
<file path=[Content_Types].xml><?xml version="1.0" encoding="utf-8"?>
<Types xmlns="http://schemas.openxmlformats.org/package/2006/content-types">
  <Default Extension="bin" ContentType="image/pn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Slides/notesSlide1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4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3.xml" ContentType="application/vnd.openxmlformats-officedocument.presentationml.slideLayout+xml"/>
  <Override PartName="/ppt/notesSlides/notesSlide6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heme/theme2.xml" ContentType="application/vnd.openxmlformats-officedocument.theme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customXml/itemProps1.xml" ContentType="application/vnd.openxmlformats-officedocument.customXmlPropertie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customXml/itemProps2.xml" ContentType="application/vnd.openxmlformats-officedocument.customXmlPropertie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tags/tag960.xml" ContentType="application/vnd.openxmlformats-officedocument.presentationml.tags+xml"/>
  <Override PartName="/ppt/tags/tag1145.xml" ContentType="application/vnd.openxmlformats-officedocument.presentationml.tags+xml"/>
  <Override PartName="/ppt/tags/tag1146.xml" ContentType="application/vnd.openxmlformats-officedocument.presentationml.tags+xml"/>
  <Override PartName="/ppt/tags/tag1147.xml" ContentType="application/vnd.openxmlformats-officedocument.presentationml.tags+xml"/>
  <Override PartName="/ppt/tags/tag1148.xml" ContentType="application/vnd.openxmlformats-officedocument.presentationml.tags+xml"/>
  <Override PartName="/ppt/tags/tag1149.xml" ContentType="application/vnd.openxmlformats-officedocument.presentationml.tags+xml"/>
  <Override PartName="/ppt/tags/tag1150.xml" ContentType="application/vnd.openxmlformats-officedocument.presentationml.tags+xml"/>
  <Override PartName="/ppt/tags/tag1151.xml" ContentType="application/vnd.openxmlformats-officedocument.presentationml.tags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tags/tag1154.xml" ContentType="application/vnd.openxmlformats-officedocument.presentationml.tags+xml"/>
  <Override PartName="/ppt/tags/tag1155.xml" ContentType="application/vnd.openxmlformats-officedocument.presentationml.tags+xml"/>
  <Override PartName="/ppt/tags/tag1156.xml" ContentType="application/vnd.openxmlformats-officedocument.presentationml.tags+xml"/>
  <Override PartName="/ppt/tags/tag1157.xml" ContentType="application/vnd.openxmlformats-officedocument.presentationml.tags+xml"/>
  <Override PartName="/ppt/tags/tag1158.xml" ContentType="application/vnd.openxmlformats-officedocument.presentationml.tags+xml"/>
  <Override PartName="/ppt/tags/tag1159.xml" ContentType="application/vnd.openxmlformats-officedocument.presentationml.tags+xml"/>
  <Override PartName="/ppt/tags/tag1160.xml" ContentType="application/vnd.openxmlformats-officedocument.presentationml.tags+xml"/>
  <Override PartName="/ppt/tags/tag1161.xml" ContentType="application/vnd.openxmlformats-officedocument.presentationml.tags+xml"/>
  <Override PartName="/ppt/tags/tag1162.xml" ContentType="application/vnd.openxmlformats-officedocument.presentationml.tags+xml"/>
  <Override PartName="/ppt/tags/tag1163.xml" ContentType="application/vnd.openxmlformats-officedocument.presentationml.tags+xml"/>
  <Override PartName="/ppt/tags/tag1164.xml" ContentType="application/vnd.openxmlformats-officedocument.presentationml.tags+xml"/>
  <Override PartName="/ppt/tags/tag1165.xml" ContentType="application/vnd.openxmlformats-officedocument.presentationml.tags+xml"/>
  <Override PartName="/ppt/tags/tag1166.xml" ContentType="application/vnd.openxmlformats-officedocument.presentationml.tags+xml"/>
  <Override PartName="/ppt/tags/tag1167.xml" ContentType="application/vnd.openxmlformats-officedocument.presentationml.tags+xml"/>
  <Override PartName="/ppt/tags/tag1168.xml" ContentType="application/vnd.openxmlformats-officedocument.presentationml.tags+xml"/>
  <Override PartName="/ppt/tags/tag1169.xml" ContentType="application/vnd.openxmlformats-officedocument.presentationml.tags+xml"/>
  <Override PartName="/ppt/tags/tag1170.xml" ContentType="application/vnd.openxmlformats-officedocument.presentationml.tags+xml"/>
  <Override PartName="/ppt/tags/tag1171.xml" ContentType="application/vnd.openxmlformats-officedocument.presentationml.tags+xml"/>
  <Override PartName="/ppt/tags/tag1172.xml" ContentType="application/vnd.openxmlformats-officedocument.presentationml.tags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ags/tag1175.xml" ContentType="application/vnd.openxmlformats-officedocument.presentationml.tags+xml"/>
  <Override PartName="/ppt/tags/tag1176.xml" ContentType="application/vnd.openxmlformats-officedocument.presentationml.tags+xml"/>
  <Override PartName="/ppt/tags/tag1177.xml" ContentType="application/vnd.openxmlformats-officedocument.presentationml.tags+xml"/>
  <Override PartName="/ppt/tags/tag1178.xml" ContentType="application/vnd.openxmlformats-officedocument.presentationml.tags+xml"/>
  <Override PartName="/ppt/tags/tag1179.xml" ContentType="application/vnd.openxmlformats-officedocument.presentationml.tags+xml"/>
  <Override PartName="/ppt/tags/tag1180.xml" ContentType="application/vnd.openxmlformats-officedocument.presentationml.tags+xml"/>
  <Override PartName="/ppt/tags/tag1181.xml" ContentType="application/vnd.openxmlformats-officedocument.presentationml.tags+xml"/>
  <Override PartName="/ppt/tags/tag1182.xml" ContentType="application/vnd.openxmlformats-officedocument.presentationml.tags+xml"/>
  <Override PartName="/ppt/tags/tag1183.xml" ContentType="application/vnd.openxmlformats-officedocument.presentationml.tags+xml"/>
  <Override PartName="/ppt/tags/tag1184.xml" ContentType="application/vnd.openxmlformats-officedocument.presentationml.tags+xml"/>
  <Override PartName="/ppt/tags/tag1185.xml" ContentType="application/vnd.openxmlformats-officedocument.presentationml.tags+xml"/>
  <Override PartName="/ppt/tags/tag1186.xml" ContentType="application/vnd.openxmlformats-officedocument.presentationml.tags+xml"/>
  <Override PartName="/ppt/tags/tag1187.xml" ContentType="application/vnd.openxmlformats-officedocument.presentationml.tags+xml"/>
  <Override PartName="/ppt/tags/tag1188.xml" ContentType="application/vnd.openxmlformats-officedocument.presentationml.tags+xml"/>
  <Override PartName="/ppt/tags/tag1189.xml" ContentType="application/vnd.openxmlformats-officedocument.presentationml.tags+xml"/>
  <Override PartName="/ppt/tags/tag1190.xml" ContentType="application/vnd.openxmlformats-officedocument.presentationml.tags+xml"/>
  <Override PartName="/ppt/tags/tag1191.xml" ContentType="application/vnd.openxmlformats-officedocument.presentationml.tags+xml"/>
  <Override PartName="/ppt/tags/tag1192.xml" ContentType="application/vnd.openxmlformats-officedocument.presentationml.tags+xml"/>
  <Override PartName="/ppt/tags/tag1193.xml" ContentType="application/vnd.openxmlformats-officedocument.presentationml.tags+xml"/>
  <Override PartName="/ppt/tags/tag1194.xml" ContentType="application/vnd.openxmlformats-officedocument.presentationml.tags+xml"/>
  <Override PartName="/ppt/tags/tag1195.xml" ContentType="application/vnd.openxmlformats-officedocument.presentationml.tags+xml"/>
  <Override PartName="/ppt/tags/tag1196.xml" ContentType="application/vnd.openxmlformats-officedocument.presentationml.tags+xml"/>
  <Override PartName="/ppt/tags/tag1197.xml" ContentType="application/vnd.openxmlformats-officedocument.presentationml.tags+xml"/>
  <Override PartName="/ppt/tags/tag1198.xml" ContentType="application/vnd.openxmlformats-officedocument.presentationml.tags+xml"/>
  <Override PartName="/ppt/tags/tag1199.xml" ContentType="application/vnd.openxmlformats-officedocument.presentationml.tags+xml"/>
  <Override PartName="/ppt/tags/tag1200.xml" ContentType="application/vnd.openxmlformats-officedocument.presentationml.tags+xml"/>
  <Override PartName="/ppt/tags/tag1201.xml" ContentType="application/vnd.openxmlformats-officedocument.presentationml.tags+xml"/>
  <Override PartName="/ppt/tags/tag1202.xml" ContentType="application/vnd.openxmlformats-officedocument.presentationml.tags+xml"/>
  <Override PartName="/ppt/tags/tag1203.xml" ContentType="application/vnd.openxmlformats-officedocument.presentationml.tags+xml"/>
  <Override PartName="/ppt/tags/tag1204.xml" ContentType="application/vnd.openxmlformats-officedocument.presentationml.tags+xml"/>
  <Override PartName="/ppt/tags/tag1205.xml" ContentType="application/vnd.openxmlformats-officedocument.presentationml.tags+xml"/>
  <Override PartName="/ppt/tags/tag1206.xml" ContentType="application/vnd.openxmlformats-officedocument.presentationml.tags+xml"/>
  <Override PartName="/ppt/tags/tag1207.xml" ContentType="application/vnd.openxmlformats-officedocument.presentationml.tags+xml"/>
  <Override PartName="/ppt/tags/tag1208.xml" ContentType="application/vnd.openxmlformats-officedocument.presentationml.tags+xml"/>
  <Override PartName="/ppt/tags/tag1209.xml" ContentType="application/vnd.openxmlformats-officedocument.presentationml.tags+xml"/>
  <Override PartName="/ppt/tags/tag1210.xml" ContentType="application/vnd.openxmlformats-officedocument.presentationml.tags+xml"/>
  <Override PartName="/ppt/tags/tag1211.xml" ContentType="application/vnd.openxmlformats-officedocument.presentationml.tags+xml"/>
  <Override PartName="/ppt/tags/tag1212.xml" ContentType="application/vnd.openxmlformats-officedocument.presentationml.tags+xml"/>
  <Override PartName="/ppt/tags/tag1213.xml" ContentType="application/vnd.openxmlformats-officedocument.presentationml.tags+xml"/>
  <Override PartName="/ppt/tags/tag1214.xml" ContentType="application/vnd.openxmlformats-officedocument.presentationml.tags+xml"/>
  <Override PartName="/ppt/tags/tag1215.xml" ContentType="application/vnd.openxmlformats-officedocument.presentationml.tags+xml"/>
  <Override PartName="/ppt/tags/tag1216.xml" ContentType="application/vnd.openxmlformats-officedocument.presentationml.tags+xml"/>
  <Override PartName="/ppt/tags/tag1217.xml" ContentType="application/vnd.openxmlformats-officedocument.presentationml.tags+xml"/>
  <Override PartName="/ppt/tags/tag1218.xml" ContentType="application/vnd.openxmlformats-officedocument.presentationml.tags+xml"/>
  <Override PartName="/ppt/tags/tag1219.xml" ContentType="application/vnd.openxmlformats-officedocument.presentationml.tags+xml"/>
  <Override PartName="/ppt/tags/tag1220.xml" ContentType="application/vnd.openxmlformats-officedocument.presentationml.tags+xml"/>
  <Override PartName="/ppt/tags/tag1221.xml" ContentType="application/vnd.openxmlformats-officedocument.presentationml.tags+xml"/>
  <Override PartName="/ppt/tags/tag1222.xml" ContentType="application/vnd.openxmlformats-officedocument.presentationml.tags+xml"/>
  <Override PartName="/ppt/tags/tag1223.xml" ContentType="application/vnd.openxmlformats-officedocument.presentationml.tags+xml"/>
  <Override PartName="/ppt/tags/tag1224.xml" ContentType="application/vnd.openxmlformats-officedocument.presentationml.tags+xml"/>
  <Override PartName="/ppt/tags/tag1225.xml" ContentType="application/vnd.openxmlformats-officedocument.presentationml.tags+xml"/>
  <Override PartName="/ppt/tags/tag1226.xml" ContentType="application/vnd.openxmlformats-officedocument.presentationml.tags+xml"/>
  <Override PartName="/ppt/tags/tag1227.xml" ContentType="application/vnd.openxmlformats-officedocument.presentationml.tags+xml"/>
  <Override PartName="/customXml/itemProps3.xml" ContentType="application/vnd.openxmlformats-officedocument.customXmlPropertie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ppt/tags/tag1144.xml" ContentType="application/vnd.openxmlformats-officedocument.presentationml.tags+xml"/>
  <Override PartName="/customXml/itemProps40.xml" ContentType="application/vnd.openxmlformats-officedocument.customXmlProperties+xml"/>
  <Override PartName="/customXml/itemProps39.xml" ContentType="application/vnd.openxmlformats-officedocument.customXmlProperties+xml"/>
  <Override PartName="/customXml/itemProps41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39"/>
  </p:sldMasterIdLst>
  <p:notesMasterIdLst>
    <p:notesMasterId r:id="rId53"/>
  </p:notesMasterIdLst>
  <p:handoutMasterIdLst>
    <p:handoutMasterId r:id="rId54"/>
  </p:handoutMasterIdLst>
  <p:sldIdLst>
    <p:sldId id="256" r:id="rId40"/>
    <p:sldId id="260" r:id="rId41"/>
    <p:sldId id="261" r:id="rId42"/>
    <p:sldId id="262" r:id="rId43"/>
    <p:sldId id="263" r:id="rId44"/>
    <p:sldId id="265" r:id="rId45"/>
    <p:sldId id="266" r:id="rId46"/>
    <p:sldId id="267" r:id="rId47"/>
    <p:sldId id="268" r:id="rId48"/>
    <p:sldId id="270" r:id="rId49"/>
    <p:sldId id="271" r:id="rId50"/>
    <p:sldId id="272" r:id="rId51"/>
    <p:sldId id="273" r:id="rId5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2833802-FEF1-4C79-8D5D-14CF1EAF98D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97" autoAdjust="0"/>
    <p:restoredTop sz="94591" autoAdjust="0"/>
  </p:normalViewPr>
  <p:slideViewPr>
    <p:cSldViewPr snapToGrid="0" showGuides="1">
      <p:cViewPr>
        <p:scale>
          <a:sx n="75" d="100"/>
          <a:sy n="75" d="100"/>
        </p:scale>
        <p:origin x="882" y="111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6" d="100"/>
          <a:sy n="86" d="100"/>
        </p:scale>
        <p:origin x="1818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customXml" Target="../customXml/item26.xml"/><Relationship Id="rId39" Type="http://schemas.openxmlformats.org/officeDocument/2006/relationships/slideMaster" Target="slideMasters/slideMaster1.xml"/><Relationship Id="rId21" Type="http://schemas.openxmlformats.org/officeDocument/2006/relationships/customXml" Target="../customXml/item21.xml"/><Relationship Id="rId34" Type="http://schemas.openxmlformats.org/officeDocument/2006/relationships/customXml" Target="../customXml/item34.xml"/><Relationship Id="rId42" Type="http://schemas.openxmlformats.org/officeDocument/2006/relationships/slide" Target="slides/slide3.xml"/><Relationship Id="rId47" Type="http://schemas.openxmlformats.org/officeDocument/2006/relationships/slide" Target="slides/slide8.xml"/><Relationship Id="rId50" Type="http://schemas.openxmlformats.org/officeDocument/2006/relationships/slide" Target="slides/slide11.xml"/><Relationship Id="rId55" Type="http://schemas.openxmlformats.org/officeDocument/2006/relationships/presProps" Target="presProps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customXml" Target="../customXml/item29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40" Type="http://schemas.openxmlformats.org/officeDocument/2006/relationships/slide" Target="slides/slide1.xml"/><Relationship Id="rId45" Type="http://schemas.openxmlformats.org/officeDocument/2006/relationships/slide" Target="slides/slide6.xml"/><Relationship Id="rId53" Type="http://schemas.openxmlformats.org/officeDocument/2006/relationships/notesMaster" Target="notesMasters/notesMaster1.xml"/><Relationship Id="rId58" Type="http://schemas.openxmlformats.org/officeDocument/2006/relationships/tableStyles" Target="tableStyles.xml"/><Relationship Id="rId5" Type="http://schemas.openxmlformats.org/officeDocument/2006/relationships/customXml" Target="../customXml/item5.xml"/><Relationship Id="rId61" Type="http://schemas.openxmlformats.org/officeDocument/2006/relationships/customXml" Target="../customXml/item41.xml"/><Relationship Id="rId19" Type="http://schemas.openxmlformats.org/officeDocument/2006/relationships/customXml" Target="../customXml/item1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43" Type="http://schemas.openxmlformats.org/officeDocument/2006/relationships/slide" Target="slides/slide4.xml"/><Relationship Id="rId48" Type="http://schemas.openxmlformats.org/officeDocument/2006/relationships/slide" Target="slides/slide9.xml"/><Relationship Id="rId56" Type="http://schemas.openxmlformats.org/officeDocument/2006/relationships/viewProps" Target="viewProps.xml"/><Relationship Id="rId8" Type="http://schemas.openxmlformats.org/officeDocument/2006/relationships/customXml" Target="../customXml/item8.xml"/><Relationship Id="rId51" Type="http://schemas.openxmlformats.org/officeDocument/2006/relationships/slide" Target="slides/slide12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46" Type="http://schemas.openxmlformats.org/officeDocument/2006/relationships/slide" Target="slides/slide7.xml"/><Relationship Id="rId59" Type="http://schemas.openxmlformats.org/officeDocument/2006/relationships/customXml" Target="../customXml/item39.xml"/><Relationship Id="rId20" Type="http://schemas.openxmlformats.org/officeDocument/2006/relationships/customXml" Target="../customXml/item20.xml"/><Relationship Id="rId41" Type="http://schemas.openxmlformats.org/officeDocument/2006/relationships/slide" Target="slides/slide2.xml"/><Relationship Id="rId54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customXml" Target="../customXml/item36.xml"/><Relationship Id="rId49" Type="http://schemas.openxmlformats.org/officeDocument/2006/relationships/slide" Target="slides/slide10.xml"/><Relationship Id="rId57" Type="http://schemas.openxmlformats.org/officeDocument/2006/relationships/theme" Target="theme/theme1.xml"/><Relationship Id="rId10" Type="http://schemas.openxmlformats.org/officeDocument/2006/relationships/customXml" Target="../customXml/item10.xml"/><Relationship Id="rId31" Type="http://schemas.openxmlformats.org/officeDocument/2006/relationships/customXml" Target="../customXml/item31.xml"/><Relationship Id="rId44" Type="http://schemas.openxmlformats.org/officeDocument/2006/relationships/slide" Target="slides/slide5.xml"/><Relationship Id="rId52" Type="http://schemas.openxmlformats.org/officeDocument/2006/relationships/slide" Target="slides/slide13.xml"/><Relationship Id="rId60" Type="http://schemas.openxmlformats.org/officeDocument/2006/relationships/customXml" Target="../customXml/item40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00BA559-C1C5-4943-B542-8794232D57DA}" type="datetimeFigureOut">
              <a:rPr lang="da-DK"/>
              <a:t>22-03-2023</a:t>
            </a:fld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DAC64D-F328-458C-83FB-46E4CB2334DA}" type="slidenum">
              <a:rPr lang="da-DK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694059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D72A38B-F9FA-4036-A084-652409E98F08}" type="datetimeFigureOut">
              <a:rPr lang="en-GB"/>
              <a:pPr/>
              <a:t>22/03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49436F85-577F-4A92-A47F-D540A2BCC821}" type="slidenum">
              <a:rPr lang="en-GB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80911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206657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Nordic </a:t>
            </a:r>
            <a:r>
              <a:rPr lang="da-DK"/>
              <a:t>countri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031873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Nordic </a:t>
            </a:r>
            <a:r>
              <a:rPr lang="da-DK"/>
              <a:t>countri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175144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Europ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4859617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World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01509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Nordic </a:t>
            </a:r>
            <a:r>
              <a:rPr lang="da-DK"/>
              <a:t>countri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05260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Nordic </a:t>
            </a:r>
            <a:r>
              <a:rPr lang="da-DK"/>
              <a:t>countri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84384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Europ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145832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World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87921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Nordic </a:t>
            </a:r>
            <a:r>
              <a:rPr lang="da-DK"/>
              <a:t>countri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75217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Nordic </a:t>
            </a:r>
            <a:r>
              <a:rPr lang="da-DK"/>
              <a:t>countri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78103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Europ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361377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World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436F85-577F-4A92-A47F-D540A2BCC821}" type="slidenum">
              <a:rPr lang="en-GB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18837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bin"/><Relationship Id="rId3" Type="http://schemas.openxmlformats.org/officeDocument/2006/relationships/image" Target="../media/image5.bin"/><Relationship Id="rId7" Type="http://schemas.openxmlformats.org/officeDocument/2006/relationships/image" Target="../media/image9.bin"/><Relationship Id="rId2" Type="http://schemas.openxmlformats.org/officeDocument/2006/relationships/image" Target="../media/image4.bin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bin"/><Relationship Id="rId5" Type="http://schemas.openxmlformats.org/officeDocument/2006/relationships/image" Target="../media/image7.bin"/><Relationship Id="rId10" Type="http://schemas.openxmlformats.org/officeDocument/2006/relationships/image" Target="../media/image12.bin"/><Relationship Id="rId4" Type="http://schemas.openxmlformats.org/officeDocument/2006/relationships/image" Target="../media/image6.bin"/><Relationship Id="rId9" Type="http://schemas.openxmlformats.org/officeDocument/2006/relationships/image" Target="../media/image11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EBEB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6834" y="675392"/>
            <a:ext cx="5467917" cy="4766558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7800">
                <a:solidFill>
                  <a:srgbClr val="006EB6"/>
                </a:solidFill>
              </a:defRPr>
            </a:lvl1pPr>
          </a:lstStyle>
          <a:p>
            <a:r>
              <a:rPr lang="en-GB" dirty="0"/>
              <a:t>Click to add title</a:t>
            </a:r>
            <a:endParaRPr lang="en-GB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3395663" y="6935411"/>
            <a:ext cx="5400675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8796338" y="6520734"/>
            <a:ext cx="2663824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9" name="TextBox 8" descr="{&quot;templafy&quot;:{&quot;id&quot;:&quot;2603a274-f6da-42ae-91fd-8eb04ee6c7e0&quot;}}">
            <a:extLst>
              <a:ext uri="{FF2B5EF4-FFF2-40B4-BE49-F238E27FC236}">
                <a16:creationId xmlns:a16="http://schemas.microsoft.com/office/drawing/2014/main" id="{B020DB77-58E9-FFFE-1259-1127622C3F48}"/>
              </a:ext>
            </a:extLst>
          </p:cNvPr>
          <p:cNvSpPr txBox="1"/>
          <p:nvPr userDrawn="1"/>
        </p:nvSpPr>
        <p:spPr>
          <a:xfrm>
            <a:off x="8794750" y="6293726"/>
            <a:ext cx="2698749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endParaRPr lang="en-GB" sz="1350" kern="1200" dirty="0">
              <a:solidFill>
                <a:srgbClr val="006EB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9" descr="{&quot;templafy&quot;:{&quot;id&quot;:&quot;55e2044d-f725-476e-9c27-e3db3c9fcac6&quot;}}">
            <a:extLst>
              <a:ext uri="{FF2B5EF4-FFF2-40B4-BE49-F238E27FC236}">
                <a16:creationId xmlns:a16="http://schemas.microsoft.com/office/drawing/2014/main" id="{04869CA2-221A-661E-3645-E2FDB4C5E955}"/>
              </a:ext>
            </a:extLst>
          </p:cNvPr>
          <p:cNvSpPr txBox="1"/>
          <p:nvPr userDrawn="1"/>
        </p:nvSpPr>
        <p:spPr>
          <a:xfrm>
            <a:off x="6094413" y="6113826"/>
            <a:ext cx="5399087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350" kern="1200" baseline="0" dirty="0">
                <a:solidFill>
                  <a:srgbClr val="006EB6"/>
                </a:solidFill>
                <a:latin typeface="+mn-lt"/>
                <a:ea typeface="+mn-ea"/>
                <a:cs typeface="+mn-cs"/>
              </a:rPr>
              <a:t>Clara Julie Høybye Jakobsen</a:t>
            </a:r>
          </a:p>
        </p:txBody>
      </p:sp>
      <p:pic>
        <p:nvPicPr>
          <p:cNvPr id="1231103921" name="Logo1" descr="{&quot;templafy&quot;:{&quot;id&quot;:&quot;664ecd76-5c24-4d1d-8d95-87c52786222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8500" y="5959090"/>
            <a:ext cx="2517610" cy="50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3383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24501" y="676800"/>
            <a:ext cx="8168999" cy="4772629"/>
          </a:xfrm>
        </p:spPr>
        <p:txBody>
          <a:bodyPr/>
          <a:lstStyle>
            <a:lvl1pPr>
              <a:lnSpc>
                <a:spcPct val="83000"/>
              </a:lnSpc>
              <a:defRPr sz="7800" b="1" baseline="0">
                <a:solidFill>
                  <a:srgbClr val="ADCFF1"/>
                </a:solidFill>
              </a:defRPr>
            </a:lvl1pPr>
          </a:lstStyle>
          <a:p>
            <a:r>
              <a:rPr lang="en-GB" dirty="0"/>
              <a:t>Use bold for highlighted text,</a:t>
            </a:r>
            <a:br>
              <a:rPr lang="en-GB" dirty="0"/>
            </a:br>
            <a:r>
              <a:rPr lang="en-GB" dirty="0"/>
              <a:t>other text regular, max four lines</a:t>
            </a:r>
            <a:endParaRPr lang="en-GB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9" name="Freeform 5"/>
          <p:cNvSpPr>
            <a:spLocks noEditPoints="1"/>
          </p:cNvSpPr>
          <p:nvPr userDrawn="1"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ADCFF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 </a:t>
            </a:r>
            <a:endParaRPr lang="en-GB"/>
          </a:p>
        </p:txBody>
      </p:sp>
      <p:sp>
        <p:nvSpPr>
          <p:cNvPr id="6" name="Footer" descr="{&quot;templafy&quot;:{&quot;id&quot;:&quot;b47e2395-514f-4da6-99b6-5d9f70dee731&quot;}}">
            <a:extLst>
              <a:ext uri="{FF2B5EF4-FFF2-40B4-BE49-F238E27FC236}">
                <a16:creationId xmlns:a16="http://schemas.microsoft.com/office/drawing/2014/main" id="{57BB06F5-CDD8-CC12-1861-06EE1BC7CF4E}"/>
              </a:ext>
            </a:extLst>
          </p:cNvPr>
          <p:cNvSpPr txBox="1"/>
          <p:nvPr userDrawn="1"/>
        </p:nvSpPr>
        <p:spPr>
          <a:xfrm>
            <a:off x="3394074" y="6435038"/>
            <a:ext cx="5400675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GB" sz="950" kern="1200" dirty="0"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97142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7F67F98-6258-4893-827A-4EA20C2DF2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95662" y="1304690"/>
            <a:ext cx="8097838" cy="4705813"/>
          </a:xfrm>
        </p:spPr>
        <p:txBody>
          <a:bodyPr/>
          <a:lstStyle>
            <a:lvl1pPr marL="0" indent="0">
              <a:lnSpc>
                <a:spcPct val="105000"/>
              </a:lnSpc>
              <a:buFont typeface="Arial" panose="020B0604020202020204" pitchFamily="34" charset="0"/>
              <a:buChar char="​"/>
              <a:defRPr sz="4000" b="1" i="1">
                <a:solidFill>
                  <a:srgbClr val="ADCFF1"/>
                </a:solidFill>
              </a:defRPr>
            </a:lvl1pPr>
            <a:lvl2pPr marL="0" indent="0">
              <a:spcBef>
                <a:spcPts val="1800"/>
              </a:spcBef>
              <a:buFont typeface="Arial" panose="020B0604020202020204" pitchFamily="34" charset="0"/>
              <a:buChar char="​"/>
              <a:defRPr>
                <a:solidFill>
                  <a:srgbClr val="ADCFF1"/>
                </a:solidFill>
              </a:defRPr>
            </a:lvl2pPr>
          </a:lstStyle>
          <a:p>
            <a:pPr lvl="0"/>
            <a:r>
              <a:rPr lang="en-GB" dirty="0"/>
              <a:t>Insert quotation text in several lines. Insert name or source: Click ENTER for new line, click TAB, insert name/source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</p:txBody>
      </p:sp>
      <p:sp>
        <p:nvSpPr>
          <p:cNvPr id="16" name="Freeform 5"/>
          <p:cNvSpPr>
            <a:spLocks noEditPoints="1"/>
          </p:cNvSpPr>
          <p:nvPr userDrawn="1"/>
        </p:nvSpPr>
        <p:spPr bwMode="auto">
          <a:xfrm>
            <a:off x="1318260" y="414526"/>
            <a:ext cx="1871662" cy="1364481"/>
          </a:xfrm>
          <a:custGeom>
            <a:avLst/>
            <a:gdLst>
              <a:gd name="T0" fmla="*/ 492 w 2288"/>
              <a:gd name="T1" fmla="*/ 0 h 1668"/>
              <a:gd name="T2" fmla="*/ 1077 w 2288"/>
              <a:gd name="T3" fmla="*/ 0 h 1668"/>
              <a:gd name="T4" fmla="*/ 483 w 2288"/>
              <a:gd name="T5" fmla="*/ 1668 h 1668"/>
              <a:gd name="T6" fmla="*/ 0 w 2288"/>
              <a:gd name="T7" fmla="*/ 1668 h 1668"/>
              <a:gd name="T8" fmla="*/ 492 w 2288"/>
              <a:gd name="T9" fmla="*/ 0 h 1668"/>
              <a:gd name="T10" fmla="*/ 492 w 2288"/>
              <a:gd name="T11" fmla="*/ 0 h 1668"/>
              <a:gd name="T12" fmla="*/ 1699 w 2288"/>
              <a:gd name="T13" fmla="*/ 0 h 1668"/>
              <a:gd name="T14" fmla="*/ 2288 w 2288"/>
              <a:gd name="T15" fmla="*/ 0 h 1668"/>
              <a:gd name="T16" fmla="*/ 1597 w 2288"/>
              <a:gd name="T17" fmla="*/ 1668 h 1668"/>
              <a:gd name="T18" fmla="*/ 1110 w 2288"/>
              <a:gd name="T19" fmla="*/ 1668 h 1668"/>
              <a:gd name="T20" fmla="*/ 1699 w 2288"/>
              <a:gd name="T21" fmla="*/ 0 h 1668"/>
              <a:gd name="T22" fmla="*/ 1699 w 2288"/>
              <a:gd name="T23" fmla="*/ 0 h 16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288" h="1668">
                <a:moveTo>
                  <a:pt x="492" y="0"/>
                </a:moveTo>
                <a:lnTo>
                  <a:pt x="1077" y="0"/>
                </a:lnTo>
                <a:lnTo>
                  <a:pt x="483" y="1668"/>
                </a:lnTo>
                <a:lnTo>
                  <a:pt x="0" y="1668"/>
                </a:lnTo>
                <a:lnTo>
                  <a:pt x="492" y="0"/>
                </a:lnTo>
                <a:lnTo>
                  <a:pt x="492" y="0"/>
                </a:lnTo>
                <a:close/>
                <a:moveTo>
                  <a:pt x="1699" y="0"/>
                </a:moveTo>
                <a:lnTo>
                  <a:pt x="2288" y="0"/>
                </a:lnTo>
                <a:lnTo>
                  <a:pt x="1597" y="1668"/>
                </a:lnTo>
                <a:lnTo>
                  <a:pt x="1110" y="1668"/>
                </a:lnTo>
                <a:lnTo>
                  <a:pt x="1699" y="0"/>
                </a:lnTo>
                <a:lnTo>
                  <a:pt x="1699" y="0"/>
                </a:lnTo>
                <a:close/>
              </a:path>
            </a:pathLst>
          </a:custGeom>
          <a:solidFill>
            <a:srgbClr val="ADCFF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rgbClr val="AFDBF6"/>
              </a:solidFill>
            </a:endParaRPr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ADCFF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 </a:t>
            </a:r>
            <a:endParaRPr lang="en-GB"/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4"/>
          </p:nvPr>
        </p:nvSpPr>
        <p:spPr>
          <a:xfrm>
            <a:off x="0" y="6912000"/>
            <a:ext cx="0" cy="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3" name="Footer" descr="{&quot;templafy&quot;:{&quot;id&quot;:&quot;1a50bf73-9d9e-4e72-b103-b9a81573798e&quot;}}">
            <a:extLst>
              <a:ext uri="{FF2B5EF4-FFF2-40B4-BE49-F238E27FC236}">
                <a16:creationId xmlns:a16="http://schemas.microsoft.com/office/drawing/2014/main" id="{2F5B01E7-1E1E-643B-62FF-AFB6D64C613F}"/>
              </a:ext>
            </a:extLst>
          </p:cNvPr>
          <p:cNvSpPr txBox="1"/>
          <p:nvPr userDrawn="1"/>
        </p:nvSpPr>
        <p:spPr>
          <a:xfrm>
            <a:off x="3394074" y="6435038"/>
            <a:ext cx="5400675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GB" sz="950" kern="1200" dirty="0"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52036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ADCF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395662" y="1304690"/>
            <a:ext cx="8097838" cy="4705813"/>
          </a:xfrm>
        </p:spPr>
        <p:txBody>
          <a:bodyPr/>
          <a:lstStyle>
            <a:lvl1pPr marL="0" indent="0">
              <a:lnSpc>
                <a:spcPct val="105000"/>
              </a:lnSpc>
              <a:buFont typeface="Arial" panose="020B0604020202020204" pitchFamily="34" charset="0"/>
              <a:buChar char="​"/>
              <a:defRPr sz="4000" b="1" i="1"/>
            </a:lvl1pPr>
            <a:lvl2pPr marL="0" indent="0">
              <a:spcBef>
                <a:spcPts val="1800"/>
              </a:spcBef>
              <a:buFont typeface="Arial" panose="020B0604020202020204" pitchFamily="34" charset="0"/>
              <a:buChar char="​"/>
              <a:defRPr/>
            </a:lvl2pPr>
          </a:lstStyle>
          <a:p>
            <a:pPr lvl="0"/>
            <a:r>
              <a:rPr lang="en-GB" dirty="0"/>
              <a:t>Insert quotation text in several lines. Insert name or source: Click ENTER for new line, click TAB, insert name/source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1318260" y="414526"/>
            <a:ext cx="1871662" cy="1364481"/>
          </a:xfrm>
          <a:custGeom>
            <a:avLst/>
            <a:gdLst>
              <a:gd name="T0" fmla="*/ 492 w 2288"/>
              <a:gd name="T1" fmla="*/ 0 h 1668"/>
              <a:gd name="T2" fmla="*/ 1077 w 2288"/>
              <a:gd name="T3" fmla="*/ 0 h 1668"/>
              <a:gd name="T4" fmla="*/ 483 w 2288"/>
              <a:gd name="T5" fmla="*/ 1668 h 1668"/>
              <a:gd name="T6" fmla="*/ 0 w 2288"/>
              <a:gd name="T7" fmla="*/ 1668 h 1668"/>
              <a:gd name="T8" fmla="*/ 492 w 2288"/>
              <a:gd name="T9" fmla="*/ 0 h 1668"/>
              <a:gd name="T10" fmla="*/ 492 w 2288"/>
              <a:gd name="T11" fmla="*/ 0 h 1668"/>
              <a:gd name="T12" fmla="*/ 1699 w 2288"/>
              <a:gd name="T13" fmla="*/ 0 h 1668"/>
              <a:gd name="T14" fmla="*/ 2288 w 2288"/>
              <a:gd name="T15" fmla="*/ 0 h 1668"/>
              <a:gd name="T16" fmla="*/ 1597 w 2288"/>
              <a:gd name="T17" fmla="*/ 1668 h 1668"/>
              <a:gd name="T18" fmla="*/ 1110 w 2288"/>
              <a:gd name="T19" fmla="*/ 1668 h 1668"/>
              <a:gd name="T20" fmla="*/ 1699 w 2288"/>
              <a:gd name="T21" fmla="*/ 0 h 1668"/>
              <a:gd name="T22" fmla="*/ 1699 w 2288"/>
              <a:gd name="T23" fmla="*/ 0 h 16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288" h="1668">
                <a:moveTo>
                  <a:pt x="492" y="0"/>
                </a:moveTo>
                <a:lnTo>
                  <a:pt x="1077" y="0"/>
                </a:lnTo>
                <a:lnTo>
                  <a:pt x="483" y="1668"/>
                </a:lnTo>
                <a:lnTo>
                  <a:pt x="0" y="1668"/>
                </a:lnTo>
                <a:lnTo>
                  <a:pt x="492" y="0"/>
                </a:lnTo>
                <a:lnTo>
                  <a:pt x="492" y="0"/>
                </a:lnTo>
                <a:close/>
                <a:moveTo>
                  <a:pt x="1699" y="0"/>
                </a:moveTo>
                <a:lnTo>
                  <a:pt x="2288" y="0"/>
                </a:lnTo>
                <a:lnTo>
                  <a:pt x="1597" y="1668"/>
                </a:lnTo>
                <a:lnTo>
                  <a:pt x="1110" y="1668"/>
                </a:lnTo>
                <a:lnTo>
                  <a:pt x="1699" y="0"/>
                </a:lnTo>
                <a:lnTo>
                  <a:pt x="1699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Freeform 5"/>
          <p:cNvSpPr>
            <a:spLocks noEditPoints="1"/>
          </p:cNvSpPr>
          <p:nvPr userDrawn="1"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 </a:t>
            </a:r>
            <a:endParaRPr lang="en-GB"/>
          </a:p>
        </p:txBody>
      </p:sp>
      <p:sp>
        <p:nvSpPr>
          <p:cNvPr id="2" name="Footer" descr="{&quot;templafy&quot;:{&quot;id&quot;:&quot;cfa3698a-1a58-4a4b-9f3a-fcfcdef2002f&quot;}}">
            <a:extLst>
              <a:ext uri="{FF2B5EF4-FFF2-40B4-BE49-F238E27FC236}">
                <a16:creationId xmlns:a16="http://schemas.microsoft.com/office/drawing/2014/main" id="{8E842AED-E8B3-109C-CDB6-6921404704CF}"/>
              </a:ext>
            </a:extLst>
          </p:cNvPr>
          <p:cNvSpPr txBox="1"/>
          <p:nvPr userDrawn="1"/>
        </p:nvSpPr>
        <p:spPr>
          <a:xfrm>
            <a:off x="3394074" y="6435038"/>
            <a:ext cx="5400675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GB" sz="950" kern="1200" dirty="0">
              <a:solidFill>
                <a:srgbClr val="006EB6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6433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, tekst +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3738" y="2376126"/>
            <a:ext cx="2676479" cy="205776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Open Sans" panose="020B0606030504020204" pitchFamily="34" charset="0"/>
              <a:buNone/>
              <a:tabLst/>
              <a:defRPr sz="1800" b="1" baseline="0"/>
            </a:lvl1pPr>
            <a:lvl2pPr marL="288000" indent="-288000">
              <a:lnSpc>
                <a:spcPct val="95000"/>
              </a:lnSpc>
              <a:buFont typeface="Corbel" panose="020B0503020204020204" pitchFamily="34" charset="0"/>
              <a:buChar char="—"/>
              <a:defRPr sz="1800"/>
            </a:lvl2pPr>
            <a:lvl3pPr marL="540000" indent="-252000">
              <a:lnSpc>
                <a:spcPct val="95000"/>
              </a:lnSpc>
              <a:buFont typeface="Symbol" panose="05050102010706020507" pitchFamily="18" charset="2"/>
              <a:buChar char="·"/>
              <a:defRPr sz="1800"/>
            </a:lvl3pPr>
            <a:lvl4pPr marL="792000" indent="-252000">
              <a:lnSpc>
                <a:spcPct val="95000"/>
              </a:lnSpc>
              <a:buFont typeface="Arial" panose="020B0604020202020204" pitchFamily="34" charset="0"/>
              <a:buChar char="‒"/>
              <a:defRPr sz="1800"/>
            </a:lvl4pPr>
            <a:lvl5pPr marL="1044000" indent="-252000">
              <a:lnSpc>
                <a:spcPct val="95000"/>
              </a:lnSpc>
              <a:buFont typeface="Symbol" panose="05050102010706020507" pitchFamily="18" charset="2"/>
              <a:buChar char="·"/>
              <a:defRPr sz="1800"/>
            </a:lvl5pPr>
            <a:lvl6pPr>
              <a:lnSpc>
                <a:spcPct val="95000"/>
              </a:lnSpc>
              <a:defRPr sz="1800"/>
            </a:lvl6pPr>
            <a:lvl7pPr>
              <a:lnSpc>
                <a:spcPct val="95000"/>
              </a:lnSpc>
              <a:defRPr sz="1800"/>
            </a:lvl7pPr>
            <a:lvl8pPr>
              <a:lnSpc>
                <a:spcPct val="95000"/>
              </a:lnSpc>
              <a:defRPr sz="1800"/>
            </a:lvl8pPr>
            <a:lvl9pPr>
              <a:lnSpc>
                <a:spcPct val="95000"/>
              </a:lnSpc>
              <a:defRPr sz="1800"/>
            </a:lvl9pPr>
          </a:lstStyle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Open Sans" panose="020B0606030504020204" pitchFamily="34" charset="0"/>
              <a:buChar char="​"/>
              <a:tabLst/>
              <a:defRPr/>
            </a:pPr>
            <a:r>
              <a:rPr lang="en-GB" dirty="0"/>
              <a:t>Click to add chart text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93737" y="4433887"/>
            <a:ext cx="2700337" cy="1575135"/>
          </a:xfrm>
        </p:spPr>
        <p:txBody>
          <a:bodyPr anchor="b" anchorCtr="0"/>
          <a:lstStyle>
            <a:lvl1pPr marL="0" indent="0">
              <a:lnSpc>
                <a:spcPct val="97000"/>
              </a:lnSpc>
              <a:buFontTx/>
              <a:buNone/>
              <a:defRPr sz="1600" baseline="0"/>
            </a:lvl1pPr>
            <a:lvl2pPr marL="0" indent="0">
              <a:buFontTx/>
              <a:buNone/>
              <a:defRPr sz="1600"/>
            </a:lvl2pPr>
            <a:lvl3pPr marL="0" indent="0">
              <a:buFontTx/>
              <a:buNone/>
              <a:defRPr sz="1600"/>
            </a:lvl3pPr>
            <a:lvl4pPr marL="972000" indent="0">
              <a:buFontTx/>
              <a:buNone/>
              <a:defRPr sz="1600"/>
            </a:lvl4pPr>
            <a:lvl5pPr marL="1224000" indent="0">
              <a:buFontTx/>
              <a:buNone/>
              <a:defRPr sz="1600"/>
            </a:lvl5pPr>
          </a:lstStyle>
          <a:p>
            <a:pPr lvl="0"/>
            <a:r>
              <a:rPr lang="en-GB" dirty="0"/>
              <a:t>Click to add note text</a:t>
            </a:r>
            <a:endParaRPr lang="en-GB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 hasCustomPrompt="1"/>
          </p:nvPr>
        </p:nvSpPr>
        <p:spPr>
          <a:xfrm>
            <a:off x="3394074" y="1409699"/>
            <a:ext cx="8099424" cy="455046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Insert chart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 in max 1 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580556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ontent + 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693737" y="1409699"/>
            <a:ext cx="10799761" cy="403225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Insert chart or table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93738" y="5531239"/>
            <a:ext cx="10799762" cy="540697"/>
          </a:xfrm>
        </p:spPr>
        <p:txBody>
          <a:bodyPr anchor="t" anchorCtr="0"/>
          <a:lstStyle>
            <a:lvl1pPr marL="0" indent="0">
              <a:lnSpc>
                <a:spcPct val="97000"/>
              </a:lnSpc>
              <a:buFontTx/>
              <a:buNone/>
              <a:defRPr sz="1600" baseline="0"/>
            </a:lvl1pPr>
            <a:lvl2pPr marL="0" indent="0">
              <a:buFontTx/>
              <a:buNone/>
              <a:defRPr sz="1600"/>
            </a:lvl2pPr>
            <a:lvl3pPr marL="0" indent="0">
              <a:buFontTx/>
              <a:buNone/>
              <a:defRPr sz="1600"/>
            </a:lvl3pPr>
            <a:lvl4pPr marL="972000" indent="0">
              <a:buFontTx/>
              <a:buNone/>
              <a:defRPr sz="1600"/>
            </a:lvl4pPr>
            <a:lvl5pPr marL="1224000" indent="0">
              <a:buFontTx/>
              <a:buNone/>
              <a:defRPr sz="1600"/>
            </a:lvl5pPr>
          </a:lstStyle>
          <a:p>
            <a:pPr lvl="0"/>
            <a:r>
              <a:rPr lang="en-GB" dirty="0"/>
              <a:t>Click to add note text</a:t>
            </a:r>
            <a:endParaRPr lang="en-GB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 in max 1 lin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5017488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ontent + note, light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ADCF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12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693737" y="1409699"/>
            <a:ext cx="10799761" cy="403225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Insert chart or table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693738" y="5531239"/>
            <a:ext cx="10799762" cy="540697"/>
          </a:xfrm>
        </p:spPr>
        <p:txBody>
          <a:bodyPr anchor="t" anchorCtr="0"/>
          <a:lstStyle>
            <a:lvl1pPr marL="0" indent="0">
              <a:lnSpc>
                <a:spcPct val="97000"/>
              </a:lnSpc>
              <a:buFontTx/>
              <a:buNone/>
              <a:defRPr sz="1600" baseline="0"/>
            </a:lvl1pPr>
            <a:lvl2pPr marL="0" indent="0">
              <a:buFontTx/>
              <a:buNone/>
              <a:defRPr sz="1600"/>
            </a:lvl2pPr>
            <a:lvl3pPr marL="0" indent="0">
              <a:buFontTx/>
              <a:buNone/>
              <a:defRPr sz="1600"/>
            </a:lvl3pPr>
            <a:lvl4pPr marL="972000" indent="0">
              <a:buFontTx/>
              <a:buNone/>
              <a:defRPr sz="1600"/>
            </a:lvl4pPr>
            <a:lvl5pPr marL="1224000" indent="0">
              <a:buFontTx/>
              <a:buNone/>
              <a:defRPr sz="1600"/>
            </a:lvl5pPr>
          </a:lstStyle>
          <a:p>
            <a:pPr lvl="0"/>
            <a:r>
              <a:rPr lang="en-GB" dirty="0"/>
              <a:t>Click to add note text</a:t>
            </a:r>
            <a:endParaRPr lang="en-GB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 in max 1 line</a:t>
            </a:r>
            <a:endParaRPr lang="en-GB"/>
          </a:p>
        </p:txBody>
      </p:sp>
      <p:sp>
        <p:nvSpPr>
          <p:cNvPr id="11" name="Freeform 5"/>
          <p:cNvSpPr>
            <a:spLocks noEditPoints="1"/>
          </p:cNvSpPr>
          <p:nvPr userDrawn="1"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 </a:t>
            </a:r>
            <a:endParaRPr lang="en-GB"/>
          </a:p>
        </p:txBody>
      </p:sp>
      <p:sp>
        <p:nvSpPr>
          <p:cNvPr id="2" name="Footer" descr="{&quot;templafy&quot;:{&quot;id&quot;:&quot;c05c802d-9911-46c1-b9da-2e84ad4fe4f8&quot;}}">
            <a:extLst>
              <a:ext uri="{FF2B5EF4-FFF2-40B4-BE49-F238E27FC236}">
                <a16:creationId xmlns:a16="http://schemas.microsoft.com/office/drawing/2014/main" id="{784ED6AC-762B-721E-7D2E-770C41DC7173}"/>
              </a:ext>
            </a:extLst>
          </p:cNvPr>
          <p:cNvSpPr txBox="1"/>
          <p:nvPr userDrawn="1"/>
        </p:nvSpPr>
        <p:spPr>
          <a:xfrm>
            <a:off x="3394074" y="6435038"/>
            <a:ext cx="5400675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GB" sz="950" kern="1200" dirty="0">
              <a:solidFill>
                <a:srgbClr val="006EB6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73646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4" name="FLD_Footer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6094413" cy="6858000"/>
          </a:xfrm>
          <a:solidFill>
            <a:schemeClr val="bg1">
              <a:lumMod val="8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6858000"/>
          </a:xfrm>
          <a:solidFill>
            <a:schemeClr val="bg1">
              <a:lumMod val="7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278565" cy="12858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 in max 2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49832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693737" y="1920240"/>
            <a:ext cx="4698964" cy="4029710"/>
          </a:xfrm>
        </p:spPr>
        <p:txBody>
          <a:bodyPr/>
          <a:lstStyle>
            <a:lvl1pPr>
              <a:lnSpc>
                <a:spcPct val="95000"/>
              </a:lnSpc>
              <a:defRPr sz="2200">
                <a:solidFill>
                  <a:srgbClr val="ADCFF1"/>
                </a:solidFill>
              </a:defRPr>
            </a:lvl1pPr>
            <a:lvl2pPr>
              <a:lnSpc>
                <a:spcPct val="95000"/>
              </a:lnSpc>
              <a:defRPr sz="2200">
                <a:solidFill>
                  <a:srgbClr val="ADCFF1"/>
                </a:solidFill>
              </a:defRPr>
            </a:lvl2pPr>
            <a:lvl3pPr>
              <a:lnSpc>
                <a:spcPct val="95000"/>
              </a:lnSpc>
              <a:defRPr sz="2200">
                <a:solidFill>
                  <a:srgbClr val="ADCFF1"/>
                </a:solidFill>
              </a:defRPr>
            </a:lvl3pPr>
            <a:lvl4pPr>
              <a:lnSpc>
                <a:spcPct val="95000"/>
              </a:lnSpc>
              <a:defRPr sz="2200">
                <a:solidFill>
                  <a:srgbClr val="ADCFF1"/>
                </a:solidFill>
              </a:defRPr>
            </a:lvl4pPr>
            <a:lvl5pPr>
              <a:lnSpc>
                <a:spcPct val="95000"/>
              </a:lnSpc>
              <a:defRPr sz="2200">
                <a:solidFill>
                  <a:srgbClr val="ADCFF1"/>
                </a:solidFill>
              </a:defRPr>
            </a:lvl5pPr>
            <a:lvl6pPr>
              <a:lnSpc>
                <a:spcPct val="95000"/>
              </a:lnSpc>
              <a:defRPr sz="1800">
                <a:solidFill>
                  <a:srgbClr val="ADCFF1"/>
                </a:solidFill>
              </a:defRPr>
            </a:lvl6pPr>
            <a:lvl7pPr>
              <a:lnSpc>
                <a:spcPct val="95000"/>
              </a:lnSpc>
              <a:defRPr sz="1800">
                <a:solidFill>
                  <a:srgbClr val="ADCFF1"/>
                </a:solidFill>
              </a:defRPr>
            </a:lvl7pPr>
            <a:lvl8pPr>
              <a:lnSpc>
                <a:spcPct val="95000"/>
              </a:lnSpc>
              <a:defRPr sz="1800">
                <a:solidFill>
                  <a:srgbClr val="ADCFF1"/>
                </a:solidFill>
              </a:defRPr>
            </a:lvl8pPr>
            <a:lvl9pPr>
              <a:lnSpc>
                <a:spcPct val="95000"/>
              </a:lnSpc>
              <a:defRPr sz="1800">
                <a:solidFill>
                  <a:srgbClr val="ADCFF1"/>
                </a:solidFill>
              </a:defRPr>
            </a:lvl9pPr>
          </a:lstStyle>
          <a:p>
            <a:pPr lvl="0"/>
            <a:r>
              <a:rPr lang="en-GB" dirty="0"/>
              <a:t>Click to add chart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6858000"/>
          </a:xfrm>
          <a:solidFill>
            <a:schemeClr val="bg1">
              <a:lumMod val="7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4" name="FLD_Footer" hidden="1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 hidden="1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4736133" cy="1285875"/>
          </a:xfrm>
        </p:spPr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r>
              <a:rPr lang="en-GB" dirty="0"/>
              <a:t>Click to add title in max 2 lines</a:t>
            </a:r>
            <a:endParaRPr lang="en-GB"/>
          </a:p>
        </p:txBody>
      </p:sp>
      <p:sp>
        <p:nvSpPr>
          <p:cNvPr id="11" name="Freeform 5"/>
          <p:cNvSpPr>
            <a:spLocks noEditPoints="1"/>
          </p:cNvSpPr>
          <p:nvPr userDrawn="1"/>
        </p:nvSpPr>
        <p:spPr bwMode="auto">
          <a:xfrm>
            <a:off x="699434" y="6288498"/>
            <a:ext cx="325438" cy="328613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ADCFF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86491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086955" cy="1285875"/>
          </a:xfrm>
        </p:spPr>
        <p:txBody>
          <a:bodyPr/>
          <a:lstStyle>
            <a:lvl1pPr>
              <a:defRPr baseline="0">
                <a:solidFill>
                  <a:srgbClr val="006EB6"/>
                </a:solidFill>
              </a:defRPr>
            </a:lvl1pPr>
          </a:lstStyle>
          <a:p>
            <a:r>
              <a:rPr lang="en-GB" dirty="0"/>
              <a:t>Click to add title in max 2 lines</a:t>
            </a:r>
            <a:endParaRPr lang="en-GB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5050653" cy="3532187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6858000"/>
          </a:xfrm>
          <a:solidFill>
            <a:schemeClr val="bg1">
              <a:lumMod val="8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6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61051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7795777" cy="1285875"/>
          </a:xfrm>
        </p:spPr>
        <p:txBody>
          <a:bodyPr/>
          <a:lstStyle>
            <a:lvl1pPr>
              <a:defRPr baseline="0">
                <a:solidFill>
                  <a:srgbClr val="006EB6"/>
                </a:solidFill>
              </a:defRPr>
            </a:lvl1pPr>
          </a:lstStyle>
          <a:p>
            <a:r>
              <a:rPr lang="en-GB" dirty="0"/>
              <a:t>Click to add title in max 2 lines</a:t>
            </a:r>
            <a:endParaRPr lang="en-GB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7740144" cy="3532187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794750" y="0"/>
            <a:ext cx="3394463" cy="6858000"/>
          </a:xfrm>
          <a:solidFill>
            <a:schemeClr val="bg1">
              <a:lumMod val="85000"/>
            </a:schemeClr>
          </a:solidFill>
        </p:spPr>
        <p:txBody>
          <a:bodyPr tIns="144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6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19809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6400" y="676800"/>
            <a:ext cx="5468352" cy="4765150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7800">
                <a:solidFill>
                  <a:srgbClr val="ADCFF1"/>
                </a:solidFill>
              </a:defRPr>
            </a:lvl1pPr>
          </a:lstStyle>
          <a:p>
            <a:r>
              <a:rPr lang="en-GB" dirty="0"/>
              <a:t>Click to add title</a:t>
            </a:r>
            <a:endParaRPr lang="en-GB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3395663" y="6935411"/>
            <a:ext cx="5400675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TextBox 6" descr="{&quot;templafy&quot;:{&quot;id&quot;:&quot;d3c7255b-5497-42d3-86e4-730a42698d89&quot;}}">
            <a:extLst>
              <a:ext uri="{FF2B5EF4-FFF2-40B4-BE49-F238E27FC236}">
                <a16:creationId xmlns:a16="http://schemas.microsoft.com/office/drawing/2014/main" id="{BB2F7B30-350C-903F-8270-F5CC5DD69C08}"/>
              </a:ext>
            </a:extLst>
          </p:cNvPr>
          <p:cNvSpPr txBox="1"/>
          <p:nvPr userDrawn="1"/>
        </p:nvSpPr>
        <p:spPr>
          <a:xfrm>
            <a:off x="8794750" y="6293726"/>
            <a:ext cx="2698749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endParaRPr lang="en-GB" sz="1350" kern="1200" dirty="0"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TextBox 7" descr="{&quot;templafy&quot;:{&quot;id&quot;:&quot;a20da145-5d1b-4294-8b31-8882160edd59&quot;}}">
            <a:extLst>
              <a:ext uri="{FF2B5EF4-FFF2-40B4-BE49-F238E27FC236}">
                <a16:creationId xmlns:a16="http://schemas.microsoft.com/office/drawing/2014/main" id="{B662FBC5-1AB0-36CC-C3D6-DC210F1C13E9}"/>
              </a:ext>
            </a:extLst>
          </p:cNvPr>
          <p:cNvSpPr txBox="1"/>
          <p:nvPr userDrawn="1"/>
        </p:nvSpPr>
        <p:spPr>
          <a:xfrm>
            <a:off x="6094413" y="6113826"/>
            <a:ext cx="5399087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350" kern="1200" baseline="0" dirty="0">
                <a:solidFill>
                  <a:schemeClr val="accent3"/>
                </a:solidFill>
                <a:latin typeface="+mn-lt"/>
                <a:ea typeface="+mn-ea"/>
                <a:cs typeface="+mn-cs"/>
              </a:rPr>
              <a:t>Clara Julie Høybye Jakobsen</a:t>
            </a:r>
          </a:p>
        </p:txBody>
      </p:sp>
      <p:pic>
        <p:nvPicPr>
          <p:cNvPr id="843439034" name="Logo1" descr="{&quot;templafy&quot;:{&quot;id&quot;:&quot;b101d6d4-7e3f-4670-96d0-92fb01648cbd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3738" y="5933690"/>
            <a:ext cx="2565091" cy="69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5477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086955" cy="1285875"/>
          </a:xfrm>
        </p:spPr>
        <p:txBody>
          <a:bodyPr/>
          <a:lstStyle>
            <a:lvl1pPr>
              <a:defRPr baseline="0">
                <a:solidFill>
                  <a:srgbClr val="006EB6"/>
                </a:solidFill>
              </a:defRPr>
            </a:lvl1pPr>
          </a:lstStyle>
          <a:p>
            <a:r>
              <a:rPr lang="en-GB" dirty="0"/>
              <a:t>Click to add title in max 2 lines</a:t>
            </a:r>
            <a:endParaRPr lang="en-GB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5050653" cy="3532187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3425825"/>
          </a:xfrm>
          <a:solidFill>
            <a:schemeClr val="bg1">
              <a:lumMod val="9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6094800" y="3425824"/>
            <a:ext cx="6094413" cy="3432175"/>
          </a:xfrm>
          <a:solidFill>
            <a:schemeClr val="bg1">
              <a:lumMod val="8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7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167842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086955" cy="1285875"/>
          </a:xfrm>
        </p:spPr>
        <p:txBody>
          <a:bodyPr/>
          <a:lstStyle>
            <a:lvl1pPr>
              <a:defRPr baseline="0">
                <a:solidFill>
                  <a:srgbClr val="006EB6"/>
                </a:solidFill>
              </a:defRPr>
            </a:lvl1pPr>
          </a:lstStyle>
          <a:p>
            <a:r>
              <a:rPr lang="en-GB" dirty="0"/>
              <a:t>Click to add title in max 2 lines</a:t>
            </a:r>
            <a:endParaRPr lang="en-GB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693738" y="2417762"/>
            <a:ext cx="5050653" cy="3532187"/>
          </a:xfrm>
        </p:spPr>
        <p:txBody>
          <a:bodyPr/>
          <a:lstStyle/>
          <a:p>
            <a:pPr lvl="0"/>
            <a:r>
              <a:rPr lang="en-GB" dirty="0"/>
              <a:t>Click to add text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3425825"/>
          </a:xfrm>
          <a:solidFill>
            <a:schemeClr val="bg1">
              <a:lumMod val="9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6094801" y="3425823"/>
            <a:ext cx="2699950" cy="3434400"/>
          </a:xfrm>
          <a:solidFill>
            <a:schemeClr val="bg1">
              <a:lumMod val="85000"/>
            </a:schemeClr>
          </a:solidFill>
        </p:spPr>
        <p:txBody>
          <a:bodyPr tIns="144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17" hasCustomPrompt="1"/>
          </p:nvPr>
        </p:nvSpPr>
        <p:spPr>
          <a:xfrm>
            <a:off x="8794751" y="3425823"/>
            <a:ext cx="3394462" cy="3434400"/>
          </a:xfrm>
          <a:solidFill>
            <a:schemeClr val="bg1">
              <a:lumMod val="75000"/>
            </a:schemeClr>
          </a:solidFill>
        </p:spPr>
        <p:txBody>
          <a:bodyPr tIns="1440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8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67684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8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12189601" cy="6858000"/>
          </a:xfrm>
          <a:solidFill>
            <a:schemeClr val="bg1">
              <a:lumMod val="85000"/>
            </a:schemeClr>
          </a:solidFill>
        </p:spPr>
        <p:txBody>
          <a:bodyPr tIns="972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656568" y="391028"/>
            <a:ext cx="5437845" cy="1346332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  <a:endParaRPr lang="en-GB"/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4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3" name="TextBox 2" descr="{&quot;templafy&quot;:{&quot;id&quot;:&quot;6390351d-3c15-4653-b0c5-93edf5bd5628&quot;}}">
            <a:extLst>
              <a:ext uri="{FF2B5EF4-FFF2-40B4-BE49-F238E27FC236}">
                <a16:creationId xmlns:a16="http://schemas.microsoft.com/office/drawing/2014/main" id="{D5F14B9F-3C5C-E6C4-D9DC-42EE36F9117E}"/>
              </a:ext>
            </a:extLst>
          </p:cNvPr>
          <p:cNvSpPr txBox="1"/>
          <p:nvPr userDrawn="1"/>
        </p:nvSpPr>
        <p:spPr>
          <a:xfrm>
            <a:off x="3394074" y="6435038"/>
            <a:ext cx="5400675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GB" sz="95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779173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siness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ADCF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 </a:t>
            </a:r>
            <a:endParaRPr lang="en-GB"/>
          </a:p>
        </p:txBody>
      </p:sp>
      <p:sp>
        <p:nvSpPr>
          <p:cNvPr id="2" name="TextBox 1" descr="{&quot;templafy&quot;:{&quot;id&quot;:&quot;6020bc64-4a9b-4c84-a06e-b4576e8df290&quot;}}">
            <a:extLst>
              <a:ext uri="{FF2B5EF4-FFF2-40B4-BE49-F238E27FC236}">
                <a16:creationId xmlns:a16="http://schemas.microsoft.com/office/drawing/2014/main" id="{B3897D3A-37B7-6317-CA68-56A6C5499A92}"/>
              </a:ext>
            </a:extLst>
          </p:cNvPr>
          <p:cNvSpPr txBox="1"/>
          <p:nvPr userDrawn="1"/>
        </p:nvSpPr>
        <p:spPr>
          <a:xfrm>
            <a:off x="3394074" y="2086497"/>
            <a:ext cx="809942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800" b="1" kern="1200" dirty="0">
                <a:solidFill>
                  <a:srgbClr val="006EB6"/>
                </a:solidFill>
                <a:latin typeface="+mn-lt"/>
                <a:ea typeface="+mn-ea"/>
                <a:cs typeface="+mn-cs"/>
              </a:rPr>
              <a:t>Clara Julie Høybye Jakobsen</a:t>
            </a:r>
          </a:p>
        </p:txBody>
      </p:sp>
      <p:sp>
        <p:nvSpPr>
          <p:cNvPr id="6" name="TextBox 5" descr="{&quot;templafy&quot;:{&quot;id&quot;:&quot;725c8924-c517-4a0f-8a34-146cbc28b5fe&quot;}}">
            <a:extLst>
              <a:ext uri="{FF2B5EF4-FFF2-40B4-BE49-F238E27FC236}">
                <a16:creationId xmlns:a16="http://schemas.microsoft.com/office/drawing/2014/main" id="{9EE4EEBB-89DC-5E52-7470-8ACF590CB618}"/>
              </a:ext>
            </a:extLst>
          </p:cNvPr>
          <p:cNvSpPr txBox="1"/>
          <p:nvPr userDrawn="1"/>
        </p:nvSpPr>
        <p:spPr>
          <a:xfrm>
            <a:off x="3394074" y="2628802"/>
            <a:ext cx="809942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800" kern="1200" dirty="0">
                <a:solidFill>
                  <a:srgbClr val="006EB6"/>
                </a:solidFill>
                <a:latin typeface="+mn-lt"/>
                <a:ea typeface="+mn-ea"/>
                <a:cs typeface="+mn-cs"/>
              </a:rPr>
              <a:t>Studentermedarbejder/Kommunikation</a:t>
            </a:r>
          </a:p>
        </p:txBody>
      </p:sp>
      <p:sp>
        <p:nvSpPr>
          <p:cNvPr id="7" name="TextBox 6" descr="{&quot;templafy&quot;:{&quot;id&quot;:&quot;8ed3f183-b3d5-4187-ad25-115925668123&quot;}}">
            <a:extLst>
              <a:ext uri="{FF2B5EF4-FFF2-40B4-BE49-F238E27FC236}">
                <a16:creationId xmlns:a16="http://schemas.microsoft.com/office/drawing/2014/main" id="{90546804-6A00-C718-4DFA-F79259681198}"/>
              </a:ext>
            </a:extLst>
          </p:cNvPr>
          <p:cNvSpPr txBox="1"/>
          <p:nvPr userDrawn="1"/>
        </p:nvSpPr>
        <p:spPr>
          <a:xfrm>
            <a:off x="3394074" y="3172752"/>
            <a:ext cx="809942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800" b="1" kern="1200" baseline="0" dirty="0">
                <a:solidFill>
                  <a:srgbClr val="006EB6"/>
                </a:solidFill>
                <a:latin typeface="+mn-lt"/>
                <a:ea typeface="+mn-ea"/>
                <a:cs typeface="+mn-cs"/>
              </a:rPr>
              <a:t>clajak@norden.org</a:t>
            </a:r>
          </a:p>
        </p:txBody>
      </p:sp>
      <p:sp>
        <p:nvSpPr>
          <p:cNvPr id="9" name="TextBox 8" descr="{&quot;templafy&quot;:{&quot;id&quot;:&quot;b0da116f-8af4-4719-a75a-44a8d54ca971&quot;}}">
            <a:extLst>
              <a:ext uri="{FF2B5EF4-FFF2-40B4-BE49-F238E27FC236}">
                <a16:creationId xmlns:a16="http://schemas.microsoft.com/office/drawing/2014/main" id="{9EF2F1DF-0F8F-9E87-A74B-85105EA3D413}"/>
              </a:ext>
            </a:extLst>
          </p:cNvPr>
          <p:cNvSpPr txBox="1"/>
          <p:nvPr userDrawn="1"/>
        </p:nvSpPr>
        <p:spPr>
          <a:xfrm>
            <a:off x="3394074" y="3603639"/>
            <a:ext cx="809942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2800" b="1" kern="1200" baseline="0" dirty="0">
                <a:solidFill>
                  <a:srgbClr val="006EB6"/>
                </a:solidFill>
                <a:latin typeface="+mn-lt"/>
                <a:ea typeface="+mn-ea"/>
                <a:cs typeface="+mn-cs"/>
              </a:rPr>
              <a:t>+45 00 00 00 00</a:t>
            </a:r>
          </a:p>
        </p:txBody>
      </p:sp>
      <p:sp>
        <p:nvSpPr>
          <p:cNvPr id="10" name="Rectangle 9" descr="{&quot;templafy&quot;:{&quot;id&quot;:&quot;599ec701-74f0-4212-aaac-cf4a77d89648&quot;}}">
            <a:extLst>
              <a:ext uri="{FF2B5EF4-FFF2-40B4-BE49-F238E27FC236}">
                <a16:creationId xmlns:a16="http://schemas.microsoft.com/office/drawing/2014/main" id="{041AFA6C-870E-950F-EE09-9D3695C62C37}"/>
              </a:ext>
            </a:extLst>
          </p:cNvPr>
          <p:cNvSpPr/>
          <p:nvPr userDrawn="1"/>
        </p:nvSpPr>
        <p:spPr>
          <a:xfrm>
            <a:off x="3322320" y="4456086"/>
            <a:ext cx="8171180" cy="3303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GB" sz="1800" b="1" kern="1200" dirty="0">
                <a:solidFill>
                  <a:srgbClr val="006EB6"/>
                </a:solidFill>
                <a:latin typeface="+mn-lt"/>
                <a:ea typeface="+mn-ea"/>
                <a:cs typeface="+mn-cs"/>
              </a:rPr>
              <a:t>Nordic Council of Ministers</a:t>
            </a:r>
          </a:p>
        </p:txBody>
      </p:sp>
      <p:sp>
        <p:nvSpPr>
          <p:cNvPr id="23" name="Rectangle 22" descr="{&quot;templafy&quot;:{&quot;id&quot;:&quot;43c84dab-f3f0-40b2-be9b-3ec1ae38a0df&quot;}}">
            <a:extLst>
              <a:ext uri="{FF2B5EF4-FFF2-40B4-BE49-F238E27FC236}">
                <a16:creationId xmlns:a16="http://schemas.microsoft.com/office/drawing/2014/main" id="{D9017BFF-9212-4FDE-C9C1-ED7DD57BD820}"/>
              </a:ext>
            </a:extLst>
          </p:cNvPr>
          <p:cNvSpPr/>
          <p:nvPr userDrawn="1"/>
        </p:nvSpPr>
        <p:spPr>
          <a:xfrm>
            <a:off x="3322320" y="4731315"/>
            <a:ext cx="5472430" cy="3303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GB" sz="1800" kern="1200" dirty="0">
              <a:solidFill>
                <a:srgbClr val="006EB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 descr="{&quot;templafy&quot;:{&quot;id&quot;:&quot;de39d99c-9c4c-4875-8e09-158d0bcf5707&quot;}}">
            <a:extLst>
              <a:ext uri="{FF2B5EF4-FFF2-40B4-BE49-F238E27FC236}">
                <a16:creationId xmlns:a16="http://schemas.microsoft.com/office/drawing/2014/main" id="{51F734E8-9086-DED6-0C8B-415B266EBDF7}"/>
              </a:ext>
            </a:extLst>
          </p:cNvPr>
          <p:cNvSpPr txBox="1"/>
          <p:nvPr userDrawn="1"/>
        </p:nvSpPr>
        <p:spPr>
          <a:xfrm>
            <a:off x="3394074" y="6435038"/>
            <a:ext cx="5400675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GB" sz="950" kern="1200" dirty="0">
              <a:solidFill>
                <a:srgbClr val="006EB6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272173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E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12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tIns="792000" anchor="ctr" anchorCtr="0"/>
          <a:lstStyle>
            <a:lvl1pPr marL="0" indent="0" algn="ctr">
              <a:buNone/>
              <a:tabLst>
                <a:tab pos="1700213" algn="l"/>
              </a:tabLst>
              <a:defRPr sz="2200" baseline="0">
                <a:solidFill>
                  <a:srgbClr val="ADCFF1"/>
                </a:solidFill>
              </a:defRPr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2" name="LAN_Thanks"/>
          <p:cNvSpPr>
            <a:spLocks noGrp="1"/>
          </p:cNvSpPr>
          <p:nvPr>
            <p:ph type="title" hasCustomPrompt="1"/>
          </p:nvPr>
        </p:nvSpPr>
        <p:spPr>
          <a:xfrm>
            <a:off x="3326400" y="1639401"/>
            <a:ext cx="8167098" cy="1490661"/>
          </a:xfrm>
        </p:spPr>
        <p:txBody>
          <a:bodyPr anchor="t" anchorCtr="0"/>
          <a:lstStyle>
            <a:lvl1pPr>
              <a:defRPr sz="7800">
                <a:solidFill>
                  <a:srgbClr val="ADCFF1"/>
                </a:solidFill>
              </a:defRPr>
            </a:lvl1pPr>
          </a:lstStyle>
          <a:p>
            <a:r>
              <a:rPr lang="en-GB" dirty="0"/>
              <a:t>Click to add title</a:t>
            </a:r>
            <a:endParaRPr lang="en-GB"/>
          </a:p>
        </p:txBody>
      </p:sp>
      <p:sp>
        <p:nvSpPr>
          <p:cNvPr id="8" name="Date Placeholder 7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ADCFF1"/>
                </a:solidFill>
              </a:defRPr>
            </a:lvl1pPr>
          </a:lstStyle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13" name="Freeform 5"/>
          <p:cNvSpPr>
            <a:spLocks noEditPoints="1"/>
          </p:cNvSpPr>
          <p:nvPr userDrawn="1"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ADCFF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 </a:t>
            </a:r>
            <a:endParaRPr lang="en-GB"/>
          </a:p>
        </p:txBody>
      </p:sp>
      <p:sp>
        <p:nvSpPr>
          <p:cNvPr id="3" name="TextBox 2" descr="{&quot;templafy&quot;:{&quot;id&quot;:&quot;70046ee0-5d78-487a-a0d8-7f6aee3772b0&quot;}}">
            <a:extLst>
              <a:ext uri="{FF2B5EF4-FFF2-40B4-BE49-F238E27FC236}">
                <a16:creationId xmlns:a16="http://schemas.microsoft.com/office/drawing/2014/main" id="{BE2793EB-F3ED-8DE0-C438-AA0F069788BE}"/>
              </a:ext>
            </a:extLst>
          </p:cNvPr>
          <p:cNvSpPr txBox="1"/>
          <p:nvPr userDrawn="1"/>
        </p:nvSpPr>
        <p:spPr>
          <a:xfrm>
            <a:off x="3394074" y="6435038"/>
            <a:ext cx="5400675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GB" sz="950" kern="1200" dirty="0"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804865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 in max 2 lines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525675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985225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/>
          <p:cNvSpPr txBox="1">
            <a:spLocks/>
          </p:cNvSpPr>
          <p:nvPr userDrawn="1"/>
        </p:nvSpPr>
        <p:spPr>
          <a:xfrm>
            <a:off x="663759" y="375883"/>
            <a:ext cx="10931524" cy="61458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4800" dirty="0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  <a:t>User guide – delete</a:t>
            </a:r>
            <a:r>
              <a:rPr lang="en-GB" sz="4800" baseline="0" dirty="0">
                <a:solidFill>
                  <a:schemeClr val="accent2"/>
                </a:solidFill>
                <a:latin typeface="+mj-lt"/>
                <a:cs typeface="Arial" panose="020B0604020202020204" pitchFamily="34" charset="0"/>
              </a:rPr>
              <a:t> before use</a:t>
            </a:r>
            <a:endParaRPr lang="en-GB" sz="4800" dirty="0">
              <a:solidFill>
                <a:schemeClr val="accent2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14" name="AutoShape 4"/>
          <p:cNvSpPr>
            <a:spLocks/>
          </p:cNvSpPr>
          <p:nvPr userDrawn="1"/>
        </p:nvSpPr>
        <p:spPr bwMode="gray">
          <a:xfrm>
            <a:off x="7456919" y="3114505"/>
            <a:ext cx="2160000" cy="113877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view drawing guides</a:t>
            </a:r>
            <a:endParaRPr lang="en-GB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ab, set </a:t>
            </a:r>
            <a:b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ick mark next to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Guides</a:t>
            </a:r>
            <a:endParaRPr lang="en-GB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endParaRPr lang="en-GB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 Alt + F9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r quick </a:t>
            </a:r>
            <a:b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viewing of guides</a:t>
            </a:r>
            <a:endParaRPr lang="en-GB"/>
          </a:p>
        </p:txBody>
      </p:sp>
      <p:sp>
        <p:nvSpPr>
          <p:cNvPr id="15" name="Text Box 48"/>
          <p:cNvSpPr txBox="1">
            <a:spLocks noChangeArrowheads="1"/>
          </p:cNvSpPr>
          <p:nvPr userDrawn="1"/>
        </p:nvSpPr>
        <p:spPr bwMode="auto">
          <a:xfrm>
            <a:off x="7456919" y="1409700"/>
            <a:ext cx="2160000" cy="1585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 slide number, </a:t>
            </a:r>
            <a:b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ate and footer</a:t>
            </a:r>
            <a:endParaRPr lang="en-GB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Do this at the very end, so you get </a:t>
            </a:r>
            <a:br>
              <a:rPr lang="en-GB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</a:br>
            <a:r>
              <a:rPr lang="en-GB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all the corrections with you</a:t>
            </a:r>
            <a:endParaRPr lang="en-GB"/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tab</a:t>
            </a:r>
            <a:endParaRPr lang="en-GB" altLang="da-DK" sz="90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Header and Footer </a:t>
            </a:r>
            <a:b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(write the desired text)</a:t>
            </a:r>
            <a:endParaRPr lang="en-GB"/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to All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or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pply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</a:t>
            </a:r>
            <a:b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ly used on one slide</a:t>
            </a:r>
            <a:endParaRPr lang="en-GB"/>
          </a:p>
        </p:txBody>
      </p:sp>
      <p:sp>
        <p:nvSpPr>
          <p:cNvPr id="18" name="AutoShape 4"/>
          <p:cNvSpPr>
            <a:spLocks/>
          </p:cNvSpPr>
          <p:nvPr userDrawn="1"/>
        </p:nvSpPr>
        <p:spPr bwMode="gray">
          <a:xfrm>
            <a:off x="4359622" y="1409700"/>
            <a:ext cx="2160000" cy="78483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picture</a:t>
            </a:r>
            <a:endParaRPr lang="en-GB"/>
          </a:p>
          <a:p>
            <a:pPr eaLnBrk="1" fontAlgn="auto" hangingPunct="1">
              <a:spcBef>
                <a:spcPts val="0"/>
              </a:spcBef>
              <a:spcAft>
                <a:spcPts val="240"/>
              </a:spcAft>
              <a:buFont typeface="+mj-lt"/>
              <a:buNone/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 slides with picture placeholder, </a:t>
            </a:r>
            <a:b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on the picture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laceholder and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b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dirty="0"/>
              <a:t>insert picture via </a:t>
            </a:r>
            <a:r>
              <a:rPr lang="en-GB" sz="900" b="1" dirty="0"/>
              <a:t>Add Images</a:t>
            </a:r>
            <a:r>
              <a:rPr lang="en-GB" sz="900" dirty="0"/>
              <a:t>-button </a:t>
            </a:r>
            <a:br>
              <a:rPr lang="en-GB" sz="900" dirty="0"/>
            </a:br>
            <a:r>
              <a:rPr lang="en-GB" sz="900" dirty="0"/>
              <a:t>in the </a:t>
            </a:r>
            <a:r>
              <a:rPr lang="en-GB" sz="900" b="1" dirty="0"/>
              <a:t>NORDEN-</a:t>
            </a:r>
            <a:r>
              <a:rPr lang="en-GB" sz="900" baseline="0" dirty="0"/>
              <a:t>TAB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2" name="TextBox 12"/>
          <p:cNvSpPr txBox="1">
            <a:spLocks noChangeArrowheads="1"/>
          </p:cNvSpPr>
          <p:nvPr userDrawn="1"/>
        </p:nvSpPr>
        <p:spPr bwMode="auto">
          <a:xfrm>
            <a:off x="4359622" y="2220228"/>
            <a:ext cx="2160000" cy="24929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l" eaLnBrk="1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endParaRPr lang="en-GB" sz="10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algn="l" eaLnBrk="1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ange</a:t>
            </a:r>
            <a:r>
              <a:rPr lang="en-GB" sz="10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picture</a:t>
            </a:r>
            <a:endParaRPr lang="en-GB" sz="10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algn="l" eaLnBrk="1" hangingPunct="1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sz="900" b="1" dirty="0">
                <a:latin typeface="+mn-lt"/>
              </a:rPr>
              <a:t>NORDEN</a:t>
            </a:r>
            <a:r>
              <a:rPr lang="en-GB" sz="900" b="0" baseline="0" dirty="0">
                <a:latin typeface="+mn-lt"/>
              </a:rPr>
              <a:t>-TAB and</a:t>
            </a:r>
            <a:r>
              <a:rPr lang="en-GB" sz="900" baseline="0" dirty="0">
                <a:latin typeface="+mn-lt"/>
              </a:rPr>
              <a:t> </a:t>
            </a:r>
            <a:r>
              <a:rPr lang="en-GB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ck </a:t>
            </a:r>
            <a:b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mages Tools</a:t>
            </a:r>
            <a:r>
              <a:rPr lang="en-GB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drop down button, </a:t>
            </a:r>
            <a:br>
              <a:rPr lang="en-GB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oose </a:t>
            </a: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rop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change</a:t>
            </a:r>
            <a:r>
              <a:rPr lang="en-GB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 size</a:t>
            </a:r>
            <a:r>
              <a:rPr lang="en-GB" sz="900" b="0" kern="1200" baseline="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 or</a:t>
            </a:r>
            <a:r>
              <a:rPr lang="en-GB" sz="900" b="0" strike="noStrike" kern="1200" baseline="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 </a:t>
            </a:r>
            <a:r>
              <a:rPr lang="en-GB" sz="900" b="0" strike="no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focus</a:t>
            </a:r>
            <a:br>
              <a:rPr lang="en-GB" sz="900" b="0" strike="no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f the picture</a:t>
            </a:r>
            <a:endParaRPr lang="en-GB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algn="l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 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 you want to scale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ld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key down while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agging the corners of the </a:t>
            </a:r>
            <a:r>
              <a:rPr lang="en-GB" altLang="da-DK" sz="900" b="0" kern="1200" noProof="1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picture</a:t>
            </a:r>
            <a:endParaRPr lang="en-GB"/>
          </a:p>
          <a:p>
            <a:pPr algn="l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int: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If you delete the picture and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sert a new one, the picture may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e in front of the text or graphic</a:t>
            </a:r>
            <a:r>
              <a:rPr lang="en-GB" altLang="da-DK" sz="900" b="0" strike="no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</a:t>
            </a:r>
            <a:r>
              <a:rPr lang="en-GB" altLang="da-DK" sz="900" b="0" strike="sng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strike="noStrike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f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his happens, select the picture, </a:t>
            </a:r>
            <a:b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ight-click and 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end to Back</a:t>
            </a:r>
            <a:endParaRPr lang="en-GB"/>
          </a:p>
          <a:p>
            <a:pPr algn="l" eaLnBrk="1" hangingPunct="1">
              <a:spcBef>
                <a:spcPct val="0"/>
              </a:spcBef>
              <a:spcAft>
                <a:spcPts val="600"/>
              </a:spcAft>
              <a:buFontTx/>
              <a:buNone/>
              <a:defRPr/>
            </a:pPr>
            <a:endParaRPr lang="en-GB" altLang="da-DK" sz="900" b="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2" name="Text Box 48"/>
          <p:cNvSpPr txBox="1">
            <a:spLocks noChangeArrowheads="1"/>
          </p:cNvSpPr>
          <p:nvPr userDrawn="1"/>
        </p:nvSpPr>
        <p:spPr bwMode="auto">
          <a:xfrm>
            <a:off x="693739" y="3277385"/>
            <a:ext cx="2160000" cy="1215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layouts</a:t>
            </a:r>
            <a:endParaRPr lang="en-GB"/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tab</a:t>
            </a:r>
            <a:endParaRPr lang="en-GB" altLang="da-DK" sz="900" b="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insert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new slide</a:t>
            </a:r>
            <a:endParaRPr lang="en-GB"/>
          </a:p>
          <a:p>
            <a:pPr eaLnBrk="1" hangingPunct="1">
              <a:spcAft>
                <a:spcPts val="240"/>
              </a:spcAft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3.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hoos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ayout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change an appropriate layout from the </a:t>
            </a:r>
            <a:b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strike="noStrike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"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rop down</a:t>
            </a:r>
            <a:r>
              <a:rPr lang="en-GB" altLang="da-DK" sz="900" strike="noStrike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"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menu </a:t>
            </a: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7" name="AutoShape 4"/>
          <p:cNvSpPr>
            <a:spLocks/>
          </p:cNvSpPr>
          <p:nvPr userDrawn="1"/>
        </p:nvSpPr>
        <p:spPr bwMode="gray">
          <a:xfrm>
            <a:off x="706058" y="4709084"/>
            <a:ext cx="2160000" cy="91307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600"/>
              </a:spcAft>
              <a:buFont typeface="+mj-lt"/>
              <a:buNone/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slide</a:t>
            </a:r>
            <a:endParaRPr lang="en-GB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1.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Click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Home tab</a:t>
            </a:r>
            <a:endParaRPr lang="en-GB" altLang="da-DK" sz="900" strike="sngStrike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2.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Click th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Reset </a:t>
            </a: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menu to reset</a:t>
            </a:r>
            <a:endParaRPr lang="en-GB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position, size</a:t>
            </a: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 formatting of the</a:t>
            </a:r>
            <a:endParaRPr lang="en-GB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lide placeholders to their default settings</a:t>
            </a:r>
            <a:endParaRPr lang="en-GB" altLang="da-DK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0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 dirty="0"/>
          </a:p>
        </p:txBody>
      </p:sp>
      <p:sp>
        <p:nvSpPr>
          <p:cNvPr id="4" name="Rectangle 2"/>
          <p:cNvSpPr>
            <a:spLocks noChangeArrowheads="1"/>
          </p:cNvSpPr>
          <p:nvPr userDrawn="1"/>
        </p:nvSpPr>
        <p:spPr bwMode="auto">
          <a:xfrm>
            <a:off x="0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 dirty="0"/>
          </a:p>
        </p:txBody>
      </p:sp>
      <p:sp>
        <p:nvSpPr>
          <p:cNvPr id="29" name="Text Box 48"/>
          <p:cNvSpPr txBox="1">
            <a:spLocks noChangeArrowheads="1"/>
          </p:cNvSpPr>
          <p:nvPr userDrawn="1"/>
        </p:nvSpPr>
        <p:spPr bwMode="auto">
          <a:xfrm>
            <a:off x="693740" y="1409700"/>
            <a:ext cx="2486866" cy="16055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defRPr/>
            </a:pPr>
            <a:r>
              <a:rPr lang="en-GB" sz="10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ext</a:t>
            </a:r>
            <a:r>
              <a:rPr lang="en-GB" sz="10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styles</a:t>
            </a:r>
            <a:endParaRPr lang="en-GB" sz="10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lete bullet if you want regular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ext. Click ENTER and then Bullet-button for correct bullet.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Use the </a:t>
            </a:r>
            <a:r>
              <a:rPr lang="en-GB" altLang="da-DK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-key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jump through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evels. Click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ENTER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, then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AB</a:t>
            </a: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to switch from </a:t>
            </a:r>
            <a:b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ne level to the next level</a:t>
            </a:r>
            <a:endParaRPr lang="en-GB"/>
          </a:p>
          <a:p>
            <a:pPr eaLnBrk="1" hangingPunct="1">
              <a:spcAft>
                <a:spcPts val="240"/>
              </a:spcAft>
              <a:defRPr/>
            </a:pPr>
            <a:r>
              <a:rPr lang="en-GB" altLang="da-DK" sz="900" b="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SHIFT-TAB</a:t>
            </a:r>
            <a:endParaRPr lang="en-GB" altLang="da-DK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endParaRPr lang="en-GB" sz="900" b="1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eaLnBrk="1" hangingPunct="1">
              <a:spcAft>
                <a:spcPts val="240"/>
              </a:spcAft>
              <a:defRPr/>
            </a:pPr>
            <a:r>
              <a:rPr lang="en-GB" sz="90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Alternatively, </a:t>
            </a:r>
            <a:r>
              <a:rPr lang="en-GB" sz="900" b="1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Increase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 and</a:t>
            </a:r>
            <a:b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</a:br>
            <a:r>
              <a:rPr lang="en-GB" sz="900" b="1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Decrease </a:t>
            </a:r>
            <a:r>
              <a:rPr lang="en-GB" sz="900" baseline="0" noProof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st level can be used</a:t>
            </a:r>
            <a:endParaRPr lang="en-GB" sz="900" noProof="1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36522" y="5318642"/>
            <a:ext cx="492452" cy="200416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038544" y="3538594"/>
            <a:ext cx="324764" cy="578237"/>
          </a:xfrm>
          <a:prstGeom prst="rect">
            <a:avLst/>
          </a:prstGeom>
        </p:spPr>
      </p:pic>
      <p:pic>
        <p:nvPicPr>
          <p:cNvPr id="16" name="Billede 15"/>
          <p:cNvPicPr>
            <a:picLocks noChangeAspect="1"/>
          </p:cNvPicPr>
          <p:nvPr userDrawn="1"/>
        </p:nvPicPr>
        <p:blipFill rotWithShape="1">
          <a:blip r:embed="rId4"/>
          <a:srcRect l="36944" r="2272" b="69429"/>
          <a:stretch/>
        </p:blipFill>
        <p:spPr>
          <a:xfrm>
            <a:off x="3034534" y="4208198"/>
            <a:ext cx="593368" cy="192211"/>
          </a:xfrm>
          <a:prstGeom prst="rect">
            <a:avLst/>
          </a:prstGeom>
        </p:spPr>
      </p:pic>
      <p:pic>
        <p:nvPicPr>
          <p:cNvPr id="28" name="Billede 27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005150" y="2651636"/>
            <a:ext cx="549328" cy="285228"/>
          </a:xfrm>
          <a:prstGeom prst="rect">
            <a:avLst/>
          </a:prstGeom>
        </p:spPr>
      </p:pic>
      <p:pic>
        <p:nvPicPr>
          <p:cNvPr id="2" name="Billede 1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244130" y="3299068"/>
            <a:ext cx="359695" cy="33530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033346" y="1652716"/>
            <a:ext cx="297872" cy="18330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244130" y="1609684"/>
            <a:ext cx="379911" cy="51947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244130" y="2375882"/>
            <a:ext cx="397317" cy="58803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10"/>
          <a:srcRect t="37299" r="32484" b="50317"/>
          <a:stretch/>
        </p:blipFill>
        <p:spPr>
          <a:xfrm>
            <a:off x="6284541" y="3015268"/>
            <a:ext cx="605090" cy="130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3997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-774" y="0"/>
            <a:ext cx="12190374" cy="6858000"/>
          </a:xfrm>
        </p:spPr>
        <p:txBody>
          <a:bodyPr/>
          <a:lstStyle>
            <a:lvl1pPr marL="0" indent="0" algn="ctr">
              <a:buNone/>
              <a:defRPr baseline="0"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6400" y="676800"/>
            <a:ext cx="5468352" cy="2749025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7800">
                <a:solidFill>
                  <a:srgbClr val="006EB6"/>
                </a:solidFill>
              </a:defRPr>
            </a:lvl1pPr>
          </a:lstStyle>
          <a:p>
            <a:r>
              <a:rPr lang="en-GB" dirty="0"/>
              <a:t>Click to add title</a:t>
            </a:r>
            <a:endParaRPr lang="en-GB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3395663" y="6926599"/>
            <a:ext cx="5400675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8796338" y="6520734"/>
            <a:ext cx="2663824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7" name="Date" descr="{&quot;templafy&quot;:{&quot;id&quot;:&quot;6d372815-8319-4ad8-8822-96616dff8f50&quot;}}">
            <a:extLst>
              <a:ext uri="{FF2B5EF4-FFF2-40B4-BE49-F238E27FC236}">
                <a16:creationId xmlns:a16="http://schemas.microsoft.com/office/drawing/2014/main" id="{B306DC2A-7591-30CF-1933-F9C7A1F136CC}"/>
              </a:ext>
            </a:extLst>
          </p:cNvPr>
          <p:cNvSpPr txBox="1"/>
          <p:nvPr userDrawn="1"/>
        </p:nvSpPr>
        <p:spPr>
          <a:xfrm>
            <a:off x="8794750" y="6293726"/>
            <a:ext cx="2698749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endParaRPr lang="en-GB" sz="1350" kern="1200" dirty="0">
              <a:solidFill>
                <a:srgbClr val="006EB6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Name" descr="{&quot;templafy&quot;:{&quot;id&quot;:&quot;62fed993-0227-4a9d-8bc8-1ceff046d67b&quot;}}">
            <a:extLst>
              <a:ext uri="{FF2B5EF4-FFF2-40B4-BE49-F238E27FC236}">
                <a16:creationId xmlns:a16="http://schemas.microsoft.com/office/drawing/2014/main" id="{7620326C-480D-5EA1-4EC5-5885AC060231}"/>
              </a:ext>
            </a:extLst>
          </p:cNvPr>
          <p:cNvSpPr txBox="1"/>
          <p:nvPr userDrawn="1"/>
        </p:nvSpPr>
        <p:spPr>
          <a:xfrm>
            <a:off x="6094413" y="6113826"/>
            <a:ext cx="5399087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350" kern="1200" baseline="0" dirty="0">
                <a:solidFill>
                  <a:srgbClr val="006EB6"/>
                </a:solidFill>
                <a:latin typeface="+mn-lt"/>
                <a:ea typeface="+mn-ea"/>
                <a:cs typeface="+mn-cs"/>
              </a:rPr>
              <a:t>Clara Julie Høybye Jakobsen</a:t>
            </a:r>
          </a:p>
        </p:txBody>
      </p:sp>
      <p:pic>
        <p:nvPicPr>
          <p:cNvPr id="1638143747" name="Logo" descr="{&quot;templafy&quot;:{&quot;id&quot;:&quot;7d3f775a-900f-4f6b-a4b0-341331be93ce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8500" y="5959090"/>
            <a:ext cx="2517610" cy="50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70677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dark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3" hasCustomPrompt="1"/>
          </p:nvPr>
        </p:nvSpPr>
        <p:spPr>
          <a:xfrm>
            <a:off x="-774" y="0"/>
            <a:ext cx="12190374" cy="685800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 algn="ctr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326400" y="676800"/>
            <a:ext cx="5468352" cy="2749025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78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add title</a:t>
            </a:r>
            <a:endParaRPr lang="en-GB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1"/>
          </p:nvPr>
        </p:nvSpPr>
        <p:spPr>
          <a:xfrm>
            <a:off x="3395663" y="6926599"/>
            <a:ext cx="5400675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8796338" y="6520734"/>
            <a:ext cx="2663824" cy="222501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7" name="Date" descr="{&quot;templafy&quot;:{&quot;id&quot;:&quot;0da51115-1662-4dc3-8c0b-fd2560e30f8e&quot;}}">
            <a:extLst>
              <a:ext uri="{FF2B5EF4-FFF2-40B4-BE49-F238E27FC236}">
                <a16:creationId xmlns:a16="http://schemas.microsoft.com/office/drawing/2014/main" id="{0BD91437-4FE3-59F3-AD92-A8F9F467E27C}"/>
              </a:ext>
            </a:extLst>
          </p:cNvPr>
          <p:cNvSpPr txBox="1"/>
          <p:nvPr userDrawn="1"/>
        </p:nvSpPr>
        <p:spPr>
          <a:xfrm>
            <a:off x="8794750" y="6293726"/>
            <a:ext cx="2698749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endParaRPr lang="en-GB" sz="135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Name" descr="{&quot;templafy&quot;:{&quot;id&quot;:&quot;b2f8ac55-fc5a-4dec-8c03-999f4f30270e&quot;}}">
            <a:extLst>
              <a:ext uri="{FF2B5EF4-FFF2-40B4-BE49-F238E27FC236}">
                <a16:creationId xmlns:a16="http://schemas.microsoft.com/office/drawing/2014/main" id="{DCA83CD1-5330-1CA4-0321-FCA261DE9CD5}"/>
              </a:ext>
            </a:extLst>
          </p:cNvPr>
          <p:cNvSpPr txBox="1"/>
          <p:nvPr userDrawn="1"/>
        </p:nvSpPr>
        <p:spPr>
          <a:xfrm>
            <a:off x="6094413" y="6113826"/>
            <a:ext cx="5399087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GB" sz="135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lara Julie Høybye Jakobsen</a:t>
            </a:r>
          </a:p>
        </p:txBody>
      </p:sp>
      <p:pic>
        <p:nvPicPr>
          <p:cNvPr id="870357775" name="Logo" descr="{&quot;templafy&quot;:{&quot;id&quot;:&quot;ab139b40-1265-489e-b49b-57fddbba312f&quot;}}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3738" y="5946390"/>
            <a:ext cx="2565091" cy="69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44241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ADCF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9"/>
            <a:ext cx="10836932" cy="101867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add title in max 1 line</a:t>
            </a:r>
            <a:endParaRPr lang="en-GB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rgbClr val="ADCFF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3738" y="1361060"/>
            <a:ext cx="10799762" cy="4588890"/>
          </a:xfrm>
        </p:spPr>
        <p:txBody>
          <a:bodyPr/>
          <a:lstStyle>
            <a:lvl1pPr marL="594000" indent="-594000">
              <a:spcBef>
                <a:spcPts val="300"/>
              </a:spcBef>
              <a:defRPr sz="2800"/>
            </a:lvl1pPr>
            <a:lvl2pPr marL="846000">
              <a:defRPr sz="2200"/>
            </a:lvl2pPr>
          </a:lstStyle>
          <a:p>
            <a:pPr lvl="0"/>
            <a:r>
              <a:rPr lang="en-GB" dirty="0"/>
              <a:t>Click to add text</a:t>
            </a:r>
            <a:endParaRPr lang="en-GB"/>
          </a:p>
          <a:p>
            <a:pPr lvl="1"/>
            <a:r>
              <a:rPr lang="en-GB" dirty="0"/>
              <a:t>2</a:t>
            </a:r>
            <a:endParaRPr lang="en-GB"/>
          </a:p>
          <a:p>
            <a:pPr lvl="2"/>
            <a:r>
              <a:rPr lang="en-GB" dirty="0"/>
              <a:t>3</a:t>
            </a:r>
            <a:endParaRPr lang="en-GB"/>
          </a:p>
        </p:txBody>
      </p:sp>
      <p:sp>
        <p:nvSpPr>
          <p:cNvPr id="11" name="Freeform 5"/>
          <p:cNvSpPr>
            <a:spLocks noEditPoints="1"/>
          </p:cNvSpPr>
          <p:nvPr userDrawn="1"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 </a:t>
            </a:r>
            <a:endParaRPr lang="en-GB"/>
          </a:p>
        </p:txBody>
      </p:sp>
      <p:sp>
        <p:nvSpPr>
          <p:cNvPr id="6" name="Footer" descr="{&quot;templafy&quot;:{&quot;id&quot;:&quot;95131c06-39d9-4214-841b-c78214108a3a&quot;}}">
            <a:extLst>
              <a:ext uri="{FF2B5EF4-FFF2-40B4-BE49-F238E27FC236}">
                <a16:creationId xmlns:a16="http://schemas.microsoft.com/office/drawing/2014/main" id="{342083FF-5031-46B3-093D-A6FBDA8B8761}"/>
              </a:ext>
            </a:extLst>
          </p:cNvPr>
          <p:cNvSpPr txBox="1"/>
          <p:nvPr userDrawn="1"/>
        </p:nvSpPr>
        <p:spPr>
          <a:xfrm>
            <a:off x="3394074" y="6435038"/>
            <a:ext cx="5400675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GB" sz="950" kern="1200" dirty="0">
              <a:solidFill>
                <a:srgbClr val="006EB6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20025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rgbClr val="ADCF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56568" y="391029"/>
            <a:ext cx="10836932" cy="1018671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/>
              <a:t>Click to add title in max 1 line</a:t>
            </a:r>
            <a:endParaRPr lang="en-GB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rgbClr val="ADCFF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93738" y="1361060"/>
            <a:ext cx="10799762" cy="4588890"/>
          </a:xfrm>
        </p:spPr>
        <p:txBody>
          <a:bodyPr/>
          <a:lstStyle>
            <a:lvl1pPr marL="594000" indent="-594000">
              <a:spcBef>
                <a:spcPts val="300"/>
              </a:spcBef>
              <a:defRPr sz="2800"/>
            </a:lvl1pPr>
            <a:lvl2pPr marL="846000">
              <a:defRPr sz="2200"/>
            </a:lvl2pPr>
          </a:lstStyle>
          <a:p>
            <a:pPr lvl="0"/>
            <a:endParaRPr lang="en-GB" dirty="0"/>
          </a:p>
        </p:txBody>
      </p:sp>
      <p:sp>
        <p:nvSpPr>
          <p:cNvPr id="11" name="Freeform 5"/>
          <p:cNvSpPr>
            <a:spLocks noEditPoints="1"/>
          </p:cNvSpPr>
          <p:nvPr userDrawn="1"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 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2B45B346-A77B-4EC6-8C84-FB40FFF4A5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3738" y="1361060"/>
            <a:ext cx="5051434" cy="4588890"/>
          </a:xfrm>
        </p:spPr>
        <p:txBody>
          <a:bodyPr/>
          <a:lstStyle>
            <a:lvl1pPr marL="594000" indent="-594000">
              <a:spcBef>
                <a:spcPts val="300"/>
              </a:spcBef>
              <a:defRPr sz="2800"/>
            </a:lvl1pPr>
            <a:lvl2pPr marL="846000">
              <a:defRPr sz="2200"/>
            </a:lvl2pPr>
            <a:lvl3pPr marL="1062900" indent="-342900">
              <a:buFont typeface="Arial" panose="020B0604020202020204" pitchFamily="34" charset="0"/>
              <a:buChar char="‒"/>
              <a:defRPr/>
            </a:lvl3pPr>
            <a:lvl8pPr>
              <a:defRPr/>
            </a:lvl8pPr>
          </a:lstStyle>
          <a:p>
            <a:pPr lvl="0"/>
            <a:r>
              <a:rPr lang="en-GB" dirty="0"/>
              <a:t>Click to add text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endParaRPr lang="en-GB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13957082-E86A-48EE-96DC-1659AAE2D14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41280" y="1361060"/>
            <a:ext cx="5052217" cy="4588890"/>
          </a:xfrm>
        </p:spPr>
        <p:txBody>
          <a:bodyPr/>
          <a:lstStyle>
            <a:lvl1pPr marL="594000" indent="-594000">
              <a:spcBef>
                <a:spcPts val="300"/>
              </a:spcBef>
              <a:defRPr sz="2800"/>
            </a:lvl1pPr>
            <a:lvl2pPr marL="846000">
              <a:defRPr/>
            </a:lvl2pPr>
          </a:lstStyle>
          <a:p>
            <a:pPr lvl="0"/>
            <a:r>
              <a:rPr lang="en-GB" dirty="0"/>
              <a:t>Click to add text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endParaRPr lang="en-GB" dirty="0"/>
          </a:p>
        </p:txBody>
      </p:sp>
      <p:sp>
        <p:nvSpPr>
          <p:cNvPr id="6" name="Footer" descr="{&quot;templafy&quot;:{&quot;id&quot;:&quot;a8049012-742e-4e55-ba62-c93dbfdd12e5&quot;}}">
            <a:extLst>
              <a:ext uri="{FF2B5EF4-FFF2-40B4-BE49-F238E27FC236}">
                <a16:creationId xmlns:a16="http://schemas.microsoft.com/office/drawing/2014/main" id="{EF307E60-9B75-A237-CE39-520478FEC6AF}"/>
              </a:ext>
            </a:extLst>
          </p:cNvPr>
          <p:cNvSpPr txBox="1"/>
          <p:nvPr userDrawn="1"/>
        </p:nvSpPr>
        <p:spPr>
          <a:xfrm>
            <a:off x="3394074" y="6435038"/>
            <a:ext cx="5400675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GB" sz="950" kern="1200" dirty="0">
              <a:solidFill>
                <a:srgbClr val="006EB6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15143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add title in max 2 lines9</a:t>
            </a:r>
            <a:endParaRPr lang="en-GB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3738" y="2096496"/>
            <a:ext cx="10799760" cy="3842369"/>
          </a:xfrm>
        </p:spPr>
        <p:txBody>
          <a:bodyPr/>
          <a:lstStyle>
            <a:lvl1pPr marL="0" indent="0">
              <a:lnSpc>
                <a:spcPct val="98000"/>
              </a:lnSpc>
              <a:buFont typeface="Open Sans" panose="020B0606030504020204" pitchFamily="34" charset="0"/>
              <a:buChar char="​"/>
              <a:defRPr sz="2800"/>
            </a:lvl1pPr>
            <a:lvl2pPr marL="468000" indent="-468000">
              <a:lnSpc>
                <a:spcPct val="98000"/>
              </a:lnSpc>
              <a:buFont typeface="Arial" panose="020B0604020202020204" pitchFamily="34" charset="0"/>
              <a:buChar char="―"/>
              <a:defRPr sz="2800"/>
            </a:lvl2pPr>
            <a:lvl3pPr marL="720000" indent="-252000">
              <a:lnSpc>
                <a:spcPct val="98000"/>
              </a:lnSpc>
              <a:buFont typeface="Symbol" panose="05050102010706020507" pitchFamily="18" charset="2"/>
              <a:buChar char=""/>
              <a:defRPr sz="2800"/>
            </a:lvl3pPr>
            <a:lvl4pPr marL="972000" indent="-252000">
              <a:lnSpc>
                <a:spcPct val="98000"/>
              </a:lnSpc>
              <a:buFont typeface="Arial" panose="020B0604020202020204" pitchFamily="34" charset="0"/>
              <a:buChar char="‒"/>
              <a:defRPr sz="2800"/>
            </a:lvl4pPr>
            <a:lvl5pPr marL="1224000" indent="-252000">
              <a:lnSpc>
                <a:spcPct val="98000"/>
              </a:lnSpc>
              <a:buFont typeface="Symbol" panose="05050102010706020507" pitchFamily="18" charset="2"/>
              <a:buChar char="·"/>
              <a:defRPr sz="2800"/>
            </a:lvl5pPr>
            <a:lvl6pPr marL="1476000" indent="-252000">
              <a:lnSpc>
                <a:spcPct val="98000"/>
              </a:lnSpc>
              <a:buFont typeface="Arial" panose="020B0604020202020204" pitchFamily="34" charset="0"/>
              <a:buChar char="‒"/>
              <a:defRPr sz="2800"/>
            </a:lvl6pPr>
            <a:lvl7pPr marL="1728000" indent="-252000">
              <a:lnSpc>
                <a:spcPct val="98000"/>
              </a:lnSpc>
              <a:buFont typeface="Symbol" panose="05050102010706020507" pitchFamily="18" charset="2"/>
              <a:buChar char="·"/>
              <a:defRPr sz="2800"/>
            </a:lvl7pPr>
            <a:lvl8pPr marL="1980000" indent="-252000">
              <a:lnSpc>
                <a:spcPct val="98000"/>
              </a:lnSpc>
              <a:buFont typeface="Arial" panose="020B0604020202020204" pitchFamily="34" charset="0"/>
              <a:buChar char="‒"/>
              <a:defRPr sz="2800"/>
            </a:lvl8pPr>
            <a:lvl9pPr marL="2232000" indent="-252000">
              <a:lnSpc>
                <a:spcPct val="98000"/>
              </a:lnSpc>
              <a:buFont typeface="Symbol" panose="05050102010706020507" pitchFamily="18" charset="2"/>
              <a:buChar char="·"/>
              <a:defRPr sz="2800"/>
            </a:lvl9pPr>
          </a:lstStyle>
          <a:p>
            <a:pPr lvl="0"/>
            <a:r>
              <a:rPr lang="en-GB" dirty="0"/>
              <a:t>Click to add intro text</a:t>
            </a:r>
            <a:endParaRPr lang="en-GB"/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12411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Click to add title in max 2 lines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93738" y="2162340"/>
            <a:ext cx="10799761" cy="378761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GB" dirty="0"/>
              <a:t>Click to add text or content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4070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ckground"/>
          <p:cNvSpPr/>
          <p:nvPr userDrawn="1"/>
        </p:nvSpPr>
        <p:spPr>
          <a:xfrm>
            <a:off x="0" y="0"/>
            <a:ext cx="121896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en-GB" dirty="0" err="1"/>
          </a:p>
        </p:txBody>
      </p:sp>
      <p:sp>
        <p:nvSpPr>
          <p:cNvPr id="3" name="Date Placeholder 2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0" y="6912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Picture Placeholder 1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6094413" cy="6858000"/>
          </a:xfrm>
          <a:solidFill>
            <a:schemeClr val="bg1">
              <a:lumMod val="8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094800" y="0"/>
            <a:ext cx="6094413" cy="3425825"/>
          </a:xfrm>
          <a:solidFill>
            <a:schemeClr val="bg1">
              <a:lumMod val="95000"/>
            </a:schemeClr>
          </a:solidFill>
        </p:spPr>
        <p:txBody>
          <a:bodyPr tIns="1188000" anchor="ctr" anchorCtr="0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94800" y="3427200"/>
            <a:ext cx="2701151" cy="3425825"/>
          </a:xfrm>
          <a:solidFill>
            <a:schemeClr val="bg1">
              <a:lumMod val="75000"/>
            </a:schemeClr>
          </a:solidFill>
        </p:spPr>
        <p:txBody>
          <a:bodyPr tIns="1440000" anchor="ctr" anchorCtr="0"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  <p:sp>
        <p:nvSpPr>
          <p:cNvPr id="11" name="Picture Placeholder 4"/>
          <p:cNvSpPr>
            <a:spLocks noGrp="1"/>
          </p:cNvSpPr>
          <p:nvPr>
            <p:ph type="pic" sz="quarter" idx="16" hasCustomPrompt="1"/>
          </p:nvPr>
        </p:nvSpPr>
        <p:spPr>
          <a:xfrm>
            <a:off x="8794750" y="3427200"/>
            <a:ext cx="3397250" cy="3425825"/>
          </a:xfrm>
          <a:solidFill>
            <a:schemeClr val="bg1">
              <a:lumMod val="85000"/>
            </a:schemeClr>
          </a:solidFill>
        </p:spPr>
        <p:txBody>
          <a:bodyPr tIns="1440000" anchor="ctr" anchorCtr="0"/>
          <a:lstStyle>
            <a:lvl1pPr marL="0" indent="0" algn="ctr">
              <a:buNone/>
              <a:defRPr/>
            </a:lvl1pPr>
          </a:lstStyle>
          <a:p>
            <a:r>
              <a:rPr lang="en-GB" dirty="0"/>
              <a:t>Click here, and insert picture via Images-button in the ribb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06616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6568" y="391028"/>
            <a:ext cx="10836932" cy="12858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3738" y="2162340"/>
            <a:ext cx="10799761" cy="37876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  <a:endParaRPr lang="en-GB"/>
          </a:p>
          <a:p>
            <a:pPr lvl="1"/>
            <a:r>
              <a:rPr lang="en-GB" dirty="0"/>
              <a:t>Second level</a:t>
            </a:r>
            <a:endParaRPr lang="en-GB"/>
          </a:p>
          <a:p>
            <a:pPr lvl="2"/>
            <a:r>
              <a:rPr lang="en-GB" dirty="0"/>
              <a:t>Third level</a:t>
            </a:r>
            <a:endParaRPr lang="en-GB"/>
          </a:p>
          <a:p>
            <a:pPr lvl="3"/>
            <a:r>
              <a:rPr lang="en-GB" dirty="0"/>
              <a:t>Fourth level</a:t>
            </a:r>
            <a:endParaRPr lang="en-GB"/>
          </a:p>
          <a:p>
            <a:pPr lvl="4"/>
            <a:r>
              <a:rPr lang="en-GB" dirty="0"/>
              <a:t>Fifth level</a:t>
            </a:r>
            <a:endParaRPr lang="en-GB"/>
          </a:p>
          <a:p>
            <a:pPr lvl="5"/>
            <a:r>
              <a:rPr lang="en-GB" dirty="0"/>
              <a:t>Sixth level</a:t>
            </a:r>
            <a:endParaRPr lang="en-GB"/>
          </a:p>
          <a:p>
            <a:pPr lvl="6"/>
            <a:r>
              <a:rPr lang="en-GB" dirty="0"/>
              <a:t>Seventh level</a:t>
            </a:r>
            <a:endParaRPr lang="en-GB"/>
          </a:p>
          <a:p>
            <a:pPr lvl="7"/>
            <a:r>
              <a:rPr lang="en-GB" dirty="0"/>
              <a:t>Eight level</a:t>
            </a:r>
            <a:endParaRPr lang="en-GB"/>
          </a:p>
          <a:p>
            <a:pPr lvl="8"/>
            <a:r>
              <a:rPr lang="en-GB" dirty="0"/>
              <a:t>Night level</a:t>
            </a:r>
            <a:endParaRPr lang="en-GB"/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2"/>
          </p:nvPr>
        </p:nvSpPr>
        <p:spPr>
          <a:xfrm>
            <a:off x="9137720" y="6321576"/>
            <a:ext cx="2355779" cy="1767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100">
                <a:noFill/>
              </a:defRPr>
            </a:lvl1pPr>
          </a:lstStyle>
          <a:p>
            <a:endParaRPr lang="en-GB" dirty="0"/>
          </a:p>
        </p:txBody>
      </p:sp>
      <p:sp>
        <p:nvSpPr>
          <p:cNvPr id="5" name="FLD_Footer" hidden="1"/>
          <p:cNvSpPr>
            <a:spLocks noGrp="1"/>
          </p:cNvSpPr>
          <p:nvPr>
            <p:ph type="ftr" sz="quarter" idx="3"/>
          </p:nvPr>
        </p:nvSpPr>
        <p:spPr>
          <a:xfrm>
            <a:off x="3395663" y="6356350"/>
            <a:ext cx="5400675" cy="2225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defRPr sz="950">
                <a:solidFill>
                  <a:srgbClr val="006EB6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96337" y="6356350"/>
            <a:ext cx="2697161" cy="2225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950">
                <a:solidFill>
                  <a:srgbClr val="006EB6"/>
                </a:solidFill>
              </a:defRPr>
            </a:lvl1pPr>
          </a:lstStyle>
          <a:p>
            <a:fld id="{45D37B1E-C366-494F-A587-962AD9AABC83}" type="slidenum">
              <a:rPr lang="en-GB"/>
              <a:pPr/>
              <a:t>‹nr.›</a:t>
            </a:fld>
            <a:endParaRPr lang="en-GB" dirty="0"/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699434" y="6288499"/>
            <a:ext cx="317324" cy="317017"/>
          </a:xfrm>
          <a:custGeom>
            <a:avLst/>
            <a:gdLst>
              <a:gd name="T0" fmla="*/ 136 w 272"/>
              <a:gd name="T1" fmla="*/ 0 h 273"/>
              <a:gd name="T2" fmla="*/ 58 w 272"/>
              <a:gd name="T3" fmla="*/ 25 h 273"/>
              <a:gd name="T4" fmla="*/ 127 w 272"/>
              <a:gd name="T5" fmla="*/ 177 h 273"/>
              <a:gd name="T6" fmla="*/ 131 w 272"/>
              <a:gd name="T7" fmla="*/ 182 h 273"/>
              <a:gd name="T8" fmla="*/ 131 w 272"/>
              <a:gd name="T9" fmla="*/ 182 h 273"/>
              <a:gd name="T10" fmla="*/ 119 w 272"/>
              <a:gd name="T11" fmla="*/ 182 h 273"/>
              <a:gd name="T12" fmla="*/ 119 w 272"/>
              <a:gd name="T13" fmla="*/ 182 h 273"/>
              <a:gd name="T14" fmla="*/ 109 w 272"/>
              <a:gd name="T15" fmla="*/ 175 h 273"/>
              <a:gd name="T16" fmla="*/ 45 w 272"/>
              <a:gd name="T17" fmla="*/ 35 h 273"/>
              <a:gd name="T18" fmla="*/ 33 w 272"/>
              <a:gd name="T19" fmla="*/ 47 h 273"/>
              <a:gd name="T20" fmla="*/ 92 w 272"/>
              <a:gd name="T21" fmla="*/ 177 h 273"/>
              <a:gd name="T22" fmla="*/ 96 w 272"/>
              <a:gd name="T23" fmla="*/ 182 h 273"/>
              <a:gd name="T24" fmla="*/ 96 w 272"/>
              <a:gd name="T25" fmla="*/ 182 h 273"/>
              <a:gd name="T26" fmla="*/ 84 w 272"/>
              <a:gd name="T27" fmla="*/ 182 h 273"/>
              <a:gd name="T28" fmla="*/ 84 w 272"/>
              <a:gd name="T29" fmla="*/ 182 h 273"/>
              <a:gd name="T30" fmla="*/ 74 w 272"/>
              <a:gd name="T31" fmla="*/ 175 h 273"/>
              <a:gd name="T32" fmla="*/ 22 w 272"/>
              <a:gd name="T33" fmla="*/ 62 h 273"/>
              <a:gd name="T34" fmla="*/ 12 w 272"/>
              <a:gd name="T35" fmla="*/ 79 h 273"/>
              <a:gd name="T36" fmla="*/ 57 w 272"/>
              <a:gd name="T37" fmla="*/ 177 h 273"/>
              <a:gd name="T38" fmla="*/ 61 w 272"/>
              <a:gd name="T39" fmla="*/ 182 h 273"/>
              <a:gd name="T40" fmla="*/ 61 w 272"/>
              <a:gd name="T41" fmla="*/ 182 h 273"/>
              <a:gd name="T42" fmla="*/ 48 w 272"/>
              <a:gd name="T43" fmla="*/ 182 h 273"/>
              <a:gd name="T44" fmla="*/ 48 w 272"/>
              <a:gd name="T45" fmla="*/ 182 h 273"/>
              <a:gd name="T46" fmla="*/ 38 w 272"/>
              <a:gd name="T47" fmla="*/ 175 h 273"/>
              <a:gd name="T48" fmla="*/ 4 w 272"/>
              <a:gd name="T49" fmla="*/ 101 h 273"/>
              <a:gd name="T50" fmla="*/ 0 w 272"/>
              <a:gd name="T51" fmla="*/ 130 h 273"/>
              <a:gd name="T52" fmla="*/ 21 w 272"/>
              <a:gd name="T53" fmla="*/ 177 h 273"/>
              <a:gd name="T54" fmla="*/ 25 w 272"/>
              <a:gd name="T55" fmla="*/ 182 h 273"/>
              <a:gd name="T56" fmla="*/ 25 w 272"/>
              <a:gd name="T57" fmla="*/ 182 h 273"/>
              <a:gd name="T58" fmla="*/ 13 w 272"/>
              <a:gd name="T59" fmla="*/ 182 h 273"/>
              <a:gd name="T60" fmla="*/ 7 w 272"/>
              <a:gd name="T61" fmla="*/ 181 h 273"/>
              <a:gd name="T62" fmla="*/ 136 w 272"/>
              <a:gd name="T63" fmla="*/ 273 h 273"/>
              <a:gd name="T64" fmla="*/ 272 w 272"/>
              <a:gd name="T65" fmla="*/ 137 h 273"/>
              <a:gd name="T66" fmla="*/ 136 w 272"/>
              <a:gd name="T67" fmla="*/ 0 h 273"/>
              <a:gd name="T68" fmla="*/ 136 w 272"/>
              <a:gd name="T69" fmla="*/ 253 h 273"/>
              <a:gd name="T70" fmla="*/ 38 w 272"/>
              <a:gd name="T71" fmla="*/ 199 h 273"/>
              <a:gd name="T72" fmla="*/ 182 w 272"/>
              <a:gd name="T73" fmla="*/ 199 h 273"/>
              <a:gd name="T74" fmla="*/ 182 w 272"/>
              <a:gd name="T75" fmla="*/ 199 h 273"/>
              <a:gd name="T76" fmla="*/ 228 w 272"/>
              <a:gd name="T77" fmla="*/ 199 h 273"/>
              <a:gd name="T78" fmla="*/ 202 w 272"/>
              <a:gd name="T79" fmla="*/ 178 h 273"/>
              <a:gd name="T80" fmla="*/ 179 w 272"/>
              <a:gd name="T81" fmla="*/ 182 h 273"/>
              <a:gd name="T82" fmla="*/ 155 w 272"/>
              <a:gd name="T83" fmla="*/ 182 h 273"/>
              <a:gd name="T84" fmla="*/ 155 w 272"/>
              <a:gd name="T85" fmla="*/ 182 h 273"/>
              <a:gd name="T86" fmla="*/ 144 w 272"/>
              <a:gd name="T87" fmla="*/ 175 h 273"/>
              <a:gd name="T88" fmla="*/ 80 w 272"/>
              <a:gd name="T89" fmla="*/ 34 h 273"/>
              <a:gd name="T90" fmla="*/ 136 w 272"/>
              <a:gd name="T91" fmla="*/ 20 h 273"/>
              <a:gd name="T92" fmla="*/ 252 w 272"/>
              <a:gd name="T93" fmla="*/ 137 h 273"/>
              <a:gd name="T94" fmla="*/ 136 w 272"/>
              <a:gd name="T95" fmla="*/ 253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72" h="273">
                <a:moveTo>
                  <a:pt x="136" y="0"/>
                </a:moveTo>
                <a:cubicBezTo>
                  <a:pt x="107" y="0"/>
                  <a:pt x="80" y="9"/>
                  <a:pt x="58" y="25"/>
                </a:cubicBezTo>
                <a:cubicBezTo>
                  <a:pt x="58" y="25"/>
                  <a:pt x="126" y="174"/>
                  <a:pt x="127" y="177"/>
                </a:cubicBezTo>
                <a:cubicBezTo>
                  <a:pt x="129" y="181"/>
                  <a:pt x="131" y="182"/>
                  <a:pt x="131" y="182"/>
                </a:cubicBezTo>
                <a:cubicBezTo>
                  <a:pt x="131" y="182"/>
                  <a:pt x="131" y="182"/>
                  <a:pt x="131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9" y="182"/>
                  <a:pt x="119" y="182"/>
                  <a:pt x="119" y="182"/>
                </a:cubicBezTo>
                <a:cubicBezTo>
                  <a:pt x="114" y="182"/>
                  <a:pt x="112" y="181"/>
                  <a:pt x="109" y="175"/>
                </a:cubicBezTo>
                <a:cubicBezTo>
                  <a:pt x="45" y="35"/>
                  <a:pt x="45" y="35"/>
                  <a:pt x="45" y="35"/>
                </a:cubicBezTo>
                <a:cubicBezTo>
                  <a:pt x="41" y="39"/>
                  <a:pt x="37" y="43"/>
                  <a:pt x="33" y="47"/>
                </a:cubicBezTo>
                <a:cubicBezTo>
                  <a:pt x="53" y="91"/>
                  <a:pt x="91" y="174"/>
                  <a:pt x="92" y="177"/>
                </a:cubicBezTo>
                <a:cubicBezTo>
                  <a:pt x="94" y="181"/>
                  <a:pt x="96" y="182"/>
                  <a:pt x="96" y="182"/>
                </a:cubicBezTo>
                <a:cubicBezTo>
                  <a:pt x="96" y="182"/>
                  <a:pt x="96" y="182"/>
                  <a:pt x="96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84" y="182"/>
                  <a:pt x="84" y="182"/>
                  <a:pt x="84" y="182"/>
                </a:cubicBezTo>
                <a:cubicBezTo>
                  <a:pt x="78" y="182"/>
                  <a:pt x="76" y="181"/>
                  <a:pt x="74" y="175"/>
                </a:cubicBezTo>
                <a:cubicBezTo>
                  <a:pt x="22" y="62"/>
                  <a:pt x="22" y="62"/>
                  <a:pt x="22" y="62"/>
                </a:cubicBezTo>
                <a:cubicBezTo>
                  <a:pt x="18" y="67"/>
                  <a:pt x="15" y="73"/>
                  <a:pt x="12" y="79"/>
                </a:cubicBezTo>
                <a:cubicBezTo>
                  <a:pt x="32" y="123"/>
                  <a:pt x="55" y="175"/>
                  <a:pt x="57" y="177"/>
                </a:cubicBezTo>
                <a:cubicBezTo>
                  <a:pt x="58" y="181"/>
                  <a:pt x="61" y="182"/>
                  <a:pt x="61" y="182"/>
                </a:cubicBezTo>
                <a:cubicBezTo>
                  <a:pt x="61" y="182"/>
                  <a:pt x="61" y="182"/>
                  <a:pt x="61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8" y="182"/>
                  <a:pt x="48" y="182"/>
                  <a:pt x="48" y="182"/>
                </a:cubicBezTo>
                <a:cubicBezTo>
                  <a:pt x="43" y="182"/>
                  <a:pt x="41" y="181"/>
                  <a:pt x="38" y="175"/>
                </a:cubicBezTo>
                <a:cubicBezTo>
                  <a:pt x="4" y="101"/>
                  <a:pt x="4" y="101"/>
                  <a:pt x="4" y="101"/>
                </a:cubicBezTo>
                <a:cubicBezTo>
                  <a:pt x="2" y="110"/>
                  <a:pt x="0" y="120"/>
                  <a:pt x="0" y="130"/>
                </a:cubicBezTo>
                <a:cubicBezTo>
                  <a:pt x="11" y="155"/>
                  <a:pt x="21" y="176"/>
                  <a:pt x="21" y="177"/>
                </a:cubicBezTo>
                <a:cubicBezTo>
                  <a:pt x="23" y="181"/>
                  <a:pt x="25" y="182"/>
                  <a:pt x="25" y="182"/>
                </a:cubicBezTo>
                <a:cubicBezTo>
                  <a:pt x="25" y="182"/>
                  <a:pt x="25" y="182"/>
                  <a:pt x="25" y="182"/>
                </a:cubicBezTo>
                <a:cubicBezTo>
                  <a:pt x="13" y="182"/>
                  <a:pt x="13" y="182"/>
                  <a:pt x="13" y="182"/>
                </a:cubicBezTo>
                <a:cubicBezTo>
                  <a:pt x="10" y="182"/>
                  <a:pt x="8" y="182"/>
                  <a:pt x="7" y="181"/>
                </a:cubicBezTo>
                <a:cubicBezTo>
                  <a:pt x="25" y="234"/>
                  <a:pt x="76" y="273"/>
                  <a:pt x="136" y="273"/>
                </a:cubicBezTo>
                <a:cubicBezTo>
                  <a:pt x="211" y="273"/>
                  <a:pt x="272" y="212"/>
                  <a:pt x="272" y="137"/>
                </a:cubicBezTo>
                <a:cubicBezTo>
                  <a:pt x="272" y="61"/>
                  <a:pt x="211" y="0"/>
                  <a:pt x="136" y="0"/>
                </a:cubicBezTo>
                <a:close/>
                <a:moveTo>
                  <a:pt x="136" y="253"/>
                </a:moveTo>
                <a:cubicBezTo>
                  <a:pt x="95" y="253"/>
                  <a:pt x="58" y="232"/>
                  <a:pt x="38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228" y="199"/>
                  <a:pt x="228" y="199"/>
                  <a:pt x="228" y="199"/>
                </a:cubicBezTo>
                <a:cubicBezTo>
                  <a:pt x="202" y="178"/>
                  <a:pt x="202" y="178"/>
                  <a:pt x="202" y="178"/>
                </a:cubicBezTo>
                <a:cubicBezTo>
                  <a:pt x="202" y="178"/>
                  <a:pt x="191" y="182"/>
                  <a:pt x="179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55" y="182"/>
                  <a:pt x="155" y="182"/>
                  <a:pt x="155" y="182"/>
                </a:cubicBezTo>
                <a:cubicBezTo>
                  <a:pt x="149" y="182"/>
                  <a:pt x="147" y="181"/>
                  <a:pt x="144" y="175"/>
                </a:cubicBezTo>
                <a:cubicBezTo>
                  <a:pt x="80" y="34"/>
                  <a:pt x="80" y="34"/>
                  <a:pt x="80" y="34"/>
                </a:cubicBezTo>
                <a:cubicBezTo>
                  <a:pt x="97" y="25"/>
                  <a:pt x="116" y="20"/>
                  <a:pt x="136" y="20"/>
                </a:cubicBezTo>
                <a:cubicBezTo>
                  <a:pt x="200" y="20"/>
                  <a:pt x="252" y="72"/>
                  <a:pt x="252" y="137"/>
                </a:cubicBezTo>
                <a:cubicBezTo>
                  <a:pt x="252" y="201"/>
                  <a:pt x="200" y="253"/>
                  <a:pt x="136" y="253"/>
                </a:cubicBezTo>
                <a:close/>
              </a:path>
            </a:pathLst>
          </a:custGeom>
          <a:solidFill>
            <a:srgbClr val="006E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n-GB" dirty="0"/>
              <a:t> </a:t>
            </a:r>
            <a:endParaRPr lang="en-GB"/>
          </a:p>
        </p:txBody>
      </p:sp>
      <p:sp>
        <p:nvSpPr>
          <p:cNvPr id="7" name="Footer" descr="{&quot;templafy&quot;:{&quot;id&quot;:&quot;c79c15de-2001-4fbd-9056-71036d19b4ee&quot;}}">
            <a:extLst>
              <a:ext uri="{FF2B5EF4-FFF2-40B4-BE49-F238E27FC236}">
                <a16:creationId xmlns:a16="http://schemas.microsoft.com/office/drawing/2014/main" id="{8DD8CCED-8EF4-4EB8-4550-9C5CD0FB74DE}"/>
              </a:ext>
            </a:extLst>
          </p:cNvPr>
          <p:cNvSpPr txBox="1"/>
          <p:nvPr userDrawn="1"/>
        </p:nvSpPr>
        <p:spPr>
          <a:xfrm>
            <a:off x="3394074" y="6435038"/>
            <a:ext cx="5400675" cy="1461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GB" sz="950" kern="1200" dirty="0">
              <a:solidFill>
                <a:srgbClr val="006EB6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43522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9" r:id="rId2"/>
    <p:sldLayoutId id="2147483653" r:id="rId3"/>
    <p:sldLayoutId id="2147483671" r:id="rId4"/>
    <p:sldLayoutId id="2147483666" r:id="rId5"/>
    <p:sldLayoutId id="2147483675" r:id="rId6"/>
    <p:sldLayoutId id="2147483663" r:id="rId7"/>
    <p:sldLayoutId id="2147483655" r:id="rId8"/>
    <p:sldLayoutId id="2147483649" r:id="rId9"/>
    <p:sldLayoutId id="2147483672" r:id="rId10"/>
    <p:sldLayoutId id="2147483669" r:id="rId11"/>
    <p:sldLayoutId id="2147483664" r:id="rId12"/>
    <p:sldLayoutId id="2147483656" r:id="rId13"/>
    <p:sldLayoutId id="2147483650" r:id="rId14"/>
    <p:sldLayoutId id="2147483673" r:id="rId15"/>
    <p:sldLayoutId id="2147483667" r:id="rId16"/>
    <p:sldLayoutId id="2147483660" r:id="rId17"/>
    <p:sldLayoutId id="2147483657" r:id="rId18"/>
    <p:sldLayoutId id="2147483651" r:id="rId19"/>
    <p:sldLayoutId id="2147483670" r:id="rId20"/>
    <p:sldLayoutId id="2147483661" r:id="rId21"/>
    <p:sldLayoutId id="2147483654" r:id="rId22"/>
    <p:sldLayoutId id="2147483674" r:id="rId23"/>
    <p:sldLayoutId id="2147483668" r:id="rId24"/>
    <p:sldLayoutId id="2147483665" r:id="rId25"/>
    <p:sldLayoutId id="2147483658" r:id="rId26"/>
    <p:sldLayoutId id="2147483652" r:id="rId27"/>
  </p:sldLayoutIdLst>
  <p:hf hdr="0"/>
  <p:txStyles>
    <p:titleStyle>
      <a:lvl1pPr algn="l" defTabSz="914400" rtl="0" eaLnBrk="1" latinLnBrk="0" hangingPunct="1">
        <a:lnSpc>
          <a:spcPct val="87000"/>
        </a:lnSpc>
        <a:spcBef>
          <a:spcPct val="0"/>
        </a:spcBef>
        <a:buNone/>
        <a:defRPr sz="4800" b="1" kern="1200">
          <a:solidFill>
            <a:srgbClr val="006EB6"/>
          </a:solidFill>
          <a:latin typeface="+mj-lt"/>
          <a:ea typeface="+mj-ea"/>
          <a:cs typeface="+mj-cs"/>
        </a:defRPr>
      </a:lvl1pPr>
    </p:titleStyle>
    <p:bodyStyle>
      <a:lvl1pPr marL="468000" indent="-46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―"/>
        <a:defRPr sz="2200" kern="1200">
          <a:solidFill>
            <a:srgbClr val="006EB6"/>
          </a:solidFill>
          <a:latin typeface="+mn-lt"/>
          <a:ea typeface="+mn-ea"/>
          <a:cs typeface="+mn-cs"/>
        </a:defRPr>
      </a:lvl1pPr>
      <a:lvl2pPr marL="720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"/>
        <a:defRPr sz="2200" kern="1200">
          <a:solidFill>
            <a:srgbClr val="006EB6"/>
          </a:solidFill>
          <a:latin typeface="+mn-lt"/>
          <a:ea typeface="+mn-ea"/>
          <a:cs typeface="+mn-cs"/>
        </a:defRPr>
      </a:lvl2pPr>
      <a:lvl3pPr marL="972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>
          <a:solidFill>
            <a:srgbClr val="006EB6"/>
          </a:solidFill>
          <a:latin typeface="+mn-lt"/>
          <a:ea typeface="+mn-ea"/>
          <a:cs typeface="+mn-cs"/>
        </a:defRPr>
      </a:lvl3pPr>
      <a:lvl4pPr marL="1224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·"/>
        <a:defRPr sz="2200" kern="1200">
          <a:solidFill>
            <a:srgbClr val="006EB6"/>
          </a:solidFill>
          <a:latin typeface="+mn-lt"/>
          <a:ea typeface="+mn-ea"/>
          <a:cs typeface="+mn-cs"/>
        </a:defRPr>
      </a:lvl4pPr>
      <a:lvl5pPr marL="1476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 baseline="0">
          <a:solidFill>
            <a:srgbClr val="006EB6"/>
          </a:solidFill>
          <a:latin typeface="+mn-lt"/>
          <a:ea typeface="+mn-ea"/>
          <a:cs typeface="+mn-cs"/>
        </a:defRPr>
      </a:lvl5pPr>
      <a:lvl6pPr marL="1728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·"/>
        <a:defRPr sz="2200" kern="1200">
          <a:solidFill>
            <a:srgbClr val="006EB6"/>
          </a:solidFill>
          <a:latin typeface="+mn-lt"/>
          <a:ea typeface="+mn-ea"/>
          <a:cs typeface="+mn-cs"/>
        </a:defRPr>
      </a:lvl6pPr>
      <a:lvl7pPr marL="1980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>
          <a:solidFill>
            <a:srgbClr val="006EB6"/>
          </a:solidFill>
          <a:latin typeface="+mn-lt"/>
          <a:ea typeface="+mn-ea"/>
          <a:cs typeface="+mn-cs"/>
        </a:defRPr>
      </a:lvl7pPr>
      <a:lvl8pPr marL="2232000" indent="-252000" algn="l" defTabSz="914400" rtl="0" eaLnBrk="1" latinLnBrk="0" hangingPunct="1">
        <a:lnSpc>
          <a:spcPct val="100000"/>
        </a:lnSpc>
        <a:spcBef>
          <a:spcPts val="0"/>
        </a:spcBef>
        <a:buFont typeface="Symbol" panose="05050102010706020507" pitchFamily="18" charset="2"/>
        <a:buChar char="·"/>
        <a:defRPr sz="2200" kern="1200">
          <a:solidFill>
            <a:srgbClr val="006EB6"/>
          </a:solidFill>
          <a:latin typeface="+mn-lt"/>
          <a:ea typeface="+mn-ea"/>
          <a:cs typeface="+mn-cs"/>
        </a:defRPr>
      </a:lvl8pPr>
      <a:lvl9pPr marL="2484000" indent="-252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‒"/>
        <a:defRPr sz="2200" kern="1200">
          <a:solidFill>
            <a:srgbClr val="006EB6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37" userDrawn="1">
          <p15:clr>
            <a:srgbClr val="F26B43"/>
          </p15:clr>
        </p15:guide>
        <p15:guide id="2" pos="2138" userDrawn="1">
          <p15:clr>
            <a:srgbClr val="F26B43"/>
          </p15:clr>
        </p15:guide>
        <p15:guide id="3" orient="horz" pos="253" userDrawn="1">
          <p15:clr>
            <a:srgbClr val="F26B43"/>
          </p15:clr>
        </p15:guide>
        <p15:guide id="4" orient="horz" pos="888" userDrawn="1">
          <p15:clr>
            <a:srgbClr val="F26B43"/>
          </p15:clr>
        </p15:guide>
        <p15:guide id="5" pos="3839" userDrawn="1">
          <p15:clr>
            <a:srgbClr val="F26B43"/>
          </p15:clr>
        </p15:guide>
        <p15:guide id="6" pos="5540" userDrawn="1">
          <p15:clr>
            <a:srgbClr val="F26B43"/>
          </p15:clr>
        </p15:guide>
        <p15:guide id="7" orient="horz" pos="1523" userDrawn="1">
          <p15:clr>
            <a:srgbClr val="F26B43"/>
          </p15:clr>
        </p15:guide>
        <p15:guide id="8" orient="horz" pos="2158" userDrawn="1">
          <p15:clr>
            <a:srgbClr val="F26B43"/>
          </p15:clr>
        </p15:guide>
        <p15:guide id="9" pos="7240" userDrawn="1">
          <p15:clr>
            <a:srgbClr val="F26B43"/>
          </p15:clr>
        </p15:guide>
        <p15:guide id="10" orient="horz" pos="2793" userDrawn="1">
          <p15:clr>
            <a:srgbClr val="F26B43"/>
          </p15:clr>
        </p15:guide>
        <p15:guide id="11" orient="horz" pos="3428" userDrawn="1">
          <p15:clr>
            <a:srgbClr val="F26B43"/>
          </p15:clr>
        </p15:guide>
        <p15:guide id="13" orient="horz" pos="4063" userDrawn="1">
          <p15:clr>
            <a:srgbClr val="F26B43"/>
          </p15:clr>
        </p15:guide>
        <p15:guide id="14" orient="horz" pos="374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customXml" Target="../../customXml/item3.xml"/><Relationship Id="rId1" Type="http://schemas.openxmlformats.org/officeDocument/2006/relationships/customXml" Target="../../customXml/item4.xml"/><Relationship Id="rId6" Type="http://schemas.openxmlformats.org/officeDocument/2006/relationships/image" Target="../media/image2.emf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820.xml"/><Relationship Id="rId2" Type="http://schemas.openxmlformats.org/officeDocument/2006/relationships/customXml" Target="../../customXml/item32.xml"/><Relationship Id="rId1" Type="http://schemas.openxmlformats.org/officeDocument/2006/relationships/customXml" Target="../../customXml/item31.xml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821.xml"/><Relationship Id="rId2" Type="http://schemas.openxmlformats.org/officeDocument/2006/relationships/customXml" Target="../../customXml/item34.xml"/><Relationship Id="rId1" Type="http://schemas.openxmlformats.org/officeDocument/2006/relationships/customXml" Target="../../customXml/item33.xml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822.xml"/><Relationship Id="rId2" Type="http://schemas.openxmlformats.org/officeDocument/2006/relationships/customXml" Target="../../customXml/item36.xml"/><Relationship Id="rId1" Type="http://schemas.openxmlformats.org/officeDocument/2006/relationships/customXml" Target="../../customXml/item35.xml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25.xml"/></Relationships>
</file>

<file path=ppt/slides/_rels/slide13.xml.rels><?xml version="1.0" encoding="UTF-8" standalone="yes"?>
<Relationships xmlns="http://schemas.openxmlformats.org/package/2006/relationships"><Relationship Id="rId117" Type="http://schemas.openxmlformats.org/officeDocument/2006/relationships/tags" Target="../tags/tag937.xml"/><Relationship Id="rId299" Type="http://schemas.openxmlformats.org/officeDocument/2006/relationships/tags" Target="../tags/tag1119.xml"/><Relationship Id="rId21" Type="http://schemas.openxmlformats.org/officeDocument/2006/relationships/tags" Target="../tags/tag841.xml"/><Relationship Id="rId63" Type="http://schemas.openxmlformats.org/officeDocument/2006/relationships/tags" Target="../tags/tag883.xml"/><Relationship Id="rId159" Type="http://schemas.openxmlformats.org/officeDocument/2006/relationships/tags" Target="../tags/tag979.xml"/><Relationship Id="rId324" Type="http://schemas.openxmlformats.org/officeDocument/2006/relationships/tags" Target="../tags/tag1144.xml"/><Relationship Id="rId366" Type="http://schemas.openxmlformats.org/officeDocument/2006/relationships/tags" Target="../tags/tag1186.xml"/><Relationship Id="rId170" Type="http://schemas.openxmlformats.org/officeDocument/2006/relationships/tags" Target="../tags/tag990.xml"/><Relationship Id="rId226" Type="http://schemas.openxmlformats.org/officeDocument/2006/relationships/tags" Target="../tags/tag1046.xml"/><Relationship Id="rId268" Type="http://schemas.openxmlformats.org/officeDocument/2006/relationships/tags" Target="../tags/tag1088.xml"/><Relationship Id="rId32" Type="http://schemas.openxmlformats.org/officeDocument/2006/relationships/tags" Target="../tags/tag852.xml"/><Relationship Id="rId74" Type="http://schemas.openxmlformats.org/officeDocument/2006/relationships/tags" Target="../tags/tag894.xml"/><Relationship Id="rId128" Type="http://schemas.openxmlformats.org/officeDocument/2006/relationships/tags" Target="../tags/tag948.xml"/><Relationship Id="rId335" Type="http://schemas.openxmlformats.org/officeDocument/2006/relationships/tags" Target="../tags/tag1155.xml"/><Relationship Id="rId377" Type="http://schemas.openxmlformats.org/officeDocument/2006/relationships/tags" Target="../tags/tag1197.xml"/><Relationship Id="rId5" Type="http://schemas.openxmlformats.org/officeDocument/2006/relationships/tags" Target="../tags/tag825.xml"/><Relationship Id="rId95" Type="http://schemas.openxmlformats.org/officeDocument/2006/relationships/tags" Target="../tags/tag915.xml"/><Relationship Id="rId160" Type="http://schemas.openxmlformats.org/officeDocument/2006/relationships/tags" Target="../tags/tag980.xml"/><Relationship Id="rId181" Type="http://schemas.openxmlformats.org/officeDocument/2006/relationships/tags" Target="../tags/tag1001.xml"/><Relationship Id="rId216" Type="http://schemas.openxmlformats.org/officeDocument/2006/relationships/tags" Target="../tags/tag1036.xml"/><Relationship Id="rId237" Type="http://schemas.openxmlformats.org/officeDocument/2006/relationships/tags" Target="../tags/tag1057.xml"/><Relationship Id="rId402" Type="http://schemas.openxmlformats.org/officeDocument/2006/relationships/tags" Target="../tags/tag1222.xml"/><Relationship Id="rId258" Type="http://schemas.openxmlformats.org/officeDocument/2006/relationships/tags" Target="../tags/tag1078.xml"/><Relationship Id="rId279" Type="http://schemas.openxmlformats.org/officeDocument/2006/relationships/tags" Target="../tags/tag1099.xml"/><Relationship Id="rId22" Type="http://schemas.openxmlformats.org/officeDocument/2006/relationships/tags" Target="../tags/tag842.xml"/><Relationship Id="rId43" Type="http://schemas.openxmlformats.org/officeDocument/2006/relationships/tags" Target="../tags/tag863.xml"/><Relationship Id="rId64" Type="http://schemas.openxmlformats.org/officeDocument/2006/relationships/tags" Target="../tags/tag884.xml"/><Relationship Id="rId118" Type="http://schemas.openxmlformats.org/officeDocument/2006/relationships/tags" Target="../tags/tag938.xml"/><Relationship Id="rId139" Type="http://schemas.openxmlformats.org/officeDocument/2006/relationships/tags" Target="../tags/tag959.xml"/><Relationship Id="rId290" Type="http://schemas.openxmlformats.org/officeDocument/2006/relationships/tags" Target="../tags/tag1110.xml"/><Relationship Id="rId304" Type="http://schemas.openxmlformats.org/officeDocument/2006/relationships/tags" Target="../tags/tag1124.xml"/><Relationship Id="rId325" Type="http://schemas.openxmlformats.org/officeDocument/2006/relationships/tags" Target="../tags/tag1145.xml"/><Relationship Id="rId346" Type="http://schemas.openxmlformats.org/officeDocument/2006/relationships/tags" Target="../tags/tag1166.xml"/><Relationship Id="rId367" Type="http://schemas.openxmlformats.org/officeDocument/2006/relationships/tags" Target="../tags/tag1187.xml"/><Relationship Id="rId388" Type="http://schemas.openxmlformats.org/officeDocument/2006/relationships/tags" Target="../tags/tag1208.xml"/><Relationship Id="rId85" Type="http://schemas.openxmlformats.org/officeDocument/2006/relationships/tags" Target="../tags/tag905.xml"/><Relationship Id="rId150" Type="http://schemas.openxmlformats.org/officeDocument/2006/relationships/tags" Target="../tags/tag970.xml"/><Relationship Id="rId171" Type="http://schemas.openxmlformats.org/officeDocument/2006/relationships/tags" Target="../tags/tag991.xml"/><Relationship Id="rId192" Type="http://schemas.openxmlformats.org/officeDocument/2006/relationships/tags" Target="../tags/tag1012.xml"/><Relationship Id="rId206" Type="http://schemas.openxmlformats.org/officeDocument/2006/relationships/tags" Target="../tags/tag1026.xml"/><Relationship Id="rId227" Type="http://schemas.openxmlformats.org/officeDocument/2006/relationships/tags" Target="../tags/tag1047.xml"/><Relationship Id="rId248" Type="http://schemas.openxmlformats.org/officeDocument/2006/relationships/tags" Target="../tags/tag1068.xml"/><Relationship Id="rId269" Type="http://schemas.openxmlformats.org/officeDocument/2006/relationships/tags" Target="../tags/tag1089.xml"/><Relationship Id="rId12" Type="http://schemas.openxmlformats.org/officeDocument/2006/relationships/tags" Target="../tags/tag832.xml"/><Relationship Id="rId33" Type="http://schemas.openxmlformats.org/officeDocument/2006/relationships/tags" Target="../tags/tag853.xml"/><Relationship Id="rId108" Type="http://schemas.openxmlformats.org/officeDocument/2006/relationships/tags" Target="../tags/tag928.xml"/><Relationship Id="rId129" Type="http://schemas.openxmlformats.org/officeDocument/2006/relationships/tags" Target="../tags/tag949.xml"/><Relationship Id="rId280" Type="http://schemas.openxmlformats.org/officeDocument/2006/relationships/tags" Target="../tags/tag1100.xml"/><Relationship Id="rId315" Type="http://schemas.openxmlformats.org/officeDocument/2006/relationships/tags" Target="../tags/tag1135.xml"/><Relationship Id="rId336" Type="http://schemas.openxmlformats.org/officeDocument/2006/relationships/tags" Target="../tags/tag1156.xml"/><Relationship Id="rId357" Type="http://schemas.openxmlformats.org/officeDocument/2006/relationships/tags" Target="../tags/tag1177.xml"/><Relationship Id="rId54" Type="http://schemas.openxmlformats.org/officeDocument/2006/relationships/tags" Target="../tags/tag874.xml"/><Relationship Id="rId75" Type="http://schemas.openxmlformats.org/officeDocument/2006/relationships/tags" Target="../tags/tag895.xml"/><Relationship Id="rId96" Type="http://schemas.openxmlformats.org/officeDocument/2006/relationships/tags" Target="../tags/tag916.xml"/><Relationship Id="rId140" Type="http://schemas.openxmlformats.org/officeDocument/2006/relationships/tags" Target="../tags/tag960.xml"/><Relationship Id="rId161" Type="http://schemas.openxmlformats.org/officeDocument/2006/relationships/tags" Target="../tags/tag981.xml"/><Relationship Id="rId182" Type="http://schemas.openxmlformats.org/officeDocument/2006/relationships/tags" Target="../tags/tag1002.xml"/><Relationship Id="rId217" Type="http://schemas.openxmlformats.org/officeDocument/2006/relationships/tags" Target="../tags/tag1037.xml"/><Relationship Id="rId378" Type="http://schemas.openxmlformats.org/officeDocument/2006/relationships/tags" Target="../tags/tag1198.xml"/><Relationship Id="rId399" Type="http://schemas.openxmlformats.org/officeDocument/2006/relationships/tags" Target="../tags/tag1219.xml"/><Relationship Id="rId403" Type="http://schemas.openxmlformats.org/officeDocument/2006/relationships/tags" Target="../tags/tag1223.xml"/><Relationship Id="rId6" Type="http://schemas.openxmlformats.org/officeDocument/2006/relationships/tags" Target="../tags/tag826.xml"/><Relationship Id="rId238" Type="http://schemas.openxmlformats.org/officeDocument/2006/relationships/tags" Target="../tags/tag1058.xml"/><Relationship Id="rId259" Type="http://schemas.openxmlformats.org/officeDocument/2006/relationships/tags" Target="../tags/tag1079.xml"/><Relationship Id="rId23" Type="http://schemas.openxmlformats.org/officeDocument/2006/relationships/tags" Target="../tags/tag843.xml"/><Relationship Id="rId119" Type="http://schemas.openxmlformats.org/officeDocument/2006/relationships/tags" Target="../tags/tag939.xml"/><Relationship Id="rId270" Type="http://schemas.openxmlformats.org/officeDocument/2006/relationships/tags" Target="../tags/tag1090.xml"/><Relationship Id="rId291" Type="http://schemas.openxmlformats.org/officeDocument/2006/relationships/tags" Target="../tags/tag1111.xml"/><Relationship Id="rId305" Type="http://schemas.openxmlformats.org/officeDocument/2006/relationships/tags" Target="../tags/tag1125.xml"/><Relationship Id="rId326" Type="http://schemas.openxmlformats.org/officeDocument/2006/relationships/tags" Target="../tags/tag1146.xml"/><Relationship Id="rId347" Type="http://schemas.openxmlformats.org/officeDocument/2006/relationships/tags" Target="../tags/tag1167.xml"/><Relationship Id="rId44" Type="http://schemas.openxmlformats.org/officeDocument/2006/relationships/tags" Target="../tags/tag864.xml"/><Relationship Id="rId65" Type="http://schemas.openxmlformats.org/officeDocument/2006/relationships/tags" Target="../tags/tag885.xml"/><Relationship Id="rId86" Type="http://schemas.openxmlformats.org/officeDocument/2006/relationships/tags" Target="../tags/tag906.xml"/><Relationship Id="rId130" Type="http://schemas.openxmlformats.org/officeDocument/2006/relationships/tags" Target="../tags/tag950.xml"/><Relationship Id="rId151" Type="http://schemas.openxmlformats.org/officeDocument/2006/relationships/tags" Target="../tags/tag971.xml"/><Relationship Id="rId368" Type="http://schemas.openxmlformats.org/officeDocument/2006/relationships/tags" Target="../tags/tag1188.xml"/><Relationship Id="rId389" Type="http://schemas.openxmlformats.org/officeDocument/2006/relationships/tags" Target="../tags/tag1209.xml"/><Relationship Id="rId172" Type="http://schemas.openxmlformats.org/officeDocument/2006/relationships/tags" Target="../tags/tag992.xml"/><Relationship Id="rId193" Type="http://schemas.openxmlformats.org/officeDocument/2006/relationships/tags" Target="../tags/tag1013.xml"/><Relationship Id="rId207" Type="http://schemas.openxmlformats.org/officeDocument/2006/relationships/tags" Target="../tags/tag1027.xml"/><Relationship Id="rId228" Type="http://schemas.openxmlformats.org/officeDocument/2006/relationships/tags" Target="../tags/tag1048.xml"/><Relationship Id="rId249" Type="http://schemas.openxmlformats.org/officeDocument/2006/relationships/tags" Target="../tags/tag1069.xml"/><Relationship Id="rId13" Type="http://schemas.openxmlformats.org/officeDocument/2006/relationships/tags" Target="../tags/tag833.xml"/><Relationship Id="rId109" Type="http://schemas.openxmlformats.org/officeDocument/2006/relationships/tags" Target="../tags/tag929.xml"/><Relationship Id="rId260" Type="http://schemas.openxmlformats.org/officeDocument/2006/relationships/tags" Target="../tags/tag1080.xml"/><Relationship Id="rId281" Type="http://schemas.openxmlformats.org/officeDocument/2006/relationships/tags" Target="../tags/tag1101.xml"/><Relationship Id="rId316" Type="http://schemas.openxmlformats.org/officeDocument/2006/relationships/tags" Target="../tags/tag1136.xml"/><Relationship Id="rId337" Type="http://schemas.openxmlformats.org/officeDocument/2006/relationships/tags" Target="../tags/tag1157.xml"/><Relationship Id="rId34" Type="http://schemas.openxmlformats.org/officeDocument/2006/relationships/tags" Target="../tags/tag854.xml"/><Relationship Id="rId55" Type="http://schemas.openxmlformats.org/officeDocument/2006/relationships/tags" Target="../tags/tag875.xml"/><Relationship Id="rId76" Type="http://schemas.openxmlformats.org/officeDocument/2006/relationships/tags" Target="../tags/tag896.xml"/><Relationship Id="rId97" Type="http://schemas.openxmlformats.org/officeDocument/2006/relationships/tags" Target="../tags/tag917.xml"/><Relationship Id="rId120" Type="http://schemas.openxmlformats.org/officeDocument/2006/relationships/tags" Target="../tags/tag940.xml"/><Relationship Id="rId141" Type="http://schemas.openxmlformats.org/officeDocument/2006/relationships/tags" Target="../tags/tag961.xml"/><Relationship Id="rId358" Type="http://schemas.openxmlformats.org/officeDocument/2006/relationships/tags" Target="../tags/tag1178.xml"/><Relationship Id="rId379" Type="http://schemas.openxmlformats.org/officeDocument/2006/relationships/tags" Target="../tags/tag1199.xml"/><Relationship Id="rId7" Type="http://schemas.openxmlformats.org/officeDocument/2006/relationships/tags" Target="../tags/tag827.xml"/><Relationship Id="rId162" Type="http://schemas.openxmlformats.org/officeDocument/2006/relationships/tags" Target="../tags/tag982.xml"/><Relationship Id="rId183" Type="http://schemas.openxmlformats.org/officeDocument/2006/relationships/tags" Target="../tags/tag1003.xml"/><Relationship Id="rId218" Type="http://schemas.openxmlformats.org/officeDocument/2006/relationships/tags" Target="../tags/tag1038.xml"/><Relationship Id="rId239" Type="http://schemas.openxmlformats.org/officeDocument/2006/relationships/tags" Target="../tags/tag1059.xml"/><Relationship Id="rId390" Type="http://schemas.openxmlformats.org/officeDocument/2006/relationships/tags" Target="../tags/tag1210.xml"/><Relationship Id="rId404" Type="http://schemas.openxmlformats.org/officeDocument/2006/relationships/tags" Target="../tags/tag1224.xml"/><Relationship Id="rId250" Type="http://schemas.openxmlformats.org/officeDocument/2006/relationships/tags" Target="../tags/tag1070.xml"/><Relationship Id="rId271" Type="http://schemas.openxmlformats.org/officeDocument/2006/relationships/tags" Target="../tags/tag1091.xml"/><Relationship Id="rId292" Type="http://schemas.openxmlformats.org/officeDocument/2006/relationships/tags" Target="../tags/tag1112.xml"/><Relationship Id="rId306" Type="http://schemas.openxmlformats.org/officeDocument/2006/relationships/tags" Target="../tags/tag1126.xml"/><Relationship Id="rId24" Type="http://schemas.openxmlformats.org/officeDocument/2006/relationships/tags" Target="../tags/tag844.xml"/><Relationship Id="rId45" Type="http://schemas.openxmlformats.org/officeDocument/2006/relationships/tags" Target="../tags/tag865.xml"/><Relationship Id="rId66" Type="http://schemas.openxmlformats.org/officeDocument/2006/relationships/tags" Target="../tags/tag886.xml"/><Relationship Id="rId87" Type="http://schemas.openxmlformats.org/officeDocument/2006/relationships/tags" Target="../tags/tag907.xml"/><Relationship Id="rId110" Type="http://schemas.openxmlformats.org/officeDocument/2006/relationships/tags" Target="../tags/tag930.xml"/><Relationship Id="rId131" Type="http://schemas.openxmlformats.org/officeDocument/2006/relationships/tags" Target="../tags/tag951.xml"/><Relationship Id="rId327" Type="http://schemas.openxmlformats.org/officeDocument/2006/relationships/tags" Target="../tags/tag1147.xml"/><Relationship Id="rId348" Type="http://schemas.openxmlformats.org/officeDocument/2006/relationships/tags" Target="../tags/tag1168.xml"/><Relationship Id="rId369" Type="http://schemas.openxmlformats.org/officeDocument/2006/relationships/tags" Target="../tags/tag1189.xml"/><Relationship Id="rId152" Type="http://schemas.openxmlformats.org/officeDocument/2006/relationships/tags" Target="../tags/tag972.xml"/><Relationship Id="rId173" Type="http://schemas.openxmlformats.org/officeDocument/2006/relationships/tags" Target="../tags/tag993.xml"/><Relationship Id="rId194" Type="http://schemas.openxmlformats.org/officeDocument/2006/relationships/tags" Target="../tags/tag1014.xml"/><Relationship Id="rId208" Type="http://schemas.openxmlformats.org/officeDocument/2006/relationships/tags" Target="../tags/tag1028.xml"/><Relationship Id="rId229" Type="http://schemas.openxmlformats.org/officeDocument/2006/relationships/tags" Target="../tags/tag1049.xml"/><Relationship Id="rId380" Type="http://schemas.openxmlformats.org/officeDocument/2006/relationships/tags" Target="../tags/tag1200.xml"/><Relationship Id="rId240" Type="http://schemas.openxmlformats.org/officeDocument/2006/relationships/tags" Target="../tags/tag1060.xml"/><Relationship Id="rId261" Type="http://schemas.openxmlformats.org/officeDocument/2006/relationships/tags" Target="../tags/tag1081.xml"/><Relationship Id="rId14" Type="http://schemas.openxmlformats.org/officeDocument/2006/relationships/tags" Target="../tags/tag834.xml"/><Relationship Id="rId35" Type="http://schemas.openxmlformats.org/officeDocument/2006/relationships/tags" Target="../tags/tag855.xml"/><Relationship Id="rId56" Type="http://schemas.openxmlformats.org/officeDocument/2006/relationships/tags" Target="../tags/tag876.xml"/><Relationship Id="rId77" Type="http://schemas.openxmlformats.org/officeDocument/2006/relationships/tags" Target="../tags/tag897.xml"/><Relationship Id="rId100" Type="http://schemas.openxmlformats.org/officeDocument/2006/relationships/tags" Target="../tags/tag920.xml"/><Relationship Id="rId282" Type="http://schemas.openxmlformats.org/officeDocument/2006/relationships/tags" Target="../tags/tag1102.xml"/><Relationship Id="rId317" Type="http://schemas.openxmlformats.org/officeDocument/2006/relationships/tags" Target="../tags/tag1137.xml"/><Relationship Id="rId338" Type="http://schemas.openxmlformats.org/officeDocument/2006/relationships/tags" Target="../tags/tag1158.xml"/><Relationship Id="rId359" Type="http://schemas.openxmlformats.org/officeDocument/2006/relationships/tags" Target="../tags/tag1179.xml"/><Relationship Id="rId8" Type="http://schemas.openxmlformats.org/officeDocument/2006/relationships/tags" Target="../tags/tag828.xml"/><Relationship Id="rId98" Type="http://schemas.openxmlformats.org/officeDocument/2006/relationships/tags" Target="../tags/tag918.xml"/><Relationship Id="rId121" Type="http://schemas.openxmlformats.org/officeDocument/2006/relationships/tags" Target="../tags/tag941.xml"/><Relationship Id="rId142" Type="http://schemas.openxmlformats.org/officeDocument/2006/relationships/tags" Target="../tags/tag962.xml"/><Relationship Id="rId163" Type="http://schemas.openxmlformats.org/officeDocument/2006/relationships/tags" Target="../tags/tag983.xml"/><Relationship Id="rId184" Type="http://schemas.openxmlformats.org/officeDocument/2006/relationships/tags" Target="../tags/tag1004.xml"/><Relationship Id="rId219" Type="http://schemas.openxmlformats.org/officeDocument/2006/relationships/tags" Target="../tags/tag1039.xml"/><Relationship Id="rId370" Type="http://schemas.openxmlformats.org/officeDocument/2006/relationships/tags" Target="../tags/tag1190.xml"/><Relationship Id="rId391" Type="http://schemas.openxmlformats.org/officeDocument/2006/relationships/tags" Target="../tags/tag1211.xml"/><Relationship Id="rId405" Type="http://schemas.openxmlformats.org/officeDocument/2006/relationships/tags" Target="../tags/tag1225.xml"/><Relationship Id="rId230" Type="http://schemas.openxmlformats.org/officeDocument/2006/relationships/tags" Target="../tags/tag1050.xml"/><Relationship Id="rId251" Type="http://schemas.openxmlformats.org/officeDocument/2006/relationships/tags" Target="../tags/tag1071.xml"/><Relationship Id="rId25" Type="http://schemas.openxmlformats.org/officeDocument/2006/relationships/tags" Target="../tags/tag845.xml"/><Relationship Id="rId46" Type="http://schemas.openxmlformats.org/officeDocument/2006/relationships/tags" Target="../tags/tag866.xml"/><Relationship Id="rId67" Type="http://schemas.openxmlformats.org/officeDocument/2006/relationships/tags" Target="../tags/tag887.xml"/><Relationship Id="rId272" Type="http://schemas.openxmlformats.org/officeDocument/2006/relationships/tags" Target="../tags/tag1092.xml"/><Relationship Id="rId293" Type="http://schemas.openxmlformats.org/officeDocument/2006/relationships/tags" Target="../tags/tag1113.xml"/><Relationship Id="rId307" Type="http://schemas.openxmlformats.org/officeDocument/2006/relationships/tags" Target="../tags/tag1127.xml"/><Relationship Id="rId328" Type="http://schemas.openxmlformats.org/officeDocument/2006/relationships/tags" Target="../tags/tag1148.xml"/><Relationship Id="rId349" Type="http://schemas.openxmlformats.org/officeDocument/2006/relationships/tags" Target="../tags/tag1169.xml"/><Relationship Id="rId88" Type="http://schemas.openxmlformats.org/officeDocument/2006/relationships/tags" Target="../tags/tag908.xml"/><Relationship Id="rId111" Type="http://schemas.openxmlformats.org/officeDocument/2006/relationships/tags" Target="../tags/tag931.xml"/><Relationship Id="rId132" Type="http://schemas.openxmlformats.org/officeDocument/2006/relationships/tags" Target="../tags/tag952.xml"/><Relationship Id="rId153" Type="http://schemas.openxmlformats.org/officeDocument/2006/relationships/tags" Target="../tags/tag973.xml"/><Relationship Id="rId174" Type="http://schemas.openxmlformats.org/officeDocument/2006/relationships/tags" Target="../tags/tag994.xml"/><Relationship Id="rId195" Type="http://schemas.openxmlformats.org/officeDocument/2006/relationships/tags" Target="../tags/tag1015.xml"/><Relationship Id="rId209" Type="http://schemas.openxmlformats.org/officeDocument/2006/relationships/tags" Target="../tags/tag1029.xml"/><Relationship Id="rId360" Type="http://schemas.openxmlformats.org/officeDocument/2006/relationships/tags" Target="../tags/tag1180.xml"/><Relationship Id="rId381" Type="http://schemas.openxmlformats.org/officeDocument/2006/relationships/tags" Target="../tags/tag1201.xml"/><Relationship Id="rId220" Type="http://schemas.openxmlformats.org/officeDocument/2006/relationships/tags" Target="../tags/tag1040.xml"/><Relationship Id="rId241" Type="http://schemas.openxmlformats.org/officeDocument/2006/relationships/tags" Target="../tags/tag1061.xml"/><Relationship Id="rId15" Type="http://schemas.openxmlformats.org/officeDocument/2006/relationships/tags" Target="../tags/tag835.xml"/><Relationship Id="rId36" Type="http://schemas.openxmlformats.org/officeDocument/2006/relationships/tags" Target="../tags/tag856.xml"/><Relationship Id="rId57" Type="http://schemas.openxmlformats.org/officeDocument/2006/relationships/tags" Target="../tags/tag877.xml"/><Relationship Id="rId262" Type="http://schemas.openxmlformats.org/officeDocument/2006/relationships/tags" Target="../tags/tag1082.xml"/><Relationship Id="rId283" Type="http://schemas.openxmlformats.org/officeDocument/2006/relationships/tags" Target="../tags/tag1103.xml"/><Relationship Id="rId318" Type="http://schemas.openxmlformats.org/officeDocument/2006/relationships/tags" Target="../tags/tag1138.xml"/><Relationship Id="rId339" Type="http://schemas.openxmlformats.org/officeDocument/2006/relationships/tags" Target="../tags/tag1159.xml"/><Relationship Id="rId78" Type="http://schemas.openxmlformats.org/officeDocument/2006/relationships/tags" Target="../tags/tag898.xml"/><Relationship Id="rId99" Type="http://schemas.openxmlformats.org/officeDocument/2006/relationships/tags" Target="../tags/tag919.xml"/><Relationship Id="rId101" Type="http://schemas.openxmlformats.org/officeDocument/2006/relationships/tags" Target="../tags/tag921.xml"/><Relationship Id="rId122" Type="http://schemas.openxmlformats.org/officeDocument/2006/relationships/tags" Target="../tags/tag942.xml"/><Relationship Id="rId143" Type="http://schemas.openxmlformats.org/officeDocument/2006/relationships/tags" Target="../tags/tag963.xml"/><Relationship Id="rId164" Type="http://schemas.openxmlformats.org/officeDocument/2006/relationships/tags" Target="../tags/tag984.xml"/><Relationship Id="rId185" Type="http://schemas.openxmlformats.org/officeDocument/2006/relationships/tags" Target="../tags/tag1005.xml"/><Relationship Id="rId350" Type="http://schemas.openxmlformats.org/officeDocument/2006/relationships/tags" Target="../tags/tag1170.xml"/><Relationship Id="rId371" Type="http://schemas.openxmlformats.org/officeDocument/2006/relationships/tags" Target="../tags/tag1191.xml"/><Relationship Id="rId406" Type="http://schemas.openxmlformats.org/officeDocument/2006/relationships/tags" Target="../tags/tag1226.xml"/><Relationship Id="rId9" Type="http://schemas.openxmlformats.org/officeDocument/2006/relationships/tags" Target="../tags/tag829.xml"/><Relationship Id="rId210" Type="http://schemas.openxmlformats.org/officeDocument/2006/relationships/tags" Target="../tags/tag1030.xml"/><Relationship Id="rId392" Type="http://schemas.openxmlformats.org/officeDocument/2006/relationships/tags" Target="../tags/tag1212.xml"/><Relationship Id="rId26" Type="http://schemas.openxmlformats.org/officeDocument/2006/relationships/tags" Target="../tags/tag846.xml"/><Relationship Id="rId231" Type="http://schemas.openxmlformats.org/officeDocument/2006/relationships/tags" Target="../tags/tag1051.xml"/><Relationship Id="rId252" Type="http://schemas.openxmlformats.org/officeDocument/2006/relationships/tags" Target="../tags/tag1072.xml"/><Relationship Id="rId273" Type="http://schemas.openxmlformats.org/officeDocument/2006/relationships/tags" Target="../tags/tag1093.xml"/><Relationship Id="rId294" Type="http://schemas.openxmlformats.org/officeDocument/2006/relationships/tags" Target="../tags/tag1114.xml"/><Relationship Id="rId308" Type="http://schemas.openxmlformats.org/officeDocument/2006/relationships/tags" Target="../tags/tag1128.xml"/><Relationship Id="rId329" Type="http://schemas.openxmlformats.org/officeDocument/2006/relationships/tags" Target="../tags/tag1149.xml"/><Relationship Id="rId47" Type="http://schemas.openxmlformats.org/officeDocument/2006/relationships/tags" Target="../tags/tag867.xml"/><Relationship Id="rId68" Type="http://schemas.openxmlformats.org/officeDocument/2006/relationships/tags" Target="../tags/tag888.xml"/><Relationship Id="rId89" Type="http://schemas.openxmlformats.org/officeDocument/2006/relationships/tags" Target="../tags/tag909.xml"/><Relationship Id="rId112" Type="http://schemas.openxmlformats.org/officeDocument/2006/relationships/tags" Target="../tags/tag932.xml"/><Relationship Id="rId133" Type="http://schemas.openxmlformats.org/officeDocument/2006/relationships/tags" Target="../tags/tag953.xml"/><Relationship Id="rId154" Type="http://schemas.openxmlformats.org/officeDocument/2006/relationships/tags" Target="../tags/tag974.xml"/><Relationship Id="rId175" Type="http://schemas.openxmlformats.org/officeDocument/2006/relationships/tags" Target="../tags/tag995.xml"/><Relationship Id="rId340" Type="http://schemas.openxmlformats.org/officeDocument/2006/relationships/tags" Target="../tags/tag1160.xml"/><Relationship Id="rId361" Type="http://schemas.openxmlformats.org/officeDocument/2006/relationships/tags" Target="../tags/tag1181.xml"/><Relationship Id="rId196" Type="http://schemas.openxmlformats.org/officeDocument/2006/relationships/tags" Target="../tags/tag1016.xml"/><Relationship Id="rId200" Type="http://schemas.openxmlformats.org/officeDocument/2006/relationships/tags" Target="../tags/tag1020.xml"/><Relationship Id="rId382" Type="http://schemas.openxmlformats.org/officeDocument/2006/relationships/tags" Target="../tags/tag1202.xml"/><Relationship Id="rId16" Type="http://schemas.openxmlformats.org/officeDocument/2006/relationships/tags" Target="../tags/tag836.xml"/><Relationship Id="rId221" Type="http://schemas.openxmlformats.org/officeDocument/2006/relationships/tags" Target="../tags/tag1041.xml"/><Relationship Id="rId242" Type="http://schemas.openxmlformats.org/officeDocument/2006/relationships/tags" Target="../tags/tag1062.xml"/><Relationship Id="rId263" Type="http://schemas.openxmlformats.org/officeDocument/2006/relationships/tags" Target="../tags/tag1083.xml"/><Relationship Id="rId284" Type="http://schemas.openxmlformats.org/officeDocument/2006/relationships/tags" Target="../tags/tag1104.xml"/><Relationship Id="rId319" Type="http://schemas.openxmlformats.org/officeDocument/2006/relationships/tags" Target="../tags/tag1139.xml"/><Relationship Id="rId37" Type="http://schemas.openxmlformats.org/officeDocument/2006/relationships/tags" Target="../tags/tag857.xml"/><Relationship Id="rId58" Type="http://schemas.openxmlformats.org/officeDocument/2006/relationships/tags" Target="../tags/tag878.xml"/><Relationship Id="rId79" Type="http://schemas.openxmlformats.org/officeDocument/2006/relationships/tags" Target="../tags/tag899.xml"/><Relationship Id="rId102" Type="http://schemas.openxmlformats.org/officeDocument/2006/relationships/tags" Target="../tags/tag922.xml"/><Relationship Id="rId123" Type="http://schemas.openxmlformats.org/officeDocument/2006/relationships/tags" Target="../tags/tag943.xml"/><Relationship Id="rId144" Type="http://schemas.openxmlformats.org/officeDocument/2006/relationships/tags" Target="../tags/tag964.xml"/><Relationship Id="rId330" Type="http://schemas.openxmlformats.org/officeDocument/2006/relationships/tags" Target="../tags/tag1150.xml"/><Relationship Id="rId90" Type="http://schemas.openxmlformats.org/officeDocument/2006/relationships/tags" Target="../tags/tag910.xml"/><Relationship Id="rId165" Type="http://schemas.openxmlformats.org/officeDocument/2006/relationships/tags" Target="../tags/tag985.xml"/><Relationship Id="rId186" Type="http://schemas.openxmlformats.org/officeDocument/2006/relationships/tags" Target="../tags/tag1006.xml"/><Relationship Id="rId351" Type="http://schemas.openxmlformats.org/officeDocument/2006/relationships/tags" Target="../tags/tag1171.xml"/><Relationship Id="rId372" Type="http://schemas.openxmlformats.org/officeDocument/2006/relationships/tags" Target="../tags/tag1192.xml"/><Relationship Id="rId393" Type="http://schemas.openxmlformats.org/officeDocument/2006/relationships/tags" Target="../tags/tag1213.xml"/><Relationship Id="rId407" Type="http://schemas.openxmlformats.org/officeDocument/2006/relationships/tags" Target="../tags/tag1227.xml"/><Relationship Id="rId211" Type="http://schemas.openxmlformats.org/officeDocument/2006/relationships/tags" Target="../tags/tag1031.xml"/><Relationship Id="rId232" Type="http://schemas.openxmlformats.org/officeDocument/2006/relationships/tags" Target="../tags/tag1052.xml"/><Relationship Id="rId253" Type="http://schemas.openxmlformats.org/officeDocument/2006/relationships/tags" Target="../tags/tag1073.xml"/><Relationship Id="rId274" Type="http://schemas.openxmlformats.org/officeDocument/2006/relationships/tags" Target="../tags/tag1094.xml"/><Relationship Id="rId295" Type="http://schemas.openxmlformats.org/officeDocument/2006/relationships/tags" Target="../tags/tag1115.xml"/><Relationship Id="rId309" Type="http://schemas.openxmlformats.org/officeDocument/2006/relationships/tags" Target="../tags/tag1129.xml"/><Relationship Id="rId27" Type="http://schemas.openxmlformats.org/officeDocument/2006/relationships/tags" Target="../tags/tag847.xml"/><Relationship Id="rId48" Type="http://schemas.openxmlformats.org/officeDocument/2006/relationships/tags" Target="../tags/tag868.xml"/><Relationship Id="rId69" Type="http://schemas.openxmlformats.org/officeDocument/2006/relationships/tags" Target="../tags/tag889.xml"/><Relationship Id="rId113" Type="http://schemas.openxmlformats.org/officeDocument/2006/relationships/tags" Target="../tags/tag933.xml"/><Relationship Id="rId134" Type="http://schemas.openxmlformats.org/officeDocument/2006/relationships/tags" Target="../tags/tag954.xml"/><Relationship Id="rId320" Type="http://schemas.openxmlformats.org/officeDocument/2006/relationships/tags" Target="../tags/tag1140.xml"/><Relationship Id="rId80" Type="http://schemas.openxmlformats.org/officeDocument/2006/relationships/tags" Target="../tags/tag900.xml"/><Relationship Id="rId155" Type="http://schemas.openxmlformats.org/officeDocument/2006/relationships/tags" Target="../tags/tag975.xml"/><Relationship Id="rId176" Type="http://schemas.openxmlformats.org/officeDocument/2006/relationships/tags" Target="../tags/tag996.xml"/><Relationship Id="rId197" Type="http://schemas.openxmlformats.org/officeDocument/2006/relationships/tags" Target="../tags/tag1017.xml"/><Relationship Id="rId341" Type="http://schemas.openxmlformats.org/officeDocument/2006/relationships/tags" Target="../tags/tag1161.xml"/><Relationship Id="rId362" Type="http://schemas.openxmlformats.org/officeDocument/2006/relationships/tags" Target="../tags/tag1182.xml"/><Relationship Id="rId383" Type="http://schemas.openxmlformats.org/officeDocument/2006/relationships/tags" Target="../tags/tag1203.xml"/><Relationship Id="rId201" Type="http://schemas.openxmlformats.org/officeDocument/2006/relationships/tags" Target="../tags/tag1021.xml"/><Relationship Id="rId222" Type="http://schemas.openxmlformats.org/officeDocument/2006/relationships/tags" Target="../tags/tag1042.xml"/><Relationship Id="rId243" Type="http://schemas.openxmlformats.org/officeDocument/2006/relationships/tags" Target="../tags/tag1063.xml"/><Relationship Id="rId264" Type="http://schemas.openxmlformats.org/officeDocument/2006/relationships/tags" Target="../tags/tag1084.xml"/><Relationship Id="rId285" Type="http://schemas.openxmlformats.org/officeDocument/2006/relationships/tags" Target="../tags/tag1105.xml"/><Relationship Id="rId17" Type="http://schemas.openxmlformats.org/officeDocument/2006/relationships/tags" Target="../tags/tag837.xml"/><Relationship Id="rId38" Type="http://schemas.openxmlformats.org/officeDocument/2006/relationships/tags" Target="../tags/tag858.xml"/><Relationship Id="rId59" Type="http://schemas.openxmlformats.org/officeDocument/2006/relationships/tags" Target="../tags/tag879.xml"/><Relationship Id="rId103" Type="http://schemas.openxmlformats.org/officeDocument/2006/relationships/tags" Target="../tags/tag923.xml"/><Relationship Id="rId124" Type="http://schemas.openxmlformats.org/officeDocument/2006/relationships/tags" Target="../tags/tag944.xml"/><Relationship Id="rId310" Type="http://schemas.openxmlformats.org/officeDocument/2006/relationships/tags" Target="../tags/tag1130.xml"/><Relationship Id="rId70" Type="http://schemas.openxmlformats.org/officeDocument/2006/relationships/tags" Target="../tags/tag890.xml"/><Relationship Id="rId91" Type="http://schemas.openxmlformats.org/officeDocument/2006/relationships/tags" Target="../tags/tag911.xml"/><Relationship Id="rId145" Type="http://schemas.openxmlformats.org/officeDocument/2006/relationships/tags" Target="../tags/tag965.xml"/><Relationship Id="rId166" Type="http://schemas.openxmlformats.org/officeDocument/2006/relationships/tags" Target="../tags/tag986.xml"/><Relationship Id="rId187" Type="http://schemas.openxmlformats.org/officeDocument/2006/relationships/tags" Target="../tags/tag1007.xml"/><Relationship Id="rId331" Type="http://schemas.openxmlformats.org/officeDocument/2006/relationships/tags" Target="../tags/tag1151.xml"/><Relationship Id="rId352" Type="http://schemas.openxmlformats.org/officeDocument/2006/relationships/tags" Target="../tags/tag1172.xml"/><Relationship Id="rId373" Type="http://schemas.openxmlformats.org/officeDocument/2006/relationships/tags" Target="../tags/tag1193.xml"/><Relationship Id="rId394" Type="http://schemas.openxmlformats.org/officeDocument/2006/relationships/tags" Target="../tags/tag1214.xml"/><Relationship Id="rId408" Type="http://schemas.openxmlformats.org/officeDocument/2006/relationships/slideLayout" Target="../slideLayouts/slideLayout25.xml"/><Relationship Id="rId1" Type="http://schemas.openxmlformats.org/officeDocument/2006/relationships/customXml" Target="../../customXml/item37.xml"/><Relationship Id="rId212" Type="http://schemas.openxmlformats.org/officeDocument/2006/relationships/tags" Target="../tags/tag1032.xml"/><Relationship Id="rId233" Type="http://schemas.openxmlformats.org/officeDocument/2006/relationships/tags" Target="../tags/tag1053.xml"/><Relationship Id="rId254" Type="http://schemas.openxmlformats.org/officeDocument/2006/relationships/tags" Target="../tags/tag1074.xml"/><Relationship Id="rId28" Type="http://schemas.openxmlformats.org/officeDocument/2006/relationships/tags" Target="../tags/tag848.xml"/><Relationship Id="rId49" Type="http://schemas.openxmlformats.org/officeDocument/2006/relationships/tags" Target="../tags/tag869.xml"/><Relationship Id="rId114" Type="http://schemas.openxmlformats.org/officeDocument/2006/relationships/tags" Target="../tags/tag934.xml"/><Relationship Id="rId275" Type="http://schemas.openxmlformats.org/officeDocument/2006/relationships/tags" Target="../tags/tag1095.xml"/><Relationship Id="rId296" Type="http://schemas.openxmlformats.org/officeDocument/2006/relationships/tags" Target="../tags/tag1116.xml"/><Relationship Id="rId300" Type="http://schemas.openxmlformats.org/officeDocument/2006/relationships/tags" Target="../tags/tag1120.xml"/><Relationship Id="rId60" Type="http://schemas.openxmlformats.org/officeDocument/2006/relationships/tags" Target="../tags/tag880.xml"/><Relationship Id="rId81" Type="http://schemas.openxmlformats.org/officeDocument/2006/relationships/tags" Target="../tags/tag901.xml"/><Relationship Id="rId135" Type="http://schemas.openxmlformats.org/officeDocument/2006/relationships/tags" Target="../tags/tag955.xml"/><Relationship Id="rId156" Type="http://schemas.openxmlformats.org/officeDocument/2006/relationships/tags" Target="../tags/tag976.xml"/><Relationship Id="rId177" Type="http://schemas.openxmlformats.org/officeDocument/2006/relationships/tags" Target="../tags/tag997.xml"/><Relationship Id="rId198" Type="http://schemas.openxmlformats.org/officeDocument/2006/relationships/tags" Target="../tags/tag1018.xml"/><Relationship Id="rId321" Type="http://schemas.openxmlformats.org/officeDocument/2006/relationships/tags" Target="../tags/tag1141.xml"/><Relationship Id="rId342" Type="http://schemas.openxmlformats.org/officeDocument/2006/relationships/tags" Target="../tags/tag1162.xml"/><Relationship Id="rId363" Type="http://schemas.openxmlformats.org/officeDocument/2006/relationships/tags" Target="../tags/tag1183.xml"/><Relationship Id="rId384" Type="http://schemas.openxmlformats.org/officeDocument/2006/relationships/tags" Target="../tags/tag1204.xml"/><Relationship Id="rId202" Type="http://schemas.openxmlformats.org/officeDocument/2006/relationships/tags" Target="../tags/tag1022.xml"/><Relationship Id="rId223" Type="http://schemas.openxmlformats.org/officeDocument/2006/relationships/tags" Target="../tags/tag1043.xml"/><Relationship Id="rId244" Type="http://schemas.openxmlformats.org/officeDocument/2006/relationships/tags" Target="../tags/tag1064.xml"/><Relationship Id="rId18" Type="http://schemas.openxmlformats.org/officeDocument/2006/relationships/tags" Target="../tags/tag838.xml"/><Relationship Id="rId39" Type="http://schemas.openxmlformats.org/officeDocument/2006/relationships/tags" Target="../tags/tag859.xml"/><Relationship Id="rId265" Type="http://schemas.openxmlformats.org/officeDocument/2006/relationships/tags" Target="../tags/tag1085.xml"/><Relationship Id="rId286" Type="http://schemas.openxmlformats.org/officeDocument/2006/relationships/tags" Target="../tags/tag1106.xml"/><Relationship Id="rId50" Type="http://schemas.openxmlformats.org/officeDocument/2006/relationships/tags" Target="../tags/tag870.xml"/><Relationship Id="rId104" Type="http://schemas.openxmlformats.org/officeDocument/2006/relationships/tags" Target="../tags/tag924.xml"/><Relationship Id="rId125" Type="http://schemas.openxmlformats.org/officeDocument/2006/relationships/tags" Target="../tags/tag945.xml"/><Relationship Id="rId146" Type="http://schemas.openxmlformats.org/officeDocument/2006/relationships/tags" Target="../tags/tag966.xml"/><Relationship Id="rId167" Type="http://schemas.openxmlformats.org/officeDocument/2006/relationships/tags" Target="../tags/tag987.xml"/><Relationship Id="rId188" Type="http://schemas.openxmlformats.org/officeDocument/2006/relationships/tags" Target="../tags/tag1008.xml"/><Relationship Id="rId311" Type="http://schemas.openxmlformats.org/officeDocument/2006/relationships/tags" Target="../tags/tag1131.xml"/><Relationship Id="rId332" Type="http://schemas.openxmlformats.org/officeDocument/2006/relationships/tags" Target="../tags/tag1152.xml"/><Relationship Id="rId353" Type="http://schemas.openxmlformats.org/officeDocument/2006/relationships/tags" Target="../tags/tag1173.xml"/><Relationship Id="rId374" Type="http://schemas.openxmlformats.org/officeDocument/2006/relationships/tags" Target="../tags/tag1194.xml"/><Relationship Id="rId395" Type="http://schemas.openxmlformats.org/officeDocument/2006/relationships/tags" Target="../tags/tag1215.xml"/><Relationship Id="rId409" Type="http://schemas.openxmlformats.org/officeDocument/2006/relationships/notesSlide" Target="../notesSlides/notesSlide13.xml"/><Relationship Id="rId71" Type="http://schemas.openxmlformats.org/officeDocument/2006/relationships/tags" Target="../tags/tag891.xml"/><Relationship Id="rId92" Type="http://schemas.openxmlformats.org/officeDocument/2006/relationships/tags" Target="../tags/tag912.xml"/><Relationship Id="rId213" Type="http://schemas.openxmlformats.org/officeDocument/2006/relationships/tags" Target="../tags/tag1033.xml"/><Relationship Id="rId234" Type="http://schemas.openxmlformats.org/officeDocument/2006/relationships/tags" Target="../tags/tag1054.xml"/><Relationship Id="rId2" Type="http://schemas.openxmlformats.org/officeDocument/2006/relationships/customXml" Target="../../customXml/item38.xml"/><Relationship Id="rId29" Type="http://schemas.openxmlformats.org/officeDocument/2006/relationships/tags" Target="../tags/tag849.xml"/><Relationship Id="rId255" Type="http://schemas.openxmlformats.org/officeDocument/2006/relationships/tags" Target="../tags/tag1075.xml"/><Relationship Id="rId276" Type="http://schemas.openxmlformats.org/officeDocument/2006/relationships/tags" Target="../tags/tag1096.xml"/><Relationship Id="rId297" Type="http://schemas.openxmlformats.org/officeDocument/2006/relationships/tags" Target="../tags/tag1117.xml"/><Relationship Id="rId40" Type="http://schemas.openxmlformats.org/officeDocument/2006/relationships/tags" Target="../tags/tag860.xml"/><Relationship Id="rId115" Type="http://schemas.openxmlformats.org/officeDocument/2006/relationships/tags" Target="../tags/tag935.xml"/><Relationship Id="rId136" Type="http://schemas.openxmlformats.org/officeDocument/2006/relationships/tags" Target="../tags/tag956.xml"/><Relationship Id="rId157" Type="http://schemas.openxmlformats.org/officeDocument/2006/relationships/tags" Target="../tags/tag977.xml"/><Relationship Id="rId178" Type="http://schemas.openxmlformats.org/officeDocument/2006/relationships/tags" Target="../tags/tag998.xml"/><Relationship Id="rId301" Type="http://schemas.openxmlformats.org/officeDocument/2006/relationships/tags" Target="../tags/tag1121.xml"/><Relationship Id="rId322" Type="http://schemas.openxmlformats.org/officeDocument/2006/relationships/tags" Target="../tags/tag1142.xml"/><Relationship Id="rId343" Type="http://schemas.openxmlformats.org/officeDocument/2006/relationships/tags" Target="../tags/tag1163.xml"/><Relationship Id="rId364" Type="http://schemas.openxmlformats.org/officeDocument/2006/relationships/tags" Target="../tags/tag1184.xml"/><Relationship Id="rId61" Type="http://schemas.openxmlformats.org/officeDocument/2006/relationships/tags" Target="../tags/tag881.xml"/><Relationship Id="rId82" Type="http://schemas.openxmlformats.org/officeDocument/2006/relationships/tags" Target="../tags/tag902.xml"/><Relationship Id="rId199" Type="http://schemas.openxmlformats.org/officeDocument/2006/relationships/tags" Target="../tags/tag1019.xml"/><Relationship Id="rId203" Type="http://schemas.openxmlformats.org/officeDocument/2006/relationships/tags" Target="../tags/tag1023.xml"/><Relationship Id="rId385" Type="http://schemas.openxmlformats.org/officeDocument/2006/relationships/tags" Target="../tags/tag1205.xml"/><Relationship Id="rId19" Type="http://schemas.openxmlformats.org/officeDocument/2006/relationships/tags" Target="../tags/tag839.xml"/><Relationship Id="rId224" Type="http://schemas.openxmlformats.org/officeDocument/2006/relationships/tags" Target="../tags/tag1044.xml"/><Relationship Id="rId245" Type="http://schemas.openxmlformats.org/officeDocument/2006/relationships/tags" Target="../tags/tag1065.xml"/><Relationship Id="rId266" Type="http://schemas.openxmlformats.org/officeDocument/2006/relationships/tags" Target="../tags/tag1086.xml"/><Relationship Id="rId287" Type="http://schemas.openxmlformats.org/officeDocument/2006/relationships/tags" Target="../tags/tag1107.xml"/><Relationship Id="rId30" Type="http://schemas.openxmlformats.org/officeDocument/2006/relationships/tags" Target="../tags/tag850.xml"/><Relationship Id="rId105" Type="http://schemas.openxmlformats.org/officeDocument/2006/relationships/tags" Target="../tags/tag925.xml"/><Relationship Id="rId126" Type="http://schemas.openxmlformats.org/officeDocument/2006/relationships/tags" Target="../tags/tag946.xml"/><Relationship Id="rId147" Type="http://schemas.openxmlformats.org/officeDocument/2006/relationships/tags" Target="../tags/tag967.xml"/><Relationship Id="rId168" Type="http://schemas.openxmlformats.org/officeDocument/2006/relationships/tags" Target="../tags/tag988.xml"/><Relationship Id="rId312" Type="http://schemas.openxmlformats.org/officeDocument/2006/relationships/tags" Target="../tags/tag1132.xml"/><Relationship Id="rId333" Type="http://schemas.openxmlformats.org/officeDocument/2006/relationships/tags" Target="../tags/tag1153.xml"/><Relationship Id="rId354" Type="http://schemas.openxmlformats.org/officeDocument/2006/relationships/tags" Target="../tags/tag1174.xml"/><Relationship Id="rId51" Type="http://schemas.openxmlformats.org/officeDocument/2006/relationships/tags" Target="../tags/tag871.xml"/><Relationship Id="rId72" Type="http://schemas.openxmlformats.org/officeDocument/2006/relationships/tags" Target="../tags/tag892.xml"/><Relationship Id="rId93" Type="http://schemas.openxmlformats.org/officeDocument/2006/relationships/tags" Target="../tags/tag913.xml"/><Relationship Id="rId189" Type="http://schemas.openxmlformats.org/officeDocument/2006/relationships/tags" Target="../tags/tag1009.xml"/><Relationship Id="rId375" Type="http://schemas.openxmlformats.org/officeDocument/2006/relationships/tags" Target="../tags/tag1195.xml"/><Relationship Id="rId396" Type="http://schemas.openxmlformats.org/officeDocument/2006/relationships/tags" Target="../tags/tag1216.xml"/><Relationship Id="rId3" Type="http://schemas.openxmlformats.org/officeDocument/2006/relationships/tags" Target="../tags/tag823.xml"/><Relationship Id="rId214" Type="http://schemas.openxmlformats.org/officeDocument/2006/relationships/tags" Target="../tags/tag1034.xml"/><Relationship Id="rId235" Type="http://schemas.openxmlformats.org/officeDocument/2006/relationships/tags" Target="../tags/tag1055.xml"/><Relationship Id="rId256" Type="http://schemas.openxmlformats.org/officeDocument/2006/relationships/tags" Target="../tags/tag1076.xml"/><Relationship Id="rId277" Type="http://schemas.openxmlformats.org/officeDocument/2006/relationships/tags" Target="../tags/tag1097.xml"/><Relationship Id="rId298" Type="http://schemas.openxmlformats.org/officeDocument/2006/relationships/tags" Target="../tags/tag1118.xml"/><Relationship Id="rId400" Type="http://schemas.openxmlformats.org/officeDocument/2006/relationships/tags" Target="../tags/tag1220.xml"/><Relationship Id="rId116" Type="http://schemas.openxmlformats.org/officeDocument/2006/relationships/tags" Target="../tags/tag936.xml"/><Relationship Id="rId137" Type="http://schemas.openxmlformats.org/officeDocument/2006/relationships/tags" Target="../tags/tag957.xml"/><Relationship Id="rId158" Type="http://schemas.openxmlformats.org/officeDocument/2006/relationships/tags" Target="../tags/tag978.xml"/><Relationship Id="rId302" Type="http://schemas.openxmlformats.org/officeDocument/2006/relationships/tags" Target="../tags/tag1122.xml"/><Relationship Id="rId323" Type="http://schemas.openxmlformats.org/officeDocument/2006/relationships/tags" Target="../tags/tag1143.xml"/><Relationship Id="rId344" Type="http://schemas.openxmlformats.org/officeDocument/2006/relationships/tags" Target="../tags/tag1164.xml"/><Relationship Id="rId20" Type="http://schemas.openxmlformats.org/officeDocument/2006/relationships/tags" Target="../tags/tag840.xml"/><Relationship Id="rId41" Type="http://schemas.openxmlformats.org/officeDocument/2006/relationships/tags" Target="../tags/tag861.xml"/><Relationship Id="rId62" Type="http://schemas.openxmlformats.org/officeDocument/2006/relationships/tags" Target="../tags/tag882.xml"/><Relationship Id="rId83" Type="http://schemas.openxmlformats.org/officeDocument/2006/relationships/tags" Target="../tags/tag903.xml"/><Relationship Id="rId179" Type="http://schemas.openxmlformats.org/officeDocument/2006/relationships/tags" Target="../tags/tag999.xml"/><Relationship Id="rId365" Type="http://schemas.openxmlformats.org/officeDocument/2006/relationships/tags" Target="../tags/tag1185.xml"/><Relationship Id="rId386" Type="http://schemas.openxmlformats.org/officeDocument/2006/relationships/tags" Target="../tags/tag1206.xml"/><Relationship Id="rId190" Type="http://schemas.openxmlformats.org/officeDocument/2006/relationships/tags" Target="../tags/tag1010.xml"/><Relationship Id="rId204" Type="http://schemas.openxmlformats.org/officeDocument/2006/relationships/tags" Target="../tags/tag1024.xml"/><Relationship Id="rId225" Type="http://schemas.openxmlformats.org/officeDocument/2006/relationships/tags" Target="../tags/tag1045.xml"/><Relationship Id="rId246" Type="http://schemas.openxmlformats.org/officeDocument/2006/relationships/tags" Target="../tags/tag1066.xml"/><Relationship Id="rId267" Type="http://schemas.openxmlformats.org/officeDocument/2006/relationships/tags" Target="../tags/tag1087.xml"/><Relationship Id="rId288" Type="http://schemas.openxmlformats.org/officeDocument/2006/relationships/tags" Target="../tags/tag1108.xml"/><Relationship Id="rId106" Type="http://schemas.openxmlformats.org/officeDocument/2006/relationships/tags" Target="../tags/tag926.xml"/><Relationship Id="rId127" Type="http://schemas.openxmlformats.org/officeDocument/2006/relationships/tags" Target="../tags/tag947.xml"/><Relationship Id="rId313" Type="http://schemas.openxmlformats.org/officeDocument/2006/relationships/tags" Target="../tags/tag1133.xml"/><Relationship Id="rId10" Type="http://schemas.openxmlformats.org/officeDocument/2006/relationships/tags" Target="../tags/tag830.xml"/><Relationship Id="rId31" Type="http://schemas.openxmlformats.org/officeDocument/2006/relationships/tags" Target="../tags/tag851.xml"/><Relationship Id="rId52" Type="http://schemas.openxmlformats.org/officeDocument/2006/relationships/tags" Target="../tags/tag872.xml"/><Relationship Id="rId73" Type="http://schemas.openxmlformats.org/officeDocument/2006/relationships/tags" Target="../tags/tag893.xml"/><Relationship Id="rId94" Type="http://schemas.openxmlformats.org/officeDocument/2006/relationships/tags" Target="../tags/tag914.xml"/><Relationship Id="rId148" Type="http://schemas.openxmlformats.org/officeDocument/2006/relationships/tags" Target="../tags/tag968.xml"/><Relationship Id="rId169" Type="http://schemas.openxmlformats.org/officeDocument/2006/relationships/tags" Target="../tags/tag989.xml"/><Relationship Id="rId334" Type="http://schemas.openxmlformats.org/officeDocument/2006/relationships/tags" Target="../tags/tag1154.xml"/><Relationship Id="rId355" Type="http://schemas.openxmlformats.org/officeDocument/2006/relationships/tags" Target="../tags/tag1175.xml"/><Relationship Id="rId376" Type="http://schemas.openxmlformats.org/officeDocument/2006/relationships/tags" Target="../tags/tag1196.xml"/><Relationship Id="rId397" Type="http://schemas.openxmlformats.org/officeDocument/2006/relationships/tags" Target="../tags/tag1217.xml"/><Relationship Id="rId4" Type="http://schemas.openxmlformats.org/officeDocument/2006/relationships/tags" Target="../tags/tag824.xml"/><Relationship Id="rId180" Type="http://schemas.openxmlformats.org/officeDocument/2006/relationships/tags" Target="../tags/tag1000.xml"/><Relationship Id="rId215" Type="http://schemas.openxmlformats.org/officeDocument/2006/relationships/tags" Target="../tags/tag1035.xml"/><Relationship Id="rId236" Type="http://schemas.openxmlformats.org/officeDocument/2006/relationships/tags" Target="../tags/tag1056.xml"/><Relationship Id="rId257" Type="http://schemas.openxmlformats.org/officeDocument/2006/relationships/tags" Target="../tags/tag1077.xml"/><Relationship Id="rId278" Type="http://schemas.openxmlformats.org/officeDocument/2006/relationships/tags" Target="../tags/tag1098.xml"/><Relationship Id="rId401" Type="http://schemas.openxmlformats.org/officeDocument/2006/relationships/tags" Target="../tags/tag1221.xml"/><Relationship Id="rId303" Type="http://schemas.openxmlformats.org/officeDocument/2006/relationships/tags" Target="../tags/tag1123.xml"/><Relationship Id="rId42" Type="http://schemas.openxmlformats.org/officeDocument/2006/relationships/tags" Target="../tags/tag862.xml"/><Relationship Id="rId84" Type="http://schemas.openxmlformats.org/officeDocument/2006/relationships/tags" Target="../tags/tag904.xml"/><Relationship Id="rId138" Type="http://schemas.openxmlformats.org/officeDocument/2006/relationships/tags" Target="../tags/tag958.xml"/><Relationship Id="rId345" Type="http://schemas.openxmlformats.org/officeDocument/2006/relationships/tags" Target="../tags/tag1165.xml"/><Relationship Id="rId387" Type="http://schemas.openxmlformats.org/officeDocument/2006/relationships/tags" Target="../tags/tag1207.xml"/><Relationship Id="rId191" Type="http://schemas.openxmlformats.org/officeDocument/2006/relationships/tags" Target="../tags/tag1011.xml"/><Relationship Id="rId205" Type="http://schemas.openxmlformats.org/officeDocument/2006/relationships/tags" Target="../tags/tag1025.xml"/><Relationship Id="rId247" Type="http://schemas.openxmlformats.org/officeDocument/2006/relationships/tags" Target="../tags/tag1067.xml"/><Relationship Id="rId107" Type="http://schemas.openxmlformats.org/officeDocument/2006/relationships/tags" Target="../tags/tag927.xml"/><Relationship Id="rId289" Type="http://schemas.openxmlformats.org/officeDocument/2006/relationships/tags" Target="../tags/tag1109.xml"/><Relationship Id="rId11" Type="http://schemas.openxmlformats.org/officeDocument/2006/relationships/tags" Target="../tags/tag831.xml"/><Relationship Id="rId53" Type="http://schemas.openxmlformats.org/officeDocument/2006/relationships/tags" Target="../tags/tag873.xml"/><Relationship Id="rId149" Type="http://schemas.openxmlformats.org/officeDocument/2006/relationships/tags" Target="../tags/tag969.xml"/><Relationship Id="rId314" Type="http://schemas.openxmlformats.org/officeDocument/2006/relationships/tags" Target="../tags/tag1134.xml"/><Relationship Id="rId356" Type="http://schemas.openxmlformats.org/officeDocument/2006/relationships/tags" Target="../tags/tag1176.xml"/><Relationship Id="rId398" Type="http://schemas.openxmlformats.org/officeDocument/2006/relationships/tags" Target="../tags/tag12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customXml" Target="../../customXml/item12.xml"/><Relationship Id="rId1" Type="http://schemas.openxmlformats.org/officeDocument/2006/relationships/customXml" Target="../../customXml/item11.xml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customXml" Target="../../customXml/item14.xml"/><Relationship Id="rId1" Type="http://schemas.openxmlformats.org/officeDocument/2006/relationships/customXml" Target="../../customXml/item13.xml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customXml" Target="../../customXml/item16.xml"/><Relationship Id="rId1" Type="http://schemas.openxmlformats.org/officeDocument/2006/relationships/customXml" Target="../../customXml/item15.xml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117" Type="http://schemas.openxmlformats.org/officeDocument/2006/relationships/tags" Target="../tags/tag119.xml"/><Relationship Id="rId299" Type="http://schemas.openxmlformats.org/officeDocument/2006/relationships/tags" Target="../tags/tag301.xml"/><Relationship Id="rId21" Type="http://schemas.openxmlformats.org/officeDocument/2006/relationships/tags" Target="../tags/tag23.xml"/><Relationship Id="rId63" Type="http://schemas.openxmlformats.org/officeDocument/2006/relationships/tags" Target="../tags/tag65.xml"/><Relationship Id="rId159" Type="http://schemas.openxmlformats.org/officeDocument/2006/relationships/tags" Target="../tags/tag161.xml"/><Relationship Id="rId324" Type="http://schemas.openxmlformats.org/officeDocument/2006/relationships/tags" Target="../tags/tag326.xml"/><Relationship Id="rId366" Type="http://schemas.openxmlformats.org/officeDocument/2006/relationships/tags" Target="../tags/tag368.xml"/><Relationship Id="rId170" Type="http://schemas.openxmlformats.org/officeDocument/2006/relationships/tags" Target="../tags/tag172.xml"/><Relationship Id="rId226" Type="http://schemas.openxmlformats.org/officeDocument/2006/relationships/tags" Target="../tags/tag228.xml"/><Relationship Id="rId268" Type="http://schemas.openxmlformats.org/officeDocument/2006/relationships/tags" Target="../tags/tag270.xml"/><Relationship Id="rId32" Type="http://schemas.openxmlformats.org/officeDocument/2006/relationships/tags" Target="../tags/tag34.xml"/><Relationship Id="rId74" Type="http://schemas.openxmlformats.org/officeDocument/2006/relationships/tags" Target="../tags/tag76.xml"/><Relationship Id="rId128" Type="http://schemas.openxmlformats.org/officeDocument/2006/relationships/tags" Target="../tags/tag130.xml"/><Relationship Id="rId335" Type="http://schemas.openxmlformats.org/officeDocument/2006/relationships/tags" Target="../tags/tag337.xml"/><Relationship Id="rId377" Type="http://schemas.openxmlformats.org/officeDocument/2006/relationships/tags" Target="../tags/tag379.xml"/><Relationship Id="rId5" Type="http://schemas.openxmlformats.org/officeDocument/2006/relationships/tags" Target="../tags/tag7.xml"/><Relationship Id="rId95" Type="http://schemas.openxmlformats.org/officeDocument/2006/relationships/tags" Target="../tags/tag97.xml"/><Relationship Id="rId160" Type="http://schemas.openxmlformats.org/officeDocument/2006/relationships/tags" Target="../tags/tag162.xml"/><Relationship Id="rId181" Type="http://schemas.openxmlformats.org/officeDocument/2006/relationships/tags" Target="../tags/tag183.xml"/><Relationship Id="rId216" Type="http://schemas.openxmlformats.org/officeDocument/2006/relationships/tags" Target="../tags/tag218.xml"/><Relationship Id="rId237" Type="http://schemas.openxmlformats.org/officeDocument/2006/relationships/tags" Target="../tags/tag239.xml"/><Relationship Id="rId402" Type="http://schemas.openxmlformats.org/officeDocument/2006/relationships/tags" Target="../tags/tag404.xml"/><Relationship Id="rId258" Type="http://schemas.openxmlformats.org/officeDocument/2006/relationships/tags" Target="../tags/tag260.xml"/><Relationship Id="rId279" Type="http://schemas.openxmlformats.org/officeDocument/2006/relationships/tags" Target="../tags/tag281.xml"/><Relationship Id="rId22" Type="http://schemas.openxmlformats.org/officeDocument/2006/relationships/tags" Target="../tags/tag24.xml"/><Relationship Id="rId43" Type="http://schemas.openxmlformats.org/officeDocument/2006/relationships/tags" Target="../tags/tag45.xml"/><Relationship Id="rId64" Type="http://schemas.openxmlformats.org/officeDocument/2006/relationships/tags" Target="../tags/tag66.xml"/><Relationship Id="rId118" Type="http://schemas.openxmlformats.org/officeDocument/2006/relationships/tags" Target="../tags/tag120.xml"/><Relationship Id="rId139" Type="http://schemas.openxmlformats.org/officeDocument/2006/relationships/tags" Target="../tags/tag141.xml"/><Relationship Id="rId290" Type="http://schemas.openxmlformats.org/officeDocument/2006/relationships/tags" Target="../tags/tag292.xml"/><Relationship Id="rId304" Type="http://schemas.openxmlformats.org/officeDocument/2006/relationships/tags" Target="../tags/tag306.xml"/><Relationship Id="rId325" Type="http://schemas.openxmlformats.org/officeDocument/2006/relationships/tags" Target="../tags/tag327.xml"/><Relationship Id="rId346" Type="http://schemas.openxmlformats.org/officeDocument/2006/relationships/tags" Target="../tags/tag348.xml"/><Relationship Id="rId367" Type="http://schemas.openxmlformats.org/officeDocument/2006/relationships/tags" Target="../tags/tag369.xml"/><Relationship Id="rId388" Type="http://schemas.openxmlformats.org/officeDocument/2006/relationships/tags" Target="../tags/tag390.xml"/><Relationship Id="rId85" Type="http://schemas.openxmlformats.org/officeDocument/2006/relationships/tags" Target="../tags/tag87.xml"/><Relationship Id="rId150" Type="http://schemas.openxmlformats.org/officeDocument/2006/relationships/tags" Target="../tags/tag152.xml"/><Relationship Id="rId171" Type="http://schemas.openxmlformats.org/officeDocument/2006/relationships/tags" Target="../tags/tag173.xml"/><Relationship Id="rId192" Type="http://schemas.openxmlformats.org/officeDocument/2006/relationships/tags" Target="../tags/tag194.xml"/><Relationship Id="rId206" Type="http://schemas.openxmlformats.org/officeDocument/2006/relationships/tags" Target="../tags/tag208.xml"/><Relationship Id="rId227" Type="http://schemas.openxmlformats.org/officeDocument/2006/relationships/tags" Target="../tags/tag229.xml"/><Relationship Id="rId248" Type="http://schemas.openxmlformats.org/officeDocument/2006/relationships/tags" Target="../tags/tag250.xml"/><Relationship Id="rId269" Type="http://schemas.openxmlformats.org/officeDocument/2006/relationships/tags" Target="../tags/tag271.xml"/><Relationship Id="rId12" Type="http://schemas.openxmlformats.org/officeDocument/2006/relationships/tags" Target="../tags/tag14.xml"/><Relationship Id="rId33" Type="http://schemas.openxmlformats.org/officeDocument/2006/relationships/tags" Target="../tags/tag35.xml"/><Relationship Id="rId108" Type="http://schemas.openxmlformats.org/officeDocument/2006/relationships/tags" Target="../tags/tag110.xml"/><Relationship Id="rId129" Type="http://schemas.openxmlformats.org/officeDocument/2006/relationships/tags" Target="../tags/tag131.xml"/><Relationship Id="rId280" Type="http://schemas.openxmlformats.org/officeDocument/2006/relationships/tags" Target="../tags/tag282.xml"/><Relationship Id="rId315" Type="http://schemas.openxmlformats.org/officeDocument/2006/relationships/tags" Target="../tags/tag317.xml"/><Relationship Id="rId336" Type="http://schemas.openxmlformats.org/officeDocument/2006/relationships/tags" Target="../tags/tag338.xml"/><Relationship Id="rId357" Type="http://schemas.openxmlformats.org/officeDocument/2006/relationships/tags" Target="../tags/tag359.xml"/><Relationship Id="rId54" Type="http://schemas.openxmlformats.org/officeDocument/2006/relationships/tags" Target="../tags/tag56.xml"/><Relationship Id="rId75" Type="http://schemas.openxmlformats.org/officeDocument/2006/relationships/tags" Target="../tags/tag77.xml"/><Relationship Id="rId96" Type="http://schemas.openxmlformats.org/officeDocument/2006/relationships/tags" Target="../tags/tag98.xml"/><Relationship Id="rId140" Type="http://schemas.openxmlformats.org/officeDocument/2006/relationships/tags" Target="../tags/tag142.xml"/><Relationship Id="rId161" Type="http://schemas.openxmlformats.org/officeDocument/2006/relationships/tags" Target="../tags/tag163.xml"/><Relationship Id="rId182" Type="http://schemas.openxmlformats.org/officeDocument/2006/relationships/tags" Target="../tags/tag184.xml"/><Relationship Id="rId217" Type="http://schemas.openxmlformats.org/officeDocument/2006/relationships/tags" Target="../tags/tag219.xml"/><Relationship Id="rId378" Type="http://schemas.openxmlformats.org/officeDocument/2006/relationships/tags" Target="../tags/tag380.xml"/><Relationship Id="rId399" Type="http://schemas.openxmlformats.org/officeDocument/2006/relationships/tags" Target="../tags/tag401.xml"/><Relationship Id="rId403" Type="http://schemas.openxmlformats.org/officeDocument/2006/relationships/tags" Target="../tags/tag405.xml"/><Relationship Id="rId6" Type="http://schemas.openxmlformats.org/officeDocument/2006/relationships/tags" Target="../tags/tag8.xml"/><Relationship Id="rId238" Type="http://schemas.openxmlformats.org/officeDocument/2006/relationships/tags" Target="../tags/tag240.xml"/><Relationship Id="rId259" Type="http://schemas.openxmlformats.org/officeDocument/2006/relationships/tags" Target="../tags/tag261.xml"/><Relationship Id="rId23" Type="http://schemas.openxmlformats.org/officeDocument/2006/relationships/tags" Target="../tags/tag25.xml"/><Relationship Id="rId119" Type="http://schemas.openxmlformats.org/officeDocument/2006/relationships/tags" Target="../tags/tag121.xml"/><Relationship Id="rId270" Type="http://schemas.openxmlformats.org/officeDocument/2006/relationships/tags" Target="../tags/tag272.xml"/><Relationship Id="rId291" Type="http://schemas.openxmlformats.org/officeDocument/2006/relationships/tags" Target="../tags/tag293.xml"/><Relationship Id="rId305" Type="http://schemas.openxmlformats.org/officeDocument/2006/relationships/tags" Target="../tags/tag307.xml"/><Relationship Id="rId326" Type="http://schemas.openxmlformats.org/officeDocument/2006/relationships/tags" Target="../tags/tag328.xml"/><Relationship Id="rId347" Type="http://schemas.openxmlformats.org/officeDocument/2006/relationships/tags" Target="../tags/tag349.xml"/><Relationship Id="rId44" Type="http://schemas.openxmlformats.org/officeDocument/2006/relationships/tags" Target="../tags/tag46.xml"/><Relationship Id="rId65" Type="http://schemas.openxmlformats.org/officeDocument/2006/relationships/tags" Target="../tags/tag67.xml"/><Relationship Id="rId86" Type="http://schemas.openxmlformats.org/officeDocument/2006/relationships/tags" Target="../tags/tag88.xml"/><Relationship Id="rId130" Type="http://schemas.openxmlformats.org/officeDocument/2006/relationships/tags" Target="../tags/tag132.xml"/><Relationship Id="rId151" Type="http://schemas.openxmlformats.org/officeDocument/2006/relationships/tags" Target="../tags/tag153.xml"/><Relationship Id="rId368" Type="http://schemas.openxmlformats.org/officeDocument/2006/relationships/tags" Target="../tags/tag370.xml"/><Relationship Id="rId389" Type="http://schemas.openxmlformats.org/officeDocument/2006/relationships/tags" Target="../tags/tag391.xml"/><Relationship Id="rId172" Type="http://schemas.openxmlformats.org/officeDocument/2006/relationships/tags" Target="../tags/tag174.xml"/><Relationship Id="rId193" Type="http://schemas.openxmlformats.org/officeDocument/2006/relationships/tags" Target="../tags/tag195.xml"/><Relationship Id="rId207" Type="http://schemas.openxmlformats.org/officeDocument/2006/relationships/tags" Target="../tags/tag209.xml"/><Relationship Id="rId228" Type="http://schemas.openxmlformats.org/officeDocument/2006/relationships/tags" Target="../tags/tag230.xml"/><Relationship Id="rId249" Type="http://schemas.openxmlformats.org/officeDocument/2006/relationships/tags" Target="../tags/tag251.xml"/><Relationship Id="rId13" Type="http://schemas.openxmlformats.org/officeDocument/2006/relationships/tags" Target="../tags/tag15.xml"/><Relationship Id="rId109" Type="http://schemas.openxmlformats.org/officeDocument/2006/relationships/tags" Target="../tags/tag111.xml"/><Relationship Id="rId260" Type="http://schemas.openxmlformats.org/officeDocument/2006/relationships/tags" Target="../tags/tag262.xml"/><Relationship Id="rId281" Type="http://schemas.openxmlformats.org/officeDocument/2006/relationships/tags" Target="../tags/tag283.xml"/><Relationship Id="rId316" Type="http://schemas.openxmlformats.org/officeDocument/2006/relationships/tags" Target="../tags/tag318.xml"/><Relationship Id="rId337" Type="http://schemas.openxmlformats.org/officeDocument/2006/relationships/tags" Target="../tags/tag339.xml"/><Relationship Id="rId34" Type="http://schemas.openxmlformats.org/officeDocument/2006/relationships/tags" Target="../tags/tag36.xml"/><Relationship Id="rId55" Type="http://schemas.openxmlformats.org/officeDocument/2006/relationships/tags" Target="../tags/tag57.xml"/><Relationship Id="rId76" Type="http://schemas.openxmlformats.org/officeDocument/2006/relationships/tags" Target="../tags/tag78.xml"/><Relationship Id="rId97" Type="http://schemas.openxmlformats.org/officeDocument/2006/relationships/tags" Target="../tags/tag99.xml"/><Relationship Id="rId120" Type="http://schemas.openxmlformats.org/officeDocument/2006/relationships/tags" Target="../tags/tag122.xml"/><Relationship Id="rId141" Type="http://schemas.openxmlformats.org/officeDocument/2006/relationships/tags" Target="../tags/tag143.xml"/><Relationship Id="rId358" Type="http://schemas.openxmlformats.org/officeDocument/2006/relationships/tags" Target="../tags/tag360.xml"/><Relationship Id="rId379" Type="http://schemas.openxmlformats.org/officeDocument/2006/relationships/tags" Target="../tags/tag381.xml"/><Relationship Id="rId7" Type="http://schemas.openxmlformats.org/officeDocument/2006/relationships/tags" Target="../tags/tag9.xml"/><Relationship Id="rId162" Type="http://schemas.openxmlformats.org/officeDocument/2006/relationships/tags" Target="../tags/tag164.xml"/><Relationship Id="rId183" Type="http://schemas.openxmlformats.org/officeDocument/2006/relationships/tags" Target="../tags/tag185.xml"/><Relationship Id="rId218" Type="http://schemas.openxmlformats.org/officeDocument/2006/relationships/tags" Target="../tags/tag220.xml"/><Relationship Id="rId239" Type="http://schemas.openxmlformats.org/officeDocument/2006/relationships/tags" Target="../tags/tag241.xml"/><Relationship Id="rId390" Type="http://schemas.openxmlformats.org/officeDocument/2006/relationships/tags" Target="../tags/tag392.xml"/><Relationship Id="rId404" Type="http://schemas.openxmlformats.org/officeDocument/2006/relationships/tags" Target="../tags/tag406.xml"/><Relationship Id="rId250" Type="http://schemas.openxmlformats.org/officeDocument/2006/relationships/tags" Target="../tags/tag252.xml"/><Relationship Id="rId271" Type="http://schemas.openxmlformats.org/officeDocument/2006/relationships/tags" Target="../tags/tag273.xml"/><Relationship Id="rId292" Type="http://schemas.openxmlformats.org/officeDocument/2006/relationships/tags" Target="../tags/tag294.xml"/><Relationship Id="rId306" Type="http://schemas.openxmlformats.org/officeDocument/2006/relationships/tags" Target="../tags/tag308.xml"/><Relationship Id="rId24" Type="http://schemas.openxmlformats.org/officeDocument/2006/relationships/tags" Target="../tags/tag26.xml"/><Relationship Id="rId45" Type="http://schemas.openxmlformats.org/officeDocument/2006/relationships/tags" Target="../tags/tag47.xml"/><Relationship Id="rId66" Type="http://schemas.openxmlformats.org/officeDocument/2006/relationships/tags" Target="../tags/tag68.xml"/><Relationship Id="rId87" Type="http://schemas.openxmlformats.org/officeDocument/2006/relationships/tags" Target="../tags/tag89.xml"/><Relationship Id="rId110" Type="http://schemas.openxmlformats.org/officeDocument/2006/relationships/tags" Target="../tags/tag112.xml"/><Relationship Id="rId131" Type="http://schemas.openxmlformats.org/officeDocument/2006/relationships/tags" Target="../tags/tag133.xml"/><Relationship Id="rId327" Type="http://schemas.openxmlformats.org/officeDocument/2006/relationships/tags" Target="../tags/tag329.xml"/><Relationship Id="rId348" Type="http://schemas.openxmlformats.org/officeDocument/2006/relationships/tags" Target="../tags/tag350.xml"/><Relationship Id="rId369" Type="http://schemas.openxmlformats.org/officeDocument/2006/relationships/tags" Target="../tags/tag371.xml"/><Relationship Id="rId152" Type="http://schemas.openxmlformats.org/officeDocument/2006/relationships/tags" Target="../tags/tag154.xml"/><Relationship Id="rId173" Type="http://schemas.openxmlformats.org/officeDocument/2006/relationships/tags" Target="../tags/tag175.xml"/><Relationship Id="rId194" Type="http://schemas.openxmlformats.org/officeDocument/2006/relationships/tags" Target="../tags/tag196.xml"/><Relationship Id="rId208" Type="http://schemas.openxmlformats.org/officeDocument/2006/relationships/tags" Target="../tags/tag210.xml"/><Relationship Id="rId229" Type="http://schemas.openxmlformats.org/officeDocument/2006/relationships/tags" Target="../tags/tag231.xml"/><Relationship Id="rId380" Type="http://schemas.openxmlformats.org/officeDocument/2006/relationships/tags" Target="../tags/tag382.xml"/><Relationship Id="rId240" Type="http://schemas.openxmlformats.org/officeDocument/2006/relationships/tags" Target="../tags/tag242.xml"/><Relationship Id="rId261" Type="http://schemas.openxmlformats.org/officeDocument/2006/relationships/tags" Target="../tags/tag263.xml"/><Relationship Id="rId14" Type="http://schemas.openxmlformats.org/officeDocument/2006/relationships/tags" Target="../tags/tag16.xml"/><Relationship Id="rId35" Type="http://schemas.openxmlformats.org/officeDocument/2006/relationships/tags" Target="../tags/tag37.xml"/><Relationship Id="rId56" Type="http://schemas.openxmlformats.org/officeDocument/2006/relationships/tags" Target="../tags/tag58.xml"/><Relationship Id="rId77" Type="http://schemas.openxmlformats.org/officeDocument/2006/relationships/tags" Target="../tags/tag79.xml"/><Relationship Id="rId100" Type="http://schemas.openxmlformats.org/officeDocument/2006/relationships/tags" Target="../tags/tag102.xml"/><Relationship Id="rId282" Type="http://schemas.openxmlformats.org/officeDocument/2006/relationships/tags" Target="../tags/tag284.xml"/><Relationship Id="rId317" Type="http://schemas.openxmlformats.org/officeDocument/2006/relationships/tags" Target="../tags/tag319.xml"/><Relationship Id="rId338" Type="http://schemas.openxmlformats.org/officeDocument/2006/relationships/tags" Target="../tags/tag340.xml"/><Relationship Id="rId359" Type="http://schemas.openxmlformats.org/officeDocument/2006/relationships/tags" Target="../tags/tag361.xml"/><Relationship Id="rId8" Type="http://schemas.openxmlformats.org/officeDocument/2006/relationships/tags" Target="../tags/tag10.xml"/><Relationship Id="rId98" Type="http://schemas.openxmlformats.org/officeDocument/2006/relationships/tags" Target="../tags/tag100.xml"/><Relationship Id="rId121" Type="http://schemas.openxmlformats.org/officeDocument/2006/relationships/tags" Target="../tags/tag123.xml"/><Relationship Id="rId142" Type="http://schemas.openxmlformats.org/officeDocument/2006/relationships/tags" Target="../tags/tag144.xml"/><Relationship Id="rId163" Type="http://schemas.openxmlformats.org/officeDocument/2006/relationships/tags" Target="../tags/tag165.xml"/><Relationship Id="rId184" Type="http://schemas.openxmlformats.org/officeDocument/2006/relationships/tags" Target="../tags/tag186.xml"/><Relationship Id="rId219" Type="http://schemas.openxmlformats.org/officeDocument/2006/relationships/tags" Target="../tags/tag221.xml"/><Relationship Id="rId370" Type="http://schemas.openxmlformats.org/officeDocument/2006/relationships/tags" Target="../tags/tag372.xml"/><Relationship Id="rId391" Type="http://schemas.openxmlformats.org/officeDocument/2006/relationships/tags" Target="../tags/tag393.xml"/><Relationship Id="rId405" Type="http://schemas.openxmlformats.org/officeDocument/2006/relationships/tags" Target="../tags/tag407.xml"/><Relationship Id="rId230" Type="http://schemas.openxmlformats.org/officeDocument/2006/relationships/tags" Target="../tags/tag232.xml"/><Relationship Id="rId251" Type="http://schemas.openxmlformats.org/officeDocument/2006/relationships/tags" Target="../tags/tag253.xml"/><Relationship Id="rId25" Type="http://schemas.openxmlformats.org/officeDocument/2006/relationships/tags" Target="../tags/tag27.xml"/><Relationship Id="rId46" Type="http://schemas.openxmlformats.org/officeDocument/2006/relationships/tags" Target="../tags/tag48.xml"/><Relationship Id="rId67" Type="http://schemas.openxmlformats.org/officeDocument/2006/relationships/tags" Target="../tags/tag69.xml"/><Relationship Id="rId272" Type="http://schemas.openxmlformats.org/officeDocument/2006/relationships/tags" Target="../tags/tag274.xml"/><Relationship Id="rId293" Type="http://schemas.openxmlformats.org/officeDocument/2006/relationships/tags" Target="../tags/tag295.xml"/><Relationship Id="rId307" Type="http://schemas.openxmlformats.org/officeDocument/2006/relationships/tags" Target="../tags/tag309.xml"/><Relationship Id="rId328" Type="http://schemas.openxmlformats.org/officeDocument/2006/relationships/tags" Target="../tags/tag330.xml"/><Relationship Id="rId349" Type="http://schemas.openxmlformats.org/officeDocument/2006/relationships/tags" Target="../tags/tag351.xml"/><Relationship Id="rId88" Type="http://schemas.openxmlformats.org/officeDocument/2006/relationships/tags" Target="../tags/tag90.xml"/><Relationship Id="rId111" Type="http://schemas.openxmlformats.org/officeDocument/2006/relationships/tags" Target="../tags/tag113.xml"/><Relationship Id="rId132" Type="http://schemas.openxmlformats.org/officeDocument/2006/relationships/tags" Target="../tags/tag134.xml"/><Relationship Id="rId153" Type="http://schemas.openxmlformats.org/officeDocument/2006/relationships/tags" Target="../tags/tag155.xml"/><Relationship Id="rId174" Type="http://schemas.openxmlformats.org/officeDocument/2006/relationships/tags" Target="../tags/tag176.xml"/><Relationship Id="rId195" Type="http://schemas.openxmlformats.org/officeDocument/2006/relationships/tags" Target="../tags/tag197.xml"/><Relationship Id="rId209" Type="http://schemas.openxmlformats.org/officeDocument/2006/relationships/tags" Target="../tags/tag211.xml"/><Relationship Id="rId360" Type="http://schemas.openxmlformats.org/officeDocument/2006/relationships/tags" Target="../tags/tag362.xml"/><Relationship Id="rId381" Type="http://schemas.openxmlformats.org/officeDocument/2006/relationships/tags" Target="../tags/tag383.xml"/><Relationship Id="rId220" Type="http://schemas.openxmlformats.org/officeDocument/2006/relationships/tags" Target="../tags/tag222.xml"/><Relationship Id="rId241" Type="http://schemas.openxmlformats.org/officeDocument/2006/relationships/tags" Target="../tags/tag243.xml"/><Relationship Id="rId15" Type="http://schemas.openxmlformats.org/officeDocument/2006/relationships/tags" Target="../tags/tag17.xml"/><Relationship Id="rId36" Type="http://schemas.openxmlformats.org/officeDocument/2006/relationships/tags" Target="../tags/tag38.xml"/><Relationship Id="rId57" Type="http://schemas.openxmlformats.org/officeDocument/2006/relationships/tags" Target="../tags/tag59.xml"/><Relationship Id="rId262" Type="http://schemas.openxmlformats.org/officeDocument/2006/relationships/tags" Target="../tags/tag264.xml"/><Relationship Id="rId283" Type="http://schemas.openxmlformats.org/officeDocument/2006/relationships/tags" Target="../tags/tag285.xml"/><Relationship Id="rId318" Type="http://schemas.openxmlformats.org/officeDocument/2006/relationships/tags" Target="../tags/tag320.xml"/><Relationship Id="rId339" Type="http://schemas.openxmlformats.org/officeDocument/2006/relationships/tags" Target="../tags/tag341.xml"/><Relationship Id="rId78" Type="http://schemas.openxmlformats.org/officeDocument/2006/relationships/tags" Target="../tags/tag80.xml"/><Relationship Id="rId99" Type="http://schemas.openxmlformats.org/officeDocument/2006/relationships/tags" Target="../tags/tag101.xml"/><Relationship Id="rId101" Type="http://schemas.openxmlformats.org/officeDocument/2006/relationships/tags" Target="../tags/tag103.xml"/><Relationship Id="rId122" Type="http://schemas.openxmlformats.org/officeDocument/2006/relationships/tags" Target="../tags/tag124.xml"/><Relationship Id="rId143" Type="http://schemas.openxmlformats.org/officeDocument/2006/relationships/tags" Target="../tags/tag145.xml"/><Relationship Id="rId164" Type="http://schemas.openxmlformats.org/officeDocument/2006/relationships/tags" Target="../tags/tag166.xml"/><Relationship Id="rId185" Type="http://schemas.openxmlformats.org/officeDocument/2006/relationships/tags" Target="../tags/tag187.xml"/><Relationship Id="rId350" Type="http://schemas.openxmlformats.org/officeDocument/2006/relationships/tags" Target="../tags/tag352.xml"/><Relationship Id="rId371" Type="http://schemas.openxmlformats.org/officeDocument/2006/relationships/tags" Target="../tags/tag373.xml"/><Relationship Id="rId406" Type="http://schemas.openxmlformats.org/officeDocument/2006/relationships/tags" Target="../tags/tag408.xml"/><Relationship Id="rId9" Type="http://schemas.openxmlformats.org/officeDocument/2006/relationships/tags" Target="../tags/tag11.xml"/><Relationship Id="rId210" Type="http://schemas.openxmlformats.org/officeDocument/2006/relationships/tags" Target="../tags/tag212.xml"/><Relationship Id="rId392" Type="http://schemas.openxmlformats.org/officeDocument/2006/relationships/tags" Target="../tags/tag394.xml"/><Relationship Id="rId26" Type="http://schemas.openxmlformats.org/officeDocument/2006/relationships/tags" Target="../tags/tag28.xml"/><Relationship Id="rId231" Type="http://schemas.openxmlformats.org/officeDocument/2006/relationships/tags" Target="../tags/tag233.xml"/><Relationship Id="rId252" Type="http://schemas.openxmlformats.org/officeDocument/2006/relationships/tags" Target="../tags/tag254.xml"/><Relationship Id="rId273" Type="http://schemas.openxmlformats.org/officeDocument/2006/relationships/tags" Target="../tags/tag275.xml"/><Relationship Id="rId294" Type="http://schemas.openxmlformats.org/officeDocument/2006/relationships/tags" Target="../tags/tag296.xml"/><Relationship Id="rId308" Type="http://schemas.openxmlformats.org/officeDocument/2006/relationships/tags" Target="../tags/tag310.xml"/><Relationship Id="rId329" Type="http://schemas.openxmlformats.org/officeDocument/2006/relationships/tags" Target="../tags/tag331.xml"/><Relationship Id="rId47" Type="http://schemas.openxmlformats.org/officeDocument/2006/relationships/tags" Target="../tags/tag49.xml"/><Relationship Id="rId68" Type="http://schemas.openxmlformats.org/officeDocument/2006/relationships/tags" Target="../tags/tag70.xml"/><Relationship Id="rId89" Type="http://schemas.openxmlformats.org/officeDocument/2006/relationships/tags" Target="../tags/tag91.xml"/><Relationship Id="rId112" Type="http://schemas.openxmlformats.org/officeDocument/2006/relationships/tags" Target="../tags/tag114.xml"/><Relationship Id="rId133" Type="http://schemas.openxmlformats.org/officeDocument/2006/relationships/tags" Target="../tags/tag135.xml"/><Relationship Id="rId154" Type="http://schemas.openxmlformats.org/officeDocument/2006/relationships/tags" Target="../tags/tag156.xml"/><Relationship Id="rId175" Type="http://schemas.openxmlformats.org/officeDocument/2006/relationships/tags" Target="../tags/tag177.xml"/><Relationship Id="rId340" Type="http://schemas.openxmlformats.org/officeDocument/2006/relationships/tags" Target="../tags/tag342.xml"/><Relationship Id="rId361" Type="http://schemas.openxmlformats.org/officeDocument/2006/relationships/tags" Target="../tags/tag363.xml"/><Relationship Id="rId196" Type="http://schemas.openxmlformats.org/officeDocument/2006/relationships/tags" Target="../tags/tag198.xml"/><Relationship Id="rId200" Type="http://schemas.openxmlformats.org/officeDocument/2006/relationships/tags" Target="../tags/tag202.xml"/><Relationship Id="rId382" Type="http://schemas.openxmlformats.org/officeDocument/2006/relationships/tags" Target="../tags/tag384.xml"/><Relationship Id="rId16" Type="http://schemas.openxmlformats.org/officeDocument/2006/relationships/tags" Target="../tags/tag18.xml"/><Relationship Id="rId221" Type="http://schemas.openxmlformats.org/officeDocument/2006/relationships/tags" Target="../tags/tag223.xml"/><Relationship Id="rId242" Type="http://schemas.openxmlformats.org/officeDocument/2006/relationships/tags" Target="../tags/tag244.xml"/><Relationship Id="rId263" Type="http://schemas.openxmlformats.org/officeDocument/2006/relationships/tags" Target="../tags/tag265.xml"/><Relationship Id="rId284" Type="http://schemas.openxmlformats.org/officeDocument/2006/relationships/tags" Target="../tags/tag286.xml"/><Relationship Id="rId319" Type="http://schemas.openxmlformats.org/officeDocument/2006/relationships/tags" Target="../tags/tag321.xml"/><Relationship Id="rId37" Type="http://schemas.openxmlformats.org/officeDocument/2006/relationships/tags" Target="../tags/tag39.xml"/><Relationship Id="rId58" Type="http://schemas.openxmlformats.org/officeDocument/2006/relationships/tags" Target="../tags/tag60.xml"/><Relationship Id="rId79" Type="http://schemas.openxmlformats.org/officeDocument/2006/relationships/tags" Target="../tags/tag81.xml"/><Relationship Id="rId102" Type="http://schemas.openxmlformats.org/officeDocument/2006/relationships/tags" Target="../tags/tag104.xml"/><Relationship Id="rId123" Type="http://schemas.openxmlformats.org/officeDocument/2006/relationships/tags" Target="../tags/tag125.xml"/><Relationship Id="rId144" Type="http://schemas.openxmlformats.org/officeDocument/2006/relationships/tags" Target="../tags/tag146.xml"/><Relationship Id="rId330" Type="http://schemas.openxmlformats.org/officeDocument/2006/relationships/tags" Target="../tags/tag332.xml"/><Relationship Id="rId90" Type="http://schemas.openxmlformats.org/officeDocument/2006/relationships/tags" Target="../tags/tag92.xml"/><Relationship Id="rId165" Type="http://schemas.openxmlformats.org/officeDocument/2006/relationships/tags" Target="../tags/tag167.xml"/><Relationship Id="rId186" Type="http://schemas.openxmlformats.org/officeDocument/2006/relationships/tags" Target="../tags/tag188.xml"/><Relationship Id="rId351" Type="http://schemas.openxmlformats.org/officeDocument/2006/relationships/tags" Target="../tags/tag353.xml"/><Relationship Id="rId372" Type="http://schemas.openxmlformats.org/officeDocument/2006/relationships/tags" Target="../tags/tag374.xml"/><Relationship Id="rId393" Type="http://schemas.openxmlformats.org/officeDocument/2006/relationships/tags" Target="../tags/tag395.xml"/><Relationship Id="rId407" Type="http://schemas.openxmlformats.org/officeDocument/2006/relationships/tags" Target="../tags/tag409.xml"/><Relationship Id="rId211" Type="http://schemas.openxmlformats.org/officeDocument/2006/relationships/tags" Target="../tags/tag213.xml"/><Relationship Id="rId232" Type="http://schemas.openxmlformats.org/officeDocument/2006/relationships/tags" Target="../tags/tag234.xml"/><Relationship Id="rId253" Type="http://schemas.openxmlformats.org/officeDocument/2006/relationships/tags" Target="../tags/tag255.xml"/><Relationship Id="rId274" Type="http://schemas.openxmlformats.org/officeDocument/2006/relationships/tags" Target="../tags/tag276.xml"/><Relationship Id="rId295" Type="http://schemas.openxmlformats.org/officeDocument/2006/relationships/tags" Target="../tags/tag297.xml"/><Relationship Id="rId309" Type="http://schemas.openxmlformats.org/officeDocument/2006/relationships/tags" Target="../tags/tag311.xml"/><Relationship Id="rId27" Type="http://schemas.openxmlformats.org/officeDocument/2006/relationships/tags" Target="../tags/tag29.xml"/><Relationship Id="rId48" Type="http://schemas.openxmlformats.org/officeDocument/2006/relationships/tags" Target="../tags/tag50.xml"/><Relationship Id="rId69" Type="http://schemas.openxmlformats.org/officeDocument/2006/relationships/tags" Target="../tags/tag71.xml"/><Relationship Id="rId113" Type="http://schemas.openxmlformats.org/officeDocument/2006/relationships/tags" Target="../tags/tag115.xml"/><Relationship Id="rId134" Type="http://schemas.openxmlformats.org/officeDocument/2006/relationships/tags" Target="../tags/tag136.xml"/><Relationship Id="rId320" Type="http://schemas.openxmlformats.org/officeDocument/2006/relationships/tags" Target="../tags/tag322.xml"/><Relationship Id="rId80" Type="http://schemas.openxmlformats.org/officeDocument/2006/relationships/tags" Target="../tags/tag82.xml"/><Relationship Id="rId155" Type="http://schemas.openxmlformats.org/officeDocument/2006/relationships/tags" Target="../tags/tag157.xml"/><Relationship Id="rId176" Type="http://schemas.openxmlformats.org/officeDocument/2006/relationships/tags" Target="../tags/tag178.xml"/><Relationship Id="rId197" Type="http://schemas.openxmlformats.org/officeDocument/2006/relationships/tags" Target="../tags/tag199.xml"/><Relationship Id="rId341" Type="http://schemas.openxmlformats.org/officeDocument/2006/relationships/tags" Target="../tags/tag343.xml"/><Relationship Id="rId362" Type="http://schemas.openxmlformats.org/officeDocument/2006/relationships/tags" Target="../tags/tag364.xml"/><Relationship Id="rId383" Type="http://schemas.openxmlformats.org/officeDocument/2006/relationships/tags" Target="../tags/tag385.xml"/><Relationship Id="rId201" Type="http://schemas.openxmlformats.org/officeDocument/2006/relationships/tags" Target="../tags/tag203.xml"/><Relationship Id="rId222" Type="http://schemas.openxmlformats.org/officeDocument/2006/relationships/tags" Target="../tags/tag224.xml"/><Relationship Id="rId243" Type="http://schemas.openxmlformats.org/officeDocument/2006/relationships/tags" Target="../tags/tag245.xml"/><Relationship Id="rId264" Type="http://schemas.openxmlformats.org/officeDocument/2006/relationships/tags" Target="../tags/tag266.xml"/><Relationship Id="rId285" Type="http://schemas.openxmlformats.org/officeDocument/2006/relationships/tags" Target="../tags/tag287.xml"/><Relationship Id="rId17" Type="http://schemas.openxmlformats.org/officeDocument/2006/relationships/tags" Target="../tags/tag19.xml"/><Relationship Id="rId38" Type="http://schemas.openxmlformats.org/officeDocument/2006/relationships/tags" Target="../tags/tag40.xml"/><Relationship Id="rId59" Type="http://schemas.openxmlformats.org/officeDocument/2006/relationships/tags" Target="../tags/tag61.xml"/><Relationship Id="rId103" Type="http://schemas.openxmlformats.org/officeDocument/2006/relationships/tags" Target="../tags/tag105.xml"/><Relationship Id="rId124" Type="http://schemas.openxmlformats.org/officeDocument/2006/relationships/tags" Target="../tags/tag126.xml"/><Relationship Id="rId310" Type="http://schemas.openxmlformats.org/officeDocument/2006/relationships/tags" Target="../tags/tag312.xml"/><Relationship Id="rId70" Type="http://schemas.openxmlformats.org/officeDocument/2006/relationships/tags" Target="../tags/tag72.xml"/><Relationship Id="rId91" Type="http://schemas.openxmlformats.org/officeDocument/2006/relationships/tags" Target="../tags/tag93.xml"/><Relationship Id="rId145" Type="http://schemas.openxmlformats.org/officeDocument/2006/relationships/tags" Target="../tags/tag147.xml"/><Relationship Id="rId166" Type="http://schemas.openxmlformats.org/officeDocument/2006/relationships/tags" Target="../tags/tag168.xml"/><Relationship Id="rId187" Type="http://schemas.openxmlformats.org/officeDocument/2006/relationships/tags" Target="../tags/tag189.xml"/><Relationship Id="rId331" Type="http://schemas.openxmlformats.org/officeDocument/2006/relationships/tags" Target="../tags/tag333.xml"/><Relationship Id="rId352" Type="http://schemas.openxmlformats.org/officeDocument/2006/relationships/tags" Target="../tags/tag354.xml"/><Relationship Id="rId373" Type="http://schemas.openxmlformats.org/officeDocument/2006/relationships/tags" Target="../tags/tag375.xml"/><Relationship Id="rId394" Type="http://schemas.openxmlformats.org/officeDocument/2006/relationships/tags" Target="../tags/tag396.xml"/><Relationship Id="rId408" Type="http://schemas.openxmlformats.org/officeDocument/2006/relationships/tags" Target="../tags/tag410.xml"/><Relationship Id="rId1" Type="http://schemas.openxmlformats.org/officeDocument/2006/relationships/customXml" Target="../../customXml/item17.xml"/><Relationship Id="rId212" Type="http://schemas.openxmlformats.org/officeDocument/2006/relationships/tags" Target="../tags/tag214.xml"/><Relationship Id="rId233" Type="http://schemas.openxmlformats.org/officeDocument/2006/relationships/tags" Target="../tags/tag235.xml"/><Relationship Id="rId254" Type="http://schemas.openxmlformats.org/officeDocument/2006/relationships/tags" Target="../tags/tag256.xml"/><Relationship Id="rId28" Type="http://schemas.openxmlformats.org/officeDocument/2006/relationships/tags" Target="../tags/tag30.xml"/><Relationship Id="rId49" Type="http://schemas.openxmlformats.org/officeDocument/2006/relationships/tags" Target="../tags/tag51.xml"/><Relationship Id="rId114" Type="http://schemas.openxmlformats.org/officeDocument/2006/relationships/tags" Target="../tags/tag116.xml"/><Relationship Id="rId275" Type="http://schemas.openxmlformats.org/officeDocument/2006/relationships/tags" Target="../tags/tag277.xml"/><Relationship Id="rId296" Type="http://schemas.openxmlformats.org/officeDocument/2006/relationships/tags" Target="../tags/tag298.xml"/><Relationship Id="rId300" Type="http://schemas.openxmlformats.org/officeDocument/2006/relationships/tags" Target="../tags/tag302.xml"/><Relationship Id="rId60" Type="http://schemas.openxmlformats.org/officeDocument/2006/relationships/tags" Target="../tags/tag62.xml"/><Relationship Id="rId81" Type="http://schemas.openxmlformats.org/officeDocument/2006/relationships/tags" Target="../tags/tag83.xml"/><Relationship Id="rId135" Type="http://schemas.openxmlformats.org/officeDocument/2006/relationships/tags" Target="../tags/tag137.xml"/><Relationship Id="rId156" Type="http://schemas.openxmlformats.org/officeDocument/2006/relationships/tags" Target="../tags/tag158.xml"/><Relationship Id="rId177" Type="http://schemas.openxmlformats.org/officeDocument/2006/relationships/tags" Target="../tags/tag179.xml"/><Relationship Id="rId198" Type="http://schemas.openxmlformats.org/officeDocument/2006/relationships/tags" Target="../tags/tag200.xml"/><Relationship Id="rId321" Type="http://schemas.openxmlformats.org/officeDocument/2006/relationships/tags" Target="../tags/tag323.xml"/><Relationship Id="rId342" Type="http://schemas.openxmlformats.org/officeDocument/2006/relationships/tags" Target="../tags/tag344.xml"/><Relationship Id="rId363" Type="http://schemas.openxmlformats.org/officeDocument/2006/relationships/tags" Target="../tags/tag365.xml"/><Relationship Id="rId384" Type="http://schemas.openxmlformats.org/officeDocument/2006/relationships/tags" Target="../tags/tag386.xml"/><Relationship Id="rId202" Type="http://schemas.openxmlformats.org/officeDocument/2006/relationships/tags" Target="../tags/tag204.xml"/><Relationship Id="rId223" Type="http://schemas.openxmlformats.org/officeDocument/2006/relationships/tags" Target="../tags/tag225.xml"/><Relationship Id="rId244" Type="http://schemas.openxmlformats.org/officeDocument/2006/relationships/tags" Target="../tags/tag246.xml"/><Relationship Id="rId18" Type="http://schemas.openxmlformats.org/officeDocument/2006/relationships/tags" Target="../tags/tag20.xml"/><Relationship Id="rId39" Type="http://schemas.openxmlformats.org/officeDocument/2006/relationships/tags" Target="../tags/tag41.xml"/><Relationship Id="rId265" Type="http://schemas.openxmlformats.org/officeDocument/2006/relationships/tags" Target="../tags/tag267.xml"/><Relationship Id="rId286" Type="http://schemas.openxmlformats.org/officeDocument/2006/relationships/tags" Target="../tags/tag288.xml"/><Relationship Id="rId50" Type="http://schemas.openxmlformats.org/officeDocument/2006/relationships/tags" Target="../tags/tag52.xml"/><Relationship Id="rId104" Type="http://schemas.openxmlformats.org/officeDocument/2006/relationships/tags" Target="../tags/tag106.xml"/><Relationship Id="rId125" Type="http://schemas.openxmlformats.org/officeDocument/2006/relationships/tags" Target="../tags/tag127.xml"/><Relationship Id="rId146" Type="http://schemas.openxmlformats.org/officeDocument/2006/relationships/tags" Target="../tags/tag148.xml"/><Relationship Id="rId167" Type="http://schemas.openxmlformats.org/officeDocument/2006/relationships/tags" Target="../tags/tag169.xml"/><Relationship Id="rId188" Type="http://schemas.openxmlformats.org/officeDocument/2006/relationships/tags" Target="../tags/tag190.xml"/><Relationship Id="rId311" Type="http://schemas.openxmlformats.org/officeDocument/2006/relationships/tags" Target="../tags/tag313.xml"/><Relationship Id="rId332" Type="http://schemas.openxmlformats.org/officeDocument/2006/relationships/tags" Target="../tags/tag334.xml"/><Relationship Id="rId353" Type="http://schemas.openxmlformats.org/officeDocument/2006/relationships/tags" Target="../tags/tag355.xml"/><Relationship Id="rId374" Type="http://schemas.openxmlformats.org/officeDocument/2006/relationships/tags" Target="../tags/tag376.xml"/><Relationship Id="rId395" Type="http://schemas.openxmlformats.org/officeDocument/2006/relationships/tags" Target="../tags/tag397.xml"/><Relationship Id="rId409" Type="http://schemas.openxmlformats.org/officeDocument/2006/relationships/slideLayout" Target="../slideLayouts/slideLayout25.xml"/><Relationship Id="rId71" Type="http://schemas.openxmlformats.org/officeDocument/2006/relationships/tags" Target="../tags/tag73.xml"/><Relationship Id="rId92" Type="http://schemas.openxmlformats.org/officeDocument/2006/relationships/tags" Target="../tags/tag94.xml"/><Relationship Id="rId213" Type="http://schemas.openxmlformats.org/officeDocument/2006/relationships/tags" Target="../tags/tag215.xml"/><Relationship Id="rId234" Type="http://schemas.openxmlformats.org/officeDocument/2006/relationships/tags" Target="../tags/tag236.xml"/><Relationship Id="rId2" Type="http://schemas.openxmlformats.org/officeDocument/2006/relationships/customXml" Target="../../customXml/item18.xml"/><Relationship Id="rId29" Type="http://schemas.openxmlformats.org/officeDocument/2006/relationships/tags" Target="../tags/tag31.xml"/><Relationship Id="rId255" Type="http://schemas.openxmlformats.org/officeDocument/2006/relationships/tags" Target="../tags/tag257.xml"/><Relationship Id="rId276" Type="http://schemas.openxmlformats.org/officeDocument/2006/relationships/tags" Target="../tags/tag278.xml"/><Relationship Id="rId297" Type="http://schemas.openxmlformats.org/officeDocument/2006/relationships/tags" Target="../tags/tag299.xml"/><Relationship Id="rId40" Type="http://schemas.openxmlformats.org/officeDocument/2006/relationships/tags" Target="../tags/tag42.xml"/><Relationship Id="rId115" Type="http://schemas.openxmlformats.org/officeDocument/2006/relationships/tags" Target="../tags/tag117.xml"/><Relationship Id="rId136" Type="http://schemas.openxmlformats.org/officeDocument/2006/relationships/tags" Target="../tags/tag138.xml"/><Relationship Id="rId157" Type="http://schemas.openxmlformats.org/officeDocument/2006/relationships/tags" Target="../tags/tag159.xml"/><Relationship Id="rId178" Type="http://schemas.openxmlformats.org/officeDocument/2006/relationships/tags" Target="../tags/tag180.xml"/><Relationship Id="rId301" Type="http://schemas.openxmlformats.org/officeDocument/2006/relationships/tags" Target="../tags/tag303.xml"/><Relationship Id="rId322" Type="http://schemas.openxmlformats.org/officeDocument/2006/relationships/tags" Target="../tags/tag324.xml"/><Relationship Id="rId343" Type="http://schemas.openxmlformats.org/officeDocument/2006/relationships/tags" Target="../tags/tag345.xml"/><Relationship Id="rId364" Type="http://schemas.openxmlformats.org/officeDocument/2006/relationships/tags" Target="../tags/tag366.xml"/><Relationship Id="rId61" Type="http://schemas.openxmlformats.org/officeDocument/2006/relationships/tags" Target="../tags/tag63.xml"/><Relationship Id="rId82" Type="http://schemas.openxmlformats.org/officeDocument/2006/relationships/tags" Target="../tags/tag84.xml"/><Relationship Id="rId199" Type="http://schemas.openxmlformats.org/officeDocument/2006/relationships/tags" Target="../tags/tag201.xml"/><Relationship Id="rId203" Type="http://schemas.openxmlformats.org/officeDocument/2006/relationships/tags" Target="../tags/tag205.xml"/><Relationship Id="rId385" Type="http://schemas.openxmlformats.org/officeDocument/2006/relationships/tags" Target="../tags/tag387.xml"/><Relationship Id="rId19" Type="http://schemas.openxmlformats.org/officeDocument/2006/relationships/tags" Target="../tags/tag21.xml"/><Relationship Id="rId224" Type="http://schemas.openxmlformats.org/officeDocument/2006/relationships/tags" Target="../tags/tag226.xml"/><Relationship Id="rId245" Type="http://schemas.openxmlformats.org/officeDocument/2006/relationships/tags" Target="../tags/tag247.xml"/><Relationship Id="rId266" Type="http://schemas.openxmlformats.org/officeDocument/2006/relationships/tags" Target="../tags/tag268.xml"/><Relationship Id="rId287" Type="http://schemas.openxmlformats.org/officeDocument/2006/relationships/tags" Target="../tags/tag289.xml"/><Relationship Id="rId410" Type="http://schemas.openxmlformats.org/officeDocument/2006/relationships/notesSlide" Target="../notesSlides/notesSlide5.xml"/><Relationship Id="rId30" Type="http://schemas.openxmlformats.org/officeDocument/2006/relationships/tags" Target="../tags/tag32.xml"/><Relationship Id="rId105" Type="http://schemas.openxmlformats.org/officeDocument/2006/relationships/tags" Target="../tags/tag107.xml"/><Relationship Id="rId126" Type="http://schemas.openxmlformats.org/officeDocument/2006/relationships/tags" Target="../tags/tag128.xml"/><Relationship Id="rId147" Type="http://schemas.openxmlformats.org/officeDocument/2006/relationships/tags" Target="../tags/tag149.xml"/><Relationship Id="rId168" Type="http://schemas.openxmlformats.org/officeDocument/2006/relationships/tags" Target="../tags/tag170.xml"/><Relationship Id="rId312" Type="http://schemas.openxmlformats.org/officeDocument/2006/relationships/tags" Target="../tags/tag314.xml"/><Relationship Id="rId333" Type="http://schemas.openxmlformats.org/officeDocument/2006/relationships/tags" Target="../tags/tag335.xml"/><Relationship Id="rId354" Type="http://schemas.openxmlformats.org/officeDocument/2006/relationships/tags" Target="../tags/tag356.xml"/><Relationship Id="rId51" Type="http://schemas.openxmlformats.org/officeDocument/2006/relationships/tags" Target="../tags/tag53.xml"/><Relationship Id="rId72" Type="http://schemas.openxmlformats.org/officeDocument/2006/relationships/tags" Target="../tags/tag74.xml"/><Relationship Id="rId93" Type="http://schemas.openxmlformats.org/officeDocument/2006/relationships/tags" Target="../tags/tag95.xml"/><Relationship Id="rId189" Type="http://schemas.openxmlformats.org/officeDocument/2006/relationships/tags" Target="../tags/tag191.xml"/><Relationship Id="rId375" Type="http://schemas.openxmlformats.org/officeDocument/2006/relationships/tags" Target="../tags/tag377.xml"/><Relationship Id="rId396" Type="http://schemas.openxmlformats.org/officeDocument/2006/relationships/tags" Target="../tags/tag398.xml"/><Relationship Id="rId3" Type="http://schemas.openxmlformats.org/officeDocument/2006/relationships/tags" Target="../tags/tag5.xml"/><Relationship Id="rId214" Type="http://schemas.openxmlformats.org/officeDocument/2006/relationships/tags" Target="../tags/tag216.xml"/><Relationship Id="rId235" Type="http://schemas.openxmlformats.org/officeDocument/2006/relationships/tags" Target="../tags/tag237.xml"/><Relationship Id="rId256" Type="http://schemas.openxmlformats.org/officeDocument/2006/relationships/tags" Target="../tags/tag258.xml"/><Relationship Id="rId277" Type="http://schemas.openxmlformats.org/officeDocument/2006/relationships/tags" Target="../tags/tag279.xml"/><Relationship Id="rId298" Type="http://schemas.openxmlformats.org/officeDocument/2006/relationships/tags" Target="../tags/tag300.xml"/><Relationship Id="rId400" Type="http://schemas.openxmlformats.org/officeDocument/2006/relationships/tags" Target="../tags/tag402.xml"/><Relationship Id="rId116" Type="http://schemas.openxmlformats.org/officeDocument/2006/relationships/tags" Target="../tags/tag118.xml"/><Relationship Id="rId137" Type="http://schemas.openxmlformats.org/officeDocument/2006/relationships/tags" Target="../tags/tag139.xml"/><Relationship Id="rId158" Type="http://schemas.openxmlformats.org/officeDocument/2006/relationships/tags" Target="../tags/tag160.xml"/><Relationship Id="rId302" Type="http://schemas.openxmlformats.org/officeDocument/2006/relationships/tags" Target="../tags/tag304.xml"/><Relationship Id="rId323" Type="http://schemas.openxmlformats.org/officeDocument/2006/relationships/tags" Target="../tags/tag325.xml"/><Relationship Id="rId344" Type="http://schemas.openxmlformats.org/officeDocument/2006/relationships/tags" Target="../tags/tag346.xml"/><Relationship Id="rId20" Type="http://schemas.openxmlformats.org/officeDocument/2006/relationships/tags" Target="../tags/tag22.xml"/><Relationship Id="rId41" Type="http://schemas.openxmlformats.org/officeDocument/2006/relationships/tags" Target="../tags/tag43.xml"/><Relationship Id="rId62" Type="http://schemas.openxmlformats.org/officeDocument/2006/relationships/tags" Target="../tags/tag64.xml"/><Relationship Id="rId83" Type="http://schemas.openxmlformats.org/officeDocument/2006/relationships/tags" Target="../tags/tag85.xml"/><Relationship Id="rId179" Type="http://schemas.openxmlformats.org/officeDocument/2006/relationships/tags" Target="../tags/tag181.xml"/><Relationship Id="rId365" Type="http://schemas.openxmlformats.org/officeDocument/2006/relationships/tags" Target="../tags/tag367.xml"/><Relationship Id="rId386" Type="http://schemas.openxmlformats.org/officeDocument/2006/relationships/tags" Target="../tags/tag388.xml"/><Relationship Id="rId190" Type="http://schemas.openxmlformats.org/officeDocument/2006/relationships/tags" Target="../tags/tag192.xml"/><Relationship Id="rId204" Type="http://schemas.openxmlformats.org/officeDocument/2006/relationships/tags" Target="../tags/tag206.xml"/><Relationship Id="rId225" Type="http://schemas.openxmlformats.org/officeDocument/2006/relationships/tags" Target="../tags/tag227.xml"/><Relationship Id="rId246" Type="http://schemas.openxmlformats.org/officeDocument/2006/relationships/tags" Target="../tags/tag248.xml"/><Relationship Id="rId267" Type="http://schemas.openxmlformats.org/officeDocument/2006/relationships/tags" Target="../tags/tag269.xml"/><Relationship Id="rId288" Type="http://schemas.openxmlformats.org/officeDocument/2006/relationships/tags" Target="../tags/tag290.xml"/><Relationship Id="rId106" Type="http://schemas.openxmlformats.org/officeDocument/2006/relationships/tags" Target="../tags/tag108.xml"/><Relationship Id="rId127" Type="http://schemas.openxmlformats.org/officeDocument/2006/relationships/tags" Target="../tags/tag129.xml"/><Relationship Id="rId313" Type="http://schemas.openxmlformats.org/officeDocument/2006/relationships/tags" Target="../tags/tag315.xml"/><Relationship Id="rId10" Type="http://schemas.openxmlformats.org/officeDocument/2006/relationships/tags" Target="../tags/tag12.xml"/><Relationship Id="rId31" Type="http://schemas.openxmlformats.org/officeDocument/2006/relationships/tags" Target="../tags/tag33.xml"/><Relationship Id="rId52" Type="http://schemas.openxmlformats.org/officeDocument/2006/relationships/tags" Target="../tags/tag54.xml"/><Relationship Id="rId73" Type="http://schemas.openxmlformats.org/officeDocument/2006/relationships/tags" Target="../tags/tag75.xml"/><Relationship Id="rId94" Type="http://schemas.openxmlformats.org/officeDocument/2006/relationships/tags" Target="../tags/tag96.xml"/><Relationship Id="rId148" Type="http://schemas.openxmlformats.org/officeDocument/2006/relationships/tags" Target="../tags/tag150.xml"/><Relationship Id="rId169" Type="http://schemas.openxmlformats.org/officeDocument/2006/relationships/tags" Target="../tags/tag171.xml"/><Relationship Id="rId334" Type="http://schemas.openxmlformats.org/officeDocument/2006/relationships/tags" Target="../tags/tag336.xml"/><Relationship Id="rId355" Type="http://schemas.openxmlformats.org/officeDocument/2006/relationships/tags" Target="../tags/tag357.xml"/><Relationship Id="rId376" Type="http://schemas.openxmlformats.org/officeDocument/2006/relationships/tags" Target="../tags/tag378.xml"/><Relationship Id="rId397" Type="http://schemas.openxmlformats.org/officeDocument/2006/relationships/tags" Target="../tags/tag399.xml"/><Relationship Id="rId4" Type="http://schemas.openxmlformats.org/officeDocument/2006/relationships/tags" Target="../tags/tag6.xml"/><Relationship Id="rId180" Type="http://schemas.openxmlformats.org/officeDocument/2006/relationships/tags" Target="../tags/tag182.xml"/><Relationship Id="rId215" Type="http://schemas.openxmlformats.org/officeDocument/2006/relationships/tags" Target="../tags/tag217.xml"/><Relationship Id="rId236" Type="http://schemas.openxmlformats.org/officeDocument/2006/relationships/tags" Target="../tags/tag238.xml"/><Relationship Id="rId257" Type="http://schemas.openxmlformats.org/officeDocument/2006/relationships/tags" Target="../tags/tag259.xml"/><Relationship Id="rId278" Type="http://schemas.openxmlformats.org/officeDocument/2006/relationships/tags" Target="../tags/tag280.xml"/><Relationship Id="rId401" Type="http://schemas.openxmlformats.org/officeDocument/2006/relationships/tags" Target="../tags/tag403.xml"/><Relationship Id="rId303" Type="http://schemas.openxmlformats.org/officeDocument/2006/relationships/tags" Target="../tags/tag305.xml"/><Relationship Id="rId42" Type="http://schemas.openxmlformats.org/officeDocument/2006/relationships/tags" Target="../tags/tag44.xml"/><Relationship Id="rId84" Type="http://schemas.openxmlformats.org/officeDocument/2006/relationships/tags" Target="../tags/tag86.xml"/><Relationship Id="rId138" Type="http://schemas.openxmlformats.org/officeDocument/2006/relationships/tags" Target="../tags/tag140.xml"/><Relationship Id="rId345" Type="http://schemas.openxmlformats.org/officeDocument/2006/relationships/tags" Target="../tags/tag347.xml"/><Relationship Id="rId387" Type="http://schemas.openxmlformats.org/officeDocument/2006/relationships/tags" Target="../tags/tag389.xml"/><Relationship Id="rId191" Type="http://schemas.openxmlformats.org/officeDocument/2006/relationships/tags" Target="../tags/tag193.xml"/><Relationship Id="rId205" Type="http://schemas.openxmlformats.org/officeDocument/2006/relationships/tags" Target="../tags/tag207.xml"/><Relationship Id="rId247" Type="http://schemas.openxmlformats.org/officeDocument/2006/relationships/tags" Target="../tags/tag249.xml"/><Relationship Id="rId107" Type="http://schemas.openxmlformats.org/officeDocument/2006/relationships/tags" Target="../tags/tag109.xml"/><Relationship Id="rId289" Type="http://schemas.openxmlformats.org/officeDocument/2006/relationships/tags" Target="../tags/tag291.xml"/><Relationship Id="rId11" Type="http://schemas.openxmlformats.org/officeDocument/2006/relationships/tags" Target="../tags/tag13.xml"/><Relationship Id="rId53" Type="http://schemas.openxmlformats.org/officeDocument/2006/relationships/tags" Target="../tags/tag55.xml"/><Relationship Id="rId149" Type="http://schemas.openxmlformats.org/officeDocument/2006/relationships/tags" Target="../tags/tag151.xml"/><Relationship Id="rId314" Type="http://schemas.openxmlformats.org/officeDocument/2006/relationships/tags" Target="../tags/tag316.xml"/><Relationship Id="rId356" Type="http://schemas.openxmlformats.org/officeDocument/2006/relationships/tags" Target="../tags/tag358.xml"/><Relationship Id="rId398" Type="http://schemas.openxmlformats.org/officeDocument/2006/relationships/tags" Target="../tags/tag40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411.xml"/><Relationship Id="rId2" Type="http://schemas.openxmlformats.org/officeDocument/2006/relationships/customXml" Target="../../customXml/item22.xml"/><Relationship Id="rId1" Type="http://schemas.openxmlformats.org/officeDocument/2006/relationships/customXml" Target="../../customXml/item21.xml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412.xml"/><Relationship Id="rId2" Type="http://schemas.openxmlformats.org/officeDocument/2006/relationships/customXml" Target="../../customXml/item24.xml"/><Relationship Id="rId1" Type="http://schemas.openxmlformats.org/officeDocument/2006/relationships/customXml" Target="../../customXml/item23.xml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413.xml"/><Relationship Id="rId2" Type="http://schemas.openxmlformats.org/officeDocument/2006/relationships/customXml" Target="../../customXml/item26.xml"/><Relationship Id="rId1" Type="http://schemas.openxmlformats.org/officeDocument/2006/relationships/customXml" Target="../../customXml/item25.xml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117" Type="http://schemas.openxmlformats.org/officeDocument/2006/relationships/tags" Target="../tags/tag528.xml"/><Relationship Id="rId299" Type="http://schemas.openxmlformats.org/officeDocument/2006/relationships/tags" Target="../tags/tag710.xml"/><Relationship Id="rId21" Type="http://schemas.openxmlformats.org/officeDocument/2006/relationships/tags" Target="../tags/tag432.xml"/><Relationship Id="rId63" Type="http://schemas.openxmlformats.org/officeDocument/2006/relationships/tags" Target="../tags/tag474.xml"/><Relationship Id="rId159" Type="http://schemas.openxmlformats.org/officeDocument/2006/relationships/tags" Target="../tags/tag570.xml"/><Relationship Id="rId324" Type="http://schemas.openxmlformats.org/officeDocument/2006/relationships/tags" Target="../tags/tag735.xml"/><Relationship Id="rId366" Type="http://schemas.openxmlformats.org/officeDocument/2006/relationships/tags" Target="../tags/tag777.xml"/><Relationship Id="rId170" Type="http://schemas.openxmlformats.org/officeDocument/2006/relationships/tags" Target="../tags/tag581.xml"/><Relationship Id="rId226" Type="http://schemas.openxmlformats.org/officeDocument/2006/relationships/tags" Target="../tags/tag637.xml"/><Relationship Id="rId268" Type="http://schemas.openxmlformats.org/officeDocument/2006/relationships/tags" Target="../tags/tag679.xml"/><Relationship Id="rId32" Type="http://schemas.openxmlformats.org/officeDocument/2006/relationships/tags" Target="../tags/tag443.xml"/><Relationship Id="rId74" Type="http://schemas.openxmlformats.org/officeDocument/2006/relationships/tags" Target="../tags/tag485.xml"/><Relationship Id="rId128" Type="http://schemas.openxmlformats.org/officeDocument/2006/relationships/tags" Target="../tags/tag539.xml"/><Relationship Id="rId335" Type="http://schemas.openxmlformats.org/officeDocument/2006/relationships/tags" Target="../tags/tag746.xml"/><Relationship Id="rId377" Type="http://schemas.openxmlformats.org/officeDocument/2006/relationships/tags" Target="../tags/tag788.xml"/><Relationship Id="rId5" Type="http://schemas.openxmlformats.org/officeDocument/2006/relationships/tags" Target="../tags/tag416.xml"/><Relationship Id="rId95" Type="http://schemas.openxmlformats.org/officeDocument/2006/relationships/tags" Target="../tags/tag506.xml"/><Relationship Id="rId160" Type="http://schemas.openxmlformats.org/officeDocument/2006/relationships/tags" Target="../tags/tag571.xml"/><Relationship Id="rId181" Type="http://schemas.openxmlformats.org/officeDocument/2006/relationships/tags" Target="../tags/tag592.xml"/><Relationship Id="rId216" Type="http://schemas.openxmlformats.org/officeDocument/2006/relationships/tags" Target="../tags/tag627.xml"/><Relationship Id="rId237" Type="http://schemas.openxmlformats.org/officeDocument/2006/relationships/tags" Target="../tags/tag648.xml"/><Relationship Id="rId402" Type="http://schemas.openxmlformats.org/officeDocument/2006/relationships/tags" Target="../tags/tag813.xml"/><Relationship Id="rId258" Type="http://schemas.openxmlformats.org/officeDocument/2006/relationships/tags" Target="../tags/tag669.xml"/><Relationship Id="rId279" Type="http://schemas.openxmlformats.org/officeDocument/2006/relationships/tags" Target="../tags/tag690.xml"/><Relationship Id="rId22" Type="http://schemas.openxmlformats.org/officeDocument/2006/relationships/tags" Target="../tags/tag433.xml"/><Relationship Id="rId43" Type="http://schemas.openxmlformats.org/officeDocument/2006/relationships/tags" Target="../tags/tag454.xml"/><Relationship Id="rId64" Type="http://schemas.openxmlformats.org/officeDocument/2006/relationships/tags" Target="../tags/tag475.xml"/><Relationship Id="rId118" Type="http://schemas.openxmlformats.org/officeDocument/2006/relationships/tags" Target="../tags/tag529.xml"/><Relationship Id="rId139" Type="http://schemas.openxmlformats.org/officeDocument/2006/relationships/tags" Target="../tags/tag550.xml"/><Relationship Id="rId290" Type="http://schemas.openxmlformats.org/officeDocument/2006/relationships/tags" Target="../tags/tag701.xml"/><Relationship Id="rId304" Type="http://schemas.openxmlformats.org/officeDocument/2006/relationships/tags" Target="../tags/tag715.xml"/><Relationship Id="rId325" Type="http://schemas.openxmlformats.org/officeDocument/2006/relationships/tags" Target="../tags/tag736.xml"/><Relationship Id="rId346" Type="http://schemas.openxmlformats.org/officeDocument/2006/relationships/tags" Target="../tags/tag757.xml"/><Relationship Id="rId367" Type="http://schemas.openxmlformats.org/officeDocument/2006/relationships/tags" Target="../tags/tag778.xml"/><Relationship Id="rId388" Type="http://schemas.openxmlformats.org/officeDocument/2006/relationships/tags" Target="../tags/tag799.xml"/><Relationship Id="rId85" Type="http://schemas.openxmlformats.org/officeDocument/2006/relationships/tags" Target="../tags/tag496.xml"/><Relationship Id="rId150" Type="http://schemas.openxmlformats.org/officeDocument/2006/relationships/tags" Target="../tags/tag561.xml"/><Relationship Id="rId171" Type="http://schemas.openxmlformats.org/officeDocument/2006/relationships/tags" Target="../tags/tag582.xml"/><Relationship Id="rId192" Type="http://schemas.openxmlformats.org/officeDocument/2006/relationships/tags" Target="../tags/tag603.xml"/><Relationship Id="rId206" Type="http://schemas.openxmlformats.org/officeDocument/2006/relationships/tags" Target="../tags/tag617.xml"/><Relationship Id="rId227" Type="http://schemas.openxmlformats.org/officeDocument/2006/relationships/tags" Target="../tags/tag638.xml"/><Relationship Id="rId248" Type="http://schemas.openxmlformats.org/officeDocument/2006/relationships/tags" Target="../tags/tag659.xml"/><Relationship Id="rId269" Type="http://schemas.openxmlformats.org/officeDocument/2006/relationships/tags" Target="../tags/tag680.xml"/><Relationship Id="rId12" Type="http://schemas.openxmlformats.org/officeDocument/2006/relationships/tags" Target="../tags/tag423.xml"/><Relationship Id="rId33" Type="http://schemas.openxmlformats.org/officeDocument/2006/relationships/tags" Target="../tags/tag444.xml"/><Relationship Id="rId108" Type="http://schemas.openxmlformats.org/officeDocument/2006/relationships/tags" Target="../tags/tag519.xml"/><Relationship Id="rId129" Type="http://schemas.openxmlformats.org/officeDocument/2006/relationships/tags" Target="../tags/tag540.xml"/><Relationship Id="rId280" Type="http://schemas.openxmlformats.org/officeDocument/2006/relationships/tags" Target="../tags/tag691.xml"/><Relationship Id="rId315" Type="http://schemas.openxmlformats.org/officeDocument/2006/relationships/tags" Target="../tags/tag726.xml"/><Relationship Id="rId336" Type="http://schemas.openxmlformats.org/officeDocument/2006/relationships/tags" Target="../tags/tag747.xml"/><Relationship Id="rId357" Type="http://schemas.openxmlformats.org/officeDocument/2006/relationships/tags" Target="../tags/tag768.xml"/><Relationship Id="rId54" Type="http://schemas.openxmlformats.org/officeDocument/2006/relationships/tags" Target="../tags/tag465.xml"/><Relationship Id="rId75" Type="http://schemas.openxmlformats.org/officeDocument/2006/relationships/tags" Target="../tags/tag486.xml"/><Relationship Id="rId96" Type="http://schemas.openxmlformats.org/officeDocument/2006/relationships/tags" Target="../tags/tag507.xml"/><Relationship Id="rId140" Type="http://schemas.openxmlformats.org/officeDocument/2006/relationships/tags" Target="../tags/tag551.xml"/><Relationship Id="rId161" Type="http://schemas.openxmlformats.org/officeDocument/2006/relationships/tags" Target="../tags/tag572.xml"/><Relationship Id="rId182" Type="http://schemas.openxmlformats.org/officeDocument/2006/relationships/tags" Target="../tags/tag593.xml"/><Relationship Id="rId217" Type="http://schemas.openxmlformats.org/officeDocument/2006/relationships/tags" Target="../tags/tag628.xml"/><Relationship Id="rId378" Type="http://schemas.openxmlformats.org/officeDocument/2006/relationships/tags" Target="../tags/tag789.xml"/><Relationship Id="rId399" Type="http://schemas.openxmlformats.org/officeDocument/2006/relationships/tags" Target="../tags/tag810.xml"/><Relationship Id="rId403" Type="http://schemas.openxmlformats.org/officeDocument/2006/relationships/tags" Target="../tags/tag814.xml"/><Relationship Id="rId6" Type="http://schemas.openxmlformats.org/officeDocument/2006/relationships/tags" Target="../tags/tag417.xml"/><Relationship Id="rId238" Type="http://schemas.openxmlformats.org/officeDocument/2006/relationships/tags" Target="../tags/tag649.xml"/><Relationship Id="rId259" Type="http://schemas.openxmlformats.org/officeDocument/2006/relationships/tags" Target="../tags/tag670.xml"/><Relationship Id="rId23" Type="http://schemas.openxmlformats.org/officeDocument/2006/relationships/tags" Target="../tags/tag434.xml"/><Relationship Id="rId119" Type="http://schemas.openxmlformats.org/officeDocument/2006/relationships/tags" Target="../tags/tag530.xml"/><Relationship Id="rId270" Type="http://schemas.openxmlformats.org/officeDocument/2006/relationships/tags" Target="../tags/tag681.xml"/><Relationship Id="rId291" Type="http://schemas.openxmlformats.org/officeDocument/2006/relationships/tags" Target="../tags/tag702.xml"/><Relationship Id="rId305" Type="http://schemas.openxmlformats.org/officeDocument/2006/relationships/tags" Target="../tags/tag716.xml"/><Relationship Id="rId326" Type="http://schemas.openxmlformats.org/officeDocument/2006/relationships/tags" Target="../tags/tag737.xml"/><Relationship Id="rId347" Type="http://schemas.openxmlformats.org/officeDocument/2006/relationships/tags" Target="../tags/tag758.xml"/><Relationship Id="rId44" Type="http://schemas.openxmlformats.org/officeDocument/2006/relationships/tags" Target="../tags/tag455.xml"/><Relationship Id="rId65" Type="http://schemas.openxmlformats.org/officeDocument/2006/relationships/tags" Target="../tags/tag476.xml"/><Relationship Id="rId86" Type="http://schemas.openxmlformats.org/officeDocument/2006/relationships/tags" Target="../tags/tag497.xml"/><Relationship Id="rId130" Type="http://schemas.openxmlformats.org/officeDocument/2006/relationships/tags" Target="../tags/tag541.xml"/><Relationship Id="rId151" Type="http://schemas.openxmlformats.org/officeDocument/2006/relationships/tags" Target="../tags/tag562.xml"/><Relationship Id="rId368" Type="http://schemas.openxmlformats.org/officeDocument/2006/relationships/tags" Target="../tags/tag779.xml"/><Relationship Id="rId389" Type="http://schemas.openxmlformats.org/officeDocument/2006/relationships/tags" Target="../tags/tag800.xml"/><Relationship Id="rId172" Type="http://schemas.openxmlformats.org/officeDocument/2006/relationships/tags" Target="../tags/tag583.xml"/><Relationship Id="rId193" Type="http://schemas.openxmlformats.org/officeDocument/2006/relationships/tags" Target="../tags/tag604.xml"/><Relationship Id="rId207" Type="http://schemas.openxmlformats.org/officeDocument/2006/relationships/tags" Target="../tags/tag618.xml"/><Relationship Id="rId228" Type="http://schemas.openxmlformats.org/officeDocument/2006/relationships/tags" Target="../tags/tag639.xml"/><Relationship Id="rId249" Type="http://schemas.openxmlformats.org/officeDocument/2006/relationships/tags" Target="../tags/tag660.xml"/><Relationship Id="rId13" Type="http://schemas.openxmlformats.org/officeDocument/2006/relationships/tags" Target="../tags/tag424.xml"/><Relationship Id="rId109" Type="http://schemas.openxmlformats.org/officeDocument/2006/relationships/tags" Target="../tags/tag520.xml"/><Relationship Id="rId260" Type="http://schemas.openxmlformats.org/officeDocument/2006/relationships/tags" Target="../tags/tag671.xml"/><Relationship Id="rId281" Type="http://schemas.openxmlformats.org/officeDocument/2006/relationships/tags" Target="../tags/tag692.xml"/><Relationship Id="rId316" Type="http://schemas.openxmlformats.org/officeDocument/2006/relationships/tags" Target="../tags/tag727.xml"/><Relationship Id="rId337" Type="http://schemas.openxmlformats.org/officeDocument/2006/relationships/tags" Target="../tags/tag748.xml"/><Relationship Id="rId34" Type="http://schemas.openxmlformats.org/officeDocument/2006/relationships/tags" Target="../tags/tag445.xml"/><Relationship Id="rId55" Type="http://schemas.openxmlformats.org/officeDocument/2006/relationships/tags" Target="../tags/tag466.xml"/><Relationship Id="rId76" Type="http://schemas.openxmlformats.org/officeDocument/2006/relationships/tags" Target="../tags/tag487.xml"/><Relationship Id="rId97" Type="http://schemas.openxmlformats.org/officeDocument/2006/relationships/tags" Target="../tags/tag508.xml"/><Relationship Id="rId120" Type="http://schemas.openxmlformats.org/officeDocument/2006/relationships/tags" Target="../tags/tag531.xml"/><Relationship Id="rId141" Type="http://schemas.openxmlformats.org/officeDocument/2006/relationships/tags" Target="../tags/tag552.xml"/><Relationship Id="rId358" Type="http://schemas.openxmlformats.org/officeDocument/2006/relationships/tags" Target="../tags/tag769.xml"/><Relationship Id="rId379" Type="http://schemas.openxmlformats.org/officeDocument/2006/relationships/tags" Target="../tags/tag790.xml"/><Relationship Id="rId7" Type="http://schemas.openxmlformats.org/officeDocument/2006/relationships/tags" Target="../tags/tag418.xml"/><Relationship Id="rId162" Type="http://schemas.openxmlformats.org/officeDocument/2006/relationships/tags" Target="../tags/tag573.xml"/><Relationship Id="rId183" Type="http://schemas.openxmlformats.org/officeDocument/2006/relationships/tags" Target="../tags/tag594.xml"/><Relationship Id="rId218" Type="http://schemas.openxmlformats.org/officeDocument/2006/relationships/tags" Target="../tags/tag629.xml"/><Relationship Id="rId239" Type="http://schemas.openxmlformats.org/officeDocument/2006/relationships/tags" Target="../tags/tag650.xml"/><Relationship Id="rId390" Type="http://schemas.openxmlformats.org/officeDocument/2006/relationships/tags" Target="../tags/tag801.xml"/><Relationship Id="rId404" Type="http://schemas.openxmlformats.org/officeDocument/2006/relationships/tags" Target="../tags/tag815.xml"/><Relationship Id="rId250" Type="http://schemas.openxmlformats.org/officeDocument/2006/relationships/tags" Target="../tags/tag661.xml"/><Relationship Id="rId271" Type="http://schemas.openxmlformats.org/officeDocument/2006/relationships/tags" Target="../tags/tag682.xml"/><Relationship Id="rId292" Type="http://schemas.openxmlformats.org/officeDocument/2006/relationships/tags" Target="../tags/tag703.xml"/><Relationship Id="rId306" Type="http://schemas.openxmlformats.org/officeDocument/2006/relationships/tags" Target="../tags/tag717.xml"/><Relationship Id="rId24" Type="http://schemas.openxmlformats.org/officeDocument/2006/relationships/tags" Target="../tags/tag435.xml"/><Relationship Id="rId45" Type="http://schemas.openxmlformats.org/officeDocument/2006/relationships/tags" Target="../tags/tag456.xml"/><Relationship Id="rId66" Type="http://schemas.openxmlformats.org/officeDocument/2006/relationships/tags" Target="../tags/tag477.xml"/><Relationship Id="rId87" Type="http://schemas.openxmlformats.org/officeDocument/2006/relationships/tags" Target="../tags/tag498.xml"/><Relationship Id="rId110" Type="http://schemas.openxmlformats.org/officeDocument/2006/relationships/tags" Target="../tags/tag521.xml"/><Relationship Id="rId131" Type="http://schemas.openxmlformats.org/officeDocument/2006/relationships/tags" Target="../tags/tag542.xml"/><Relationship Id="rId327" Type="http://schemas.openxmlformats.org/officeDocument/2006/relationships/tags" Target="../tags/tag738.xml"/><Relationship Id="rId348" Type="http://schemas.openxmlformats.org/officeDocument/2006/relationships/tags" Target="../tags/tag759.xml"/><Relationship Id="rId369" Type="http://schemas.openxmlformats.org/officeDocument/2006/relationships/tags" Target="../tags/tag780.xml"/><Relationship Id="rId152" Type="http://schemas.openxmlformats.org/officeDocument/2006/relationships/tags" Target="../tags/tag563.xml"/><Relationship Id="rId173" Type="http://schemas.openxmlformats.org/officeDocument/2006/relationships/tags" Target="../tags/tag584.xml"/><Relationship Id="rId194" Type="http://schemas.openxmlformats.org/officeDocument/2006/relationships/tags" Target="../tags/tag605.xml"/><Relationship Id="rId208" Type="http://schemas.openxmlformats.org/officeDocument/2006/relationships/tags" Target="../tags/tag619.xml"/><Relationship Id="rId229" Type="http://schemas.openxmlformats.org/officeDocument/2006/relationships/tags" Target="../tags/tag640.xml"/><Relationship Id="rId380" Type="http://schemas.openxmlformats.org/officeDocument/2006/relationships/tags" Target="../tags/tag791.xml"/><Relationship Id="rId240" Type="http://schemas.openxmlformats.org/officeDocument/2006/relationships/tags" Target="../tags/tag651.xml"/><Relationship Id="rId261" Type="http://schemas.openxmlformats.org/officeDocument/2006/relationships/tags" Target="../tags/tag672.xml"/><Relationship Id="rId14" Type="http://schemas.openxmlformats.org/officeDocument/2006/relationships/tags" Target="../tags/tag425.xml"/><Relationship Id="rId35" Type="http://schemas.openxmlformats.org/officeDocument/2006/relationships/tags" Target="../tags/tag446.xml"/><Relationship Id="rId56" Type="http://schemas.openxmlformats.org/officeDocument/2006/relationships/tags" Target="../tags/tag467.xml"/><Relationship Id="rId77" Type="http://schemas.openxmlformats.org/officeDocument/2006/relationships/tags" Target="../tags/tag488.xml"/><Relationship Id="rId100" Type="http://schemas.openxmlformats.org/officeDocument/2006/relationships/tags" Target="../tags/tag511.xml"/><Relationship Id="rId282" Type="http://schemas.openxmlformats.org/officeDocument/2006/relationships/tags" Target="../tags/tag693.xml"/><Relationship Id="rId317" Type="http://schemas.openxmlformats.org/officeDocument/2006/relationships/tags" Target="../tags/tag728.xml"/><Relationship Id="rId338" Type="http://schemas.openxmlformats.org/officeDocument/2006/relationships/tags" Target="../tags/tag749.xml"/><Relationship Id="rId359" Type="http://schemas.openxmlformats.org/officeDocument/2006/relationships/tags" Target="../tags/tag770.xml"/><Relationship Id="rId8" Type="http://schemas.openxmlformats.org/officeDocument/2006/relationships/tags" Target="../tags/tag419.xml"/><Relationship Id="rId98" Type="http://schemas.openxmlformats.org/officeDocument/2006/relationships/tags" Target="../tags/tag509.xml"/><Relationship Id="rId121" Type="http://schemas.openxmlformats.org/officeDocument/2006/relationships/tags" Target="../tags/tag532.xml"/><Relationship Id="rId142" Type="http://schemas.openxmlformats.org/officeDocument/2006/relationships/tags" Target="../tags/tag553.xml"/><Relationship Id="rId163" Type="http://schemas.openxmlformats.org/officeDocument/2006/relationships/tags" Target="../tags/tag574.xml"/><Relationship Id="rId184" Type="http://schemas.openxmlformats.org/officeDocument/2006/relationships/tags" Target="../tags/tag595.xml"/><Relationship Id="rId219" Type="http://schemas.openxmlformats.org/officeDocument/2006/relationships/tags" Target="../tags/tag630.xml"/><Relationship Id="rId370" Type="http://schemas.openxmlformats.org/officeDocument/2006/relationships/tags" Target="../tags/tag781.xml"/><Relationship Id="rId391" Type="http://schemas.openxmlformats.org/officeDocument/2006/relationships/tags" Target="../tags/tag802.xml"/><Relationship Id="rId405" Type="http://schemas.openxmlformats.org/officeDocument/2006/relationships/tags" Target="../tags/tag816.xml"/><Relationship Id="rId230" Type="http://schemas.openxmlformats.org/officeDocument/2006/relationships/tags" Target="../tags/tag641.xml"/><Relationship Id="rId251" Type="http://schemas.openxmlformats.org/officeDocument/2006/relationships/tags" Target="../tags/tag662.xml"/><Relationship Id="rId25" Type="http://schemas.openxmlformats.org/officeDocument/2006/relationships/tags" Target="../tags/tag436.xml"/><Relationship Id="rId46" Type="http://schemas.openxmlformats.org/officeDocument/2006/relationships/tags" Target="../tags/tag457.xml"/><Relationship Id="rId67" Type="http://schemas.openxmlformats.org/officeDocument/2006/relationships/tags" Target="../tags/tag478.xml"/><Relationship Id="rId272" Type="http://schemas.openxmlformats.org/officeDocument/2006/relationships/tags" Target="../tags/tag683.xml"/><Relationship Id="rId293" Type="http://schemas.openxmlformats.org/officeDocument/2006/relationships/tags" Target="../tags/tag704.xml"/><Relationship Id="rId307" Type="http://schemas.openxmlformats.org/officeDocument/2006/relationships/tags" Target="../tags/tag718.xml"/><Relationship Id="rId328" Type="http://schemas.openxmlformats.org/officeDocument/2006/relationships/tags" Target="../tags/tag739.xml"/><Relationship Id="rId349" Type="http://schemas.openxmlformats.org/officeDocument/2006/relationships/tags" Target="../tags/tag760.xml"/><Relationship Id="rId88" Type="http://schemas.openxmlformats.org/officeDocument/2006/relationships/tags" Target="../tags/tag499.xml"/><Relationship Id="rId111" Type="http://schemas.openxmlformats.org/officeDocument/2006/relationships/tags" Target="../tags/tag522.xml"/><Relationship Id="rId132" Type="http://schemas.openxmlformats.org/officeDocument/2006/relationships/tags" Target="../tags/tag543.xml"/><Relationship Id="rId153" Type="http://schemas.openxmlformats.org/officeDocument/2006/relationships/tags" Target="../tags/tag564.xml"/><Relationship Id="rId174" Type="http://schemas.openxmlformats.org/officeDocument/2006/relationships/tags" Target="../tags/tag585.xml"/><Relationship Id="rId195" Type="http://schemas.openxmlformats.org/officeDocument/2006/relationships/tags" Target="../tags/tag606.xml"/><Relationship Id="rId209" Type="http://schemas.openxmlformats.org/officeDocument/2006/relationships/tags" Target="../tags/tag620.xml"/><Relationship Id="rId360" Type="http://schemas.openxmlformats.org/officeDocument/2006/relationships/tags" Target="../tags/tag771.xml"/><Relationship Id="rId381" Type="http://schemas.openxmlformats.org/officeDocument/2006/relationships/tags" Target="../tags/tag792.xml"/><Relationship Id="rId220" Type="http://schemas.openxmlformats.org/officeDocument/2006/relationships/tags" Target="../tags/tag631.xml"/><Relationship Id="rId241" Type="http://schemas.openxmlformats.org/officeDocument/2006/relationships/tags" Target="../tags/tag652.xml"/><Relationship Id="rId15" Type="http://schemas.openxmlformats.org/officeDocument/2006/relationships/tags" Target="../tags/tag426.xml"/><Relationship Id="rId36" Type="http://schemas.openxmlformats.org/officeDocument/2006/relationships/tags" Target="../tags/tag447.xml"/><Relationship Id="rId57" Type="http://schemas.openxmlformats.org/officeDocument/2006/relationships/tags" Target="../tags/tag468.xml"/><Relationship Id="rId262" Type="http://schemas.openxmlformats.org/officeDocument/2006/relationships/tags" Target="../tags/tag673.xml"/><Relationship Id="rId283" Type="http://schemas.openxmlformats.org/officeDocument/2006/relationships/tags" Target="../tags/tag694.xml"/><Relationship Id="rId318" Type="http://schemas.openxmlformats.org/officeDocument/2006/relationships/tags" Target="../tags/tag729.xml"/><Relationship Id="rId339" Type="http://schemas.openxmlformats.org/officeDocument/2006/relationships/tags" Target="../tags/tag750.xml"/><Relationship Id="rId78" Type="http://schemas.openxmlformats.org/officeDocument/2006/relationships/tags" Target="../tags/tag489.xml"/><Relationship Id="rId99" Type="http://schemas.openxmlformats.org/officeDocument/2006/relationships/tags" Target="../tags/tag510.xml"/><Relationship Id="rId101" Type="http://schemas.openxmlformats.org/officeDocument/2006/relationships/tags" Target="../tags/tag512.xml"/><Relationship Id="rId122" Type="http://schemas.openxmlformats.org/officeDocument/2006/relationships/tags" Target="../tags/tag533.xml"/><Relationship Id="rId143" Type="http://schemas.openxmlformats.org/officeDocument/2006/relationships/tags" Target="../tags/tag554.xml"/><Relationship Id="rId164" Type="http://schemas.openxmlformats.org/officeDocument/2006/relationships/tags" Target="../tags/tag575.xml"/><Relationship Id="rId185" Type="http://schemas.openxmlformats.org/officeDocument/2006/relationships/tags" Target="../tags/tag596.xml"/><Relationship Id="rId350" Type="http://schemas.openxmlformats.org/officeDocument/2006/relationships/tags" Target="../tags/tag761.xml"/><Relationship Id="rId371" Type="http://schemas.openxmlformats.org/officeDocument/2006/relationships/tags" Target="../tags/tag782.xml"/><Relationship Id="rId406" Type="http://schemas.openxmlformats.org/officeDocument/2006/relationships/tags" Target="../tags/tag817.xml"/><Relationship Id="rId9" Type="http://schemas.openxmlformats.org/officeDocument/2006/relationships/tags" Target="../tags/tag420.xml"/><Relationship Id="rId210" Type="http://schemas.openxmlformats.org/officeDocument/2006/relationships/tags" Target="../tags/tag621.xml"/><Relationship Id="rId392" Type="http://schemas.openxmlformats.org/officeDocument/2006/relationships/tags" Target="../tags/tag803.xml"/><Relationship Id="rId26" Type="http://schemas.openxmlformats.org/officeDocument/2006/relationships/tags" Target="../tags/tag437.xml"/><Relationship Id="rId231" Type="http://schemas.openxmlformats.org/officeDocument/2006/relationships/tags" Target="../tags/tag642.xml"/><Relationship Id="rId252" Type="http://schemas.openxmlformats.org/officeDocument/2006/relationships/tags" Target="../tags/tag663.xml"/><Relationship Id="rId273" Type="http://schemas.openxmlformats.org/officeDocument/2006/relationships/tags" Target="../tags/tag684.xml"/><Relationship Id="rId294" Type="http://schemas.openxmlformats.org/officeDocument/2006/relationships/tags" Target="../tags/tag705.xml"/><Relationship Id="rId308" Type="http://schemas.openxmlformats.org/officeDocument/2006/relationships/tags" Target="../tags/tag719.xml"/><Relationship Id="rId329" Type="http://schemas.openxmlformats.org/officeDocument/2006/relationships/tags" Target="../tags/tag740.xml"/><Relationship Id="rId47" Type="http://schemas.openxmlformats.org/officeDocument/2006/relationships/tags" Target="../tags/tag458.xml"/><Relationship Id="rId68" Type="http://schemas.openxmlformats.org/officeDocument/2006/relationships/tags" Target="../tags/tag479.xml"/><Relationship Id="rId89" Type="http://schemas.openxmlformats.org/officeDocument/2006/relationships/tags" Target="../tags/tag500.xml"/><Relationship Id="rId112" Type="http://schemas.openxmlformats.org/officeDocument/2006/relationships/tags" Target="../tags/tag523.xml"/><Relationship Id="rId133" Type="http://schemas.openxmlformats.org/officeDocument/2006/relationships/tags" Target="../tags/tag544.xml"/><Relationship Id="rId154" Type="http://schemas.openxmlformats.org/officeDocument/2006/relationships/tags" Target="../tags/tag565.xml"/><Relationship Id="rId175" Type="http://schemas.openxmlformats.org/officeDocument/2006/relationships/tags" Target="../tags/tag586.xml"/><Relationship Id="rId340" Type="http://schemas.openxmlformats.org/officeDocument/2006/relationships/tags" Target="../tags/tag751.xml"/><Relationship Id="rId361" Type="http://schemas.openxmlformats.org/officeDocument/2006/relationships/tags" Target="../tags/tag772.xml"/><Relationship Id="rId196" Type="http://schemas.openxmlformats.org/officeDocument/2006/relationships/tags" Target="../tags/tag607.xml"/><Relationship Id="rId200" Type="http://schemas.openxmlformats.org/officeDocument/2006/relationships/tags" Target="../tags/tag611.xml"/><Relationship Id="rId382" Type="http://schemas.openxmlformats.org/officeDocument/2006/relationships/tags" Target="../tags/tag793.xml"/><Relationship Id="rId16" Type="http://schemas.openxmlformats.org/officeDocument/2006/relationships/tags" Target="../tags/tag427.xml"/><Relationship Id="rId221" Type="http://schemas.openxmlformats.org/officeDocument/2006/relationships/tags" Target="../tags/tag632.xml"/><Relationship Id="rId242" Type="http://schemas.openxmlformats.org/officeDocument/2006/relationships/tags" Target="../tags/tag653.xml"/><Relationship Id="rId263" Type="http://schemas.openxmlformats.org/officeDocument/2006/relationships/tags" Target="../tags/tag674.xml"/><Relationship Id="rId284" Type="http://schemas.openxmlformats.org/officeDocument/2006/relationships/tags" Target="../tags/tag695.xml"/><Relationship Id="rId319" Type="http://schemas.openxmlformats.org/officeDocument/2006/relationships/tags" Target="../tags/tag730.xml"/><Relationship Id="rId37" Type="http://schemas.openxmlformats.org/officeDocument/2006/relationships/tags" Target="../tags/tag448.xml"/><Relationship Id="rId58" Type="http://schemas.openxmlformats.org/officeDocument/2006/relationships/tags" Target="../tags/tag469.xml"/><Relationship Id="rId79" Type="http://schemas.openxmlformats.org/officeDocument/2006/relationships/tags" Target="../tags/tag490.xml"/><Relationship Id="rId102" Type="http://schemas.openxmlformats.org/officeDocument/2006/relationships/tags" Target="../tags/tag513.xml"/><Relationship Id="rId123" Type="http://schemas.openxmlformats.org/officeDocument/2006/relationships/tags" Target="../tags/tag534.xml"/><Relationship Id="rId144" Type="http://schemas.openxmlformats.org/officeDocument/2006/relationships/tags" Target="../tags/tag555.xml"/><Relationship Id="rId330" Type="http://schemas.openxmlformats.org/officeDocument/2006/relationships/tags" Target="../tags/tag741.xml"/><Relationship Id="rId90" Type="http://schemas.openxmlformats.org/officeDocument/2006/relationships/tags" Target="../tags/tag501.xml"/><Relationship Id="rId165" Type="http://schemas.openxmlformats.org/officeDocument/2006/relationships/tags" Target="../tags/tag576.xml"/><Relationship Id="rId186" Type="http://schemas.openxmlformats.org/officeDocument/2006/relationships/tags" Target="../tags/tag597.xml"/><Relationship Id="rId351" Type="http://schemas.openxmlformats.org/officeDocument/2006/relationships/tags" Target="../tags/tag762.xml"/><Relationship Id="rId372" Type="http://schemas.openxmlformats.org/officeDocument/2006/relationships/tags" Target="../tags/tag783.xml"/><Relationship Id="rId393" Type="http://schemas.openxmlformats.org/officeDocument/2006/relationships/tags" Target="../tags/tag804.xml"/><Relationship Id="rId407" Type="http://schemas.openxmlformats.org/officeDocument/2006/relationships/tags" Target="../tags/tag818.xml"/><Relationship Id="rId211" Type="http://schemas.openxmlformats.org/officeDocument/2006/relationships/tags" Target="../tags/tag622.xml"/><Relationship Id="rId232" Type="http://schemas.openxmlformats.org/officeDocument/2006/relationships/tags" Target="../tags/tag643.xml"/><Relationship Id="rId253" Type="http://schemas.openxmlformats.org/officeDocument/2006/relationships/tags" Target="../tags/tag664.xml"/><Relationship Id="rId274" Type="http://schemas.openxmlformats.org/officeDocument/2006/relationships/tags" Target="../tags/tag685.xml"/><Relationship Id="rId295" Type="http://schemas.openxmlformats.org/officeDocument/2006/relationships/tags" Target="../tags/tag706.xml"/><Relationship Id="rId309" Type="http://schemas.openxmlformats.org/officeDocument/2006/relationships/tags" Target="../tags/tag720.xml"/><Relationship Id="rId27" Type="http://schemas.openxmlformats.org/officeDocument/2006/relationships/tags" Target="../tags/tag438.xml"/><Relationship Id="rId48" Type="http://schemas.openxmlformats.org/officeDocument/2006/relationships/tags" Target="../tags/tag459.xml"/><Relationship Id="rId69" Type="http://schemas.openxmlformats.org/officeDocument/2006/relationships/tags" Target="../tags/tag480.xml"/><Relationship Id="rId113" Type="http://schemas.openxmlformats.org/officeDocument/2006/relationships/tags" Target="../tags/tag524.xml"/><Relationship Id="rId134" Type="http://schemas.openxmlformats.org/officeDocument/2006/relationships/tags" Target="../tags/tag545.xml"/><Relationship Id="rId320" Type="http://schemas.openxmlformats.org/officeDocument/2006/relationships/tags" Target="../tags/tag731.xml"/><Relationship Id="rId80" Type="http://schemas.openxmlformats.org/officeDocument/2006/relationships/tags" Target="../tags/tag491.xml"/><Relationship Id="rId155" Type="http://schemas.openxmlformats.org/officeDocument/2006/relationships/tags" Target="../tags/tag566.xml"/><Relationship Id="rId176" Type="http://schemas.openxmlformats.org/officeDocument/2006/relationships/tags" Target="../tags/tag587.xml"/><Relationship Id="rId197" Type="http://schemas.openxmlformats.org/officeDocument/2006/relationships/tags" Target="../tags/tag608.xml"/><Relationship Id="rId341" Type="http://schemas.openxmlformats.org/officeDocument/2006/relationships/tags" Target="../tags/tag752.xml"/><Relationship Id="rId362" Type="http://schemas.openxmlformats.org/officeDocument/2006/relationships/tags" Target="../tags/tag773.xml"/><Relationship Id="rId383" Type="http://schemas.openxmlformats.org/officeDocument/2006/relationships/tags" Target="../tags/tag794.xml"/><Relationship Id="rId201" Type="http://schemas.openxmlformats.org/officeDocument/2006/relationships/tags" Target="../tags/tag612.xml"/><Relationship Id="rId222" Type="http://schemas.openxmlformats.org/officeDocument/2006/relationships/tags" Target="../tags/tag633.xml"/><Relationship Id="rId243" Type="http://schemas.openxmlformats.org/officeDocument/2006/relationships/tags" Target="../tags/tag654.xml"/><Relationship Id="rId264" Type="http://schemas.openxmlformats.org/officeDocument/2006/relationships/tags" Target="../tags/tag675.xml"/><Relationship Id="rId285" Type="http://schemas.openxmlformats.org/officeDocument/2006/relationships/tags" Target="../tags/tag696.xml"/><Relationship Id="rId17" Type="http://schemas.openxmlformats.org/officeDocument/2006/relationships/tags" Target="../tags/tag428.xml"/><Relationship Id="rId38" Type="http://schemas.openxmlformats.org/officeDocument/2006/relationships/tags" Target="../tags/tag449.xml"/><Relationship Id="rId59" Type="http://schemas.openxmlformats.org/officeDocument/2006/relationships/tags" Target="../tags/tag470.xml"/><Relationship Id="rId103" Type="http://schemas.openxmlformats.org/officeDocument/2006/relationships/tags" Target="../tags/tag514.xml"/><Relationship Id="rId124" Type="http://schemas.openxmlformats.org/officeDocument/2006/relationships/tags" Target="../tags/tag535.xml"/><Relationship Id="rId310" Type="http://schemas.openxmlformats.org/officeDocument/2006/relationships/tags" Target="../tags/tag721.xml"/><Relationship Id="rId70" Type="http://schemas.openxmlformats.org/officeDocument/2006/relationships/tags" Target="../tags/tag481.xml"/><Relationship Id="rId91" Type="http://schemas.openxmlformats.org/officeDocument/2006/relationships/tags" Target="../tags/tag502.xml"/><Relationship Id="rId145" Type="http://schemas.openxmlformats.org/officeDocument/2006/relationships/tags" Target="../tags/tag556.xml"/><Relationship Id="rId166" Type="http://schemas.openxmlformats.org/officeDocument/2006/relationships/tags" Target="../tags/tag577.xml"/><Relationship Id="rId187" Type="http://schemas.openxmlformats.org/officeDocument/2006/relationships/tags" Target="../tags/tag598.xml"/><Relationship Id="rId331" Type="http://schemas.openxmlformats.org/officeDocument/2006/relationships/tags" Target="../tags/tag742.xml"/><Relationship Id="rId352" Type="http://schemas.openxmlformats.org/officeDocument/2006/relationships/tags" Target="../tags/tag763.xml"/><Relationship Id="rId373" Type="http://schemas.openxmlformats.org/officeDocument/2006/relationships/tags" Target="../tags/tag784.xml"/><Relationship Id="rId394" Type="http://schemas.openxmlformats.org/officeDocument/2006/relationships/tags" Target="../tags/tag805.xml"/><Relationship Id="rId408" Type="http://schemas.openxmlformats.org/officeDocument/2006/relationships/tags" Target="../tags/tag819.xml"/><Relationship Id="rId1" Type="http://schemas.openxmlformats.org/officeDocument/2006/relationships/customXml" Target="../../customXml/item27.xml"/><Relationship Id="rId212" Type="http://schemas.openxmlformats.org/officeDocument/2006/relationships/tags" Target="../tags/tag623.xml"/><Relationship Id="rId233" Type="http://schemas.openxmlformats.org/officeDocument/2006/relationships/tags" Target="../tags/tag644.xml"/><Relationship Id="rId254" Type="http://schemas.openxmlformats.org/officeDocument/2006/relationships/tags" Target="../tags/tag665.xml"/><Relationship Id="rId28" Type="http://schemas.openxmlformats.org/officeDocument/2006/relationships/tags" Target="../tags/tag439.xml"/><Relationship Id="rId49" Type="http://schemas.openxmlformats.org/officeDocument/2006/relationships/tags" Target="../tags/tag460.xml"/><Relationship Id="rId114" Type="http://schemas.openxmlformats.org/officeDocument/2006/relationships/tags" Target="../tags/tag525.xml"/><Relationship Id="rId275" Type="http://schemas.openxmlformats.org/officeDocument/2006/relationships/tags" Target="../tags/tag686.xml"/><Relationship Id="rId296" Type="http://schemas.openxmlformats.org/officeDocument/2006/relationships/tags" Target="../tags/tag707.xml"/><Relationship Id="rId300" Type="http://schemas.openxmlformats.org/officeDocument/2006/relationships/tags" Target="../tags/tag711.xml"/><Relationship Id="rId60" Type="http://schemas.openxmlformats.org/officeDocument/2006/relationships/tags" Target="../tags/tag471.xml"/><Relationship Id="rId81" Type="http://schemas.openxmlformats.org/officeDocument/2006/relationships/tags" Target="../tags/tag492.xml"/><Relationship Id="rId135" Type="http://schemas.openxmlformats.org/officeDocument/2006/relationships/tags" Target="../tags/tag546.xml"/><Relationship Id="rId156" Type="http://schemas.openxmlformats.org/officeDocument/2006/relationships/tags" Target="../tags/tag567.xml"/><Relationship Id="rId177" Type="http://schemas.openxmlformats.org/officeDocument/2006/relationships/tags" Target="../tags/tag588.xml"/><Relationship Id="rId198" Type="http://schemas.openxmlformats.org/officeDocument/2006/relationships/tags" Target="../tags/tag609.xml"/><Relationship Id="rId321" Type="http://schemas.openxmlformats.org/officeDocument/2006/relationships/tags" Target="../tags/tag732.xml"/><Relationship Id="rId342" Type="http://schemas.openxmlformats.org/officeDocument/2006/relationships/tags" Target="../tags/tag753.xml"/><Relationship Id="rId363" Type="http://schemas.openxmlformats.org/officeDocument/2006/relationships/tags" Target="../tags/tag774.xml"/><Relationship Id="rId384" Type="http://schemas.openxmlformats.org/officeDocument/2006/relationships/tags" Target="../tags/tag795.xml"/><Relationship Id="rId202" Type="http://schemas.openxmlformats.org/officeDocument/2006/relationships/tags" Target="../tags/tag613.xml"/><Relationship Id="rId223" Type="http://schemas.openxmlformats.org/officeDocument/2006/relationships/tags" Target="../tags/tag634.xml"/><Relationship Id="rId244" Type="http://schemas.openxmlformats.org/officeDocument/2006/relationships/tags" Target="../tags/tag655.xml"/><Relationship Id="rId18" Type="http://schemas.openxmlformats.org/officeDocument/2006/relationships/tags" Target="../tags/tag429.xml"/><Relationship Id="rId39" Type="http://schemas.openxmlformats.org/officeDocument/2006/relationships/tags" Target="../tags/tag450.xml"/><Relationship Id="rId265" Type="http://schemas.openxmlformats.org/officeDocument/2006/relationships/tags" Target="../tags/tag676.xml"/><Relationship Id="rId286" Type="http://schemas.openxmlformats.org/officeDocument/2006/relationships/tags" Target="../tags/tag697.xml"/><Relationship Id="rId50" Type="http://schemas.openxmlformats.org/officeDocument/2006/relationships/tags" Target="../tags/tag461.xml"/><Relationship Id="rId104" Type="http://schemas.openxmlformats.org/officeDocument/2006/relationships/tags" Target="../tags/tag515.xml"/><Relationship Id="rId125" Type="http://schemas.openxmlformats.org/officeDocument/2006/relationships/tags" Target="../tags/tag536.xml"/><Relationship Id="rId146" Type="http://schemas.openxmlformats.org/officeDocument/2006/relationships/tags" Target="../tags/tag557.xml"/><Relationship Id="rId167" Type="http://schemas.openxmlformats.org/officeDocument/2006/relationships/tags" Target="../tags/tag578.xml"/><Relationship Id="rId188" Type="http://schemas.openxmlformats.org/officeDocument/2006/relationships/tags" Target="../tags/tag599.xml"/><Relationship Id="rId311" Type="http://schemas.openxmlformats.org/officeDocument/2006/relationships/tags" Target="../tags/tag722.xml"/><Relationship Id="rId332" Type="http://schemas.openxmlformats.org/officeDocument/2006/relationships/tags" Target="../tags/tag743.xml"/><Relationship Id="rId353" Type="http://schemas.openxmlformats.org/officeDocument/2006/relationships/tags" Target="../tags/tag764.xml"/><Relationship Id="rId374" Type="http://schemas.openxmlformats.org/officeDocument/2006/relationships/tags" Target="../tags/tag785.xml"/><Relationship Id="rId395" Type="http://schemas.openxmlformats.org/officeDocument/2006/relationships/tags" Target="../tags/tag806.xml"/><Relationship Id="rId409" Type="http://schemas.openxmlformats.org/officeDocument/2006/relationships/slideLayout" Target="../slideLayouts/slideLayout25.xml"/><Relationship Id="rId71" Type="http://schemas.openxmlformats.org/officeDocument/2006/relationships/tags" Target="../tags/tag482.xml"/><Relationship Id="rId92" Type="http://schemas.openxmlformats.org/officeDocument/2006/relationships/tags" Target="../tags/tag503.xml"/><Relationship Id="rId213" Type="http://schemas.openxmlformats.org/officeDocument/2006/relationships/tags" Target="../tags/tag624.xml"/><Relationship Id="rId234" Type="http://schemas.openxmlformats.org/officeDocument/2006/relationships/tags" Target="../tags/tag645.xml"/><Relationship Id="rId2" Type="http://schemas.openxmlformats.org/officeDocument/2006/relationships/customXml" Target="../../customXml/item28.xml"/><Relationship Id="rId29" Type="http://schemas.openxmlformats.org/officeDocument/2006/relationships/tags" Target="../tags/tag440.xml"/><Relationship Id="rId255" Type="http://schemas.openxmlformats.org/officeDocument/2006/relationships/tags" Target="../tags/tag666.xml"/><Relationship Id="rId276" Type="http://schemas.openxmlformats.org/officeDocument/2006/relationships/tags" Target="../tags/tag687.xml"/><Relationship Id="rId297" Type="http://schemas.openxmlformats.org/officeDocument/2006/relationships/tags" Target="../tags/tag708.xml"/><Relationship Id="rId40" Type="http://schemas.openxmlformats.org/officeDocument/2006/relationships/tags" Target="../tags/tag451.xml"/><Relationship Id="rId115" Type="http://schemas.openxmlformats.org/officeDocument/2006/relationships/tags" Target="../tags/tag526.xml"/><Relationship Id="rId136" Type="http://schemas.openxmlformats.org/officeDocument/2006/relationships/tags" Target="../tags/tag547.xml"/><Relationship Id="rId157" Type="http://schemas.openxmlformats.org/officeDocument/2006/relationships/tags" Target="../tags/tag568.xml"/><Relationship Id="rId178" Type="http://schemas.openxmlformats.org/officeDocument/2006/relationships/tags" Target="../tags/tag589.xml"/><Relationship Id="rId301" Type="http://schemas.openxmlformats.org/officeDocument/2006/relationships/tags" Target="../tags/tag712.xml"/><Relationship Id="rId322" Type="http://schemas.openxmlformats.org/officeDocument/2006/relationships/tags" Target="../tags/tag733.xml"/><Relationship Id="rId343" Type="http://schemas.openxmlformats.org/officeDocument/2006/relationships/tags" Target="../tags/tag754.xml"/><Relationship Id="rId364" Type="http://schemas.openxmlformats.org/officeDocument/2006/relationships/tags" Target="../tags/tag775.xml"/><Relationship Id="rId61" Type="http://schemas.openxmlformats.org/officeDocument/2006/relationships/tags" Target="../tags/tag472.xml"/><Relationship Id="rId82" Type="http://schemas.openxmlformats.org/officeDocument/2006/relationships/tags" Target="../tags/tag493.xml"/><Relationship Id="rId199" Type="http://schemas.openxmlformats.org/officeDocument/2006/relationships/tags" Target="../tags/tag610.xml"/><Relationship Id="rId203" Type="http://schemas.openxmlformats.org/officeDocument/2006/relationships/tags" Target="../tags/tag614.xml"/><Relationship Id="rId385" Type="http://schemas.openxmlformats.org/officeDocument/2006/relationships/tags" Target="../tags/tag796.xml"/><Relationship Id="rId19" Type="http://schemas.openxmlformats.org/officeDocument/2006/relationships/tags" Target="../tags/tag430.xml"/><Relationship Id="rId224" Type="http://schemas.openxmlformats.org/officeDocument/2006/relationships/tags" Target="../tags/tag635.xml"/><Relationship Id="rId245" Type="http://schemas.openxmlformats.org/officeDocument/2006/relationships/tags" Target="../tags/tag656.xml"/><Relationship Id="rId266" Type="http://schemas.openxmlformats.org/officeDocument/2006/relationships/tags" Target="../tags/tag677.xml"/><Relationship Id="rId287" Type="http://schemas.openxmlformats.org/officeDocument/2006/relationships/tags" Target="../tags/tag698.xml"/><Relationship Id="rId410" Type="http://schemas.openxmlformats.org/officeDocument/2006/relationships/notesSlide" Target="../notesSlides/notesSlide9.xml"/><Relationship Id="rId30" Type="http://schemas.openxmlformats.org/officeDocument/2006/relationships/tags" Target="../tags/tag441.xml"/><Relationship Id="rId105" Type="http://schemas.openxmlformats.org/officeDocument/2006/relationships/tags" Target="../tags/tag516.xml"/><Relationship Id="rId126" Type="http://schemas.openxmlformats.org/officeDocument/2006/relationships/tags" Target="../tags/tag537.xml"/><Relationship Id="rId147" Type="http://schemas.openxmlformats.org/officeDocument/2006/relationships/tags" Target="../tags/tag558.xml"/><Relationship Id="rId168" Type="http://schemas.openxmlformats.org/officeDocument/2006/relationships/tags" Target="../tags/tag579.xml"/><Relationship Id="rId312" Type="http://schemas.openxmlformats.org/officeDocument/2006/relationships/tags" Target="../tags/tag723.xml"/><Relationship Id="rId333" Type="http://schemas.openxmlformats.org/officeDocument/2006/relationships/tags" Target="../tags/tag744.xml"/><Relationship Id="rId354" Type="http://schemas.openxmlformats.org/officeDocument/2006/relationships/tags" Target="../tags/tag765.xml"/><Relationship Id="rId51" Type="http://schemas.openxmlformats.org/officeDocument/2006/relationships/tags" Target="../tags/tag462.xml"/><Relationship Id="rId72" Type="http://schemas.openxmlformats.org/officeDocument/2006/relationships/tags" Target="../tags/tag483.xml"/><Relationship Id="rId93" Type="http://schemas.openxmlformats.org/officeDocument/2006/relationships/tags" Target="../tags/tag504.xml"/><Relationship Id="rId189" Type="http://schemas.openxmlformats.org/officeDocument/2006/relationships/tags" Target="../tags/tag600.xml"/><Relationship Id="rId375" Type="http://schemas.openxmlformats.org/officeDocument/2006/relationships/tags" Target="../tags/tag786.xml"/><Relationship Id="rId396" Type="http://schemas.openxmlformats.org/officeDocument/2006/relationships/tags" Target="../tags/tag807.xml"/><Relationship Id="rId3" Type="http://schemas.openxmlformats.org/officeDocument/2006/relationships/tags" Target="../tags/tag414.xml"/><Relationship Id="rId214" Type="http://schemas.openxmlformats.org/officeDocument/2006/relationships/tags" Target="../tags/tag625.xml"/><Relationship Id="rId235" Type="http://schemas.openxmlformats.org/officeDocument/2006/relationships/tags" Target="../tags/tag646.xml"/><Relationship Id="rId256" Type="http://schemas.openxmlformats.org/officeDocument/2006/relationships/tags" Target="../tags/tag667.xml"/><Relationship Id="rId277" Type="http://schemas.openxmlformats.org/officeDocument/2006/relationships/tags" Target="../tags/tag688.xml"/><Relationship Id="rId298" Type="http://schemas.openxmlformats.org/officeDocument/2006/relationships/tags" Target="../tags/tag709.xml"/><Relationship Id="rId400" Type="http://schemas.openxmlformats.org/officeDocument/2006/relationships/tags" Target="../tags/tag811.xml"/><Relationship Id="rId116" Type="http://schemas.openxmlformats.org/officeDocument/2006/relationships/tags" Target="../tags/tag527.xml"/><Relationship Id="rId137" Type="http://schemas.openxmlformats.org/officeDocument/2006/relationships/tags" Target="../tags/tag548.xml"/><Relationship Id="rId158" Type="http://schemas.openxmlformats.org/officeDocument/2006/relationships/tags" Target="../tags/tag569.xml"/><Relationship Id="rId302" Type="http://schemas.openxmlformats.org/officeDocument/2006/relationships/tags" Target="../tags/tag713.xml"/><Relationship Id="rId323" Type="http://schemas.openxmlformats.org/officeDocument/2006/relationships/tags" Target="../tags/tag734.xml"/><Relationship Id="rId344" Type="http://schemas.openxmlformats.org/officeDocument/2006/relationships/tags" Target="../tags/tag755.xml"/><Relationship Id="rId20" Type="http://schemas.openxmlformats.org/officeDocument/2006/relationships/tags" Target="../tags/tag431.xml"/><Relationship Id="rId41" Type="http://schemas.openxmlformats.org/officeDocument/2006/relationships/tags" Target="../tags/tag452.xml"/><Relationship Id="rId62" Type="http://schemas.openxmlformats.org/officeDocument/2006/relationships/tags" Target="../tags/tag473.xml"/><Relationship Id="rId83" Type="http://schemas.openxmlformats.org/officeDocument/2006/relationships/tags" Target="../tags/tag494.xml"/><Relationship Id="rId179" Type="http://schemas.openxmlformats.org/officeDocument/2006/relationships/tags" Target="../tags/tag590.xml"/><Relationship Id="rId365" Type="http://schemas.openxmlformats.org/officeDocument/2006/relationships/tags" Target="../tags/tag776.xml"/><Relationship Id="rId386" Type="http://schemas.openxmlformats.org/officeDocument/2006/relationships/tags" Target="../tags/tag797.xml"/><Relationship Id="rId190" Type="http://schemas.openxmlformats.org/officeDocument/2006/relationships/tags" Target="../tags/tag601.xml"/><Relationship Id="rId204" Type="http://schemas.openxmlformats.org/officeDocument/2006/relationships/tags" Target="../tags/tag615.xml"/><Relationship Id="rId225" Type="http://schemas.openxmlformats.org/officeDocument/2006/relationships/tags" Target="../tags/tag636.xml"/><Relationship Id="rId246" Type="http://schemas.openxmlformats.org/officeDocument/2006/relationships/tags" Target="../tags/tag657.xml"/><Relationship Id="rId267" Type="http://schemas.openxmlformats.org/officeDocument/2006/relationships/tags" Target="../tags/tag678.xml"/><Relationship Id="rId288" Type="http://schemas.openxmlformats.org/officeDocument/2006/relationships/tags" Target="../tags/tag699.xml"/><Relationship Id="rId106" Type="http://schemas.openxmlformats.org/officeDocument/2006/relationships/tags" Target="../tags/tag517.xml"/><Relationship Id="rId127" Type="http://schemas.openxmlformats.org/officeDocument/2006/relationships/tags" Target="../tags/tag538.xml"/><Relationship Id="rId313" Type="http://schemas.openxmlformats.org/officeDocument/2006/relationships/tags" Target="../tags/tag724.xml"/><Relationship Id="rId10" Type="http://schemas.openxmlformats.org/officeDocument/2006/relationships/tags" Target="../tags/tag421.xml"/><Relationship Id="rId31" Type="http://schemas.openxmlformats.org/officeDocument/2006/relationships/tags" Target="../tags/tag442.xml"/><Relationship Id="rId52" Type="http://schemas.openxmlformats.org/officeDocument/2006/relationships/tags" Target="../tags/tag463.xml"/><Relationship Id="rId73" Type="http://schemas.openxmlformats.org/officeDocument/2006/relationships/tags" Target="../tags/tag484.xml"/><Relationship Id="rId94" Type="http://schemas.openxmlformats.org/officeDocument/2006/relationships/tags" Target="../tags/tag505.xml"/><Relationship Id="rId148" Type="http://schemas.openxmlformats.org/officeDocument/2006/relationships/tags" Target="../tags/tag559.xml"/><Relationship Id="rId169" Type="http://schemas.openxmlformats.org/officeDocument/2006/relationships/tags" Target="../tags/tag580.xml"/><Relationship Id="rId334" Type="http://schemas.openxmlformats.org/officeDocument/2006/relationships/tags" Target="../tags/tag745.xml"/><Relationship Id="rId355" Type="http://schemas.openxmlformats.org/officeDocument/2006/relationships/tags" Target="../tags/tag766.xml"/><Relationship Id="rId376" Type="http://schemas.openxmlformats.org/officeDocument/2006/relationships/tags" Target="../tags/tag787.xml"/><Relationship Id="rId397" Type="http://schemas.openxmlformats.org/officeDocument/2006/relationships/tags" Target="../tags/tag808.xml"/><Relationship Id="rId4" Type="http://schemas.openxmlformats.org/officeDocument/2006/relationships/tags" Target="../tags/tag415.xml"/><Relationship Id="rId180" Type="http://schemas.openxmlformats.org/officeDocument/2006/relationships/tags" Target="../tags/tag591.xml"/><Relationship Id="rId215" Type="http://schemas.openxmlformats.org/officeDocument/2006/relationships/tags" Target="../tags/tag626.xml"/><Relationship Id="rId236" Type="http://schemas.openxmlformats.org/officeDocument/2006/relationships/tags" Target="../tags/tag647.xml"/><Relationship Id="rId257" Type="http://schemas.openxmlformats.org/officeDocument/2006/relationships/tags" Target="../tags/tag668.xml"/><Relationship Id="rId278" Type="http://schemas.openxmlformats.org/officeDocument/2006/relationships/tags" Target="../tags/tag689.xml"/><Relationship Id="rId401" Type="http://schemas.openxmlformats.org/officeDocument/2006/relationships/tags" Target="../tags/tag812.xml"/><Relationship Id="rId303" Type="http://schemas.openxmlformats.org/officeDocument/2006/relationships/tags" Target="../tags/tag714.xml"/><Relationship Id="rId42" Type="http://schemas.openxmlformats.org/officeDocument/2006/relationships/tags" Target="../tags/tag453.xml"/><Relationship Id="rId84" Type="http://schemas.openxmlformats.org/officeDocument/2006/relationships/tags" Target="../tags/tag495.xml"/><Relationship Id="rId138" Type="http://schemas.openxmlformats.org/officeDocument/2006/relationships/tags" Target="../tags/tag549.xml"/><Relationship Id="rId345" Type="http://schemas.openxmlformats.org/officeDocument/2006/relationships/tags" Target="../tags/tag756.xml"/><Relationship Id="rId387" Type="http://schemas.openxmlformats.org/officeDocument/2006/relationships/tags" Target="../tags/tag798.xml"/><Relationship Id="rId191" Type="http://schemas.openxmlformats.org/officeDocument/2006/relationships/tags" Target="../tags/tag602.xml"/><Relationship Id="rId205" Type="http://schemas.openxmlformats.org/officeDocument/2006/relationships/tags" Target="../tags/tag616.xml"/><Relationship Id="rId247" Type="http://schemas.openxmlformats.org/officeDocument/2006/relationships/tags" Target="../tags/tag658.xml"/><Relationship Id="rId107" Type="http://schemas.openxmlformats.org/officeDocument/2006/relationships/tags" Target="../tags/tag518.xml"/><Relationship Id="rId289" Type="http://schemas.openxmlformats.org/officeDocument/2006/relationships/tags" Target="../tags/tag700.xml"/><Relationship Id="rId11" Type="http://schemas.openxmlformats.org/officeDocument/2006/relationships/tags" Target="../tags/tag422.xml"/><Relationship Id="rId53" Type="http://schemas.openxmlformats.org/officeDocument/2006/relationships/tags" Target="../tags/tag464.xml"/><Relationship Id="rId149" Type="http://schemas.openxmlformats.org/officeDocument/2006/relationships/tags" Target="../tags/tag560.xml"/><Relationship Id="rId314" Type="http://schemas.openxmlformats.org/officeDocument/2006/relationships/tags" Target="../tags/tag725.xml"/><Relationship Id="rId356" Type="http://schemas.openxmlformats.org/officeDocument/2006/relationships/tags" Target="../tags/tag767.xml"/><Relationship Id="rId398" Type="http://schemas.openxmlformats.org/officeDocument/2006/relationships/tags" Target="../tags/tag80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Maps</a:t>
            </a:r>
            <a:endParaRPr lang="en-GB" b="0" dirty="0"/>
          </a:p>
        </p:txBody>
      </p:sp>
      <p:sp>
        <p:nvSpPr>
          <p:cNvPr id="8" name="Footer Placeholder 7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/>
              <a:pPr/>
              <a:t>1</a:t>
            </a:fld>
            <a:endParaRPr lang="en-GB" dirty="0"/>
          </a:p>
        </p:txBody>
      </p:sp>
      <p:pic>
        <p:nvPicPr>
          <p:cNvPr id="12" name="Logo1" descr="{&quot;templafy&quot;:{&quot;id&quot;:&quot;b101d6d4-7e3f-4670-96d0-92fb01648cbd&quot;}}">
            <a:extLst>
              <a:ext uri="{FF2B5EF4-FFF2-40B4-BE49-F238E27FC236}">
                <a16:creationId xmlns:a16="http://schemas.microsoft.com/office/drawing/2014/main" id="{493CA3C5-473A-4815-B504-C5C947186C5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3738" y="5933690"/>
            <a:ext cx="2565091" cy="698400"/>
          </a:xfrm>
          <a:prstGeom prst="rect">
            <a:avLst/>
          </a:prstGeom>
        </p:spPr>
      </p:pic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6297237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72"/>
          <p:cNvGrpSpPr>
            <a:grpSpLocks noChangeAspect="1"/>
          </p:cNvGrpSpPr>
          <p:nvPr/>
        </p:nvGrpSpPr>
        <p:grpSpPr bwMode="auto">
          <a:xfrm rot="20878233">
            <a:off x="7627354" y="2101002"/>
            <a:ext cx="3678333" cy="3787477"/>
            <a:chOff x="2987" y="657"/>
            <a:chExt cx="1247" cy="1284"/>
          </a:xfrm>
          <a:solidFill>
            <a:srgbClr val="E1E0DC"/>
          </a:solidFill>
        </p:grpSpPr>
        <p:sp>
          <p:nvSpPr>
            <p:cNvPr id="9" name="Sweden"/>
            <p:cNvSpPr>
              <a:spLocks noEditPoints="1"/>
            </p:cNvSpPr>
            <p:nvPr/>
          </p:nvSpPr>
          <p:spPr bwMode="auto">
            <a:xfrm>
              <a:off x="3277" y="834"/>
              <a:ext cx="612" cy="1054"/>
            </a:xfrm>
            <a:custGeom>
              <a:avLst/>
              <a:gdLst>
                <a:gd name="T0" fmla="*/ 1078 w 1175"/>
                <a:gd name="T1" fmla="*/ 523 h 2023"/>
                <a:gd name="T2" fmla="*/ 968 w 1175"/>
                <a:gd name="T3" fmla="*/ 549 h 2023"/>
                <a:gd name="T4" fmla="*/ 913 w 1175"/>
                <a:gd name="T5" fmla="*/ 682 h 2023"/>
                <a:gd name="T6" fmla="*/ 760 w 1175"/>
                <a:gd name="T7" fmla="*/ 867 h 2023"/>
                <a:gd name="T8" fmla="*/ 668 w 1175"/>
                <a:gd name="T9" fmla="*/ 947 h 2023"/>
                <a:gd name="T10" fmla="*/ 589 w 1175"/>
                <a:gd name="T11" fmla="*/ 1045 h 2023"/>
                <a:gd name="T12" fmla="*/ 558 w 1175"/>
                <a:gd name="T13" fmla="*/ 1219 h 2023"/>
                <a:gd name="T14" fmla="*/ 690 w 1175"/>
                <a:gd name="T15" fmla="*/ 1348 h 2023"/>
                <a:gd name="T16" fmla="*/ 603 w 1175"/>
                <a:gd name="T17" fmla="*/ 1416 h 2023"/>
                <a:gd name="T18" fmla="*/ 463 w 1175"/>
                <a:gd name="T19" fmla="*/ 1442 h 2023"/>
                <a:gd name="T20" fmla="*/ 676 w 1175"/>
                <a:gd name="T21" fmla="*/ 1466 h 2023"/>
                <a:gd name="T22" fmla="*/ 565 w 1175"/>
                <a:gd name="T23" fmla="*/ 1544 h 2023"/>
                <a:gd name="T24" fmla="*/ 512 w 1175"/>
                <a:gd name="T25" fmla="*/ 1663 h 2023"/>
                <a:gd name="T26" fmla="*/ 481 w 1175"/>
                <a:gd name="T27" fmla="*/ 1837 h 2023"/>
                <a:gd name="T28" fmla="*/ 146 w 1175"/>
                <a:gd name="T29" fmla="*/ 1872 h 2023"/>
                <a:gd name="T30" fmla="*/ 46 w 1175"/>
                <a:gd name="T31" fmla="*/ 1615 h 2023"/>
                <a:gd name="T32" fmla="*/ 79 w 1175"/>
                <a:gd name="T33" fmla="*/ 1511 h 2023"/>
                <a:gd name="T34" fmla="*/ 111 w 1175"/>
                <a:gd name="T35" fmla="*/ 1224 h 2023"/>
                <a:gd name="T36" fmla="*/ 286 w 1175"/>
                <a:gd name="T37" fmla="*/ 780 h 2023"/>
                <a:gd name="T38" fmla="*/ 425 w 1175"/>
                <a:gd name="T39" fmla="*/ 808 h 2023"/>
                <a:gd name="T40" fmla="*/ 478 w 1175"/>
                <a:gd name="T41" fmla="*/ 321 h 2023"/>
                <a:gd name="T42" fmla="*/ 887 w 1175"/>
                <a:gd name="T43" fmla="*/ 18 h 2023"/>
                <a:gd name="T44" fmla="*/ 530 w 1175"/>
                <a:gd name="T45" fmla="*/ 1508 h 2023"/>
                <a:gd name="T46" fmla="*/ 480 w 1175"/>
                <a:gd name="T47" fmla="*/ 248 h 2023"/>
                <a:gd name="T48" fmla="*/ 465 w 1175"/>
                <a:gd name="T49" fmla="*/ 619 h 2023"/>
                <a:gd name="T50" fmla="*/ 317 w 1175"/>
                <a:gd name="T51" fmla="*/ 459 h 2023"/>
                <a:gd name="T52" fmla="*/ 424 w 1175"/>
                <a:gd name="T53" fmla="*/ 1284 h 2023"/>
                <a:gd name="T54" fmla="*/ 378 w 1175"/>
                <a:gd name="T55" fmla="*/ 1004 h 2023"/>
                <a:gd name="T56" fmla="*/ 356 w 1175"/>
                <a:gd name="T57" fmla="*/ 1262 h 2023"/>
                <a:gd name="T58" fmla="*/ 290 w 1175"/>
                <a:gd name="T59" fmla="*/ 1515 h 2023"/>
                <a:gd name="T60" fmla="*/ 315 w 1175"/>
                <a:gd name="T61" fmla="*/ 1531 h 2023"/>
                <a:gd name="T62" fmla="*/ 310 w 1175"/>
                <a:gd name="T63" fmla="*/ 928 h 2023"/>
                <a:gd name="T64" fmla="*/ 190 w 1175"/>
                <a:gd name="T65" fmla="*/ 1367 h 2023"/>
                <a:gd name="T66" fmla="*/ 205 w 1175"/>
                <a:gd name="T67" fmla="*/ 863 h 2023"/>
                <a:gd name="T68" fmla="*/ 144 w 1175"/>
                <a:gd name="T69" fmla="*/ 883 h 2023"/>
                <a:gd name="T70" fmla="*/ 152 w 1175"/>
                <a:gd name="T71" fmla="*/ 1437 h 2023"/>
                <a:gd name="T72" fmla="*/ 133 w 1175"/>
                <a:gd name="T73" fmla="*/ 1660 h 2023"/>
                <a:gd name="T74" fmla="*/ 191 w 1175"/>
                <a:gd name="T75" fmla="*/ 1470 h 2023"/>
                <a:gd name="T76" fmla="*/ 193 w 1175"/>
                <a:gd name="T77" fmla="*/ 1579 h 2023"/>
                <a:gd name="T78" fmla="*/ 302 w 1175"/>
                <a:gd name="T79" fmla="*/ 1912 h 2023"/>
                <a:gd name="T80" fmla="*/ 348 w 1175"/>
                <a:gd name="T81" fmla="*/ 1791 h 2023"/>
                <a:gd name="T82" fmla="*/ 385 w 1175"/>
                <a:gd name="T83" fmla="*/ 1648 h 2023"/>
                <a:gd name="T84" fmla="*/ 447 w 1175"/>
                <a:gd name="T85" fmla="*/ 1650 h 2023"/>
                <a:gd name="T86" fmla="*/ 406 w 1175"/>
                <a:gd name="T87" fmla="*/ 1476 h 2023"/>
                <a:gd name="T88" fmla="*/ 515 w 1175"/>
                <a:gd name="T89" fmla="*/ 709 h 2023"/>
                <a:gd name="T90" fmla="*/ 527 w 1175"/>
                <a:gd name="T91" fmla="*/ 811 h 2023"/>
                <a:gd name="T92" fmla="*/ 537 w 1175"/>
                <a:gd name="T93" fmla="*/ 1327 h 2023"/>
                <a:gd name="T94" fmla="*/ 508 w 1175"/>
                <a:gd name="T95" fmla="*/ 599 h 2023"/>
                <a:gd name="T96" fmla="*/ 529 w 1175"/>
                <a:gd name="T97" fmla="*/ 412 h 2023"/>
                <a:gd name="T98" fmla="*/ 595 w 1175"/>
                <a:gd name="T99" fmla="*/ 496 h 2023"/>
                <a:gd name="T100" fmla="*/ 644 w 1175"/>
                <a:gd name="T101" fmla="*/ 422 h 2023"/>
                <a:gd name="T102" fmla="*/ 695 w 1175"/>
                <a:gd name="T103" fmla="*/ 349 h 2023"/>
                <a:gd name="T104" fmla="*/ 541 w 1175"/>
                <a:gd name="T105" fmla="*/ 200 h 2023"/>
                <a:gd name="T106" fmla="*/ 852 w 1175"/>
                <a:gd name="T107" fmla="*/ 190 h 2023"/>
                <a:gd name="T108" fmla="*/ 872 w 1175"/>
                <a:gd name="T109" fmla="*/ 200 h 2023"/>
                <a:gd name="T110" fmla="*/ 528 w 1175"/>
                <a:gd name="T111" fmla="*/ 1784 h 2023"/>
                <a:gd name="T112" fmla="*/ 584 w 1175"/>
                <a:gd name="T113" fmla="*/ 1448 h 2023"/>
                <a:gd name="T114" fmla="*/ 662 w 1175"/>
                <a:gd name="T115" fmla="*/ 1511 h 2023"/>
                <a:gd name="T116" fmla="*/ 735 w 1175"/>
                <a:gd name="T117" fmla="*/ 1656 h 2023"/>
                <a:gd name="T118" fmla="*/ 672 w 1175"/>
                <a:gd name="T119" fmla="*/ 1441 h 2023"/>
                <a:gd name="T120" fmla="*/ 643 w 1175"/>
                <a:gd name="T121" fmla="*/ 1776 h 2023"/>
                <a:gd name="T122" fmla="*/ 304 w 1175"/>
                <a:gd name="T123" fmla="*/ 1639 h 2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75" h="2023">
                  <a:moveTo>
                    <a:pt x="675" y="1343"/>
                  </a:moveTo>
                  <a:cubicBezTo>
                    <a:pt x="675" y="1342"/>
                    <a:pt x="675" y="1342"/>
                    <a:pt x="674" y="1342"/>
                  </a:cubicBezTo>
                  <a:cubicBezTo>
                    <a:pt x="674" y="1342"/>
                    <a:pt x="675" y="1342"/>
                    <a:pt x="675" y="1343"/>
                  </a:cubicBezTo>
                  <a:close/>
                  <a:moveTo>
                    <a:pt x="65" y="1650"/>
                  </a:moveTo>
                  <a:cubicBezTo>
                    <a:pt x="65" y="1650"/>
                    <a:pt x="65" y="1650"/>
                    <a:pt x="65" y="1650"/>
                  </a:cubicBezTo>
                  <a:cubicBezTo>
                    <a:pt x="67" y="1637"/>
                    <a:pt x="44" y="1644"/>
                    <a:pt x="44" y="1646"/>
                  </a:cubicBezTo>
                  <a:cubicBezTo>
                    <a:pt x="42" y="1652"/>
                    <a:pt x="50" y="1647"/>
                    <a:pt x="50" y="1650"/>
                  </a:cubicBezTo>
                  <a:cubicBezTo>
                    <a:pt x="49" y="1668"/>
                    <a:pt x="61" y="1656"/>
                    <a:pt x="65" y="1650"/>
                  </a:cubicBezTo>
                  <a:close/>
                  <a:moveTo>
                    <a:pt x="694" y="893"/>
                  </a:moveTo>
                  <a:cubicBezTo>
                    <a:pt x="694" y="893"/>
                    <a:pt x="694" y="893"/>
                    <a:pt x="694" y="893"/>
                  </a:cubicBezTo>
                  <a:cubicBezTo>
                    <a:pt x="694" y="893"/>
                    <a:pt x="694" y="893"/>
                    <a:pt x="694" y="893"/>
                  </a:cubicBezTo>
                  <a:close/>
                  <a:moveTo>
                    <a:pt x="705" y="900"/>
                  </a:moveTo>
                  <a:cubicBezTo>
                    <a:pt x="710" y="898"/>
                    <a:pt x="700" y="896"/>
                    <a:pt x="698" y="895"/>
                  </a:cubicBezTo>
                  <a:cubicBezTo>
                    <a:pt x="696" y="895"/>
                    <a:pt x="695" y="894"/>
                    <a:pt x="694" y="893"/>
                  </a:cubicBezTo>
                  <a:cubicBezTo>
                    <a:pt x="697" y="896"/>
                    <a:pt x="689" y="910"/>
                    <a:pt x="705" y="900"/>
                  </a:cubicBezTo>
                  <a:close/>
                  <a:moveTo>
                    <a:pt x="1129" y="416"/>
                  </a:moveTo>
                  <a:cubicBezTo>
                    <a:pt x="1129" y="455"/>
                    <a:pt x="1165" y="472"/>
                    <a:pt x="1175" y="507"/>
                  </a:cubicBezTo>
                  <a:cubicBezTo>
                    <a:pt x="1175" y="507"/>
                    <a:pt x="1154" y="515"/>
                    <a:pt x="1153" y="514"/>
                  </a:cubicBezTo>
                  <a:cubicBezTo>
                    <a:pt x="1139" y="510"/>
                    <a:pt x="1125" y="503"/>
                    <a:pt x="1113" y="503"/>
                  </a:cubicBezTo>
                  <a:cubicBezTo>
                    <a:pt x="1108" y="502"/>
                    <a:pt x="1110" y="514"/>
                    <a:pt x="1110" y="514"/>
                  </a:cubicBezTo>
                  <a:cubicBezTo>
                    <a:pt x="1109" y="514"/>
                    <a:pt x="1092" y="504"/>
                    <a:pt x="1088" y="504"/>
                  </a:cubicBezTo>
                  <a:cubicBezTo>
                    <a:pt x="1085" y="504"/>
                    <a:pt x="1092" y="510"/>
                    <a:pt x="1092" y="514"/>
                  </a:cubicBezTo>
                  <a:cubicBezTo>
                    <a:pt x="1091" y="515"/>
                    <a:pt x="1085" y="515"/>
                    <a:pt x="1084" y="516"/>
                  </a:cubicBezTo>
                  <a:cubicBezTo>
                    <a:pt x="1082" y="517"/>
                    <a:pt x="1085" y="524"/>
                    <a:pt x="1078" y="523"/>
                  </a:cubicBezTo>
                  <a:cubicBezTo>
                    <a:pt x="1076" y="523"/>
                    <a:pt x="1078" y="520"/>
                    <a:pt x="1078" y="519"/>
                  </a:cubicBezTo>
                  <a:cubicBezTo>
                    <a:pt x="1078" y="519"/>
                    <a:pt x="1044" y="491"/>
                    <a:pt x="1039" y="492"/>
                  </a:cubicBezTo>
                  <a:cubicBezTo>
                    <a:pt x="1037" y="492"/>
                    <a:pt x="1041" y="496"/>
                    <a:pt x="1042" y="496"/>
                  </a:cubicBezTo>
                  <a:cubicBezTo>
                    <a:pt x="1045" y="499"/>
                    <a:pt x="1045" y="514"/>
                    <a:pt x="1040" y="515"/>
                  </a:cubicBezTo>
                  <a:cubicBezTo>
                    <a:pt x="1038" y="516"/>
                    <a:pt x="1038" y="510"/>
                    <a:pt x="1036" y="508"/>
                  </a:cubicBezTo>
                  <a:cubicBezTo>
                    <a:pt x="1033" y="506"/>
                    <a:pt x="1028" y="513"/>
                    <a:pt x="1027" y="512"/>
                  </a:cubicBezTo>
                  <a:cubicBezTo>
                    <a:pt x="1025" y="510"/>
                    <a:pt x="1028" y="492"/>
                    <a:pt x="1014" y="499"/>
                  </a:cubicBezTo>
                  <a:cubicBezTo>
                    <a:pt x="1012" y="500"/>
                    <a:pt x="1016" y="501"/>
                    <a:pt x="1012" y="502"/>
                  </a:cubicBezTo>
                  <a:cubicBezTo>
                    <a:pt x="1010" y="503"/>
                    <a:pt x="1014" y="512"/>
                    <a:pt x="1013" y="515"/>
                  </a:cubicBezTo>
                  <a:cubicBezTo>
                    <a:pt x="1011" y="523"/>
                    <a:pt x="1001" y="513"/>
                    <a:pt x="1001" y="514"/>
                  </a:cubicBezTo>
                  <a:cubicBezTo>
                    <a:pt x="998" y="520"/>
                    <a:pt x="1015" y="519"/>
                    <a:pt x="1016" y="525"/>
                  </a:cubicBezTo>
                  <a:cubicBezTo>
                    <a:pt x="1016" y="528"/>
                    <a:pt x="1012" y="530"/>
                    <a:pt x="1012" y="528"/>
                  </a:cubicBezTo>
                  <a:cubicBezTo>
                    <a:pt x="1011" y="527"/>
                    <a:pt x="1006" y="519"/>
                    <a:pt x="1005" y="525"/>
                  </a:cubicBezTo>
                  <a:cubicBezTo>
                    <a:pt x="1003" y="533"/>
                    <a:pt x="1011" y="534"/>
                    <a:pt x="998" y="535"/>
                  </a:cubicBezTo>
                  <a:cubicBezTo>
                    <a:pt x="995" y="536"/>
                    <a:pt x="1011" y="535"/>
                    <a:pt x="1009" y="532"/>
                  </a:cubicBezTo>
                  <a:cubicBezTo>
                    <a:pt x="1005" y="527"/>
                    <a:pt x="1011" y="528"/>
                    <a:pt x="1011" y="531"/>
                  </a:cubicBezTo>
                  <a:cubicBezTo>
                    <a:pt x="1011" y="534"/>
                    <a:pt x="1011" y="539"/>
                    <a:pt x="1014" y="540"/>
                  </a:cubicBezTo>
                  <a:cubicBezTo>
                    <a:pt x="1016" y="541"/>
                    <a:pt x="1023" y="545"/>
                    <a:pt x="1019" y="548"/>
                  </a:cubicBezTo>
                  <a:cubicBezTo>
                    <a:pt x="1013" y="552"/>
                    <a:pt x="965" y="519"/>
                    <a:pt x="961" y="520"/>
                  </a:cubicBezTo>
                  <a:cubicBezTo>
                    <a:pt x="959" y="520"/>
                    <a:pt x="962" y="524"/>
                    <a:pt x="963" y="525"/>
                  </a:cubicBezTo>
                  <a:cubicBezTo>
                    <a:pt x="973" y="535"/>
                    <a:pt x="990" y="538"/>
                    <a:pt x="999" y="547"/>
                  </a:cubicBezTo>
                  <a:cubicBezTo>
                    <a:pt x="1000" y="548"/>
                    <a:pt x="993" y="549"/>
                    <a:pt x="993" y="549"/>
                  </a:cubicBezTo>
                  <a:cubicBezTo>
                    <a:pt x="987" y="548"/>
                    <a:pt x="981" y="555"/>
                    <a:pt x="973" y="549"/>
                  </a:cubicBezTo>
                  <a:cubicBezTo>
                    <a:pt x="972" y="549"/>
                    <a:pt x="969" y="548"/>
                    <a:pt x="968" y="549"/>
                  </a:cubicBezTo>
                  <a:cubicBezTo>
                    <a:pt x="968" y="559"/>
                    <a:pt x="988" y="549"/>
                    <a:pt x="983" y="565"/>
                  </a:cubicBezTo>
                  <a:cubicBezTo>
                    <a:pt x="983" y="566"/>
                    <a:pt x="980" y="565"/>
                    <a:pt x="979" y="565"/>
                  </a:cubicBezTo>
                  <a:cubicBezTo>
                    <a:pt x="977" y="564"/>
                    <a:pt x="976" y="559"/>
                    <a:pt x="975" y="564"/>
                  </a:cubicBezTo>
                  <a:cubicBezTo>
                    <a:pt x="974" y="572"/>
                    <a:pt x="958" y="567"/>
                    <a:pt x="945" y="571"/>
                  </a:cubicBezTo>
                  <a:cubicBezTo>
                    <a:pt x="944" y="572"/>
                    <a:pt x="935" y="569"/>
                    <a:pt x="934" y="572"/>
                  </a:cubicBezTo>
                  <a:cubicBezTo>
                    <a:pt x="933" y="580"/>
                    <a:pt x="961" y="583"/>
                    <a:pt x="952" y="592"/>
                  </a:cubicBezTo>
                  <a:cubicBezTo>
                    <a:pt x="944" y="599"/>
                    <a:pt x="933" y="582"/>
                    <a:pt x="929" y="578"/>
                  </a:cubicBezTo>
                  <a:cubicBezTo>
                    <a:pt x="927" y="577"/>
                    <a:pt x="919" y="571"/>
                    <a:pt x="921" y="575"/>
                  </a:cubicBezTo>
                  <a:cubicBezTo>
                    <a:pt x="924" y="578"/>
                    <a:pt x="916" y="576"/>
                    <a:pt x="916" y="578"/>
                  </a:cubicBezTo>
                  <a:cubicBezTo>
                    <a:pt x="916" y="581"/>
                    <a:pt x="927" y="580"/>
                    <a:pt x="928" y="581"/>
                  </a:cubicBezTo>
                  <a:cubicBezTo>
                    <a:pt x="932" y="583"/>
                    <a:pt x="948" y="602"/>
                    <a:pt x="948" y="607"/>
                  </a:cubicBezTo>
                  <a:cubicBezTo>
                    <a:pt x="948" y="609"/>
                    <a:pt x="943" y="609"/>
                    <a:pt x="943" y="612"/>
                  </a:cubicBezTo>
                  <a:cubicBezTo>
                    <a:pt x="942" y="616"/>
                    <a:pt x="938" y="617"/>
                    <a:pt x="944" y="619"/>
                  </a:cubicBezTo>
                  <a:cubicBezTo>
                    <a:pt x="948" y="620"/>
                    <a:pt x="940" y="621"/>
                    <a:pt x="939" y="621"/>
                  </a:cubicBezTo>
                  <a:cubicBezTo>
                    <a:pt x="935" y="620"/>
                    <a:pt x="931" y="633"/>
                    <a:pt x="927" y="636"/>
                  </a:cubicBezTo>
                  <a:cubicBezTo>
                    <a:pt x="924" y="638"/>
                    <a:pt x="917" y="635"/>
                    <a:pt x="914" y="637"/>
                  </a:cubicBezTo>
                  <a:cubicBezTo>
                    <a:pt x="911" y="641"/>
                    <a:pt x="912" y="658"/>
                    <a:pt x="903" y="657"/>
                  </a:cubicBezTo>
                  <a:cubicBezTo>
                    <a:pt x="900" y="657"/>
                    <a:pt x="899" y="647"/>
                    <a:pt x="896" y="653"/>
                  </a:cubicBezTo>
                  <a:cubicBezTo>
                    <a:pt x="891" y="667"/>
                    <a:pt x="922" y="661"/>
                    <a:pt x="920" y="667"/>
                  </a:cubicBezTo>
                  <a:cubicBezTo>
                    <a:pt x="919" y="670"/>
                    <a:pt x="914" y="666"/>
                    <a:pt x="913" y="668"/>
                  </a:cubicBezTo>
                  <a:cubicBezTo>
                    <a:pt x="912" y="673"/>
                    <a:pt x="929" y="686"/>
                    <a:pt x="912" y="676"/>
                  </a:cubicBezTo>
                  <a:cubicBezTo>
                    <a:pt x="910" y="675"/>
                    <a:pt x="904" y="668"/>
                    <a:pt x="902" y="671"/>
                  </a:cubicBezTo>
                  <a:cubicBezTo>
                    <a:pt x="901" y="672"/>
                    <a:pt x="902" y="675"/>
                    <a:pt x="902" y="675"/>
                  </a:cubicBezTo>
                  <a:cubicBezTo>
                    <a:pt x="903" y="680"/>
                    <a:pt x="910" y="681"/>
                    <a:pt x="913" y="682"/>
                  </a:cubicBezTo>
                  <a:cubicBezTo>
                    <a:pt x="918" y="683"/>
                    <a:pt x="920" y="690"/>
                    <a:pt x="923" y="694"/>
                  </a:cubicBezTo>
                  <a:cubicBezTo>
                    <a:pt x="925" y="697"/>
                    <a:pt x="923" y="685"/>
                    <a:pt x="929" y="691"/>
                  </a:cubicBezTo>
                  <a:cubicBezTo>
                    <a:pt x="930" y="693"/>
                    <a:pt x="932" y="698"/>
                    <a:pt x="934" y="696"/>
                  </a:cubicBezTo>
                  <a:cubicBezTo>
                    <a:pt x="940" y="690"/>
                    <a:pt x="940" y="709"/>
                    <a:pt x="934" y="699"/>
                  </a:cubicBezTo>
                  <a:cubicBezTo>
                    <a:pt x="932" y="696"/>
                    <a:pt x="930" y="702"/>
                    <a:pt x="929" y="703"/>
                  </a:cubicBezTo>
                  <a:cubicBezTo>
                    <a:pt x="928" y="703"/>
                    <a:pt x="923" y="698"/>
                    <a:pt x="923" y="700"/>
                  </a:cubicBezTo>
                  <a:cubicBezTo>
                    <a:pt x="923" y="704"/>
                    <a:pt x="931" y="704"/>
                    <a:pt x="933" y="703"/>
                  </a:cubicBezTo>
                  <a:cubicBezTo>
                    <a:pt x="939" y="701"/>
                    <a:pt x="933" y="711"/>
                    <a:pt x="935" y="713"/>
                  </a:cubicBezTo>
                  <a:cubicBezTo>
                    <a:pt x="939" y="715"/>
                    <a:pt x="944" y="706"/>
                    <a:pt x="946" y="709"/>
                  </a:cubicBezTo>
                  <a:cubicBezTo>
                    <a:pt x="948" y="712"/>
                    <a:pt x="947" y="714"/>
                    <a:pt x="945" y="714"/>
                  </a:cubicBezTo>
                  <a:cubicBezTo>
                    <a:pt x="934" y="715"/>
                    <a:pt x="911" y="745"/>
                    <a:pt x="899" y="747"/>
                  </a:cubicBezTo>
                  <a:cubicBezTo>
                    <a:pt x="898" y="747"/>
                    <a:pt x="867" y="810"/>
                    <a:pt x="864" y="812"/>
                  </a:cubicBezTo>
                  <a:cubicBezTo>
                    <a:pt x="861" y="813"/>
                    <a:pt x="851" y="810"/>
                    <a:pt x="851" y="809"/>
                  </a:cubicBezTo>
                  <a:cubicBezTo>
                    <a:pt x="850" y="809"/>
                    <a:pt x="849" y="806"/>
                    <a:pt x="848" y="807"/>
                  </a:cubicBezTo>
                  <a:cubicBezTo>
                    <a:pt x="841" y="807"/>
                    <a:pt x="842" y="824"/>
                    <a:pt x="839" y="827"/>
                  </a:cubicBezTo>
                  <a:cubicBezTo>
                    <a:pt x="831" y="832"/>
                    <a:pt x="837" y="814"/>
                    <a:pt x="832" y="818"/>
                  </a:cubicBezTo>
                  <a:cubicBezTo>
                    <a:pt x="830" y="819"/>
                    <a:pt x="834" y="833"/>
                    <a:pt x="830" y="833"/>
                  </a:cubicBezTo>
                  <a:cubicBezTo>
                    <a:pt x="824" y="832"/>
                    <a:pt x="831" y="821"/>
                    <a:pt x="829" y="820"/>
                  </a:cubicBezTo>
                  <a:cubicBezTo>
                    <a:pt x="825" y="820"/>
                    <a:pt x="825" y="833"/>
                    <a:pt x="825" y="833"/>
                  </a:cubicBezTo>
                  <a:cubicBezTo>
                    <a:pt x="820" y="836"/>
                    <a:pt x="812" y="830"/>
                    <a:pt x="808" y="831"/>
                  </a:cubicBezTo>
                  <a:cubicBezTo>
                    <a:pt x="801" y="833"/>
                    <a:pt x="806" y="844"/>
                    <a:pt x="794" y="838"/>
                  </a:cubicBezTo>
                  <a:cubicBezTo>
                    <a:pt x="790" y="836"/>
                    <a:pt x="779" y="864"/>
                    <a:pt x="777" y="865"/>
                  </a:cubicBezTo>
                  <a:cubicBezTo>
                    <a:pt x="771" y="867"/>
                    <a:pt x="762" y="839"/>
                    <a:pt x="752" y="847"/>
                  </a:cubicBezTo>
                  <a:cubicBezTo>
                    <a:pt x="752" y="848"/>
                    <a:pt x="762" y="863"/>
                    <a:pt x="760" y="867"/>
                  </a:cubicBezTo>
                  <a:cubicBezTo>
                    <a:pt x="759" y="871"/>
                    <a:pt x="752" y="862"/>
                    <a:pt x="751" y="861"/>
                  </a:cubicBezTo>
                  <a:cubicBezTo>
                    <a:pt x="747" y="859"/>
                    <a:pt x="743" y="859"/>
                    <a:pt x="741" y="860"/>
                  </a:cubicBezTo>
                  <a:cubicBezTo>
                    <a:pt x="736" y="862"/>
                    <a:pt x="740" y="878"/>
                    <a:pt x="738" y="881"/>
                  </a:cubicBezTo>
                  <a:cubicBezTo>
                    <a:pt x="737" y="882"/>
                    <a:pt x="736" y="882"/>
                    <a:pt x="735" y="881"/>
                  </a:cubicBezTo>
                  <a:cubicBezTo>
                    <a:pt x="729" y="873"/>
                    <a:pt x="725" y="894"/>
                    <a:pt x="725" y="894"/>
                  </a:cubicBezTo>
                  <a:cubicBezTo>
                    <a:pt x="722" y="895"/>
                    <a:pt x="720" y="891"/>
                    <a:pt x="719" y="891"/>
                  </a:cubicBezTo>
                  <a:cubicBezTo>
                    <a:pt x="715" y="894"/>
                    <a:pt x="720" y="897"/>
                    <a:pt x="723" y="897"/>
                  </a:cubicBezTo>
                  <a:cubicBezTo>
                    <a:pt x="724" y="897"/>
                    <a:pt x="720" y="903"/>
                    <a:pt x="719" y="903"/>
                  </a:cubicBezTo>
                  <a:cubicBezTo>
                    <a:pt x="713" y="905"/>
                    <a:pt x="710" y="888"/>
                    <a:pt x="704" y="888"/>
                  </a:cubicBezTo>
                  <a:cubicBezTo>
                    <a:pt x="702" y="889"/>
                    <a:pt x="690" y="889"/>
                    <a:pt x="694" y="893"/>
                  </a:cubicBezTo>
                  <a:cubicBezTo>
                    <a:pt x="693" y="893"/>
                    <a:pt x="691" y="893"/>
                    <a:pt x="688" y="895"/>
                  </a:cubicBezTo>
                  <a:cubicBezTo>
                    <a:pt x="687" y="896"/>
                    <a:pt x="693" y="905"/>
                    <a:pt x="692" y="906"/>
                  </a:cubicBezTo>
                  <a:cubicBezTo>
                    <a:pt x="691" y="908"/>
                    <a:pt x="678" y="902"/>
                    <a:pt x="675" y="903"/>
                  </a:cubicBezTo>
                  <a:cubicBezTo>
                    <a:pt x="675" y="903"/>
                    <a:pt x="680" y="905"/>
                    <a:pt x="680" y="906"/>
                  </a:cubicBezTo>
                  <a:cubicBezTo>
                    <a:pt x="682" y="909"/>
                    <a:pt x="674" y="921"/>
                    <a:pt x="668" y="926"/>
                  </a:cubicBezTo>
                  <a:cubicBezTo>
                    <a:pt x="667" y="927"/>
                    <a:pt x="664" y="921"/>
                    <a:pt x="662" y="921"/>
                  </a:cubicBezTo>
                  <a:cubicBezTo>
                    <a:pt x="654" y="922"/>
                    <a:pt x="665" y="927"/>
                    <a:pt x="663" y="927"/>
                  </a:cubicBezTo>
                  <a:cubicBezTo>
                    <a:pt x="659" y="928"/>
                    <a:pt x="650" y="923"/>
                    <a:pt x="647" y="929"/>
                  </a:cubicBezTo>
                  <a:cubicBezTo>
                    <a:pt x="646" y="930"/>
                    <a:pt x="654" y="931"/>
                    <a:pt x="654" y="931"/>
                  </a:cubicBezTo>
                  <a:cubicBezTo>
                    <a:pt x="658" y="931"/>
                    <a:pt x="678" y="927"/>
                    <a:pt x="677" y="935"/>
                  </a:cubicBezTo>
                  <a:cubicBezTo>
                    <a:pt x="677" y="936"/>
                    <a:pt x="660" y="933"/>
                    <a:pt x="660" y="937"/>
                  </a:cubicBezTo>
                  <a:cubicBezTo>
                    <a:pt x="659" y="942"/>
                    <a:pt x="672" y="939"/>
                    <a:pt x="672" y="941"/>
                  </a:cubicBezTo>
                  <a:cubicBezTo>
                    <a:pt x="670" y="948"/>
                    <a:pt x="665" y="942"/>
                    <a:pt x="661" y="942"/>
                  </a:cubicBezTo>
                  <a:cubicBezTo>
                    <a:pt x="658" y="943"/>
                    <a:pt x="668" y="947"/>
                    <a:pt x="668" y="947"/>
                  </a:cubicBezTo>
                  <a:cubicBezTo>
                    <a:pt x="668" y="949"/>
                    <a:pt x="660" y="953"/>
                    <a:pt x="659" y="954"/>
                  </a:cubicBezTo>
                  <a:cubicBezTo>
                    <a:pt x="654" y="954"/>
                    <a:pt x="650" y="944"/>
                    <a:pt x="647" y="946"/>
                  </a:cubicBezTo>
                  <a:cubicBezTo>
                    <a:pt x="639" y="953"/>
                    <a:pt x="648" y="951"/>
                    <a:pt x="650" y="952"/>
                  </a:cubicBezTo>
                  <a:cubicBezTo>
                    <a:pt x="653" y="955"/>
                    <a:pt x="641" y="965"/>
                    <a:pt x="642" y="961"/>
                  </a:cubicBezTo>
                  <a:cubicBezTo>
                    <a:pt x="645" y="952"/>
                    <a:pt x="639" y="963"/>
                    <a:pt x="637" y="963"/>
                  </a:cubicBezTo>
                  <a:cubicBezTo>
                    <a:pt x="631" y="965"/>
                    <a:pt x="625" y="962"/>
                    <a:pt x="631" y="958"/>
                  </a:cubicBezTo>
                  <a:cubicBezTo>
                    <a:pt x="633" y="957"/>
                    <a:pt x="639" y="956"/>
                    <a:pt x="637" y="955"/>
                  </a:cubicBezTo>
                  <a:cubicBezTo>
                    <a:pt x="629" y="952"/>
                    <a:pt x="622" y="958"/>
                    <a:pt x="622" y="958"/>
                  </a:cubicBezTo>
                  <a:cubicBezTo>
                    <a:pt x="612" y="954"/>
                    <a:pt x="621" y="927"/>
                    <a:pt x="598" y="930"/>
                  </a:cubicBezTo>
                  <a:cubicBezTo>
                    <a:pt x="598" y="930"/>
                    <a:pt x="604" y="935"/>
                    <a:pt x="605" y="935"/>
                  </a:cubicBezTo>
                  <a:cubicBezTo>
                    <a:pt x="608" y="937"/>
                    <a:pt x="615" y="950"/>
                    <a:pt x="614" y="954"/>
                  </a:cubicBezTo>
                  <a:cubicBezTo>
                    <a:pt x="612" y="960"/>
                    <a:pt x="628" y="967"/>
                    <a:pt x="625" y="978"/>
                  </a:cubicBezTo>
                  <a:cubicBezTo>
                    <a:pt x="624" y="982"/>
                    <a:pt x="612" y="976"/>
                    <a:pt x="614" y="979"/>
                  </a:cubicBezTo>
                  <a:cubicBezTo>
                    <a:pt x="618" y="984"/>
                    <a:pt x="630" y="981"/>
                    <a:pt x="631" y="989"/>
                  </a:cubicBezTo>
                  <a:cubicBezTo>
                    <a:pt x="631" y="989"/>
                    <a:pt x="627" y="990"/>
                    <a:pt x="626" y="991"/>
                  </a:cubicBezTo>
                  <a:cubicBezTo>
                    <a:pt x="623" y="993"/>
                    <a:pt x="621" y="998"/>
                    <a:pt x="621" y="990"/>
                  </a:cubicBezTo>
                  <a:cubicBezTo>
                    <a:pt x="621" y="989"/>
                    <a:pt x="621" y="985"/>
                    <a:pt x="619" y="988"/>
                  </a:cubicBezTo>
                  <a:cubicBezTo>
                    <a:pt x="614" y="994"/>
                    <a:pt x="618" y="999"/>
                    <a:pt x="611" y="1005"/>
                  </a:cubicBezTo>
                  <a:cubicBezTo>
                    <a:pt x="608" y="1007"/>
                    <a:pt x="601" y="1000"/>
                    <a:pt x="595" y="1006"/>
                  </a:cubicBezTo>
                  <a:cubicBezTo>
                    <a:pt x="593" y="1009"/>
                    <a:pt x="600" y="1012"/>
                    <a:pt x="598" y="1012"/>
                  </a:cubicBezTo>
                  <a:cubicBezTo>
                    <a:pt x="584" y="1014"/>
                    <a:pt x="573" y="989"/>
                    <a:pt x="565" y="1005"/>
                  </a:cubicBezTo>
                  <a:cubicBezTo>
                    <a:pt x="563" y="1010"/>
                    <a:pt x="571" y="1031"/>
                    <a:pt x="577" y="1037"/>
                  </a:cubicBezTo>
                  <a:cubicBezTo>
                    <a:pt x="580" y="1040"/>
                    <a:pt x="593" y="1038"/>
                    <a:pt x="594" y="1042"/>
                  </a:cubicBezTo>
                  <a:cubicBezTo>
                    <a:pt x="595" y="1043"/>
                    <a:pt x="591" y="1044"/>
                    <a:pt x="589" y="1045"/>
                  </a:cubicBezTo>
                  <a:cubicBezTo>
                    <a:pt x="581" y="1049"/>
                    <a:pt x="586" y="1039"/>
                    <a:pt x="581" y="1045"/>
                  </a:cubicBezTo>
                  <a:cubicBezTo>
                    <a:pt x="575" y="1051"/>
                    <a:pt x="577" y="1075"/>
                    <a:pt x="577" y="1075"/>
                  </a:cubicBezTo>
                  <a:cubicBezTo>
                    <a:pt x="577" y="1078"/>
                    <a:pt x="568" y="1081"/>
                    <a:pt x="567" y="1084"/>
                  </a:cubicBezTo>
                  <a:cubicBezTo>
                    <a:pt x="565" y="1092"/>
                    <a:pt x="568" y="1110"/>
                    <a:pt x="571" y="1115"/>
                  </a:cubicBezTo>
                  <a:cubicBezTo>
                    <a:pt x="571" y="1115"/>
                    <a:pt x="570" y="1117"/>
                    <a:pt x="571" y="1118"/>
                  </a:cubicBezTo>
                  <a:cubicBezTo>
                    <a:pt x="576" y="1120"/>
                    <a:pt x="588" y="1114"/>
                    <a:pt x="580" y="1129"/>
                  </a:cubicBezTo>
                  <a:cubicBezTo>
                    <a:pt x="580" y="1131"/>
                    <a:pt x="579" y="1131"/>
                    <a:pt x="578" y="1131"/>
                  </a:cubicBezTo>
                  <a:cubicBezTo>
                    <a:pt x="571" y="1128"/>
                    <a:pt x="555" y="1108"/>
                    <a:pt x="548" y="1117"/>
                  </a:cubicBezTo>
                  <a:cubicBezTo>
                    <a:pt x="547" y="1119"/>
                    <a:pt x="554" y="1119"/>
                    <a:pt x="554" y="1119"/>
                  </a:cubicBezTo>
                  <a:cubicBezTo>
                    <a:pt x="571" y="1122"/>
                    <a:pt x="537" y="1130"/>
                    <a:pt x="549" y="1131"/>
                  </a:cubicBezTo>
                  <a:cubicBezTo>
                    <a:pt x="551" y="1131"/>
                    <a:pt x="557" y="1131"/>
                    <a:pt x="558" y="1133"/>
                  </a:cubicBezTo>
                  <a:cubicBezTo>
                    <a:pt x="560" y="1136"/>
                    <a:pt x="549" y="1135"/>
                    <a:pt x="549" y="1135"/>
                  </a:cubicBezTo>
                  <a:cubicBezTo>
                    <a:pt x="548" y="1134"/>
                    <a:pt x="542" y="1135"/>
                    <a:pt x="541" y="1138"/>
                  </a:cubicBezTo>
                  <a:cubicBezTo>
                    <a:pt x="541" y="1138"/>
                    <a:pt x="550" y="1140"/>
                    <a:pt x="551" y="1140"/>
                  </a:cubicBezTo>
                  <a:cubicBezTo>
                    <a:pt x="553" y="1141"/>
                    <a:pt x="539" y="1142"/>
                    <a:pt x="545" y="1143"/>
                  </a:cubicBezTo>
                  <a:cubicBezTo>
                    <a:pt x="560" y="1146"/>
                    <a:pt x="547" y="1164"/>
                    <a:pt x="548" y="1169"/>
                  </a:cubicBezTo>
                  <a:cubicBezTo>
                    <a:pt x="549" y="1171"/>
                    <a:pt x="560" y="1176"/>
                    <a:pt x="560" y="1177"/>
                  </a:cubicBezTo>
                  <a:cubicBezTo>
                    <a:pt x="560" y="1177"/>
                    <a:pt x="560" y="1180"/>
                    <a:pt x="557" y="1181"/>
                  </a:cubicBezTo>
                  <a:cubicBezTo>
                    <a:pt x="555" y="1181"/>
                    <a:pt x="545" y="1175"/>
                    <a:pt x="544" y="1176"/>
                  </a:cubicBezTo>
                  <a:cubicBezTo>
                    <a:pt x="544" y="1177"/>
                    <a:pt x="553" y="1184"/>
                    <a:pt x="554" y="1185"/>
                  </a:cubicBezTo>
                  <a:cubicBezTo>
                    <a:pt x="555" y="1187"/>
                    <a:pt x="548" y="1204"/>
                    <a:pt x="549" y="1206"/>
                  </a:cubicBezTo>
                  <a:cubicBezTo>
                    <a:pt x="552" y="1211"/>
                    <a:pt x="552" y="1204"/>
                    <a:pt x="552" y="1211"/>
                  </a:cubicBezTo>
                  <a:cubicBezTo>
                    <a:pt x="552" y="1214"/>
                    <a:pt x="552" y="1218"/>
                    <a:pt x="550" y="1219"/>
                  </a:cubicBezTo>
                  <a:cubicBezTo>
                    <a:pt x="549" y="1220"/>
                    <a:pt x="558" y="1219"/>
                    <a:pt x="558" y="1219"/>
                  </a:cubicBezTo>
                  <a:cubicBezTo>
                    <a:pt x="560" y="1224"/>
                    <a:pt x="549" y="1225"/>
                    <a:pt x="549" y="1230"/>
                  </a:cubicBezTo>
                  <a:cubicBezTo>
                    <a:pt x="549" y="1237"/>
                    <a:pt x="564" y="1243"/>
                    <a:pt x="561" y="1253"/>
                  </a:cubicBezTo>
                  <a:cubicBezTo>
                    <a:pt x="560" y="1257"/>
                    <a:pt x="567" y="1253"/>
                    <a:pt x="566" y="1256"/>
                  </a:cubicBezTo>
                  <a:cubicBezTo>
                    <a:pt x="565" y="1260"/>
                    <a:pt x="552" y="1263"/>
                    <a:pt x="552" y="1266"/>
                  </a:cubicBezTo>
                  <a:cubicBezTo>
                    <a:pt x="553" y="1268"/>
                    <a:pt x="558" y="1265"/>
                    <a:pt x="559" y="1266"/>
                  </a:cubicBezTo>
                  <a:cubicBezTo>
                    <a:pt x="566" y="1269"/>
                    <a:pt x="565" y="1276"/>
                    <a:pt x="566" y="1277"/>
                  </a:cubicBezTo>
                  <a:cubicBezTo>
                    <a:pt x="568" y="1281"/>
                    <a:pt x="587" y="1269"/>
                    <a:pt x="594" y="1278"/>
                  </a:cubicBezTo>
                  <a:cubicBezTo>
                    <a:pt x="596" y="1281"/>
                    <a:pt x="590" y="1281"/>
                    <a:pt x="590" y="1282"/>
                  </a:cubicBezTo>
                  <a:cubicBezTo>
                    <a:pt x="588" y="1285"/>
                    <a:pt x="592" y="1291"/>
                    <a:pt x="594" y="1292"/>
                  </a:cubicBezTo>
                  <a:cubicBezTo>
                    <a:pt x="600" y="1301"/>
                    <a:pt x="605" y="1275"/>
                    <a:pt x="621" y="1280"/>
                  </a:cubicBezTo>
                  <a:cubicBezTo>
                    <a:pt x="623" y="1281"/>
                    <a:pt x="622" y="1282"/>
                    <a:pt x="623" y="1284"/>
                  </a:cubicBezTo>
                  <a:cubicBezTo>
                    <a:pt x="625" y="1289"/>
                    <a:pt x="631" y="1306"/>
                    <a:pt x="640" y="1310"/>
                  </a:cubicBezTo>
                  <a:cubicBezTo>
                    <a:pt x="641" y="1310"/>
                    <a:pt x="648" y="1311"/>
                    <a:pt x="648" y="1312"/>
                  </a:cubicBezTo>
                  <a:cubicBezTo>
                    <a:pt x="649" y="1314"/>
                    <a:pt x="642" y="1313"/>
                    <a:pt x="645" y="1318"/>
                  </a:cubicBezTo>
                  <a:cubicBezTo>
                    <a:pt x="645" y="1318"/>
                    <a:pt x="645" y="1319"/>
                    <a:pt x="646" y="1319"/>
                  </a:cubicBezTo>
                  <a:cubicBezTo>
                    <a:pt x="648" y="1319"/>
                    <a:pt x="651" y="1315"/>
                    <a:pt x="653" y="1315"/>
                  </a:cubicBezTo>
                  <a:cubicBezTo>
                    <a:pt x="656" y="1315"/>
                    <a:pt x="679" y="1331"/>
                    <a:pt x="679" y="1332"/>
                  </a:cubicBezTo>
                  <a:cubicBezTo>
                    <a:pt x="680" y="1335"/>
                    <a:pt x="673" y="1334"/>
                    <a:pt x="672" y="1333"/>
                  </a:cubicBezTo>
                  <a:cubicBezTo>
                    <a:pt x="665" y="1331"/>
                    <a:pt x="660" y="1318"/>
                    <a:pt x="653" y="1321"/>
                  </a:cubicBezTo>
                  <a:cubicBezTo>
                    <a:pt x="650" y="1323"/>
                    <a:pt x="665" y="1335"/>
                    <a:pt x="665" y="1336"/>
                  </a:cubicBezTo>
                  <a:cubicBezTo>
                    <a:pt x="665" y="1338"/>
                    <a:pt x="661" y="1335"/>
                    <a:pt x="669" y="1343"/>
                  </a:cubicBezTo>
                  <a:cubicBezTo>
                    <a:pt x="671" y="1346"/>
                    <a:pt x="674" y="1341"/>
                    <a:pt x="674" y="1342"/>
                  </a:cubicBezTo>
                  <a:cubicBezTo>
                    <a:pt x="674" y="1343"/>
                    <a:pt x="675" y="1357"/>
                    <a:pt x="677" y="1356"/>
                  </a:cubicBezTo>
                  <a:cubicBezTo>
                    <a:pt x="682" y="1355"/>
                    <a:pt x="675" y="1338"/>
                    <a:pt x="690" y="1348"/>
                  </a:cubicBezTo>
                  <a:cubicBezTo>
                    <a:pt x="691" y="1350"/>
                    <a:pt x="689" y="1358"/>
                    <a:pt x="692" y="1362"/>
                  </a:cubicBezTo>
                  <a:cubicBezTo>
                    <a:pt x="693" y="1363"/>
                    <a:pt x="696" y="1367"/>
                    <a:pt x="696" y="1366"/>
                  </a:cubicBezTo>
                  <a:cubicBezTo>
                    <a:pt x="696" y="1363"/>
                    <a:pt x="689" y="1347"/>
                    <a:pt x="697" y="1349"/>
                  </a:cubicBezTo>
                  <a:cubicBezTo>
                    <a:pt x="702" y="1351"/>
                    <a:pt x="699" y="1359"/>
                    <a:pt x="701" y="1364"/>
                  </a:cubicBezTo>
                  <a:cubicBezTo>
                    <a:pt x="704" y="1374"/>
                    <a:pt x="711" y="1376"/>
                    <a:pt x="716" y="1382"/>
                  </a:cubicBezTo>
                  <a:cubicBezTo>
                    <a:pt x="716" y="1383"/>
                    <a:pt x="718" y="1384"/>
                    <a:pt x="718" y="1382"/>
                  </a:cubicBezTo>
                  <a:cubicBezTo>
                    <a:pt x="720" y="1376"/>
                    <a:pt x="721" y="1386"/>
                    <a:pt x="720" y="1390"/>
                  </a:cubicBezTo>
                  <a:cubicBezTo>
                    <a:pt x="719" y="1396"/>
                    <a:pt x="705" y="1375"/>
                    <a:pt x="704" y="1376"/>
                  </a:cubicBezTo>
                  <a:cubicBezTo>
                    <a:pt x="700" y="1380"/>
                    <a:pt x="707" y="1387"/>
                    <a:pt x="704" y="1391"/>
                  </a:cubicBezTo>
                  <a:cubicBezTo>
                    <a:pt x="701" y="1395"/>
                    <a:pt x="690" y="1395"/>
                    <a:pt x="690" y="1399"/>
                  </a:cubicBezTo>
                  <a:cubicBezTo>
                    <a:pt x="690" y="1400"/>
                    <a:pt x="725" y="1391"/>
                    <a:pt x="721" y="1403"/>
                  </a:cubicBezTo>
                  <a:cubicBezTo>
                    <a:pt x="719" y="1408"/>
                    <a:pt x="710" y="1398"/>
                    <a:pt x="706" y="1402"/>
                  </a:cubicBezTo>
                  <a:cubicBezTo>
                    <a:pt x="695" y="1413"/>
                    <a:pt x="687" y="1415"/>
                    <a:pt x="684" y="1418"/>
                  </a:cubicBezTo>
                  <a:cubicBezTo>
                    <a:pt x="680" y="1422"/>
                    <a:pt x="670" y="1438"/>
                    <a:pt x="659" y="1442"/>
                  </a:cubicBezTo>
                  <a:cubicBezTo>
                    <a:pt x="657" y="1443"/>
                    <a:pt x="650" y="1439"/>
                    <a:pt x="649" y="1441"/>
                  </a:cubicBezTo>
                  <a:cubicBezTo>
                    <a:pt x="647" y="1445"/>
                    <a:pt x="658" y="1449"/>
                    <a:pt x="655" y="1452"/>
                  </a:cubicBezTo>
                  <a:cubicBezTo>
                    <a:pt x="653" y="1452"/>
                    <a:pt x="651" y="1453"/>
                    <a:pt x="650" y="1452"/>
                  </a:cubicBezTo>
                  <a:cubicBezTo>
                    <a:pt x="648" y="1452"/>
                    <a:pt x="638" y="1451"/>
                    <a:pt x="640" y="1449"/>
                  </a:cubicBezTo>
                  <a:cubicBezTo>
                    <a:pt x="646" y="1439"/>
                    <a:pt x="636" y="1449"/>
                    <a:pt x="633" y="1451"/>
                  </a:cubicBezTo>
                  <a:cubicBezTo>
                    <a:pt x="631" y="1453"/>
                    <a:pt x="626" y="1449"/>
                    <a:pt x="626" y="1451"/>
                  </a:cubicBezTo>
                  <a:cubicBezTo>
                    <a:pt x="626" y="1452"/>
                    <a:pt x="639" y="1460"/>
                    <a:pt x="638" y="1461"/>
                  </a:cubicBezTo>
                  <a:cubicBezTo>
                    <a:pt x="634" y="1465"/>
                    <a:pt x="605" y="1459"/>
                    <a:pt x="603" y="1450"/>
                  </a:cubicBezTo>
                  <a:cubicBezTo>
                    <a:pt x="602" y="1443"/>
                    <a:pt x="611" y="1436"/>
                    <a:pt x="611" y="1433"/>
                  </a:cubicBezTo>
                  <a:cubicBezTo>
                    <a:pt x="611" y="1429"/>
                    <a:pt x="605" y="1419"/>
                    <a:pt x="603" y="1416"/>
                  </a:cubicBezTo>
                  <a:cubicBezTo>
                    <a:pt x="600" y="1411"/>
                    <a:pt x="601" y="1408"/>
                    <a:pt x="600" y="1409"/>
                  </a:cubicBezTo>
                  <a:cubicBezTo>
                    <a:pt x="598" y="1410"/>
                    <a:pt x="602" y="1421"/>
                    <a:pt x="599" y="1421"/>
                  </a:cubicBezTo>
                  <a:cubicBezTo>
                    <a:pt x="598" y="1420"/>
                    <a:pt x="592" y="1414"/>
                    <a:pt x="592" y="1413"/>
                  </a:cubicBezTo>
                  <a:cubicBezTo>
                    <a:pt x="592" y="1410"/>
                    <a:pt x="604" y="1398"/>
                    <a:pt x="589" y="1394"/>
                  </a:cubicBezTo>
                  <a:cubicBezTo>
                    <a:pt x="586" y="1393"/>
                    <a:pt x="587" y="1400"/>
                    <a:pt x="584" y="1402"/>
                  </a:cubicBezTo>
                  <a:cubicBezTo>
                    <a:pt x="581" y="1405"/>
                    <a:pt x="573" y="1401"/>
                    <a:pt x="569" y="1402"/>
                  </a:cubicBezTo>
                  <a:cubicBezTo>
                    <a:pt x="567" y="1403"/>
                    <a:pt x="578" y="1405"/>
                    <a:pt x="578" y="1405"/>
                  </a:cubicBezTo>
                  <a:cubicBezTo>
                    <a:pt x="582" y="1407"/>
                    <a:pt x="576" y="1413"/>
                    <a:pt x="578" y="1418"/>
                  </a:cubicBezTo>
                  <a:cubicBezTo>
                    <a:pt x="579" y="1420"/>
                    <a:pt x="581" y="1427"/>
                    <a:pt x="584" y="1427"/>
                  </a:cubicBezTo>
                  <a:cubicBezTo>
                    <a:pt x="584" y="1427"/>
                    <a:pt x="583" y="1420"/>
                    <a:pt x="582" y="1418"/>
                  </a:cubicBezTo>
                  <a:cubicBezTo>
                    <a:pt x="580" y="1414"/>
                    <a:pt x="584" y="1408"/>
                    <a:pt x="585" y="1407"/>
                  </a:cubicBezTo>
                  <a:cubicBezTo>
                    <a:pt x="587" y="1402"/>
                    <a:pt x="590" y="1407"/>
                    <a:pt x="589" y="1409"/>
                  </a:cubicBezTo>
                  <a:cubicBezTo>
                    <a:pt x="587" y="1425"/>
                    <a:pt x="609" y="1426"/>
                    <a:pt x="606" y="1433"/>
                  </a:cubicBezTo>
                  <a:cubicBezTo>
                    <a:pt x="595" y="1462"/>
                    <a:pt x="570" y="1416"/>
                    <a:pt x="570" y="1415"/>
                  </a:cubicBezTo>
                  <a:cubicBezTo>
                    <a:pt x="564" y="1414"/>
                    <a:pt x="568" y="1424"/>
                    <a:pt x="569" y="1424"/>
                  </a:cubicBezTo>
                  <a:cubicBezTo>
                    <a:pt x="572" y="1440"/>
                    <a:pt x="571" y="1437"/>
                    <a:pt x="568" y="1442"/>
                  </a:cubicBezTo>
                  <a:cubicBezTo>
                    <a:pt x="568" y="1443"/>
                    <a:pt x="542" y="1423"/>
                    <a:pt x="541" y="1423"/>
                  </a:cubicBezTo>
                  <a:cubicBezTo>
                    <a:pt x="538" y="1422"/>
                    <a:pt x="543" y="1429"/>
                    <a:pt x="542" y="1431"/>
                  </a:cubicBezTo>
                  <a:cubicBezTo>
                    <a:pt x="541" y="1434"/>
                    <a:pt x="536" y="1432"/>
                    <a:pt x="535" y="1431"/>
                  </a:cubicBezTo>
                  <a:cubicBezTo>
                    <a:pt x="511" y="1423"/>
                    <a:pt x="515" y="1436"/>
                    <a:pt x="507" y="1433"/>
                  </a:cubicBezTo>
                  <a:cubicBezTo>
                    <a:pt x="504" y="1432"/>
                    <a:pt x="501" y="1424"/>
                    <a:pt x="497" y="1422"/>
                  </a:cubicBezTo>
                  <a:cubicBezTo>
                    <a:pt x="497" y="1422"/>
                    <a:pt x="496" y="1422"/>
                    <a:pt x="495" y="1422"/>
                  </a:cubicBezTo>
                  <a:cubicBezTo>
                    <a:pt x="493" y="1423"/>
                    <a:pt x="490" y="1438"/>
                    <a:pt x="490" y="1438"/>
                  </a:cubicBezTo>
                  <a:cubicBezTo>
                    <a:pt x="476" y="1443"/>
                    <a:pt x="472" y="1438"/>
                    <a:pt x="463" y="1442"/>
                  </a:cubicBezTo>
                  <a:cubicBezTo>
                    <a:pt x="459" y="1445"/>
                    <a:pt x="450" y="1433"/>
                    <a:pt x="449" y="1438"/>
                  </a:cubicBezTo>
                  <a:cubicBezTo>
                    <a:pt x="445" y="1450"/>
                    <a:pt x="500" y="1443"/>
                    <a:pt x="500" y="1443"/>
                  </a:cubicBezTo>
                  <a:cubicBezTo>
                    <a:pt x="501" y="1443"/>
                    <a:pt x="502" y="1441"/>
                    <a:pt x="503" y="1441"/>
                  </a:cubicBezTo>
                  <a:cubicBezTo>
                    <a:pt x="506" y="1441"/>
                    <a:pt x="525" y="1461"/>
                    <a:pt x="526" y="1453"/>
                  </a:cubicBezTo>
                  <a:cubicBezTo>
                    <a:pt x="527" y="1452"/>
                    <a:pt x="509" y="1442"/>
                    <a:pt x="510" y="1441"/>
                  </a:cubicBezTo>
                  <a:cubicBezTo>
                    <a:pt x="523" y="1427"/>
                    <a:pt x="532" y="1454"/>
                    <a:pt x="539" y="1458"/>
                  </a:cubicBezTo>
                  <a:cubicBezTo>
                    <a:pt x="543" y="1459"/>
                    <a:pt x="549" y="1454"/>
                    <a:pt x="554" y="1457"/>
                  </a:cubicBezTo>
                  <a:cubicBezTo>
                    <a:pt x="556" y="1458"/>
                    <a:pt x="563" y="1457"/>
                    <a:pt x="564" y="1460"/>
                  </a:cubicBezTo>
                  <a:cubicBezTo>
                    <a:pt x="566" y="1464"/>
                    <a:pt x="559" y="1463"/>
                    <a:pt x="558" y="1464"/>
                  </a:cubicBezTo>
                  <a:cubicBezTo>
                    <a:pt x="557" y="1464"/>
                    <a:pt x="558" y="1466"/>
                    <a:pt x="559" y="1466"/>
                  </a:cubicBezTo>
                  <a:cubicBezTo>
                    <a:pt x="560" y="1468"/>
                    <a:pt x="553" y="1471"/>
                    <a:pt x="555" y="1472"/>
                  </a:cubicBezTo>
                  <a:cubicBezTo>
                    <a:pt x="556" y="1473"/>
                    <a:pt x="570" y="1475"/>
                    <a:pt x="571" y="1474"/>
                  </a:cubicBezTo>
                  <a:cubicBezTo>
                    <a:pt x="572" y="1473"/>
                    <a:pt x="565" y="1465"/>
                    <a:pt x="567" y="1463"/>
                  </a:cubicBezTo>
                  <a:cubicBezTo>
                    <a:pt x="573" y="1458"/>
                    <a:pt x="589" y="1477"/>
                    <a:pt x="589" y="1477"/>
                  </a:cubicBezTo>
                  <a:cubicBezTo>
                    <a:pt x="592" y="1476"/>
                    <a:pt x="587" y="1469"/>
                    <a:pt x="589" y="1468"/>
                  </a:cubicBezTo>
                  <a:cubicBezTo>
                    <a:pt x="593" y="1467"/>
                    <a:pt x="611" y="1477"/>
                    <a:pt x="614" y="1477"/>
                  </a:cubicBezTo>
                  <a:cubicBezTo>
                    <a:pt x="620" y="1479"/>
                    <a:pt x="617" y="1466"/>
                    <a:pt x="624" y="1465"/>
                  </a:cubicBezTo>
                  <a:cubicBezTo>
                    <a:pt x="628" y="1464"/>
                    <a:pt x="642" y="1467"/>
                    <a:pt x="645" y="1464"/>
                  </a:cubicBezTo>
                  <a:cubicBezTo>
                    <a:pt x="648" y="1458"/>
                    <a:pt x="649" y="1456"/>
                    <a:pt x="656" y="1456"/>
                  </a:cubicBezTo>
                  <a:cubicBezTo>
                    <a:pt x="663" y="1455"/>
                    <a:pt x="664" y="1463"/>
                    <a:pt x="667" y="1462"/>
                  </a:cubicBezTo>
                  <a:cubicBezTo>
                    <a:pt x="671" y="1460"/>
                    <a:pt x="661" y="1452"/>
                    <a:pt x="663" y="1447"/>
                  </a:cubicBezTo>
                  <a:cubicBezTo>
                    <a:pt x="664" y="1445"/>
                    <a:pt x="671" y="1448"/>
                    <a:pt x="672" y="1449"/>
                  </a:cubicBezTo>
                  <a:cubicBezTo>
                    <a:pt x="674" y="1451"/>
                    <a:pt x="682" y="1461"/>
                    <a:pt x="683" y="1463"/>
                  </a:cubicBezTo>
                  <a:cubicBezTo>
                    <a:pt x="684" y="1465"/>
                    <a:pt x="678" y="1466"/>
                    <a:pt x="676" y="1466"/>
                  </a:cubicBezTo>
                  <a:cubicBezTo>
                    <a:pt x="667" y="1467"/>
                    <a:pt x="653" y="1460"/>
                    <a:pt x="650" y="1465"/>
                  </a:cubicBezTo>
                  <a:cubicBezTo>
                    <a:pt x="648" y="1467"/>
                    <a:pt x="649" y="1471"/>
                    <a:pt x="651" y="1472"/>
                  </a:cubicBezTo>
                  <a:cubicBezTo>
                    <a:pt x="654" y="1473"/>
                    <a:pt x="667" y="1481"/>
                    <a:pt x="663" y="1481"/>
                  </a:cubicBezTo>
                  <a:cubicBezTo>
                    <a:pt x="662" y="1481"/>
                    <a:pt x="659" y="1480"/>
                    <a:pt x="658" y="1479"/>
                  </a:cubicBezTo>
                  <a:cubicBezTo>
                    <a:pt x="648" y="1472"/>
                    <a:pt x="656" y="1484"/>
                    <a:pt x="659" y="1484"/>
                  </a:cubicBezTo>
                  <a:cubicBezTo>
                    <a:pt x="661" y="1483"/>
                    <a:pt x="663" y="1485"/>
                    <a:pt x="663" y="1486"/>
                  </a:cubicBezTo>
                  <a:cubicBezTo>
                    <a:pt x="663" y="1490"/>
                    <a:pt x="644" y="1495"/>
                    <a:pt x="629" y="1501"/>
                  </a:cubicBezTo>
                  <a:cubicBezTo>
                    <a:pt x="624" y="1503"/>
                    <a:pt x="619" y="1528"/>
                    <a:pt x="616" y="1529"/>
                  </a:cubicBezTo>
                  <a:cubicBezTo>
                    <a:pt x="613" y="1530"/>
                    <a:pt x="613" y="1523"/>
                    <a:pt x="613" y="1522"/>
                  </a:cubicBezTo>
                  <a:cubicBezTo>
                    <a:pt x="612" y="1518"/>
                    <a:pt x="608" y="1522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ubicBezTo>
                    <a:pt x="607" y="1519"/>
                    <a:pt x="610" y="1528"/>
                    <a:pt x="603" y="1521"/>
                  </a:cubicBezTo>
                  <a:cubicBezTo>
                    <a:pt x="601" y="1519"/>
                    <a:pt x="606" y="1490"/>
                    <a:pt x="604" y="1491"/>
                  </a:cubicBezTo>
                  <a:cubicBezTo>
                    <a:pt x="599" y="1492"/>
                    <a:pt x="601" y="1502"/>
                    <a:pt x="599" y="1502"/>
                  </a:cubicBezTo>
                  <a:cubicBezTo>
                    <a:pt x="593" y="1500"/>
                    <a:pt x="599" y="1481"/>
                    <a:pt x="595" y="1485"/>
                  </a:cubicBezTo>
                  <a:cubicBezTo>
                    <a:pt x="583" y="1498"/>
                    <a:pt x="599" y="1523"/>
                    <a:pt x="585" y="1523"/>
                  </a:cubicBezTo>
                  <a:cubicBezTo>
                    <a:pt x="584" y="1523"/>
                    <a:pt x="590" y="1530"/>
                    <a:pt x="587" y="1531"/>
                  </a:cubicBezTo>
                  <a:cubicBezTo>
                    <a:pt x="585" y="1531"/>
                    <a:pt x="578" y="1522"/>
                    <a:pt x="576" y="1524"/>
                  </a:cubicBezTo>
                  <a:cubicBezTo>
                    <a:pt x="572" y="1527"/>
                    <a:pt x="584" y="1538"/>
                    <a:pt x="579" y="1539"/>
                  </a:cubicBezTo>
                  <a:cubicBezTo>
                    <a:pt x="578" y="1539"/>
                    <a:pt x="571" y="1539"/>
                    <a:pt x="570" y="1538"/>
                  </a:cubicBezTo>
                  <a:cubicBezTo>
                    <a:pt x="569" y="1538"/>
                    <a:pt x="567" y="1536"/>
                    <a:pt x="566" y="1537"/>
                  </a:cubicBezTo>
                  <a:cubicBezTo>
                    <a:pt x="565" y="1539"/>
                    <a:pt x="570" y="1540"/>
                    <a:pt x="569" y="1542"/>
                  </a:cubicBezTo>
                  <a:cubicBezTo>
                    <a:pt x="569" y="1546"/>
                    <a:pt x="567" y="1545"/>
                    <a:pt x="565" y="1544"/>
                  </a:cubicBezTo>
                  <a:cubicBezTo>
                    <a:pt x="560" y="1543"/>
                    <a:pt x="561" y="1548"/>
                    <a:pt x="560" y="1548"/>
                  </a:cubicBezTo>
                  <a:cubicBezTo>
                    <a:pt x="550" y="1549"/>
                    <a:pt x="546" y="1541"/>
                    <a:pt x="539" y="1544"/>
                  </a:cubicBezTo>
                  <a:cubicBezTo>
                    <a:pt x="537" y="1545"/>
                    <a:pt x="541" y="1546"/>
                    <a:pt x="541" y="1546"/>
                  </a:cubicBezTo>
                  <a:cubicBezTo>
                    <a:pt x="548" y="1547"/>
                    <a:pt x="538" y="1550"/>
                    <a:pt x="543" y="1551"/>
                  </a:cubicBezTo>
                  <a:cubicBezTo>
                    <a:pt x="556" y="1553"/>
                    <a:pt x="539" y="1554"/>
                    <a:pt x="533" y="1554"/>
                  </a:cubicBezTo>
                  <a:cubicBezTo>
                    <a:pt x="528" y="1554"/>
                    <a:pt x="542" y="1558"/>
                    <a:pt x="539" y="1560"/>
                  </a:cubicBezTo>
                  <a:cubicBezTo>
                    <a:pt x="518" y="1575"/>
                    <a:pt x="475" y="1545"/>
                    <a:pt x="463" y="1561"/>
                  </a:cubicBezTo>
                  <a:cubicBezTo>
                    <a:pt x="460" y="1565"/>
                    <a:pt x="474" y="1557"/>
                    <a:pt x="477" y="1561"/>
                  </a:cubicBezTo>
                  <a:cubicBezTo>
                    <a:pt x="478" y="1562"/>
                    <a:pt x="480" y="1567"/>
                    <a:pt x="481" y="1567"/>
                  </a:cubicBezTo>
                  <a:cubicBezTo>
                    <a:pt x="485" y="1568"/>
                    <a:pt x="483" y="1561"/>
                    <a:pt x="487" y="1561"/>
                  </a:cubicBezTo>
                  <a:cubicBezTo>
                    <a:pt x="501" y="1565"/>
                    <a:pt x="532" y="1573"/>
                    <a:pt x="530" y="1582"/>
                  </a:cubicBezTo>
                  <a:cubicBezTo>
                    <a:pt x="530" y="1586"/>
                    <a:pt x="506" y="1590"/>
                    <a:pt x="497" y="1586"/>
                  </a:cubicBezTo>
                  <a:cubicBezTo>
                    <a:pt x="496" y="1586"/>
                    <a:pt x="483" y="1582"/>
                    <a:pt x="484" y="1583"/>
                  </a:cubicBezTo>
                  <a:cubicBezTo>
                    <a:pt x="491" y="1593"/>
                    <a:pt x="515" y="1593"/>
                    <a:pt x="516" y="1599"/>
                  </a:cubicBezTo>
                  <a:cubicBezTo>
                    <a:pt x="516" y="1603"/>
                    <a:pt x="501" y="1597"/>
                    <a:pt x="503" y="1601"/>
                  </a:cubicBezTo>
                  <a:cubicBezTo>
                    <a:pt x="504" y="1605"/>
                    <a:pt x="508" y="1604"/>
                    <a:pt x="509" y="1608"/>
                  </a:cubicBezTo>
                  <a:cubicBezTo>
                    <a:pt x="510" y="1611"/>
                    <a:pt x="513" y="1606"/>
                    <a:pt x="514" y="1605"/>
                  </a:cubicBezTo>
                  <a:cubicBezTo>
                    <a:pt x="516" y="1605"/>
                    <a:pt x="512" y="1614"/>
                    <a:pt x="520" y="1621"/>
                  </a:cubicBezTo>
                  <a:cubicBezTo>
                    <a:pt x="522" y="1624"/>
                    <a:pt x="520" y="1628"/>
                    <a:pt x="518" y="1631"/>
                  </a:cubicBezTo>
                  <a:cubicBezTo>
                    <a:pt x="513" y="1636"/>
                    <a:pt x="503" y="1621"/>
                    <a:pt x="502" y="1622"/>
                  </a:cubicBezTo>
                  <a:cubicBezTo>
                    <a:pt x="502" y="1622"/>
                    <a:pt x="515" y="1646"/>
                    <a:pt x="514" y="1648"/>
                  </a:cubicBezTo>
                  <a:cubicBezTo>
                    <a:pt x="510" y="1655"/>
                    <a:pt x="502" y="1640"/>
                    <a:pt x="501" y="1652"/>
                  </a:cubicBezTo>
                  <a:cubicBezTo>
                    <a:pt x="501" y="1652"/>
                    <a:pt x="505" y="1653"/>
                    <a:pt x="505" y="1653"/>
                  </a:cubicBezTo>
                  <a:cubicBezTo>
                    <a:pt x="516" y="1656"/>
                    <a:pt x="512" y="1661"/>
                    <a:pt x="512" y="1663"/>
                  </a:cubicBezTo>
                  <a:cubicBezTo>
                    <a:pt x="513" y="1666"/>
                    <a:pt x="517" y="1665"/>
                    <a:pt x="514" y="1668"/>
                  </a:cubicBezTo>
                  <a:cubicBezTo>
                    <a:pt x="511" y="1669"/>
                    <a:pt x="510" y="1666"/>
                    <a:pt x="510" y="1665"/>
                  </a:cubicBezTo>
                  <a:cubicBezTo>
                    <a:pt x="509" y="1662"/>
                    <a:pt x="506" y="1662"/>
                    <a:pt x="504" y="1661"/>
                  </a:cubicBezTo>
                  <a:cubicBezTo>
                    <a:pt x="501" y="1659"/>
                    <a:pt x="493" y="1650"/>
                    <a:pt x="492" y="1651"/>
                  </a:cubicBezTo>
                  <a:cubicBezTo>
                    <a:pt x="490" y="1652"/>
                    <a:pt x="498" y="1662"/>
                    <a:pt x="498" y="1663"/>
                  </a:cubicBezTo>
                  <a:cubicBezTo>
                    <a:pt x="499" y="1667"/>
                    <a:pt x="491" y="1662"/>
                    <a:pt x="494" y="1665"/>
                  </a:cubicBezTo>
                  <a:cubicBezTo>
                    <a:pt x="495" y="1668"/>
                    <a:pt x="510" y="1682"/>
                    <a:pt x="508" y="1684"/>
                  </a:cubicBezTo>
                  <a:cubicBezTo>
                    <a:pt x="506" y="1686"/>
                    <a:pt x="487" y="1663"/>
                    <a:pt x="484" y="1665"/>
                  </a:cubicBezTo>
                  <a:cubicBezTo>
                    <a:pt x="483" y="1666"/>
                    <a:pt x="504" y="1687"/>
                    <a:pt x="504" y="1687"/>
                  </a:cubicBezTo>
                  <a:cubicBezTo>
                    <a:pt x="505" y="1687"/>
                    <a:pt x="512" y="1691"/>
                    <a:pt x="510" y="1692"/>
                  </a:cubicBezTo>
                  <a:cubicBezTo>
                    <a:pt x="507" y="1694"/>
                    <a:pt x="495" y="1691"/>
                    <a:pt x="502" y="1696"/>
                  </a:cubicBezTo>
                  <a:cubicBezTo>
                    <a:pt x="503" y="1697"/>
                    <a:pt x="503" y="1698"/>
                    <a:pt x="502" y="1698"/>
                  </a:cubicBezTo>
                  <a:cubicBezTo>
                    <a:pt x="498" y="1705"/>
                    <a:pt x="497" y="1706"/>
                    <a:pt x="492" y="1711"/>
                  </a:cubicBezTo>
                  <a:cubicBezTo>
                    <a:pt x="491" y="1712"/>
                    <a:pt x="497" y="1712"/>
                    <a:pt x="499" y="1713"/>
                  </a:cubicBezTo>
                  <a:cubicBezTo>
                    <a:pt x="501" y="1714"/>
                    <a:pt x="507" y="1716"/>
                    <a:pt x="508" y="1722"/>
                  </a:cubicBezTo>
                  <a:cubicBezTo>
                    <a:pt x="510" y="1731"/>
                    <a:pt x="487" y="1746"/>
                    <a:pt x="488" y="1753"/>
                  </a:cubicBezTo>
                  <a:cubicBezTo>
                    <a:pt x="489" y="1756"/>
                    <a:pt x="485" y="1764"/>
                    <a:pt x="488" y="1768"/>
                  </a:cubicBezTo>
                  <a:cubicBezTo>
                    <a:pt x="491" y="1771"/>
                    <a:pt x="502" y="1781"/>
                    <a:pt x="499" y="1784"/>
                  </a:cubicBezTo>
                  <a:cubicBezTo>
                    <a:pt x="498" y="1785"/>
                    <a:pt x="486" y="1782"/>
                    <a:pt x="486" y="1784"/>
                  </a:cubicBezTo>
                  <a:cubicBezTo>
                    <a:pt x="486" y="1788"/>
                    <a:pt x="485" y="1800"/>
                    <a:pt x="486" y="1808"/>
                  </a:cubicBezTo>
                  <a:cubicBezTo>
                    <a:pt x="486" y="1809"/>
                    <a:pt x="481" y="1823"/>
                    <a:pt x="487" y="1818"/>
                  </a:cubicBezTo>
                  <a:cubicBezTo>
                    <a:pt x="489" y="1816"/>
                    <a:pt x="490" y="1819"/>
                    <a:pt x="489" y="1822"/>
                  </a:cubicBezTo>
                  <a:cubicBezTo>
                    <a:pt x="488" y="1825"/>
                    <a:pt x="480" y="1820"/>
                    <a:pt x="478" y="1824"/>
                  </a:cubicBezTo>
                  <a:cubicBezTo>
                    <a:pt x="477" y="1827"/>
                    <a:pt x="483" y="1833"/>
                    <a:pt x="481" y="1837"/>
                  </a:cubicBezTo>
                  <a:cubicBezTo>
                    <a:pt x="477" y="1842"/>
                    <a:pt x="473" y="1835"/>
                    <a:pt x="469" y="1839"/>
                  </a:cubicBezTo>
                  <a:cubicBezTo>
                    <a:pt x="460" y="1852"/>
                    <a:pt x="448" y="1913"/>
                    <a:pt x="434" y="1918"/>
                  </a:cubicBezTo>
                  <a:cubicBezTo>
                    <a:pt x="426" y="1921"/>
                    <a:pt x="432" y="1907"/>
                    <a:pt x="431" y="1907"/>
                  </a:cubicBezTo>
                  <a:cubicBezTo>
                    <a:pt x="426" y="1903"/>
                    <a:pt x="413" y="1908"/>
                    <a:pt x="410" y="1907"/>
                  </a:cubicBezTo>
                  <a:cubicBezTo>
                    <a:pt x="407" y="1906"/>
                    <a:pt x="413" y="1901"/>
                    <a:pt x="410" y="1901"/>
                  </a:cubicBezTo>
                  <a:cubicBezTo>
                    <a:pt x="404" y="1899"/>
                    <a:pt x="394" y="1910"/>
                    <a:pt x="390" y="1910"/>
                  </a:cubicBezTo>
                  <a:cubicBezTo>
                    <a:pt x="381" y="1911"/>
                    <a:pt x="389" y="1906"/>
                    <a:pt x="384" y="1904"/>
                  </a:cubicBezTo>
                  <a:cubicBezTo>
                    <a:pt x="384" y="1903"/>
                    <a:pt x="383" y="1905"/>
                    <a:pt x="383" y="1905"/>
                  </a:cubicBezTo>
                  <a:cubicBezTo>
                    <a:pt x="372" y="1913"/>
                    <a:pt x="345" y="1901"/>
                    <a:pt x="331" y="1907"/>
                  </a:cubicBezTo>
                  <a:cubicBezTo>
                    <a:pt x="323" y="1910"/>
                    <a:pt x="345" y="1927"/>
                    <a:pt x="333" y="1929"/>
                  </a:cubicBezTo>
                  <a:cubicBezTo>
                    <a:pt x="324" y="1930"/>
                    <a:pt x="321" y="1915"/>
                    <a:pt x="311" y="1924"/>
                  </a:cubicBezTo>
                  <a:cubicBezTo>
                    <a:pt x="258" y="1970"/>
                    <a:pt x="323" y="1991"/>
                    <a:pt x="286" y="2013"/>
                  </a:cubicBezTo>
                  <a:cubicBezTo>
                    <a:pt x="277" y="2019"/>
                    <a:pt x="255" y="2006"/>
                    <a:pt x="243" y="2008"/>
                  </a:cubicBezTo>
                  <a:cubicBezTo>
                    <a:pt x="217" y="2012"/>
                    <a:pt x="200" y="2023"/>
                    <a:pt x="172" y="2014"/>
                  </a:cubicBezTo>
                  <a:cubicBezTo>
                    <a:pt x="170" y="2013"/>
                    <a:pt x="164" y="2015"/>
                    <a:pt x="164" y="2013"/>
                  </a:cubicBezTo>
                  <a:cubicBezTo>
                    <a:pt x="164" y="2011"/>
                    <a:pt x="166" y="2010"/>
                    <a:pt x="166" y="2008"/>
                  </a:cubicBezTo>
                  <a:cubicBezTo>
                    <a:pt x="166" y="2008"/>
                    <a:pt x="177" y="2008"/>
                    <a:pt x="178" y="2005"/>
                  </a:cubicBezTo>
                  <a:cubicBezTo>
                    <a:pt x="178" y="2004"/>
                    <a:pt x="178" y="2002"/>
                    <a:pt x="177" y="2002"/>
                  </a:cubicBezTo>
                  <a:cubicBezTo>
                    <a:pt x="161" y="1989"/>
                    <a:pt x="185" y="1983"/>
                    <a:pt x="185" y="1973"/>
                  </a:cubicBezTo>
                  <a:cubicBezTo>
                    <a:pt x="185" y="1963"/>
                    <a:pt x="174" y="1968"/>
                    <a:pt x="174" y="1959"/>
                  </a:cubicBezTo>
                  <a:cubicBezTo>
                    <a:pt x="174" y="1958"/>
                    <a:pt x="142" y="1903"/>
                    <a:pt x="137" y="1895"/>
                  </a:cubicBezTo>
                  <a:cubicBezTo>
                    <a:pt x="135" y="1893"/>
                    <a:pt x="128" y="1890"/>
                    <a:pt x="130" y="1888"/>
                  </a:cubicBezTo>
                  <a:cubicBezTo>
                    <a:pt x="137" y="1882"/>
                    <a:pt x="154" y="1906"/>
                    <a:pt x="163" y="1897"/>
                  </a:cubicBezTo>
                  <a:cubicBezTo>
                    <a:pt x="170" y="1888"/>
                    <a:pt x="145" y="1877"/>
                    <a:pt x="146" y="1872"/>
                  </a:cubicBezTo>
                  <a:cubicBezTo>
                    <a:pt x="148" y="1856"/>
                    <a:pt x="191" y="1882"/>
                    <a:pt x="169" y="1840"/>
                  </a:cubicBezTo>
                  <a:cubicBezTo>
                    <a:pt x="166" y="1834"/>
                    <a:pt x="157" y="1844"/>
                    <a:pt x="154" y="1840"/>
                  </a:cubicBezTo>
                  <a:cubicBezTo>
                    <a:pt x="142" y="1823"/>
                    <a:pt x="141" y="1813"/>
                    <a:pt x="121" y="1802"/>
                  </a:cubicBezTo>
                  <a:cubicBezTo>
                    <a:pt x="118" y="1800"/>
                    <a:pt x="123" y="1791"/>
                    <a:pt x="119" y="1787"/>
                  </a:cubicBezTo>
                  <a:cubicBezTo>
                    <a:pt x="116" y="1784"/>
                    <a:pt x="103" y="1765"/>
                    <a:pt x="103" y="1764"/>
                  </a:cubicBezTo>
                  <a:cubicBezTo>
                    <a:pt x="106" y="1757"/>
                    <a:pt x="99" y="1742"/>
                    <a:pt x="96" y="1743"/>
                  </a:cubicBezTo>
                  <a:cubicBezTo>
                    <a:pt x="96" y="1744"/>
                    <a:pt x="94" y="1744"/>
                    <a:pt x="94" y="1743"/>
                  </a:cubicBezTo>
                  <a:cubicBezTo>
                    <a:pt x="93" y="1734"/>
                    <a:pt x="99" y="1738"/>
                    <a:pt x="96" y="1729"/>
                  </a:cubicBezTo>
                  <a:cubicBezTo>
                    <a:pt x="96" y="1728"/>
                    <a:pt x="96" y="1727"/>
                    <a:pt x="95" y="1726"/>
                  </a:cubicBezTo>
                  <a:cubicBezTo>
                    <a:pt x="94" y="1726"/>
                    <a:pt x="83" y="1755"/>
                    <a:pt x="81" y="1736"/>
                  </a:cubicBezTo>
                  <a:cubicBezTo>
                    <a:pt x="80" y="1719"/>
                    <a:pt x="88" y="1715"/>
                    <a:pt x="78" y="1706"/>
                  </a:cubicBezTo>
                  <a:cubicBezTo>
                    <a:pt x="78" y="1706"/>
                    <a:pt x="78" y="1705"/>
                    <a:pt x="78" y="1705"/>
                  </a:cubicBezTo>
                  <a:cubicBezTo>
                    <a:pt x="78" y="1703"/>
                    <a:pt x="74" y="1698"/>
                    <a:pt x="75" y="1696"/>
                  </a:cubicBezTo>
                  <a:cubicBezTo>
                    <a:pt x="75" y="1695"/>
                    <a:pt x="84" y="1694"/>
                    <a:pt x="83" y="1693"/>
                  </a:cubicBezTo>
                  <a:cubicBezTo>
                    <a:pt x="80" y="1689"/>
                    <a:pt x="64" y="1695"/>
                    <a:pt x="63" y="1693"/>
                  </a:cubicBezTo>
                  <a:cubicBezTo>
                    <a:pt x="63" y="1688"/>
                    <a:pt x="71" y="1684"/>
                    <a:pt x="73" y="1682"/>
                  </a:cubicBezTo>
                  <a:cubicBezTo>
                    <a:pt x="77" y="1677"/>
                    <a:pt x="62" y="1678"/>
                    <a:pt x="60" y="1673"/>
                  </a:cubicBezTo>
                  <a:cubicBezTo>
                    <a:pt x="58" y="1671"/>
                    <a:pt x="62" y="1666"/>
                    <a:pt x="64" y="1666"/>
                  </a:cubicBezTo>
                  <a:cubicBezTo>
                    <a:pt x="72" y="1664"/>
                    <a:pt x="66" y="1662"/>
                    <a:pt x="66" y="1658"/>
                  </a:cubicBezTo>
                  <a:cubicBezTo>
                    <a:pt x="66" y="1651"/>
                    <a:pt x="82" y="1625"/>
                    <a:pt x="80" y="1620"/>
                  </a:cubicBezTo>
                  <a:cubicBezTo>
                    <a:pt x="79" y="1619"/>
                    <a:pt x="71" y="1612"/>
                    <a:pt x="73" y="1608"/>
                  </a:cubicBezTo>
                  <a:cubicBezTo>
                    <a:pt x="74" y="1605"/>
                    <a:pt x="80" y="1606"/>
                    <a:pt x="80" y="1602"/>
                  </a:cubicBezTo>
                  <a:cubicBezTo>
                    <a:pt x="79" y="1600"/>
                    <a:pt x="71" y="1605"/>
                    <a:pt x="69" y="1604"/>
                  </a:cubicBezTo>
                  <a:cubicBezTo>
                    <a:pt x="63" y="1602"/>
                    <a:pt x="51" y="1618"/>
                    <a:pt x="46" y="1615"/>
                  </a:cubicBezTo>
                  <a:cubicBezTo>
                    <a:pt x="42" y="1612"/>
                    <a:pt x="57" y="1593"/>
                    <a:pt x="59" y="1592"/>
                  </a:cubicBezTo>
                  <a:cubicBezTo>
                    <a:pt x="60" y="1592"/>
                    <a:pt x="62" y="1591"/>
                    <a:pt x="60" y="1590"/>
                  </a:cubicBezTo>
                  <a:cubicBezTo>
                    <a:pt x="57" y="1587"/>
                    <a:pt x="54" y="1593"/>
                    <a:pt x="53" y="1593"/>
                  </a:cubicBezTo>
                  <a:cubicBezTo>
                    <a:pt x="51" y="1592"/>
                    <a:pt x="51" y="1588"/>
                    <a:pt x="51" y="1587"/>
                  </a:cubicBezTo>
                  <a:cubicBezTo>
                    <a:pt x="48" y="1579"/>
                    <a:pt x="48" y="1605"/>
                    <a:pt x="42" y="1611"/>
                  </a:cubicBezTo>
                  <a:cubicBezTo>
                    <a:pt x="41" y="1611"/>
                    <a:pt x="37" y="1614"/>
                    <a:pt x="36" y="1614"/>
                  </a:cubicBezTo>
                  <a:cubicBezTo>
                    <a:pt x="35" y="1612"/>
                    <a:pt x="44" y="1605"/>
                    <a:pt x="39" y="1607"/>
                  </a:cubicBezTo>
                  <a:cubicBezTo>
                    <a:pt x="33" y="1609"/>
                    <a:pt x="36" y="1602"/>
                    <a:pt x="38" y="1603"/>
                  </a:cubicBezTo>
                  <a:cubicBezTo>
                    <a:pt x="40" y="1603"/>
                    <a:pt x="39" y="1595"/>
                    <a:pt x="37" y="1596"/>
                  </a:cubicBezTo>
                  <a:cubicBezTo>
                    <a:pt x="36" y="1597"/>
                    <a:pt x="41" y="1592"/>
                    <a:pt x="39" y="1588"/>
                  </a:cubicBezTo>
                  <a:cubicBezTo>
                    <a:pt x="38" y="1586"/>
                    <a:pt x="35" y="1593"/>
                    <a:pt x="33" y="1595"/>
                  </a:cubicBezTo>
                  <a:cubicBezTo>
                    <a:pt x="30" y="1598"/>
                    <a:pt x="24" y="1603"/>
                    <a:pt x="21" y="1603"/>
                  </a:cubicBezTo>
                  <a:cubicBezTo>
                    <a:pt x="20" y="1603"/>
                    <a:pt x="21" y="1596"/>
                    <a:pt x="20" y="1595"/>
                  </a:cubicBezTo>
                  <a:cubicBezTo>
                    <a:pt x="20" y="1591"/>
                    <a:pt x="23" y="1579"/>
                    <a:pt x="27" y="1570"/>
                  </a:cubicBezTo>
                  <a:cubicBezTo>
                    <a:pt x="27" y="1570"/>
                    <a:pt x="27" y="1569"/>
                    <a:pt x="26" y="1569"/>
                  </a:cubicBezTo>
                  <a:cubicBezTo>
                    <a:pt x="14" y="1552"/>
                    <a:pt x="26" y="1541"/>
                    <a:pt x="22" y="1531"/>
                  </a:cubicBezTo>
                  <a:cubicBezTo>
                    <a:pt x="17" y="1522"/>
                    <a:pt x="0" y="1494"/>
                    <a:pt x="29" y="1494"/>
                  </a:cubicBezTo>
                  <a:cubicBezTo>
                    <a:pt x="34" y="1494"/>
                    <a:pt x="35" y="1511"/>
                    <a:pt x="39" y="1511"/>
                  </a:cubicBezTo>
                  <a:cubicBezTo>
                    <a:pt x="41" y="1521"/>
                    <a:pt x="43" y="1532"/>
                    <a:pt x="57" y="1521"/>
                  </a:cubicBezTo>
                  <a:cubicBezTo>
                    <a:pt x="72" y="1509"/>
                    <a:pt x="72" y="1491"/>
                    <a:pt x="69" y="1473"/>
                  </a:cubicBezTo>
                  <a:cubicBezTo>
                    <a:pt x="72" y="1482"/>
                    <a:pt x="76" y="1490"/>
                    <a:pt x="73" y="1495"/>
                  </a:cubicBezTo>
                  <a:cubicBezTo>
                    <a:pt x="72" y="1496"/>
                    <a:pt x="75" y="1498"/>
                    <a:pt x="75" y="1499"/>
                  </a:cubicBezTo>
                  <a:cubicBezTo>
                    <a:pt x="76" y="1503"/>
                    <a:pt x="75" y="1501"/>
                    <a:pt x="76" y="1505"/>
                  </a:cubicBezTo>
                  <a:cubicBezTo>
                    <a:pt x="78" y="1509"/>
                    <a:pt x="73" y="1508"/>
                    <a:pt x="79" y="1511"/>
                  </a:cubicBezTo>
                  <a:cubicBezTo>
                    <a:pt x="80" y="1512"/>
                    <a:pt x="80" y="1513"/>
                    <a:pt x="80" y="1515"/>
                  </a:cubicBezTo>
                  <a:cubicBezTo>
                    <a:pt x="82" y="1529"/>
                    <a:pt x="85" y="1516"/>
                    <a:pt x="81" y="1509"/>
                  </a:cubicBezTo>
                  <a:cubicBezTo>
                    <a:pt x="81" y="1508"/>
                    <a:pt x="81" y="1508"/>
                    <a:pt x="81" y="1508"/>
                  </a:cubicBezTo>
                  <a:cubicBezTo>
                    <a:pt x="81" y="1509"/>
                    <a:pt x="74" y="1470"/>
                    <a:pt x="75" y="1468"/>
                  </a:cubicBezTo>
                  <a:cubicBezTo>
                    <a:pt x="75" y="1467"/>
                    <a:pt x="76" y="1464"/>
                    <a:pt x="78" y="1464"/>
                  </a:cubicBezTo>
                  <a:cubicBezTo>
                    <a:pt x="78" y="1464"/>
                    <a:pt x="82" y="1478"/>
                    <a:pt x="85" y="1479"/>
                  </a:cubicBezTo>
                  <a:cubicBezTo>
                    <a:pt x="91" y="1482"/>
                    <a:pt x="102" y="1489"/>
                    <a:pt x="105" y="1497"/>
                  </a:cubicBezTo>
                  <a:cubicBezTo>
                    <a:pt x="105" y="1497"/>
                    <a:pt x="106" y="1513"/>
                    <a:pt x="107" y="1510"/>
                  </a:cubicBezTo>
                  <a:cubicBezTo>
                    <a:pt x="118" y="1489"/>
                    <a:pt x="89" y="1485"/>
                    <a:pt x="83" y="1470"/>
                  </a:cubicBezTo>
                  <a:cubicBezTo>
                    <a:pt x="81" y="1465"/>
                    <a:pt x="81" y="1462"/>
                    <a:pt x="84" y="1457"/>
                  </a:cubicBezTo>
                  <a:cubicBezTo>
                    <a:pt x="93" y="1442"/>
                    <a:pt x="81" y="1453"/>
                    <a:pt x="80" y="1452"/>
                  </a:cubicBezTo>
                  <a:cubicBezTo>
                    <a:pt x="77" y="1450"/>
                    <a:pt x="77" y="1441"/>
                    <a:pt x="76" y="1441"/>
                  </a:cubicBezTo>
                  <a:cubicBezTo>
                    <a:pt x="70" y="1441"/>
                    <a:pt x="76" y="1459"/>
                    <a:pt x="73" y="1464"/>
                  </a:cubicBezTo>
                  <a:cubicBezTo>
                    <a:pt x="72" y="1467"/>
                    <a:pt x="67" y="1458"/>
                    <a:pt x="65" y="1457"/>
                  </a:cubicBezTo>
                  <a:cubicBezTo>
                    <a:pt x="61" y="1443"/>
                    <a:pt x="57" y="1430"/>
                    <a:pt x="60" y="1423"/>
                  </a:cubicBezTo>
                  <a:cubicBezTo>
                    <a:pt x="65" y="1412"/>
                    <a:pt x="82" y="1418"/>
                    <a:pt x="80" y="1402"/>
                  </a:cubicBezTo>
                  <a:cubicBezTo>
                    <a:pt x="80" y="1397"/>
                    <a:pt x="74" y="1393"/>
                    <a:pt x="74" y="1388"/>
                  </a:cubicBezTo>
                  <a:cubicBezTo>
                    <a:pt x="74" y="1378"/>
                    <a:pt x="101" y="1382"/>
                    <a:pt x="105" y="1380"/>
                  </a:cubicBezTo>
                  <a:cubicBezTo>
                    <a:pt x="111" y="1378"/>
                    <a:pt x="130" y="1360"/>
                    <a:pt x="133" y="1354"/>
                  </a:cubicBezTo>
                  <a:cubicBezTo>
                    <a:pt x="134" y="1352"/>
                    <a:pt x="133" y="1349"/>
                    <a:pt x="133" y="1346"/>
                  </a:cubicBezTo>
                  <a:cubicBezTo>
                    <a:pt x="133" y="1341"/>
                    <a:pt x="133" y="1336"/>
                    <a:pt x="133" y="1331"/>
                  </a:cubicBezTo>
                  <a:cubicBezTo>
                    <a:pt x="133" y="1328"/>
                    <a:pt x="132" y="1325"/>
                    <a:pt x="133" y="1323"/>
                  </a:cubicBezTo>
                  <a:cubicBezTo>
                    <a:pt x="136" y="1313"/>
                    <a:pt x="144" y="1310"/>
                    <a:pt x="144" y="1299"/>
                  </a:cubicBezTo>
                  <a:cubicBezTo>
                    <a:pt x="144" y="1274"/>
                    <a:pt x="108" y="1247"/>
                    <a:pt x="111" y="1224"/>
                  </a:cubicBezTo>
                  <a:cubicBezTo>
                    <a:pt x="113" y="1210"/>
                    <a:pt x="140" y="1218"/>
                    <a:pt x="148" y="1212"/>
                  </a:cubicBezTo>
                  <a:cubicBezTo>
                    <a:pt x="151" y="1210"/>
                    <a:pt x="167" y="1172"/>
                    <a:pt x="166" y="1169"/>
                  </a:cubicBezTo>
                  <a:cubicBezTo>
                    <a:pt x="155" y="1140"/>
                    <a:pt x="108" y="1143"/>
                    <a:pt x="101" y="1115"/>
                  </a:cubicBezTo>
                  <a:cubicBezTo>
                    <a:pt x="94" y="1093"/>
                    <a:pt x="119" y="1061"/>
                    <a:pt x="117" y="1037"/>
                  </a:cubicBezTo>
                  <a:cubicBezTo>
                    <a:pt x="115" y="1019"/>
                    <a:pt x="95" y="1005"/>
                    <a:pt x="92" y="988"/>
                  </a:cubicBezTo>
                  <a:cubicBezTo>
                    <a:pt x="90" y="982"/>
                    <a:pt x="97" y="972"/>
                    <a:pt x="98" y="966"/>
                  </a:cubicBezTo>
                  <a:cubicBezTo>
                    <a:pt x="98" y="960"/>
                    <a:pt x="91" y="949"/>
                    <a:pt x="93" y="944"/>
                  </a:cubicBezTo>
                  <a:cubicBezTo>
                    <a:pt x="93" y="944"/>
                    <a:pt x="105" y="926"/>
                    <a:pt x="105" y="926"/>
                  </a:cubicBezTo>
                  <a:cubicBezTo>
                    <a:pt x="105" y="914"/>
                    <a:pt x="84" y="901"/>
                    <a:pt x="84" y="889"/>
                  </a:cubicBezTo>
                  <a:cubicBezTo>
                    <a:pt x="85" y="878"/>
                    <a:pt x="106" y="868"/>
                    <a:pt x="108" y="857"/>
                  </a:cubicBezTo>
                  <a:cubicBezTo>
                    <a:pt x="109" y="852"/>
                    <a:pt x="102" y="848"/>
                    <a:pt x="102" y="842"/>
                  </a:cubicBezTo>
                  <a:cubicBezTo>
                    <a:pt x="103" y="827"/>
                    <a:pt x="130" y="803"/>
                    <a:pt x="156" y="786"/>
                  </a:cubicBezTo>
                  <a:cubicBezTo>
                    <a:pt x="155" y="791"/>
                    <a:pt x="173" y="792"/>
                    <a:pt x="175" y="799"/>
                  </a:cubicBezTo>
                  <a:cubicBezTo>
                    <a:pt x="176" y="800"/>
                    <a:pt x="183" y="815"/>
                    <a:pt x="184" y="815"/>
                  </a:cubicBezTo>
                  <a:cubicBezTo>
                    <a:pt x="194" y="817"/>
                    <a:pt x="183" y="798"/>
                    <a:pt x="180" y="797"/>
                  </a:cubicBezTo>
                  <a:cubicBezTo>
                    <a:pt x="179" y="796"/>
                    <a:pt x="179" y="796"/>
                    <a:pt x="179" y="796"/>
                  </a:cubicBezTo>
                  <a:cubicBezTo>
                    <a:pt x="178" y="795"/>
                    <a:pt x="171" y="783"/>
                    <a:pt x="164" y="781"/>
                  </a:cubicBezTo>
                  <a:cubicBezTo>
                    <a:pt x="166" y="780"/>
                    <a:pt x="167" y="779"/>
                    <a:pt x="169" y="778"/>
                  </a:cubicBezTo>
                  <a:cubicBezTo>
                    <a:pt x="170" y="781"/>
                    <a:pt x="171" y="783"/>
                    <a:pt x="172" y="781"/>
                  </a:cubicBezTo>
                  <a:cubicBezTo>
                    <a:pt x="172" y="780"/>
                    <a:pt x="172" y="780"/>
                    <a:pt x="172" y="780"/>
                  </a:cubicBezTo>
                  <a:cubicBezTo>
                    <a:pt x="172" y="778"/>
                    <a:pt x="173" y="777"/>
                    <a:pt x="173" y="776"/>
                  </a:cubicBezTo>
                  <a:cubicBezTo>
                    <a:pt x="184" y="770"/>
                    <a:pt x="194" y="766"/>
                    <a:pt x="200" y="765"/>
                  </a:cubicBezTo>
                  <a:cubicBezTo>
                    <a:pt x="222" y="763"/>
                    <a:pt x="255" y="784"/>
                    <a:pt x="272" y="771"/>
                  </a:cubicBezTo>
                  <a:cubicBezTo>
                    <a:pt x="279" y="776"/>
                    <a:pt x="285" y="779"/>
                    <a:pt x="286" y="780"/>
                  </a:cubicBezTo>
                  <a:cubicBezTo>
                    <a:pt x="289" y="782"/>
                    <a:pt x="276" y="785"/>
                    <a:pt x="277" y="786"/>
                  </a:cubicBezTo>
                  <a:cubicBezTo>
                    <a:pt x="277" y="788"/>
                    <a:pt x="281" y="786"/>
                    <a:pt x="282" y="786"/>
                  </a:cubicBezTo>
                  <a:cubicBezTo>
                    <a:pt x="292" y="783"/>
                    <a:pt x="315" y="800"/>
                    <a:pt x="318" y="810"/>
                  </a:cubicBezTo>
                  <a:cubicBezTo>
                    <a:pt x="319" y="811"/>
                    <a:pt x="319" y="811"/>
                    <a:pt x="319" y="811"/>
                  </a:cubicBezTo>
                  <a:cubicBezTo>
                    <a:pt x="346" y="817"/>
                    <a:pt x="298" y="785"/>
                    <a:pt x="274" y="769"/>
                  </a:cubicBezTo>
                  <a:cubicBezTo>
                    <a:pt x="278" y="766"/>
                    <a:pt x="280" y="760"/>
                    <a:pt x="282" y="753"/>
                  </a:cubicBezTo>
                  <a:cubicBezTo>
                    <a:pt x="293" y="690"/>
                    <a:pt x="255" y="720"/>
                    <a:pt x="240" y="695"/>
                  </a:cubicBezTo>
                  <a:cubicBezTo>
                    <a:pt x="239" y="693"/>
                    <a:pt x="241" y="689"/>
                    <a:pt x="243" y="684"/>
                  </a:cubicBezTo>
                  <a:cubicBezTo>
                    <a:pt x="249" y="688"/>
                    <a:pt x="273" y="700"/>
                    <a:pt x="277" y="701"/>
                  </a:cubicBezTo>
                  <a:cubicBezTo>
                    <a:pt x="274" y="700"/>
                    <a:pt x="288" y="719"/>
                    <a:pt x="299" y="723"/>
                  </a:cubicBezTo>
                  <a:cubicBezTo>
                    <a:pt x="317" y="729"/>
                    <a:pt x="352" y="724"/>
                    <a:pt x="366" y="742"/>
                  </a:cubicBezTo>
                  <a:cubicBezTo>
                    <a:pt x="369" y="746"/>
                    <a:pt x="386" y="762"/>
                    <a:pt x="388" y="771"/>
                  </a:cubicBezTo>
                  <a:cubicBezTo>
                    <a:pt x="388" y="775"/>
                    <a:pt x="384" y="771"/>
                    <a:pt x="385" y="776"/>
                  </a:cubicBezTo>
                  <a:cubicBezTo>
                    <a:pt x="386" y="778"/>
                    <a:pt x="403" y="786"/>
                    <a:pt x="399" y="789"/>
                  </a:cubicBezTo>
                  <a:cubicBezTo>
                    <a:pt x="397" y="790"/>
                    <a:pt x="395" y="785"/>
                    <a:pt x="393" y="785"/>
                  </a:cubicBezTo>
                  <a:cubicBezTo>
                    <a:pt x="392" y="785"/>
                    <a:pt x="403" y="797"/>
                    <a:pt x="387" y="790"/>
                  </a:cubicBezTo>
                  <a:cubicBezTo>
                    <a:pt x="384" y="788"/>
                    <a:pt x="378" y="779"/>
                    <a:pt x="379" y="788"/>
                  </a:cubicBezTo>
                  <a:cubicBezTo>
                    <a:pt x="379" y="793"/>
                    <a:pt x="400" y="797"/>
                    <a:pt x="405" y="801"/>
                  </a:cubicBezTo>
                  <a:cubicBezTo>
                    <a:pt x="408" y="804"/>
                    <a:pt x="403" y="818"/>
                    <a:pt x="404" y="819"/>
                  </a:cubicBezTo>
                  <a:cubicBezTo>
                    <a:pt x="406" y="820"/>
                    <a:pt x="407" y="816"/>
                    <a:pt x="408" y="816"/>
                  </a:cubicBezTo>
                  <a:cubicBezTo>
                    <a:pt x="413" y="815"/>
                    <a:pt x="408" y="801"/>
                    <a:pt x="423" y="809"/>
                  </a:cubicBezTo>
                  <a:cubicBezTo>
                    <a:pt x="426" y="810"/>
                    <a:pt x="422" y="814"/>
                    <a:pt x="423" y="816"/>
                  </a:cubicBezTo>
                  <a:cubicBezTo>
                    <a:pt x="424" y="817"/>
                    <a:pt x="430" y="820"/>
                    <a:pt x="432" y="819"/>
                  </a:cubicBezTo>
                  <a:cubicBezTo>
                    <a:pt x="432" y="819"/>
                    <a:pt x="426" y="809"/>
                    <a:pt x="425" y="808"/>
                  </a:cubicBezTo>
                  <a:cubicBezTo>
                    <a:pt x="423" y="803"/>
                    <a:pt x="414" y="805"/>
                    <a:pt x="410" y="802"/>
                  </a:cubicBezTo>
                  <a:cubicBezTo>
                    <a:pt x="404" y="797"/>
                    <a:pt x="405" y="790"/>
                    <a:pt x="401" y="783"/>
                  </a:cubicBezTo>
                  <a:cubicBezTo>
                    <a:pt x="399" y="782"/>
                    <a:pt x="381" y="735"/>
                    <a:pt x="381" y="732"/>
                  </a:cubicBezTo>
                  <a:cubicBezTo>
                    <a:pt x="381" y="730"/>
                    <a:pt x="362" y="726"/>
                    <a:pt x="361" y="728"/>
                  </a:cubicBezTo>
                  <a:cubicBezTo>
                    <a:pt x="361" y="730"/>
                    <a:pt x="390" y="740"/>
                    <a:pt x="378" y="750"/>
                  </a:cubicBezTo>
                  <a:cubicBezTo>
                    <a:pt x="377" y="752"/>
                    <a:pt x="374" y="746"/>
                    <a:pt x="373" y="746"/>
                  </a:cubicBezTo>
                  <a:cubicBezTo>
                    <a:pt x="370" y="739"/>
                    <a:pt x="362" y="731"/>
                    <a:pt x="355" y="729"/>
                  </a:cubicBezTo>
                  <a:cubicBezTo>
                    <a:pt x="330" y="723"/>
                    <a:pt x="305" y="724"/>
                    <a:pt x="285" y="708"/>
                  </a:cubicBezTo>
                  <a:cubicBezTo>
                    <a:pt x="282" y="705"/>
                    <a:pt x="285" y="702"/>
                    <a:pt x="283" y="700"/>
                  </a:cubicBezTo>
                  <a:cubicBezTo>
                    <a:pt x="283" y="699"/>
                    <a:pt x="257" y="683"/>
                    <a:pt x="253" y="683"/>
                  </a:cubicBezTo>
                  <a:cubicBezTo>
                    <a:pt x="251" y="683"/>
                    <a:pt x="247" y="682"/>
                    <a:pt x="245" y="682"/>
                  </a:cubicBezTo>
                  <a:cubicBezTo>
                    <a:pt x="258" y="660"/>
                    <a:pt x="292" y="620"/>
                    <a:pt x="297" y="609"/>
                  </a:cubicBezTo>
                  <a:cubicBezTo>
                    <a:pt x="299" y="604"/>
                    <a:pt x="298" y="597"/>
                    <a:pt x="301" y="592"/>
                  </a:cubicBezTo>
                  <a:cubicBezTo>
                    <a:pt x="301" y="592"/>
                    <a:pt x="313" y="582"/>
                    <a:pt x="313" y="582"/>
                  </a:cubicBezTo>
                  <a:cubicBezTo>
                    <a:pt x="314" y="578"/>
                    <a:pt x="313" y="574"/>
                    <a:pt x="313" y="571"/>
                  </a:cubicBezTo>
                  <a:cubicBezTo>
                    <a:pt x="313" y="571"/>
                    <a:pt x="313" y="549"/>
                    <a:pt x="313" y="549"/>
                  </a:cubicBezTo>
                  <a:cubicBezTo>
                    <a:pt x="313" y="546"/>
                    <a:pt x="312" y="542"/>
                    <a:pt x="313" y="538"/>
                  </a:cubicBezTo>
                  <a:cubicBezTo>
                    <a:pt x="315" y="526"/>
                    <a:pt x="324" y="515"/>
                    <a:pt x="325" y="503"/>
                  </a:cubicBezTo>
                  <a:cubicBezTo>
                    <a:pt x="326" y="494"/>
                    <a:pt x="308" y="464"/>
                    <a:pt x="313" y="457"/>
                  </a:cubicBezTo>
                  <a:cubicBezTo>
                    <a:pt x="314" y="455"/>
                    <a:pt x="394" y="454"/>
                    <a:pt x="399" y="434"/>
                  </a:cubicBezTo>
                  <a:cubicBezTo>
                    <a:pt x="401" y="425"/>
                    <a:pt x="388" y="412"/>
                    <a:pt x="390" y="403"/>
                  </a:cubicBezTo>
                  <a:cubicBezTo>
                    <a:pt x="392" y="397"/>
                    <a:pt x="409" y="390"/>
                    <a:pt x="414" y="385"/>
                  </a:cubicBezTo>
                  <a:cubicBezTo>
                    <a:pt x="427" y="373"/>
                    <a:pt x="435" y="354"/>
                    <a:pt x="448" y="342"/>
                  </a:cubicBezTo>
                  <a:cubicBezTo>
                    <a:pt x="456" y="334"/>
                    <a:pt x="471" y="330"/>
                    <a:pt x="478" y="321"/>
                  </a:cubicBezTo>
                  <a:cubicBezTo>
                    <a:pt x="500" y="292"/>
                    <a:pt x="452" y="273"/>
                    <a:pt x="454" y="259"/>
                  </a:cubicBezTo>
                  <a:cubicBezTo>
                    <a:pt x="457" y="243"/>
                    <a:pt x="478" y="248"/>
                    <a:pt x="485" y="238"/>
                  </a:cubicBezTo>
                  <a:cubicBezTo>
                    <a:pt x="498" y="221"/>
                    <a:pt x="500" y="200"/>
                    <a:pt x="512" y="184"/>
                  </a:cubicBezTo>
                  <a:cubicBezTo>
                    <a:pt x="516" y="178"/>
                    <a:pt x="544" y="162"/>
                    <a:pt x="555" y="157"/>
                  </a:cubicBezTo>
                  <a:cubicBezTo>
                    <a:pt x="555" y="162"/>
                    <a:pt x="583" y="179"/>
                    <a:pt x="584" y="184"/>
                  </a:cubicBezTo>
                  <a:cubicBezTo>
                    <a:pt x="585" y="185"/>
                    <a:pt x="585" y="186"/>
                    <a:pt x="586" y="187"/>
                  </a:cubicBezTo>
                  <a:cubicBezTo>
                    <a:pt x="587" y="188"/>
                    <a:pt x="587" y="188"/>
                    <a:pt x="587" y="189"/>
                  </a:cubicBezTo>
                  <a:cubicBezTo>
                    <a:pt x="588" y="189"/>
                    <a:pt x="588" y="189"/>
                    <a:pt x="588" y="189"/>
                  </a:cubicBezTo>
                  <a:cubicBezTo>
                    <a:pt x="594" y="192"/>
                    <a:pt x="588" y="174"/>
                    <a:pt x="582" y="174"/>
                  </a:cubicBezTo>
                  <a:cubicBezTo>
                    <a:pt x="565" y="172"/>
                    <a:pt x="587" y="168"/>
                    <a:pt x="574" y="162"/>
                  </a:cubicBezTo>
                  <a:cubicBezTo>
                    <a:pt x="571" y="161"/>
                    <a:pt x="568" y="168"/>
                    <a:pt x="565" y="162"/>
                  </a:cubicBezTo>
                  <a:cubicBezTo>
                    <a:pt x="565" y="161"/>
                    <a:pt x="562" y="156"/>
                    <a:pt x="559" y="155"/>
                  </a:cubicBezTo>
                  <a:cubicBezTo>
                    <a:pt x="559" y="155"/>
                    <a:pt x="559" y="155"/>
                    <a:pt x="560" y="155"/>
                  </a:cubicBezTo>
                  <a:cubicBezTo>
                    <a:pt x="573" y="150"/>
                    <a:pt x="602" y="182"/>
                    <a:pt x="615" y="176"/>
                  </a:cubicBezTo>
                  <a:cubicBezTo>
                    <a:pt x="655" y="157"/>
                    <a:pt x="621" y="101"/>
                    <a:pt x="632" y="89"/>
                  </a:cubicBezTo>
                  <a:cubicBezTo>
                    <a:pt x="654" y="67"/>
                    <a:pt x="776" y="122"/>
                    <a:pt x="797" y="116"/>
                  </a:cubicBezTo>
                  <a:cubicBezTo>
                    <a:pt x="800" y="115"/>
                    <a:pt x="820" y="97"/>
                    <a:pt x="820" y="97"/>
                  </a:cubicBezTo>
                  <a:cubicBezTo>
                    <a:pt x="831" y="84"/>
                    <a:pt x="799" y="89"/>
                    <a:pt x="799" y="81"/>
                  </a:cubicBezTo>
                  <a:cubicBezTo>
                    <a:pt x="799" y="77"/>
                    <a:pt x="831" y="57"/>
                    <a:pt x="835" y="45"/>
                  </a:cubicBezTo>
                  <a:cubicBezTo>
                    <a:pt x="838" y="29"/>
                    <a:pt x="827" y="17"/>
                    <a:pt x="817" y="7"/>
                  </a:cubicBezTo>
                  <a:cubicBezTo>
                    <a:pt x="815" y="6"/>
                    <a:pt x="810" y="4"/>
                    <a:pt x="812" y="2"/>
                  </a:cubicBezTo>
                  <a:cubicBezTo>
                    <a:pt x="815" y="0"/>
                    <a:pt x="819" y="2"/>
                    <a:pt x="823" y="2"/>
                  </a:cubicBezTo>
                  <a:cubicBezTo>
                    <a:pt x="827" y="2"/>
                    <a:pt x="855" y="2"/>
                    <a:pt x="859" y="2"/>
                  </a:cubicBezTo>
                  <a:cubicBezTo>
                    <a:pt x="867" y="6"/>
                    <a:pt x="885" y="11"/>
                    <a:pt x="887" y="18"/>
                  </a:cubicBezTo>
                  <a:cubicBezTo>
                    <a:pt x="887" y="24"/>
                    <a:pt x="874" y="16"/>
                    <a:pt x="884" y="26"/>
                  </a:cubicBezTo>
                  <a:cubicBezTo>
                    <a:pt x="890" y="33"/>
                    <a:pt x="974" y="85"/>
                    <a:pt x="986" y="92"/>
                  </a:cubicBezTo>
                  <a:cubicBezTo>
                    <a:pt x="1016" y="109"/>
                    <a:pt x="1055" y="98"/>
                    <a:pt x="1081" y="129"/>
                  </a:cubicBezTo>
                  <a:cubicBezTo>
                    <a:pt x="1085" y="133"/>
                    <a:pt x="1083" y="145"/>
                    <a:pt x="1084" y="147"/>
                  </a:cubicBezTo>
                  <a:cubicBezTo>
                    <a:pt x="1086" y="149"/>
                    <a:pt x="1089" y="146"/>
                    <a:pt x="1091" y="146"/>
                  </a:cubicBezTo>
                  <a:cubicBezTo>
                    <a:pt x="1101" y="144"/>
                    <a:pt x="1102" y="150"/>
                    <a:pt x="1109" y="157"/>
                  </a:cubicBezTo>
                  <a:cubicBezTo>
                    <a:pt x="1115" y="165"/>
                    <a:pt x="1137" y="171"/>
                    <a:pt x="1130" y="178"/>
                  </a:cubicBezTo>
                  <a:cubicBezTo>
                    <a:pt x="1126" y="182"/>
                    <a:pt x="1118" y="181"/>
                    <a:pt x="1115" y="186"/>
                  </a:cubicBezTo>
                  <a:cubicBezTo>
                    <a:pt x="1106" y="201"/>
                    <a:pt x="1124" y="219"/>
                    <a:pt x="1120" y="233"/>
                  </a:cubicBezTo>
                  <a:cubicBezTo>
                    <a:pt x="1118" y="238"/>
                    <a:pt x="1105" y="244"/>
                    <a:pt x="1109" y="251"/>
                  </a:cubicBezTo>
                  <a:cubicBezTo>
                    <a:pt x="1115" y="260"/>
                    <a:pt x="1130" y="251"/>
                    <a:pt x="1139" y="259"/>
                  </a:cubicBezTo>
                  <a:cubicBezTo>
                    <a:pt x="1150" y="268"/>
                    <a:pt x="1122" y="289"/>
                    <a:pt x="1121" y="298"/>
                  </a:cubicBezTo>
                  <a:cubicBezTo>
                    <a:pt x="1120" y="318"/>
                    <a:pt x="1163" y="334"/>
                    <a:pt x="1160" y="354"/>
                  </a:cubicBezTo>
                  <a:cubicBezTo>
                    <a:pt x="1160" y="354"/>
                    <a:pt x="1151" y="362"/>
                    <a:pt x="1151" y="362"/>
                  </a:cubicBezTo>
                  <a:cubicBezTo>
                    <a:pt x="1147" y="370"/>
                    <a:pt x="1153" y="383"/>
                    <a:pt x="1150" y="390"/>
                  </a:cubicBezTo>
                  <a:cubicBezTo>
                    <a:pt x="1144" y="403"/>
                    <a:pt x="1129" y="398"/>
                    <a:pt x="1129" y="416"/>
                  </a:cubicBezTo>
                  <a:close/>
                  <a:moveTo>
                    <a:pt x="465" y="1611"/>
                  </a:moveTo>
                  <a:cubicBezTo>
                    <a:pt x="466" y="1614"/>
                    <a:pt x="489" y="1615"/>
                    <a:pt x="488" y="1615"/>
                  </a:cubicBezTo>
                  <a:cubicBezTo>
                    <a:pt x="485" y="1615"/>
                    <a:pt x="481" y="1612"/>
                    <a:pt x="479" y="1610"/>
                  </a:cubicBezTo>
                  <a:cubicBezTo>
                    <a:pt x="479" y="1610"/>
                    <a:pt x="479" y="1610"/>
                    <a:pt x="479" y="1610"/>
                  </a:cubicBezTo>
                  <a:cubicBezTo>
                    <a:pt x="476" y="1606"/>
                    <a:pt x="464" y="1606"/>
                    <a:pt x="465" y="1611"/>
                  </a:cubicBezTo>
                  <a:close/>
                  <a:moveTo>
                    <a:pt x="526" y="1502"/>
                  </a:moveTo>
                  <a:cubicBezTo>
                    <a:pt x="529" y="1503"/>
                    <a:pt x="522" y="1521"/>
                    <a:pt x="529" y="1509"/>
                  </a:cubicBezTo>
                  <a:cubicBezTo>
                    <a:pt x="530" y="1508"/>
                    <a:pt x="530" y="1508"/>
                    <a:pt x="530" y="1508"/>
                  </a:cubicBezTo>
                  <a:cubicBezTo>
                    <a:pt x="535" y="1506"/>
                    <a:pt x="546" y="1516"/>
                    <a:pt x="547" y="1510"/>
                  </a:cubicBezTo>
                  <a:cubicBezTo>
                    <a:pt x="548" y="1499"/>
                    <a:pt x="533" y="1505"/>
                    <a:pt x="523" y="1497"/>
                  </a:cubicBezTo>
                  <a:cubicBezTo>
                    <a:pt x="522" y="1496"/>
                    <a:pt x="524" y="1502"/>
                    <a:pt x="526" y="1502"/>
                  </a:cubicBezTo>
                  <a:close/>
                  <a:moveTo>
                    <a:pt x="674" y="1389"/>
                  </a:moveTo>
                  <a:cubicBezTo>
                    <a:pt x="677" y="1390"/>
                    <a:pt x="684" y="1390"/>
                    <a:pt x="684" y="1386"/>
                  </a:cubicBezTo>
                  <a:cubicBezTo>
                    <a:pt x="684" y="1386"/>
                    <a:pt x="684" y="1386"/>
                    <a:pt x="684" y="1386"/>
                  </a:cubicBezTo>
                  <a:cubicBezTo>
                    <a:pt x="680" y="1382"/>
                    <a:pt x="659" y="1386"/>
                    <a:pt x="674" y="1389"/>
                  </a:cubicBezTo>
                  <a:close/>
                  <a:moveTo>
                    <a:pt x="668" y="247"/>
                  </a:moveTo>
                  <a:cubicBezTo>
                    <a:pt x="679" y="251"/>
                    <a:pt x="714" y="268"/>
                    <a:pt x="725" y="260"/>
                  </a:cubicBezTo>
                  <a:cubicBezTo>
                    <a:pt x="727" y="258"/>
                    <a:pt x="719" y="259"/>
                    <a:pt x="716" y="259"/>
                  </a:cubicBezTo>
                  <a:cubicBezTo>
                    <a:pt x="714" y="258"/>
                    <a:pt x="714" y="258"/>
                    <a:pt x="714" y="258"/>
                  </a:cubicBezTo>
                  <a:cubicBezTo>
                    <a:pt x="710" y="258"/>
                    <a:pt x="667" y="241"/>
                    <a:pt x="666" y="244"/>
                  </a:cubicBezTo>
                  <a:cubicBezTo>
                    <a:pt x="665" y="245"/>
                    <a:pt x="666" y="247"/>
                    <a:pt x="668" y="247"/>
                  </a:cubicBezTo>
                  <a:close/>
                  <a:moveTo>
                    <a:pt x="509" y="275"/>
                  </a:moveTo>
                  <a:cubicBezTo>
                    <a:pt x="511" y="273"/>
                    <a:pt x="496" y="265"/>
                    <a:pt x="507" y="265"/>
                  </a:cubicBezTo>
                  <a:cubicBezTo>
                    <a:pt x="508" y="265"/>
                    <a:pt x="517" y="269"/>
                    <a:pt x="516" y="266"/>
                  </a:cubicBezTo>
                  <a:cubicBezTo>
                    <a:pt x="514" y="261"/>
                    <a:pt x="501" y="262"/>
                    <a:pt x="497" y="260"/>
                  </a:cubicBezTo>
                  <a:cubicBezTo>
                    <a:pt x="495" y="259"/>
                    <a:pt x="490" y="255"/>
                    <a:pt x="492" y="254"/>
                  </a:cubicBezTo>
                  <a:cubicBezTo>
                    <a:pt x="501" y="251"/>
                    <a:pt x="549" y="247"/>
                    <a:pt x="552" y="236"/>
                  </a:cubicBezTo>
                  <a:cubicBezTo>
                    <a:pt x="552" y="235"/>
                    <a:pt x="543" y="234"/>
                    <a:pt x="542" y="233"/>
                  </a:cubicBezTo>
                  <a:cubicBezTo>
                    <a:pt x="536" y="233"/>
                    <a:pt x="546" y="238"/>
                    <a:pt x="536" y="239"/>
                  </a:cubicBezTo>
                  <a:cubicBezTo>
                    <a:pt x="528" y="240"/>
                    <a:pt x="511" y="229"/>
                    <a:pt x="503" y="235"/>
                  </a:cubicBezTo>
                  <a:cubicBezTo>
                    <a:pt x="500" y="239"/>
                    <a:pt x="527" y="241"/>
                    <a:pt x="527" y="242"/>
                  </a:cubicBezTo>
                  <a:cubicBezTo>
                    <a:pt x="520" y="252"/>
                    <a:pt x="486" y="246"/>
                    <a:pt x="480" y="248"/>
                  </a:cubicBezTo>
                  <a:cubicBezTo>
                    <a:pt x="470" y="251"/>
                    <a:pt x="490" y="258"/>
                    <a:pt x="491" y="260"/>
                  </a:cubicBezTo>
                  <a:cubicBezTo>
                    <a:pt x="492" y="262"/>
                    <a:pt x="473" y="260"/>
                    <a:pt x="473" y="263"/>
                  </a:cubicBezTo>
                  <a:cubicBezTo>
                    <a:pt x="473" y="264"/>
                    <a:pt x="506" y="281"/>
                    <a:pt x="509" y="275"/>
                  </a:cubicBezTo>
                  <a:close/>
                  <a:moveTo>
                    <a:pt x="483" y="328"/>
                  </a:moveTo>
                  <a:cubicBezTo>
                    <a:pt x="484" y="327"/>
                    <a:pt x="489" y="328"/>
                    <a:pt x="491" y="329"/>
                  </a:cubicBezTo>
                  <a:cubicBezTo>
                    <a:pt x="504" y="331"/>
                    <a:pt x="482" y="334"/>
                    <a:pt x="490" y="334"/>
                  </a:cubicBezTo>
                  <a:cubicBezTo>
                    <a:pt x="496" y="334"/>
                    <a:pt x="507" y="336"/>
                    <a:pt x="513" y="339"/>
                  </a:cubicBezTo>
                  <a:cubicBezTo>
                    <a:pt x="513" y="339"/>
                    <a:pt x="513" y="339"/>
                    <a:pt x="513" y="339"/>
                  </a:cubicBezTo>
                  <a:cubicBezTo>
                    <a:pt x="515" y="340"/>
                    <a:pt x="483" y="314"/>
                    <a:pt x="477" y="324"/>
                  </a:cubicBezTo>
                  <a:cubicBezTo>
                    <a:pt x="474" y="328"/>
                    <a:pt x="482" y="330"/>
                    <a:pt x="483" y="328"/>
                  </a:cubicBezTo>
                  <a:close/>
                  <a:moveTo>
                    <a:pt x="472" y="345"/>
                  </a:moveTo>
                  <a:cubicBezTo>
                    <a:pt x="472" y="345"/>
                    <a:pt x="472" y="345"/>
                    <a:pt x="472" y="345"/>
                  </a:cubicBezTo>
                  <a:cubicBezTo>
                    <a:pt x="484" y="343"/>
                    <a:pt x="497" y="344"/>
                    <a:pt x="509" y="346"/>
                  </a:cubicBezTo>
                  <a:cubicBezTo>
                    <a:pt x="509" y="346"/>
                    <a:pt x="528" y="348"/>
                    <a:pt x="527" y="348"/>
                  </a:cubicBezTo>
                  <a:cubicBezTo>
                    <a:pt x="527" y="347"/>
                    <a:pt x="527" y="347"/>
                    <a:pt x="526" y="347"/>
                  </a:cubicBezTo>
                  <a:cubicBezTo>
                    <a:pt x="517" y="343"/>
                    <a:pt x="431" y="329"/>
                    <a:pt x="472" y="345"/>
                  </a:cubicBezTo>
                  <a:close/>
                  <a:moveTo>
                    <a:pt x="486" y="401"/>
                  </a:moveTo>
                  <a:cubicBezTo>
                    <a:pt x="482" y="398"/>
                    <a:pt x="476" y="381"/>
                    <a:pt x="473" y="382"/>
                  </a:cubicBezTo>
                  <a:cubicBezTo>
                    <a:pt x="458" y="386"/>
                    <a:pt x="485" y="407"/>
                    <a:pt x="505" y="411"/>
                  </a:cubicBezTo>
                  <a:cubicBezTo>
                    <a:pt x="508" y="411"/>
                    <a:pt x="508" y="411"/>
                    <a:pt x="508" y="411"/>
                  </a:cubicBezTo>
                  <a:cubicBezTo>
                    <a:pt x="535" y="411"/>
                    <a:pt x="495" y="406"/>
                    <a:pt x="486" y="401"/>
                  </a:cubicBezTo>
                  <a:close/>
                  <a:moveTo>
                    <a:pt x="460" y="605"/>
                  </a:moveTo>
                  <a:cubicBezTo>
                    <a:pt x="465" y="608"/>
                    <a:pt x="473" y="614"/>
                    <a:pt x="475" y="617"/>
                  </a:cubicBezTo>
                  <a:cubicBezTo>
                    <a:pt x="481" y="623"/>
                    <a:pt x="467" y="614"/>
                    <a:pt x="465" y="619"/>
                  </a:cubicBezTo>
                  <a:cubicBezTo>
                    <a:pt x="465" y="620"/>
                    <a:pt x="474" y="622"/>
                    <a:pt x="475" y="623"/>
                  </a:cubicBezTo>
                  <a:cubicBezTo>
                    <a:pt x="484" y="625"/>
                    <a:pt x="486" y="643"/>
                    <a:pt x="494" y="648"/>
                  </a:cubicBezTo>
                  <a:cubicBezTo>
                    <a:pt x="500" y="652"/>
                    <a:pt x="515" y="653"/>
                    <a:pt x="516" y="651"/>
                  </a:cubicBezTo>
                  <a:cubicBezTo>
                    <a:pt x="517" y="651"/>
                    <a:pt x="507" y="648"/>
                    <a:pt x="505" y="646"/>
                  </a:cubicBezTo>
                  <a:cubicBezTo>
                    <a:pt x="498" y="636"/>
                    <a:pt x="504" y="655"/>
                    <a:pt x="496" y="645"/>
                  </a:cubicBezTo>
                  <a:cubicBezTo>
                    <a:pt x="484" y="627"/>
                    <a:pt x="483" y="613"/>
                    <a:pt x="465" y="604"/>
                  </a:cubicBezTo>
                  <a:cubicBezTo>
                    <a:pt x="463" y="603"/>
                    <a:pt x="455" y="598"/>
                    <a:pt x="454" y="599"/>
                  </a:cubicBezTo>
                  <a:cubicBezTo>
                    <a:pt x="453" y="599"/>
                    <a:pt x="459" y="605"/>
                    <a:pt x="460" y="605"/>
                  </a:cubicBezTo>
                  <a:close/>
                  <a:moveTo>
                    <a:pt x="396" y="533"/>
                  </a:moveTo>
                  <a:cubicBezTo>
                    <a:pt x="402" y="537"/>
                    <a:pt x="402" y="544"/>
                    <a:pt x="406" y="549"/>
                  </a:cubicBezTo>
                  <a:cubicBezTo>
                    <a:pt x="407" y="549"/>
                    <a:pt x="407" y="549"/>
                    <a:pt x="407" y="549"/>
                  </a:cubicBezTo>
                  <a:cubicBezTo>
                    <a:pt x="423" y="556"/>
                    <a:pt x="402" y="532"/>
                    <a:pt x="395" y="528"/>
                  </a:cubicBezTo>
                  <a:cubicBezTo>
                    <a:pt x="376" y="518"/>
                    <a:pt x="383" y="524"/>
                    <a:pt x="396" y="533"/>
                  </a:cubicBezTo>
                  <a:close/>
                  <a:moveTo>
                    <a:pt x="375" y="541"/>
                  </a:moveTo>
                  <a:cubicBezTo>
                    <a:pt x="376" y="545"/>
                    <a:pt x="394" y="559"/>
                    <a:pt x="399" y="559"/>
                  </a:cubicBezTo>
                  <a:cubicBezTo>
                    <a:pt x="406" y="560"/>
                    <a:pt x="414" y="558"/>
                    <a:pt x="422" y="559"/>
                  </a:cubicBezTo>
                  <a:cubicBezTo>
                    <a:pt x="423" y="559"/>
                    <a:pt x="429" y="559"/>
                    <a:pt x="429" y="558"/>
                  </a:cubicBezTo>
                  <a:cubicBezTo>
                    <a:pt x="428" y="554"/>
                    <a:pt x="405" y="557"/>
                    <a:pt x="402" y="556"/>
                  </a:cubicBezTo>
                  <a:cubicBezTo>
                    <a:pt x="392" y="553"/>
                    <a:pt x="386" y="531"/>
                    <a:pt x="370" y="531"/>
                  </a:cubicBezTo>
                  <a:cubicBezTo>
                    <a:pt x="367" y="530"/>
                    <a:pt x="375" y="540"/>
                    <a:pt x="375" y="541"/>
                  </a:cubicBezTo>
                  <a:close/>
                  <a:moveTo>
                    <a:pt x="359" y="480"/>
                  </a:moveTo>
                  <a:cubicBezTo>
                    <a:pt x="360" y="481"/>
                    <a:pt x="360" y="481"/>
                    <a:pt x="360" y="481"/>
                  </a:cubicBezTo>
                  <a:cubicBezTo>
                    <a:pt x="359" y="484"/>
                    <a:pt x="371" y="477"/>
                    <a:pt x="365" y="474"/>
                  </a:cubicBezTo>
                  <a:cubicBezTo>
                    <a:pt x="354" y="468"/>
                    <a:pt x="318" y="453"/>
                    <a:pt x="317" y="459"/>
                  </a:cubicBezTo>
                  <a:cubicBezTo>
                    <a:pt x="315" y="464"/>
                    <a:pt x="362" y="469"/>
                    <a:pt x="359" y="480"/>
                  </a:cubicBezTo>
                  <a:close/>
                  <a:moveTo>
                    <a:pt x="400" y="633"/>
                  </a:moveTo>
                  <a:cubicBezTo>
                    <a:pt x="400" y="633"/>
                    <a:pt x="385" y="632"/>
                    <a:pt x="383" y="630"/>
                  </a:cubicBezTo>
                  <a:cubicBezTo>
                    <a:pt x="383" y="629"/>
                    <a:pt x="383" y="629"/>
                    <a:pt x="383" y="629"/>
                  </a:cubicBezTo>
                  <a:cubicBezTo>
                    <a:pt x="377" y="627"/>
                    <a:pt x="376" y="617"/>
                    <a:pt x="373" y="616"/>
                  </a:cubicBezTo>
                  <a:cubicBezTo>
                    <a:pt x="371" y="616"/>
                    <a:pt x="375" y="626"/>
                    <a:pt x="371" y="625"/>
                  </a:cubicBezTo>
                  <a:cubicBezTo>
                    <a:pt x="368" y="624"/>
                    <a:pt x="339" y="615"/>
                    <a:pt x="340" y="622"/>
                  </a:cubicBezTo>
                  <a:cubicBezTo>
                    <a:pt x="340" y="625"/>
                    <a:pt x="363" y="625"/>
                    <a:pt x="366" y="627"/>
                  </a:cubicBezTo>
                  <a:cubicBezTo>
                    <a:pt x="370" y="628"/>
                    <a:pt x="396" y="642"/>
                    <a:pt x="400" y="633"/>
                  </a:cubicBezTo>
                  <a:close/>
                  <a:moveTo>
                    <a:pt x="436" y="780"/>
                  </a:moveTo>
                  <a:cubicBezTo>
                    <a:pt x="437" y="779"/>
                    <a:pt x="437" y="779"/>
                    <a:pt x="437" y="779"/>
                  </a:cubicBezTo>
                  <a:cubicBezTo>
                    <a:pt x="447" y="757"/>
                    <a:pt x="407" y="739"/>
                    <a:pt x="399" y="743"/>
                  </a:cubicBezTo>
                  <a:cubicBezTo>
                    <a:pt x="396" y="744"/>
                    <a:pt x="407" y="747"/>
                    <a:pt x="408" y="747"/>
                  </a:cubicBezTo>
                  <a:cubicBezTo>
                    <a:pt x="411" y="748"/>
                    <a:pt x="426" y="758"/>
                    <a:pt x="428" y="760"/>
                  </a:cubicBezTo>
                  <a:cubicBezTo>
                    <a:pt x="433" y="764"/>
                    <a:pt x="430" y="795"/>
                    <a:pt x="436" y="780"/>
                  </a:cubicBezTo>
                  <a:close/>
                  <a:moveTo>
                    <a:pt x="399" y="1195"/>
                  </a:moveTo>
                  <a:cubicBezTo>
                    <a:pt x="414" y="1193"/>
                    <a:pt x="412" y="1216"/>
                    <a:pt x="425" y="1216"/>
                  </a:cubicBezTo>
                  <a:cubicBezTo>
                    <a:pt x="427" y="1216"/>
                    <a:pt x="421" y="1210"/>
                    <a:pt x="421" y="1209"/>
                  </a:cubicBezTo>
                  <a:cubicBezTo>
                    <a:pt x="415" y="1201"/>
                    <a:pt x="426" y="1199"/>
                    <a:pt x="413" y="1195"/>
                  </a:cubicBezTo>
                  <a:cubicBezTo>
                    <a:pt x="413" y="1195"/>
                    <a:pt x="413" y="1195"/>
                    <a:pt x="413" y="1195"/>
                  </a:cubicBezTo>
                  <a:cubicBezTo>
                    <a:pt x="408" y="1193"/>
                    <a:pt x="412" y="1190"/>
                    <a:pt x="407" y="1190"/>
                  </a:cubicBezTo>
                  <a:cubicBezTo>
                    <a:pt x="405" y="1191"/>
                    <a:pt x="388" y="1196"/>
                    <a:pt x="399" y="1195"/>
                  </a:cubicBezTo>
                  <a:close/>
                  <a:moveTo>
                    <a:pt x="414" y="1287"/>
                  </a:moveTo>
                  <a:cubicBezTo>
                    <a:pt x="402" y="1308"/>
                    <a:pt x="425" y="1293"/>
                    <a:pt x="424" y="1284"/>
                  </a:cubicBezTo>
                  <a:cubicBezTo>
                    <a:pt x="424" y="1284"/>
                    <a:pt x="424" y="1284"/>
                    <a:pt x="424" y="1284"/>
                  </a:cubicBezTo>
                  <a:cubicBezTo>
                    <a:pt x="418" y="1278"/>
                    <a:pt x="416" y="1284"/>
                    <a:pt x="414" y="1287"/>
                  </a:cubicBezTo>
                  <a:close/>
                  <a:moveTo>
                    <a:pt x="392" y="1446"/>
                  </a:moveTo>
                  <a:cubicBezTo>
                    <a:pt x="392" y="1446"/>
                    <a:pt x="392" y="1446"/>
                    <a:pt x="392" y="1446"/>
                  </a:cubicBezTo>
                  <a:cubicBezTo>
                    <a:pt x="393" y="1440"/>
                    <a:pt x="381" y="1445"/>
                    <a:pt x="382" y="1448"/>
                  </a:cubicBezTo>
                  <a:cubicBezTo>
                    <a:pt x="384" y="1455"/>
                    <a:pt x="403" y="1453"/>
                    <a:pt x="392" y="1446"/>
                  </a:cubicBezTo>
                  <a:close/>
                  <a:moveTo>
                    <a:pt x="361" y="950"/>
                  </a:moveTo>
                  <a:cubicBezTo>
                    <a:pt x="370" y="953"/>
                    <a:pt x="374" y="954"/>
                    <a:pt x="382" y="960"/>
                  </a:cubicBezTo>
                  <a:cubicBezTo>
                    <a:pt x="386" y="964"/>
                    <a:pt x="393" y="973"/>
                    <a:pt x="396" y="969"/>
                  </a:cubicBezTo>
                  <a:cubicBezTo>
                    <a:pt x="400" y="962"/>
                    <a:pt x="366" y="938"/>
                    <a:pt x="366" y="937"/>
                  </a:cubicBezTo>
                  <a:cubicBezTo>
                    <a:pt x="366" y="937"/>
                    <a:pt x="366" y="937"/>
                    <a:pt x="366" y="937"/>
                  </a:cubicBezTo>
                  <a:cubicBezTo>
                    <a:pt x="367" y="936"/>
                    <a:pt x="362" y="937"/>
                    <a:pt x="363" y="938"/>
                  </a:cubicBezTo>
                  <a:cubicBezTo>
                    <a:pt x="364" y="942"/>
                    <a:pt x="358" y="949"/>
                    <a:pt x="361" y="950"/>
                  </a:cubicBezTo>
                  <a:close/>
                  <a:moveTo>
                    <a:pt x="353" y="1009"/>
                  </a:moveTo>
                  <a:cubicBezTo>
                    <a:pt x="352" y="1010"/>
                    <a:pt x="370" y="1038"/>
                    <a:pt x="361" y="1030"/>
                  </a:cubicBezTo>
                  <a:cubicBezTo>
                    <a:pt x="358" y="1026"/>
                    <a:pt x="350" y="1021"/>
                    <a:pt x="358" y="1029"/>
                  </a:cubicBezTo>
                  <a:cubicBezTo>
                    <a:pt x="358" y="1029"/>
                    <a:pt x="358" y="1029"/>
                    <a:pt x="358" y="1029"/>
                  </a:cubicBezTo>
                  <a:cubicBezTo>
                    <a:pt x="358" y="1030"/>
                    <a:pt x="358" y="1030"/>
                    <a:pt x="358" y="1030"/>
                  </a:cubicBezTo>
                  <a:cubicBezTo>
                    <a:pt x="360" y="1032"/>
                    <a:pt x="362" y="1034"/>
                    <a:pt x="364" y="1036"/>
                  </a:cubicBezTo>
                  <a:cubicBezTo>
                    <a:pt x="387" y="1053"/>
                    <a:pt x="359" y="1028"/>
                    <a:pt x="367" y="1020"/>
                  </a:cubicBezTo>
                  <a:cubicBezTo>
                    <a:pt x="368" y="1019"/>
                    <a:pt x="370" y="1019"/>
                    <a:pt x="372" y="1018"/>
                  </a:cubicBezTo>
                  <a:cubicBezTo>
                    <a:pt x="372" y="1018"/>
                    <a:pt x="373" y="1018"/>
                    <a:pt x="373" y="1018"/>
                  </a:cubicBezTo>
                  <a:cubicBezTo>
                    <a:pt x="383" y="1015"/>
                    <a:pt x="398" y="1017"/>
                    <a:pt x="397" y="1013"/>
                  </a:cubicBezTo>
                  <a:cubicBezTo>
                    <a:pt x="397" y="1011"/>
                    <a:pt x="378" y="1000"/>
                    <a:pt x="378" y="1004"/>
                  </a:cubicBezTo>
                  <a:cubicBezTo>
                    <a:pt x="377" y="1005"/>
                    <a:pt x="381" y="1005"/>
                    <a:pt x="381" y="1005"/>
                  </a:cubicBezTo>
                  <a:cubicBezTo>
                    <a:pt x="387" y="1006"/>
                    <a:pt x="392" y="1016"/>
                    <a:pt x="381" y="1008"/>
                  </a:cubicBezTo>
                  <a:cubicBezTo>
                    <a:pt x="373" y="1002"/>
                    <a:pt x="382" y="1013"/>
                    <a:pt x="382" y="1013"/>
                  </a:cubicBezTo>
                  <a:cubicBezTo>
                    <a:pt x="380" y="1015"/>
                    <a:pt x="377" y="1016"/>
                    <a:pt x="373" y="1018"/>
                  </a:cubicBezTo>
                  <a:cubicBezTo>
                    <a:pt x="373" y="1018"/>
                    <a:pt x="372" y="1018"/>
                    <a:pt x="372" y="1018"/>
                  </a:cubicBezTo>
                  <a:cubicBezTo>
                    <a:pt x="368" y="1019"/>
                    <a:pt x="363" y="1019"/>
                    <a:pt x="361" y="1018"/>
                  </a:cubicBezTo>
                  <a:cubicBezTo>
                    <a:pt x="359" y="1017"/>
                    <a:pt x="354" y="1008"/>
                    <a:pt x="353" y="1009"/>
                  </a:cubicBezTo>
                  <a:close/>
                  <a:moveTo>
                    <a:pt x="366" y="1507"/>
                  </a:moveTo>
                  <a:cubicBezTo>
                    <a:pt x="359" y="1507"/>
                    <a:pt x="368" y="1512"/>
                    <a:pt x="374" y="1509"/>
                  </a:cubicBezTo>
                  <a:cubicBezTo>
                    <a:pt x="375" y="1509"/>
                    <a:pt x="375" y="1509"/>
                    <a:pt x="375" y="1509"/>
                  </a:cubicBezTo>
                  <a:cubicBezTo>
                    <a:pt x="380" y="1507"/>
                    <a:pt x="369" y="1506"/>
                    <a:pt x="366" y="1507"/>
                  </a:cubicBezTo>
                  <a:close/>
                  <a:moveTo>
                    <a:pt x="362" y="1572"/>
                  </a:moveTo>
                  <a:cubicBezTo>
                    <a:pt x="362" y="1575"/>
                    <a:pt x="368" y="1572"/>
                    <a:pt x="370" y="1573"/>
                  </a:cubicBezTo>
                  <a:cubicBezTo>
                    <a:pt x="372" y="1577"/>
                    <a:pt x="379" y="1574"/>
                    <a:pt x="382" y="1573"/>
                  </a:cubicBezTo>
                  <a:cubicBezTo>
                    <a:pt x="383" y="1572"/>
                    <a:pt x="383" y="1572"/>
                    <a:pt x="383" y="1572"/>
                  </a:cubicBezTo>
                  <a:cubicBezTo>
                    <a:pt x="380" y="1569"/>
                    <a:pt x="362" y="1565"/>
                    <a:pt x="362" y="1572"/>
                  </a:cubicBezTo>
                  <a:close/>
                  <a:moveTo>
                    <a:pt x="325" y="1229"/>
                  </a:moveTo>
                  <a:cubicBezTo>
                    <a:pt x="325" y="1229"/>
                    <a:pt x="325" y="1229"/>
                    <a:pt x="325" y="1229"/>
                  </a:cubicBezTo>
                  <a:cubicBezTo>
                    <a:pt x="325" y="1224"/>
                    <a:pt x="309" y="1227"/>
                    <a:pt x="310" y="1232"/>
                  </a:cubicBezTo>
                  <a:cubicBezTo>
                    <a:pt x="312" y="1239"/>
                    <a:pt x="322" y="1240"/>
                    <a:pt x="327" y="1244"/>
                  </a:cubicBezTo>
                  <a:cubicBezTo>
                    <a:pt x="329" y="1247"/>
                    <a:pt x="330" y="1256"/>
                    <a:pt x="333" y="1255"/>
                  </a:cubicBezTo>
                  <a:cubicBezTo>
                    <a:pt x="335" y="1255"/>
                    <a:pt x="340" y="1244"/>
                    <a:pt x="350" y="1248"/>
                  </a:cubicBezTo>
                  <a:cubicBezTo>
                    <a:pt x="361" y="1252"/>
                    <a:pt x="338" y="1259"/>
                    <a:pt x="351" y="1258"/>
                  </a:cubicBezTo>
                  <a:cubicBezTo>
                    <a:pt x="352" y="1258"/>
                    <a:pt x="354" y="1264"/>
                    <a:pt x="356" y="1262"/>
                  </a:cubicBezTo>
                  <a:cubicBezTo>
                    <a:pt x="356" y="1261"/>
                    <a:pt x="355" y="1260"/>
                    <a:pt x="355" y="1259"/>
                  </a:cubicBezTo>
                  <a:cubicBezTo>
                    <a:pt x="350" y="1246"/>
                    <a:pt x="369" y="1244"/>
                    <a:pt x="366" y="1239"/>
                  </a:cubicBezTo>
                  <a:cubicBezTo>
                    <a:pt x="365" y="1238"/>
                    <a:pt x="361" y="1237"/>
                    <a:pt x="360" y="1237"/>
                  </a:cubicBezTo>
                  <a:cubicBezTo>
                    <a:pt x="354" y="1238"/>
                    <a:pt x="331" y="1242"/>
                    <a:pt x="325" y="1229"/>
                  </a:cubicBezTo>
                  <a:close/>
                  <a:moveTo>
                    <a:pt x="333" y="1427"/>
                  </a:moveTo>
                  <a:cubicBezTo>
                    <a:pt x="335" y="1423"/>
                    <a:pt x="326" y="1424"/>
                    <a:pt x="330" y="1417"/>
                  </a:cubicBezTo>
                  <a:cubicBezTo>
                    <a:pt x="328" y="1416"/>
                    <a:pt x="327" y="1417"/>
                    <a:pt x="325" y="1417"/>
                  </a:cubicBezTo>
                  <a:cubicBezTo>
                    <a:pt x="317" y="1416"/>
                    <a:pt x="319" y="1425"/>
                    <a:pt x="318" y="1425"/>
                  </a:cubicBezTo>
                  <a:cubicBezTo>
                    <a:pt x="317" y="1425"/>
                    <a:pt x="324" y="1439"/>
                    <a:pt x="328" y="1433"/>
                  </a:cubicBezTo>
                  <a:cubicBezTo>
                    <a:pt x="330" y="1432"/>
                    <a:pt x="324" y="1432"/>
                    <a:pt x="323" y="1431"/>
                  </a:cubicBezTo>
                  <a:cubicBezTo>
                    <a:pt x="316" y="1412"/>
                    <a:pt x="332" y="1429"/>
                    <a:pt x="333" y="1427"/>
                  </a:cubicBezTo>
                  <a:close/>
                  <a:moveTo>
                    <a:pt x="318" y="1465"/>
                  </a:moveTo>
                  <a:cubicBezTo>
                    <a:pt x="318" y="1465"/>
                    <a:pt x="318" y="1465"/>
                    <a:pt x="318" y="1465"/>
                  </a:cubicBezTo>
                  <a:cubicBezTo>
                    <a:pt x="321" y="1459"/>
                    <a:pt x="310" y="1467"/>
                    <a:pt x="309" y="1468"/>
                  </a:cubicBezTo>
                  <a:cubicBezTo>
                    <a:pt x="304" y="1474"/>
                    <a:pt x="316" y="1468"/>
                    <a:pt x="318" y="1465"/>
                  </a:cubicBezTo>
                  <a:close/>
                  <a:moveTo>
                    <a:pt x="306" y="1578"/>
                  </a:moveTo>
                  <a:cubicBezTo>
                    <a:pt x="315" y="1570"/>
                    <a:pt x="302" y="1567"/>
                    <a:pt x="300" y="1559"/>
                  </a:cubicBezTo>
                  <a:cubicBezTo>
                    <a:pt x="300" y="1557"/>
                    <a:pt x="296" y="1554"/>
                    <a:pt x="295" y="1553"/>
                  </a:cubicBezTo>
                  <a:cubicBezTo>
                    <a:pt x="290" y="1555"/>
                    <a:pt x="282" y="1562"/>
                    <a:pt x="284" y="1565"/>
                  </a:cubicBezTo>
                  <a:cubicBezTo>
                    <a:pt x="287" y="1574"/>
                    <a:pt x="291" y="1557"/>
                    <a:pt x="294" y="1558"/>
                  </a:cubicBezTo>
                  <a:cubicBezTo>
                    <a:pt x="299" y="1559"/>
                    <a:pt x="298" y="1569"/>
                    <a:pt x="303" y="1569"/>
                  </a:cubicBezTo>
                  <a:cubicBezTo>
                    <a:pt x="308" y="1569"/>
                    <a:pt x="305" y="1579"/>
                    <a:pt x="306" y="1578"/>
                  </a:cubicBezTo>
                  <a:close/>
                  <a:moveTo>
                    <a:pt x="277" y="1514"/>
                  </a:moveTo>
                  <a:cubicBezTo>
                    <a:pt x="277" y="1518"/>
                    <a:pt x="287" y="1512"/>
                    <a:pt x="290" y="1515"/>
                  </a:cubicBezTo>
                  <a:cubicBezTo>
                    <a:pt x="295" y="1521"/>
                    <a:pt x="301" y="1526"/>
                    <a:pt x="300" y="1509"/>
                  </a:cubicBezTo>
                  <a:cubicBezTo>
                    <a:pt x="299" y="1508"/>
                    <a:pt x="299" y="1508"/>
                    <a:pt x="299" y="1508"/>
                  </a:cubicBezTo>
                  <a:cubicBezTo>
                    <a:pt x="299" y="1508"/>
                    <a:pt x="299" y="1498"/>
                    <a:pt x="299" y="1498"/>
                  </a:cubicBezTo>
                  <a:cubicBezTo>
                    <a:pt x="292" y="1498"/>
                    <a:pt x="297" y="1506"/>
                    <a:pt x="291" y="1503"/>
                  </a:cubicBezTo>
                  <a:cubicBezTo>
                    <a:pt x="278" y="1495"/>
                    <a:pt x="292" y="1508"/>
                    <a:pt x="291" y="1510"/>
                  </a:cubicBezTo>
                  <a:cubicBezTo>
                    <a:pt x="290" y="1513"/>
                    <a:pt x="277" y="1507"/>
                    <a:pt x="277" y="1514"/>
                  </a:cubicBezTo>
                  <a:close/>
                  <a:moveTo>
                    <a:pt x="279" y="1245"/>
                  </a:moveTo>
                  <a:cubicBezTo>
                    <a:pt x="276" y="1243"/>
                    <a:pt x="275" y="1238"/>
                    <a:pt x="272" y="1236"/>
                  </a:cubicBezTo>
                  <a:cubicBezTo>
                    <a:pt x="269" y="1235"/>
                    <a:pt x="267" y="1232"/>
                    <a:pt x="264" y="1230"/>
                  </a:cubicBezTo>
                  <a:cubicBezTo>
                    <a:pt x="263" y="1230"/>
                    <a:pt x="263" y="1230"/>
                    <a:pt x="263" y="1230"/>
                  </a:cubicBezTo>
                  <a:cubicBezTo>
                    <a:pt x="260" y="1230"/>
                    <a:pt x="262" y="1233"/>
                    <a:pt x="264" y="1234"/>
                  </a:cubicBezTo>
                  <a:cubicBezTo>
                    <a:pt x="265" y="1234"/>
                    <a:pt x="266" y="1237"/>
                    <a:pt x="267" y="1238"/>
                  </a:cubicBezTo>
                  <a:cubicBezTo>
                    <a:pt x="267" y="1243"/>
                    <a:pt x="283" y="1248"/>
                    <a:pt x="279" y="1245"/>
                  </a:cubicBezTo>
                  <a:close/>
                  <a:moveTo>
                    <a:pt x="297" y="1399"/>
                  </a:moveTo>
                  <a:cubicBezTo>
                    <a:pt x="297" y="1399"/>
                    <a:pt x="297" y="1399"/>
                    <a:pt x="297" y="1399"/>
                  </a:cubicBezTo>
                  <a:cubicBezTo>
                    <a:pt x="297" y="1396"/>
                    <a:pt x="289" y="1400"/>
                    <a:pt x="289" y="1403"/>
                  </a:cubicBezTo>
                  <a:cubicBezTo>
                    <a:pt x="289" y="1410"/>
                    <a:pt x="300" y="1413"/>
                    <a:pt x="297" y="1399"/>
                  </a:cubicBezTo>
                  <a:close/>
                  <a:moveTo>
                    <a:pt x="291" y="1449"/>
                  </a:moveTo>
                  <a:cubicBezTo>
                    <a:pt x="296" y="1445"/>
                    <a:pt x="295" y="1442"/>
                    <a:pt x="293" y="1438"/>
                  </a:cubicBezTo>
                  <a:cubicBezTo>
                    <a:pt x="292" y="1437"/>
                    <a:pt x="292" y="1437"/>
                    <a:pt x="292" y="1437"/>
                  </a:cubicBezTo>
                  <a:cubicBezTo>
                    <a:pt x="290" y="1435"/>
                    <a:pt x="286" y="1455"/>
                    <a:pt x="291" y="1449"/>
                  </a:cubicBezTo>
                  <a:close/>
                  <a:moveTo>
                    <a:pt x="310" y="1553"/>
                  </a:moveTo>
                  <a:cubicBezTo>
                    <a:pt x="311" y="1553"/>
                    <a:pt x="315" y="1533"/>
                    <a:pt x="315" y="1531"/>
                  </a:cubicBezTo>
                  <a:cubicBezTo>
                    <a:pt x="315" y="1531"/>
                    <a:pt x="315" y="1531"/>
                    <a:pt x="315" y="1531"/>
                  </a:cubicBezTo>
                  <a:cubicBezTo>
                    <a:pt x="312" y="1528"/>
                    <a:pt x="310" y="1529"/>
                    <a:pt x="311" y="1533"/>
                  </a:cubicBezTo>
                  <a:cubicBezTo>
                    <a:pt x="312" y="1538"/>
                    <a:pt x="300" y="1531"/>
                    <a:pt x="298" y="1535"/>
                  </a:cubicBezTo>
                  <a:cubicBezTo>
                    <a:pt x="297" y="1538"/>
                    <a:pt x="308" y="1553"/>
                    <a:pt x="310" y="1553"/>
                  </a:cubicBezTo>
                  <a:close/>
                  <a:moveTo>
                    <a:pt x="325" y="933"/>
                  </a:moveTo>
                  <a:cubicBezTo>
                    <a:pt x="325" y="932"/>
                    <a:pt x="325" y="932"/>
                    <a:pt x="325" y="932"/>
                  </a:cubicBezTo>
                  <a:cubicBezTo>
                    <a:pt x="325" y="925"/>
                    <a:pt x="316" y="935"/>
                    <a:pt x="315" y="937"/>
                  </a:cubicBezTo>
                  <a:cubicBezTo>
                    <a:pt x="314" y="943"/>
                    <a:pt x="321" y="941"/>
                    <a:pt x="323" y="946"/>
                  </a:cubicBezTo>
                  <a:cubicBezTo>
                    <a:pt x="329" y="965"/>
                    <a:pt x="318" y="952"/>
                    <a:pt x="322" y="962"/>
                  </a:cubicBezTo>
                  <a:cubicBezTo>
                    <a:pt x="323" y="965"/>
                    <a:pt x="330" y="978"/>
                    <a:pt x="333" y="978"/>
                  </a:cubicBezTo>
                  <a:cubicBezTo>
                    <a:pt x="334" y="977"/>
                    <a:pt x="328" y="965"/>
                    <a:pt x="328" y="963"/>
                  </a:cubicBezTo>
                  <a:cubicBezTo>
                    <a:pt x="327" y="942"/>
                    <a:pt x="323" y="941"/>
                    <a:pt x="325" y="933"/>
                  </a:cubicBezTo>
                  <a:close/>
                  <a:moveTo>
                    <a:pt x="295" y="888"/>
                  </a:moveTo>
                  <a:cubicBezTo>
                    <a:pt x="292" y="888"/>
                    <a:pt x="268" y="879"/>
                    <a:pt x="268" y="880"/>
                  </a:cubicBezTo>
                  <a:cubicBezTo>
                    <a:pt x="267" y="883"/>
                    <a:pt x="284" y="892"/>
                    <a:pt x="282" y="898"/>
                  </a:cubicBezTo>
                  <a:cubicBezTo>
                    <a:pt x="281" y="900"/>
                    <a:pt x="268" y="888"/>
                    <a:pt x="264" y="888"/>
                  </a:cubicBezTo>
                  <a:cubicBezTo>
                    <a:pt x="263" y="888"/>
                    <a:pt x="264" y="891"/>
                    <a:pt x="264" y="892"/>
                  </a:cubicBezTo>
                  <a:cubicBezTo>
                    <a:pt x="270" y="898"/>
                    <a:pt x="297" y="907"/>
                    <a:pt x="301" y="912"/>
                  </a:cubicBezTo>
                  <a:cubicBezTo>
                    <a:pt x="306" y="920"/>
                    <a:pt x="307" y="943"/>
                    <a:pt x="305" y="944"/>
                  </a:cubicBezTo>
                  <a:cubicBezTo>
                    <a:pt x="302" y="945"/>
                    <a:pt x="299" y="928"/>
                    <a:pt x="298" y="930"/>
                  </a:cubicBezTo>
                  <a:cubicBezTo>
                    <a:pt x="296" y="933"/>
                    <a:pt x="299" y="945"/>
                    <a:pt x="301" y="946"/>
                  </a:cubicBezTo>
                  <a:cubicBezTo>
                    <a:pt x="304" y="948"/>
                    <a:pt x="309" y="951"/>
                    <a:pt x="308" y="954"/>
                  </a:cubicBezTo>
                  <a:cubicBezTo>
                    <a:pt x="308" y="954"/>
                    <a:pt x="304" y="963"/>
                    <a:pt x="306" y="961"/>
                  </a:cubicBezTo>
                  <a:cubicBezTo>
                    <a:pt x="316" y="955"/>
                    <a:pt x="309" y="939"/>
                    <a:pt x="310" y="929"/>
                  </a:cubicBezTo>
                  <a:cubicBezTo>
                    <a:pt x="310" y="928"/>
                    <a:pt x="310" y="928"/>
                    <a:pt x="310" y="928"/>
                  </a:cubicBezTo>
                  <a:cubicBezTo>
                    <a:pt x="308" y="921"/>
                    <a:pt x="300" y="907"/>
                    <a:pt x="311" y="905"/>
                  </a:cubicBezTo>
                  <a:cubicBezTo>
                    <a:pt x="317" y="903"/>
                    <a:pt x="329" y="906"/>
                    <a:pt x="333" y="911"/>
                  </a:cubicBezTo>
                  <a:cubicBezTo>
                    <a:pt x="333" y="912"/>
                    <a:pt x="339" y="920"/>
                    <a:pt x="339" y="916"/>
                  </a:cubicBezTo>
                  <a:cubicBezTo>
                    <a:pt x="340" y="914"/>
                    <a:pt x="314" y="887"/>
                    <a:pt x="313" y="886"/>
                  </a:cubicBezTo>
                  <a:cubicBezTo>
                    <a:pt x="308" y="885"/>
                    <a:pt x="313" y="894"/>
                    <a:pt x="308" y="894"/>
                  </a:cubicBezTo>
                  <a:cubicBezTo>
                    <a:pt x="301" y="894"/>
                    <a:pt x="301" y="888"/>
                    <a:pt x="295" y="888"/>
                  </a:cubicBezTo>
                  <a:close/>
                  <a:moveTo>
                    <a:pt x="275" y="844"/>
                  </a:moveTo>
                  <a:cubicBezTo>
                    <a:pt x="278" y="844"/>
                    <a:pt x="291" y="849"/>
                    <a:pt x="293" y="847"/>
                  </a:cubicBezTo>
                  <a:cubicBezTo>
                    <a:pt x="296" y="845"/>
                    <a:pt x="271" y="839"/>
                    <a:pt x="269" y="838"/>
                  </a:cubicBezTo>
                  <a:cubicBezTo>
                    <a:pt x="268" y="838"/>
                    <a:pt x="268" y="838"/>
                    <a:pt x="268" y="838"/>
                  </a:cubicBezTo>
                  <a:cubicBezTo>
                    <a:pt x="249" y="821"/>
                    <a:pt x="258" y="845"/>
                    <a:pt x="275" y="844"/>
                  </a:cubicBezTo>
                  <a:close/>
                  <a:moveTo>
                    <a:pt x="254" y="1262"/>
                  </a:moveTo>
                  <a:cubicBezTo>
                    <a:pt x="259" y="1263"/>
                    <a:pt x="261" y="1254"/>
                    <a:pt x="262" y="1251"/>
                  </a:cubicBezTo>
                  <a:cubicBezTo>
                    <a:pt x="262" y="1251"/>
                    <a:pt x="262" y="1251"/>
                    <a:pt x="262" y="1251"/>
                  </a:cubicBezTo>
                  <a:cubicBezTo>
                    <a:pt x="265" y="1244"/>
                    <a:pt x="247" y="1259"/>
                    <a:pt x="254" y="1262"/>
                  </a:cubicBezTo>
                  <a:close/>
                  <a:moveTo>
                    <a:pt x="201" y="1128"/>
                  </a:moveTo>
                  <a:cubicBezTo>
                    <a:pt x="201" y="1128"/>
                    <a:pt x="201" y="1128"/>
                    <a:pt x="201" y="1128"/>
                  </a:cubicBezTo>
                  <a:cubicBezTo>
                    <a:pt x="196" y="1124"/>
                    <a:pt x="210" y="1141"/>
                    <a:pt x="215" y="1144"/>
                  </a:cubicBezTo>
                  <a:cubicBezTo>
                    <a:pt x="221" y="1149"/>
                    <a:pt x="231" y="1148"/>
                    <a:pt x="238" y="1153"/>
                  </a:cubicBezTo>
                  <a:cubicBezTo>
                    <a:pt x="239" y="1154"/>
                    <a:pt x="240" y="1156"/>
                    <a:pt x="241" y="1157"/>
                  </a:cubicBezTo>
                  <a:cubicBezTo>
                    <a:pt x="241" y="1158"/>
                    <a:pt x="242" y="1165"/>
                    <a:pt x="244" y="1162"/>
                  </a:cubicBezTo>
                  <a:cubicBezTo>
                    <a:pt x="249" y="1154"/>
                    <a:pt x="212" y="1139"/>
                    <a:pt x="201" y="1128"/>
                  </a:cubicBezTo>
                  <a:close/>
                  <a:moveTo>
                    <a:pt x="190" y="1374"/>
                  </a:moveTo>
                  <a:cubicBezTo>
                    <a:pt x="189" y="1371"/>
                    <a:pt x="191" y="1369"/>
                    <a:pt x="190" y="1367"/>
                  </a:cubicBezTo>
                  <a:cubicBezTo>
                    <a:pt x="189" y="1366"/>
                    <a:pt x="189" y="1366"/>
                    <a:pt x="189" y="1366"/>
                  </a:cubicBezTo>
                  <a:cubicBezTo>
                    <a:pt x="188" y="1363"/>
                    <a:pt x="182" y="1348"/>
                    <a:pt x="179" y="1349"/>
                  </a:cubicBezTo>
                  <a:cubicBezTo>
                    <a:pt x="173" y="1350"/>
                    <a:pt x="207" y="1403"/>
                    <a:pt x="190" y="1374"/>
                  </a:cubicBezTo>
                  <a:close/>
                  <a:moveTo>
                    <a:pt x="180" y="1391"/>
                  </a:moveTo>
                  <a:cubicBezTo>
                    <a:pt x="179" y="1391"/>
                    <a:pt x="179" y="1391"/>
                    <a:pt x="179" y="1391"/>
                  </a:cubicBezTo>
                  <a:cubicBezTo>
                    <a:pt x="176" y="1386"/>
                    <a:pt x="173" y="1372"/>
                    <a:pt x="170" y="1377"/>
                  </a:cubicBezTo>
                  <a:cubicBezTo>
                    <a:pt x="166" y="1384"/>
                    <a:pt x="182" y="1395"/>
                    <a:pt x="180" y="1391"/>
                  </a:cubicBezTo>
                  <a:close/>
                  <a:moveTo>
                    <a:pt x="205" y="1430"/>
                  </a:moveTo>
                  <a:cubicBezTo>
                    <a:pt x="205" y="1431"/>
                    <a:pt x="206" y="1434"/>
                    <a:pt x="207" y="1434"/>
                  </a:cubicBezTo>
                  <a:cubicBezTo>
                    <a:pt x="209" y="1434"/>
                    <a:pt x="208" y="1430"/>
                    <a:pt x="208" y="1429"/>
                  </a:cubicBezTo>
                  <a:cubicBezTo>
                    <a:pt x="208" y="1414"/>
                    <a:pt x="193" y="1408"/>
                    <a:pt x="193" y="1393"/>
                  </a:cubicBezTo>
                  <a:cubicBezTo>
                    <a:pt x="193" y="1393"/>
                    <a:pt x="193" y="1393"/>
                    <a:pt x="193" y="1393"/>
                  </a:cubicBezTo>
                  <a:cubicBezTo>
                    <a:pt x="185" y="1385"/>
                    <a:pt x="204" y="1430"/>
                    <a:pt x="205" y="1430"/>
                  </a:cubicBezTo>
                  <a:close/>
                  <a:moveTo>
                    <a:pt x="219" y="1068"/>
                  </a:moveTo>
                  <a:cubicBezTo>
                    <a:pt x="221" y="1065"/>
                    <a:pt x="206" y="1060"/>
                    <a:pt x="203" y="1060"/>
                  </a:cubicBezTo>
                  <a:cubicBezTo>
                    <a:pt x="203" y="1060"/>
                    <a:pt x="203" y="1060"/>
                    <a:pt x="203" y="1060"/>
                  </a:cubicBezTo>
                  <a:cubicBezTo>
                    <a:pt x="196" y="1060"/>
                    <a:pt x="217" y="1070"/>
                    <a:pt x="219" y="1068"/>
                  </a:cubicBezTo>
                  <a:close/>
                  <a:moveTo>
                    <a:pt x="210" y="896"/>
                  </a:moveTo>
                  <a:cubicBezTo>
                    <a:pt x="210" y="896"/>
                    <a:pt x="210" y="896"/>
                    <a:pt x="210" y="896"/>
                  </a:cubicBezTo>
                  <a:cubicBezTo>
                    <a:pt x="204" y="893"/>
                    <a:pt x="184" y="897"/>
                    <a:pt x="190" y="900"/>
                  </a:cubicBezTo>
                  <a:cubicBezTo>
                    <a:pt x="198" y="904"/>
                    <a:pt x="203" y="897"/>
                    <a:pt x="212" y="901"/>
                  </a:cubicBezTo>
                  <a:cubicBezTo>
                    <a:pt x="213" y="901"/>
                    <a:pt x="228" y="905"/>
                    <a:pt x="226" y="901"/>
                  </a:cubicBezTo>
                  <a:cubicBezTo>
                    <a:pt x="225" y="898"/>
                    <a:pt x="214" y="899"/>
                    <a:pt x="210" y="896"/>
                  </a:cubicBezTo>
                  <a:close/>
                  <a:moveTo>
                    <a:pt x="205" y="863"/>
                  </a:moveTo>
                  <a:cubicBezTo>
                    <a:pt x="206" y="863"/>
                    <a:pt x="211" y="869"/>
                    <a:pt x="212" y="869"/>
                  </a:cubicBezTo>
                  <a:cubicBezTo>
                    <a:pt x="219" y="861"/>
                    <a:pt x="189" y="852"/>
                    <a:pt x="185" y="847"/>
                  </a:cubicBezTo>
                  <a:cubicBezTo>
                    <a:pt x="176" y="836"/>
                    <a:pt x="193" y="842"/>
                    <a:pt x="195" y="839"/>
                  </a:cubicBezTo>
                  <a:cubicBezTo>
                    <a:pt x="198" y="833"/>
                    <a:pt x="181" y="835"/>
                    <a:pt x="180" y="828"/>
                  </a:cubicBezTo>
                  <a:cubicBezTo>
                    <a:pt x="177" y="815"/>
                    <a:pt x="214" y="842"/>
                    <a:pt x="203" y="822"/>
                  </a:cubicBezTo>
                  <a:cubicBezTo>
                    <a:pt x="203" y="821"/>
                    <a:pt x="203" y="821"/>
                    <a:pt x="203" y="821"/>
                  </a:cubicBezTo>
                  <a:cubicBezTo>
                    <a:pt x="197" y="818"/>
                    <a:pt x="187" y="821"/>
                    <a:pt x="181" y="822"/>
                  </a:cubicBezTo>
                  <a:cubicBezTo>
                    <a:pt x="179" y="822"/>
                    <a:pt x="173" y="828"/>
                    <a:pt x="173" y="829"/>
                  </a:cubicBezTo>
                  <a:cubicBezTo>
                    <a:pt x="172" y="832"/>
                    <a:pt x="167" y="828"/>
                    <a:pt x="167" y="830"/>
                  </a:cubicBezTo>
                  <a:cubicBezTo>
                    <a:pt x="161" y="840"/>
                    <a:pt x="199" y="859"/>
                    <a:pt x="205" y="863"/>
                  </a:cubicBezTo>
                  <a:close/>
                  <a:moveTo>
                    <a:pt x="130" y="824"/>
                  </a:moveTo>
                  <a:cubicBezTo>
                    <a:pt x="134" y="826"/>
                    <a:pt x="160" y="831"/>
                    <a:pt x="162" y="827"/>
                  </a:cubicBezTo>
                  <a:cubicBezTo>
                    <a:pt x="162" y="827"/>
                    <a:pt x="130" y="824"/>
                    <a:pt x="130" y="816"/>
                  </a:cubicBezTo>
                  <a:cubicBezTo>
                    <a:pt x="130" y="816"/>
                    <a:pt x="130" y="816"/>
                    <a:pt x="130" y="816"/>
                  </a:cubicBezTo>
                  <a:cubicBezTo>
                    <a:pt x="126" y="812"/>
                    <a:pt x="127" y="821"/>
                    <a:pt x="130" y="824"/>
                  </a:cubicBezTo>
                  <a:close/>
                  <a:moveTo>
                    <a:pt x="132" y="833"/>
                  </a:moveTo>
                  <a:cubicBezTo>
                    <a:pt x="136" y="834"/>
                    <a:pt x="142" y="845"/>
                    <a:pt x="147" y="842"/>
                  </a:cubicBezTo>
                  <a:cubicBezTo>
                    <a:pt x="152" y="840"/>
                    <a:pt x="146" y="834"/>
                    <a:pt x="144" y="832"/>
                  </a:cubicBezTo>
                  <a:cubicBezTo>
                    <a:pt x="144" y="832"/>
                    <a:pt x="144" y="832"/>
                    <a:pt x="144" y="832"/>
                  </a:cubicBezTo>
                  <a:cubicBezTo>
                    <a:pt x="143" y="831"/>
                    <a:pt x="127" y="830"/>
                    <a:pt x="127" y="831"/>
                  </a:cubicBezTo>
                  <a:cubicBezTo>
                    <a:pt x="127" y="832"/>
                    <a:pt x="131" y="833"/>
                    <a:pt x="132" y="833"/>
                  </a:cubicBezTo>
                  <a:close/>
                  <a:moveTo>
                    <a:pt x="142" y="895"/>
                  </a:moveTo>
                  <a:cubicBezTo>
                    <a:pt x="146" y="894"/>
                    <a:pt x="144" y="892"/>
                    <a:pt x="145" y="889"/>
                  </a:cubicBezTo>
                  <a:cubicBezTo>
                    <a:pt x="146" y="885"/>
                    <a:pt x="144" y="887"/>
                    <a:pt x="144" y="883"/>
                  </a:cubicBezTo>
                  <a:cubicBezTo>
                    <a:pt x="144" y="882"/>
                    <a:pt x="144" y="882"/>
                    <a:pt x="144" y="882"/>
                  </a:cubicBezTo>
                  <a:cubicBezTo>
                    <a:pt x="137" y="874"/>
                    <a:pt x="122" y="898"/>
                    <a:pt x="142" y="895"/>
                  </a:cubicBezTo>
                  <a:close/>
                  <a:moveTo>
                    <a:pt x="172" y="1018"/>
                  </a:moveTo>
                  <a:cubicBezTo>
                    <a:pt x="169" y="1010"/>
                    <a:pt x="148" y="1008"/>
                    <a:pt x="146" y="999"/>
                  </a:cubicBezTo>
                  <a:cubicBezTo>
                    <a:pt x="146" y="999"/>
                    <a:pt x="146" y="999"/>
                    <a:pt x="146" y="999"/>
                  </a:cubicBezTo>
                  <a:cubicBezTo>
                    <a:pt x="144" y="997"/>
                    <a:pt x="143" y="998"/>
                    <a:pt x="144" y="1000"/>
                  </a:cubicBezTo>
                  <a:cubicBezTo>
                    <a:pt x="147" y="1004"/>
                    <a:pt x="152" y="1006"/>
                    <a:pt x="154" y="1011"/>
                  </a:cubicBezTo>
                  <a:cubicBezTo>
                    <a:pt x="156" y="1017"/>
                    <a:pt x="175" y="1024"/>
                    <a:pt x="172" y="1018"/>
                  </a:cubicBezTo>
                  <a:close/>
                  <a:moveTo>
                    <a:pt x="168" y="1429"/>
                  </a:moveTo>
                  <a:cubicBezTo>
                    <a:pt x="169" y="1427"/>
                    <a:pt x="170" y="1434"/>
                    <a:pt x="171" y="1435"/>
                  </a:cubicBezTo>
                  <a:cubicBezTo>
                    <a:pt x="172" y="1437"/>
                    <a:pt x="185" y="1452"/>
                    <a:pt x="186" y="1452"/>
                  </a:cubicBezTo>
                  <a:cubicBezTo>
                    <a:pt x="190" y="1451"/>
                    <a:pt x="180" y="1441"/>
                    <a:pt x="180" y="1440"/>
                  </a:cubicBezTo>
                  <a:cubicBezTo>
                    <a:pt x="179" y="1440"/>
                    <a:pt x="179" y="1440"/>
                    <a:pt x="179" y="1440"/>
                  </a:cubicBezTo>
                  <a:cubicBezTo>
                    <a:pt x="175" y="1436"/>
                    <a:pt x="173" y="1416"/>
                    <a:pt x="171" y="1415"/>
                  </a:cubicBezTo>
                  <a:cubicBezTo>
                    <a:pt x="168" y="1415"/>
                    <a:pt x="170" y="1417"/>
                    <a:pt x="170" y="1418"/>
                  </a:cubicBezTo>
                  <a:cubicBezTo>
                    <a:pt x="175" y="1430"/>
                    <a:pt x="165" y="1423"/>
                    <a:pt x="162" y="1422"/>
                  </a:cubicBezTo>
                  <a:cubicBezTo>
                    <a:pt x="160" y="1422"/>
                    <a:pt x="165" y="1432"/>
                    <a:pt x="168" y="1429"/>
                  </a:cubicBezTo>
                  <a:close/>
                  <a:moveTo>
                    <a:pt x="152" y="1437"/>
                  </a:moveTo>
                  <a:cubicBezTo>
                    <a:pt x="153" y="1438"/>
                    <a:pt x="164" y="1459"/>
                    <a:pt x="164" y="1458"/>
                  </a:cubicBezTo>
                  <a:cubicBezTo>
                    <a:pt x="167" y="1455"/>
                    <a:pt x="164" y="1453"/>
                    <a:pt x="163" y="1452"/>
                  </a:cubicBezTo>
                  <a:cubicBezTo>
                    <a:pt x="148" y="1435"/>
                    <a:pt x="145" y="1423"/>
                    <a:pt x="133" y="1414"/>
                  </a:cubicBezTo>
                  <a:cubicBezTo>
                    <a:pt x="133" y="1414"/>
                    <a:pt x="133" y="1414"/>
                    <a:pt x="133" y="1414"/>
                  </a:cubicBezTo>
                  <a:cubicBezTo>
                    <a:pt x="130" y="1413"/>
                    <a:pt x="132" y="1415"/>
                    <a:pt x="130" y="1416"/>
                  </a:cubicBezTo>
                  <a:cubicBezTo>
                    <a:pt x="125" y="1417"/>
                    <a:pt x="146" y="1432"/>
                    <a:pt x="152" y="1437"/>
                  </a:cubicBezTo>
                  <a:close/>
                  <a:moveTo>
                    <a:pt x="133" y="1445"/>
                  </a:moveTo>
                  <a:cubicBezTo>
                    <a:pt x="136" y="1444"/>
                    <a:pt x="137" y="1438"/>
                    <a:pt x="135" y="1436"/>
                  </a:cubicBezTo>
                  <a:cubicBezTo>
                    <a:pt x="132" y="1433"/>
                    <a:pt x="126" y="1439"/>
                    <a:pt x="127" y="1434"/>
                  </a:cubicBezTo>
                  <a:cubicBezTo>
                    <a:pt x="127" y="1434"/>
                    <a:pt x="127" y="1434"/>
                    <a:pt x="127" y="1434"/>
                  </a:cubicBezTo>
                  <a:cubicBezTo>
                    <a:pt x="125" y="1429"/>
                    <a:pt x="124" y="1446"/>
                    <a:pt x="133" y="1445"/>
                  </a:cubicBezTo>
                  <a:close/>
                  <a:moveTo>
                    <a:pt x="118" y="1485"/>
                  </a:moveTo>
                  <a:cubicBezTo>
                    <a:pt x="119" y="1486"/>
                    <a:pt x="120" y="1493"/>
                    <a:pt x="120" y="1493"/>
                  </a:cubicBezTo>
                  <a:cubicBezTo>
                    <a:pt x="120" y="1493"/>
                    <a:pt x="123" y="1471"/>
                    <a:pt x="123" y="1470"/>
                  </a:cubicBezTo>
                  <a:cubicBezTo>
                    <a:pt x="120" y="1470"/>
                    <a:pt x="119" y="1475"/>
                    <a:pt x="119" y="1478"/>
                  </a:cubicBezTo>
                  <a:cubicBezTo>
                    <a:pt x="119" y="1481"/>
                    <a:pt x="118" y="1469"/>
                    <a:pt x="115" y="1474"/>
                  </a:cubicBezTo>
                  <a:cubicBezTo>
                    <a:pt x="107" y="1486"/>
                    <a:pt x="102" y="1475"/>
                    <a:pt x="102" y="1457"/>
                  </a:cubicBezTo>
                  <a:cubicBezTo>
                    <a:pt x="102" y="1456"/>
                    <a:pt x="102" y="1456"/>
                    <a:pt x="102" y="1456"/>
                  </a:cubicBezTo>
                  <a:cubicBezTo>
                    <a:pt x="99" y="1451"/>
                    <a:pt x="99" y="1468"/>
                    <a:pt x="99" y="1469"/>
                  </a:cubicBezTo>
                  <a:cubicBezTo>
                    <a:pt x="98" y="1487"/>
                    <a:pt x="117" y="1481"/>
                    <a:pt x="118" y="1485"/>
                  </a:cubicBezTo>
                  <a:close/>
                  <a:moveTo>
                    <a:pt x="128" y="1717"/>
                  </a:moveTo>
                  <a:cubicBezTo>
                    <a:pt x="128" y="1717"/>
                    <a:pt x="128" y="1717"/>
                    <a:pt x="128" y="1717"/>
                  </a:cubicBezTo>
                  <a:cubicBezTo>
                    <a:pt x="126" y="1714"/>
                    <a:pt x="121" y="1722"/>
                    <a:pt x="118" y="1723"/>
                  </a:cubicBezTo>
                  <a:cubicBezTo>
                    <a:pt x="117" y="1724"/>
                    <a:pt x="107" y="1726"/>
                    <a:pt x="107" y="1728"/>
                  </a:cubicBezTo>
                  <a:cubicBezTo>
                    <a:pt x="108" y="1730"/>
                    <a:pt x="131" y="1724"/>
                    <a:pt x="128" y="1717"/>
                  </a:cubicBezTo>
                  <a:close/>
                  <a:moveTo>
                    <a:pt x="128" y="1660"/>
                  </a:moveTo>
                  <a:cubicBezTo>
                    <a:pt x="124" y="1662"/>
                    <a:pt x="120" y="1662"/>
                    <a:pt x="119" y="1667"/>
                  </a:cubicBezTo>
                  <a:cubicBezTo>
                    <a:pt x="118" y="1668"/>
                    <a:pt x="117" y="1675"/>
                    <a:pt x="121" y="1672"/>
                  </a:cubicBezTo>
                  <a:cubicBezTo>
                    <a:pt x="125" y="1668"/>
                    <a:pt x="129" y="1663"/>
                    <a:pt x="133" y="1660"/>
                  </a:cubicBezTo>
                  <a:cubicBezTo>
                    <a:pt x="133" y="1660"/>
                    <a:pt x="133" y="1660"/>
                    <a:pt x="133" y="1660"/>
                  </a:cubicBezTo>
                  <a:cubicBezTo>
                    <a:pt x="133" y="1657"/>
                    <a:pt x="130" y="1660"/>
                    <a:pt x="128" y="1660"/>
                  </a:cubicBezTo>
                  <a:close/>
                  <a:moveTo>
                    <a:pt x="213" y="1681"/>
                  </a:moveTo>
                  <a:cubicBezTo>
                    <a:pt x="213" y="1676"/>
                    <a:pt x="203" y="1693"/>
                    <a:pt x="207" y="1695"/>
                  </a:cubicBezTo>
                  <a:cubicBezTo>
                    <a:pt x="214" y="1697"/>
                    <a:pt x="213" y="1684"/>
                    <a:pt x="213" y="1681"/>
                  </a:cubicBezTo>
                  <a:close/>
                  <a:moveTo>
                    <a:pt x="253" y="1790"/>
                  </a:moveTo>
                  <a:cubicBezTo>
                    <a:pt x="245" y="1763"/>
                    <a:pt x="227" y="1812"/>
                    <a:pt x="236" y="1823"/>
                  </a:cubicBezTo>
                  <a:cubicBezTo>
                    <a:pt x="238" y="1826"/>
                    <a:pt x="251" y="1791"/>
                    <a:pt x="252" y="1791"/>
                  </a:cubicBezTo>
                  <a:lnTo>
                    <a:pt x="253" y="1790"/>
                  </a:lnTo>
                  <a:close/>
                  <a:moveTo>
                    <a:pt x="258" y="1543"/>
                  </a:moveTo>
                  <a:cubicBezTo>
                    <a:pt x="259" y="1542"/>
                    <a:pt x="273" y="1524"/>
                    <a:pt x="270" y="1515"/>
                  </a:cubicBezTo>
                  <a:cubicBezTo>
                    <a:pt x="269" y="1514"/>
                    <a:pt x="264" y="1512"/>
                    <a:pt x="265" y="1510"/>
                  </a:cubicBezTo>
                  <a:cubicBezTo>
                    <a:pt x="266" y="1509"/>
                    <a:pt x="283" y="1504"/>
                    <a:pt x="279" y="1500"/>
                  </a:cubicBezTo>
                  <a:cubicBezTo>
                    <a:pt x="271" y="1491"/>
                    <a:pt x="261" y="1509"/>
                    <a:pt x="262" y="1496"/>
                  </a:cubicBezTo>
                  <a:cubicBezTo>
                    <a:pt x="262" y="1488"/>
                    <a:pt x="282" y="1472"/>
                    <a:pt x="275" y="1463"/>
                  </a:cubicBezTo>
                  <a:cubicBezTo>
                    <a:pt x="270" y="1458"/>
                    <a:pt x="261" y="1464"/>
                    <a:pt x="257" y="1465"/>
                  </a:cubicBezTo>
                  <a:cubicBezTo>
                    <a:pt x="254" y="1465"/>
                    <a:pt x="254" y="1458"/>
                    <a:pt x="251" y="1458"/>
                  </a:cubicBezTo>
                  <a:cubicBezTo>
                    <a:pt x="249" y="1457"/>
                    <a:pt x="253" y="1464"/>
                    <a:pt x="246" y="1463"/>
                  </a:cubicBezTo>
                  <a:cubicBezTo>
                    <a:pt x="241" y="1463"/>
                    <a:pt x="249" y="1454"/>
                    <a:pt x="248" y="1453"/>
                  </a:cubicBezTo>
                  <a:cubicBezTo>
                    <a:pt x="245" y="1451"/>
                    <a:pt x="242" y="1457"/>
                    <a:pt x="239" y="1456"/>
                  </a:cubicBezTo>
                  <a:cubicBezTo>
                    <a:pt x="236" y="1454"/>
                    <a:pt x="240" y="1451"/>
                    <a:pt x="239" y="1451"/>
                  </a:cubicBezTo>
                  <a:cubicBezTo>
                    <a:pt x="236" y="1450"/>
                    <a:pt x="201" y="1459"/>
                    <a:pt x="200" y="1460"/>
                  </a:cubicBezTo>
                  <a:cubicBezTo>
                    <a:pt x="198" y="1462"/>
                    <a:pt x="205" y="1464"/>
                    <a:pt x="204" y="1466"/>
                  </a:cubicBezTo>
                  <a:cubicBezTo>
                    <a:pt x="203" y="1467"/>
                    <a:pt x="196" y="1466"/>
                    <a:pt x="196" y="1464"/>
                  </a:cubicBezTo>
                  <a:cubicBezTo>
                    <a:pt x="189" y="1449"/>
                    <a:pt x="195" y="1466"/>
                    <a:pt x="191" y="1470"/>
                  </a:cubicBezTo>
                  <a:cubicBezTo>
                    <a:pt x="189" y="1473"/>
                    <a:pt x="187" y="1468"/>
                    <a:pt x="186" y="1469"/>
                  </a:cubicBezTo>
                  <a:cubicBezTo>
                    <a:pt x="186" y="1469"/>
                    <a:pt x="209" y="1522"/>
                    <a:pt x="198" y="1526"/>
                  </a:cubicBezTo>
                  <a:cubicBezTo>
                    <a:pt x="197" y="1526"/>
                    <a:pt x="197" y="1526"/>
                    <a:pt x="197" y="1526"/>
                  </a:cubicBezTo>
                  <a:cubicBezTo>
                    <a:pt x="187" y="1524"/>
                    <a:pt x="188" y="1511"/>
                    <a:pt x="185" y="1507"/>
                  </a:cubicBezTo>
                  <a:cubicBezTo>
                    <a:pt x="178" y="1500"/>
                    <a:pt x="172" y="1506"/>
                    <a:pt x="169" y="1498"/>
                  </a:cubicBezTo>
                  <a:cubicBezTo>
                    <a:pt x="169" y="1497"/>
                    <a:pt x="169" y="1496"/>
                    <a:pt x="168" y="1496"/>
                  </a:cubicBezTo>
                  <a:cubicBezTo>
                    <a:pt x="141" y="1504"/>
                    <a:pt x="150" y="1534"/>
                    <a:pt x="140" y="1536"/>
                  </a:cubicBezTo>
                  <a:cubicBezTo>
                    <a:pt x="134" y="1537"/>
                    <a:pt x="141" y="1513"/>
                    <a:pt x="129" y="1514"/>
                  </a:cubicBezTo>
                  <a:cubicBezTo>
                    <a:pt x="128" y="1514"/>
                    <a:pt x="135" y="1534"/>
                    <a:pt x="135" y="1536"/>
                  </a:cubicBezTo>
                  <a:cubicBezTo>
                    <a:pt x="134" y="1538"/>
                    <a:pt x="124" y="1529"/>
                    <a:pt x="127" y="1537"/>
                  </a:cubicBezTo>
                  <a:cubicBezTo>
                    <a:pt x="130" y="1547"/>
                    <a:pt x="137" y="1533"/>
                    <a:pt x="134" y="1544"/>
                  </a:cubicBezTo>
                  <a:cubicBezTo>
                    <a:pt x="133" y="1548"/>
                    <a:pt x="134" y="1554"/>
                    <a:pt x="136" y="1556"/>
                  </a:cubicBezTo>
                  <a:cubicBezTo>
                    <a:pt x="138" y="1558"/>
                    <a:pt x="147" y="1560"/>
                    <a:pt x="147" y="1560"/>
                  </a:cubicBezTo>
                  <a:cubicBezTo>
                    <a:pt x="143" y="1574"/>
                    <a:pt x="117" y="1583"/>
                    <a:pt x="117" y="1594"/>
                  </a:cubicBezTo>
                  <a:cubicBezTo>
                    <a:pt x="117" y="1595"/>
                    <a:pt x="117" y="1597"/>
                    <a:pt x="118" y="1597"/>
                  </a:cubicBezTo>
                  <a:cubicBezTo>
                    <a:pt x="132" y="1604"/>
                    <a:pt x="138" y="1584"/>
                    <a:pt x="146" y="1583"/>
                  </a:cubicBezTo>
                  <a:cubicBezTo>
                    <a:pt x="152" y="1582"/>
                    <a:pt x="133" y="1600"/>
                    <a:pt x="139" y="1601"/>
                  </a:cubicBezTo>
                  <a:cubicBezTo>
                    <a:pt x="146" y="1602"/>
                    <a:pt x="151" y="1593"/>
                    <a:pt x="150" y="1589"/>
                  </a:cubicBezTo>
                  <a:cubicBezTo>
                    <a:pt x="149" y="1586"/>
                    <a:pt x="177" y="1580"/>
                    <a:pt x="173" y="1576"/>
                  </a:cubicBezTo>
                  <a:cubicBezTo>
                    <a:pt x="170" y="1574"/>
                    <a:pt x="168" y="1571"/>
                    <a:pt x="174" y="1570"/>
                  </a:cubicBezTo>
                  <a:cubicBezTo>
                    <a:pt x="178" y="1570"/>
                    <a:pt x="177" y="1564"/>
                    <a:pt x="179" y="1564"/>
                  </a:cubicBezTo>
                  <a:cubicBezTo>
                    <a:pt x="179" y="1565"/>
                    <a:pt x="179" y="1565"/>
                    <a:pt x="179" y="1565"/>
                  </a:cubicBezTo>
                  <a:cubicBezTo>
                    <a:pt x="180" y="1567"/>
                    <a:pt x="182" y="1565"/>
                    <a:pt x="184" y="1565"/>
                  </a:cubicBezTo>
                  <a:cubicBezTo>
                    <a:pt x="206" y="1560"/>
                    <a:pt x="184" y="1578"/>
                    <a:pt x="193" y="1579"/>
                  </a:cubicBezTo>
                  <a:cubicBezTo>
                    <a:pt x="194" y="1579"/>
                    <a:pt x="195" y="1579"/>
                    <a:pt x="196" y="1579"/>
                  </a:cubicBezTo>
                  <a:cubicBezTo>
                    <a:pt x="197" y="1579"/>
                    <a:pt x="197" y="1579"/>
                    <a:pt x="197" y="1579"/>
                  </a:cubicBezTo>
                  <a:cubicBezTo>
                    <a:pt x="198" y="1579"/>
                    <a:pt x="198" y="1579"/>
                    <a:pt x="198" y="1579"/>
                  </a:cubicBezTo>
                  <a:cubicBezTo>
                    <a:pt x="199" y="1579"/>
                    <a:pt x="199" y="1579"/>
                    <a:pt x="199" y="1579"/>
                  </a:cubicBezTo>
                  <a:cubicBezTo>
                    <a:pt x="207" y="1578"/>
                    <a:pt x="205" y="1567"/>
                    <a:pt x="211" y="1563"/>
                  </a:cubicBezTo>
                  <a:cubicBezTo>
                    <a:pt x="225" y="1553"/>
                    <a:pt x="237" y="1553"/>
                    <a:pt x="252" y="1549"/>
                  </a:cubicBezTo>
                  <a:cubicBezTo>
                    <a:pt x="253" y="1549"/>
                    <a:pt x="258" y="1544"/>
                    <a:pt x="258" y="1543"/>
                  </a:cubicBezTo>
                  <a:close/>
                  <a:moveTo>
                    <a:pt x="272" y="1768"/>
                  </a:moveTo>
                  <a:cubicBezTo>
                    <a:pt x="263" y="1768"/>
                    <a:pt x="267" y="1797"/>
                    <a:pt x="268" y="1790"/>
                  </a:cubicBezTo>
                  <a:cubicBezTo>
                    <a:pt x="268" y="1790"/>
                    <a:pt x="268" y="1790"/>
                    <a:pt x="268" y="1790"/>
                  </a:cubicBezTo>
                  <a:cubicBezTo>
                    <a:pt x="268" y="1787"/>
                    <a:pt x="275" y="1769"/>
                    <a:pt x="272" y="1768"/>
                  </a:cubicBezTo>
                  <a:close/>
                  <a:moveTo>
                    <a:pt x="277" y="1790"/>
                  </a:moveTo>
                  <a:cubicBezTo>
                    <a:pt x="277" y="1789"/>
                    <a:pt x="277" y="1789"/>
                    <a:pt x="277" y="1789"/>
                  </a:cubicBezTo>
                  <a:cubicBezTo>
                    <a:pt x="276" y="1786"/>
                    <a:pt x="282" y="1779"/>
                    <a:pt x="281" y="1777"/>
                  </a:cubicBezTo>
                  <a:cubicBezTo>
                    <a:pt x="279" y="1772"/>
                    <a:pt x="274" y="1781"/>
                    <a:pt x="273" y="1784"/>
                  </a:cubicBezTo>
                  <a:cubicBezTo>
                    <a:pt x="273" y="1793"/>
                    <a:pt x="278" y="1802"/>
                    <a:pt x="277" y="1790"/>
                  </a:cubicBezTo>
                  <a:close/>
                  <a:moveTo>
                    <a:pt x="280" y="1849"/>
                  </a:moveTo>
                  <a:cubicBezTo>
                    <a:pt x="284" y="1853"/>
                    <a:pt x="287" y="1842"/>
                    <a:pt x="289" y="1837"/>
                  </a:cubicBezTo>
                  <a:cubicBezTo>
                    <a:pt x="289" y="1837"/>
                    <a:pt x="289" y="1837"/>
                    <a:pt x="289" y="1837"/>
                  </a:cubicBezTo>
                  <a:cubicBezTo>
                    <a:pt x="300" y="1831"/>
                    <a:pt x="265" y="1835"/>
                    <a:pt x="280" y="1849"/>
                  </a:cubicBezTo>
                  <a:close/>
                  <a:moveTo>
                    <a:pt x="315" y="1910"/>
                  </a:moveTo>
                  <a:cubicBezTo>
                    <a:pt x="315" y="1907"/>
                    <a:pt x="312" y="1913"/>
                    <a:pt x="311" y="1909"/>
                  </a:cubicBezTo>
                  <a:cubicBezTo>
                    <a:pt x="311" y="1908"/>
                    <a:pt x="309" y="1909"/>
                    <a:pt x="307" y="1908"/>
                  </a:cubicBezTo>
                  <a:cubicBezTo>
                    <a:pt x="303" y="1905"/>
                    <a:pt x="305" y="1911"/>
                    <a:pt x="302" y="1912"/>
                  </a:cubicBezTo>
                  <a:cubicBezTo>
                    <a:pt x="299" y="1913"/>
                    <a:pt x="295" y="1907"/>
                    <a:pt x="294" y="1909"/>
                  </a:cubicBezTo>
                  <a:cubicBezTo>
                    <a:pt x="290" y="1919"/>
                    <a:pt x="316" y="1924"/>
                    <a:pt x="315" y="1910"/>
                  </a:cubicBezTo>
                  <a:close/>
                  <a:moveTo>
                    <a:pt x="339" y="1836"/>
                  </a:moveTo>
                  <a:cubicBezTo>
                    <a:pt x="334" y="1839"/>
                    <a:pt x="337" y="1831"/>
                    <a:pt x="332" y="1829"/>
                  </a:cubicBezTo>
                  <a:cubicBezTo>
                    <a:pt x="329" y="1827"/>
                    <a:pt x="332" y="1850"/>
                    <a:pt x="325" y="1835"/>
                  </a:cubicBezTo>
                  <a:cubicBezTo>
                    <a:pt x="324" y="1832"/>
                    <a:pt x="324" y="1829"/>
                    <a:pt x="323" y="1825"/>
                  </a:cubicBezTo>
                  <a:cubicBezTo>
                    <a:pt x="323" y="1825"/>
                    <a:pt x="323" y="1825"/>
                    <a:pt x="323" y="1825"/>
                  </a:cubicBezTo>
                  <a:cubicBezTo>
                    <a:pt x="319" y="1822"/>
                    <a:pt x="321" y="1829"/>
                    <a:pt x="322" y="1831"/>
                  </a:cubicBezTo>
                  <a:cubicBezTo>
                    <a:pt x="326" y="1843"/>
                    <a:pt x="330" y="1858"/>
                    <a:pt x="340" y="1855"/>
                  </a:cubicBezTo>
                  <a:cubicBezTo>
                    <a:pt x="340" y="1855"/>
                    <a:pt x="332" y="1841"/>
                    <a:pt x="341" y="1846"/>
                  </a:cubicBezTo>
                  <a:cubicBezTo>
                    <a:pt x="352" y="1851"/>
                    <a:pt x="340" y="1836"/>
                    <a:pt x="339" y="1836"/>
                  </a:cubicBezTo>
                  <a:close/>
                  <a:moveTo>
                    <a:pt x="334" y="1804"/>
                  </a:moveTo>
                  <a:cubicBezTo>
                    <a:pt x="341" y="1806"/>
                    <a:pt x="347" y="1794"/>
                    <a:pt x="338" y="1791"/>
                  </a:cubicBezTo>
                  <a:cubicBezTo>
                    <a:pt x="339" y="1790"/>
                    <a:pt x="339" y="1790"/>
                    <a:pt x="339" y="1790"/>
                  </a:cubicBezTo>
                  <a:cubicBezTo>
                    <a:pt x="342" y="1786"/>
                    <a:pt x="317" y="1797"/>
                    <a:pt x="334" y="1804"/>
                  </a:cubicBezTo>
                  <a:close/>
                  <a:moveTo>
                    <a:pt x="349" y="1599"/>
                  </a:moveTo>
                  <a:cubicBezTo>
                    <a:pt x="349" y="1599"/>
                    <a:pt x="349" y="1599"/>
                    <a:pt x="349" y="1599"/>
                  </a:cubicBezTo>
                  <a:cubicBezTo>
                    <a:pt x="349" y="1599"/>
                    <a:pt x="349" y="1599"/>
                    <a:pt x="349" y="1599"/>
                  </a:cubicBezTo>
                  <a:cubicBezTo>
                    <a:pt x="349" y="1599"/>
                    <a:pt x="349" y="1599"/>
                    <a:pt x="349" y="1599"/>
                  </a:cubicBezTo>
                  <a:cubicBezTo>
                    <a:pt x="348" y="1595"/>
                    <a:pt x="333" y="1597"/>
                    <a:pt x="334" y="1602"/>
                  </a:cubicBezTo>
                  <a:cubicBezTo>
                    <a:pt x="335" y="1607"/>
                    <a:pt x="347" y="1602"/>
                    <a:pt x="349" y="1599"/>
                  </a:cubicBezTo>
                  <a:close/>
                  <a:moveTo>
                    <a:pt x="354" y="1791"/>
                  </a:moveTo>
                  <a:cubicBezTo>
                    <a:pt x="354" y="1790"/>
                    <a:pt x="354" y="1790"/>
                    <a:pt x="354" y="1790"/>
                  </a:cubicBezTo>
                  <a:cubicBezTo>
                    <a:pt x="354" y="1784"/>
                    <a:pt x="347" y="1790"/>
                    <a:pt x="348" y="1791"/>
                  </a:cubicBezTo>
                  <a:cubicBezTo>
                    <a:pt x="350" y="1793"/>
                    <a:pt x="358" y="1796"/>
                    <a:pt x="354" y="1791"/>
                  </a:cubicBezTo>
                  <a:close/>
                  <a:moveTo>
                    <a:pt x="356" y="1577"/>
                  </a:moveTo>
                  <a:cubicBezTo>
                    <a:pt x="359" y="1570"/>
                    <a:pt x="346" y="1572"/>
                    <a:pt x="344" y="1568"/>
                  </a:cubicBezTo>
                  <a:cubicBezTo>
                    <a:pt x="342" y="1565"/>
                    <a:pt x="365" y="1522"/>
                    <a:pt x="350" y="1526"/>
                  </a:cubicBezTo>
                  <a:cubicBezTo>
                    <a:pt x="349" y="1526"/>
                    <a:pt x="350" y="1533"/>
                    <a:pt x="348" y="1535"/>
                  </a:cubicBezTo>
                  <a:cubicBezTo>
                    <a:pt x="335" y="1551"/>
                    <a:pt x="334" y="1544"/>
                    <a:pt x="317" y="1562"/>
                  </a:cubicBezTo>
                  <a:cubicBezTo>
                    <a:pt x="315" y="1564"/>
                    <a:pt x="288" y="1624"/>
                    <a:pt x="287" y="1632"/>
                  </a:cubicBezTo>
                  <a:cubicBezTo>
                    <a:pt x="287" y="1638"/>
                    <a:pt x="267" y="1681"/>
                    <a:pt x="286" y="1681"/>
                  </a:cubicBezTo>
                  <a:cubicBezTo>
                    <a:pt x="294" y="1681"/>
                    <a:pt x="296" y="1656"/>
                    <a:pt x="306" y="1650"/>
                  </a:cubicBezTo>
                  <a:cubicBezTo>
                    <a:pt x="307" y="1650"/>
                    <a:pt x="307" y="1650"/>
                    <a:pt x="307" y="1650"/>
                  </a:cubicBezTo>
                  <a:cubicBezTo>
                    <a:pt x="320" y="1634"/>
                    <a:pt x="317" y="1609"/>
                    <a:pt x="328" y="1596"/>
                  </a:cubicBezTo>
                  <a:cubicBezTo>
                    <a:pt x="336" y="1586"/>
                    <a:pt x="352" y="1587"/>
                    <a:pt x="356" y="1577"/>
                  </a:cubicBezTo>
                  <a:close/>
                  <a:moveTo>
                    <a:pt x="358" y="1764"/>
                  </a:moveTo>
                  <a:cubicBezTo>
                    <a:pt x="357" y="1763"/>
                    <a:pt x="357" y="1763"/>
                    <a:pt x="357" y="1763"/>
                  </a:cubicBezTo>
                  <a:cubicBezTo>
                    <a:pt x="356" y="1759"/>
                    <a:pt x="355" y="1783"/>
                    <a:pt x="361" y="1781"/>
                  </a:cubicBezTo>
                  <a:cubicBezTo>
                    <a:pt x="361" y="1781"/>
                    <a:pt x="359" y="1764"/>
                    <a:pt x="358" y="1764"/>
                  </a:cubicBezTo>
                  <a:close/>
                  <a:moveTo>
                    <a:pt x="371" y="1822"/>
                  </a:moveTo>
                  <a:cubicBezTo>
                    <a:pt x="371" y="1822"/>
                    <a:pt x="371" y="1822"/>
                    <a:pt x="371" y="1822"/>
                  </a:cubicBezTo>
                  <a:cubicBezTo>
                    <a:pt x="370" y="1820"/>
                    <a:pt x="369" y="1821"/>
                    <a:pt x="368" y="1822"/>
                  </a:cubicBezTo>
                  <a:cubicBezTo>
                    <a:pt x="366" y="1824"/>
                    <a:pt x="356" y="1818"/>
                    <a:pt x="365" y="1828"/>
                  </a:cubicBezTo>
                  <a:cubicBezTo>
                    <a:pt x="371" y="1833"/>
                    <a:pt x="374" y="1829"/>
                    <a:pt x="371" y="1822"/>
                  </a:cubicBezTo>
                  <a:close/>
                  <a:moveTo>
                    <a:pt x="390" y="1651"/>
                  </a:moveTo>
                  <a:cubicBezTo>
                    <a:pt x="390" y="1650"/>
                    <a:pt x="390" y="1650"/>
                    <a:pt x="390" y="1650"/>
                  </a:cubicBezTo>
                  <a:cubicBezTo>
                    <a:pt x="389" y="1644"/>
                    <a:pt x="386" y="1650"/>
                    <a:pt x="385" y="1648"/>
                  </a:cubicBezTo>
                  <a:cubicBezTo>
                    <a:pt x="376" y="1637"/>
                    <a:pt x="375" y="1646"/>
                    <a:pt x="368" y="1645"/>
                  </a:cubicBezTo>
                  <a:cubicBezTo>
                    <a:pt x="366" y="1644"/>
                    <a:pt x="363" y="1646"/>
                    <a:pt x="362" y="1643"/>
                  </a:cubicBezTo>
                  <a:cubicBezTo>
                    <a:pt x="362" y="1641"/>
                    <a:pt x="359" y="1625"/>
                    <a:pt x="359" y="1634"/>
                  </a:cubicBezTo>
                  <a:cubicBezTo>
                    <a:pt x="360" y="1638"/>
                    <a:pt x="357" y="1641"/>
                    <a:pt x="357" y="1641"/>
                  </a:cubicBezTo>
                  <a:cubicBezTo>
                    <a:pt x="358" y="1645"/>
                    <a:pt x="372" y="1663"/>
                    <a:pt x="375" y="1663"/>
                  </a:cubicBezTo>
                  <a:cubicBezTo>
                    <a:pt x="375" y="1663"/>
                    <a:pt x="375" y="1649"/>
                    <a:pt x="379" y="1651"/>
                  </a:cubicBezTo>
                  <a:cubicBezTo>
                    <a:pt x="381" y="1652"/>
                    <a:pt x="385" y="1669"/>
                    <a:pt x="389" y="1666"/>
                  </a:cubicBezTo>
                  <a:cubicBezTo>
                    <a:pt x="394" y="1663"/>
                    <a:pt x="381" y="1651"/>
                    <a:pt x="386" y="1652"/>
                  </a:cubicBezTo>
                  <a:cubicBezTo>
                    <a:pt x="389" y="1652"/>
                    <a:pt x="393" y="1662"/>
                    <a:pt x="390" y="1651"/>
                  </a:cubicBezTo>
                  <a:close/>
                  <a:moveTo>
                    <a:pt x="405" y="1500"/>
                  </a:moveTo>
                  <a:cubicBezTo>
                    <a:pt x="405" y="1500"/>
                    <a:pt x="405" y="1500"/>
                    <a:pt x="405" y="1500"/>
                  </a:cubicBezTo>
                  <a:cubicBezTo>
                    <a:pt x="384" y="1500"/>
                    <a:pt x="406" y="1516"/>
                    <a:pt x="405" y="1500"/>
                  </a:cubicBezTo>
                  <a:close/>
                  <a:moveTo>
                    <a:pt x="425" y="1579"/>
                  </a:moveTo>
                  <a:cubicBezTo>
                    <a:pt x="427" y="1577"/>
                    <a:pt x="455" y="1576"/>
                    <a:pt x="433" y="1575"/>
                  </a:cubicBezTo>
                  <a:cubicBezTo>
                    <a:pt x="426" y="1575"/>
                    <a:pt x="420" y="1574"/>
                    <a:pt x="413" y="1574"/>
                  </a:cubicBezTo>
                  <a:cubicBezTo>
                    <a:pt x="413" y="1574"/>
                    <a:pt x="413" y="1574"/>
                    <a:pt x="413" y="1574"/>
                  </a:cubicBezTo>
                  <a:cubicBezTo>
                    <a:pt x="394" y="1582"/>
                    <a:pt x="412" y="1589"/>
                    <a:pt x="425" y="1579"/>
                  </a:cubicBezTo>
                  <a:close/>
                  <a:moveTo>
                    <a:pt x="433" y="1518"/>
                  </a:moveTo>
                  <a:cubicBezTo>
                    <a:pt x="427" y="1518"/>
                    <a:pt x="440" y="1520"/>
                    <a:pt x="441" y="1520"/>
                  </a:cubicBezTo>
                  <a:cubicBezTo>
                    <a:pt x="460" y="1523"/>
                    <a:pt x="447" y="1516"/>
                    <a:pt x="435" y="1509"/>
                  </a:cubicBezTo>
                  <a:cubicBezTo>
                    <a:pt x="434" y="1509"/>
                    <a:pt x="434" y="1509"/>
                    <a:pt x="434" y="1509"/>
                  </a:cubicBezTo>
                  <a:cubicBezTo>
                    <a:pt x="416" y="1506"/>
                    <a:pt x="448" y="1518"/>
                    <a:pt x="433" y="1518"/>
                  </a:cubicBezTo>
                  <a:close/>
                  <a:moveTo>
                    <a:pt x="447" y="1650"/>
                  </a:moveTo>
                  <a:cubicBezTo>
                    <a:pt x="447" y="1650"/>
                    <a:pt x="447" y="1650"/>
                    <a:pt x="447" y="1650"/>
                  </a:cubicBezTo>
                  <a:cubicBezTo>
                    <a:pt x="442" y="1646"/>
                    <a:pt x="435" y="1650"/>
                    <a:pt x="433" y="1647"/>
                  </a:cubicBezTo>
                  <a:cubicBezTo>
                    <a:pt x="431" y="1645"/>
                    <a:pt x="431" y="1645"/>
                    <a:pt x="428" y="1647"/>
                  </a:cubicBezTo>
                  <a:cubicBezTo>
                    <a:pt x="422" y="1651"/>
                    <a:pt x="437" y="1668"/>
                    <a:pt x="441" y="1659"/>
                  </a:cubicBezTo>
                  <a:cubicBezTo>
                    <a:pt x="443" y="1654"/>
                    <a:pt x="420" y="1652"/>
                    <a:pt x="440" y="1650"/>
                  </a:cubicBezTo>
                  <a:cubicBezTo>
                    <a:pt x="443" y="1650"/>
                    <a:pt x="445" y="1651"/>
                    <a:pt x="447" y="1650"/>
                  </a:cubicBezTo>
                  <a:close/>
                  <a:moveTo>
                    <a:pt x="442" y="1555"/>
                  </a:moveTo>
                  <a:cubicBezTo>
                    <a:pt x="442" y="1554"/>
                    <a:pt x="442" y="1554"/>
                    <a:pt x="442" y="1554"/>
                  </a:cubicBezTo>
                  <a:cubicBezTo>
                    <a:pt x="438" y="1552"/>
                    <a:pt x="430" y="1566"/>
                    <a:pt x="441" y="1567"/>
                  </a:cubicBezTo>
                  <a:cubicBezTo>
                    <a:pt x="459" y="1568"/>
                    <a:pt x="452" y="1563"/>
                    <a:pt x="442" y="1555"/>
                  </a:cubicBezTo>
                  <a:close/>
                  <a:moveTo>
                    <a:pt x="490" y="1525"/>
                  </a:moveTo>
                  <a:cubicBezTo>
                    <a:pt x="503" y="1535"/>
                    <a:pt x="490" y="1533"/>
                    <a:pt x="500" y="1537"/>
                  </a:cubicBezTo>
                  <a:cubicBezTo>
                    <a:pt x="502" y="1537"/>
                    <a:pt x="510" y="1541"/>
                    <a:pt x="511" y="1539"/>
                  </a:cubicBezTo>
                  <a:cubicBezTo>
                    <a:pt x="511" y="1539"/>
                    <a:pt x="504" y="1535"/>
                    <a:pt x="504" y="1534"/>
                  </a:cubicBezTo>
                  <a:cubicBezTo>
                    <a:pt x="502" y="1526"/>
                    <a:pt x="500" y="1524"/>
                    <a:pt x="497" y="1523"/>
                  </a:cubicBezTo>
                  <a:cubicBezTo>
                    <a:pt x="497" y="1523"/>
                    <a:pt x="497" y="1523"/>
                    <a:pt x="497" y="1523"/>
                  </a:cubicBezTo>
                  <a:cubicBezTo>
                    <a:pt x="494" y="1524"/>
                    <a:pt x="483" y="1521"/>
                    <a:pt x="490" y="1525"/>
                  </a:cubicBezTo>
                  <a:close/>
                  <a:moveTo>
                    <a:pt x="447" y="1468"/>
                  </a:moveTo>
                  <a:cubicBezTo>
                    <a:pt x="446" y="1469"/>
                    <a:pt x="446" y="1469"/>
                    <a:pt x="446" y="1469"/>
                  </a:cubicBezTo>
                  <a:cubicBezTo>
                    <a:pt x="432" y="1469"/>
                    <a:pt x="430" y="1469"/>
                    <a:pt x="424" y="1466"/>
                  </a:cubicBezTo>
                  <a:cubicBezTo>
                    <a:pt x="414" y="1460"/>
                    <a:pt x="406" y="1467"/>
                    <a:pt x="398" y="1469"/>
                  </a:cubicBezTo>
                  <a:cubicBezTo>
                    <a:pt x="395" y="1469"/>
                    <a:pt x="379" y="1465"/>
                    <a:pt x="378" y="1468"/>
                  </a:cubicBezTo>
                  <a:cubicBezTo>
                    <a:pt x="377" y="1472"/>
                    <a:pt x="384" y="1470"/>
                    <a:pt x="385" y="1470"/>
                  </a:cubicBezTo>
                  <a:cubicBezTo>
                    <a:pt x="388" y="1471"/>
                    <a:pt x="407" y="1471"/>
                    <a:pt x="407" y="1471"/>
                  </a:cubicBezTo>
                  <a:cubicBezTo>
                    <a:pt x="411" y="1472"/>
                    <a:pt x="404" y="1473"/>
                    <a:pt x="406" y="1476"/>
                  </a:cubicBezTo>
                  <a:cubicBezTo>
                    <a:pt x="409" y="1478"/>
                    <a:pt x="413" y="1475"/>
                    <a:pt x="415" y="1477"/>
                  </a:cubicBezTo>
                  <a:cubicBezTo>
                    <a:pt x="416" y="1478"/>
                    <a:pt x="403" y="1491"/>
                    <a:pt x="423" y="1489"/>
                  </a:cubicBezTo>
                  <a:cubicBezTo>
                    <a:pt x="440" y="1487"/>
                    <a:pt x="432" y="1483"/>
                    <a:pt x="442" y="1479"/>
                  </a:cubicBezTo>
                  <a:cubicBezTo>
                    <a:pt x="448" y="1476"/>
                    <a:pt x="483" y="1473"/>
                    <a:pt x="485" y="1465"/>
                  </a:cubicBezTo>
                  <a:cubicBezTo>
                    <a:pt x="485" y="1464"/>
                    <a:pt x="481" y="1466"/>
                    <a:pt x="479" y="1467"/>
                  </a:cubicBezTo>
                  <a:cubicBezTo>
                    <a:pt x="472" y="1470"/>
                    <a:pt x="452" y="1466"/>
                    <a:pt x="447" y="1468"/>
                  </a:cubicBezTo>
                  <a:close/>
                  <a:moveTo>
                    <a:pt x="447" y="1374"/>
                  </a:moveTo>
                  <a:cubicBezTo>
                    <a:pt x="447" y="1373"/>
                    <a:pt x="447" y="1373"/>
                    <a:pt x="447" y="1373"/>
                  </a:cubicBezTo>
                  <a:cubicBezTo>
                    <a:pt x="448" y="1370"/>
                    <a:pt x="443" y="1371"/>
                    <a:pt x="442" y="1371"/>
                  </a:cubicBezTo>
                  <a:cubicBezTo>
                    <a:pt x="434" y="1372"/>
                    <a:pt x="440" y="1374"/>
                    <a:pt x="440" y="1374"/>
                  </a:cubicBezTo>
                  <a:cubicBezTo>
                    <a:pt x="437" y="1376"/>
                    <a:pt x="441" y="1377"/>
                    <a:pt x="443" y="1378"/>
                  </a:cubicBezTo>
                  <a:cubicBezTo>
                    <a:pt x="450" y="1384"/>
                    <a:pt x="446" y="1378"/>
                    <a:pt x="447" y="1374"/>
                  </a:cubicBezTo>
                  <a:close/>
                  <a:moveTo>
                    <a:pt x="447" y="1077"/>
                  </a:moveTo>
                  <a:cubicBezTo>
                    <a:pt x="446" y="1077"/>
                    <a:pt x="446" y="1077"/>
                    <a:pt x="446" y="1077"/>
                  </a:cubicBezTo>
                  <a:cubicBezTo>
                    <a:pt x="436" y="1065"/>
                    <a:pt x="445" y="1079"/>
                    <a:pt x="439" y="1076"/>
                  </a:cubicBezTo>
                  <a:cubicBezTo>
                    <a:pt x="438" y="1075"/>
                    <a:pt x="433" y="1074"/>
                    <a:pt x="432" y="1076"/>
                  </a:cubicBezTo>
                  <a:cubicBezTo>
                    <a:pt x="432" y="1077"/>
                    <a:pt x="435" y="1079"/>
                    <a:pt x="436" y="1080"/>
                  </a:cubicBezTo>
                  <a:cubicBezTo>
                    <a:pt x="439" y="1083"/>
                    <a:pt x="449" y="1080"/>
                    <a:pt x="449" y="1080"/>
                  </a:cubicBezTo>
                  <a:cubicBezTo>
                    <a:pt x="449" y="1078"/>
                    <a:pt x="451" y="1078"/>
                    <a:pt x="447" y="1077"/>
                  </a:cubicBezTo>
                  <a:close/>
                  <a:moveTo>
                    <a:pt x="470" y="672"/>
                  </a:moveTo>
                  <a:cubicBezTo>
                    <a:pt x="473" y="675"/>
                    <a:pt x="473" y="680"/>
                    <a:pt x="477" y="683"/>
                  </a:cubicBezTo>
                  <a:cubicBezTo>
                    <a:pt x="489" y="692"/>
                    <a:pt x="466" y="668"/>
                    <a:pt x="486" y="680"/>
                  </a:cubicBezTo>
                  <a:cubicBezTo>
                    <a:pt x="494" y="685"/>
                    <a:pt x="504" y="691"/>
                    <a:pt x="511" y="699"/>
                  </a:cubicBezTo>
                  <a:cubicBezTo>
                    <a:pt x="512" y="700"/>
                    <a:pt x="514" y="709"/>
                    <a:pt x="515" y="709"/>
                  </a:cubicBezTo>
                  <a:cubicBezTo>
                    <a:pt x="516" y="708"/>
                    <a:pt x="517" y="706"/>
                    <a:pt x="517" y="705"/>
                  </a:cubicBezTo>
                  <a:cubicBezTo>
                    <a:pt x="515" y="700"/>
                    <a:pt x="509" y="686"/>
                    <a:pt x="502" y="683"/>
                  </a:cubicBezTo>
                  <a:cubicBezTo>
                    <a:pt x="493" y="680"/>
                    <a:pt x="442" y="653"/>
                    <a:pt x="440" y="641"/>
                  </a:cubicBezTo>
                  <a:cubicBezTo>
                    <a:pt x="440" y="640"/>
                    <a:pt x="440" y="640"/>
                    <a:pt x="440" y="640"/>
                  </a:cubicBezTo>
                  <a:cubicBezTo>
                    <a:pt x="435" y="635"/>
                    <a:pt x="442" y="649"/>
                    <a:pt x="443" y="650"/>
                  </a:cubicBezTo>
                  <a:cubicBezTo>
                    <a:pt x="449" y="660"/>
                    <a:pt x="460" y="664"/>
                    <a:pt x="470" y="672"/>
                  </a:cubicBezTo>
                  <a:close/>
                  <a:moveTo>
                    <a:pt x="512" y="1088"/>
                  </a:moveTo>
                  <a:cubicBezTo>
                    <a:pt x="512" y="1088"/>
                    <a:pt x="512" y="1088"/>
                    <a:pt x="512" y="1088"/>
                  </a:cubicBezTo>
                  <a:cubicBezTo>
                    <a:pt x="509" y="1088"/>
                    <a:pt x="505" y="1088"/>
                    <a:pt x="502" y="1089"/>
                  </a:cubicBezTo>
                  <a:cubicBezTo>
                    <a:pt x="489" y="1091"/>
                    <a:pt x="540" y="1116"/>
                    <a:pt x="512" y="1088"/>
                  </a:cubicBezTo>
                  <a:close/>
                  <a:moveTo>
                    <a:pt x="515" y="1109"/>
                  </a:moveTo>
                  <a:cubicBezTo>
                    <a:pt x="520" y="1112"/>
                    <a:pt x="512" y="1101"/>
                    <a:pt x="504" y="1098"/>
                  </a:cubicBezTo>
                  <a:cubicBezTo>
                    <a:pt x="504" y="1098"/>
                    <a:pt x="504" y="1098"/>
                    <a:pt x="504" y="1098"/>
                  </a:cubicBezTo>
                  <a:cubicBezTo>
                    <a:pt x="496" y="1098"/>
                    <a:pt x="509" y="1105"/>
                    <a:pt x="503" y="1104"/>
                  </a:cubicBezTo>
                  <a:cubicBezTo>
                    <a:pt x="493" y="1103"/>
                    <a:pt x="512" y="1108"/>
                    <a:pt x="515" y="1109"/>
                  </a:cubicBezTo>
                  <a:close/>
                  <a:moveTo>
                    <a:pt x="501" y="1285"/>
                  </a:moveTo>
                  <a:cubicBezTo>
                    <a:pt x="506" y="1290"/>
                    <a:pt x="526" y="1290"/>
                    <a:pt x="527" y="1279"/>
                  </a:cubicBezTo>
                  <a:cubicBezTo>
                    <a:pt x="527" y="1279"/>
                    <a:pt x="527" y="1279"/>
                    <a:pt x="527" y="1279"/>
                  </a:cubicBezTo>
                  <a:cubicBezTo>
                    <a:pt x="528" y="1278"/>
                    <a:pt x="498" y="1282"/>
                    <a:pt x="501" y="1285"/>
                  </a:cubicBezTo>
                  <a:close/>
                  <a:moveTo>
                    <a:pt x="527" y="811"/>
                  </a:moveTo>
                  <a:cubicBezTo>
                    <a:pt x="527" y="811"/>
                    <a:pt x="527" y="811"/>
                    <a:pt x="527" y="811"/>
                  </a:cubicBezTo>
                  <a:cubicBezTo>
                    <a:pt x="526" y="809"/>
                    <a:pt x="526" y="815"/>
                    <a:pt x="525" y="817"/>
                  </a:cubicBezTo>
                  <a:cubicBezTo>
                    <a:pt x="522" y="821"/>
                    <a:pt x="511" y="808"/>
                    <a:pt x="511" y="812"/>
                  </a:cubicBezTo>
                  <a:cubicBezTo>
                    <a:pt x="508" y="825"/>
                    <a:pt x="546" y="827"/>
                    <a:pt x="527" y="811"/>
                  </a:cubicBezTo>
                  <a:close/>
                  <a:moveTo>
                    <a:pt x="476" y="1124"/>
                  </a:moveTo>
                  <a:cubicBezTo>
                    <a:pt x="476" y="1124"/>
                    <a:pt x="476" y="1124"/>
                    <a:pt x="476" y="1124"/>
                  </a:cubicBezTo>
                  <a:cubicBezTo>
                    <a:pt x="476" y="1122"/>
                    <a:pt x="474" y="1118"/>
                    <a:pt x="473" y="1122"/>
                  </a:cubicBezTo>
                  <a:cubicBezTo>
                    <a:pt x="473" y="1126"/>
                    <a:pt x="462" y="1120"/>
                    <a:pt x="462" y="1124"/>
                  </a:cubicBezTo>
                  <a:cubicBezTo>
                    <a:pt x="462" y="1129"/>
                    <a:pt x="469" y="1128"/>
                    <a:pt x="472" y="1128"/>
                  </a:cubicBezTo>
                  <a:cubicBezTo>
                    <a:pt x="476" y="1130"/>
                    <a:pt x="479" y="1146"/>
                    <a:pt x="482" y="1144"/>
                  </a:cubicBezTo>
                  <a:cubicBezTo>
                    <a:pt x="485" y="1143"/>
                    <a:pt x="476" y="1127"/>
                    <a:pt x="476" y="1124"/>
                  </a:cubicBezTo>
                  <a:close/>
                  <a:moveTo>
                    <a:pt x="499" y="976"/>
                  </a:moveTo>
                  <a:cubicBezTo>
                    <a:pt x="500" y="976"/>
                    <a:pt x="514" y="989"/>
                    <a:pt x="515" y="987"/>
                  </a:cubicBezTo>
                  <a:cubicBezTo>
                    <a:pt x="519" y="982"/>
                    <a:pt x="488" y="970"/>
                    <a:pt x="488" y="970"/>
                  </a:cubicBezTo>
                  <a:cubicBezTo>
                    <a:pt x="488" y="970"/>
                    <a:pt x="488" y="970"/>
                    <a:pt x="488" y="970"/>
                  </a:cubicBezTo>
                  <a:cubicBezTo>
                    <a:pt x="481" y="968"/>
                    <a:pt x="472" y="966"/>
                    <a:pt x="472" y="967"/>
                  </a:cubicBezTo>
                  <a:cubicBezTo>
                    <a:pt x="474" y="978"/>
                    <a:pt x="493" y="972"/>
                    <a:pt x="499" y="976"/>
                  </a:cubicBezTo>
                  <a:close/>
                  <a:moveTo>
                    <a:pt x="558" y="1344"/>
                  </a:moveTo>
                  <a:cubicBezTo>
                    <a:pt x="557" y="1347"/>
                    <a:pt x="573" y="1347"/>
                    <a:pt x="573" y="1343"/>
                  </a:cubicBezTo>
                  <a:cubicBezTo>
                    <a:pt x="573" y="1343"/>
                    <a:pt x="573" y="1343"/>
                    <a:pt x="573" y="1343"/>
                  </a:cubicBezTo>
                  <a:cubicBezTo>
                    <a:pt x="577" y="1339"/>
                    <a:pt x="560" y="1340"/>
                    <a:pt x="558" y="1344"/>
                  </a:cubicBezTo>
                  <a:close/>
                  <a:moveTo>
                    <a:pt x="517" y="1327"/>
                  </a:moveTo>
                  <a:cubicBezTo>
                    <a:pt x="513" y="1329"/>
                    <a:pt x="518" y="1337"/>
                    <a:pt x="514" y="1339"/>
                  </a:cubicBezTo>
                  <a:cubicBezTo>
                    <a:pt x="511" y="1340"/>
                    <a:pt x="489" y="1340"/>
                    <a:pt x="489" y="1340"/>
                  </a:cubicBezTo>
                  <a:cubicBezTo>
                    <a:pt x="489" y="1347"/>
                    <a:pt x="510" y="1338"/>
                    <a:pt x="516" y="1342"/>
                  </a:cubicBezTo>
                  <a:cubicBezTo>
                    <a:pt x="528" y="1349"/>
                    <a:pt x="515" y="1335"/>
                    <a:pt x="523" y="1328"/>
                  </a:cubicBezTo>
                  <a:cubicBezTo>
                    <a:pt x="527" y="1325"/>
                    <a:pt x="534" y="1329"/>
                    <a:pt x="536" y="1327"/>
                  </a:cubicBezTo>
                  <a:cubicBezTo>
                    <a:pt x="537" y="1327"/>
                    <a:pt x="537" y="1327"/>
                    <a:pt x="537" y="1327"/>
                  </a:cubicBezTo>
                  <a:cubicBezTo>
                    <a:pt x="539" y="1325"/>
                    <a:pt x="538" y="1319"/>
                    <a:pt x="541" y="1317"/>
                  </a:cubicBezTo>
                  <a:cubicBezTo>
                    <a:pt x="550" y="1311"/>
                    <a:pt x="543" y="1323"/>
                    <a:pt x="548" y="1321"/>
                  </a:cubicBezTo>
                  <a:cubicBezTo>
                    <a:pt x="553" y="1320"/>
                    <a:pt x="568" y="1308"/>
                    <a:pt x="572" y="1303"/>
                  </a:cubicBezTo>
                  <a:cubicBezTo>
                    <a:pt x="579" y="1291"/>
                    <a:pt x="562" y="1290"/>
                    <a:pt x="570" y="1298"/>
                  </a:cubicBezTo>
                  <a:cubicBezTo>
                    <a:pt x="570" y="1298"/>
                    <a:pt x="571" y="1299"/>
                    <a:pt x="571" y="1299"/>
                  </a:cubicBezTo>
                  <a:cubicBezTo>
                    <a:pt x="572" y="1301"/>
                    <a:pt x="548" y="1308"/>
                    <a:pt x="547" y="1309"/>
                  </a:cubicBezTo>
                  <a:cubicBezTo>
                    <a:pt x="544" y="1317"/>
                    <a:pt x="525" y="1321"/>
                    <a:pt x="517" y="1327"/>
                  </a:cubicBezTo>
                  <a:close/>
                  <a:moveTo>
                    <a:pt x="551" y="929"/>
                  </a:moveTo>
                  <a:cubicBezTo>
                    <a:pt x="550" y="928"/>
                    <a:pt x="550" y="928"/>
                    <a:pt x="550" y="928"/>
                  </a:cubicBezTo>
                  <a:cubicBezTo>
                    <a:pt x="549" y="927"/>
                    <a:pt x="530" y="909"/>
                    <a:pt x="528" y="916"/>
                  </a:cubicBezTo>
                  <a:cubicBezTo>
                    <a:pt x="528" y="917"/>
                    <a:pt x="554" y="935"/>
                    <a:pt x="551" y="929"/>
                  </a:cubicBezTo>
                  <a:close/>
                  <a:moveTo>
                    <a:pt x="543" y="614"/>
                  </a:moveTo>
                  <a:cubicBezTo>
                    <a:pt x="542" y="612"/>
                    <a:pt x="546" y="615"/>
                    <a:pt x="544" y="611"/>
                  </a:cubicBezTo>
                  <a:cubicBezTo>
                    <a:pt x="543" y="607"/>
                    <a:pt x="539" y="602"/>
                    <a:pt x="536" y="600"/>
                  </a:cubicBezTo>
                  <a:cubicBezTo>
                    <a:pt x="532" y="596"/>
                    <a:pt x="507" y="579"/>
                    <a:pt x="503" y="580"/>
                  </a:cubicBezTo>
                  <a:cubicBezTo>
                    <a:pt x="502" y="580"/>
                    <a:pt x="513" y="593"/>
                    <a:pt x="501" y="586"/>
                  </a:cubicBezTo>
                  <a:cubicBezTo>
                    <a:pt x="493" y="581"/>
                    <a:pt x="502" y="578"/>
                    <a:pt x="492" y="572"/>
                  </a:cubicBezTo>
                  <a:cubicBezTo>
                    <a:pt x="488" y="569"/>
                    <a:pt x="482" y="571"/>
                    <a:pt x="478" y="569"/>
                  </a:cubicBezTo>
                  <a:cubicBezTo>
                    <a:pt x="477" y="568"/>
                    <a:pt x="470" y="564"/>
                    <a:pt x="470" y="564"/>
                  </a:cubicBezTo>
                  <a:cubicBezTo>
                    <a:pt x="467" y="565"/>
                    <a:pt x="475" y="570"/>
                    <a:pt x="475" y="570"/>
                  </a:cubicBezTo>
                  <a:cubicBezTo>
                    <a:pt x="478" y="574"/>
                    <a:pt x="492" y="575"/>
                    <a:pt x="493" y="579"/>
                  </a:cubicBezTo>
                  <a:cubicBezTo>
                    <a:pt x="494" y="580"/>
                    <a:pt x="491" y="586"/>
                    <a:pt x="492" y="589"/>
                  </a:cubicBezTo>
                  <a:cubicBezTo>
                    <a:pt x="492" y="592"/>
                    <a:pt x="498" y="590"/>
                    <a:pt x="501" y="591"/>
                  </a:cubicBezTo>
                  <a:cubicBezTo>
                    <a:pt x="505" y="592"/>
                    <a:pt x="506" y="596"/>
                    <a:pt x="508" y="599"/>
                  </a:cubicBezTo>
                  <a:cubicBezTo>
                    <a:pt x="515" y="604"/>
                    <a:pt x="525" y="598"/>
                    <a:pt x="541" y="617"/>
                  </a:cubicBezTo>
                  <a:cubicBezTo>
                    <a:pt x="542" y="617"/>
                    <a:pt x="542" y="617"/>
                    <a:pt x="542" y="617"/>
                  </a:cubicBezTo>
                  <a:cubicBezTo>
                    <a:pt x="543" y="620"/>
                    <a:pt x="556" y="625"/>
                    <a:pt x="558" y="621"/>
                  </a:cubicBezTo>
                  <a:cubicBezTo>
                    <a:pt x="559" y="615"/>
                    <a:pt x="546" y="619"/>
                    <a:pt x="543" y="614"/>
                  </a:cubicBezTo>
                  <a:close/>
                  <a:moveTo>
                    <a:pt x="577" y="531"/>
                  </a:moveTo>
                  <a:cubicBezTo>
                    <a:pt x="571" y="525"/>
                    <a:pt x="534" y="507"/>
                    <a:pt x="525" y="507"/>
                  </a:cubicBezTo>
                  <a:cubicBezTo>
                    <a:pt x="524" y="507"/>
                    <a:pt x="524" y="507"/>
                    <a:pt x="523" y="507"/>
                  </a:cubicBezTo>
                  <a:cubicBezTo>
                    <a:pt x="523" y="507"/>
                    <a:pt x="531" y="510"/>
                    <a:pt x="531" y="510"/>
                  </a:cubicBezTo>
                  <a:cubicBezTo>
                    <a:pt x="533" y="511"/>
                    <a:pt x="541" y="517"/>
                    <a:pt x="543" y="519"/>
                  </a:cubicBezTo>
                  <a:cubicBezTo>
                    <a:pt x="549" y="528"/>
                    <a:pt x="558" y="523"/>
                    <a:pt x="573" y="532"/>
                  </a:cubicBezTo>
                  <a:cubicBezTo>
                    <a:pt x="576" y="534"/>
                    <a:pt x="571" y="538"/>
                    <a:pt x="577" y="542"/>
                  </a:cubicBezTo>
                  <a:cubicBezTo>
                    <a:pt x="577" y="543"/>
                    <a:pt x="577" y="543"/>
                    <a:pt x="577" y="543"/>
                  </a:cubicBezTo>
                  <a:cubicBezTo>
                    <a:pt x="582" y="546"/>
                    <a:pt x="579" y="533"/>
                    <a:pt x="577" y="531"/>
                  </a:cubicBezTo>
                  <a:close/>
                  <a:moveTo>
                    <a:pt x="658" y="519"/>
                  </a:moveTo>
                  <a:cubicBezTo>
                    <a:pt x="656" y="515"/>
                    <a:pt x="632" y="509"/>
                    <a:pt x="618" y="490"/>
                  </a:cubicBezTo>
                  <a:cubicBezTo>
                    <a:pt x="617" y="489"/>
                    <a:pt x="622" y="480"/>
                    <a:pt x="622" y="479"/>
                  </a:cubicBezTo>
                  <a:cubicBezTo>
                    <a:pt x="623" y="476"/>
                    <a:pt x="613" y="472"/>
                    <a:pt x="618" y="469"/>
                  </a:cubicBezTo>
                  <a:cubicBezTo>
                    <a:pt x="621" y="467"/>
                    <a:pt x="637" y="473"/>
                    <a:pt x="635" y="468"/>
                  </a:cubicBezTo>
                  <a:cubicBezTo>
                    <a:pt x="635" y="467"/>
                    <a:pt x="634" y="467"/>
                    <a:pt x="634" y="466"/>
                  </a:cubicBezTo>
                  <a:cubicBezTo>
                    <a:pt x="628" y="459"/>
                    <a:pt x="618" y="463"/>
                    <a:pt x="609" y="454"/>
                  </a:cubicBezTo>
                  <a:cubicBezTo>
                    <a:pt x="609" y="453"/>
                    <a:pt x="608" y="453"/>
                    <a:pt x="608" y="453"/>
                  </a:cubicBezTo>
                  <a:cubicBezTo>
                    <a:pt x="602" y="451"/>
                    <a:pt x="612" y="452"/>
                    <a:pt x="612" y="451"/>
                  </a:cubicBezTo>
                  <a:cubicBezTo>
                    <a:pt x="613" y="443"/>
                    <a:pt x="594" y="450"/>
                    <a:pt x="590" y="443"/>
                  </a:cubicBezTo>
                  <a:cubicBezTo>
                    <a:pt x="582" y="433"/>
                    <a:pt x="538" y="400"/>
                    <a:pt x="529" y="412"/>
                  </a:cubicBezTo>
                  <a:cubicBezTo>
                    <a:pt x="528" y="413"/>
                    <a:pt x="542" y="415"/>
                    <a:pt x="539" y="416"/>
                  </a:cubicBezTo>
                  <a:cubicBezTo>
                    <a:pt x="530" y="419"/>
                    <a:pt x="556" y="420"/>
                    <a:pt x="563" y="428"/>
                  </a:cubicBezTo>
                  <a:cubicBezTo>
                    <a:pt x="567" y="434"/>
                    <a:pt x="579" y="434"/>
                    <a:pt x="579" y="441"/>
                  </a:cubicBezTo>
                  <a:cubicBezTo>
                    <a:pt x="579" y="441"/>
                    <a:pt x="566" y="441"/>
                    <a:pt x="567" y="442"/>
                  </a:cubicBezTo>
                  <a:cubicBezTo>
                    <a:pt x="582" y="453"/>
                    <a:pt x="602" y="450"/>
                    <a:pt x="612" y="466"/>
                  </a:cubicBezTo>
                  <a:cubicBezTo>
                    <a:pt x="612" y="466"/>
                    <a:pt x="612" y="467"/>
                    <a:pt x="612" y="467"/>
                  </a:cubicBezTo>
                  <a:cubicBezTo>
                    <a:pt x="611" y="467"/>
                    <a:pt x="611" y="467"/>
                    <a:pt x="610" y="467"/>
                  </a:cubicBezTo>
                  <a:cubicBezTo>
                    <a:pt x="604" y="466"/>
                    <a:pt x="606" y="476"/>
                    <a:pt x="601" y="467"/>
                  </a:cubicBezTo>
                  <a:cubicBezTo>
                    <a:pt x="601" y="466"/>
                    <a:pt x="599" y="463"/>
                    <a:pt x="597" y="464"/>
                  </a:cubicBezTo>
                  <a:cubicBezTo>
                    <a:pt x="597" y="465"/>
                    <a:pt x="598" y="471"/>
                    <a:pt x="595" y="470"/>
                  </a:cubicBezTo>
                  <a:cubicBezTo>
                    <a:pt x="592" y="470"/>
                    <a:pt x="590" y="463"/>
                    <a:pt x="587" y="462"/>
                  </a:cubicBezTo>
                  <a:cubicBezTo>
                    <a:pt x="586" y="462"/>
                    <a:pt x="584" y="460"/>
                    <a:pt x="584" y="460"/>
                  </a:cubicBezTo>
                  <a:cubicBezTo>
                    <a:pt x="580" y="461"/>
                    <a:pt x="587" y="473"/>
                    <a:pt x="585" y="470"/>
                  </a:cubicBezTo>
                  <a:cubicBezTo>
                    <a:pt x="583" y="466"/>
                    <a:pt x="579" y="456"/>
                    <a:pt x="573" y="462"/>
                  </a:cubicBezTo>
                  <a:cubicBezTo>
                    <a:pt x="571" y="465"/>
                    <a:pt x="564" y="459"/>
                    <a:pt x="563" y="461"/>
                  </a:cubicBezTo>
                  <a:cubicBezTo>
                    <a:pt x="562" y="464"/>
                    <a:pt x="567" y="464"/>
                    <a:pt x="565" y="466"/>
                  </a:cubicBezTo>
                  <a:cubicBezTo>
                    <a:pt x="564" y="468"/>
                    <a:pt x="570" y="477"/>
                    <a:pt x="570" y="477"/>
                  </a:cubicBezTo>
                  <a:cubicBezTo>
                    <a:pt x="574" y="474"/>
                    <a:pt x="566" y="469"/>
                    <a:pt x="576" y="467"/>
                  </a:cubicBezTo>
                  <a:cubicBezTo>
                    <a:pt x="577" y="466"/>
                    <a:pt x="577" y="467"/>
                    <a:pt x="578" y="467"/>
                  </a:cubicBezTo>
                  <a:cubicBezTo>
                    <a:pt x="581" y="468"/>
                    <a:pt x="582" y="472"/>
                    <a:pt x="583" y="474"/>
                  </a:cubicBezTo>
                  <a:cubicBezTo>
                    <a:pt x="589" y="479"/>
                    <a:pt x="603" y="478"/>
                    <a:pt x="604" y="485"/>
                  </a:cubicBezTo>
                  <a:cubicBezTo>
                    <a:pt x="605" y="487"/>
                    <a:pt x="597" y="487"/>
                    <a:pt x="595" y="487"/>
                  </a:cubicBezTo>
                  <a:cubicBezTo>
                    <a:pt x="594" y="488"/>
                    <a:pt x="600" y="492"/>
                    <a:pt x="600" y="492"/>
                  </a:cubicBezTo>
                  <a:cubicBezTo>
                    <a:pt x="601" y="497"/>
                    <a:pt x="594" y="495"/>
                    <a:pt x="595" y="496"/>
                  </a:cubicBezTo>
                  <a:cubicBezTo>
                    <a:pt x="605" y="511"/>
                    <a:pt x="608" y="494"/>
                    <a:pt x="613" y="492"/>
                  </a:cubicBezTo>
                  <a:cubicBezTo>
                    <a:pt x="614" y="492"/>
                    <a:pt x="632" y="508"/>
                    <a:pt x="631" y="519"/>
                  </a:cubicBezTo>
                  <a:cubicBezTo>
                    <a:pt x="631" y="521"/>
                    <a:pt x="631" y="521"/>
                    <a:pt x="631" y="521"/>
                  </a:cubicBezTo>
                  <a:cubicBezTo>
                    <a:pt x="632" y="522"/>
                    <a:pt x="631" y="539"/>
                    <a:pt x="639" y="540"/>
                  </a:cubicBezTo>
                  <a:cubicBezTo>
                    <a:pt x="640" y="540"/>
                    <a:pt x="643" y="537"/>
                    <a:pt x="641" y="536"/>
                  </a:cubicBezTo>
                  <a:cubicBezTo>
                    <a:pt x="630" y="528"/>
                    <a:pt x="646" y="529"/>
                    <a:pt x="645" y="528"/>
                  </a:cubicBezTo>
                  <a:cubicBezTo>
                    <a:pt x="644" y="528"/>
                    <a:pt x="640" y="527"/>
                    <a:pt x="642" y="526"/>
                  </a:cubicBezTo>
                  <a:cubicBezTo>
                    <a:pt x="646" y="523"/>
                    <a:pt x="663" y="536"/>
                    <a:pt x="672" y="531"/>
                  </a:cubicBezTo>
                  <a:cubicBezTo>
                    <a:pt x="677" y="527"/>
                    <a:pt x="660" y="525"/>
                    <a:pt x="658" y="519"/>
                  </a:cubicBezTo>
                  <a:close/>
                  <a:moveTo>
                    <a:pt x="613" y="408"/>
                  </a:moveTo>
                  <a:cubicBezTo>
                    <a:pt x="614" y="408"/>
                    <a:pt x="614" y="408"/>
                    <a:pt x="614" y="408"/>
                  </a:cubicBezTo>
                  <a:cubicBezTo>
                    <a:pt x="620" y="409"/>
                    <a:pt x="614" y="400"/>
                    <a:pt x="611" y="397"/>
                  </a:cubicBezTo>
                  <a:cubicBezTo>
                    <a:pt x="603" y="390"/>
                    <a:pt x="572" y="371"/>
                    <a:pt x="573" y="367"/>
                  </a:cubicBezTo>
                  <a:cubicBezTo>
                    <a:pt x="573" y="364"/>
                    <a:pt x="567" y="361"/>
                    <a:pt x="566" y="364"/>
                  </a:cubicBezTo>
                  <a:cubicBezTo>
                    <a:pt x="564" y="368"/>
                    <a:pt x="609" y="406"/>
                    <a:pt x="613" y="408"/>
                  </a:cubicBezTo>
                  <a:close/>
                  <a:moveTo>
                    <a:pt x="659" y="413"/>
                  </a:moveTo>
                  <a:cubicBezTo>
                    <a:pt x="656" y="414"/>
                    <a:pt x="652" y="412"/>
                    <a:pt x="649" y="413"/>
                  </a:cubicBezTo>
                  <a:cubicBezTo>
                    <a:pt x="648" y="413"/>
                    <a:pt x="648" y="414"/>
                    <a:pt x="648" y="414"/>
                  </a:cubicBezTo>
                  <a:cubicBezTo>
                    <a:pt x="649" y="415"/>
                    <a:pt x="653" y="415"/>
                    <a:pt x="652" y="415"/>
                  </a:cubicBezTo>
                  <a:cubicBezTo>
                    <a:pt x="652" y="416"/>
                    <a:pt x="647" y="415"/>
                    <a:pt x="646" y="415"/>
                  </a:cubicBezTo>
                  <a:cubicBezTo>
                    <a:pt x="640" y="412"/>
                    <a:pt x="633" y="411"/>
                    <a:pt x="626" y="408"/>
                  </a:cubicBezTo>
                  <a:cubicBezTo>
                    <a:pt x="614" y="401"/>
                    <a:pt x="629" y="423"/>
                    <a:pt x="626" y="411"/>
                  </a:cubicBezTo>
                  <a:cubicBezTo>
                    <a:pt x="626" y="411"/>
                    <a:pt x="626" y="411"/>
                    <a:pt x="626" y="411"/>
                  </a:cubicBezTo>
                  <a:cubicBezTo>
                    <a:pt x="629" y="412"/>
                    <a:pt x="644" y="422"/>
                    <a:pt x="644" y="422"/>
                  </a:cubicBezTo>
                  <a:cubicBezTo>
                    <a:pt x="650" y="422"/>
                    <a:pt x="660" y="413"/>
                    <a:pt x="667" y="416"/>
                  </a:cubicBezTo>
                  <a:cubicBezTo>
                    <a:pt x="679" y="421"/>
                    <a:pt x="674" y="424"/>
                    <a:pt x="678" y="430"/>
                  </a:cubicBezTo>
                  <a:cubicBezTo>
                    <a:pt x="679" y="431"/>
                    <a:pt x="680" y="432"/>
                    <a:pt x="681" y="432"/>
                  </a:cubicBezTo>
                  <a:cubicBezTo>
                    <a:pt x="690" y="428"/>
                    <a:pt x="672" y="410"/>
                    <a:pt x="659" y="413"/>
                  </a:cubicBezTo>
                  <a:close/>
                  <a:moveTo>
                    <a:pt x="703" y="374"/>
                  </a:moveTo>
                  <a:cubicBezTo>
                    <a:pt x="702" y="370"/>
                    <a:pt x="679" y="361"/>
                    <a:pt x="674" y="361"/>
                  </a:cubicBezTo>
                  <a:cubicBezTo>
                    <a:pt x="669" y="361"/>
                    <a:pt x="663" y="361"/>
                    <a:pt x="658" y="360"/>
                  </a:cubicBezTo>
                  <a:cubicBezTo>
                    <a:pt x="657" y="360"/>
                    <a:pt x="648" y="362"/>
                    <a:pt x="651" y="364"/>
                  </a:cubicBezTo>
                  <a:cubicBezTo>
                    <a:pt x="653" y="365"/>
                    <a:pt x="657" y="364"/>
                    <a:pt x="659" y="364"/>
                  </a:cubicBezTo>
                  <a:cubicBezTo>
                    <a:pt x="664" y="363"/>
                    <a:pt x="672" y="363"/>
                    <a:pt x="676" y="364"/>
                  </a:cubicBezTo>
                  <a:cubicBezTo>
                    <a:pt x="683" y="367"/>
                    <a:pt x="686" y="375"/>
                    <a:pt x="691" y="378"/>
                  </a:cubicBezTo>
                  <a:cubicBezTo>
                    <a:pt x="691" y="378"/>
                    <a:pt x="691" y="378"/>
                    <a:pt x="691" y="378"/>
                  </a:cubicBezTo>
                  <a:cubicBezTo>
                    <a:pt x="694" y="380"/>
                    <a:pt x="699" y="379"/>
                    <a:pt x="697" y="375"/>
                  </a:cubicBezTo>
                  <a:cubicBezTo>
                    <a:pt x="693" y="369"/>
                    <a:pt x="704" y="377"/>
                    <a:pt x="703" y="374"/>
                  </a:cubicBezTo>
                  <a:close/>
                  <a:moveTo>
                    <a:pt x="756" y="372"/>
                  </a:moveTo>
                  <a:cubicBezTo>
                    <a:pt x="754" y="366"/>
                    <a:pt x="699" y="344"/>
                    <a:pt x="676" y="338"/>
                  </a:cubicBezTo>
                  <a:cubicBezTo>
                    <a:pt x="667" y="336"/>
                    <a:pt x="655" y="343"/>
                    <a:pt x="646" y="343"/>
                  </a:cubicBezTo>
                  <a:cubicBezTo>
                    <a:pt x="637" y="343"/>
                    <a:pt x="613" y="343"/>
                    <a:pt x="606" y="336"/>
                  </a:cubicBezTo>
                  <a:cubicBezTo>
                    <a:pt x="606" y="335"/>
                    <a:pt x="602" y="332"/>
                    <a:pt x="600" y="334"/>
                  </a:cubicBezTo>
                  <a:cubicBezTo>
                    <a:pt x="595" y="342"/>
                    <a:pt x="621" y="344"/>
                    <a:pt x="624" y="345"/>
                  </a:cubicBezTo>
                  <a:cubicBezTo>
                    <a:pt x="625" y="345"/>
                    <a:pt x="625" y="345"/>
                    <a:pt x="625" y="345"/>
                  </a:cubicBezTo>
                  <a:cubicBezTo>
                    <a:pt x="638" y="351"/>
                    <a:pt x="660" y="342"/>
                    <a:pt x="673" y="341"/>
                  </a:cubicBezTo>
                  <a:cubicBezTo>
                    <a:pt x="679" y="340"/>
                    <a:pt x="686" y="348"/>
                    <a:pt x="692" y="348"/>
                  </a:cubicBezTo>
                  <a:cubicBezTo>
                    <a:pt x="692" y="348"/>
                    <a:pt x="695" y="348"/>
                    <a:pt x="695" y="349"/>
                  </a:cubicBezTo>
                  <a:cubicBezTo>
                    <a:pt x="695" y="350"/>
                    <a:pt x="689" y="351"/>
                    <a:pt x="690" y="352"/>
                  </a:cubicBezTo>
                  <a:cubicBezTo>
                    <a:pt x="692" y="355"/>
                    <a:pt x="701" y="350"/>
                    <a:pt x="702" y="350"/>
                  </a:cubicBezTo>
                  <a:cubicBezTo>
                    <a:pt x="713" y="351"/>
                    <a:pt x="735" y="369"/>
                    <a:pt x="736" y="371"/>
                  </a:cubicBezTo>
                  <a:cubicBezTo>
                    <a:pt x="737" y="374"/>
                    <a:pt x="754" y="381"/>
                    <a:pt x="752" y="378"/>
                  </a:cubicBezTo>
                  <a:cubicBezTo>
                    <a:pt x="751" y="375"/>
                    <a:pt x="757" y="374"/>
                    <a:pt x="756" y="372"/>
                  </a:cubicBezTo>
                  <a:close/>
                  <a:moveTo>
                    <a:pt x="645" y="316"/>
                  </a:moveTo>
                  <a:cubicBezTo>
                    <a:pt x="655" y="317"/>
                    <a:pt x="665" y="319"/>
                    <a:pt x="673" y="324"/>
                  </a:cubicBezTo>
                  <a:cubicBezTo>
                    <a:pt x="674" y="325"/>
                    <a:pt x="674" y="325"/>
                    <a:pt x="674" y="325"/>
                  </a:cubicBezTo>
                  <a:cubicBezTo>
                    <a:pt x="678" y="328"/>
                    <a:pt x="676" y="321"/>
                    <a:pt x="675" y="319"/>
                  </a:cubicBezTo>
                  <a:cubicBezTo>
                    <a:pt x="673" y="317"/>
                    <a:pt x="638" y="303"/>
                    <a:pt x="632" y="316"/>
                  </a:cubicBezTo>
                  <a:cubicBezTo>
                    <a:pt x="630" y="319"/>
                    <a:pt x="644" y="316"/>
                    <a:pt x="645" y="316"/>
                  </a:cubicBezTo>
                  <a:close/>
                  <a:moveTo>
                    <a:pt x="786" y="378"/>
                  </a:moveTo>
                  <a:cubicBezTo>
                    <a:pt x="786" y="370"/>
                    <a:pt x="768" y="361"/>
                    <a:pt x="766" y="368"/>
                  </a:cubicBezTo>
                  <a:cubicBezTo>
                    <a:pt x="765" y="372"/>
                    <a:pt x="782" y="375"/>
                    <a:pt x="779" y="380"/>
                  </a:cubicBezTo>
                  <a:cubicBezTo>
                    <a:pt x="777" y="384"/>
                    <a:pt x="755" y="375"/>
                    <a:pt x="754" y="381"/>
                  </a:cubicBezTo>
                  <a:cubicBezTo>
                    <a:pt x="753" y="383"/>
                    <a:pt x="761" y="385"/>
                    <a:pt x="762" y="385"/>
                  </a:cubicBezTo>
                  <a:cubicBezTo>
                    <a:pt x="762" y="385"/>
                    <a:pt x="762" y="385"/>
                    <a:pt x="762" y="385"/>
                  </a:cubicBezTo>
                  <a:cubicBezTo>
                    <a:pt x="766" y="384"/>
                    <a:pt x="786" y="383"/>
                    <a:pt x="786" y="378"/>
                  </a:cubicBezTo>
                  <a:close/>
                  <a:moveTo>
                    <a:pt x="742" y="298"/>
                  </a:moveTo>
                  <a:cubicBezTo>
                    <a:pt x="727" y="289"/>
                    <a:pt x="714" y="271"/>
                    <a:pt x="698" y="263"/>
                  </a:cubicBezTo>
                  <a:cubicBezTo>
                    <a:pt x="689" y="259"/>
                    <a:pt x="679" y="263"/>
                    <a:pt x="670" y="260"/>
                  </a:cubicBezTo>
                  <a:cubicBezTo>
                    <a:pt x="659" y="258"/>
                    <a:pt x="650" y="243"/>
                    <a:pt x="640" y="238"/>
                  </a:cubicBezTo>
                  <a:cubicBezTo>
                    <a:pt x="627" y="232"/>
                    <a:pt x="615" y="229"/>
                    <a:pt x="602" y="224"/>
                  </a:cubicBezTo>
                  <a:cubicBezTo>
                    <a:pt x="594" y="222"/>
                    <a:pt x="544" y="198"/>
                    <a:pt x="541" y="200"/>
                  </a:cubicBezTo>
                  <a:cubicBezTo>
                    <a:pt x="537" y="203"/>
                    <a:pt x="547" y="203"/>
                    <a:pt x="550" y="206"/>
                  </a:cubicBezTo>
                  <a:cubicBezTo>
                    <a:pt x="560" y="212"/>
                    <a:pt x="566" y="216"/>
                    <a:pt x="566" y="216"/>
                  </a:cubicBezTo>
                  <a:cubicBezTo>
                    <a:pt x="567" y="220"/>
                    <a:pt x="551" y="215"/>
                    <a:pt x="552" y="216"/>
                  </a:cubicBezTo>
                  <a:cubicBezTo>
                    <a:pt x="554" y="222"/>
                    <a:pt x="611" y="232"/>
                    <a:pt x="633" y="239"/>
                  </a:cubicBezTo>
                  <a:cubicBezTo>
                    <a:pt x="635" y="240"/>
                    <a:pt x="658" y="257"/>
                    <a:pt x="664" y="262"/>
                  </a:cubicBezTo>
                  <a:cubicBezTo>
                    <a:pt x="674" y="269"/>
                    <a:pt x="689" y="262"/>
                    <a:pt x="696" y="267"/>
                  </a:cubicBezTo>
                  <a:cubicBezTo>
                    <a:pt x="712" y="277"/>
                    <a:pt x="731" y="301"/>
                    <a:pt x="740" y="306"/>
                  </a:cubicBezTo>
                  <a:cubicBezTo>
                    <a:pt x="747" y="310"/>
                    <a:pt x="755" y="305"/>
                    <a:pt x="763" y="308"/>
                  </a:cubicBezTo>
                  <a:cubicBezTo>
                    <a:pt x="764" y="308"/>
                    <a:pt x="782" y="325"/>
                    <a:pt x="786" y="324"/>
                  </a:cubicBezTo>
                  <a:cubicBezTo>
                    <a:pt x="786" y="323"/>
                    <a:pt x="786" y="323"/>
                    <a:pt x="786" y="323"/>
                  </a:cubicBezTo>
                  <a:cubicBezTo>
                    <a:pt x="791" y="302"/>
                    <a:pt x="751" y="304"/>
                    <a:pt x="742" y="298"/>
                  </a:cubicBezTo>
                  <a:close/>
                  <a:moveTo>
                    <a:pt x="780" y="197"/>
                  </a:moveTo>
                  <a:cubicBezTo>
                    <a:pt x="764" y="197"/>
                    <a:pt x="748" y="192"/>
                    <a:pt x="731" y="192"/>
                  </a:cubicBezTo>
                  <a:cubicBezTo>
                    <a:pt x="729" y="192"/>
                    <a:pt x="718" y="193"/>
                    <a:pt x="718" y="193"/>
                  </a:cubicBezTo>
                  <a:cubicBezTo>
                    <a:pt x="719" y="195"/>
                    <a:pt x="723" y="196"/>
                    <a:pt x="724" y="196"/>
                  </a:cubicBezTo>
                  <a:cubicBezTo>
                    <a:pt x="752" y="197"/>
                    <a:pt x="772" y="200"/>
                    <a:pt x="798" y="208"/>
                  </a:cubicBezTo>
                  <a:cubicBezTo>
                    <a:pt x="798" y="208"/>
                    <a:pt x="798" y="208"/>
                    <a:pt x="798" y="208"/>
                  </a:cubicBezTo>
                  <a:cubicBezTo>
                    <a:pt x="806" y="209"/>
                    <a:pt x="786" y="197"/>
                    <a:pt x="780" y="197"/>
                  </a:cubicBezTo>
                  <a:close/>
                  <a:moveTo>
                    <a:pt x="848" y="705"/>
                  </a:moveTo>
                  <a:cubicBezTo>
                    <a:pt x="842" y="703"/>
                    <a:pt x="834" y="719"/>
                    <a:pt x="844" y="723"/>
                  </a:cubicBezTo>
                  <a:cubicBezTo>
                    <a:pt x="844" y="723"/>
                    <a:pt x="844" y="723"/>
                    <a:pt x="844" y="723"/>
                  </a:cubicBezTo>
                  <a:cubicBezTo>
                    <a:pt x="847" y="728"/>
                    <a:pt x="852" y="707"/>
                    <a:pt x="848" y="705"/>
                  </a:cubicBezTo>
                  <a:close/>
                  <a:moveTo>
                    <a:pt x="876" y="191"/>
                  </a:moveTo>
                  <a:cubicBezTo>
                    <a:pt x="874" y="183"/>
                    <a:pt x="861" y="191"/>
                    <a:pt x="852" y="190"/>
                  </a:cubicBezTo>
                  <a:cubicBezTo>
                    <a:pt x="849" y="189"/>
                    <a:pt x="847" y="188"/>
                    <a:pt x="844" y="186"/>
                  </a:cubicBezTo>
                  <a:cubicBezTo>
                    <a:pt x="843" y="185"/>
                    <a:pt x="843" y="183"/>
                    <a:pt x="842" y="181"/>
                  </a:cubicBezTo>
                  <a:cubicBezTo>
                    <a:pt x="842" y="178"/>
                    <a:pt x="845" y="169"/>
                    <a:pt x="841" y="168"/>
                  </a:cubicBezTo>
                  <a:cubicBezTo>
                    <a:pt x="838" y="166"/>
                    <a:pt x="843" y="176"/>
                    <a:pt x="840" y="176"/>
                  </a:cubicBezTo>
                  <a:cubicBezTo>
                    <a:pt x="828" y="176"/>
                    <a:pt x="835" y="166"/>
                    <a:pt x="832" y="163"/>
                  </a:cubicBezTo>
                  <a:cubicBezTo>
                    <a:pt x="829" y="160"/>
                    <a:pt x="830" y="165"/>
                    <a:pt x="828" y="166"/>
                  </a:cubicBezTo>
                  <a:cubicBezTo>
                    <a:pt x="823" y="170"/>
                    <a:pt x="816" y="155"/>
                    <a:pt x="813" y="152"/>
                  </a:cubicBezTo>
                  <a:cubicBezTo>
                    <a:pt x="810" y="148"/>
                    <a:pt x="802" y="136"/>
                    <a:pt x="809" y="136"/>
                  </a:cubicBezTo>
                  <a:cubicBezTo>
                    <a:pt x="809" y="136"/>
                    <a:pt x="812" y="137"/>
                    <a:pt x="811" y="136"/>
                  </a:cubicBezTo>
                  <a:cubicBezTo>
                    <a:pt x="807" y="129"/>
                    <a:pt x="776" y="128"/>
                    <a:pt x="770" y="128"/>
                  </a:cubicBezTo>
                  <a:cubicBezTo>
                    <a:pt x="769" y="128"/>
                    <a:pt x="764" y="128"/>
                    <a:pt x="764" y="127"/>
                  </a:cubicBezTo>
                  <a:cubicBezTo>
                    <a:pt x="766" y="119"/>
                    <a:pt x="797" y="128"/>
                    <a:pt x="794" y="123"/>
                  </a:cubicBezTo>
                  <a:cubicBezTo>
                    <a:pt x="788" y="115"/>
                    <a:pt x="745" y="122"/>
                    <a:pt x="732" y="115"/>
                  </a:cubicBezTo>
                  <a:cubicBezTo>
                    <a:pt x="721" y="109"/>
                    <a:pt x="708" y="106"/>
                    <a:pt x="695" y="102"/>
                  </a:cubicBezTo>
                  <a:cubicBezTo>
                    <a:pt x="688" y="100"/>
                    <a:pt x="677" y="87"/>
                    <a:pt x="675" y="94"/>
                  </a:cubicBezTo>
                  <a:cubicBezTo>
                    <a:pt x="672" y="117"/>
                    <a:pt x="744" y="120"/>
                    <a:pt x="757" y="123"/>
                  </a:cubicBezTo>
                  <a:cubicBezTo>
                    <a:pt x="761" y="125"/>
                    <a:pt x="758" y="130"/>
                    <a:pt x="765" y="132"/>
                  </a:cubicBezTo>
                  <a:cubicBezTo>
                    <a:pt x="778" y="137"/>
                    <a:pt x="795" y="134"/>
                    <a:pt x="806" y="143"/>
                  </a:cubicBezTo>
                  <a:cubicBezTo>
                    <a:pt x="811" y="147"/>
                    <a:pt x="814" y="159"/>
                    <a:pt x="818" y="164"/>
                  </a:cubicBezTo>
                  <a:cubicBezTo>
                    <a:pt x="822" y="171"/>
                    <a:pt x="833" y="179"/>
                    <a:pt x="844" y="186"/>
                  </a:cubicBezTo>
                  <a:cubicBezTo>
                    <a:pt x="846" y="189"/>
                    <a:pt x="849" y="190"/>
                    <a:pt x="852" y="190"/>
                  </a:cubicBezTo>
                  <a:cubicBezTo>
                    <a:pt x="856" y="193"/>
                    <a:pt x="860" y="195"/>
                    <a:pt x="864" y="196"/>
                  </a:cubicBezTo>
                  <a:cubicBezTo>
                    <a:pt x="868" y="199"/>
                    <a:pt x="875" y="202"/>
                    <a:pt x="872" y="200"/>
                  </a:cubicBezTo>
                  <a:cubicBezTo>
                    <a:pt x="872" y="200"/>
                    <a:pt x="872" y="200"/>
                    <a:pt x="872" y="200"/>
                  </a:cubicBezTo>
                  <a:cubicBezTo>
                    <a:pt x="869" y="199"/>
                    <a:pt x="866" y="198"/>
                    <a:pt x="864" y="196"/>
                  </a:cubicBezTo>
                  <a:cubicBezTo>
                    <a:pt x="862" y="195"/>
                    <a:pt x="861" y="194"/>
                    <a:pt x="862" y="193"/>
                  </a:cubicBezTo>
                  <a:cubicBezTo>
                    <a:pt x="864" y="191"/>
                    <a:pt x="871" y="197"/>
                    <a:pt x="874" y="195"/>
                  </a:cubicBezTo>
                  <a:cubicBezTo>
                    <a:pt x="876" y="194"/>
                    <a:pt x="876" y="193"/>
                    <a:pt x="876" y="191"/>
                  </a:cubicBezTo>
                  <a:close/>
                  <a:moveTo>
                    <a:pt x="42" y="1640"/>
                  </a:moveTo>
                  <a:cubicBezTo>
                    <a:pt x="44" y="1643"/>
                    <a:pt x="47" y="1637"/>
                    <a:pt x="49" y="1635"/>
                  </a:cubicBezTo>
                  <a:cubicBezTo>
                    <a:pt x="53" y="1631"/>
                    <a:pt x="88" y="1652"/>
                    <a:pt x="67" y="1612"/>
                  </a:cubicBezTo>
                  <a:cubicBezTo>
                    <a:pt x="67" y="1612"/>
                    <a:pt x="67" y="1612"/>
                    <a:pt x="67" y="1612"/>
                  </a:cubicBezTo>
                  <a:cubicBezTo>
                    <a:pt x="62" y="1611"/>
                    <a:pt x="29" y="1628"/>
                    <a:pt x="42" y="1640"/>
                  </a:cubicBezTo>
                  <a:close/>
                  <a:moveTo>
                    <a:pt x="541" y="1740"/>
                  </a:moveTo>
                  <a:cubicBezTo>
                    <a:pt x="539" y="1735"/>
                    <a:pt x="530" y="1746"/>
                    <a:pt x="531" y="1753"/>
                  </a:cubicBezTo>
                  <a:cubicBezTo>
                    <a:pt x="533" y="1761"/>
                    <a:pt x="525" y="1758"/>
                    <a:pt x="526" y="1765"/>
                  </a:cubicBezTo>
                  <a:cubicBezTo>
                    <a:pt x="527" y="1772"/>
                    <a:pt x="526" y="1775"/>
                    <a:pt x="517" y="1789"/>
                  </a:cubicBezTo>
                  <a:cubicBezTo>
                    <a:pt x="508" y="1804"/>
                    <a:pt x="514" y="1806"/>
                    <a:pt x="507" y="1805"/>
                  </a:cubicBezTo>
                  <a:cubicBezTo>
                    <a:pt x="499" y="1805"/>
                    <a:pt x="501" y="1807"/>
                    <a:pt x="494" y="1821"/>
                  </a:cubicBezTo>
                  <a:cubicBezTo>
                    <a:pt x="487" y="1835"/>
                    <a:pt x="479" y="1848"/>
                    <a:pt x="481" y="1865"/>
                  </a:cubicBezTo>
                  <a:cubicBezTo>
                    <a:pt x="484" y="1881"/>
                    <a:pt x="478" y="1900"/>
                    <a:pt x="484" y="1900"/>
                  </a:cubicBezTo>
                  <a:cubicBezTo>
                    <a:pt x="494" y="1899"/>
                    <a:pt x="496" y="1873"/>
                    <a:pt x="500" y="1867"/>
                  </a:cubicBezTo>
                  <a:cubicBezTo>
                    <a:pt x="504" y="1861"/>
                    <a:pt x="500" y="1852"/>
                    <a:pt x="504" y="1850"/>
                  </a:cubicBezTo>
                  <a:cubicBezTo>
                    <a:pt x="508" y="1847"/>
                    <a:pt x="508" y="1842"/>
                    <a:pt x="512" y="1824"/>
                  </a:cubicBezTo>
                  <a:cubicBezTo>
                    <a:pt x="517" y="1806"/>
                    <a:pt x="521" y="1819"/>
                    <a:pt x="521" y="1810"/>
                  </a:cubicBezTo>
                  <a:cubicBezTo>
                    <a:pt x="521" y="1799"/>
                    <a:pt x="524" y="1809"/>
                    <a:pt x="524" y="1798"/>
                  </a:cubicBezTo>
                  <a:cubicBezTo>
                    <a:pt x="524" y="1787"/>
                    <a:pt x="530" y="1787"/>
                    <a:pt x="527" y="1786"/>
                  </a:cubicBezTo>
                  <a:cubicBezTo>
                    <a:pt x="525" y="1785"/>
                    <a:pt x="525" y="1783"/>
                    <a:pt x="528" y="1784"/>
                  </a:cubicBezTo>
                  <a:cubicBezTo>
                    <a:pt x="530" y="1784"/>
                    <a:pt x="532" y="1783"/>
                    <a:pt x="534" y="1772"/>
                  </a:cubicBezTo>
                  <a:cubicBezTo>
                    <a:pt x="537" y="1761"/>
                    <a:pt x="542" y="1763"/>
                    <a:pt x="540" y="1755"/>
                  </a:cubicBezTo>
                  <a:cubicBezTo>
                    <a:pt x="537" y="1746"/>
                    <a:pt x="547" y="1746"/>
                    <a:pt x="546" y="1742"/>
                  </a:cubicBezTo>
                  <a:cubicBezTo>
                    <a:pt x="545" y="1738"/>
                    <a:pt x="543" y="1744"/>
                    <a:pt x="541" y="1740"/>
                  </a:cubicBezTo>
                  <a:close/>
                  <a:moveTo>
                    <a:pt x="558" y="1445"/>
                  </a:moveTo>
                  <a:cubicBezTo>
                    <a:pt x="556" y="1445"/>
                    <a:pt x="558" y="1447"/>
                    <a:pt x="551" y="1444"/>
                  </a:cubicBezTo>
                  <a:cubicBezTo>
                    <a:pt x="537" y="1439"/>
                    <a:pt x="549" y="1460"/>
                    <a:pt x="562" y="1453"/>
                  </a:cubicBezTo>
                  <a:cubicBezTo>
                    <a:pt x="563" y="1453"/>
                    <a:pt x="564" y="1453"/>
                    <a:pt x="564" y="1451"/>
                  </a:cubicBezTo>
                  <a:cubicBezTo>
                    <a:pt x="564" y="1449"/>
                    <a:pt x="560" y="1445"/>
                    <a:pt x="558" y="1445"/>
                  </a:cubicBezTo>
                  <a:close/>
                  <a:moveTo>
                    <a:pt x="690" y="1462"/>
                  </a:moveTo>
                  <a:cubicBezTo>
                    <a:pt x="690" y="1462"/>
                    <a:pt x="695" y="1461"/>
                    <a:pt x="695" y="1459"/>
                  </a:cubicBezTo>
                  <a:cubicBezTo>
                    <a:pt x="695" y="1458"/>
                    <a:pt x="695" y="1458"/>
                    <a:pt x="695" y="1458"/>
                  </a:cubicBezTo>
                  <a:cubicBezTo>
                    <a:pt x="695" y="1456"/>
                    <a:pt x="695" y="1456"/>
                    <a:pt x="695" y="1454"/>
                  </a:cubicBezTo>
                  <a:cubicBezTo>
                    <a:pt x="695" y="1454"/>
                    <a:pt x="695" y="1454"/>
                    <a:pt x="695" y="1454"/>
                  </a:cubicBezTo>
                  <a:cubicBezTo>
                    <a:pt x="693" y="1451"/>
                    <a:pt x="688" y="1451"/>
                    <a:pt x="693" y="1458"/>
                  </a:cubicBezTo>
                  <a:cubicBezTo>
                    <a:pt x="694" y="1459"/>
                    <a:pt x="691" y="1461"/>
                    <a:pt x="690" y="1462"/>
                  </a:cubicBezTo>
                  <a:close/>
                  <a:moveTo>
                    <a:pt x="643" y="1507"/>
                  </a:moveTo>
                  <a:cubicBezTo>
                    <a:pt x="643" y="1506"/>
                    <a:pt x="643" y="1506"/>
                    <a:pt x="643" y="1506"/>
                  </a:cubicBezTo>
                  <a:cubicBezTo>
                    <a:pt x="642" y="1499"/>
                    <a:pt x="636" y="1510"/>
                    <a:pt x="636" y="1511"/>
                  </a:cubicBezTo>
                  <a:cubicBezTo>
                    <a:pt x="637" y="1512"/>
                    <a:pt x="643" y="1509"/>
                    <a:pt x="643" y="1507"/>
                  </a:cubicBezTo>
                  <a:close/>
                  <a:moveTo>
                    <a:pt x="584" y="1448"/>
                  </a:moveTo>
                  <a:cubicBezTo>
                    <a:pt x="578" y="1447"/>
                    <a:pt x="584" y="1451"/>
                    <a:pt x="585" y="1454"/>
                  </a:cubicBezTo>
                  <a:cubicBezTo>
                    <a:pt x="586" y="1462"/>
                    <a:pt x="591" y="1453"/>
                    <a:pt x="585" y="1448"/>
                  </a:cubicBezTo>
                  <a:lnTo>
                    <a:pt x="584" y="1448"/>
                  </a:lnTo>
                  <a:close/>
                  <a:moveTo>
                    <a:pt x="706" y="1416"/>
                  </a:moveTo>
                  <a:cubicBezTo>
                    <a:pt x="706" y="1415"/>
                    <a:pt x="706" y="1415"/>
                    <a:pt x="706" y="1415"/>
                  </a:cubicBezTo>
                  <a:cubicBezTo>
                    <a:pt x="711" y="1412"/>
                    <a:pt x="687" y="1424"/>
                    <a:pt x="692" y="1426"/>
                  </a:cubicBezTo>
                  <a:cubicBezTo>
                    <a:pt x="697" y="1427"/>
                    <a:pt x="703" y="1418"/>
                    <a:pt x="706" y="1416"/>
                  </a:cubicBezTo>
                  <a:close/>
                  <a:moveTo>
                    <a:pt x="581" y="1546"/>
                  </a:moveTo>
                  <a:cubicBezTo>
                    <a:pt x="583" y="1544"/>
                    <a:pt x="582" y="1542"/>
                    <a:pt x="580" y="1541"/>
                  </a:cubicBezTo>
                  <a:cubicBezTo>
                    <a:pt x="580" y="1541"/>
                    <a:pt x="580" y="1541"/>
                    <a:pt x="580" y="1541"/>
                  </a:cubicBezTo>
                  <a:cubicBezTo>
                    <a:pt x="578" y="1540"/>
                    <a:pt x="579" y="1547"/>
                    <a:pt x="581" y="1546"/>
                  </a:cubicBezTo>
                  <a:close/>
                  <a:moveTo>
                    <a:pt x="658" y="1470"/>
                  </a:moveTo>
                  <a:cubicBezTo>
                    <a:pt x="658" y="1470"/>
                    <a:pt x="654" y="1470"/>
                    <a:pt x="654" y="1470"/>
                  </a:cubicBezTo>
                  <a:cubicBezTo>
                    <a:pt x="654" y="1471"/>
                    <a:pt x="659" y="1471"/>
                    <a:pt x="660" y="1472"/>
                  </a:cubicBezTo>
                  <a:cubicBezTo>
                    <a:pt x="664" y="1476"/>
                    <a:pt x="678" y="1484"/>
                    <a:pt x="670" y="1478"/>
                  </a:cubicBezTo>
                  <a:cubicBezTo>
                    <a:pt x="668" y="1476"/>
                    <a:pt x="684" y="1476"/>
                    <a:pt x="668" y="1470"/>
                  </a:cubicBezTo>
                  <a:cubicBezTo>
                    <a:pt x="668" y="1470"/>
                    <a:pt x="668" y="1470"/>
                    <a:pt x="668" y="1470"/>
                  </a:cubicBezTo>
                  <a:cubicBezTo>
                    <a:pt x="666" y="1471"/>
                    <a:pt x="661" y="1471"/>
                    <a:pt x="658" y="1470"/>
                  </a:cubicBezTo>
                  <a:close/>
                  <a:moveTo>
                    <a:pt x="676" y="1322"/>
                  </a:moveTo>
                  <a:cubicBezTo>
                    <a:pt x="676" y="1322"/>
                    <a:pt x="673" y="1317"/>
                    <a:pt x="673" y="1316"/>
                  </a:cubicBezTo>
                  <a:cubicBezTo>
                    <a:pt x="670" y="1308"/>
                    <a:pt x="661" y="1306"/>
                    <a:pt x="661" y="1294"/>
                  </a:cubicBezTo>
                  <a:cubicBezTo>
                    <a:pt x="661" y="1294"/>
                    <a:pt x="661" y="1294"/>
                    <a:pt x="661" y="1294"/>
                  </a:cubicBezTo>
                  <a:cubicBezTo>
                    <a:pt x="650" y="1290"/>
                    <a:pt x="668" y="1331"/>
                    <a:pt x="676" y="1322"/>
                  </a:cubicBezTo>
                  <a:close/>
                  <a:moveTo>
                    <a:pt x="662" y="1511"/>
                  </a:moveTo>
                  <a:cubicBezTo>
                    <a:pt x="662" y="1511"/>
                    <a:pt x="662" y="1511"/>
                    <a:pt x="662" y="1511"/>
                  </a:cubicBezTo>
                  <a:cubicBezTo>
                    <a:pt x="664" y="1507"/>
                    <a:pt x="658" y="1511"/>
                    <a:pt x="655" y="1512"/>
                  </a:cubicBezTo>
                  <a:cubicBezTo>
                    <a:pt x="650" y="1514"/>
                    <a:pt x="655" y="1516"/>
                    <a:pt x="662" y="1511"/>
                  </a:cubicBezTo>
                  <a:close/>
                  <a:moveTo>
                    <a:pt x="697" y="1335"/>
                  </a:moveTo>
                  <a:cubicBezTo>
                    <a:pt x="698" y="1335"/>
                    <a:pt x="698" y="1335"/>
                    <a:pt x="698" y="1335"/>
                  </a:cubicBezTo>
                  <a:cubicBezTo>
                    <a:pt x="691" y="1330"/>
                    <a:pt x="701" y="1352"/>
                    <a:pt x="697" y="1335"/>
                  </a:cubicBezTo>
                  <a:close/>
                  <a:moveTo>
                    <a:pt x="692" y="1476"/>
                  </a:moveTo>
                  <a:cubicBezTo>
                    <a:pt x="686" y="1481"/>
                    <a:pt x="694" y="1480"/>
                    <a:pt x="697" y="1477"/>
                  </a:cubicBezTo>
                  <a:cubicBezTo>
                    <a:pt x="697" y="1477"/>
                    <a:pt x="697" y="1477"/>
                    <a:pt x="697" y="1477"/>
                  </a:cubicBezTo>
                  <a:cubicBezTo>
                    <a:pt x="699" y="1474"/>
                    <a:pt x="692" y="1475"/>
                    <a:pt x="692" y="1476"/>
                  </a:cubicBezTo>
                  <a:close/>
                  <a:moveTo>
                    <a:pt x="742" y="1655"/>
                  </a:moveTo>
                  <a:cubicBezTo>
                    <a:pt x="742" y="1655"/>
                    <a:pt x="742" y="1655"/>
                    <a:pt x="742" y="1655"/>
                  </a:cubicBezTo>
                  <a:cubicBezTo>
                    <a:pt x="745" y="1654"/>
                    <a:pt x="744" y="1652"/>
                    <a:pt x="741" y="1652"/>
                  </a:cubicBezTo>
                  <a:cubicBezTo>
                    <a:pt x="739" y="1651"/>
                    <a:pt x="735" y="1654"/>
                    <a:pt x="734" y="1653"/>
                  </a:cubicBezTo>
                  <a:cubicBezTo>
                    <a:pt x="734" y="1652"/>
                    <a:pt x="734" y="1652"/>
                    <a:pt x="734" y="1652"/>
                  </a:cubicBezTo>
                  <a:cubicBezTo>
                    <a:pt x="734" y="1649"/>
                    <a:pt x="733" y="1652"/>
                    <a:pt x="732" y="1652"/>
                  </a:cubicBezTo>
                  <a:cubicBezTo>
                    <a:pt x="730" y="1652"/>
                    <a:pt x="731" y="1650"/>
                    <a:pt x="729" y="1650"/>
                  </a:cubicBezTo>
                  <a:cubicBezTo>
                    <a:pt x="728" y="1651"/>
                    <a:pt x="723" y="1652"/>
                    <a:pt x="722" y="1653"/>
                  </a:cubicBezTo>
                  <a:cubicBezTo>
                    <a:pt x="721" y="1654"/>
                    <a:pt x="721" y="1656"/>
                    <a:pt x="720" y="1658"/>
                  </a:cubicBezTo>
                  <a:cubicBezTo>
                    <a:pt x="719" y="1660"/>
                    <a:pt x="717" y="1659"/>
                    <a:pt x="717" y="1662"/>
                  </a:cubicBezTo>
                  <a:cubicBezTo>
                    <a:pt x="718" y="1664"/>
                    <a:pt x="720" y="1664"/>
                    <a:pt x="720" y="1666"/>
                  </a:cubicBezTo>
                  <a:cubicBezTo>
                    <a:pt x="721" y="1666"/>
                    <a:pt x="724" y="1673"/>
                    <a:pt x="726" y="1671"/>
                  </a:cubicBezTo>
                  <a:cubicBezTo>
                    <a:pt x="727" y="1670"/>
                    <a:pt x="725" y="1669"/>
                    <a:pt x="726" y="1668"/>
                  </a:cubicBezTo>
                  <a:cubicBezTo>
                    <a:pt x="734" y="1662"/>
                    <a:pt x="724" y="1665"/>
                    <a:pt x="727" y="1660"/>
                  </a:cubicBezTo>
                  <a:cubicBezTo>
                    <a:pt x="728" y="1660"/>
                    <a:pt x="728" y="1659"/>
                    <a:pt x="729" y="1659"/>
                  </a:cubicBezTo>
                  <a:cubicBezTo>
                    <a:pt x="730" y="1658"/>
                    <a:pt x="731" y="1659"/>
                    <a:pt x="732" y="1659"/>
                  </a:cubicBezTo>
                  <a:cubicBezTo>
                    <a:pt x="734" y="1659"/>
                    <a:pt x="734" y="1657"/>
                    <a:pt x="735" y="1656"/>
                  </a:cubicBezTo>
                  <a:cubicBezTo>
                    <a:pt x="739" y="1654"/>
                    <a:pt x="739" y="1658"/>
                    <a:pt x="742" y="1655"/>
                  </a:cubicBezTo>
                  <a:close/>
                  <a:moveTo>
                    <a:pt x="734" y="1601"/>
                  </a:moveTo>
                  <a:cubicBezTo>
                    <a:pt x="736" y="1601"/>
                    <a:pt x="744" y="1599"/>
                    <a:pt x="744" y="1596"/>
                  </a:cubicBezTo>
                  <a:cubicBezTo>
                    <a:pt x="743" y="1595"/>
                    <a:pt x="736" y="1594"/>
                    <a:pt x="734" y="1593"/>
                  </a:cubicBezTo>
                  <a:cubicBezTo>
                    <a:pt x="734" y="1593"/>
                    <a:pt x="734" y="1593"/>
                    <a:pt x="734" y="1593"/>
                  </a:cubicBezTo>
                  <a:cubicBezTo>
                    <a:pt x="727" y="1593"/>
                    <a:pt x="734" y="1601"/>
                    <a:pt x="734" y="1601"/>
                  </a:cubicBezTo>
                  <a:close/>
                  <a:moveTo>
                    <a:pt x="606" y="1517"/>
                  </a:moveTo>
                  <a:cubicBezTo>
                    <a:pt x="606" y="1517"/>
                    <a:pt x="606" y="1517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lose/>
                  <a:moveTo>
                    <a:pt x="713" y="1444"/>
                  </a:moveTo>
                  <a:cubicBezTo>
                    <a:pt x="713" y="1443"/>
                    <a:pt x="713" y="1443"/>
                    <a:pt x="713" y="1443"/>
                  </a:cubicBezTo>
                  <a:cubicBezTo>
                    <a:pt x="707" y="1435"/>
                    <a:pt x="708" y="1455"/>
                    <a:pt x="713" y="1444"/>
                  </a:cubicBezTo>
                  <a:close/>
                  <a:moveTo>
                    <a:pt x="673" y="1490"/>
                  </a:moveTo>
                  <a:cubicBezTo>
                    <a:pt x="673" y="1490"/>
                    <a:pt x="673" y="1490"/>
                    <a:pt x="673" y="1490"/>
                  </a:cubicBezTo>
                  <a:cubicBezTo>
                    <a:pt x="673" y="1486"/>
                    <a:pt x="665" y="1498"/>
                    <a:pt x="664" y="1498"/>
                  </a:cubicBezTo>
                  <a:cubicBezTo>
                    <a:pt x="661" y="1500"/>
                    <a:pt x="670" y="1502"/>
                    <a:pt x="673" y="1490"/>
                  </a:cubicBezTo>
                  <a:close/>
                  <a:moveTo>
                    <a:pt x="673" y="1469"/>
                  </a:moveTo>
                  <a:cubicBezTo>
                    <a:pt x="677" y="1475"/>
                    <a:pt x="683" y="1470"/>
                    <a:pt x="685" y="1468"/>
                  </a:cubicBezTo>
                  <a:cubicBezTo>
                    <a:pt x="685" y="1468"/>
                    <a:pt x="685" y="1468"/>
                    <a:pt x="685" y="1468"/>
                  </a:cubicBezTo>
                  <a:cubicBezTo>
                    <a:pt x="689" y="1466"/>
                    <a:pt x="671" y="1465"/>
                    <a:pt x="673" y="1469"/>
                  </a:cubicBezTo>
                  <a:close/>
                  <a:moveTo>
                    <a:pt x="718" y="1416"/>
                  </a:moveTo>
                  <a:cubicBezTo>
                    <a:pt x="718" y="1411"/>
                    <a:pt x="714" y="1415"/>
                    <a:pt x="712" y="1416"/>
                  </a:cubicBezTo>
                  <a:cubicBezTo>
                    <a:pt x="699" y="1423"/>
                    <a:pt x="715" y="1416"/>
                    <a:pt x="718" y="1416"/>
                  </a:cubicBezTo>
                  <a:close/>
                  <a:moveTo>
                    <a:pt x="672" y="1441"/>
                  </a:moveTo>
                  <a:cubicBezTo>
                    <a:pt x="673" y="1448"/>
                    <a:pt x="682" y="1436"/>
                    <a:pt x="690" y="1432"/>
                  </a:cubicBezTo>
                  <a:cubicBezTo>
                    <a:pt x="690" y="1432"/>
                    <a:pt x="690" y="1432"/>
                    <a:pt x="690" y="1432"/>
                  </a:cubicBezTo>
                  <a:cubicBezTo>
                    <a:pt x="696" y="1428"/>
                    <a:pt x="670" y="1435"/>
                    <a:pt x="672" y="1441"/>
                  </a:cubicBezTo>
                  <a:close/>
                  <a:moveTo>
                    <a:pt x="541" y="1439"/>
                  </a:moveTo>
                  <a:cubicBezTo>
                    <a:pt x="540" y="1437"/>
                    <a:pt x="540" y="1436"/>
                    <a:pt x="538" y="1435"/>
                  </a:cubicBezTo>
                  <a:cubicBezTo>
                    <a:pt x="538" y="1435"/>
                    <a:pt x="538" y="1435"/>
                    <a:pt x="538" y="1435"/>
                  </a:cubicBezTo>
                  <a:cubicBezTo>
                    <a:pt x="535" y="1433"/>
                    <a:pt x="525" y="1447"/>
                    <a:pt x="539" y="1454"/>
                  </a:cubicBezTo>
                  <a:cubicBezTo>
                    <a:pt x="542" y="1455"/>
                    <a:pt x="542" y="1453"/>
                    <a:pt x="541" y="1452"/>
                  </a:cubicBezTo>
                  <a:cubicBezTo>
                    <a:pt x="536" y="1442"/>
                    <a:pt x="544" y="1442"/>
                    <a:pt x="541" y="1439"/>
                  </a:cubicBezTo>
                  <a:close/>
                  <a:moveTo>
                    <a:pt x="718" y="1668"/>
                  </a:moveTo>
                  <a:cubicBezTo>
                    <a:pt x="711" y="1663"/>
                    <a:pt x="717" y="1660"/>
                    <a:pt x="712" y="1661"/>
                  </a:cubicBezTo>
                  <a:cubicBezTo>
                    <a:pt x="707" y="1662"/>
                    <a:pt x="710" y="1666"/>
                    <a:pt x="707" y="1666"/>
                  </a:cubicBezTo>
                  <a:cubicBezTo>
                    <a:pt x="704" y="1666"/>
                    <a:pt x="707" y="1658"/>
                    <a:pt x="702" y="1660"/>
                  </a:cubicBezTo>
                  <a:cubicBezTo>
                    <a:pt x="696" y="1662"/>
                    <a:pt x="703" y="1666"/>
                    <a:pt x="700" y="1667"/>
                  </a:cubicBezTo>
                  <a:cubicBezTo>
                    <a:pt x="696" y="1669"/>
                    <a:pt x="699" y="1672"/>
                    <a:pt x="697" y="1673"/>
                  </a:cubicBezTo>
                  <a:cubicBezTo>
                    <a:pt x="692" y="1674"/>
                    <a:pt x="696" y="1659"/>
                    <a:pt x="688" y="1659"/>
                  </a:cubicBezTo>
                  <a:cubicBezTo>
                    <a:pt x="679" y="1659"/>
                    <a:pt x="685" y="1673"/>
                    <a:pt x="674" y="1672"/>
                  </a:cubicBezTo>
                  <a:cubicBezTo>
                    <a:pt x="661" y="1672"/>
                    <a:pt x="658" y="1694"/>
                    <a:pt x="645" y="1704"/>
                  </a:cubicBezTo>
                  <a:cubicBezTo>
                    <a:pt x="631" y="1714"/>
                    <a:pt x="635" y="1717"/>
                    <a:pt x="636" y="1727"/>
                  </a:cubicBezTo>
                  <a:cubicBezTo>
                    <a:pt x="638" y="1737"/>
                    <a:pt x="642" y="1734"/>
                    <a:pt x="640" y="1736"/>
                  </a:cubicBezTo>
                  <a:cubicBezTo>
                    <a:pt x="639" y="1739"/>
                    <a:pt x="641" y="1742"/>
                    <a:pt x="637" y="1746"/>
                  </a:cubicBezTo>
                  <a:cubicBezTo>
                    <a:pt x="632" y="1751"/>
                    <a:pt x="632" y="1753"/>
                    <a:pt x="636" y="1755"/>
                  </a:cubicBezTo>
                  <a:cubicBezTo>
                    <a:pt x="639" y="1757"/>
                    <a:pt x="638" y="1756"/>
                    <a:pt x="639" y="1765"/>
                  </a:cubicBezTo>
                  <a:cubicBezTo>
                    <a:pt x="640" y="1773"/>
                    <a:pt x="646" y="1769"/>
                    <a:pt x="643" y="1776"/>
                  </a:cubicBezTo>
                  <a:cubicBezTo>
                    <a:pt x="641" y="1783"/>
                    <a:pt x="643" y="1783"/>
                    <a:pt x="648" y="1778"/>
                  </a:cubicBezTo>
                  <a:cubicBezTo>
                    <a:pt x="653" y="1774"/>
                    <a:pt x="652" y="1783"/>
                    <a:pt x="646" y="1785"/>
                  </a:cubicBezTo>
                  <a:cubicBezTo>
                    <a:pt x="640" y="1787"/>
                    <a:pt x="645" y="1788"/>
                    <a:pt x="641" y="1795"/>
                  </a:cubicBezTo>
                  <a:cubicBezTo>
                    <a:pt x="636" y="1803"/>
                    <a:pt x="635" y="1802"/>
                    <a:pt x="645" y="1800"/>
                  </a:cubicBezTo>
                  <a:cubicBezTo>
                    <a:pt x="651" y="1799"/>
                    <a:pt x="652" y="1800"/>
                    <a:pt x="652" y="1796"/>
                  </a:cubicBezTo>
                  <a:cubicBezTo>
                    <a:pt x="653" y="1792"/>
                    <a:pt x="657" y="1795"/>
                    <a:pt x="656" y="1792"/>
                  </a:cubicBezTo>
                  <a:cubicBezTo>
                    <a:pt x="655" y="1789"/>
                    <a:pt x="660" y="1789"/>
                    <a:pt x="658" y="1788"/>
                  </a:cubicBezTo>
                  <a:cubicBezTo>
                    <a:pt x="655" y="1786"/>
                    <a:pt x="654" y="1777"/>
                    <a:pt x="659" y="1776"/>
                  </a:cubicBezTo>
                  <a:cubicBezTo>
                    <a:pt x="664" y="1774"/>
                    <a:pt x="669" y="1771"/>
                    <a:pt x="664" y="1771"/>
                  </a:cubicBezTo>
                  <a:cubicBezTo>
                    <a:pt x="659" y="1772"/>
                    <a:pt x="657" y="1770"/>
                    <a:pt x="670" y="1765"/>
                  </a:cubicBezTo>
                  <a:cubicBezTo>
                    <a:pt x="684" y="1760"/>
                    <a:pt x="667" y="1762"/>
                    <a:pt x="681" y="1758"/>
                  </a:cubicBezTo>
                  <a:cubicBezTo>
                    <a:pt x="690" y="1756"/>
                    <a:pt x="693" y="1754"/>
                    <a:pt x="686" y="1750"/>
                  </a:cubicBezTo>
                  <a:cubicBezTo>
                    <a:pt x="679" y="1747"/>
                    <a:pt x="700" y="1733"/>
                    <a:pt x="704" y="1736"/>
                  </a:cubicBezTo>
                  <a:cubicBezTo>
                    <a:pt x="708" y="1738"/>
                    <a:pt x="713" y="1724"/>
                    <a:pt x="702" y="1728"/>
                  </a:cubicBezTo>
                  <a:cubicBezTo>
                    <a:pt x="692" y="1731"/>
                    <a:pt x="691" y="1719"/>
                    <a:pt x="696" y="1710"/>
                  </a:cubicBezTo>
                  <a:cubicBezTo>
                    <a:pt x="701" y="1701"/>
                    <a:pt x="690" y="1705"/>
                    <a:pt x="694" y="1699"/>
                  </a:cubicBezTo>
                  <a:cubicBezTo>
                    <a:pt x="698" y="1692"/>
                    <a:pt x="695" y="1685"/>
                    <a:pt x="699" y="1687"/>
                  </a:cubicBezTo>
                  <a:cubicBezTo>
                    <a:pt x="704" y="1689"/>
                    <a:pt x="702" y="1686"/>
                    <a:pt x="704" y="1688"/>
                  </a:cubicBezTo>
                  <a:cubicBezTo>
                    <a:pt x="706" y="1690"/>
                    <a:pt x="708" y="1690"/>
                    <a:pt x="708" y="1683"/>
                  </a:cubicBezTo>
                  <a:cubicBezTo>
                    <a:pt x="709" y="1676"/>
                    <a:pt x="712" y="1683"/>
                    <a:pt x="713" y="1679"/>
                  </a:cubicBezTo>
                  <a:cubicBezTo>
                    <a:pt x="713" y="1675"/>
                    <a:pt x="715" y="1671"/>
                    <a:pt x="719" y="1673"/>
                  </a:cubicBezTo>
                  <a:cubicBezTo>
                    <a:pt x="723" y="1675"/>
                    <a:pt x="724" y="1673"/>
                    <a:pt x="718" y="1668"/>
                  </a:cubicBezTo>
                  <a:close/>
                  <a:moveTo>
                    <a:pt x="301" y="1648"/>
                  </a:moveTo>
                  <a:cubicBezTo>
                    <a:pt x="306" y="1644"/>
                    <a:pt x="311" y="1629"/>
                    <a:pt x="304" y="1639"/>
                  </a:cubicBezTo>
                  <a:cubicBezTo>
                    <a:pt x="301" y="1642"/>
                    <a:pt x="295" y="1650"/>
                    <a:pt x="301" y="1648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Norway"/>
            <p:cNvSpPr>
              <a:spLocks noEditPoints="1"/>
            </p:cNvSpPr>
            <p:nvPr/>
          </p:nvSpPr>
          <p:spPr bwMode="auto">
            <a:xfrm>
              <a:off x="2987" y="657"/>
              <a:ext cx="1223" cy="1039"/>
            </a:xfrm>
            <a:custGeom>
              <a:avLst/>
              <a:gdLst>
                <a:gd name="T0" fmla="*/ 550 w 2349"/>
                <a:gd name="T1" fmla="*/ 1825 h 1995"/>
                <a:gd name="T2" fmla="*/ 389 w 2349"/>
                <a:gd name="T3" fmla="*/ 1893 h 1995"/>
                <a:gd name="T4" fmla="*/ 71 w 2349"/>
                <a:gd name="T5" fmla="*/ 1857 h 1995"/>
                <a:gd name="T6" fmla="*/ 107 w 2349"/>
                <a:gd name="T7" fmla="*/ 1799 h 1995"/>
                <a:gd name="T8" fmla="*/ 82 w 2349"/>
                <a:gd name="T9" fmla="*/ 1729 h 1995"/>
                <a:gd name="T10" fmla="*/ 79 w 2349"/>
                <a:gd name="T11" fmla="*/ 1671 h 1995"/>
                <a:gd name="T12" fmla="*/ 35 w 2349"/>
                <a:gd name="T13" fmla="*/ 1565 h 1995"/>
                <a:gd name="T14" fmla="*/ 110 w 2349"/>
                <a:gd name="T15" fmla="*/ 1539 h 1995"/>
                <a:gd name="T16" fmla="*/ 64 w 2349"/>
                <a:gd name="T17" fmla="*/ 1429 h 1995"/>
                <a:gd name="T18" fmla="*/ 84 w 2349"/>
                <a:gd name="T19" fmla="*/ 1391 h 1995"/>
                <a:gd name="T20" fmla="*/ 168 w 2349"/>
                <a:gd name="T21" fmla="*/ 1334 h 1995"/>
                <a:gd name="T22" fmla="*/ 306 w 2349"/>
                <a:gd name="T23" fmla="*/ 1297 h 1995"/>
                <a:gd name="T24" fmla="*/ 417 w 2349"/>
                <a:gd name="T25" fmla="*/ 1212 h 1995"/>
                <a:gd name="T26" fmla="*/ 567 w 2349"/>
                <a:gd name="T27" fmla="*/ 1138 h 1995"/>
                <a:gd name="T28" fmla="*/ 546 w 2349"/>
                <a:gd name="T29" fmla="*/ 1064 h 1995"/>
                <a:gd name="T30" fmla="*/ 603 w 2349"/>
                <a:gd name="T31" fmla="*/ 983 h 1995"/>
                <a:gd name="T32" fmla="*/ 691 w 2349"/>
                <a:gd name="T33" fmla="*/ 887 h 1995"/>
                <a:gd name="T34" fmla="*/ 751 w 2349"/>
                <a:gd name="T35" fmla="*/ 768 h 1995"/>
                <a:gd name="T36" fmla="*/ 824 w 2349"/>
                <a:gd name="T37" fmla="*/ 665 h 1995"/>
                <a:gd name="T38" fmla="*/ 921 w 2349"/>
                <a:gd name="T39" fmla="*/ 625 h 1995"/>
                <a:gd name="T40" fmla="*/ 962 w 2349"/>
                <a:gd name="T41" fmla="*/ 559 h 1995"/>
                <a:gd name="T42" fmla="*/ 954 w 2349"/>
                <a:gd name="T43" fmla="*/ 508 h 1995"/>
                <a:gd name="T44" fmla="*/ 1077 w 2349"/>
                <a:gd name="T45" fmla="*/ 487 h 1995"/>
                <a:gd name="T46" fmla="*/ 1139 w 2349"/>
                <a:gd name="T47" fmla="*/ 364 h 1995"/>
                <a:gd name="T48" fmla="*/ 1330 w 2349"/>
                <a:gd name="T49" fmla="*/ 277 h 1995"/>
                <a:gd name="T50" fmla="*/ 1533 w 2349"/>
                <a:gd name="T51" fmla="*/ 197 h 1995"/>
                <a:gd name="T52" fmla="*/ 1642 w 2349"/>
                <a:gd name="T53" fmla="*/ 196 h 1995"/>
                <a:gd name="T54" fmla="*/ 1847 w 2349"/>
                <a:gd name="T55" fmla="*/ 55 h 1995"/>
                <a:gd name="T56" fmla="*/ 2033 w 2349"/>
                <a:gd name="T57" fmla="*/ 61 h 1995"/>
                <a:gd name="T58" fmla="*/ 2095 w 2349"/>
                <a:gd name="T59" fmla="*/ 164 h 1995"/>
                <a:gd name="T60" fmla="*/ 2128 w 2349"/>
                <a:gd name="T61" fmla="*/ 165 h 1995"/>
                <a:gd name="T62" fmla="*/ 2159 w 2349"/>
                <a:gd name="T63" fmla="*/ 343 h 1995"/>
                <a:gd name="T64" fmla="*/ 1114 w 2349"/>
                <a:gd name="T65" fmla="*/ 496 h 1995"/>
                <a:gd name="T66" fmla="*/ 642 w 2349"/>
                <a:gd name="T67" fmla="*/ 1229 h 1995"/>
                <a:gd name="T68" fmla="*/ 849 w 2349"/>
                <a:gd name="T69" fmla="*/ 704 h 1995"/>
                <a:gd name="T70" fmla="*/ 774 w 2349"/>
                <a:gd name="T71" fmla="*/ 992 h 1995"/>
                <a:gd name="T72" fmla="*/ 314 w 2349"/>
                <a:gd name="T73" fmla="*/ 1848 h 1995"/>
                <a:gd name="T74" fmla="*/ 522 w 2349"/>
                <a:gd name="T75" fmla="*/ 1227 h 1995"/>
                <a:gd name="T76" fmla="*/ 578 w 2349"/>
                <a:gd name="T77" fmla="*/ 1754 h 1995"/>
                <a:gd name="T78" fmla="*/ 7 w 2349"/>
                <a:gd name="T79" fmla="*/ 1597 h 1995"/>
                <a:gd name="T80" fmla="*/ 576 w 2349"/>
                <a:gd name="T81" fmla="*/ 983 h 1995"/>
                <a:gd name="T82" fmla="*/ 42 w 2349"/>
                <a:gd name="T83" fmla="*/ 1762 h 1995"/>
                <a:gd name="T84" fmla="*/ 1451 w 2349"/>
                <a:gd name="T85" fmla="*/ 191 h 1995"/>
                <a:gd name="T86" fmla="*/ 666 w 2349"/>
                <a:gd name="T87" fmla="*/ 921 h 1995"/>
                <a:gd name="T88" fmla="*/ 298 w 2349"/>
                <a:gd name="T89" fmla="*/ 1234 h 1995"/>
                <a:gd name="T90" fmla="*/ 1039 w 2349"/>
                <a:gd name="T91" fmla="*/ 428 h 1995"/>
                <a:gd name="T92" fmla="*/ 869 w 2349"/>
                <a:gd name="T93" fmla="*/ 394 h 1995"/>
                <a:gd name="T94" fmla="*/ 1713 w 2349"/>
                <a:gd name="T95" fmla="*/ 30 h 1995"/>
                <a:gd name="T96" fmla="*/ 1236 w 2349"/>
                <a:gd name="T97" fmla="*/ 240 h 1995"/>
                <a:gd name="T98" fmla="*/ 1596 w 2349"/>
                <a:gd name="T99" fmla="*/ 80 h 1995"/>
                <a:gd name="T100" fmla="*/ 1641 w 2349"/>
                <a:gd name="T101" fmla="*/ 125 h 1995"/>
                <a:gd name="T102" fmla="*/ 1266 w 2349"/>
                <a:gd name="T103" fmla="*/ 197 h 1995"/>
                <a:gd name="T104" fmla="*/ 1090 w 2349"/>
                <a:gd name="T105" fmla="*/ 304 h 1995"/>
                <a:gd name="T106" fmla="*/ 913 w 2349"/>
                <a:gd name="T107" fmla="*/ 361 h 1995"/>
                <a:gd name="T108" fmla="*/ 1037 w 2349"/>
                <a:gd name="T109" fmla="*/ 353 h 1995"/>
                <a:gd name="T110" fmla="*/ 916 w 2349"/>
                <a:gd name="T111" fmla="*/ 465 h 1995"/>
                <a:gd name="T112" fmla="*/ 906 w 2349"/>
                <a:gd name="T113" fmla="*/ 441 h 1995"/>
                <a:gd name="T114" fmla="*/ 997 w 2349"/>
                <a:gd name="T115" fmla="*/ 357 h 1995"/>
                <a:gd name="T116" fmla="*/ 918 w 2349"/>
                <a:gd name="T117" fmla="*/ 512 h 1995"/>
                <a:gd name="T118" fmla="*/ 104 w 2349"/>
                <a:gd name="T119" fmla="*/ 1827 h 1995"/>
                <a:gd name="T120" fmla="*/ 10 w 2349"/>
                <a:gd name="T121" fmla="*/ 1542 h 1995"/>
                <a:gd name="T122" fmla="*/ 44 w 2349"/>
                <a:gd name="T123" fmla="*/ 1439 h 19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49" h="1995">
                  <a:moveTo>
                    <a:pt x="42" y="1698"/>
                  </a:moveTo>
                  <a:cubicBezTo>
                    <a:pt x="40" y="1696"/>
                    <a:pt x="38" y="1688"/>
                    <a:pt x="41" y="1690"/>
                  </a:cubicBezTo>
                  <a:cubicBezTo>
                    <a:pt x="41" y="1690"/>
                    <a:pt x="41" y="1690"/>
                    <a:pt x="41" y="1690"/>
                  </a:cubicBezTo>
                  <a:cubicBezTo>
                    <a:pt x="46" y="1695"/>
                    <a:pt x="46" y="1698"/>
                    <a:pt x="47" y="1703"/>
                  </a:cubicBezTo>
                  <a:cubicBezTo>
                    <a:pt x="48" y="1707"/>
                    <a:pt x="42" y="1705"/>
                    <a:pt x="39" y="1702"/>
                  </a:cubicBezTo>
                  <a:cubicBezTo>
                    <a:pt x="32" y="1693"/>
                    <a:pt x="44" y="1701"/>
                    <a:pt x="42" y="1698"/>
                  </a:cubicBezTo>
                  <a:close/>
                  <a:moveTo>
                    <a:pt x="247" y="1329"/>
                  </a:moveTo>
                  <a:cubicBezTo>
                    <a:pt x="247" y="1327"/>
                    <a:pt x="248" y="1325"/>
                    <a:pt x="247" y="1324"/>
                  </a:cubicBezTo>
                  <a:cubicBezTo>
                    <a:pt x="247" y="1326"/>
                    <a:pt x="247" y="1327"/>
                    <a:pt x="247" y="1329"/>
                  </a:cubicBezTo>
                  <a:close/>
                  <a:moveTo>
                    <a:pt x="161" y="1398"/>
                  </a:moveTo>
                  <a:cubicBezTo>
                    <a:pt x="162" y="1397"/>
                    <a:pt x="163" y="1396"/>
                    <a:pt x="164" y="1396"/>
                  </a:cubicBezTo>
                  <a:cubicBezTo>
                    <a:pt x="164" y="1395"/>
                    <a:pt x="163" y="1393"/>
                    <a:pt x="161" y="1390"/>
                  </a:cubicBezTo>
                  <a:cubicBezTo>
                    <a:pt x="162" y="1393"/>
                    <a:pt x="162" y="1396"/>
                    <a:pt x="161" y="1398"/>
                  </a:cubicBezTo>
                  <a:close/>
                  <a:moveTo>
                    <a:pt x="430" y="1186"/>
                  </a:moveTo>
                  <a:cubicBezTo>
                    <a:pt x="430" y="1185"/>
                    <a:pt x="429" y="1185"/>
                    <a:pt x="429" y="1185"/>
                  </a:cubicBezTo>
                  <a:cubicBezTo>
                    <a:pt x="428" y="1183"/>
                    <a:pt x="426" y="1183"/>
                    <a:pt x="425" y="1183"/>
                  </a:cubicBezTo>
                  <a:cubicBezTo>
                    <a:pt x="426" y="1184"/>
                    <a:pt x="428" y="1185"/>
                    <a:pt x="430" y="1186"/>
                  </a:cubicBezTo>
                  <a:close/>
                  <a:moveTo>
                    <a:pt x="30" y="1706"/>
                  </a:moveTo>
                  <a:cubicBezTo>
                    <a:pt x="30" y="1707"/>
                    <a:pt x="30" y="1707"/>
                    <a:pt x="30" y="1707"/>
                  </a:cubicBezTo>
                  <a:cubicBezTo>
                    <a:pt x="30" y="1725"/>
                    <a:pt x="46" y="1688"/>
                    <a:pt x="30" y="1706"/>
                  </a:cubicBezTo>
                  <a:close/>
                  <a:moveTo>
                    <a:pt x="33" y="1672"/>
                  </a:moveTo>
                  <a:cubicBezTo>
                    <a:pt x="31" y="1666"/>
                    <a:pt x="30" y="1655"/>
                    <a:pt x="23" y="1644"/>
                  </a:cubicBezTo>
                  <a:cubicBezTo>
                    <a:pt x="19" y="1639"/>
                    <a:pt x="21" y="1653"/>
                    <a:pt x="21" y="1658"/>
                  </a:cubicBezTo>
                  <a:cubicBezTo>
                    <a:pt x="21" y="1658"/>
                    <a:pt x="21" y="1658"/>
                    <a:pt x="21" y="1659"/>
                  </a:cubicBezTo>
                  <a:cubicBezTo>
                    <a:pt x="21" y="1659"/>
                    <a:pt x="22" y="1659"/>
                    <a:pt x="22" y="1659"/>
                  </a:cubicBezTo>
                  <a:cubicBezTo>
                    <a:pt x="22" y="1660"/>
                    <a:pt x="23" y="1660"/>
                    <a:pt x="24" y="1661"/>
                  </a:cubicBezTo>
                  <a:cubicBezTo>
                    <a:pt x="27" y="1664"/>
                    <a:pt x="26" y="1668"/>
                    <a:pt x="20" y="1664"/>
                  </a:cubicBezTo>
                  <a:cubicBezTo>
                    <a:pt x="17" y="1662"/>
                    <a:pt x="19" y="1670"/>
                    <a:pt x="20" y="1671"/>
                  </a:cubicBezTo>
                  <a:cubicBezTo>
                    <a:pt x="20" y="1672"/>
                    <a:pt x="32" y="1680"/>
                    <a:pt x="33" y="1680"/>
                  </a:cubicBezTo>
                  <a:cubicBezTo>
                    <a:pt x="35" y="1680"/>
                    <a:pt x="34" y="1673"/>
                    <a:pt x="33" y="1672"/>
                  </a:cubicBezTo>
                  <a:close/>
                  <a:moveTo>
                    <a:pt x="597" y="1851"/>
                  </a:moveTo>
                  <a:cubicBezTo>
                    <a:pt x="598" y="1851"/>
                    <a:pt x="593" y="1836"/>
                    <a:pt x="593" y="1835"/>
                  </a:cubicBezTo>
                  <a:cubicBezTo>
                    <a:pt x="589" y="1827"/>
                    <a:pt x="581" y="1836"/>
                    <a:pt x="575" y="1832"/>
                  </a:cubicBezTo>
                  <a:cubicBezTo>
                    <a:pt x="572" y="1830"/>
                    <a:pt x="578" y="1820"/>
                    <a:pt x="574" y="1821"/>
                  </a:cubicBezTo>
                  <a:cubicBezTo>
                    <a:pt x="564" y="1824"/>
                    <a:pt x="573" y="1830"/>
                    <a:pt x="566" y="1832"/>
                  </a:cubicBezTo>
                  <a:cubicBezTo>
                    <a:pt x="562" y="1833"/>
                    <a:pt x="561" y="1825"/>
                    <a:pt x="558" y="1824"/>
                  </a:cubicBezTo>
                  <a:cubicBezTo>
                    <a:pt x="550" y="1820"/>
                    <a:pt x="555" y="1836"/>
                    <a:pt x="550" y="1825"/>
                  </a:cubicBezTo>
                  <a:cubicBezTo>
                    <a:pt x="549" y="1822"/>
                    <a:pt x="548" y="1828"/>
                    <a:pt x="539" y="1819"/>
                  </a:cubicBezTo>
                  <a:cubicBezTo>
                    <a:pt x="539" y="1818"/>
                    <a:pt x="536" y="1820"/>
                    <a:pt x="535" y="1818"/>
                  </a:cubicBezTo>
                  <a:cubicBezTo>
                    <a:pt x="534" y="1816"/>
                    <a:pt x="535" y="1813"/>
                    <a:pt x="535" y="1810"/>
                  </a:cubicBezTo>
                  <a:cubicBezTo>
                    <a:pt x="535" y="1806"/>
                    <a:pt x="522" y="1790"/>
                    <a:pt x="522" y="1788"/>
                  </a:cubicBezTo>
                  <a:cubicBezTo>
                    <a:pt x="526" y="1769"/>
                    <a:pt x="531" y="1791"/>
                    <a:pt x="532" y="1781"/>
                  </a:cubicBezTo>
                  <a:cubicBezTo>
                    <a:pt x="535" y="1761"/>
                    <a:pt x="509" y="1731"/>
                    <a:pt x="527" y="1727"/>
                  </a:cubicBezTo>
                  <a:cubicBezTo>
                    <a:pt x="533" y="1725"/>
                    <a:pt x="530" y="1749"/>
                    <a:pt x="534" y="1744"/>
                  </a:cubicBezTo>
                  <a:cubicBezTo>
                    <a:pt x="535" y="1741"/>
                    <a:pt x="540" y="1715"/>
                    <a:pt x="531" y="1720"/>
                  </a:cubicBezTo>
                  <a:cubicBezTo>
                    <a:pt x="484" y="1743"/>
                    <a:pt x="537" y="1752"/>
                    <a:pt x="522" y="1769"/>
                  </a:cubicBezTo>
                  <a:cubicBezTo>
                    <a:pt x="509" y="1785"/>
                    <a:pt x="506" y="1756"/>
                    <a:pt x="498" y="1747"/>
                  </a:cubicBezTo>
                  <a:cubicBezTo>
                    <a:pt x="497" y="1745"/>
                    <a:pt x="491" y="1741"/>
                    <a:pt x="490" y="1745"/>
                  </a:cubicBezTo>
                  <a:cubicBezTo>
                    <a:pt x="489" y="1748"/>
                    <a:pt x="502" y="1757"/>
                    <a:pt x="503" y="1765"/>
                  </a:cubicBezTo>
                  <a:cubicBezTo>
                    <a:pt x="504" y="1784"/>
                    <a:pt x="495" y="1766"/>
                    <a:pt x="491" y="1769"/>
                  </a:cubicBezTo>
                  <a:cubicBezTo>
                    <a:pt x="489" y="1770"/>
                    <a:pt x="494" y="1774"/>
                    <a:pt x="494" y="1775"/>
                  </a:cubicBezTo>
                  <a:cubicBezTo>
                    <a:pt x="498" y="1778"/>
                    <a:pt x="513" y="1789"/>
                    <a:pt x="513" y="1790"/>
                  </a:cubicBezTo>
                  <a:cubicBezTo>
                    <a:pt x="513" y="1794"/>
                    <a:pt x="508" y="1796"/>
                    <a:pt x="510" y="1800"/>
                  </a:cubicBezTo>
                  <a:cubicBezTo>
                    <a:pt x="511" y="1803"/>
                    <a:pt x="517" y="1804"/>
                    <a:pt x="516" y="1806"/>
                  </a:cubicBezTo>
                  <a:cubicBezTo>
                    <a:pt x="510" y="1818"/>
                    <a:pt x="506" y="1807"/>
                    <a:pt x="502" y="1811"/>
                  </a:cubicBezTo>
                  <a:cubicBezTo>
                    <a:pt x="495" y="1819"/>
                    <a:pt x="501" y="1834"/>
                    <a:pt x="497" y="1841"/>
                  </a:cubicBezTo>
                  <a:cubicBezTo>
                    <a:pt x="497" y="1842"/>
                    <a:pt x="495" y="1845"/>
                    <a:pt x="493" y="1844"/>
                  </a:cubicBezTo>
                  <a:cubicBezTo>
                    <a:pt x="491" y="1843"/>
                    <a:pt x="490" y="1846"/>
                    <a:pt x="489" y="1847"/>
                  </a:cubicBezTo>
                  <a:cubicBezTo>
                    <a:pt x="478" y="1853"/>
                    <a:pt x="487" y="1839"/>
                    <a:pt x="472" y="1844"/>
                  </a:cubicBezTo>
                  <a:cubicBezTo>
                    <a:pt x="472" y="1844"/>
                    <a:pt x="471" y="1860"/>
                    <a:pt x="456" y="1856"/>
                  </a:cubicBezTo>
                  <a:cubicBezTo>
                    <a:pt x="455" y="1856"/>
                    <a:pt x="455" y="1856"/>
                    <a:pt x="455" y="1856"/>
                  </a:cubicBezTo>
                  <a:cubicBezTo>
                    <a:pt x="453" y="1854"/>
                    <a:pt x="458" y="1851"/>
                    <a:pt x="455" y="1847"/>
                  </a:cubicBezTo>
                  <a:cubicBezTo>
                    <a:pt x="453" y="1844"/>
                    <a:pt x="450" y="1840"/>
                    <a:pt x="449" y="1841"/>
                  </a:cubicBezTo>
                  <a:cubicBezTo>
                    <a:pt x="446" y="1848"/>
                    <a:pt x="445" y="1838"/>
                    <a:pt x="443" y="1836"/>
                  </a:cubicBezTo>
                  <a:cubicBezTo>
                    <a:pt x="441" y="1834"/>
                    <a:pt x="442" y="1841"/>
                    <a:pt x="440" y="1841"/>
                  </a:cubicBezTo>
                  <a:cubicBezTo>
                    <a:pt x="436" y="1840"/>
                    <a:pt x="438" y="1829"/>
                    <a:pt x="436" y="1831"/>
                  </a:cubicBezTo>
                  <a:cubicBezTo>
                    <a:pt x="434" y="1833"/>
                    <a:pt x="430" y="1831"/>
                    <a:pt x="429" y="1832"/>
                  </a:cubicBezTo>
                  <a:cubicBezTo>
                    <a:pt x="425" y="1837"/>
                    <a:pt x="450" y="1850"/>
                    <a:pt x="445" y="1852"/>
                  </a:cubicBezTo>
                  <a:cubicBezTo>
                    <a:pt x="435" y="1856"/>
                    <a:pt x="419" y="1866"/>
                    <a:pt x="414" y="1868"/>
                  </a:cubicBezTo>
                  <a:cubicBezTo>
                    <a:pt x="413" y="1869"/>
                    <a:pt x="401" y="1866"/>
                    <a:pt x="405" y="1873"/>
                  </a:cubicBezTo>
                  <a:cubicBezTo>
                    <a:pt x="409" y="1879"/>
                    <a:pt x="428" y="1864"/>
                    <a:pt x="414" y="1878"/>
                  </a:cubicBezTo>
                  <a:cubicBezTo>
                    <a:pt x="412" y="1880"/>
                    <a:pt x="417" y="1878"/>
                    <a:pt x="418" y="1879"/>
                  </a:cubicBezTo>
                  <a:cubicBezTo>
                    <a:pt x="421" y="1888"/>
                    <a:pt x="383" y="1887"/>
                    <a:pt x="393" y="1888"/>
                  </a:cubicBezTo>
                  <a:cubicBezTo>
                    <a:pt x="407" y="1890"/>
                    <a:pt x="397" y="1891"/>
                    <a:pt x="389" y="1893"/>
                  </a:cubicBezTo>
                  <a:cubicBezTo>
                    <a:pt x="379" y="1895"/>
                    <a:pt x="401" y="1892"/>
                    <a:pt x="399" y="1896"/>
                  </a:cubicBezTo>
                  <a:cubicBezTo>
                    <a:pt x="395" y="1904"/>
                    <a:pt x="373" y="1905"/>
                    <a:pt x="373" y="1905"/>
                  </a:cubicBezTo>
                  <a:cubicBezTo>
                    <a:pt x="372" y="1906"/>
                    <a:pt x="378" y="1909"/>
                    <a:pt x="375" y="1912"/>
                  </a:cubicBezTo>
                  <a:cubicBezTo>
                    <a:pt x="367" y="1923"/>
                    <a:pt x="339" y="1953"/>
                    <a:pt x="337" y="1954"/>
                  </a:cubicBezTo>
                  <a:cubicBezTo>
                    <a:pt x="336" y="1955"/>
                    <a:pt x="322" y="1955"/>
                    <a:pt x="314" y="1962"/>
                  </a:cubicBezTo>
                  <a:cubicBezTo>
                    <a:pt x="310" y="1964"/>
                    <a:pt x="314" y="1972"/>
                    <a:pt x="310" y="1974"/>
                  </a:cubicBezTo>
                  <a:cubicBezTo>
                    <a:pt x="310" y="1974"/>
                    <a:pt x="287" y="1977"/>
                    <a:pt x="298" y="1969"/>
                  </a:cubicBezTo>
                  <a:cubicBezTo>
                    <a:pt x="299" y="1968"/>
                    <a:pt x="294" y="1957"/>
                    <a:pt x="292" y="1959"/>
                  </a:cubicBezTo>
                  <a:cubicBezTo>
                    <a:pt x="290" y="1961"/>
                    <a:pt x="290" y="1976"/>
                    <a:pt x="286" y="1979"/>
                  </a:cubicBezTo>
                  <a:cubicBezTo>
                    <a:pt x="285" y="1980"/>
                    <a:pt x="262" y="1985"/>
                    <a:pt x="260" y="1984"/>
                  </a:cubicBezTo>
                  <a:cubicBezTo>
                    <a:pt x="259" y="1984"/>
                    <a:pt x="259" y="1984"/>
                    <a:pt x="258" y="1984"/>
                  </a:cubicBezTo>
                  <a:cubicBezTo>
                    <a:pt x="249" y="1987"/>
                    <a:pt x="235" y="1983"/>
                    <a:pt x="227" y="1985"/>
                  </a:cubicBezTo>
                  <a:cubicBezTo>
                    <a:pt x="226" y="1985"/>
                    <a:pt x="225" y="1986"/>
                    <a:pt x="225" y="1984"/>
                  </a:cubicBezTo>
                  <a:cubicBezTo>
                    <a:pt x="225" y="1984"/>
                    <a:pt x="225" y="1982"/>
                    <a:pt x="224" y="1982"/>
                  </a:cubicBezTo>
                  <a:cubicBezTo>
                    <a:pt x="221" y="1983"/>
                    <a:pt x="204" y="1993"/>
                    <a:pt x="202" y="1992"/>
                  </a:cubicBezTo>
                  <a:cubicBezTo>
                    <a:pt x="197" y="1990"/>
                    <a:pt x="217" y="1979"/>
                    <a:pt x="216" y="1976"/>
                  </a:cubicBezTo>
                  <a:cubicBezTo>
                    <a:pt x="215" y="1975"/>
                    <a:pt x="200" y="1986"/>
                    <a:pt x="198" y="1985"/>
                  </a:cubicBezTo>
                  <a:cubicBezTo>
                    <a:pt x="198" y="1985"/>
                    <a:pt x="204" y="1973"/>
                    <a:pt x="199" y="1979"/>
                  </a:cubicBezTo>
                  <a:cubicBezTo>
                    <a:pt x="195" y="1983"/>
                    <a:pt x="195" y="1986"/>
                    <a:pt x="195" y="1979"/>
                  </a:cubicBezTo>
                  <a:cubicBezTo>
                    <a:pt x="195" y="1974"/>
                    <a:pt x="185" y="1983"/>
                    <a:pt x="185" y="1977"/>
                  </a:cubicBezTo>
                  <a:cubicBezTo>
                    <a:pt x="185" y="1972"/>
                    <a:pt x="203" y="1974"/>
                    <a:pt x="201" y="1971"/>
                  </a:cubicBezTo>
                  <a:cubicBezTo>
                    <a:pt x="200" y="1967"/>
                    <a:pt x="193" y="1972"/>
                    <a:pt x="189" y="1970"/>
                  </a:cubicBezTo>
                  <a:cubicBezTo>
                    <a:pt x="185" y="1967"/>
                    <a:pt x="180" y="1962"/>
                    <a:pt x="185" y="1971"/>
                  </a:cubicBezTo>
                  <a:cubicBezTo>
                    <a:pt x="187" y="1973"/>
                    <a:pt x="184" y="1974"/>
                    <a:pt x="180" y="1972"/>
                  </a:cubicBezTo>
                  <a:cubicBezTo>
                    <a:pt x="179" y="1972"/>
                    <a:pt x="177" y="1960"/>
                    <a:pt x="177" y="1967"/>
                  </a:cubicBezTo>
                  <a:cubicBezTo>
                    <a:pt x="176" y="1972"/>
                    <a:pt x="186" y="1995"/>
                    <a:pt x="166" y="1980"/>
                  </a:cubicBezTo>
                  <a:cubicBezTo>
                    <a:pt x="155" y="1971"/>
                    <a:pt x="174" y="1961"/>
                    <a:pt x="184" y="1955"/>
                  </a:cubicBezTo>
                  <a:cubicBezTo>
                    <a:pt x="186" y="1954"/>
                    <a:pt x="189" y="1953"/>
                    <a:pt x="189" y="1952"/>
                  </a:cubicBezTo>
                  <a:cubicBezTo>
                    <a:pt x="188" y="1949"/>
                    <a:pt x="176" y="1958"/>
                    <a:pt x="174" y="1957"/>
                  </a:cubicBezTo>
                  <a:cubicBezTo>
                    <a:pt x="170" y="1955"/>
                    <a:pt x="176" y="1951"/>
                    <a:pt x="176" y="1947"/>
                  </a:cubicBezTo>
                  <a:cubicBezTo>
                    <a:pt x="177" y="1944"/>
                    <a:pt x="173" y="1945"/>
                    <a:pt x="172" y="1945"/>
                  </a:cubicBezTo>
                  <a:cubicBezTo>
                    <a:pt x="165" y="1946"/>
                    <a:pt x="170" y="1952"/>
                    <a:pt x="169" y="1956"/>
                  </a:cubicBezTo>
                  <a:cubicBezTo>
                    <a:pt x="167" y="1962"/>
                    <a:pt x="136" y="1945"/>
                    <a:pt x="132" y="1944"/>
                  </a:cubicBezTo>
                  <a:cubicBezTo>
                    <a:pt x="113" y="1938"/>
                    <a:pt x="118" y="1930"/>
                    <a:pt x="109" y="1924"/>
                  </a:cubicBezTo>
                  <a:cubicBezTo>
                    <a:pt x="106" y="1921"/>
                    <a:pt x="96" y="1923"/>
                    <a:pt x="92" y="1922"/>
                  </a:cubicBezTo>
                  <a:cubicBezTo>
                    <a:pt x="84" y="1919"/>
                    <a:pt x="64" y="1893"/>
                    <a:pt x="65" y="1884"/>
                  </a:cubicBezTo>
                  <a:cubicBezTo>
                    <a:pt x="65" y="1873"/>
                    <a:pt x="74" y="1869"/>
                    <a:pt x="71" y="1857"/>
                  </a:cubicBezTo>
                  <a:cubicBezTo>
                    <a:pt x="70" y="1853"/>
                    <a:pt x="79" y="1867"/>
                    <a:pt x="80" y="1860"/>
                  </a:cubicBezTo>
                  <a:cubicBezTo>
                    <a:pt x="80" y="1857"/>
                    <a:pt x="66" y="1846"/>
                    <a:pt x="73" y="1844"/>
                  </a:cubicBezTo>
                  <a:cubicBezTo>
                    <a:pt x="83" y="1842"/>
                    <a:pt x="86" y="1857"/>
                    <a:pt x="87" y="1862"/>
                  </a:cubicBezTo>
                  <a:cubicBezTo>
                    <a:pt x="87" y="1863"/>
                    <a:pt x="86" y="1868"/>
                    <a:pt x="88" y="1868"/>
                  </a:cubicBezTo>
                  <a:cubicBezTo>
                    <a:pt x="91" y="1867"/>
                    <a:pt x="95" y="1854"/>
                    <a:pt x="100" y="1854"/>
                  </a:cubicBezTo>
                  <a:cubicBezTo>
                    <a:pt x="110" y="1855"/>
                    <a:pt x="118" y="1879"/>
                    <a:pt x="133" y="1872"/>
                  </a:cubicBezTo>
                  <a:cubicBezTo>
                    <a:pt x="135" y="1872"/>
                    <a:pt x="128" y="1871"/>
                    <a:pt x="127" y="1871"/>
                  </a:cubicBezTo>
                  <a:cubicBezTo>
                    <a:pt x="117" y="1868"/>
                    <a:pt x="121" y="1856"/>
                    <a:pt x="124" y="1854"/>
                  </a:cubicBezTo>
                  <a:cubicBezTo>
                    <a:pt x="132" y="1850"/>
                    <a:pt x="165" y="1848"/>
                    <a:pt x="169" y="1841"/>
                  </a:cubicBezTo>
                  <a:cubicBezTo>
                    <a:pt x="170" y="1840"/>
                    <a:pt x="155" y="1843"/>
                    <a:pt x="154" y="1843"/>
                  </a:cubicBezTo>
                  <a:cubicBezTo>
                    <a:pt x="146" y="1844"/>
                    <a:pt x="124" y="1848"/>
                    <a:pt x="119" y="1855"/>
                  </a:cubicBezTo>
                  <a:cubicBezTo>
                    <a:pt x="118" y="1857"/>
                    <a:pt x="117" y="1865"/>
                    <a:pt x="115" y="1862"/>
                  </a:cubicBezTo>
                  <a:cubicBezTo>
                    <a:pt x="113" y="1859"/>
                    <a:pt x="108" y="1851"/>
                    <a:pt x="114" y="1850"/>
                  </a:cubicBezTo>
                  <a:cubicBezTo>
                    <a:pt x="115" y="1850"/>
                    <a:pt x="119" y="1851"/>
                    <a:pt x="117" y="1849"/>
                  </a:cubicBezTo>
                  <a:cubicBezTo>
                    <a:pt x="113" y="1845"/>
                    <a:pt x="101" y="1848"/>
                    <a:pt x="101" y="1839"/>
                  </a:cubicBezTo>
                  <a:cubicBezTo>
                    <a:pt x="101" y="1832"/>
                    <a:pt x="125" y="1829"/>
                    <a:pt x="125" y="1828"/>
                  </a:cubicBezTo>
                  <a:cubicBezTo>
                    <a:pt x="124" y="1826"/>
                    <a:pt x="110" y="1831"/>
                    <a:pt x="114" y="1825"/>
                  </a:cubicBezTo>
                  <a:cubicBezTo>
                    <a:pt x="121" y="1816"/>
                    <a:pt x="134" y="1812"/>
                    <a:pt x="143" y="1806"/>
                  </a:cubicBezTo>
                  <a:cubicBezTo>
                    <a:pt x="146" y="1803"/>
                    <a:pt x="158" y="1806"/>
                    <a:pt x="155" y="1803"/>
                  </a:cubicBezTo>
                  <a:cubicBezTo>
                    <a:pt x="147" y="1795"/>
                    <a:pt x="131" y="1813"/>
                    <a:pt x="124" y="1812"/>
                  </a:cubicBezTo>
                  <a:cubicBezTo>
                    <a:pt x="116" y="1811"/>
                    <a:pt x="135" y="1805"/>
                    <a:pt x="131" y="1800"/>
                  </a:cubicBezTo>
                  <a:cubicBezTo>
                    <a:pt x="131" y="1799"/>
                    <a:pt x="131" y="1799"/>
                    <a:pt x="130" y="1798"/>
                  </a:cubicBezTo>
                  <a:cubicBezTo>
                    <a:pt x="130" y="1797"/>
                    <a:pt x="130" y="1797"/>
                    <a:pt x="130" y="1797"/>
                  </a:cubicBezTo>
                  <a:cubicBezTo>
                    <a:pt x="130" y="1797"/>
                    <a:pt x="130" y="1797"/>
                    <a:pt x="130" y="1798"/>
                  </a:cubicBezTo>
                  <a:cubicBezTo>
                    <a:pt x="130" y="1798"/>
                    <a:pt x="130" y="1798"/>
                    <a:pt x="130" y="1798"/>
                  </a:cubicBezTo>
                  <a:cubicBezTo>
                    <a:pt x="130" y="1800"/>
                    <a:pt x="130" y="1803"/>
                    <a:pt x="128" y="1803"/>
                  </a:cubicBezTo>
                  <a:cubicBezTo>
                    <a:pt x="125" y="1803"/>
                    <a:pt x="119" y="1796"/>
                    <a:pt x="118" y="1800"/>
                  </a:cubicBezTo>
                  <a:cubicBezTo>
                    <a:pt x="118" y="1802"/>
                    <a:pt x="114" y="1805"/>
                    <a:pt x="113" y="1802"/>
                  </a:cubicBezTo>
                  <a:cubicBezTo>
                    <a:pt x="111" y="1797"/>
                    <a:pt x="138" y="1777"/>
                    <a:pt x="141" y="1776"/>
                  </a:cubicBezTo>
                  <a:cubicBezTo>
                    <a:pt x="145" y="1774"/>
                    <a:pt x="151" y="1770"/>
                    <a:pt x="155" y="1770"/>
                  </a:cubicBezTo>
                  <a:cubicBezTo>
                    <a:pt x="156" y="1770"/>
                    <a:pt x="162" y="1769"/>
                    <a:pt x="162" y="1769"/>
                  </a:cubicBezTo>
                  <a:cubicBezTo>
                    <a:pt x="153" y="1762"/>
                    <a:pt x="144" y="1775"/>
                    <a:pt x="137" y="1774"/>
                  </a:cubicBezTo>
                  <a:cubicBezTo>
                    <a:pt x="130" y="1772"/>
                    <a:pt x="147" y="1757"/>
                    <a:pt x="141" y="1756"/>
                  </a:cubicBezTo>
                  <a:cubicBezTo>
                    <a:pt x="137" y="1755"/>
                    <a:pt x="132" y="1773"/>
                    <a:pt x="131" y="1776"/>
                  </a:cubicBezTo>
                  <a:cubicBezTo>
                    <a:pt x="127" y="1783"/>
                    <a:pt x="119" y="1794"/>
                    <a:pt x="114" y="1792"/>
                  </a:cubicBezTo>
                  <a:cubicBezTo>
                    <a:pt x="113" y="1792"/>
                    <a:pt x="114" y="1786"/>
                    <a:pt x="112" y="1788"/>
                  </a:cubicBezTo>
                  <a:cubicBezTo>
                    <a:pt x="110" y="1790"/>
                    <a:pt x="114" y="1800"/>
                    <a:pt x="107" y="1799"/>
                  </a:cubicBezTo>
                  <a:cubicBezTo>
                    <a:pt x="100" y="1798"/>
                    <a:pt x="102" y="1787"/>
                    <a:pt x="109" y="1786"/>
                  </a:cubicBezTo>
                  <a:cubicBezTo>
                    <a:pt x="113" y="1785"/>
                    <a:pt x="116" y="1784"/>
                    <a:pt x="120" y="1782"/>
                  </a:cubicBezTo>
                  <a:cubicBezTo>
                    <a:pt x="121" y="1782"/>
                    <a:pt x="124" y="1781"/>
                    <a:pt x="123" y="1780"/>
                  </a:cubicBezTo>
                  <a:cubicBezTo>
                    <a:pt x="121" y="1778"/>
                    <a:pt x="109" y="1781"/>
                    <a:pt x="106" y="1781"/>
                  </a:cubicBezTo>
                  <a:cubicBezTo>
                    <a:pt x="103" y="1781"/>
                    <a:pt x="96" y="1773"/>
                    <a:pt x="96" y="1773"/>
                  </a:cubicBezTo>
                  <a:cubicBezTo>
                    <a:pt x="90" y="1776"/>
                    <a:pt x="99" y="1779"/>
                    <a:pt x="96" y="1783"/>
                  </a:cubicBezTo>
                  <a:cubicBezTo>
                    <a:pt x="92" y="1786"/>
                    <a:pt x="82" y="1783"/>
                    <a:pt x="82" y="1791"/>
                  </a:cubicBezTo>
                  <a:cubicBezTo>
                    <a:pt x="82" y="1793"/>
                    <a:pt x="85" y="1790"/>
                    <a:pt x="85" y="1790"/>
                  </a:cubicBezTo>
                  <a:cubicBezTo>
                    <a:pt x="91" y="1786"/>
                    <a:pt x="104" y="1792"/>
                    <a:pt x="99" y="1800"/>
                  </a:cubicBezTo>
                  <a:cubicBezTo>
                    <a:pt x="98" y="1803"/>
                    <a:pt x="89" y="1801"/>
                    <a:pt x="87" y="1801"/>
                  </a:cubicBezTo>
                  <a:cubicBezTo>
                    <a:pt x="87" y="1801"/>
                    <a:pt x="82" y="1810"/>
                    <a:pt x="78" y="1808"/>
                  </a:cubicBezTo>
                  <a:cubicBezTo>
                    <a:pt x="76" y="1806"/>
                    <a:pt x="84" y="1783"/>
                    <a:pt x="74" y="1790"/>
                  </a:cubicBezTo>
                  <a:cubicBezTo>
                    <a:pt x="68" y="1794"/>
                    <a:pt x="77" y="1807"/>
                    <a:pt x="71" y="1809"/>
                  </a:cubicBezTo>
                  <a:cubicBezTo>
                    <a:pt x="57" y="1815"/>
                    <a:pt x="66" y="1791"/>
                    <a:pt x="62" y="1791"/>
                  </a:cubicBezTo>
                  <a:cubicBezTo>
                    <a:pt x="58" y="1790"/>
                    <a:pt x="62" y="1807"/>
                    <a:pt x="59" y="1808"/>
                  </a:cubicBezTo>
                  <a:cubicBezTo>
                    <a:pt x="57" y="1808"/>
                    <a:pt x="56" y="1799"/>
                    <a:pt x="56" y="1798"/>
                  </a:cubicBezTo>
                  <a:cubicBezTo>
                    <a:pt x="57" y="1790"/>
                    <a:pt x="53" y="1788"/>
                    <a:pt x="53" y="1796"/>
                  </a:cubicBezTo>
                  <a:cubicBezTo>
                    <a:pt x="53" y="1797"/>
                    <a:pt x="54" y="1801"/>
                    <a:pt x="52" y="1801"/>
                  </a:cubicBezTo>
                  <a:cubicBezTo>
                    <a:pt x="47" y="1801"/>
                    <a:pt x="40" y="1780"/>
                    <a:pt x="40" y="1776"/>
                  </a:cubicBezTo>
                  <a:cubicBezTo>
                    <a:pt x="40" y="1773"/>
                    <a:pt x="44" y="1776"/>
                    <a:pt x="46" y="1774"/>
                  </a:cubicBezTo>
                  <a:cubicBezTo>
                    <a:pt x="52" y="1767"/>
                    <a:pt x="49" y="1752"/>
                    <a:pt x="58" y="1756"/>
                  </a:cubicBezTo>
                  <a:cubicBezTo>
                    <a:pt x="60" y="1757"/>
                    <a:pt x="59" y="1764"/>
                    <a:pt x="60" y="1765"/>
                  </a:cubicBezTo>
                  <a:cubicBezTo>
                    <a:pt x="67" y="1766"/>
                    <a:pt x="61" y="1751"/>
                    <a:pt x="65" y="1746"/>
                  </a:cubicBezTo>
                  <a:cubicBezTo>
                    <a:pt x="66" y="1746"/>
                    <a:pt x="67" y="1744"/>
                    <a:pt x="68" y="1745"/>
                  </a:cubicBezTo>
                  <a:cubicBezTo>
                    <a:pt x="69" y="1746"/>
                    <a:pt x="68" y="1765"/>
                    <a:pt x="67" y="1768"/>
                  </a:cubicBezTo>
                  <a:cubicBezTo>
                    <a:pt x="66" y="1769"/>
                    <a:pt x="56" y="1774"/>
                    <a:pt x="61" y="1777"/>
                  </a:cubicBezTo>
                  <a:cubicBezTo>
                    <a:pt x="71" y="1784"/>
                    <a:pt x="71" y="1753"/>
                    <a:pt x="75" y="1752"/>
                  </a:cubicBezTo>
                  <a:cubicBezTo>
                    <a:pt x="83" y="1751"/>
                    <a:pt x="89" y="1763"/>
                    <a:pt x="89" y="1763"/>
                  </a:cubicBezTo>
                  <a:cubicBezTo>
                    <a:pt x="94" y="1764"/>
                    <a:pt x="91" y="1756"/>
                    <a:pt x="98" y="1756"/>
                  </a:cubicBezTo>
                  <a:cubicBezTo>
                    <a:pt x="112" y="1755"/>
                    <a:pt x="90" y="1753"/>
                    <a:pt x="90" y="1752"/>
                  </a:cubicBezTo>
                  <a:cubicBezTo>
                    <a:pt x="92" y="1740"/>
                    <a:pt x="114" y="1744"/>
                    <a:pt x="125" y="1738"/>
                  </a:cubicBezTo>
                  <a:cubicBezTo>
                    <a:pt x="137" y="1731"/>
                    <a:pt x="142" y="1728"/>
                    <a:pt x="141" y="1727"/>
                  </a:cubicBezTo>
                  <a:cubicBezTo>
                    <a:pt x="135" y="1723"/>
                    <a:pt x="118" y="1739"/>
                    <a:pt x="112" y="1739"/>
                  </a:cubicBezTo>
                  <a:cubicBezTo>
                    <a:pt x="103" y="1740"/>
                    <a:pt x="112" y="1730"/>
                    <a:pt x="110" y="1727"/>
                  </a:cubicBezTo>
                  <a:cubicBezTo>
                    <a:pt x="108" y="1721"/>
                    <a:pt x="105" y="1739"/>
                    <a:pt x="99" y="1739"/>
                  </a:cubicBezTo>
                  <a:cubicBezTo>
                    <a:pt x="91" y="1740"/>
                    <a:pt x="89" y="1726"/>
                    <a:pt x="87" y="1728"/>
                  </a:cubicBezTo>
                  <a:cubicBezTo>
                    <a:pt x="86" y="1729"/>
                    <a:pt x="83" y="1731"/>
                    <a:pt x="82" y="1729"/>
                  </a:cubicBezTo>
                  <a:cubicBezTo>
                    <a:pt x="81" y="1727"/>
                    <a:pt x="89" y="1725"/>
                    <a:pt x="90" y="1725"/>
                  </a:cubicBezTo>
                  <a:cubicBezTo>
                    <a:pt x="92" y="1723"/>
                    <a:pt x="88" y="1719"/>
                    <a:pt x="93" y="1717"/>
                  </a:cubicBezTo>
                  <a:cubicBezTo>
                    <a:pt x="97" y="1715"/>
                    <a:pt x="107" y="1715"/>
                    <a:pt x="110" y="1712"/>
                  </a:cubicBezTo>
                  <a:cubicBezTo>
                    <a:pt x="117" y="1706"/>
                    <a:pt x="108" y="1698"/>
                    <a:pt x="131" y="1691"/>
                  </a:cubicBezTo>
                  <a:cubicBezTo>
                    <a:pt x="133" y="1690"/>
                    <a:pt x="138" y="1690"/>
                    <a:pt x="139" y="1689"/>
                  </a:cubicBezTo>
                  <a:cubicBezTo>
                    <a:pt x="142" y="1683"/>
                    <a:pt x="120" y="1697"/>
                    <a:pt x="120" y="1680"/>
                  </a:cubicBezTo>
                  <a:cubicBezTo>
                    <a:pt x="119" y="1676"/>
                    <a:pt x="155" y="1643"/>
                    <a:pt x="164" y="1645"/>
                  </a:cubicBezTo>
                  <a:cubicBezTo>
                    <a:pt x="172" y="1646"/>
                    <a:pt x="160" y="1672"/>
                    <a:pt x="159" y="1681"/>
                  </a:cubicBezTo>
                  <a:cubicBezTo>
                    <a:pt x="159" y="1682"/>
                    <a:pt x="158" y="1696"/>
                    <a:pt x="160" y="1695"/>
                  </a:cubicBezTo>
                  <a:cubicBezTo>
                    <a:pt x="167" y="1691"/>
                    <a:pt x="163" y="1657"/>
                    <a:pt x="174" y="1651"/>
                  </a:cubicBezTo>
                  <a:cubicBezTo>
                    <a:pt x="183" y="1645"/>
                    <a:pt x="183" y="1638"/>
                    <a:pt x="196" y="1636"/>
                  </a:cubicBezTo>
                  <a:cubicBezTo>
                    <a:pt x="199" y="1636"/>
                    <a:pt x="211" y="1641"/>
                    <a:pt x="212" y="1635"/>
                  </a:cubicBezTo>
                  <a:cubicBezTo>
                    <a:pt x="212" y="1634"/>
                    <a:pt x="194" y="1635"/>
                    <a:pt x="193" y="1634"/>
                  </a:cubicBezTo>
                  <a:cubicBezTo>
                    <a:pt x="193" y="1634"/>
                    <a:pt x="205" y="1622"/>
                    <a:pt x="204" y="1621"/>
                  </a:cubicBezTo>
                  <a:cubicBezTo>
                    <a:pt x="200" y="1619"/>
                    <a:pt x="177" y="1645"/>
                    <a:pt x="169" y="1645"/>
                  </a:cubicBezTo>
                  <a:cubicBezTo>
                    <a:pt x="158" y="1643"/>
                    <a:pt x="177" y="1632"/>
                    <a:pt x="174" y="1632"/>
                  </a:cubicBezTo>
                  <a:cubicBezTo>
                    <a:pt x="169" y="1630"/>
                    <a:pt x="148" y="1649"/>
                    <a:pt x="141" y="1650"/>
                  </a:cubicBezTo>
                  <a:cubicBezTo>
                    <a:pt x="136" y="1650"/>
                    <a:pt x="132" y="1638"/>
                    <a:pt x="129" y="1639"/>
                  </a:cubicBezTo>
                  <a:cubicBezTo>
                    <a:pt x="125" y="1640"/>
                    <a:pt x="135" y="1651"/>
                    <a:pt x="133" y="1652"/>
                  </a:cubicBezTo>
                  <a:cubicBezTo>
                    <a:pt x="133" y="1652"/>
                    <a:pt x="123" y="1652"/>
                    <a:pt x="124" y="1654"/>
                  </a:cubicBezTo>
                  <a:cubicBezTo>
                    <a:pt x="125" y="1655"/>
                    <a:pt x="130" y="1654"/>
                    <a:pt x="130" y="1656"/>
                  </a:cubicBezTo>
                  <a:cubicBezTo>
                    <a:pt x="130" y="1657"/>
                    <a:pt x="127" y="1664"/>
                    <a:pt x="127" y="1666"/>
                  </a:cubicBezTo>
                  <a:cubicBezTo>
                    <a:pt x="128" y="1667"/>
                    <a:pt x="124" y="1670"/>
                    <a:pt x="124" y="1671"/>
                  </a:cubicBezTo>
                  <a:cubicBezTo>
                    <a:pt x="122" y="1672"/>
                    <a:pt x="116" y="1667"/>
                    <a:pt x="113" y="1668"/>
                  </a:cubicBezTo>
                  <a:cubicBezTo>
                    <a:pt x="107" y="1670"/>
                    <a:pt x="104" y="1677"/>
                    <a:pt x="100" y="1683"/>
                  </a:cubicBezTo>
                  <a:cubicBezTo>
                    <a:pt x="98" y="1687"/>
                    <a:pt x="104" y="1695"/>
                    <a:pt x="102" y="1700"/>
                  </a:cubicBezTo>
                  <a:cubicBezTo>
                    <a:pt x="99" y="1708"/>
                    <a:pt x="92" y="1703"/>
                    <a:pt x="92" y="1705"/>
                  </a:cubicBezTo>
                  <a:cubicBezTo>
                    <a:pt x="92" y="1710"/>
                    <a:pt x="90" y="1707"/>
                    <a:pt x="87" y="1706"/>
                  </a:cubicBezTo>
                  <a:cubicBezTo>
                    <a:pt x="85" y="1704"/>
                    <a:pt x="83" y="1695"/>
                    <a:pt x="88" y="1697"/>
                  </a:cubicBezTo>
                  <a:cubicBezTo>
                    <a:pt x="90" y="1698"/>
                    <a:pt x="92" y="1698"/>
                    <a:pt x="94" y="1696"/>
                  </a:cubicBezTo>
                  <a:cubicBezTo>
                    <a:pt x="99" y="1691"/>
                    <a:pt x="89" y="1695"/>
                    <a:pt x="89" y="1695"/>
                  </a:cubicBezTo>
                  <a:cubicBezTo>
                    <a:pt x="84" y="1692"/>
                    <a:pt x="90" y="1689"/>
                    <a:pt x="87" y="1684"/>
                  </a:cubicBezTo>
                  <a:cubicBezTo>
                    <a:pt x="85" y="1681"/>
                    <a:pt x="95" y="1676"/>
                    <a:pt x="94" y="1676"/>
                  </a:cubicBezTo>
                  <a:cubicBezTo>
                    <a:pt x="87" y="1671"/>
                    <a:pt x="82" y="1689"/>
                    <a:pt x="74" y="1685"/>
                  </a:cubicBezTo>
                  <a:cubicBezTo>
                    <a:pt x="71" y="1684"/>
                    <a:pt x="78" y="1675"/>
                    <a:pt x="82" y="1674"/>
                  </a:cubicBezTo>
                  <a:cubicBezTo>
                    <a:pt x="83" y="1674"/>
                    <a:pt x="88" y="1673"/>
                    <a:pt x="87" y="1672"/>
                  </a:cubicBezTo>
                  <a:cubicBezTo>
                    <a:pt x="85" y="1670"/>
                    <a:pt x="76" y="1675"/>
                    <a:pt x="79" y="1671"/>
                  </a:cubicBezTo>
                  <a:cubicBezTo>
                    <a:pt x="79" y="1671"/>
                    <a:pt x="82" y="1668"/>
                    <a:pt x="79" y="1668"/>
                  </a:cubicBezTo>
                  <a:cubicBezTo>
                    <a:pt x="78" y="1669"/>
                    <a:pt x="75" y="1673"/>
                    <a:pt x="75" y="1672"/>
                  </a:cubicBezTo>
                  <a:cubicBezTo>
                    <a:pt x="73" y="1668"/>
                    <a:pt x="91" y="1653"/>
                    <a:pt x="90" y="1650"/>
                  </a:cubicBezTo>
                  <a:cubicBezTo>
                    <a:pt x="88" y="1649"/>
                    <a:pt x="80" y="1656"/>
                    <a:pt x="76" y="1663"/>
                  </a:cubicBezTo>
                  <a:cubicBezTo>
                    <a:pt x="65" y="1682"/>
                    <a:pt x="64" y="1687"/>
                    <a:pt x="61" y="1687"/>
                  </a:cubicBezTo>
                  <a:cubicBezTo>
                    <a:pt x="54" y="1688"/>
                    <a:pt x="56" y="1676"/>
                    <a:pt x="55" y="1675"/>
                  </a:cubicBezTo>
                  <a:cubicBezTo>
                    <a:pt x="53" y="1674"/>
                    <a:pt x="38" y="1679"/>
                    <a:pt x="47" y="1673"/>
                  </a:cubicBezTo>
                  <a:cubicBezTo>
                    <a:pt x="47" y="1673"/>
                    <a:pt x="53" y="1669"/>
                    <a:pt x="52" y="1668"/>
                  </a:cubicBezTo>
                  <a:cubicBezTo>
                    <a:pt x="52" y="1668"/>
                    <a:pt x="29" y="1660"/>
                    <a:pt x="42" y="1660"/>
                  </a:cubicBezTo>
                  <a:cubicBezTo>
                    <a:pt x="43" y="1661"/>
                    <a:pt x="38" y="1659"/>
                    <a:pt x="37" y="1657"/>
                  </a:cubicBezTo>
                  <a:cubicBezTo>
                    <a:pt x="35" y="1652"/>
                    <a:pt x="50" y="1655"/>
                    <a:pt x="51" y="1650"/>
                  </a:cubicBezTo>
                  <a:cubicBezTo>
                    <a:pt x="51" y="1647"/>
                    <a:pt x="49" y="1643"/>
                    <a:pt x="46" y="1640"/>
                  </a:cubicBezTo>
                  <a:cubicBezTo>
                    <a:pt x="43" y="1638"/>
                    <a:pt x="46" y="1629"/>
                    <a:pt x="50" y="1631"/>
                  </a:cubicBezTo>
                  <a:cubicBezTo>
                    <a:pt x="61" y="1637"/>
                    <a:pt x="64" y="1651"/>
                    <a:pt x="81" y="1646"/>
                  </a:cubicBezTo>
                  <a:cubicBezTo>
                    <a:pt x="84" y="1645"/>
                    <a:pt x="87" y="1642"/>
                    <a:pt x="88" y="1638"/>
                  </a:cubicBezTo>
                  <a:cubicBezTo>
                    <a:pt x="89" y="1629"/>
                    <a:pt x="87" y="1615"/>
                    <a:pt x="88" y="1609"/>
                  </a:cubicBezTo>
                  <a:cubicBezTo>
                    <a:pt x="89" y="1607"/>
                    <a:pt x="92" y="1603"/>
                    <a:pt x="91" y="1603"/>
                  </a:cubicBezTo>
                  <a:cubicBezTo>
                    <a:pt x="81" y="1606"/>
                    <a:pt x="86" y="1593"/>
                    <a:pt x="71" y="1606"/>
                  </a:cubicBezTo>
                  <a:cubicBezTo>
                    <a:pt x="68" y="1609"/>
                    <a:pt x="74" y="1614"/>
                    <a:pt x="70" y="1617"/>
                  </a:cubicBezTo>
                  <a:cubicBezTo>
                    <a:pt x="62" y="1622"/>
                    <a:pt x="28" y="1630"/>
                    <a:pt x="32" y="1611"/>
                  </a:cubicBezTo>
                  <a:cubicBezTo>
                    <a:pt x="32" y="1611"/>
                    <a:pt x="34" y="1611"/>
                    <a:pt x="34" y="1611"/>
                  </a:cubicBezTo>
                  <a:cubicBezTo>
                    <a:pt x="38" y="1611"/>
                    <a:pt x="41" y="1619"/>
                    <a:pt x="44" y="1618"/>
                  </a:cubicBezTo>
                  <a:cubicBezTo>
                    <a:pt x="44" y="1617"/>
                    <a:pt x="37" y="1607"/>
                    <a:pt x="34" y="1606"/>
                  </a:cubicBezTo>
                  <a:cubicBezTo>
                    <a:pt x="27" y="1602"/>
                    <a:pt x="40" y="1607"/>
                    <a:pt x="36" y="1603"/>
                  </a:cubicBezTo>
                  <a:cubicBezTo>
                    <a:pt x="31" y="1598"/>
                    <a:pt x="22" y="1598"/>
                    <a:pt x="18" y="1591"/>
                  </a:cubicBezTo>
                  <a:cubicBezTo>
                    <a:pt x="15" y="1587"/>
                    <a:pt x="26" y="1595"/>
                    <a:pt x="31" y="1595"/>
                  </a:cubicBezTo>
                  <a:cubicBezTo>
                    <a:pt x="43" y="1595"/>
                    <a:pt x="53" y="1615"/>
                    <a:pt x="57" y="1615"/>
                  </a:cubicBezTo>
                  <a:cubicBezTo>
                    <a:pt x="57" y="1615"/>
                    <a:pt x="63" y="1617"/>
                    <a:pt x="57" y="1610"/>
                  </a:cubicBezTo>
                  <a:cubicBezTo>
                    <a:pt x="56" y="1608"/>
                    <a:pt x="58" y="1607"/>
                    <a:pt x="60" y="1608"/>
                  </a:cubicBezTo>
                  <a:cubicBezTo>
                    <a:pt x="68" y="1615"/>
                    <a:pt x="58" y="1601"/>
                    <a:pt x="56" y="1599"/>
                  </a:cubicBezTo>
                  <a:cubicBezTo>
                    <a:pt x="54" y="1598"/>
                    <a:pt x="45" y="1600"/>
                    <a:pt x="45" y="1595"/>
                  </a:cubicBezTo>
                  <a:cubicBezTo>
                    <a:pt x="45" y="1593"/>
                    <a:pt x="59" y="1582"/>
                    <a:pt x="61" y="1582"/>
                  </a:cubicBezTo>
                  <a:cubicBezTo>
                    <a:pt x="62" y="1582"/>
                    <a:pt x="72" y="1581"/>
                    <a:pt x="72" y="1580"/>
                  </a:cubicBezTo>
                  <a:cubicBezTo>
                    <a:pt x="58" y="1574"/>
                    <a:pt x="39" y="1596"/>
                    <a:pt x="28" y="1585"/>
                  </a:cubicBezTo>
                  <a:cubicBezTo>
                    <a:pt x="28" y="1585"/>
                    <a:pt x="27" y="1584"/>
                    <a:pt x="27" y="1583"/>
                  </a:cubicBezTo>
                  <a:cubicBezTo>
                    <a:pt x="23" y="1567"/>
                    <a:pt x="25" y="1563"/>
                    <a:pt x="31" y="1579"/>
                  </a:cubicBezTo>
                  <a:cubicBezTo>
                    <a:pt x="32" y="1580"/>
                    <a:pt x="37" y="1562"/>
                    <a:pt x="35" y="1565"/>
                  </a:cubicBezTo>
                  <a:cubicBezTo>
                    <a:pt x="33" y="1568"/>
                    <a:pt x="24" y="1566"/>
                    <a:pt x="24" y="1563"/>
                  </a:cubicBezTo>
                  <a:cubicBezTo>
                    <a:pt x="23" y="1536"/>
                    <a:pt x="61" y="1566"/>
                    <a:pt x="65" y="1562"/>
                  </a:cubicBezTo>
                  <a:cubicBezTo>
                    <a:pt x="67" y="1561"/>
                    <a:pt x="63" y="1556"/>
                    <a:pt x="66" y="1554"/>
                  </a:cubicBezTo>
                  <a:cubicBezTo>
                    <a:pt x="70" y="1552"/>
                    <a:pt x="81" y="1552"/>
                    <a:pt x="80" y="1552"/>
                  </a:cubicBezTo>
                  <a:cubicBezTo>
                    <a:pt x="77" y="1551"/>
                    <a:pt x="77" y="1549"/>
                    <a:pt x="81" y="1549"/>
                  </a:cubicBezTo>
                  <a:cubicBezTo>
                    <a:pt x="84" y="1549"/>
                    <a:pt x="96" y="1543"/>
                    <a:pt x="94" y="1549"/>
                  </a:cubicBezTo>
                  <a:cubicBezTo>
                    <a:pt x="94" y="1549"/>
                    <a:pt x="92" y="1553"/>
                    <a:pt x="94" y="1553"/>
                  </a:cubicBezTo>
                  <a:cubicBezTo>
                    <a:pt x="95" y="1552"/>
                    <a:pt x="128" y="1535"/>
                    <a:pt x="137" y="1550"/>
                  </a:cubicBezTo>
                  <a:cubicBezTo>
                    <a:pt x="138" y="1551"/>
                    <a:pt x="133" y="1555"/>
                    <a:pt x="135" y="1556"/>
                  </a:cubicBezTo>
                  <a:cubicBezTo>
                    <a:pt x="139" y="1557"/>
                    <a:pt x="139" y="1552"/>
                    <a:pt x="142" y="1552"/>
                  </a:cubicBezTo>
                  <a:cubicBezTo>
                    <a:pt x="150" y="1551"/>
                    <a:pt x="142" y="1563"/>
                    <a:pt x="146" y="1561"/>
                  </a:cubicBezTo>
                  <a:cubicBezTo>
                    <a:pt x="161" y="1553"/>
                    <a:pt x="163" y="1530"/>
                    <a:pt x="188" y="1542"/>
                  </a:cubicBezTo>
                  <a:cubicBezTo>
                    <a:pt x="190" y="1543"/>
                    <a:pt x="204" y="1555"/>
                    <a:pt x="203" y="1560"/>
                  </a:cubicBezTo>
                  <a:cubicBezTo>
                    <a:pt x="203" y="1566"/>
                    <a:pt x="185" y="1571"/>
                    <a:pt x="191" y="1571"/>
                  </a:cubicBezTo>
                  <a:cubicBezTo>
                    <a:pt x="202" y="1573"/>
                    <a:pt x="201" y="1564"/>
                    <a:pt x="212" y="1571"/>
                  </a:cubicBezTo>
                  <a:cubicBezTo>
                    <a:pt x="216" y="1573"/>
                    <a:pt x="211" y="1581"/>
                    <a:pt x="212" y="1582"/>
                  </a:cubicBezTo>
                  <a:cubicBezTo>
                    <a:pt x="214" y="1584"/>
                    <a:pt x="217" y="1576"/>
                    <a:pt x="217" y="1575"/>
                  </a:cubicBezTo>
                  <a:cubicBezTo>
                    <a:pt x="218" y="1567"/>
                    <a:pt x="198" y="1555"/>
                    <a:pt x="204" y="1548"/>
                  </a:cubicBezTo>
                  <a:cubicBezTo>
                    <a:pt x="205" y="1547"/>
                    <a:pt x="215" y="1546"/>
                    <a:pt x="217" y="1546"/>
                  </a:cubicBezTo>
                  <a:cubicBezTo>
                    <a:pt x="222" y="1547"/>
                    <a:pt x="222" y="1541"/>
                    <a:pt x="230" y="1544"/>
                  </a:cubicBezTo>
                  <a:cubicBezTo>
                    <a:pt x="232" y="1545"/>
                    <a:pt x="239" y="1551"/>
                    <a:pt x="241" y="1548"/>
                  </a:cubicBezTo>
                  <a:cubicBezTo>
                    <a:pt x="244" y="1545"/>
                    <a:pt x="231" y="1542"/>
                    <a:pt x="234" y="1540"/>
                  </a:cubicBezTo>
                  <a:cubicBezTo>
                    <a:pt x="236" y="1538"/>
                    <a:pt x="264" y="1529"/>
                    <a:pt x="264" y="1529"/>
                  </a:cubicBezTo>
                  <a:cubicBezTo>
                    <a:pt x="261" y="1525"/>
                    <a:pt x="229" y="1539"/>
                    <a:pt x="232" y="1516"/>
                  </a:cubicBezTo>
                  <a:cubicBezTo>
                    <a:pt x="233" y="1511"/>
                    <a:pt x="254" y="1493"/>
                    <a:pt x="254" y="1492"/>
                  </a:cubicBezTo>
                  <a:cubicBezTo>
                    <a:pt x="252" y="1486"/>
                    <a:pt x="234" y="1510"/>
                    <a:pt x="230" y="1509"/>
                  </a:cubicBezTo>
                  <a:cubicBezTo>
                    <a:pt x="217" y="1506"/>
                    <a:pt x="234" y="1528"/>
                    <a:pt x="234" y="1535"/>
                  </a:cubicBezTo>
                  <a:cubicBezTo>
                    <a:pt x="235" y="1542"/>
                    <a:pt x="223" y="1536"/>
                    <a:pt x="222" y="1536"/>
                  </a:cubicBezTo>
                  <a:cubicBezTo>
                    <a:pt x="218" y="1535"/>
                    <a:pt x="206" y="1543"/>
                    <a:pt x="201" y="1545"/>
                  </a:cubicBezTo>
                  <a:cubicBezTo>
                    <a:pt x="198" y="1546"/>
                    <a:pt x="194" y="1543"/>
                    <a:pt x="195" y="1541"/>
                  </a:cubicBezTo>
                  <a:cubicBezTo>
                    <a:pt x="195" y="1540"/>
                    <a:pt x="205" y="1539"/>
                    <a:pt x="203" y="1536"/>
                  </a:cubicBezTo>
                  <a:cubicBezTo>
                    <a:pt x="201" y="1533"/>
                    <a:pt x="166" y="1541"/>
                    <a:pt x="163" y="1530"/>
                  </a:cubicBezTo>
                  <a:cubicBezTo>
                    <a:pt x="162" y="1527"/>
                    <a:pt x="183" y="1508"/>
                    <a:pt x="177" y="1504"/>
                  </a:cubicBezTo>
                  <a:cubicBezTo>
                    <a:pt x="170" y="1499"/>
                    <a:pt x="172" y="1518"/>
                    <a:pt x="164" y="1522"/>
                  </a:cubicBezTo>
                  <a:cubicBezTo>
                    <a:pt x="149" y="1529"/>
                    <a:pt x="164" y="1539"/>
                    <a:pt x="158" y="1543"/>
                  </a:cubicBezTo>
                  <a:cubicBezTo>
                    <a:pt x="144" y="1551"/>
                    <a:pt x="138" y="1539"/>
                    <a:pt x="129" y="1536"/>
                  </a:cubicBezTo>
                  <a:cubicBezTo>
                    <a:pt x="126" y="1535"/>
                    <a:pt x="116" y="1547"/>
                    <a:pt x="110" y="1539"/>
                  </a:cubicBezTo>
                  <a:cubicBezTo>
                    <a:pt x="109" y="1538"/>
                    <a:pt x="118" y="1534"/>
                    <a:pt x="116" y="1533"/>
                  </a:cubicBezTo>
                  <a:cubicBezTo>
                    <a:pt x="109" y="1529"/>
                    <a:pt x="75" y="1550"/>
                    <a:pt x="59" y="1552"/>
                  </a:cubicBezTo>
                  <a:cubicBezTo>
                    <a:pt x="57" y="1552"/>
                    <a:pt x="39" y="1544"/>
                    <a:pt x="39" y="1544"/>
                  </a:cubicBezTo>
                  <a:cubicBezTo>
                    <a:pt x="38" y="1542"/>
                    <a:pt x="49" y="1542"/>
                    <a:pt x="40" y="1540"/>
                  </a:cubicBezTo>
                  <a:cubicBezTo>
                    <a:pt x="37" y="1539"/>
                    <a:pt x="31" y="1543"/>
                    <a:pt x="28" y="1538"/>
                  </a:cubicBezTo>
                  <a:cubicBezTo>
                    <a:pt x="26" y="1534"/>
                    <a:pt x="46" y="1538"/>
                    <a:pt x="46" y="1536"/>
                  </a:cubicBezTo>
                  <a:cubicBezTo>
                    <a:pt x="46" y="1535"/>
                    <a:pt x="42" y="1532"/>
                    <a:pt x="41" y="1532"/>
                  </a:cubicBezTo>
                  <a:cubicBezTo>
                    <a:pt x="32" y="1529"/>
                    <a:pt x="30" y="1526"/>
                    <a:pt x="28" y="1527"/>
                  </a:cubicBezTo>
                  <a:cubicBezTo>
                    <a:pt x="26" y="1529"/>
                    <a:pt x="21" y="1528"/>
                    <a:pt x="20" y="1525"/>
                  </a:cubicBezTo>
                  <a:cubicBezTo>
                    <a:pt x="19" y="1522"/>
                    <a:pt x="45" y="1515"/>
                    <a:pt x="46" y="1516"/>
                  </a:cubicBezTo>
                  <a:cubicBezTo>
                    <a:pt x="49" y="1517"/>
                    <a:pt x="63" y="1533"/>
                    <a:pt x="53" y="1517"/>
                  </a:cubicBezTo>
                  <a:cubicBezTo>
                    <a:pt x="52" y="1515"/>
                    <a:pt x="49" y="1516"/>
                    <a:pt x="49" y="1514"/>
                  </a:cubicBezTo>
                  <a:cubicBezTo>
                    <a:pt x="49" y="1510"/>
                    <a:pt x="71" y="1510"/>
                    <a:pt x="73" y="1510"/>
                  </a:cubicBezTo>
                  <a:cubicBezTo>
                    <a:pt x="75" y="1510"/>
                    <a:pt x="76" y="1509"/>
                    <a:pt x="78" y="1509"/>
                  </a:cubicBezTo>
                  <a:cubicBezTo>
                    <a:pt x="78" y="1509"/>
                    <a:pt x="81" y="1510"/>
                    <a:pt x="81" y="1509"/>
                  </a:cubicBezTo>
                  <a:cubicBezTo>
                    <a:pt x="76" y="1496"/>
                    <a:pt x="33" y="1518"/>
                    <a:pt x="28" y="1516"/>
                  </a:cubicBezTo>
                  <a:cubicBezTo>
                    <a:pt x="15" y="1509"/>
                    <a:pt x="36" y="1505"/>
                    <a:pt x="35" y="1501"/>
                  </a:cubicBezTo>
                  <a:cubicBezTo>
                    <a:pt x="35" y="1501"/>
                    <a:pt x="19" y="1504"/>
                    <a:pt x="19" y="1502"/>
                  </a:cubicBezTo>
                  <a:cubicBezTo>
                    <a:pt x="26" y="1489"/>
                    <a:pt x="62" y="1498"/>
                    <a:pt x="68" y="1499"/>
                  </a:cubicBezTo>
                  <a:cubicBezTo>
                    <a:pt x="71" y="1500"/>
                    <a:pt x="89" y="1488"/>
                    <a:pt x="92" y="1495"/>
                  </a:cubicBezTo>
                  <a:cubicBezTo>
                    <a:pt x="92" y="1497"/>
                    <a:pt x="94" y="1499"/>
                    <a:pt x="96" y="1497"/>
                  </a:cubicBezTo>
                  <a:cubicBezTo>
                    <a:pt x="97" y="1496"/>
                    <a:pt x="94" y="1494"/>
                    <a:pt x="93" y="1492"/>
                  </a:cubicBezTo>
                  <a:cubicBezTo>
                    <a:pt x="91" y="1488"/>
                    <a:pt x="39" y="1500"/>
                    <a:pt x="36" y="1485"/>
                  </a:cubicBezTo>
                  <a:cubicBezTo>
                    <a:pt x="34" y="1477"/>
                    <a:pt x="53" y="1487"/>
                    <a:pt x="55" y="1483"/>
                  </a:cubicBezTo>
                  <a:cubicBezTo>
                    <a:pt x="58" y="1477"/>
                    <a:pt x="34" y="1483"/>
                    <a:pt x="39" y="1479"/>
                  </a:cubicBezTo>
                  <a:cubicBezTo>
                    <a:pt x="47" y="1473"/>
                    <a:pt x="54" y="1479"/>
                    <a:pt x="56" y="1479"/>
                  </a:cubicBezTo>
                  <a:cubicBezTo>
                    <a:pt x="57" y="1479"/>
                    <a:pt x="63" y="1479"/>
                    <a:pt x="62" y="1477"/>
                  </a:cubicBezTo>
                  <a:cubicBezTo>
                    <a:pt x="57" y="1469"/>
                    <a:pt x="36" y="1483"/>
                    <a:pt x="33" y="1474"/>
                  </a:cubicBezTo>
                  <a:cubicBezTo>
                    <a:pt x="32" y="1471"/>
                    <a:pt x="56" y="1471"/>
                    <a:pt x="56" y="1469"/>
                  </a:cubicBezTo>
                  <a:cubicBezTo>
                    <a:pt x="56" y="1467"/>
                    <a:pt x="48" y="1470"/>
                    <a:pt x="47" y="1470"/>
                  </a:cubicBezTo>
                  <a:cubicBezTo>
                    <a:pt x="44" y="1471"/>
                    <a:pt x="23" y="1472"/>
                    <a:pt x="21" y="1470"/>
                  </a:cubicBezTo>
                  <a:cubicBezTo>
                    <a:pt x="7" y="1452"/>
                    <a:pt x="38" y="1458"/>
                    <a:pt x="36" y="1454"/>
                  </a:cubicBezTo>
                  <a:cubicBezTo>
                    <a:pt x="34" y="1451"/>
                    <a:pt x="47" y="1452"/>
                    <a:pt x="45" y="1450"/>
                  </a:cubicBezTo>
                  <a:cubicBezTo>
                    <a:pt x="43" y="1449"/>
                    <a:pt x="29" y="1453"/>
                    <a:pt x="30" y="1451"/>
                  </a:cubicBezTo>
                  <a:cubicBezTo>
                    <a:pt x="30" y="1450"/>
                    <a:pt x="32" y="1449"/>
                    <a:pt x="33" y="1449"/>
                  </a:cubicBezTo>
                  <a:cubicBezTo>
                    <a:pt x="46" y="1443"/>
                    <a:pt x="58" y="1428"/>
                    <a:pt x="63" y="1429"/>
                  </a:cubicBezTo>
                  <a:cubicBezTo>
                    <a:pt x="63" y="1429"/>
                    <a:pt x="64" y="1429"/>
                    <a:pt x="64" y="1429"/>
                  </a:cubicBezTo>
                  <a:cubicBezTo>
                    <a:pt x="64" y="1430"/>
                    <a:pt x="65" y="1430"/>
                    <a:pt x="65" y="1430"/>
                  </a:cubicBezTo>
                  <a:cubicBezTo>
                    <a:pt x="67" y="1430"/>
                    <a:pt x="93" y="1434"/>
                    <a:pt x="90" y="1439"/>
                  </a:cubicBezTo>
                  <a:cubicBezTo>
                    <a:pt x="90" y="1440"/>
                    <a:pt x="85" y="1440"/>
                    <a:pt x="84" y="1440"/>
                  </a:cubicBezTo>
                  <a:cubicBezTo>
                    <a:pt x="74" y="1443"/>
                    <a:pt x="84" y="1442"/>
                    <a:pt x="89" y="1441"/>
                  </a:cubicBezTo>
                  <a:cubicBezTo>
                    <a:pt x="92" y="1440"/>
                    <a:pt x="95" y="1440"/>
                    <a:pt x="99" y="1439"/>
                  </a:cubicBezTo>
                  <a:cubicBezTo>
                    <a:pt x="117" y="1434"/>
                    <a:pt x="101" y="1458"/>
                    <a:pt x="108" y="1452"/>
                  </a:cubicBezTo>
                  <a:cubicBezTo>
                    <a:pt x="109" y="1450"/>
                    <a:pt x="109" y="1442"/>
                    <a:pt x="111" y="1441"/>
                  </a:cubicBezTo>
                  <a:cubicBezTo>
                    <a:pt x="118" y="1438"/>
                    <a:pt x="122" y="1456"/>
                    <a:pt x="129" y="1450"/>
                  </a:cubicBezTo>
                  <a:cubicBezTo>
                    <a:pt x="130" y="1449"/>
                    <a:pt x="118" y="1443"/>
                    <a:pt x="118" y="1441"/>
                  </a:cubicBezTo>
                  <a:cubicBezTo>
                    <a:pt x="118" y="1440"/>
                    <a:pt x="120" y="1441"/>
                    <a:pt x="121" y="1441"/>
                  </a:cubicBezTo>
                  <a:cubicBezTo>
                    <a:pt x="123" y="1442"/>
                    <a:pt x="125" y="1442"/>
                    <a:pt x="127" y="1441"/>
                  </a:cubicBezTo>
                  <a:cubicBezTo>
                    <a:pt x="137" y="1440"/>
                    <a:pt x="146" y="1447"/>
                    <a:pt x="155" y="1445"/>
                  </a:cubicBezTo>
                  <a:cubicBezTo>
                    <a:pt x="159" y="1444"/>
                    <a:pt x="160" y="1442"/>
                    <a:pt x="161" y="1440"/>
                  </a:cubicBezTo>
                  <a:cubicBezTo>
                    <a:pt x="164" y="1439"/>
                    <a:pt x="167" y="1436"/>
                    <a:pt x="171" y="1435"/>
                  </a:cubicBezTo>
                  <a:cubicBezTo>
                    <a:pt x="176" y="1436"/>
                    <a:pt x="185" y="1442"/>
                    <a:pt x="186" y="1436"/>
                  </a:cubicBezTo>
                  <a:cubicBezTo>
                    <a:pt x="186" y="1435"/>
                    <a:pt x="179" y="1435"/>
                    <a:pt x="177" y="1434"/>
                  </a:cubicBezTo>
                  <a:cubicBezTo>
                    <a:pt x="175" y="1434"/>
                    <a:pt x="172" y="1434"/>
                    <a:pt x="171" y="1435"/>
                  </a:cubicBezTo>
                  <a:cubicBezTo>
                    <a:pt x="170" y="1435"/>
                    <a:pt x="169" y="1435"/>
                    <a:pt x="168" y="1435"/>
                  </a:cubicBezTo>
                  <a:cubicBezTo>
                    <a:pt x="164" y="1435"/>
                    <a:pt x="163" y="1438"/>
                    <a:pt x="161" y="1440"/>
                  </a:cubicBezTo>
                  <a:cubicBezTo>
                    <a:pt x="160" y="1441"/>
                    <a:pt x="159" y="1442"/>
                    <a:pt x="157" y="1442"/>
                  </a:cubicBezTo>
                  <a:cubicBezTo>
                    <a:pt x="152" y="1442"/>
                    <a:pt x="96" y="1438"/>
                    <a:pt x="94" y="1437"/>
                  </a:cubicBezTo>
                  <a:cubicBezTo>
                    <a:pt x="82" y="1432"/>
                    <a:pt x="98" y="1430"/>
                    <a:pt x="103" y="1431"/>
                  </a:cubicBezTo>
                  <a:cubicBezTo>
                    <a:pt x="104" y="1431"/>
                    <a:pt x="111" y="1430"/>
                    <a:pt x="110" y="1429"/>
                  </a:cubicBezTo>
                  <a:cubicBezTo>
                    <a:pt x="99" y="1422"/>
                    <a:pt x="35" y="1432"/>
                    <a:pt x="33" y="1429"/>
                  </a:cubicBezTo>
                  <a:cubicBezTo>
                    <a:pt x="32" y="1427"/>
                    <a:pt x="36" y="1425"/>
                    <a:pt x="36" y="1423"/>
                  </a:cubicBezTo>
                  <a:cubicBezTo>
                    <a:pt x="36" y="1417"/>
                    <a:pt x="43" y="1424"/>
                    <a:pt x="45" y="1423"/>
                  </a:cubicBezTo>
                  <a:cubicBezTo>
                    <a:pt x="47" y="1423"/>
                    <a:pt x="52" y="1413"/>
                    <a:pt x="53" y="1413"/>
                  </a:cubicBezTo>
                  <a:cubicBezTo>
                    <a:pt x="54" y="1413"/>
                    <a:pt x="62" y="1416"/>
                    <a:pt x="60" y="1413"/>
                  </a:cubicBezTo>
                  <a:cubicBezTo>
                    <a:pt x="50" y="1397"/>
                    <a:pt x="33" y="1406"/>
                    <a:pt x="31" y="1390"/>
                  </a:cubicBezTo>
                  <a:cubicBezTo>
                    <a:pt x="30" y="1386"/>
                    <a:pt x="37" y="1391"/>
                    <a:pt x="37" y="1387"/>
                  </a:cubicBezTo>
                  <a:cubicBezTo>
                    <a:pt x="37" y="1382"/>
                    <a:pt x="46" y="1391"/>
                    <a:pt x="48" y="1392"/>
                  </a:cubicBezTo>
                  <a:cubicBezTo>
                    <a:pt x="51" y="1392"/>
                    <a:pt x="64" y="1415"/>
                    <a:pt x="65" y="1415"/>
                  </a:cubicBezTo>
                  <a:cubicBezTo>
                    <a:pt x="67" y="1416"/>
                    <a:pt x="69" y="1410"/>
                    <a:pt x="70" y="1409"/>
                  </a:cubicBezTo>
                  <a:cubicBezTo>
                    <a:pt x="71" y="1407"/>
                    <a:pt x="76" y="1409"/>
                    <a:pt x="77" y="1406"/>
                  </a:cubicBezTo>
                  <a:cubicBezTo>
                    <a:pt x="78" y="1400"/>
                    <a:pt x="50" y="1406"/>
                    <a:pt x="61" y="1390"/>
                  </a:cubicBezTo>
                  <a:cubicBezTo>
                    <a:pt x="70" y="1379"/>
                    <a:pt x="85" y="1405"/>
                    <a:pt x="91" y="1403"/>
                  </a:cubicBezTo>
                  <a:cubicBezTo>
                    <a:pt x="95" y="1402"/>
                    <a:pt x="80" y="1394"/>
                    <a:pt x="84" y="1391"/>
                  </a:cubicBezTo>
                  <a:cubicBezTo>
                    <a:pt x="87" y="1389"/>
                    <a:pt x="104" y="1385"/>
                    <a:pt x="106" y="1391"/>
                  </a:cubicBezTo>
                  <a:cubicBezTo>
                    <a:pt x="108" y="1395"/>
                    <a:pt x="99" y="1413"/>
                    <a:pt x="99" y="1413"/>
                  </a:cubicBezTo>
                  <a:cubicBezTo>
                    <a:pt x="105" y="1417"/>
                    <a:pt x="103" y="1396"/>
                    <a:pt x="110" y="1396"/>
                  </a:cubicBezTo>
                  <a:cubicBezTo>
                    <a:pt x="112" y="1396"/>
                    <a:pt x="114" y="1400"/>
                    <a:pt x="116" y="1401"/>
                  </a:cubicBezTo>
                  <a:cubicBezTo>
                    <a:pt x="125" y="1405"/>
                    <a:pt x="145" y="1408"/>
                    <a:pt x="146" y="1408"/>
                  </a:cubicBezTo>
                  <a:cubicBezTo>
                    <a:pt x="147" y="1405"/>
                    <a:pt x="122" y="1402"/>
                    <a:pt x="121" y="1400"/>
                  </a:cubicBezTo>
                  <a:cubicBezTo>
                    <a:pt x="108" y="1388"/>
                    <a:pt x="102" y="1388"/>
                    <a:pt x="117" y="1387"/>
                  </a:cubicBezTo>
                  <a:cubicBezTo>
                    <a:pt x="121" y="1387"/>
                    <a:pt x="108" y="1383"/>
                    <a:pt x="108" y="1379"/>
                  </a:cubicBezTo>
                  <a:cubicBezTo>
                    <a:pt x="110" y="1374"/>
                    <a:pt x="137" y="1360"/>
                    <a:pt x="141" y="1362"/>
                  </a:cubicBezTo>
                  <a:cubicBezTo>
                    <a:pt x="144" y="1363"/>
                    <a:pt x="156" y="1380"/>
                    <a:pt x="161" y="1390"/>
                  </a:cubicBezTo>
                  <a:cubicBezTo>
                    <a:pt x="162" y="1393"/>
                    <a:pt x="162" y="1396"/>
                    <a:pt x="161" y="1398"/>
                  </a:cubicBezTo>
                  <a:cubicBezTo>
                    <a:pt x="161" y="1399"/>
                    <a:pt x="160" y="1400"/>
                    <a:pt x="160" y="1401"/>
                  </a:cubicBezTo>
                  <a:cubicBezTo>
                    <a:pt x="161" y="1401"/>
                    <a:pt x="161" y="1400"/>
                    <a:pt x="161" y="1398"/>
                  </a:cubicBezTo>
                  <a:cubicBezTo>
                    <a:pt x="162" y="1397"/>
                    <a:pt x="163" y="1396"/>
                    <a:pt x="164" y="1396"/>
                  </a:cubicBezTo>
                  <a:cubicBezTo>
                    <a:pt x="164" y="1395"/>
                    <a:pt x="163" y="1393"/>
                    <a:pt x="161" y="1390"/>
                  </a:cubicBezTo>
                  <a:cubicBezTo>
                    <a:pt x="161" y="1387"/>
                    <a:pt x="160" y="1385"/>
                    <a:pt x="159" y="1383"/>
                  </a:cubicBezTo>
                  <a:cubicBezTo>
                    <a:pt x="156" y="1377"/>
                    <a:pt x="146" y="1369"/>
                    <a:pt x="148" y="1362"/>
                  </a:cubicBezTo>
                  <a:cubicBezTo>
                    <a:pt x="151" y="1350"/>
                    <a:pt x="163" y="1365"/>
                    <a:pt x="164" y="1364"/>
                  </a:cubicBezTo>
                  <a:cubicBezTo>
                    <a:pt x="165" y="1364"/>
                    <a:pt x="164" y="1352"/>
                    <a:pt x="175" y="1351"/>
                  </a:cubicBezTo>
                  <a:cubicBezTo>
                    <a:pt x="205" y="1347"/>
                    <a:pt x="198" y="1402"/>
                    <a:pt x="200" y="1403"/>
                  </a:cubicBezTo>
                  <a:cubicBezTo>
                    <a:pt x="206" y="1407"/>
                    <a:pt x="212" y="1397"/>
                    <a:pt x="217" y="1401"/>
                  </a:cubicBezTo>
                  <a:cubicBezTo>
                    <a:pt x="219" y="1402"/>
                    <a:pt x="216" y="1396"/>
                    <a:pt x="209" y="1400"/>
                  </a:cubicBezTo>
                  <a:cubicBezTo>
                    <a:pt x="195" y="1410"/>
                    <a:pt x="206" y="1388"/>
                    <a:pt x="205" y="1383"/>
                  </a:cubicBezTo>
                  <a:cubicBezTo>
                    <a:pt x="205" y="1382"/>
                    <a:pt x="204" y="1377"/>
                    <a:pt x="205" y="1377"/>
                  </a:cubicBezTo>
                  <a:cubicBezTo>
                    <a:pt x="208" y="1374"/>
                    <a:pt x="233" y="1377"/>
                    <a:pt x="236" y="1380"/>
                  </a:cubicBezTo>
                  <a:cubicBezTo>
                    <a:pt x="236" y="1381"/>
                    <a:pt x="238" y="1384"/>
                    <a:pt x="239" y="1383"/>
                  </a:cubicBezTo>
                  <a:cubicBezTo>
                    <a:pt x="241" y="1382"/>
                    <a:pt x="236" y="1377"/>
                    <a:pt x="235" y="1377"/>
                  </a:cubicBezTo>
                  <a:cubicBezTo>
                    <a:pt x="228" y="1370"/>
                    <a:pt x="210" y="1375"/>
                    <a:pt x="200" y="1371"/>
                  </a:cubicBezTo>
                  <a:cubicBezTo>
                    <a:pt x="195" y="1368"/>
                    <a:pt x="199" y="1350"/>
                    <a:pt x="175" y="1346"/>
                  </a:cubicBezTo>
                  <a:cubicBezTo>
                    <a:pt x="166" y="1344"/>
                    <a:pt x="156" y="1359"/>
                    <a:pt x="144" y="1353"/>
                  </a:cubicBezTo>
                  <a:cubicBezTo>
                    <a:pt x="141" y="1351"/>
                    <a:pt x="130" y="1352"/>
                    <a:pt x="133" y="1349"/>
                  </a:cubicBezTo>
                  <a:cubicBezTo>
                    <a:pt x="141" y="1340"/>
                    <a:pt x="168" y="1350"/>
                    <a:pt x="173" y="1344"/>
                  </a:cubicBezTo>
                  <a:cubicBezTo>
                    <a:pt x="173" y="1344"/>
                    <a:pt x="167" y="1341"/>
                    <a:pt x="165" y="1341"/>
                  </a:cubicBezTo>
                  <a:cubicBezTo>
                    <a:pt x="150" y="1343"/>
                    <a:pt x="134" y="1339"/>
                    <a:pt x="135" y="1332"/>
                  </a:cubicBezTo>
                  <a:cubicBezTo>
                    <a:pt x="136" y="1330"/>
                    <a:pt x="138" y="1329"/>
                    <a:pt x="139" y="1328"/>
                  </a:cubicBezTo>
                  <a:cubicBezTo>
                    <a:pt x="144" y="1325"/>
                    <a:pt x="162" y="1325"/>
                    <a:pt x="165" y="1329"/>
                  </a:cubicBezTo>
                  <a:cubicBezTo>
                    <a:pt x="166" y="1331"/>
                    <a:pt x="166" y="1335"/>
                    <a:pt x="168" y="1334"/>
                  </a:cubicBezTo>
                  <a:cubicBezTo>
                    <a:pt x="174" y="1329"/>
                    <a:pt x="169" y="1327"/>
                    <a:pt x="178" y="1321"/>
                  </a:cubicBezTo>
                  <a:cubicBezTo>
                    <a:pt x="182" y="1319"/>
                    <a:pt x="185" y="1323"/>
                    <a:pt x="188" y="1325"/>
                  </a:cubicBezTo>
                  <a:cubicBezTo>
                    <a:pt x="189" y="1326"/>
                    <a:pt x="193" y="1328"/>
                    <a:pt x="193" y="1330"/>
                  </a:cubicBezTo>
                  <a:cubicBezTo>
                    <a:pt x="194" y="1330"/>
                    <a:pt x="193" y="1322"/>
                    <a:pt x="206" y="1321"/>
                  </a:cubicBezTo>
                  <a:cubicBezTo>
                    <a:pt x="207" y="1321"/>
                    <a:pt x="211" y="1326"/>
                    <a:pt x="212" y="1330"/>
                  </a:cubicBezTo>
                  <a:cubicBezTo>
                    <a:pt x="213" y="1333"/>
                    <a:pt x="211" y="1340"/>
                    <a:pt x="214" y="1339"/>
                  </a:cubicBezTo>
                  <a:cubicBezTo>
                    <a:pt x="218" y="1336"/>
                    <a:pt x="212" y="1324"/>
                    <a:pt x="217" y="1324"/>
                  </a:cubicBezTo>
                  <a:cubicBezTo>
                    <a:pt x="231" y="1322"/>
                    <a:pt x="243" y="1343"/>
                    <a:pt x="250" y="1343"/>
                  </a:cubicBezTo>
                  <a:cubicBezTo>
                    <a:pt x="254" y="1343"/>
                    <a:pt x="252" y="1337"/>
                    <a:pt x="254" y="1336"/>
                  </a:cubicBezTo>
                  <a:cubicBezTo>
                    <a:pt x="258" y="1332"/>
                    <a:pt x="267" y="1334"/>
                    <a:pt x="272" y="1332"/>
                  </a:cubicBezTo>
                  <a:cubicBezTo>
                    <a:pt x="275" y="1331"/>
                    <a:pt x="266" y="1331"/>
                    <a:pt x="263" y="1332"/>
                  </a:cubicBezTo>
                  <a:cubicBezTo>
                    <a:pt x="257" y="1332"/>
                    <a:pt x="247" y="1336"/>
                    <a:pt x="242" y="1331"/>
                  </a:cubicBezTo>
                  <a:cubicBezTo>
                    <a:pt x="239" y="1328"/>
                    <a:pt x="239" y="1318"/>
                    <a:pt x="246" y="1323"/>
                  </a:cubicBezTo>
                  <a:cubicBezTo>
                    <a:pt x="246" y="1323"/>
                    <a:pt x="246" y="1324"/>
                    <a:pt x="247" y="1324"/>
                  </a:cubicBezTo>
                  <a:cubicBezTo>
                    <a:pt x="247" y="1326"/>
                    <a:pt x="247" y="1327"/>
                    <a:pt x="247" y="1329"/>
                  </a:cubicBezTo>
                  <a:cubicBezTo>
                    <a:pt x="247" y="1329"/>
                    <a:pt x="247" y="1329"/>
                    <a:pt x="247" y="1330"/>
                  </a:cubicBezTo>
                  <a:cubicBezTo>
                    <a:pt x="247" y="1331"/>
                    <a:pt x="247" y="1330"/>
                    <a:pt x="247" y="1329"/>
                  </a:cubicBezTo>
                  <a:cubicBezTo>
                    <a:pt x="247" y="1327"/>
                    <a:pt x="248" y="1325"/>
                    <a:pt x="247" y="1324"/>
                  </a:cubicBezTo>
                  <a:cubicBezTo>
                    <a:pt x="247" y="1322"/>
                    <a:pt x="247" y="1321"/>
                    <a:pt x="247" y="1320"/>
                  </a:cubicBezTo>
                  <a:cubicBezTo>
                    <a:pt x="251" y="1308"/>
                    <a:pt x="291" y="1308"/>
                    <a:pt x="296" y="1310"/>
                  </a:cubicBezTo>
                  <a:cubicBezTo>
                    <a:pt x="297" y="1311"/>
                    <a:pt x="304" y="1315"/>
                    <a:pt x="304" y="1315"/>
                  </a:cubicBezTo>
                  <a:cubicBezTo>
                    <a:pt x="306" y="1312"/>
                    <a:pt x="300" y="1309"/>
                    <a:pt x="298" y="1308"/>
                  </a:cubicBezTo>
                  <a:cubicBezTo>
                    <a:pt x="294" y="1306"/>
                    <a:pt x="299" y="1303"/>
                    <a:pt x="298" y="1302"/>
                  </a:cubicBezTo>
                  <a:cubicBezTo>
                    <a:pt x="293" y="1298"/>
                    <a:pt x="244" y="1319"/>
                    <a:pt x="235" y="1316"/>
                  </a:cubicBezTo>
                  <a:cubicBezTo>
                    <a:pt x="232" y="1315"/>
                    <a:pt x="243" y="1303"/>
                    <a:pt x="254" y="1302"/>
                  </a:cubicBezTo>
                  <a:cubicBezTo>
                    <a:pt x="257" y="1301"/>
                    <a:pt x="265" y="1302"/>
                    <a:pt x="263" y="1300"/>
                  </a:cubicBezTo>
                  <a:cubicBezTo>
                    <a:pt x="258" y="1295"/>
                    <a:pt x="215" y="1308"/>
                    <a:pt x="206" y="1309"/>
                  </a:cubicBezTo>
                  <a:cubicBezTo>
                    <a:pt x="205" y="1309"/>
                    <a:pt x="198" y="1311"/>
                    <a:pt x="198" y="1309"/>
                  </a:cubicBezTo>
                  <a:cubicBezTo>
                    <a:pt x="197" y="1297"/>
                    <a:pt x="206" y="1295"/>
                    <a:pt x="220" y="1297"/>
                  </a:cubicBezTo>
                  <a:cubicBezTo>
                    <a:pt x="220" y="1297"/>
                    <a:pt x="222" y="1297"/>
                    <a:pt x="221" y="1297"/>
                  </a:cubicBezTo>
                  <a:cubicBezTo>
                    <a:pt x="219" y="1294"/>
                    <a:pt x="189" y="1287"/>
                    <a:pt x="192" y="1281"/>
                  </a:cubicBezTo>
                  <a:cubicBezTo>
                    <a:pt x="194" y="1277"/>
                    <a:pt x="221" y="1266"/>
                    <a:pt x="227" y="1267"/>
                  </a:cubicBezTo>
                  <a:cubicBezTo>
                    <a:pt x="232" y="1269"/>
                    <a:pt x="241" y="1282"/>
                    <a:pt x="245" y="1282"/>
                  </a:cubicBezTo>
                  <a:cubicBezTo>
                    <a:pt x="252" y="1281"/>
                    <a:pt x="264" y="1266"/>
                    <a:pt x="272" y="1273"/>
                  </a:cubicBezTo>
                  <a:cubicBezTo>
                    <a:pt x="274" y="1275"/>
                    <a:pt x="261" y="1282"/>
                    <a:pt x="263" y="1282"/>
                  </a:cubicBezTo>
                  <a:cubicBezTo>
                    <a:pt x="272" y="1283"/>
                    <a:pt x="284" y="1269"/>
                    <a:pt x="293" y="1274"/>
                  </a:cubicBezTo>
                  <a:cubicBezTo>
                    <a:pt x="304" y="1280"/>
                    <a:pt x="299" y="1289"/>
                    <a:pt x="306" y="1297"/>
                  </a:cubicBezTo>
                  <a:cubicBezTo>
                    <a:pt x="313" y="1304"/>
                    <a:pt x="331" y="1306"/>
                    <a:pt x="337" y="1312"/>
                  </a:cubicBezTo>
                  <a:cubicBezTo>
                    <a:pt x="339" y="1315"/>
                    <a:pt x="338" y="1322"/>
                    <a:pt x="340" y="1320"/>
                  </a:cubicBezTo>
                  <a:cubicBezTo>
                    <a:pt x="342" y="1318"/>
                    <a:pt x="342" y="1317"/>
                    <a:pt x="342" y="1315"/>
                  </a:cubicBezTo>
                  <a:cubicBezTo>
                    <a:pt x="342" y="1313"/>
                    <a:pt x="342" y="1312"/>
                    <a:pt x="341" y="1311"/>
                  </a:cubicBezTo>
                  <a:cubicBezTo>
                    <a:pt x="315" y="1292"/>
                    <a:pt x="308" y="1289"/>
                    <a:pt x="291" y="1266"/>
                  </a:cubicBezTo>
                  <a:cubicBezTo>
                    <a:pt x="289" y="1263"/>
                    <a:pt x="279" y="1270"/>
                    <a:pt x="281" y="1267"/>
                  </a:cubicBezTo>
                  <a:cubicBezTo>
                    <a:pt x="300" y="1232"/>
                    <a:pt x="318" y="1285"/>
                    <a:pt x="326" y="1286"/>
                  </a:cubicBezTo>
                  <a:cubicBezTo>
                    <a:pt x="329" y="1286"/>
                    <a:pt x="337" y="1295"/>
                    <a:pt x="340" y="1292"/>
                  </a:cubicBezTo>
                  <a:cubicBezTo>
                    <a:pt x="343" y="1288"/>
                    <a:pt x="329" y="1287"/>
                    <a:pt x="330" y="1285"/>
                  </a:cubicBezTo>
                  <a:cubicBezTo>
                    <a:pt x="334" y="1279"/>
                    <a:pt x="352" y="1297"/>
                    <a:pt x="354" y="1295"/>
                  </a:cubicBezTo>
                  <a:cubicBezTo>
                    <a:pt x="357" y="1293"/>
                    <a:pt x="326" y="1281"/>
                    <a:pt x="329" y="1276"/>
                  </a:cubicBezTo>
                  <a:cubicBezTo>
                    <a:pt x="331" y="1271"/>
                    <a:pt x="347" y="1279"/>
                    <a:pt x="351" y="1273"/>
                  </a:cubicBezTo>
                  <a:cubicBezTo>
                    <a:pt x="353" y="1269"/>
                    <a:pt x="338" y="1274"/>
                    <a:pt x="337" y="1271"/>
                  </a:cubicBezTo>
                  <a:cubicBezTo>
                    <a:pt x="337" y="1270"/>
                    <a:pt x="345" y="1267"/>
                    <a:pt x="344" y="1266"/>
                  </a:cubicBezTo>
                  <a:cubicBezTo>
                    <a:pt x="344" y="1266"/>
                    <a:pt x="327" y="1273"/>
                    <a:pt x="323" y="1271"/>
                  </a:cubicBezTo>
                  <a:cubicBezTo>
                    <a:pt x="323" y="1271"/>
                    <a:pt x="320" y="1271"/>
                    <a:pt x="320" y="1270"/>
                  </a:cubicBezTo>
                  <a:cubicBezTo>
                    <a:pt x="321" y="1266"/>
                    <a:pt x="334" y="1269"/>
                    <a:pt x="333" y="1266"/>
                  </a:cubicBezTo>
                  <a:cubicBezTo>
                    <a:pt x="333" y="1266"/>
                    <a:pt x="300" y="1266"/>
                    <a:pt x="306" y="1251"/>
                  </a:cubicBezTo>
                  <a:cubicBezTo>
                    <a:pt x="307" y="1247"/>
                    <a:pt x="313" y="1259"/>
                    <a:pt x="318" y="1258"/>
                  </a:cubicBezTo>
                  <a:cubicBezTo>
                    <a:pt x="322" y="1257"/>
                    <a:pt x="310" y="1249"/>
                    <a:pt x="313" y="1247"/>
                  </a:cubicBezTo>
                  <a:cubicBezTo>
                    <a:pt x="318" y="1244"/>
                    <a:pt x="340" y="1248"/>
                    <a:pt x="346" y="1251"/>
                  </a:cubicBezTo>
                  <a:cubicBezTo>
                    <a:pt x="347" y="1251"/>
                    <a:pt x="348" y="1254"/>
                    <a:pt x="349" y="1253"/>
                  </a:cubicBezTo>
                  <a:cubicBezTo>
                    <a:pt x="350" y="1249"/>
                    <a:pt x="340" y="1250"/>
                    <a:pt x="342" y="1245"/>
                  </a:cubicBezTo>
                  <a:cubicBezTo>
                    <a:pt x="344" y="1239"/>
                    <a:pt x="369" y="1239"/>
                    <a:pt x="374" y="1238"/>
                  </a:cubicBezTo>
                  <a:cubicBezTo>
                    <a:pt x="375" y="1238"/>
                    <a:pt x="376" y="1238"/>
                    <a:pt x="375" y="1238"/>
                  </a:cubicBezTo>
                  <a:cubicBezTo>
                    <a:pt x="375" y="1238"/>
                    <a:pt x="375" y="1238"/>
                    <a:pt x="374" y="1238"/>
                  </a:cubicBezTo>
                  <a:cubicBezTo>
                    <a:pt x="373" y="1238"/>
                    <a:pt x="372" y="1238"/>
                    <a:pt x="371" y="1238"/>
                  </a:cubicBezTo>
                  <a:cubicBezTo>
                    <a:pt x="352" y="1237"/>
                    <a:pt x="349" y="1240"/>
                    <a:pt x="338" y="1227"/>
                  </a:cubicBezTo>
                  <a:cubicBezTo>
                    <a:pt x="338" y="1227"/>
                    <a:pt x="334" y="1226"/>
                    <a:pt x="334" y="1225"/>
                  </a:cubicBezTo>
                  <a:cubicBezTo>
                    <a:pt x="339" y="1219"/>
                    <a:pt x="353" y="1224"/>
                    <a:pt x="359" y="1218"/>
                  </a:cubicBezTo>
                  <a:cubicBezTo>
                    <a:pt x="363" y="1215"/>
                    <a:pt x="346" y="1214"/>
                    <a:pt x="348" y="1209"/>
                  </a:cubicBezTo>
                  <a:cubicBezTo>
                    <a:pt x="352" y="1202"/>
                    <a:pt x="367" y="1211"/>
                    <a:pt x="370" y="1210"/>
                  </a:cubicBezTo>
                  <a:cubicBezTo>
                    <a:pt x="376" y="1210"/>
                    <a:pt x="379" y="1199"/>
                    <a:pt x="381" y="1199"/>
                  </a:cubicBezTo>
                  <a:cubicBezTo>
                    <a:pt x="397" y="1200"/>
                    <a:pt x="388" y="1225"/>
                    <a:pt x="389" y="1226"/>
                  </a:cubicBezTo>
                  <a:cubicBezTo>
                    <a:pt x="394" y="1227"/>
                    <a:pt x="398" y="1217"/>
                    <a:pt x="403" y="1216"/>
                  </a:cubicBezTo>
                  <a:cubicBezTo>
                    <a:pt x="406" y="1215"/>
                    <a:pt x="424" y="1215"/>
                    <a:pt x="423" y="1209"/>
                  </a:cubicBezTo>
                  <a:cubicBezTo>
                    <a:pt x="423" y="1207"/>
                    <a:pt x="419" y="1212"/>
                    <a:pt x="417" y="1212"/>
                  </a:cubicBezTo>
                  <a:cubicBezTo>
                    <a:pt x="412" y="1213"/>
                    <a:pt x="396" y="1216"/>
                    <a:pt x="395" y="1211"/>
                  </a:cubicBezTo>
                  <a:cubicBezTo>
                    <a:pt x="393" y="1198"/>
                    <a:pt x="424" y="1204"/>
                    <a:pt x="424" y="1198"/>
                  </a:cubicBezTo>
                  <a:cubicBezTo>
                    <a:pt x="424" y="1197"/>
                    <a:pt x="418" y="1199"/>
                    <a:pt x="417" y="1200"/>
                  </a:cubicBezTo>
                  <a:cubicBezTo>
                    <a:pt x="409" y="1200"/>
                    <a:pt x="409" y="1196"/>
                    <a:pt x="404" y="1195"/>
                  </a:cubicBezTo>
                  <a:cubicBezTo>
                    <a:pt x="402" y="1194"/>
                    <a:pt x="407" y="1199"/>
                    <a:pt x="407" y="1201"/>
                  </a:cubicBezTo>
                  <a:cubicBezTo>
                    <a:pt x="406" y="1203"/>
                    <a:pt x="398" y="1200"/>
                    <a:pt x="397" y="1200"/>
                  </a:cubicBezTo>
                  <a:cubicBezTo>
                    <a:pt x="395" y="1199"/>
                    <a:pt x="394" y="1198"/>
                    <a:pt x="394" y="1196"/>
                  </a:cubicBezTo>
                  <a:cubicBezTo>
                    <a:pt x="395" y="1195"/>
                    <a:pt x="413" y="1184"/>
                    <a:pt x="415" y="1186"/>
                  </a:cubicBezTo>
                  <a:cubicBezTo>
                    <a:pt x="416" y="1186"/>
                    <a:pt x="412" y="1191"/>
                    <a:pt x="415" y="1193"/>
                  </a:cubicBezTo>
                  <a:cubicBezTo>
                    <a:pt x="416" y="1193"/>
                    <a:pt x="417" y="1194"/>
                    <a:pt x="417" y="1193"/>
                  </a:cubicBezTo>
                  <a:cubicBezTo>
                    <a:pt x="419" y="1193"/>
                    <a:pt x="421" y="1184"/>
                    <a:pt x="425" y="1183"/>
                  </a:cubicBezTo>
                  <a:cubicBezTo>
                    <a:pt x="426" y="1184"/>
                    <a:pt x="428" y="1185"/>
                    <a:pt x="430" y="1186"/>
                  </a:cubicBezTo>
                  <a:cubicBezTo>
                    <a:pt x="430" y="1187"/>
                    <a:pt x="430" y="1189"/>
                    <a:pt x="431" y="1189"/>
                  </a:cubicBezTo>
                  <a:cubicBezTo>
                    <a:pt x="431" y="1189"/>
                    <a:pt x="431" y="1189"/>
                    <a:pt x="432" y="1189"/>
                  </a:cubicBezTo>
                  <a:cubicBezTo>
                    <a:pt x="432" y="1188"/>
                    <a:pt x="431" y="1187"/>
                    <a:pt x="430" y="1186"/>
                  </a:cubicBezTo>
                  <a:cubicBezTo>
                    <a:pt x="430" y="1185"/>
                    <a:pt x="429" y="1185"/>
                    <a:pt x="429" y="1185"/>
                  </a:cubicBezTo>
                  <a:cubicBezTo>
                    <a:pt x="428" y="1183"/>
                    <a:pt x="426" y="1183"/>
                    <a:pt x="425" y="1183"/>
                  </a:cubicBezTo>
                  <a:cubicBezTo>
                    <a:pt x="425" y="1183"/>
                    <a:pt x="425" y="1182"/>
                    <a:pt x="425" y="1182"/>
                  </a:cubicBezTo>
                  <a:cubicBezTo>
                    <a:pt x="425" y="1180"/>
                    <a:pt x="443" y="1173"/>
                    <a:pt x="444" y="1174"/>
                  </a:cubicBezTo>
                  <a:cubicBezTo>
                    <a:pt x="450" y="1176"/>
                    <a:pt x="468" y="1208"/>
                    <a:pt x="461" y="1216"/>
                  </a:cubicBezTo>
                  <a:cubicBezTo>
                    <a:pt x="460" y="1217"/>
                    <a:pt x="454" y="1219"/>
                    <a:pt x="455" y="1221"/>
                  </a:cubicBezTo>
                  <a:cubicBezTo>
                    <a:pt x="456" y="1223"/>
                    <a:pt x="467" y="1216"/>
                    <a:pt x="469" y="1216"/>
                  </a:cubicBezTo>
                  <a:cubicBezTo>
                    <a:pt x="473" y="1215"/>
                    <a:pt x="482" y="1219"/>
                    <a:pt x="488" y="1220"/>
                  </a:cubicBezTo>
                  <a:cubicBezTo>
                    <a:pt x="490" y="1221"/>
                    <a:pt x="491" y="1221"/>
                    <a:pt x="492" y="1222"/>
                  </a:cubicBezTo>
                  <a:cubicBezTo>
                    <a:pt x="493" y="1225"/>
                    <a:pt x="491" y="1232"/>
                    <a:pt x="493" y="1230"/>
                  </a:cubicBezTo>
                  <a:cubicBezTo>
                    <a:pt x="499" y="1227"/>
                    <a:pt x="497" y="1224"/>
                    <a:pt x="492" y="1222"/>
                  </a:cubicBezTo>
                  <a:cubicBezTo>
                    <a:pt x="492" y="1221"/>
                    <a:pt x="491" y="1220"/>
                    <a:pt x="491" y="1220"/>
                  </a:cubicBezTo>
                  <a:cubicBezTo>
                    <a:pt x="490" y="1220"/>
                    <a:pt x="489" y="1220"/>
                    <a:pt x="488" y="1220"/>
                  </a:cubicBezTo>
                  <a:cubicBezTo>
                    <a:pt x="479" y="1216"/>
                    <a:pt x="468" y="1212"/>
                    <a:pt x="477" y="1205"/>
                  </a:cubicBezTo>
                  <a:cubicBezTo>
                    <a:pt x="494" y="1193"/>
                    <a:pt x="548" y="1213"/>
                    <a:pt x="551" y="1201"/>
                  </a:cubicBezTo>
                  <a:cubicBezTo>
                    <a:pt x="552" y="1198"/>
                    <a:pt x="537" y="1200"/>
                    <a:pt x="538" y="1193"/>
                  </a:cubicBezTo>
                  <a:cubicBezTo>
                    <a:pt x="538" y="1192"/>
                    <a:pt x="545" y="1184"/>
                    <a:pt x="549" y="1183"/>
                  </a:cubicBezTo>
                  <a:cubicBezTo>
                    <a:pt x="551" y="1183"/>
                    <a:pt x="551" y="1183"/>
                    <a:pt x="551" y="1182"/>
                  </a:cubicBezTo>
                  <a:cubicBezTo>
                    <a:pt x="552" y="1181"/>
                    <a:pt x="552" y="1180"/>
                    <a:pt x="552" y="1180"/>
                  </a:cubicBezTo>
                  <a:cubicBezTo>
                    <a:pt x="550" y="1177"/>
                    <a:pt x="528" y="1188"/>
                    <a:pt x="529" y="1187"/>
                  </a:cubicBezTo>
                  <a:cubicBezTo>
                    <a:pt x="539" y="1168"/>
                    <a:pt x="599" y="1153"/>
                    <a:pt x="600" y="1151"/>
                  </a:cubicBezTo>
                  <a:cubicBezTo>
                    <a:pt x="605" y="1136"/>
                    <a:pt x="568" y="1146"/>
                    <a:pt x="567" y="1138"/>
                  </a:cubicBezTo>
                  <a:cubicBezTo>
                    <a:pt x="566" y="1129"/>
                    <a:pt x="604" y="1124"/>
                    <a:pt x="603" y="1118"/>
                  </a:cubicBezTo>
                  <a:cubicBezTo>
                    <a:pt x="603" y="1114"/>
                    <a:pt x="582" y="1119"/>
                    <a:pt x="580" y="1113"/>
                  </a:cubicBezTo>
                  <a:cubicBezTo>
                    <a:pt x="579" y="1108"/>
                    <a:pt x="595" y="1106"/>
                    <a:pt x="591" y="1103"/>
                  </a:cubicBezTo>
                  <a:cubicBezTo>
                    <a:pt x="583" y="1099"/>
                    <a:pt x="576" y="1118"/>
                    <a:pt x="570" y="1122"/>
                  </a:cubicBezTo>
                  <a:cubicBezTo>
                    <a:pt x="561" y="1129"/>
                    <a:pt x="524" y="1139"/>
                    <a:pt x="521" y="1149"/>
                  </a:cubicBezTo>
                  <a:cubicBezTo>
                    <a:pt x="521" y="1150"/>
                    <a:pt x="531" y="1145"/>
                    <a:pt x="532" y="1144"/>
                  </a:cubicBezTo>
                  <a:cubicBezTo>
                    <a:pt x="536" y="1141"/>
                    <a:pt x="567" y="1130"/>
                    <a:pt x="566" y="1144"/>
                  </a:cubicBezTo>
                  <a:cubicBezTo>
                    <a:pt x="565" y="1156"/>
                    <a:pt x="472" y="1203"/>
                    <a:pt x="463" y="1194"/>
                  </a:cubicBezTo>
                  <a:cubicBezTo>
                    <a:pt x="460" y="1191"/>
                    <a:pt x="462" y="1184"/>
                    <a:pt x="461" y="1181"/>
                  </a:cubicBezTo>
                  <a:cubicBezTo>
                    <a:pt x="460" y="1177"/>
                    <a:pt x="448" y="1175"/>
                    <a:pt x="452" y="1167"/>
                  </a:cubicBezTo>
                  <a:cubicBezTo>
                    <a:pt x="454" y="1162"/>
                    <a:pt x="492" y="1158"/>
                    <a:pt x="471" y="1159"/>
                  </a:cubicBezTo>
                  <a:cubicBezTo>
                    <a:pt x="468" y="1159"/>
                    <a:pt x="474" y="1154"/>
                    <a:pt x="474" y="1153"/>
                  </a:cubicBezTo>
                  <a:cubicBezTo>
                    <a:pt x="473" y="1152"/>
                    <a:pt x="430" y="1173"/>
                    <a:pt x="429" y="1170"/>
                  </a:cubicBezTo>
                  <a:cubicBezTo>
                    <a:pt x="422" y="1160"/>
                    <a:pt x="445" y="1159"/>
                    <a:pt x="450" y="1155"/>
                  </a:cubicBezTo>
                  <a:cubicBezTo>
                    <a:pt x="450" y="1155"/>
                    <a:pt x="430" y="1158"/>
                    <a:pt x="429" y="1155"/>
                  </a:cubicBezTo>
                  <a:cubicBezTo>
                    <a:pt x="428" y="1149"/>
                    <a:pt x="474" y="1135"/>
                    <a:pt x="477" y="1132"/>
                  </a:cubicBezTo>
                  <a:cubicBezTo>
                    <a:pt x="480" y="1130"/>
                    <a:pt x="487" y="1133"/>
                    <a:pt x="487" y="1130"/>
                  </a:cubicBezTo>
                  <a:cubicBezTo>
                    <a:pt x="487" y="1120"/>
                    <a:pt x="468" y="1136"/>
                    <a:pt x="465" y="1132"/>
                  </a:cubicBezTo>
                  <a:cubicBezTo>
                    <a:pt x="464" y="1131"/>
                    <a:pt x="481" y="1126"/>
                    <a:pt x="481" y="1123"/>
                  </a:cubicBezTo>
                  <a:cubicBezTo>
                    <a:pt x="481" y="1120"/>
                    <a:pt x="465" y="1128"/>
                    <a:pt x="464" y="1127"/>
                  </a:cubicBezTo>
                  <a:cubicBezTo>
                    <a:pt x="464" y="1126"/>
                    <a:pt x="468" y="1121"/>
                    <a:pt x="469" y="1120"/>
                  </a:cubicBezTo>
                  <a:cubicBezTo>
                    <a:pt x="470" y="1114"/>
                    <a:pt x="465" y="1105"/>
                    <a:pt x="470" y="1103"/>
                  </a:cubicBezTo>
                  <a:cubicBezTo>
                    <a:pt x="472" y="1103"/>
                    <a:pt x="490" y="1111"/>
                    <a:pt x="489" y="1103"/>
                  </a:cubicBezTo>
                  <a:cubicBezTo>
                    <a:pt x="489" y="1099"/>
                    <a:pt x="479" y="1105"/>
                    <a:pt x="479" y="1102"/>
                  </a:cubicBezTo>
                  <a:cubicBezTo>
                    <a:pt x="483" y="1089"/>
                    <a:pt x="489" y="1094"/>
                    <a:pt x="502" y="1093"/>
                  </a:cubicBezTo>
                  <a:cubicBezTo>
                    <a:pt x="507" y="1092"/>
                    <a:pt x="490" y="1089"/>
                    <a:pt x="492" y="1085"/>
                  </a:cubicBezTo>
                  <a:cubicBezTo>
                    <a:pt x="495" y="1076"/>
                    <a:pt x="510" y="1083"/>
                    <a:pt x="514" y="1076"/>
                  </a:cubicBezTo>
                  <a:cubicBezTo>
                    <a:pt x="514" y="1076"/>
                    <a:pt x="508" y="1061"/>
                    <a:pt x="518" y="1070"/>
                  </a:cubicBezTo>
                  <a:cubicBezTo>
                    <a:pt x="521" y="1073"/>
                    <a:pt x="514" y="1065"/>
                    <a:pt x="516" y="1065"/>
                  </a:cubicBezTo>
                  <a:cubicBezTo>
                    <a:pt x="520" y="1065"/>
                    <a:pt x="524" y="1072"/>
                    <a:pt x="528" y="1067"/>
                  </a:cubicBezTo>
                  <a:cubicBezTo>
                    <a:pt x="532" y="1062"/>
                    <a:pt x="507" y="1064"/>
                    <a:pt x="511" y="1059"/>
                  </a:cubicBezTo>
                  <a:cubicBezTo>
                    <a:pt x="513" y="1056"/>
                    <a:pt x="530" y="1054"/>
                    <a:pt x="537" y="1062"/>
                  </a:cubicBezTo>
                  <a:cubicBezTo>
                    <a:pt x="537" y="1063"/>
                    <a:pt x="541" y="1065"/>
                    <a:pt x="542" y="1065"/>
                  </a:cubicBezTo>
                  <a:cubicBezTo>
                    <a:pt x="542" y="1065"/>
                    <a:pt x="545" y="1065"/>
                    <a:pt x="545" y="1065"/>
                  </a:cubicBezTo>
                  <a:cubicBezTo>
                    <a:pt x="545" y="1065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5" y="1063"/>
                    <a:pt x="545" y="1063"/>
                  </a:cubicBezTo>
                  <a:cubicBezTo>
                    <a:pt x="542" y="1059"/>
                    <a:pt x="541" y="1054"/>
                    <a:pt x="537" y="1054"/>
                  </a:cubicBezTo>
                  <a:cubicBezTo>
                    <a:pt x="537" y="1054"/>
                    <a:pt x="526" y="1056"/>
                    <a:pt x="528" y="1053"/>
                  </a:cubicBezTo>
                  <a:cubicBezTo>
                    <a:pt x="531" y="1049"/>
                    <a:pt x="539" y="1048"/>
                    <a:pt x="543" y="1050"/>
                  </a:cubicBezTo>
                  <a:cubicBezTo>
                    <a:pt x="545" y="1051"/>
                    <a:pt x="540" y="1045"/>
                    <a:pt x="541" y="1044"/>
                  </a:cubicBezTo>
                  <a:cubicBezTo>
                    <a:pt x="544" y="1042"/>
                    <a:pt x="547" y="1047"/>
                    <a:pt x="548" y="1048"/>
                  </a:cubicBezTo>
                  <a:cubicBezTo>
                    <a:pt x="549" y="1049"/>
                    <a:pt x="551" y="1051"/>
                    <a:pt x="550" y="1048"/>
                  </a:cubicBezTo>
                  <a:cubicBezTo>
                    <a:pt x="550" y="1046"/>
                    <a:pt x="555" y="1046"/>
                    <a:pt x="556" y="1045"/>
                  </a:cubicBezTo>
                  <a:cubicBezTo>
                    <a:pt x="558" y="1041"/>
                    <a:pt x="549" y="1036"/>
                    <a:pt x="551" y="1033"/>
                  </a:cubicBezTo>
                  <a:cubicBezTo>
                    <a:pt x="561" y="1022"/>
                    <a:pt x="575" y="1056"/>
                    <a:pt x="577" y="1055"/>
                  </a:cubicBezTo>
                  <a:cubicBezTo>
                    <a:pt x="579" y="1054"/>
                    <a:pt x="588" y="1050"/>
                    <a:pt x="589" y="1056"/>
                  </a:cubicBezTo>
                  <a:cubicBezTo>
                    <a:pt x="590" y="1060"/>
                    <a:pt x="577" y="1071"/>
                    <a:pt x="579" y="1073"/>
                  </a:cubicBezTo>
                  <a:cubicBezTo>
                    <a:pt x="580" y="1074"/>
                    <a:pt x="585" y="1067"/>
                    <a:pt x="585" y="1066"/>
                  </a:cubicBezTo>
                  <a:cubicBezTo>
                    <a:pt x="588" y="1063"/>
                    <a:pt x="593" y="1054"/>
                    <a:pt x="595" y="1053"/>
                  </a:cubicBezTo>
                  <a:cubicBezTo>
                    <a:pt x="596" y="1053"/>
                    <a:pt x="617" y="1050"/>
                    <a:pt x="617" y="1049"/>
                  </a:cubicBezTo>
                  <a:cubicBezTo>
                    <a:pt x="618" y="1046"/>
                    <a:pt x="593" y="1057"/>
                    <a:pt x="599" y="1045"/>
                  </a:cubicBezTo>
                  <a:cubicBezTo>
                    <a:pt x="605" y="1035"/>
                    <a:pt x="607" y="1042"/>
                    <a:pt x="613" y="1038"/>
                  </a:cubicBezTo>
                  <a:cubicBezTo>
                    <a:pt x="615" y="1037"/>
                    <a:pt x="628" y="1032"/>
                    <a:pt x="628" y="1031"/>
                  </a:cubicBezTo>
                  <a:cubicBezTo>
                    <a:pt x="627" y="1028"/>
                    <a:pt x="616" y="1034"/>
                    <a:pt x="615" y="1032"/>
                  </a:cubicBezTo>
                  <a:cubicBezTo>
                    <a:pt x="612" y="1028"/>
                    <a:pt x="599" y="1040"/>
                    <a:pt x="594" y="1014"/>
                  </a:cubicBezTo>
                  <a:cubicBezTo>
                    <a:pt x="594" y="1014"/>
                    <a:pt x="602" y="1011"/>
                    <a:pt x="603" y="1011"/>
                  </a:cubicBezTo>
                  <a:cubicBezTo>
                    <a:pt x="612" y="1007"/>
                    <a:pt x="631" y="1004"/>
                    <a:pt x="634" y="1001"/>
                  </a:cubicBezTo>
                  <a:cubicBezTo>
                    <a:pt x="638" y="996"/>
                    <a:pt x="621" y="1001"/>
                    <a:pt x="616" y="997"/>
                  </a:cubicBezTo>
                  <a:cubicBezTo>
                    <a:pt x="613" y="994"/>
                    <a:pt x="626" y="996"/>
                    <a:pt x="629" y="992"/>
                  </a:cubicBezTo>
                  <a:cubicBezTo>
                    <a:pt x="629" y="991"/>
                    <a:pt x="617" y="997"/>
                    <a:pt x="617" y="994"/>
                  </a:cubicBezTo>
                  <a:cubicBezTo>
                    <a:pt x="618" y="987"/>
                    <a:pt x="657" y="975"/>
                    <a:pt x="662" y="977"/>
                  </a:cubicBezTo>
                  <a:cubicBezTo>
                    <a:pt x="662" y="977"/>
                    <a:pt x="668" y="982"/>
                    <a:pt x="668" y="979"/>
                  </a:cubicBezTo>
                  <a:cubicBezTo>
                    <a:pt x="668" y="977"/>
                    <a:pt x="664" y="976"/>
                    <a:pt x="663" y="975"/>
                  </a:cubicBezTo>
                  <a:cubicBezTo>
                    <a:pt x="638" y="962"/>
                    <a:pt x="601" y="1013"/>
                    <a:pt x="581" y="1010"/>
                  </a:cubicBezTo>
                  <a:cubicBezTo>
                    <a:pt x="580" y="1010"/>
                    <a:pt x="598" y="1002"/>
                    <a:pt x="598" y="998"/>
                  </a:cubicBezTo>
                  <a:cubicBezTo>
                    <a:pt x="596" y="994"/>
                    <a:pt x="574" y="1004"/>
                    <a:pt x="583" y="994"/>
                  </a:cubicBezTo>
                  <a:cubicBezTo>
                    <a:pt x="584" y="992"/>
                    <a:pt x="624" y="988"/>
                    <a:pt x="621" y="984"/>
                  </a:cubicBezTo>
                  <a:cubicBezTo>
                    <a:pt x="620" y="982"/>
                    <a:pt x="583" y="996"/>
                    <a:pt x="581" y="991"/>
                  </a:cubicBezTo>
                  <a:cubicBezTo>
                    <a:pt x="581" y="991"/>
                    <a:pt x="581" y="991"/>
                    <a:pt x="581" y="991"/>
                  </a:cubicBezTo>
                  <a:cubicBezTo>
                    <a:pt x="582" y="990"/>
                    <a:pt x="582" y="989"/>
                    <a:pt x="582" y="988"/>
                  </a:cubicBezTo>
                  <a:cubicBezTo>
                    <a:pt x="586" y="985"/>
                    <a:pt x="596" y="984"/>
                    <a:pt x="603" y="983"/>
                  </a:cubicBezTo>
                  <a:cubicBezTo>
                    <a:pt x="605" y="984"/>
                    <a:pt x="608" y="983"/>
                    <a:pt x="610" y="982"/>
                  </a:cubicBezTo>
                  <a:cubicBezTo>
                    <a:pt x="611" y="982"/>
                    <a:pt x="612" y="982"/>
                    <a:pt x="612" y="982"/>
                  </a:cubicBezTo>
                  <a:cubicBezTo>
                    <a:pt x="612" y="982"/>
                    <a:pt x="611" y="982"/>
                    <a:pt x="610" y="982"/>
                  </a:cubicBezTo>
                  <a:cubicBezTo>
                    <a:pt x="609" y="983"/>
                    <a:pt x="606" y="983"/>
                    <a:pt x="603" y="983"/>
                  </a:cubicBezTo>
                  <a:cubicBezTo>
                    <a:pt x="602" y="982"/>
                    <a:pt x="602" y="982"/>
                    <a:pt x="602" y="980"/>
                  </a:cubicBezTo>
                  <a:cubicBezTo>
                    <a:pt x="602" y="979"/>
                    <a:pt x="605" y="979"/>
                    <a:pt x="606" y="979"/>
                  </a:cubicBezTo>
                  <a:cubicBezTo>
                    <a:pt x="614" y="973"/>
                    <a:pt x="621" y="982"/>
                    <a:pt x="633" y="973"/>
                  </a:cubicBezTo>
                  <a:cubicBezTo>
                    <a:pt x="634" y="972"/>
                    <a:pt x="641" y="951"/>
                    <a:pt x="649" y="965"/>
                  </a:cubicBezTo>
                  <a:cubicBezTo>
                    <a:pt x="651" y="968"/>
                    <a:pt x="657" y="962"/>
                    <a:pt x="660" y="963"/>
                  </a:cubicBezTo>
                  <a:cubicBezTo>
                    <a:pt x="664" y="964"/>
                    <a:pt x="663" y="971"/>
                    <a:pt x="665" y="971"/>
                  </a:cubicBezTo>
                  <a:cubicBezTo>
                    <a:pt x="669" y="971"/>
                    <a:pt x="664" y="965"/>
                    <a:pt x="665" y="963"/>
                  </a:cubicBezTo>
                  <a:cubicBezTo>
                    <a:pt x="668" y="958"/>
                    <a:pt x="731" y="944"/>
                    <a:pt x="733" y="921"/>
                  </a:cubicBezTo>
                  <a:cubicBezTo>
                    <a:pt x="733" y="917"/>
                    <a:pt x="722" y="928"/>
                    <a:pt x="721" y="929"/>
                  </a:cubicBezTo>
                  <a:cubicBezTo>
                    <a:pt x="712" y="936"/>
                    <a:pt x="695" y="955"/>
                    <a:pt x="682" y="948"/>
                  </a:cubicBezTo>
                  <a:cubicBezTo>
                    <a:pt x="681" y="947"/>
                    <a:pt x="680" y="945"/>
                    <a:pt x="682" y="944"/>
                  </a:cubicBezTo>
                  <a:cubicBezTo>
                    <a:pt x="683" y="943"/>
                    <a:pt x="694" y="942"/>
                    <a:pt x="692" y="940"/>
                  </a:cubicBezTo>
                  <a:cubicBezTo>
                    <a:pt x="691" y="939"/>
                    <a:pt x="688" y="940"/>
                    <a:pt x="687" y="938"/>
                  </a:cubicBezTo>
                  <a:cubicBezTo>
                    <a:pt x="686" y="933"/>
                    <a:pt x="676" y="938"/>
                    <a:pt x="682" y="933"/>
                  </a:cubicBezTo>
                  <a:cubicBezTo>
                    <a:pt x="685" y="931"/>
                    <a:pt x="711" y="934"/>
                    <a:pt x="712" y="932"/>
                  </a:cubicBezTo>
                  <a:cubicBezTo>
                    <a:pt x="712" y="930"/>
                    <a:pt x="702" y="928"/>
                    <a:pt x="701" y="930"/>
                  </a:cubicBezTo>
                  <a:cubicBezTo>
                    <a:pt x="697" y="933"/>
                    <a:pt x="687" y="929"/>
                    <a:pt x="681" y="929"/>
                  </a:cubicBezTo>
                  <a:cubicBezTo>
                    <a:pt x="679" y="929"/>
                    <a:pt x="672" y="938"/>
                    <a:pt x="670" y="935"/>
                  </a:cubicBezTo>
                  <a:cubicBezTo>
                    <a:pt x="670" y="935"/>
                    <a:pt x="679" y="924"/>
                    <a:pt x="680" y="924"/>
                  </a:cubicBezTo>
                  <a:cubicBezTo>
                    <a:pt x="689" y="923"/>
                    <a:pt x="692" y="908"/>
                    <a:pt x="704" y="918"/>
                  </a:cubicBezTo>
                  <a:cubicBezTo>
                    <a:pt x="705" y="918"/>
                    <a:pt x="708" y="924"/>
                    <a:pt x="709" y="920"/>
                  </a:cubicBezTo>
                  <a:cubicBezTo>
                    <a:pt x="710" y="919"/>
                    <a:pt x="700" y="914"/>
                    <a:pt x="694" y="908"/>
                  </a:cubicBezTo>
                  <a:cubicBezTo>
                    <a:pt x="694" y="907"/>
                    <a:pt x="689" y="903"/>
                    <a:pt x="691" y="902"/>
                  </a:cubicBezTo>
                  <a:cubicBezTo>
                    <a:pt x="702" y="897"/>
                    <a:pt x="702" y="916"/>
                    <a:pt x="711" y="914"/>
                  </a:cubicBezTo>
                  <a:cubicBezTo>
                    <a:pt x="716" y="914"/>
                    <a:pt x="704" y="902"/>
                    <a:pt x="708" y="902"/>
                  </a:cubicBezTo>
                  <a:cubicBezTo>
                    <a:pt x="710" y="901"/>
                    <a:pt x="716" y="902"/>
                    <a:pt x="717" y="901"/>
                  </a:cubicBezTo>
                  <a:cubicBezTo>
                    <a:pt x="718" y="900"/>
                    <a:pt x="703" y="901"/>
                    <a:pt x="702" y="900"/>
                  </a:cubicBezTo>
                  <a:cubicBezTo>
                    <a:pt x="702" y="899"/>
                    <a:pt x="707" y="898"/>
                    <a:pt x="706" y="897"/>
                  </a:cubicBezTo>
                  <a:cubicBezTo>
                    <a:pt x="706" y="897"/>
                    <a:pt x="699" y="897"/>
                    <a:pt x="698" y="893"/>
                  </a:cubicBezTo>
                  <a:cubicBezTo>
                    <a:pt x="697" y="889"/>
                    <a:pt x="702" y="884"/>
                    <a:pt x="699" y="880"/>
                  </a:cubicBezTo>
                  <a:cubicBezTo>
                    <a:pt x="699" y="879"/>
                    <a:pt x="697" y="884"/>
                    <a:pt x="697" y="884"/>
                  </a:cubicBezTo>
                  <a:cubicBezTo>
                    <a:pt x="697" y="893"/>
                    <a:pt x="690" y="890"/>
                    <a:pt x="691" y="889"/>
                  </a:cubicBezTo>
                  <a:cubicBezTo>
                    <a:pt x="696" y="884"/>
                    <a:pt x="697" y="878"/>
                    <a:pt x="691" y="887"/>
                  </a:cubicBezTo>
                  <a:cubicBezTo>
                    <a:pt x="689" y="889"/>
                    <a:pt x="685" y="892"/>
                    <a:pt x="683" y="887"/>
                  </a:cubicBezTo>
                  <a:cubicBezTo>
                    <a:pt x="682" y="884"/>
                    <a:pt x="687" y="880"/>
                    <a:pt x="684" y="880"/>
                  </a:cubicBezTo>
                  <a:cubicBezTo>
                    <a:pt x="683" y="880"/>
                    <a:pt x="680" y="882"/>
                    <a:pt x="680" y="880"/>
                  </a:cubicBezTo>
                  <a:cubicBezTo>
                    <a:pt x="678" y="845"/>
                    <a:pt x="706" y="872"/>
                    <a:pt x="711" y="873"/>
                  </a:cubicBezTo>
                  <a:cubicBezTo>
                    <a:pt x="713" y="873"/>
                    <a:pt x="717" y="877"/>
                    <a:pt x="718" y="873"/>
                  </a:cubicBezTo>
                  <a:cubicBezTo>
                    <a:pt x="719" y="870"/>
                    <a:pt x="709" y="870"/>
                    <a:pt x="708" y="870"/>
                  </a:cubicBezTo>
                  <a:cubicBezTo>
                    <a:pt x="703" y="867"/>
                    <a:pt x="697" y="862"/>
                    <a:pt x="697" y="856"/>
                  </a:cubicBezTo>
                  <a:cubicBezTo>
                    <a:pt x="697" y="854"/>
                    <a:pt x="705" y="847"/>
                    <a:pt x="706" y="847"/>
                  </a:cubicBezTo>
                  <a:cubicBezTo>
                    <a:pt x="707" y="847"/>
                    <a:pt x="711" y="853"/>
                    <a:pt x="712" y="850"/>
                  </a:cubicBezTo>
                  <a:cubicBezTo>
                    <a:pt x="715" y="838"/>
                    <a:pt x="700" y="851"/>
                    <a:pt x="706" y="833"/>
                  </a:cubicBezTo>
                  <a:cubicBezTo>
                    <a:pt x="710" y="818"/>
                    <a:pt x="731" y="825"/>
                    <a:pt x="740" y="829"/>
                  </a:cubicBezTo>
                  <a:cubicBezTo>
                    <a:pt x="742" y="830"/>
                    <a:pt x="752" y="841"/>
                    <a:pt x="753" y="840"/>
                  </a:cubicBezTo>
                  <a:cubicBezTo>
                    <a:pt x="761" y="827"/>
                    <a:pt x="731" y="826"/>
                    <a:pt x="731" y="820"/>
                  </a:cubicBezTo>
                  <a:cubicBezTo>
                    <a:pt x="730" y="814"/>
                    <a:pt x="746" y="809"/>
                    <a:pt x="741" y="805"/>
                  </a:cubicBezTo>
                  <a:cubicBezTo>
                    <a:pt x="740" y="805"/>
                    <a:pt x="702" y="815"/>
                    <a:pt x="708" y="807"/>
                  </a:cubicBezTo>
                  <a:cubicBezTo>
                    <a:pt x="712" y="802"/>
                    <a:pt x="782" y="779"/>
                    <a:pt x="788" y="782"/>
                  </a:cubicBezTo>
                  <a:cubicBezTo>
                    <a:pt x="791" y="783"/>
                    <a:pt x="788" y="786"/>
                    <a:pt x="786" y="787"/>
                  </a:cubicBezTo>
                  <a:cubicBezTo>
                    <a:pt x="784" y="788"/>
                    <a:pt x="785" y="802"/>
                    <a:pt x="785" y="802"/>
                  </a:cubicBezTo>
                  <a:cubicBezTo>
                    <a:pt x="786" y="802"/>
                    <a:pt x="792" y="795"/>
                    <a:pt x="794" y="794"/>
                  </a:cubicBezTo>
                  <a:cubicBezTo>
                    <a:pt x="799" y="791"/>
                    <a:pt x="811" y="800"/>
                    <a:pt x="812" y="794"/>
                  </a:cubicBezTo>
                  <a:cubicBezTo>
                    <a:pt x="812" y="788"/>
                    <a:pt x="791" y="792"/>
                    <a:pt x="792" y="788"/>
                  </a:cubicBezTo>
                  <a:cubicBezTo>
                    <a:pt x="792" y="787"/>
                    <a:pt x="795" y="785"/>
                    <a:pt x="796" y="783"/>
                  </a:cubicBezTo>
                  <a:cubicBezTo>
                    <a:pt x="796" y="783"/>
                    <a:pt x="824" y="790"/>
                    <a:pt x="830" y="775"/>
                  </a:cubicBezTo>
                  <a:cubicBezTo>
                    <a:pt x="831" y="773"/>
                    <a:pt x="841" y="771"/>
                    <a:pt x="839" y="767"/>
                  </a:cubicBezTo>
                  <a:cubicBezTo>
                    <a:pt x="838" y="764"/>
                    <a:pt x="828" y="771"/>
                    <a:pt x="826" y="771"/>
                  </a:cubicBezTo>
                  <a:cubicBezTo>
                    <a:pt x="793" y="776"/>
                    <a:pt x="791" y="778"/>
                    <a:pt x="753" y="788"/>
                  </a:cubicBezTo>
                  <a:cubicBezTo>
                    <a:pt x="750" y="788"/>
                    <a:pt x="742" y="793"/>
                    <a:pt x="740" y="789"/>
                  </a:cubicBezTo>
                  <a:cubicBezTo>
                    <a:pt x="739" y="787"/>
                    <a:pt x="746" y="784"/>
                    <a:pt x="747" y="783"/>
                  </a:cubicBezTo>
                  <a:cubicBezTo>
                    <a:pt x="753" y="775"/>
                    <a:pt x="784" y="773"/>
                    <a:pt x="785" y="771"/>
                  </a:cubicBezTo>
                  <a:cubicBezTo>
                    <a:pt x="786" y="769"/>
                    <a:pt x="774" y="770"/>
                    <a:pt x="773" y="769"/>
                  </a:cubicBezTo>
                  <a:cubicBezTo>
                    <a:pt x="771" y="768"/>
                    <a:pt x="777" y="767"/>
                    <a:pt x="777" y="766"/>
                  </a:cubicBezTo>
                  <a:cubicBezTo>
                    <a:pt x="778" y="764"/>
                    <a:pt x="769" y="768"/>
                    <a:pt x="769" y="765"/>
                  </a:cubicBezTo>
                  <a:cubicBezTo>
                    <a:pt x="767" y="760"/>
                    <a:pt x="761" y="759"/>
                    <a:pt x="767" y="766"/>
                  </a:cubicBezTo>
                  <a:cubicBezTo>
                    <a:pt x="767" y="766"/>
                    <a:pt x="768" y="767"/>
                    <a:pt x="767" y="768"/>
                  </a:cubicBezTo>
                  <a:cubicBezTo>
                    <a:pt x="766" y="770"/>
                    <a:pt x="759" y="772"/>
                    <a:pt x="757" y="772"/>
                  </a:cubicBezTo>
                  <a:cubicBezTo>
                    <a:pt x="756" y="772"/>
                    <a:pt x="750" y="773"/>
                    <a:pt x="750" y="771"/>
                  </a:cubicBezTo>
                  <a:cubicBezTo>
                    <a:pt x="749" y="770"/>
                    <a:pt x="754" y="768"/>
                    <a:pt x="751" y="768"/>
                  </a:cubicBezTo>
                  <a:cubicBezTo>
                    <a:pt x="748" y="767"/>
                    <a:pt x="748" y="769"/>
                    <a:pt x="746" y="770"/>
                  </a:cubicBezTo>
                  <a:cubicBezTo>
                    <a:pt x="744" y="770"/>
                    <a:pt x="741" y="769"/>
                    <a:pt x="739" y="768"/>
                  </a:cubicBezTo>
                  <a:cubicBezTo>
                    <a:pt x="731" y="761"/>
                    <a:pt x="758" y="761"/>
                    <a:pt x="751" y="751"/>
                  </a:cubicBezTo>
                  <a:cubicBezTo>
                    <a:pt x="750" y="749"/>
                    <a:pt x="753" y="748"/>
                    <a:pt x="752" y="747"/>
                  </a:cubicBezTo>
                  <a:cubicBezTo>
                    <a:pt x="750" y="744"/>
                    <a:pt x="734" y="740"/>
                    <a:pt x="735" y="738"/>
                  </a:cubicBezTo>
                  <a:cubicBezTo>
                    <a:pt x="735" y="737"/>
                    <a:pt x="740" y="737"/>
                    <a:pt x="741" y="737"/>
                  </a:cubicBezTo>
                  <a:cubicBezTo>
                    <a:pt x="758" y="729"/>
                    <a:pt x="754" y="755"/>
                    <a:pt x="772" y="747"/>
                  </a:cubicBezTo>
                  <a:cubicBezTo>
                    <a:pt x="775" y="746"/>
                    <a:pt x="768" y="746"/>
                    <a:pt x="767" y="746"/>
                  </a:cubicBezTo>
                  <a:cubicBezTo>
                    <a:pt x="758" y="747"/>
                    <a:pt x="764" y="745"/>
                    <a:pt x="763" y="741"/>
                  </a:cubicBezTo>
                  <a:cubicBezTo>
                    <a:pt x="763" y="739"/>
                    <a:pt x="759" y="739"/>
                    <a:pt x="761" y="738"/>
                  </a:cubicBezTo>
                  <a:cubicBezTo>
                    <a:pt x="768" y="731"/>
                    <a:pt x="795" y="741"/>
                    <a:pt x="797" y="739"/>
                  </a:cubicBezTo>
                  <a:cubicBezTo>
                    <a:pt x="799" y="736"/>
                    <a:pt x="778" y="732"/>
                    <a:pt x="778" y="732"/>
                  </a:cubicBezTo>
                  <a:cubicBezTo>
                    <a:pt x="778" y="730"/>
                    <a:pt x="779" y="730"/>
                    <a:pt x="780" y="729"/>
                  </a:cubicBezTo>
                  <a:cubicBezTo>
                    <a:pt x="781" y="728"/>
                    <a:pt x="783" y="727"/>
                    <a:pt x="784" y="727"/>
                  </a:cubicBezTo>
                  <a:cubicBezTo>
                    <a:pt x="791" y="725"/>
                    <a:pt x="802" y="726"/>
                    <a:pt x="802" y="725"/>
                  </a:cubicBezTo>
                  <a:cubicBezTo>
                    <a:pt x="802" y="725"/>
                    <a:pt x="795" y="723"/>
                    <a:pt x="794" y="723"/>
                  </a:cubicBezTo>
                  <a:cubicBezTo>
                    <a:pt x="792" y="723"/>
                    <a:pt x="788" y="725"/>
                    <a:pt x="784" y="727"/>
                  </a:cubicBezTo>
                  <a:cubicBezTo>
                    <a:pt x="782" y="727"/>
                    <a:pt x="781" y="728"/>
                    <a:pt x="780" y="729"/>
                  </a:cubicBezTo>
                  <a:cubicBezTo>
                    <a:pt x="770" y="733"/>
                    <a:pt x="759" y="738"/>
                    <a:pt x="756" y="732"/>
                  </a:cubicBezTo>
                  <a:cubicBezTo>
                    <a:pt x="752" y="726"/>
                    <a:pt x="773" y="729"/>
                    <a:pt x="773" y="722"/>
                  </a:cubicBezTo>
                  <a:cubicBezTo>
                    <a:pt x="773" y="720"/>
                    <a:pt x="755" y="721"/>
                    <a:pt x="753" y="718"/>
                  </a:cubicBezTo>
                  <a:cubicBezTo>
                    <a:pt x="751" y="716"/>
                    <a:pt x="758" y="718"/>
                    <a:pt x="761" y="717"/>
                  </a:cubicBezTo>
                  <a:cubicBezTo>
                    <a:pt x="764" y="716"/>
                    <a:pt x="785" y="721"/>
                    <a:pt x="786" y="720"/>
                  </a:cubicBezTo>
                  <a:cubicBezTo>
                    <a:pt x="788" y="716"/>
                    <a:pt x="757" y="709"/>
                    <a:pt x="758" y="708"/>
                  </a:cubicBezTo>
                  <a:cubicBezTo>
                    <a:pt x="761" y="704"/>
                    <a:pt x="814" y="717"/>
                    <a:pt x="817" y="705"/>
                  </a:cubicBezTo>
                  <a:cubicBezTo>
                    <a:pt x="818" y="703"/>
                    <a:pt x="788" y="709"/>
                    <a:pt x="787" y="709"/>
                  </a:cubicBezTo>
                  <a:cubicBezTo>
                    <a:pt x="782" y="707"/>
                    <a:pt x="788" y="701"/>
                    <a:pt x="791" y="701"/>
                  </a:cubicBezTo>
                  <a:cubicBezTo>
                    <a:pt x="793" y="700"/>
                    <a:pt x="804" y="704"/>
                    <a:pt x="805" y="701"/>
                  </a:cubicBezTo>
                  <a:cubicBezTo>
                    <a:pt x="805" y="699"/>
                    <a:pt x="781" y="700"/>
                    <a:pt x="782" y="697"/>
                  </a:cubicBezTo>
                  <a:cubicBezTo>
                    <a:pt x="784" y="689"/>
                    <a:pt x="820" y="698"/>
                    <a:pt x="826" y="697"/>
                  </a:cubicBezTo>
                  <a:cubicBezTo>
                    <a:pt x="831" y="696"/>
                    <a:pt x="815" y="696"/>
                    <a:pt x="810" y="694"/>
                  </a:cubicBezTo>
                  <a:cubicBezTo>
                    <a:pt x="799" y="690"/>
                    <a:pt x="801" y="684"/>
                    <a:pt x="793" y="680"/>
                  </a:cubicBezTo>
                  <a:cubicBezTo>
                    <a:pt x="791" y="679"/>
                    <a:pt x="784" y="681"/>
                    <a:pt x="784" y="679"/>
                  </a:cubicBezTo>
                  <a:cubicBezTo>
                    <a:pt x="783" y="669"/>
                    <a:pt x="802" y="676"/>
                    <a:pt x="807" y="673"/>
                  </a:cubicBezTo>
                  <a:cubicBezTo>
                    <a:pt x="809" y="671"/>
                    <a:pt x="813" y="671"/>
                    <a:pt x="815" y="668"/>
                  </a:cubicBezTo>
                  <a:cubicBezTo>
                    <a:pt x="816" y="666"/>
                    <a:pt x="822" y="667"/>
                    <a:pt x="821" y="665"/>
                  </a:cubicBezTo>
                  <a:cubicBezTo>
                    <a:pt x="820" y="664"/>
                    <a:pt x="824" y="664"/>
                    <a:pt x="824" y="665"/>
                  </a:cubicBezTo>
                  <a:cubicBezTo>
                    <a:pt x="825" y="669"/>
                    <a:pt x="817" y="670"/>
                    <a:pt x="817" y="673"/>
                  </a:cubicBezTo>
                  <a:cubicBezTo>
                    <a:pt x="819" y="678"/>
                    <a:pt x="827" y="673"/>
                    <a:pt x="830" y="668"/>
                  </a:cubicBezTo>
                  <a:cubicBezTo>
                    <a:pt x="833" y="664"/>
                    <a:pt x="824" y="659"/>
                    <a:pt x="830" y="655"/>
                  </a:cubicBezTo>
                  <a:cubicBezTo>
                    <a:pt x="833" y="654"/>
                    <a:pt x="834" y="657"/>
                    <a:pt x="834" y="659"/>
                  </a:cubicBezTo>
                  <a:cubicBezTo>
                    <a:pt x="837" y="673"/>
                    <a:pt x="839" y="670"/>
                    <a:pt x="848" y="664"/>
                  </a:cubicBezTo>
                  <a:cubicBezTo>
                    <a:pt x="848" y="664"/>
                    <a:pt x="848" y="664"/>
                    <a:pt x="848" y="664"/>
                  </a:cubicBezTo>
                  <a:cubicBezTo>
                    <a:pt x="858" y="659"/>
                    <a:pt x="841" y="654"/>
                    <a:pt x="873" y="657"/>
                  </a:cubicBezTo>
                  <a:cubicBezTo>
                    <a:pt x="875" y="657"/>
                    <a:pt x="880" y="659"/>
                    <a:pt x="880" y="657"/>
                  </a:cubicBezTo>
                  <a:cubicBezTo>
                    <a:pt x="875" y="642"/>
                    <a:pt x="841" y="665"/>
                    <a:pt x="855" y="642"/>
                  </a:cubicBezTo>
                  <a:cubicBezTo>
                    <a:pt x="856" y="640"/>
                    <a:pt x="865" y="638"/>
                    <a:pt x="866" y="638"/>
                  </a:cubicBezTo>
                  <a:cubicBezTo>
                    <a:pt x="870" y="638"/>
                    <a:pt x="861" y="646"/>
                    <a:pt x="864" y="647"/>
                  </a:cubicBezTo>
                  <a:cubicBezTo>
                    <a:pt x="866" y="648"/>
                    <a:pt x="866" y="641"/>
                    <a:pt x="868" y="640"/>
                  </a:cubicBezTo>
                  <a:cubicBezTo>
                    <a:pt x="875" y="639"/>
                    <a:pt x="879" y="641"/>
                    <a:pt x="885" y="640"/>
                  </a:cubicBezTo>
                  <a:cubicBezTo>
                    <a:pt x="889" y="639"/>
                    <a:pt x="894" y="645"/>
                    <a:pt x="894" y="645"/>
                  </a:cubicBezTo>
                  <a:cubicBezTo>
                    <a:pt x="898" y="634"/>
                    <a:pt x="872" y="638"/>
                    <a:pt x="872" y="636"/>
                  </a:cubicBezTo>
                  <a:cubicBezTo>
                    <a:pt x="872" y="635"/>
                    <a:pt x="910" y="629"/>
                    <a:pt x="914" y="631"/>
                  </a:cubicBezTo>
                  <a:cubicBezTo>
                    <a:pt x="915" y="632"/>
                    <a:pt x="914" y="633"/>
                    <a:pt x="914" y="634"/>
                  </a:cubicBezTo>
                  <a:cubicBezTo>
                    <a:pt x="913" y="635"/>
                    <a:pt x="913" y="635"/>
                    <a:pt x="912" y="635"/>
                  </a:cubicBezTo>
                  <a:cubicBezTo>
                    <a:pt x="910" y="638"/>
                    <a:pt x="905" y="641"/>
                    <a:pt x="908" y="643"/>
                  </a:cubicBezTo>
                  <a:cubicBezTo>
                    <a:pt x="924" y="654"/>
                    <a:pt x="908" y="642"/>
                    <a:pt x="912" y="635"/>
                  </a:cubicBezTo>
                  <a:cubicBezTo>
                    <a:pt x="913" y="635"/>
                    <a:pt x="913" y="635"/>
                    <a:pt x="914" y="634"/>
                  </a:cubicBezTo>
                  <a:cubicBezTo>
                    <a:pt x="915" y="633"/>
                    <a:pt x="916" y="632"/>
                    <a:pt x="918" y="632"/>
                  </a:cubicBezTo>
                  <a:cubicBezTo>
                    <a:pt x="941" y="625"/>
                    <a:pt x="953" y="655"/>
                    <a:pt x="960" y="653"/>
                  </a:cubicBezTo>
                  <a:cubicBezTo>
                    <a:pt x="962" y="653"/>
                    <a:pt x="956" y="650"/>
                    <a:pt x="955" y="647"/>
                  </a:cubicBezTo>
                  <a:cubicBezTo>
                    <a:pt x="954" y="644"/>
                    <a:pt x="959" y="643"/>
                    <a:pt x="958" y="639"/>
                  </a:cubicBezTo>
                  <a:cubicBezTo>
                    <a:pt x="957" y="637"/>
                    <a:pt x="948" y="635"/>
                    <a:pt x="950" y="632"/>
                  </a:cubicBezTo>
                  <a:cubicBezTo>
                    <a:pt x="953" y="626"/>
                    <a:pt x="978" y="643"/>
                    <a:pt x="982" y="637"/>
                  </a:cubicBezTo>
                  <a:cubicBezTo>
                    <a:pt x="982" y="637"/>
                    <a:pt x="978" y="632"/>
                    <a:pt x="978" y="631"/>
                  </a:cubicBezTo>
                  <a:cubicBezTo>
                    <a:pt x="978" y="631"/>
                    <a:pt x="978" y="631"/>
                    <a:pt x="978" y="631"/>
                  </a:cubicBezTo>
                  <a:cubicBezTo>
                    <a:pt x="977" y="631"/>
                    <a:pt x="977" y="631"/>
                    <a:pt x="977" y="631"/>
                  </a:cubicBezTo>
                  <a:cubicBezTo>
                    <a:pt x="976" y="631"/>
                    <a:pt x="976" y="631"/>
                    <a:pt x="975" y="632"/>
                  </a:cubicBezTo>
                  <a:cubicBezTo>
                    <a:pt x="975" y="632"/>
                    <a:pt x="975" y="632"/>
                    <a:pt x="974" y="632"/>
                  </a:cubicBezTo>
                  <a:cubicBezTo>
                    <a:pt x="972" y="632"/>
                    <a:pt x="970" y="632"/>
                    <a:pt x="968" y="632"/>
                  </a:cubicBezTo>
                  <a:cubicBezTo>
                    <a:pt x="963" y="631"/>
                    <a:pt x="956" y="627"/>
                    <a:pt x="951" y="627"/>
                  </a:cubicBezTo>
                  <a:cubicBezTo>
                    <a:pt x="948" y="627"/>
                    <a:pt x="943" y="636"/>
                    <a:pt x="939" y="631"/>
                  </a:cubicBezTo>
                  <a:cubicBezTo>
                    <a:pt x="939" y="631"/>
                    <a:pt x="941" y="629"/>
                    <a:pt x="942" y="627"/>
                  </a:cubicBezTo>
                  <a:cubicBezTo>
                    <a:pt x="943" y="626"/>
                    <a:pt x="923" y="628"/>
                    <a:pt x="921" y="625"/>
                  </a:cubicBezTo>
                  <a:cubicBezTo>
                    <a:pt x="919" y="622"/>
                    <a:pt x="933" y="616"/>
                    <a:pt x="929" y="616"/>
                  </a:cubicBezTo>
                  <a:cubicBezTo>
                    <a:pt x="922" y="615"/>
                    <a:pt x="918" y="621"/>
                    <a:pt x="913" y="623"/>
                  </a:cubicBezTo>
                  <a:cubicBezTo>
                    <a:pt x="911" y="624"/>
                    <a:pt x="910" y="623"/>
                    <a:pt x="909" y="622"/>
                  </a:cubicBezTo>
                  <a:cubicBezTo>
                    <a:pt x="907" y="621"/>
                    <a:pt x="896" y="620"/>
                    <a:pt x="895" y="623"/>
                  </a:cubicBezTo>
                  <a:cubicBezTo>
                    <a:pt x="895" y="624"/>
                    <a:pt x="901" y="623"/>
                    <a:pt x="901" y="625"/>
                  </a:cubicBezTo>
                  <a:cubicBezTo>
                    <a:pt x="900" y="627"/>
                    <a:pt x="881" y="632"/>
                    <a:pt x="882" y="631"/>
                  </a:cubicBezTo>
                  <a:cubicBezTo>
                    <a:pt x="882" y="628"/>
                    <a:pt x="889" y="627"/>
                    <a:pt x="889" y="621"/>
                  </a:cubicBezTo>
                  <a:cubicBezTo>
                    <a:pt x="889" y="620"/>
                    <a:pt x="885" y="622"/>
                    <a:pt x="884" y="622"/>
                  </a:cubicBezTo>
                  <a:cubicBezTo>
                    <a:pt x="880" y="625"/>
                    <a:pt x="875" y="625"/>
                    <a:pt x="870" y="626"/>
                  </a:cubicBezTo>
                  <a:cubicBezTo>
                    <a:pt x="868" y="626"/>
                    <a:pt x="855" y="627"/>
                    <a:pt x="856" y="626"/>
                  </a:cubicBezTo>
                  <a:cubicBezTo>
                    <a:pt x="859" y="620"/>
                    <a:pt x="875" y="606"/>
                    <a:pt x="882" y="599"/>
                  </a:cubicBezTo>
                  <a:cubicBezTo>
                    <a:pt x="882" y="599"/>
                    <a:pt x="884" y="598"/>
                    <a:pt x="885" y="598"/>
                  </a:cubicBezTo>
                  <a:cubicBezTo>
                    <a:pt x="895" y="596"/>
                    <a:pt x="899" y="606"/>
                    <a:pt x="899" y="606"/>
                  </a:cubicBezTo>
                  <a:cubicBezTo>
                    <a:pt x="903" y="606"/>
                    <a:pt x="904" y="600"/>
                    <a:pt x="907" y="600"/>
                  </a:cubicBezTo>
                  <a:cubicBezTo>
                    <a:pt x="908" y="600"/>
                    <a:pt x="920" y="596"/>
                    <a:pt x="920" y="595"/>
                  </a:cubicBezTo>
                  <a:cubicBezTo>
                    <a:pt x="919" y="593"/>
                    <a:pt x="886" y="597"/>
                    <a:pt x="891" y="587"/>
                  </a:cubicBezTo>
                  <a:cubicBezTo>
                    <a:pt x="892" y="585"/>
                    <a:pt x="899" y="582"/>
                    <a:pt x="900" y="581"/>
                  </a:cubicBezTo>
                  <a:cubicBezTo>
                    <a:pt x="903" y="580"/>
                    <a:pt x="933" y="570"/>
                    <a:pt x="930" y="580"/>
                  </a:cubicBezTo>
                  <a:cubicBezTo>
                    <a:pt x="927" y="586"/>
                    <a:pt x="921" y="580"/>
                    <a:pt x="918" y="580"/>
                  </a:cubicBezTo>
                  <a:cubicBezTo>
                    <a:pt x="915" y="581"/>
                    <a:pt x="924" y="585"/>
                    <a:pt x="913" y="588"/>
                  </a:cubicBezTo>
                  <a:cubicBezTo>
                    <a:pt x="911" y="588"/>
                    <a:pt x="906" y="588"/>
                    <a:pt x="906" y="589"/>
                  </a:cubicBezTo>
                  <a:cubicBezTo>
                    <a:pt x="906" y="590"/>
                    <a:pt x="908" y="590"/>
                    <a:pt x="909" y="590"/>
                  </a:cubicBezTo>
                  <a:cubicBezTo>
                    <a:pt x="917" y="590"/>
                    <a:pt x="918" y="590"/>
                    <a:pt x="925" y="587"/>
                  </a:cubicBezTo>
                  <a:cubicBezTo>
                    <a:pt x="926" y="587"/>
                    <a:pt x="932" y="583"/>
                    <a:pt x="932" y="585"/>
                  </a:cubicBezTo>
                  <a:cubicBezTo>
                    <a:pt x="933" y="589"/>
                    <a:pt x="932" y="592"/>
                    <a:pt x="929" y="594"/>
                  </a:cubicBezTo>
                  <a:cubicBezTo>
                    <a:pt x="925" y="598"/>
                    <a:pt x="945" y="586"/>
                    <a:pt x="955" y="590"/>
                  </a:cubicBezTo>
                  <a:cubicBezTo>
                    <a:pt x="969" y="596"/>
                    <a:pt x="965" y="632"/>
                    <a:pt x="977" y="618"/>
                  </a:cubicBezTo>
                  <a:cubicBezTo>
                    <a:pt x="979" y="617"/>
                    <a:pt x="962" y="602"/>
                    <a:pt x="965" y="590"/>
                  </a:cubicBezTo>
                  <a:cubicBezTo>
                    <a:pt x="966" y="584"/>
                    <a:pt x="980" y="579"/>
                    <a:pt x="985" y="578"/>
                  </a:cubicBezTo>
                  <a:cubicBezTo>
                    <a:pt x="987" y="578"/>
                    <a:pt x="996" y="579"/>
                    <a:pt x="996" y="577"/>
                  </a:cubicBezTo>
                  <a:cubicBezTo>
                    <a:pt x="996" y="574"/>
                    <a:pt x="983" y="574"/>
                    <a:pt x="982" y="575"/>
                  </a:cubicBezTo>
                  <a:cubicBezTo>
                    <a:pt x="969" y="579"/>
                    <a:pt x="951" y="591"/>
                    <a:pt x="937" y="582"/>
                  </a:cubicBezTo>
                  <a:cubicBezTo>
                    <a:pt x="933" y="580"/>
                    <a:pt x="938" y="571"/>
                    <a:pt x="940" y="571"/>
                  </a:cubicBezTo>
                  <a:cubicBezTo>
                    <a:pt x="946" y="571"/>
                    <a:pt x="958" y="579"/>
                    <a:pt x="957" y="574"/>
                  </a:cubicBezTo>
                  <a:cubicBezTo>
                    <a:pt x="956" y="568"/>
                    <a:pt x="945" y="563"/>
                    <a:pt x="938" y="568"/>
                  </a:cubicBezTo>
                  <a:cubicBezTo>
                    <a:pt x="937" y="569"/>
                    <a:pt x="931" y="571"/>
                    <a:pt x="931" y="568"/>
                  </a:cubicBezTo>
                  <a:cubicBezTo>
                    <a:pt x="932" y="556"/>
                    <a:pt x="944" y="552"/>
                    <a:pt x="962" y="559"/>
                  </a:cubicBezTo>
                  <a:cubicBezTo>
                    <a:pt x="964" y="560"/>
                    <a:pt x="961" y="553"/>
                    <a:pt x="968" y="557"/>
                  </a:cubicBezTo>
                  <a:cubicBezTo>
                    <a:pt x="969" y="558"/>
                    <a:pt x="974" y="558"/>
                    <a:pt x="974" y="558"/>
                  </a:cubicBezTo>
                  <a:cubicBezTo>
                    <a:pt x="973" y="557"/>
                    <a:pt x="949" y="551"/>
                    <a:pt x="951" y="549"/>
                  </a:cubicBezTo>
                  <a:cubicBezTo>
                    <a:pt x="957" y="544"/>
                    <a:pt x="979" y="548"/>
                    <a:pt x="982" y="554"/>
                  </a:cubicBezTo>
                  <a:cubicBezTo>
                    <a:pt x="984" y="557"/>
                    <a:pt x="992" y="560"/>
                    <a:pt x="990" y="556"/>
                  </a:cubicBezTo>
                  <a:cubicBezTo>
                    <a:pt x="978" y="537"/>
                    <a:pt x="975" y="547"/>
                    <a:pt x="960" y="543"/>
                  </a:cubicBezTo>
                  <a:cubicBezTo>
                    <a:pt x="952" y="540"/>
                    <a:pt x="956" y="531"/>
                    <a:pt x="953" y="531"/>
                  </a:cubicBezTo>
                  <a:cubicBezTo>
                    <a:pt x="951" y="530"/>
                    <a:pt x="953" y="535"/>
                    <a:pt x="952" y="536"/>
                  </a:cubicBezTo>
                  <a:cubicBezTo>
                    <a:pt x="950" y="536"/>
                    <a:pt x="952" y="529"/>
                    <a:pt x="948" y="531"/>
                  </a:cubicBezTo>
                  <a:cubicBezTo>
                    <a:pt x="946" y="532"/>
                    <a:pt x="952" y="539"/>
                    <a:pt x="947" y="542"/>
                  </a:cubicBezTo>
                  <a:cubicBezTo>
                    <a:pt x="937" y="549"/>
                    <a:pt x="907" y="573"/>
                    <a:pt x="892" y="563"/>
                  </a:cubicBezTo>
                  <a:cubicBezTo>
                    <a:pt x="890" y="561"/>
                    <a:pt x="901" y="557"/>
                    <a:pt x="903" y="556"/>
                  </a:cubicBezTo>
                  <a:cubicBezTo>
                    <a:pt x="908" y="553"/>
                    <a:pt x="893" y="552"/>
                    <a:pt x="897" y="551"/>
                  </a:cubicBezTo>
                  <a:cubicBezTo>
                    <a:pt x="903" y="549"/>
                    <a:pt x="913" y="550"/>
                    <a:pt x="920" y="550"/>
                  </a:cubicBezTo>
                  <a:cubicBezTo>
                    <a:pt x="921" y="550"/>
                    <a:pt x="925" y="550"/>
                    <a:pt x="926" y="549"/>
                  </a:cubicBezTo>
                  <a:cubicBezTo>
                    <a:pt x="927" y="545"/>
                    <a:pt x="917" y="548"/>
                    <a:pt x="915" y="546"/>
                  </a:cubicBezTo>
                  <a:cubicBezTo>
                    <a:pt x="911" y="542"/>
                    <a:pt x="895" y="547"/>
                    <a:pt x="894" y="539"/>
                  </a:cubicBezTo>
                  <a:cubicBezTo>
                    <a:pt x="893" y="534"/>
                    <a:pt x="924" y="535"/>
                    <a:pt x="925" y="531"/>
                  </a:cubicBezTo>
                  <a:cubicBezTo>
                    <a:pt x="925" y="530"/>
                    <a:pt x="902" y="532"/>
                    <a:pt x="902" y="532"/>
                  </a:cubicBezTo>
                  <a:cubicBezTo>
                    <a:pt x="905" y="528"/>
                    <a:pt x="934" y="520"/>
                    <a:pt x="935" y="528"/>
                  </a:cubicBezTo>
                  <a:cubicBezTo>
                    <a:pt x="935" y="530"/>
                    <a:pt x="931" y="531"/>
                    <a:pt x="932" y="534"/>
                  </a:cubicBezTo>
                  <a:cubicBezTo>
                    <a:pt x="933" y="535"/>
                    <a:pt x="939" y="530"/>
                    <a:pt x="940" y="529"/>
                  </a:cubicBezTo>
                  <a:cubicBezTo>
                    <a:pt x="942" y="527"/>
                    <a:pt x="957" y="518"/>
                    <a:pt x="964" y="520"/>
                  </a:cubicBezTo>
                  <a:cubicBezTo>
                    <a:pt x="966" y="521"/>
                    <a:pt x="957" y="529"/>
                    <a:pt x="962" y="531"/>
                  </a:cubicBezTo>
                  <a:cubicBezTo>
                    <a:pt x="962" y="531"/>
                    <a:pt x="969" y="519"/>
                    <a:pt x="979" y="516"/>
                  </a:cubicBezTo>
                  <a:cubicBezTo>
                    <a:pt x="988" y="513"/>
                    <a:pt x="988" y="524"/>
                    <a:pt x="991" y="524"/>
                  </a:cubicBezTo>
                  <a:cubicBezTo>
                    <a:pt x="998" y="524"/>
                    <a:pt x="995" y="509"/>
                    <a:pt x="1001" y="507"/>
                  </a:cubicBezTo>
                  <a:cubicBezTo>
                    <a:pt x="1002" y="507"/>
                    <a:pt x="1002" y="507"/>
                    <a:pt x="1003" y="507"/>
                  </a:cubicBezTo>
                  <a:cubicBezTo>
                    <a:pt x="1003" y="507"/>
                    <a:pt x="1004" y="508"/>
                    <a:pt x="1004" y="508"/>
                  </a:cubicBezTo>
                  <a:cubicBezTo>
                    <a:pt x="1005" y="508"/>
                    <a:pt x="1001" y="508"/>
                    <a:pt x="1003" y="508"/>
                  </a:cubicBezTo>
                  <a:cubicBezTo>
                    <a:pt x="1003" y="508"/>
                    <a:pt x="1005" y="508"/>
                    <a:pt x="1005" y="507"/>
                  </a:cubicBezTo>
                  <a:cubicBezTo>
                    <a:pt x="1010" y="503"/>
                    <a:pt x="995" y="509"/>
                    <a:pt x="992" y="503"/>
                  </a:cubicBezTo>
                  <a:cubicBezTo>
                    <a:pt x="991" y="500"/>
                    <a:pt x="997" y="502"/>
                    <a:pt x="996" y="499"/>
                  </a:cubicBezTo>
                  <a:cubicBezTo>
                    <a:pt x="995" y="497"/>
                    <a:pt x="990" y="499"/>
                    <a:pt x="989" y="500"/>
                  </a:cubicBezTo>
                  <a:cubicBezTo>
                    <a:pt x="985" y="505"/>
                    <a:pt x="979" y="503"/>
                    <a:pt x="972" y="503"/>
                  </a:cubicBezTo>
                  <a:cubicBezTo>
                    <a:pt x="969" y="503"/>
                    <a:pt x="965" y="494"/>
                    <a:pt x="962" y="496"/>
                  </a:cubicBezTo>
                  <a:cubicBezTo>
                    <a:pt x="960" y="498"/>
                    <a:pt x="956" y="506"/>
                    <a:pt x="954" y="508"/>
                  </a:cubicBezTo>
                  <a:cubicBezTo>
                    <a:pt x="952" y="509"/>
                    <a:pt x="952" y="510"/>
                    <a:pt x="950" y="509"/>
                  </a:cubicBezTo>
                  <a:cubicBezTo>
                    <a:pt x="948" y="508"/>
                    <a:pt x="939" y="508"/>
                    <a:pt x="941" y="502"/>
                  </a:cubicBezTo>
                  <a:cubicBezTo>
                    <a:pt x="945" y="488"/>
                    <a:pt x="963" y="491"/>
                    <a:pt x="967" y="491"/>
                  </a:cubicBezTo>
                  <a:cubicBezTo>
                    <a:pt x="970" y="491"/>
                    <a:pt x="974" y="481"/>
                    <a:pt x="975" y="482"/>
                  </a:cubicBezTo>
                  <a:cubicBezTo>
                    <a:pt x="977" y="487"/>
                    <a:pt x="988" y="494"/>
                    <a:pt x="972" y="493"/>
                  </a:cubicBezTo>
                  <a:cubicBezTo>
                    <a:pt x="970" y="493"/>
                    <a:pt x="972" y="500"/>
                    <a:pt x="977" y="499"/>
                  </a:cubicBezTo>
                  <a:cubicBezTo>
                    <a:pt x="1005" y="493"/>
                    <a:pt x="996" y="463"/>
                    <a:pt x="1008" y="470"/>
                  </a:cubicBezTo>
                  <a:cubicBezTo>
                    <a:pt x="1012" y="473"/>
                    <a:pt x="1007" y="481"/>
                    <a:pt x="1008" y="482"/>
                  </a:cubicBezTo>
                  <a:cubicBezTo>
                    <a:pt x="1009" y="483"/>
                    <a:pt x="1013" y="480"/>
                    <a:pt x="1014" y="482"/>
                  </a:cubicBezTo>
                  <a:cubicBezTo>
                    <a:pt x="1015" y="484"/>
                    <a:pt x="1013" y="489"/>
                    <a:pt x="1011" y="490"/>
                  </a:cubicBezTo>
                  <a:cubicBezTo>
                    <a:pt x="1009" y="494"/>
                    <a:pt x="1009" y="501"/>
                    <a:pt x="1010" y="505"/>
                  </a:cubicBezTo>
                  <a:cubicBezTo>
                    <a:pt x="1012" y="510"/>
                    <a:pt x="1043" y="543"/>
                    <a:pt x="1050" y="540"/>
                  </a:cubicBezTo>
                  <a:cubicBezTo>
                    <a:pt x="1051" y="540"/>
                    <a:pt x="1041" y="536"/>
                    <a:pt x="1045" y="533"/>
                  </a:cubicBezTo>
                  <a:cubicBezTo>
                    <a:pt x="1047" y="531"/>
                    <a:pt x="1042" y="530"/>
                    <a:pt x="1041" y="529"/>
                  </a:cubicBezTo>
                  <a:cubicBezTo>
                    <a:pt x="1032" y="524"/>
                    <a:pt x="1025" y="523"/>
                    <a:pt x="1029" y="513"/>
                  </a:cubicBezTo>
                  <a:cubicBezTo>
                    <a:pt x="1030" y="511"/>
                    <a:pt x="1021" y="509"/>
                    <a:pt x="1023" y="508"/>
                  </a:cubicBezTo>
                  <a:cubicBezTo>
                    <a:pt x="1032" y="501"/>
                    <a:pt x="1038" y="524"/>
                    <a:pt x="1045" y="524"/>
                  </a:cubicBezTo>
                  <a:cubicBezTo>
                    <a:pt x="1052" y="524"/>
                    <a:pt x="1033" y="510"/>
                    <a:pt x="1034" y="508"/>
                  </a:cubicBezTo>
                  <a:cubicBezTo>
                    <a:pt x="1036" y="502"/>
                    <a:pt x="1050" y="522"/>
                    <a:pt x="1053" y="514"/>
                  </a:cubicBezTo>
                  <a:cubicBezTo>
                    <a:pt x="1053" y="514"/>
                    <a:pt x="1047" y="513"/>
                    <a:pt x="1046" y="512"/>
                  </a:cubicBezTo>
                  <a:cubicBezTo>
                    <a:pt x="1043" y="510"/>
                    <a:pt x="1050" y="508"/>
                    <a:pt x="1049" y="506"/>
                  </a:cubicBezTo>
                  <a:cubicBezTo>
                    <a:pt x="1048" y="504"/>
                    <a:pt x="1036" y="506"/>
                    <a:pt x="1037" y="502"/>
                  </a:cubicBezTo>
                  <a:cubicBezTo>
                    <a:pt x="1040" y="491"/>
                    <a:pt x="1069" y="498"/>
                    <a:pt x="1068" y="497"/>
                  </a:cubicBezTo>
                  <a:cubicBezTo>
                    <a:pt x="1057" y="486"/>
                    <a:pt x="1044" y="497"/>
                    <a:pt x="1035" y="496"/>
                  </a:cubicBezTo>
                  <a:cubicBezTo>
                    <a:pt x="1029" y="495"/>
                    <a:pt x="1032" y="492"/>
                    <a:pt x="1027" y="489"/>
                  </a:cubicBezTo>
                  <a:cubicBezTo>
                    <a:pt x="1027" y="489"/>
                    <a:pt x="1026" y="489"/>
                    <a:pt x="1026" y="488"/>
                  </a:cubicBezTo>
                  <a:cubicBezTo>
                    <a:pt x="1027" y="487"/>
                    <a:pt x="1040" y="488"/>
                    <a:pt x="1041" y="487"/>
                  </a:cubicBezTo>
                  <a:cubicBezTo>
                    <a:pt x="1044" y="487"/>
                    <a:pt x="1040" y="480"/>
                    <a:pt x="1043" y="480"/>
                  </a:cubicBezTo>
                  <a:cubicBezTo>
                    <a:pt x="1044" y="481"/>
                    <a:pt x="1054" y="486"/>
                    <a:pt x="1054" y="483"/>
                  </a:cubicBezTo>
                  <a:cubicBezTo>
                    <a:pt x="1055" y="482"/>
                    <a:pt x="1052" y="480"/>
                    <a:pt x="1051" y="480"/>
                  </a:cubicBezTo>
                  <a:cubicBezTo>
                    <a:pt x="1046" y="478"/>
                    <a:pt x="1048" y="476"/>
                    <a:pt x="1046" y="474"/>
                  </a:cubicBezTo>
                  <a:cubicBezTo>
                    <a:pt x="1044" y="473"/>
                    <a:pt x="1030" y="478"/>
                    <a:pt x="1026" y="478"/>
                  </a:cubicBezTo>
                  <a:cubicBezTo>
                    <a:pt x="1025" y="478"/>
                    <a:pt x="1020" y="478"/>
                    <a:pt x="1019" y="477"/>
                  </a:cubicBezTo>
                  <a:cubicBezTo>
                    <a:pt x="1015" y="473"/>
                    <a:pt x="1034" y="472"/>
                    <a:pt x="1033" y="470"/>
                  </a:cubicBezTo>
                  <a:cubicBezTo>
                    <a:pt x="1032" y="469"/>
                    <a:pt x="1013" y="465"/>
                    <a:pt x="1014" y="464"/>
                  </a:cubicBezTo>
                  <a:cubicBezTo>
                    <a:pt x="1024" y="451"/>
                    <a:pt x="1048" y="467"/>
                    <a:pt x="1055" y="478"/>
                  </a:cubicBezTo>
                  <a:cubicBezTo>
                    <a:pt x="1057" y="480"/>
                    <a:pt x="1076" y="489"/>
                    <a:pt x="1077" y="487"/>
                  </a:cubicBezTo>
                  <a:cubicBezTo>
                    <a:pt x="1077" y="478"/>
                    <a:pt x="1029" y="455"/>
                    <a:pt x="1029" y="455"/>
                  </a:cubicBezTo>
                  <a:cubicBezTo>
                    <a:pt x="1031" y="453"/>
                    <a:pt x="1025" y="455"/>
                    <a:pt x="1024" y="454"/>
                  </a:cubicBezTo>
                  <a:cubicBezTo>
                    <a:pt x="1024" y="450"/>
                    <a:pt x="1059" y="446"/>
                    <a:pt x="1063" y="445"/>
                  </a:cubicBezTo>
                  <a:cubicBezTo>
                    <a:pt x="1066" y="445"/>
                    <a:pt x="1069" y="445"/>
                    <a:pt x="1073" y="447"/>
                  </a:cubicBezTo>
                  <a:cubicBezTo>
                    <a:pt x="1075" y="448"/>
                    <a:pt x="1077" y="448"/>
                    <a:pt x="1079" y="449"/>
                  </a:cubicBezTo>
                  <a:cubicBezTo>
                    <a:pt x="1086" y="451"/>
                    <a:pt x="1079" y="458"/>
                    <a:pt x="1079" y="458"/>
                  </a:cubicBezTo>
                  <a:cubicBezTo>
                    <a:pt x="1085" y="457"/>
                    <a:pt x="1094" y="451"/>
                    <a:pt x="1099" y="451"/>
                  </a:cubicBezTo>
                  <a:cubicBezTo>
                    <a:pt x="1113" y="452"/>
                    <a:pt x="1104" y="458"/>
                    <a:pt x="1114" y="463"/>
                  </a:cubicBezTo>
                  <a:cubicBezTo>
                    <a:pt x="1116" y="464"/>
                    <a:pt x="1123" y="466"/>
                    <a:pt x="1123" y="469"/>
                  </a:cubicBezTo>
                  <a:cubicBezTo>
                    <a:pt x="1123" y="470"/>
                    <a:pt x="1121" y="481"/>
                    <a:pt x="1122" y="482"/>
                  </a:cubicBezTo>
                  <a:cubicBezTo>
                    <a:pt x="1125" y="485"/>
                    <a:pt x="1127" y="474"/>
                    <a:pt x="1131" y="472"/>
                  </a:cubicBezTo>
                  <a:cubicBezTo>
                    <a:pt x="1131" y="472"/>
                    <a:pt x="1131" y="471"/>
                    <a:pt x="1131" y="471"/>
                  </a:cubicBezTo>
                  <a:cubicBezTo>
                    <a:pt x="1131" y="464"/>
                    <a:pt x="1106" y="456"/>
                    <a:pt x="1112" y="449"/>
                  </a:cubicBezTo>
                  <a:cubicBezTo>
                    <a:pt x="1118" y="442"/>
                    <a:pt x="1125" y="448"/>
                    <a:pt x="1135" y="452"/>
                  </a:cubicBezTo>
                  <a:cubicBezTo>
                    <a:pt x="1136" y="453"/>
                    <a:pt x="1147" y="454"/>
                    <a:pt x="1145" y="451"/>
                  </a:cubicBezTo>
                  <a:cubicBezTo>
                    <a:pt x="1145" y="449"/>
                    <a:pt x="1127" y="446"/>
                    <a:pt x="1128" y="443"/>
                  </a:cubicBezTo>
                  <a:cubicBezTo>
                    <a:pt x="1130" y="437"/>
                    <a:pt x="1156" y="444"/>
                    <a:pt x="1159" y="446"/>
                  </a:cubicBezTo>
                  <a:cubicBezTo>
                    <a:pt x="1163" y="448"/>
                    <a:pt x="1176" y="448"/>
                    <a:pt x="1172" y="447"/>
                  </a:cubicBezTo>
                  <a:cubicBezTo>
                    <a:pt x="1163" y="446"/>
                    <a:pt x="1157" y="440"/>
                    <a:pt x="1149" y="437"/>
                  </a:cubicBezTo>
                  <a:cubicBezTo>
                    <a:pt x="1147" y="437"/>
                    <a:pt x="1138" y="439"/>
                    <a:pt x="1136" y="437"/>
                  </a:cubicBezTo>
                  <a:cubicBezTo>
                    <a:pt x="1136" y="436"/>
                    <a:pt x="1147" y="426"/>
                    <a:pt x="1142" y="425"/>
                  </a:cubicBezTo>
                  <a:cubicBezTo>
                    <a:pt x="1127" y="421"/>
                    <a:pt x="1112" y="449"/>
                    <a:pt x="1095" y="439"/>
                  </a:cubicBezTo>
                  <a:cubicBezTo>
                    <a:pt x="1093" y="438"/>
                    <a:pt x="1095" y="437"/>
                    <a:pt x="1096" y="437"/>
                  </a:cubicBezTo>
                  <a:cubicBezTo>
                    <a:pt x="1107" y="436"/>
                    <a:pt x="1100" y="432"/>
                    <a:pt x="1094" y="429"/>
                  </a:cubicBezTo>
                  <a:cubicBezTo>
                    <a:pt x="1091" y="428"/>
                    <a:pt x="1054" y="450"/>
                    <a:pt x="1049" y="439"/>
                  </a:cubicBezTo>
                  <a:cubicBezTo>
                    <a:pt x="1041" y="421"/>
                    <a:pt x="1057" y="431"/>
                    <a:pt x="1061" y="424"/>
                  </a:cubicBezTo>
                  <a:cubicBezTo>
                    <a:pt x="1065" y="418"/>
                    <a:pt x="1040" y="417"/>
                    <a:pt x="1074" y="402"/>
                  </a:cubicBezTo>
                  <a:cubicBezTo>
                    <a:pt x="1090" y="396"/>
                    <a:pt x="1113" y="410"/>
                    <a:pt x="1104" y="404"/>
                  </a:cubicBezTo>
                  <a:cubicBezTo>
                    <a:pt x="1097" y="399"/>
                    <a:pt x="1114" y="395"/>
                    <a:pt x="1117" y="395"/>
                  </a:cubicBezTo>
                  <a:cubicBezTo>
                    <a:pt x="1122" y="394"/>
                    <a:pt x="1149" y="412"/>
                    <a:pt x="1155" y="405"/>
                  </a:cubicBezTo>
                  <a:cubicBezTo>
                    <a:pt x="1155" y="404"/>
                    <a:pt x="1153" y="403"/>
                    <a:pt x="1152" y="402"/>
                  </a:cubicBezTo>
                  <a:cubicBezTo>
                    <a:pt x="1149" y="400"/>
                    <a:pt x="1114" y="391"/>
                    <a:pt x="1115" y="389"/>
                  </a:cubicBezTo>
                  <a:cubicBezTo>
                    <a:pt x="1120" y="370"/>
                    <a:pt x="1163" y="392"/>
                    <a:pt x="1164" y="390"/>
                  </a:cubicBezTo>
                  <a:cubicBezTo>
                    <a:pt x="1169" y="383"/>
                    <a:pt x="1134" y="380"/>
                    <a:pt x="1136" y="377"/>
                  </a:cubicBezTo>
                  <a:cubicBezTo>
                    <a:pt x="1141" y="367"/>
                    <a:pt x="1169" y="373"/>
                    <a:pt x="1170" y="371"/>
                  </a:cubicBezTo>
                  <a:cubicBezTo>
                    <a:pt x="1170" y="370"/>
                    <a:pt x="1166" y="368"/>
                    <a:pt x="1165" y="367"/>
                  </a:cubicBezTo>
                  <a:cubicBezTo>
                    <a:pt x="1158" y="361"/>
                    <a:pt x="1150" y="361"/>
                    <a:pt x="1139" y="364"/>
                  </a:cubicBezTo>
                  <a:cubicBezTo>
                    <a:pt x="1138" y="365"/>
                    <a:pt x="1133" y="368"/>
                    <a:pt x="1133" y="366"/>
                  </a:cubicBezTo>
                  <a:cubicBezTo>
                    <a:pt x="1131" y="361"/>
                    <a:pt x="1140" y="359"/>
                    <a:pt x="1142" y="357"/>
                  </a:cubicBezTo>
                  <a:cubicBezTo>
                    <a:pt x="1143" y="356"/>
                    <a:pt x="1136" y="356"/>
                    <a:pt x="1152" y="339"/>
                  </a:cubicBezTo>
                  <a:cubicBezTo>
                    <a:pt x="1159" y="331"/>
                    <a:pt x="1161" y="336"/>
                    <a:pt x="1178" y="328"/>
                  </a:cubicBezTo>
                  <a:cubicBezTo>
                    <a:pt x="1180" y="327"/>
                    <a:pt x="1197" y="327"/>
                    <a:pt x="1197" y="326"/>
                  </a:cubicBezTo>
                  <a:cubicBezTo>
                    <a:pt x="1196" y="323"/>
                    <a:pt x="1189" y="325"/>
                    <a:pt x="1189" y="322"/>
                  </a:cubicBezTo>
                  <a:cubicBezTo>
                    <a:pt x="1189" y="320"/>
                    <a:pt x="1192" y="314"/>
                    <a:pt x="1191" y="313"/>
                  </a:cubicBezTo>
                  <a:cubicBezTo>
                    <a:pt x="1189" y="313"/>
                    <a:pt x="1180" y="317"/>
                    <a:pt x="1183" y="312"/>
                  </a:cubicBezTo>
                  <a:cubicBezTo>
                    <a:pt x="1188" y="304"/>
                    <a:pt x="1193" y="297"/>
                    <a:pt x="1198" y="289"/>
                  </a:cubicBezTo>
                  <a:cubicBezTo>
                    <a:pt x="1201" y="286"/>
                    <a:pt x="1195" y="280"/>
                    <a:pt x="1197" y="278"/>
                  </a:cubicBezTo>
                  <a:cubicBezTo>
                    <a:pt x="1202" y="271"/>
                    <a:pt x="1214" y="272"/>
                    <a:pt x="1217" y="282"/>
                  </a:cubicBezTo>
                  <a:cubicBezTo>
                    <a:pt x="1217" y="284"/>
                    <a:pt x="1213" y="289"/>
                    <a:pt x="1216" y="289"/>
                  </a:cubicBezTo>
                  <a:cubicBezTo>
                    <a:pt x="1219" y="290"/>
                    <a:pt x="1224" y="286"/>
                    <a:pt x="1227" y="291"/>
                  </a:cubicBezTo>
                  <a:cubicBezTo>
                    <a:pt x="1230" y="297"/>
                    <a:pt x="1224" y="312"/>
                    <a:pt x="1228" y="313"/>
                  </a:cubicBezTo>
                  <a:cubicBezTo>
                    <a:pt x="1232" y="314"/>
                    <a:pt x="1230" y="294"/>
                    <a:pt x="1233" y="293"/>
                  </a:cubicBezTo>
                  <a:cubicBezTo>
                    <a:pt x="1237" y="293"/>
                    <a:pt x="1235" y="302"/>
                    <a:pt x="1237" y="304"/>
                  </a:cubicBezTo>
                  <a:cubicBezTo>
                    <a:pt x="1249" y="316"/>
                    <a:pt x="1242" y="301"/>
                    <a:pt x="1243" y="300"/>
                  </a:cubicBezTo>
                  <a:cubicBezTo>
                    <a:pt x="1249" y="297"/>
                    <a:pt x="1273" y="305"/>
                    <a:pt x="1273" y="305"/>
                  </a:cubicBezTo>
                  <a:cubicBezTo>
                    <a:pt x="1274" y="303"/>
                    <a:pt x="1271" y="302"/>
                    <a:pt x="1270" y="301"/>
                  </a:cubicBezTo>
                  <a:cubicBezTo>
                    <a:pt x="1268" y="299"/>
                    <a:pt x="1221" y="284"/>
                    <a:pt x="1223" y="277"/>
                  </a:cubicBezTo>
                  <a:cubicBezTo>
                    <a:pt x="1226" y="267"/>
                    <a:pt x="1255" y="260"/>
                    <a:pt x="1261" y="265"/>
                  </a:cubicBezTo>
                  <a:cubicBezTo>
                    <a:pt x="1264" y="267"/>
                    <a:pt x="1258" y="269"/>
                    <a:pt x="1259" y="271"/>
                  </a:cubicBezTo>
                  <a:cubicBezTo>
                    <a:pt x="1260" y="276"/>
                    <a:pt x="1276" y="289"/>
                    <a:pt x="1281" y="293"/>
                  </a:cubicBezTo>
                  <a:cubicBezTo>
                    <a:pt x="1287" y="297"/>
                    <a:pt x="1301" y="292"/>
                    <a:pt x="1306" y="299"/>
                  </a:cubicBezTo>
                  <a:cubicBezTo>
                    <a:pt x="1311" y="310"/>
                    <a:pt x="1284" y="304"/>
                    <a:pt x="1287" y="310"/>
                  </a:cubicBezTo>
                  <a:cubicBezTo>
                    <a:pt x="1287" y="311"/>
                    <a:pt x="1287" y="311"/>
                    <a:pt x="1287" y="311"/>
                  </a:cubicBezTo>
                  <a:cubicBezTo>
                    <a:pt x="1289" y="311"/>
                    <a:pt x="1290" y="311"/>
                    <a:pt x="1291" y="310"/>
                  </a:cubicBezTo>
                  <a:cubicBezTo>
                    <a:pt x="1294" y="308"/>
                    <a:pt x="1309" y="321"/>
                    <a:pt x="1317" y="316"/>
                  </a:cubicBezTo>
                  <a:cubicBezTo>
                    <a:pt x="1319" y="314"/>
                    <a:pt x="1313" y="311"/>
                    <a:pt x="1312" y="310"/>
                  </a:cubicBezTo>
                  <a:cubicBezTo>
                    <a:pt x="1309" y="305"/>
                    <a:pt x="1314" y="300"/>
                    <a:pt x="1309" y="295"/>
                  </a:cubicBezTo>
                  <a:cubicBezTo>
                    <a:pt x="1299" y="284"/>
                    <a:pt x="1279" y="295"/>
                    <a:pt x="1272" y="278"/>
                  </a:cubicBezTo>
                  <a:cubicBezTo>
                    <a:pt x="1268" y="269"/>
                    <a:pt x="1286" y="262"/>
                    <a:pt x="1292" y="267"/>
                  </a:cubicBezTo>
                  <a:cubicBezTo>
                    <a:pt x="1292" y="267"/>
                    <a:pt x="1296" y="270"/>
                    <a:pt x="1295" y="267"/>
                  </a:cubicBezTo>
                  <a:cubicBezTo>
                    <a:pt x="1291" y="250"/>
                    <a:pt x="1271" y="275"/>
                    <a:pt x="1267" y="259"/>
                  </a:cubicBezTo>
                  <a:cubicBezTo>
                    <a:pt x="1262" y="238"/>
                    <a:pt x="1326" y="213"/>
                    <a:pt x="1341" y="222"/>
                  </a:cubicBezTo>
                  <a:cubicBezTo>
                    <a:pt x="1343" y="223"/>
                    <a:pt x="1341" y="226"/>
                    <a:pt x="1340" y="227"/>
                  </a:cubicBezTo>
                  <a:cubicBezTo>
                    <a:pt x="1332" y="233"/>
                    <a:pt x="1331" y="266"/>
                    <a:pt x="1330" y="277"/>
                  </a:cubicBezTo>
                  <a:cubicBezTo>
                    <a:pt x="1330" y="278"/>
                    <a:pt x="1317" y="287"/>
                    <a:pt x="1320" y="288"/>
                  </a:cubicBezTo>
                  <a:cubicBezTo>
                    <a:pt x="1338" y="296"/>
                    <a:pt x="1335" y="257"/>
                    <a:pt x="1338" y="254"/>
                  </a:cubicBezTo>
                  <a:cubicBezTo>
                    <a:pt x="1342" y="251"/>
                    <a:pt x="1366" y="257"/>
                    <a:pt x="1372" y="258"/>
                  </a:cubicBezTo>
                  <a:cubicBezTo>
                    <a:pt x="1376" y="259"/>
                    <a:pt x="1364" y="255"/>
                    <a:pt x="1360" y="253"/>
                  </a:cubicBezTo>
                  <a:cubicBezTo>
                    <a:pt x="1352" y="251"/>
                    <a:pt x="1342" y="247"/>
                    <a:pt x="1346" y="237"/>
                  </a:cubicBezTo>
                  <a:cubicBezTo>
                    <a:pt x="1346" y="236"/>
                    <a:pt x="1358" y="215"/>
                    <a:pt x="1361" y="217"/>
                  </a:cubicBezTo>
                  <a:cubicBezTo>
                    <a:pt x="1364" y="219"/>
                    <a:pt x="1359" y="231"/>
                    <a:pt x="1362" y="229"/>
                  </a:cubicBezTo>
                  <a:cubicBezTo>
                    <a:pt x="1367" y="224"/>
                    <a:pt x="1371" y="203"/>
                    <a:pt x="1375" y="201"/>
                  </a:cubicBezTo>
                  <a:cubicBezTo>
                    <a:pt x="1377" y="201"/>
                    <a:pt x="1375" y="215"/>
                    <a:pt x="1380" y="215"/>
                  </a:cubicBezTo>
                  <a:cubicBezTo>
                    <a:pt x="1387" y="215"/>
                    <a:pt x="1381" y="193"/>
                    <a:pt x="1388" y="196"/>
                  </a:cubicBezTo>
                  <a:cubicBezTo>
                    <a:pt x="1400" y="201"/>
                    <a:pt x="1396" y="260"/>
                    <a:pt x="1387" y="265"/>
                  </a:cubicBezTo>
                  <a:cubicBezTo>
                    <a:pt x="1382" y="269"/>
                    <a:pt x="1389" y="275"/>
                    <a:pt x="1384" y="279"/>
                  </a:cubicBezTo>
                  <a:cubicBezTo>
                    <a:pt x="1378" y="284"/>
                    <a:pt x="1362" y="295"/>
                    <a:pt x="1362" y="299"/>
                  </a:cubicBezTo>
                  <a:cubicBezTo>
                    <a:pt x="1361" y="302"/>
                    <a:pt x="1351" y="306"/>
                    <a:pt x="1354" y="309"/>
                  </a:cubicBezTo>
                  <a:cubicBezTo>
                    <a:pt x="1358" y="313"/>
                    <a:pt x="1363" y="303"/>
                    <a:pt x="1365" y="302"/>
                  </a:cubicBezTo>
                  <a:cubicBezTo>
                    <a:pt x="1369" y="298"/>
                    <a:pt x="1385" y="292"/>
                    <a:pt x="1387" y="289"/>
                  </a:cubicBezTo>
                  <a:cubicBezTo>
                    <a:pt x="1391" y="283"/>
                    <a:pt x="1400" y="270"/>
                    <a:pt x="1401" y="264"/>
                  </a:cubicBezTo>
                  <a:cubicBezTo>
                    <a:pt x="1402" y="263"/>
                    <a:pt x="1403" y="259"/>
                    <a:pt x="1403" y="259"/>
                  </a:cubicBezTo>
                  <a:cubicBezTo>
                    <a:pt x="1407" y="257"/>
                    <a:pt x="1433" y="278"/>
                    <a:pt x="1437" y="273"/>
                  </a:cubicBezTo>
                  <a:cubicBezTo>
                    <a:pt x="1438" y="272"/>
                    <a:pt x="1405" y="253"/>
                    <a:pt x="1404" y="250"/>
                  </a:cubicBezTo>
                  <a:cubicBezTo>
                    <a:pt x="1404" y="246"/>
                    <a:pt x="1410" y="243"/>
                    <a:pt x="1410" y="239"/>
                  </a:cubicBezTo>
                  <a:cubicBezTo>
                    <a:pt x="1410" y="235"/>
                    <a:pt x="1403" y="233"/>
                    <a:pt x="1404" y="230"/>
                  </a:cubicBezTo>
                  <a:cubicBezTo>
                    <a:pt x="1405" y="228"/>
                    <a:pt x="1410" y="230"/>
                    <a:pt x="1412" y="229"/>
                  </a:cubicBezTo>
                  <a:cubicBezTo>
                    <a:pt x="1439" y="222"/>
                    <a:pt x="1430" y="208"/>
                    <a:pt x="1456" y="200"/>
                  </a:cubicBezTo>
                  <a:cubicBezTo>
                    <a:pt x="1462" y="197"/>
                    <a:pt x="1454" y="204"/>
                    <a:pt x="1452" y="204"/>
                  </a:cubicBezTo>
                  <a:cubicBezTo>
                    <a:pt x="1441" y="210"/>
                    <a:pt x="1441" y="222"/>
                    <a:pt x="1450" y="226"/>
                  </a:cubicBezTo>
                  <a:cubicBezTo>
                    <a:pt x="1455" y="227"/>
                    <a:pt x="1450" y="214"/>
                    <a:pt x="1459" y="212"/>
                  </a:cubicBezTo>
                  <a:cubicBezTo>
                    <a:pt x="1473" y="209"/>
                    <a:pt x="1460" y="222"/>
                    <a:pt x="1463" y="222"/>
                  </a:cubicBezTo>
                  <a:cubicBezTo>
                    <a:pt x="1471" y="223"/>
                    <a:pt x="1469" y="213"/>
                    <a:pt x="1469" y="209"/>
                  </a:cubicBezTo>
                  <a:cubicBezTo>
                    <a:pt x="1470" y="204"/>
                    <a:pt x="1480" y="209"/>
                    <a:pt x="1480" y="206"/>
                  </a:cubicBezTo>
                  <a:cubicBezTo>
                    <a:pt x="1480" y="203"/>
                    <a:pt x="1459" y="196"/>
                    <a:pt x="1478" y="188"/>
                  </a:cubicBezTo>
                  <a:cubicBezTo>
                    <a:pt x="1478" y="188"/>
                    <a:pt x="1479" y="187"/>
                    <a:pt x="1479" y="187"/>
                  </a:cubicBezTo>
                  <a:cubicBezTo>
                    <a:pt x="1495" y="183"/>
                    <a:pt x="1538" y="235"/>
                    <a:pt x="1546" y="234"/>
                  </a:cubicBezTo>
                  <a:cubicBezTo>
                    <a:pt x="1552" y="233"/>
                    <a:pt x="1544" y="223"/>
                    <a:pt x="1541" y="221"/>
                  </a:cubicBezTo>
                  <a:cubicBezTo>
                    <a:pt x="1525" y="211"/>
                    <a:pt x="1545" y="222"/>
                    <a:pt x="1541" y="214"/>
                  </a:cubicBezTo>
                  <a:cubicBezTo>
                    <a:pt x="1539" y="209"/>
                    <a:pt x="1532" y="210"/>
                    <a:pt x="1531" y="201"/>
                  </a:cubicBezTo>
                  <a:cubicBezTo>
                    <a:pt x="1531" y="199"/>
                    <a:pt x="1534" y="199"/>
                    <a:pt x="1533" y="197"/>
                  </a:cubicBezTo>
                  <a:cubicBezTo>
                    <a:pt x="1526" y="186"/>
                    <a:pt x="1553" y="209"/>
                    <a:pt x="1545" y="191"/>
                  </a:cubicBezTo>
                  <a:cubicBezTo>
                    <a:pt x="1544" y="189"/>
                    <a:pt x="1552" y="188"/>
                    <a:pt x="1550" y="186"/>
                  </a:cubicBezTo>
                  <a:cubicBezTo>
                    <a:pt x="1547" y="183"/>
                    <a:pt x="1523" y="195"/>
                    <a:pt x="1522" y="186"/>
                  </a:cubicBezTo>
                  <a:cubicBezTo>
                    <a:pt x="1521" y="182"/>
                    <a:pt x="1541" y="182"/>
                    <a:pt x="1544" y="179"/>
                  </a:cubicBezTo>
                  <a:cubicBezTo>
                    <a:pt x="1544" y="178"/>
                    <a:pt x="1550" y="174"/>
                    <a:pt x="1548" y="173"/>
                  </a:cubicBezTo>
                  <a:cubicBezTo>
                    <a:pt x="1541" y="170"/>
                    <a:pt x="1523" y="184"/>
                    <a:pt x="1514" y="182"/>
                  </a:cubicBezTo>
                  <a:cubicBezTo>
                    <a:pt x="1510" y="181"/>
                    <a:pt x="1492" y="175"/>
                    <a:pt x="1491" y="172"/>
                  </a:cubicBezTo>
                  <a:cubicBezTo>
                    <a:pt x="1491" y="169"/>
                    <a:pt x="1497" y="164"/>
                    <a:pt x="1494" y="163"/>
                  </a:cubicBezTo>
                  <a:cubicBezTo>
                    <a:pt x="1487" y="161"/>
                    <a:pt x="1472" y="168"/>
                    <a:pt x="1469" y="158"/>
                  </a:cubicBezTo>
                  <a:cubicBezTo>
                    <a:pt x="1468" y="156"/>
                    <a:pt x="1487" y="146"/>
                    <a:pt x="1490" y="148"/>
                  </a:cubicBezTo>
                  <a:cubicBezTo>
                    <a:pt x="1491" y="149"/>
                    <a:pt x="1489" y="151"/>
                    <a:pt x="1490" y="152"/>
                  </a:cubicBezTo>
                  <a:cubicBezTo>
                    <a:pt x="1493" y="168"/>
                    <a:pt x="1495" y="138"/>
                    <a:pt x="1502" y="140"/>
                  </a:cubicBezTo>
                  <a:cubicBezTo>
                    <a:pt x="1508" y="141"/>
                    <a:pt x="1521" y="166"/>
                    <a:pt x="1528" y="168"/>
                  </a:cubicBezTo>
                  <a:cubicBezTo>
                    <a:pt x="1529" y="168"/>
                    <a:pt x="1528" y="159"/>
                    <a:pt x="1528" y="159"/>
                  </a:cubicBezTo>
                  <a:cubicBezTo>
                    <a:pt x="1532" y="156"/>
                    <a:pt x="1522" y="157"/>
                    <a:pt x="1522" y="151"/>
                  </a:cubicBezTo>
                  <a:cubicBezTo>
                    <a:pt x="1523" y="148"/>
                    <a:pt x="1534" y="142"/>
                    <a:pt x="1538" y="140"/>
                  </a:cubicBezTo>
                  <a:cubicBezTo>
                    <a:pt x="1538" y="140"/>
                    <a:pt x="1540" y="139"/>
                    <a:pt x="1540" y="139"/>
                  </a:cubicBezTo>
                  <a:cubicBezTo>
                    <a:pt x="1542" y="140"/>
                    <a:pt x="1543" y="141"/>
                    <a:pt x="1541" y="142"/>
                  </a:cubicBezTo>
                  <a:cubicBezTo>
                    <a:pt x="1533" y="150"/>
                    <a:pt x="1544" y="143"/>
                    <a:pt x="1547" y="142"/>
                  </a:cubicBezTo>
                  <a:cubicBezTo>
                    <a:pt x="1553" y="141"/>
                    <a:pt x="1545" y="153"/>
                    <a:pt x="1551" y="153"/>
                  </a:cubicBezTo>
                  <a:cubicBezTo>
                    <a:pt x="1551" y="154"/>
                    <a:pt x="1564" y="132"/>
                    <a:pt x="1568" y="147"/>
                  </a:cubicBezTo>
                  <a:cubicBezTo>
                    <a:pt x="1569" y="150"/>
                    <a:pt x="1564" y="152"/>
                    <a:pt x="1563" y="154"/>
                  </a:cubicBezTo>
                  <a:cubicBezTo>
                    <a:pt x="1561" y="157"/>
                    <a:pt x="1569" y="164"/>
                    <a:pt x="1563" y="167"/>
                  </a:cubicBezTo>
                  <a:cubicBezTo>
                    <a:pt x="1563" y="167"/>
                    <a:pt x="1560" y="168"/>
                    <a:pt x="1561" y="169"/>
                  </a:cubicBezTo>
                  <a:cubicBezTo>
                    <a:pt x="1563" y="171"/>
                    <a:pt x="1573" y="169"/>
                    <a:pt x="1577" y="169"/>
                  </a:cubicBezTo>
                  <a:cubicBezTo>
                    <a:pt x="1580" y="170"/>
                    <a:pt x="1588" y="176"/>
                    <a:pt x="1589" y="171"/>
                  </a:cubicBezTo>
                  <a:cubicBezTo>
                    <a:pt x="1590" y="168"/>
                    <a:pt x="1556" y="166"/>
                    <a:pt x="1573" y="151"/>
                  </a:cubicBezTo>
                  <a:cubicBezTo>
                    <a:pt x="1573" y="151"/>
                    <a:pt x="1574" y="150"/>
                    <a:pt x="1574" y="150"/>
                  </a:cubicBezTo>
                  <a:cubicBezTo>
                    <a:pt x="1583" y="146"/>
                    <a:pt x="1591" y="157"/>
                    <a:pt x="1595" y="157"/>
                  </a:cubicBezTo>
                  <a:cubicBezTo>
                    <a:pt x="1598" y="156"/>
                    <a:pt x="1627" y="155"/>
                    <a:pt x="1627" y="160"/>
                  </a:cubicBezTo>
                  <a:cubicBezTo>
                    <a:pt x="1627" y="177"/>
                    <a:pt x="1565" y="178"/>
                    <a:pt x="1565" y="185"/>
                  </a:cubicBezTo>
                  <a:cubicBezTo>
                    <a:pt x="1565" y="185"/>
                    <a:pt x="1579" y="182"/>
                    <a:pt x="1581" y="182"/>
                  </a:cubicBezTo>
                  <a:cubicBezTo>
                    <a:pt x="1594" y="180"/>
                    <a:pt x="1613" y="180"/>
                    <a:pt x="1623" y="172"/>
                  </a:cubicBezTo>
                  <a:cubicBezTo>
                    <a:pt x="1625" y="171"/>
                    <a:pt x="1627" y="169"/>
                    <a:pt x="1629" y="169"/>
                  </a:cubicBezTo>
                  <a:cubicBezTo>
                    <a:pt x="1630" y="169"/>
                    <a:pt x="1630" y="169"/>
                    <a:pt x="1630" y="170"/>
                  </a:cubicBezTo>
                  <a:cubicBezTo>
                    <a:pt x="1631" y="172"/>
                    <a:pt x="1629" y="181"/>
                    <a:pt x="1630" y="186"/>
                  </a:cubicBezTo>
                  <a:cubicBezTo>
                    <a:pt x="1631" y="188"/>
                    <a:pt x="1644" y="184"/>
                    <a:pt x="1642" y="196"/>
                  </a:cubicBezTo>
                  <a:cubicBezTo>
                    <a:pt x="1642" y="197"/>
                    <a:pt x="1637" y="199"/>
                    <a:pt x="1638" y="200"/>
                  </a:cubicBezTo>
                  <a:cubicBezTo>
                    <a:pt x="1642" y="200"/>
                    <a:pt x="1652" y="190"/>
                    <a:pt x="1657" y="192"/>
                  </a:cubicBezTo>
                  <a:cubicBezTo>
                    <a:pt x="1661" y="193"/>
                    <a:pt x="1657" y="200"/>
                    <a:pt x="1657" y="200"/>
                  </a:cubicBezTo>
                  <a:cubicBezTo>
                    <a:pt x="1659" y="200"/>
                    <a:pt x="1662" y="197"/>
                    <a:pt x="1664" y="196"/>
                  </a:cubicBezTo>
                  <a:cubicBezTo>
                    <a:pt x="1696" y="186"/>
                    <a:pt x="1647" y="189"/>
                    <a:pt x="1644" y="177"/>
                  </a:cubicBezTo>
                  <a:cubicBezTo>
                    <a:pt x="1644" y="173"/>
                    <a:pt x="1668" y="176"/>
                    <a:pt x="1665" y="169"/>
                  </a:cubicBezTo>
                  <a:cubicBezTo>
                    <a:pt x="1664" y="167"/>
                    <a:pt x="1656" y="168"/>
                    <a:pt x="1656" y="165"/>
                  </a:cubicBezTo>
                  <a:cubicBezTo>
                    <a:pt x="1656" y="164"/>
                    <a:pt x="1671" y="161"/>
                    <a:pt x="1665" y="160"/>
                  </a:cubicBezTo>
                  <a:cubicBezTo>
                    <a:pt x="1663" y="160"/>
                    <a:pt x="1648" y="159"/>
                    <a:pt x="1650" y="157"/>
                  </a:cubicBezTo>
                  <a:cubicBezTo>
                    <a:pt x="1653" y="153"/>
                    <a:pt x="1676" y="155"/>
                    <a:pt x="1676" y="152"/>
                  </a:cubicBezTo>
                  <a:cubicBezTo>
                    <a:pt x="1676" y="149"/>
                    <a:pt x="1655" y="152"/>
                    <a:pt x="1656" y="150"/>
                  </a:cubicBezTo>
                  <a:cubicBezTo>
                    <a:pt x="1658" y="145"/>
                    <a:pt x="1684" y="145"/>
                    <a:pt x="1683" y="143"/>
                  </a:cubicBezTo>
                  <a:cubicBezTo>
                    <a:pt x="1683" y="142"/>
                    <a:pt x="1670" y="141"/>
                    <a:pt x="1670" y="141"/>
                  </a:cubicBezTo>
                  <a:cubicBezTo>
                    <a:pt x="1667" y="137"/>
                    <a:pt x="1705" y="113"/>
                    <a:pt x="1709" y="112"/>
                  </a:cubicBezTo>
                  <a:cubicBezTo>
                    <a:pt x="1717" y="110"/>
                    <a:pt x="1748" y="119"/>
                    <a:pt x="1750" y="118"/>
                  </a:cubicBezTo>
                  <a:cubicBezTo>
                    <a:pt x="1757" y="113"/>
                    <a:pt x="1727" y="113"/>
                    <a:pt x="1727" y="104"/>
                  </a:cubicBezTo>
                  <a:cubicBezTo>
                    <a:pt x="1727" y="100"/>
                    <a:pt x="1739" y="97"/>
                    <a:pt x="1741" y="94"/>
                  </a:cubicBezTo>
                  <a:cubicBezTo>
                    <a:pt x="1745" y="91"/>
                    <a:pt x="1741" y="80"/>
                    <a:pt x="1750" y="80"/>
                  </a:cubicBezTo>
                  <a:cubicBezTo>
                    <a:pt x="1751" y="80"/>
                    <a:pt x="1762" y="82"/>
                    <a:pt x="1763" y="84"/>
                  </a:cubicBezTo>
                  <a:cubicBezTo>
                    <a:pt x="1765" y="86"/>
                    <a:pt x="1787" y="99"/>
                    <a:pt x="1784" y="87"/>
                  </a:cubicBezTo>
                  <a:cubicBezTo>
                    <a:pt x="1780" y="75"/>
                    <a:pt x="1762" y="71"/>
                    <a:pt x="1750" y="68"/>
                  </a:cubicBezTo>
                  <a:cubicBezTo>
                    <a:pt x="1748" y="68"/>
                    <a:pt x="1739" y="69"/>
                    <a:pt x="1740" y="66"/>
                  </a:cubicBezTo>
                  <a:cubicBezTo>
                    <a:pt x="1745" y="34"/>
                    <a:pt x="1762" y="71"/>
                    <a:pt x="1775" y="66"/>
                  </a:cubicBezTo>
                  <a:cubicBezTo>
                    <a:pt x="1777" y="65"/>
                    <a:pt x="1773" y="55"/>
                    <a:pt x="1772" y="54"/>
                  </a:cubicBezTo>
                  <a:cubicBezTo>
                    <a:pt x="1771" y="51"/>
                    <a:pt x="1786" y="53"/>
                    <a:pt x="1781" y="50"/>
                  </a:cubicBezTo>
                  <a:cubicBezTo>
                    <a:pt x="1780" y="50"/>
                    <a:pt x="1772" y="47"/>
                    <a:pt x="1772" y="46"/>
                  </a:cubicBezTo>
                  <a:cubicBezTo>
                    <a:pt x="1773" y="45"/>
                    <a:pt x="1767" y="40"/>
                    <a:pt x="1771" y="39"/>
                  </a:cubicBezTo>
                  <a:cubicBezTo>
                    <a:pt x="1781" y="37"/>
                    <a:pt x="1771" y="34"/>
                    <a:pt x="1772" y="34"/>
                  </a:cubicBezTo>
                  <a:cubicBezTo>
                    <a:pt x="1786" y="27"/>
                    <a:pt x="1793" y="46"/>
                    <a:pt x="1793" y="46"/>
                  </a:cubicBezTo>
                  <a:cubicBezTo>
                    <a:pt x="1804" y="47"/>
                    <a:pt x="1808" y="29"/>
                    <a:pt x="1813" y="38"/>
                  </a:cubicBezTo>
                  <a:cubicBezTo>
                    <a:pt x="1817" y="43"/>
                    <a:pt x="1794" y="50"/>
                    <a:pt x="1800" y="52"/>
                  </a:cubicBezTo>
                  <a:cubicBezTo>
                    <a:pt x="1809" y="54"/>
                    <a:pt x="1821" y="43"/>
                    <a:pt x="1821" y="43"/>
                  </a:cubicBezTo>
                  <a:cubicBezTo>
                    <a:pt x="1825" y="46"/>
                    <a:pt x="1832" y="55"/>
                    <a:pt x="1830" y="61"/>
                  </a:cubicBezTo>
                  <a:cubicBezTo>
                    <a:pt x="1830" y="61"/>
                    <a:pt x="1828" y="64"/>
                    <a:pt x="1830" y="64"/>
                  </a:cubicBezTo>
                  <a:cubicBezTo>
                    <a:pt x="1849" y="64"/>
                    <a:pt x="1836" y="35"/>
                    <a:pt x="1839" y="35"/>
                  </a:cubicBezTo>
                  <a:cubicBezTo>
                    <a:pt x="1840" y="34"/>
                    <a:pt x="1842" y="35"/>
                    <a:pt x="1843" y="35"/>
                  </a:cubicBezTo>
                  <a:cubicBezTo>
                    <a:pt x="1862" y="44"/>
                    <a:pt x="1844" y="53"/>
                    <a:pt x="1847" y="55"/>
                  </a:cubicBezTo>
                  <a:cubicBezTo>
                    <a:pt x="1847" y="55"/>
                    <a:pt x="1847" y="56"/>
                    <a:pt x="1848" y="56"/>
                  </a:cubicBezTo>
                  <a:cubicBezTo>
                    <a:pt x="1850" y="57"/>
                    <a:pt x="1851" y="53"/>
                    <a:pt x="1852" y="52"/>
                  </a:cubicBezTo>
                  <a:cubicBezTo>
                    <a:pt x="1855" y="49"/>
                    <a:pt x="1866" y="47"/>
                    <a:pt x="1870" y="48"/>
                  </a:cubicBezTo>
                  <a:cubicBezTo>
                    <a:pt x="1871" y="48"/>
                    <a:pt x="1875" y="56"/>
                    <a:pt x="1877" y="52"/>
                  </a:cubicBezTo>
                  <a:cubicBezTo>
                    <a:pt x="1878" y="49"/>
                    <a:pt x="1886" y="44"/>
                    <a:pt x="1888" y="48"/>
                  </a:cubicBezTo>
                  <a:cubicBezTo>
                    <a:pt x="1891" y="54"/>
                    <a:pt x="1837" y="95"/>
                    <a:pt x="1822" y="104"/>
                  </a:cubicBezTo>
                  <a:cubicBezTo>
                    <a:pt x="1821" y="105"/>
                    <a:pt x="1815" y="108"/>
                    <a:pt x="1815" y="109"/>
                  </a:cubicBezTo>
                  <a:cubicBezTo>
                    <a:pt x="1816" y="112"/>
                    <a:pt x="1830" y="103"/>
                    <a:pt x="1833" y="109"/>
                  </a:cubicBezTo>
                  <a:cubicBezTo>
                    <a:pt x="1835" y="116"/>
                    <a:pt x="1813" y="112"/>
                    <a:pt x="1814" y="115"/>
                  </a:cubicBezTo>
                  <a:cubicBezTo>
                    <a:pt x="1815" y="121"/>
                    <a:pt x="1831" y="114"/>
                    <a:pt x="1832" y="118"/>
                  </a:cubicBezTo>
                  <a:cubicBezTo>
                    <a:pt x="1838" y="133"/>
                    <a:pt x="1814" y="124"/>
                    <a:pt x="1815" y="134"/>
                  </a:cubicBezTo>
                  <a:cubicBezTo>
                    <a:pt x="1815" y="138"/>
                    <a:pt x="1831" y="140"/>
                    <a:pt x="1821" y="144"/>
                  </a:cubicBezTo>
                  <a:cubicBezTo>
                    <a:pt x="1812" y="147"/>
                    <a:pt x="1790" y="176"/>
                    <a:pt x="1807" y="181"/>
                  </a:cubicBezTo>
                  <a:cubicBezTo>
                    <a:pt x="1810" y="182"/>
                    <a:pt x="1812" y="181"/>
                    <a:pt x="1811" y="178"/>
                  </a:cubicBezTo>
                  <a:cubicBezTo>
                    <a:pt x="1806" y="165"/>
                    <a:pt x="1813" y="170"/>
                    <a:pt x="1818" y="170"/>
                  </a:cubicBezTo>
                  <a:cubicBezTo>
                    <a:pt x="1821" y="170"/>
                    <a:pt x="1814" y="177"/>
                    <a:pt x="1816" y="178"/>
                  </a:cubicBezTo>
                  <a:cubicBezTo>
                    <a:pt x="1824" y="184"/>
                    <a:pt x="1847" y="154"/>
                    <a:pt x="1853" y="149"/>
                  </a:cubicBezTo>
                  <a:cubicBezTo>
                    <a:pt x="1862" y="139"/>
                    <a:pt x="1840" y="144"/>
                    <a:pt x="1847" y="135"/>
                  </a:cubicBezTo>
                  <a:cubicBezTo>
                    <a:pt x="1865" y="114"/>
                    <a:pt x="1894" y="93"/>
                    <a:pt x="1908" y="76"/>
                  </a:cubicBezTo>
                  <a:cubicBezTo>
                    <a:pt x="1908" y="76"/>
                    <a:pt x="1909" y="75"/>
                    <a:pt x="1909" y="74"/>
                  </a:cubicBezTo>
                  <a:cubicBezTo>
                    <a:pt x="1913" y="66"/>
                    <a:pt x="1921" y="63"/>
                    <a:pt x="1926" y="56"/>
                  </a:cubicBezTo>
                  <a:cubicBezTo>
                    <a:pt x="1928" y="53"/>
                    <a:pt x="1955" y="31"/>
                    <a:pt x="1958" y="37"/>
                  </a:cubicBezTo>
                  <a:cubicBezTo>
                    <a:pt x="1960" y="42"/>
                    <a:pt x="1961" y="71"/>
                    <a:pt x="1954" y="77"/>
                  </a:cubicBezTo>
                  <a:cubicBezTo>
                    <a:pt x="1951" y="80"/>
                    <a:pt x="1926" y="83"/>
                    <a:pt x="1927" y="88"/>
                  </a:cubicBezTo>
                  <a:cubicBezTo>
                    <a:pt x="1927" y="90"/>
                    <a:pt x="1935" y="87"/>
                    <a:pt x="1936" y="86"/>
                  </a:cubicBezTo>
                  <a:cubicBezTo>
                    <a:pt x="1940" y="85"/>
                    <a:pt x="1952" y="84"/>
                    <a:pt x="1954" y="88"/>
                  </a:cubicBezTo>
                  <a:cubicBezTo>
                    <a:pt x="1961" y="100"/>
                    <a:pt x="1936" y="119"/>
                    <a:pt x="1941" y="133"/>
                  </a:cubicBezTo>
                  <a:cubicBezTo>
                    <a:pt x="1944" y="140"/>
                    <a:pt x="1964" y="117"/>
                    <a:pt x="1967" y="114"/>
                  </a:cubicBezTo>
                  <a:cubicBezTo>
                    <a:pt x="1971" y="112"/>
                    <a:pt x="1993" y="121"/>
                    <a:pt x="1994" y="116"/>
                  </a:cubicBezTo>
                  <a:cubicBezTo>
                    <a:pt x="1995" y="112"/>
                    <a:pt x="1979" y="107"/>
                    <a:pt x="1983" y="100"/>
                  </a:cubicBezTo>
                  <a:cubicBezTo>
                    <a:pt x="1988" y="91"/>
                    <a:pt x="1993" y="95"/>
                    <a:pt x="2001" y="96"/>
                  </a:cubicBezTo>
                  <a:cubicBezTo>
                    <a:pt x="2002" y="96"/>
                    <a:pt x="2010" y="98"/>
                    <a:pt x="2009" y="97"/>
                  </a:cubicBezTo>
                  <a:cubicBezTo>
                    <a:pt x="2008" y="94"/>
                    <a:pt x="1993" y="90"/>
                    <a:pt x="1994" y="88"/>
                  </a:cubicBezTo>
                  <a:cubicBezTo>
                    <a:pt x="1996" y="79"/>
                    <a:pt x="1993" y="78"/>
                    <a:pt x="1997" y="72"/>
                  </a:cubicBezTo>
                  <a:cubicBezTo>
                    <a:pt x="2000" y="68"/>
                    <a:pt x="2012" y="74"/>
                    <a:pt x="2014" y="73"/>
                  </a:cubicBezTo>
                  <a:cubicBezTo>
                    <a:pt x="2017" y="70"/>
                    <a:pt x="2007" y="66"/>
                    <a:pt x="2013" y="59"/>
                  </a:cubicBezTo>
                  <a:cubicBezTo>
                    <a:pt x="2015" y="56"/>
                    <a:pt x="2029" y="61"/>
                    <a:pt x="2033" y="61"/>
                  </a:cubicBezTo>
                  <a:cubicBezTo>
                    <a:pt x="2036" y="61"/>
                    <a:pt x="2044" y="63"/>
                    <a:pt x="2041" y="62"/>
                  </a:cubicBezTo>
                  <a:cubicBezTo>
                    <a:pt x="2027" y="59"/>
                    <a:pt x="2027" y="52"/>
                    <a:pt x="2022" y="44"/>
                  </a:cubicBezTo>
                  <a:cubicBezTo>
                    <a:pt x="2021" y="43"/>
                    <a:pt x="2017" y="48"/>
                    <a:pt x="2016" y="49"/>
                  </a:cubicBezTo>
                  <a:cubicBezTo>
                    <a:pt x="2011" y="49"/>
                    <a:pt x="1998" y="49"/>
                    <a:pt x="1996" y="43"/>
                  </a:cubicBezTo>
                  <a:cubicBezTo>
                    <a:pt x="1991" y="28"/>
                    <a:pt x="2014" y="43"/>
                    <a:pt x="2016" y="40"/>
                  </a:cubicBezTo>
                  <a:cubicBezTo>
                    <a:pt x="2019" y="36"/>
                    <a:pt x="2004" y="31"/>
                    <a:pt x="2005" y="28"/>
                  </a:cubicBezTo>
                  <a:cubicBezTo>
                    <a:pt x="2006" y="12"/>
                    <a:pt x="2033" y="39"/>
                    <a:pt x="2035" y="38"/>
                  </a:cubicBezTo>
                  <a:cubicBezTo>
                    <a:pt x="2042" y="33"/>
                    <a:pt x="2021" y="19"/>
                    <a:pt x="2044" y="10"/>
                  </a:cubicBezTo>
                  <a:cubicBezTo>
                    <a:pt x="2047" y="8"/>
                    <a:pt x="2046" y="17"/>
                    <a:pt x="2047" y="20"/>
                  </a:cubicBezTo>
                  <a:cubicBezTo>
                    <a:pt x="2048" y="21"/>
                    <a:pt x="2061" y="24"/>
                    <a:pt x="2063" y="24"/>
                  </a:cubicBezTo>
                  <a:cubicBezTo>
                    <a:pt x="2071" y="27"/>
                    <a:pt x="2093" y="14"/>
                    <a:pt x="2096" y="18"/>
                  </a:cubicBezTo>
                  <a:cubicBezTo>
                    <a:pt x="2102" y="24"/>
                    <a:pt x="2087" y="30"/>
                    <a:pt x="2093" y="34"/>
                  </a:cubicBezTo>
                  <a:cubicBezTo>
                    <a:pt x="2098" y="37"/>
                    <a:pt x="2115" y="22"/>
                    <a:pt x="2123" y="34"/>
                  </a:cubicBezTo>
                  <a:cubicBezTo>
                    <a:pt x="2130" y="43"/>
                    <a:pt x="2109" y="48"/>
                    <a:pt x="2107" y="49"/>
                  </a:cubicBezTo>
                  <a:cubicBezTo>
                    <a:pt x="2106" y="50"/>
                    <a:pt x="2117" y="50"/>
                    <a:pt x="2113" y="53"/>
                  </a:cubicBezTo>
                  <a:cubicBezTo>
                    <a:pt x="2109" y="56"/>
                    <a:pt x="2097" y="55"/>
                    <a:pt x="2095" y="58"/>
                  </a:cubicBezTo>
                  <a:cubicBezTo>
                    <a:pt x="2093" y="59"/>
                    <a:pt x="2106" y="60"/>
                    <a:pt x="2097" y="64"/>
                  </a:cubicBezTo>
                  <a:cubicBezTo>
                    <a:pt x="2090" y="68"/>
                    <a:pt x="2056" y="58"/>
                    <a:pt x="2053" y="65"/>
                  </a:cubicBezTo>
                  <a:cubicBezTo>
                    <a:pt x="2053" y="66"/>
                    <a:pt x="2061" y="66"/>
                    <a:pt x="2059" y="68"/>
                  </a:cubicBezTo>
                  <a:cubicBezTo>
                    <a:pt x="2052" y="75"/>
                    <a:pt x="2057" y="70"/>
                    <a:pt x="2063" y="68"/>
                  </a:cubicBezTo>
                  <a:cubicBezTo>
                    <a:pt x="2069" y="67"/>
                    <a:pt x="2074" y="71"/>
                    <a:pt x="2080" y="71"/>
                  </a:cubicBezTo>
                  <a:cubicBezTo>
                    <a:pt x="2081" y="71"/>
                    <a:pt x="2086" y="72"/>
                    <a:pt x="2086" y="73"/>
                  </a:cubicBezTo>
                  <a:cubicBezTo>
                    <a:pt x="2086" y="78"/>
                    <a:pt x="2055" y="90"/>
                    <a:pt x="2050" y="92"/>
                  </a:cubicBezTo>
                  <a:cubicBezTo>
                    <a:pt x="2050" y="92"/>
                    <a:pt x="2043" y="93"/>
                    <a:pt x="2043" y="94"/>
                  </a:cubicBezTo>
                  <a:cubicBezTo>
                    <a:pt x="2046" y="100"/>
                    <a:pt x="2090" y="79"/>
                    <a:pt x="2096" y="77"/>
                  </a:cubicBezTo>
                  <a:cubicBezTo>
                    <a:pt x="2097" y="77"/>
                    <a:pt x="2100" y="74"/>
                    <a:pt x="2101" y="76"/>
                  </a:cubicBezTo>
                  <a:cubicBezTo>
                    <a:pt x="2114" y="95"/>
                    <a:pt x="2061" y="105"/>
                    <a:pt x="2061" y="114"/>
                  </a:cubicBezTo>
                  <a:cubicBezTo>
                    <a:pt x="2061" y="115"/>
                    <a:pt x="2063" y="117"/>
                    <a:pt x="2064" y="118"/>
                  </a:cubicBezTo>
                  <a:cubicBezTo>
                    <a:pt x="2065" y="127"/>
                    <a:pt x="2072" y="104"/>
                    <a:pt x="2090" y="110"/>
                  </a:cubicBezTo>
                  <a:cubicBezTo>
                    <a:pt x="2091" y="110"/>
                    <a:pt x="2083" y="115"/>
                    <a:pt x="2081" y="116"/>
                  </a:cubicBezTo>
                  <a:cubicBezTo>
                    <a:pt x="2080" y="117"/>
                    <a:pt x="2082" y="120"/>
                    <a:pt x="2084" y="121"/>
                  </a:cubicBezTo>
                  <a:cubicBezTo>
                    <a:pt x="2088" y="123"/>
                    <a:pt x="2096" y="103"/>
                    <a:pt x="2104" y="109"/>
                  </a:cubicBezTo>
                  <a:cubicBezTo>
                    <a:pt x="2105" y="109"/>
                    <a:pt x="2089" y="129"/>
                    <a:pt x="2088" y="132"/>
                  </a:cubicBezTo>
                  <a:cubicBezTo>
                    <a:pt x="2086" y="142"/>
                    <a:pt x="2093" y="160"/>
                    <a:pt x="2089" y="170"/>
                  </a:cubicBezTo>
                  <a:cubicBezTo>
                    <a:pt x="2086" y="176"/>
                    <a:pt x="2078" y="177"/>
                    <a:pt x="2076" y="180"/>
                  </a:cubicBezTo>
                  <a:cubicBezTo>
                    <a:pt x="2075" y="181"/>
                    <a:pt x="2083" y="180"/>
                    <a:pt x="2084" y="180"/>
                  </a:cubicBezTo>
                  <a:cubicBezTo>
                    <a:pt x="2088" y="177"/>
                    <a:pt x="2094" y="169"/>
                    <a:pt x="2095" y="164"/>
                  </a:cubicBezTo>
                  <a:cubicBezTo>
                    <a:pt x="2099" y="150"/>
                    <a:pt x="2088" y="124"/>
                    <a:pt x="2107" y="115"/>
                  </a:cubicBezTo>
                  <a:cubicBezTo>
                    <a:pt x="2116" y="110"/>
                    <a:pt x="2118" y="121"/>
                    <a:pt x="2120" y="120"/>
                  </a:cubicBezTo>
                  <a:cubicBezTo>
                    <a:pt x="2122" y="118"/>
                    <a:pt x="2118" y="114"/>
                    <a:pt x="2121" y="112"/>
                  </a:cubicBezTo>
                  <a:cubicBezTo>
                    <a:pt x="2121" y="112"/>
                    <a:pt x="2125" y="110"/>
                    <a:pt x="2124" y="110"/>
                  </a:cubicBezTo>
                  <a:cubicBezTo>
                    <a:pt x="2121" y="107"/>
                    <a:pt x="2112" y="109"/>
                    <a:pt x="2110" y="104"/>
                  </a:cubicBezTo>
                  <a:cubicBezTo>
                    <a:pt x="2109" y="103"/>
                    <a:pt x="2111" y="101"/>
                    <a:pt x="2112" y="100"/>
                  </a:cubicBezTo>
                  <a:cubicBezTo>
                    <a:pt x="2114" y="96"/>
                    <a:pt x="2116" y="85"/>
                    <a:pt x="2120" y="82"/>
                  </a:cubicBezTo>
                  <a:cubicBezTo>
                    <a:pt x="2122" y="80"/>
                    <a:pt x="2128" y="85"/>
                    <a:pt x="2130" y="83"/>
                  </a:cubicBezTo>
                  <a:cubicBezTo>
                    <a:pt x="2132" y="81"/>
                    <a:pt x="2120" y="79"/>
                    <a:pt x="2121" y="75"/>
                  </a:cubicBezTo>
                  <a:cubicBezTo>
                    <a:pt x="2123" y="67"/>
                    <a:pt x="2141" y="53"/>
                    <a:pt x="2148" y="50"/>
                  </a:cubicBezTo>
                  <a:cubicBezTo>
                    <a:pt x="2149" y="49"/>
                    <a:pt x="2150" y="49"/>
                    <a:pt x="2151" y="49"/>
                  </a:cubicBezTo>
                  <a:cubicBezTo>
                    <a:pt x="2159" y="48"/>
                    <a:pt x="2196" y="57"/>
                    <a:pt x="2200" y="65"/>
                  </a:cubicBezTo>
                  <a:cubicBezTo>
                    <a:pt x="2200" y="66"/>
                    <a:pt x="2196" y="69"/>
                    <a:pt x="2195" y="69"/>
                  </a:cubicBezTo>
                  <a:cubicBezTo>
                    <a:pt x="2189" y="74"/>
                    <a:pt x="2191" y="74"/>
                    <a:pt x="2199" y="73"/>
                  </a:cubicBezTo>
                  <a:cubicBezTo>
                    <a:pt x="2206" y="72"/>
                    <a:pt x="2190" y="76"/>
                    <a:pt x="2193" y="77"/>
                  </a:cubicBezTo>
                  <a:cubicBezTo>
                    <a:pt x="2194" y="77"/>
                    <a:pt x="2197" y="77"/>
                    <a:pt x="2196" y="79"/>
                  </a:cubicBezTo>
                  <a:cubicBezTo>
                    <a:pt x="2196" y="80"/>
                    <a:pt x="2185" y="82"/>
                    <a:pt x="2189" y="86"/>
                  </a:cubicBezTo>
                  <a:cubicBezTo>
                    <a:pt x="2191" y="87"/>
                    <a:pt x="2227" y="68"/>
                    <a:pt x="2233" y="73"/>
                  </a:cubicBezTo>
                  <a:cubicBezTo>
                    <a:pt x="2240" y="80"/>
                    <a:pt x="2223" y="90"/>
                    <a:pt x="2224" y="92"/>
                  </a:cubicBezTo>
                  <a:cubicBezTo>
                    <a:pt x="2227" y="99"/>
                    <a:pt x="2250" y="77"/>
                    <a:pt x="2252" y="77"/>
                  </a:cubicBezTo>
                  <a:cubicBezTo>
                    <a:pt x="2259" y="76"/>
                    <a:pt x="2261" y="77"/>
                    <a:pt x="2266" y="80"/>
                  </a:cubicBezTo>
                  <a:cubicBezTo>
                    <a:pt x="2278" y="86"/>
                    <a:pt x="2260" y="86"/>
                    <a:pt x="2262" y="88"/>
                  </a:cubicBezTo>
                  <a:cubicBezTo>
                    <a:pt x="2263" y="89"/>
                    <a:pt x="2272" y="88"/>
                    <a:pt x="2274" y="90"/>
                  </a:cubicBezTo>
                  <a:cubicBezTo>
                    <a:pt x="2276" y="90"/>
                    <a:pt x="2284" y="93"/>
                    <a:pt x="2284" y="95"/>
                  </a:cubicBezTo>
                  <a:cubicBezTo>
                    <a:pt x="2283" y="102"/>
                    <a:pt x="2272" y="107"/>
                    <a:pt x="2265" y="106"/>
                  </a:cubicBezTo>
                  <a:cubicBezTo>
                    <a:pt x="2263" y="106"/>
                    <a:pt x="2253" y="104"/>
                    <a:pt x="2253" y="105"/>
                  </a:cubicBezTo>
                  <a:cubicBezTo>
                    <a:pt x="2263" y="117"/>
                    <a:pt x="2283" y="100"/>
                    <a:pt x="2294" y="101"/>
                  </a:cubicBezTo>
                  <a:cubicBezTo>
                    <a:pt x="2297" y="102"/>
                    <a:pt x="2304" y="103"/>
                    <a:pt x="2306" y="104"/>
                  </a:cubicBezTo>
                  <a:cubicBezTo>
                    <a:pt x="2307" y="105"/>
                    <a:pt x="2307" y="106"/>
                    <a:pt x="2306" y="107"/>
                  </a:cubicBezTo>
                  <a:cubicBezTo>
                    <a:pt x="2302" y="110"/>
                    <a:pt x="2304" y="110"/>
                    <a:pt x="2309" y="112"/>
                  </a:cubicBezTo>
                  <a:cubicBezTo>
                    <a:pt x="2315" y="114"/>
                    <a:pt x="2320" y="124"/>
                    <a:pt x="2325" y="125"/>
                  </a:cubicBezTo>
                  <a:cubicBezTo>
                    <a:pt x="2326" y="125"/>
                    <a:pt x="2349" y="114"/>
                    <a:pt x="2348" y="133"/>
                  </a:cubicBezTo>
                  <a:cubicBezTo>
                    <a:pt x="2346" y="165"/>
                    <a:pt x="2320" y="138"/>
                    <a:pt x="2299" y="152"/>
                  </a:cubicBezTo>
                  <a:cubicBezTo>
                    <a:pt x="2289" y="159"/>
                    <a:pt x="2275" y="180"/>
                    <a:pt x="2267" y="180"/>
                  </a:cubicBezTo>
                  <a:cubicBezTo>
                    <a:pt x="2234" y="183"/>
                    <a:pt x="2198" y="175"/>
                    <a:pt x="2165" y="170"/>
                  </a:cubicBezTo>
                  <a:cubicBezTo>
                    <a:pt x="2155" y="169"/>
                    <a:pt x="2147" y="162"/>
                    <a:pt x="2136" y="162"/>
                  </a:cubicBezTo>
                  <a:cubicBezTo>
                    <a:pt x="2134" y="163"/>
                    <a:pt x="2129" y="163"/>
                    <a:pt x="2128" y="165"/>
                  </a:cubicBezTo>
                  <a:cubicBezTo>
                    <a:pt x="2127" y="166"/>
                    <a:pt x="2138" y="167"/>
                    <a:pt x="2139" y="168"/>
                  </a:cubicBezTo>
                  <a:cubicBezTo>
                    <a:pt x="2140" y="169"/>
                    <a:pt x="2116" y="179"/>
                    <a:pt x="2140" y="176"/>
                  </a:cubicBezTo>
                  <a:cubicBezTo>
                    <a:pt x="2140" y="176"/>
                    <a:pt x="2152" y="174"/>
                    <a:pt x="2150" y="176"/>
                  </a:cubicBezTo>
                  <a:cubicBezTo>
                    <a:pt x="2148" y="179"/>
                    <a:pt x="2143" y="178"/>
                    <a:pt x="2158" y="179"/>
                  </a:cubicBezTo>
                  <a:cubicBezTo>
                    <a:pt x="2165" y="180"/>
                    <a:pt x="2170" y="180"/>
                    <a:pt x="2176" y="182"/>
                  </a:cubicBezTo>
                  <a:cubicBezTo>
                    <a:pt x="2176" y="182"/>
                    <a:pt x="2176" y="183"/>
                    <a:pt x="2176" y="183"/>
                  </a:cubicBezTo>
                  <a:cubicBezTo>
                    <a:pt x="2174" y="186"/>
                    <a:pt x="2186" y="184"/>
                    <a:pt x="2177" y="188"/>
                  </a:cubicBezTo>
                  <a:cubicBezTo>
                    <a:pt x="2176" y="188"/>
                    <a:pt x="2174" y="189"/>
                    <a:pt x="2176" y="190"/>
                  </a:cubicBezTo>
                  <a:cubicBezTo>
                    <a:pt x="2182" y="193"/>
                    <a:pt x="2201" y="189"/>
                    <a:pt x="2209" y="191"/>
                  </a:cubicBezTo>
                  <a:cubicBezTo>
                    <a:pt x="2209" y="191"/>
                    <a:pt x="2209" y="191"/>
                    <a:pt x="2209" y="191"/>
                  </a:cubicBezTo>
                  <a:cubicBezTo>
                    <a:pt x="2211" y="193"/>
                    <a:pt x="2213" y="194"/>
                    <a:pt x="2216" y="194"/>
                  </a:cubicBezTo>
                  <a:cubicBezTo>
                    <a:pt x="2237" y="199"/>
                    <a:pt x="2203" y="202"/>
                    <a:pt x="2201" y="210"/>
                  </a:cubicBezTo>
                  <a:cubicBezTo>
                    <a:pt x="2201" y="212"/>
                    <a:pt x="2195" y="212"/>
                    <a:pt x="2196" y="214"/>
                  </a:cubicBezTo>
                  <a:cubicBezTo>
                    <a:pt x="2197" y="216"/>
                    <a:pt x="2202" y="215"/>
                    <a:pt x="2203" y="213"/>
                  </a:cubicBezTo>
                  <a:cubicBezTo>
                    <a:pt x="2211" y="198"/>
                    <a:pt x="2229" y="206"/>
                    <a:pt x="2232" y="217"/>
                  </a:cubicBezTo>
                  <a:cubicBezTo>
                    <a:pt x="2234" y="223"/>
                    <a:pt x="2212" y="238"/>
                    <a:pt x="2213" y="239"/>
                  </a:cubicBezTo>
                  <a:cubicBezTo>
                    <a:pt x="2213" y="240"/>
                    <a:pt x="2206" y="245"/>
                    <a:pt x="2207" y="246"/>
                  </a:cubicBezTo>
                  <a:cubicBezTo>
                    <a:pt x="2208" y="247"/>
                    <a:pt x="2211" y="244"/>
                    <a:pt x="2212" y="243"/>
                  </a:cubicBezTo>
                  <a:cubicBezTo>
                    <a:pt x="2224" y="232"/>
                    <a:pt x="2229" y="235"/>
                    <a:pt x="2245" y="235"/>
                  </a:cubicBezTo>
                  <a:cubicBezTo>
                    <a:pt x="2246" y="235"/>
                    <a:pt x="2256" y="224"/>
                    <a:pt x="2259" y="228"/>
                  </a:cubicBezTo>
                  <a:cubicBezTo>
                    <a:pt x="2261" y="232"/>
                    <a:pt x="2247" y="238"/>
                    <a:pt x="2247" y="240"/>
                  </a:cubicBezTo>
                  <a:cubicBezTo>
                    <a:pt x="2247" y="242"/>
                    <a:pt x="2249" y="238"/>
                    <a:pt x="2251" y="238"/>
                  </a:cubicBezTo>
                  <a:cubicBezTo>
                    <a:pt x="2255" y="236"/>
                    <a:pt x="2256" y="236"/>
                    <a:pt x="2259" y="233"/>
                  </a:cubicBezTo>
                  <a:cubicBezTo>
                    <a:pt x="2260" y="232"/>
                    <a:pt x="2262" y="237"/>
                    <a:pt x="2263" y="238"/>
                  </a:cubicBezTo>
                  <a:cubicBezTo>
                    <a:pt x="2274" y="249"/>
                    <a:pt x="2258" y="208"/>
                    <a:pt x="2279" y="210"/>
                  </a:cubicBezTo>
                  <a:cubicBezTo>
                    <a:pt x="2288" y="211"/>
                    <a:pt x="2268" y="219"/>
                    <a:pt x="2285" y="217"/>
                  </a:cubicBezTo>
                  <a:cubicBezTo>
                    <a:pt x="2290" y="216"/>
                    <a:pt x="2292" y="238"/>
                    <a:pt x="2289" y="242"/>
                  </a:cubicBezTo>
                  <a:cubicBezTo>
                    <a:pt x="2288" y="243"/>
                    <a:pt x="2280" y="244"/>
                    <a:pt x="2286" y="245"/>
                  </a:cubicBezTo>
                  <a:cubicBezTo>
                    <a:pt x="2302" y="246"/>
                    <a:pt x="2288" y="224"/>
                    <a:pt x="2293" y="221"/>
                  </a:cubicBezTo>
                  <a:cubicBezTo>
                    <a:pt x="2295" y="220"/>
                    <a:pt x="2311" y="222"/>
                    <a:pt x="2329" y="225"/>
                  </a:cubicBezTo>
                  <a:cubicBezTo>
                    <a:pt x="2334" y="234"/>
                    <a:pt x="2338" y="239"/>
                    <a:pt x="2338" y="248"/>
                  </a:cubicBezTo>
                  <a:cubicBezTo>
                    <a:pt x="2338" y="294"/>
                    <a:pt x="2275" y="240"/>
                    <a:pt x="2260" y="247"/>
                  </a:cubicBezTo>
                  <a:cubicBezTo>
                    <a:pt x="2258" y="248"/>
                    <a:pt x="2264" y="249"/>
                    <a:pt x="2266" y="250"/>
                  </a:cubicBezTo>
                  <a:cubicBezTo>
                    <a:pt x="2277" y="256"/>
                    <a:pt x="2260" y="271"/>
                    <a:pt x="2256" y="274"/>
                  </a:cubicBezTo>
                  <a:cubicBezTo>
                    <a:pt x="2240" y="284"/>
                    <a:pt x="2204" y="286"/>
                    <a:pt x="2192" y="300"/>
                  </a:cubicBezTo>
                  <a:cubicBezTo>
                    <a:pt x="2185" y="309"/>
                    <a:pt x="2192" y="353"/>
                    <a:pt x="2165" y="345"/>
                  </a:cubicBezTo>
                  <a:cubicBezTo>
                    <a:pt x="2163" y="344"/>
                    <a:pt x="2161" y="344"/>
                    <a:pt x="2159" y="343"/>
                  </a:cubicBezTo>
                  <a:cubicBezTo>
                    <a:pt x="2108" y="324"/>
                    <a:pt x="2194" y="286"/>
                    <a:pt x="2190" y="271"/>
                  </a:cubicBezTo>
                  <a:cubicBezTo>
                    <a:pt x="2179" y="222"/>
                    <a:pt x="2102" y="233"/>
                    <a:pt x="2069" y="180"/>
                  </a:cubicBezTo>
                  <a:cubicBezTo>
                    <a:pt x="2037" y="176"/>
                    <a:pt x="2028" y="194"/>
                    <a:pt x="2000" y="203"/>
                  </a:cubicBezTo>
                  <a:cubicBezTo>
                    <a:pt x="1981" y="209"/>
                    <a:pt x="1957" y="190"/>
                    <a:pt x="1938" y="202"/>
                  </a:cubicBezTo>
                  <a:cubicBezTo>
                    <a:pt x="1934" y="204"/>
                    <a:pt x="1899" y="234"/>
                    <a:pt x="1895" y="239"/>
                  </a:cubicBezTo>
                  <a:cubicBezTo>
                    <a:pt x="1892" y="241"/>
                    <a:pt x="1889" y="255"/>
                    <a:pt x="1883" y="263"/>
                  </a:cubicBezTo>
                  <a:cubicBezTo>
                    <a:pt x="1879" y="268"/>
                    <a:pt x="1884" y="283"/>
                    <a:pt x="1881" y="289"/>
                  </a:cubicBezTo>
                  <a:cubicBezTo>
                    <a:pt x="1877" y="300"/>
                    <a:pt x="1870" y="305"/>
                    <a:pt x="1871" y="319"/>
                  </a:cubicBezTo>
                  <a:cubicBezTo>
                    <a:pt x="1871" y="327"/>
                    <a:pt x="1881" y="339"/>
                    <a:pt x="1880" y="348"/>
                  </a:cubicBezTo>
                  <a:cubicBezTo>
                    <a:pt x="1876" y="368"/>
                    <a:pt x="1854" y="366"/>
                    <a:pt x="1841" y="369"/>
                  </a:cubicBezTo>
                  <a:cubicBezTo>
                    <a:pt x="1819" y="375"/>
                    <a:pt x="1827" y="398"/>
                    <a:pt x="1816" y="408"/>
                  </a:cubicBezTo>
                  <a:cubicBezTo>
                    <a:pt x="1810" y="414"/>
                    <a:pt x="1805" y="413"/>
                    <a:pt x="1800" y="419"/>
                  </a:cubicBezTo>
                  <a:cubicBezTo>
                    <a:pt x="1799" y="420"/>
                    <a:pt x="1782" y="402"/>
                    <a:pt x="1779" y="400"/>
                  </a:cubicBezTo>
                  <a:cubicBezTo>
                    <a:pt x="1770" y="396"/>
                    <a:pt x="1710" y="375"/>
                    <a:pt x="1705" y="377"/>
                  </a:cubicBezTo>
                  <a:cubicBezTo>
                    <a:pt x="1699" y="378"/>
                    <a:pt x="1696" y="392"/>
                    <a:pt x="1691" y="395"/>
                  </a:cubicBezTo>
                  <a:cubicBezTo>
                    <a:pt x="1686" y="399"/>
                    <a:pt x="1652" y="410"/>
                    <a:pt x="1647" y="408"/>
                  </a:cubicBezTo>
                  <a:cubicBezTo>
                    <a:pt x="1647" y="408"/>
                    <a:pt x="1635" y="398"/>
                    <a:pt x="1635" y="398"/>
                  </a:cubicBezTo>
                  <a:cubicBezTo>
                    <a:pt x="1622" y="392"/>
                    <a:pt x="1597" y="396"/>
                    <a:pt x="1583" y="396"/>
                  </a:cubicBezTo>
                  <a:cubicBezTo>
                    <a:pt x="1580" y="395"/>
                    <a:pt x="1577" y="397"/>
                    <a:pt x="1575" y="395"/>
                  </a:cubicBezTo>
                  <a:cubicBezTo>
                    <a:pt x="1571" y="390"/>
                    <a:pt x="1574" y="381"/>
                    <a:pt x="1571" y="374"/>
                  </a:cubicBezTo>
                  <a:cubicBezTo>
                    <a:pt x="1562" y="351"/>
                    <a:pt x="1503" y="294"/>
                    <a:pt x="1479" y="297"/>
                  </a:cubicBezTo>
                  <a:cubicBezTo>
                    <a:pt x="1471" y="299"/>
                    <a:pt x="1453" y="313"/>
                    <a:pt x="1453" y="321"/>
                  </a:cubicBezTo>
                  <a:cubicBezTo>
                    <a:pt x="1454" y="325"/>
                    <a:pt x="1467" y="342"/>
                    <a:pt x="1456" y="345"/>
                  </a:cubicBezTo>
                  <a:cubicBezTo>
                    <a:pt x="1452" y="346"/>
                    <a:pt x="1414" y="325"/>
                    <a:pt x="1413" y="340"/>
                  </a:cubicBezTo>
                  <a:cubicBezTo>
                    <a:pt x="1413" y="341"/>
                    <a:pt x="1415" y="341"/>
                    <a:pt x="1417" y="342"/>
                  </a:cubicBezTo>
                  <a:cubicBezTo>
                    <a:pt x="1413" y="342"/>
                    <a:pt x="1385" y="342"/>
                    <a:pt x="1381" y="342"/>
                  </a:cubicBezTo>
                  <a:cubicBezTo>
                    <a:pt x="1377" y="342"/>
                    <a:pt x="1373" y="340"/>
                    <a:pt x="1370" y="342"/>
                  </a:cubicBezTo>
                  <a:cubicBezTo>
                    <a:pt x="1368" y="344"/>
                    <a:pt x="1373" y="346"/>
                    <a:pt x="1375" y="347"/>
                  </a:cubicBezTo>
                  <a:cubicBezTo>
                    <a:pt x="1385" y="357"/>
                    <a:pt x="1396" y="369"/>
                    <a:pt x="1393" y="385"/>
                  </a:cubicBezTo>
                  <a:cubicBezTo>
                    <a:pt x="1389" y="397"/>
                    <a:pt x="1357" y="417"/>
                    <a:pt x="1357" y="421"/>
                  </a:cubicBezTo>
                  <a:cubicBezTo>
                    <a:pt x="1357" y="429"/>
                    <a:pt x="1389" y="424"/>
                    <a:pt x="1378" y="437"/>
                  </a:cubicBezTo>
                  <a:cubicBezTo>
                    <a:pt x="1378" y="437"/>
                    <a:pt x="1358" y="455"/>
                    <a:pt x="1355" y="456"/>
                  </a:cubicBezTo>
                  <a:cubicBezTo>
                    <a:pt x="1334" y="462"/>
                    <a:pt x="1212" y="407"/>
                    <a:pt x="1190" y="429"/>
                  </a:cubicBezTo>
                  <a:cubicBezTo>
                    <a:pt x="1179" y="441"/>
                    <a:pt x="1213" y="497"/>
                    <a:pt x="1173" y="516"/>
                  </a:cubicBezTo>
                  <a:cubicBezTo>
                    <a:pt x="1160" y="522"/>
                    <a:pt x="1131" y="490"/>
                    <a:pt x="1118" y="495"/>
                  </a:cubicBezTo>
                  <a:cubicBezTo>
                    <a:pt x="1117" y="495"/>
                    <a:pt x="1117" y="495"/>
                    <a:pt x="1117" y="495"/>
                  </a:cubicBezTo>
                  <a:cubicBezTo>
                    <a:pt x="1116" y="495"/>
                    <a:pt x="1115" y="495"/>
                    <a:pt x="1114" y="496"/>
                  </a:cubicBezTo>
                  <a:cubicBezTo>
                    <a:pt x="1113" y="496"/>
                    <a:pt x="1113" y="497"/>
                    <a:pt x="1113" y="497"/>
                  </a:cubicBezTo>
                  <a:cubicBezTo>
                    <a:pt x="1102" y="502"/>
                    <a:pt x="1074" y="518"/>
                    <a:pt x="1070" y="524"/>
                  </a:cubicBezTo>
                  <a:cubicBezTo>
                    <a:pt x="1058" y="540"/>
                    <a:pt x="1056" y="561"/>
                    <a:pt x="1043" y="578"/>
                  </a:cubicBezTo>
                  <a:cubicBezTo>
                    <a:pt x="1036" y="588"/>
                    <a:pt x="1015" y="583"/>
                    <a:pt x="1012" y="599"/>
                  </a:cubicBezTo>
                  <a:cubicBezTo>
                    <a:pt x="1010" y="613"/>
                    <a:pt x="1058" y="632"/>
                    <a:pt x="1036" y="661"/>
                  </a:cubicBezTo>
                  <a:cubicBezTo>
                    <a:pt x="1029" y="670"/>
                    <a:pt x="1014" y="674"/>
                    <a:pt x="1006" y="682"/>
                  </a:cubicBezTo>
                  <a:cubicBezTo>
                    <a:pt x="993" y="694"/>
                    <a:pt x="985" y="713"/>
                    <a:pt x="972" y="725"/>
                  </a:cubicBezTo>
                  <a:cubicBezTo>
                    <a:pt x="967" y="730"/>
                    <a:pt x="950" y="737"/>
                    <a:pt x="948" y="743"/>
                  </a:cubicBezTo>
                  <a:cubicBezTo>
                    <a:pt x="946" y="752"/>
                    <a:pt x="959" y="765"/>
                    <a:pt x="957" y="774"/>
                  </a:cubicBezTo>
                  <a:cubicBezTo>
                    <a:pt x="952" y="794"/>
                    <a:pt x="872" y="795"/>
                    <a:pt x="871" y="797"/>
                  </a:cubicBezTo>
                  <a:cubicBezTo>
                    <a:pt x="866" y="804"/>
                    <a:pt x="884" y="834"/>
                    <a:pt x="883" y="843"/>
                  </a:cubicBezTo>
                  <a:cubicBezTo>
                    <a:pt x="882" y="855"/>
                    <a:pt x="873" y="866"/>
                    <a:pt x="871" y="878"/>
                  </a:cubicBezTo>
                  <a:cubicBezTo>
                    <a:pt x="870" y="882"/>
                    <a:pt x="871" y="886"/>
                    <a:pt x="871" y="889"/>
                  </a:cubicBezTo>
                  <a:cubicBezTo>
                    <a:pt x="871" y="889"/>
                    <a:pt x="871" y="911"/>
                    <a:pt x="871" y="911"/>
                  </a:cubicBezTo>
                  <a:cubicBezTo>
                    <a:pt x="871" y="914"/>
                    <a:pt x="872" y="918"/>
                    <a:pt x="871" y="922"/>
                  </a:cubicBezTo>
                  <a:cubicBezTo>
                    <a:pt x="871" y="922"/>
                    <a:pt x="859" y="932"/>
                    <a:pt x="859" y="932"/>
                  </a:cubicBezTo>
                  <a:cubicBezTo>
                    <a:pt x="856" y="937"/>
                    <a:pt x="857" y="944"/>
                    <a:pt x="855" y="949"/>
                  </a:cubicBezTo>
                  <a:cubicBezTo>
                    <a:pt x="850" y="960"/>
                    <a:pt x="816" y="1000"/>
                    <a:pt x="803" y="1022"/>
                  </a:cubicBezTo>
                  <a:cubicBezTo>
                    <a:pt x="802" y="1022"/>
                    <a:pt x="801" y="1022"/>
                    <a:pt x="800" y="1023"/>
                  </a:cubicBezTo>
                  <a:cubicBezTo>
                    <a:pt x="800" y="1023"/>
                    <a:pt x="801" y="1024"/>
                    <a:pt x="801" y="1024"/>
                  </a:cubicBezTo>
                  <a:cubicBezTo>
                    <a:pt x="799" y="1029"/>
                    <a:pt x="797" y="1033"/>
                    <a:pt x="798" y="1035"/>
                  </a:cubicBezTo>
                  <a:cubicBezTo>
                    <a:pt x="813" y="1060"/>
                    <a:pt x="851" y="1030"/>
                    <a:pt x="840" y="1093"/>
                  </a:cubicBezTo>
                  <a:cubicBezTo>
                    <a:pt x="838" y="1100"/>
                    <a:pt x="836" y="1106"/>
                    <a:pt x="832" y="1109"/>
                  </a:cubicBezTo>
                  <a:cubicBezTo>
                    <a:pt x="825" y="1105"/>
                    <a:pt x="820" y="1101"/>
                    <a:pt x="820" y="1101"/>
                  </a:cubicBezTo>
                  <a:cubicBezTo>
                    <a:pt x="819" y="1099"/>
                    <a:pt x="812" y="1093"/>
                    <a:pt x="811" y="1095"/>
                  </a:cubicBezTo>
                  <a:cubicBezTo>
                    <a:pt x="809" y="1097"/>
                    <a:pt x="820" y="1105"/>
                    <a:pt x="830" y="1111"/>
                  </a:cubicBezTo>
                  <a:cubicBezTo>
                    <a:pt x="813" y="1124"/>
                    <a:pt x="780" y="1103"/>
                    <a:pt x="758" y="1105"/>
                  </a:cubicBezTo>
                  <a:cubicBezTo>
                    <a:pt x="752" y="1106"/>
                    <a:pt x="742" y="1110"/>
                    <a:pt x="731" y="1116"/>
                  </a:cubicBezTo>
                  <a:cubicBezTo>
                    <a:pt x="732" y="1102"/>
                    <a:pt x="726" y="1095"/>
                    <a:pt x="718" y="1099"/>
                  </a:cubicBezTo>
                  <a:cubicBezTo>
                    <a:pt x="718" y="1099"/>
                    <a:pt x="724" y="1107"/>
                    <a:pt x="725" y="1109"/>
                  </a:cubicBezTo>
                  <a:cubicBezTo>
                    <a:pt x="725" y="1111"/>
                    <a:pt x="726" y="1115"/>
                    <a:pt x="727" y="1118"/>
                  </a:cubicBezTo>
                  <a:cubicBezTo>
                    <a:pt x="725" y="1119"/>
                    <a:pt x="724" y="1120"/>
                    <a:pt x="722" y="1121"/>
                  </a:cubicBezTo>
                  <a:cubicBezTo>
                    <a:pt x="719" y="1120"/>
                    <a:pt x="716" y="1121"/>
                    <a:pt x="714" y="1124"/>
                  </a:cubicBezTo>
                  <a:cubicBezTo>
                    <a:pt x="714" y="1125"/>
                    <a:pt x="714" y="1125"/>
                    <a:pt x="714" y="1126"/>
                  </a:cubicBezTo>
                  <a:cubicBezTo>
                    <a:pt x="688" y="1143"/>
                    <a:pt x="661" y="1167"/>
                    <a:pt x="660" y="1182"/>
                  </a:cubicBezTo>
                  <a:cubicBezTo>
                    <a:pt x="660" y="1188"/>
                    <a:pt x="667" y="1192"/>
                    <a:pt x="666" y="1197"/>
                  </a:cubicBezTo>
                  <a:cubicBezTo>
                    <a:pt x="664" y="1208"/>
                    <a:pt x="643" y="1218"/>
                    <a:pt x="642" y="1229"/>
                  </a:cubicBezTo>
                  <a:cubicBezTo>
                    <a:pt x="642" y="1241"/>
                    <a:pt x="663" y="1254"/>
                    <a:pt x="663" y="1266"/>
                  </a:cubicBezTo>
                  <a:cubicBezTo>
                    <a:pt x="663" y="1266"/>
                    <a:pt x="651" y="1284"/>
                    <a:pt x="651" y="1284"/>
                  </a:cubicBezTo>
                  <a:cubicBezTo>
                    <a:pt x="649" y="1289"/>
                    <a:pt x="656" y="1300"/>
                    <a:pt x="656" y="1306"/>
                  </a:cubicBezTo>
                  <a:cubicBezTo>
                    <a:pt x="655" y="1312"/>
                    <a:pt x="648" y="1322"/>
                    <a:pt x="650" y="1328"/>
                  </a:cubicBezTo>
                  <a:cubicBezTo>
                    <a:pt x="653" y="1345"/>
                    <a:pt x="673" y="1359"/>
                    <a:pt x="675" y="1377"/>
                  </a:cubicBezTo>
                  <a:cubicBezTo>
                    <a:pt x="677" y="1401"/>
                    <a:pt x="652" y="1433"/>
                    <a:pt x="659" y="1455"/>
                  </a:cubicBezTo>
                  <a:cubicBezTo>
                    <a:pt x="666" y="1483"/>
                    <a:pt x="713" y="1480"/>
                    <a:pt x="724" y="1509"/>
                  </a:cubicBezTo>
                  <a:cubicBezTo>
                    <a:pt x="725" y="1512"/>
                    <a:pt x="709" y="1550"/>
                    <a:pt x="706" y="1552"/>
                  </a:cubicBezTo>
                  <a:cubicBezTo>
                    <a:pt x="698" y="1558"/>
                    <a:pt x="671" y="1550"/>
                    <a:pt x="669" y="1564"/>
                  </a:cubicBezTo>
                  <a:cubicBezTo>
                    <a:pt x="666" y="1587"/>
                    <a:pt x="702" y="1614"/>
                    <a:pt x="702" y="1639"/>
                  </a:cubicBezTo>
                  <a:cubicBezTo>
                    <a:pt x="702" y="1650"/>
                    <a:pt x="694" y="1653"/>
                    <a:pt x="691" y="1663"/>
                  </a:cubicBezTo>
                  <a:cubicBezTo>
                    <a:pt x="690" y="1665"/>
                    <a:pt x="691" y="1668"/>
                    <a:pt x="691" y="1671"/>
                  </a:cubicBezTo>
                  <a:cubicBezTo>
                    <a:pt x="691" y="1676"/>
                    <a:pt x="691" y="1681"/>
                    <a:pt x="691" y="1686"/>
                  </a:cubicBezTo>
                  <a:cubicBezTo>
                    <a:pt x="691" y="1689"/>
                    <a:pt x="692" y="1692"/>
                    <a:pt x="691" y="1694"/>
                  </a:cubicBezTo>
                  <a:cubicBezTo>
                    <a:pt x="688" y="1700"/>
                    <a:pt x="669" y="1718"/>
                    <a:pt x="663" y="1720"/>
                  </a:cubicBezTo>
                  <a:cubicBezTo>
                    <a:pt x="659" y="1722"/>
                    <a:pt x="632" y="1718"/>
                    <a:pt x="632" y="1728"/>
                  </a:cubicBezTo>
                  <a:cubicBezTo>
                    <a:pt x="632" y="1733"/>
                    <a:pt x="638" y="1737"/>
                    <a:pt x="638" y="1742"/>
                  </a:cubicBezTo>
                  <a:cubicBezTo>
                    <a:pt x="640" y="1758"/>
                    <a:pt x="623" y="1752"/>
                    <a:pt x="618" y="1763"/>
                  </a:cubicBezTo>
                  <a:cubicBezTo>
                    <a:pt x="615" y="1770"/>
                    <a:pt x="619" y="1783"/>
                    <a:pt x="623" y="1797"/>
                  </a:cubicBezTo>
                  <a:cubicBezTo>
                    <a:pt x="622" y="1797"/>
                    <a:pt x="622" y="1797"/>
                    <a:pt x="622" y="1797"/>
                  </a:cubicBezTo>
                  <a:cubicBezTo>
                    <a:pt x="621" y="1801"/>
                    <a:pt x="624" y="1807"/>
                    <a:pt x="627" y="1813"/>
                  </a:cubicBezTo>
                  <a:cubicBezTo>
                    <a:pt x="630" y="1831"/>
                    <a:pt x="630" y="1849"/>
                    <a:pt x="615" y="1861"/>
                  </a:cubicBezTo>
                  <a:cubicBezTo>
                    <a:pt x="601" y="1872"/>
                    <a:pt x="599" y="1861"/>
                    <a:pt x="597" y="1851"/>
                  </a:cubicBezTo>
                  <a:close/>
                  <a:moveTo>
                    <a:pt x="1736" y="255"/>
                  </a:moveTo>
                  <a:cubicBezTo>
                    <a:pt x="1736" y="255"/>
                    <a:pt x="1736" y="255"/>
                    <a:pt x="1736" y="255"/>
                  </a:cubicBezTo>
                  <a:cubicBezTo>
                    <a:pt x="1743" y="253"/>
                    <a:pt x="1755" y="240"/>
                    <a:pt x="1734" y="238"/>
                  </a:cubicBezTo>
                  <a:cubicBezTo>
                    <a:pt x="1723" y="237"/>
                    <a:pt x="1726" y="253"/>
                    <a:pt x="1736" y="255"/>
                  </a:cubicBezTo>
                  <a:close/>
                  <a:moveTo>
                    <a:pt x="1273" y="409"/>
                  </a:moveTo>
                  <a:cubicBezTo>
                    <a:pt x="1274" y="411"/>
                    <a:pt x="1281" y="413"/>
                    <a:pt x="1282" y="414"/>
                  </a:cubicBezTo>
                  <a:cubicBezTo>
                    <a:pt x="1305" y="425"/>
                    <a:pt x="1329" y="434"/>
                    <a:pt x="1349" y="450"/>
                  </a:cubicBezTo>
                  <a:cubicBezTo>
                    <a:pt x="1350" y="450"/>
                    <a:pt x="1352" y="450"/>
                    <a:pt x="1353" y="451"/>
                  </a:cubicBezTo>
                  <a:cubicBezTo>
                    <a:pt x="1356" y="449"/>
                    <a:pt x="1335" y="423"/>
                    <a:pt x="1300" y="419"/>
                  </a:cubicBezTo>
                  <a:cubicBezTo>
                    <a:pt x="1293" y="418"/>
                    <a:pt x="1288" y="415"/>
                    <a:pt x="1282" y="413"/>
                  </a:cubicBezTo>
                  <a:cubicBezTo>
                    <a:pt x="1279" y="411"/>
                    <a:pt x="1273" y="406"/>
                    <a:pt x="1273" y="409"/>
                  </a:cubicBezTo>
                  <a:close/>
                  <a:moveTo>
                    <a:pt x="842" y="713"/>
                  </a:moveTo>
                  <a:cubicBezTo>
                    <a:pt x="844" y="712"/>
                    <a:pt x="844" y="712"/>
                    <a:pt x="844" y="712"/>
                  </a:cubicBezTo>
                  <a:cubicBezTo>
                    <a:pt x="847" y="712"/>
                    <a:pt x="850" y="706"/>
                    <a:pt x="849" y="704"/>
                  </a:cubicBezTo>
                  <a:cubicBezTo>
                    <a:pt x="847" y="701"/>
                    <a:pt x="817" y="714"/>
                    <a:pt x="842" y="713"/>
                  </a:cubicBezTo>
                  <a:close/>
                  <a:moveTo>
                    <a:pt x="844" y="759"/>
                  </a:moveTo>
                  <a:cubicBezTo>
                    <a:pt x="845" y="759"/>
                    <a:pt x="850" y="760"/>
                    <a:pt x="850" y="758"/>
                  </a:cubicBezTo>
                  <a:cubicBezTo>
                    <a:pt x="849" y="756"/>
                    <a:pt x="834" y="758"/>
                    <a:pt x="832" y="757"/>
                  </a:cubicBezTo>
                  <a:cubicBezTo>
                    <a:pt x="829" y="757"/>
                    <a:pt x="814" y="748"/>
                    <a:pt x="812" y="751"/>
                  </a:cubicBezTo>
                  <a:cubicBezTo>
                    <a:pt x="809" y="756"/>
                    <a:pt x="823" y="754"/>
                    <a:pt x="826" y="758"/>
                  </a:cubicBezTo>
                  <a:cubicBezTo>
                    <a:pt x="827" y="759"/>
                    <a:pt x="827" y="759"/>
                    <a:pt x="827" y="759"/>
                  </a:cubicBezTo>
                  <a:cubicBezTo>
                    <a:pt x="828" y="768"/>
                    <a:pt x="834" y="760"/>
                    <a:pt x="844" y="759"/>
                  </a:cubicBezTo>
                  <a:close/>
                  <a:moveTo>
                    <a:pt x="807" y="865"/>
                  </a:moveTo>
                  <a:cubicBezTo>
                    <a:pt x="807" y="866"/>
                    <a:pt x="827" y="869"/>
                    <a:pt x="830" y="871"/>
                  </a:cubicBezTo>
                  <a:cubicBezTo>
                    <a:pt x="832" y="870"/>
                    <a:pt x="832" y="870"/>
                    <a:pt x="832" y="870"/>
                  </a:cubicBezTo>
                  <a:cubicBezTo>
                    <a:pt x="851" y="871"/>
                    <a:pt x="831" y="861"/>
                    <a:pt x="832" y="858"/>
                  </a:cubicBezTo>
                  <a:cubicBezTo>
                    <a:pt x="833" y="854"/>
                    <a:pt x="842" y="854"/>
                    <a:pt x="844" y="851"/>
                  </a:cubicBezTo>
                  <a:cubicBezTo>
                    <a:pt x="846" y="849"/>
                    <a:pt x="840" y="849"/>
                    <a:pt x="841" y="847"/>
                  </a:cubicBezTo>
                  <a:cubicBezTo>
                    <a:pt x="843" y="839"/>
                    <a:pt x="851" y="838"/>
                    <a:pt x="859" y="836"/>
                  </a:cubicBezTo>
                  <a:cubicBezTo>
                    <a:pt x="859" y="835"/>
                    <a:pt x="869" y="833"/>
                    <a:pt x="865" y="832"/>
                  </a:cubicBezTo>
                  <a:cubicBezTo>
                    <a:pt x="849" y="827"/>
                    <a:pt x="836" y="844"/>
                    <a:pt x="823" y="850"/>
                  </a:cubicBezTo>
                  <a:cubicBezTo>
                    <a:pt x="821" y="851"/>
                    <a:pt x="810" y="841"/>
                    <a:pt x="810" y="843"/>
                  </a:cubicBezTo>
                  <a:cubicBezTo>
                    <a:pt x="810" y="849"/>
                    <a:pt x="829" y="857"/>
                    <a:pt x="820" y="863"/>
                  </a:cubicBezTo>
                  <a:cubicBezTo>
                    <a:pt x="818" y="864"/>
                    <a:pt x="807" y="865"/>
                    <a:pt x="807" y="865"/>
                  </a:cubicBezTo>
                  <a:close/>
                  <a:moveTo>
                    <a:pt x="784" y="967"/>
                  </a:moveTo>
                  <a:cubicBezTo>
                    <a:pt x="786" y="971"/>
                    <a:pt x="781" y="972"/>
                    <a:pt x="785" y="976"/>
                  </a:cubicBezTo>
                  <a:cubicBezTo>
                    <a:pt x="784" y="976"/>
                    <a:pt x="784" y="976"/>
                    <a:pt x="784" y="976"/>
                  </a:cubicBezTo>
                  <a:cubicBezTo>
                    <a:pt x="788" y="982"/>
                    <a:pt x="796" y="968"/>
                    <a:pt x="803" y="969"/>
                  </a:cubicBezTo>
                  <a:cubicBezTo>
                    <a:pt x="803" y="969"/>
                    <a:pt x="811" y="969"/>
                    <a:pt x="810" y="968"/>
                  </a:cubicBezTo>
                  <a:cubicBezTo>
                    <a:pt x="805" y="960"/>
                    <a:pt x="797" y="969"/>
                    <a:pt x="789" y="969"/>
                  </a:cubicBezTo>
                  <a:cubicBezTo>
                    <a:pt x="788" y="969"/>
                    <a:pt x="781" y="961"/>
                    <a:pt x="780" y="961"/>
                  </a:cubicBezTo>
                  <a:cubicBezTo>
                    <a:pt x="779" y="963"/>
                    <a:pt x="784" y="966"/>
                    <a:pt x="784" y="967"/>
                  </a:cubicBezTo>
                  <a:close/>
                  <a:moveTo>
                    <a:pt x="774" y="992"/>
                  </a:moveTo>
                  <a:cubicBezTo>
                    <a:pt x="780" y="1000"/>
                    <a:pt x="791" y="1010"/>
                    <a:pt x="800" y="1015"/>
                  </a:cubicBezTo>
                  <a:cubicBezTo>
                    <a:pt x="800" y="1015"/>
                    <a:pt x="800" y="1015"/>
                    <a:pt x="800" y="1015"/>
                  </a:cubicBezTo>
                  <a:cubicBezTo>
                    <a:pt x="806" y="1017"/>
                    <a:pt x="805" y="1008"/>
                    <a:pt x="802" y="1007"/>
                  </a:cubicBezTo>
                  <a:cubicBezTo>
                    <a:pt x="784" y="1000"/>
                    <a:pt x="795" y="987"/>
                    <a:pt x="793" y="983"/>
                  </a:cubicBezTo>
                  <a:cubicBezTo>
                    <a:pt x="792" y="981"/>
                    <a:pt x="785" y="978"/>
                    <a:pt x="783" y="980"/>
                  </a:cubicBezTo>
                  <a:cubicBezTo>
                    <a:pt x="781" y="981"/>
                    <a:pt x="779" y="979"/>
                    <a:pt x="778" y="981"/>
                  </a:cubicBezTo>
                  <a:cubicBezTo>
                    <a:pt x="777" y="983"/>
                    <a:pt x="785" y="984"/>
                    <a:pt x="785" y="984"/>
                  </a:cubicBezTo>
                  <a:cubicBezTo>
                    <a:pt x="789" y="987"/>
                    <a:pt x="771" y="988"/>
                    <a:pt x="774" y="992"/>
                  </a:cubicBezTo>
                  <a:close/>
                  <a:moveTo>
                    <a:pt x="754" y="1021"/>
                  </a:moveTo>
                  <a:cubicBezTo>
                    <a:pt x="754" y="1021"/>
                    <a:pt x="754" y="1021"/>
                    <a:pt x="754" y="1021"/>
                  </a:cubicBezTo>
                  <a:cubicBezTo>
                    <a:pt x="760" y="1023"/>
                    <a:pt x="766" y="1015"/>
                    <a:pt x="769" y="1015"/>
                  </a:cubicBezTo>
                  <a:cubicBezTo>
                    <a:pt x="775" y="1014"/>
                    <a:pt x="804" y="1023"/>
                    <a:pt x="788" y="1014"/>
                  </a:cubicBezTo>
                  <a:cubicBezTo>
                    <a:pt x="776" y="1007"/>
                    <a:pt x="762" y="995"/>
                    <a:pt x="757" y="1017"/>
                  </a:cubicBezTo>
                  <a:cubicBezTo>
                    <a:pt x="756" y="1020"/>
                    <a:pt x="752" y="1016"/>
                    <a:pt x="754" y="1021"/>
                  </a:cubicBezTo>
                  <a:close/>
                  <a:moveTo>
                    <a:pt x="641" y="1537"/>
                  </a:moveTo>
                  <a:cubicBezTo>
                    <a:pt x="638" y="1532"/>
                    <a:pt x="634" y="1521"/>
                    <a:pt x="629" y="1519"/>
                  </a:cubicBezTo>
                  <a:cubicBezTo>
                    <a:pt x="629" y="1519"/>
                    <a:pt x="629" y="1519"/>
                    <a:pt x="629" y="1519"/>
                  </a:cubicBezTo>
                  <a:cubicBezTo>
                    <a:pt x="620" y="1514"/>
                    <a:pt x="643" y="1545"/>
                    <a:pt x="645" y="1544"/>
                  </a:cubicBezTo>
                  <a:cubicBezTo>
                    <a:pt x="646" y="1544"/>
                    <a:pt x="641" y="1538"/>
                    <a:pt x="641" y="1537"/>
                  </a:cubicBezTo>
                  <a:close/>
                  <a:moveTo>
                    <a:pt x="640" y="1372"/>
                  </a:moveTo>
                  <a:cubicBezTo>
                    <a:pt x="636" y="1394"/>
                    <a:pt x="625" y="1390"/>
                    <a:pt x="622" y="1399"/>
                  </a:cubicBezTo>
                  <a:cubicBezTo>
                    <a:pt x="622" y="1401"/>
                    <a:pt x="623" y="1402"/>
                    <a:pt x="624" y="1403"/>
                  </a:cubicBezTo>
                  <a:cubicBezTo>
                    <a:pt x="632" y="1409"/>
                    <a:pt x="642" y="1426"/>
                    <a:pt x="641" y="1425"/>
                  </a:cubicBezTo>
                  <a:cubicBezTo>
                    <a:pt x="641" y="1424"/>
                    <a:pt x="639" y="1418"/>
                    <a:pt x="639" y="1417"/>
                  </a:cubicBezTo>
                  <a:cubicBezTo>
                    <a:pt x="639" y="1416"/>
                    <a:pt x="639" y="1416"/>
                    <a:pt x="639" y="1416"/>
                  </a:cubicBezTo>
                  <a:cubicBezTo>
                    <a:pt x="642" y="1401"/>
                    <a:pt x="647" y="1360"/>
                    <a:pt x="644" y="1357"/>
                  </a:cubicBezTo>
                  <a:cubicBezTo>
                    <a:pt x="635" y="1348"/>
                    <a:pt x="641" y="1366"/>
                    <a:pt x="640" y="1372"/>
                  </a:cubicBezTo>
                  <a:close/>
                  <a:moveTo>
                    <a:pt x="609" y="1115"/>
                  </a:moveTo>
                  <a:cubicBezTo>
                    <a:pt x="609" y="1116"/>
                    <a:pt x="609" y="1115"/>
                    <a:pt x="610" y="1115"/>
                  </a:cubicBezTo>
                  <a:cubicBezTo>
                    <a:pt x="619" y="1115"/>
                    <a:pt x="613" y="1104"/>
                    <a:pt x="624" y="1102"/>
                  </a:cubicBezTo>
                  <a:cubicBezTo>
                    <a:pt x="645" y="1097"/>
                    <a:pt x="661" y="1092"/>
                    <a:pt x="679" y="1084"/>
                  </a:cubicBezTo>
                  <a:cubicBezTo>
                    <a:pt x="680" y="1084"/>
                    <a:pt x="680" y="1083"/>
                    <a:pt x="680" y="1082"/>
                  </a:cubicBezTo>
                  <a:cubicBezTo>
                    <a:pt x="678" y="1080"/>
                    <a:pt x="610" y="1102"/>
                    <a:pt x="613" y="1106"/>
                  </a:cubicBezTo>
                  <a:cubicBezTo>
                    <a:pt x="615" y="1108"/>
                    <a:pt x="611" y="1113"/>
                    <a:pt x="610" y="1114"/>
                  </a:cubicBezTo>
                  <a:cubicBezTo>
                    <a:pt x="609" y="1115"/>
                    <a:pt x="609" y="1115"/>
                    <a:pt x="609" y="1115"/>
                  </a:cubicBezTo>
                  <a:cubicBezTo>
                    <a:pt x="609" y="1115"/>
                    <a:pt x="609" y="1115"/>
                    <a:pt x="609" y="1115"/>
                  </a:cubicBezTo>
                  <a:close/>
                  <a:moveTo>
                    <a:pt x="622" y="1662"/>
                  </a:moveTo>
                  <a:cubicBezTo>
                    <a:pt x="623" y="1663"/>
                    <a:pt x="618" y="1651"/>
                    <a:pt x="615" y="1646"/>
                  </a:cubicBezTo>
                  <a:cubicBezTo>
                    <a:pt x="615" y="1646"/>
                    <a:pt x="615" y="1646"/>
                    <a:pt x="615" y="1646"/>
                  </a:cubicBezTo>
                  <a:cubicBezTo>
                    <a:pt x="612" y="1641"/>
                    <a:pt x="615" y="1653"/>
                    <a:pt x="610" y="1652"/>
                  </a:cubicBezTo>
                  <a:cubicBezTo>
                    <a:pt x="602" y="1650"/>
                    <a:pt x="622" y="1662"/>
                    <a:pt x="622" y="1662"/>
                  </a:cubicBezTo>
                  <a:close/>
                  <a:moveTo>
                    <a:pt x="314" y="1848"/>
                  </a:moveTo>
                  <a:cubicBezTo>
                    <a:pt x="314" y="1834"/>
                    <a:pt x="302" y="1838"/>
                    <a:pt x="297" y="1829"/>
                  </a:cubicBezTo>
                  <a:cubicBezTo>
                    <a:pt x="286" y="1809"/>
                    <a:pt x="307" y="1852"/>
                    <a:pt x="314" y="1849"/>
                  </a:cubicBezTo>
                  <a:lnTo>
                    <a:pt x="314" y="1848"/>
                  </a:lnTo>
                  <a:close/>
                  <a:moveTo>
                    <a:pt x="318" y="1734"/>
                  </a:moveTo>
                  <a:cubicBezTo>
                    <a:pt x="314" y="1727"/>
                    <a:pt x="301" y="1728"/>
                    <a:pt x="296" y="1725"/>
                  </a:cubicBezTo>
                  <a:cubicBezTo>
                    <a:pt x="290" y="1722"/>
                    <a:pt x="301" y="1717"/>
                    <a:pt x="293" y="1713"/>
                  </a:cubicBezTo>
                  <a:cubicBezTo>
                    <a:pt x="288" y="1709"/>
                    <a:pt x="278" y="1707"/>
                    <a:pt x="291" y="1713"/>
                  </a:cubicBezTo>
                  <a:cubicBezTo>
                    <a:pt x="292" y="1713"/>
                    <a:pt x="292" y="1713"/>
                    <a:pt x="292" y="1713"/>
                  </a:cubicBezTo>
                  <a:cubicBezTo>
                    <a:pt x="292" y="1713"/>
                    <a:pt x="292" y="1713"/>
                    <a:pt x="293" y="1713"/>
                  </a:cubicBezTo>
                  <a:cubicBezTo>
                    <a:pt x="293" y="1714"/>
                    <a:pt x="294" y="1715"/>
                    <a:pt x="294" y="1716"/>
                  </a:cubicBezTo>
                  <a:cubicBezTo>
                    <a:pt x="295" y="1720"/>
                    <a:pt x="291" y="1726"/>
                    <a:pt x="292" y="1730"/>
                  </a:cubicBezTo>
                  <a:cubicBezTo>
                    <a:pt x="292" y="1733"/>
                    <a:pt x="300" y="1737"/>
                    <a:pt x="303" y="1738"/>
                  </a:cubicBezTo>
                  <a:cubicBezTo>
                    <a:pt x="305" y="1739"/>
                    <a:pt x="312" y="1742"/>
                    <a:pt x="310" y="1740"/>
                  </a:cubicBezTo>
                  <a:cubicBezTo>
                    <a:pt x="309" y="1739"/>
                    <a:pt x="296" y="1732"/>
                    <a:pt x="300" y="1729"/>
                  </a:cubicBezTo>
                  <a:cubicBezTo>
                    <a:pt x="300" y="1728"/>
                    <a:pt x="318" y="1734"/>
                    <a:pt x="318" y="1734"/>
                  </a:cubicBezTo>
                  <a:close/>
                  <a:moveTo>
                    <a:pt x="333" y="1804"/>
                  </a:moveTo>
                  <a:cubicBezTo>
                    <a:pt x="333" y="1804"/>
                    <a:pt x="333" y="1804"/>
                    <a:pt x="333" y="1804"/>
                  </a:cubicBezTo>
                  <a:cubicBezTo>
                    <a:pt x="327" y="1800"/>
                    <a:pt x="330" y="1848"/>
                    <a:pt x="335" y="1847"/>
                  </a:cubicBezTo>
                  <a:cubicBezTo>
                    <a:pt x="335" y="1847"/>
                    <a:pt x="334" y="1806"/>
                    <a:pt x="333" y="1804"/>
                  </a:cubicBezTo>
                  <a:close/>
                  <a:moveTo>
                    <a:pt x="397" y="1512"/>
                  </a:moveTo>
                  <a:cubicBezTo>
                    <a:pt x="397" y="1510"/>
                    <a:pt x="403" y="1512"/>
                    <a:pt x="403" y="1511"/>
                  </a:cubicBezTo>
                  <a:cubicBezTo>
                    <a:pt x="400" y="1505"/>
                    <a:pt x="386" y="1510"/>
                    <a:pt x="381" y="1512"/>
                  </a:cubicBezTo>
                  <a:cubicBezTo>
                    <a:pt x="380" y="1512"/>
                    <a:pt x="380" y="1512"/>
                    <a:pt x="380" y="1512"/>
                  </a:cubicBezTo>
                  <a:cubicBezTo>
                    <a:pt x="369" y="1520"/>
                    <a:pt x="352" y="1511"/>
                    <a:pt x="338" y="1511"/>
                  </a:cubicBezTo>
                  <a:cubicBezTo>
                    <a:pt x="334" y="1510"/>
                    <a:pt x="329" y="1510"/>
                    <a:pt x="325" y="1509"/>
                  </a:cubicBezTo>
                  <a:cubicBezTo>
                    <a:pt x="323" y="1508"/>
                    <a:pt x="316" y="1506"/>
                    <a:pt x="318" y="1508"/>
                  </a:cubicBezTo>
                  <a:cubicBezTo>
                    <a:pt x="330" y="1519"/>
                    <a:pt x="372" y="1519"/>
                    <a:pt x="381" y="1513"/>
                  </a:cubicBezTo>
                  <a:cubicBezTo>
                    <a:pt x="386" y="1510"/>
                    <a:pt x="397" y="1517"/>
                    <a:pt x="397" y="1512"/>
                  </a:cubicBezTo>
                  <a:close/>
                  <a:moveTo>
                    <a:pt x="425" y="1821"/>
                  </a:moveTo>
                  <a:cubicBezTo>
                    <a:pt x="421" y="1814"/>
                    <a:pt x="401" y="1805"/>
                    <a:pt x="402" y="1797"/>
                  </a:cubicBezTo>
                  <a:cubicBezTo>
                    <a:pt x="402" y="1797"/>
                    <a:pt x="402" y="1797"/>
                    <a:pt x="402" y="1797"/>
                  </a:cubicBezTo>
                  <a:cubicBezTo>
                    <a:pt x="402" y="1794"/>
                    <a:pt x="392" y="1795"/>
                    <a:pt x="395" y="1800"/>
                  </a:cubicBezTo>
                  <a:cubicBezTo>
                    <a:pt x="399" y="1806"/>
                    <a:pt x="408" y="1809"/>
                    <a:pt x="412" y="1814"/>
                  </a:cubicBezTo>
                  <a:cubicBezTo>
                    <a:pt x="416" y="1817"/>
                    <a:pt x="426" y="1826"/>
                    <a:pt x="425" y="1821"/>
                  </a:cubicBezTo>
                  <a:close/>
                  <a:moveTo>
                    <a:pt x="515" y="1230"/>
                  </a:moveTo>
                  <a:cubicBezTo>
                    <a:pt x="516" y="1231"/>
                    <a:pt x="520" y="1229"/>
                    <a:pt x="521" y="1229"/>
                  </a:cubicBezTo>
                  <a:cubicBezTo>
                    <a:pt x="526" y="1228"/>
                    <a:pt x="564" y="1238"/>
                    <a:pt x="562" y="1231"/>
                  </a:cubicBezTo>
                  <a:cubicBezTo>
                    <a:pt x="560" y="1228"/>
                    <a:pt x="569" y="1231"/>
                    <a:pt x="566" y="1228"/>
                  </a:cubicBezTo>
                  <a:cubicBezTo>
                    <a:pt x="565" y="1227"/>
                    <a:pt x="565" y="1227"/>
                    <a:pt x="565" y="1227"/>
                  </a:cubicBezTo>
                  <a:cubicBezTo>
                    <a:pt x="557" y="1225"/>
                    <a:pt x="531" y="1226"/>
                    <a:pt x="522" y="1227"/>
                  </a:cubicBezTo>
                  <a:cubicBezTo>
                    <a:pt x="521" y="1227"/>
                    <a:pt x="514" y="1228"/>
                    <a:pt x="515" y="1230"/>
                  </a:cubicBezTo>
                  <a:close/>
                  <a:moveTo>
                    <a:pt x="492" y="1706"/>
                  </a:moveTo>
                  <a:cubicBezTo>
                    <a:pt x="492" y="1705"/>
                    <a:pt x="501" y="1689"/>
                    <a:pt x="499" y="1689"/>
                  </a:cubicBezTo>
                  <a:cubicBezTo>
                    <a:pt x="495" y="1690"/>
                    <a:pt x="497" y="1698"/>
                    <a:pt x="494" y="1698"/>
                  </a:cubicBezTo>
                  <a:cubicBezTo>
                    <a:pt x="483" y="1701"/>
                    <a:pt x="483" y="1677"/>
                    <a:pt x="470" y="1707"/>
                  </a:cubicBezTo>
                  <a:cubicBezTo>
                    <a:pt x="469" y="1708"/>
                    <a:pt x="469" y="1709"/>
                    <a:pt x="469" y="1710"/>
                  </a:cubicBezTo>
                  <a:cubicBezTo>
                    <a:pt x="470" y="1711"/>
                    <a:pt x="476" y="1705"/>
                    <a:pt x="477" y="1704"/>
                  </a:cubicBezTo>
                  <a:cubicBezTo>
                    <a:pt x="488" y="1701"/>
                    <a:pt x="503" y="1729"/>
                    <a:pt x="497" y="1714"/>
                  </a:cubicBezTo>
                  <a:cubicBezTo>
                    <a:pt x="496" y="1711"/>
                    <a:pt x="494" y="1709"/>
                    <a:pt x="493" y="1706"/>
                  </a:cubicBezTo>
                  <a:lnTo>
                    <a:pt x="492" y="1706"/>
                  </a:lnTo>
                  <a:close/>
                  <a:moveTo>
                    <a:pt x="509" y="1639"/>
                  </a:moveTo>
                  <a:cubicBezTo>
                    <a:pt x="507" y="1634"/>
                    <a:pt x="499" y="1631"/>
                    <a:pt x="499" y="1630"/>
                  </a:cubicBezTo>
                  <a:cubicBezTo>
                    <a:pt x="498" y="1627"/>
                    <a:pt x="498" y="1623"/>
                    <a:pt x="498" y="1620"/>
                  </a:cubicBezTo>
                  <a:cubicBezTo>
                    <a:pt x="498" y="1620"/>
                    <a:pt x="498" y="1620"/>
                    <a:pt x="498" y="1620"/>
                  </a:cubicBezTo>
                  <a:cubicBezTo>
                    <a:pt x="500" y="1618"/>
                    <a:pt x="500" y="1616"/>
                    <a:pt x="500" y="1615"/>
                  </a:cubicBezTo>
                  <a:cubicBezTo>
                    <a:pt x="500" y="1615"/>
                    <a:pt x="500" y="1614"/>
                    <a:pt x="500" y="1614"/>
                  </a:cubicBezTo>
                  <a:cubicBezTo>
                    <a:pt x="500" y="1612"/>
                    <a:pt x="499" y="1611"/>
                    <a:pt x="498" y="1609"/>
                  </a:cubicBezTo>
                  <a:cubicBezTo>
                    <a:pt x="498" y="1603"/>
                    <a:pt x="496" y="1597"/>
                    <a:pt x="488" y="1592"/>
                  </a:cubicBezTo>
                  <a:cubicBezTo>
                    <a:pt x="487" y="1592"/>
                    <a:pt x="487" y="1592"/>
                    <a:pt x="487" y="1592"/>
                  </a:cubicBezTo>
                  <a:cubicBezTo>
                    <a:pt x="476" y="1590"/>
                    <a:pt x="492" y="1600"/>
                    <a:pt x="498" y="1609"/>
                  </a:cubicBezTo>
                  <a:cubicBezTo>
                    <a:pt x="498" y="1613"/>
                    <a:pt x="498" y="1616"/>
                    <a:pt x="498" y="1620"/>
                  </a:cubicBezTo>
                  <a:cubicBezTo>
                    <a:pt x="490" y="1627"/>
                    <a:pt x="503" y="1634"/>
                    <a:pt x="504" y="1640"/>
                  </a:cubicBezTo>
                  <a:cubicBezTo>
                    <a:pt x="504" y="1645"/>
                    <a:pt x="495" y="1669"/>
                    <a:pt x="505" y="1670"/>
                  </a:cubicBezTo>
                  <a:cubicBezTo>
                    <a:pt x="506" y="1670"/>
                    <a:pt x="506" y="1670"/>
                    <a:pt x="507" y="1670"/>
                  </a:cubicBezTo>
                  <a:cubicBezTo>
                    <a:pt x="509" y="1668"/>
                    <a:pt x="503" y="1663"/>
                    <a:pt x="503" y="1660"/>
                  </a:cubicBezTo>
                  <a:cubicBezTo>
                    <a:pt x="504" y="1653"/>
                    <a:pt x="509" y="1650"/>
                    <a:pt x="512" y="1645"/>
                  </a:cubicBezTo>
                  <a:cubicBezTo>
                    <a:pt x="513" y="1643"/>
                    <a:pt x="509" y="1641"/>
                    <a:pt x="509" y="1639"/>
                  </a:cubicBezTo>
                  <a:close/>
                  <a:moveTo>
                    <a:pt x="568" y="1667"/>
                  </a:moveTo>
                  <a:cubicBezTo>
                    <a:pt x="575" y="1667"/>
                    <a:pt x="563" y="1658"/>
                    <a:pt x="565" y="1651"/>
                  </a:cubicBezTo>
                  <a:cubicBezTo>
                    <a:pt x="565" y="1649"/>
                    <a:pt x="566" y="1648"/>
                    <a:pt x="565" y="1649"/>
                  </a:cubicBezTo>
                  <a:cubicBezTo>
                    <a:pt x="565" y="1649"/>
                    <a:pt x="565" y="1649"/>
                    <a:pt x="565" y="1649"/>
                  </a:cubicBezTo>
                  <a:cubicBezTo>
                    <a:pt x="565" y="1650"/>
                    <a:pt x="565" y="1650"/>
                    <a:pt x="565" y="1651"/>
                  </a:cubicBezTo>
                  <a:cubicBezTo>
                    <a:pt x="562" y="1656"/>
                    <a:pt x="558" y="1667"/>
                    <a:pt x="568" y="1667"/>
                  </a:cubicBezTo>
                  <a:close/>
                  <a:moveTo>
                    <a:pt x="566" y="1714"/>
                  </a:moveTo>
                  <a:cubicBezTo>
                    <a:pt x="566" y="1714"/>
                    <a:pt x="566" y="1714"/>
                    <a:pt x="566" y="1714"/>
                  </a:cubicBezTo>
                  <a:cubicBezTo>
                    <a:pt x="560" y="1709"/>
                    <a:pt x="566" y="1718"/>
                    <a:pt x="567" y="1720"/>
                  </a:cubicBezTo>
                  <a:cubicBezTo>
                    <a:pt x="574" y="1730"/>
                    <a:pt x="577" y="1740"/>
                    <a:pt x="578" y="1754"/>
                  </a:cubicBezTo>
                  <a:cubicBezTo>
                    <a:pt x="578" y="1756"/>
                    <a:pt x="578" y="1759"/>
                    <a:pt x="581" y="1758"/>
                  </a:cubicBezTo>
                  <a:cubicBezTo>
                    <a:pt x="591" y="1754"/>
                    <a:pt x="569" y="1718"/>
                    <a:pt x="566" y="1714"/>
                  </a:cubicBezTo>
                  <a:close/>
                  <a:moveTo>
                    <a:pt x="584" y="1621"/>
                  </a:moveTo>
                  <a:cubicBezTo>
                    <a:pt x="583" y="1616"/>
                    <a:pt x="582" y="1625"/>
                    <a:pt x="577" y="1621"/>
                  </a:cubicBezTo>
                  <a:cubicBezTo>
                    <a:pt x="560" y="1610"/>
                    <a:pt x="572" y="1582"/>
                    <a:pt x="548" y="1578"/>
                  </a:cubicBezTo>
                  <a:cubicBezTo>
                    <a:pt x="547" y="1578"/>
                    <a:pt x="565" y="1600"/>
                    <a:pt x="546" y="1597"/>
                  </a:cubicBezTo>
                  <a:cubicBezTo>
                    <a:pt x="529" y="1594"/>
                    <a:pt x="534" y="1573"/>
                    <a:pt x="519" y="1562"/>
                  </a:cubicBezTo>
                  <a:cubicBezTo>
                    <a:pt x="519" y="1562"/>
                    <a:pt x="519" y="1562"/>
                    <a:pt x="519" y="1562"/>
                  </a:cubicBezTo>
                  <a:cubicBezTo>
                    <a:pt x="511" y="1558"/>
                    <a:pt x="509" y="1552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8" y="1546"/>
                    <a:pt x="508" y="1545"/>
                    <a:pt x="508" y="1545"/>
                  </a:cubicBezTo>
                  <a:cubicBezTo>
                    <a:pt x="508" y="1545"/>
                    <a:pt x="508" y="1547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9" y="1549"/>
                    <a:pt x="508" y="1551"/>
                    <a:pt x="508" y="1552"/>
                  </a:cubicBezTo>
                  <a:cubicBezTo>
                    <a:pt x="505" y="1561"/>
                    <a:pt x="521" y="1566"/>
                    <a:pt x="527" y="1573"/>
                  </a:cubicBezTo>
                  <a:cubicBezTo>
                    <a:pt x="533" y="1580"/>
                    <a:pt x="527" y="1590"/>
                    <a:pt x="534" y="1595"/>
                  </a:cubicBezTo>
                  <a:cubicBezTo>
                    <a:pt x="544" y="1604"/>
                    <a:pt x="557" y="1608"/>
                    <a:pt x="567" y="1616"/>
                  </a:cubicBezTo>
                  <a:cubicBezTo>
                    <a:pt x="576" y="1623"/>
                    <a:pt x="570" y="1632"/>
                    <a:pt x="575" y="1640"/>
                  </a:cubicBezTo>
                  <a:cubicBezTo>
                    <a:pt x="576" y="1642"/>
                    <a:pt x="577" y="1650"/>
                    <a:pt x="579" y="1648"/>
                  </a:cubicBezTo>
                  <a:cubicBezTo>
                    <a:pt x="581" y="1647"/>
                    <a:pt x="579" y="1636"/>
                    <a:pt x="579" y="1633"/>
                  </a:cubicBezTo>
                  <a:cubicBezTo>
                    <a:pt x="579" y="1629"/>
                    <a:pt x="585" y="1624"/>
                    <a:pt x="584" y="1621"/>
                  </a:cubicBezTo>
                  <a:close/>
                  <a:moveTo>
                    <a:pt x="585" y="1492"/>
                  </a:moveTo>
                  <a:cubicBezTo>
                    <a:pt x="580" y="1482"/>
                    <a:pt x="583" y="1474"/>
                    <a:pt x="579" y="1464"/>
                  </a:cubicBezTo>
                  <a:cubicBezTo>
                    <a:pt x="579" y="1464"/>
                    <a:pt x="579" y="1464"/>
                    <a:pt x="579" y="1464"/>
                  </a:cubicBezTo>
                  <a:cubicBezTo>
                    <a:pt x="577" y="1461"/>
                    <a:pt x="578" y="1504"/>
                    <a:pt x="589" y="1504"/>
                  </a:cubicBezTo>
                  <a:cubicBezTo>
                    <a:pt x="593" y="1504"/>
                    <a:pt x="586" y="1493"/>
                    <a:pt x="585" y="1492"/>
                  </a:cubicBezTo>
                  <a:close/>
                  <a:moveTo>
                    <a:pt x="38" y="1632"/>
                  </a:moveTo>
                  <a:cubicBezTo>
                    <a:pt x="46" y="1625"/>
                    <a:pt x="17" y="1619"/>
                    <a:pt x="16" y="1619"/>
                  </a:cubicBezTo>
                  <a:cubicBezTo>
                    <a:pt x="16" y="1619"/>
                    <a:pt x="16" y="1619"/>
                    <a:pt x="16" y="1619"/>
                  </a:cubicBezTo>
                  <a:cubicBezTo>
                    <a:pt x="12" y="1618"/>
                    <a:pt x="33" y="1636"/>
                    <a:pt x="38" y="1632"/>
                  </a:cubicBezTo>
                  <a:close/>
                  <a:moveTo>
                    <a:pt x="168" y="1435"/>
                  </a:moveTo>
                  <a:cubicBezTo>
                    <a:pt x="164" y="1435"/>
                    <a:pt x="163" y="1438"/>
                    <a:pt x="161" y="1440"/>
                  </a:cubicBezTo>
                  <a:cubicBezTo>
                    <a:pt x="164" y="1439"/>
                    <a:pt x="167" y="1436"/>
                    <a:pt x="171" y="1435"/>
                  </a:cubicBezTo>
                  <a:cubicBezTo>
                    <a:pt x="170" y="1435"/>
                    <a:pt x="169" y="1435"/>
                    <a:pt x="168" y="1435"/>
                  </a:cubicBezTo>
                  <a:close/>
                  <a:moveTo>
                    <a:pt x="31" y="1620"/>
                  </a:moveTo>
                  <a:cubicBezTo>
                    <a:pt x="34" y="1617"/>
                    <a:pt x="9" y="1598"/>
                    <a:pt x="7" y="1597"/>
                  </a:cubicBezTo>
                  <a:cubicBezTo>
                    <a:pt x="6" y="1597"/>
                    <a:pt x="6" y="1597"/>
                    <a:pt x="6" y="1597"/>
                  </a:cubicBezTo>
                  <a:cubicBezTo>
                    <a:pt x="0" y="1595"/>
                    <a:pt x="24" y="1625"/>
                    <a:pt x="31" y="1620"/>
                  </a:cubicBezTo>
                  <a:close/>
                  <a:moveTo>
                    <a:pt x="20" y="1628"/>
                  </a:moveTo>
                  <a:cubicBezTo>
                    <a:pt x="16" y="1626"/>
                    <a:pt x="22" y="1638"/>
                    <a:pt x="24" y="1635"/>
                  </a:cubicBezTo>
                  <a:cubicBezTo>
                    <a:pt x="26" y="1633"/>
                    <a:pt x="31" y="1653"/>
                    <a:pt x="39" y="1648"/>
                  </a:cubicBezTo>
                  <a:cubicBezTo>
                    <a:pt x="50" y="1641"/>
                    <a:pt x="22" y="1630"/>
                    <a:pt x="20" y="1628"/>
                  </a:cubicBezTo>
                  <a:close/>
                  <a:moveTo>
                    <a:pt x="130" y="1797"/>
                  </a:moveTo>
                  <a:cubicBezTo>
                    <a:pt x="130" y="1797"/>
                    <a:pt x="130" y="1797"/>
                    <a:pt x="130" y="1798"/>
                  </a:cubicBezTo>
                  <a:cubicBezTo>
                    <a:pt x="130" y="1798"/>
                    <a:pt x="130" y="1798"/>
                    <a:pt x="130" y="1798"/>
                  </a:cubicBezTo>
                  <a:cubicBezTo>
                    <a:pt x="130" y="1797"/>
                    <a:pt x="130" y="1797"/>
                    <a:pt x="130" y="1797"/>
                  </a:cubicBezTo>
                  <a:close/>
                  <a:moveTo>
                    <a:pt x="60" y="1703"/>
                  </a:moveTo>
                  <a:cubicBezTo>
                    <a:pt x="61" y="1700"/>
                    <a:pt x="59" y="1695"/>
                    <a:pt x="57" y="1694"/>
                  </a:cubicBezTo>
                  <a:cubicBezTo>
                    <a:pt x="57" y="1694"/>
                    <a:pt x="57" y="1694"/>
                    <a:pt x="57" y="1694"/>
                  </a:cubicBezTo>
                  <a:cubicBezTo>
                    <a:pt x="49" y="1693"/>
                    <a:pt x="56" y="1713"/>
                    <a:pt x="60" y="1703"/>
                  </a:cubicBezTo>
                  <a:close/>
                  <a:moveTo>
                    <a:pt x="57" y="1814"/>
                  </a:moveTo>
                  <a:cubicBezTo>
                    <a:pt x="57" y="1814"/>
                    <a:pt x="57" y="1814"/>
                    <a:pt x="57" y="1814"/>
                  </a:cubicBezTo>
                  <a:cubicBezTo>
                    <a:pt x="56" y="1814"/>
                    <a:pt x="52" y="1830"/>
                    <a:pt x="61" y="1825"/>
                  </a:cubicBezTo>
                  <a:cubicBezTo>
                    <a:pt x="65" y="1823"/>
                    <a:pt x="59" y="1816"/>
                    <a:pt x="57" y="1814"/>
                  </a:cubicBezTo>
                  <a:close/>
                  <a:moveTo>
                    <a:pt x="42" y="1791"/>
                  </a:moveTo>
                  <a:cubicBezTo>
                    <a:pt x="40" y="1789"/>
                    <a:pt x="40" y="1791"/>
                    <a:pt x="40" y="1793"/>
                  </a:cubicBezTo>
                  <a:cubicBezTo>
                    <a:pt x="41" y="1808"/>
                    <a:pt x="40" y="1807"/>
                    <a:pt x="38" y="1826"/>
                  </a:cubicBezTo>
                  <a:cubicBezTo>
                    <a:pt x="38" y="1827"/>
                    <a:pt x="38" y="1828"/>
                    <a:pt x="38" y="1828"/>
                  </a:cubicBezTo>
                  <a:cubicBezTo>
                    <a:pt x="55" y="1835"/>
                    <a:pt x="50" y="1797"/>
                    <a:pt x="42" y="1791"/>
                  </a:cubicBezTo>
                  <a:close/>
                  <a:moveTo>
                    <a:pt x="50" y="1716"/>
                  </a:moveTo>
                  <a:cubicBezTo>
                    <a:pt x="41" y="1730"/>
                    <a:pt x="61" y="1742"/>
                    <a:pt x="62" y="1741"/>
                  </a:cubicBezTo>
                  <a:cubicBezTo>
                    <a:pt x="76" y="1737"/>
                    <a:pt x="64" y="1715"/>
                    <a:pt x="55" y="1711"/>
                  </a:cubicBezTo>
                  <a:cubicBezTo>
                    <a:pt x="55" y="1711"/>
                    <a:pt x="55" y="1711"/>
                    <a:pt x="55" y="1711"/>
                  </a:cubicBezTo>
                  <a:cubicBezTo>
                    <a:pt x="55" y="1709"/>
                    <a:pt x="51" y="1714"/>
                    <a:pt x="50" y="1716"/>
                  </a:cubicBezTo>
                  <a:close/>
                  <a:moveTo>
                    <a:pt x="581" y="991"/>
                  </a:moveTo>
                  <a:cubicBezTo>
                    <a:pt x="582" y="990"/>
                    <a:pt x="582" y="989"/>
                    <a:pt x="582" y="988"/>
                  </a:cubicBezTo>
                  <a:cubicBezTo>
                    <a:pt x="581" y="989"/>
                    <a:pt x="581" y="990"/>
                    <a:pt x="581" y="991"/>
                  </a:cubicBezTo>
                  <a:close/>
                  <a:moveTo>
                    <a:pt x="912" y="635"/>
                  </a:moveTo>
                  <a:cubicBezTo>
                    <a:pt x="913" y="635"/>
                    <a:pt x="913" y="635"/>
                    <a:pt x="914" y="634"/>
                  </a:cubicBezTo>
                  <a:cubicBezTo>
                    <a:pt x="913" y="635"/>
                    <a:pt x="913" y="635"/>
                    <a:pt x="912" y="635"/>
                  </a:cubicBezTo>
                  <a:close/>
                  <a:moveTo>
                    <a:pt x="582" y="988"/>
                  </a:moveTo>
                  <a:cubicBezTo>
                    <a:pt x="582" y="987"/>
                    <a:pt x="583" y="987"/>
                    <a:pt x="583" y="986"/>
                  </a:cubicBezTo>
                  <a:cubicBezTo>
                    <a:pt x="583" y="985"/>
                    <a:pt x="577" y="984"/>
                    <a:pt x="576" y="983"/>
                  </a:cubicBezTo>
                  <a:cubicBezTo>
                    <a:pt x="567" y="969"/>
                    <a:pt x="538" y="997"/>
                    <a:pt x="551" y="992"/>
                  </a:cubicBezTo>
                  <a:cubicBezTo>
                    <a:pt x="553" y="990"/>
                    <a:pt x="556" y="988"/>
                    <a:pt x="558" y="987"/>
                  </a:cubicBezTo>
                  <a:cubicBezTo>
                    <a:pt x="559" y="986"/>
                    <a:pt x="559" y="986"/>
                    <a:pt x="559" y="986"/>
                  </a:cubicBezTo>
                  <a:cubicBezTo>
                    <a:pt x="560" y="985"/>
                    <a:pt x="561" y="985"/>
                    <a:pt x="563" y="986"/>
                  </a:cubicBezTo>
                  <a:cubicBezTo>
                    <a:pt x="569" y="992"/>
                    <a:pt x="577" y="995"/>
                    <a:pt x="581" y="991"/>
                  </a:cubicBezTo>
                  <a:cubicBezTo>
                    <a:pt x="581" y="990"/>
                    <a:pt x="581" y="989"/>
                    <a:pt x="582" y="988"/>
                  </a:cubicBezTo>
                  <a:close/>
                  <a:moveTo>
                    <a:pt x="780" y="729"/>
                  </a:moveTo>
                  <a:cubicBezTo>
                    <a:pt x="781" y="728"/>
                    <a:pt x="783" y="727"/>
                    <a:pt x="784" y="727"/>
                  </a:cubicBezTo>
                  <a:cubicBezTo>
                    <a:pt x="782" y="727"/>
                    <a:pt x="781" y="728"/>
                    <a:pt x="780" y="729"/>
                  </a:cubicBezTo>
                  <a:close/>
                  <a:moveTo>
                    <a:pt x="491" y="1220"/>
                  </a:moveTo>
                  <a:cubicBezTo>
                    <a:pt x="490" y="1220"/>
                    <a:pt x="489" y="1220"/>
                    <a:pt x="488" y="1220"/>
                  </a:cubicBezTo>
                  <a:cubicBezTo>
                    <a:pt x="490" y="1221"/>
                    <a:pt x="491" y="1221"/>
                    <a:pt x="492" y="1222"/>
                  </a:cubicBezTo>
                  <a:cubicBezTo>
                    <a:pt x="492" y="1221"/>
                    <a:pt x="491" y="1220"/>
                    <a:pt x="491" y="1220"/>
                  </a:cubicBezTo>
                  <a:close/>
                  <a:moveTo>
                    <a:pt x="546" y="1064"/>
                  </a:move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lose/>
                  <a:moveTo>
                    <a:pt x="56" y="1708"/>
                  </a:moveTo>
                  <a:cubicBezTo>
                    <a:pt x="56" y="1714"/>
                    <a:pt x="67" y="1713"/>
                    <a:pt x="67" y="1713"/>
                  </a:cubicBezTo>
                  <a:cubicBezTo>
                    <a:pt x="75" y="1727"/>
                    <a:pt x="79" y="1717"/>
                    <a:pt x="83" y="1706"/>
                  </a:cubicBezTo>
                  <a:cubicBezTo>
                    <a:pt x="83" y="1705"/>
                    <a:pt x="83" y="1705"/>
                    <a:pt x="83" y="1705"/>
                  </a:cubicBezTo>
                  <a:cubicBezTo>
                    <a:pt x="84" y="1683"/>
                    <a:pt x="63" y="1706"/>
                    <a:pt x="60" y="1706"/>
                  </a:cubicBezTo>
                  <a:cubicBezTo>
                    <a:pt x="59" y="1706"/>
                    <a:pt x="56" y="1706"/>
                    <a:pt x="56" y="1708"/>
                  </a:cubicBezTo>
                  <a:close/>
                  <a:moveTo>
                    <a:pt x="610" y="982"/>
                  </a:moveTo>
                  <a:cubicBezTo>
                    <a:pt x="609" y="983"/>
                    <a:pt x="606" y="983"/>
                    <a:pt x="603" y="983"/>
                  </a:cubicBezTo>
                  <a:cubicBezTo>
                    <a:pt x="605" y="984"/>
                    <a:pt x="608" y="983"/>
                    <a:pt x="610" y="982"/>
                  </a:cubicBezTo>
                  <a:close/>
                  <a:moveTo>
                    <a:pt x="42" y="1762"/>
                  </a:moveTo>
                  <a:cubicBezTo>
                    <a:pt x="45" y="1755"/>
                    <a:pt x="31" y="1748"/>
                    <a:pt x="43" y="1742"/>
                  </a:cubicBezTo>
                  <a:cubicBezTo>
                    <a:pt x="52" y="1737"/>
                    <a:pt x="48" y="1748"/>
                    <a:pt x="48" y="1751"/>
                  </a:cubicBezTo>
                  <a:cubicBezTo>
                    <a:pt x="48" y="1754"/>
                    <a:pt x="53" y="1750"/>
                    <a:pt x="54" y="1749"/>
                  </a:cubicBezTo>
                  <a:cubicBezTo>
                    <a:pt x="57" y="1747"/>
                    <a:pt x="49" y="1739"/>
                    <a:pt x="48" y="1736"/>
                  </a:cubicBezTo>
                  <a:cubicBezTo>
                    <a:pt x="47" y="1732"/>
                    <a:pt x="40" y="1730"/>
                    <a:pt x="38" y="1725"/>
                  </a:cubicBezTo>
                  <a:cubicBezTo>
                    <a:pt x="38" y="1725"/>
                    <a:pt x="38" y="1725"/>
                    <a:pt x="38" y="1725"/>
                  </a:cubicBezTo>
                  <a:cubicBezTo>
                    <a:pt x="36" y="1724"/>
                    <a:pt x="39" y="1730"/>
                    <a:pt x="37" y="1731"/>
                  </a:cubicBezTo>
                  <a:cubicBezTo>
                    <a:pt x="23" y="1742"/>
                    <a:pt x="44" y="1734"/>
                    <a:pt x="35" y="1750"/>
                  </a:cubicBezTo>
                  <a:cubicBezTo>
                    <a:pt x="33" y="1754"/>
                    <a:pt x="35" y="1763"/>
                    <a:pt x="37" y="1766"/>
                  </a:cubicBezTo>
                  <a:cubicBezTo>
                    <a:pt x="38" y="1767"/>
                    <a:pt x="42" y="1763"/>
                    <a:pt x="42" y="1762"/>
                  </a:cubicBezTo>
                  <a:close/>
                  <a:moveTo>
                    <a:pt x="346" y="1178"/>
                  </a:moveTo>
                  <a:cubicBezTo>
                    <a:pt x="345" y="1178"/>
                    <a:pt x="340" y="1177"/>
                    <a:pt x="340" y="1180"/>
                  </a:cubicBezTo>
                  <a:cubicBezTo>
                    <a:pt x="340" y="1182"/>
                    <a:pt x="356" y="1183"/>
                    <a:pt x="356" y="1185"/>
                  </a:cubicBezTo>
                  <a:cubicBezTo>
                    <a:pt x="356" y="1187"/>
                    <a:pt x="350" y="1185"/>
                    <a:pt x="350" y="1185"/>
                  </a:cubicBezTo>
                  <a:cubicBezTo>
                    <a:pt x="339" y="1183"/>
                    <a:pt x="316" y="1187"/>
                    <a:pt x="317" y="1202"/>
                  </a:cubicBezTo>
                  <a:cubicBezTo>
                    <a:pt x="317" y="1210"/>
                    <a:pt x="354" y="1199"/>
                    <a:pt x="363" y="1197"/>
                  </a:cubicBezTo>
                  <a:cubicBezTo>
                    <a:pt x="373" y="1196"/>
                    <a:pt x="386" y="1195"/>
                    <a:pt x="393" y="1187"/>
                  </a:cubicBezTo>
                  <a:cubicBezTo>
                    <a:pt x="394" y="1187"/>
                    <a:pt x="394" y="1187"/>
                    <a:pt x="394" y="1187"/>
                  </a:cubicBezTo>
                  <a:cubicBezTo>
                    <a:pt x="399" y="1185"/>
                    <a:pt x="392" y="1186"/>
                    <a:pt x="392" y="1183"/>
                  </a:cubicBezTo>
                  <a:cubicBezTo>
                    <a:pt x="391" y="1175"/>
                    <a:pt x="381" y="1183"/>
                    <a:pt x="379" y="1182"/>
                  </a:cubicBezTo>
                  <a:cubicBezTo>
                    <a:pt x="374" y="1180"/>
                    <a:pt x="384" y="1168"/>
                    <a:pt x="373" y="1173"/>
                  </a:cubicBezTo>
                  <a:cubicBezTo>
                    <a:pt x="372" y="1173"/>
                    <a:pt x="370" y="1173"/>
                    <a:pt x="369" y="1174"/>
                  </a:cubicBezTo>
                  <a:cubicBezTo>
                    <a:pt x="369" y="1174"/>
                    <a:pt x="355" y="1180"/>
                    <a:pt x="346" y="1178"/>
                  </a:cubicBezTo>
                  <a:close/>
                  <a:moveTo>
                    <a:pt x="552" y="974"/>
                  </a:moveTo>
                  <a:cubicBezTo>
                    <a:pt x="552" y="972"/>
                    <a:pt x="548" y="973"/>
                    <a:pt x="547" y="972"/>
                  </a:cubicBezTo>
                  <a:cubicBezTo>
                    <a:pt x="537" y="971"/>
                    <a:pt x="544" y="982"/>
                    <a:pt x="552" y="975"/>
                  </a:cubicBezTo>
                  <a:cubicBezTo>
                    <a:pt x="552" y="975"/>
                    <a:pt x="552" y="975"/>
                    <a:pt x="552" y="975"/>
                  </a:cubicBezTo>
                  <a:cubicBezTo>
                    <a:pt x="552" y="974"/>
                    <a:pt x="552" y="974"/>
                    <a:pt x="552" y="974"/>
                  </a:cubicBezTo>
                  <a:close/>
                  <a:moveTo>
                    <a:pt x="706" y="802"/>
                  </a:move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lose/>
                  <a:moveTo>
                    <a:pt x="718" y="785"/>
                  </a:moveTo>
                  <a:cubicBezTo>
                    <a:pt x="722" y="785"/>
                    <a:pt x="726" y="779"/>
                    <a:pt x="726" y="776"/>
                  </a:cubicBezTo>
                  <a:cubicBezTo>
                    <a:pt x="726" y="776"/>
                    <a:pt x="726" y="776"/>
                    <a:pt x="726" y="776"/>
                  </a:cubicBezTo>
                  <a:cubicBezTo>
                    <a:pt x="723" y="768"/>
                    <a:pt x="703" y="783"/>
                    <a:pt x="718" y="785"/>
                  </a:cubicBezTo>
                  <a:close/>
                  <a:moveTo>
                    <a:pt x="558" y="981"/>
                  </a:moveTo>
                  <a:cubicBezTo>
                    <a:pt x="559" y="980"/>
                    <a:pt x="559" y="980"/>
                    <a:pt x="559" y="980"/>
                  </a:cubicBezTo>
                  <a:cubicBezTo>
                    <a:pt x="576" y="966"/>
                    <a:pt x="558" y="974"/>
                    <a:pt x="546" y="981"/>
                  </a:cubicBezTo>
                  <a:cubicBezTo>
                    <a:pt x="524" y="994"/>
                    <a:pt x="541" y="990"/>
                    <a:pt x="558" y="981"/>
                  </a:cubicBezTo>
                  <a:close/>
                  <a:moveTo>
                    <a:pt x="1452" y="185"/>
                  </a:moveTo>
                  <a:cubicBezTo>
                    <a:pt x="1453" y="186"/>
                    <a:pt x="1453" y="186"/>
                    <a:pt x="1453" y="186"/>
                  </a:cubicBezTo>
                  <a:cubicBezTo>
                    <a:pt x="1473" y="188"/>
                    <a:pt x="1448" y="173"/>
                    <a:pt x="1452" y="185"/>
                  </a:cubicBezTo>
                  <a:close/>
                  <a:moveTo>
                    <a:pt x="1447" y="177"/>
                  </a:moveTo>
                  <a:cubicBezTo>
                    <a:pt x="1467" y="172"/>
                    <a:pt x="1421" y="161"/>
                    <a:pt x="1444" y="177"/>
                  </a:cubicBezTo>
                  <a:lnTo>
                    <a:pt x="1447" y="177"/>
                  </a:lnTo>
                  <a:close/>
                  <a:moveTo>
                    <a:pt x="1434" y="200"/>
                  </a:moveTo>
                  <a:cubicBezTo>
                    <a:pt x="1440" y="204"/>
                    <a:pt x="1469" y="186"/>
                    <a:pt x="1451" y="191"/>
                  </a:cubicBezTo>
                  <a:cubicBezTo>
                    <a:pt x="1450" y="192"/>
                    <a:pt x="1450" y="192"/>
                    <a:pt x="1450" y="192"/>
                  </a:cubicBezTo>
                  <a:cubicBezTo>
                    <a:pt x="1446" y="193"/>
                    <a:pt x="1443" y="187"/>
                    <a:pt x="1440" y="185"/>
                  </a:cubicBezTo>
                  <a:cubicBezTo>
                    <a:pt x="1429" y="180"/>
                    <a:pt x="1426" y="196"/>
                    <a:pt x="1434" y="200"/>
                  </a:cubicBezTo>
                  <a:close/>
                  <a:moveTo>
                    <a:pt x="647" y="950"/>
                  </a:moveTo>
                  <a:cubicBezTo>
                    <a:pt x="651" y="941"/>
                    <a:pt x="636" y="952"/>
                    <a:pt x="634" y="955"/>
                  </a:cubicBezTo>
                  <a:cubicBezTo>
                    <a:pt x="632" y="959"/>
                    <a:pt x="629" y="960"/>
                    <a:pt x="626" y="963"/>
                  </a:cubicBezTo>
                  <a:cubicBezTo>
                    <a:pt x="620" y="972"/>
                    <a:pt x="642" y="959"/>
                    <a:pt x="645" y="956"/>
                  </a:cubicBezTo>
                  <a:cubicBezTo>
                    <a:pt x="650" y="952"/>
                    <a:pt x="638" y="957"/>
                    <a:pt x="639" y="955"/>
                  </a:cubicBezTo>
                  <a:cubicBezTo>
                    <a:pt x="640" y="951"/>
                    <a:pt x="646" y="953"/>
                    <a:pt x="647" y="950"/>
                  </a:cubicBezTo>
                  <a:close/>
                  <a:moveTo>
                    <a:pt x="665" y="898"/>
                  </a:moveTo>
                  <a:cubicBezTo>
                    <a:pt x="665" y="897"/>
                    <a:pt x="665" y="897"/>
                    <a:pt x="665" y="897"/>
                  </a:cubicBezTo>
                  <a:cubicBezTo>
                    <a:pt x="656" y="896"/>
                    <a:pt x="657" y="921"/>
                    <a:pt x="665" y="898"/>
                  </a:cubicBezTo>
                  <a:close/>
                  <a:moveTo>
                    <a:pt x="702" y="799"/>
                  </a:moveTo>
                  <a:cubicBezTo>
                    <a:pt x="707" y="797"/>
                    <a:pt x="699" y="798"/>
                    <a:pt x="698" y="798"/>
                  </a:cubicBezTo>
                  <a:cubicBezTo>
                    <a:pt x="694" y="797"/>
                    <a:pt x="703" y="795"/>
                    <a:pt x="703" y="794"/>
                  </a:cubicBezTo>
                  <a:cubicBezTo>
                    <a:pt x="703" y="792"/>
                    <a:pt x="701" y="784"/>
                    <a:pt x="698" y="784"/>
                  </a:cubicBezTo>
                  <a:cubicBezTo>
                    <a:pt x="697" y="784"/>
                    <a:pt x="697" y="786"/>
                    <a:pt x="697" y="786"/>
                  </a:cubicBezTo>
                  <a:cubicBezTo>
                    <a:pt x="696" y="788"/>
                    <a:pt x="694" y="788"/>
                    <a:pt x="693" y="788"/>
                  </a:cubicBezTo>
                  <a:cubicBezTo>
                    <a:pt x="676" y="789"/>
                    <a:pt x="700" y="794"/>
                    <a:pt x="700" y="794"/>
                  </a:cubicBezTo>
                  <a:cubicBezTo>
                    <a:pt x="699" y="795"/>
                    <a:pt x="696" y="795"/>
                    <a:pt x="696" y="795"/>
                  </a:cubicBezTo>
                  <a:cubicBezTo>
                    <a:pt x="689" y="799"/>
                    <a:pt x="674" y="812"/>
                    <a:pt x="674" y="815"/>
                  </a:cubicBezTo>
                  <a:cubicBezTo>
                    <a:pt x="674" y="816"/>
                    <a:pt x="703" y="806"/>
                    <a:pt x="706" y="802"/>
                  </a:cubicBezTo>
                  <a:cubicBezTo>
                    <a:pt x="705" y="803"/>
                    <a:pt x="701" y="800"/>
                    <a:pt x="702" y="799"/>
                  </a:cubicBezTo>
                  <a:close/>
                  <a:moveTo>
                    <a:pt x="607" y="962"/>
                  </a:moveTo>
                  <a:cubicBezTo>
                    <a:pt x="612" y="965"/>
                    <a:pt x="618" y="959"/>
                    <a:pt x="624" y="956"/>
                  </a:cubicBezTo>
                  <a:cubicBezTo>
                    <a:pt x="624" y="956"/>
                    <a:pt x="624" y="956"/>
                    <a:pt x="624" y="956"/>
                  </a:cubicBezTo>
                  <a:cubicBezTo>
                    <a:pt x="640" y="947"/>
                    <a:pt x="597" y="958"/>
                    <a:pt x="607" y="962"/>
                  </a:cubicBezTo>
                  <a:close/>
                  <a:moveTo>
                    <a:pt x="689" y="912"/>
                  </a:moveTo>
                  <a:cubicBezTo>
                    <a:pt x="695" y="909"/>
                    <a:pt x="677" y="880"/>
                    <a:pt x="671" y="882"/>
                  </a:cubicBezTo>
                  <a:cubicBezTo>
                    <a:pt x="667" y="883"/>
                    <a:pt x="670" y="889"/>
                    <a:pt x="670" y="889"/>
                  </a:cubicBezTo>
                  <a:cubicBezTo>
                    <a:pt x="668" y="907"/>
                    <a:pt x="671" y="890"/>
                    <a:pt x="676" y="898"/>
                  </a:cubicBezTo>
                  <a:cubicBezTo>
                    <a:pt x="677" y="899"/>
                    <a:pt x="677" y="899"/>
                    <a:pt x="677" y="899"/>
                  </a:cubicBezTo>
                  <a:cubicBezTo>
                    <a:pt x="677" y="900"/>
                    <a:pt x="665" y="906"/>
                    <a:pt x="663" y="909"/>
                  </a:cubicBezTo>
                  <a:cubicBezTo>
                    <a:pt x="661" y="913"/>
                    <a:pt x="658" y="932"/>
                    <a:pt x="655" y="935"/>
                  </a:cubicBezTo>
                  <a:cubicBezTo>
                    <a:pt x="654" y="935"/>
                    <a:pt x="652" y="937"/>
                    <a:pt x="654" y="938"/>
                  </a:cubicBezTo>
                  <a:cubicBezTo>
                    <a:pt x="654" y="938"/>
                    <a:pt x="654" y="938"/>
                    <a:pt x="655" y="938"/>
                  </a:cubicBezTo>
                  <a:cubicBezTo>
                    <a:pt x="670" y="933"/>
                    <a:pt x="663" y="926"/>
                    <a:pt x="666" y="921"/>
                  </a:cubicBezTo>
                  <a:cubicBezTo>
                    <a:pt x="670" y="914"/>
                    <a:pt x="681" y="917"/>
                    <a:pt x="688" y="914"/>
                  </a:cubicBezTo>
                  <a:cubicBezTo>
                    <a:pt x="688" y="914"/>
                    <a:pt x="688" y="914"/>
                    <a:pt x="688" y="914"/>
                  </a:cubicBezTo>
                  <a:cubicBezTo>
                    <a:pt x="688" y="914"/>
                    <a:pt x="688" y="913"/>
                    <a:pt x="689" y="912"/>
                  </a:cubicBezTo>
                  <a:close/>
                  <a:moveTo>
                    <a:pt x="660" y="941"/>
                  </a:moveTo>
                  <a:cubicBezTo>
                    <a:pt x="659" y="941"/>
                    <a:pt x="658" y="941"/>
                    <a:pt x="657" y="942"/>
                  </a:cubicBezTo>
                  <a:cubicBezTo>
                    <a:pt x="655" y="944"/>
                    <a:pt x="661" y="948"/>
                    <a:pt x="659" y="951"/>
                  </a:cubicBezTo>
                  <a:cubicBezTo>
                    <a:pt x="657" y="954"/>
                    <a:pt x="647" y="955"/>
                    <a:pt x="646" y="958"/>
                  </a:cubicBezTo>
                  <a:cubicBezTo>
                    <a:pt x="645" y="964"/>
                    <a:pt x="672" y="958"/>
                    <a:pt x="675" y="956"/>
                  </a:cubicBezTo>
                  <a:cubicBezTo>
                    <a:pt x="676" y="955"/>
                    <a:pt x="676" y="955"/>
                    <a:pt x="676" y="955"/>
                  </a:cubicBezTo>
                  <a:cubicBezTo>
                    <a:pt x="678" y="950"/>
                    <a:pt x="670" y="953"/>
                    <a:pt x="668" y="952"/>
                  </a:cubicBezTo>
                  <a:cubicBezTo>
                    <a:pt x="667" y="952"/>
                    <a:pt x="672" y="947"/>
                    <a:pt x="672" y="947"/>
                  </a:cubicBezTo>
                  <a:cubicBezTo>
                    <a:pt x="673" y="939"/>
                    <a:pt x="663" y="939"/>
                    <a:pt x="660" y="941"/>
                  </a:cubicBezTo>
                  <a:close/>
                  <a:moveTo>
                    <a:pt x="648" y="864"/>
                  </a:moveTo>
                  <a:cubicBezTo>
                    <a:pt x="648" y="863"/>
                    <a:pt x="648" y="863"/>
                    <a:pt x="648" y="863"/>
                  </a:cubicBezTo>
                  <a:cubicBezTo>
                    <a:pt x="644" y="864"/>
                    <a:pt x="620" y="865"/>
                    <a:pt x="627" y="877"/>
                  </a:cubicBezTo>
                  <a:cubicBezTo>
                    <a:pt x="631" y="885"/>
                    <a:pt x="653" y="875"/>
                    <a:pt x="648" y="864"/>
                  </a:cubicBezTo>
                  <a:close/>
                  <a:moveTo>
                    <a:pt x="1884" y="83"/>
                  </a:moveTo>
                  <a:cubicBezTo>
                    <a:pt x="1885" y="83"/>
                    <a:pt x="1885" y="83"/>
                    <a:pt x="1885" y="83"/>
                  </a:cubicBezTo>
                  <a:cubicBezTo>
                    <a:pt x="1893" y="84"/>
                    <a:pt x="1891" y="75"/>
                    <a:pt x="1890" y="76"/>
                  </a:cubicBezTo>
                  <a:cubicBezTo>
                    <a:pt x="1887" y="76"/>
                    <a:pt x="1880" y="80"/>
                    <a:pt x="1884" y="83"/>
                  </a:cubicBezTo>
                  <a:close/>
                  <a:moveTo>
                    <a:pt x="715" y="558"/>
                  </a:moveTo>
                  <a:cubicBezTo>
                    <a:pt x="715" y="558"/>
                    <a:pt x="715" y="558"/>
                    <a:pt x="715" y="558"/>
                  </a:cubicBezTo>
                  <a:cubicBezTo>
                    <a:pt x="715" y="558"/>
                    <a:pt x="697" y="561"/>
                    <a:pt x="703" y="566"/>
                  </a:cubicBezTo>
                  <a:cubicBezTo>
                    <a:pt x="704" y="567"/>
                    <a:pt x="716" y="561"/>
                    <a:pt x="715" y="558"/>
                  </a:cubicBezTo>
                  <a:close/>
                  <a:moveTo>
                    <a:pt x="281" y="1249"/>
                  </a:moveTo>
                  <a:cubicBezTo>
                    <a:pt x="280" y="1248"/>
                    <a:pt x="280" y="1248"/>
                    <a:pt x="280" y="1248"/>
                  </a:cubicBezTo>
                  <a:cubicBezTo>
                    <a:pt x="265" y="1246"/>
                    <a:pt x="277" y="1260"/>
                    <a:pt x="281" y="1249"/>
                  </a:cubicBezTo>
                  <a:close/>
                  <a:moveTo>
                    <a:pt x="284" y="1257"/>
                  </a:moveTo>
                  <a:cubicBezTo>
                    <a:pt x="284" y="1257"/>
                    <a:pt x="284" y="1257"/>
                    <a:pt x="284" y="1257"/>
                  </a:cubicBezTo>
                  <a:cubicBezTo>
                    <a:pt x="280" y="1251"/>
                    <a:pt x="265" y="1257"/>
                    <a:pt x="263" y="1261"/>
                  </a:cubicBezTo>
                  <a:cubicBezTo>
                    <a:pt x="262" y="1263"/>
                    <a:pt x="282" y="1270"/>
                    <a:pt x="284" y="1257"/>
                  </a:cubicBezTo>
                  <a:close/>
                  <a:moveTo>
                    <a:pt x="308" y="1212"/>
                  </a:moveTo>
                  <a:cubicBezTo>
                    <a:pt x="308" y="1211"/>
                    <a:pt x="308" y="1211"/>
                    <a:pt x="308" y="1211"/>
                  </a:cubicBezTo>
                  <a:cubicBezTo>
                    <a:pt x="303" y="1190"/>
                    <a:pt x="287" y="1209"/>
                    <a:pt x="280" y="1205"/>
                  </a:cubicBezTo>
                  <a:cubicBezTo>
                    <a:pt x="279" y="1205"/>
                    <a:pt x="271" y="1208"/>
                    <a:pt x="272" y="1209"/>
                  </a:cubicBezTo>
                  <a:cubicBezTo>
                    <a:pt x="277" y="1218"/>
                    <a:pt x="299" y="1228"/>
                    <a:pt x="308" y="1212"/>
                  </a:cubicBezTo>
                  <a:close/>
                  <a:moveTo>
                    <a:pt x="298" y="1234"/>
                  </a:moveTo>
                  <a:cubicBezTo>
                    <a:pt x="280" y="1237"/>
                    <a:pt x="287" y="1252"/>
                    <a:pt x="305" y="1247"/>
                  </a:cubicBezTo>
                  <a:cubicBezTo>
                    <a:pt x="306" y="1247"/>
                    <a:pt x="306" y="1247"/>
                    <a:pt x="306" y="1247"/>
                  </a:cubicBezTo>
                  <a:cubicBezTo>
                    <a:pt x="310" y="1246"/>
                    <a:pt x="305" y="1233"/>
                    <a:pt x="298" y="1234"/>
                  </a:cubicBezTo>
                  <a:close/>
                  <a:moveTo>
                    <a:pt x="266" y="1269"/>
                  </a:moveTo>
                  <a:cubicBezTo>
                    <a:pt x="266" y="1268"/>
                    <a:pt x="266" y="1268"/>
                    <a:pt x="266" y="1268"/>
                  </a:cubicBezTo>
                  <a:cubicBezTo>
                    <a:pt x="263" y="1264"/>
                    <a:pt x="262" y="1254"/>
                    <a:pt x="260" y="1252"/>
                  </a:cubicBezTo>
                  <a:cubicBezTo>
                    <a:pt x="254" y="1247"/>
                    <a:pt x="256" y="1265"/>
                    <a:pt x="253" y="1266"/>
                  </a:cubicBezTo>
                  <a:cubicBezTo>
                    <a:pt x="250" y="1267"/>
                    <a:pt x="245" y="1259"/>
                    <a:pt x="243" y="1259"/>
                  </a:cubicBezTo>
                  <a:cubicBezTo>
                    <a:pt x="243" y="1260"/>
                    <a:pt x="235" y="1268"/>
                    <a:pt x="235" y="1270"/>
                  </a:cubicBezTo>
                  <a:cubicBezTo>
                    <a:pt x="237" y="1283"/>
                    <a:pt x="260" y="1273"/>
                    <a:pt x="266" y="1269"/>
                  </a:cubicBezTo>
                  <a:close/>
                  <a:moveTo>
                    <a:pt x="119" y="1331"/>
                  </a:moveTo>
                  <a:cubicBezTo>
                    <a:pt x="118" y="1332"/>
                    <a:pt x="113" y="1335"/>
                    <a:pt x="113" y="1337"/>
                  </a:cubicBezTo>
                  <a:cubicBezTo>
                    <a:pt x="114" y="1338"/>
                    <a:pt x="114" y="1338"/>
                    <a:pt x="114" y="1338"/>
                  </a:cubicBezTo>
                  <a:cubicBezTo>
                    <a:pt x="120" y="1345"/>
                    <a:pt x="125" y="1329"/>
                    <a:pt x="119" y="1331"/>
                  </a:cubicBezTo>
                  <a:close/>
                  <a:moveTo>
                    <a:pt x="308" y="1239"/>
                  </a:moveTo>
                  <a:cubicBezTo>
                    <a:pt x="311" y="1244"/>
                    <a:pt x="309" y="1247"/>
                    <a:pt x="318" y="1245"/>
                  </a:cubicBezTo>
                  <a:cubicBezTo>
                    <a:pt x="318" y="1245"/>
                    <a:pt x="318" y="1245"/>
                    <a:pt x="318" y="1245"/>
                  </a:cubicBezTo>
                  <a:cubicBezTo>
                    <a:pt x="325" y="1244"/>
                    <a:pt x="303" y="1229"/>
                    <a:pt x="308" y="1239"/>
                  </a:cubicBezTo>
                  <a:close/>
                  <a:moveTo>
                    <a:pt x="194" y="1314"/>
                  </a:moveTo>
                  <a:cubicBezTo>
                    <a:pt x="194" y="1314"/>
                    <a:pt x="194" y="1314"/>
                    <a:pt x="194" y="1314"/>
                  </a:cubicBezTo>
                  <a:cubicBezTo>
                    <a:pt x="199" y="1304"/>
                    <a:pt x="166" y="1306"/>
                    <a:pt x="171" y="1317"/>
                  </a:cubicBezTo>
                  <a:cubicBezTo>
                    <a:pt x="173" y="1322"/>
                    <a:pt x="189" y="1316"/>
                    <a:pt x="194" y="1314"/>
                  </a:cubicBezTo>
                  <a:close/>
                  <a:moveTo>
                    <a:pt x="197" y="1293"/>
                  </a:moveTo>
                  <a:cubicBezTo>
                    <a:pt x="194" y="1286"/>
                    <a:pt x="181" y="1295"/>
                    <a:pt x="181" y="1297"/>
                  </a:cubicBezTo>
                  <a:cubicBezTo>
                    <a:pt x="181" y="1308"/>
                    <a:pt x="197" y="1294"/>
                    <a:pt x="197" y="1293"/>
                  </a:cubicBezTo>
                  <a:close/>
                  <a:moveTo>
                    <a:pt x="197" y="1293"/>
                  </a:moveTo>
                  <a:cubicBezTo>
                    <a:pt x="197" y="1293"/>
                    <a:pt x="197" y="1293"/>
                    <a:pt x="197" y="1293"/>
                  </a:cubicBezTo>
                  <a:cubicBezTo>
                    <a:pt x="197" y="1293"/>
                    <a:pt x="197" y="1293"/>
                    <a:pt x="197" y="1293"/>
                  </a:cubicBezTo>
                  <a:close/>
                  <a:moveTo>
                    <a:pt x="342" y="1243"/>
                  </a:moveTo>
                  <a:cubicBezTo>
                    <a:pt x="342" y="1242"/>
                    <a:pt x="342" y="1242"/>
                    <a:pt x="342" y="1242"/>
                  </a:cubicBezTo>
                  <a:cubicBezTo>
                    <a:pt x="344" y="1241"/>
                    <a:pt x="342" y="1239"/>
                    <a:pt x="342" y="1238"/>
                  </a:cubicBezTo>
                  <a:cubicBezTo>
                    <a:pt x="340" y="1235"/>
                    <a:pt x="336" y="1236"/>
                    <a:pt x="334" y="1233"/>
                  </a:cubicBezTo>
                  <a:cubicBezTo>
                    <a:pt x="327" y="1218"/>
                    <a:pt x="330" y="1236"/>
                    <a:pt x="326" y="1236"/>
                  </a:cubicBezTo>
                  <a:cubicBezTo>
                    <a:pt x="325" y="1237"/>
                    <a:pt x="325" y="1230"/>
                    <a:pt x="324" y="1230"/>
                  </a:cubicBezTo>
                  <a:cubicBezTo>
                    <a:pt x="323" y="1230"/>
                    <a:pt x="316" y="1229"/>
                    <a:pt x="316" y="1229"/>
                  </a:cubicBezTo>
                  <a:cubicBezTo>
                    <a:pt x="308" y="1239"/>
                    <a:pt x="333" y="1248"/>
                    <a:pt x="342" y="1243"/>
                  </a:cubicBezTo>
                  <a:close/>
                  <a:moveTo>
                    <a:pt x="1039" y="428"/>
                  </a:moveTo>
                  <a:cubicBezTo>
                    <a:pt x="1021" y="415"/>
                    <a:pt x="1013" y="445"/>
                    <a:pt x="1015" y="448"/>
                  </a:cubicBezTo>
                  <a:cubicBezTo>
                    <a:pt x="1015" y="448"/>
                    <a:pt x="1015" y="448"/>
                    <a:pt x="1015" y="448"/>
                  </a:cubicBezTo>
                  <a:cubicBezTo>
                    <a:pt x="1021" y="452"/>
                    <a:pt x="1055" y="439"/>
                    <a:pt x="1039" y="428"/>
                  </a:cubicBezTo>
                  <a:close/>
                  <a:moveTo>
                    <a:pt x="1917" y="22"/>
                  </a:moveTo>
                  <a:cubicBezTo>
                    <a:pt x="1914" y="16"/>
                    <a:pt x="1895" y="38"/>
                    <a:pt x="1891" y="27"/>
                  </a:cubicBezTo>
                  <a:cubicBezTo>
                    <a:pt x="1891" y="26"/>
                    <a:pt x="1900" y="24"/>
                    <a:pt x="1890" y="22"/>
                  </a:cubicBezTo>
                  <a:cubicBezTo>
                    <a:pt x="1885" y="21"/>
                    <a:pt x="1905" y="18"/>
                    <a:pt x="1901" y="11"/>
                  </a:cubicBezTo>
                  <a:cubicBezTo>
                    <a:pt x="1899" y="7"/>
                    <a:pt x="1883" y="13"/>
                    <a:pt x="1880" y="13"/>
                  </a:cubicBezTo>
                  <a:cubicBezTo>
                    <a:pt x="1877" y="12"/>
                    <a:pt x="1879" y="10"/>
                    <a:pt x="1879" y="9"/>
                  </a:cubicBezTo>
                  <a:cubicBezTo>
                    <a:pt x="1885" y="0"/>
                    <a:pt x="1873" y="7"/>
                    <a:pt x="1870" y="6"/>
                  </a:cubicBezTo>
                  <a:cubicBezTo>
                    <a:pt x="1867" y="6"/>
                    <a:pt x="1869" y="1"/>
                    <a:pt x="1867" y="1"/>
                  </a:cubicBezTo>
                  <a:cubicBezTo>
                    <a:pt x="1843" y="10"/>
                    <a:pt x="1879" y="8"/>
                    <a:pt x="1873" y="20"/>
                  </a:cubicBezTo>
                  <a:cubicBezTo>
                    <a:pt x="1872" y="22"/>
                    <a:pt x="1870" y="18"/>
                    <a:pt x="1868" y="17"/>
                  </a:cubicBezTo>
                  <a:cubicBezTo>
                    <a:pt x="1859" y="12"/>
                    <a:pt x="1849" y="17"/>
                    <a:pt x="1847" y="16"/>
                  </a:cubicBezTo>
                  <a:cubicBezTo>
                    <a:pt x="1846" y="16"/>
                    <a:pt x="1837" y="13"/>
                    <a:pt x="1838" y="16"/>
                  </a:cubicBezTo>
                  <a:cubicBezTo>
                    <a:pt x="1838" y="17"/>
                    <a:pt x="1839" y="18"/>
                    <a:pt x="1839" y="18"/>
                  </a:cubicBezTo>
                  <a:cubicBezTo>
                    <a:pt x="1841" y="19"/>
                    <a:pt x="1836" y="20"/>
                    <a:pt x="1835" y="20"/>
                  </a:cubicBezTo>
                  <a:cubicBezTo>
                    <a:pt x="1825" y="27"/>
                    <a:pt x="1857" y="24"/>
                    <a:pt x="1858" y="26"/>
                  </a:cubicBezTo>
                  <a:cubicBezTo>
                    <a:pt x="1859" y="27"/>
                    <a:pt x="1858" y="27"/>
                    <a:pt x="1858" y="28"/>
                  </a:cubicBezTo>
                  <a:cubicBezTo>
                    <a:pt x="1856" y="28"/>
                    <a:pt x="1846" y="29"/>
                    <a:pt x="1846" y="31"/>
                  </a:cubicBezTo>
                  <a:cubicBezTo>
                    <a:pt x="1846" y="32"/>
                    <a:pt x="1851" y="34"/>
                    <a:pt x="1851" y="35"/>
                  </a:cubicBezTo>
                  <a:cubicBezTo>
                    <a:pt x="1853" y="37"/>
                    <a:pt x="1855" y="40"/>
                    <a:pt x="1858" y="41"/>
                  </a:cubicBezTo>
                  <a:cubicBezTo>
                    <a:pt x="1859" y="41"/>
                    <a:pt x="1859" y="41"/>
                    <a:pt x="1859" y="41"/>
                  </a:cubicBezTo>
                  <a:cubicBezTo>
                    <a:pt x="1877" y="42"/>
                    <a:pt x="1870" y="32"/>
                    <a:pt x="1889" y="34"/>
                  </a:cubicBezTo>
                  <a:cubicBezTo>
                    <a:pt x="1891" y="35"/>
                    <a:pt x="1922" y="30"/>
                    <a:pt x="1917" y="22"/>
                  </a:cubicBezTo>
                  <a:close/>
                  <a:moveTo>
                    <a:pt x="330" y="1220"/>
                  </a:moveTo>
                  <a:cubicBezTo>
                    <a:pt x="331" y="1222"/>
                    <a:pt x="350" y="1222"/>
                    <a:pt x="352" y="1218"/>
                  </a:cubicBezTo>
                  <a:cubicBezTo>
                    <a:pt x="352" y="1218"/>
                    <a:pt x="352" y="1218"/>
                    <a:pt x="352" y="1218"/>
                  </a:cubicBezTo>
                  <a:cubicBezTo>
                    <a:pt x="354" y="1210"/>
                    <a:pt x="327" y="1211"/>
                    <a:pt x="330" y="1220"/>
                  </a:cubicBezTo>
                  <a:close/>
                  <a:moveTo>
                    <a:pt x="331" y="1167"/>
                  </a:moveTo>
                  <a:cubicBezTo>
                    <a:pt x="344" y="1168"/>
                    <a:pt x="361" y="1170"/>
                    <a:pt x="365" y="1162"/>
                  </a:cubicBezTo>
                  <a:cubicBezTo>
                    <a:pt x="365" y="1162"/>
                    <a:pt x="365" y="1162"/>
                    <a:pt x="365" y="1162"/>
                  </a:cubicBezTo>
                  <a:cubicBezTo>
                    <a:pt x="366" y="1157"/>
                    <a:pt x="367" y="1148"/>
                    <a:pt x="363" y="1148"/>
                  </a:cubicBezTo>
                  <a:cubicBezTo>
                    <a:pt x="357" y="1148"/>
                    <a:pt x="358" y="1155"/>
                    <a:pt x="355" y="1156"/>
                  </a:cubicBezTo>
                  <a:cubicBezTo>
                    <a:pt x="350" y="1157"/>
                    <a:pt x="316" y="1167"/>
                    <a:pt x="316" y="1168"/>
                  </a:cubicBezTo>
                  <a:cubicBezTo>
                    <a:pt x="316" y="1174"/>
                    <a:pt x="329" y="1167"/>
                    <a:pt x="331" y="1167"/>
                  </a:cubicBezTo>
                  <a:close/>
                  <a:moveTo>
                    <a:pt x="869" y="394"/>
                  </a:moveTo>
                  <a:cubicBezTo>
                    <a:pt x="864" y="394"/>
                    <a:pt x="857" y="400"/>
                    <a:pt x="861" y="405"/>
                  </a:cubicBezTo>
                  <a:cubicBezTo>
                    <a:pt x="862" y="407"/>
                    <a:pt x="877" y="421"/>
                    <a:pt x="886" y="403"/>
                  </a:cubicBezTo>
                  <a:cubicBezTo>
                    <a:pt x="887" y="401"/>
                    <a:pt x="885" y="395"/>
                    <a:pt x="887" y="397"/>
                  </a:cubicBezTo>
                  <a:cubicBezTo>
                    <a:pt x="895" y="402"/>
                    <a:pt x="912" y="403"/>
                    <a:pt x="920" y="393"/>
                  </a:cubicBezTo>
                  <a:cubicBezTo>
                    <a:pt x="924" y="389"/>
                    <a:pt x="911" y="387"/>
                    <a:pt x="919" y="388"/>
                  </a:cubicBezTo>
                  <a:cubicBezTo>
                    <a:pt x="925" y="389"/>
                    <a:pt x="932" y="391"/>
                    <a:pt x="930" y="398"/>
                  </a:cubicBezTo>
                  <a:cubicBezTo>
                    <a:pt x="929" y="405"/>
                    <a:pt x="899" y="402"/>
                    <a:pt x="899" y="411"/>
                  </a:cubicBezTo>
                  <a:cubicBezTo>
                    <a:pt x="898" y="411"/>
                    <a:pt x="898" y="411"/>
                    <a:pt x="898" y="411"/>
                  </a:cubicBezTo>
                  <a:cubicBezTo>
                    <a:pt x="899" y="424"/>
                    <a:pt x="947" y="414"/>
                    <a:pt x="950" y="401"/>
                  </a:cubicBezTo>
                  <a:cubicBezTo>
                    <a:pt x="952" y="391"/>
                    <a:pt x="940" y="391"/>
                    <a:pt x="940" y="389"/>
                  </a:cubicBezTo>
                  <a:cubicBezTo>
                    <a:pt x="940" y="382"/>
                    <a:pt x="951" y="383"/>
                    <a:pt x="950" y="375"/>
                  </a:cubicBezTo>
                  <a:cubicBezTo>
                    <a:pt x="949" y="371"/>
                    <a:pt x="937" y="378"/>
                    <a:pt x="937" y="378"/>
                  </a:cubicBezTo>
                  <a:cubicBezTo>
                    <a:pt x="936" y="375"/>
                    <a:pt x="943" y="369"/>
                    <a:pt x="942" y="364"/>
                  </a:cubicBezTo>
                  <a:cubicBezTo>
                    <a:pt x="941" y="361"/>
                    <a:pt x="931" y="369"/>
                    <a:pt x="933" y="367"/>
                  </a:cubicBezTo>
                  <a:cubicBezTo>
                    <a:pt x="934" y="366"/>
                    <a:pt x="933" y="353"/>
                    <a:pt x="928" y="349"/>
                  </a:cubicBezTo>
                  <a:cubicBezTo>
                    <a:pt x="924" y="346"/>
                    <a:pt x="915" y="353"/>
                    <a:pt x="916" y="358"/>
                  </a:cubicBezTo>
                  <a:cubicBezTo>
                    <a:pt x="917" y="363"/>
                    <a:pt x="931" y="375"/>
                    <a:pt x="929" y="379"/>
                  </a:cubicBezTo>
                  <a:cubicBezTo>
                    <a:pt x="928" y="382"/>
                    <a:pt x="923" y="374"/>
                    <a:pt x="920" y="374"/>
                  </a:cubicBezTo>
                  <a:cubicBezTo>
                    <a:pt x="919" y="374"/>
                    <a:pt x="916" y="388"/>
                    <a:pt x="915" y="380"/>
                  </a:cubicBezTo>
                  <a:cubicBezTo>
                    <a:pt x="915" y="378"/>
                    <a:pt x="915" y="372"/>
                    <a:pt x="911" y="372"/>
                  </a:cubicBezTo>
                  <a:cubicBezTo>
                    <a:pt x="904" y="372"/>
                    <a:pt x="916" y="386"/>
                    <a:pt x="907" y="389"/>
                  </a:cubicBezTo>
                  <a:cubicBezTo>
                    <a:pt x="903" y="390"/>
                    <a:pt x="907" y="383"/>
                    <a:pt x="900" y="384"/>
                  </a:cubicBezTo>
                  <a:cubicBezTo>
                    <a:pt x="897" y="384"/>
                    <a:pt x="889" y="391"/>
                    <a:pt x="887" y="389"/>
                  </a:cubicBezTo>
                  <a:cubicBezTo>
                    <a:pt x="885" y="388"/>
                    <a:pt x="892" y="375"/>
                    <a:pt x="883" y="378"/>
                  </a:cubicBezTo>
                  <a:cubicBezTo>
                    <a:pt x="878" y="380"/>
                    <a:pt x="886" y="393"/>
                    <a:pt x="881" y="393"/>
                  </a:cubicBezTo>
                  <a:cubicBezTo>
                    <a:pt x="875" y="393"/>
                    <a:pt x="876" y="386"/>
                    <a:pt x="876" y="383"/>
                  </a:cubicBezTo>
                  <a:cubicBezTo>
                    <a:pt x="875" y="379"/>
                    <a:pt x="872" y="383"/>
                    <a:pt x="870" y="384"/>
                  </a:cubicBezTo>
                  <a:cubicBezTo>
                    <a:pt x="859" y="390"/>
                    <a:pt x="870" y="389"/>
                    <a:pt x="872" y="392"/>
                  </a:cubicBezTo>
                  <a:cubicBezTo>
                    <a:pt x="873" y="394"/>
                    <a:pt x="869" y="394"/>
                    <a:pt x="869" y="394"/>
                  </a:cubicBezTo>
                  <a:close/>
                  <a:moveTo>
                    <a:pt x="1737" y="40"/>
                  </a:moveTo>
                  <a:cubicBezTo>
                    <a:pt x="1740" y="40"/>
                    <a:pt x="1747" y="36"/>
                    <a:pt x="1745" y="35"/>
                  </a:cubicBezTo>
                  <a:cubicBezTo>
                    <a:pt x="1738" y="30"/>
                    <a:pt x="1734" y="37"/>
                    <a:pt x="1731" y="32"/>
                  </a:cubicBezTo>
                  <a:cubicBezTo>
                    <a:pt x="1731" y="32"/>
                    <a:pt x="1730" y="31"/>
                    <a:pt x="1730" y="31"/>
                  </a:cubicBezTo>
                  <a:cubicBezTo>
                    <a:pt x="1730" y="30"/>
                    <a:pt x="1744" y="29"/>
                    <a:pt x="1743" y="28"/>
                  </a:cubicBezTo>
                  <a:cubicBezTo>
                    <a:pt x="1741" y="27"/>
                    <a:pt x="1737" y="28"/>
                    <a:pt x="1735" y="28"/>
                  </a:cubicBezTo>
                  <a:cubicBezTo>
                    <a:pt x="1724" y="27"/>
                    <a:pt x="1723" y="24"/>
                    <a:pt x="1714" y="28"/>
                  </a:cubicBezTo>
                  <a:cubicBezTo>
                    <a:pt x="1713" y="28"/>
                    <a:pt x="1712" y="29"/>
                    <a:pt x="1713" y="30"/>
                  </a:cubicBezTo>
                  <a:cubicBezTo>
                    <a:pt x="1716" y="34"/>
                    <a:pt x="1723" y="29"/>
                    <a:pt x="1727" y="32"/>
                  </a:cubicBezTo>
                  <a:cubicBezTo>
                    <a:pt x="1728" y="32"/>
                    <a:pt x="1722" y="33"/>
                    <a:pt x="1721" y="33"/>
                  </a:cubicBezTo>
                  <a:cubicBezTo>
                    <a:pt x="1711" y="34"/>
                    <a:pt x="1719" y="36"/>
                    <a:pt x="1723" y="38"/>
                  </a:cubicBezTo>
                  <a:cubicBezTo>
                    <a:pt x="1724" y="39"/>
                    <a:pt x="1724" y="39"/>
                    <a:pt x="1724" y="39"/>
                  </a:cubicBezTo>
                  <a:cubicBezTo>
                    <a:pt x="1727" y="46"/>
                    <a:pt x="1734" y="39"/>
                    <a:pt x="1737" y="40"/>
                  </a:cubicBezTo>
                  <a:close/>
                  <a:moveTo>
                    <a:pt x="1529" y="131"/>
                  </a:moveTo>
                  <a:cubicBezTo>
                    <a:pt x="1517" y="127"/>
                    <a:pt x="1513" y="132"/>
                    <a:pt x="1520" y="146"/>
                  </a:cubicBezTo>
                  <a:cubicBezTo>
                    <a:pt x="1520" y="146"/>
                    <a:pt x="1520" y="146"/>
                    <a:pt x="1520" y="146"/>
                  </a:cubicBezTo>
                  <a:cubicBezTo>
                    <a:pt x="1525" y="151"/>
                    <a:pt x="1534" y="133"/>
                    <a:pt x="1529" y="131"/>
                  </a:cubicBezTo>
                  <a:close/>
                  <a:moveTo>
                    <a:pt x="1427" y="206"/>
                  </a:moveTo>
                  <a:cubicBezTo>
                    <a:pt x="1422" y="198"/>
                    <a:pt x="1408" y="214"/>
                    <a:pt x="1412" y="223"/>
                  </a:cubicBezTo>
                  <a:cubicBezTo>
                    <a:pt x="1412" y="223"/>
                    <a:pt x="1412" y="223"/>
                    <a:pt x="1412" y="223"/>
                  </a:cubicBezTo>
                  <a:cubicBezTo>
                    <a:pt x="1422" y="225"/>
                    <a:pt x="1432" y="213"/>
                    <a:pt x="1427" y="206"/>
                  </a:cubicBezTo>
                  <a:close/>
                  <a:moveTo>
                    <a:pt x="1430" y="172"/>
                  </a:moveTo>
                  <a:cubicBezTo>
                    <a:pt x="1430" y="165"/>
                    <a:pt x="1442" y="156"/>
                    <a:pt x="1428" y="153"/>
                  </a:cubicBezTo>
                  <a:cubicBezTo>
                    <a:pt x="1410" y="149"/>
                    <a:pt x="1380" y="176"/>
                    <a:pt x="1403" y="181"/>
                  </a:cubicBezTo>
                  <a:cubicBezTo>
                    <a:pt x="1404" y="182"/>
                    <a:pt x="1404" y="182"/>
                    <a:pt x="1404" y="182"/>
                  </a:cubicBezTo>
                  <a:cubicBezTo>
                    <a:pt x="1409" y="182"/>
                    <a:pt x="1411" y="174"/>
                    <a:pt x="1413" y="174"/>
                  </a:cubicBezTo>
                  <a:cubicBezTo>
                    <a:pt x="1415" y="174"/>
                    <a:pt x="1410" y="186"/>
                    <a:pt x="1431" y="182"/>
                  </a:cubicBezTo>
                  <a:cubicBezTo>
                    <a:pt x="1434" y="181"/>
                    <a:pt x="1430" y="174"/>
                    <a:pt x="1430" y="172"/>
                  </a:cubicBezTo>
                  <a:close/>
                  <a:moveTo>
                    <a:pt x="1703" y="79"/>
                  </a:moveTo>
                  <a:cubicBezTo>
                    <a:pt x="1702" y="79"/>
                    <a:pt x="1704" y="68"/>
                    <a:pt x="1692" y="71"/>
                  </a:cubicBezTo>
                  <a:cubicBezTo>
                    <a:pt x="1682" y="73"/>
                    <a:pt x="1690" y="100"/>
                    <a:pt x="1696" y="107"/>
                  </a:cubicBezTo>
                  <a:cubicBezTo>
                    <a:pt x="1696" y="107"/>
                    <a:pt x="1696" y="107"/>
                    <a:pt x="1696" y="107"/>
                  </a:cubicBezTo>
                  <a:cubicBezTo>
                    <a:pt x="1716" y="115"/>
                    <a:pt x="1733" y="96"/>
                    <a:pt x="1721" y="81"/>
                  </a:cubicBezTo>
                  <a:cubicBezTo>
                    <a:pt x="1716" y="74"/>
                    <a:pt x="1708" y="80"/>
                    <a:pt x="1703" y="79"/>
                  </a:cubicBezTo>
                  <a:close/>
                  <a:moveTo>
                    <a:pt x="1254" y="243"/>
                  </a:moveTo>
                  <a:cubicBezTo>
                    <a:pt x="1260" y="238"/>
                    <a:pt x="1289" y="231"/>
                    <a:pt x="1273" y="220"/>
                  </a:cubicBezTo>
                  <a:cubicBezTo>
                    <a:pt x="1272" y="219"/>
                    <a:pt x="1272" y="219"/>
                    <a:pt x="1272" y="219"/>
                  </a:cubicBezTo>
                  <a:cubicBezTo>
                    <a:pt x="1267" y="217"/>
                    <a:pt x="1257" y="217"/>
                    <a:pt x="1259" y="214"/>
                  </a:cubicBezTo>
                  <a:cubicBezTo>
                    <a:pt x="1261" y="211"/>
                    <a:pt x="1242" y="209"/>
                    <a:pt x="1242" y="212"/>
                  </a:cubicBezTo>
                  <a:cubicBezTo>
                    <a:pt x="1242" y="214"/>
                    <a:pt x="1260" y="241"/>
                    <a:pt x="1249" y="242"/>
                  </a:cubicBezTo>
                  <a:cubicBezTo>
                    <a:pt x="1247" y="242"/>
                    <a:pt x="1244" y="239"/>
                    <a:pt x="1242" y="238"/>
                  </a:cubicBezTo>
                  <a:cubicBezTo>
                    <a:pt x="1238" y="234"/>
                    <a:pt x="1243" y="225"/>
                    <a:pt x="1241" y="223"/>
                  </a:cubicBezTo>
                  <a:cubicBezTo>
                    <a:pt x="1235" y="215"/>
                    <a:pt x="1230" y="232"/>
                    <a:pt x="1228" y="232"/>
                  </a:cubicBezTo>
                  <a:cubicBezTo>
                    <a:pt x="1227" y="232"/>
                    <a:pt x="1217" y="218"/>
                    <a:pt x="1212" y="227"/>
                  </a:cubicBezTo>
                  <a:cubicBezTo>
                    <a:pt x="1206" y="239"/>
                    <a:pt x="1238" y="237"/>
                    <a:pt x="1236" y="240"/>
                  </a:cubicBezTo>
                  <a:cubicBezTo>
                    <a:pt x="1234" y="245"/>
                    <a:pt x="1202" y="235"/>
                    <a:pt x="1200" y="238"/>
                  </a:cubicBezTo>
                  <a:cubicBezTo>
                    <a:pt x="1199" y="239"/>
                    <a:pt x="1202" y="241"/>
                    <a:pt x="1202" y="242"/>
                  </a:cubicBezTo>
                  <a:cubicBezTo>
                    <a:pt x="1205" y="244"/>
                    <a:pt x="1207" y="249"/>
                    <a:pt x="1211" y="249"/>
                  </a:cubicBezTo>
                  <a:cubicBezTo>
                    <a:pt x="1212" y="250"/>
                    <a:pt x="1218" y="247"/>
                    <a:pt x="1219" y="249"/>
                  </a:cubicBezTo>
                  <a:cubicBezTo>
                    <a:pt x="1219" y="249"/>
                    <a:pt x="1217" y="251"/>
                    <a:pt x="1217" y="251"/>
                  </a:cubicBezTo>
                  <a:cubicBezTo>
                    <a:pt x="1210" y="256"/>
                    <a:pt x="1186" y="247"/>
                    <a:pt x="1186" y="252"/>
                  </a:cubicBezTo>
                  <a:cubicBezTo>
                    <a:pt x="1186" y="253"/>
                    <a:pt x="1181" y="256"/>
                    <a:pt x="1183" y="258"/>
                  </a:cubicBezTo>
                  <a:cubicBezTo>
                    <a:pt x="1190" y="267"/>
                    <a:pt x="1246" y="263"/>
                    <a:pt x="1253" y="258"/>
                  </a:cubicBezTo>
                  <a:cubicBezTo>
                    <a:pt x="1266" y="249"/>
                    <a:pt x="1245" y="251"/>
                    <a:pt x="1254" y="243"/>
                  </a:cubicBezTo>
                  <a:close/>
                  <a:moveTo>
                    <a:pt x="1570" y="112"/>
                  </a:moveTo>
                  <a:cubicBezTo>
                    <a:pt x="1577" y="111"/>
                    <a:pt x="1596" y="110"/>
                    <a:pt x="1596" y="103"/>
                  </a:cubicBezTo>
                  <a:cubicBezTo>
                    <a:pt x="1596" y="102"/>
                    <a:pt x="1595" y="100"/>
                    <a:pt x="1597" y="100"/>
                  </a:cubicBezTo>
                  <a:cubicBezTo>
                    <a:pt x="1606" y="99"/>
                    <a:pt x="1606" y="106"/>
                    <a:pt x="1608" y="107"/>
                  </a:cubicBezTo>
                  <a:cubicBezTo>
                    <a:pt x="1612" y="109"/>
                    <a:pt x="1618" y="106"/>
                    <a:pt x="1622" y="104"/>
                  </a:cubicBezTo>
                  <a:cubicBezTo>
                    <a:pt x="1626" y="101"/>
                    <a:pt x="1615" y="99"/>
                    <a:pt x="1619" y="98"/>
                  </a:cubicBezTo>
                  <a:cubicBezTo>
                    <a:pt x="1635" y="95"/>
                    <a:pt x="1636" y="98"/>
                    <a:pt x="1637" y="97"/>
                  </a:cubicBezTo>
                  <a:cubicBezTo>
                    <a:pt x="1637" y="97"/>
                    <a:pt x="1640" y="86"/>
                    <a:pt x="1641" y="84"/>
                  </a:cubicBezTo>
                  <a:cubicBezTo>
                    <a:pt x="1643" y="77"/>
                    <a:pt x="1652" y="84"/>
                    <a:pt x="1653" y="82"/>
                  </a:cubicBezTo>
                  <a:cubicBezTo>
                    <a:pt x="1655" y="74"/>
                    <a:pt x="1660" y="75"/>
                    <a:pt x="1664" y="72"/>
                  </a:cubicBezTo>
                  <a:cubicBezTo>
                    <a:pt x="1670" y="68"/>
                    <a:pt x="1664" y="64"/>
                    <a:pt x="1666" y="64"/>
                  </a:cubicBezTo>
                  <a:cubicBezTo>
                    <a:pt x="1666" y="64"/>
                    <a:pt x="1672" y="65"/>
                    <a:pt x="1672" y="63"/>
                  </a:cubicBezTo>
                  <a:cubicBezTo>
                    <a:pt x="1670" y="60"/>
                    <a:pt x="1664" y="58"/>
                    <a:pt x="1663" y="56"/>
                  </a:cubicBezTo>
                  <a:cubicBezTo>
                    <a:pt x="1659" y="43"/>
                    <a:pt x="1657" y="67"/>
                    <a:pt x="1655" y="67"/>
                  </a:cubicBezTo>
                  <a:cubicBezTo>
                    <a:pt x="1651" y="67"/>
                    <a:pt x="1649" y="61"/>
                    <a:pt x="1646" y="59"/>
                  </a:cubicBezTo>
                  <a:cubicBezTo>
                    <a:pt x="1643" y="57"/>
                    <a:pt x="1650" y="67"/>
                    <a:pt x="1642" y="63"/>
                  </a:cubicBezTo>
                  <a:cubicBezTo>
                    <a:pt x="1641" y="63"/>
                    <a:pt x="1636" y="59"/>
                    <a:pt x="1635" y="61"/>
                  </a:cubicBezTo>
                  <a:cubicBezTo>
                    <a:pt x="1634" y="63"/>
                    <a:pt x="1629" y="65"/>
                    <a:pt x="1639" y="69"/>
                  </a:cubicBezTo>
                  <a:cubicBezTo>
                    <a:pt x="1642" y="69"/>
                    <a:pt x="1647" y="73"/>
                    <a:pt x="1644" y="74"/>
                  </a:cubicBezTo>
                  <a:cubicBezTo>
                    <a:pt x="1641" y="75"/>
                    <a:pt x="1633" y="74"/>
                    <a:pt x="1631" y="76"/>
                  </a:cubicBezTo>
                  <a:cubicBezTo>
                    <a:pt x="1618" y="92"/>
                    <a:pt x="1628" y="72"/>
                    <a:pt x="1612" y="72"/>
                  </a:cubicBezTo>
                  <a:cubicBezTo>
                    <a:pt x="1608" y="72"/>
                    <a:pt x="1613" y="67"/>
                    <a:pt x="1610" y="69"/>
                  </a:cubicBezTo>
                  <a:cubicBezTo>
                    <a:pt x="1595" y="75"/>
                    <a:pt x="1616" y="79"/>
                    <a:pt x="1613" y="87"/>
                  </a:cubicBezTo>
                  <a:cubicBezTo>
                    <a:pt x="1613" y="90"/>
                    <a:pt x="1607" y="84"/>
                    <a:pt x="1607" y="88"/>
                  </a:cubicBezTo>
                  <a:cubicBezTo>
                    <a:pt x="1605" y="101"/>
                    <a:pt x="1604" y="86"/>
                    <a:pt x="1601" y="86"/>
                  </a:cubicBezTo>
                  <a:cubicBezTo>
                    <a:pt x="1598" y="85"/>
                    <a:pt x="1600" y="88"/>
                    <a:pt x="1598" y="88"/>
                  </a:cubicBezTo>
                  <a:cubicBezTo>
                    <a:pt x="1596" y="89"/>
                    <a:pt x="1597" y="84"/>
                    <a:pt x="1598" y="82"/>
                  </a:cubicBezTo>
                  <a:cubicBezTo>
                    <a:pt x="1598" y="81"/>
                    <a:pt x="1596" y="80"/>
                    <a:pt x="1596" y="80"/>
                  </a:cubicBezTo>
                  <a:cubicBezTo>
                    <a:pt x="1584" y="75"/>
                    <a:pt x="1585" y="83"/>
                    <a:pt x="1583" y="83"/>
                  </a:cubicBezTo>
                  <a:cubicBezTo>
                    <a:pt x="1574" y="81"/>
                    <a:pt x="1571" y="73"/>
                    <a:pt x="1576" y="88"/>
                  </a:cubicBezTo>
                  <a:cubicBezTo>
                    <a:pt x="1576" y="89"/>
                    <a:pt x="1577" y="90"/>
                    <a:pt x="1576" y="90"/>
                  </a:cubicBezTo>
                  <a:cubicBezTo>
                    <a:pt x="1567" y="90"/>
                    <a:pt x="1562" y="76"/>
                    <a:pt x="1562" y="87"/>
                  </a:cubicBezTo>
                  <a:cubicBezTo>
                    <a:pt x="1562" y="88"/>
                    <a:pt x="1562" y="88"/>
                    <a:pt x="1561" y="89"/>
                  </a:cubicBezTo>
                  <a:cubicBezTo>
                    <a:pt x="1560" y="90"/>
                    <a:pt x="1525" y="85"/>
                    <a:pt x="1540" y="89"/>
                  </a:cubicBezTo>
                  <a:cubicBezTo>
                    <a:pt x="1540" y="89"/>
                    <a:pt x="1540" y="89"/>
                    <a:pt x="1540" y="89"/>
                  </a:cubicBezTo>
                  <a:cubicBezTo>
                    <a:pt x="1550" y="91"/>
                    <a:pt x="1532" y="95"/>
                    <a:pt x="1544" y="97"/>
                  </a:cubicBezTo>
                  <a:cubicBezTo>
                    <a:pt x="1547" y="98"/>
                    <a:pt x="1563" y="93"/>
                    <a:pt x="1568" y="93"/>
                  </a:cubicBezTo>
                  <a:cubicBezTo>
                    <a:pt x="1568" y="93"/>
                    <a:pt x="1569" y="92"/>
                    <a:pt x="1569" y="93"/>
                  </a:cubicBezTo>
                  <a:cubicBezTo>
                    <a:pt x="1570" y="94"/>
                    <a:pt x="1564" y="96"/>
                    <a:pt x="1564" y="97"/>
                  </a:cubicBezTo>
                  <a:cubicBezTo>
                    <a:pt x="1557" y="99"/>
                    <a:pt x="1551" y="116"/>
                    <a:pt x="1553" y="116"/>
                  </a:cubicBezTo>
                  <a:cubicBezTo>
                    <a:pt x="1562" y="119"/>
                    <a:pt x="1561" y="105"/>
                    <a:pt x="1566" y="105"/>
                  </a:cubicBezTo>
                  <a:cubicBezTo>
                    <a:pt x="1570" y="104"/>
                    <a:pt x="1562" y="113"/>
                    <a:pt x="1570" y="112"/>
                  </a:cubicBezTo>
                  <a:close/>
                  <a:moveTo>
                    <a:pt x="1738" y="16"/>
                  </a:moveTo>
                  <a:cubicBezTo>
                    <a:pt x="1737" y="16"/>
                    <a:pt x="1727" y="15"/>
                    <a:pt x="1725" y="14"/>
                  </a:cubicBezTo>
                  <a:cubicBezTo>
                    <a:pt x="1719" y="12"/>
                    <a:pt x="1727" y="17"/>
                    <a:pt x="1729" y="19"/>
                  </a:cubicBezTo>
                  <a:cubicBezTo>
                    <a:pt x="1734" y="20"/>
                    <a:pt x="1741" y="21"/>
                    <a:pt x="1738" y="16"/>
                  </a:cubicBezTo>
                  <a:close/>
                  <a:moveTo>
                    <a:pt x="1723" y="18"/>
                  </a:moveTo>
                  <a:cubicBezTo>
                    <a:pt x="1724" y="18"/>
                    <a:pt x="1724" y="18"/>
                    <a:pt x="1724" y="18"/>
                  </a:cubicBezTo>
                  <a:cubicBezTo>
                    <a:pt x="1729" y="20"/>
                    <a:pt x="1729" y="20"/>
                    <a:pt x="1729" y="19"/>
                  </a:cubicBezTo>
                  <a:cubicBezTo>
                    <a:pt x="1723" y="17"/>
                    <a:pt x="1719" y="16"/>
                    <a:pt x="1723" y="18"/>
                  </a:cubicBezTo>
                  <a:close/>
                  <a:moveTo>
                    <a:pt x="1685" y="122"/>
                  </a:moveTo>
                  <a:cubicBezTo>
                    <a:pt x="1690" y="116"/>
                    <a:pt x="1683" y="93"/>
                    <a:pt x="1679" y="92"/>
                  </a:cubicBezTo>
                  <a:cubicBezTo>
                    <a:pt x="1671" y="89"/>
                    <a:pt x="1662" y="94"/>
                    <a:pt x="1666" y="93"/>
                  </a:cubicBezTo>
                  <a:cubicBezTo>
                    <a:pt x="1658" y="96"/>
                    <a:pt x="1676" y="99"/>
                    <a:pt x="1670" y="98"/>
                  </a:cubicBezTo>
                  <a:cubicBezTo>
                    <a:pt x="1680" y="100"/>
                    <a:pt x="1675" y="102"/>
                    <a:pt x="1667" y="102"/>
                  </a:cubicBezTo>
                  <a:cubicBezTo>
                    <a:pt x="1663" y="102"/>
                    <a:pt x="1665" y="110"/>
                    <a:pt x="1662" y="105"/>
                  </a:cubicBezTo>
                  <a:cubicBezTo>
                    <a:pt x="1661" y="104"/>
                    <a:pt x="1656" y="102"/>
                    <a:pt x="1655" y="105"/>
                  </a:cubicBezTo>
                  <a:cubicBezTo>
                    <a:pt x="1654" y="113"/>
                    <a:pt x="1659" y="115"/>
                    <a:pt x="1653" y="115"/>
                  </a:cubicBezTo>
                  <a:cubicBezTo>
                    <a:pt x="1651" y="116"/>
                    <a:pt x="1653" y="107"/>
                    <a:pt x="1652" y="105"/>
                  </a:cubicBezTo>
                  <a:cubicBezTo>
                    <a:pt x="1651" y="103"/>
                    <a:pt x="1643" y="101"/>
                    <a:pt x="1644" y="105"/>
                  </a:cubicBezTo>
                  <a:cubicBezTo>
                    <a:pt x="1645" y="107"/>
                    <a:pt x="1646" y="106"/>
                    <a:pt x="1647" y="107"/>
                  </a:cubicBezTo>
                  <a:cubicBezTo>
                    <a:pt x="1649" y="110"/>
                    <a:pt x="1642" y="108"/>
                    <a:pt x="1639" y="108"/>
                  </a:cubicBezTo>
                  <a:cubicBezTo>
                    <a:pt x="1624" y="109"/>
                    <a:pt x="1611" y="131"/>
                    <a:pt x="1627" y="134"/>
                  </a:cubicBezTo>
                  <a:cubicBezTo>
                    <a:pt x="1629" y="135"/>
                    <a:pt x="1629" y="135"/>
                    <a:pt x="1629" y="135"/>
                  </a:cubicBezTo>
                  <a:cubicBezTo>
                    <a:pt x="1633" y="143"/>
                    <a:pt x="1639" y="125"/>
                    <a:pt x="1641" y="125"/>
                  </a:cubicBezTo>
                  <a:cubicBezTo>
                    <a:pt x="1642" y="125"/>
                    <a:pt x="1634" y="143"/>
                    <a:pt x="1636" y="145"/>
                  </a:cubicBezTo>
                  <a:cubicBezTo>
                    <a:pt x="1640" y="148"/>
                    <a:pt x="1663" y="144"/>
                    <a:pt x="1663" y="140"/>
                  </a:cubicBezTo>
                  <a:cubicBezTo>
                    <a:pt x="1663" y="138"/>
                    <a:pt x="1656" y="139"/>
                    <a:pt x="1655" y="138"/>
                  </a:cubicBezTo>
                  <a:cubicBezTo>
                    <a:pt x="1654" y="136"/>
                    <a:pt x="1666" y="135"/>
                    <a:pt x="1667" y="135"/>
                  </a:cubicBezTo>
                  <a:cubicBezTo>
                    <a:pt x="1673" y="132"/>
                    <a:pt x="1680" y="127"/>
                    <a:pt x="1685" y="122"/>
                  </a:cubicBezTo>
                  <a:close/>
                  <a:moveTo>
                    <a:pt x="1585" y="145"/>
                  </a:moveTo>
                  <a:cubicBezTo>
                    <a:pt x="1599" y="148"/>
                    <a:pt x="1612" y="151"/>
                    <a:pt x="1627" y="151"/>
                  </a:cubicBezTo>
                  <a:cubicBezTo>
                    <a:pt x="1628" y="151"/>
                    <a:pt x="1628" y="151"/>
                    <a:pt x="1628" y="151"/>
                  </a:cubicBezTo>
                  <a:cubicBezTo>
                    <a:pt x="1641" y="149"/>
                    <a:pt x="1609" y="128"/>
                    <a:pt x="1607" y="129"/>
                  </a:cubicBezTo>
                  <a:cubicBezTo>
                    <a:pt x="1606" y="129"/>
                    <a:pt x="1605" y="130"/>
                    <a:pt x="1605" y="131"/>
                  </a:cubicBezTo>
                  <a:cubicBezTo>
                    <a:pt x="1608" y="147"/>
                    <a:pt x="1599" y="128"/>
                    <a:pt x="1599" y="128"/>
                  </a:cubicBezTo>
                  <a:cubicBezTo>
                    <a:pt x="1589" y="130"/>
                    <a:pt x="1583" y="131"/>
                    <a:pt x="1583" y="132"/>
                  </a:cubicBezTo>
                  <a:cubicBezTo>
                    <a:pt x="1583" y="134"/>
                    <a:pt x="1587" y="138"/>
                    <a:pt x="1584" y="139"/>
                  </a:cubicBezTo>
                  <a:cubicBezTo>
                    <a:pt x="1581" y="140"/>
                    <a:pt x="1580" y="132"/>
                    <a:pt x="1574" y="135"/>
                  </a:cubicBezTo>
                  <a:cubicBezTo>
                    <a:pt x="1573" y="135"/>
                    <a:pt x="1573" y="135"/>
                    <a:pt x="1573" y="136"/>
                  </a:cubicBezTo>
                  <a:cubicBezTo>
                    <a:pt x="1571" y="141"/>
                    <a:pt x="1582" y="145"/>
                    <a:pt x="1585" y="145"/>
                  </a:cubicBezTo>
                  <a:close/>
                  <a:moveTo>
                    <a:pt x="1255" y="178"/>
                  </a:moveTo>
                  <a:cubicBezTo>
                    <a:pt x="1251" y="178"/>
                    <a:pt x="1247" y="159"/>
                    <a:pt x="1246" y="175"/>
                  </a:cubicBezTo>
                  <a:cubicBezTo>
                    <a:pt x="1245" y="175"/>
                    <a:pt x="1238" y="183"/>
                    <a:pt x="1241" y="183"/>
                  </a:cubicBezTo>
                  <a:cubicBezTo>
                    <a:pt x="1249" y="184"/>
                    <a:pt x="1240" y="184"/>
                    <a:pt x="1243" y="190"/>
                  </a:cubicBezTo>
                  <a:cubicBezTo>
                    <a:pt x="1243" y="190"/>
                    <a:pt x="1243" y="190"/>
                    <a:pt x="1243" y="190"/>
                  </a:cubicBezTo>
                  <a:cubicBezTo>
                    <a:pt x="1247" y="194"/>
                    <a:pt x="1274" y="178"/>
                    <a:pt x="1271" y="175"/>
                  </a:cubicBezTo>
                  <a:cubicBezTo>
                    <a:pt x="1260" y="166"/>
                    <a:pt x="1265" y="179"/>
                    <a:pt x="1255" y="178"/>
                  </a:cubicBezTo>
                  <a:close/>
                  <a:moveTo>
                    <a:pt x="1280" y="222"/>
                  </a:moveTo>
                  <a:cubicBezTo>
                    <a:pt x="1282" y="226"/>
                    <a:pt x="1288" y="224"/>
                    <a:pt x="1291" y="224"/>
                  </a:cubicBezTo>
                  <a:cubicBezTo>
                    <a:pt x="1311" y="220"/>
                    <a:pt x="1316" y="204"/>
                    <a:pt x="1332" y="195"/>
                  </a:cubicBezTo>
                  <a:cubicBezTo>
                    <a:pt x="1333" y="195"/>
                    <a:pt x="1334" y="192"/>
                    <a:pt x="1334" y="191"/>
                  </a:cubicBezTo>
                  <a:cubicBezTo>
                    <a:pt x="1329" y="183"/>
                    <a:pt x="1326" y="195"/>
                    <a:pt x="1323" y="192"/>
                  </a:cubicBezTo>
                  <a:cubicBezTo>
                    <a:pt x="1319" y="188"/>
                    <a:pt x="1324" y="177"/>
                    <a:pt x="1311" y="187"/>
                  </a:cubicBezTo>
                  <a:cubicBezTo>
                    <a:pt x="1310" y="188"/>
                    <a:pt x="1309" y="189"/>
                    <a:pt x="1309" y="190"/>
                  </a:cubicBezTo>
                  <a:cubicBezTo>
                    <a:pt x="1309" y="191"/>
                    <a:pt x="1311" y="194"/>
                    <a:pt x="1309" y="193"/>
                  </a:cubicBezTo>
                  <a:cubicBezTo>
                    <a:pt x="1294" y="191"/>
                    <a:pt x="1304" y="174"/>
                    <a:pt x="1294" y="180"/>
                  </a:cubicBezTo>
                  <a:cubicBezTo>
                    <a:pt x="1290" y="183"/>
                    <a:pt x="1295" y="171"/>
                    <a:pt x="1289" y="177"/>
                  </a:cubicBezTo>
                  <a:cubicBezTo>
                    <a:pt x="1287" y="180"/>
                    <a:pt x="1277" y="180"/>
                    <a:pt x="1278" y="182"/>
                  </a:cubicBezTo>
                  <a:cubicBezTo>
                    <a:pt x="1280" y="185"/>
                    <a:pt x="1286" y="186"/>
                    <a:pt x="1280" y="189"/>
                  </a:cubicBezTo>
                  <a:cubicBezTo>
                    <a:pt x="1279" y="189"/>
                    <a:pt x="1259" y="182"/>
                    <a:pt x="1258" y="191"/>
                  </a:cubicBezTo>
                  <a:cubicBezTo>
                    <a:pt x="1257" y="194"/>
                    <a:pt x="1269" y="194"/>
                    <a:pt x="1266" y="197"/>
                  </a:cubicBezTo>
                  <a:cubicBezTo>
                    <a:pt x="1263" y="199"/>
                    <a:pt x="1248" y="198"/>
                    <a:pt x="1249" y="201"/>
                  </a:cubicBezTo>
                  <a:cubicBezTo>
                    <a:pt x="1251" y="210"/>
                    <a:pt x="1275" y="212"/>
                    <a:pt x="1280" y="222"/>
                  </a:cubicBezTo>
                  <a:close/>
                  <a:moveTo>
                    <a:pt x="1313" y="164"/>
                  </a:moveTo>
                  <a:cubicBezTo>
                    <a:pt x="1310" y="161"/>
                    <a:pt x="1291" y="169"/>
                    <a:pt x="1320" y="175"/>
                  </a:cubicBezTo>
                  <a:cubicBezTo>
                    <a:pt x="1320" y="175"/>
                    <a:pt x="1320" y="175"/>
                    <a:pt x="1320" y="175"/>
                  </a:cubicBezTo>
                  <a:cubicBezTo>
                    <a:pt x="1337" y="174"/>
                    <a:pt x="1317" y="168"/>
                    <a:pt x="1313" y="164"/>
                  </a:cubicBezTo>
                  <a:close/>
                  <a:moveTo>
                    <a:pt x="1285" y="164"/>
                  </a:moveTo>
                  <a:cubicBezTo>
                    <a:pt x="1285" y="164"/>
                    <a:pt x="1275" y="159"/>
                    <a:pt x="1275" y="165"/>
                  </a:cubicBezTo>
                  <a:cubicBezTo>
                    <a:pt x="1275" y="166"/>
                    <a:pt x="1282" y="169"/>
                    <a:pt x="1283" y="171"/>
                  </a:cubicBezTo>
                  <a:cubicBezTo>
                    <a:pt x="1283" y="171"/>
                    <a:pt x="1283" y="171"/>
                    <a:pt x="1283" y="171"/>
                  </a:cubicBezTo>
                  <a:cubicBezTo>
                    <a:pt x="1287" y="179"/>
                    <a:pt x="1302" y="155"/>
                    <a:pt x="1293" y="150"/>
                  </a:cubicBezTo>
                  <a:cubicBezTo>
                    <a:pt x="1283" y="144"/>
                    <a:pt x="1286" y="161"/>
                    <a:pt x="1285" y="164"/>
                  </a:cubicBezTo>
                  <a:close/>
                  <a:moveTo>
                    <a:pt x="1191" y="293"/>
                  </a:moveTo>
                  <a:cubicBezTo>
                    <a:pt x="1194" y="276"/>
                    <a:pt x="1182" y="286"/>
                    <a:pt x="1179" y="284"/>
                  </a:cubicBezTo>
                  <a:cubicBezTo>
                    <a:pt x="1174" y="280"/>
                    <a:pt x="1193" y="275"/>
                    <a:pt x="1183" y="270"/>
                  </a:cubicBezTo>
                  <a:cubicBezTo>
                    <a:pt x="1182" y="269"/>
                    <a:pt x="1182" y="269"/>
                    <a:pt x="1182" y="269"/>
                  </a:cubicBezTo>
                  <a:cubicBezTo>
                    <a:pt x="1175" y="262"/>
                    <a:pt x="1172" y="281"/>
                    <a:pt x="1168" y="279"/>
                  </a:cubicBezTo>
                  <a:cubicBezTo>
                    <a:pt x="1165" y="278"/>
                    <a:pt x="1175" y="264"/>
                    <a:pt x="1171" y="258"/>
                  </a:cubicBezTo>
                  <a:cubicBezTo>
                    <a:pt x="1167" y="253"/>
                    <a:pt x="1163" y="265"/>
                    <a:pt x="1162" y="265"/>
                  </a:cubicBezTo>
                  <a:cubicBezTo>
                    <a:pt x="1160" y="265"/>
                    <a:pt x="1155" y="251"/>
                    <a:pt x="1152" y="256"/>
                  </a:cubicBezTo>
                  <a:cubicBezTo>
                    <a:pt x="1147" y="264"/>
                    <a:pt x="1161" y="264"/>
                    <a:pt x="1152" y="270"/>
                  </a:cubicBezTo>
                  <a:cubicBezTo>
                    <a:pt x="1150" y="271"/>
                    <a:pt x="1142" y="251"/>
                    <a:pt x="1136" y="255"/>
                  </a:cubicBezTo>
                  <a:cubicBezTo>
                    <a:pt x="1128" y="261"/>
                    <a:pt x="1154" y="275"/>
                    <a:pt x="1151" y="277"/>
                  </a:cubicBezTo>
                  <a:cubicBezTo>
                    <a:pt x="1146" y="283"/>
                    <a:pt x="1131" y="262"/>
                    <a:pt x="1122" y="266"/>
                  </a:cubicBezTo>
                  <a:cubicBezTo>
                    <a:pt x="1119" y="267"/>
                    <a:pt x="1123" y="269"/>
                    <a:pt x="1124" y="270"/>
                  </a:cubicBezTo>
                  <a:cubicBezTo>
                    <a:pt x="1128" y="276"/>
                    <a:pt x="1126" y="274"/>
                    <a:pt x="1122" y="276"/>
                  </a:cubicBezTo>
                  <a:cubicBezTo>
                    <a:pt x="1119" y="277"/>
                    <a:pt x="1113" y="267"/>
                    <a:pt x="1110" y="271"/>
                  </a:cubicBezTo>
                  <a:cubicBezTo>
                    <a:pt x="1105" y="280"/>
                    <a:pt x="1137" y="282"/>
                    <a:pt x="1138" y="283"/>
                  </a:cubicBezTo>
                  <a:cubicBezTo>
                    <a:pt x="1139" y="284"/>
                    <a:pt x="1122" y="285"/>
                    <a:pt x="1121" y="285"/>
                  </a:cubicBezTo>
                  <a:cubicBezTo>
                    <a:pt x="1117" y="286"/>
                    <a:pt x="1132" y="290"/>
                    <a:pt x="1129" y="293"/>
                  </a:cubicBezTo>
                  <a:cubicBezTo>
                    <a:pt x="1128" y="294"/>
                    <a:pt x="1126" y="292"/>
                    <a:pt x="1125" y="292"/>
                  </a:cubicBezTo>
                  <a:cubicBezTo>
                    <a:pt x="1113" y="284"/>
                    <a:pt x="1090" y="286"/>
                    <a:pt x="1083" y="293"/>
                  </a:cubicBezTo>
                  <a:cubicBezTo>
                    <a:pt x="1081" y="295"/>
                    <a:pt x="1097" y="293"/>
                    <a:pt x="1097" y="293"/>
                  </a:cubicBezTo>
                  <a:cubicBezTo>
                    <a:pt x="1103" y="294"/>
                    <a:pt x="1101" y="295"/>
                    <a:pt x="1106" y="301"/>
                  </a:cubicBezTo>
                  <a:cubicBezTo>
                    <a:pt x="1107" y="303"/>
                    <a:pt x="1100" y="300"/>
                    <a:pt x="1100" y="300"/>
                  </a:cubicBezTo>
                  <a:cubicBezTo>
                    <a:pt x="1097" y="300"/>
                    <a:pt x="1085" y="300"/>
                    <a:pt x="1085" y="302"/>
                  </a:cubicBezTo>
                  <a:cubicBezTo>
                    <a:pt x="1084" y="305"/>
                    <a:pt x="1089" y="304"/>
                    <a:pt x="1090" y="304"/>
                  </a:cubicBezTo>
                  <a:cubicBezTo>
                    <a:pt x="1091" y="303"/>
                    <a:pt x="1103" y="308"/>
                    <a:pt x="1103" y="311"/>
                  </a:cubicBezTo>
                  <a:cubicBezTo>
                    <a:pt x="1103" y="313"/>
                    <a:pt x="1106" y="310"/>
                    <a:pt x="1107" y="311"/>
                  </a:cubicBezTo>
                  <a:cubicBezTo>
                    <a:pt x="1109" y="318"/>
                    <a:pt x="1083" y="311"/>
                    <a:pt x="1083" y="315"/>
                  </a:cubicBezTo>
                  <a:cubicBezTo>
                    <a:pt x="1083" y="319"/>
                    <a:pt x="1097" y="325"/>
                    <a:pt x="1105" y="321"/>
                  </a:cubicBezTo>
                  <a:cubicBezTo>
                    <a:pt x="1105" y="321"/>
                    <a:pt x="1109" y="318"/>
                    <a:pt x="1109" y="319"/>
                  </a:cubicBezTo>
                  <a:cubicBezTo>
                    <a:pt x="1110" y="323"/>
                    <a:pt x="1089" y="334"/>
                    <a:pt x="1079" y="332"/>
                  </a:cubicBezTo>
                  <a:cubicBezTo>
                    <a:pt x="1076" y="331"/>
                    <a:pt x="1075" y="333"/>
                    <a:pt x="1074" y="334"/>
                  </a:cubicBezTo>
                  <a:cubicBezTo>
                    <a:pt x="1073" y="335"/>
                    <a:pt x="1073" y="340"/>
                    <a:pt x="1074" y="340"/>
                  </a:cubicBezTo>
                  <a:cubicBezTo>
                    <a:pt x="1078" y="342"/>
                    <a:pt x="1104" y="335"/>
                    <a:pt x="1106" y="338"/>
                  </a:cubicBezTo>
                  <a:cubicBezTo>
                    <a:pt x="1106" y="339"/>
                    <a:pt x="1094" y="349"/>
                    <a:pt x="1098" y="350"/>
                  </a:cubicBezTo>
                  <a:cubicBezTo>
                    <a:pt x="1110" y="354"/>
                    <a:pt x="1116" y="325"/>
                    <a:pt x="1136" y="319"/>
                  </a:cubicBezTo>
                  <a:cubicBezTo>
                    <a:pt x="1142" y="316"/>
                    <a:pt x="1139" y="321"/>
                    <a:pt x="1138" y="324"/>
                  </a:cubicBezTo>
                  <a:cubicBezTo>
                    <a:pt x="1138" y="324"/>
                    <a:pt x="1178" y="329"/>
                    <a:pt x="1183" y="320"/>
                  </a:cubicBezTo>
                  <a:cubicBezTo>
                    <a:pt x="1184" y="319"/>
                    <a:pt x="1173" y="315"/>
                    <a:pt x="1172" y="312"/>
                  </a:cubicBezTo>
                  <a:cubicBezTo>
                    <a:pt x="1172" y="311"/>
                    <a:pt x="1175" y="312"/>
                    <a:pt x="1175" y="312"/>
                  </a:cubicBezTo>
                  <a:cubicBezTo>
                    <a:pt x="1183" y="312"/>
                    <a:pt x="1178" y="306"/>
                    <a:pt x="1176" y="302"/>
                  </a:cubicBezTo>
                  <a:cubicBezTo>
                    <a:pt x="1176" y="301"/>
                    <a:pt x="1174" y="301"/>
                    <a:pt x="1175" y="299"/>
                  </a:cubicBezTo>
                  <a:cubicBezTo>
                    <a:pt x="1178" y="296"/>
                    <a:pt x="1191" y="296"/>
                    <a:pt x="1191" y="293"/>
                  </a:cubicBezTo>
                  <a:close/>
                  <a:moveTo>
                    <a:pt x="1324" y="215"/>
                  </a:moveTo>
                  <a:cubicBezTo>
                    <a:pt x="1353" y="212"/>
                    <a:pt x="1367" y="172"/>
                    <a:pt x="1314" y="215"/>
                  </a:cubicBezTo>
                  <a:cubicBezTo>
                    <a:pt x="1314" y="216"/>
                    <a:pt x="1314" y="216"/>
                    <a:pt x="1314" y="216"/>
                  </a:cubicBezTo>
                  <a:cubicBezTo>
                    <a:pt x="1318" y="218"/>
                    <a:pt x="1320" y="215"/>
                    <a:pt x="1324" y="215"/>
                  </a:cubicBezTo>
                  <a:close/>
                  <a:moveTo>
                    <a:pt x="1098" y="379"/>
                  </a:moveTo>
                  <a:cubicBezTo>
                    <a:pt x="1093" y="366"/>
                    <a:pt x="1081" y="388"/>
                    <a:pt x="1077" y="393"/>
                  </a:cubicBezTo>
                  <a:cubicBezTo>
                    <a:pt x="1077" y="394"/>
                    <a:pt x="1077" y="394"/>
                    <a:pt x="1077" y="394"/>
                  </a:cubicBezTo>
                  <a:cubicBezTo>
                    <a:pt x="1080" y="396"/>
                    <a:pt x="1106" y="390"/>
                    <a:pt x="1107" y="387"/>
                  </a:cubicBezTo>
                  <a:cubicBezTo>
                    <a:pt x="1108" y="385"/>
                    <a:pt x="1099" y="381"/>
                    <a:pt x="1098" y="379"/>
                  </a:cubicBezTo>
                  <a:close/>
                  <a:moveTo>
                    <a:pt x="1110" y="381"/>
                  </a:moveTo>
                  <a:cubicBezTo>
                    <a:pt x="1114" y="384"/>
                    <a:pt x="1134" y="373"/>
                    <a:pt x="1132" y="369"/>
                  </a:cubicBezTo>
                  <a:cubicBezTo>
                    <a:pt x="1129" y="364"/>
                    <a:pt x="1108" y="358"/>
                    <a:pt x="1111" y="366"/>
                  </a:cubicBezTo>
                  <a:cubicBezTo>
                    <a:pt x="1112" y="368"/>
                    <a:pt x="1123" y="378"/>
                    <a:pt x="1113" y="371"/>
                  </a:cubicBezTo>
                  <a:cubicBezTo>
                    <a:pt x="1096" y="360"/>
                    <a:pt x="1102" y="367"/>
                    <a:pt x="1110" y="381"/>
                  </a:cubicBezTo>
                  <a:close/>
                  <a:moveTo>
                    <a:pt x="1134" y="350"/>
                  </a:moveTo>
                  <a:cubicBezTo>
                    <a:pt x="1156" y="339"/>
                    <a:pt x="1147" y="320"/>
                    <a:pt x="1131" y="349"/>
                  </a:cubicBezTo>
                  <a:cubicBezTo>
                    <a:pt x="1131" y="349"/>
                    <a:pt x="1131" y="349"/>
                    <a:pt x="1131" y="349"/>
                  </a:cubicBezTo>
                  <a:cubicBezTo>
                    <a:pt x="1132" y="351"/>
                    <a:pt x="1133" y="351"/>
                    <a:pt x="1134" y="350"/>
                  </a:cubicBezTo>
                  <a:close/>
                  <a:moveTo>
                    <a:pt x="913" y="361"/>
                  </a:moveTo>
                  <a:cubicBezTo>
                    <a:pt x="906" y="358"/>
                    <a:pt x="905" y="368"/>
                    <a:pt x="913" y="369"/>
                  </a:cubicBezTo>
                  <a:cubicBezTo>
                    <a:pt x="913" y="369"/>
                    <a:pt x="913" y="369"/>
                    <a:pt x="913" y="369"/>
                  </a:cubicBezTo>
                  <a:cubicBezTo>
                    <a:pt x="924" y="369"/>
                    <a:pt x="918" y="362"/>
                    <a:pt x="913" y="361"/>
                  </a:cubicBezTo>
                  <a:close/>
                  <a:moveTo>
                    <a:pt x="142" y="1357"/>
                  </a:moveTo>
                  <a:cubicBezTo>
                    <a:pt x="142" y="1357"/>
                    <a:pt x="142" y="1357"/>
                    <a:pt x="142" y="1357"/>
                  </a:cubicBezTo>
                  <a:cubicBezTo>
                    <a:pt x="144" y="1355"/>
                    <a:pt x="120" y="1348"/>
                    <a:pt x="115" y="1352"/>
                  </a:cubicBezTo>
                  <a:cubicBezTo>
                    <a:pt x="112" y="1354"/>
                    <a:pt x="136" y="1359"/>
                    <a:pt x="142" y="1357"/>
                  </a:cubicBezTo>
                  <a:close/>
                  <a:moveTo>
                    <a:pt x="834" y="653"/>
                  </a:moveTo>
                  <a:cubicBezTo>
                    <a:pt x="838" y="656"/>
                    <a:pt x="840" y="664"/>
                    <a:pt x="844" y="664"/>
                  </a:cubicBezTo>
                  <a:cubicBezTo>
                    <a:pt x="844" y="663"/>
                    <a:pt x="844" y="663"/>
                    <a:pt x="844" y="663"/>
                  </a:cubicBezTo>
                  <a:cubicBezTo>
                    <a:pt x="846" y="662"/>
                    <a:pt x="848" y="646"/>
                    <a:pt x="850" y="641"/>
                  </a:cubicBezTo>
                  <a:cubicBezTo>
                    <a:pt x="852" y="634"/>
                    <a:pt x="847" y="640"/>
                    <a:pt x="844" y="643"/>
                  </a:cubicBezTo>
                  <a:cubicBezTo>
                    <a:pt x="839" y="651"/>
                    <a:pt x="828" y="639"/>
                    <a:pt x="826" y="651"/>
                  </a:cubicBezTo>
                  <a:cubicBezTo>
                    <a:pt x="825" y="654"/>
                    <a:pt x="833" y="652"/>
                    <a:pt x="834" y="653"/>
                  </a:cubicBezTo>
                  <a:close/>
                  <a:moveTo>
                    <a:pt x="706" y="802"/>
                  </a:move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lose/>
                  <a:moveTo>
                    <a:pt x="856" y="606"/>
                  </a:moveTo>
                  <a:cubicBezTo>
                    <a:pt x="875" y="600"/>
                    <a:pt x="840" y="596"/>
                    <a:pt x="846" y="608"/>
                  </a:cubicBezTo>
                  <a:cubicBezTo>
                    <a:pt x="846" y="609"/>
                    <a:pt x="855" y="606"/>
                    <a:pt x="856" y="606"/>
                  </a:cubicBezTo>
                  <a:close/>
                  <a:moveTo>
                    <a:pt x="849" y="466"/>
                  </a:moveTo>
                  <a:cubicBezTo>
                    <a:pt x="856" y="456"/>
                    <a:pt x="824" y="455"/>
                    <a:pt x="833" y="462"/>
                  </a:cubicBezTo>
                  <a:cubicBezTo>
                    <a:pt x="835" y="464"/>
                    <a:pt x="840" y="467"/>
                    <a:pt x="843" y="469"/>
                  </a:cubicBezTo>
                  <a:cubicBezTo>
                    <a:pt x="843" y="469"/>
                    <a:pt x="843" y="469"/>
                    <a:pt x="843" y="469"/>
                  </a:cubicBezTo>
                  <a:cubicBezTo>
                    <a:pt x="846" y="469"/>
                    <a:pt x="847" y="469"/>
                    <a:pt x="849" y="466"/>
                  </a:cubicBezTo>
                  <a:close/>
                  <a:moveTo>
                    <a:pt x="726" y="818"/>
                  </a:moveTo>
                  <a:cubicBezTo>
                    <a:pt x="727" y="817"/>
                    <a:pt x="727" y="817"/>
                    <a:pt x="727" y="817"/>
                  </a:cubicBezTo>
                  <a:cubicBezTo>
                    <a:pt x="729" y="816"/>
                    <a:pt x="729" y="815"/>
                    <a:pt x="727" y="814"/>
                  </a:cubicBezTo>
                  <a:cubicBezTo>
                    <a:pt x="718" y="812"/>
                    <a:pt x="711" y="823"/>
                    <a:pt x="703" y="822"/>
                  </a:cubicBezTo>
                  <a:cubicBezTo>
                    <a:pt x="699" y="822"/>
                    <a:pt x="709" y="815"/>
                    <a:pt x="705" y="815"/>
                  </a:cubicBezTo>
                  <a:cubicBezTo>
                    <a:pt x="696" y="814"/>
                    <a:pt x="691" y="821"/>
                    <a:pt x="688" y="827"/>
                  </a:cubicBezTo>
                  <a:cubicBezTo>
                    <a:pt x="687" y="829"/>
                    <a:pt x="680" y="831"/>
                    <a:pt x="681" y="835"/>
                  </a:cubicBezTo>
                  <a:cubicBezTo>
                    <a:pt x="681" y="835"/>
                    <a:pt x="692" y="832"/>
                    <a:pt x="691" y="835"/>
                  </a:cubicBezTo>
                  <a:cubicBezTo>
                    <a:pt x="689" y="840"/>
                    <a:pt x="711" y="822"/>
                    <a:pt x="726" y="818"/>
                  </a:cubicBezTo>
                  <a:close/>
                  <a:moveTo>
                    <a:pt x="1057" y="363"/>
                  </a:moveTo>
                  <a:cubicBezTo>
                    <a:pt x="1062" y="355"/>
                    <a:pt x="1043" y="357"/>
                    <a:pt x="1037" y="353"/>
                  </a:cubicBezTo>
                  <a:cubicBezTo>
                    <a:pt x="1024" y="344"/>
                    <a:pt x="1033" y="366"/>
                    <a:pt x="1050" y="369"/>
                  </a:cubicBezTo>
                  <a:cubicBezTo>
                    <a:pt x="1050" y="369"/>
                    <a:pt x="1050" y="369"/>
                    <a:pt x="1050" y="369"/>
                  </a:cubicBezTo>
                  <a:cubicBezTo>
                    <a:pt x="1058" y="370"/>
                    <a:pt x="1055" y="367"/>
                    <a:pt x="1057" y="363"/>
                  </a:cubicBezTo>
                  <a:close/>
                  <a:moveTo>
                    <a:pt x="737" y="514"/>
                  </a:moveTo>
                  <a:cubicBezTo>
                    <a:pt x="739" y="513"/>
                    <a:pt x="739" y="519"/>
                    <a:pt x="742" y="519"/>
                  </a:cubicBezTo>
                  <a:cubicBezTo>
                    <a:pt x="746" y="519"/>
                    <a:pt x="752" y="515"/>
                    <a:pt x="748" y="508"/>
                  </a:cubicBezTo>
                  <a:cubicBezTo>
                    <a:pt x="748" y="508"/>
                    <a:pt x="748" y="508"/>
                    <a:pt x="748" y="508"/>
                  </a:cubicBezTo>
                  <a:cubicBezTo>
                    <a:pt x="747" y="500"/>
                    <a:pt x="744" y="510"/>
                    <a:pt x="743" y="504"/>
                  </a:cubicBezTo>
                  <a:cubicBezTo>
                    <a:pt x="743" y="501"/>
                    <a:pt x="747" y="500"/>
                    <a:pt x="749" y="497"/>
                  </a:cubicBezTo>
                  <a:cubicBezTo>
                    <a:pt x="750" y="496"/>
                    <a:pt x="743" y="487"/>
                    <a:pt x="742" y="495"/>
                  </a:cubicBezTo>
                  <a:cubicBezTo>
                    <a:pt x="742" y="496"/>
                    <a:pt x="742" y="496"/>
                    <a:pt x="742" y="496"/>
                  </a:cubicBezTo>
                  <a:cubicBezTo>
                    <a:pt x="742" y="496"/>
                    <a:pt x="741" y="498"/>
                    <a:pt x="741" y="498"/>
                  </a:cubicBezTo>
                  <a:cubicBezTo>
                    <a:pt x="734" y="506"/>
                    <a:pt x="716" y="536"/>
                    <a:pt x="718" y="538"/>
                  </a:cubicBezTo>
                  <a:cubicBezTo>
                    <a:pt x="722" y="543"/>
                    <a:pt x="726" y="532"/>
                    <a:pt x="728" y="531"/>
                  </a:cubicBezTo>
                  <a:cubicBezTo>
                    <a:pt x="750" y="523"/>
                    <a:pt x="730" y="519"/>
                    <a:pt x="737" y="514"/>
                  </a:cubicBezTo>
                  <a:close/>
                  <a:moveTo>
                    <a:pt x="762" y="508"/>
                  </a:moveTo>
                  <a:cubicBezTo>
                    <a:pt x="763" y="508"/>
                    <a:pt x="763" y="508"/>
                    <a:pt x="763" y="508"/>
                  </a:cubicBezTo>
                  <a:cubicBezTo>
                    <a:pt x="789" y="481"/>
                    <a:pt x="763" y="481"/>
                    <a:pt x="762" y="488"/>
                  </a:cubicBezTo>
                  <a:cubicBezTo>
                    <a:pt x="762" y="491"/>
                    <a:pt x="768" y="492"/>
                    <a:pt x="766" y="496"/>
                  </a:cubicBezTo>
                  <a:cubicBezTo>
                    <a:pt x="764" y="499"/>
                    <a:pt x="754" y="490"/>
                    <a:pt x="752" y="504"/>
                  </a:cubicBezTo>
                  <a:cubicBezTo>
                    <a:pt x="751" y="512"/>
                    <a:pt x="756" y="502"/>
                    <a:pt x="756" y="502"/>
                  </a:cubicBezTo>
                  <a:cubicBezTo>
                    <a:pt x="760" y="504"/>
                    <a:pt x="754" y="514"/>
                    <a:pt x="762" y="508"/>
                  </a:cubicBezTo>
                  <a:close/>
                  <a:moveTo>
                    <a:pt x="993" y="343"/>
                  </a:moveTo>
                  <a:cubicBezTo>
                    <a:pt x="993" y="335"/>
                    <a:pt x="1032" y="313"/>
                    <a:pt x="1016" y="301"/>
                  </a:cubicBezTo>
                  <a:cubicBezTo>
                    <a:pt x="1015" y="300"/>
                    <a:pt x="1014" y="301"/>
                    <a:pt x="1013" y="302"/>
                  </a:cubicBezTo>
                  <a:cubicBezTo>
                    <a:pt x="1009" y="304"/>
                    <a:pt x="966" y="335"/>
                    <a:pt x="966" y="335"/>
                  </a:cubicBezTo>
                  <a:cubicBezTo>
                    <a:pt x="961" y="345"/>
                    <a:pt x="957" y="356"/>
                    <a:pt x="953" y="364"/>
                  </a:cubicBezTo>
                  <a:cubicBezTo>
                    <a:pt x="953" y="365"/>
                    <a:pt x="953" y="365"/>
                    <a:pt x="953" y="365"/>
                  </a:cubicBezTo>
                  <a:cubicBezTo>
                    <a:pt x="950" y="374"/>
                    <a:pt x="962" y="366"/>
                    <a:pt x="964" y="361"/>
                  </a:cubicBezTo>
                  <a:cubicBezTo>
                    <a:pt x="966" y="357"/>
                    <a:pt x="965" y="351"/>
                    <a:pt x="965" y="351"/>
                  </a:cubicBezTo>
                  <a:cubicBezTo>
                    <a:pt x="965" y="351"/>
                    <a:pt x="993" y="356"/>
                    <a:pt x="993" y="343"/>
                  </a:cubicBezTo>
                  <a:close/>
                  <a:moveTo>
                    <a:pt x="916" y="464"/>
                  </a:moveTo>
                  <a:cubicBezTo>
                    <a:pt x="913" y="458"/>
                    <a:pt x="902" y="466"/>
                    <a:pt x="905" y="471"/>
                  </a:cubicBezTo>
                  <a:cubicBezTo>
                    <a:pt x="908" y="476"/>
                    <a:pt x="912" y="471"/>
                    <a:pt x="914" y="467"/>
                  </a:cubicBezTo>
                  <a:cubicBezTo>
                    <a:pt x="914" y="467"/>
                    <a:pt x="914" y="467"/>
                    <a:pt x="914" y="467"/>
                  </a:cubicBezTo>
                  <a:cubicBezTo>
                    <a:pt x="915" y="466"/>
                    <a:pt x="915" y="465"/>
                    <a:pt x="916" y="464"/>
                  </a:cubicBezTo>
                  <a:close/>
                  <a:moveTo>
                    <a:pt x="916" y="465"/>
                  </a:moveTo>
                  <a:cubicBezTo>
                    <a:pt x="916" y="464"/>
                    <a:pt x="916" y="464"/>
                    <a:pt x="916" y="464"/>
                  </a:cubicBezTo>
                  <a:cubicBezTo>
                    <a:pt x="915" y="465"/>
                    <a:pt x="915" y="466"/>
                    <a:pt x="914" y="467"/>
                  </a:cubicBezTo>
                  <a:cubicBezTo>
                    <a:pt x="914" y="467"/>
                    <a:pt x="914" y="467"/>
                    <a:pt x="914" y="467"/>
                  </a:cubicBezTo>
                  <a:cubicBezTo>
                    <a:pt x="915" y="466"/>
                    <a:pt x="916" y="465"/>
                    <a:pt x="916" y="465"/>
                  </a:cubicBezTo>
                  <a:close/>
                  <a:moveTo>
                    <a:pt x="1812" y="28"/>
                  </a:moveTo>
                  <a:cubicBezTo>
                    <a:pt x="1813" y="28"/>
                    <a:pt x="1813" y="28"/>
                    <a:pt x="1813" y="28"/>
                  </a:cubicBezTo>
                  <a:cubicBezTo>
                    <a:pt x="1829" y="21"/>
                    <a:pt x="1799" y="18"/>
                    <a:pt x="1812" y="28"/>
                  </a:cubicBezTo>
                  <a:close/>
                  <a:moveTo>
                    <a:pt x="1775" y="26"/>
                  </a:moveTo>
                  <a:cubicBezTo>
                    <a:pt x="1774" y="30"/>
                    <a:pt x="1786" y="30"/>
                    <a:pt x="1788" y="30"/>
                  </a:cubicBezTo>
                  <a:cubicBezTo>
                    <a:pt x="1789" y="30"/>
                    <a:pt x="1789" y="30"/>
                    <a:pt x="1789" y="30"/>
                  </a:cubicBezTo>
                  <a:cubicBezTo>
                    <a:pt x="1797" y="29"/>
                    <a:pt x="1775" y="24"/>
                    <a:pt x="1775" y="26"/>
                  </a:cubicBezTo>
                  <a:close/>
                  <a:moveTo>
                    <a:pt x="1792" y="24"/>
                  </a:moveTo>
                  <a:cubicBezTo>
                    <a:pt x="1805" y="23"/>
                    <a:pt x="1796" y="4"/>
                    <a:pt x="1788" y="11"/>
                  </a:cubicBezTo>
                  <a:cubicBezTo>
                    <a:pt x="1786" y="14"/>
                    <a:pt x="1795" y="15"/>
                    <a:pt x="1792" y="17"/>
                  </a:cubicBezTo>
                  <a:cubicBezTo>
                    <a:pt x="1789" y="19"/>
                    <a:pt x="1770" y="17"/>
                    <a:pt x="1792" y="24"/>
                  </a:cubicBezTo>
                  <a:close/>
                  <a:moveTo>
                    <a:pt x="838" y="469"/>
                  </a:moveTo>
                  <a:cubicBezTo>
                    <a:pt x="830" y="463"/>
                    <a:pt x="830" y="471"/>
                    <a:pt x="824" y="471"/>
                  </a:cubicBezTo>
                  <a:cubicBezTo>
                    <a:pt x="816" y="469"/>
                    <a:pt x="787" y="455"/>
                    <a:pt x="783" y="471"/>
                  </a:cubicBezTo>
                  <a:cubicBezTo>
                    <a:pt x="783" y="472"/>
                    <a:pt x="791" y="472"/>
                    <a:pt x="792" y="473"/>
                  </a:cubicBezTo>
                  <a:cubicBezTo>
                    <a:pt x="794" y="478"/>
                    <a:pt x="775" y="472"/>
                    <a:pt x="782" y="483"/>
                  </a:cubicBezTo>
                  <a:cubicBezTo>
                    <a:pt x="783" y="484"/>
                    <a:pt x="781" y="486"/>
                    <a:pt x="781" y="487"/>
                  </a:cubicBezTo>
                  <a:cubicBezTo>
                    <a:pt x="781" y="487"/>
                    <a:pt x="781" y="487"/>
                    <a:pt x="781" y="487"/>
                  </a:cubicBezTo>
                  <a:cubicBezTo>
                    <a:pt x="785" y="488"/>
                    <a:pt x="782" y="484"/>
                    <a:pt x="785" y="486"/>
                  </a:cubicBezTo>
                  <a:cubicBezTo>
                    <a:pt x="788" y="488"/>
                    <a:pt x="772" y="493"/>
                    <a:pt x="781" y="501"/>
                  </a:cubicBezTo>
                  <a:cubicBezTo>
                    <a:pt x="782" y="502"/>
                    <a:pt x="782" y="502"/>
                    <a:pt x="782" y="502"/>
                  </a:cubicBezTo>
                  <a:cubicBezTo>
                    <a:pt x="791" y="502"/>
                    <a:pt x="783" y="488"/>
                    <a:pt x="791" y="490"/>
                  </a:cubicBezTo>
                  <a:cubicBezTo>
                    <a:pt x="791" y="490"/>
                    <a:pt x="794" y="493"/>
                    <a:pt x="794" y="493"/>
                  </a:cubicBezTo>
                  <a:cubicBezTo>
                    <a:pt x="793" y="496"/>
                    <a:pt x="797" y="500"/>
                    <a:pt x="800" y="497"/>
                  </a:cubicBezTo>
                  <a:cubicBezTo>
                    <a:pt x="802" y="496"/>
                    <a:pt x="798" y="489"/>
                    <a:pt x="802" y="489"/>
                  </a:cubicBezTo>
                  <a:cubicBezTo>
                    <a:pt x="803" y="488"/>
                    <a:pt x="813" y="498"/>
                    <a:pt x="813" y="489"/>
                  </a:cubicBezTo>
                  <a:cubicBezTo>
                    <a:pt x="813" y="486"/>
                    <a:pt x="806" y="484"/>
                    <a:pt x="806" y="484"/>
                  </a:cubicBezTo>
                  <a:cubicBezTo>
                    <a:pt x="807" y="484"/>
                    <a:pt x="846" y="475"/>
                    <a:pt x="838" y="469"/>
                  </a:cubicBezTo>
                  <a:close/>
                  <a:moveTo>
                    <a:pt x="891" y="468"/>
                  </a:moveTo>
                  <a:cubicBezTo>
                    <a:pt x="891" y="469"/>
                    <a:pt x="908" y="462"/>
                    <a:pt x="917" y="452"/>
                  </a:cubicBezTo>
                  <a:cubicBezTo>
                    <a:pt x="918" y="450"/>
                    <a:pt x="929" y="439"/>
                    <a:pt x="929" y="438"/>
                  </a:cubicBezTo>
                  <a:cubicBezTo>
                    <a:pt x="928" y="437"/>
                    <a:pt x="920" y="439"/>
                    <a:pt x="919" y="439"/>
                  </a:cubicBezTo>
                  <a:cubicBezTo>
                    <a:pt x="916" y="442"/>
                    <a:pt x="910" y="438"/>
                    <a:pt x="906" y="441"/>
                  </a:cubicBezTo>
                  <a:cubicBezTo>
                    <a:pt x="903" y="443"/>
                    <a:pt x="907" y="449"/>
                    <a:pt x="903" y="449"/>
                  </a:cubicBezTo>
                  <a:cubicBezTo>
                    <a:pt x="902" y="450"/>
                    <a:pt x="900" y="451"/>
                    <a:pt x="899" y="452"/>
                  </a:cubicBezTo>
                  <a:cubicBezTo>
                    <a:pt x="897" y="452"/>
                    <a:pt x="896" y="453"/>
                    <a:pt x="895" y="452"/>
                  </a:cubicBezTo>
                  <a:cubicBezTo>
                    <a:pt x="894" y="452"/>
                    <a:pt x="905" y="446"/>
                    <a:pt x="896" y="441"/>
                  </a:cubicBezTo>
                  <a:cubicBezTo>
                    <a:pt x="887" y="436"/>
                    <a:pt x="892" y="447"/>
                    <a:pt x="890" y="449"/>
                  </a:cubicBezTo>
                  <a:cubicBezTo>
                    <a:pt x="887" y="451"/>
                    <a:pt x="886" y="443"/>
                    <a:pt x="886" y="442"/>
                  </a:cubicBezTo>
                  <a:cubicBezTo>
                    <a:pt x="883" y="440"/>
                    <a:pt x="879" y="443"/>
                    <a:pt x="877" y="444"/>
                  </a:cubicBezTo>
                  <a:cubicBezTo>
                    <a:pt x="875" y="445"/>
                    <a:pt x="875" y="450"/>
                    <a:pt x="874" y="449"/>
                  </a:cubicBezTo>
                  <a:cubicBezTo>
                    <a:pt x="873" y="447"/>
                    <a:pt x="861" y="449"/>
                    <a:pt x="861" y="450"/>
                  </a:cubicBezTo>
                  <a:cubicBezTo>
                    <a:pt x="860" y="452"/>
                    <a:pt x="870" y="456"/>
                    <a:pt x="871" y="459"/>
                  </a:cubicBezTo>
                  <a:cubicBezTo>
                    <a:pt x="872" y="461"/>
                    <a:pt x="867" y="457"/>
                    <a:pt x="866" y="458"/>
                  </a:cubicBezTo>
                  <a:cubicBezTo>
                    <a:pt x="858" y="468"/>
                    <a:pt x="859" y="454"/>
                    <a:pt x="855" y="458"/>
                  </a:cubicBezTo>
                  <a:cubicBezTo>
                    <a:pt x="850" y="463"/>
                    <a:pt x="855" y="464"/>
                    <a:pt x="856" y="467"/>
                  </a:cubicBezTo>
                  <a:cubicBezTo>
                    <a:pt x="856" y="469"/>
                    <a:pt x="851" y="470"/>
                    <a:pt x="853" y="470"/>
                  </a:cubicBezTo>
                  <a:cubicBezTo>
                    <a:pt x="854" y="470"/>
                    <a:pt x="858" y="470"/>
                    <a:pt x="858" y="471"/>
                  </a:cubicBezTo>
                  <a:cubicBezTo>
                    <a:pt x="858" y="471"/>
                    <a:pt x="853" y="473"/>
                    <a:pt x="852" y="473"/>
                  </a:cubicBezTo>
                  <a:cubicBezTo>
                    <a:pt x="842" y="473"/>
                    <a:pt x="848" y="478"/>
                    <a:pt x="845" y="482"/>
                  </a:cubicBezTo>
                  <a:cubicBezTo>
                    <a:pt x="844" y="484"/>
                    <a:pt x="844" y="484"/>
                    <a:pt x="844" y="484"/>
                  </a:cubicBezTo>
                  <a:cubicBezTo>
                    <a:pt x="845" y="485"/>
                    <a:pt x="887" y="473"/>
                    <a:pt x="886" y="469"/>
                  </a:cubicBezTo>
                  <a:cubicBezTo>
                    <a:pt x="885" y="464"/>
                    <a:pt x="885" y="457"/>
                    <a:pt x="890" y="456"/>
                  </a:cubicBezTo>
                  <a:cubicBezTo>
                    <a:pt x="898" y="454"/>
                    <a:pt x="889" y="467"/>
                    <a:pt x="891" y="468"/>
                  </a:cubicBezTo>
                  <a:close/>
                  <a:moveTo>
                    <a:pt x="1055" y="405"/>
                  </a:moveTo>
                  <a:cubicBezTo>
                    <a:pt x="1056" y="397"/>
                    <a:pt x="1052" y="391"/>
                    <a:pt x="1049" y="386"/>
                  </a:cubicBezTo>
                  <a:cubicBezTo>
                    <a:pt x="1048" y="384"/>
                    <a:pt x="1055" y="380"/>
                    <a:pt x="1054" y="379"/>
                  </a:cubicBezTo>
                  <a:cubicBezTo>
                    <a:pt x="1054" y="377"/>
                    <a:pt x="1047" y="381"/>
                    <a:pt x="1044" y="380"/>
                  </a:cubicBezTo>
                  <a:cubicBezTo>
                    <a:pt x="1044" y="379"/>
                    <a:pt x="1031" y="366"/>
                    <a:pt x="1027" y="366"/>
                  </a:cubicBezTo>
                  <a:cubicBezTo>
                    <a:pt x="1024" y="366"/>
                    <a:pt x="1035" y="380"/>
                    <a:pt x="1029" y="376"/>
                  </a:cubicBezTo>
                  <a:cubicBezTo>
                    <a:pt x="1026" y="375"/>
                    <a:pt x="1026" y="373"/>
                    <a:pt x="1023" y="373"/>
                  </a:cubicBezTo>
                  <a:cubicBezTo>
                    <a:pt x="1001" y="375"/>
                    <a:pt x="1023" y="386"/>
                    <a:pt x="1023" y="389"/>
                  </a:cubicBezTo>
                  <a:cubicBezTo>
                    <a:pt x="1025" y="399"/>
                    <a:pt x="1008" y="387"/>
                    <a:pt x="1008" y="398"/>
                  </a:cubicBezTo>
                  <a:cubicBezTo>
                    <a:pt x="1008" y="401"/>
                    <a:pt x="1012" y="410"/>
                    <a:pt x="1009" y="408"/>
                  </a:cubicBezTo>
                  <a:cubicBezTo>
                    <a:pt x="1007" y="407"/>
                    <a:pt x="1008" y="404"/>
                    <a:pt x="1005" y="404"/>
                  </a:cubicBezTo>
                  <a:cubicBezTo>
                    <a:pt x="998" y="402"/>
                    <a:pt x="990" y="415"/>
                    <a:pt x="988" y="420"/>
                  </a:cubicBezTo>
                  <a:cubicBezTo>
                    <a:pt x="988" y="421"/>
                    <a:pt x="982" y="426"/>
                    <a:pt x="981" y="425"/>
                  </a:cubicBezTo>
                  <a:cubicBezTo>
                    <a:pt x="976" y="418"/>
                    <a:pt x="1002" y="400"/>
                    <a:pt x="1004" y="390"/>
                  </a:cubicBezTo>
                  <a:cubicBezTo>
                    <a:pt x="1005" y="383"/>
                    <a:pt x="981" y="399"/>
                    <a:pt x="984" y="393"/>
                  </a:cubicBezTo>
                  <a:cubicBezTo>
                    <a:pt x="986" y="384"/>
                    <a:pt x="1007" y="369"/>
                    <a:pt x="997" y="357"/>
                  </a:cubicBezTo>
                  <a:cubicBezTo>
                    <a:pt x="996" y="357"/>
                    <a:pt x="995" y="356"/>
                    <a:pt x="995" y="356"/>
                  </a:cubicBezTo>
                  <a:cubicBezTo>
                    <a:pt x="982" y="353"/>
                    <a:pt x="961" y="367"/>
                    <a:pt x="965" y="375"/>
                  </a:cubicBezTo>
                  <a:cubicBezTo>
                    <a:pt x="966" y="377"/>
                    <a:pt x="973" y="379"/>
                    <a:pt x="972" y="379"/>
                  </a:cubicBezTo>
                  <a:cubicBezTo>
                    <a:pt x="968" y="383"/>
                    <a:pt x="957" y="376"/>
                    <a:pt x="956" y="384"/>
                  </a:cubicBezTo>
                  <a:cubicBezTo>
                    <a:pt x="956" y="385"/>
                    <a:pt x="956" y="387"/>
                    <a:pt x="956" y="388"/>
                  </a:cubicBezTo>
                  <a:cubicBezTo>
                    <a:pt x="956" y="389"/>
                    <a:pt x="982" y="396"/>
                    <a:pt x="979" y="398"/>
                  </a:cubicBezTo>
                  <a:cubicBezTo>
                    <a:pt x="977" y="399"/>
                    <a:pt x="961" y="391"/>
                    <a:pt x="957" y="394"/>
                  </a:cubicBezTo>
                  <a:cubicBezTo>
                    <a:pt x="946" y="403"/>
                    <a:pt x="967" y="408"/>
                    <a:pt x="968" y="410"/>
                  </a:cubicBezTo>
                  <a:cubicBezTo>
                    <a:pt x="969" y="411"/>
                    <a:pt x="973" y="411"/>
                    <a:pt x="972" y="413"/>
                  </a:cubicBezTo>
                  <a:cubicBezTo>
                    <a:pt x="972" y="413"/>
                    <a:pt x="971" y="413"/>
                    <a:pt x="971" y="413"/>
                  </a:cubicBezTo>
                  <a:cubicBezTo>
                    <a:pt x="970" y="413"/>
                    <a:pt x="970" y="413"/>
                    <a:pt x="969" y="413"/>
                  </a:cubicBezTo>
                  <a:cubicBezTo>
                    <a:pt x="960" y="413"/>
                    <a:pt x="950" y="409"/>
                    <a:pt x="953" y="416"/>
                  </a:cubicBezTo>
                  <a:cubicBezTo>
                    <a:pt x="954" y="417"/>
                    <a:pt x="956" y="421"/>
                    <a:pt x="956" y="421"/>
                  </a:cubicBezTo>
                  <a:cubicBezTo>
                    <a:pt x="950" y="422"/>
                    <a:pt x="940" y="413"/>
                    <a:pt x="935" y="420"/>
                  </a:cubicBezTo>
                  <a:cubicBezTo>
                    <a:pt x="930" y="427"/>
                    <a:pt x="949" y="430"/>
                    <a:pt x="940" y="432"/>
                  </a:cubicBezTo>
                  <a:cubicBezTo>
                    <a:pt x="933" y="433"/>
                    <a:pt x="941" y="435"/>
                    <a:pt x="945" y="435"/>
                  </a:cubicBezTo>
                  <a:cubicBezTo>
                    <a:pt x="946" y="435"/>
                    <a:pt x="948" y="435"/>
                    <a:pt x="948" y="436"/>
                  </a:cubicBezTo>
                  <a:cubicBezTo>
                    <a:pt x="947" y="437"/>
                    <a:pt x="940" y="438"/>
                    <a:pt x="939" y="438"/>
                  </a:cubicBezTo>
                  <a:cubicBezTo>
                    <a:pt x="928" y="438"/>
                    <a:pt x="921" y="456"/>
                    <a:pt x="916" y="464"/>
                  </a:cubicBezTo>
                  <a:cubicBezTo>
                    <a:pt x="916" y="464"/>
                    <a:pt x="916" y="464"/>
                    <a:pt x="916" y="465"/>
                  </a:cubicBezTo>
                  <a:cubicBezTo>
                    <a:pt x="916" y="465"/>
                    <a:pt x="916" y="465"/>
                    <a:pt x="916" y="465"/>
                  </a:cubicBezTo>
                  <a:cubicBezTo>
                    <a:pt x="916" y="465"/>
                    <a:pt x="915" y="466"/>
                    <a:pt x="914" y="467"/>
                  </a:cubicBezTo>
                  <a:cubicBezTo>
                    <a:pt x="914" y="468"/>
                    <a:pt x="914" y="468"/>
                    <a:pt x="914" y="468"/>
                  </a:cubicBezTo>
                  <a:cubicBezTo>
                    <a:pt x="914" y="470"/>
                    <a:pt x="935" y="458"/>
                    <a:pt x="936" y="455"/>
                  </a:cubicBezTo>
                  <a:cubicBezTo>
                    <a:pt x="940" y="449"/>
                    <a:pt x="946" y="447"/>
                    <a:pt x="959" y="439"/>
                  </a:cubicBezTo>
                  <a:cubicBezTo>
                    <a:pt x="962" y="437"/>
                    <a:pt x="962" y="427"/>
                    <a:pt x="965" y="428"/>
                  </a:cubicBezTo>
                  <a:cubicBezTo>
                    <a:pt x="980" y="434"/>
                    <a:pt x="942" y="451"/>
                    <a:pt x="945" y="456"/>
                  </a:cubicBezTo>
                  <a:cubicBezTo>
                    <a:pt x="946" y="457"/>
                    <a:pt x="958" y="457"/>
                    <a:pt x="960" y="456"/>
                  </a:cubicBezTo>
                  <a:cubicBezTo>
                    <a:pt x="965" y="453"/>
                    <a:pt x="970" y="465"/>
                    <a:pt x="972" y="461"/>
                  </a:cubicBezTo>
                  <a:cubicBezTo>
                    <a:pt x="974" y="458"/>
                    <a:pt x="980" y="441"/>
                    <a:pt x="983" y="441"/>
                  </a:cubicBezTo>
                  <a:cubicBezTo>
                    <a:pt x="985" y="442"/>
                    <a:pt x="983" y="447"/>
                    <a:pt x="987" y="447"/>
                  </a:cubicBezTo>
                  <a:cubicBezTo>
                    <a:pt x="988" y="447"/>
                    <a:pt x="989" y="427"/>
                    <a:pt x="994" y="438"/>
                  </a:cubicBezTo>
                  <a:cubicBezTo>
                    <a:pt x="996" y="441"/>
                    <a:pt x="991" y="448"/>
                    <a:pt x="993" y="451"/>
                  </a:cubicBezTo>
                  <a:cubicBezTo>
                    <a:pt x="999" y="459"/>
                    <a:pt x="1012" y="425"/>
                    <a:pt x="1014" y="424"/>
                  </a:cubicBezTo>
                  <a:cubicBezTo>
                    <a:pt x="1026" y="417"/>
                    <a:pt x="1053" y="430"/>
                    <a:pt x="1055" y="405"/>
                  </a:cubicBezTo>
                  <a:close/>
                  <a:moveTo>
                    <a:pt x="922" y="511"/>
                  </a:moveTo>
                  <a:cubicBezTo>
                    <a:pt x="920" y="509"/>
                    <a:pt x="919" y="511"/>
                    <a:pt x="918" y="512"/>
                  </a:cubicBezTo>
                  <a:cubicBezTo>
                    <a:pt x="905" y="524"/>
                    <a:pt x="915" y="523"/>
                    <a:pt x="935" y="521"/>
                  </a:cubicBezTo>
                  <a:cubicBezTo>
                    <a:pt x="936" y="520"/>
                    <a:pt x="936" y="520"/>
                    <a:pt x="936" y="520"/>
                  </a:cubicBezTo>
                  <a:cubicBezTo>
                    <a:pt x="947" y="517"/>
                    <a:pt x="926" y="518"/>
                    <a:pt x="922" y="511"/>
                  </a:cubicBezTo>
                  <a:close/>
                  <a:moveTo>
                    <a:pt x="934" y="513"/>
                  </a:moveTo>
                  <a:cubicBezTo>
                    <a:pt x="936" y="513"/>
                    <a:pt x="937" y="513"/>
                    <a:pt x="938" y="513"/>
                  </a:cubicBezTo>
                  <a:cubicBezTo>
                    <a:pt x="940" y="513"/>
                    <a:pt x="940" y="513"/>
                    <a:pt x="940" y="513"/>
                  </a:cubicBezTo>
                  <a:cubicBezTo>
                    <a:pt x="952" y="504"/>
                    <a:pt x="912" y="511"/>
                    <a:pt x="934" y="513"/>
                  </a:cubicBezTo>
                  <a:close/>
                  <a:moveTo>
                    <a:pt x="562" y="1026"/>
                  </a:moveTo>
                  <a:cubicBezTo>
                    <a:pt x="561" y="1036"/>
                    <a:pt x="572" y="1029"/>
                    <a:pt x="577" y="1032"/>
                  </a:cubicBezTo>
                  <a:cubicBezTo>
                    <a:pt x="584" y="1037"/>
                    <a:pt x="570" y="1032"/>
                    <a:pt x="570" y="1037"/>
                  </a:cubicBezTo>
                  <a:cubicBezTo>
                    <a:pt x="570" y="1043"/>
                    <a:pt x="588" y="1048"/>
                    <a:pt x="592" y="1048"/>
                  </a:cubicBezTo>
                  <a:cubicBezTo>
                    <a:pt x="594" y="1048"/>
                    <a:pt x="595" y="1050"/>
                    <a:pt x="596" y="1049"/>
                  </a:cubicBezTo>
                  <a:cubicBezTo>
                    <a:pt x="597" y="1048"/>
                    <a:pt x="598" y="1045"/>
                    <a:pt x="599" y="1043"/>
                  </a:cubicBezTo>
                  <a:cubicBezTo>
                    <a:pt x="599" y="1043"/>
                    <a:pt x="599" y="1043"/>
                    <a:pt x="599" y="1043"/>
                  </a:cubicBezTo>
                  <a:cubicBezTo>
                    <a:pt x="603" y="1038"/>
                    <a:pt x="585" y="1040"/>
                    <a:pt x="585" y="1039"/>
                  </a:cubicBezTo>
                  <a:cubicBezTo>
                    <a:pt x="584" y="1039"/>
                    <a:pt x="564" y="1013"/>
                    <a:pt x="562" y="1026"/>
                  </a:cubicBezTo>
                  <a:close/>
                  <a:moveTo>
                    <a:pt x="95" y="1822"/>
                  </a:moveTo>
                  <a:cubicBezTo>
                    <a:pt x="90" y="1820"/>
                    <a:pt x="87" y="1835"/>
                    <a:pt x="98" y="1825"/>
                  </a:cubicBezTo>
                  <a:cubicBezTo>
                    <a:pt x="100" y="1823"/>
                    <a:pt x="94" y="1824"/>
                    <a:pt x="95" y="1822"/>
                  </a:cubicBezTo>
                  <a:close/>
                  <a:moveTo>
                    <a:pt x="594" y="1029"/>
                  </a:moveTo>
                  <a:cubicBezTo>
                    <a:pt x="593" y="1029"/>
                    <a:pt x="590" y="1037"/>
                    <a:pt x="600" y="1038"/>
                  </a:cubicBezTo>
                  <a:cubicBezTo>
                    <a:pt x="600" y="1038"/>
                    <a:pt x="600" y="1038"/>
                    <a:pt x="600" y="1038"/>
                  </a:cubicBezTo>
                  <a:cubicBezTo>
                    <a:pt x="606" y="1039"/>
                    <a:pt x="594" y="1029"/>
                    <a:pt x="594" y="1029"/>
                  </a:cubicBezTo>
                  <a:close/>
                  <a:moveTo>
                    <a:pt x="560" y="1158"/>
                  </a:moveTo>
                  <a:cubicBezTo>
                    <a:pt x="563" y="1163"/>
                    <a:pt x="573" y="1152"/>
                    <a:pt x="579" y="1150"/>
                  </a:cubicBezTo>
                  <a:cubicBezTo>
                    <a:pt x="579" y="1150"/>
                    <a:pt x="579" y="1150"/>
                    <a:pt x="579" y="1150"/>
                  </a:cubicBezTo>
                  <a:cubicBezTo>
                    <a:pt x="581" y="1147"/>
                    <a:pt x="556" y="1149"/>
                    <a:pt x="560" y="1158"/>
                  </a:cubicBezTo>
                  <a:close/>
                  <a:moveTo>
                    <a:pt x="21" y="1510"/>
                  </a:moveTo>
                  <a:cubicBezTo>
                    <a:pt x="21" y="1510"/>
                    <a:pt x="21" y="1510"/>
                    <a:pt x="21" y="1510"/>
                  </a:cubicBezTo>
                  <a:cubicBezTo>
                    <a:pt x="19" y="1507"/>
                    <a:pt x="14" y="1506"/>
                    <a:pt x="13" y="1508"/>
                  </a:cubicBezTo>
                  <a:cubicBezTo>
                    <a:pt x="8" y="1515"/>
                    <a:pt x="21" y="1521"/>
                    <a:pt x="21" y="1510"/>
                  </a:cubicBezTo>
                  <a:close/>
                  <a:moveTo>
                    <a:pt x="85" y="1609"/>
                  </a:moveTo>
                  <a:cubicBezTo>
                    <a:pt x="85" y="1609"/>
                    <a:pt x="85" y="1609"/>
                    <a:pt x="85" y="1609"/>
                  </a:cubicBezTo>
                  <a:cubicBezTo>
                    <a:pt x="82" y="1605"/>
                    <a:pt x="74" y="1615"/>
                    <a:pt x="70" y="1621"/>
                  </a:cubicBezTo>
                  <a:cubicBezTo>
                    <a:pt x="67" y="1624"/>
                    <a:pt x="53" y="1625"/>
                    <a:pt x="55" y="1628"/>
                  </a:cubicBezTo>
                  <a:cubicBezTo>
                    <a:pt x="61" y="1642"/>
                    <a:pt x="89" y="1657"/>
                    <a:pt x="85" y="1609"/>
                  </a:cubicBezTo>
                  <a:close/>
                  <a:moveTo>
                    <a:pt x="104" y="1827"/>
                  </a:moveTo>
                  <a:cubicBezTo>
                    <a:pt x="104" y="1827"/>
                    <a:pt x="104" y="1827"/>
                    <a:pt x="104" y="1827"/>
                  </a:cubicBezTo>
                  <a:cubicBezTo>
                    <a:pt x="104" y="1826"/>
                    <a:pt x="103" y="1827"/>
                    <a:pt x="103" y="1827"/>
                  </a:cubicBezTo>
                  <a:cubicBezTo>
                    <a:pt x="94" y="1833"/>
                    <a:pt x="108" y="1835"/>
                    <a:pt x="104" y="1827"/>
                  </a:cubicBezTo>
                  <a:close/>
                  <a:moveTo>
                    <a:pt x="105" y="1816"/>
                  </a:moveTo>
                  <a:cubicBezTo>
                    <a:pt x="109" y="1819"/>
                    <a:pt x="124" y="1813"/>
                    <a:pt x="116" y="1808"/>
                  </a:cubicBezTo>
                  <a:cubicBezTo>
                    <a:pt x="116" y="1808"/>
                    <a:pt x="116" y="1808"/>
                    <a:pt x="116" y="1808"/>
                  </a:cubicBezTo>
                  <a:cubicBezTo>
                    <a:pt x="111" y="1806"/>
                    <a:pt x="99" y="1813"/>
                    <a:pt x="105" y="1816"/>
                  </a:cubicBezTo>
                  <a:close/>
                  <a:moveTo>
                    <a:pt x="111" y="1683"/>
                  </a:moveTo>
                  <a:cubicBezTo>
                    <a:pt x="110" y="1683"/>
                    <a:pt x="110" y="1683"/>
                    <a:pt x="110" y="1683"/>
                  </a:cubicBezTo>
                  <a:cubicBezTo>
                    <a:pt x="106" y="1684"/>
                    <a:pt x="104" y="1688"/>
                    <a:pt x="106" y="1691"/>
                  </a:cubicBezTo>
                  <a:cubicBezTo>
                    <a:pt x="111" y="1701"/>
                    <a:pt x="119" y="1683"/>
                    <a:pt x="111" y="1683"/>
                  </a:cubicBezTo>
                  <a:close/>
                  <a:moveTo>
                    <a:pt x="578" y="1019"/>
                  </a:moveTo>
                  <a:cubicBezTo>
                    <a:pt x="568" y="1022"/>
                    <a:pt x="596" y="1037"/>
                    <a:pt x="590" y="1022"/>
                  </a:cubicBezTo>
                  <a:cubicBezTo>
                    <a:pt x="590" y="1021"/>
                    <a:pt x="590" y="1021"/>
                    <a:pt x="590" y="1021"/>
                  </a:cubicBezTo>
                  <a:cubicBezTo>
                    <a:pt x="587" y="1017"/>
                    <a:pt x="582" y="1017"/>
                    <a:pt x="578" y="1019"/>
                  </a:cubicBezTo>
                  <a:close/>
                  <a:moveTo>
                    <a:pt x="1836" y="147"/>
                  </a:moveTo>
                  <a:cubicBezTo>
                    <a:pt x="1836" y="148"/>
                    <a:pt x="1836" y="148"/>
                    <a:pt x="1836" y="148"/>
                  </a:cubicBezTo>
                  <a:cubicBezTo>
                    <a:pt x="1843" y="157"/>
                    <a:pt x="1841" y="130"/>
                    <a:pt x="1836" y="147"/>
                  </a:cubicBezTo>
                  <a:close/>
                  <a:moveTo>
                    <a:pt x="11" y="1553"/>
                  </a:moveTo>
                  <a:cubicBezTo>
                    <a:pt x="11" y="1553"/>
                    <a:pt x="11" y="1553"/>
                    <a:pt x="11" y="1553"/>
                  </a:cubicBez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1" y="1552"/>
                    <a:pt x="11" y="1553"/>
                  </a:cubicBezTo>
                  <a:close/>
                  <a:moveTo>
                    <a:pt x="8" y="1552"/>
                  </a:moveTo>
                  <a:cubicBezTo>
                    <a:pt x="8" y="1550"/>
                    <a:pt x="10" y="1553"/>
                    <a:pt x="12" y="1554"/>
                  </a:cubicBezTo>
                  <a:cubicBezTo>
                    <a:pt x="12" y="1554"/>
                    <a:pt x="12" y="1554"/>
                    <a:pt x="11" y="1553"/>
                  </a:cubicBezTo>
                  <a:cubicBezTo>
                    <a:pt x="11" y="1553"/>
                    <a:pt x="11" y="1553"/>
                    <a:pt x="11" y="1553"/>
                  </a:cubicBezTo>
                  <a:cubicBezTo>
                    <a:pt x="11" y="1552"/>
                    <a:pt x="12" y="1554"/>
                    <a:pt x="12" y="1554"/>
                  </a:cubicBezTo>
                  <a:cubicBezTo>
                    <a:pt x="14" y="1555"/>
                    <a:pt x="15" y="1555"/>
                    <a:pt x="15" y="1555"/>
                  </a:cubicBezTo>
                  <a:cubicBezTo>
                    <a:pt x="22" y="1548"/>
                    <a:pt x="23" y="1546"/>
                    <a:pt x="20" y="1536"/>
                  </a:cubicBezTo>
                  <a:cubicBezTo>
                    <a:pt x="20" y="1536"/>
                    <a:pt x="20" y="1536"/>
                    <a:pt x="20" y="1536"/>
                  </a:cubicBezTo>
                  <a:cubicBezTo>
                    <a:pt x="18" y="1535"/>
                    <a:pt x="16" y="1536"/>
                    <a:pt x="15" y="1538"/>
                  </a:cubicBezTo>
                  <a:cubicBezTo>
                    <a:pt x="15" y="1539"/>
                    <a:pt x="16" y="1541"/>
                    <a:pt x="15" y="1542"/>
                  </a:cubicBezTo>
                  <a:cubicBezTo>
                    <a:pt x="15" y="1542"/>
                    <a:pt x="16" y="1542"/>
                    <a:pt x="15" y="1543"/>
                  </a:cubicBezTo>
                  <a:cubicBezTo>
                    <a:pt x="14" y="1543"/>
                    <a:pt x="13" y="1536"/>
                    <a:pt x="13" y="1535"/>
                  </a:cubicBezTo>
                  <a:cubicBezTo>
                    <a:pt x="13" y="1531"/>
                    <a:pt x="11" y="1536"/>
                    <a:pt x="13" y="1541"/>
                  </a:cubicBezTo>
                  <a:cubicBezTo>
                    <a:pt x="14" y="1545"/>
                    <a:pt x="12" y="1545"/>
                    <a:pt x="10" y="1542"/>
                  </a:cubicBezTo>
                  <a:cubicBezTo>
                    <a:pt x="3" y="1529"/>
                    <a:pt x="6" y="1561"/>
                    <a:pt x="8" y="1552"/>
                  </a:cubicBezTo>
                  <a:close/>
                  <a:moveTo>
                    <a:pt x="113" y="1370"/>
                  </a:moveTo>
                  <a:cubicBezTo>
                    <a:pt x="113" y="1370"/>
                    <a:pt x="113" y="1370"/>
                    <a:pt x="113" y="1370"/>
                  </a:cubicBezTo>
                  <a:cubicBezTo>
                    <a:pt x="121" y="1364"/>
                    <a:pt x="108" y="1349"/>
                    <a:pt x="100" y="1356"/>
                  </a:cubicBezTo>
                  <a:cubicBezTo>
                    <a:pt x="95" y="1360"/>
                    <a:pt x="90" y="1394"/>
                    <a:pt x="113" y="1370"/>
                  </a:cubicBezTo>
                  <a:close/>
                  <a:moveTo>
                    <a:pt x="994" y="511"/>
                  </a:moveTo>
                  <a:cubicBezTo>
                    <a:pt x="995" y="510"/>
                    <a:pt x="995" y="510"/>
                    <a:pt x="995" y="510"/>
                  </a:cubicBezTo>
                  <a:cubicBezTo>
                    <a:pt x="998" y="509"/>
                    <a:pt x="960" y="500"/>
                    <a:pt x="960" y="512"/>
                  </a:cubicBezTo>
                  <a:cubicBezTo>
                    <a:pt x="960" y="513"/>
                    <a:pt x="969" y="513"/>
                    <a:pt x="970" y="513"/>
                  </a:cubicBezTo>
                  <a:cubicBezTo>
                    <a:pt x="978" y="514"/>
                    <a:pt x="985" y="512"/>
                    <a:pt x="994" y="511"/>
                  </a:cubicBezTo>
                  <a:close/>
                  <a:moveTo>
                    <a:pt x="2256" y="222"/>
                  </a:moveTo>
                  <a:cubicBezTo>
                    <a:pt x="2258" y="221"/>
                    <a:pt x="2268" y="219"/>
                    <a:pt x="2268" y="217"/>
                  </a:cubicBezTo>
                  <a:cubicBezTo>
                    <a:pt x="2269" y="212"/>
                    <a:pt x="2257" y="211"/>
                    <a:pt x="2259" y="207"/>
                  </a:cubicBezTo>
                  <a:cubicBezTo>
                    <a:pt x="2258" y="207"/>
                    <a:pt x="2258" y="207"/>
                    <a:pt x="2258" y="207"/>
                  </a:cubicBezTo>
                  <a:cubicBezTo>
                    <a:pt x="2237" y="197"/>
                    <a:pt x="2247" y="214"/>
                    <a:pt x="2237" y="222"/>
                  </a:cubicBezTo>
                  <a:cubicBezTo>
                    <a:pt x="2234" y="224"/>
                    <a:pt x="2231" y="227"/>
                    <a:pt x="2236" y="228"/>
                  </a:cubicBezTo>
                  <a:cubicBezTo>
                    <a:pt x="2238" y="228"/>
                    <a:pt x="2245" y="229"/>
                    <a:pt x="2245" y="226"/>
                  </a:cubicBezTo>
                  <a:cubicBezTo>
                    <a:pt x="2244" y="220"/>
                    <a:pt x="2248" y="226"/>
                    <a:pt x="2256" y="222"/>
                  </a:cubicBezTo>
                  <a:close/>
                  <a:moveTo>
                    <a:pt x="743" y="757"/>
                  </a:moveTo>
                  <a:cubicBezTo>
                    <a:pt x="743" y="758"/>
                    <a:pt x="743" y="758"/>
                    <a:pt x="743" y="758"/>
                  </a:cubicBezTo>
                  <a:cubicBezTo>
                    <a:pt x="758" y="762"/>
                    <a:pt x="747" y="737"/>
                    <a:pt x="743" y="757"/>
                  </a:cubicBezTo>
                  <a:close/>
                  <a:moveTo>
                    <a:pt x="12" y="1554"/>
                  </a:move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2" y="1554"/>
                    <a:pt x="12" y="1554"/>
                  </a:cubicBezTo>
                  <a:close/>
                  <a:moveTo>
                    <a:pt x="1354" y="182"/>
                  </a:moveTo>
                  <a:cubicBezTo>
                    <a:pt x="1364" y="185"/>
                    <a:pt x="1362" y="176"/>
                    <a:pt x="1368" y="175"/>
                  </a:cubicBezTo>
                  <a:cubicBezTo>
                    <a:pt x="1384" y="172"/>
                    <a:pt x="1363" y="171"/>
                    <a:pt x="1357" y="167"/>
                  </a:cubicBezTo>
                  <a:cubicBezTo>
                    <a:pt x="1356" y="166"/>
                    <a:pt x="1354" y="153"/>
                    <a:pt x="1350" y="157"/>
                  </a:cubicBezTo>
                  <a:cubicBezTo>
                    <a:pt x="1348" y="159"/>
                    <a:pt x="1349" y="166"/>
                    <a:pt x="1344" y="164"/>
                  </a:cubicBezTo>
                  <a:cubicBezTo>
                    <a:pt x="1341" y="162"/>
                    <a:pt x="1344" y="156"/>
                    <a:pt x="1338" y="154"/>
                  </a:cubicBezTo>
                  <a:cubicBezTo>
                    <a:pt x="1335" y="153"/>
                    <a:pt x="1335" y="145"/>
                    <a:pt x="1332" y="145"/>
                  </a:cubicBezTo>
                  <a:cubicBezTo>
                    <a:pt x="1311" y="145"/>
                    <a:pt x="1340" y="179"/>
                    <a:pt x="1353" y="182"/>
                  </a:cubicBezTo>
                  <a:lnTo>
                    <a:pt x="1354" y="182"/>
                  </a:lnTo>
                  <a:close/>
                  <a:moveTo>
                    <a:pt x="14" y="1441"/>
                  </a:moveTo>
                  <a:cubicBezTo>
                    <a:pt x="17" y="1442"/>
                    <a:pt x="10" y="1453"/>
                    <a:pt x="24" y="1447"/>
                  </a:cubicBezTo>
                  <a:cubicBezTo>
                    <a:pt x="26" y="1447"/>
                    <a:pt x="40" y="1436"/>
                    <a:pt x="36" y="1441"/>
                  </a:cubicBezTo>
                  <a:cubicBezTo>
                    <a:pt x="33" y="1444"/>
                    <a:pt x="44" y="1441"/>
                    <a:pt x="44" y="1439"/>
                  </a:cubicBezTo>
                  <a:cubicBezTo>
                    <a:pt x="43" y="1438"/>
                    <a:pt x="43" y="1438"/>
                    <a:pt x="43" y="1438"/>
                  </a:cubicBezTo>
                  <a:cubicBezTo>
                    <a:pt x="34" y="1431"/>
                    <a:pt x="18" y="1432"/>
                    <a:pt x="11" y="1436"/>
                  </a:cubicBezTo>
                  <a:cubicBezTo>
                    <a:pt x="10" y="1436"/>
                    <a:pt x="5" y="1439"/>
                    <a:pt x="7" y="1440"/>
                  </a:cubicBezTo>
                  <a:cubicBezTo>
                    <a:pt x="8" y="1441"/>
                    <a:pt x="12" y="1440"/>
                    <a:pt x="14" y="1441"/>
                  </a:cubicBezTo>
                  <a:close/>
                  <a:moveTo>
                    <a:pt x="27" y="1421"/>
                  </a:moveTo>
                  <a:cubicBezTo>
                    <a:pt x="29" y="1423"/>
                    <a:pt x="23" y="1432"/>
                    <a:pt x="34" y="1419"/>
                  </a:cubicBezTo>
                  <a:cubicBezTo>
                    <a:pt x="34" y="1418"/>
                    <a:pt x="34" y="1418"/>
                    <a:pt x="34" y="1418"/>
                  </a:cubicBezTo>
                  <a:cubicBezTo>
                    <a:pt x="36" y="1416"/>
                    <a:pt x="24" y="1410"/>
                    <a:pt x="20" y="1411"/>
                  </a:cubicBezTo>
                  <a:cubicBezTo>
                    <a:pt x="17" y="1413"/>
                    <a:pt x="25" y="1418"/>
                    <a:pt x="27" y="1421"/>
                  </a:cubicBezTo>
                  <a:close/>
                  <a:moveTo>
                    <a:pt x="96" y="1377"/>
                  </a:moveTo>
                  <a:cubicBezTo>
                    <a:pt x="96" y="1377"/>
                    <a:pt x="96" y="1377"/>
                    <a:pt x="96" y="1377"/>
                  </a:cubicBezTo>
                  <a:cubicBezTo>
                    <a:pt x="96" y="1377"/>
                    <a:pt x="86" y="1373"/>
                    <a:pt x="84" y="1373"/>
                  </a:cubicBezTo>
                  <a:cubicBezTo>
                    <a:pt x="80" y="1375"/>
                    <a:pt x="67" y="1376"/>
                    <a:pt x="70" y="1381"/>
                  </a:cubicBezTo>
                  <a:cubicBezTo>
                    <a:pt x="71" y="1382"/>
                    <a:pt x="78" y="1382"/>
                    <a:pt x="78" y="1384"/>
                  </a:cubicBezTo>
                  <a:cubicBezTo>
                    <a:pt x="78" y="1386"/>
                    <a:pt x="68" y="1382"/>
                    <a:pt x="69" y="1384"/>
                  </a:cubicBezTo>
                  <a:cubicBezTo>
                    <a:pt x="77" y="1401"/>
                    <a:pt x="93" y="1380"/>
                    <a:pt x="96" y="137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inland"/>
            <p:cNvSpPr>
              <a:spLocks noEditPoints="1"/>
            </p:cNvSpPr>
            <p:nvPr/>
          </p:nvSpPr>
          <p:spPr bwMode="auto">
            <a:xfrm>
              <a:off x="3671" y="749"/>
              <a:ext cx="563" cy="835"/>
            </a:xfrm>
            <a:custGeom>
              <a:avLst/>
              <a:gdLst>
                <a:gd name="T0" fmla="*/ 195 w 1081"/>
                <a:gd name="T1" fmla="*/ 1493 h 1604"/>
                <a:gd name="T2" fmla="*/ 261 w 1081"/>
                <a:gd name="T3" fmla="*/ 1595 h 1604"/>
                <a:gd name="T4" fmla="*/ 320 w 1081"/>
                <a:gd name="T5" fmla="*/ 1535 h 1604"/>
                <a:gd name="T6" fmla="*/ 244 w 1081"/>
                <a:gd name="T7" fmla="*/ 1490 h 1604"/>
                <a:gd name="T8" fmla="*/ 214 w 1081"/>
                <a:gd name="T9" fmla="*/ 1502 h 1604"/>
                <a:gd name="T10" fmla="*/ 309 w 1081"/>
                <a:gd name="T11" fmla="*/ 1490 h 1604"/>
                <a:gd name="T12" fmla="*/ 50 w 1081"/>
                <a:gd name="T13" fmla="*/ 1489 h 1604"/>
                <a:gd name="T14" fmla="*/ 39 w 1081"/>
                <a:gd name="T15" fmla="*/ 1469 h 1604"/>
                <a:gd name="T16" fmla="*/ 53 w 1081"/>
                <a:gd name="T17" fmla="*/ 1522 h 1604"/>
                <a:gd name="T18" fmla="*/ 73 w 1081"/>
                <a:gd name="T19" fmla="*/ 1507 h 1604"/>
                <a:gd name="T20" fmla="*/ 875 w 1081"/>
                <a:gd name="T21" fmla="*/ 1228 h 1604"/>
                <a:gd name="T22" fmla="*/ 691 w 1081"/>
                <a:gd name="T23" fmla="*/ 1446 h 1604"/>
                <a:gd name="T24" fmla="*/ 538 w 1081"/>
                <a:gd name="T25" fmla="*/ 1495 h 1604"/>
                <a:gd name="T26" fmla="*/ 304 w 1081"/>
                <a:gd name="T27" fmla="*/ 1509 h 1604"/>
                <a:gd name="T28" fmla="*/ 179 w 1081"/>
                <a:gd name="T29" fmla="*/ 1378 h 1604"/>
                <a:gd name="T30" fmla="*/ 176 w 1081"/>
                <a:gd name="T31" fmla="*/ 1087 h 1604"/>
                <a:gd name="T32" fmla="*/ 463 w 1081"/>
                <a:gd name="T33" fmla="*/ 826 h 1604"/>
                <a:gd name="T34" fmla="*/ 335 w 1081"/>
                <a:gd name="T35" fmla="*/ 310 h 1604"/>
                <a:gd name="T36" fmla="*/ 755 w 1081"/>
                <a:gd name="T37" fmla="*/ 4 h 1604"/>
                <a:gd name="T38" fmla="*/ 1046 w 1081"/>
                <a:gd name="T39" fmla="*/ 1058 h 1604"/>
                <a:gd name="T40" fmla="*/ 986 w 1081"/>
                <a:gd name="T41" fmla="*/ 1122 h 1604"/>
                <a:gd name="T42" fmla="*/ 476 w 1081"/>
                <a:gd name="T43" fmla="*/ 539 h 1604"/>
                <a:gd name="T44" fmla="*/ 942 w 1081"/>
                <a:gd name="T45" fmla="*/ 1052 h 1604"/>
                <a:gd name="T46" fmla="*/ 853 w 1081"/>
                <a:gd name="T47" fmla="*/ 1164 h 1604"/>
                <a:gd name="T48" fmla="*/ 742 w 1081"/>
                <a:gd name="T49" fmla="*/ 1031 h 1604"/>
                <a:gd name="T50" fmla="*/ 667 w 1081"/>
                <a:gd name="T51" fmla="*/ 910 h 1604"/>
                <a:gd name="T52" fmla="*/ 661 w 1081"/>
                <a:gd name="T53" fmla="*/ 620 h 1604"/>
                <a:gd name="T54" fmla="*/ 748 w 1081"/>
                <a:gd name="T55" fmla="*/ 590 h 1604"/>
                <a:gd name="T56" fmla="*/ 784 w 1081"/>
                <a:gd name="T57" fmla="*/ 924 h 1604"/>
                <a:gd name="T58" fmla="*/ 850 w 1081"/>
                <a:gd name="T59" fmla="*/ 707 h 1604"/>
                <a:gd name="T60" fmla="*/ 868 w 1081"/>
                <a:gd name="T61" fmla="*/ 651 h 1604"/>
                <a:gd name="T62" fmla="*/ 844 w 1081"/>
                <a:gd name="T63" fmla="*/ 599 h 1604"/>
                <a:gd name="T64" fmla="*/ 757 w 1081"/>
                <a:gd name="T65" fmla="*/ 205 h 1604"/>
                <a:gd name="T66" fmla="*/ 764 w 1081"/>
                <a:gd name="T67" fmla="*/ 129 h 1604"/>
                <a:gd name="T68" fmla="*/ 716 w 1081"/>
                <a:gd name="T69" fmla="*/ 333 h 1604"/>
                <a:gd name="T70" fmla="*/ 557 w 1081"/>
                <a:gd name="T71" fmla="*/ 1055 h 1604"/>
                <a:gd name="T72" fmla="*/ 495 w 1081"/>
                <a:gd name="T73" fmla="*/ 1140 h 1604"/>
                <a:gd name="T74" fmla="*/ 404 w 1081"/>
                <a:gd name="T75" fmla="*/ 1122 h 1604"/>
                <a:gd name="T76" fmla="*/ 346 w 1081"/>
                <a:gd name="T77" fmla="*/ 1319 h 1604"/>
                <a:gd name="T78" fmla="*/ 457 w 1081"/>
                <a:gd name="T79" fmla="*/ 1231 h 1604"/>
                <a:gd name="T80" fmla="*/ 364 w 1081"/>
                <a:gd name="T81" fmla="*/ 1292 h 1604"/>
                <a:gd name="T82" fmla="*/ 442 w 1081"/>
                <a:gd name="T83" fmla="*/ 1302 h 1604"/>
                <a:gd name="T84" fmla="*/ 463 w 1081"/>
                <a:gd name="T85" fmla="*/ 1344 h 1604"/>
                <a:gd name="T86" fmla="*/ 599 w 1081"/>
                <a:gd name="T87" fmla="*/ 1342 h 1604"/>
                <a:gd name="T88" fmla="*/ 564 w 1081"/>
                <a:gd name="T89" fmla="*/ 1238 h 1604"/>
                <a:gd name="T90" fmla="*/ 666 w 1081"/>
                <a:gd name="T91" fmla="*/ 1169 h 1604"/>
                <a:gd name="T92" fmla="*/ 652 w 1081"/>
                <a:gd name="T93" fmla="*/ 1125 h 1604"/>
                <a:gd name="T94" fmla="*/ 567 w 1081"/>
                <a:gd name="T95" fmla="*/ 1071 h 1604"/>
                <a:gd name="T96" fmla="*/ 557 w 1081"/>
                <a:gd name="T97" fmla="*/ 1220 h 1604"/>
                <a:gd name="T98" fmla="*/ 553 w 1081"/>
                <a:gd name="T99" fmla="*/ 1360 h 1604"/>
                <a:gd name="T100" fmla="*/ 597 w 1081"/>
                <a:gd name="T101" fmla="*/ 1292 h 1604"/>
                <a:gd name="T102" fmla="*/ 635 w 1081"/>
                <a:gd name="T103" fmla="*/ 1329 h 1604"/>
                <a:gd name="T104" fmla="*/ 627 w 1081"/>
                <a:gd name="T105" fmla="*/ 1251 h 1604"/>
                <a:gd name="T106" fmla="*/ 660 w 1081"/>
                <a:gd name="T107" fmla="*/ 1219 h 1604"/>
                <a:gd name="T108" fmla="*/ 835 w 1081"/>
                <a:gd name="T109" fmla="*/ 1302 h 1604"/>
                <a:gd name="T110" fmla="*/ 933 w 1081"/>
                <a:gd name="T111" fmla="*/ 1227 h 1604"/>
                <a:gd name="T112" fmla="*/ 830 w 1081"/>
                <a:gd name="T113" fmla="*/ 1223 h 1604"/>
                <a:gd name="T114" fmla="*/ 723 w 1081"/>
                <a:gd name="T115" fmla="*/ 1089 h 1604"/>
                <a:gd name="T116" fmla="*/ 730 w 1081"/>
                <a:gd name="T117" fmla="*/ 1119 h 1604"/>
                <a:gd name="T118" fmla="*/ 759 w 1081"/>
                <a:gd name="T119" fmla="*/ 1216 h 1604"/>
                <a:gd name="T120" fmla="*/ 743 w 1081"/>
                <a:gd name="T121" fmla="*/ 1286 h 1604"/>
                <a:gd name="T122" fmla="*/ 171 w 1081"/>
                <a:gd name="T123" fmla="*/ 1048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81" h="1604">
                  <a:moveTo>
                    <a:pt x="165" y="1457"/>
                  </a:moveTo>
                  <a:cubicBezTo>
                    <a:pt x="163" y="1455"/>
                    <a:pt x="161" y="1447"/>
                    <a:pt x="164" y="1448"/>
                  </a:cubicBezTo>
                  <a:cubicBezTo>
                    <a:pt x="164" y="1448"/>
                    <a:pt x="164" y="1448"/>
                    <a:pt x="164" y="1448"/>
                  </a:cubicBezTo>
                  <a:cubicBezTo>
                    <a:pt x="170" y="1454"/>
                    <a:pt x="170" y="1465"/>
                    <a:pt x="165" y="1457"/>
                  </a:cubicBezTo>
                  <a:close/>
                  <a:moveTo>
                    <a:pt x="176" y="1448"/>
                  </a:moveTo>
                  <a:cubicBezTo>
                    <a:pt x="173" y="1450"/>
                    <a:pt x="169" y="1457"/>
                    <a:pt x="179" y="1460"/>
                  </a:cubicBezTo>
                  <a:cubicBezTo>
                    <a:pt x="182" y="1461"/>
                    <a:pt x="186" y="1455"/>
                    <a:pt x="185" y="1452"/>
                  </a:cubicBezTo>
                  <a:cubicBezTo>
                    <a:pt x="183" y="1449"/>
                    <a:pt x="178" y="1452"/>
                    <a:pt x="177" y="1448"/>
                  </a:cubicBezTo>
                  <a:cubicBezTo>
                    <a:pt x="177" y="1448"/>
                    <a:pt x="176" y="1448"/>
                    <a:pt x="176" y="1448"/>
                  </a:cubicBezTo>
                  <a:close/>
                  <a:moveTo>
                    <a:pt x="168" y="1500"/>
                  </a:moveTo>
                  <a:cubicBezTo>
                    <a:pt x="168" y="1500"/>
                    <a:pt x="168" y="1500"/>
                    <a:pt x="168" y="1500"/>
                  </a:cubicBezTo>
                  <a:cubicBezTo>
                    <a:pt x="167" y="1500"/>
                    <a:pt x="161" y="1500"/>
                    <a:pt x="161" y="1503"/>
                  </a:cubicBezTo>
                  <a:cubicBezTo>
                    <a:pt x="161" y="1504"/>
                    <a:pt x="164" y="1503"/>
                    <a:pt x="164" y="1503"/>
                  </a:cubicBezTo>
                  <a:cubicBezTo>
                    <a:pt x="166" y="1505"/>
                    <a:pt x="166" y="1505"/>
                    <a:pt x="169" y="1505"/>
                  </a:cubicBezTo>
                  <a:cubicBezTo>
                    <a:pt x="170" y="1505"/>
                    <a:pt x="171" y="1508"/>
                    <a:pt x="171" y="1507"/>
                  </a:cubicBezTo>
                  <a:cubicBezTo>
                    <a:pt x="172" y="1506"/>
                    <a:pt x="171" y="1505"/>
                    <a:pt x="172" y="1504"/>
                  </a:cubicBezTo>
                  <a:cubicBezTo>
                    <a:pt x="173" y="1504"/>
                    <a:pt x="177" y="1504"/>
                    <a:pt x="177" y="1504"/>
                  </a:cubicBezTo>
                  <a:cubicBezTo>
                    <a:pt x="177" y="1503"/>
                    <a:pt x="177" y="1503"/>
                    <a:pt x="176" y="1503"/>
                  </a:cubicBezTo>
                  <a:cubicBezTo>
                    <a:pt x="173" y="1503"/>
                    <a:pt x="170" y="1503"/>
                    <a:pt x="168" y="1500"/>
                  </a:cubicBezTo>
                  <a:close/>
                  <a:moveTo>
                    <a:pt x="182" y="1510"/>
                  </a:moveTo>
                  <a:cubicBezTo>
                    <a:pt x="180" y="1511"/>
                    <a:pt x="189" y="1511"/>
                    <a:pt x="187" y="1512"/>
                  </a:cubicBezTo>
                  <a:cubicBezTo>
                    <a:pt x="186" y="1513"/>
                    <a:pt x="179" y="1512"/>
                    <a:pt x="180" y="1514"/>
                  </a:cubicBezTo>
                  <a:cubicBezTo>
                    <a:pt x="181" y="1516"/>
                    <a:pt x="191" y="1517"/>
                    <a:pt x="194" y="1515"/>
                  </a:cubicBezTo>
                  <a:cubicBezTo>
                    <a:pt x="196" y="1513"/>
                    <a:pt x="192" y="1512"/>
                    <a:pt x="192" y="1512"/>
                  </a:cubicBezTo>
                  <a:cubicBezTo>
                    <a:pt x="191" y="1511"/>
                    <a:pt x="196" y="1511"/>
                    <a:pt x="196" y="1507"/>
                  </a:cubicBezTo>
                  <a:cubicBezTo>
                    <a:pt x="191" y="1504"/>
                    <a:pt x="185" y="1506"/>
                    <a:pt x="182" y="1510"/>
                  </a:cubicBezTo>
                  <a:close/>
                  <a:moveTo>
                    <a:pt x="192" y="1494"/>
                  </a:moveTo>
                  <a:cubicBezTo>
                    <a:pt x="192" y="1495"/>
                    <a:pt x="190" y="1500"/>
                    <a:pt x="192" y="1499"/>
                  </a:cubicBezTo>
                  <a:cubicBezTo>
                    <a:pt x="198" y="1499"/>
                    <a:pt x="193" y="1495"/>
                    <a:pt x="195" y="1493"/>
                  </a:cubicBezTo>
                  <a:cubicBezTo>
                    <a:pt x="195" y="1493"/>
                    <a:pt x="195" y="1493"/>
                    <a:pt x="195" y="1493"/>
                  </a:cubicBezTo>
                  <a:cubicBezTo>
                    <a:pt x="196" y="1490"/>
                    <a:pt x="193" y="1492"/>
                    <a:pt x="192" y="1494"/>
                  </a:cubicBezTo>
                  <a:close/>
                  <a:moveTo>
                    <a:pt x="196" y="1507"/>
                  </a:moveTo>
                  <a:cubicBezTo>
                    <a:pt x="196" y="1507"/>
                    <a:pt x="196" y="1507"/>
                    <a:pt x="196" y="1507"/>
                  </a:cubicBezTo>
                  <a:cubicBezTo>
                    <a:pt x="196" y="1507"/>
                    <a:pt x="196" y="1507"/>
                    <a:pt x="196" y="1507"/>
                  </a:cubicBezTo>
                  <a:close/>
                  <a:moveTo>
                    <a:pt x="248" y="1554"/>
                  </a:moveTo>
                  <a:cubicBezTo>
                    <a:pt x="249" y="1553"/>
                    <a:pt x="249" y="1553"/>
                    <a:pt x="249" y="1553"/>
                  </a:cubicBezTo>
                  <a:cubicBezTo>
                    <a:pt x="253" y="1542"/>
                    <a:pt x="244" y="1543"/>
                    <a:pt x="243" y="1543"/>
                  </a:cubicBezTo>
                  <a:cubicBezTo>
                    <a:pt x="238" y="1537"/>
                    <a:pt x="248" y="1566"/>
                    <a:pt x="248" y="1554"/>
                  </a:cubicBezTo>
                  <a:close/>
                  <a:moveTo>
                    <a:pt x="250" y="1495"/>
                  </a:moveTo>
                  <a:cubicBezTo>
                    <a:pt x="234" y="1501"/>
                    <a:pt x="256" y="1509"/>
                    <a:pt x="252" y="1495"/>
                  </a:cubicBezTo>
                  <a:cubicBezTo>
                    <a:pt x="252" y="1495"/>
                    <a:pt x="252" y="1495"/>
                    <a:pt x="252" y="1495"/>
                  </a:cubicBezTo>
                  <a:cubicBezTo>
                    <a:pt x="252" y="1494"/>
                    <a:pt x="251" y="1494"/>
                    <a:pt x="250" y="1495"/>
                  </a:cubicBezTo>
                  <a:close/>
                  <a:moveTo>
                    <a:pt x="249" y="1575"/>
                  </a:moveTo>
                  <a:cubicBezTo>
                    <a:pt x="246" y="1574"/>
                    <a:pt x="252" y="1568"/>
                    <a:pt x="249" y="1569"/>
                  </a:cubicBezTo>
                  <a:cubicBezTo>
                    <a:pt x="246" y="1570"/>
                    <a:pt x="245" y="1579"/>
                    <a:pt x="245" y="1580"/>
                  </a:cubicBezTo>
                  <a:cubicBezTo>
                    <a:pt x="246" y="1580"/>
                    <a:pt x="246" y="1580"/>
                    <a:pt x="246" y="1580"/>
                  </a:cubicBezTo>
                  <a:cubicBezTo>
                    <a:pt x="246" y="1580"/>
                    <a:pt x="246" y="1580"/>
                    <a:pt x="246" y="1580"/>
                  </a:cubicBezTo>
                  <a:cubicBezTo>
                    <a:pt x="247" y="1580"/>
                    <a:pt x="247" y="1580"/>
                    <a:pt x="247" y="1580"/>
                  </a:cubicBezTo>
                  <a:cubicBezTo>
                    <a:pt x="251" y="1580"/>
                    <a:pt x="257" y="1580"/>
                    <a:pt x="261" y="1581"/>
                  </a:cubicBezTo>
                  <a:cubicBezTo>
                    <a:pt x="261" y="1581"/>
                    <a:pt x="262" y="1581"/>
                    <a:pt x="261" y="1582"/>
                  </a:cubicBezTo>
                  <a:cubicBezTo>
                    <a:pt x="261" y="1582"/>
                    <a:pt x="261" y="1582"/>
                    <a:pt x="261" y="1582"/>
                  </a:cubicBezTo>
                  <a:cubicBezTo>
                    <a:pt x="261" y="1582"/>
                    <a:pt x="261" y="1582"/>
                    <a:pt x="260" y="1582"/>
                  </a:cubicBezTo>
                  <a:cubicBezTo>
                    <a:pt x="259" y="1582"/>
                    <a:pt x="246" y="1582"/>
                    <a:pt x="246" y="1585"/>
                  </a:cubicBezTo>
                  <a:cubicBezTo>
                    <a:pt x="246" y="1587"/>
                    <a:pt x="250" y="1587"/>
                    <a:pt x="250" y="1589"/>
                  </a:cubicBezTo>
                  <a:cubicBezTo>
                    <a:pt x="251" y="1592"/>
                    <a:pt x="249" y="1597"/>
                    <a:pt x="250" y="1600"/>
                  </a:cubicBezTo>
                  <a:cubicBezTo>
                    <a:pt x="250" y="1600"/>
                    <a:pt x="250" y="1601"/>
                    <a:pt x="250" y="1601"/>
                  </a:cubicBezTo>
                  <a:cubicBezTo>
                    <a:pt x="253" y="1601"/>
                    <a:pt x="256" y="1599"/>
                    <a:pt x="259" y="1597"/>
                  </a:cubicBezTo>
                  <a:cubicBezTo>
                    <a:pt x="259" y="1597"/>
                    <a:pt x="260" y="1595"/>
                    <a:pt x="261" y="1595"/>
                  </a:cubicBezTo>
                  <a:cubicBezTo>
                    <a:pt x="262" y="1595"/>
                    <a:pt x="261" y="1596"/>
                    <a:pt x="261" y="1596"/>
                  </a:cubicBezTo>
                  <a:cubicBezTo>
                    <a:pt x="260" y="1597"/>
                    <a:pt x="259" y="1599"/>
                    <a:pt x="259" y="1600"/>
                  </a:cubicBezTo>
                  <a:cubicBezTo>
                    <a:pt x="259" y="1601"/>
                    <a:pt x="261" y="1599"/>
                    <a:pt x="261" y="1600"/>
                  </a:cubicBezTo>
                  <a:cubicBezTo>
                    <a:pt x="262" y="1601"/>
                    <a:pt x="261" y="1603"/>
                    <a:pt x="262" y="1603"/>
                  </a:cubicBezTo>
                  <a:cubicBezTo>
                    <a:pt x="262" y="1604"/>
                    <a:pt x="262" y="1603"/>
                    <a:pt x="262" y="1602"/>
                  </a:cubicBezTo>
                  <a:cubicBezTo>
                    <a:pt x="262" y="1599"/>
                    <a:pt x="264" y="1601"/>
                    <a:pt x="265" y="1600"/>
                  </a:cubicBezTo>
                  <a:cubicBezTo>
                    <a:pt x="265" y="1599"/>
                    <a:pt x="265" y="1597"/>
                    <a:pt x="266" y="1597"/>
                  </a:cubicBezTo>
                  <a:cubicBezTo>
                    <a:pt x="268" y="1598"/>
                    <a:pt x="267" y="1601"/>
                    <a:pt x="270" y="1601"/>
                  </a:cubicBezTo>
                  <a:cubicBezTo>
                    <a:pt x="270" y="1600"/>
                    <a:pt x="270" y="1600"/>
                    <a:pt x="270" y="1600"/>
                  </a:cubicBezTo>
                  <a:cubicBezTo>
                    <a:pt x="271" y="1600"/>
                    <a:pt x="271" y="1600"/>
                    <a:pt x="272" y="1600"/>
                  </a:cubicBezTo>
                  <a:cubicBezTo>
                    <a:pt x="273" y="1600"/>
                    <a:pt x="276" y="1598"/>
                    <a:pt x="276" y="1596"/>
                  </a:cubicBezTo>
                  <a:cubicBezTo>
                    <a:pt x="275" y="1595"/>
                    <a:pt x="272" y="1596"/>
                    <a:pt x="273" y="1595"/>
                  </a:cubicBezTo>
                  <a:cubicBezTo>
                    <a:pt x="277" y="1590"/>
                    <a:pt x="283" y="1591"/>
                    <a:pt x="284" y="1583"/>
                  </a:cubicBezTo>
                  <a:cubicBezTo>
                    <a:pt x="284" y="1581"/>
                    <a:pt x="281" y="1578"/>
                    <a:pt x="281" y="1578"/>
                  </a:cubicBezTo>
                  <a:cubicBezTo>
                    <a:pt x="281" y="1577"/>
                    <a:pt x="283" y="1577"/>
                    <a:pt x="283" y="1576"/>
                  </a:cubicBezTo>
                  <a:cubicBezTo>
                    <a:pt x="283" y="1575"/>
                    <a:pt x="282" y="1574"/>
                    <a:pt x="283" y="1573"/>
                  </a:cubicBezTo>
                  <a:cubicBezTo>
                    <a:pt x="283" y="1571"/>
                    <a:pt x="285" y="1572"/>
                    <a:pt x="285" y="1571"/>
                  </a:cubicBezTo>
                  <a:cubicBezTo>
                    <a:pt x="286" y="1570"/>
                    <a:pt x="294" y="1560"/>
                    <a:pt x="293" y="1559"/>
                  </a:cubicBezTo>
                  <a:cubicBezTo>
                    <a:pt x="290" y="1554"/>
                    <a:pt x="283" y="1568"/>
                    <a:pt x="278" y="1569"/>
                  </a:cubicBezTo>
                  <a:cubicBezTo>
                    <a:pt x="272" y="1570"/>
                    <a:pt x="267" y="1570"/>
                    <a:pt x="261" y="1571"/>
                  </a:cubicBezTo>
                  <a:cubicBezTo>
                    <a:pt x="257" y="1572"/>
                    <a:pt x="256" y="1576"/>
                    <a:pt x="249" y="1575"/>
                  </a:cubicBezTo>
                  <a:close/>
                  <a:moveTo>
                    <a:pt x="308" y="1544"/>
                  </a:moveTo>
                  <a:cubicBezTo>
                    <a:pt x="312" y="1543"/>
                    <a:pt x="307" y="1539"/>
                    <a:pt x="311" y="1538"/>
                  </a:cubicBezTo>
                  <a:cubicBezTo>
                    <a:pt x="311" y="1538"/>
                    <a:pt x="312" y="1540"/>
                    <a:pt x="313" y="1540"/>
                  </a:cubicBezTo>
                  <a:cubicBezTo>
                    <a:pt x="313" y="1541"/>
                    <a:pt x="315" y="1540"/>
                    <a:pt x="315" y="1540"/>
                  </a:cubicBezTo>
                  <a:cubicBezTo>
                    <a:pt x="316" y="1541"/>
                    <a:pt x="315" y="1544"/>
                    <a:pt x="318" y="1544"/>
                  </a:cubicBezTo>
                  <a:cubicBezTo>
                    <a:pt x="321" y="1544"/>
                    <a:pt x="318" y="1541"/>
                    <a:pt x="319" y="1540"/>
                  </a:cubicBezTo>
                  <a:cubicBezTo>
                    <a:pt x="319" y="1538"/>
                    <a:pt x="322" y="1538"/>
                    <a:pt x="321" y="1536"/>
                  </a:cubicBezTo>
                  <a:cubicBezTo>
                    <a:pt x="320" y="1535"/>
                    <a:pt x="320" y="1535"/>
                    <a:pt x="320" y="1535"/>
                  </a:cubicBezTo>
                  <a:cubicBezTo>
                    <a:pt x="317" y="1536"/>
                    <a:pt x="306" y="1534"/>
                    <a:pt x="306" y="1534"/>
                  </a:cubicBezTo>
                  <a:cubicBezTo>
                    <a:pt x="305" y="1535"/>
                    <a:pt x="303" y="1536"/>
                    <a:pt x="301" y="1536"/>
                  </a:cubicBezTo>
                  <a:cubicBezTo>
                    <a:pt x="299" y="1536"/>
                    <a:pt x="301" y="1533"/>
                    <a:pt x="299" y="1533"/>
                  </a:cubicBezTo>
                  <a:cubicBezTo>
                    <a:pt x="298" y="1533"/>
                    <a:pt x="297" y="1535"/>
                    <a:pt x="297" y="1536"/>
                  </a:cubicBezTo>
                  <a:cubicBezTo>
                    <a:pt x="297" y="1539"/>
                    <a:pt x="301" y="1536"/>
                    <a:pt x="301" y="1538"/>
                  </a:cubicBezTo>
                  <a:cubicBezTo>
                    <a:pt x="302" y="1541"/>
                    <a:pt x="304" y="1545"/>
                    <a:pt x="308" y="1544"/>
                  </a:cubicBezTo>
                  <a:close/>
                  <a:moveTo>
                    <a:pt x="225" y="1487"/>
                  </a:moveTo>
                  <a:cubicBezTo>
                    <a:pt x="224" y="1486"/>
                    <a:pt x="224" y="1486"/>
                    <a:pt x="224" y="1486"/>
                  </a:cubicBezTo>
                  <a:cubicBezTo>
                    <a:pt x="218" y="1483"/>
                    <a:pt x="221" y="1497"/>
                    <a:pt x="225" y="1487"/>
                  </a:cubicBezTo>
                  <a:close/>
                  <a:moveTo>
                    <a:pt x="222" y="1510"/>
                  </a:moveTo>
                  <a:cubicBezTo>
                    <a:pt x="222" y="1510"/>
                    <a:pt x="222" y="1510"/>
                    <a:pt x="223" y="1510"/>
                  </a:cubicBezTo>
                  <a:cubicBezTo>
                    <a:pt x="223" y="1511"/>
                    <a:pt x="223" y="1511"/>
                    <a:pt x="223" y="1511"/>
                  </a:cubicBezTo>
                  <a:cubicBezTo>
                    <a:pt x="223" y="1511"/>
                    <a:pt x="224" y="1509"/>
                    <a:pt x="224" y="1509"/>
                  </a:cubicBezTo>
                  <a:cubicBezTo>
                    <a:pt x="225" y="1510"/>
                    <a:pt x="225" y="1511"/>
                    <a:pt x="226" y="1511"/>
                  </a:cubicBezTo>
                  <a:cubicBezTo>
                    <a:pt x="226" y="1511"/>
                    <a:pt x="226" y="1511"/>
                    <a:pt x="226" y="1511"/>
                  </a:cubicBezTo>
                  <a:cubicBezTo>
                    <a:pt x="227" y="1510"/>
                    <a:pt x="229" y="1510"/>
                    <a:pt x="229" y="1509"/>
                  </a:cubicBezTo>
                  <a:cubicBezTo>
                    <a:pt x="230" y="1506"/>
                    <a:pt x="228" y="1507"/>
                    <a:pt x="228" y="1506"/>
                  </a:cubicBezTo>
                  <a:cubicBezTo>
                    <a:pt x="227" y="1504"/>
                    <a:pt x="234" y="1504"/>
                    <a:pt x="233" y="1502"/>
                  </a:cubicBezTo>
                  <a:cubicBezTo>
                    <a:pt x="232" y="1500"/>
                    <a:pt x="217" y="1504"/>
                    <a:pt x="222" y="1510"/>
                  </a:cubicBezTo>
                  <a:close/>
                  <a:moveTo>
                    <a:pt x="321" y="1528"/>
                  </a:moveTo>
                  <a:cubicBezTo>
                    <a:pt x="317" y="1532"/>
                    <a:pt x="330" y="1534"/>
                    <a:pt x="327" y="1529"/>
                  </a:cubicBezTo>
                  <a:cubicBezTo>
                    <a:pt x="327" y="1528"/>
                    <a:pt x="327" y="1528"/>
                    <a:pt x="327" y="1528"/>
                  </a:cubicBezTo>
                  <a:cubicBezTo>
                    <a:pt x="328" y="1526"/>
                    <a:pt x="322" y="1527"/>
                    <a:pt x="321" y="1528"/>
                  </a:cubicBezTo>
                  <a:close/>
                  <a:moveTo>
                    <a:pt x="254" y="1487"/>
                  </a:moveTo>
                  <a:cubicBezTo>
                    <a:pt x="249" y="1485"/>
                    <a:pt x="229" y="1481"/>
                    <a:pt x="231" y="1490"/>
                  </a:cubicBezTo>
                  <a:cubicBezTo>
                    <a:pt x="231" y="1491"/>
                    <a:pt x="244" y="1494"/>
                    <a:pt x="241" y="1490"/>
                  </a:cubicBezTo>
                  <a:cubicBezTo>
                    <a:pt x="241" y="1489"/>
                    <a:pt x="238" y="1490"/>
                    <a:pt x="238" y="1489"/>
                  </a:cubicBezTo>
                  <a:cubicBezTo>
                    <a:pt x="237" y="1489"/>
                    <a:pt x="241" y="1489"/>
                    <a:pt x="242" y="1490"/>
                  </a:cubicBezTo>
                  <a:cubicBezTo>
                    <a:pt x="243" y="1490"/>
                    <a:pt x="243" y="1490"/>
                    <a:pt x="244" y="1490"/>
                  </a:cubicBezTo>
                  <a:cubicBezTo>
                    <a:pt x="244" y="1490"/>
                    <a:pt x="245" y="1490"/>
                    <a:pt x="245" y="1490"/>
                  </a:cubicBezTo>
                  <a:cubicBezTo>
                    <a:pt x="245" y="1491"/>
                    <a:pt x="242" y="1493"/>
                    <a:pt x="243" y="1494"/>
                  </a:cubicBezTo>
                  <a:cubicBezTo>
                    <a:pt x="244" y="1495"/>
                    <a:pt x="249" y="1492"/>
                    <a:pt x="250" y="1491"/>
                  </a:cubicBezTo>
                  <a:cubicBezTo>
                    <a:pt x="252" y="1490"/>
                    <a:pt x="254" y="1493"/>
                    <a:pt x="255" y="1490"/>
                  </a:cubicBezTo>
                  <a:cubicBezTo>
                    <a:pt x="255" y="1489"/>
                    <a:pt x="255" y="1489"/>
                    <a:pt x="255" y="1489"/>
                  </a:cubicBezTo>
                  <a:cubicBezTo>
                    <a:pt x="255" y="1489"/>
                    <a:pt x="255" y="1489"/>
                    <a:pt x="255" y="1489"/>
                  </a:cubicBezTo>
                  <a:cubicBezTo>
                    <a:pt x="256" y="1487"/>
                    <a:pt x="255" y="1487"/>
                    <a:pt x="254" y="1487"/>
                  </a:cubicBezTo>
                  <a:close/>
                  <a:moveTo>
                    <a:pt x="158" y="1404"/>
                  </a:moveTo>
                  <a:cubicBezTo>
                    <a:pt x="157" y="1405"/>
                    <a:pt x="162" y="1406"/>
                    <a:pt x="163" y="1405"/>
                  </a:cubicBezTo>
                  <a:cubicBezTo>
                    <a:pt x="164" y="1404"/>
                    <a:pt x="164" y="1404"/>
                    <a:pt x="164" y="1404"/>
                  </a:cubicBezTo>
                  <a:cubicBezTo>
                    <a:pt x="167" y="1405"/>
                    <a:pt x="160" y="1401"/>
                    <a:pt x="158" y="1404"/>
                  </a:cubicBezTo>
                  <a:close/>
                  <a:moveTo>
                    <a:pt x="224" y="1483"/>
                  </a:moveTo>
                  <a:cubicBezTo>
                    <a:pt x="228" y="1482"/>
                    <a:pt x="224" y="1482"/>
                    <a:pt x="223" y="1482"/>
                  </a:cubicBezTo>
                  <a:cubicBezTo>
                    <a:pt x="217" y="1480"/>
                    <a:pt x="224" y="1471"/>
                    <a:pt x="210" y="1463"/>
                  </a:cubicBezTo>
                  <a:cubicBezTo>
                    <a:pt x="210" y="1463"/>
                    <a:pt x="210" y="1463"/>
                    <a:pt x="210" y="1463"/>
                  </a:cubicBezTo>
                  <a:cubicBezTo>
                    <a:pt x="210" y="1462"/>
                    <a:pt x="206" y="1492"/>
                    <a:pt x="224" y="1483"/>
                  </a:cubicBezTo>
                  <a:close/>
                  <a:moveTo>
                    <a:pt x="199" y="1513"/>
                  </a:moveTo>
                  <a:cubicBezTo>
                    <a:pt x="199" y="1513"/>
                    <a:pt x="201" y="1514"/>
                    <a:pt x="201" y="1514"/>
                  </a:cubicBezTo>
                  <a:cubicBezTo>
                    <a:pt x="203" y="1514"/>
                    <a:pt x="207" y="1513"/>
                    <a:pt x="208" y="1512"/>
                  </a:cubicBezTo>
                  <a:cubicBezTo>
                    <a:pt x="210" y="1510"/>
                    <a:pt x="206" y="1510"/>
                    <a:pt x="208" y="1510"/>
                  </a:cubicBezTo>
                  <a:cubicBezTo>
                    <a:pt x="208" y="1510"/>
                    <a:pt x="209" y="1510"/>
                    <a:pt x="209" y="1510"/>
                  </a:cubicBezTo>
                  <a:cubicBezTo>
                    <a:pt x="209" y="1510"/>
                    <a:pt x="209" y="1510"/>
                    <a:pt x="209" y="1509"/>
                  </a:cubicBezTo>
                  <a:cubicBezTo>
                    <a:pt x="209" y="1509"/>
                    <a:pt x="211" y="1509"/>
                    <a:pt x="211" y="1509"/>
                  </a:cubicBezTo>
                  <a:cubicBezTo>
                    <a:pt x="211" y="1508"/>
                    <a:pt x="207" y="1509"/>
                    <a:pt x="208" y="1508"/>
                  </a:cubicBezTo>
                  <a:cubicBezTo>
                    <a:pt x="208" y="1508"/>
                    <a:pt x="209" y="1508"/>
                    <a:pt x="209" y="1508"/>
                  </a:cubicBezTo>
                  <a:cubicBezTo>
                    <a:pt x="210" y="1508"/>
                    <a:pt x="214" y="1508"/>
                    <a:pt x="214" y="1507"/>
                  </a:cubicBezTo>
                  <a:cubicBezTo>
                    <a:pt x="214" y="1506"/>
                    <a:pt x="212" y="1506"/>
                    <a:pt x="213" y="1505"/>
                  </a:cubicBezTo>
                  <a:cubicBezTo>
                    <a:pt x="214" y="1504"/>
                    <a:pt x="215" y="1506"/>
                    <a:pt x="216" y="1505"/>
                  </a:cubicBezTo>
                  <a:cubicBezTo>
                    <a:pt x="217" y="1504"/>
                    <a:pt x="214" y="1502"/>
                    <a:pt x="214" y="1502"/>
                  </a:cubicBezTo>
                  <a:cubicBezTo>
                    <a:pt x="214" y="1502"/>
                    <a:pt x="214" y="1502"/>
                    <a:pt x="214" y="1502"/>
                  </a:cubicBezTo>
                  <a:cubicBezTo>
                    <a:pt x="210" y="1503"/>
                    <a:pt x="205" y="1502"/>
                    <a:pt x="202" y="1503"/>
                  </a:cubicBezTo>
                  <a:cubicBezTo>
                    <a:pt x="198" y="1504"/>
                    <a:pt x="202" y="1508"/>
                    <a:pt x="202" y="1509"/>
                  </a:cubicBezTo>
                  <a:cubicBezTo>
                    <a:pt x="201" y="1511"/>
                    <a:pt x="200" y="1508"/>
                    <a:pt x="201" y="1511"/>
                  </a:cubicBezTo>
                  <a:cubicBezTo>
                    <a:pt x="201" y="1513"/>
                    <a:pt x="199" y="1512"/>
                    <a:pt x="199" y="1513"/>
                  </a:cubicBezTo>
                  <a:close/>
                  <a:moveTo>
                    <a:pt x="166" y="1435"/>
                  </a:moveTo>
                  <a:cubicBezTo>
                    <a:pt x="151" y="1436"/>
                    <a:pt x="180" y="1456"/>
                    <a:pt x="166" y="1436"/>
                  </a:cubicBezTo>
                  <a:lnTo>
                    <a:pt x="166" y="1435"/>
                  </a:lnTo>
                  <a:close/>
                  <a:moveTo>
                    <a:pt x="261" y="1522"/>
                  </a:moveTo>
                  <a:cubicBezTo>
                    <a:pt x="259" y="1523"/>
                    <a:pt x="262" y="1516"/>
                    <a:pt x="258" y="1518"/>
                  </a:cubicBezTo>
                  <a:cubicBezTo>
                    <a:pt x="255" y="1520"/>
                    <a:pt x="260" y="1531"/>
                    <a:pt x="260" y="1531"/>
                  </a:cubicBezTo>
                  <a:cubicBezTo>
                    <a:pt x="261" y="1531"/>
                    <a:pt x="260" y="1529"/>
                    <a:pt x="261" y="1529"/>
                  </a:cubicBezTo>
                  <a:cubicBezTo>
                    <a:pt x="262" y="1528"/>
                    <a:pt x="262" y="1529"/>
                    <a:pt x="263" y="1528"/>
                  </a:cubicBezTo>
                  <a:cubicBezTo>
                    <a:pt x="264" y="1526"/>
                    <a:pt x="265" y="1531"/>
                    <a:pt x="265" y="1529"/>
                  </a:cubicBezTo>
                  <a:cubicBezTo>
                    <a:pt x="266" y="1529"/>
                    <a:pt x="266" y="1529"/>
                    <a:pt x="266" y="1529"/>
                  </a:cubicBezTo>
                  <a:cubicBezTo>
                    <a:pt x="266" y="1527"/>
                    <a:pt x="267" y="1519"/>
                    <a:pt x="265" y="1518"/>
                  </a:cubicBezTo>
                  <a:cubicBezTo>
                    <a:pt x="259" y="1514"/>
                    <a:pt x="264" y="1521"/>
                    <a:pt x="261" y="1522"/>
                  </a:cubicBezTo>
                  <a:close/>
                  <a:moveTo>
                    <a:pt x="267" y="1499"/>
                  </a:moveTo>
                  <a:cubicBezTo>
                    <a:pt x="254" y="1503"/>
                    <a:pt x="272" y="1509"/>
                    <a:pt x="274" y="1510"/>
                  </a:cubicBezTo>
                  <a:cubicBezTo>
                    <a:pt x="275" y="1510"/>
                    <a:pt x="279" y="1511"/>
                    <a:pt x="279" y="1511"/>
                  </a:cubicBezTo>
                  <a:cubicBezTo>
                    <a:pt x="278" y="1512"/>
                    <a:pt x="270" y="1511"/>
                    <a:pt x="268" y="1513"/>
                  </a:cubicBezTo>
                  <a:cubicBezTo>
                    <a:pt x="262" y="1516"/>
                    <a:pt x="270" y="1517"/>
                    <a:pt x="268" y="1524"/>
                  </a:cubicBezTo>
                  <a:cubicBezTo>
                    <a:pt x="266" y="1532"/>
                    <a:pt x="273" y="1528"/>
                    <a:pt x="277" y="1525"/>
                  </a:cubicBezTo>
                  <a:cubicBezTo>
                    <a:pt x="279" y="1524"/>
                    <a:pt x="278" y="1533"/>
                    <a:pt x="280" y="1531"/>
                  </a:cubicBezTo>
                  <a:cubicBezTo>
                    <a:pt x="280" y="1531"/>
                    <a:pt x="283" y="1525"/>
                    <a:pt x="284" y="1526"/>
                  </a:cubicBezTo>
                  <a:cubicBezTo>
                    <a:pt x="285" y="1527"/>
                    <a:pt x="285" y="1530"/>
                    <a:pt x="287" y="1529"/>
                  </a:cubicBezTo>
                  <a:cubicBezTo>
                    <a:pt x="288" y="1529"/>
                    <a:pt x="288" y="1529"/>
                    <a:pt x="288" y="1529"/>
                  </a:cubicBezTo>
                  <a:cubicBezTo>
                    <a:pt x="289" y="1528"/>
                    <a:pt x="293" y="1528"/>
                    <a:pt x="293" y="1525"/>
                  </a:cubicBezTo>
                  <a:cubicBezTo>
                    <a:pt x="291" y="1516"/>
                    <a:pt x="310" y="1491"/>
                    <a:pt x="309" y="1490"/>
                  </a:cubicBezTo>
                  <a:cubicBezTo>
                    <a:pt x="306" y="1486"/>
                    <a:pt x="298" y="1499"/>
                    <a:pt x="293" y="1499"/>
                  </a:cubicBezTo>
                  <a:cubicBezTo>
                    <a:pt x="284" y="1498"/>
                    <a:pt x="275" y="1506"/>
                    <a:pt x="267" y="1504"/>
                  </a:cubicBezTo>
                  <a:cubicBezTo>
                    <a:pt x="265" y="1504"/>
                    <a:pt x="271" y="1498"/>
                    <a:pt x="267" y="1499"/>
                  </a:cubicBezTo>
                  <a:close/>
                  <a:moveTo>
                    <a:pt x="240" y="1049"/>
                  </a:moveTo>
                  <a:cubicBezTo>
                    <a:pt x="265" y="1049"/>
                    <a:pt x="234" y="1040"/>
                    <a:pt x="237" y="1048"/>
                  </a:cubicBezTo>
                  <a:cubicBezTo>
                    <a:pt x="237" y="1048"/>
                    <a:pt x="237" y="1048"/>
                    <a:pt x="237" y="1048"/>
                  </a:cubicBezTo>
                  <a:cubicBezTo>
                    <a:pt x="238" y="1049"/>
                    <a:pt x="238" y="1049"/>
                    <a:pt x="240" y="1049"/>
                  </a:cubicBezTo>
                  <a:close/>
                  <a:moveTo>
                    <a:pt x="20" y="1492"/>
                  </a:moveTo>
                  <a:cubicBezTo>
                    <a:pt x="20" y="1493"/>
                    <a:pt x="20" y="1486"/>
                    <a:pt x="16" y="1489"/>
                  </a:cubicBezTo>
                  <a:cubicBezTo>
                    <a:pt x="16" y="1489"/>
                    <a:pt x="17" y="1490"/>
                    <a:pt x="17" y="1490"/>
                  </a:cubicBezTo>
                  <a:cubicBezTo>
                    <a:pt x="19" y="1494"/>
                    <a:pt x="19" y="1499"/>
                    <a:pt x="21" y="1503"/>
                  </a:cubicBezTo>
                  <a:cubicBezTo>
                    <a:pt x="22" y="1507"/>
                    <a:pt x="24" y="1509"/>
                    <a:pt x="25" y="1513"/>
                  </a:cubicBezTo>
                  <a:cubicBezTo>
                    <a:pt x="26" y="1513"/>
                    <a:pt x="26" y="1516"/>
                    <a:pt x="26" y="1516"/>
                  </a:cubicBezTo>
                  <a:cubicBezTo>
                    <a:pt x="28" y="1517"/>
                    <a:pt x="28" y="1514"/>
                    <a:pt x="29" y="1513"/>
                  </a:cubicBezTo>
                  <a:cubicBezTo>
                    <a:pt x="32" y="1512"/>
                    <a:pt x="31" y="1516"/>
                    <a:pt x="35" y="1516"/>
                  </a:cubicBezTo>
                  <a:cubicBezTo>
                    <a:pt x="37" y="1515"/>
                    <a:pt x="35" y="1512"/>
                    <a:pt x="38" y="1513"/>
                  </a:cubicBezTo>
                  <a:cubicBezTo>
                    <a:pt x="44" y="1513"/>
                    <a:pt x="40" y="1519"/>
                    <a:pt x="42" y="1520"/>
                  </a:cubicBezTo>
                  <a:cubicBezTo>
                    <a:pt x="42" y="1521"/>
                    <a:pt x="43" y="1520"/>
                    <a:pt x="43" y="1520"/>
                  </a:cubicBezTo>
                  <a:cubicBezTo>
                    <a:pt x="46" y="1520"/>
                    <a:pt x="41" y="1515"/>
                    <a:pt x="44" y="1514"/>
                  </a:cubicBezTo>
                  <a:cubicBezTo>
                    <a:pt x="46" y="1513"/>
                    <a:pt x="49" y="1515"/>
                    <a:pt x="52" y="1514"/>
                  </a:cubicBezTo>
                  <a:cubicBezTo>
                    <a:pt x="55" y="1513"/>
                    <a:pt x="50" y="1510"/>
                    <a:pt x="50" y="1509"/>
                  </a:cubicBezTo>
                  <a:cubicBezTo>
                    <a:pt x="50" y="1507"/>
                    <a:pt x="52" y="1504"/>
                    <a:pt x="52" y="1502"/>
                  </a:cubicBezTo>
                  <a:cubicBezTo>
                    <a:pt x="52" y="1501"/>
                    <a:pt x="49" y="1505"/>
                    <a:pt x="49" y="1505"/>
                  </a:cubicBezTo>
                  <a:cubicBezTo>
                    <a:pt x="47" y="1504"/>
                    <a:pt x="39" y="1498"/>
                    <a:pt x="40" y="1495"/>
                  </a:cubicBezTo>
                  <a:cubicBezTo>
                    <a:pt x="40" y="1495"/>
                    <a:pt x="41" y="1495"/>
                    <a:pt x="41" y="1495"/>
                  </a:cubicBezTo>
                  <a:cubicBezTo>
                    <a:pt x="47" y="1497"/>
                    <a:pt x="40" y="1499"/>
                    <a:pt x="46" y="1499"/>
                  </a:cubicBezTo>
                  <a:cubicBezTo>
                    <a:pt x="47" y="1499"/>
                    <a:pt x="49" y="1501"/>
                    <a:pt x="49" y="1500"/>
                  </a:cubicBezTo>
                  <a:cubicBezTo>
                    <a:pt x="52" y="1495"/>
                    <a:pt x="45" y="1490"/>
                    <a:pt x="45" y="1488"/>
                  </a:cubicBezTo>
                  <a:cubicBezTo>
                    <a:pt x="46" y="1486"/>
                    <a:pt x="48" y="1490"/>
                    <a:pt x="50" y="1489"/>
                  </a:cubicBezTo>
                  <a:cubicBezTo>
                    <a:pt x="52" y="1487"/>
                    <a:pt x="49" y="1483"/>
                    <a:pt x="50" y="1482"/>
                  </a:cubicBezTo>
                  <a:cubicBezTo>
                    <a:pt x="51" y="1481"/>
                    <a:pt x="54" y="1483"/>
                    <a:pt x="54" y="1484"/>
                  </a:cubicBezTo>
                  <a:cubicBezTo>
                    <a:pt x="54" y="1486"/>
                    <a:pt x="50" y="1489"/>
                    <a:pt x="50" y="1491"/>
                  </a:cubicBezTo>
                  <a:cubicBezTo>
                    <a:pt x="50" y="1494"/>
                    <a:pt x="53" y="1494"/>
                    <a:pt x="53" y="1496"/>
                  </a:cubicBezTo>
                  <a:cubicBezTo>
                    <a:pt x="54" y="1496"/>
                    <a:pt x="52" y="1499"/>
                    <a:pt x="53" y="1499"/>
                  </a:cubicBezTo>
                  <a:cubicBezTo>
                    <a:pt x="54" y="1500"/>
                    <a:pt x="55" y="1495"/>
                    <a:pt x="56" y="1494"/>
                  </a:cubicBezTo>
                  <a:cubicBezTo>
                    <a:pt x="57" y="1492"/>
                    <a:pt x="63" y="1490"/>
                    <a:pt x="64" y="1492"/>
                  </a:cubicBezTo>
                  <a:cubicBezTo>
                    <a:pt x="66" y="1494"/>
                    <a:pt x="58" y="1494"/>
                    <a:pt x="57" y="1495"/>
                  </a:cubicBezTo>
                  <a:cubicBezTo>
                    <a:pt x="56" y="1496"/>
                    <a:pt x="55" y="1502"/>
                    <a:pt x="56" y="1502"/>
                  </a:cubicBezTo>
                  <a:cubicBezTo>
                    <a:pt x="57" y="1502"/>
                    <a:pt x="58" y="1500"/>
                    <a:pt x="59" y="1501"/>
                  </a:cubicBezTo>
                  <a:cubicBezTo>
                    <a:pt x="60" y="1501"/>
                    <a:pt x="60" y="1502"/>
                    <a:pt x="61" y="1503"/>
                  </a:cubicBezTo>
                  <a:cubicBezTo>
                    <a:pt x="65" y="1505"/>
                    <a:pt x="63" y="1499"/>
                    <a:pt x="66" y="1498"/>
                  </a:cubicBezTo>
                  <a:cubicBezTo>
                    <a:pt x="66" y="1498"/>
                    <a:pt x="68" y="1499"/>
                    <a:pt x="68" y="1498"/>
                  </a:cubicBezTo>
                  <a:cubicBezTo>
                    <a:pt x="68" y="1497"/>
                    <a:pt x="65" y="1495"/>
                    <a:pt x="67" y="1494"/>
                  </a:cubicBezTo>
                  <a:cubicBezTo>
                    <a:pt x="67" y="1493"/>
                    <a:pt x="69" y="1494"/>
                    <a:pt x="69" y="1494"/>
                  </a:cubicBezTo>
                  <a:cubicBezTo>
                    <a:pt x="70" y="1494"/>
                    <a:pt x="69" y="1492"/>
                    <a:pt x="70" y="1491"/>
                  </a:cubicBezTo>
                  <a:cubicBezTo>
                    <a:pt x="70" y="1490"/>
                    <a:pt x="73" y="1488"/>
                    <a:pt x="73" y="1487"/>
                  </a:cubicBezTo>
                  <a:cubicBezTo>
                    <a:pt x="72" y="1485"/>
                    <a:pt x="65" y="1486"/>
                    <a:pt x="64" y="1486"/>
                  </a:cubicBezTo>
                  <a:cubicBezTo>
                    <a:pt x="64" y="1486"/>
                    <a:pt x="66" y="1481"/>
                    <a:pt x="65" y="1480"/>
                  </a:cubicBezTo>
                  <a:cubicBezTo>
                    <a:pt x="65" y="1480"/>
                    <a:pt x="63" y="1481"/>
                    <a:pt x="63" y="1481"/>
                  </a:cubicBezTo>
                  <a:cubicBezTo>
                    <a:pt x="62" y="1481"/>
                    <a:pt x="62" y="1480"/>
                    <a:pt x="61" y="1479"/>
                  </a:cubicBezTo>
                  <a:cubicBezTo>
                    <a:pt x="60" y="1478"/>
                    <a:pt x="58" y="1479"/>
                    <a:pt x="57" y="1478"/>
                  </a:cubicBezTo>
                  <a:cubicBezTo>
                    <a:pt x="57" y="1477"/>
                    <a:pt x="58" y="1476"/>
                    <a:pt x="57" y="1476"/>
                  </a:cubicBezTo>
                  <a:cubicBezTo>
                    <a:pt x="56" y="1475"/>
                    <a:pt x="55" y="1477"/>
                    <a:pt x="54" y="1477"/>
                  </a:cubicBezTo>
                  <a:cubicBezTo>
                    <a:pt x="54" y="1477"/>
                    <a:pt x="50" y="1473"/>
                    <a:pt x="50" y="1476"/>
                  </a:cubicBezTo>
                  <a:cubicBezTo>
                    <a:pt x="50" y="1476"/>
                    <a:pt x="52" y="1478"/>
                    <a:pt x="51" y="1479"/>
                  </a:cubicBezTo>
                  <a:cubicBezTo>
                    <a:pt x="50" y="1479"/>
                    <a:pt x="47" y="1476"/>
                    <a:pt x="46" y="1475"/>
                  </a:cubicBezTo>
                  <a:cubicBezTo>
                    <a:pt x="45" y="1475"/>
                    <a:pt x="42" y="1477"/>
                    <a:pt x="41" y="1476"/>
                  </a:cubicBezTo>
                  <a:cubicBezTo>
                    <a:pt x="40" y="1475"/>
                    <a:pt x="40" y="1470"/>
                    <a:pt x="39" y="1469"/>
                  </a:cubicBezTo>
                  <a:cubicBezTo>
                    <a:pt x="38" y="1469"/>
                    <a:pt x="38" y="1469"/>
                    <a:pt x="38" y="1469"/>
                  </a:cubicBezTo>
                  <a:cubicBezTo>
                    <a:pt x="33" y="1468"/>
                    <a:pt x="33" y="1471"/>
                    <a:pt x="30" y="1475"/>
                  </a:cubicBezTo>
                  <a:cubicBezTo>
                    <a:pt x="30" y="1475"/>
                    <a:pt x="28" y="1475"/>
                    <a:pt x="28" y="1476"/>
                  </a:cubicBezTo>
                  <a:cubicBezTo>
                    <a:pt x="28" y="1478"/>
                    <a:pt x="31" y="1477"/>
                    <a:pt x="32" y="1478"/>
                  </a:cubicBezTo>
                  <a:cubicBezTo>
                    <a:pt x="33" y="1478"/>
                    <a:pt x="33" y="1483"/>
                    <a:pt x="35" y="1482"/>
                  </a:cubicBezTo>
                  <a:cubicBezTo>
                    <a:pt x="37" y="1481"/>
                    <a:pt x="37" y="1476"/>
                    <a:pt x="38" y="1477"/>
                  </a:cubicBezTo>
                  <a:cubicBezTo>
                    <a:pt x="40" y="1478"/>
                    <a:pt x="45" y="1490"/>
                    <a:pt x="40" y="1488"/>
                  </a:cubicBezTo>
                  <a:cubicBezTo>
                    <a:pt x="38" y="1488"/>
                    <a:pt x="39" y="1483"/>
                    <a:pt x="38" y="1483"/>
                  </a:cubicBezTo>
                  <a:cubicBezTo>
                    <a:pt x="37" y="1483"/>
                    <a:pt x="38" y="1488"/>
                    <a:pt x="38" y="1489"/>
                  </a:cubicBezTo>
                  <a:cubicBezTo>
                    <a:pt x="37" y="1491"/>
                    <a:pt x="35" y="1491"/>
                    <a:pt x="35" y="1494"/>
                  </a:cubicBezTo>
                  <a:cubicBezTo>
                    <a:pt x="35" y="1497"/>
                    <a:pt x="33" y="1494"/>
                    <a:pt x="32" y="1494"/>
                  </a:cubicBezTo>
                  <a:cubicBezTo>
                    <a:pt x="31" y="1494"/>
                    <a:pt x="33" y="1500"/>
                    <a:pt x="31" y="1500"/>
                  </a:cubicBezTo>
                  <a:cubicBezTo>
                    <a:pt x="30" y="1500"/>
                    <a:pt x="27" y="1493"/>
                    <a:pt x="26" y="1492"/>
                  </a:cubicBezTo>
                  <a:cubicBezTo>
                    <a:pt x="26" y="1491"/>
                    <a:pt x="29" y="1486"/>
                    <a:pt x="29" y="1484"/>
                  </a:cubicBezTo>
                  <a:cubicBezTo>
                    <a:pt x="29" y="1484"/>
                    <a:pt x="29" y="1484"/>
                    <a:pt x="29" y="1484"/>
                  </a:cubicBezTo>
                  <a:cubicBezTo>
                    <a:pt x="29" y="1484"/>
                    <a:pt x="30" y="1484"/>
                    <a:pt x="30" y="1483"/>
                  </a:cubicBezTo>
                  <a:cubicBezTo>
                    <a:pt x="29" y="1483"/>
                    <a:pt x="29" y="1483"/>
                    <a:pt x="29" y="1483"/>
                  </a:cubicBezTo>
                  <a:cubicBezTo>
                    <a:pt x="29" y="1483"/>
                    <a:pt x="29" y="1483"/>
                    <a:pt x="29" y="1483"/>
                  </a:cubicBezTo>
                  <a:cubicBezTo>
                    <a:pt x="28" y="1483"/>
                    <a:pt x="28" y="1484"/>
                    <a:pt x="27" y="1483"/>
                  </a:cubicBezTo>
                  <a:cubicBezTo>
                    <a:pt x="23" y="1481"/>
                    <a:pt x="27" y="1486"/>
                    <a:pt x="27" y="1486"/>
                  </a:cubicBezTo>
                  <a:cubicBezTo>
                    <a:pt x="26" y="1487"/>
                    <a:pt x="22" y="1488"/>
                    <a:pt x="22" y="1488"/>
                  </a:cubicBezTo>
                  <a:cubicBezTo>
                    <a:pt x="20" y="1489"/>
                    <a:pt x="21" y="1491"/>
                    <a:pt x="20" y="1492"/>
                  </a:cubicBezTo>
                  <a:close/>
                  <a:moveTo>
                    <a:pt x="67" y="1518"/>
                  </a:moveTo>
                  <a:cubicBezTo>
                    <a:pt x="66" y="1517"/>
                    <a:pt x="61" y="1516"/>
                    <a:pt x="60" y="1515"/>
                  </a:cubicBezTo>
                  <a:cubicBezTo>
                    <a:pt x="58" y="1515"/>
                    <a:pt x="57" y="1512"/>
                    <a:pt x="56" y="1513"/>
                  </a:cubicBezTo>
                  <a:cubicBezTo>
                    <a:pt x="55" y="1514"/>
                    <a:pt x="56" y="1517"/>
                    <a:pt x="55" y="1518"/>
                  </a:cubicBezTo>
                  <a:cubicBezTo>
                    <a:pt x="54" y="1518"/>
                    <a:pt x="47" y="1515"/>
                    <a:pt x="48" y="1519"/>
                  </a:cubicBezTo>
                  <a:cubicBezTo>
                    <a:pt x="48" y="1520"/>
                    <a:pt x="50" y="1519"/>
                    <a:pt x="51" y="1520"/>
                  </a:cubicBezTo>
                  <a:cubicBezTo>
                    <a:pt x="52" y="1520"/>
                    <a:pt x="52" y="1522"/>
                    <a:pt x="53" y="1522"/>
                  </a:cubicBezTo>
                  <a:cubicBezTo>
                    <a:pt x="54" y="1523"/>
                    <a:pt x="55" y="1521"/>
                    <a:pt x="56" y="1522"/>
                  </a:cubicBezTo>
                  <a:cubicBezTo>
                    <a:pt x="58" y="1522"/>
                    <a:pt x="58" y="1527"/>
                    <a:pt x="60" y="1528"/>
                  </a:cubicBezTo>
                  <a:cubicBezTo>
                    <a:pt x="62" y="1529"/>
                    <a:pt x="64" y="1524"/>
                    <a:pt x="65" y="1526"/>
                  </a:cubicBezTo>
                  <a:cubicBezTo>
                    <a:pt x="67" y="1528"/>
                    <a:pt x="65" y="1532"/>
                    <a:pt x="68" y="1527"/>
                  </a:cubicBezTo>
                  <a:cubicBezTo>
                    <a:pt x="68" y="1526"/>
                    <a:pt x="68" y="1526"/>
                    <a:pt x="68" y="1526"/>
                  </a:cubicBezTo>
                  <a:cubicBezTo>
                    <a:pt x="65" y="1523"/>
                    <a:pt x="68" y="1521"/>
                    <a:pt x="67" y="1518"/>
                  </a:cubicBezTo>
                  <a:close/>
                  <a:moveTo>
                    <a:pt x="14" y="1491"/>
                  </a:moveTo>
                  <a:cubicBezTo>
                    <a:pt x="9" y="1484"/>
                    <a:pt x="0" y="1505"/>
                    <a:pt x="8" y="1509"/>
                  </a:cubicBezTo>
                  <a:cubicBezTo>
                    <a:pt x="10" y="1510"/>
                    <a:pt x="12" y="1506"/>
                    <a:pt x="13" y="1504"/>
                  </a:cubicBezTo>
                  <a:cubicBezTo>
                    <a:pt x="13" y="1503"/>
                    <a:pt x="11" y="1498"/>
                    <a:pt x="11" y="1498"/>
                  </a:cubicBezTo>
                  <a:cubicBezTo>
                    <a:pt x="13" y="1498"/>
                    <a:pt x="16" y="1507"/>
                    <a:pt x="18" y="1505"/>
                  </a:cubicBezTo>
                  <a:cubicBezTo>
                    <a:pt x="20" y="1504"/>
                    <a:pt x="15" y="1492"/>
                    <a:pt x="14" y="1491"/>
                  </a:cubicBezTo>
                  <a:close/>
                  <a:moveTo>
                    <a:pt x="79" y="1491"/>
                  </a:moveTo>
                  <a:cubicBezTo>
                    <a:pt x="77" y="1495"/>
                    <a:pt x="83" y="1492"/>
                    <a:pt x="83" y="1494"/>
                  </a:cubicBezTo>
                  <a:cubicBezTo>
                    <a:pt x="83" y="1495"/>
                    <a:pt x="82" y="1496"/>
                    <a:pt x="82" y="1497"/>
                  </a:cubicBezTo>
                  <a:cubicBezTo>
                    <a:pt x="81" y="1500"/>
                    <a:pt x="84" y="1499"/>
                    <a:pt x="84" y="1497"/>
                  </a:cubicBezTo>
                  <a:cubicBezTo>
                    <a:pt x="85" y="1494"/>
                    <a:pt x="86" y="1494"/>
                    <a:pt x="87" y="1492"/>
                  </a:cubicBezTo>
                  <a:cubicBezTo>
                    <a:pt x="88" y="1489"/>
                    <a:pt x="81" y="1486"/>
                    <a:pt x="79" y="1491"/>
                  </a:cubicBezTo>
                  <a:close/>
                  <a:moveTo>
                    <a:pt x="87" y="1492"/>
                  </a:moveTo>
                  <a:cubicBezTo>
                    <a:pt x="87" y="1492"/>
                    <a:pt x="87" y="1492"/>
                    <a:pt x="87" y="1492"/>
                  </a:cubicBezTo>
                  <a:cubicBezTo>
                    <a:pt x="87" y="1492"/>
                    <a:pt x="87" y="1492"/>
                    <a:pt x="87" y="1492"/>
                  </a:cubicBezTo>
                  <a:close/>
                  <a:moveTo>
                    <a:pt x="73" y="1507"/>
                  </a:moveTo>
                  <a:cubicBezTo>
                    <a:pt x="72" y="1506"/>
                    <a:pt x="72" y="1506"/>
                    <a:pt x="72" y="1506"/>
                  </a:cubicBezTo>
                  <a:cubicBezTo>
                    <a:pt x="68" y="1506"/>
                    <a:pt x="73" y="1510"/>
                    <a:pt x="71" y="1511"/>
                  </a:cubicBezTo>
                  <a:cubicBezTo>
                    <a:pt x="69" y="1513"/>
                    <a:pt x="69" y="1506"/>
                    <a:pt x="68" y="1506"/>
                  </a:cubicBezTo>
                  <a:cubicBezTo>
                    <a:pt x="67" y="1506"/>
                    <a:pt x="65" y="1514"/>
                    <a:pt x="66" y="1515"/>
                  </a:cubicBezTo>
                  <a:cubicBezTo>
                    <a:pt x="67" y="1516"/>
                    <a:pt x="69" y="1516"/>
                    <a:pt x="70" y="1517"/>
                  </a:cubicBezTo>
                  <a:cubicBezTo>
                    <a:pt x="72" y="1522"/>
                    <a:pt x="71" y="1516"/>
                    <a:pt x="72" y="1515"/>
                  </a:cubicBezTo>
                  <a:cubicBezTo>
                    <a:pt x="73" y="1511"/>
                    <a:pt x="76" y="1512"/>
                    <a:pt x="73" y="1507"/>
                  </a:cubicBezTo>
                  <a:close/>
                  <a:moveTo>
                    <a:pt x="801" y="1166"/>
                  </a:moveTo>
                  <a:cubicBezTo>
                    <a:pt x="805" y="1163"/>
                    <a:pt x="818" y="1172"/>
                    <a:pt x="819" y="1171"/>
                  </a:cubicBezTo>
                  <a:cubicBezTo>
                    <a:pt x="819" y="1166"/>
                    <a:pt x="796" y="1151"/>
                    <a:pt x="792" y="1152"/>
                  </a:cubicBezTo>
                  <a:cubicBezTo>
                    <a:pt x="770" y="1159"/>
                    <a:pt x="789" y="1180"/>
                    <a:pt x="767" y="1176"/>
                  </a:cubicBezTo>
                  <a:cubicBezTo>
                    <a:pt x="765" y="1176"/>
                    <a:pt x="771" y="1170"/>
                    <a:pt x="773" y="1167"/>
                  </a:cubicBezTo>
                  <a:cubicBezTo>
                    <a:pt x="778" y="1156"/>
                    <a:pt x="766" y="1152"/>
                    <a:pt x="763" y="1143"/>
                  </a:cubicBezTo>
                  <a:cubicBezTo>
                    <a:pt x="762" y="1139"/>
                    <a:pt x="772" y="1144"/>
                    <a:pt x="772" y="1143"/>
                  </a:cubicBezTo>
                  <a:cubicBezTo>
                    <a:pt x="773" y="1128"/>
                    <a:pt x="748" y="1129"/>
                    <a:pt x="740" y="1137"/>
                  </a:cubicBezTo>
                  <a:cubicBezTo>
                    <a:pt x="739" y="1139"/>
                    <a:pt x="743" y="1139"/>
                    <a:pt x="741" y="1140"/>
                  </a:cubicBezTo>
                  <a:cubicBezTo>
                    <a:pt x="728" y="1148"/>
                    <a:pt x="748" y="1148"/>
                    <a:pt x="748" y="1148"/>
                  </a:cubicBezTo>
                  <a:cubicBezTo>
                    <a:pt x="747" y="1152"/>
                    <a:pt x="740" y="1152"/>
                    <a:pt x="738" y="1150"/>
                  </a:cubicBezTo>
                  <a:cubicBezTo>
                    <a:pt x="733" y="1146"/>
                    <a:pt x="743" y="1157"/>
                    <a:pt x="744" y="1160"/>
                  </a:cubicBezTo>
                  <a:cubicBezTo>
                    <a:pt x="747" y="1167"/>
                    <a:pt x="750" y="1180"/>
                    <a:pt x="761" y="1182"/>
                  </a:cubicBezTo>
                  <a:cubicBezTo>
                    <a:pt x="764" y="1183"/>
                    <a:pt x="762" y="1176"/>
                    <a:pt x="765" y="1178"/>
                  </a:cubicBezTo>
                  <a:cubicBezTo>
                    <a:pt x="772" y="1181"/>
                    <a:pt x="737" y="1210"/>
                    <a:pt x="767" y="1207"/>
                  </a:cubicBezTo>
                  <a:cubicBezTo>
                    <a:pt x="771" y="1206"/>
                    <a:pt x="772" y="1200"/>
                    <a:pt x="775" y="1201"/>
                  </a:cubicBezTo>
                  <a:cubicBezTo>
                    <a:pt x="779" y="1201"/>
                    <a:pt x="782" y="1207"/>
                    <a:pt x="787" y="1205"/>
                  </a:cubicBezTo>
                  <a:cubicBezTo>
                    <a:pt x="789" y="1204"/>
                    <a:pt x="786" y="1203"/>
                    <a:pt x="785" y="1202"/>
                  </a:cubicBezTo>
                  <a:cubicBezTo>
                    <a:pt x="779" y="1200"/>
                    <a:pt x="784" y="1198"/>
                    <a:pt x="788" y="1197"/>
                  </a:cubicBezTo>
                  <a:cubicBezTo>
                    <a:pt x="790" y="1196"/>
                    <a:pt x="801" y="1215"/>
                    <a:pt x="810" y="1210"/>
                  </a:cubicBezTo>
                  <a:cubicBezTo>
                    <a:pt x="814" y="1208"/>
                    <a:pt x="809" y="1202"/>
                    <a:pt x="815" y="1201"/>
                  </a:cubicBezTo>
                  <a:cubicBezTo>
                    <a:pt x="816" y="1201"/>
                    <a:pt x="815" y="1192"/>
                    <a:pt x="817" y="1195"/>
                  </a:cubicBezTo>
                  <a:cubicBezTo>
                    <a:pt x="819" y="1199"/>
                    <a:pt x="828" y="1196"/>
                    <a:pt x="820" y="1188"/>
                  </a:cubicBezTo>
                  <a:cubicBezTo>
                    <a:pt x="813" y="1182"/>
                    <a:pt x="830" y="1192"/>
                    <a:pt x="823" y="1186"/>
                  </a:cubicBezTo>
                  <a:cubicBezTo>
                    <a:pt x="823" y="1186"/>
                    <a:pt x="816" y="1183"/>
                    <a:pt x="818" y="1182"/>
                  </a:cubicBezTo>
                  <a:cubicBezTo>
                    <a:pt x="819" y="1181"/>
                    <a:pt x="821" y="1181"/>
                    <a:pt x="822" y="1181"/>
                  </a:cubicBezTo>
                  <a:cubicBezTo>
                    <a:pt x="817" y="1178"/>
                    <a:pt x="813" y="1176"/>
                    <a:pt x="812" y="1175"/>
                  </a:cubicBezTo>
                  <a:cubicBezTo>
                    <a:pt x="807" y="1174"/>
                    <a:pt x="798" y="1169"/>
                    <a:pt x="801" y="1166"/>
                  </a:cubicBezTo>
                  <a:close/>
                  <a:moveTo>
                    <a:pt x="875" y="1228"/>
                  </a:moveTo>
                  <a:cubicBezTo>
                    <a:pt x="876" y="1231"/>
                    <a:pt x="872" y="1234"/>
                    <a:pt x="872" y="1234"/>
                  </a:cubicBezTo>
                  <a:cubicBezTo>
                    <a:pt x="873" y="1235"/>
                    <a:pt x="879" y="1243"/>
                    <a:pt x="875" y="1243"/>
                  </a:cubicBezTo>
                  <a:cubicBezTo>
                    <a:pt x="871" y="1243"/>
                    <a:pt x="866" y="1233"/>
                    <a:pt x="864" y="1230"/>
                  </a:cubicBezTo>
                  <a:cubicBezTo>
                    <a:pt x="862" y="1226"/>
                    <a:pt x="874" y="1234"/>
                    <a:pt x="872" y="1227"/>
                  </a:cubicBezTo>
                  <a:cubicBezTo>
                    <a:pt x="871" y="1226"/>
                    <a:pt x="871" y="1222"/>
                    <a:pt x="870" y="1221"/>
                  </a:cubicBezTo>
                  <a:cubicBezTo>
                    <a:pt x="868" y="1218"/>
                    <a:pt x="823" y="1228"/>
                    <a:pt x="820" y="1232"/>
                  </a:cubicBezTo>
                  <a:cubicBezTo>
                    <a:pt x="819" y="1234"/>
                    <a:pt x="824" y="1240"/>
                    <a:pt x="825" y="1241"/>
                  </a:cubicBezTo>
                  <a:cubicBezTo>
                    <a:pt x="835" y="1248"/>
                    <a:pt x="851" y="1279"/>
                    <a:pt x="866" y="1277"/>
                  </a:cubicBezTo>
                  <a:cubicBezTo>
                    <a:pt x="875" y="1276"/>
                    <a:pt x="867" y="1270"/>
                    <a:pt x="867" y="1269"/>
                  </a:cubicBezTo>
                  <a:cubicBezTo>
                    <a:pt x="867" y="1269"/>
                    <a:pt x="879" y="1265"/>
                    <a:pt x="879" y="1263"/>
                  </a:cubicBezTo>
                  <a:cubicBezTo>
                    <a:pt x="878" y="1258"/>
                    <a:pt x="876" y="1246"/>
                    <a:pt x="881" y="1243"/>
                  </a:cubicBezTo>
                  <a:cubicBezTo>
                    <a:pt x="884" y="1241"/>
                    <a:pt x="893" y="1255"/>
                    <a:pt x="896" y="1250"/>
                  </a:cubicBezTo>
                  <a:cubicBezTo>
                    <a:pt x="897" y="1247"/>
                    <a:pt x="892" y="1245"/>
                    <a:pt x="890" y="1242"/>
                  </a:cubicBezTo>
                  <a:cubicBezTo>
                    <a:pt x="891" y="1242"/>
                    <a:pt x="891" y="1242"/>
                    <a:pt x="891" y="1242"/>
                  </a:cubicBezTo>
                  <a:cubicBezTo>
                    <a:pt x="886" y="1233"/>
                    <a:pt x="871" y="1209"/>
                    <a:pt x="875" y="1228"/>
                  </a:cubicBezTo>
                  <a:close/>
                  <a:moveTo>
                    <a:pt x="153" y="1093"/>
                  </a:moveTo>
                  <a:cubicBezTo>
                    <a:pt x="149" y="1092"/>
                    <a:pt x="154" y="1108"/>
                    <a:pt x="159" y="1100"/>
                  </a:cubicBezTo>
                  <a:cubicBezTo>
                    <a:pt x="161" y="1097"/>
                    <a:pt x="154" y="1094"/>
                    <a:pt x="153" y="1093"/>
                  </a:cubicBezTo>
                  <a:close/>
                  <a:moveTo>
                    <a:pt x="743" y="1451"/>
                  </a:moveTo>
                  <a:cubicBezTo>
                    <a:pt x="742" y="1449"/>
                    <a:pt x="741" y="1447"/>
                    <a:pt x="738" y="1447"/>
                  </a:cubicBezTo>
                  <a:cubicBezTo>
                    <a:pt x="735" y="1448"/>
                    <a:pt x="741" y="1462"/>
                    <a:pt x="735" y="1461"/>
                  </a:cubicBezTo>
                  <a:cubicBezTo>
                    <a:pt x="734" y="1461"/>
                    <a:pt x="727" y="1458"/>
                    <a:pt x="732" y="1458"/>
                  </a:cubicBezTo>
                  <a:cubicBezTo>
                    <a:pt x="732" y="1458"/>
                    <a:pt x="734" y="1457"/>
                    <a:pt x="733" y="1456"/>
                  </a:cubicBezTo>
                  <a:cubicBezTo>
                    <a:pt x="733" y="1455"/>
                    <a:pt x="725" y="1462"/>
                    <a:pt x="720" y="1459"/>
                  </a:cubicBezTo>
                  <a:cubicBezTo>
                    <a:pt x="719" y="1458"/>
                    <a:pt x="712" y="1457"/>
                    <a:pt x="714" y="1458"/>
                  </a:cubicBezTo>
                  <a:cubicBezTo>
                    <a:pt x="716" y="1459"/>
                    <a:pt x="719" y="1464"/>
                    <a:pt x="716" y="1465"/>
                  </a:cubicBezTo>
                  <a:cubicBezTo>
                    <a:pt x="710" y="1465"/>
                    <a:pt x="699" y="1458"/>
                    <a:pt x="692" y="1457"/>
                  </a:cubicBezTo>
                  <a:cubicBezTo>
                    <a:pt x="690" y="1457"/>
                    <a:pt x="705" y="1455"/>
                    <a:pt x="694" y="1452"/>
                  </a:cubicBezTo>
                  <a:cubicBezTo>
                    <a:pt x="690" y="1450"/>
                    <a:pt x="691" y="1446"/>
                    <a:pt x="691" y="1446"/>
                  </a:cubicBezTo>
                  <a:cubicBezTo>
                    <a:pt x="684" y="1446"/>
                    <a:pt x="692" y="1454"/>
                    <a:pt x="688" y="1456"/>
                  </a:cubicBezTo>
                  <a:cubicBezTo>
                    <a:pt x="687" y="1457"/>
                    <a:pt x="688" y="1454"/>
                    <a:pt x="686" y="1454"/>
                  </a:cubicBezTo>
                  <a:cubicBezTo>
                    <a:pt x="673" y="1454"/>
                    <a:pt x="675" y="1460"/>
                    <a:pt x="668" y="1461"/>
                  </a:cubicBezTo>
                  <a:cubicBezTo>
                    <a:pt x="662" y="1461"/>
                    <a:pt x="670" y="1467"/>
                    <a:pt x="668" y="1466"/>
                  </a:cubicBezTo>
                  <a:cubicBezTo>
                    <a:pt x="663" y="1466"/>
                    <a:pt x="658" y="1460"/>
                    <a:pt x="653" y="1460"/>
                  </a:cubicBezTo>
                  <a:cubicBezTo>
                    <a:pt x="646" y="1461"/>
                    <a:pt x="639" y="1474"/>
                    <a:pt x="627" y="1466"/>
                  </a:cubicBezTo>
                  <a:cubicBezTo>
                    <a:pt x="623" y="1464"/>
                    <a:pt x="625" y="1459"/>
                    <a:pt x="628" y="1457"/>
                  </a:cubicBezTo>
                  <a:cubicBezTo>
                    <a:pt x="635" y="1453"/>
                    <a:pt x="632" y="1436"/>
                    <a:pt x="645" y="1446"/>
                  </a:cubicBezTo>
                  <a:cubicBezTo>
                    <a:pt x="645" y="1446"/>
                    <a:pt x="649" y="1448"/>
                    <a:pt x="649" y="1448"/>
                  </a:cubicBezTo>
                  <a:cubicBezTo>
                    <a:pt x="650" y="1448"/>
                    <a:pt x="645" y="1438"/>
                    <a:pt x="644" y="1437"/>
                  </a:cubicBezTo>
                  <a:cubicBezTo>
                    <a:pt x="630" y="1433"/>
                    <a:pt x="622" y="1476"/>
                    <a:pt x="612" y="1477"/>
                  </a:cubicBezTo>
                  <a:cubicBezTo>
                    <a:pt x="611" y="1477"/>
                    <a:pt x="606" y="1467"/>
                    <a:pt x="604" y="1465"/>
                  </a:cubicBezTo>
                  <a:cubicBezTo>
                    <a:pt x="604" y="1465"/>
                    <a:pt x="607" y="1480"/>
                    <a:pt x="601" y="1472"/>
                  </a:cubicBezTo>
                  <a:cubicBezTo>
                    <a:pt x="600" y="1472"/>
                    <a:pt x="586" y="1467"/>
                    <a:pt x="582" y="1464"/>
                  </a:cubicBezTo>
                  <a:cubicBezTo>
                    <a:pt x="581" y="1463"/>
                    <a:pt x="576" y="1459"/>
                    <a:pt x="575" y="1461"/>
                  </a:cubicBezTo>
                  <a:cubicBezTo>
                    <a:pt x="574" y="1461"/>
                    <a:pt x="575" y="1462"/>
                    <a:pt x="575" y="1462"/>
                  </a:cubicBezTo>
                  <a:cubicBezTo>
                    <a:pt x="581" y="1466"/>
                    <a:pt x="595" y="1483"/>
                    <a:pt x="590" y="1488"/>
                  </a:cubicBezTo>
                  <a:cubicBezTo>
                    <a:pt x="587" y="1490"/>
                    <a:pt x="575" y="1468"/>
                    <a:pt x="568" y="1472"/>
                  </a:cubicBezTo>
                  <a:cubicBezTo>
                    <a:pt x="566" y="1474"/>
                    <a:pt x="571" y="1476"/>
                    <a:pt x="573" y="1478"/>
                  </a:cubicBezTo>
                  <a:cubicBezTo>
                    <a:pt x="578" y="1481"/>
                    <a:pt x="571" y="1484"/>
                    <a:pt x="571" y="1485"/>
                  </a:cubicBezTo>
                  <a:cubicBezTo>
                    <a:pt x="572" y="1487"/>
                    <a:pt x="577" y="1493"/>
                    <a:pt x="576" y="1495"/>
                  </a:cubicBezTo>
                  <a:cubicBezTo>
                    <a:pt x="574" y="1498"/>
                    <a:pt x="564" y="1483"/>
                    <a:pt x="559" y="1485"/>
                  </a:cubicBezTo>
                  <a:cubicBezTo>
                    <a:pt x="558" y="1485"/>
                    <a:pt x="562" y="1488"/>
                    <a:pt x="562" y="1489"/>
                  </a:cubicBezTo>
                  <a:cubicBezTo>
                    <a:pt x="563" y="1492"/>
                    <a:pt x="569" y="1490"/>
                    <a:pt x="568" y="1492"/>
                  </a:cubicBezTo>
                  <a:cubicBezTo>
                    <a:pt x="567" y="1499"/>
                    <a:pt x="551" y="1494"/>
                    <a:pt x="551" y="1487"/>
                  </a:cubicBezTo>
                  <a:cubicBezTo>
                    <a:pt x="551" y="1483"/>
                    <a:pt x="555" y="1484"/>
                    <a:pt x="552" y="1483"/>
                  </a:cubicBezTo>
                  <a:cubicBezTo>
                    <a:pt x="552" y="1483"/>
                    <a:pt x="551" y="1483"/>
                    <a:pt x="551" y="1482"/>
                  </a:cubicBezTo>
                  <a:cubicBezTo>
                    <a:pt x="550" y="1481"/>
                    <a:pt x="555" y="1478"/>
                    <a:pt x="553" y="1478"/>
                  </a:cubicBezTo>
                  <a:cubicBezTo>
                    <a:pt x="539" y="1476"/>
                    <a:pt x="545" y="1493"/>
                    <a:pt x="538" y="1495"/>
                  </a:cubicBezTo>
                  <a:cubicBezTo>
                    <a:pt x="535" y="1496"/>
                    <a:pt x="500" y="1495"/>
                    <a:pt x="510" y="1500"/>
                  </a:cubicBezTo>
                  <a:cubicBezTo>
                    <a:pt x="513" y="1501"/>
                    <a:pt x="500" y="1508"/>
                    <a:pt x="501" y="1505"/>
                  </a:cubicBezTo>
                  <a:cubicBezTo>
                    <a:pt x="502" y="1504"/>
                    <a:pt x="503" y="1502"/>
                    <a:pt x="502" y="1503"/>
                  </a:cubicBezTo>
                  <a:cubicBezTo>
                    <a:pt x="497" y="1505"/>
                    <a:pt x="499" y="1509"/>
                    <a:pt x="498" y="1509"/>
                  </a:cubicBezTo>
                  <a:cubicBezTo>
                    <a:pt x="488" y="1511"/>
                    <a:pt x="499" y="1500"/>
                    <a:pt x="494" y="1501"/>
                  </a:cubicBezTo>
                  <a:cubicBezTo>
                    <a:pt x="489" y="1501"/>
                    <a:pt x="493" y="1508"/>
                    <a:pt x="489" y="1510"/>
                  </a:cubicBezTo>
                  <a:cubicBezTo>
                    <a:pt x="488" y="1511"/>
                    <a:pt x="486" y="1510"/>
                    <a:pt x="485" y="1510"/>
                  </a:cubicBezTo>
                  <a:cubicBezTo>
                    <a:pt x="473" y="1507"/>
                    <a:pt x="487" y="1507"/>
                    <a:pt x="481" y="1504"/>
                  </a:cubicBezTo>
                  <a:cubicBezTo>
                    <a:pt x="477" y="1502"/>
                    <a:pt x="469" y="1515"/>
                    <a:pt x="463" y="1516"/>
                  </a:cubicBezTo>
                  <a:cubicBezTo>
                    <a:pt x="462" y="1516"/>
                    <a:pt x="457" y="1508"/>
                    <a:pt x="453" y="1508"/>
                  </a:cubicBezTo>
                  <a:cubicBezTo>
                    <a:pt x="453" y="1508"/>
                    <a:pt x="452" y="1509"/>
                    <a:pt x="452" y="1509"/>
                  </a:cubicBezTo>
                  <a:cubicBezTo>
                    <a:pt x="453" y="1516"/>
                    <a:pt x="457" y="1515"/>
                    <a:pt x="458" y="1516"/>
                  </a:cubicBezTo>
                  <a:cubicBezTo>
                    <a:pt x="459" y="1518"/>
                    <a:pt x="447" y="1533"/>
                    <a:pt x="441" y="1532"/>
                  </a:cubicBezTo>
                  <a:cubicBezTo>
                    <a:pt x="440" y="1531"/>
                    <a:pt x="446" y="1525"/>
                    <a:pt x="445" y="1523"/>
                  </a:cubicBezTo>
                  <a:cubicBezTo>
                    <a:pt x="442" y="1519"/>
                    <a:pt x="438" y="1530"/>
                    <a:pt x="433" y="1531"/>
                  </a:cubicBezTo>
                  <a:cubicBezTo>
                    <a:pt x="432" y="1531"/>
                    <a:pt x="438" y="1521"/>
                    <a:pt x="436" y="1520"/>
                  </a:cubicBezTo>
                  <a:cubicBezTo>
                    <a:pt x="422" y="1517"/>
                    <a:pt x="382" y="1545"/>
                    <a:pt x="354" y="1537"/>
                  </a:cubicBezTo>
                  <a:cubicBezTo>
                    <a:pt x="353" y="1537"/>
                    <a:pt x="366" y="1520"/>
                    <a:pt x="363" y="1520"/>
                  </a:cubicBezTo>
                  <a:cubicBezTo>
                    <a:pt x="355" y="1520"/>
                    <a:pt x="332" y="1572"/>
                    <a:pt x="305" y="1558"/>
                  </a:cubicBezTo>
                  <a:cubicBezTo>
                    <a:pt x="304" y="1557"/>
                    <a:pt x="317" y="1550"/>
                    <a:pt x="319" y="1550"/>
                  </a:cubicBezTo>
                  <a:cubicBezTo>
                    <a:pt x="329" y="1547"/>
                    <a:pt x="342" y="1540"/>
                    <a:pt x="345" y="1527"/>
                  </a:cubicBezTo>
                  <a:cubicBezTo>
                    <a:pt x="346" y="1524"/>
                    <a:pt x="337" y="1538"/>
                    <a:pt x="336" y="1540"/>
                  </a:cubicBezTo>
                  <a:cubicBezTo>
                    <a:pt x="335" y="1541"/>
                    <a:pt x="326" y="1537"/>
                    <a:pt x="326" y="1539"/>
                  </a:cubicBezTo>
                  <a:cubicBezTo>
                    <a:pt x="325" y="1539"/>
                    <a:pt x="325" y="1543"/>
                    <a:pt x="324" y="1541"/>
                  </a:cubicBezTo>
                  <a:cubicBezTo>
                    <a:pt x="319" y="1533"/>
                    <a:pt x="338" y="1531"/>
                    <a:pt x="338" y="1525"/>
                  </a:cubicBezTo>
                  <a:cubicBezTo>
                    <a:pt x="338" y="1523"/>
                    <a:pt x="330" y="1523"/>
                    <a:pt x="329" y="1523"/>
                  </a:cubicBezTo>
                  <a:cubicBezTo>
                    <a:pt x="308" y="1524"/>
                    <a:pt x="323" y="1518"/>
                    <a:pt x="317" y="1512"/>
                  </a:cubicBezTo>
                  <a:cubicBezTo>
                    <a:pt x="317" y="1511"/>
                    <a:pt x="316" y="1513"/>
                    <a:pt x="315" y="1514"/>
                  </a:cubicBezTo>
                  <a:cubicBezTo>
                    <a:pt x="314" y="1517"/>
                    <a:pt x="305" y="1513"/>
                    <a:pt x="304" y="1509"/>
                  </a:cubicBezTo>
                  <a:cubicBezTo>
                    <a:pt x="300" y="1500"/>
                    <a:pt x="325" y="1485"/>
                    <a:pt x="323" y="1480"/>
                  </a:cubicBezTo>
                  <a:cubicBezTo>
                    <a:pt x="322" y="1478"/>
                    <a:pt x="290" y="1497"/>
                    <a:pt x="284" y="1498"/>
                  </a:cubicBezTo>
                  <a:cubicBezTo>
                    <a:pt x="280" y="1499"/>
                    <a:pt x="273" y="1505"/>
                    <a:pt x="272" y="1501"/>
                  </a:cubicBezTo>
                  <a:cubicBezTo>
                    <a:pt x="272" y="1496"/>
                    <a:pt x="288" y="1493"/>
                    <a:pt x="283" y="1490"/>
                  </a:cubicBezTo>
                  <a:cubicBezTo>
                    <a:pt x="282" y="1489"/>
                    <a:pt x="265" y="1498"/>
                    <a:pt x="266" y="1495"/>
                  </a:cubicBezTo>
                  <a:cubicBezTo>
                    <a:pt x="266" y="1492"/>
                    <a:pt x="283" y="1475"/>
                    <a:pt x="282" y="1474"/>
                  </a:cubicBezTo>
                  <a:cubicBezTo>
                    <a:pt x="281" y="1472"/>
                    <a:pt x="257" y="1477"/>
                    <a:pt x="251" y="1477"/>
                  </a:cubicBezTo>
                  <a:cubicBezTo>
                    <a:pt x="238" y="1475"/>
                    <a:pt x="226" y="1456"/>
                    <a:pt x="220" y="1455"/>
                  </a:cubicBezTo>
                  <a:cubicBezTo>
                    <a:pt x="205" y="1453"/>
                    <a:pt x="220" y="1464"/>
                    <a:pt x="207" y="1461"/>
                  </a:cubicBezTo>
                  <a:cubicBezTo>
                    <a:pt x="199" y="1460"/>
                    <a:pt x="213" y="1447"/>
                    <a:pt x="211" y="1440"/>
                  </a:cubicBezTo>
                  <a:cubicBezTo>
                    <a:pt x="211" y="1440"/>
                    <a:pt x="201" y="1447"/>
                    <a:pt x="201" y="1447"/>
                  </a:cubicBezTo>
                  <a:cubicBezTo>
                    <a:pt x="193" y="1449"/>
                    <a:pt x="199" y="1460"/>
                    <a:pt x="188" y="1461"/>
                  </a:cubicBezTo>
                  <a:cubicBezTo>
                    <a:pt x="184" y="1461"/>
                    <a:pt x="189" y="1458"/>
                    <a:pt x="189" y="1456"/>
                  </a:cubicBezTo>
                  <a:cubicBezTo>
                    <a:pt x="187" y="1451"/>
                    <a:pt x="188" y="1450"/>
                    <a:pt x="188" y="1449"/>
                  </a:cubicBezTo>
                  <a:cubicBezTo>
                    <a:pt x="185" y="1446"/>
                    <a:pt x="181" y="1448"/>
                    <a:pt x="177" y="1448"/>
                  </a:cubicBezTo>
                  <a:cubicBezTo>
                    <a:pt x="177" y="1448"/>
                    <a:pt x="177" y="1448"/>
                    <a:pt x="177" y="1448"/>
                  </a:cubicBezTo>
                  <a:cubicBezTo>
                    <a:pt x="177" y="1448"/>
                    <a:pt x="177" y="1448"/>
                    <a:pt x="177" y="1448"/>
                  </a:cubicBezTo>
                  <a:cubicBezTo>
                    <a:pt x="177" y="1448"/>
                    <a:pt x="177" y="1448"/>
                    <a:pt x="176" y="1448"/>
                  </a:cubicBezTo>
                  <a:cubicBezTo>
                    <a:pt x="175" y="1448"/>
                    <a:pt x="174" y="1448"/>
                    <a:pt x="173" y="1447"/>
                  </a:cubicBezTo>
                  <a:cubicBezTo>
                    <a:pt x="170" y="1444"/>
                    <a:pt x="177" y="1444"/>
                    <a:pt x="177" y="1444"/>
                  </a:cubicBezTo>
                  <a:cubicBezTo>
                    <a:pt x="179" y="1442"/>
                    <a:pt x="169" y="1438"/>
                    <a:pt x="168" y="1436"/>
                  </a:cubicBezTo>
                  <a:cubicBezTo>
                    <a:pt x="167" y="1433"/>
                    <a:pt x="181" y="1427"/>
                    <a:pt x="179" y="1425"/>
                  </a:cubicBezTo>
                  <a:cubicBezTo>
                    <a:pt x="177" y="1423"/>
                    <a:pt x="161" y="1411"/>
                    <a:pt x="165" y="1406"/>
                  </a:cubicBezTo>
                  <a:cubicBezTo>
                    <a:pt x="166" y="1404"/>
                    <a:pt x="174" y="1408"/>
                    <a:pt x="175" y="1405"/>
                  </a:cubicBezTo>
                  <a:cubicBezTo>
                    <a:pt x="175" y="1403"/>
                    <a:pt x="170" y="1404"/>
                    <a:pt x="169" y="1403"/>
                  </a:cubicBezTo>
                  <a:cubicBezTo>
                    <a:pt x="165" y="1398"/>
                    <a:pt x="180" y="1400"/>
                    <a:pt x="173" y="1396"/>
                  </a:cubicBezTo>
                  <a:cubicBezTo>
                    <a:pt x="170" y="1394"/>
                    <a:pt x="162" y="1379"/>
                    <a:pt x="163" y="1377"/>
                  </a:cubicBezTo>
                  <a:cubicBezTo>
                    <a:pt x="164" y="1377"/>
                    <a:pt x="169" y="1380"/>
                    <a:pt x="170" y="1380"/>
                  </a:cubicBezTo>
                  <a:cubicBezTo>
                    <a:pt x="173" y="1381"/>
                    <a:pt x="177" y="1381"/>
                    <a:pt x="179" y="1378"/>
                  </a:cubicBezTo>
                  <a:cubicBezTo>
                    <a:pt x="185" y="1370"/>
                    <a:pt x="164" y="1370"/>
                    <a:pt x="186" y="1357"/>
                  </a:cubicBezTo>
                  <a:cubicBezTo>
                    <a:pt x="188" y="1356"/>
                    <a:pt x="184" y="1352"/>
                    <a:pt x="183" y="1352"/>
                  </a:cubicBezTo>
                  <a:cubicBezTo>
                    <a:pt x="175" y="1351"/>
                    <a:pt x="186" y="1345"/>
                    <a:pt x="186" y="1341"/>
                  </a:cubicBezTo>
                  <a:cubicBezTo>
                    <a:pt x="186" y="1334"/>
                    <a:pt x="178" y="1332"/>
                    <a:pt x="176" y="1327"/>
                  </a:cubicBezTo>
                  <a:cubicBezTo>
                    <a:pt x="175" y="1325"/>
                    <a:pt x="185" y="1328"/>
                    <a:pt x="187" y="1327"/>
                  </a:cubicBezTo>
                  <a:cubicBezTo>
                    <a:pt x="191" y="1323"/>
                    <a:pt x="174" y="1316"/>
                    <a:pt x="174" y="1316"/>
                  </a:cubicBezTo>
                  <a:cubicBezTo>
                    <a:pt x="174" y="1315"/>
                    <a:pt x="189" y="1319"/>
                    <a:pt x="189" y="1316"/>
                  </a:cubicBezTo>
                  <a:cubicBezTo>
                    <a:pt x="190" y="1312"/>
                    <a:pt x="175" y="1308"/>
                    <a:pt x="177" y="1305"/>
                  </a:cubicBezTo>
                  <a:cubicBezTo>
                    <a:pt x="181" y="1298"/>
                    <a:pt x="201" y="1318"/>
                    <a:pt x="200" y="1310"/>
                  </a:cubicBezTo>
                  <a:cubicBezTo>
                    <a:pt x="200" y="1309"/>
                    <a:pt x="197" y="1307"/>
                    <a:pt x="197" y="1307"/>
                  </a:cubicBezTo>
                  <a:cubicBezTo>
                    <a:pt x="180" y="1294"/>
                    <a:pt x="188" y="1284"/>
                    <a:pt x="182" y="1280"/>
                  </a:cubicBezTo>
                  <a:cubicBezTo>
                    <a:pt x="181" y="1279"/>
                    <a:pt x="179" y="1278"/>
                    <a:pt x="179" y="1277"/>
                  </a:cubicBezTo>
                  <a:cubicBezTo>
                    <a:pt x="176" y="1273"/>
                    <a:pt x="176" y="1252"/>
                    <a:pt x="170" y="1250"/>
                  </a:cubicBezTo>
                  <a:cubicBezTo>
                    <a:pt x="166" y="1248"/>
                    <a:pt x="159" y="1246"/>
                    <a:pt x="158" y="1243"/>
                  </a:cubicBezTo>
                  <a:cubicBezTo>
                    <a:pt x="153" y="1225"/>
                    <a:pt x="170" y="1218"/>
                    <a:pt x="170" y="1202"/>
                  </a:cubicBezTo>
                  <a:cubicBezTo>
                    <a:pt x="170" y="1200"/>
                    <a:pt x="167" y="1205"/>
                    <a:pt x="165" y="1206"/>
                  </a:cubicBezTo>
                  <a:cubicBezTo>
                    <a:pt x="164" y="1207"/>
                    <a:pt x="166" y="1199"/>
                    <a:pt x="166" y="1197"/>
                  </a:cubicBezTo>
                  <a:cubicBezTo>
                    <a:pt x="168" y="1187"/>
                    <a:pt x="163" y="1191"/>
                    <a:pt x="160" y="1187"/>
                  </a:cubicBezTo>
                  <a:cubicBezTo>
                    <a:pt x="159" y="1186"/>
                    <a:pt x="163" y="1181"/>
                    <a:pt x="160" y="1180"/>
                  </a:cubicBezTo>
                  <a:cubicBezTo>
                    <a:pt x="158" y="1180"/>
                    <a:pt x="155" y="1190"/>
                    <a:pt x="156" y="1191"/>
                  </a:cubicBezTo>
                  <a:cubicBezTo>
                    <a:pt x="156" y="1194"/>
                    <a:pt x="153" y="1187"/>
                    <a:pt x="154" y="1185"/>
                  </a:cubicBezTo>
                  <a:cubicBezTo>
                    <a:pt x="157" y="1177"/>
                    <a:pt x="151" y="1182"/>
                    <a:pt x="148" y="1181"/>
                  </a:cubicBezTo>
                  <a:cubicBezTo>
                    <a:pt x="147" y="1181"/>
                    <a:pt x="150" y="1175"/>
                    <a:pt x="150" y="1174"/>
                  </a:cubicBezTo>
                  <a:cubicBezTo>
                    <a:pt x="151" y="1169"/>
                    <a:pt x="147" y="1164"/>
                    <a:pt x="148" y="1160"/>
                  </a:cubicBezTo>
                  <a:cubicBezTo>
                    <a:pt x="148" y="1157"/>
                    <a:pt x="155" y="1155"/>
                    <a:pt x="155" y="1154"/>
                  </a:cubicBezTo>
                  <a:cubicBezTo>
                    <a:pt x="155" y="1150"/>
                    <a:pt x="142" y="1157"/>
                    <a:pt x="142" y="1152"/>
                  </a:cubicBezTo>
                  <a:cubicBezTo>
                    <a:pt x="142" y="1143"/>
                    <a:pt x="153" y="1116"/>
                    <a:pt x="158" y="1112"/>
                  </a:cubicBezTo>
                  <a:cubicBezTo>
                    <a:pt x="161" y="1110"/>
                    <a:pt x="167" y="1118"/>
                    <a:pt x="170" y="1113"/>
                  </a:cubicBezTo>
                  <a:cubicBezTo>
                    <a:pt x="177" y="1103"/>
                    <a:pt x="171" y="1094"/>
                    <a:pt x="176" y="1087"/>
                  </a:cubicBezTo>
                  <a:cubicBezTo>
                    <a:pt x="178" y="1082"/>
                    <a:pt x="197" y="1091"/>
                    <a:pt x="198" y="1089"/>
                  </a:cubicBezTo>
                  <a:cubicBezTo>
                    <a:pt x="198" y="1087"/>
                    <a:pt x="177" y="1069"/>
                    <a:pt x="181" y="1062"/>
                  </a:cubicBezTo>
                  <a:cubicBezTo>
                    <a:pt x="184" y="1055"/>
                    <a:pt x="199" y="1069"/>
                    <a:pt x="204" y="1063"/>
                  </a:cubicBezTo>
                  <a:cubicBezTo>
                    <a:pt x="205" y="1062"/>
                    <a:pt x="200" y="1062"/>
                    <a:pt x="200" y="1061"/>
                  </a:cubicBezTo>
                  <a:cubicBezTo>
                    <a:pt x="197" y="1059"/>
                    <a:pt x="208" y="1057"/>
                    <a:pt x="210" y="1057"/>
                  </a:cubicBezTo>
                  <a:cubicBezTo>
                    <a:pt x="220" y="1053"/>
                    <a:pt x="212" y="1069"/>
                    <a:pt x="223" y="1072"/>
                  </a:cubicBezTo>
                  <a:cubicBezTo>
                    <a:pt x="228" y="1074"/>
                    <a:pt x="223" y="1060"/>
                    <a:pt x="228" y="1058"/>
                  </a:cubicBezTo>
                  <a:cubicBezTo>
                    <a:pt x="230" y="1057"/>
                    <a:pt x="254" y="1055"/>
                    <a:pt x="256" y="1052"/>
                  </a:cubicBezTo>
                  <a:cubicBezTo>
                    <a:pt x="268" y="1040"/>
                    <a:pt x="236" y="1032"/>
                    <a:pt x="242" y="1024"/>
                  </a:cubicBezTo>
                  <a:cubicBezTo>
                    <a:pt x="244" y="1022"/>
                    <a:pt x="259" y="1031"/>
                    <a:pt x="261" y="1031"/>
                  </a:cubicBezTo>
                  <a:cubicBezTo>
                    <a:pt x="263" y="1032"/>
                    <a:pt x="258" y="1029"/>
                    <a:pt x="257" y="1027"/>
                  </a:cubicBezTo>
                  <a:cubicBezTo>
                    <a:pt x="253" y="1024"/>
                    <a:pt x="246" y="1020"/>
                    <a:pt x="251" y="1015"/>
                  </a:cubicBezTo>
                  <a:cubicBezTo>
                    <a:pt x="254" y="1012"/>
                    <a:pt x="262" y="1026"/>
                    <a:pt x="262" y="1026"/>
                  </a:cubicBezTo>
                  <a:cubicBezTo>
                    <a:pt x="269" y="1023"/>
                    <a:pt x="273" y="993"/>
                    <a:pt x="278" y="988"/>
                  </a:cubicBezTo>
                  <a:cubicBezTo>
                    <a:pt x="283" y="983"/>
                    <a:pt x="291" y="1001"/>
                    <a:pt x="293" y="1001"/>
                  </a:cubicBezTo>
                  <a:cubicBezTo>
                    <a:pt x="309" y="996"/>
                    <a:pt x="303" y="978"/>
                    <a:pt x="306" y="974"/>
                  </a:cubicBezTo>
                  <a:cubicBezTo>
                    <a:pt x="311" y="970"/>
                    <a:pt x="312" y="983"/>
                    <a:pt x="315" y="980"/>
                  </a:cubicBezTo>
                  <a:cubicBezTo>
                    <a:pt x="317" y="979"/>
                    <a:pt x="314" y="970"/>
                    <a:pt x="321" y="966"/>
                  </a:cubicBezTo>
                  <a:cubicBezTo>
                    <a:pt x="326" y="963"/>
                    <a:pt x="345" y="964"/>
                    <a:pt x="352" y="957"/>
                  </a:cubicBezTo>
                  <a:cubicBezTo>
                    <a:pt x="356" y="952"/>
                    <a:pt x="344" y="941"/>
                    <a:pt x="349" y="937"/>
                  </a:cubicBezTo>
                  <a:cubicBezTo>
                    <a:pt x="353" y="934"/>
                    <a:pt x="364" y="944"/>
                    <a:pt x="369" y="940"/>
                  </a:cubicBezTo>
                  <a:cubicBezTo>
                    <a:pt x="373" y="938"/>
                    <a:pt x="367" y="934"/>
                    <a:pt x="367" y="932"/>
                  </a:cubicBezTo>
                  <a:cubicBezTo>
                    <a:pt x="365" y="929"/>
                    <a:pt x="387" y="909"/>
                    <a:pt x="391" y="905"/>
                  </a:cubicBezTo>
                  <a:cubicBezTo>
                    <a:pt x="393" y="903"/>
                    <a:pt x="397" y="909"/>
                    <a:pt x="399" y="907"/>
                  </a:cubicBezTo>
                  <a:cubicBezTo>
                    <a:pt x="399" y="907"/>
                    <a:pt x="398" y="905"/>
                    <a:pt x="398" y="904"/>
                  </a:cubicBezTo>
                  <a:cubicBezTo>
                    <a:pt x="391" y="886"/>
                    <a:pt x="428" y="874"/>
                    <a:pt x="435" y="865"/>
                  </a:cubicBezTo>
                  <a:cubicBezTo>
                    <a:pt x="439" y="859"/>
                    <a:pt x="446" y="839"/>
                    <a:pt x="456" y="828"/>
                  </a:cubicBezTo>
                  <a:cubicBezTo>
                    <a:pt x="457" y="826"/>
                    <a:pt x="450" y="826"/>
                    <a:pt x="452" y="823"/>
                  </a:cubicBezTo>
                  <a:cubicBezTo>
                    <a:pt x="456" y="820"/>
                    <a:pt x="460" y="826"/>
                    <a:pt x="463" y="826"/>
                  </a:cubicBezTo>
                  <a:cubicBezTo>
                    <a:pt x="467" y="826"/>
                    <a:pt x="465" y="817"/>
                    <a:pt x="469" y="816"/>
                  </a:cubicBezTo>
                  <a:cubicBezTo>
                    <a:pt x="475" y="814"/>
                    <a:pt x="497" y="806"/>
                    <a:pt x="502" y="807"/>
                  </a:cubicBezTo>
                  <a:cubicBezTo>
                    <a:pt x="513" y="809"/>
                    <a:pt x="509" y="827"/>
                    <a:pt x="523" y="820"/>
                  </a:cubicBezTo>
                  <a:cubicBezTo>
                    <a:pt x="539" y="814"/>
                    <a:pt x="509" y="804"/>
                    <a:pt x="510" y="799"/>
                  </a:cubicBezTo>
                  <a:cubicBezTo>
                    <a:pt x="513" y="788"/>
                    <a:pt x="528" y="805"/>
                    <a:pt x="532" y="801"/>
                  </a:cubicBezTo>
                  <a:cubicBezTo>
                    <a:pt x="543" y="792"/>
                    <a:pt x="514" y="777"/>
                    <a:pt x="512" y="776"/>
                  </a:cubicBezTo>
                  <a:cubicBezTo>
                    <a:pt x="509" y="772"/>
                    <a:pt x="516" y="769"/>
                    <a:pt x="517" y="768"/>
                  </a:cubicBezTo>
                  <a:cubicBezTo>
                    <a:pt x="524" y="761"/>
                    <a:pt x="521" y="746"/>
                    <a:pt x="518" y="738"/>
                  </a:cubicBezTo>
                  <a:cubicBezTo>
                    <a:pt x="518" y="738"/>
                    <a:pt x="517" y="737"/>
                    <a:pt x="517" y="736"/>
                  </a:cubicBezTo>
                  <a:cubicBezTo>
                    <a:pt x="520" y="732"/>
                    <a:pt x="528" y="731"/>
                    <a:pt x="525" y="721"/>
                  </a:cubicBezTo>
                  <a:cubicBezTo>
                    <a:pt x="522" y="712"/>
                    <a:pt x="486" y="696"/>
                    <a:pt x="476" y="694"/>
                  </a:cubicBezTo>
                  <a:cubicBezTo>
                    <a:pt x="472" y="693"/>
                    <a:pt x="466" y="701"/>
                    <a:pt x="464" y="697"/>
                  </a:cubicBezTo>
                  <a:cubicBezTo>
                    <a:pt x="461" y="694"/>
                    <a:pt x="451" y="681"/>
                    <a:pt x="454" y="674"/>
                  </a:cubicBezTo>
                  <a:cubicBezTo>
                    <a:pt x="455" y="670"/>
                    <a:pt x="467" y="657"/>
                    <a:pt x="467" y="656"/>
                  </a:cubicBezTo>
                  <a:cubicBezTo>
                    <a:pt x="467" y="656"/>
                    <a:pt x="467" y="655"/>
                    <a:pt x="466" y="655"/>
                  </a:cubicBezTo>
                  <a:cubicBezTo>
                    <a:pt x="461" y="658"/>
                    <a:pt x="456" y="672"/>
                    <a:pt x="451" y="673"/>
                  </a:cubicBezTo>
                  <a:cubicBezTo>
                    <a:pt x="442" y="676"/>
                    <a:pt x="420" y="674"/>
                    <a:pt x="419" y="671"/>
                  </a:cubicBezTo>
                  <a:cubicBezTo>
                    <a:pt x="409" y="636"/>
                    <a:pt x="373" y="619"/>
                    <a:pt x="373" y="580"/>
                  </a:cubicBezTo>
                  <a:cubicBezTo>
                    <a:pt x="373" y="562"/>
                    <a:pt x="388" y="567"/>
                    <a:pt x="394" y="554"/>
                  </a:cubicBezTo>
                  <a:cubicBezTo>
                    <a:pt x="397" y="547"/>
                    <a:pt x="391" y="534"/>
                    <a:pt x="395" y="526"/>
                  </a:cubicBezTo>
                  <a:cubicBezTo>
                    <a:pt x="395" y="526"/>
                    <a:pt x="404" y="518"/>
                    <a:pt x="404" y="518"/>
                  </a:cubicBezTo>
                  <a:cubicBezTo>
                    <a:pt x="407" y="498"/>
                    <a:pt x="364" y="482"/>
                    <a:pt x="365" y="462"/>
                  </a:cubicBezTo>
                  <a:cubicBezTo>
                    <a:pt x="366" y="453"/>
                    <a:pt x="394" y="432"/>
                    <a:pt x="383" y="423"/>
                  </a:cubicBezTo>
                  <a:cubicBezTo>
                    <a:pt x="374" y="415"/>
                    <a:pt x="359" y="424"/>
                    <a:pt x="353" y="415"/>
                  </a:cubicBezTo>
                  <a:cubicBezTo>
                    <a:pt x="349" y="408"/>
                    <a:pt x="362" y="402"/>
                    <a:pt x="364" y="397"/>
                  </a:cubicBezTo>
                  <a:cubicBezTo>
                    <a:pt x="368" y="383"/>
                    <a:pt x="350" y="365"/>
                    <a:pt x="359" y="350"/>
                  </a:cubicBezTo>
                  <a:cubicBezTo>
                    <a:pt x="362" y="345"/>
                    <a:pt x="370" y="346"/>
                    <a:pt x="374" y="342"/>
                  </a:cubicBezTo>
                  <a:cubicBezTo>
                    <a:pt x="381" y="335"/>
                    <a:pt x="359" y="329"/>
                    <a:pt x="353" y="321"/>
                  </a:cubicBezTo>
                  <a:cubicBezTo>
                    <a:pt x="346" y="314"/>
                    <a:pt x="345" y="308"/>
                    <a:pt x="335" y="310"/>
                  </a:cubicBezTo>
                  <a:cubicBezTo>
                    <a:pt x="333" y="310"/>
                    <a:pt x="330" y="313"/>
                    <a:pt x="328" y="311"/>
                  </a:cubicBezTo>
                  <a:cubicBezTo>
                    <a:pt x="327" y="309"/>
                    <a:pt x="329" y="297"/>
                    <a:pt x="325" y="293"/>
                  </a:cubicBezTo>
                  <a:cubicBezTo>
                    <a:pt x="299" y="262"/>
                    <a:pt x="260" y="273"/>
                    <a:pt x="230" y="256"/>
                  </a:cubicBezTo>
                  <a:cubicBezTo>
                    <a:pt x="218" y="249"/>
                    <a:pt x="134" y="197"/>
                    <a:pt x="128" y="190"/>
                  </a:cubicBezTo>
                  <a:cubicBezTo>
                    <a:pt x="118" y="180"/>
                    <a:pt x="131" y="188"/>
                    <a:pt x="131" y="182"/>
                  </a:cubicBezTo>
                  <a:cubicBezTo>
                    <a:pt x="129" y="175"/>
                    <a:pt x="111" y="170"/>
                    <a:pt x="103" y="166"/>
                  </a:cubicBezTo>
                  <a:cubicBezTo>
                    <a:pt x="101" y="165"/>
                    <a:pt x="99" y="165"/>
                    <a:pt x="99" y="164"/>
                  </a:cubicBezTo>
                  <a:cubicBezTo>
                    <a:pt x="100" y="149"/>
                    <a:pt x="138" y="170"/>
                    <a:pt x="142" y="169"/>
                  </a:cubicBezTo>
                  <a:cubicBezTo>
                    <a:pt x="153" y="166"/>
                    <a:pt x="140" y="149"/>
                    <a:pt x="139" y="145"/>
                  </a:cubicBezTo>
                  <a:cubicBezTo>
                    <a:pt x="139" y="137"/>
                    <a:pt x="157" y="123"/>
                    <a:pt x="165" y="121"/>
                  </a:cubicBezTo>
                  <a:cubicBezTo>
                    <a:pt x="189" y="118"/>
                    <a:pt x="248" y="175"/>
                    <a:pt x="257" y="198"/>
                  </a:cubicBezTo>
                  <a:cubicBezTo>
                    <a:pt x="260" y="205"/>
                    <a:pt x="257" y="214"/>
                    <a:pt x="261" y="219"/>
                  </a:cubicBezTo>
                  <a:cubicBezTo>
                    <a:pt x="263" y="221"/>
                    <a:pt x="266" y="219"/>
                    <a:pt x="269" y="220"/>
                  </a:cubicBezTo>
                  <a:cubicBezTo>
                    <a:pt x="283" y="220"/>
                    <a:pt x="308" y="216"/>
                    <a:pt x="321" y="222"/>
                  </a:cubicBezTo>
                  <a:cubicBezTo>
                    <a:pt x="321" y="222"/>
                    <a:pt x="333" y="232"/>
                    <a:pt x="333" y="232"/>
                  </a:cubicBezTo>
                  <a:cubicBezTo>
                    <a:pt x="338" y="234"/>
                    <a:pt x="372" y="223"/>
                    <a:pt x="377" y="219"/>
                  </a:cubicBezTo>
                  <a:cubicBezTo>
                    <a:pt x="382" y="216"/>
                    <a:pt x="385" y="202"/>
                    <a:pt x="391" y="201"/>
                  </a:cubicBezTo>
                  <a:cubicBezTo>
                    <a:pt x="396" y="199"/>
                    <a:pt x="456" y="220"/>
                    <a:pt x="465" y="224"/>
                  </a:cubicBezTo>
                  <a:cubicBezTo>
                    <a:pt x="468" y="226"/>
                    <a:pt x="485" y="244"/>
                    <a:pt x="486" y="243"/>
                  </a:cubicBezTo>
                  <a:cubicBezTo>
                    <a:pt x="491" y="237"/>
                    <a:pt x="496" y="238"/>
                    <a:pt x="502" y="232"/>
                  </a:cubicBezTo>
                  <a:cubicBezTo>
                    <a:pt x="513" y="222"/>
                    <a:pt x="505" y="199"/>
                    <a:pt x="527" y="193"/>
                  </a:cubicBezTo>
                  <a:cubicBezTo>
                    <a:pt x="540" y="190"/>
                    <a:pt x="562" y="192"/>
                    <a:pt x="566" y="172"/>
                  </a:cubicBezTo>
                  <a:cubicBezTo>
                    <a:pt x="567" y="163"/>
                    <a:pt x="557" y="151"/>
                    <a:pt x="557" y="143"/>
                  </a:cubicBezTo>
                  <a:cubicBezTo>
                    <a:pt x="556" y="129"/>
                    <a:pt x="563" y="124"/>
                    <a:pt x="567" y="113"/>
                  </a:cubicBezTo>
                  <a:cubicBezTo>
                    <a:pt x="570" y="107"/>
                    <a:pt x="565" y="92"/>
                    <a:pt x="569" y="87"/>
                  </a:cubicBezTo>
                  <a:cubicBezTo>
                    <a:pt x="575" y="79"/>
                    <a:pt x="578" y="65"/>
                    <a:pt x="581" y="63"/>
                  </a:cubicBezTo>
                  <a:cubicBezTo>
                    <a:pt x="585" y="58"/>
                    <a:pt x="620" y="28"/>
                    <a:pt x="624" y="26"/>
                  </a:cubicBezTo>
                  <a:cubicBezTo>
                    <a:pt x="643" y="14"/>
                    <a:pt x="667" y="33"/>
                    <a:pt x="686" y="27"/>
                  </a:cubicBezTo>
                  <a:cubicBezTo>
                    <a:pt x="714" y="18"/>
                    <a:pt x="723" y="0"/>
                    <a:pt x="755" y="4"/>
                  </a:cubicBezTo>
                  <a:cubicBezTo>
                    <a:pt x="788" y="57"/>
                    <a:pt x="865" y="46"/>
                    <a:pt x="876" y="95"/>
                  </a:cubicBezTo>
                  <a:cubicBezTo>
                    <a:pt x="880" y="110"/>
                    <a:pt x="794" y="148"/>
                    <a:pt x="845" y="167"/>
                  </a:cubicBezTo>
                  <a:cubicBezTo>
                    <a:pt x="826" y="176"/>
                    <a:pt x="797" y="190"/>
                    <a:pt x="799" y="193"/>
                  </a:cubicBezTo>
                  <a:cubicBezTo>
                    <a:pt x="808" y="201"/>
                    <a:pt x="829" y="182"/>
                    <a:pt x="832" y="203"/>
                  </a:cubicBezTo>
                  <a:cubicBezTo>
                    <a:pt x="836" y="233"/>
                    <a:pt x="792" y="222"/>
                    <a:pt x="813" y="274"/>
                  </a:cubicBezTo>
                  <a:cubicBezTo>
                    <a:pt x="815" y="281"/>
                    <a:pt x="818" y="296"/>
                    <a:pt x="823" y="301"/>
                  </a:cubicBezTo>
                  <a:cubicBezTo>
                    <a:pt x="837" y="313"/>
                    <a:pt x="866" y="308"/>
                    <a:pt x="881" y="319"/>
                  </a:cubicBezTo>
                  <a:cubicBezTo>
                    <a:pt x="894" y="328"/>
                    <a:pt x="900" y="350"/>
                    <a:pt x="912" y="361"/>
                  </a:cubicBezTo>
                  <a:cubicBezTo>
                    <a:pt x="918" y="366"/>
                    <a:pt x="938" y="371"/>
                    <a:pt x="942" y="379"/>
                  </a:cubicBezTo>
                  <a:cubicBezTo>
                    <a:pt x="956" y="408"/>
                    <a:pt x="845" y="470"/>
                    <a:pt x="856" y="506"/>
                  </a:cubicBezTo>
                  <a:cubicBezTo>
                    <a:pt x="859" y="518"/>
                    <a:pt x="875" y="526"/>
                    <a:pt x="881" y="536"/>
                  </a:cubicBezTo>
                  <a:cubicBezTo>
                    <a:pt x="896" y="563"/>
                    <a:pt x="930" y="619"/>
                    <a:pt x="938" y="647"/>
                  </a:cubicBezTo>
                  <a:cubicBezTo>
                    <a:pt x="940" y="652"/>
                    <a:pt x="956" y="689"/>
                    <a:pt x="949" y="692"/>
                  </a:cubicBezTo>
                  <a:cubicBezTo>
                    <a:pt x="944" y="695"/>
                    <a:pt x="921" y="687"/>
                    <a:pt x="915" y="695"/>
                  </a:cubicBezTo>
                  <a:cubicBezTo>
                    <a:pt x="912" y="699"/>
                    <a:pt x="922" y="701"/>
                    <a:pt x="925" y="705"/>
                  </a:cubicBezTo>
                  <a:cubicBezTo>
                    <a:pt x="930" y="711"/>
                    <a:pt x="917" y="715"/>
                    <a:pt x="917" y="715"/>
                  </a:cubicBezTo>
                  <a:cubicBezTo>
                    <a:pt x="915" y="717"/>
                    <a:pt x="917" y="719"/>
                    <a:pt x="917" y="722"/>
                  </a:cubicBezTo>
                  <a:cubicBezTo>
                    <a:pt x="917" y="726"/>
                    <a:pt x="917" y="730"/>
                    <a:pt x="917" y="734"/>
                  </a:cubicBezTo>
                  <a:cubicBezTo>
                    <a:pt x="917" y="740"/>
                    <a:pt x="899" y="755"/>
                    <a:pt x="905" y="758"/>
                  </a:cubicBezTo>
                  <a:cubicBezTo>
                    <a:pt x="917" y="765"/>
                    <a:pt x="930" y="751"/>
                    <a:pt x="927" y="773"/>
                  </a:cubicBezTo>
                  <a:cubicBezTo>
                    <a:pt x="925" y="784"/>
                    <a:pt x="890" y="772"/>
                    <a:pt x="908" y="806"/>
                  </a:cubicBezTo>
                  <a:cubicBezTo>
                    <a:pt x="921" y="831"/>
                    <a:pt x="949" y="818"/>
                    <a:pt x="958" y="844"/>
                  </a:cubicBezTo>
                  <a:cubicBezTo>
                    <a:pt x="961" y="852"/>
                    <a:pt x="939" y="853"/>
                    <a:pt x="937" y="856"/>
                  </a:cubicBezTo>
                  <a:cubicBezTo>
                    <a:pt x="931" y="868"/>
                    <a:pt x="943" y="866"/>
                    <a:pt x="946" y="872"/>
                  </a:cubicBezTo>
                  <a:cubicBezTo>
                    <a:pt x="946" y="872"/>
                    <a:pt x="943" y="884"/>
                    <a:pt x="943" y="884"/>
                  </a:cubicBezTo>
                  <a:cubicBezTo>
                    <a:pt x="949" y="902"/>
                    <a:pt x="991" y="889"/>
                    <a:pt x="994" y="932"/>
                  </a:cubicBezTo>
                  <a:cubicBezTo>
                    <a:pt x="995" y="951"/>
                    <a:pt x="941" y="976"/>
                    <a:pt x="939" y="981"/>
                  </a:cubicBezTo>
                  <a:cubicBezTo>
                    <a:pt x="937" y="987"/>
                    <a:pt x="972" y="1013"/>
                    <a:pt x="977" y="1017"/>
                  </a:cubicBezTo>
                  <a:cubicBezTo>
                    <a:pt x="997" y="1034"/>
                    <a:pt x="1025" y="1041"/>
                    <a:pt x="1046" y="1058"/>
                  </a:cubicBezTo>
                  <a:cubicBezTo>
                    <a:pt x="1054" y="1065"/>
                    <a:pt x="1051" y="1075"/>
                    <a:pt x="1059" y="1083"/>
                  </a:cubicBezTo>
                  <a:cubicBezTo>
                    <a:pt x="1063" y="1088"/>
                    <a:pt x="1078" y="1099"/>
                    <a:pt x="1080" y="1105"/>
                  </a:cubicBezTo>
                  <a:cubicBezTo>
                    <a:pt x="1081" y="1109"/>
                    <a:pt x="1068" y="1124"/>
                    <a:pt x="1067" y="1127"/>
                  </a:cubicBezTo>
                  <a:cubicBezTo>
                    <a:pt x="1048" y="1167"/>
                    <a:pt x="1035" y="1180"/>
                    <a:pt x="1004" y="1210"/>
                  </a:cubicBezTo>
                  <a:cubicBezTo>
                    <a:pt x="986" y="1227"/>
                    <a:pt x="969" y="1245"/>
                    <a:pt x="952" y="1263"/>
                  </a:cubicBezTo>
                  <a:cubicBezTo>
                    <a:pt x="950" y="1260"/>
                    <a:pt x="948" y="1258"/>
                    <a:pt x="946" y="1257"/>
                  </a:cubicBezTo>
                  <a:cubicBezTo>
                    <a:pt x="946" y="1257"/>
                    <a:pt x="940" y="1246"/>
                    <a:pt x="939" y="1244"/>
                  </a:cubicBezTo>
                  <a:cubicBezTo>
                    <a:pt x="939" y="1243"/>
                    <a:pt x="939" y="1243"/>
                    <a:pt x="939" y="1243"/>
                  </a:cubicBezTo>
                  <a:cubicBezTo>
                    <a:pt x="937" y="1239"/>
                    <a:pt x="911" y="1220"/>
                    <a:pt x="910" y="1226"/>
                  </a:cubicBezTo>
                  <a:cubicBezTo>
                    <a:pt x="909" y="1231"/>
                    <a:pt x="940" y="1245"/>
                    <a:pt x="941" y="1254"/>
                  </a:cubicBezTo>
                  <a:cubicBezTo>
                    <a:pt x="942" y="1256"/>
                    <a:pt x="935" y="1253"/>
                    <a:pt x="934" y="1254"/>
                  </a:cubicBezTo>
                  <a:cubicBezTo>
                    <a:pt x="930" y="1254"/>
                    <a:pt x="925" y="1274"/>
                    <a:pt x="926" y="1275"/>
                  </a:cubicBezTo>
                  <a:cubicBezTo>
                    <a:pt x="934" y="1286"/>
                    <a:pt x="936" y="1269"/>
                    <a:pt x="940" y="1269"/>
                  </a:cubicBezTo>
                  <a:cubicBezTo>
                    <a:pt x="942" y="1269"/>
                    <a:pt x="943" y="1271"/>
                    <a:pt x="942" y="1273"/>
                  </a:cubicBezTo>
                  <a:cubicBezTo>
                    <a:pt x="902" y="1314"/>
                    <a:pt x="862" y="1356"/>
                    <a:pt x="817" y="1391"/>
                  </a:cubicBezTo>
                  <a:cubicBezTo>
                    <a:pt x="793" y="1409"/>
                    <a:pt x="761" y="1427"/>
                    <a:pt x="743" y="1451"/>
                  </a:cubicBezTo>
                  <a:close/>
                  <a:moveTo>
                    <a:pt x="995" y="1122"/>
                  </a:moveTo>
                  <a:cubicBezTo>
                    <a:pt x="995" y="1122"/>
                    <a:pt x="996" y="1123"/>
                    <a:pt x="997" y="1124"/>
                  </a:cubicBezTo>
                  <a:cubicBezTo>
                    <a:pt x="997" y="1125"/>
                    <a:pt x="997" y="1125"/>
                    <a:pt x="998" y="1125"/>
                  </a:cubicBezTo>
                  <a:cubicBezTo>
                    <a:pt x="998" y="1126"/>
                    <a:pt x="998" y="1125"/>
                    <a:pt x="997" y="1124"/>
                  </a:cubicBezTo>
                  <a:cubicBezTo>
                    <a:pt x="996" y="1122"/>
                    <a:pt x="996" y="1120"/>
                    <a:pt x="995" y="1119"/>
                  </a:cubicBezTo>
                  <a:cubicBezTo>
                    <a:pt x="995" y="1119"/>
                    <a:pt x="994" y="1118"/>
                    <a:pt x="995" y="1118"/>
                  </a:cubicBezTo>
                  <a:cubicBezTo>
                    <a:pt x="996" y="1116"/>
                    <a:pt x="999" y="1116"/>
                    <a:pt x="1001" y="1115"/>
                  </a:cubicBezTo>
                  <a:cubicBezTo>
                    <a:pt x="1006" y="1114"/>
                    <a:pt x="1026" y="1091"/>
                    <a:pt x="1016" y="1085"/>
                  </a:cubicBezTo>
                  <a:cubicBezTo>
                    <a:pt x="1000" y="1074"/>
                    <a:pt x="1003" y="1097"/>
                    <a:pt x="1000" y="1099"/>
                  </a:cubicBezTo>
                  <a:cubicBezTo>
                    <a:pt x="1000" y="1099"/>
                    <a:pt x="985" y="1095"/>
                    <a:pt x="985" y="1101"/>
                  </a:cubicBezTo>
                  <a:cubicBezTo>
                    <a:pt x="985" y="1106"/>
                    <a:pt x="1001" y="1110"/>
                    <a:pt x="995" y="1113"/>
                  </a:cubicBezTo>
                  <a:cubicBezTo>
                    <a:pt x="992" y="1114"/>
                    <a:pt x="986" y="1118"/>
                    <a:pt x="984" y="1121"/>
                  </a:cubicBezTo>
                  <a:cubicBezTo>
                    <a:pt x="986" y="1122"/>
                    <a:pt x="986" y="1122"/>
                    <a:pt x="986" y="1122"/>
                  </a:cubicBezTo>
                  <a:cubicBezTo>
                    <a:pt x="970" y="1137"/>
                    <a:pt x="989" y="1120"/>
                    <a:pt x="995" y="1122"/>
                  </a:cubicBezTo>
                  <a:close/>
                  <a:moveTo>
                    <a:pt x="412" y="371"/>
                  </a:moveTo>
                  <a:cubicBezTo>
                    <a:pt x="412" y="371"/>
                    <a:pt x="412" y="371"/>
                    <a:pt x="412" y="371"/>
                  </a:cubicBezTo>
                  <a:cubicBezTo>
                    <a:pt x="413" y="371"/>
                    <a:pt x="413" y="375"/>
                    <a:pt x="413" y="375"/>
                  </a:cubicBezTo>
                  <a:cubicBezTo>
                    <a:pt x="413" y="375"/>
                    <a:pt x="415" y="373"/>
                    <a:pt x="415" y="373"/>
                  </a:cubicBezTo>
                  <a:cubicBezTo>
                    <a:pt x="425" y="357"/>
                    <a:pt x="410" y="350"/>
                    <a:pt x="412" y="371"/>
                  </a:cubicBezTo>
                  <a:close/>
                  <a:moveTo>
                    <a:pt x="420" y="349"/>
                  </a:moveTo>
                  <a:cubicBezTo>
                    <a:pt x="419" y="347"/>
                    <a:pt x="403" y="340"/>
                    <a:pt x="403" y="344"/>
                  </a:cubicBezTo>
                  <a:cubicBezTo>
                    <a:pt x="403" y="346"/>
                    <a:pt x="409" y="348"/>
                    <a:pt x="410" y="351"/>
                  </a:cubicBezTo>
                  <a:cubicBezTo>
                    <a:pt x="411" y="351"/>
                    <a:pt x="411" y="351"/>
                    <a:pt x="411" y="351"/>
                  </a:cubicBezTo>
                  <a:cubicBezTo>
                    <a:pt x="412" y="353"/>
                    <a:pt x="421" y="353"/>
                    <a:pt x="423" y="351"/>
                  </a:cubicBezTo>
                  <a:cubicBezTo>
                    <a:pt x="423" y="350"/>
                    <a:pt x="421" y="349"/>
                    <a:pt x="420" y="349"/>
                  </a:cubicBezTo>
                  <a:close/>
                  <a:moveTo>
                    <a:pt x="476" y="539"/>
                  </a:moveTo>
                  <a:cubicBezTo>
                    <a:pt x="474" y="536"/>
                    <a:pt x="465" y="529"/>
                    <a:pt x="465" y="531"/>
                  </a:cubicBezTo>
                  <a:cubicBezTo>
                    <a:pt x="464" y="534"/>
                    <a:pt x="460" y="529"/>
                    <a:pt x="459" y="532"/>
                  </a:cubicBezTo>
                  <a:cubicBezTo>
                    <a:pt x="459" y="534"/>
                    <a:pt x="466" y="537"/>
                    <a:pt x="465" y="541"/>
                  </a:cubicBezTo>
                  <a:cubicBezTo>
                    <a:pt x="465" y="542"/>
                    <a:pt x="464" y="543"/>
                    <a:pt x="463" y="544"/>
                  </a:cubicBezTo>
                  <a:cubicBezTo>
                    <a:pt x="461" y="545"/>
                    <a:pt x="459" y="544"/>
                    <a:pt x="458" y="543"/>
                  </a:cubicBezTo>
                  <a:cubicBezTo>
                    <a:pt x="458" y="543"/>
                    <a:pt x="447" y="546"/>
                    <a:pt x="444" y="542"/>
                  </a:cubicBezTo>
                  <a:cubicBezTo>
                    <a:pt x="440" y="539"/>
                    <a:pt x="444" y="527"/>
                    <a:pt x="439" y="527"/>
                  </a:cubicBezTo>
                  <a:cubicBezTo>
                    <a:pt x="435" y="527"/>
                    <a:pt x="441" y="539"/>
                    <a:pt x="437" y="538"/>
                  </a:cubicBezTo>
                  <a:cubicBezTo>
                    <a:pt x="433" y="537"/>
                    <a:pt x="435" y="540"/>
                    <a:pt x="434" y="542"/>
                  </a:cubicBezTo>
                  <a:cubicBezTo>
                    <a:pt x="430" y="549"/>
                    <a:pt x="435" y="559"/>
                    <a:pt x="437" y="562"/>
                  </a:cubicBezTo>
                  <a:cubicBezTo>
                    <a:pt x="437" y="562"/>
                    <a:pt x="437" y="562"/>
                    <a:pt x="437" y="562"/>
                  </a:cubicBezTo>
                  <a:cubicBezTo>
                    <a:pt x="446" y="570"/>
                    <a:pt x="442" y="546"/>
                    <a:pt x="442" y="545"/>
                  </a:cubicBezTo>
                  <a:cubicBezTo>
                    <a:pt x="443" y="544"/>
                    <a:pt x="446" y="546"/>
                    <a:pt x="447" y="546"/>
                  </a:cubicBezTo>
                  <a:cubicBezTo>
                    <a:pt x="452" y="547"/>
                    <a:pt x="464" y="556"/>
                    <a:pt x="467" y="549"/>
                  </a:cubicBezTo>
                  <a:cubicBezTo>
                    <a:pt x="468" y="546"/>
                    <a:pt x="465" y="544"/>
                    <a:pt x="467" y="541"/>
                  </a:cubicBezTo>
                  <a:cubicBezTo>
                    <a:pt x="467" y="540"/>
                    <a:pt x="479" y="544"/>
                    <a:pt x="476" y="539"/>
                  </a:cubicBezTo>
                  <a:close/>
                  <a:moveTo>
                    <a:pt x="207" y="1278"/>
                  </a:moveTo>
                  <a:cubicBezTo>
                    <a:pt x="205" y="1276"/>
                    <a:pt x="203" y="1273"/>
                    <a:pt x="202" y="1270"/>
                  </a:cubicBezTo>
                  <a:cubicBezTo>
                    <a:pt x="202" y="1270"/>
                    <a:pt x="202" y="1270"/>
                    <a:pt x="202" y="1270"/>
                  </a:cubicBezTo>
                  <a:cubicBezTo>
                    <a:pt x="200" y="1267"/>
                    <a:pt x="197" y="1275"/>
                    <a:pt x="201" y="1281"/>
                  </a:cubicBezTo>
                  <a:cubicBezTo>
                    <a:pt x="202" y="1282"/>
                    <a:pt x="228" y="1298"/>
                    <a:pt x="207" y="1278"/>
                  </a:cubicBezTo>
                  <a:close/>
                  <a:moveTo>
                    <a:pt x="257" y="1386"/>
                  </a:moveTo>
                  <a:cubicBezTo>
                    <a:pt x="256" y="1385"/>
                    <a:pt x="256" y="1385"/>
                    <a:pt x="256" y="1385"/>
                  </a:cubicBezTo>
                  <a:cubicBezTo>
                    <a:pt x="254" y="1382"/>
                    <a:pt x="251" y="1380"/>
                    <a:pt x="248" y="1378"/>
                  </a:cubicBezTo>
                  <a:cubicBezTo>
                    <a:pt x="222" y="1363"/>
                    <a:pt x="263" y="1432"/>
                    <a:pt x="257" y="1386"/>
                  </a:cubicBezTo>
                  <a:close/>
                  <a:moveTo>
                    <a:pt x="905" y="1046"/>
                  </a:moveTo>
                  <a:cubicBezTo>
                    <a:pt x="902" y="1046"/>
                    <a:pt x="860" y="1008"/>
                    <a:pt x="856" y="1005"/>
                  </a:cubicBezTo>
                  <a:cubicBezTo>
                    <a:pt x="856" y="1005"/>
                    <a:pt x="855" y="1004"/>
                    <a:pt x="854" y="1004"/>
                  </a:cubicBezTo>
                  <a:cubicBezTo>
                    <a:pt x="847" y="1003"/>
                    <a:pt x="869" y="1019"/>
                    <a:pt x="864" y="1025"/>
                  </a:cubicBezTo>
                  <a:cubicBezTo>
                    <a:pt x="862" y="1029"/>
                    <a:pt x="846" y="1014"/>
                    <a:pt x="845" y="1016"/>
                  </a:cubicBezTo>
                  <a:cubicBezTo>
                    <a:pt x="844" y="1017"/>
                    <a:pt x="849" y="1021"/>
                    <a:pt x="850" y="1021"/>
                  </a:cubicBezTo>
                  <a:cubicBezTo>
                    <a:pt x="857" y="1027"/>
                    <a:pt x="879" y="1053"/>
                    <a:pt x="879" y="1055"/>
                  </a:cubicBezTo>
                  <a:cubicBezTo>
                    <a:pt x="875" y="1075"/>
                    <a:pt x="897" y="1062"/>
                    <a:pt x="902" y="1064"/>
                  </a:cubicBezTo>
                  <a:cubicBezTo>
                    <a:pt x="903" y="1064"/>
                    <a:pt x="903" y="1084"/>
                    <a:pt x="910" y="1074"/>
                  </a:cubicBezTo>
                  <a:cubicBezTo>
                    <a:pt x="911" y="1073"/>
                    <a:pt x="921" y="1066"/>
                    <a:pt x="921" y="1066"/>
                  </a:cubicBezTo>
                  <a:cubicBezTo>
                    <a:pt x="925" y="1072"/>
                    <a:pt x="919" y="1076"/>
                    <a:pt x="920" y="1078"/>
                  </a:cubicBezTo>
                  <a:cubicBezTo>
                    <a:pt x="922" y="1082"/>
                    <a:pt x="946" y="1107"/>
                    <a:pt x="953" y="1109"/>
                  </a:cubicBezTo>
                  <a:cubicBezTo>
                    <a:pt x="954" y="1110"/>
                    <a:pt x="954" y="1110"/>
                    <a:pt x="954" y="1110"/>
                  </a:cubicBezTo>
                  <a:cubicBezTo>
                    <a:pt x="964" y="1110"/>
                    <a:pt x="944" y="1136"/>
                    <a:pt x="944" y="1135"/>
                  </a:cubicBezTo>
                  <a:cubicBezTo>
                    <a:pt x="948" y="1141"/>
                    <a:pt x="959" y="1118"/>
                    <a:pt x="960" y="1117"/>
                  </a:cubicBezTo>
                  <a:cubicBezTo>
                    <a:pt x="962" y="1116"/>
                    <a:pt x="972" y="1131"/>
                    <a:pt x="975" y="1125"/>
                  </a:cubicBezTo>
                  <a:cubicBezTo>
                    <a:pt x="976" y="1123"/>
                    <a:pt x="968" y="1118"/>
                    <a:pt x="967" y="1118"/>
                  </a:cubicBezTo>
                  <a:cubicBezTo>
                    <a:pt x="962" y="1117"/>
                    <a:pt x="937" y="1082"/>
                    <a:pt x="936" y="1069"/>
                  </a:cubicBezTo>
                  <a:cubicBezTo>
                    <a:pt x="935" y="1065"/>
                    <a:pt x="935" y="1050"/>
                    <a:pt x="936" y="1052"/>
                  </a:cubicBezTo>
                  <a:cubicBezTo>
                    <a:pt x="937" y="1055"/>
                    <a:pt x="950" y="1062"/>
                    <a:pt x="942" y="1052"/>
                  </a:cubicBezTo>
                  <a:cubicBezTo>
                    <a:pt x="940" y="1050"/>
                    <a:pt x="938" y="1048"/>
                    <a:pt x="935" y="1047"/>
                  </a:cubicBezTo>
                  <a:cubicBezTo>
                    <a:pt x="924" y="1042"/>
                    <a:pt x="932" y="1047"/>
                    <a:pt x="929" y="1050"/>
                  </a:cubicBezTo>
                  <a:cubicBezTo>
                    <a:pt x="924" y="1053"/>
                    <a:pt x="920" y="1046"/>
                    <a:pt x="905" y="1046"/>
                  </a:cubicBezTo>
                  <a:close/>
                  <a:moveTo>
                    <a:pt x="908" y="1139"/>
                  </a:moveTo>
                  <a:cubicBezTo>
                    <a:pt x="908" y="1140"/>
                    <a:pt x="908" y="1140"/>
                    <a:pt x="908" y="1140"/>
                  </a:cubicBezTo>
                  <a:cubicBezTo>
                    <a:pt x="909" y="1144"/>
                    <a:pt x="916" y="1138"/>
                    <a:pt x="919" y="1137"/>
                  </a:cubicBezTo>
                  <a:cubicBezTo>
                    <a:pt x="936" y="1132"/>
                    <a:pt x="904" y="1087"/>
                    <a:pt x="895" y="1086"/>
                  </a:cubicBezTo>
                  <a:cubicBezTo>
                    <a:pt x="887" y="1085"/>
                    <a:pt x="898" y="1098"/>
                    <a:pt x="900" y="1100"/>
                  </a:cubicBezTo>
                  <a:cubicBezTo>
                    <a:pt x="903" y="1102"/>
                    <a:pt x="906" y="1116"/>
                    <a:pt x="906" y="1118"/>
                  </a:cubicBezTo>
                  <a:cubicBezTo>
                    <a:pt x="905" y="1119"/>
                    <a:pt x="897" y="1115"/>
                    <a:pt x="897" y="1115"/>
                  </a:cubicBezTo>
                  <a:cubicBezTo>
                    <a:pt x="897" y="1117"/>
                    <a:pt x="900" y="1117"/>
                    <a:pt x="901" y="1118"/>
                  </a:cubicBezTo>
                  <a:cubicBezTo>
                    <a:pt x="904" y="1126"/>
                    <a:pt x="894" y="1116"/>
                    <a:pt x="892" y="1114"/>
                  </a:cubicBezTo>
                  <a:cubicBezTo>
                    <a:pt x="891" y="1113"/>
                    <a:pt x="890" y="1106"/>
                    <a:pt x="889" y="1107"/>
                  </a:cubicBezTo>
                  <a:cubicBezTo>
                    <a:pt x="876" y="1115"/>
                    <a:pt x="903" y="1123"/>
                    <a:pt x="904" y="1132"/>
                  </a:cubicBezTo>
                  <a:cubicBezTo>
                    <a:pt x="905" y="1134"/>
                    <a:pt x="907" y="1137"/>
                    <a:pt x="908" y="1139"/>
                  </a:cubicBezTo>
                  <a:close/>
                  <a:moveTo>
                    <a:pt x="900" y="1142"/>
                  </a:moveTo>
                  <a:cubicBezTo>
                    <a:pt x="899" y="1137"/>
                    <a:pt x="894" y="1131"/>
                    <a:pt x="889" y="1133"/>
                  </a:cubicBezTo>
                  <a:cubicBezTo>
                    <a:pt x="886" y="1134"/>
                    <a:pt x="885" y="1143"/>
                    <a:pt x="883" y="1142"/>
                  </a:cubicBezTo>
                  <a:cubicBezTo>
                    <a:pt x="880" y="1140"/>
                    <a:pt x="880" y="1127"/>
                    <a:pt x="879" y="1125"/>
                  </a:cubicBezTo>
                  <a:cubicBezTo>
                    <a:pt x="879" y="1125"/>
                    <a:pt x="879" y="1125"/>
                    <a:pt x="879" y="1125"/>
                  </a:cubicBezTo>
                  <a:cubicBezTo>
                    <a:pt x="876" y="1122"/>
                    <a:pt x="878" y="1121"/>
                    <a:pt x="873" y="1123"/>
                  </a:cubicBezTo>
                  <a:cubicBezTo>
                    <a:pt x="864" y="1129"/>
                    <a:pt x="868" y="1133"/>
                    <a:pt x="873" y="1139"/>
                  </a:cubicBezTo>
                  <a:cubicBezTo>
                    <a:pt x="873" y="1140"/>
                    <a:pt x="861" y="1136"/>
                    <a:pt x="863" y="1140"/>
                  </a:cubicBezTo>
                  <a:cubicBezTo>
                    <a:pt x="865" y="1144"/>
                    <a:pt x="870" y="1146"/>
                    <a:pt x="875" y="1145"/>
                  </a:cubicBezTo>
                  <a:cubicBezTo>
                    <a:pt x="880" y="1144"/>
                    <a:pt x="893" y="1150"/>
                    <a:pt x="892" y="1140"/>
                  </a:cubicBezTo>
                  <a:cubicBezTo>
                    <a:pt x="892" y="1134"/>
                    <a:pt x="901" y="1146"/>
                    <a:pt x="900" y="1142"/>
                  </a:cubicBezTo>
                  <a:close/>
                  <a:moveTo>
                    <a:pt x="818" y="1143"/>
                  </a:moveTo>
                  <a:cubicBezTo>
                    <a:pt x="817" y="1145"/>
                    <a:pt x="810" y="1144"/>
                    <a:pt x="810" y="1144"/>
                  </a:cubicBezTo>
                  <a:cubicBezTo>
                    <a:pt x="810" y="1152"/>
                    <a:pt x="851" y="1166"/>
                    <a:pt x="853" y="1164"/>
                  </a:cubicBezTo>
                  <a:cubicBezTo>
                    <a:pt x="858" y="1162"/>
                    <a:pt x="824" y="1139"/>
                    <a:pt x="824" y="1138"/>
                  </a:cubicBezTo>
                  <a:cubicBezTo>
                    <a:pt x="824" y="1137"/>
                    <a:pt x="820" y="1136"/>
                    <a:pt x="821" y="1135"/>
                  </a:cubicBezTo>
                  <a:cubicBezTo>
                    <a:pt x="821" y="1135"/>
                    <a:pt x="821" y="1132"/>
                    <a:pt x="822" y="1132"/>
                  </a:cubicBezTo>
                  <a:cubicBezTo>
                    <a:pt x="824" y="1130"/>
                    <a:pt x="825" y="1133"/>
                    <a:pt x="827" y="1130"/>
                  </a:cubicBezTo>
                  <a:cubicBezTo>
                    <a:pt x="829" y="1127"/>
                    <a:pt x="831" y="1127"/>
                    <a:pt x="832" y="1126"/>
                  </a:cubicBezTo>
                  <a:cubicBezTo>
                    <a:pt x="837" y="1120"/>
                    <a:pt x="828" y="1120"/>
                    <a:pt x="829" y="1112"/>
                  </a:cubicBezTo>
                  <a:cubicBezTo>
                    <a:pt x="830" y="1110"/>
                    <a:pt x="839" y="1117"/>
                    <a:pt x="840" y="1113"/>
                  </a:cubicBezTo>
                  <a:cubicBezTo>
                    <a:pt x="842" y="1105"/>
                    <a:pt x="830" y="1110"/>
                    <a:pt x="827" y="1109"/>
                  </a:cubicBezTo>
                  <a:cubicBezTo>
                    <a:pt x="826" y="1109"/>
                    <a:pt x="821" y="1105"/>
                    <a:pt x="822" y="1108"/>
                  </a:cubicBezTo>
                  <a:cubicBezTo>
                    <a:pt x="825" y="1122"/>
                    <a:pt x="816" y="1109"/>
                    <a:pt x="820" y="1105"/>
                  </a:cubicBezTo>
                  <a:cubicBezTo>
                    <a:pt x="823" y="1101"/>
                    <a:pt x="813" y="1102"/>
                    <a:pt x="818" y="1098"/>
                  </a:cubicBezTo>
                  <a:cubicBezTo>
                    <a:pt x="819" y="1096"/>
                    <a:pt x="823" y="1102"/>
                    <a:pt x="825" y="1097"/>
                  </a:cubicBezTo>
                  <a:cubicBezTo>
                    <a:pt x="826" y="1097"/>
                    <a:pt x="826" y="1097"/>
                    <a:pt x="826" y="1097"/>
                  </a:cubicBezTo>
                  <a:cubicBezTo>
                    <a:pt x="826" y="1095"/>
                    <a:pt x="822" y="1094"/>
                    <a:pt x="820" y="1095"/>
                  </a:cubicBezTo>
                  <a:cubicBezTo>
                    <a:pt x="805" y="1095"/>
                    <a:pt x="818" y="1107"/>
                    <a:pt x="813" y="1107"/>
                  </a:cubicBezTo>
                  <a:cubicBezTo>
                    <a:pt x="808" y="1107"/>
                    <a:pt x="798" y="1097"/>
                    <a:pt x="800" y="1102"/>
                  </a:cubicBezTo>
                  <a:cubicBezTo>
                    <a:pt x="802" y="1107"/>
                    <a:pt x="825" y="1117"/>
                    <a:pt x="825" y="1127"/>
                  </a:cubicBezTo>
                  <a:cubicBezTo>
                    <a:pt x="825" y="1128"/>
                    <a:pt x="819" y="1130"/>
                    <a:pt x="817" y="1130"/>
                  </a:cubicBezTo>
                  <a:cubicBezTo>
                    <a:pt x="804" y="1129"/>
                    <a:pt x="805" y="1117"/>
                    <a:pt x="796" y="1124"/>
                  </a:cubicBezTo>
                  <a:cubicBezTo>
                    <a:pt x="793" y="1127"/>
                    <a:pt x="804" y="1128"/>
                    <a:pt x="801" y="1133"/>
                  </a:cubicBezTo>
                  <a:cubicBezTo>
                    <a:pt x="799" y="1135"/>
                    <a:pt x="805" y="1139"/>
                    <a:pt x="808" y="1140"/>
                  </a:cubicBezTo>
                  <a:cubicBezTo>
                    <a:pt x="809" y="1141"/>
                    <a:pt x="819" y="1137"/>
                    <a:pt x="818" y="1143"/>
                  </a:cubicBezTo>
                  <a:close/>
                  <a:moveTo>
                    <a:pt x="778" y="1081"/>
                  </a:moveTo>
                  <a:cubicBezTo>
                    <a:pt x="786" y="1086"/>
                    <a:pt x="800" y="1080"/>
                    <a:pt x="799" y="1071"/>
                  </a:cubicBezTo>
                  <a:cubicBezTo>
                    <a:pt x="799" y="1071"/>
                    <a:pt x="792" y="1068"/>
                    <a:pt x="795" y="1067"/>
                  </a:cubicBezTo>
                  <a:cubicBezTo>
                    <a:pt x="796" y="1066"/>
                    <a:pt x="799" y="1065"/>
                    <a:pt x="795" y="1065"/>
                  </a:cubicBezTo>
                  <a:cubicBezTo>
                    <a:pt x="778" y="1062"/>
                    <a:pt x="798" y="1068"/>
                    <a:pt x="790" y="1070"/>
                  </a:cubicBezTo>
                  <a:cubicBezTo>
                    <a:pt x="787" y="1071"/>
                    <a:pt x="778" y="1060"/>
                    <a:pt x="771" y="1056"/>
                  </a:cubicBezTo>
                  <a:cubicBezTo>
                    <a:pt x="767" y="1054"/>
                    <a:pt x="745" y="1029"/>
                    <a:pt x="742" y="1031"/>
                  </a:cubicBezTo>
                  <a:cubicBezTo>
                    <a:pt x="741" y="1032"/>
                    <a:pt x="748" y="1038"/>
                    <a:pt x="749" y="1039"/>
                  </a:cubicBezTo>
                  <a:cubicBezTo>
                    <a:pt x="758" y="1045"/>
                    <a:pt x="757" y="1054"/>
                    <a:pt x="763" y="1061"/>
                  </a:cubicBezTo>
                  <a:cubicBezTo>
                    <a:pt x="764" y="1062"/>
                    <a:pt x="764" y="1062"/>
                    <a:pt x="764" y="1062"/>
                  </a:cubicBezTo>
                  <a:cubicBezTo>
                    <a:pt x="763" y="1064"/>
                    <a:pt x="771" y="1064"/>
                    <a:pt x="774" y="1063"/>
                  </a:cubicBezTo>
                  <a:cubicBezTo>
                    <a:pt x="778" y="1063"/>
                    <a:pt x="784" y="1071"/>
                    <a:pt x="787" y="1074"/>
                  </a:cubicBezTo>
                  <a:cubicBezTo>
                    <a:pt x="790" y="1076"/>
                    <a:pt x="775" y="1079"/>
                    <a:pt x="778" y="1081"/>
                  </a:cubicBezTo>
                  <a:close/>
                  <a:moveTo>
                    <a:pt x="737" y="919"/>
                  </a:moveTo>
                  <a:cubicBezTo>
                    <a:pt x="742" y="921"/>
                    <a:pt x="761" y="928"/>
                    <a:pt x="766" y="929"/>
                  </a:cubicBezTo>
                  <a:cubicBezTo>
                    <a:pt x="768" y="929"/>
                    <a:pt x="779" y="926"/>
                    <a:pt x="779" y="926"/>
                  </a:cubicBezTo>
                  <a:cubicBezTo>
                    <a:pt x="772" y="919"/>
                    <a:pt x="763" y="922"/>
                    <a:pt x="752" y="916"/>
                  </a:cubicBezTo>
                  <a:cubicBezTo>
                    <a:pt x="749" y="914"/>
                    <a:pt x="751" y="905"/>
                    <a:pt x="749" y="905"/>
                  </a:cubicBezTo>
                  <a:cubicBezTo>
                    <a:pt x="741" y="904"/>
                    <a:pt x="736" y="917"/>
                    <a:pt x="728" y="903"/>
                  </a:cubicBezTo>
                  <a:cubicBezTo>
                    <a:pt x="727" y="901"/>
                    <a:pt x="733" y="900"/>
                    <a:pt x="735" y="899"/>
                  </a:cubicBezTo>
                  <a:cubicBezTo>
                    <a:pt x="742" y="896"/>
                    <a:pt x="756" y="902"/>
                    <a:pt x="759" y="899"/>
                  </a:cubicBezTo>
                  <a:cubicBezTo>
                    <a:pt x="763" y="895"/>
                    <a:pt x="744" y="897"/>
                    <a:pt x="746" y="891"/>
                  </a:cubicBezTo>
                  <a:cubicBezTo>
                    <a:pt x="747" y="886"/>
                    <a:pt x="762" y="893"/>
                    <a:pt x="762" y="890"/>
                  </a:cubicBezTo>
                  <a:cubicBezTo>
                    <a:pt x="761" y="882"/>
                    <a:pt x="735" y="887"/>
                    <a:pt x="733" y="887"/>
                  </a:cubicBezTo>
                  <a:cubicBezTo>
                    <a:pt x="730" y="887"/>
                    <a:pt x="728" y="881"/>
                    <a:pt x="723" y="883"/>
                  </a:cubicBezTo>
                  <a:cubicBezTo>
                    <a:pt x="719" y="885"/>
                    <a:pt x="725" y="891"/>
                    <a:pt x="712" y="894"/>
                  </a:cubicBezTo>
                  <a:cubicBezTo>
                    <a:pt x="709" y="894"/>
                    <a:pt x="709" y="901"/>
                    <a:pt x="705" y="899"/>
                  </a:cubicBezTo>
                  <a:cubicBezTo>
                    <a:pt x="704" y="899"/>
                    <a:pt x="688" y="887"/>
                    <a:pt x="686" y="883"/>
                  </a:cubicBezTo>
                  <a:cubicBezTo>
                    <a:pt x="683" y="876"/>
                    <a:pt x="698" y="883"/>
                    <a:pt x="688" y="873"/>
                  </a:cubicBezTo>
                  <a:cubicBezTo>
                    <a:pt x="686" y="870"/>
                    <a:pt x="696" y="867"/>
                    <a:pt x="693" y="866"/>
                  </a:cubicBezTo>
                  <a:cubicBezTo>
                    <a:pt x="685" y="861"/>
                    <a:pt x="673" y="870"/>
                    <a:pt x="671" y="870"/>
                  </a:cubicBezTo>
                  <a:cubicBezTo>
                    <a:pt x="671" y="870"/>
                    <a:pt x="640" y="857"/>
                    <a:pt x="656" y="868"/>
                  </a:cubicBezTo>
                  <a:cubicBezTo>
                    <a:pt x="661" y="871"/>
                    <a:pt x="646" y="875"/>
                    <a:pt x="659" y="881"/>
                  </a:cubicBezTo>
                  <a:cubicBezTo>
                    <a:pt x="671" y="886"/>
                    <a:pt x="648" y="879"/>
                    <a:pt x="648" y="882"/>
                  </a:cubicBezTo>
                  <a:cubicBezTo>
                    <a:pt x="647" y="891"/>
                    <a:pt x="657" y="891"/>
                    <a:pt x="662" y="894"/>
                  </a:cubicBezTo>
                  <a:cubicBezTo>
                    <a:pt x="667" y="897"/>
                    <a:pt x="666" y="907"/>
                    <a:pt x="667" y="910"/>
                  </a:cubicBezTo>
                  <a:cubicBezTo>
                    <a:pt x="667" y="910"/>
                    <a:pt x="667" y="910"/>
                    <a:pt x="667" y="910"/>
                  </a:cubicBezTo>
                  <a:cubicBezTo>
                    <a:pt x="672" y="924"/>
                    <a:pt x="683" y="911"/>
                    <a:pt x="689" y="913"/>
                  </a:cubicBezTo>
                  <a:cubicBezTo>
                    <a:pt x="692" y="914"/>
                    <a:pt x="685" y="918"/>
                    <a:pt x="685" y="921"/>
                  </a:cubicBezTo>
                  <a:cubicBezTo>
                    <a:pt x="686" y="923"/>
                    <a:pt x="693" y="926"/>
                    <a:pt x="695" y="927"/>
                  </a:cubicBezTo>
                  <a:cubicBezTo>
                    <a:pt x="696" y="927"/>
                    <a:pt x="695" y="929"/>
                    <a:pt x="697" y="929"/>
                  </a:cubicBezTo>
                  <a:cubicBezTo>
                    <a:pt x="702" y="927"/>
                    <a:pt x="697" y="925"/>
                    <a:pt x="696" y="922"/>
                  </a:cubicBezTo>
                  <a:cubicBezTo>
                    <a:pt x="691" y="906"/>
                    <a:pt x="717" y="917"/>
                    <a:pt x="712" y="904"/>
                  </a:cubicBezTo>
                  <a:cubicBezTo>
                    <a:pt x="712" y="903"/>
                    <a:pt x="720" y="901"/>
                    <a:pt x="720" y="901"/>
                  </a:cubicBezTo>
                  <a:cubicBezTo>
                    <a:pt x="722" y="901"/>
                    <a:pt x="731" y="916"/>
                    <a:pt x="743" y="914"/>
                  </a:cubicBezTo>
                  <a:cubicBezTo>
                    <a:pt x="753" y="912"/>
                    <a:pt x="737" y="919"/>
                    <a:pt x="737" y="919"/>
                  </a:cubicBezTo>
                  <a:close/>
                  <a:moveTo>
                    <a:pt x="640" y="1069"/>
                  </a:moveTo>
                  <a:cubicBezTo>
                    <a:pt x="641" y="1064"/>
                    <a:pt x="649" y="1066"/>
                    <a:pt x="651" y="1064"/>
                  </a:cubicBezTo>
                  <a:cubicBezTo>
                    <a:pt x="651" y="1064"/>
                    <a:pt x="645" y="1056"/>
                    <a:pt x="648" y="1055"/>
                  </a:cubicBezTo>
                  <a:cubicBezTo>
                    <a:pt x="653" y="1052"/>
                    <a:pt x="643" y="1054"/>
                    <a:pt x="642" y="1053"/>
                  </a:cubicBezTo>
                  <a:cubicBezTo>
                    <a:pt x="634" y="1048"/>
                    <a:pt x="656" y="1046"/>
                    <a:pt x="636" y="1046"/>
                  </a:cubicBezTo>
                  <a:cubicBezTo>
                    <a:pt x="631" y="1046"/>
                    <a:pt x="630" y="1036"/>
                    <a:pt x="626" y="1037"/>
                  </a:cubicBezTo>
                  <a:cubicBezTo>
                    <a:pt x="606" y="1041"/>
                    <a:pt x="631" y="1054"/>
                    <a:pt x="636" y="1060"/>
                  </a:cubicBezTo>
                  <a:cubicBezTo>
                    <a:pt x="638" y="1062"/>
                    <a:pt x="639" y="1064"/>
                    <a:pt x="637" y="1065"/>
                  </a:cubicBezTo>
                  <a:cubicBezTo>
                    <a:pt x="637" y="1066"/>
                    <a:pt x="619" y="1069"/>
                    <a:pt x="612" y="1064"/>
                  </a:cubicBezTo>
                  <a:cubicBezTo>
                    <a:pt x="611" y="1063"/>
                    <a:pt x="606" y="1047"/>
                    <a:pt x="600" y="1053"/>
                  </a:cubicBezTo>
                  <a:cubicBezTo>
                    <a:pt x="596" y="1056"/>
                    <a:pt x="619" y="1072"/>
                    <a:pt x="620" y="1074"/>
                  </a:cubicBezTo>
                  <a:cubicBezTo>
                    <a:pt x="631" y="1086"/>
                    <a:pt x="616" y="1090"/>
                    <a:pt x="634" y="1099"/>
                  </a:cubicBezTo>
                  <a:cubicBezTo>
                    <a:pt x="635" y="1100"/>
                    <a:pt x="635" y="1100"/>
                    <a:pt x="635" y="1100"/>
                  </a:cubicBezTo>
                  <a:cubicBezTo>
                    <a:pt x="653" y="1103"/>
                    <a:pt x="628" y="1086"/>
                    <a:pt x="630" y="1081"/>
                  </a:cubicBezTo>
                  <a:cubicBezTo>
                    <a:pt x="631" y="1078"/>
                    <a:pt x="636" y="1082"/>
                    <a:pt x="639" y="1079"/>
                  </a:cubicBezTo>
                  <a:cubicBezTo>
                    <a:pt x="640" y="1078"/>
                    <a:pt x="639" y="1071"/>
                    <a:pt x="640" y="1069"/>
                  </a:cubicBezTo>
                  <a:close/>
                  <a:moveTo>
                    <a:pt x="663" y="613"/>
                  </a:moveTo>
                  <a:cubicBezTo>
                    <a:pt x="664" y="612"/>
                    <a:pt x="659" y="609"/>
                    <a:pt x="658" y="610"/>
                  </a:cubicBezTo>
                  <a:cubicBezTo>
                    <a:pt x="648" y="613"/>
                    <a:pt x="660" y="618"/>
                    <a:pt x="661" y="620"/>
                  </a:cubicBezTo>
                  <a:cubicBezTo>
                    <a:pt x="670" y="631"/>
                    <a:pt x="657" y="625"/>
                    <a:pt x="660" y="634"/>
                  </a:cubicBezTo>
                  <a:cubicBezTo>
                    <a:pt x="661" y="636"/>
                    <a:pt x="670" y="631"/>
                    <a:pt x="668" y="629"/>
                  </a:cubicBezTo>
                  <a:cubicBezTo>
                    <a:pt x="667" y="629"/>
                    <a:pt x="667" y="628"/>
                    <a:pt x="668" y="627"/>
                  </a:cubicBezTo>
                  <a:cubicBezTo>
                    <a:pt x="685" y="620"/>
                    <a:pt x="680" y="643"/>
                    <a:pt x="681" y="645"/>
                  </a:cubicBezTo>
                  <a:cubicBezTo>
                    <a:pt x="681" y="646"/>
                    <a:pt x="681" y="646"/>
                    <a:pt x="681" y="646"/>
                  </a:cubicBezTo>
                  <a:cubicBezTo>
                    <a:pt x="687" y="647"/>
                    <a:pt x="695" y="650"/>
                    <a:pt x="690" y="644"/>
                  </a:cubicBezTo>
                  <a:cubicBezTo>
                    <a:pt x="688" y="640"/>
                    <a:pt x="699" y="632"/>
                    <a:pt x="691" y="627"/>
                  </a:cubicBezTo>
                  <a:cubicBezTo>
                    <a:pt x="689" y="626"/>
                    <a:pt x="658" y="620"/>
                    <a:pt x="663" y="613"/>
                  </a:cubicBezTo>
                  <a:close/>
                  <a:moveTo>
                    <a:pt x="700" y="562"/>
                  </a:moveTo>
                  <a:cubicBezTo>
                    <a:pt x="700" y="562"/>
                    <a:pt x="682" y="557"/>
                    <a:pt x="691" y="562"/>
                  </a:cubicBezTo>
                  <a:cubicBezTo>
                    <a:pt x="692" y="563"/>
                    <a:pt x="694" y="563"/>
                    <a:pt x="695" y="564"/>
                  </a:cubicBezTo>
                  <a:cubicBezTo>
                    <a:pt x="695" y="564"/>
                    <a:pt x="695" y="564"/>
                    <a:pt x="695" y="564"/>
                  </a:cubicBezTo>
                  <a:cubicBezTo>
                    <a:pt x="716" y="574"/>
                    <a:pt x="701" y="556"/>
                    <a:pt x="717" y="549"/>
                  </a:cubicBezTo>
                  <a:cubicBezTo>
                    <a:pt x="725" y="546"/>
                    <a:pt x="738" y="560"/>
                    <a:pt x="746" y="561"/>
                  </a:cubicBezTo>
                  <a:cubicBezTo>
                    <a:pt x="748" y="561"/>
                    <a:pt x="743" y="553"/>
                    <a:pt x="752" y="552"/>
                  </a:cubicBezTo>
                  <a:cubicBezTo>
                    <a:pt x="757" y="552"/>
                    <a:pt x="759" y="548"/>
                    <a:pt x="758" y="543"/>
                  </a:cubicBezTo>
                  <a:cubicBezTo>
                    <a:pt x="757" y="540"/>
                    <a:pt x="751" y="551"/>
                    <a:pt x="751" y="551"/>
                  </a:cubicBezTo>
                  <a:cubicBezTo>
                    <a:pt x="742" y="552"/>
                    <a:pt x="737" y="555"/>
                    <a:pt x="726" y="547"/>
                  </a:cubicBezTo>
                  <a:cubicBezTo>
                    <a:pt x="723" y="545"/>
                    <a:pt x="735" y="543"/>
                    <a:pt x="733" y="540"/>
                  </a:cubicBezTo>
                  <a:cubicBezTo>
                    <a:pt x="730" y="536"/>
                    <a:pt x="713" y="530"/>
                    <a:pt x="713" y="530"/>
                  </a:cubicBezTo>
                  <a:cubicBezTo>
                    <a:pt x="710" y="532"/>
                    <a:pt x="708" y="522"/>
                    <a:pt x="705" y="524"/>
                  </a:cubicBezTo>
                  <a:cubicBezTo>
                    <a:pt x="699" y="529"/>
                    <a:pt x="718" y="537"/>
                    <a:pt x="718" y="538"/>
                  </a:cubicBezTo>
                  <a:cubicBezTo>
                    <a:pt x="719" y="540"/>
                    <a:pt x="719" y="546"/>
                    <a:pt x="717" y="547"/>
                  </a:cubicBezTo>
                  <a:cubicBezTo>
                    <a:pt x="713" y="548"/>
                    <a:pt x="713" y="544"/>
                    <a:pt x="712" y="542"/>
                  </a:cubicBezTo>
                  <a:cubicBezTo>
                    <a:pt x="712" y="540"/>
                    <a:pt x="702" y="547"/>
                    <a:pt x="700" y="554"/>
                  </a:cubicBezTo>
                  <a:cubicBezTo>
                    <a:pt x="699" y="557"/>
                    <a:pt x="703" y="561"/>
                    <a:pt x="700" y="562"/>
                  </a:cubicBezTo>
                  <a:close/>
                  <a:moveTo>
                    <a:pt x="765" y="592"/>
                  </a:moveTo>
                  <a:cubicBezTo>
                    <a:pt x="760" y="596"/>
                    <a:pt x="740" y="575"/>
                    <a:pt x="737" y="585"/>
                  </a:cubicBezTo>
                  <a:cubicBezTo>
                    <a:pt x="736" y="589"/>
                    <a:pt x="745" y="591"/>
                    <a:pt x="748" y="590"/>
                  </a:cubicBezTo>
                  <a:cubicBezTo>
                    <a:pt x="751" y="590"/>
                    <a:pt x="755" y="593"/>
                    <a:pt x="759" y="594"/>
                  </a:cubicBezTo>
                  <a:cubicBezTo>
                    <a:pt x="773" y="596"/>
                    <a:pt x="754" y="599"/>
                    <a:pt x="751" y="601"/>
                  </a:cubicBezTo>
                  <a:cubicBezTo>
                    <a:pt x="750" y="601"/>
                    <a:pt x="750" y="602"/>
                    <a:pt x="749" y="602"/>
                  </a:cubicBezTo>
                  <a:cubicBezTo>
                    <a:pt x="748" y="603"/>
                    <a:pt x="748" y="603"/>
                    <a:pt x="748" y="603"/>
                  </a:cubicBezTo>
                  <a:cubicBezTo>
                    <a:pt x="747" y="604"/>
                    <a:pt x="748" y="604"/>
                    <a:pt x="750" y="604"/>
                  </a:cubicBezTo>
                  <a:cubicBezTo>
                    <a:pt x="751" y="605"/>
                    <a:pt x="771" y="613"/>
                    <a:pt x="773" y="611"/>
                  </a:cubicBezTo>
                  <a:cubicBezTo>
                    <a:pt x="787" y="605"/>
                    <a:pt x="764" y="605"/>
                    <a:pt x="766" y="602"/>
                  </a:cubicBezTo>
                  <a:cubicBezTo>
                    <a:pt x="767" y="600"/>
                    <a:pt x="779" y="600"/>
                    <a:pt x="771" y="597"/>
                  </a:cubicBezTo>
                  <a:cubicBezTo>
                    <a:pt x="770" y="597"/>
                    <a:pt x="766" y="597"/>
                    <a:pt x="766" y="596"/>
                  </a:cubicBezTo>
                  <a:cubicBezTo>
                    <a:pt x="766" y="591"/>
                    <a:pt x="784" y="596"/>
                    <a:pt x="780" y="594"/>
                  </a:cubicBezTo>
                  <a:cubicBezTo>
                    <a:pt x="779" y="593"/>
                    <a:pt x="777" y="591"/>
                    <a:pt x="776" y="590"/>
                  </a:cubicBezTo>
                  <a:cubicBezTo>
                    <a:pt x="775" y="587"/>
                    <a:pt x="769" y="577"/>
                    <a:pt x="767" y="583"/>
                  </a:cubicBezTo>
                  <a:cubicBezTo>
                    <a:pt x="766" y="586"/>
                    <a:pt x="759" y="582"/>
                    <a:pt x="759" y="584"/>
                  </a:cubicBezTo>
                  <a:cubicBezTo>
                    <a:pt x="758" y="585"/>
                    <a:pt x="768" y="590"/>
                    <a:pt x="765" y="592"/>
                  </a:cubicBezTo>
                  <a:close/>
                  <a:moveTo>
                    <a:pt x="741" y="759"/>
                  </a:moveTo>
                  <a:cubicBezTo>
                    <a:pt x="741" y="759"/>
                    <a:pt x="741" y="759"/>
                    <a:pt x="741" y="759"/>
                  </a:cubicBezTo>
                  <a:cubicBezTo>
                    <a:pt x="741" y="759"/>
                    <a:pt x="741" y="759"/>
                    <a:pt x="741" y="759"/>
                  </a:cubicBezTo>
                  <a:cubicBezTo>
                    <a:pt x="741" y="759"/>
                    <a:pt x="741" y="759"/>
                    <a:pt x="741" y="759"/>
                  </a:cubicBezTo>
                  <a:cubicBezTo>
                    <a:pt x="742" y="760"/>
                    <a:pt x="759" y="749"/>
                    <a:pt x="759" y="746"/>
                  </a:cubicBezTo>
                  <a:cubicBezTo>
                    <a:pt x="760" y="745"/>
                    <a:pt x="753" y="745"/>
                    <a:pt x="752" y="745"/>
                  </a:cubicBezTo>
                  <a:cubicBezTo>
                    <a:pt x="744" y="749"/>
                    <a:pt x="745" y="752"/>
                    <a:pt x="741" y="759"/>
                  </a:cubicBezTo>
                  <a:close/>
                  <a:moveTo>
                    <a:pt x="696" y="760"/>
                  </a:moveTo>
                  <a:cubicBezTo>
                    <a:pt x="696" y="760"/>
                    <a:pt x="696" y="760"/>
                    <a:pt x="696" y="760"/>
                  </a:cubicBezTo>
                  <a:cubicBezTo>
                    <a:pt x="697" y="757"/>
                    <a:pt x="702" y="740"/>
                    <a:pt x="689" y="744"/>
                  </a:cubicBezTo>
                  <a:cubicBezTo>
                    <a:pt x="688" y="744"/>
                    <a:pt x="693" y="755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lose/>
                  <a:moveTo>
                    <a:pt x="784" y="924"/>
                  </a:moveTo>
                  <a:cubicBezTo>
                    <a:pt x="785" y="926"/>
                    <a:pt x="792" y="943"/>
                    <a:pt x="793" y="945"/>
                  </a:cubicBezTo>
                  <a:cubicBezTo>
                    <a:pt x="793" y="945"/>
                    <a:pt x="793" y="945"/>
                    <a:pt x="793" y="945"/>
                  </a:cubicBezTo>
                  <a:cubicBezTo>
                    <a:pt x="795" y="949"/>
                    <a:pt x="792" y="935"/>
                    <a:pt x="796" y="933"/>
                  </a:cubicBezTo>
                  <a:cubicBezTo>
                    <a:pt x="797" y="932"/>
                    <a:pt x="798" y="933"/>
                    <a:pt x="799" y="933"/>
                  </a:cubicBezTo>
                  <a:cubicBezTo>
                    <a:pt x="808" y="942"/>
                    <a:pt x="805" y="931"/>
                    <a:pt x="796" y="930"/>
                  </a:cubicBezTo>
                  <a:cubicBezTo>
                    <a:pt x="791" y="929"/>
                    <a:pt x="794" y="926"/>
                    <a:pt x="796" y="924"/>
                  </a:cubicBezTo>
                  <a:cubicBezTo>
                    <a:pt x="796" y="923"/>
                    <a:pt x="795" y="921"/>
                    <a:pt x="796" y="921"/>
                  </a:cubicBezTo>
                  <a:cubicBezTo>
                    <a:pt x="797" y="920"/>
                    <a:pt x="802" y="925"/>
                    <a:pt x="803" y="926"/>
                  </a:cubicBezTo>
                  <a:cubicBezTo>
                    <a:pt x="804" y="926"/>
                    <a:pt x="808" y="927"/>
                    <a:pt x="809" y="929"/>
                  </a:cubicBezTo>
                  <a:cubicBezTo>
                    <a:pt x="810" y="931"/>
                    <a:pt x="804" y="930"/>
                    <a:pt x="805" y="932"/>
                  </a:cubicBezTo>
                  <a:cubicBezTo>
                    <a:pt x="814" y="941"/>
                    <a:pt x="843" y="932"/>
                    <a:pt x="852" y="931"/>
                  </a:cubicBezTo>
                  <a:cubicBezTo>
                    <a:pt x="857" y="931"/>
                    <a:pt x="856" y="940"/>
                    <a:pt x="864" y="940"/>
                  </a:cubicBezTo>
                  <a:cubicBezTo>
                    <a:pt x="865" y="940"/>
                    <a:pt x="865" y="940"/>
                    <a:pt x="865" y="940"/>
                  </a:cubicBezTo>
                  <a:cubicBezTo>
                    <a:pt x="869" y="938"/>
                    <a:pt x="857" y="935"/>
                    <a:pt x="860" y="934"/>
                  </a:cubicBezTo>
                  <a:cubicBezTo>
                    <a:pt x="866" y="930"/>
                    <a:pt x="875" y="928"/>
                    <a:pt x="881" y="929"/>
                  </a:cubicBezTo>
                  <a:cubicBezTo>
                    <a:pt x="882" y="929"/>
                    <a:pt x="889" y="933"/>
                    <a:pt x="889" y="932"/>
                  </a:cubicBezTo>
                  <a:cubicBezTo>
                    <a:pt x="888" y="928"/>
                    <a:pt x="865" y="918"/>
                    <a:pt x="862" y="918"/>
                  </a:cubicBezTo>
                  <a:cubicBezTo>
                    <a:pt x="855" y="919"/>
                    <a:pt x="830" y="942"/>
                    <a:pt x="817" y="929"/>
                  </a:cubicBezTo>
                  <a:cubicBezTo>
                    <a:pt x="815" y="928"/>
                    <a:pt x="808" y="925"/>
                    <a:pt x="811" y="925"/>
                  </a:cubicBezTo>
                  <a:cubicBezTo>
                    <a:pt x="821" y="923"/>
                    <a:pt x="780" y="916"/>
                    <a:pt x="791" y="924"/>
                  </a:cubicBezTo>
                  <a:cubicBezTo>
                    <a:pt x="795" y="927"/>
                    <a:pt x="783" y="923"/>
                    <a:pt x="784" y="924"/>
                  </a:cubicBezTo>
                  <a:close/>
                  <a:moveTo>
                    <a:pt x="795" y="677"/>
                  </a:moveTo>
                  <a:cubicBezTo>
                    <a:pt x="796" y="678"/>
                    <a:pt x="808" y="681"/>
                    <a:pt x="808" y="680"/>
                  </a:cubicBezTo>
                  <a:cubicBezTo>
                    <a:pt x="807" y="670"/>
                    <a:pt x="795" y="656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lose/>
                  <a:moveTo>
                    <a:pt x="873" y="689"/>
                  </a:moveTo>
                  <a:cubicBezTo>
                    <a:pt x="863" y="680"/>
                    <a:pt x="857" y="702"/>
                    <a:pt x="850" y="707"/>
                  </a:cubicBezTo>
                  <a:cubicBezTo>
                    <a:pt x="849" y="707"/>
                    <a:pt x="849" y="707"/>
                    <a:pt x="849" y="707"/>
                  </a:cubicBezTo>
                  <a:cubicBezTo>
                    <a:pt x="824" y="711"/>
                    <a:pt x="870" y="709"/>
                    <a:pt x="871" y="702"/>
                  </a:cubicBezTo>
                  <a:cubicBezTo>
                    <a:pt x="872" y="702"/>
                    <a:pt x="864" y="698"/>
                    <a:pt x="864" y="697"/>
                  </a:cubicBezTo>
                  <a:cubicBezTo>
                    <a:pt x="861" y="691"/>
                    <a:pt x="878" y="693"/>
                    <a:pt x="873" y="689"/>
                  </a:cubicBezTo>
                  <a:close/>
                  <a:moveTo>
                    <a:pt x="837" y="810"/>
                  </a:moveTo>
                  <a:cubicBezTo>
                    <a:pt x="838" y="811"/>
                    <a:pt x="838" y="811"/>
                    <a:pt x="838" y="811"/>
                  </a:cubicBezTo>
                  <a:cubicBezTo>
                    <a:pt x="848" y="811"/>
                    <a:pt x="887" y="829"/>
                    <a:pt x="858" y="816"/>
                  </a:cubicBezTo>
                  <a:cubicBezTo>
                    <a:pt x="856" y="815"/>
                    <a:pt x="854" y="813"/>
                    <a:pt x="855" y="810"/>
                  </a:cubicBezTo>
                  <a:cubicBezTo>
                    <a:pt x="857" y="804"/>
                    <a:pt x="859" y="812"/>
                    <a:pt x="862" y="808"/>
                  </a:cubicBezTo>
                  <a:cubicBezTo>
                    <a:pt x="864" y="807"/>
                    <a:pt x="859" y="807"/>
                    <a:pt x="859" y="807"/>
                  </a:cubicBezTo>
                  <a:cubicBezTo>
                    <a:pt x="858" y="806"/>
                    <a:pt x="858" y="802"/>
                    <a:pt x="861" y="792"/>
                  </a:cubicBezTo>
                  <a:cubicBezTo>
                    <a:pt x="861" y="791"/>
                    <a:pt x="863" y="791"/>
                    <a:pt x="864" y="791"/>
                  </a:cubicBezTo>
                  <a:cubicBezTo>
                    <a:pt x="865" y="791"/>
                    <a:pt x="872" y="792"/>
                    <a:pt x="871" y="791"/>
                  </a:cubicBezTo>
                  <a:cubicBezTo>
                    <a:pt x="871" y="790"/>
                    <a:pt x="866" y="790"/>
                    <a:pt x="867" y="788"/>
                  </a:cubicBezTo>
                  <a:cubicBezTo>
                    <a:pt x="868" y="784"/>
                    <a:pt x="878" y="786"/>
                    <a:pt x="881" y="784"/>
                  </a:cubicBezTo>
                  <a:cubicBezTo>
                    <a:pt x="885" y="782"/>
                    <a:pt x="880" y="774"/>
                    <a:pt x="886" y="769"/>
                  </a:cubicBezTo>
                  <a:cubicBezTo>
                    <a:pt x="888" y="767"/>
                    <a:pt x="899" y="764"/>
                    <a:pt x="898" y="764"/>
                  </a:cubicBezTo>
                  <a:cubicBezTo>
                    <a:pt x="880" y="755"/>
                    <a:pt x="883" y="782"/>
                    <a:pt x="873" y="783"/>
                  </a:cubicBezTo>
                  <a:cubicBezTo>
                    <a:pt x="854" y="786"/>
                    <a:pt x="866" y="763"/>
                    <a:pt x="865" y="763"/>
                  </a:cubicBezTo>
                  <a:cubicBezTo>
                    <a:pt x="848" y="763"/>
                    <a:pt x="861" y="798"/>
                    <a:pt x="854" y="804"/>
                  </a:cubicBezTo>
                  <a:cubicBezTo>
                    <a:pt x="843" y="814"/>
                    <a:pt x="834" y="800"/>
                    <a:pt x="837" y="810"/>
                  </a:cubicBezTo>
                  <a:close/>
                  <a:moveTo>
                    <a:pt x="877" y="828"/>
                  </a:moveTo>
                  <a:cubicBezTo>
                    <a:pt x="877" y="828"/>
                    <a:pt x="865" y="825"/>
                    <a:pt x="865" y="828"/>
                  </a:cubicBezTo>
                  <a:cubicBezTo>
                    <a:pt x="866" y="830"/>
                    <a:pt x="898" y="842"/>
                    <a:pt x="903" y="846"/>
                  </a:cubicBezTo>
                  <a:cubicBezTo>
                    <a:pt x="903" y="846"/>
                    <a:pt x="903" y="846"/>
                    <a:pt x="903" y="846"/>
                  </a:cubicBezTo>
                  <a:cubicBezTo>
                    <a:pt x="916" y="843"/>
                    <a:pt x="888" y="830"/>
                    <a:pt x="877" y="828"/>
                  </a:cubicBezTo>
                  <a:close/>
                  <a:moveTo>
                    <a:pt x="867" y="645"/>
                  </a:moveTo>
                  <a:cubicBezTo>
                    <a:pt x="865" y="645"/>
                    <a:pt x="865" y="645"/>
                    <a:pt x="865" y="645"/>
                  </a:cubicBezTo>
                  <a:cubicBezTo>
                    <a:pt x="860" y="645"/>
                    <a:pt x="871" y="650"/>
                    <a:pt x="868" y="651"/>
                  </a:cubicBezTo>
                  <a:cubicBezTo>
                    <a:pt x="856" y="654"/>
                    <a:pt x="894" y="663"/>
                    <a:pt x="904" y="659"/>
                  </a:cubicBezTo>
                  <a:cubicBezTo>
                    <a:pt x="909" y="657"/>
                    <a:pt x="888" y="653"/>
                    <a:pt x="899" y="654"/>
                  </a:cubicBezTo>
                  <a:cubicBezTo>
                    <a:pt x="906" y="655"/>
                    <a:pt x="919" y="653"/>
                    <a:pt x="924" y="657"/>
                  </a:cubicBezTo>
                  <a:cubicBezTo>
                    <a:pt x="928" y="659"/>
                    <a:pt x="941" y="662"/>
                    <a:pt x="938" y="659"/>
                  </a:cubicBezTo>
                  <a:cubicBezTo>
                    <a:pt x="932" y="655"/>
                    <a:pt x="920" y="652"/>
                    <a:pt x="914" y="650"/>
                  </a:cubicBezTo>
                  <a:cubicBezTo>
                    <a:pt x="911" y="649"/>
                    <a:pt x="906" y="648"/>
                    <a:pt x="904" y="646"/>
                  </a:cubicBezTo>
                  <a:cubicBezTo>
                    <a:pt x="904" y="645"/>
                    <a:pt x="912" y="647"/>
                    <a:pt x="913" y="647"/>
                  </a:cubicBezTo>
                  <a:cubicBezTo>
                    <a:pt x="920" y="648"/>
                    <a:pt x="900" y="642"/>
                    <a:pt x="917" y="644"/>
                  </a:cubicBezTo>
                  <a:cubicBezTo>
                    <a:pt x="918" y="644"/>
                    <a:pt x="922" y="645"/>
                    <a:pt x="922" y="643"/>
                  </a:cubicBezTo>
                  <a:cubicBezTo>
                    <a:pt x="914" y="624"/>
                    <a:pt x="890" y="656"/>
                    <a:pt x="889" y="656"/>
                  </a:cubicBezTo>
                  <a:cubicBezTo>
                    <a:pt x="883" y="657"/>
                    <a:pt x="876" y="649"/>
                    <a:pt x="867" y="645"/>
                  </a:cubicBezTo>
                  <a:close/>
                  <a:moveTo>
                    <a:pt x="776" y="633"/>
                  </a:moveTo>
                  <a:cubicBezTo>
                    <a:pt x="775" y="633"/>
                    <a:pt x="774" y="633"/>
                    <a:pt x="773" y="633"/>
                  </a:cubicBezTo>
                  <a:cubicBezTo>
                    <a:pt x="768" y="631"/>
                    <a:pt x="775" y="624"/>
                    <a:pt x="771" y="620"/>
                  </a:cubicBezTo>
                  <a:cubicBezTo>
                    <a:pt x="766" y="615"/>
                    <a:pt x="759" y="619"/>
                    <a:pt x="754" y="615"/>
                  </a:cubicBezTo>
                  <a:cubicBezTo>
                    <a:pt x="750" y="611"/>
                    <a:pt x="745" y="615"/>
                    <a:pt x="753" y="619"/>
                  </a:cubicBezTo>
                  <a:cubicBezTo>
                    <a:pt x="755" y="619"/>
                    <a:pt x="755" y="619"/>
                    <a:pt x="755" y="619"/>
                  </a:cubicBezTo>
                  <a:cubicBezTo>
                    <a:pt x="771" y="626"/>
                    <a:pt x="757" y="638"/>
                    <a:pt x="773" y="638"/>
                  </a:cubicBezTo>
                  <a:cubicBezTo>
                    <a:pt x="790" y="638"/>
                    <a:pt x="804" y="637"/>
                    <a:pt x="818" y="633"/>
                  </a:cubicBezTo>
                  <a:cubicBezTo>
                    <a:pt x="819" y="632"/>
                    <a:pt x="824" y="628"/>
                    <a:pt x="824" y="628"/>
                  </a:cubicBezTo>
                  <a:cubicBezTo>
                    <a:pt x="821" y="626"/>
                    <a:pt x="796" y="634"/>
                    <a:pt x="799" y="631"/>
                  </a:cubicBezTo>
                  <a:cubicBezTo>
                    <a:pt x="809" y="623"/>
                    <a:pt x="819" y="629"/>
                    <a:pt x="823" y="625"/>
                  </a:cubicBezTo>
                  <a:cubicBezTo>
                    <a:pt x="828" y="621"/>
                    <a:pt x="842" y="607"/>
                    <a:pt x="844" y="605"/>
                  </a:cubicBezTo>
                  <a:cubicBezTo>
                    <a:pt x="848" y="603"/>
                    <a:pt x="854" y="609"/>
                    <a:pt x="858" y="605"/>
                  </a:cubicBezTo>
                  <a:cubicBezTo>
                    <a:pt x="859" y="604"/>
                    <a:pt x="842" y="603"/>
                    <a:pt x="848" y="599"/>
                  </a:cubicBezTo>
                  <a:cubicBezTo>
                    <a:pt x="849" y="598"/>
                    <a:pt x="857" y="597"/>
                    <a:pt x="857" y="597"/>
                  </a:cubicBezTo>
                  <a:cubicBezTo>
                    <a:pt x="860" y="598"/>
                    <a:pt x="867" y="598"/>
                    <a:pt x="865" y="596"/>
                  </a:cubicBezTo>
                  <a:cubicBezTo>
                    <a:pt x="864" y="595"/>
                    <a:pt x="846" y="592"/>
                    <a:pt x="844" y="593"/>
                  </a:cubicBezTo>
                  <a:cubicBezTo>
                    <a:pt x="842" y="593"/>
                    <a:pt x="851" y="600"/>
                    <a:pt x="844" y="599"/>
                  </a:cubicBezTo>
                  <a:cubicBezTo>
                    <a:pt x="841" y="598"/>
                    <a:pt x="835" y="587"/>
                    <a:pt x="831" y="590"/>
                  </a:cubicBezTo>
                  <a:cubicBezTo>
                    <a:pt x="829" y="591"/>
                    <a:pt x="826" y="589"/>
                    <a:pt x="824" y="590"/>
                  </a:cubicBezTo>
                  <a:cubicBezTo>
                    <a:pt x="822" y="592"/>
                    <a:pt x="828" y="595"/>
                    <a:pt x="829" y="595"/>
                  </a:cubicBezTo>
                  <a:cubicBezTo>
                    <a:pt x="836" y="600"/>
                    <a:pt x="834" y="600"/>
                    <a:pt x="835" y="605"/>
                  </a:cubicBezTo>
                  <a:cubicBezTo>
                    <a:pt x="836" y="609"/>
                    <a:pt x="828" y="611"/>
                    <a:pt x="824" y="610"/>
                  </a:cubicBezTo>
                  <a:cubicBezTo>
                    <a:pt x="819" y="609"/>
                    <a:pt x="804" y="614"/>
                    <a:pt x="809" y="615"/>
                  </a:cubicBezTo>
                  <a:cubicBezTo>
                    <a:pt x="811" y="616"/>
                    <a:pt x="816" y="617"/>
                    <a:pt x="815" y="619"/>
                  </a:cubicBezTo>
                  <a:cubicBezTo>
                    <a:pt x="815" y="620"/>
                    <a:pt x="779" y="633"/>
                    <a:pt x="776" y="633"/>
                  </a:cubicBezTo>
                  <a:close/>
                  <a:moveTo>
                    <a:pt x="697" y="196"/>
                  </a:moveTo>
                  <a:cubicBezTo>
                    <a:pt x="698" y="191"/>
                    <a:pt x="688" y="183"/>
                    <a:pt x="704" y="195"/>
                  </a:cubicBezTo>
                  <a:cubicBezTo>
                    <a:pt x="705" y="196"/>
                    <a:pt x="707" y="198"/>
                    <a:pt x="709" y="199"/>
                  </a:cubicBezTo>
                  <a:cubicBezTo>
                    <a:pt x="708" y="201"/>
                    <a:pt x="712" y="204"/>
                    <a:pt x="713" y="205"/>
                  </a:cubicBezTo>
                  <a:cubicBezTo>
                    <a:pt x="716" y="206"/>
                    <a:pt x="713" y="202"/>
                    <a:pt x="709" y="199"/>
                  </a:cubicBezTo>
                  <a:cubicBezTo>
                    <a:pt x="709" y="199"/>
                    <a:pt x="709" y="199"/>
                    <a:pt x="709" y="198"/>
                  </a:cubicBezTo>
                  <a:cubicBezTo>
                    <a:pt x="710" y="198"/>
                    <a:pt x="713" y="195"/>
                    <a:pt x="714" y="197"/>
                  </a:cubicBezTo>
                  <a:cubicBezTo>
                    <a:pt x="717" y="200"/>
                    <a:pt x="723" y="203"/>
                    <a:pt x="722" y="207"/>
                  </a:cubicBezTo>
                  <a:cubicBezTo>
                    <a:pt x="721" y="210"/>
                    <a:pt x="694" y="209"/>
                    <a:pt x="690" y="218"/>
                  </a:cubicBezTo>
                  <a:cubicBezTo>
                    <a:pt x="689" y="219"/>
                    <a:pt x="695" y="219"/>
                    <a:pt x="696" y="220"/>
                  </a:cubicBezTo>
                  <a:cubicBezTo>
                    <a:pt x="707" y="224"/>
                    <a:pt x="694" y="216"/>
                    <a:pt x="701" y="214"/>
                  </a:cubicBezTo>
                  <a:cubicBezTo>
                    <a:pt x="702" y="214"/>
                    <a:pt x="710" y="216"/>
                    <a:pt x="710" y="215"/>
                  </a:cubicBezTo>
                  <a:cubicBezTo>
                    <a:pt x="711" y="212"/>
                    <a:pt x="730" y="214"/>
                    <a:pt x="731" y="216"/>
                  </a:cubicBezTo>
                  <a:cubicBezTo>
                    <a:pt x="733" y="218"/>
                    <a:pt x="727" y="221"/>
                    <a:pt x="727" y="222"/>
                  </a:cubicBezTo>
                  <a:cubicBezTo>
                    <a:pt x="729" y="225"/>
                    <a:pt x="735" y="219"/>
                    <a:pt x="734" y="216"/>
                  </a:cubicBezTo>
                  <a:cubicBezTo>
                    <a:pt x="730" y="205"/>
                    <a:pt x="745" y="197"/>
                    <a:pt x="752" y="207"/>
                  </a:cubicBezTo>
                  <a:cubicBezTo>
                    <a:pt x="755" y="211"/>
                    <a:pt x="738" y="217"/>
                    <a:pt x="738" y="219"/>
                  </a:cubicBezTo>
                  <a:cubicBezTo>
                    <a:pt x="738" y="220"/>
                    <a:pt x="769" y="208"/>
                    <a:pt x="770" y="204"/>
                  </a:cubicBezTo>
                  <a:cubicBezTo>
                    <a:pt x="771" y="202"/>
                    <a:pt x="763" y="198"/>
                    <a:pt x="761" y="199"/>
                  </a:cubicBezTo>
                  <a:cubicBezTo>
                    <a:pt x="760" y="200"/>
                    <a:pt x="763" y="201"/>
                    <a:pt x="763" y="201"/>
                  </a:cubicBezTo>
                  <a:cubicBezTo>
                    <a:pt x="768" y="204"/>
                    <a:pt x="761" y="207"/>
                    <a:pt x="757" y="205"/>
                  </a:cubicBezTo>
                  <a:cubicBezTo>
                    <a:pt x="752" y="202"/>
                    <a:pt x="747" y="194"/>
                    <a:pt x="749" y="192"/>
                  </a:cubicBezTo>
                  <a:cubicBezTo>
                    <a:pt x="758" y="186"/>
                    <a:pt x="787" y="209"/>
                    <a:pt x="795" y="197"/>
                  </a:cubicBezTo>
                  <a:cubicBezTo>
                    <a:pt x="796" y="195"/>
                    <a:pt x="792" y="196"/>
                    <a:pt x="791" y="196"/>
                  </a:cubicBezTo>
                  <a:cubicBezTo>
                    <a:pt x="785" y="196"/>
                    <a:pt x="795" y="194"/>
                    <a:pt x="797" y="193"/>
                  </a:cubicBezTo>
                  <a:cubicBezTo>
                    <a:pt x="799" y="191"/>
                    <a:pt x="777" y="198"/>
                    <a:pt x="788" y="190"/>
                  </a:cubicBezTo>
                  <a:cubicBezTo>
                    <a:pt x="792" y="188"/>
                    <a:pt x="790" y="185"/>
                    <a:pt x="786" y="185"/>
                  </a:cubicBezTo>
                  <a:cubicBezTo>
                    <a:pt x="783" y="185"/>
                    <a:pt x="766" y="181"/>
                    <a:pt x="767" y="177"/>
                  </a:cubicBezTo>
                  <a:cubicBezTo>
                    <a:pt x="771" y="163"/>
                    <a:pt x="774" y="172"/>
                    <a:pt x="782" y="170"/>
                  </a:cubicBezTo>
                  <a:cubicBezTo>
                    <a:pt x="783" y="170"/>
                    <a:pt x="781" y="159"/>
                    <a:pt x="785" y="159"/>
                  </a:cubicBezTo>
                  <a:cubicBezTo>
                    <a:pt x="788" y="159"/>
                    <a:pt x="799" y="170"/>
                    <a:pt x="802" y="168"/>
                  </a:cubicBezTo>
                  <a:cubicBezTo>
                    <a:pt x="806" y="165"/>
                    <a:pt x="807" y="154"/>
                    <a:pt x="803" y="155"/>
                  </a:cubicBezTo>
                  <a:cubicBezTo>
                    <a:pt x="802" y="156"/>
                    <a:pt x="797" y="161"/>
                    <a:pt x="796" y="159"/>
                  </a:cubicBezTo>
                  <a:cubicBezTo>
                    <a:pt x="789" y="149"/>
                    <a:pt x="809" y="147"/>
                    <a:pt x="812" y="144"/>
                  </a:cubicBezTo>
                  <a:cubicBezTo>
                    <a:pt x="814" y="141"/>
                    <a:pt x="822" y="136"/>
                    <a:pt x="818" y="137"/>
                  </a:cubicBezTo>
                  <a:cubicBezTo>
                    <a:pt x="815" y="137"/>
                    <a:pt x="795" y="143"/>
                    <a:pt x="796" y="138"/>
                  </a:cubicBezTo>
                  <a:cubicBezTo>
                    <a:pt x="796" y="141"/>
                    <a:pt x="830" y="109"/>
                    <a:pt x="832" y="108"/>
                  </a:cubicBezTo>
                  <a:cubicBezTo>
                    <a:pt x="833" y="107"/>
                    <a:pt x="836" y="107"/>
                    <a:pt x="835" y="105"/>
                  </a:cubicBezTo>
                  <a:cubicBezTo>
                    <a:pt x="827" y="93"/>
                    <a:pt x="817" y="128"/>
                    <a:pt x="792" y="133"/>
                  </a:cubicBezTo>
                  <a:cubicBezTo>
                    <a:pt x="783" y="134"/>
                    <a:pt x="820" y="121"/>
                    <a:pt x="813" y="116"/>
                  </a:cubicBezTo>
                  <a:cubicBezTo>
                    <a:pt x="809" y="112"/>
                    <a:pt x="802" y="120"/>
                    <a:pt x="799" y="121"/>
                  </a:cubicBezTo>
                  <a:cubicBezTo>
                    <a:pt x="782" y="126"/>
                    <a:pt x="776" y="114"/>
                    <a:pt x="774" y="133"/>
                  </a:cubicBezTo>
                  <a:cubicBezTo>
                    <a:pt x="774" y="135"/>
                    <a:pt x="779" y="128"/>
                    <a:pt x="780" y="127"/>
                  </a:cubicBezTo>
                  <a:cubicBezTo>
                    <a:pt x="787" y="121"/>
                    <a:pt x="777" y="133"/>
                    <a:pt x="786" y="126"/>
                  </a:cubicBezTo>
                  <a:cubicBezTo>
                    <a:pt x="787" y="125"/>
                    <a:pt x="790" y="125"/>
                    <a:pt x="790" y="126"/>
                  </a:cubicBezTo>
                  <a:cubicBezTo>
                    <a:pt x="792" y="129"/>
                    <a:pt x="779" y="142"/>
                    <a:pt x="775" y="138"/>
                  </a:cubicBezTo>
                  <a:cubicBezTo>
                    <a:pt x="773" y="136"/>
                    <a:pt x="772" y="144"/>
                    <a:pt x="769" y="141"/>
                  </a:cubicBezTo>
                  <a:cubicBezTo>
                    <a:pt x="767" y="139"/>
                    <a:pt x="772" y="134"/>
                    <a:pt x="771" y="132"/>
                  </a:cubicBezTo>
                  <a:cubicBezTo>
                    <a:pt x="770" y="131"/>
                    <a:pt x="770" y="131"/>
                    <a:pt x="771" y="129"/>
                  </a:cubicBezTo>
                  <a:cubicBezTo>
                    <a:pt x="777" y="120"/>
                    <a:pt x="769" y="128"/>
                    <a:pt x="764" y="129"/>
                  </a:cubicBezTo>
                  <a:cubicBezTo>
                    <a:pt x="763" y="130"/>
                    <a:pt x="759" y="130"/>
                    <a:pt x="759" y="132"/>
                  </a:cubicBezTo>
                  <a:cubicBezTo>
                    <a:pt x="757" y="139"/>
                    <a:pt x="766" y="152"/>
                    <a:pt x="776" y="142"/>
                  </a:cubicBezTo>
                  <a:cubicBezTo>
                    <a:pt x="779" y="139"/>
                    <a:pt x="787" y="140"/>
                    <a:pt x="786" y="143"/>
                  </a:cubicBezTo>
                  <a:cubicBezTo>
                    <a:pt x="784" y="151"/>
                    <a:pt x="771" y="151"/>
                    <a:pt x="756" y="146"/>
                  </a:cubicBezTo>
                  <a:cubicBezTo>
                    <a:pt x="754" y="145"/>
                    <a:pt x="751" y="146"/>
                    <a:pt x="748" y="147"/>
                  </a:cubicBezTo>
                  <a:cubicBezTo>
                    <a:pt x="719" y="162"/>
                    <a:pt x="715" y="185"/>
                    <a:pt x="677" y="188"/>
                  </a:cubicBezTo>
                  <a:cubicBezTo>
                    <a:pt x="677" y="189"/>
                    <a:pt x="677" y="189"/>
                    <a:pt x="677" y="189"/>
                  </a:cubicBezTo>
                  <a:cubicBezTo>
                    <a:pt x="670" y="191"/>
                    <a:pt x="695" y="203"/>
                    <a:pt x="697" y="196"/>
                  </a:cubicBezTo>
                  <a:close/>
                  <a:moveTo>
                    <a:pt x="593" y="321"/>
                  </a:moveTo>
                  <a:cubicBezTo>
                    <a:pt x="594" y="325"/>
                    <a:pt x="601" y="320"/>
                    <a:pt x="603" y="320"/>
                  </a:cubicBezTo>
                  <a:cubicBezTo>
                    <a:pt x="611" y="318"/>
                    <a:pt x="615" y="315"/>
                    <a:pt x="620" y="315"/>
                  </a:cubicBezTo>
                  <a:cubicBezTo>
                    <a:pt x="640" y="317"/>
                    <a:pt x="649" y="346"/>
                    <a:pt x="669" y="337"/>
                  </a:cubicBezTo>
                  <a:cubicBezTo>
                    <a:pt x="674" y="334"/>
                    <a:pt x="653" y="326"/>
                    <a:pt x="657" y="323"/>
                  </a:cubicBezTo>
                  <a:cubicBezTo>
                    <a:pt x="667" y="315"/>
                    <a:pt x="699" y="320"/>
                    <a:pt x="702" y="331"/>
                  </a:cubicBezTo>
                  <a:cubicBezTo>
                    <a:pt x="704" y="335"/>
                    <a:pt x="700" y="338"/>
                    <a:pt x="702" y="342"/>
                  </a:cubicBezTo>
                  <a:cubicBezTo>
                    <a:pt x="704" y="345"/>
                    <a:pt x="689" y="348"/>
                    <a:pt x="691" y="349"/>
                  </a:cubicBezTo>
                  <a:cubicBezTo>
                    <a:pt x="700" y="353"/>
                    <a:pt x="733" y="367"/>
                    <a:pt x="742" y="358"/>
                  </a:cubicBezTo>
                  <a:cubicBezTo>
                    <a:pt x="743" y="358"/>
                    <a:pt x="737" y="356"/>
                    <a:pt x="737" y="353"/>
                  </a:cubicBezTo>
                  <a:cubicBezTo>
                    <a:pt x="738" y="348"/>
                    <a:pt x="748" y="338"/>
                    <a:pt x="751" y="335"/>
                  </a:cubicBezTo>
                  <a:cubicBezTo>
                    <a:pt x="752" y="333"/>
                    <a:pt x="789" y="339"/>
                    <a:pt x="766" y="332"/>
                  </a:cubicBezTo>
                  <a:cubicBezTo>
                    <a:pt x="766" y="332"/>
                    <a:pt x="766" y="332"/>
                    <a:pt x="766" y="332"/>
                  </a:cubicBezTo>
                  <a:cubicBezTo>
                    <a:pt x="776" y="324"/>
                    <a:pt x="763" y="316"/>
                    <a:pt x="759" y="320"/>
                  </a:cubicBezTo>
                  <a:cubicBezTo>
                    <a:pt x="758" y="321"/>
                    <a:pt x="769" y="323"/>
                    <a:pt x="768" y="327"/>
                  </a:cubicBezTo>
                  <a:cubicBezTo>
                    <a:pt x="766" y="330"/>
                    <a:pt x="741" y="335"/>
                    <a:pt x="741" y="330"/>
                  </a:cubicBezTo>
                  <a:cubicBezTo>
                    <a:pt x="740" y="325"/>
                    <a:pt x="747" y="323"/>
                    <a:pt x="747" y="319"/>
                  </a:cubicBezTo>
                  <a:cubicBezTo>
                    <a:pt x="746" y="311"/>
                    <a:pt x="740" y="323"/>
                    <a:pt x="739" y="323"/>
                  </a:cubicBezTo>
                  <a:cubicBezTo>
                    <a:pt x="733" y="324"/>
                    <a:pt x="734" y="318"/>
                    <a:pt x="725" y="321"/>
                  </a:cubicBezTo>
                  <a:cubicBezTo>
                    <a:pt x="721" y="323"/>
                    <a:pt x="737" y="330"/>
                    <a:pt x="737" y="331"/>
                  </a:cubicBezTo>
                  <a:cubicBezTo>
                    <a:pt x="737" y="338"/>
                    <a:pt x="723" y="331"/>
                    <a:pt x="716" y="333"/>
                  </a:cubicBezTo>
                  <a:cubicBezTo>
                    <a:pt x="703" y="336"/>
                    <a:pt x="721" y="293"/>
                    <a:pt x="708" y="315"/>
                  </a:cubicBezTo>
                  <a:cubicBezTo>
                    <a:pt x="705" y="320"/>
                    <a:pt x="703" y="319"/>
                    <a:pt x="698" y="321"/>
                  </a:cubicBezTo>
                  <a:cubicBezTo>
                    <a:pt x="690" y="325"/>
                    <a:pt x="679" y="308"/>
                    <a:pt x="672" y="307"/>
                  </a:cubicBezTo>
                  <a:cubicBezTo>
                    <a:pt x="669" y="306"/>
                    <a:pt x="672" y="310"/>
                    <a:pt x="672" y="311"/>
                  </a:cubicBezTo>
                  <a:cubicBezTo>
                    <a:pt x="677" y="315"/>
                    <a:pt x="659" y="321"/>
                    <a:pt x="656" y="320"/>
                  </a:cubicBezTo>
                  <a:cubicBezTo>
                    <a:pt x="652" y="320"/>
                    <a:pt x="652" y="313"/>
                    <a:pt x="649" y="310"/>
                  </a:cubicBezTo>
                  <a:cubicBezTo>
                    <a:pt x="648" y="309"/>
                    <a:pt x="643" y="314"/>
                    <a:pt x="641" y="313"/>
                  </a:cubicBezTo>
                  <a:cubicBezTo>
                    <a:pt x="633" y="311"/>
                    <a:pt x="624" y="301"/>
                    <a:pt x="610" y="306"/>
                  </a:cubicBezTo>
                  <a:cubicBezTo>
                    <a:pt x="605" y="307"/>
                    <a:pt x="617" y="308"/>
                    <a:pt x="614" y="310"/>
                  </a:cubicBezTo>
                  <a:cubicBezTo>
                    <a:pt x="609" y="312"/>
                    <a:pt x="600" y="303"/>
                    <a:pt x="599" y="308"/>
                  </a:cubicBezTo>
                  <a:cubicBezTo>
                    <a:pt x="599" y="313"/>
                    <a:pt x="609" y="313"/>
                    <a:pt x="609" y="313"/>
                  </a:cubicBezTo>
                  <a:cubicBezTo>
                    <a:pt x="606" y="321"/>
                    <a:pt x="592" y="308"/>
                    <a:pt x="593" y="321"/>
                  </a:cubicBezTo>
                  <a:close/>
                  <a:moveTo>
                    <a:pt x="561" y="1014"/>
                  </a:moveTo>
                  <a:cubicBezTo>
                    <a:pt x="563" y="1019"/>
                    <a:pt x="583" y="1020"/>
                    <a:pt x="582" y="1013"/>
                  </a:cubicBezTo>
                  <a:cubicBezTo>
                    <a:pt x="580" y="1000"/>
                    <a:pt x="584" y="1012"/>
                    <a:pt x="582" y="996"/>
                  </a:cubicBezTo>
                  <a:cubicBezTo>
                    <a:pt x="582" y="995"/>
                    <a:pt x="582" y="995"/>
                    <a:pt x="582" y="995"/>
                  </a:cubicBezTo>
                  <a:cubicBezTo>
                    <a:pt x="580" y="993"/>
                    <a:pt x="576" y="986"/>
                    <a:pt x="576" y="989"/>
                  </a:cubicBezTo>
                  <a:cubicBezTo>
                    <a:pt x="576" y="991"/>
                    <a:pt x="578" y="991"/>
                    <a:pt x="577" y="994"/>
                  </a:cubicBezTo>
                  <a:cubicBezTo>
                    <a:pt x="573" y="1011"/>
                    <a:pt x="570" y="990"/>
                    <a:pt x="562" y="1001"/>
                  </a:cubicBezTo>
                  <a:cubicBezTo>
                    <a:pt x="560" y="1004"/>
                    <a:pt x="570" y="1015"/>
                    <a:pt x="567" y="1012"/>
                  </a:cubicBezTo>
                  <a:cubicBezTo>
                    <a:pt x="565" y="1010"/>
                    <a:pt x="559" y="1010"/>
                    <a:pt x="561" y="1014"/>
                  </a:cubicBezTo>
                  <a:close/>
                  <a:moveTo>
                    <a:pt x="557" y="1055"/>
                  </a:moveTo>
                  <a:cubicBezTo>
                    <a:pt x="560" y="1055"/>
                    <a:pt x="569" y="1064"/>
                    <a:pt x="570" y="1063"/>
                  </a:cubicBezTo>
                  <a:cubicBezTo>
                    <a:pt x="574" y="1060"/>
                    <a:pt x="558" y="1055"/>
                    <a:pt x="562" y="1052"/>
                  </a:cubicBezTo>
                  <a:cubicBezTo>
                    <a:pt x="565" y="1050"/>
                    <a:pt x="587" y="1077"/>
                    <a:pt x="583" y="1062"/>
                  </a:cubicBezTo>
                  <a:cubicBezTo>
                    <a:pt x="582" y="1062"/>
                    <a:pt x="582" y="1062"/>
                    <a:pt x="582" y="1062"/>
                  </a:cubicBezTo>
                  <a:cubicBezTo>
                    <a:pt x="572" y="1055"/>
                    <a:pt x="562" y="1047"/>
                    <a:pt x="557" y="1039"/>
                  </a:cubicBezTo>
                  <a:cubicBezTo>
                    <a:pt x="556" y="1038"/>
                    <a:pt x="552" y="1042"/>
                    <a:pt x="551" y="1042"/>
                  </a:cubicBezTo>
                  <a:cubicBezTo>
                    <a:pt x="540" y="1043"/>
                    <a:pt x="547" y="1054"/>
                    <a:pt x="557" y="1055"/>
                  </a:cubicBezTo>
                  <a:close/>
                  <a:moveTo>
                    <a:pt x="515" y="1015"/>
                  </a:moveTo>
                  <a:cubicBezTo>
                    <a:pt x="519" y="1018"/>
                    <a:pt x="518" y="1019"/>
                    <a:pt x="520" y="1023"/>
                  </a:cubicBezTo>
                  <a:cubicBezTo>
                    <a:pt x="520" y="1024"/>
                    <a:pt x="521" y="1025"/>
                    <a:pt x="521" y="1026"/>
                  </a:cubicBezTo>
                  <a:cubicBezTo>
                    <a:pt x="522" y="1034"/>
                    <a:pt x="530" y="1039"/>
                    <a:pt x="534" y="1045"/>
                  </a:cubicBezTo>
                  <a:cubicBezTo>
                    <a:pt x="535" y="1046"/>
                    <a:pt x="535" y="1046"/>
                    <a:pt x="535" y="1046"/>
                  </a:cubicBezTo>
                  <a:cubicBezTo>
                    <a:pt x="553" y="1053"/>
                    <a:pt x="522" y="1026"/>
                    <a:pt x="523" y="1023"/>
                  </a:cubicBezTo>
                  <a:cubicBezTo>
                    <a:pt x="525" y="1014"/>
                    <a:pt x="512" y="1012"/>
                    <a:pt x="515" y="1015"/>
                  </a:cubicBezTo>
                  <a:close/>
                  <a:moveTo>
                    <a:pt x="500" y="1048"/>
                  </a:moveTo>
                  <a:cubicBezTo>
                    <a:pt x="501" y="1051"/>
                    <a:pt x="505" y="1074"/>
                    <a:pt x="504" y="1076"/>
                  </a:cubicBezTo>
                  <a:cubicBezTo>
                    <a:pt x="502" y="1082"/>
                    <a:pt x="495" y="1068"/>
                    <a:pt x="494" y="1070"/>
                  </a:cubicBezTo>
                  <a:cubicBezTo>
                    <a:pt x="493" y="1074"/>
                    <a:pt x="511" y="1094"/>
                    <a:pt x="512" y="1101"/>
                  </a:cubicBezTo>
                  <a:cubicBezTo>
                    <a:pt x="514" y="1110"/>
                    <a:pt x="493" y="1097"/>
                    <a:pt x="506" y="1111"/>
                  </a:cubicBezTo>
                  <a:cubicBezTo>
                    <a:pt x="507" y="1111"/>
                    <a:pt x="507" y="1111"/>
                    <a:pt x="507" y="1111"/>
                  </a:cubicBezTo>
                  <a:cubicBezTo>
                    <a:pt x="507" y="1112"/>
                    <a:pt x="515" y="1115"/>
                    <a:pt x="514" y="1107"/>
                  </a:cubicBezTo>
                  <a:cubicBezTo>
                    <a:pt x="513" y="1103"/>
                    <a:pt x="525" y="1099"/>
                    <a:pt x="524" y="1098"/>
                  </a:cubicBezTo>
                  <a:cubicBezTo>
                    <a:pt x="519" y="1094"/>
                    <a:pt x="518" y="1099"/>
                    <a:pt x="512" y="1094"/>
                  </a:cubicBezTo>
                  <a:cubicBezTo>
                    <a:pt x="511" y="1093"/>
                    <a:pt x="508" y="1093"/>
                    <a:pt x="511" y="1091"/>
                  </a:cubicBezTo>
                  <a:cubicBezTo>
                    <a:pt x="514" y="1089"/>
                    <a:pt x="508" y="1085"/>
                    <a:pt x="511" y="1085"/>
                  </a:cubicBezTo>
                  <a:cubicBezTo>
                    <a:pt x="532" y="1083"/>
                    <a:pt x="506" y="1081"/>
                    <a:pt x="511" y="1077"/>
                  </a:cubicBezTo>
                  <a:cubicBezTo>
                    <a:pt x="511" y="1076"/>
                    <a:pt x="515" y="1078"/>
                    <a:pt x="515" y="1077"/>
                  </a:cubicBezTo>
                  <a:cubicBezTo>
                    <a:pt x="515" y="1076"/>
                    <a:pt x="513" y="1074"/>
                    <a:pt x="513" y="1073"/>
                  </a:cubicBezTo>
                  <a:cubicBezTo>
                    <a:pt x="512" y="1072"/>
                    <a:pt x="507" y="1039"/>
                    <a:pt x="495" y="1039"/>
                  </a:cubicBezTo>
                  <a:cubicBezTo>
                    <a:pt x="491" y="1039"/>
                    <a:pt x="500" y="1048"/>
                    <a:pt x="500" y="1048"/>
                  </a:cubicBezTo>
                  <a:close/>
                  <a:moveTo>
                    <a:pt x="539" y="1131"/>
                  </a:moveTo>
                  <a:cubicBezTo>
                    <a:pt x="539" y="1131"/>
                    <a:pt x="539" y="1131"/>
                    <a:pt x="539" y="1131"/>
                  </a:cubicBezTo>
                  <a:cubicBezTo>
                    <a:pt x="540" y="1129"/>
                    <a:pt x="529" y="1123"/>
                    <a:pt x="528" y="1124"/>
                  </a:cubicBezTo>
                  <a:cubicBezTo>
                    <a:pt x="528" y="1124"/>
                    <a:pt x="528" y="1124"/>
                    <a:pt x="528" y="1125"/>
                  </a:cubicBezTo>
                  <a:cubicBezTo>
                    <a:pt x="527" y="1143"/>
                    <a:pt x="513" y="1129"/>
                    <a:pt x="501" y="1140"/>
                  </a:cubicBezTo>
                  <a:cubicBezTo>
                    <a:pt x="499" y="1142"/>
                    <a:pt x="494" y="1134"/>
                    <a:pt x="495" y="1140"/>
                  </a:cubicBezTo>
                  <a:cubicBezTo>
                    <a:pt x="497" y="1152"/>
                    <a:pt x="530" y="1126"/>
                    <a:pt x="537" y="1142"/>
                  </a:cubicBezTo>
                  <a:cubicBezTo>
                    <a:pt x="543" y="1156"/>
                    <a:pt x="520" y="1137"/>
                    <a:pt x="518" y="1142"/>
                  </a:cubicBezTo>
                  <a:cubicBezTo>
                    <a:pt x="513" y="1149"/>
                    <a:pt x="540" y="1153"/>
                    <a:pt x="541" y="1153"/>
                  </a:cubicBezTo>
                  <a:cubicBezTo>
                    <a:pt x="543" y="1153"/>
                    <a:pt x="538" y="1132"/>
                    <a:pt x="539" y="1131"/>
                  </a:cubicBezTo>
                  <a:close/>
                  <a:moveTo>
                    <a:pt x="486" y="1240"/>
                  </a:moveTo>
                  <a:cubicBezTo>
                    <a:pt x="490" y="1243"/>
                    <a:pt x="495" y="1237"/>
                    <a:pt x="502" y="1243"/>
                  </a:cubicBezTo>
                  <a:cubicBezTo>
                    <a:pt x="503" y="1245"/>
                    <a:pt x="501" y="1255"/>
                    <a:pt x="505" y="1254"/>
                  </a:cubicBezTo>
                  <a:cubicBezTo>
                    <a:pt x="506" y="1254"/>
                    <a:pt x="506" y="1248"/>
                    <a:pt x="506" y="1247"/>
                  </a:cubicBezTo>
                  <a:cubicBezTo>
                    <a:pt x="510" y="1244"/>
                    <a:pt x="503" y="1242"/>
                    <a:pt x="501" y="1240"/>
                  </a:cubicBezTo>
                  <a:cubicBezTo>
                    <a:pt x="500" y="1240"/>
                    <a:pt x="500" y="1240"/>
                    <a:pt x="500" y="1240"/>
                  </a:cubicBezTo>
                  <a:cubicBezTo>
                    <a:pt x="487" y="1235"/>
                    <a:pt x="503" y="1228"/>
                    <a:pt x="505" y="1231"/>
                  </a:cubicBezTo>
                  <a:cubicBezTo>
                    <a:pt x="505" y="1231"/>
                    <a:pt x="504" y="1235"/>
                    <a:pt x="506" y="1233"/>
                  </a:cubicBezTo>
                  <a:cubicBezTo>
                    <a:pt x="511" y="1230"/>
                    <a:pt x="509" y="1220"/>
                    <a:pt x="510" y="1215"/>
                  </a:cubicBezTo>
                  <a:cubicBezTo>
                    <a:pt x="511" y="1213"/>
                    <a:pt x="515" y="1211"/>
                    <a:pt x="514" y="1209"/>
                  </a:cubicBezTo>
                  <a:cubicBezTo>
                    <a:pt x="513" y="1209"/>
                    <a:pt x="513" y="1208"/>
                    <a:pt x="513" y="1207"/>
                  </a:cubicBezTo>
                  <a:cubicBezTo>
                    <a:pt x="512" y="1207"/>
                    <a:pt x="510" y="1207"/>
                    <a:pt x="510" y="1207"/>
                  </a:cubicBezTo>
                  <a:cubicBezTo>
                    <a:pt x="507" y="1207"/>
                    <a:pt x="507" y="1200"/>
                    <a:pt x="503" y="1201"/>
                  </a:cubicBezTo>
                  <a:cubicBezTo>
                    <a:pt x="502" y="1201"/>
                    <a:pt x="505" y="1209"/>
                    <a:pt x="506" y="1209"/>
                  </a:cubicBezTo>
                  <a:cubicBezTo>
                    <a:pt x="508" y="1210"/>
                    <a:pt x="508" y="1218"/>
                    <a:pt x="506" y="1224"/>
                  </a:cubicBezTo>
                  <a:cubicBezTo>
                    <a:pt x="504" y="1229"/>
                    <a:pt x="492" y="1227"/>
                    <a:pt x="491" y="1234"/>
                  </a:cubicBezTo>
                  <a:cubicBezTo>
                    <a:pt x="491" y="1235"/>
                    <a:pt x="486" y="1240"/>
                    <a:pt x="486" y="1240"/>
                  </a:cubicBezTo>
                  <a:close/>
                  <a:moveTo>
                    <a:pt x="475" y="1124"/>
                  </a:moveTo>
                  <a:cubicBezTo>
                    <a:pt x="477" y="1128"/>
                    <a:pt x="467" y="1145"/>
                    <a:pt x="475" y="1142"/>
                  </a:cubicBezTo>
                  <a:cubicBezTo>
                    <a:pt x="486" y="1138"/>
                    <a:pt x="472" y="1118"/>
                    <a:pt x="471" y="1113"/>
                  </a:cubicBezTo>
                  <a:cubicBezTo>
                    <a:pt x="471" y="1112"/>
                    <a:pt x="471" y="1112"/>
                    <a:pt x="471" y="1112"/>
                  </a:cubicBezTo>
                  <a:cubicBezTo>
                    <a:pt x="467" y="1109"/>
                    <a:pt x="463" y="1107"/>
                    <a:pt x="460" y="1110"/>
                  </a:cubicBezTo>
                  <a:cubicBezTo>
                    <a:pt x="457" y="1113"/>
                    <a:pt x="474" y="1122"/>
                    <a:pt x="475" y="1124"/>
                  </a:cubicBezTo>
                  <a:close/>
                  <a:moveTo>
                    <a:pt x="404" y="1122"/>
                  </a:moveTo>
                  <a:cubicBezTo>
                    <a:pt x="404" y="1122"/>
                    <a:pt x="404" y="1122"/>
                    <a:pt x="404" y="1122"/>
                  </a:cubicBezTo>
                  <a:cubicBezTo>
                    <a:pt x="404" y="1122"/>
                    <a:pt x="404" y="1122"/>
                    <a:pt x="404" y="1122"/>
                  </a:cubicBezTo>
                  <a:close/>
                  <a:moveTo>
                    <a:pt x="391" y="1183"/>
                  </a:moveTo>
                  <a:cubicBezTo>
                    <a:pt x="402" y="1187"/>
                    <a:pt x="402" y="1171"/>
                    <a:pt x="405" y="1167"/>
                  </a:cubicBezTo>
                  <a:cubicBezTo>
                    <a:pt x="408" y="1164"/>
                    <a:pt x="419" y="1171"/>
                    <a:pt x="422" y="1167"/>
                  </a:cubicBezTo>
                  <a:cubicBezTo>
                    <a:pt x="423" y="1166"/>
                    <a:pt x="403" y="1135"/>
                    <a:pt x="404" y="1126"/>
                  </a:cubicBezTo>
                  <a:cubicBezTo>
                    <a:pt x="404" y="1125"/>
                    <a:pt x="404" y="1125"/>
                    <a:pt x="404" y="1125"/>
                  </a:cubicBezTo>
                  <a:cubicBezTo>
                    <a:pt x="405" y="1121"/>
                    <a:pt x="402" y="1119"/>
                    <a:pt x="401" y="1124"/>
                  </a:cubicBezTo>
                  <a:cubicBezTo>
                    <a:pt x="399" y="1142"/>
                    <a:pt x="417" y="1155"/>
                    <a:pt x="414" y="1163"/>
                  </a:cubicBezTo>
                  <a:cubicBezTo>
                    <a:pt x="412" y="1167"/>
                    <a:pt x="407" y="1162"/>
                    <a:pt x="406" y="1161"/>
                  </a:cubicBezTo>
                  <a:cubicBezTo>
                    <a:pt x="402" y="1159"/>
                    <a:pt x="406" y="1164"/>
                    <a:pt x="404" y="1165"/>
                  </a:cubicBezTo>
                  <a:cubicBezTo>
                    <a:pt x="402" y="1167"/>
                    <a:pt x="401" y="1169"/>
                    <a:pt x="400" y="1170"/>
                  </a:cubicBezTo>
                  <a:cubicBezTo>
                    <a:pt x="397" y="1172"/>
                    <a:pt x="392" y="1163"/>
                    <a:pt x="392" y="1168"/>
                  </a:cubicBezTo>
                  <a:cubicBezTo>
                    <a:pt x="391" y="1171"/>
                    <a:pt x="397" y="1171"/>
                    <a:pt x="398" y="1173"/>
                  </a:cubicBezTo>
                  <a:cubicBezTo>
                    <a:pt x="399" y="1177"/>
                    <a:pt x="390" y="1183"/>
                    <a:pt x="391" y="1183"/>
                  </a:cubicBezTo>
                  <a:close/>
                  <a:moveTo>
                    <a:pt x="369" y="1088"/>
                  </a:moveTo>
                  <a:cubicBezTo>
                    <a:pt x="370" y="1089"/>
                    <a:pt x="374" y="1090"/>
                    <a:pt x="374" y="1087"/>
                  </a:cubicBezTo>
                  <a:cubicBezTo>
                    <a:pt x="375" y="1078"/>
                    <a:pt x="383" y="1080"/>
                    <a:pt x="382" y="1068"/>
                  </a:cubicBezTo>
                  <a:cubicBezTo>
                    <a:pt x="381" y="1062"/>
                    <a:pt x="374" y="1062"/>
                    <a:pt x="371" y="1058"/>
                  </a:cubicBezTo>
                  <a:cubicBezTo>
                    <a:pt x="371" y="1058"/>
                    <a:pt x="371" y="1058"/>
                    <a:pt x="371" y="1058"/>
                  </a:cubicBezTo>
                  <a:cubicBezTo>
                    <a:pt x="370" y="1057"/>
                    <a:pt x="360" y="1075"/>
                    <a:pt x="369" y="1088"/>
                  </a:cubicBezTo>
                  <a:close/>
                  <a:moveTo>
                    <a:pt x="329" y="1285"/>
                  </a:moveTo>
                  <a:cubicBezTo>
                    <a:pt x="329" y="1288"/>
                    <a:pt x="343" y="1283"/>
                    <a:pt x="339" y="1282"/>
                  </a:cubicBezTo>
                  <a:cubicBezTo>
                    <a:pt x="333" y="1279"/>
                    <a:pt x="327" y="1274"/>
                    <a:pt x="316" y="1268"/>
                  </a:cubicBezTo>
                  <a:cubicBezTo>
                    <a:pt x="314" y="1267"/>
                    <a:pt x="314" y="1267"/>
                    <a:pt x="314" y="1267"/>
                  </a:cubicBezTo>
                  <a:cubicBezTo>
                    <a:pt x="299" y="1263"/>
                    <a:pt x="330" y="1277"/>
                    <a:pt x="329" y="1285"/>
                  </a:cubicBezTo>
                  <a:close/>
                  <a:moveTo>
                    <a:pt x="344" y="1320"/>
                  </a:moveTo>
                  <a:cubicBezTo>
                    <a:pt x="344" y="1320"/>
                    <a:pt x="344" y="1320"/>
                    <a:pt x="344" y="1320"/>
                  </a:cubicBezTo>
                  <a:cubicBezTo>
                    <a:pt x="345" y="1320"/>
                    <a:pt x="349" y="1321"/>
                    <a:pt x="349" y="1320"/>
                  </a:cubicBezTo>
                  <a:cubicBezTo>
                    <a:pt x="350" y="1318"/>
                    <a:pt x="347" y="1319"/>
                    <a:pt x="346" y="1319"/>
                  </a:cubicBezTo>
                  <a:cubicBezTo>
                    <a:pt x="319" y="1323"/>
                    <a:pt x="312" y="1329"/>
                    <a:pt x="287" y="1344"/>
                  </a:cubicBezTo>
                  <a:cubicBezTo>
                    <a:pt x="282" y="1347"/>
                    <a:pt x="278" y="1351"/>
                    <a:pt x="277" y="1356"/>
                  </a:cubicBezTo>
                  <a:cubicBezTo>
                    <a:pt x="277" y="1356"/>
                    <a:pt x="280" y="1357"/>
                    <a:pt x="280" y="1357"/>
                  </a:cubicBezTo>
                  <a:cubicBezTo>
                    <a:pt x="286" y="1360"/>
                    <a:pt x="282" y="1353"/>
                    <a:pt x="283" y="1351"/>
                  </a:cubicBezTo>
                  <a:cubicBezTo>
                    <a:pt x="289" y="1345"/>
                    <a:pt x="294" y="1340"/>
                    <a:pt x="302" y="1339"/>
                  </a:cubicBezTo>
                  <a:cubicBezTo>
                    <a:pt x="321" y="1334"/>
                    <a:pt x="317" y="1323"/>
                    <a:pt x="337" y="1328"/>
                  </a:cubicBezTo>
                  <a:cubicBezTo>
                    <a:pt x="337" y="1328"/>
                    <a:pt x="338" y="1328"/>
                    <a:pt x="338" y="1328"/>
                  </a:cubicBezTo>
                  <a:cubicBezTo>
                    <a:pt x="341" y="1326"/>
                    <a:pt x="330" y="1321"/>
                    <a:pt x="344" y="1320"/>
                  </a:cubicBezTo>
                  <a:close/>
                  <a:moveTo>
                    <a:pt x="380" y="1349"/>
                  </a:moveTo>
                  <a:cubicBezTo>
                    <a:pt x="388" y="1334"/>
                    <a:pt x="354" y="1342"/>
                    <a:pt x="359" y="1326"/>
                  </a:cubicBezTo>
                  <a:cubicBezTo>
                    <a:pt x="362" y="1318"/>
                    <a:pt x="392" y="1320"/>
                    <a:pt x="388" y="1298"/>
                  </a:cubicBezTo>
                  <a:cubicBezTo>
                    <a:pt x="388" y="1296"/>
                    <a:pt x="382" y="1303"/>
                    <a:pt x="382" y="1296"/>
                  </a:cubicBezTo>
                  <a:cubicBezTo>
                    <a:pt x="382" y="1295"/>
                    <a:pt x="399" y="1293"/>
                    <a:pt x="398" y="1291"/>
                  </a:cubicBezTo>
                  <a:cubicBezTo>
                    <a:pt x="396" y="1288"/>
                    <a:pt x="383" y="1296"/>
                    <a:pt x="379" y="1291"/>
                  </a:cubicBezTo>
                  <a:cubicBezTo>
                    <a:pt x="377" y="1287"/>
                    <a:pt x="387" y="1285"/>
                    <a:pt x="388" y="1281"/>
                  </a:cubicBezTo>
                  <a:cubicBezTo>
                    <a:pt x="389" y="1277"/>
                    <a:pt x="382" y="1276"/>
                    <a:pt x="380" y="1274"/>
                  </a:cubicBezTo>
                  <a:cubicBezTo>
                    <a:pt x="378" y="1271"/>
                    <a:pt x="400" y="1261"/>
                    <a:pt x="401" y="1260"/>
                  </a:cubicBezTo>
                  <a:cubicBezTo>
                    <a:pt x="416" y="1244"/>
                    <a:pt x="403" y="1259"/>
                    <a:pt x="421" y="1248"/>
                  </a:cubicBezTo>
                  <a:cubicBezTo>
                    <a:pt x="423" y="1247"/>
                    <a:pt x="408" y="1241"/>
                    <a:pt x="410" y="1235"/>
                  </a:cubicBezTo>
                  <a:cubicBezTo>
                    <a:pt x="410" y="1234"/>
                    <a:pt x="428" y="1242"/>
                    <a:pt x="429" y="1242"/>
                  </a:cubicBezTo>
                  <a:cubicBezTo>
                    <a:pt x="446" y="1244"/>
                    <a:pt x="448" y="1235"/>
                    <a:pt x="463" y="1251"/>
                  </a:cubicBezTo>
                  <a:cubicBezTo>
                    <a:pt x="465" y="1252"/>
                    <a:pt x="468" y="1257"/>
                    <a:pt x="470" y="1257"/>
                  </a:cubicBezTo>
                  <a:cubicBezTo>
                    <a:pt x="470" y="1257"/>
                    <a:pt x="462" y="1241"/>
                    <a:pt x="456" y="1240"/>
                  </a:cubicBezTo>
                  <a:cubicBezTo>
                    <a:pt x="456" y="1240"/>
                    <a:pt x="456" y="1240"/>
                    <a:pt x="456" y="1240"/>
                  </a:cubicBezTo>
                  <a:cubicBezTo>
                    <a:pt x="465" y="1232"/>
                    <a:pt x="466" y="1225"/>
                    <a:pt x="466" y="1218"/>
                  </a:cubicBezTo>
                  <a:cubicBezTo>
                    <a:pt x="466" y="1217"/>
                    <a:pt x="477" y="1206"/>
                    <a:pt x="470" y="1208"/>
                  </a:cubicBezTo>
                  <a:cubicBezTo>
                    <a:pt x="468" y="1209"/>
                    <a:pt x="467" y="1215"/>
                    <a:pt x="465" y="1214"/>
                  </a:cubicBezTo>
                  <a:cubicBezTo>
                    <a:pt x="459" y="1212"/>
                    <a:pt x="469" y="1200"/>
                    <a:pt x="466" y="1199"/>
                  </a:cubicBezTo>
                  <a:cubicBezTo>
                    <a:pt x="447" y="1197"/>
                    <a:pt x="465" y="1226"/>
                    <a:pt x="457" y="1231"/>
                  </a:cubicBezTo>
                  <a:cubicBezTo>
                    <a:pt x="456" y="1231"/>
                    <a:pt x="451" y="1223"/>
                    <a:pt x="450" y="1222"/>
                  </a:cubicBezTo>
                  <a:cubicBezTo>
                    <a:pt x="447" y="1219"/>
                    <a:pt x="439" y="1218"/>
                    <a:pt x="436" y="1216"/>
                  </a:cubicBezTo>
                  <a:cubicBezTo>
                    <a:pt x="435" y="1216"/>
                    <a:pt x="429" y="1213"/>
                    <a:pt x="429" y="1215"/>
                  </a:cubicBezTo>
                  <a:cubicBezTo>
                    <a:pt x="430" y="1228"/>
                    <a:pt x="446" y="1219"/>
                    <a:pt x="453" y="1232"/>
                  </a:cubicBezTo>
                  <a:cubicBezTo>
                    <a:pt x="453" y="1233"/>
                    <a:pt x="457" y="1237"/>
                    <a:pt x="456" y="1238"/>
                  </a:cubicBezTo>
                  <a:cubicBezTo>
                    <a:pt x="456" y="1238"/>
                    <a:pt x="454" y="1238"/>
                    <a:pt x="453" y="1238"/>
                  </a:cubicBezTo>
                  <a:cubicBezTo>
                    <a:pt x="440" y="1236"/>
                    <a:pt x="431" y="1240"/>
                    <a:pt x="432" y="1229"/>
                  </a:cubicBezTo>
                  <a:cubicBezTo>
                    <a:pt x="432" y="1227"/>
                    <a:pt x="438" y="1226"/>
                    <a:pt x="435" y="1225"/>
                  </a:cubicBezTo>
                  <a:cubicBezTo>
                    <a:pt x="433" y="1224"/>
                    <a:pt x="430" y="1221"/>
                    <a:pt x="428" y="1222"/>
                  </a:cubicBezTo>
                  <a:cubicBezTo>
                    <a:pt x="424" y="1226"/>
                    <a:pt x="419" y="1243"/>
                    <a:pt x="412" y="1231"/>
                  </a:cubicBezTo>
                  <a:cubicBezTo>
                    <a:pt x="411" y="1229"/>
                    <a:pt x="420" y="1223"/>
                    <a:pt x="418" y="1222"/>
                  </a:cubicBezTo>
                  <a:cubicBezTo>
                    <a:pt x="415" y="1222"/>
                    <a:pt x="406" y="1222"/>
                    <a:pt x="415" y="1221"/>
                  </a:cubicBezTo>
                  <a:cubicBezTo>
                    <a:pt x="416" y="1220"/>
                    <a:pt x="425" y="1217"/>
                    <a:pt x="421" y="1215"/>
                  </a:cubicBezTo>
                  <a:cubicBezTo>
                    <a:pt x="421" y="1214"/>
                    <a:pt x="402" y="1220"/>
                    <a:pt x="401" y="1219"/>
                  </a:cubicBezTo>
                  <a:cubicBezTo>
                    <a:pt x="395" y="1212"/>
                    <a:pt x="413" y="1208"/>
                    <a:pt x="402" y="1205"/>
                  </a:cubicBezTo>
                  <a:cubicBezTo>
                    <a:pt x="392" y="1202"/>
                    <a:pt x="400" y="1220"/>
                    <a:pt x="394" y="1221"/>
                  </a:cubicBezTo>
                  <a:cubicBezTo>
                    <a:pt x="380" y="1225"/>
                    <a:pt x="375" y="1200"/>
                    <a:pt x="370" y="1210"/>
                  </a:cubicBezTo>
                  <a:cubicBezTo>
                    <a:pt x="369" y="1212"/>
                    <a:pt x="374" y="1215"/>
                    <a:pt x="374" y="1217"/>
                  </a:cubicBezTo>
                  <a:cubicBezTo>
                    <a:pt x="372" y="1242"/>
                    <a:pt x="398" y="1207"/>
                    <a:pt x="404" y="1242"/>
                  </a:cubicBezTo>
                  <a:cubicBezTo>
                    <a:pt x="404" y="1243"/>
                    <a:pt x="410" y="1243"/>
                    <a:pt x="410" y="1245"/>
                  </a:cubicBezTo>
                  <a:cubicBezTo>
                    <a:pt x="410" y="1246"/>
                    <a:pt x="407" y="1246"/>
                    <a:pt x="406" y="1246"/>
                  </a:cubicBezTo>
                  <a:cubicBezTo>
                    <a:pt x="389" y="1248"/>
                    <a:pt x="394" y="1260"/>
                    <a:pt x="389" y="1262"/>
                  </a:cubicBezTo>
                  <a:cubicBezTo>
                    <a:pt x="385" y="1264"/>
                    <a:pt x="376" y="1252"/>
                    <a:pt x="372" y="1255"/>
                  </a:cubicBezTo>
                  <a:cubicBezTo>
                    <a:pt x="370" y="1256"/>
                    <a:pt x="385" y="1263"/>
                    <a:pt x="383" y="1265"/>
                  </a:cubicBezTo>
                  <a:cubicBezTo>
                    <a:pt x="374" y="1269"/>
                    <a:pt x="375" y="1270"/>
                    <a:pt x="376" y="1280"/>
                  </a:cubicBezTo>
                  <a:cubicBezTo>
                    <a:pt x="377" y="1285"/>
                    <a:pt x="372" y="1285"/>
                    <a:pt x="367" y="1283"/>
                  </a:cubicBezTo>
                  <a:cubicBezTo>
                    <a:pt x="365" y="1282"/>
                    <a:pt x="361" y="1284"/>
                    <a:pt x="366" y="1285"/>
                  </a:cubicBezTo>
                  <a:cubicBezTo>
                    <a:pt x="371" y="1286"/>
                    <a:pt x="374" y="1292"/>
                    <a:pt x="373" y="1293"/>
                  </a:cubicBezTo>
                  <a:cubicBezTo>
                    <a:pt x="372" y="1296"/>
                    <a:pt x="365" y="1289"/>
                    <a:pt x="364" y="1292"/>
                  </a:cubicBezTo>
                  <a:cubicBezTo>
                    <a:pt x="363" y="1295"/>
                    <a:pt x="379" y="1307"/>
                    <a:pt x="379" y="1312"/>
                  </a:cubicBezTo>
                  <a:cubicBezTo>
                    <a:pt x="379" y="1315"/>
                    <a:pt x="343" y="1326"/>
                    <a:pt x="344" y="1332"/>
                  </a:cubicBezTo>
                  <a:cubicBezTo>
                    <a:pt x="344" y="1334"/>
                    <a:pt x="355" y="1330"/>
                    <a:pt x="357" y="1333"/>
                  </a:cubicBezTo>
                  <a:cubicBezTo>
                    <a:pt x="358" y="1334"/>
                    <a:pt x="358" y="1342"/>
                    <a:pt x="360" y="1344"/>
                  </a:cubicBezTo>
                  <a:cubicBezTo>
                    <a:pt x="364" y="1346"/>
                    <a:pt x="383" y="1337"/>
                    <a:pt x="376" y="1348"/>
                  </a:cubicBezTo>
                  <a:cubicBezTo>
                    <a:pt x="375" y="1350"/>
                    <a:pt x="378" y="1352"/>
                    <a:pt x="380" y="1349"/>
                  </a:cubicBezTo>
                  <a:close/>
                  <a:moveTo>
                    <a:pt x="405" y="1484"/>
                  </a:moveTo>
                  <a:cubicBezTo>
                    <a:pt x="404" y="1485"/>
                    <a:pt x="399" y="1487"/>
                    <a:pt x="402" y="1488"/>
                  </a:cubicBezTo>
                  <a:cubicBezTo>
                    <a:pt x="412" y="1493"/>
                    <a:pt x="396" y="1489"/>
                    <a:pt x="390" y="1490"/>
                  </a:cubicBezTo>
                  <a:cubicBezTo>
                    <a:pt x="388" y="1491"/>
                    <a:pt x="380" y="1495"/>
                    <a:pt x="380" y="1498"/>
                  </a:cubicBezTo>
                  <a:cubicBezTo>
                    <a:pt x="379" y="1503"/>
                    <a:pt x="397" y="1510"/>
                    <a:pt x="394" y="1505"/>
                  </a:cubicBezTo>
                  <a:cubicBezTo>
                    <a:pt x="393" y="1503"/>
                    <a:pt x="398" y="1501"/>
                    <a:pt x="404" y="1499"/>
                  </a:cubicBezTo>
                  <a:cubicBezTo>
                    <a:pt x="404" y="1498"/>
                    <a:pt x="404" y="1498"/>
                    <a:pt x="404" y="1498"/>
                  </a:cubicBezTo>
                  <a:cubicBezTo>
                    <a:pt x="407" y="1496"/>
                    <a:pt x="414" y="1482"/>
                    <a:pt x="405" y="1484"/>
                  </a:cubicBezTo>
                  <a:close/>
                  <a:moveTo>
                    <a:pt x="442" y="1380"/>
                  </a:moveTo>
                  <a:cubicBezTo>
                    <a:pt x="439" y="1377"/>
                    <a:pt x="433" y="1368"/>
                    <a:pt x="434" y="1366"/>
                  </a:cubicBezTo>
                  <a:cubicBezTo>
                    <a:pt x="434" y="1363"/>
                    <a:pt x="437" y="1369"/>
                    <a:pt x="439" y="1368"/>
                  </a:cubicBezTo>
                  <a:cubicBezTo>
                    <a:pt x="440" y="1367"/>
                    <a:pt x="436" y="1362"/>
                    <a:pt x="435" y="1362"/>
                  </a:cubicBezTo>
                  <a:cubicBezTo>
                    <a:pt x="421" y="1355"/>
                    <a:pt x="422" y="1366"/>
                    <a:pt x="408" y="1358"/>
                  </a:cubicBezTo>
                  <a:cubicBezTo>
                    <a:pt x="407" y="1357"/>
                    <a:pt x="406" y="1357"/>
                    <a:pt x="405" y="1356"/>
                  </a:cubicBezTo>
                  <a:cubicBezTo>
                    <a:pt x="404" y="1355"/>
                    <a:pt x="403" y="1354"/>
                    <a:pt x="403" y="1353"/>
                  </a:cubicBezTo>
                  <a:cubicBezTo>
                    <a:pt x="403" y="1348"/>
                    <a:pt x="425" y="1343"/>
                    <a:pt x="428" y="1346"/>
                  </a:cubicBezTo>
                  <a:cubicBezTo>
                    <a:pt x="429" y="1347"/>
                    <a:pt x="431" y="1350"/>
                    <a:pt x="433" y="1347"/>
                  </a:cubicBezTo>
                  <a:cubicBezTo>
                    <a:pt x="434" y="1347"/>
                    <a:pt x="432" y="1346"/>
                    <a:pt x="432" y="1346"/>
                  </a:cubicBezTo>
                  <a:cubicBezTo>
                    <a:pt x="427" y="1341"/>
                    <a:pt x="412" y="1338"/>
                    <a:pt x="412" y="1338"/>
                  </a:cubicBezTo>
                  <a:cubicBezTo>
                    <a:pt x="412" y="1336"/>
                    <a:pt x="417" y="1338"/>
                    <a:pt x="418" y="1336"/>
                  </a:cubicBezTo>
                  <a:cubicBezTo>
                    <a:pt x="420" y="1334"/>
                    <a:pt x="427" y="1298"/>
                    <a:pt x="450" y="1310"/>
                  </a:cubicBezTo>
                  <a:cubicBezTo>
                    <a:pt x="451" y="1311"/>
                    <a:pt x="457" y="1312"/>
                    <a:pt x="458" y="1312"/>
                  </a:cubicBezTo>
                  <a:cubicBezTo>
                    <a:pt x="460" y="1308"/>
                    <a:pt x="442" y="1305"/>
                    <a:pt x="442" y="1302"/>
                  </a:cubicBezTo>
                  <a:cubicBezTo>
                    <a:pt x="442" y="1301"/>
                    <a:pt x="444" y="1300"/>
                    <a:pt x="444" y="1299"/>
                  </a:cubicBezTo>
                  <a:cubicBezTo>
                    <a:pt x="450" y="1290"/>
                    <a:pt x="466" y="1293"/>
                    <a:pt x="466" y="1293"/>
                  </a:cubicBezTo>
                  <a:cubicBezTo>
                    <a:pt x="469" y="1291"/>
                    <a:pt x="462" y="1286"/>
                    <a:pt x="464" y="1284"/>
                  </a:cubicBezTo>
                  <a:cubicBezTo>
                    <a:pt x="466" y="1282"/>
                    <a:pt x="476" y="1281"/>
                    <a:pt x="472" y="1279"/>
                  </a:cubicBezTo>
                  <a:cubicBezTo>
                    <a:pt x="471" y="1279"/>
                    <a:pt x="471" y="1279"/>
                    <a:pt x="471" y="1279"/>
                  </a:cubicBezTo>
                  <a:cubicBezTo>
                    <a:pt x="469" y="1278"/>
                    <a:pt x="467" y="1280"/>
                    <a:pt x="464" y="1280"/>
                  </a:cubicBezTo>
                  <a:cubicBezTo>
                    <a:pt x="458" y="1281"/>
                    <a:pt x="455" y="1287"/>
                    <a:pt x="448" y="1289"/>
                  </a:cubicBezTo>
                  <a:cubicBezTo>
                    <a:pt x="445" y="1291"/>
                    <a:pt x="449" y="1294"/>
                    <a:pt x="447" y="1295"/>
                  </a:cubicBezTo>
                  <a:cubicBezTo>
                    <a:pt x="437" y="1299"/>
                    <a:pt x="436" y="1287"/>
                    <a:pt x="430" y="1296"/>
                  </a:cubicBezTo>
                  <a:cubicBezTo>
                    <a:pt x="427" y="1299"/>
                    <a:pt x="440" y="1297"/>
                    <a:pt x="436" y="1303"/>
                  </a:cubicBezTo>
                  <a:cubicBezTo>
                    <a:pt x="433" y="1307"/>
                    <a:pt x="414" y="1324"/>
                    <a:pt x="411" y="1326"/>
                  </a:cubicBezTo>
                  <a:cubicBezTo>
                    <a:pt x="408" y="1327"/>
                    <a:pt x="406" y="1320"/>
                    <a:pt x="402" y="1323"/>
                  </a:cubicBezTo>
                  <a:cubicBezTo>
                    <a:pt x="402" y="1324"/>
                    <a:pt x="402" y="1324"/>
                    <a:pt x="402" y="1324"/>
                  </a:cubicBezTo>
                  <a:cubicBezTo>
                    <a:pt x="399" y="1330"/>
                    <a:pt x="407" y="1331"/>
                    <a:pt x="408" y="1334"/>
                  </a:cubicBezTo>
                  <a:cubicBezTo>
                    <a:pt x="412" y="1345"/>
                    <a:pt x="404" y="1345"/>
                    <a:pt x="399" y="1350"/>
                  </a:cubicBezTo>
                  <a:cubicBezTo>
                    <a:pt x="397" y="1352"/>
                    <a:pt x="402" y="1358"/>
                    <a:pt x="401" y="1358"/>
                  </a:cubicBezTo>
                  <a:cubicBezTo>
                    <a:pt x="396" y="1362"/>
                    <a:pt x="387" y="1351"/>
                    <a:pt x="386" y="1345"/>
                  </a:cubicBezTo>
                  <a:cubicBezTo>
                    <a:pt x="386" y="1344"/>
                    <a:pt x="384" y="1337"/>
                    <a:pt x="384" y="1338"/>
                  </a:cubicBezTo>
                  <a:cubicBezTo>
                    <a:pt x="375" y="1358"/>
                    <a:pt x="413" y="1368"/>
                    <a:pt x="426" y="1376"/>
                  </a:cubicBezTo>
                  <a:cubicBezTo>
                    <a:pt x="430" y="1379"/>
                    <a:pt x="426" y="1366"/>
                    <a:pt x="431" y="1369"/>
                  </a:cubicBezTo>
                  <a:cubicBezTo>
                    <a:pt x="434" y="1371"/>
                    <a:pt x="437" y="1388"/>
                    <a:pt x="446" y="1384"/>
                  </a:cubicBezTo>
                  <a:cubicBezTo>
                    <a:pt x="448" y="1383"/>
                    <a:pt x="444" y="1381"/>
                    <a:pt x="442" y="1380"/>
                  </a:cubicBezTo>
                  <a:close/>
                  <a:moveTo>
                    <a:pt x="473" y="1340"/>
                  </a:moveTo>
                  <a:cubicBezTo>
                    <a:pt x="472" y="1339"/>
                    <a:pt x="473" y="1337"/>
                    <a:pt x="475" y="1336"/>
                  </a:cubicBezTo>
                  <a:cubicBezTo>
                    <a:pt x="478" y="1333"/>
                    <a:pt x="471" y="1327"/>
                    <a:pt x="467" y="1327"/>
                  </a:cubicBezTo>
                  <a:cubicBezTo>
                    <a:pt x="467" y="1327"/>
                    <a:pt x="467" y="1327"/>
                    <a:pt x="467" y="1327"/>
                  </a:cubicBezTo>
                  <a:cubicBezTo>
                    <a:pt x="464" y="1327"/>
                    <a:pt x="468" y="1333"/>
                    <a:pt x="466" y="1335"/>
                  </a:cubicBezTo>
                  <a:cubicBezTo>
                    <a:pt x="465" y="1335"/>
                    <a:pt x="446" y="1335"/>
                    <a:pt x="462" y="1340"/>
                  </a:cubicBezTo>
                  <a:cubicBezTo>
                    <a:pt x="462" y="1340"/>
                    <a:pt x="464" y="1344"/>
                    <a:pt x="463" y="1344"/>
                  </a:cubicBezTo>
                  <a:cubicBezTo>
                    <a:pt x="462" y="1346"/>
                    <a:pt x="458" y="1348"/>
                    <a:pt x="456" y="1346"/>
                  </a:cubicBezTo>
                  <a:cubicBezTo>
                    <a:pt x="450" y="1339"/>
                    <a:pt x="457" y="1359"/>
                    <a:pt x="446" y="1357"/>
                  </a:cubicBezTo>
                  <a:cubicBezTo>
                    <a:pt x="442" y="1356"/>
                    <a:pt x="439" y="1345"/>
                    <a:pt x="435" y="1349"/>
                  </a:cubicBezTo>
                  <a:cubicBezTo>
                    <a:pt x="434" y="1350"/>
                    <a:pt x="447" y="1368"/>
                    <a:pt x="451" y="1369"/>
                  </a:cubicBezTo>
                  <a:cubicBezTo>
                    <a:pt x="452" y="1369"/>
                    <a:pt x="454" y="1361"/>
                    <a:pt x="454" y="1360"/>
                  </a:cubicBezTo>
                  <a:cubicBezTo>
                    <a:pt x="454" y="1359"/>
                    <a:pt x="470" y="1366"/>
                    <a:pt x="470" y="1364"/>
                  </a:cubicBezTo>
                  <a:cubicBezTo>
                    <a:pt x="470" y="1362"/>
                    <a:pt x="468" y="1361"/>
                    <a:pt x="467" y="1360"/>
                  </a:cubicBezTo>
                  <a:cubicBezTo>
                    <a:pt x="466" y="1360"/>
                    <a:pt x="448" y="1355"/>
                    <a:pt x="460" y="1349"/>
                  </a:cubicBezTo>
                  <a:cubicBezTo>
                    <a:pt x="460" y="1349"/>
                    <a:pt x="466" y="1348"/>
                    <a:pt x="467" y="1346"/>
                  </a:cubicBezTo>
                  <a:cubicBezTo>
                    <a:pt x="467" y="1345"/>
                    <a:pt x="468" y="1339"/>
                    <a:pt x="470" y="1340"/>
                  </a:cubicBezTo>
                  <a:cubicBezTo>
                    <a:pt x="476" y="1345"/>
                    <a:pt x="477" y="1367"/>
                    <a:pt x="485" y="1362"/>
                  </a:cubicBezTo>
                  <a:cubicBezTo>
                    <a:pt x="492" y="1358"/>
                    <a:pt x="476" y="1344"/>
                    <a:pt x="473" y="1340"/>
                  </a:cubicBezTo>
                  <a:close/>
                  <a:moveTo>
                    <a:pt x="508" y="1330"/>
                  </a:moveTo>
                  <a:cubicBezTo>
                    <a:pt x="508" y="1330"/>
                    <a:pt x="507" y="1330"/>
                    <a:pt x="507" y="1330"/>
                  </a:cubicBezTo>
                  <a:cubicBezTo>
                    <a:pt x="499" y="1326"/>
                    <a:pt x="491" y="1331"/>
                    <a:pt x="484" y="1322"/>
                  </a:cubicBezTo>
                  <a:cubicBezTo>
                    <a:pt x="484" y="1322"/>
                    <a:pt x="480" y="1319"/>
                    <a:pt x="481" y="1318"/>
                  </a:cubicBezTo>
                  <a:cubicBezTo>
                    <a:pt x="485" y="1313"/>
                    <a:pt x="508" y="1324"/>
                    <a:pt x="499" y="1313"/>
                  </a:cubicBezTo>
                  <a:cubicBezTo>
                    <a:pt x="498" y="1313"/>
                    <a:pt x="498" y="1313"/>
                    <a:pt x="498" y="1313"/>
                  </a:cubicBezTo>
                  <a:cubicBezTo>
                    <a:pt x="493" y="1311"/>
                    <a:pt x="489" y="1315"/>
                    <a:pt x="483" y="1314"/>
                  </a:cubicBezTo>
                  <a:cubicBezTo>
                    <a:pt x="463" y="1311"/>
                    <a:pt x="494" y="1343"/>
                    <a:pt x="508" y="1331"/>
                  </a:cubicBezTo>
                  <a:cubicBezTo>
                    <a:pt x="508" y="1331"/>
                    <a:pt x="508" y="1331"/>
                    <a:pt x="508" y="1330"/>
                  </a:cubicBezTo>
                  <a:close/>
                  <a:moveTo>
                    <a:pt x="606" y="1373"/>
                  </a:moveTo>
                  <a:cubicBezTo>
                    <a:pt x="593" y="1364"/>
                    <a:pt x="604" y="1367"/>
                    <a:pt x="599" y="1358"/>
                  </a:cubicBezTo>
                  <a:cubicBezTo>
                    <a:pt x="598" y="1355"/>
                    <a:pt x="592" y="1354"/>
                    <a:pt x="592" y="1350"/>
                  </a:cubicBezTo>
                  <a:cubicBezTo>
                    <a:pt x="592" y="1347"/>
                    <a:pt x="599" y="1349"/>
                    <a:pt x="600" y="1347"/>
                  </a:cubicBezTo>
                  <a:cubicBezTo>
                    <a:pt x="603" y="1342"/>
                    <a:pt x="601" y="1352"/>
                    <a:pt x="603" y="1353"/>
                  </a:cubicBezTo>
                  <a:cubicBezTo>
                    <a:pt x="606" y="1355"/>
                    <a:pt x="607" y="1350"/>
                    <a:pt x="606" y="1348"/>
                  </a:cubicBezTo>
                  <a:cubicBezTo>
                    <a:pt x="605" y="1346"/>
                    <a:pt x="608" y="1343"/>
                    <a:pt x="608" y="1343"/>
                  </a:cubicBezTo>
                  <a:cubicBezTo>
                    <a:pt x="606" y="1341"/>
                    <a:pt x="599" y="1343"/>
                    <a:pt x="599" y="1342"/>
                  </a:cubicBezTo>
                  <a:cubicBezTo>
                    <a:pt x="599" y="1340"/>
                    <a:pt x="617" y="1326"/>
                    <a:pt x="614" y="1324"/>
                  </a:cubicBezTo>
                  <a:cubicBezTo>
                    <a:pt x="611" y="1321"/>
                    <a:pt x="605" y="1330"/>
                    <a:pt x="605" y="1332"/>
                  </a:cubicBezTo>
                  <a:cubicBezTo>
                    <a:pt x="604" y="1334"/>
                    <a:pt x="592" y="1344"/>
                    <a:pt x="589" y="1348"/>
                  </a:cubicBezTo>
                  <a:cubicBezTo>
                    <a:pt x="587" y="1354"/>
                    <a:pt x="602" y="1355"/>
                    <a:pt x="592" y="1360"/>
                  </a:cubicBezTo>
                  <a:cubicBezTo>
                    <a:pt x="587" y="1362"/>
                    <a:pt x="578" y="1347"/>
                    <a:pt x="570" y="1345"/>
                  </a:cubicBezTo>
                  <a:cubicBezTo>
                    <a:pt x="566" y="1344"/>
                    <a:pt x="570" y="1350"/>
                    <a:pt x="568" y="1350"/>
                  </a:cubicBezTo>
                  <a:cubicBezTo>
                    <a:pt x="563" y="1350"/>
                    <a:pt x="557" y="1345"/>
                    <a:pt x="552" y="1343"/>
                  </a:cubicBezTo>
                  <a:cubicBezTo>
                    <a:pt x="548" y="1342"/>
                    <a:pt x="546" y="1346"/>
                    <a:pt x="544" y="1344"/>
                  </a:cubicBezTo>
                  <a:cubicBezTo>
                    <a:pt x="543" y="1343"/>
                    <a:pt x="544" y="1338"/>
                    <a:pt x="543" y="1339"/>
                  </a:cubicBezTo>
                  <a:cubicBezTo>
                    <a:pt x="542" y="1340"/>
                    <a:pt x="541" y="1346"/>
                    <a:pt x="540" y="1344"/>
                  </a:cubicBezTo>
                  <a:cubicBezTo>
                    <a:pt x="537" y="1338"/>
                    <a:pt x="546" y="1332"/>
                    <a:pt x="546" y="1329"/>
                  </a:cubicBezTo>
                  <a:cubicBezTo>
                    <a:pt x="547" y="1326"/>
                    <a:pt x="535" y="1322"/>
                    <a:pt x="538" y="1320"/>
                  </a:cubicBezTo>
                  <a:cubicBezTo>
                    <a:pt x="542" y="1319"/>
                    <a:pt x="546" y="1318"/>
                    <a:pt x="549" y="1320"/>
                  </a:cubicBezTo>
                  <a:cubicBezTo>
                    <a:pt x="550" y="1321"/>
                    <a:pt x="558" y="1324"/>
                    <a:pt x="558" y="1322"/>
                  </a:cubicBezTo>
                  <a:cubicBezTo>
                    <a:pt x="556" y="1312"/>
                    <a:pt x="550" y="1319"/>
                    <a:pt x="541" y="1315"/>
                  </a:cubicBezTo>
                  <a:cubicBezTo>
                    <a:pt x="540" y="1315"/>
                    <a:pt x="555" y="1298"/>
                    <a:pt x="545" y="1302"/>
                  </a:cubicBezTo>
                  <a:cubicBezTo>
                    <a:pt x="543" y="1302"/>
                    <a:pt x="542" y="1300"/>
                    <a:pt x="542" y="1299"/>
                  </a:cubicBezTo>
                  <a:cubicBezTo>
                    <a:pt x="546" y="1293"/>
                    <a:pt x="566" y="1308"/>
                    <a:pt x="563" y="1302"/>
                  </a:cubicBezTo>
                  <a:cubicBezTo>
                    <a:pt x="562" y="1297"/>
                    <a:pt x="549" y="1290"/>
                    <a:pt x="549" y="1289"/>
                  </a:cubicBezTo>
                  <a:cubicBezTo>
                    <a:pt x="549" y="1289"/>
                    <a:pt x="565" y="1270"/>
                    <a:pt x="559" y="1266"/>
                  </a:cubicBezTo>
                  <a:cubicBezTo>
                    <a:pt x="558" y="1265"/>
                    <a:pt x="544" y="1281"/>
                    <a:pt x="544" y="1276"/>
                  </a:cubicBezTo>
                  <a:cubicBezTo>
                    <a:pt x="544" y="1266"/>
                    <a:pt x="546" y="1262"/>
                    <a:pt x="554" y="1261"/>
                  </a:cubicBezTo>
                  <a:cubicBezTo>
                    <a:pt x="557" y="1260"/>
                    <a:pt x="561" y="1257"/>
                    <a:pt x="560" y="1256"/>
                  </a:cubicBezTo>
                  <a:cubicBezTo>
                    <a:pt x="556" y="1252"/>
                    <a:pt x="553" y="1260"/>
                    <a:pt x="548" y="1255"/>
                  </a:cubicBezTo>
                  <a:cubicBezTo>
                    <a:pt x="543" y="1250"/>
                    <a:pt x="555" y="1253"/>
                    <a:pt x="553" y="1251"/>
                  </a:cubicBezTo>
                  <a:cubicBezTo>
                    <a:pt x="552" y="1250"/>
                    <a:pt x="546" y="1245"/>
                    <a:pt x="549" y="1243"/>
                  </a:cubicBezTo>
                  <a:cubicBezTo>
                    <a:pt x="553" y="1240"/>
                    <a:pt x="553" y="1248"/>
                    <a:pt x="554" y="1247"/>
                  </a:cubicBezTo>
                  <a:cubicBezTo>
                    <a:pt x="559" y="1245"/>
                    <a:pt x="562" y="1243"/>
                    <a:pt x="562" y="1244"/>
                  </a:cubicBezTo>
                  <a:cubicBezTo>
                    <a:pt x="566" y="1246"/>
                    <a:pt x="563" y="1238"/>
                    <a:pt x="564" y="1238"/>
                  </a:cubicBezTo>
                  <a:cubicBezTo>
                    <a:pt x="567" y="1238"/>
                    <a:pt x="575" y="1244"/>
                    <a:pt x="576" y="1243"/>
                  </a:cubicBezTo>
                  <a:cubicBezTo>
                    <a:pt x="580" y="1238"/>
                    <a:pt x="564" y="1234"/>
                    <a:pt x="563" y="1232"/>
                  </a:cubicBezTo>
                  <a:cubicBezTo>
                    <a:pt x="561" y="1228"/>
                    <a:pt x="567" y="1218"/>
                    <a:pt x="568" y="1215"/>
                  </a:cubicBezTo>
                  <a:cubicBezTo>
                    <a:pt x="568" y="1214"/>
                    <a:pt x="570" y="1207"/>
                    <a:pt x="572" y="1207"/>
                  </a:cubicBezTo>
                  <a:cubicBezTo>
                    <a:pt x="574" y="1208"/>
                    <a:pt x="571" y="1225"/>
                    <a:pt x="582" y="1227"/>
                  </a:cubicBezTo>
                  <a:cubicBezTo>
                    <a:pt x="582" y="1227"/>
                    <a:pt x="575" y="1219"/>
                    <a:pt x="576" y="1217"/>
                  </a:cubicBezTo>
                  <a:cubicBezTo>
                    <a:pt x="577" y="1215"/>
                    <a:pt x="577" y="1200"/>
                    <a:pt x="578" y="1199"/>
                  </a:cubicBezTo>
                  <a:cubicBezTo>
                    <a:pt x="579" y="1199"/>
                    <a:pt x="586" y="1203"/>
                    <a:pt x="587" y="1203"/>
                  </a:cubicBezTo>
                  <a:cubicBezTo>
                    <a:pt x="593" y="1201"/>
                    <a:pt x="577" y="1194"/>
                    <a:pt x="579" y="1188"/>
                  </a:cubicBezTo>
                  <a:cubicBezTo>
                    <a:pt x="579" y="1186"/>
                    <a:pt x="580" y="1180"/>
                    <a:pt x="580" y="1183"/>
                  </a:cubicBezTo>
                  <a:cubicBezTo>
                    <a:pt x="581" y="1189"/>
                    <a:pt x="595" y="1205"/>
                    <a:pt x="601" y="1201"/>
                  </a:cubicBezTo>
                  <a:cubicBezTo>
                    <a:pt x="606" y="1196"/>
                    <a:pt x="580" y="1186"/>
                    <a:pt x="587" y="1183"/>
                  </a:cubicBezTo>
                  <a:cubicBezTo>
                    <a:pt x="592" y="1180"/>
                    <a:pt x="608" y="1197"/>
                    <a:pt x="610" y="1196"/>
                  </a:cubicBezTo>
                  <a:cubicBezTo>
                    <a:pt x="615" y="1193"/>
                    <a:pt x="591" y="1155"/>
                    <a:pt x="613" y="1152"/>
                  </a:cubicBezTo>
                  <a:cubicBezTo>
                    <a:pt x="641" y="1149"/>
                    <a:pt x="630" y="1179"/>
                    <a:pt x="626" y="1172"/>
                  </a:cubicBezTo>
                  <a:cubicBezTo>
                    <a:pt x="626" y="1172"/>
                    <a:pt x="626" y="1172"/>
                    <a:pt x="626" y="1172"/>
                  </a:cubicBezTo>
                  <a:cubicBezTo>
                    <a:pt x="625" y="1171"/>
                    <a:pt x="625" y="1171"/>
                    <a:pt x="626" y="1172"/>
                  </a:cubicBezTo>
                  <a:cubicBezTo>
                    <a:pt x="626" y="1173"/>
                    <a:pt x="629" y="1178"/>
                    <a:pt x="627" y="1178"/>
                  </a:cubicBezTo>
                  <a:cubicBezTo>
                    <a:pt x="624" y="1179"/>
                    <a:pt x="622" y="1176"/>
                    <a:pt x="617" y="1176"/>
                  </a:cubicBezTo>
                  <a:cubicBezTo>
                    <a:pt x="613" y="1176"/>
                    <a:pt x="626" y="1183"/>
                    <a:pt x="617" y="1182"/>
                  </a:cubicBezTo>
                  <a:cubicBezTo>
                    <a:pt x="613" y="1182"/>
                    <a:pt x="614" y="1197"/>
                    <a:pt x="622" y="1197"/>
                  </a:cubicBezTo>
                  <a:cubicBezTo>
                    <a:pt x="624" y="1196"/>
                    <a:pt x="619" y="1193"/>
                    <a:pt x="619" y="1191"/>
                  </a:cubicBezTo>
                  <a:cubicBezTo>
                    <a:pt x="622" y="1179"/>
                    <a:pt x="630" y="1185"/>
                    <a:pt x="638" y="1177"/>
                  </a:cubicBezTo>
                  <a:cubicBezTo>
                    <a:pt x="641" y="1174"/>
                    <a:pt x="640" y="1151"/>
                    <a:pt x="642" y="1151"/>
                  </a:cubicBezTo>
                  <a:cubicBezTo>
                    <a:pt x="643" y="1150"/>
                    <a:pt x="643" y="1151"/>
                    <a:pt x="643" y="1152"/>
                  </a:cubicBezTo>
                  <a:cubicBezTo>
                    <a:pt x="658" y="1163"/>
                    <a:pt x="640" y="1172"/>
                    <a:pt x="644" y="1175"/>
                  </a:cubicBezTo>
                  <a:cubicBezTo>
                    <a:pt x="647" y="1177"/>
                    <a:pt x="653" y="1161"/>
                    <a:pt x="654" y="1170"/>
                  </a:cubicBezTo>
                  <a:cubicBezTo>
                    <a:pt x="654" y="1171"/>
                    <a:pt x="666" y="1177"/>
                    <a:pt x="666" y="1177"/>
                  </a:cubicBezTo>
                  <a:cubicBezTo>
                    <a:pt x="668" y="1177"/>
                    <a:pt x="666" y="1169"/>
                    <a:pt x="666" y="1169"/>
                  </a:cubicBezTo>
                  <a:cubicBezTo>
                    <a:pt x="667" y="1160"/>
                    <a:pt x="659" y="1170"/>
                    <a:pt x="658" y="1170"/>
                  </a:cubicBezTo>
                  <a:cubicBezTo>
                    <a:pt x="656" y="1170"/>
                    <a:pt x="657" y="1167"/>
                    <a:pt x="658" y="1166"/>
                  </a:cubicBezTo>
                  <a:cubicBezTo>
                    <a:pt x="664" y="1163"/>
                    <a:pt x="656" y="1164"/>
                    <a:pt x="654" y="1164"/>
                  </a:cubicBezTo>
                  <a:cubicBezTo>
                    <a:pt x="653" y="1164"/>
                    <a:pt x="653" y="1161"/>
                    <a:pt x="653" y="1160"/>
                  </a:cubicBezTo>
                  <a:cubicBezTo>
                    <a:pt x="654" y="1153"/>
                    <a:pt x="659" y="1156"/>
                    <a:pt x="661" y="1152"/>
                  </a:cubicBezTo>
                  <a:cubicBezTo>
                    <a:pt x="662" y="1152"/>
                    <a:pt x="658" y="1151"/>
                    <a:pt x="660" y="1147"/>
                  </a:cubicBezTo>
                  <a:cubicBezTo>
                    <a:pt x="662" y="1144"/>
                    <a:pt x="672" y="1157"/>
                    <a:pt x="676" y="1155"/>
                  </a:cubicBezTo>
                  <a:cubicBezTo>
                    <a:pt x="680" y="1153"/>
                    <a:pt x="667" y="1149"/>
                    <a:pt x="667" y="1147"/>
                  </a:cubicBezTo>
                  <a:cubicBezTo>
                    <a:pt x="669" y="1135"/>
                    <a:pt x="670" y="1151"/>
                    <a:pt x="676" y="1144"/>
                  </a:cubicBezTo>
                  <a:cubicBezTo>
                    <a:pt x="677" y="1143"/>
                    <a:pt x="672" y="1141"/>
                    <a:pt x="671" y="1140"/>
                  </a:cubicBezTo>
                  <a:cubicBezTo>
                    <a:pt x="665" y="1135"/>
                    <a:pt x="662" y="1132"/>
                    <a:pt x="660" y="1124"/>
                  </a:cubicBezTo>
                  <a:cubicBezTo>
                    <a:pt x="659" y="1124"/>
                    <a:pt x="656" y="1119"/>
                    <a:pt x="657" y="1119"/>
                  </a:cubicBezTo>
                  <a:cubicBezTo>
                    <a:pt x="660" y="1118"/>
                    <a:pt x="668" y="1127"/>
                    <a:pt x="672" y="1127"/>
                  </a:cubicBezTo>
                  <a:cubicBezTo>
                    <a:pt x="676" y="1127"/>
                    <a:pt x="667" y="1117"/>
                    <a:pt x="671" y="1115"/>
                  </a:cubicBezTo>
                  <a:cubicBezTo>
                    <a:pt x="674" y="1113"/>
                    <a:pt x="680" y="1124"/>
                    <a:pt x="688" y="1120"/>
                  </a:cubicBezTo>
                  <a:cubicBezTo>
                    <a:pt x="688" y="1120"/>
                    <a:pt x="675" y="1113"/>
                    <a:pt x="674" y="1113"/>
                  </a:cubicBezTo>
                  <a:cubicBezTo>
                    <a:pt x="665" y="1109"/>
                    <a:pt x="663" y="1123"/>
                    <a:pt x="658" y="1107"/>
                  </a:cubicBezTo>
                  <a:cubicBezTo>
                    <a:pt x="658" y="1106"/>
                    <a:pt x="661" y="1104"/>
                    <a:pt x="662" y="1103"/>
                  </a:cubicBezTo>
                  <a:cubicBezTo>
                    <a:pt x="662" y="1103"/>
                    <a:pt x="665" y="1110"/>
                    <a:pt x="668" y="1108"/>
                  </a:cubicBezTo>
                  <a:cubicBezTo>
                    <a:pt x="671" y="1106"/>
                    <a:pt x="663" y="1102"/>
                    <a:pt x="665" y="1099"/>
                  </a:cubicBezTo>
                  <a:cubicBezTo>
                    <a:pt x="666" y="1098"/>
                    <a:pt x="662" y="1095"/>
                    <a:pt x="667" y="1098"/>
                  </a:cubicBezTo>
                  <a:cubicBezTo>
                    <a:pt x="677" y="1105"/>
                    <a:pt x="680" y="1103"/>
                    <a:pt x="669" y="1096"/>
                  </a:cubicBezTo>
                  <a:cubicBezTo>
                    <a:pt x="661" y="1091"/>
                    <a:pt x="679" y="1092"/>
                    <a:pt x="674" y="1089"/>
                  </a:cubicBezTo>
                  <a:cubicBezTo>
                    <a:pt x="665" y="1083"/>
                    <a:pt x="665" y="1094"/>
                    <a:pt x="662" y="1095"/>
                  </a:cubicBezTo>
                  <a:cubicBezTo>
                    <a:pt x="656" y="1098"/>
                    <a:pt x="645" y="1086"/>
                    <a:pt x="644" y="1092"/>
                  </a:cubicBezTo>
                  <a:cubicBezTo>
                    <a:pt x="643" y="1097"/>
                    <a:pt x="659" y="1099"/>
                    <a:pt x="657" y="1105"/>
                  </a:cubicBezTo>
                  <a:cubicBezTo>
                    <a:pt x="656" y="1109"/>
                    <a:pt x="643" y="1095"/>
                    <a:pt x="642" y="1095"/>
                  </a:cubicBezTo>
                  <a:cubicBezTo>
                    <a:pt x="641" y="1095"/>
                    <a:pt x="647" y="1102"/>
                    <a:pt x="647" y="1103"/>
                  </a:cubicBezTo>
                  <a:cubicBezTo>
                    <a:pt x="646" y="1110"/>
                    <a:pt x="658" y="1121"/>
                    <a:pt x="652" y="1125"/>
                  </a:cubicBezTo>
                  <a:cubicBezTo>
                    <a:pt x="651" y="1125"/>
                    <a:pt x="632" y="1106"/>
                    <a:pt x="631" y="1104"/>
                  </a:cubicBezTo>
                  <a:cubicBezTo>
                    <a:pt x="630" y="1102"/>
                    <a:pt x="622" y="1097"/>
                    <a:pt x="622" y="1100"/>
                  </a:cubicBezTo>
                  <a:cubicBezTo>
                    <a:pt x="622" y="1105"/>
                    <a:pt x="670" y="1139"/>
                    <a:pt x="655" y="1152"/>
                  </a:cubicBezTo>
                  <a:cubicBezTo>
                    <a:pt x="647" y="1159"/>
                    <a:pt x="618" y="1120"/>
                    <a:pt x="616" y="1114"/>
                  </a:cubicBezTo>
                  <a:cubicBezTo>
                    <a:pt x="616" y="1113"/>
                    <a:pt x="612" y="1109"/>
                    <a:pt x="610" y="1109"/>
                  </a:cubicBezTo>
                  <a:cubicBezTo>
                    <a:pt x="603" y="1113"/>
                    <a:pt x="636" y="1145"/>
                    <a:pt x="632" y="1151"/>
                  </a:cubicBezTo>
                  <a:cubicBezTo>
                    <a:pt x="629" y="1154"/>
                    <a:pt x="619" y="1144"/>
                    <a:pt x="617" y="1144"/>
                  </a:cubicBezTo>
                  <a:cubicBezTo>
                    <a:pt x="609" y="1142"/>
                    <a:pt x="615" y="1150"/>
                    <a:pt x="615" y="1150"/>
                  </a:cubicBezTo>
                  <a:cubicBezTo>
                    <a:pt x="603" y="1154"/>
                    <a:pt x="603" y="1151"/>
                    <a:pt x="599" y="1155"/>
                  </a:cubicBezTo>
                  <a:cubicBezTo>
                    <a:pt x="597" y="1158"/>
                    <a:pt x="600" y="1184"/>
                    <a:pt x="600" y="1184"/>
                  </a:cubicBezTo>
                  <a:cubicBezTo>
                    <a:pt x="581" y="1179"/>
                    <a:pt x="594" y="1169"/>
                    <a:pt x="593" y="1167"/>
                  </a:cubicBezTo>
                  <a:cubicBezTo>
                    <a:pt x="593" y="1165"/>
                    <a:pt x="593" y="1159"/>
                    <a:pt x="590" y="1160"/>
                  </a:cubicBezTo>
                  <a:cubicBezTo>
                    <a:pt x="586" y="1161"/>
                    <a:pt x="588" y="1170"/>
                    <a:pt x="584" y="1172"/>
                  </a:cubicBezTo>
                  <a:cubicBezTo>
                    <a:pt x="581" y="1173"/>
                    <a:pt x="584" y="1186"/>
                    <a:pt x="583" y="1182"/>
                  </a:cubicBezTo>
                  <a:cubicBezTo>
                    <a:pt x="581" y="1174"/>
                    <a:pt x="559" y="1164"/>
                    <a:pt x="559" y="1155"/>
                  </a:cubicBezTo>
                  <a:cubicBezTo>
                    <a:pt x="559" y="1152"/>
                    <a:pt x="575" y="1167"/>
                    <a:pt x="565" y="1153"/>
                  </a:cubicBezTo>
                  <a:cubicBezTo>
                    <a:pt x="562" y="1148"/>
                    <a:pt x="570" y="1144"/>
                    <a:pt x="573" y="1142"/>
                  </a:cubicBezTo>
                  <a:cubicBezTo>
                    <a:pt x="577" y="1139"/>
                    <a:pt x="587" y="1154"/>
                    <a:pt x="592" y="1150"/>
                  </a:cubicBezTo>
                  <a:cubicBezTo>
                    <a:pt x="597" y="1145"/>
                    <a:pt x="580" y="1141"/>
                    <a:pt x="579" y="1134"/>
                  </a:cubicBezTo>
                  <a:cubicBezTo>
                    <a:pt x="578" y="1132"/>
                    <a:pt x="584" y="1140"/>
                    <a:pt x="584" y="1138"/>
                  </a:cubicBezTo>
                  <a:cubicBezTo>
                    <a:pt x="584" y="1132"/>
                    <a:pt x="580" y="1118"/>
                    <a:pt x="585" y="1121"/>
                  </a:cubicBezTo>
                  <a:cubicBezTo>
                    <a:pt x="586" y="1121"/>
                    <a:pt x="591" y="1126"/>
                    <a:pt x="590" y="1123"/>
                  </a:cubicBezTo>
                  <a:cubicBezTo>
                    <a:pt x="590" y="1121"/>
                    <a:pt x="584" y="1116"/>
                    <a:pt x="586" y="1114"/>
                  </a:cubicBezTo>
                  <a:cubicBezTo>
                    <a:pt x="593" y="1108"/>
                    <a:pt x="612" y="1146"/>
                    <a:pt x="612" y="1134"/>
                  </a:cubicBezTo>
                  <a:cubicBezTo>
                    <a:pt x="613" y="1129"/>
                    <a:pt x="619" y="1138"/>
                    <a:pt x="619" y="1136"/>
                  </a:cubicBezTo>
                  <a:cubicBezTo>
                    <a:pt x="618" y="1117"/>
                    <a:pt x="582" y="1109"/>
                    <a:pt x="579" y="1094"/>
                  </a:cubicBezTo>
                  <a:cubicBezTo>
                    <a:pt x="578" y="1085"/>
                    <a:pt x="592" y="1103"/>
                    <a:pt x="595" y="1098"/>
                  </a:cubicBezTo>
                  <a:cubicBezTo>
                    <a:pt x="596" y="1097"/>
                    <a:pt x="580" y="1087"/>
                    <a:pt x="578" y="1086"/>
                  </a:cubicBezTo>
                  <a:cubicBezTo>
                    <a:pt x="576" y="1084"/>
                    <a:pt x="573" y="1068"/>
                    <a:pt x="567" y="1071"/>
                  </a:cubicBezTo>
                  <a:cubicBezTo>
                    <a:pt x="560" y="1074"/>
                    <a:pt x="570" y="1083"/>
                    <a:pt x="568" y="1083"/>
                  </a:cubicBezTo>
                  <a:cubicBezTo>
                    <a:pt x="563" y="1083"/>
                    <a:pt x="544" y="1068"/>
                    <a:pt x="549" y="1063"/>
                  </a:cubicBezTo>
                  <a:cubicBezTo>
                    <a:pt x="549" y="1063"/>
                    <a:pt x="550" y="1057"/>
                    <a:pt x="549" y="1056"/>
                  </a:cubicBezTo>
                  <a:cubicBezTo>
                    <a:pt x="546" y="1054"/>
                    <a:pt x="544" y="1064"/>
                    <a:pt x="540" y="1064"/>
                  </a:cubicBezTo>
                  <a:cubicBezTo>
                    <a:pt x="540" y="1064"/>
                    <a:pt x="542" y="1076"/>
                    <a:pt x="538" y="1076"/>
                  </a:cubicBezTo>
                  <a:cubicBezTo>
                    <a:pt x="535" y="1075"/>
                    <a:pt x="537" y="1072"/>
                    <a:pt x="535" y="1071"/>
                  </a:cubicBezTo>
                  <a:cubicBezTo>
                    <a:pt x="525" y="1068"/>
                    <a:pt x="540" y="1084"/>
                    <a:pt x="538" y="1090"/>
                  </a:cubicBezTo>
                  <a:cubicBezTo>
                    <a:pt x="535" y="1096"/>
                    <a:pt x="523" y="1080"/>
                    <a:pt x="524" y="1090"/>
                  </a:cubicBezTo>
                  <a:cubicBezTo>
                    <a:pt x="525" y="1091"/>
                    <a:pt x="522" y="1092"/>
                    <a:pt x="523" y="1094"/>
                  </a:cubicBezTo>
                  <a:cubicBezTo>
                    <a:pt x="536" y="1106"/>
                    <a:pt x="541" y="1098"/>
                    <a:pt x="543" y="1085"/>
                  </a:cubicBezTo>
                  <a:cubicBezTo>
                    <a:pt x="544" y="1084"/>
                    <a:pt x="541" y="1079"/>
                    <a:pt x="541" y="1078"/>
                  </a:cubicBezTo>
                  <a:cubicBezTo>
                    <a:pt x="542" y="1078"/>
                    <a:pt x="568" y="1091"/>
                    <a:pt x="576" y="1101"/>
                  </a:cubicBezTo>
                  <a:cubicBezTo>
                    <a:pt x="578" y="1104"/>
                    <a:pt x="584" y="1107"/>
                    <a:pt x="582" y="1109"/>
                  </a:cubicBezTo>
                  <a:cubicBezTo>
                    <a:pt x="581" y="1110"/>
                    <a:pt x="578" y="1106"/>
                    <a:pt x="577" y="1107"/>
                  </a:cubicBezTo>
                  <a:cubicBezTo>
                    <a:pt x="573" y="1108"/>
                    <a:pt x="562" y="1106"/>
                    <a:pt x="565" y="1108"/>
                  </a:cubicBezTo>
                  <a:cubicBezTo>
                    <a:pt x="567" y="1109"/>
                    <a:pt x="575" y="1113"/>
                    <a:pt x="575" y="1115"/>
                  </a:cubicBezTo>
                  <a:cubicBezTo>
                    <a:pt x="574" y="1117"/>
                    <a:pt x="566" y="1122"/>
                    <a:pt x="564" y="1124"/>
                  </a:cubicBezTo>
                  <a:cubicBezTo>
                    <a:pt x="562" y="1125"/>
                    <a:pt x="581" y="1126"/>
                    <a:pt x="574" y="1138"/>
                  </a:cubicBezTo>
                  <a:cubicBezTo>
                    <a:pt x="571" y="1141"/>
                    <a:pt x="567" y="1129"/>
                    <a:pt x="563" y="1130"/>
                  </a:cubicBezTo>
                  <a:cubicBezTo>
                    <a:pt x="561" y="1131"/>
                    <a:pt x="570" y="1156"/>
                    <a:pt x="554" y="1147"/>
                  </a:cubicBezTo>
                  <a:cubicBezTo>
                    <a:pt x="553" y="1146"/>
                    <a:pt x="546" y="1147"/>
                    <a:pt x="545" y="1148"/>
                  </a:cubicBezTo>
                  <a:cubicBezTo>
                    <a:pt x="543" y="1157"/>
                    <a:pt x="558" y="1163"/>
                    <a:pt x="561" y="1165"/>
                  </a:cubicBezTo>
                  <a:cubicBezTo>
                    <a:pt x="570" y="1170"/>
                    <a:pt x="564" y="1176"/>
                    <a:pt x="564" y="1176"/>
                  </a:cubicBezTo>
                  <a:cubicBezTo>
                    <a:pt x="574" y="1181"/>
                    <a:pt x="569" y="1171"/>
                    <a:pt x="573" y="1175"/>
                  </a:cubicBezTo>
                  <a:cubicBezTo>
                    <a:pt x="576" y="1177"/>
                    <a:pt x="577" y="1193"/>
                    <a:pt x="576" y="1193"/>
                  </a:cubicBezTo>
                  <a:cubicBezTo>
                    <a:pt x="576" y="1194"/>
                    <a:pt x="574" y="1193"/>
                    <a:pt x="573" y="1193"/>
                  </a:cubicBezTo>
                  <a:cubicBezTo>
                    <a:pt x="566" y="1190"/>
                    <a:pt x="575" y="1198"/>
                    <a:pt x="570" y="1204"/>
                  </a:cubicBezTo>
                  <a:cubicBezTo>
                    <a:pt x="562" y="1213"/>
                    <a:pt x="558" y="1204"/>
                    <a:pt x="554" y="1211"/>
                  </a:cubicBezTo>
                  <a:cubicBezTo>
                    <a:pt x="552" y="1215"/>
                    <a:pt x="562" y="1216"/>
                    <a:pt x="557" y="1220"/>
                  </a:cubicBezTo>
                  <a:cubicBezTo>
                    <a:pt x="549" y="1227"/>
                    <a:pt x="532" y="1215"/>
                    <a:pt x="532" y="1216"/>
                  </a:cubicBezTo>
                  <a:cubicBezTo>
                    <a:pt x="527" y="1233"/>
                    <a:pt x="551" y="1221"/>
                    <a:pt x="553" y="1227"/>
                  </a:cubicBezTo>
                  <a:cubicBezTo>
                    <a:pt x="554" y="1228"/>
                    <a:pt x="548" y="1226"/>
                    <a:pt x="549" y="1231"/>
                  </a:cubicBezTo>
                  <a:cubicBezTo>
                    <a:pt x="550" y="1235"/>
                    <a:pt x="560" y="1233"/>
                    <a:pt x="558" y="1237"/>
                  </a:cubicBezTo>
                  <a:cubicBezTo>
                    <a:pt x="555" y="1245"/>
                    <a:pt x="544" y="1237"/>
                    <a:pt x="540" y="1239"/>
                  </a:cubicBezTo>
                  <a:cubicBezTo>
                    <a:pt x="538" y="1239"/>
                    <a:pt x="541" y="1240"/>
                    <a:pt x="541" y="1240"/>
                  </a:cubicBezTo>
                  <a:cubicBezTo>
                    <a:pt x="545" y="1243"/>
                    <a:pt x="542" y="1251"/>
                    <a:pt x="538" y="1252"/>
                  </a:cubicBezTo>
                  <a:cubicBezTo>
                    <a:pt x="536" y="1252"/>
                    <a:pt x="536" y="1255"/>
                    <a:pt x="536" y="1255"/>
                  </a:cubicBezTo>
                  <a:cubicBezTo>
                    <a:pt x="524" y="1254"/>
                    <a:pt x="516" y="1249"/>
                    <a:pt x="512" y="1260"/>
                  </a:cubicBezTo>
                  <a:cubicBezTo>
                    <a:pt x="512" y="1261"/>
                    <a:pt x="534" y="1256"/>
                    <a:pt x="535" y="1259"/>
                  </a:cubicBezTo>
                  <a:cubicBezTo>
                    <a:pt x="537" y="1274"/>
                    <a:pt x="522" y="1275"/>
                    <a:pt x="517" y="1271"/>
                  </a:cubicBezTo>
                  <a:cubicBezTo>
                    <a:pt x="515" y="1270"/>
                    <a:pt x="508" y="1269"/>
                    <a:pt x="508" y="1269"/>
                  </a:cubicBezTo>
                  <a:cubicBezTo>
                    <a:pt x="513" y="1288"/>
                    <a:pt x="538" y="1283"/>
                    <a:pt x="534" y="1293"/>
                  </a:cubicBezTo>
                  <a:cubicBezTo>
                    <a:pt x="533" y="1299"/>
                    <a:pt x="514" y="1309"/>
                    <a:pt x="514" y="1309"/>
                  </a:cubicBezTo>
                  <a:cubicBezTo>
                    <a:pt x="512" y="1308"/>
                    <a:pt x="507" y="1305"/>
                    <a:pt x="506" y="1307"/>
                  </a:cubicBezTo>
                  <a:cubicBezTo>
                    <a:pt x="506" y="1309"/>
                    <a:pt x="507" y="1310"/>
                    <a:pt x="508" y="1310"/>
                  </a:cubicBezTo>
                  <a:cubicBezTo>
                    <a:pt x="517" y="1315"/>
                    <a:pt x="509" y="1316"/>
                    <a:pt x="507" y="1319"/>
                  </a:cubicBezTo>
                  <a:cubicBezTo>
                    <a:pt x="506" y="1319"/>
                    <a:pt x="520" y="1326"/>
                    <a:pt x="521" y="1328"/>
                  </a:cubicBezTo>
                  <a:cubicBezTo>
                    <a:pt x="522" y="1331"/>
                    <a:pt x="513" y="1332"/>
                    <a:pt x="515" y="1334"/>
                  </a:cubicBezTo>
                  <a:cubicBezTo>
                    <a:pt x="516" y="1337"/>
                    <a:pt x="521" y="1334"/>
                    <a:pt x="522" y="1338"/>
                  </a:cubicBezTo>
                  <a:cubicBezTo>
                    <a:pt x="522" y="1339"/>
                    <a:pt x="523" y="1342"/>
                    <a:pt x="524" y="1341"/>
                  </a:cubicBezTo>
                  <a:cubicBezTo>
                    <a:pt x="528" y="1333"/>
                    <a:pt x="534" y="1361"/>
                    <a:pt x="531" y="1347"/>
                  </a:cubicBezTo>
                  <a:cubicBezTo>
                    <a:pt x="530" y="1341"/>
                    <a:pt x="539" y="1347"/>
                    <a:pt x="540" y="1349"/>
                  </a:cubicBezTo>
                  <a:cubicBezTo>
                    <a:pt x="544" y="1359"/>
                    <a:pt x="520" y="1372"/>
                    <a:pt x="520" y="1376"/>
                  </a:cubicBezTo>
                  <a:cubicBezTo>
                    <a:pt x="522" y="1384"/>
                    <a:pt x="538" y="1374"/>
                    <a:pt x="538" y="1374"/>
                  </a:cubicBezTo>
                  <a:cubicBezTo>
                    <a:pt x="544" y="1380"/>
                    <a:pt x="536" y="1382"/>
                    <a:pt x="544" y="1385"/>
                  </a:cubicBezTo>
                  <a:cubicBezTo>
                    <a:pt x="545" y="1386"/>
                    <a:pt x="545" y="1386"/>
                    <a:pt x="545" y="1386"/>
                  </a:cubicBezTo>
                  <a:cubicBezTo>
                    <a:pt x="546" y="1393"/>
                    <a:pt x="552" y="1377"/>
                    <a:pt x="547" y="1373"/>
                  </a:cubicBezTo>
                  <a:cubicBezTo>
                    <a:pt x="545" y="1372"/>
                    <a:pt x="524" y="1369"/>
                    <a:pt x="553" y="1360"/>
                  </a:cubicBezTo>
                  <a:cubicBezTo>
                    <a:pt x="555" y="1359"/>
                    <a:pt x="557" y="1357"/>
                    <a:pt x="558" y="1355"/>
                  </a:cubicBezTo>
                  <a:cubicBezTo>
                    <a:pt x="558" y="1355"/>
                    <a:pt x="551" y="1354"/>
                    <a:pt x="550" y="1354"/>
                  </a:cubicBezTo>
                  <a:cubicBezTo>
                    <a:pt x="547" y="1352"/>
                    <a:pt x="544" y="1347"/>
                    <a:pt x="549" y="1346"/>
                  </a:cubicBezTo>
                  <a:cubicBezTo>
                    <a:pt x="549" y="1346"/>
                    <a:pt x="551" y="1346"/>
                    <a:pt x="551" y="1346"/>
                  </a:cubicBezTo>
                  <a:cubicBezTo>
                    <a:pt x="553" y="1346"/>
                    <a:pt x="554" y="1346"/>
                    <a:pt x="555" y="1347"/>
                  </a:cubicBezTo>
                  <a:cubicBezTo>
                    <a:pt x="561" y="1350"/>
                    <a:pt x="571" y="1360"/>
                    <a:pt x="570" y="1361"/>
                  </a:cubicBezTo>
                  <a:cubicBezTo>
                    <a:pt x="570" y="1362"/>
                    <a:pt x="566" y="1366"/>
                    <a:pt x="568" y="1367"/>
                  </a:cubicBezTo>
                  <a:cubicBezTo>
                    <a:pt x="571" y="1368"/>
                    <a:pt x="574" y="1357"/>
                    <a:pt x="575" y="1356"/>
                  </a:cubicBezTo>
                  <a:cubicBezTo>
                    <a:pt x="576" y="1354"/>
                    <a:pt x="578" y="1361"/>
                    <a:pt x="578" y="1362"/>
                  </a:cubicBezTo>
                  <a:cubicBezTo>
                    <a:pt x="580" y="1362"/>
                    <a:pt x="580" y="1357"/>
                    <a:pt x="582" y="1357"/>
                  </a:cubicBezTo>
                  <a:cubicBezTo>
                    <a:pt x="588" y="1360"/>
                    <a:pt x="588" y="1368"/>
                    <a:pt x="592" y="1371"/>
                  </a:cubicBezTo>
                  <a:cubicBezTo>
                    <a:pt x="593" y="1371"/>
                    <a:pt x="597" y="1371"/>
                    <a:pt x="597" y="1372"/>
                  </a:cubicBezTo>
                  <a:cubicBezTo>
                    <a:pt x="599" y="1383"/>
                    <a:pt x="584" y="1386"/>
                    <a:pt x="584" y="1392"/>
                  </a:cubicBezTo>
                  <a:cubicBezTo>
                    <a:pt x="583" y="1400"/>
                    <a:pt x="589" y="1382"/>
                    <a:pt x="589" y="1392"/>
                  </a:cubicBezTo>
                  <a:cubicBezTo>
                    <a:pt x="589" y="1393"/>
                    <a:pt x="588" y="1396"/>
                    <a:pt x="590" y="1396"/>
                  </a:cubicBezTo>
                  <a:cubicBezTo>
                    <a:pt x="591" y="1396"/>
                    <a:pt x="594" y="1386"/>
                    <a:pt x="595" y="1385"/>
                  </a:cubicBezTo>
                  <a:cubicBezTo>
                    <a:pt x="600" y="1378"/>
                    <a:pt x="597" y="1379"/>
                    <a:pt x="599" y="1378"/>
                  </a:cubicBezTo>
                  <a:cubicBezTo>
                    <a:pt x="601" y="1376"/>
                    <a:pt x="612" y="1377"/>
                    <a:pt x="606" y="1373"/>
                  </a:cubicBezTo>
                  <a:close/>
                  <a:moveTo>
                    <a:pt x="614" y="1287"/>
                  </a:moveTo>
                  <a:cubicBezTo>
                    <a:pt x="605" y="1283"/>
                    <a:pt x="608" y="1262"/>
                    <a:pt x="602" y="1262"/>
                  </a:cubicBezTo>
                  <a:cubicBezTo>
                    <a:pt x="596" y="1261"/>
                    <a:pt x="599" y="1277"/>
                    <a:pt x="596" y="1279"/>
                  </a:cubicBezTo>
                  <a:cubicBezTo>
                    <a:pt x="592" y="1281"/>
                    <a:pt x="577" y="1267"/>
                    <a:pt x="576" y="1269"/>
                  </a:cubicBezTo>
                  <a:cubicBezTo>
                    <a:pt x="573" y="1274"/>
                    <a:pt x="582" y="1274"/>
                    <a:pt x="581" y="1277"/>
                  </a:cubicBezTo>
                  <a:cubicBezTo>
                    <a:pt x="573" y="1291"/>
                    <a:pt x="567" y="1287"/>
                    <a:pt x="576" y="1297"/>
                  </a:cubicBezTo>
                  <a:cubicBezTo>
                    <a:pt x="578" y="1298"/>
                    <a:pt x="585" y="1295"/>
                    <a:pt x="583" y="1303"/>
                  </a:cubicBezTo>
                  <a:cubicBezTo>
                    <a:pt x="584" y="1304"/>
                    <a:pt x="584" y="1304"/>
                    <a:pt x="584" y="1304"/>
                  </a:cubicBezTo>
                  <a:cubicBezTo>
                    <a:pt x="583" y="1305"/>
                    <a:pt x="587" y="1308"/>
                    <a:pt x="588" y="1308"/>
                  </a:cubicBezTo>
                  <a:cubicBezTo>
                    <a:pt x="597" y="1309"/>
                    <a:pt x="598" y="1306"/>
                    <a:pt x="600" y="1295"/>
                  </a:cubicBezTo>
                  <a:cubicBezTo>
                    <a:pt x="600" y="1294"/>
                    <a:pt x="597" y="1294"/>
                    <a:pt x="597" y="1292"/>
                  </a:cubicBezTo>
                  <a:cubicBezTo>
                    <a:pt x="600" y="1280"/>
                    <a:pt x="582" y="1299"/>
                    <a:pt x="589" y="1286"/>
                  </a:cubicBezTo>
                  <a:cubicBezTo>
                    <a:pt x="590" y="1284"/>
                    <a:pt x="587" y="1281"/>
                    <a:pt x="589" y="1280"/>
                  </a:cubicBezTo>
                  <a:cubicBezTo>
                    <a:pt x="590" y="1279"/>
                    <a:pt x="595" y="1282"/>
                    <a:pt x="595" y="1282"/>
                  </a:cubicBezTo>
                  <a:cubicBezTo>
                    <a:pt x="603" y="1288"/>
                    <a:pt x="596" y="1278"/>
                    <a:pt x="602" y="1278"/>
                  </a:cubicBezTo>
                  <a:cubicBezTo>
                    <a:pt x="605" y="1278"/>
                    <a:pt x="613" y="1296"/>
                    <a:pt x="620" y="1297"/>
                  </a:cubicBezTo>
                  <a:cubicBezTo>
                    <a:pt x="621" y="1297"/>
                    <a:pt x="639" y="1299"/>
                    <a:pt x="632" y="1295"/>
                  </a:cubicBezTo>
                  <a:cubicBezTo>
                    <a:pt x="629" y="1293"/>
                    <a:pt x="636" y="1291"/>
                    <a:pt x="633" y="1288"/>
                  </a:cubicBezTo>
                  <a:cubicBezTo>
                    <a:pt x="629" y="1284"/>
                    <a:pt x="630" y="1281"/>
                    <a:pt x="624" y="1277"/>
                  </a:cubicBezTo>
                  <a:cubicBezTo>
                    <a:pt x="622" y="1276"/>
                    <a:pt x="624" y="1282"/>
                    <a:pt x="624" y="1284"/>
                  </a:cubicBezTo>
                  <a:cubicBezTo>
                    <a:pt x="623" y="1289"/>
                    <a:pt x="614" y="1276"/>
                    <a:pt x="613" y="1280"/>
                  </a:cubicBezTo>
                  <a:cubicBezTo>
                    <a:pt x="612" y="1282"/>
                    <a:pt x="617" y="1289"/>
                    <a:pt x="614" y="1287"/>
                  </a:cubicBezTo>
                  <a:close/>
                  <a:moveTo>
                    <a:pt x="635" y="1386"/>
                  </a:moveTo>
                  <a:cubicBezTo>
                    <a:pt x="634" y="1386"/>
                    <a:pt x="634" y="1386"/>
                    <a:pt x="634" y="1386"/>
                  </a:cubicBezTo>
                  <a:cubicBezTo>
                    <a:pt x="634" y="1381"/>
                    <a:pt x="611" y="1381"/>
                    <a:pt x="611" y="1381"/>
                  </a:cubicBezTo>
                  <a:cubicBezTo>
                    <a:pt x="611" y="1381"/>
                    <a:pt x="628" y="1399"/>
                    <a:pt x="612" y="1395"/>
                  </a:cubicBezTo>
                  <a:cubicBezTo>
                    <a:pt x="610" y="1395"/>
                    <a:pt x="605" y="1394"/>
                    <a:pt x="606" y="1398"/>
                  </a:cubicBezTo>
                  <a:cubicBezTo>
                    <a:pt x="608" y="1402"/>
                    <a:pt x="613" y="1400"/>
                    <a:pt x="615" y="1399"/>
                  </a:cubicBezTo>
                  <a:cubicBezTo>
                    <a:pt x="620" y="1395"/>
                    <a:pt x="618" y="1402"/>
                    <a:pt x="619" y="1402"/>
                  </a:cubicBezTo>
                  <a:cubicBezTo>
                    <a:pt x="633" y="1404"/>
                    <a:pt x="611" y="1387"/>
                    <a:pt x="632" y="1389"/>
                  </a:cubicBezTo>
                  <a:cubicBezTo>
                    <a:pt x="633" y="1389"/>
                    <a:pt x="634" y="1392"/>
                    <a:pt x="635" y="1391"/>
                  </a:cubicBezTo>
                  <a:cubicBezTo>
                    <a:pt x="636" y="1390"/>
                    <a:pt x="635" y="1387"/>
                    <a:pt x="635" y="1386"/>
                  </a:cubicBezTo>
                  <a:close/>
                  <a:moveTo>
                    <a:pt x="662" y="1325"/>
                  </a:moveTo>
                  <a:cubicBezTo>
                    <a:pt x="659" y="1324"/>
                    <a:pt x="657" y="1325"/>
                    <a:pt x="654" y="1323"/>
                  </a:cubicBezTo>
                  <a:cubicBezTo>
                    <a:pt x="648" y="1320"/>
                    <a:pt x="649" y="1325"/>
                    <a:pt x="644" y="1324"/>
                  </a:cubicBezTo>
                  <a:cubicBezTo>
                    <a:pt x="640" y="1323"/>
                    <a:pt x="647" y="1314"/>
                    <a:pt x="647" y="1313"/>
                  </a:cubicBezTo>
                  <a:cubicBezTo>
                    <a:pt x="649" y="1301"/>
                    <a:pt x="644" y="1294"/>
                    <a:pt x="641" y="1291"/>
                  </a:cubicBezTo>
                  <a:cubicBezTo>
                    <a:pt x="641" y="1291"/>
                    <a:pt x="638" y="1285"/>
                    <a:pt x="637" y="1285"/>
                  </a:cubicBezTo>
                  <a:cubicBezTo>
                    <a:pt x="636" y="1285"/>
                    <a:pt x="647" y="1310"/>
                    <a:pt x="643" y="1315"/>
                  </a:cubicBezTo>
                  <a:cubicBezTo>
                    <a:pt x="640" y="1320"/>
                    <a:pt x="635" y="1324"/>
                    <a:pt x="635" y="1329"/>
                  </a:cubicBezTo>
                  <a:cubicBezTo>
                    <a:pt x="635" y="1336"/>
                    <a:pt x="651" y="1337"/>
                    <a:pt x="652" y="1341"/>
                  </a:cubicBezTo>
                  <a:cubicBezTo>
                    <a:pt x="652" y="1341"/>
                    <a:pt x="652" y="1343"/>
                    <a:pt x="652" y="1343"/>
                  </a:cubicBezTo>
                  <a:cubicBezTo>
                    <a:pt x="649" y="1354"/>
                    <a:pt x="643" y="1347"/>
                    <a:pt x="640" y="1351"/>
                  </a:cubicBezTo>
                  <a:cubicBezTo>
                    <a:pt x="639" y="1353"/>
                    <a:pt x="633" y="1348"/>
                    <a:pt x="633" y="1350"/>
                  </a:cubicBezTo>
                  <a:cubicBezTo>
                    <a:pt x="635" y="1363"/>
                    <a:pt x="648" y="1359"/>
                    <a:pt x="646" y="1372"/>
                  </a:cubicBezTo>
                  <a:cubicBezTo>
                    <a:pt x="645" y="1373"/>
                    <a:pt x="645" y="1373"/>
                    <a:pt x="645" y="1373"/>
                  </a:cubicBezTo>
                  <a:cubicBezTo>
                    <a:pt x="646" y="1376"/>
                    <a:pt x="648" y="1372"/>
                    <a:pt x="649" y="1373"/>
                  </a:cubicBezTo>
                  <a:cubicBezTo>
                    <a:pt x="660" y="1375"/>
                    <a:pt x="647" y="1364"/>
                    <a:pt x="651" y="1360"/>
                  </a:cubicBezTo>
                  <a:cubicBezTo>
                    <a:pt x="655" y="1357"/>
                    <a:pt x="658" y="1369"/>
                    <a:pt x="663" y="1368"/>
                  </a:cubicBezTo>
                  <a:cubicBezTo>
                    <a:pt x="664" y="1368"/>
                    <a:pt x="669" y="1369"/>
                    <a:pt x="668" y="1367"/>
                  </a:cubicBezTo>
                  <a:cubicBezTo>
                    <a:pt x="668" y="1367"/>
                    <a:pt x="668" y="1367"/>
                    <a:pt x="667" y="1366"/>
                  </a:cubicBezTo>
                  <a:cubicBezTo>
                    <a:pt x="664" y="1362"/>
                    <a:pt x="659" y="1365"/>
                    <a:pt x="656" y="1359"/>
                  </a:cubicBezTo>
                  <a:cubicBezTo>
                    <a:pt x="656" y="1359"/>
                    <a:pt x="657" y="1349"/>
                    <a:pt x="654" y="1352"/>
                  </a:cubicBezTo>
                  <a:cubicBezTo>
                    <a:pt x="653" y="1353"/>
                    <a:pt x="652" y="1357"/>
                    <a:pt x="651" y="1356"/>
                  </a:cubicBezTo>
                  <a:cubicBezTo>
                    <a:pt x="648" y="1353"/>
                    <a:pt x="656" y="1346"/>
                    <a:pt x="656" y="1342"/>
                  </a:cubicBezTo>
                  <a:cubicBezTo>
                    <a:pt x="655" y="1334"/>
                    <a:pt x="639" y="1332"/>
                    <a:pt x="640" y="1329"/>
                  </a:cubicBezTo>
                  <a:cubicBezTo>
                    <a:pt x="645" y="1321"/>
                    <a:pt x="685" y="1339"/>
                    <a:pt x="662" y="1325"/>
                  </a:cubicBezTo>
                  <a:close/>
                  <a:moveTo>
                    <a:pt x="672" y="1282"/>
                  </a:moveTo>
                  <a:cubicBezTo>
                    <a:pt x="671" y="1282"/>
                    <a:pt x="671" y="1282"/>
                    <a:pt x="671" y="1282"/>
                  </a:cubicBezTo>
                  <a:cubicBezTo>
                    <a:pt x="667" y="1281"/>
                    <a:pt x="662" y="1283"/>
                    <a:pt x="661" y="1277"/>
                  </a:cubicBezTo>
                  <a:cubicBezTo>
                    <a:pt x="660" y="1273"/>
                    <a:pt x="664" y="1268"/>
                    <a:pt x="663" y="1264"/>
                  </a:cubicBezTo>
                  <a:cubicBezTo>
                    <a:pt x="663" y="1262"/>
                    <a:pt x="657" y="1261"/>
                    <a:pt x="658" y="1259"/>
                  </a:cubicBezTo>
                  <a:cubicBezTo>
                    <a:pt x="659" y="1256"/>
                    <a:pt x="665" y="1263"/>
                    <a:pt x="663" y="1260"/>
                  </a:cubicBezTo>
                  <a:cubicBezTo>
                    <a:pt x="654" y="1243"/>
                    <a:pt x="640" y="1247"/>
                    <a:pt x="638" y="1236"/>
                  </a:cubicBezTo>
                  <a:cubicBezTo>
                    <a:pt x="638" y="1234"/>
                    <a:pt x="634" y="1232"/>
                    <a:pt x="632" y="1233"/>
                  </a:cubicBezTo>
                  <a:cubicBezTo>
                    <a:pt x="632" y="1233"/>
                    <a:pt x="633" y="1237"/>
                    <a:pt x="634" y="1238"/>
                  </a:cubicBezTo>
                  <a:cubicBezTo>
                    <a:pt x="639" y="1251"/>
                    <a:pt x="666" y="1258"/>
                    <a:pt x="652" y="1263"/>
                  </a:cubicBezTo>
                  <a:cubicBezTo>
                    <a:pt x="646" y="1265"/>
                    <a:pt x="635" y="1247"/>
                    <a:pt x="631" y="1247"/>
                  </a:cubicBezTo>
                  <a:cubicBezTo>
                    <a:pt x="630" y="1246"/>
                    <a:pt x="625" y="1250"/>
                    <a:pt x="627" y="1251"/>
                  </a:cubicBezTo>
                  <a:cubicBezTo>
                    <a:pt x="638" y="1252"/>
                    <a:pt x="621" y="1263"/>
                    <a:pt x="619" y="1263"/>
                  </a:cubicBezTo>
                  <a:cubicBezTo>
                    <a:pt x="612" y="1261"/>
                    <a:pt x="617" y="1260"/>
                    <a:pt x="616" y="1255"/>
                  </a:cubicBezTo>
                  <a:cubicBezTo>
                    <a:pt x="615" y="1247"/>
                    <a:pt x="628" y="1247"/>
                    <a:pt x="621" y="1242"/>
                  </a:cubicBezTo>
                  <a:cubicBezTo>
                    <a:pt x="614" y="1236"/>
                    <a:pt x="614" y="1254"/>
                    <a:pt x="613" y="1256"/>
                  </a:cubicBezTo>
                  <a:cubicBezTo>
                    <a:pt x="611" y="1261"/>
                    <a:pt x="607" y="1258"/>
                    <a:pt x="606" y="1259"/>
                  </a:cubicBezTo>
                  <a:cubicBezTo>
                    <a:pt x="604" y="1261"/>
                    <a:pt x="608" y="1262"/>
                    <a:pt x="609" y="1264"/>
                  </a:cubicBezTo>
                  <a:cubicBezTo>
                    <a:pt x="610" y="1269"/>
                    <a:pt x="630" y="1270"/>
                    <a:pt x="632" y="1273"/>
                  </a:cubicBezTo>
                  <a:cubicBezTo>
                    <a:pt x="635" y="1277"/>
                    <a:pt x="652" y="1295"/>
                    <a:pt x="651" y="1302"/>
                  </a:cubicBezTo>
                  <a:cubicBezTo>
                    <a:pt x="650" y="1303"/>
                    <a:pt x="652" y="1308"/>
                    <a:pt x="655" y="1306"/>
                  </a:cubicBezTo>
                  <a:cubicBezTo>
                    <a:pt x="656" y="1305"/>
                    <a:pt x="652" y="1300"/>
                    <a:pt x="654" y="1299"/>
                  </a:cubicBezTo>
                  <a:cubicBezTo>
                    <a:pt x="657" y="1299"/>
                    <a:pt x="655" y="1306"/>
                    <a:pt x="659" y="1306"/>
                  </a:cubicBezTo>
                  <a:cubicBezTo>
                    <a:pt x="665" y="1306"/>
                    <a:pt x="660" y="1298"/>
                    <a:pt x="661" y="1297"/>
                  </a:cubicBezTo>
                  <a:cubicBezTo>
                    <a:pt x="661" y="1297"/>
                    <a:pt x="661" y="1290"/>
                    <a:pt x="659" y="1289"/>
                  </a:cubicBezTo>
                  <a:cubicBezTo>
                    <a:pt x="655" y="1284"/>
                    <a:pt x="658" y="1295"/>
                    <a:pt x="656" y="1295"/>
                  </a:cubicBezTo>
                  <a:cubicBezTo>
                    <a:pt x="654" y="1293"/>
                    <a:pt x="641" y="1286"/>
                    <a:pt x="643" y="1282"/>
                  </a:cubicBezTo>
                  <a:cubicBezTo>
                    <a:pt x="643" y="1281"/>
                    <a:pt x="646" y="1283"/>
                    <a:pt x="648" y="1284"/>
                  </a:cubicBezTo>
                  <a:cubicBezTo>
                    <a:pt x="658" y="1290"/>
                    <a:pt x="650" y="1280"/>
                    <a:pt x="659" y="1286"/>
                  </a:cubicBezTo>
                  <a:cubicBezTo>
                    <a:pt x="661" y="1287"/>
                    <a:pt x="667" y="1292"/>
                    <a:pt x="670" y="1290"/>
                  </a:cubicBezTo>
                  <a:cubicBezTo>
                    <a:pt x="671" y="1288"/>
                    <a:pt x="671" y="1283"/>
                    <a:pt x="672" y="1285"/>
                  </a:cubicBezTo>
                  <a:cubicBezTo>
                    <a:pt x="683" y="1296"/>
                    <a:pt x="673" y="1282"/>
                    <a:pt x="672" y="1282"/>
                  </a:cubicBezTo>
                  <a:close/>
                  <a:moveTo>
                    <a:pt x="693" y="1262"/>
                  </a:moveTo>
                  <a:cubicBezTo>
                    <a:pt x="700" y="1259"/>
                    <a:pt x="683" y="1246"/>
                    <a:pt x="688" y="1240"/>
                  </a:cubicBezTo>
                  <a:cubicBezTo>
                    <a:pt x="688" y="1239"/>
                    <a:pt x="688" y="1239"/>
                    <a:pt x="688" y="1239"/>
                  </a:cubicBezTo>
                  <a:cubicBezTo>
                    <a:pt x="691" y="1231"/>
                    <a:pt x="682" y="1227"/>
                    <a:pt x="677" y="1222"/>
                  </a:cubicBezTo>
                  <a:cubicBezTo>
                    <a:pt x="677" y="1222"/>
                    <a:pt x="676" y="1221"/>
                    <a:pt x="676" y="1222"/>
                  </a:cubicBezTo>
                  <a:cubicBezTo>
                    <a:pt x="676" y="1223"/>
                    <a:pt x="682" y="1241"/>
                    <a:pt x="681" y="1240"/>
                  </a:cubicBezTo>
                  <a:cubicBezTo>
                    <a:pt x="674" y="1238"/>
                    <a:pt x="674" y="1217"/>
                    <a:pt x="670" y="1223"/>
                  </a:cubicBezTo>
                  <a:cubicBezTo>
                    <a:pt x="670" y="1223"/>
                    <a:pt x="669" y="1231"/>
                    <a:pt x="667" y="1228"/>
                  </a:cubicBezTo>
                  <a:cubicBezTo>
                    <a:pt x="665" y="1225"/>
                    <a:pt x="660" y="1216"/>
                    <a:pt x="660" y="1219"/>
                  </a:cubicBezTo>
                  <a:cubicBezTo>
                    <a:pt x="659" y="1227"/>
                    <a:pt x="677" y="1239"/>
                    <a:pt x="676" y="1242"/>
                  </a:cubicBezTo>
                  <a:cubicBezTo>
                    <a:pt x="673" y="1249"/>
                    <a:pt x="662" y="1239"/>
                    <a:pt x="665" y="1248"/>
                  </a:cubicBezTo>
                  <a:cubicBezTo>
                    <a:pt x="668" y="1254"/>
                    <a:pt x="680" y="1252"/>
                    <a:pt x="681" y="1252"/>
                  </a:cubicBezTo>
                  <a:cubicBezTo>
                    <a:pt x="686" y="1254"/>
                    <a:pt x="689" y="1264"/>
                    <a:pt x="693" y="1262"/>
                  </a:cubicBezTo>
                  <a:close/>
                  <a:moveTo>
                    <a:pt x="701" y="1337"/>
                  </a:moveTo>
                  <a:cubicBezTo>
                    <a:pt x="709" y="1345"/>
                    <a:pt x="718" y="1341"/>
                    <a:pt x="708" y="1346"/>
                  </a:cubicBezTo>
                  <a:cubicBezTo>
                    <a:pt x="707" y="1346"/>
                    <a:pt x="705" y="1349"/>
                    <a:pt x="705" y="1350"/>
                  </a:cubicBezTo>
                  <a:cubicBezTo>
                    <a:pt x="706" y="1352"/>
                    <a:pt x="710" y="1345"/>
                    <a:pt x="711" y="1350"/>
                  </a:cubicBezTo>
                  <a:cubicBezTo>
                    <a:pt x="714" y="1361"/>
                    <a:pt x="745" y="1349"/>
                    <a:pt x="762" y="1346"/>
                  </a:cubicBezTo>
                  <a:cubicBezTo>
                    <a:pt x="765" y="1345"/>
                    <a:pt x="771" y="1357"/>
                    <a:pt x="775" y="1358"/>
                  </a:cubicBezTo>
                  <a:cubicBezTo>
                    <a:pt x="777" y="1359"/>
                    <a:pt x="780" y="1357"/>
                    <a:pt x="780" y="1361"/>
                  </a:cubicBezTo>
                  <a:cubicBezTo>
                    <a:pt x="780" y="1371"/>
                    <a:pt x="765" y="1351"/>
                    <a:pt x="757" y="1356"/>
                  </a:cubicBezTo>
                  <a:cubicBezTo>
                    <a:pt x="747" y="1362"/>
                    <a:pt x="746" y="1362"/>
                    <a:pt x="749" y="1366"/>
                  </a:cubicBezTo>
                  <a:cubicBezTo>
                    <a:pt x="751" y="1368"/>
                    <a:pt x="750" y="1371"/>
                    <a:pt x="752" y="1370"/>
                  </a:cubicBezTo>
                  <a:cubicBezTo>
                    <a:pt x="757" y="1368"/>
                    <a:pt x="752" y="1375"/>
                    <a:pt x="753" y="1376"/>
                  </a:cubicBezTo>
                  <a:cubicBezTo>
                    <a:pt x="755" y="1378"/>
                    <a:pt x="759" y="1377"/>
                    <a:pt x="761" y="1375"/>
                  </a:cubicBezTo>
                  <a:cubicBezTo>
                    <a:pt x="763" y="1374"/>
                    <a:pt x="787" y="1373"/>
                    <a:pt x="797" y="1369"/>
                  </a:cubicBezTo>
                  <a:cubicBezTo>
                    <a:pt x="804" y="1366"/>
                    <a:pt x="841" y="1360"/>
                    <a:pt x="839" y="1349"/>
                  </a:cubicBezTo>
                  <a:cubicBezTo>
                    <a:pt x="837" y="1326"/>
                    <a:pt x="801" y="1341"/>
                    <a:pt x="798" y="1339"/>
                  </a:cubicBezTo>
                  <a:cubicBezTo>
                    <a:pt x="796" y="1338"/>
                    <a:pt x="786" y="1340"/>
                    <a:pt x="787" y="1334"/>
                  </a:cubicBezTo>
                  <a:cubicBezTo>
                    <a:pt x="787" y="1331"/>
                    <a:pt x="794" y="1332"/>
                    <a:pt x="798" y="1332"/>
                  </a:cubicBezTo>
                  <a:cubicBezTo>
                    <a:pt x="798" y="1332"/>
                    <a:pt x="799" y="1333"/>
                    <a:pt x="800" y="1333"/>
                  </a:cubicBezTo>
                  <a:cubicBezTo>
                    <a:pt x="801" y="1333"/>
                    <a:pt x="800" y="1332"/>
                    <a:pt x="798" y="1332"/>
                  </a:cubicBezTo>
                  <a:cubicBezTo>
                    <a:pt x="797" y="1331"/>
                    <a:pt x="811" y="1328"/>
                    <a:pt x="812" y="1326"/>
                  </a:cubicBezTo>
                  <a:cubicBezTo>
                    <a:pt x="817" y="1321"/>
                    <a:pt x="801" y="1307"/>
                    <a:pt x="816" y="1317"/>
                  </a:cubicBezTo>
                  <a:cubicBezTo>
                    <a:pt x="818" y="1319"/>
                    <a:pt x="822" y="1318"/>
                    <a:pt x="824" y="1317"/>
                  </a:cubicBezTo>
                  <a:cubicBezTo>
                    <a:pt x="825" y="1315"/>
                    <a:pt x="818" y="1305"/>
                    <a:pt x="820" y="1302"/>
                  </a:cubicBezTo>
                  <a:cubicBezTo>
                    <a:pt x="826" y="1295"/>
                    <a:pt x="830" y="1304"/>
                    <a:pt x="835" y="1304"/>
                  </a:cubicBezTo>
                  <a:cubicBezTo>
                    <a:pt x="837" y="1304"/>
                    <a:pt x="836" y="1303"/>
                    <a:pt x="835" y="1302"/>
                  </a:cubicBezTo>
                  <a:cubicBezTo>
                    <a:pt x="834" y="1301"/>
                    <a:pt x="832" y="1299"/>
                    <a:pt x="835" y="1299"/>
                  </a:cubicBezTo>
                  <a:cubicBezTo>
                    <a:pt x="836" y="1300"/>
                    <a:pt x="840" y="1301"/>
                    <a:pt x="841" y="1300"/>
                  </a:cubicBezTo>
                  <a:cubicBezTo>
                    <a:pt x="845" y="1295"/>
                    <a:pt x="811" y="1299"/>
                    <a:pt x="814" y="1293"/>
                  </a:cubicBezTo>
                  <a:cubicBezTo>
                    <a:pt x="816" y="1288"/>
                    <a:pt x="822" y="1293"/>
                    <a:pt x="823" y="1294"/>
                  </a:cubicBezTo>
                  <a:cubicBezTo>
                    <a:pt x="826" y="1294"/>
                    <a:pt x="823" y="1287"/>
                    <a:pt x="824" y="1286"/>
                  </a:cubicBezTo>
                  <a:cubicBezTo>
                    <a:pt x="825" y="1285"/>
                    <a:pt x="833" y="1286"/>
                    <a:pt x="834" y="1287"/>
                  </a:cubicBezTo>
                  <a:cubicBezTo>
                    <a:pt x="841" y="1290"/>
                    <a:pt x="854" y="1308"/>
                    <a:pt x="860" y="1305"/>
                  </a:cubicBezTo>
                  <a:cubicBezTo>
                    <a:pt x="862" y="1304"/>
                    <a:pt x="853" y="1297"/>
                    <a:pt x="854" y="1297"/>
                  </a:cubicBezTo>
                  <a:cubicBezTo>
                    <a:pt x="858" y="1297"/>
                    <a:pt x="872" y="1300"/>
                    <a:pt x="872" y="1300"/>
                  </a:cubicBezTo>
                  <a:cubicBezTo>
                    <a:pt x="878" y="1296"/>
                    <a:pt x="867" y="1296"/>
                    <a:pt x="873" y="1294"/>
                  </a:cubicBezTo>
                  <a:cubicBezTo>
                    <a:pt x="878" y="1292"/>
                    <a:pt x="885" y="1283"/>
                    <a:pt x="884" y="1281"/>
                  </a:cubicBezTo>
                  <a:cubicBezTo>
                    <a:pt x="883" y="1281"/>
                    <a:pt x="886" y="1278"/>
                    <a:pt x="886" y="1277"/>
                  </a:cubicBezTo>
                  <a:cubicBezTo>
                    <a:pt x="889" y="1277"/>
                    <a:pt x="886" y="1283"/>
                    <a:pt x="890" y="1282"/>
                  </a:cubicBezTo>
                  <a:cubicBezTo>
                    <a:pt x="891" y="1281"/>
                    <a:pt x="891" y="1279"/>
                    <a:pt x="891" y="1278"/>
                  </a:cubicBezTo>
                  <a:cubicBezTo>
                    <a:pt x="893" y="1275"/>
                    <a:pt x="895" y="1281"/>
                    <a:pt x="897" y="1278"/>
                  </a:cubicBezTo>
                  <a:cubicBezTo>
                    <a:pt x="899" y="1275"/>
                    <a:pt x="892" y="1273"/>
                    <a:pt x="893" y="1272"/>
                  </a:cubicBezTo>
                  <a:cubicBezTo>
                    <a:pt x="895" y="1269"/>
                    <a:pt x="908" y="1271"/>
                    <a:pt x="908" y="1268"/>
                  </a:cubicBezTo>
                  <a:cubicBezTo>
                    <a:pt x="908" y="1266"/>
                    <a:pt x="904" y="1262"/>
                    <a:pt x="907" y="1262"/>
                  </a:cubicBezTo>
                  <a:cubicBezTo>
                    <a:pt x="911" y="1261"/>
                    <a:pt x="911" y="1267"/>
                    <a:pt x="913" y="1267"/>
                  </a:cubicBezTo>
                  <a:cubicBezTo>
                    <a:pt x="922" y="1267"/>
                    <a:pt x="907" y="1254"/>
                    <a:pt x="915" y="1259"/>
                  </a:cubicBezTo>
                  <a:cubicBezTo>
                    <a:pt x="918" y="1260"/>
                    <a:pt x="923" y="1254"/>
                    <a:pt x="921" y="1251"/>
                  </a:cubicBezTo>
                  <a:cubicBezTo>
                    <a:pt x="918" y="1247"/>
                    <a:pt x="914" y="1242"/>
                    <a:pt x="911" y="1237"/>
                  </a:cubicBezTo>
                  <a:cubicBezTo>
                    <a:pt x="903" y="1224"/>
                    <a:pt x="916" y="1255"/>
                    <a:pt x="899" y="1241"/>
                  </a:cubicBezTo>
                  <a:cubicBezTo>
                    <a:pt x="896" y="1237"/>
                    <a:pt x="887" y="1225"/>
                    <a:pt x="888" y="1225"/>
                  </a:cubicBezTo>
                  <a:cubicBezTo>
                    <a:pt x="889" y="1226"/>
                    <a:pt x="896" y="1232"/>
                    <a:pt x="896" y="1229"/>
                  </a:cubicBezTo>
                  <a:cubicBezTo>
                    <a:pt x="896" y="1226"/>
                    <a:pt x="899" y="1219"/>
                    <a:pt x="896" y="1216"/>
                  </a:cubicBezTo>
                  <a:cubicBezTo>
                    <a:pt x="895" y="1215"/>
                    <a:pt x="895" y="1215"/>
                    <a:pt x="895" y="1215"/>
                  </a:cubicBezTo>
                  <a:cubicBezTo>
                    <a:pt x="902" y="1216"/>
                    <a:pt x="920" y="1219"/>
                    <a:pt x="928" y="1225"/>
                  </a:cubicBezTo>
                  <a:cubicBezTo>
                    <a:pt x="930" y="1226"/>
                    <a:pt x="931" y="1230"/>
                    <a:pt x="933" y="1227"/>
                  </a:cubicBezTo>
                  <a:cubicBezTo>
                    <a:pt x="934" y="1226"/>
                    <a:pt x="933" y="1225"/>
                    <a:pt x="934" y="1225"/>
                  </a:cubicBezTo>
                  <a:cubicBezTo>
                    <a:pt x="935" y="1222"/>
                    <a:pt x="939" y="1225"/>
                    <a:pt x="941" y="1221"/>
                  </a:cubicBezTo>
                  <a:cubicBezTo>
                    <a:pt x="941" y="1220"/>
                    <a:pt x="937" y="1216"/>
                    <a:pt x="936" y="1215"/>
                  </a:cubicBezTo>
                  <a:cubicBezTo>
                    <a:pt x="920" y="1212"/>
                    <a:pt x="907" y="1214"/>
                    <a:pt x="898" y="1197"/>
                  </a:cubicBezTo>
                  <a:cubicBezTo>
                    <a:pt x="897" y="1194"/>
                    <a:pt x="904" y="1200"/>
                    <a:pt x="908" y="1199"/>
                  </a:cubicBezTo>
                  <a:cubicBezTo>
                    <a:pt x="911" y="1199"/>
                    <a:pt x="902" y="1193"/>
                    <a:pt x="907" y="1192"/>
                  </a:cubicBezTo>
                  <a:cubicBezTo>
                    <a:pt x="912" y="1192"/>
                    <a:pt x="914" y="1201"/>
                    <a:pt x="916" y="1195"/>
                  </a:cubicBezTo>
                  <a:cubicBezTo>
                    <a:pt x="917" y="1191"/>
                    <a:pt x="927" y="1198"/>
                    <a:pt x="926" y="1195"/>
                  </a:cubicBezTo>
                  <a:cubicBezTo>
                    <a:pt x="925" y="1188"/>
                    <a:pt x="914" y="1192"/>
                    <a:pt x="915" y="1189"/>
                  </a:cubicBezTo>
                  <a:cubicBezTo>
                    <a:pt x="917" y="1185"/>
                    <a:pt x="940" y="1180"/>
                    <a:pt x="930" y="1176"/>
                  </a:cubicBezTo>
                  <a:cubicBezTo>
                    <a:pt x="921" y="1174"/>
                    <a:pt x="923" y="1146"/>
                    <a:pt x="911" y="1148"/>
                  </a:cubicBezTo>
                  <a:cubicBezTo>
                    <a:pt x="897" y="1150"/>
                    <a:pt x="908" y="1154"/>
                    <a:pt x="908" y="1159"/>
                  </a:cubicBezTo>
                  <a:cubicBezTo>
                    <a:pt x="907" y="1167"/>
                    <a:pt x="899" y="1158"/>
                    <a:pt x="906" y="1170"/>
                  </a:cubicBezTo>
                  <a:cubicBezTo>
                    <a:pt x="908" y="1175"/>
                    <a:pt x="898" y="1169"/>
                    <a:pt x="901" y="1173"/>
                  </a:cubicBezTo>
                  <a:cubicBezTo>
                    <a:pt x="906" y="1178"/>
                    <a:pt x="908" y="1178"/>
                    <a:pt x="910" y="1181"/>
                  </a:cubicBezTo>
                  <a:cubicBezTo>
                    <a:pt x="910" y="1182"/>
                    <a:pt x="913" y="1185"/>
                    <a:pt x="910" y="1185"/>
                  </a:cubicBezTo>
                  <a:cubicBezTo>
                    <a:pt x="900" y="1185"/>
                    <a:pt x="891" y="1162"/>
                    <a:pt x="888" y="1160"/>
                  </a:cubicBezTo>
                  <a:cubicBezTo>
                    <a:pt x="883" y="1157"/>
                    <a:pt x="887" y="1172"/>
                    <a:pt x="882" y="1164"/>
                  </a:cubicBezTo>
                  <a:cubicBezTo>
                    <a:pt x="880" y="1161"/>
                    <a:pt x="885" y="1156"/>
                    <a:pt x="883" y="1154"/>
                  </a:cubicBezTo>
                  <a:cubicBezTo>
                    <a:pt x="881" y="1152"/>
                    <a:pt x="877" y="1149"/>
                    <a:pt x="875" y="1151"/>
                  </a:cubicBezTo>
                  <a:cubicBezTo>
                    <a:pt x="872" y="1153"/>
                    <a:pt x="865" y="1157"/>
                    <a:pt x="868" y="1159"/>
                  </a:cubicBezTo>
                  <a:cubicBezTo>
                    <a:pt x="874" y="1165"/>
                    <a:pt x="876" y="1168"/>
                    <a:pt x="879" y="1177"/>
                  </a:cubicBezTo>
                  <a:cubicBezTo>
                    <a:pt x="881" y="1181"/>
                    <a:pt x="869" y="1180"/>
                    <a:pt x="869" y="1181"/>
                  </a:cubicBezTo>
                  <a:cubicBezTo>
                    <a:pt x="876" y="1193"/>
                    <a:pt x="877" y="1196"/>
                    <a:pt x="874" y="1204"/>
                  </a:cubicBezTo>
                  <a:cubicBezTo>
                    <a:pt x="874" y="1206"/>
                    <a:pt x="887" y="1208"/>
                    <a:pt x="886" y="1208"/>
                  </a:cubicBezTo>
                  <a:cubicBezTo>
                    <a:pt x="863" y="1224"/>
                    <a:pt x="877" y="1204"/>
                    <a:pt x="856" y="1210"/>
                  </a:cubicBezTo>
                  <a:cubicBezTo>
                    <a:pt x="853" y="1212"/>
                    <a:pt x="870" y="1214"/>
                    <a:pt x="870" y="1217"/>
                  </a:cubicBezTo>
                  <a:cubicBezTo>
                    <a:pt x="870" y="1220"/>
                    <a:pt x="856" y="1217"/>
                    <a:pt x="854" y="1217"/>
                  </a:cubicBezTo>
                  <a:cubicBezTo>
                    <a:pt x="849" y="1215"/>
                    <a:pt x="837" y="1227"/>
                    <a:pt x="830" y="1223"/>
                  </a:cubicBezTo>
                  <a:cubicBezTo>
                    <a:pt x="830" y="1223"/>
                    <a:pt x="827" y="1222"/>
                    <a:pt x="829" y="1221"/>
                  </a:cubicBezTo>
                  <a:cubicBezTo>
                    <a:pt x="831" y="1220"/>
                    <a:pt x="834" y="1222"/>
                    <a:pt x="836" y="1221"/>
                  </a:cubicBezTo>
                  <a:cubicBezTo>
                    <a:pt x="839" y="1219"/>
                    <a:pt x="822" y="1213"/>
                    <a:pt x="821" y="1212"/>
                  </a:cubicBezTo>
                  <a:cubicBezTo>
                    <a:pt x="820" y="1209"/>
                    <a:pt x="842" y="1219"/>
                    <a:pt x="843" y="1218"/>
                  </a:cubicBezTo>
                  <a:cubicBezTo>
                    <a:pt x="849" y="1216"/>
                    <a:pt x="825" y="1205"/>
                    <a:pt x="831" y="1205"/>
                  </a:cubicBezTo>
                  <a:cubicBezTo>
                    <a:pt x="832" y="1205"/>
                    <a:pt x="846" y="1215"/>
                    <a:pt x="846" y="1213"/>
                  </a:cubicBezTo>
                  <a:cubicBezTo>
                    <a:pt x="848" y="1207"/>
                    <a:pt x="836" y="1204"/>
                    <a:pt x="834" y="1201"/>
                  </a:cubicBezTo>
                  <a:cubicBezTo>
                    <a:pt x="833" y="1200"/>
                    <a:pt x="830" y="1188"/>
                    <a:pt x="826" y="1183"/>
                  </a:cubicBezTo>
                  <a:cubicBezTo>
                    <a:pt x="831" y="1186"/>
                    <a:pt x="837" y="1189"/>
                    <a:pt x="840" y="1189"/>
                  </a:cubicBezTo>
                  <a:cubicBezTo>
                    <a:pt x="841" y="1189"/>
                    <a:pt x="829" y="1179"/>
                    <a:pt x="840" y="1182"/>
                  </a:cubicBezTo>
                  <a:cubicBezTo>
                    <a:pt x="842" y="1183"/>
                    <a:pt x="846" y="1186"/>
                    <a:pt x="847" y="1184"/>
                  </a:cubicBezTo>
                  <a:cubicBezTo>
                    <a:pt x="849" y="1181"/>
                    <a:pt x="823" y="1171"/>
                    <a:pt x="820" y="1167"/>
                  </a:cubicBezTo>
                  <a:cubicBezTo>
                    <a:pt x="805" y="1144"/>
                    <a:pt x="785" y="1157"/>
                    <a:pt x="772" y="1122"/>
                  </a:cubicBezTo>
                  <a:cubicBezTo>
                    <a:pt x="772" y="1122"/>
                    <a:pt x="775" y="1121"/>
                    <a:pt x="775" y="1120"/>
                  </a:cubicBezTo>
                  <a:cubicBezTo>
                    <a:pt x="776" y="1117"/>
                    <a:pt x="780" y="1120"/>
                    <a:pt x="783" y="1115"/>
                  </a:cubicBezTo>
                  <a:cubicBezTo>
                    <a:pt x="783" y="1114"/>
                    <a:pt x="775" y="1110"/>
                    <a:pt x="774" y="1110"/>
                  </a:cubicBezTo>
                  <a:cubicBezTo>
                    <a:pt x="769" y="1110"/>
                    <a:pt x="779" y="1097"/>
                    <a:pt x="781" y="1095"/>
                  </a:cubicBezTo>
                  <a:cubicBezTo>
                    <a:pt x="782" y="1094"/>
                    <a:pt x="801" y="1095"/>
                    <a:pt x="786" y="1091"/>
                  </a:cubicBezTo>
                  <a:cubicBezTo>
                    <a:pt x="782" y="1091"/>
                    <a:pt x="795" y="1093"/>
                    <a:pt x="795" y="1090"/>
                  </a:cubicBezTo>
                  <a:cubicBezTo>
                    <a:pt x="795" y="1085"/>
                    <a:pt x="792" y="1087"/>
                    <a:pt x="790" y="1087"/>
                  </a:cubicBezTo>
                  <a:cubicBezTo>
                    <a:pt x="780" y="1087"/>
                    <a:pt x="783" y="1094"/>
                    <a:pt x="774" y="1095"/>
                  </a:cubicBezTo>
                  <a:cubicBezTo>
                    <a:pt x="768" y="1096"/>
                    <a:pt x="765" y="1087"/>
                    <a:pt x="762" y="1087"/>
                  </a:cubicBezTo>
                  <a:cubicBezTo>
                    <a:pt x="753" y="1085"/>
                    <a:pt x="754" y="1097"/>
                    <a:pt x="745" y="1091"/>
                  </a:cubicBezTo>
                  <a:cubicBezTo>
                    <a:pt x="741" y="1088"/>
                    <a:pt x="753" y="1080"/>
                    <a:pt x="747" y="1076"/>
                  </a:cubicBezTo>
                  <a:cubicBezTo>
                    <a:pt x="746" y="1075"/>
                    <a:pt x="744" y="1077"/>
                    <a:pt x="743" y="1078"/>
                  </a:cubicBezTo>
                  <a:cubicBezTo>
                    <a:pt x="730" y="1082"/>
                    <a:pt x="744" y="1085"/>
                    <a:pt x="738" y="1093"/>
                  </a:cubicBezTo>
                  <a:cubicBezTo>
                    <a:pt x="734" y="1098"/>
                    <a:pt x="749" y="1095"/>
                    <a:pt x="743" y="1100"/>
                  </a:cubicBezTo>
                  <a:cubicBezTo>
                    <a:pt x="738" y="1103"/>
                    <a:pt x="732" y="1103"/>
                    <a:pt x="729" y="1093"/>
                  </a:cubicBezTo>
                  <a:cubicBezTo>
                    <a:pt x="729" y="1092"/>
                    <a:pt x="723" y="1088"/>
                    <a:pt x="723" y="1089"/>
                  </a:cubicBezTo>
                  <a:cubicBezTo>
                    <a:pt x="722" y="1092"/>
                    <a:pt x="727" y="1093"/>
                    <a:pt x="728" y="1095"/>
                  </a:cubicBezTo>
                  <a:cubicBezTo>
                    <a:pt x="729" y="1099"/>
                    <a:pt x="720" y="1097"/>
                    <a:pt x="719" y="1097"/>
                  </a:cubicBezTo>
                  <a:cubicBezTo>
                    <a:pt x="717" y="1097"/>
                    <a:pt x="712" y="1095"/>
                    <a:pt x="711" y="1095"/>
                  </a:cubicBezTo>
                  <a:cubicBezTo>
                    <a:pt x="703" y="1090"/>
                    <a:pt x="697" y="1076"/>
                    <a:pt x="691" y="1068"/>
                  </a:cubicBezTo>
                  <a:cubicBezTo>
                    <a:pt x="691" y="1068"/>
                    <a:pt x="691" y="1067"/>
                    <a:pt x="691" y="1067"/>
                  </a:cubicBezTo>
                  <a:cubicBezTo>
                    <a:pt x="692" y="1062"/>
                    <a:pt x="698" y="1071"/>
                    <a:pt x="700" y="1071"/>
                  </a:cubicBezTo>
                  <a:cubicBezTo>
                    <a:pt x="707" y="1071"/>
                    <a:pt x="700" y="1061"/>
                    <a:pt x="701" y="1055"/>
                  </a:cubicBezTo>
                  <a:cubicBezTo>
                    <a:pt x="701" y="1052"/>
                    <a:pt x="707" y="1048"/>
                    <a:pt x="706" y="1047"/>
                  </a:cubicBezTo>
                  <a:cubicBezTo>
                    <a:pt x="705" y="1046"/>
                    <a:pt x="702" y="1042"/>
                    <a:pt x="704" y="1041"/>
                  </a:cubicBezTo>
                  <a:cubicBezTo>
                    <a:pt x="706" y="1040"/>
                    <a:pt x="699" y="1044"/>
                    <a:pt x="697" y="1043"/>
                  </a:cubicBezTo>
                  <a:cubicBezTo>
                    <a:pt x="696" y="1042"/>
                    <a:pt x="696" y="1041"/>
                    <a:pt x="696" y="1040"/>
                  </a:cubicBezTo>
                  <a:cubicBezTo>
                    <a:pt x="697" y="1035"/>
                    <a:pt x="687" y="1024"/>
                    <a:pt x="691" y="1027"/>
                  </a:cubicBezTo>
                  <a:cubicBezTo>
                    <a:pt x="693" y="1029"/>
                    <a:pt x="696" y="1037"/>
                    <a:pt x="698" y="1034"/>
                  </a:cubicBezTo>
                  <a:cubicBezTo>
                    <a:pt x="706" y="1025"/>
                    <a:pt x="665" y="1000"/>
                    <a:pt x="661" y="1006"/>
                  </a:cubicBezTo>
                  <a:cubicBezTo>
                    <a:pt x="660" y="1007"/>
                    <a:pt x="673" y="1021"/>
                    <a:pt x="673" y="1021"/>
                  </a:cubicBezTo>
                  <a:cubicBezTo>
                    <a:pt x="678" y="1018"/>
                    <a:pt x="669" y="1015"/>
                    <a:pt x="673" y="1013"/>
                  </a:cubicBezTo>
                  <a:cubicBezTo>
                    <a:pt x="681" y="1011"/>
                    <a:pt x="687" y="1026"/>
                    <a:pt x="692" y="1040"/>
                  </a:cubicBezTo>
                  <a:cubicBezTo>
                    <a:pt x="698" y="1054"/>
                    <a:pt x="678" y="1045"/>
                    <a:pt x="693" y="1061"/>
                  </a:cubicBezTo>
                  <a:cubicBezTo>
                    <a:pt x="695" y="1064"/>
                    <a:pt x="680" y="1063"/>
                    <a:pt x="683" y="1066"/>
                  </a:cubicBezTo>
                  <a:cubicBezTo>
                    <a:pt x="701" y="1080"/>
                    <a:pt x="684" y="1078"/>
                    <a:pt x="686" y="1083"/>
                  </a:cubicBezTo>
                  <a:cubicBezTo>
                    <a:pt x="687" y="1086"/>
                    <a:pt x="690" y="1084"/>
                    <a:pt x="691" y="1083"/>
                  </a:cubicBezTo>
                  <a:cubicBezTo>
                    <a:pt x="692" y="1082"/>
                    <a:pt x="693" y="1083"/>
                    <a:pt x="693" y="1088"/>
                  </a:cubicBezTo>
                  <a:cubicBezTo>
                    <a:pt x="693" y="1088"/>
                    <a:pt x="698" y="1092"/>
                    <a:pt x="699" y="1092"/>
                  </a:cubicBezTo>
                  <a:cubicBezTo>
                    <a:pt x="702" y="1094"/>
                    <a:pt x="717" y="1121"/>
                    <a:pt x="722" y="1117"/>
                  </a:cubicBezTo>
                  <a:cubicBezTo>
                    <a:pt x="724" y="1116"/>
                    <a:pt x="719" y="1110"/>
                    <a:pt x="722" y="1107"/>
                  </a:cubicBezTo>
                  <a:cubicBezTo>
                    <a:pt x="723" y="1107"/>
                    <a:pt x="725" y="1112"/>
                    <a:pt x="726" y="1108"/>
                  </a:cubicBezTo>
                  <a:cubicBezTo>
                    <a:pt x="727" y="1104"/>
                    <a:pt x="732" y="1102"/>
                    <a:pt x="734" y="1107"/>
                  </a:cubicBezTo>
                  <a:cubicBezTo>
                    <a:pt x="735" y="1114"/>
                    <a:pt x="725" y="1110"/>
                    <a:pt x="729" y="1118"/>
                  </a:cubicBezTo>
                  <a:cubicBezTo>
                    <a:pt x="729" y="1118"/>
                    <a:pt x="729" y="1119"/>
                    <a:pt x="730" y="1119"/>
                  </a:cubicBezTo>
                  <a:cubicBezTo>
                    <a:pt x="727" y="1120"/>
                    <a:pt x="725" y="1122"/>
                    <a:pt x="725" y="1124"/>
                  </a:cubicBezTo>
                  <a:cubicBezTo>
                    <a:pt x="725" y="1127"/>
                    <a:pt x="733" y="1127"/>
                    <a:pt x="732" y="1130"/>
                  </a:cubicBezTo>
                  <a:cubicBezTo>
                    <a:pt x="732" y="1136"/>
                    <a:pt x="726" y="1131"/>
                    <a:pt x="726" y="1131"/>
                  </a:cubicBezTo>
                  <a:cubicBezTo>
                    <a:pt x="726" y="1137"/>
                    <a:pt x="725" y="1142"/>
                    <a:pt x="725" y="1146"/>
                  </a:cubicBezTo>
                  <a:cubicBezTo>
                    <a:pt x="724" y="1149"/>
                    <a:pt x="732" y="1157"/>
                    <a:pt x="729" y="1156"/>
                  </a:cubicBezTo>
                  <a:cubicBezTo>
                    <a:pt x="724" y="1154"/>
                    <a:pt x="718" y="1146"/>
                    <a:pt x="716" y="1150"/>
                  </a:cubicBezTo>
                  <a:cubicBezTo>
                    <a:pt x="714" y="1157"/>
                    <a:pt x="735" y="1160"/>
                    <a:pt x="737" y="1166"/>
                  </a:cubicBezTo>
                  <a:cubicBezTo>
                    <a:pt x="740" y="1174"/>
                    <a:pt x="725" y="1160"/>
                    <a:pt x="724" y="1163"/>
                  </a:cubicBezTo>
                  <a:cubicBezTo>
                    <a:pt x="724" y="1165"/>
                    <a:pt x="732" y="1172"/>
                    <a:pt x="734" y="1175"/>
                  </a:cubicBezTo>
                  <a:cubicBezTo>
                    <a:pt x="735" y="1176"/>
                    <a:pt x="737" y="1178"/>
                    <a:pt x="735" y="1178"/>
                  </a:cubicBezTo>
                  <a:cubicBezTo>
                    <a:pt x="732" y="1177"/>
                    <a:pt x="719" y="1167"/>
                    <a:pt x="720" y="1163"/>
                  </a:cubicBezTo>
                  <a:cubicBezTo>
                    <a:pt x="721" y="1162"/>
                    <a:pt x="721" y="1158"/>
                    <a:pt x="720" y="1159"/>
                  </a:cubicBezTo>
                  <a:cubicBezTo>
                    <a:pt x="718" y="1159"/>
                    <a:pt x="714" y="1167"/>
                    <a:pt x="711" y="1165"/>
                  </a:cubicBezTo>
                  <a:cubicBezTo>
                    <a:pt x="708" y="1164"/>
                    <a:pt x="712" y="1156"/>
                    <a:pt x="708" y="1155"/>
                  </a:cubicBezTo>
                  <a:cubicBezTo>
                    <a:pt x="704" y="1153"/>
                    <a:pt x="707" y="1163"/>
                    <a:pt x="705" y="1158"/>
                  </a:cubicBezTo>
                  <a:cubicBezTo>
                    <a:pt x="701" y="1150"/>
                    <a:pt x="702" y="1168"/>
                    <a:pt x="701" y="1168"/>
                  </a:cubicBezTo>
                  <a:cubicBezTo>
                    <a:pt x="696" y="1169"/>
                    <a:pt x="678" y="1142"/>
                    <a:pt x="682" y="1153"/>
                  </a:cubicBezTo>
                  <a:cubicBezTo>
                    <a:pt x="685" y="1161"/>
                    <a:pt x="703" y="1182"/>
                    <a:pt x="709" y="1171"/>
                  </a:cubicBezTo>
                  <a:cubicBezTo>
                    <a:pt x="709" y="1170"/>
                    <a:pt x="705" y="1168"/>
                    <a:pt x="705" y="1168"/>
                  </a:cubicBezTo>
                  <a:cubicBezTo>
                    <a:pt x="703" y="1166"/>
                    <a:pt x="710" y="1169"/>
                    <a:pt x="712" y="1169"/>
                  </a:cubicBezTo>
                  <a:cubicBezTo>
                    <a:pt x="715" y="1168"/>
                    <a:pt x="712" y="1175"/>
                    <a:pt x="718" y="1181"/>
                  </a:cubicBezTo>
                  <a:cubicBezTo>
                    <a:pt x="719" y="1182"/>
                    <a:pt x="723" y="1184"/>
                    <a:pt x="724" y="1184"/>
                  </a:cubicBezTo>
                  <a:cubicBezTo>
                    <a:pt x="732" y="1181"/>
                    <a:pt x="720" y="1173"/>
                    <a:pt x="723" y="1173"/>
                  </a:cubicBezTo>
                  <a:cubicBezTo>
                    <a:pt x="724" y="1172"/>
                    <a:pt x="748" y="1194"/>
                    <a:pt x="739" y="1177"/>
                  </a:cubicBezTo>
                  <a:cubicBezTo>
                    <a:pt x="739" y="1176"/>
                    <a:pt x="735" y="1168"/>
                    <a:pt x="740" y="1171"/>
                  </a:cubicBezTo>
                  <a:cubicBezTo>
                    <a:pt x="741" y="1172"/>
                    <a:pt x="744" y="1177"/>
                    <a:pt x="744" y="1178"/>
                  </a:cubicBezTo>
                  <a:cubicBezTo>
                    <a:pt x="747" y="1198"/>
                    <a:pt x="750" y="1182"/>
                    <a:pt x="754" y="1191"/>
                  </a:cubicBezTo>
                  <a:cubicBezTo>
                    <a:pt x="757" y="1197"/>
                    <a:pt x="745" y="1190"/>
                    <a:pt x="744" y="1193"/>
                  </a:cubicBezTo>
                  <a:cubicBezTo>
                    <a:pt x="744" y="1198"/>
                    <a:pt x="757" y="1210"/>
                    <a:pt x="759" y="1216"/>
                  </a:cubicBezTo>
                  <a:cubicBezTo>
                    <a:pt x="761" y="1219"/>
                    <a:pt x="746" y="1216"/>
                    <a:pt x="749" y="1218"/>
                  </a:cubicBezTo>
                  <a:cubicBezTo>
                    <a:pt x="755" y="1223"/>
                    <a:pt x="783" y="1230"/>
                    <a:pt x="786" y="1229"/>
                  </a:cubicBezTo>
                  <a:cubicBezTo>
                    <a:pt x="786" y="1229"/>
                    <a:pt x="774" y="1226"/>
                    <a:pt x="783" y="1224"/>
                  </a:cubicBezTo>
                  <a:cubicBezTo>
                    <a:pt x="791" y="1222"/>
                    <a:pt x="804" y="1235"/>
                    <a:pt x="801" y="1235"/>
                  </a:cubicBezTo>
                  <a:cubicBezTo>
                    <a:pt x="799" y="1234"/>
                    <a:pt x="789" y="1228"/>
                    <a:pt x="788" y="1230"/>
                  </a:cubicBezTo>
                  <a:cubicBezTo>
                    <a:pt x="786" y="1233"/>
                    <a:pt x="820" y="1245"/>
                    <a:pt x="822" y="1248"/>
                  </a:cubicBezTo>
                  <a:cubicBezTo>
                    <a:pt x="822" y="1249"/>
                    <a:pt x="830" y="1250"/>
                    <a:pt x="829" y="1252"/>
                  </a:cubicBezTo>
                  <a:cubicBezTo>
                    <a:pt x="829" y="1252"/>
                    <a:pt x="816" y="1252"/>
                    <a:pt x="815" y="1252"/>
                  </a:cubicBezTo>
                  <a:cubicBezTo>
                    <a:pt x="815" y="1252"/>
                    <a:pt x="814" y="1252"/>
                    <a:pt x="814" y="1252"/>
                  </a:cubicBezTo>
                  <a:cubicBezTo>
                    <a:pt x="814" y="1253"/>
                    <a:pt x="818" y="1255"/>
                    <a:pt x="819" y="1255"/>
                  </a:cubicBezTo>
                  <a:cubicBezTo>
                    <a:pt x="832" y="1259"/>
                    <a:pt x="836" y="1257"/>
                    <a:pt x="838" y="1266"/>
                  </a:cubicBezTo>
                  <a:cubicBezTo>
                    <a:pt x="840" y="1273"/>
                    <a:pt x="803" y="1261"/>
                    <a:pt x="803" y="1262"/>
                  </a:cubicBezTo>
                  <a:cubicBezTo>
                    <a:pt x="801" y="1264"/>
                    <a:pt x="808" y="1263"/>
                    <a:pt x="808" y="1264"/>
                  </a:cubicBezTo>
                  <a:cubicBezTo>
                    <a:pt x="812" y="1268"/>
                    <a:pt x="799" y="1267"/>
                    <a:pt x="807" y="1272"/>
                  </a:cubicBezTo>
                  <a:cubicBezTo>
                    <a:pt x="807" y="1273"/>
                    <a:pt x="809" y="1276"/>
                    <a:pt x="808" y="1277"/>
                  </a:cubicBezTo>
                  <a:cubicBezTo>
                    <a:pt x="805" y="1278"/>
                    <a:pt x="801" y="1271"/>
                    <a:pt x="801" y="1271"/>
                  </a:cubicBezTo>
                  <a:cubicBezTo>
                    <a:pt x="798" y="1272"/>
                    <a:pt x="801" y="1278"/>
                    <a:pt x="801" y="1279"/>
                  </a:cubicBezTo>
                  <a:cubicBezTo>
                    <a:pt x="800" y="1279"/>
                    <a:pt x="798" y="1274"/>
                    <a:pt x="795" y="1274"/>
                  </a:cubicBezTo>
                  <a:cubicBezTo>
                    <a:pt x="789" y="1272"/>
                    <a:pt x="802" y="1282"/>
                    <a:pt x="793" y="1279"/>
                  </a:cubicBezTo>
                  <a:cubicBezTo>
                    <a:pt x="788" y="1278"/>
                    <a:pt x="789" y="1271"/>
                    <a:pt x="783" y="1277"/>
                  </a:cubicBezTo>
                  <a:cubicBezTo>
                    <a:pt x="782" y="1278"/>
                    <a:pt x="782" y="1278"/>
                    <a:pt x="781" y="1279"/>
                  </a:cubicBezTo>
                  <a:cubicBezTo>
                    <a:pt x="778" y="1284"/>
                    <a:pt x="784" y="1309"/>
                    <a:pt x="767" y="1316"/>
                  </a:cubicBezTo>
                  <a:cubicBezTo>
                    <a:pt x="764" y="1318"/>
                    <a:pt x="764" y="1313"/>
                    <a:pt x="763" y="1311"/>
                  </a:cubicBezTo>
                  <a:cubicBezTo>
                    <a:pt x="762" y="1305"/>
                    <a:pt x="760" y="1296"/>
                    <a:pt x="755" y="1296"/>
                  </a:cubicBezTo>
                  <a:cubicBezTo>
                    <a:pt x="747" y="1296"/>
                    <a:pt x="758" y="1294"/>
                    <a:pt x="756" y="1292"/>
                  </a:cubicBezTo>
                  <a:cubicBezTo>
                    <a:pt x="750" y="1284"/>
                    <a:pt x="749" y="1284"/>
                    <a:pt x="745" y="1276"/>
                  </a:cubicBezTo>
                  <a:cubicBezTo>
                    <a:pt x="744" y="1275"/>
                    <a:pt x="734" y="1281"/>
                    <a:pt x="734" y="1277"/>
                  </a:cubicBezTo>
                  <a:cubicBezTo>
                    <a:pt x="735" y="1274"/>
                    <a:pt x="728" y="1266"/>
                    <a:pt x="726" y="1268"/>
                  </a:cubicBezTo>
                  <a:cubicBezTo>
                    <a:pt x="719" y="1277"/>
                    <a:pt x="744" y="1282"/>
                    <a:pt x="743" y="1286"/>
                  </a:cubicBezTo>
                  <a:cubicBezTo>
                    <a:pt x="741" y="1291"/>
                    <a:pt x="738" y="1292"/>
                    <a:pt x="733" y="1292"/>
                  </a:cubicBezTo>
                  <a:cubicBezTo>
                    <a:pt x="722" y="1293"/>
                    <a:pt x="725" y="1296"/>
                    <a:pt x="734" y="1296"/>
                  </a:cubicBezTo>
                  <a:cubicBezTo>
                    <a:pt x="734" y="1296"/>
                    <a:pt x="736" y="1295"/>
                    <a:pt x="736" y="1296"/>
                  </a:cubicBezTo>
                  <a:cubicBezTo>
                    <a:pt x="737" y="1298"/>
                    <a:pt x="733" y="1300"/>
                    <a:pt x="731" y="1301"/>
                  </a:cubicBezTo>
                  <a:cubicBezTo>
                    <a:pt x="724" y="1301"/>
                    <a:pt x="721" y="1305"/>
                    <a:pt x="719" y="1302"/>
                  </a:cubicBezTo>
                  <a:cubicBezTo>
                    <a:pt x="717" y="1301"/>
                    <a:pt x="718" y="1290"/>
                    <a:pt x="713" y="1292"/>
                  </a:cubicBezTo>
                  <a:cubicBezTo>
                    <a:pt x="711" y="1293"/>
                    <a:pt x="714" y="1300"/>
                    <a:pt x="714" y="1301"/>
                  </a:cubicBezTo>
                  <a:cubicBezTo>
                    <a:pt x="714" y="1308"/>
                    <a:pt x="724" y="1316"/>
                    <a:pt x="702" y="1308"/>
                  </a:cubicBezTo>
                  <a:cubicBezTo>
                    <a:pt x="701" y="1308"/>
                    <a:pt x="703" y="1300"/>
                    <a:pt x="704" y="1300"/>
                  </a:cubicBezTo>
                  <a:cubicBezTo>
                    <a:pt x="706" y="1299"/>
                    <a:pt x="706" y="1297"/>
                    <a:pt x="705" y="1295"/>
                  </a:cubicBezTo>
                  <a:cubicBezTo>
                    <a:pt x="702" y="1292"/>
                    <a:pt x="702" y="1301"/>
                    <a:pt x="700" y="1299"/>
                  </a:cubicBezTo>
                  <a:cubicBezTo>
                    <a:pt x="699" y="1297"/>
                    <a:pt x="706" y="1278"/>
                    <a:pt x="696" y="1289"/>
                  </a:cubicBezTo>
                  <a:cubicBezTo>
                    <a:pt x="691" y="1294"/>
                    <a:pt x="697" y="1311"/>
                    <a:pt x="705" y="1313"/>
                  </a:cubicBezTo>
                  <a:cubicBezTo>
                    <a:pt x="707" y="1314"/>
                    <a:pt x="715" y="1319"/>
                    <a:pt x="715" y="1319"/>
                  </a:cubicBezTo>
                  <a:cubicBezTo>
                    <a:pt x="704" y="1319"/>
                    <a:pt x="688" y="1309"/>
                    <a:pt x="695" y="1322"/>
                  </a:cubicBezTo>
                  <a:cubicBezTo>
                    <a:pt x="698" y="1327"/>
                    <a:pt x="699" y="1318"/>
                    <a:pt x="703" y="1321"/>
                  </a:cubicBezTo>
                  <a:cubicBezTo>
                    <a:pt x="704" y="1322"/>
                    <a:pt x="701" y="1327"/>
                    <a:pt x="700" y="1327"/>
                  </a:cubicBezTo>
                  <a:cubicBezTo>
                    <a:pt x="691" y="1332"/>
                    <a:pt x="697" y="1332"/>
                    <a:pt x="693" y="1340"/>
                  </a:cubicBezTo>
                  <a:cubicBezTo>
                    <a:pt x="692" y="1342"/>
                    <a:pt x="699" y="1335"/>
                    <a:pt x="701" y="1337"/>
                  </a:cubicBezTo>
                  <a:close/>
                  <a:moveTo>
                    <a:pt x="729" y="1375"/>
                  </a:moveTo>
                  <a:cubicBezTo>
                    <a:pt x="729" y="1376"/>
                    <a:pt x="733" y="1380"/>
                    <a:pt x="734" y="1379"/>
                  </a:cubicBezTo>
                  <a:cubicBezTo>
                    <a:pt x="738" y="1379"/>
                    <a:pt x="737" y="1384"/>
                    <a:pt x="732" y="1389"/>
                  </a:cubicBezTo>
                  <a:cubicBezTo>
                    <a:pt x="730" y="1392"/>
                    <a:pt x="730" y="1380"/>
                    <a:pt x="727" y="1384"/>
                  </a:cubicBezTo>
                  <a:cubicBezTo>
                    <a:pt x="717" y="1401"/>
                    <a:pt x="707" y="1371"/>
                    <a:pt x="699" y="1387"/>
                  </a:cubicBezTo>
                  <a:cubicBezTo>
                    <a:pt x="699" y="1388"/>
                    <a:pt x="699" y="1388"/>
                    <a:pt x="699" y="1388"/>
                  </a:cubicBezTo>
                  <a:cubicBezTo>
                    <a:pt x="699" y="1388"/>
                    <a:pt x="699" y="1392"/>
                    <a:pt x="701" y="1390"/>
                  </a:cubicBezTo>
                  <a:cubicBezTo>
                    <a:pt x="703" y="1387"/>
                    <a:pt x="741" y="1403"/>
                    <a:pt x="749" y="1388"/>
                  </a:cubicBezTo>
                  <a:cubicBezTo>
                    <a:pt x="751" y="1385"/>
                    <a:pt x="732" y="1369"/>
                    <a:pt x="729" y="1375"/>
                  </a:cubicBezTo>
                  <a:close/>
                  <a:moveTo>
                    <a:pt x="171" y="1048"/>
                  </a:moveTo>
                  <a:cubicBezTo>
                    <a:pt x="186" y="1038"/>
                    <a:pt x="165" y="1042"/>
                    <a:pt x="165" y="1041"/>
                  </a:cubicBezTo>
                  <a:cubicBezTo>
                    <a:pt x="165" y="1041"/>
                    <a:pt x="165" y="1041"/>
                    <a:pt x="165" y="1041"/>
                  </a:cubicBezTo>
                  <a:cubicBezTo>
                    <a:pt x="162" y="1042"/>
                    <a:pt x="168" y="1050"/>
                    <a:pt x="171" y="1048"/>
                  </a:cubicBezTo>
                  <a:close/>
                  <a:moveTo>
                    <a:pt x="154" y="1052"/>
                  </a:moveTo>
                  <a:cubicBezTo>
                    <a:pt x="138" y="1053"/>
                    <a:pt x="174" y="1083"/>
                    <a:pt x="179" y="1055"/>
                  </a:cubicBezTo>
                  <a:cubicBezTo>
                    <a:pt x="179" y="1054"/>
                    <a:pt x="179" y="1054"/>
                    <a:pt x="179" y="1054"/>
                  </a:cubicBezTo>
                  <a:cubicBezTo>
                    <a:pt x="176" y="1049"/>
                    <a:pt x="165" y="1059"/>
                    <a:pt x="161" y="1059"/>
                  </a:cubicBezTo>
                  <a:cubicBezTo>
                    <a:pt x="156" y="1058"/>
                    <a:pt x="170" y="1051"/>
                    <a:pt x="154" y="1052"/>
                  </a:cubicBezTo>
                  <a:close/>
                  <a:moveTo>
                    <a:pt x="94" y="1525"/>
                  </a:moveTo>
                  <a:cubicBezTo>
                    <a:pt x="95" y="1526"/>
                    <a:pt x="106" y="1526"/>
                    <a:pt x="104" y="1522"/>
                  </a:cubicBezTo>
                  <a:cubicBezTo>
                    <a:pt x="103" y="1520"/>
                    <a:pt x="102" y="1522"/>
                    <a:pt x="101" y="1519"/>
                  </a:cubicBezTo>
                  <a:cubicBezTo>
                    <a:pt x="100" y="1519"/>
                    <a:pt x="100" y="1519"/>
                    <a:pt x="100" y="1519"/>
                  </a:cubicBezTo>
                  <a:cubicBezTo>
                    <a:pt x="98" y="1519"/>
                    <a:pt x="92" y="1524"/>
                    <a:pt x="94" y="1525"/>
                  </a:cubicBezTo>
                  <a:close/>
                  <a:moveTo>
                    <a:pt x="86" y="1521"/>
                  </a:moveTo>
                  <a:cubicBezTo>
                    <a:pt x="83" y="1530"/>
                    <a:pt x="87" y="1523"/>
                    <a:pt x="89" y="1520"/>
                  </a:cubicBezTo>
                  <a:cubicBezTo>
                    <a:pt x="90" y="1519"/>
                    <a:pt x="90" y="1519"/>
                    <a:pt x="90" y="1519"/>
                  </a:cubicBezTo>
                  <a:cubicBezTo>
                    <a:pt x="91" y="1517"/>
                    <a:pt x="87" y="1518"/>
                    <a:pt x="86" y="1521"/>
                  </a:cubicBezTo>
                  <a:close/>
                  <a:moveTo>
                    <a:pt x="75" y="1530"/>
                  </a:moveTo>
                  <a:cubicBezTo>
                    <a:pt x="76" y="1531"/>
                    <a:pt x="79" y="1529"/>
                    <a:pt x="80" y="1529"/>
                  </a:cubicBezTo>
                  <a:cubicBezTo>
                    <a:pt x="80" y="1529"/>
                    <a:pt x="84" y="1531"/>
                    <a:pt x="85" y="1530"/>
                  </a:cubicBezTo>
                  <a:cubicBezTo>
                    <a:pt x="85" y="1529"/>
                    <a:pt x="84" y="1528"/>
                    <a:pt x="83" y="1527"/>
                  </a:cubicBezTo>
                  <a:cubicBezTo>
                    <a:pt x="82" y="1527"/>
                    <a:pt x="82" y="1527"/>
                    <a:pt x="82" y="1527"/>
                  </a:cubicBezTo>
                  <a:cubicBezTo>
                    <a:pt x="82" y="1527"/>
                    <a:pt x="80" y="1526"/>
                    <a:pt x="79" y="1526"/>
                  </a:cubicBezTo>
                  <a:cubicBezTo>
                    <a:pt x="79" y="1526"/>
                    <a:pt x="75" y="1530"/>
                    <a:pt x="75" y="15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" name="Denmark"/>
            <p:cNvSpPr>
              <a:spLocks noEditPoints="1"/>
            </p:cNvSpPr>
            <p:nvPr/>
          </p:nvSpPr>
          <p:spPr bwMode="auto">
            <a:xfrm>
              <a:off x="3141" y="1709"/>
              <a:ext cx="337" cy="232"/>
            </a:xfrm>
            <a:custGeom>
              <a:avLst/>
              <a:gdLst>
                <a:gd name="T0" fmla="*/ 138 w 647"/>
                <a:gd name="T1" fmla="*/ 401 h 446"/>
                <a:gd name="T2" fmla="*/ 52 w 647"/>
                <a:gd name="T3" fmla="*/ 371 h 446"/>
                <a:gd name="T4" fmla="*/ 55 w 647"/>
                <a:gd name="T5" fmla="*/ 368 h 446"/>
                <a:gd name="T6" fmla="*/ 14 w 647"/>
                <a:gd name="T7" fmla="*/ 316 h 446"/>
                <a:gd name="T8" fmla="*/ 12 w 647"/>
                <a:gd name="T9" fmla="*/ 275 h 446"/>
                <a:gd name="T10" fmla="*/ 13 w 647"/>
                <a:gd name="T11" fmla="*/ 161 h 446"/>
                <a:gd name="T12" fmla="*/ 55 w 647"/>
                <a:gd name="T13" fmla="*/ 163 h 446"/>
                <a:gd name="T14" fmla="*/ 88 w 647"/>
                <a:gd name="T15" fmla="*/ 166 h 446"/>
                <a:gd name="T16" fmla="*/ 117 w 647"/>
                <a:gd name="T17" fmla="*/ 170 h 446"/>
                <a:gd name="T18" fmla="*/ 138 w 647"/>
                <a:gd name="T19" fmla="*/ 114 h 446"/>
                <a:gd name="T20" fmla="*/ 38 w 647"/>
                <a:gd name="T21" fmla="*/ 140 h 446"/>
                <a:gd name="T22" fmla="*/ 47 w 647"/>
                <a:gd name="T23" fmla="*/ 156 h 446"/>
                <a:gd name="T24" fmla="*/ 48 w 647"/>
                <a:gd name="T25" fmla="*/ 94 h 446"/>
                <a:gd name="T26" fmla="*/ 223 w 647"/>
                <a:gd name="T27" fmla="*/ 11 h 446"/>
                <a:gd name="T28" fmla="*/ 203 w 647"/>
                <a:gd name="T29" fmla="*/ 111 h 446"/>
                <a:gd name="T30" fmla="*/ 200 w 647"/>
                <a:gd name="T31" fmla="*/ 112 h 446"/>
                <a:gd name="T32" fmla="*/ 177 w 647"/>
                <a:gd name="T33" fmla="*/ 154 h 446"/>
                <a:gd name="T34" fmla="*/ 203 w 647"/>
                <a:gd name="T35" fmla="*/ 153 h 446"/>
                <a:gd name="T36" fmla="*/ 259 w 647"/>
                <a:gd name="T37" fmla="*/ 188 h 446"/>
                <a:gd name="T38" fmla="*/ 204 w 647"/>
                <a:gd name="T39" fmla="*/ 222 h 446"/>
                <a:gd name="T40" fmla="*/ 161 w 647"/>
                <a:gd name="T41" fmla="*/ 270 h 446"/>
                <a:gd name="T42" fmla="*/ 133 w 647"/>
                <a:gd name="T43" fmla="*/ 289 h 446"/>
                <a:gd name="T44" fmla="*/ 138 w 647"/>
                <a:gd name="T45" fmla="*/ 319 h 446"/>
                <a:gd name="T46" fmla="*/ 133 w 647"/>
                <a:gd name="T47" fmla="*/ 376 h 446"/>
                <a:gd name="T48" fmla="*/ 366 w 647"/>
                <a:gd name="T49" fmla="*/ 408 h 446"/>
                <a:gd name="T50" fmla="*/ 351 w 647"/>
                <a:gd name="T51" fmla="*/ 390 h 446"/>
                <a:gd name="T52" fmla="*/ 392 w 647"/>
                <a:gd name="T53" fmla="*/ 347 h 446"/>
                <a:gd name="T54" fmla="*/ 378 w 647"/>
                <a:gd name="T55" fmla="*/ 231 h 446"/>
                <a:gd name="T56" fmla="*/ 344 w 647"/>
                <a:gd name="T57" fmla="*/ 297 h 446"/>
                <a:gd name="T58" fmla="*/ 327 w 647"/>
                <a:gd name="T59" fmla="*/ 287 h 446"/>
                <a:gd name="T60" fmla="*/ 326 w 647"/>
                <a:gd name="T61" fmla="*/ 263 h 446"/>
                <a:gd name="T62" fmla="*/ 293 w 647"/>
                <a:gd name="T63" fmla="*/ 255 h 446"/>
                <a:gd name="T64" fmla="*/ 258 w 647"/>
                <a:gd name="T65" fmla="*/ 285 h 446"/>
                <a:gd name="T66" fmla="*/ 275 w 647"/>
                <a:gd name="T67" fmla="*/ 307 h 446"/>
                <a:gd name="T68" fmla="*/ 279 w 647"/>
                <a:gd name="T69" fmla="*/ 341 h 446"/>
                <a:gd name="T70" fmla="*/ 327 w 647"/>
                <a:gd name="T71" fmla="*/ 358 h 446"/>
                <a:gd name="T72" fmla="*/ 333 w 647"/>
                <a:gd name="T73" fmla="*/ 384 h 446"/>
                <a:gd name="T74" fmla="*/ 366 w 647"/>
                <a:gd name="T75" fmla="*/ 408 h 446"/>
                <a:gd name="T76" fmla="*/ 262 w 647"/>
                <a:gd name="T77" fmla="*/ 416 h 446"/>
                <a:gd name="T78" fmla="*/ 396 w 647"/>
                <a:gd name="T79" fmla="*/ 384 h 446"/>
                <a:gd name="T80" fmla="*/ 200 w 647"/>
                <a:gd name="T81" fmla="*/ 112 h 446"/>
                <a:gd name="T82" fmla="*/ 177 w 647"/>
                <a:gd name="T83" fmla="*/ 154 h 446"/>
                <a:gd name="T84" fmla="*/ 245 w 647"/>
                <a:gd name="T85" fmla="*/ 389 h 446"/>
                <a:gd name="T86" fmla="*/ 233 w 647"/>
                <a:gd name="T87" fmla="*/ 418 h 446"/>
                <a:gd name="T88" fmla="*/ 261 w 647"/>
                <a:gd name="T89" fmla="*/ 79 h 446"/>
                <a:gd name="T90" fmla="*/ 179 w 647"/>
                <a:gd name="T91" fmla="*/ 375 h 446"/>
                <a:gd name="T92" fmla="*/ 238 w 647"/>
                <a:gd name="T93" fmla="*/ 321 h 446"/>
                <a:gd name="T94" fmla="*/ 219 w 647"/>
                <a:gd name="T95" fmla="*/ 313 h 446"/>
                <a:gd name="T96" fmla="*/ 147 w 647"/>
                <a:gd name="T97" fmla="*/ 323 h 446"/>
                <a:gd name="T98" fmla="*/ 159 w 647"/>
                <a:gd name="T99" fmla="*/ 332 h 446"/>
                <a:gd name="T100" fmla="*/ 179 w 647"/>
                <a:gd name="T101" fmla="*/ 374 h 446"/>
                <a:gd name="T102" fmla="*/ 77 w 647"/>
                <a:gd name="T103" fmla="*/ 114 h 446"/>
                <a:gd name="T104" fmla="*/ 147 w 647"/>
                <a:gd name="T105" fmla="*/ 323 h 446"/>
                <a:gd name="T106" fmla="*/ 158 w 647"/>
                <a:gd name="T107" fmla="*/ 390 h 446"/>
                <a:gd name="T108" fmla="*/ 164 w 647"/>
                <a:gd name="T109" fmla="*/ 404 h 446"/>
                <a:gd name="T110" fmla="*/ 222 w 647"/>
                <a:gd name="T111" fmla="*/ 390 h 446"/>
                <a:gd name="T112" fmla="*/ 223 w 647"/>
                <a:gd name="T113" fmla="*/ 253 h 446"/>
                <a:gd name="T114" fmla="*/ 210 w 647"/>
                <a:gd name="T115" fmla="*/ 410 h 446"/>
                <a:gd name="T116" fmla="*/ 232 w 647"/>
                <a:gd name="T117" fmla="*/ 265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47" h="446">
                  <a:moveTo>
                    <a:pt x="152" y="397"/>
                  </a:moveTo>
                  <a:cubicBezTo>
                    <a:pt x="153" y="399"/>
                    <a:pt x="153" y="400"/>
                    <a:pt x="152" y="401"/>
                  </a:cubicBezTo>
                  <a:cubicBezTo>
                    <a:pt x="151" y="403"/>
                    <a:pt x="148" y="400"/>
                    <a:pt x="146" y="401"/>
                  </a:cubicBezTo>
                  <a:cubicBezTo>
                    <a:pt x="144" y="404"/>
                    <a:pt x="156" y="411"/>
                    <a:pt x="140" y="406"/>
                  </a:cubicBezTo>
                  <a:cubicBezTo>
                    <a:pt x="138" y="406"/>
                    <a:pt x="139" y="402"/>
                    <a:pt x="138" y="401"/>
                  </a:cubicBezTo>
                  <a:cubicBezTo>
                    <a:pt x="137" y="400"/>
                    <a:pt x="145" y="399"/>
                    <a:pt x="140" y="396"/>
                  </a:cubicBezTo>
                  <a:cubicBezTo>
                    <a:pt x="139" y="396"/>
                    <a:pt x="126" y="406"/>
                    <a:pt x="123" y="411"/>
                  </a:cubicBezTo>
                  <a:cubicBezTo>
                    <a:pt x="106" y="412"/>
                    <a:pt x="85" y="399"/>
                    <a:pt x="67" y="401"/>
                  </a:cubicBezTo>
                  <a:cubicBezTo>
                    <a:pt x="65" y="401"/>
                    <a:pt x="58" y="401"/>
                    <a:pt x="52" y="400"/>
                  </a:cubicBezTo>
                  <a:cubicBezTo>
                    <a:pt x="53" y="387"/>
                    <a:pt x="56" y="371"/>
                    <a:pt x="52" y="371"/>
                  </a:cubicBezTo>
                  <a:cubicBezTo>
                    <a:pt x="48" y="370"/>
                    <a:pt x="46" y="367"/>
                    <a:pt x="44" y="368"/>
                  </a:cubicBezTo>
                  <a:cubicBezTo>
                    <a:pt x="43" y="370"/>
                    <a:pt x="46" y="373"/>
                    <a:pt x="44" y="375"/>
                  </a:cubicBezTo>
                  <a:cubicBezTo>
                    <a:pt x="41" y="377"/>
                    <a:pt x="37" y="380"/>
                    <a:pt x="36" y="374"/>
                  </a:cubicBezTo>
                  <a:cubicBezTo>
                    <a:pt x="36" y="371"/>
                    <a:pt x="35" y="370"/>
                    <a:pt x="36" y="367"/>
                  </a:cubicBezTo>
                  <a:cubicBezTo>
                    <a:pt x="44" y="345"/>
                    <a:pt x="42" y="372"/>
                    <a:pt x="55" y="368"/>
                  </a:cubicBezTo>
                  <a:cubicBezTo>
                    <a:pt x="57" y="368"/>
                    <a:pt x="52" y="331"/>
                    <a:pt x="50" y="328"/>
                  </a:cubicBezTo>
                  <a:cubicBezTo>
                    <a:pt x="47" y="322"/>
                    <a:pt x="35" y="325"/>
                    <a:pt x="30" y="319"/>
                  </a:cubicBezTo>
                  <a:cubicBezTo>
                    <a:pt x="24" y="313"/>
                    <a:pt x="23" y="303"/>
                    <a:pt x="16" y="309"/>
                  </a:cubicBezTo>
                  <a:cubicBezTo>
                    <a:pt x="11" y="313"/>
                    <a:pt x="25" y="318"/>
                    <a:pt x="24" y="322"/>
                  </a:cubicBezTo>
                  <a:cubicBezTo>
                    <a:pt x="23" y="325"/>
                    <a:pt x="15" y="317"/>
                    <a:pt x="14" y="316"/>
                  </a:cubicBezTo>
                  <a:cubicBezTo>
                    <a:pt x="12" y="314"/>
                    <a:pt x="3" y="314"/>
                    <a:pt x="2" y="311"/>
                  </a:cubicBezTo>
                  <a:cubicBezTo>
                    <a:pt x="0" y="304"/>
                    <a:pt x="12" y="290"/>
                    <a:pt x="11" y="281"/>
                  </a:cubicBezTo>
                  <a:cubicBezTo>
                    <a:pt x="10" y="274"/>
                    <a:pt x="8" y="267"/>
                    <a:pt x="8" y="260"/>
                  </a:cubicBezTo>
                  <a:cubicBezTo>
                    <a:pt x="8" y="259"/>
                    <a:pt x="5" y="251"/>
                    <a:pt x="6" y="251"/>
                  </a:cubicBezTo>
                  <a:cubicBezTo>
                    <a:pt x="10" y="250"/>
                    <a:pt x="11" y="275"/>
                    <a:pt x="12" y="275"/>
                  </a:cubicBezTo>
                  <a:cubicBezTo>
                    <a:pt x="38" y="275"/>
                    <a:pt x="27" y="232"/>
                    <a:pt x="7" y="233"/>
                  </a:cubicBezTo>
                  <a:cubicBezTo>
                    <a:pt x="7" y="233"/>
                    <a:pt x="9" y="251"/>
                    <a:pt x="5" y="249"/>
                  </a:cubicBezTo>
                  <a:cubicBezTo>
                    <a:pt x="4" y="249"/>
                    <a:pt x="4" y="246"/>
                    <a:pt x="4" y="245"/>
                  </a:cubicBezTo>
                  <a:cubicBezTo>
                    <a:pt x="2" y="227"/>
                    <a:pt x="2" y="166"/>
                    <a:pt x="13" y="151"/>
                  </a:cubicBezTo>
                  <a:cubicBezTo>
                    <a:pt x="15" y="148"/>
                    <a:pt x="10" y="160"/>
                    <a:pt x="13" y="161"/>
                  </a:cubicBezTo>
                  <a:cubicBezTo>
                    <a:pt x="22" y="164"/>
                    <a:pt x="18" y="169"/>
                    <a:pt x="21" y="172"/>
                  </a:cubicBezTo>
                  <a:cubicBezTo>
                    <a:pt x="22" y="174"/>
                    <a:pt x="25" y="169"/>
                    <a:pt x="27" y="169"/>
                  </a:cubicBezTo>
                  <a:cubicBezTo>
                    <a:pt x="32" y="167"/>
                    <a:pt x="42" y="170"/>
                    <a:pt x="45" y="169"/>
                  </a:cubicBezTo>
                  <a:cubicBezTo>
                    <a:pt x="49" y="169"/>
                    <a:pt x="46" y="184"/>
                    <a:pt x="53" y="183"/>
                  </a:cubicBezTo>
                  <a:cubicBezTo>
                    <a:pt x="73" y="182"/>
                    <a:pt x="54" y="167"/>
                    <a:pt x="55" y="163"/>
                  </a:cubicBezTo>
                  <a:cubicBezTo>
                    <a:pt x="58" y="157"/>
                    <a:pt x="72" y="155"/>
                    <a:pt x="76" y="152"/>
                  </a:cubicBezTo>
                  <a:cubicBezTo>
                    <a:pt x="79" y="151"/>
                    <a:pt x="69" y="150"/>
                    <a:pt x="69" y="150"/>
                  </a:cubicBezTo>
                  <a:cubicBezTo>
                    <a:pt x="70" y="145"/>
                    <a:pt x="76" y="139"/>
                    <a:pt x="79" y="137"/>
                  </a:cubicBezTo>
                  <a:cubicBezTo>
                    <a:pt x="82" y="136"/>
                    <a:pt x="85" y="136"/>
                    <a:pt x="88" y="137"/>
                  </a:cubicBezTo>
                  <a:cubicBezTo>
                    <a:pt x="110" y="147"/>
                    <a:pt x="85" y="154"/>
                    <a:pt x="88" y="166"/>
                  </a:cubicBezTo>
                  <a:cubicBezTo>
                    <a:pt x="88" y="167"/>
                    <a:pt x="88" y="170"/>
                    <a:pt x="89" y="171"/>
                  </a:cubicBezTo>
                  <a:cubicBezTo>
                    <a:pt x="94" y="174"/>
                    <a:pt x="92" y="159"/>
                    <a:pt x="97" y="158"/>
                  </a:cubicBezTo>
                  <a:cubicBezTo>
                    <a:pt x="110" y="156"/>
                    <a:pt x="105" y="176"/>
                    <a:pt x="112" y="176"/>
                  </a:cubicBezTo>
                  <a:cubicBezTo>
                    <a:pt x="113" y="176"/>
                    <a:pt x="113" y="174"/>
                    <a:pt x="114" y="173"/>
                  </a:cubicBezTo>
                  <a:cubicBezTo>
                    <a:pt x="115" y="173"/>
                    <a:pt x="120" y="172"/>
                    <a:pt x="117" y="170"/>
                  </a:cubicBezTo>
                  <a:cubicBezTo>
                    <a:pt x="99" y="160"/>
                    <a:pt x="122" y="163"/>
                    <a:pt x="111" y="152"/>
                  </a:cubicBezTo>
                  <a:cubicBezTo>
                    <a:pt x="108" y="149"/>
                    <a:pt x="100" y="158"/>
                    <a:pt x="99" y="155"/>
                  </a:cubicBezTo>
                  <a:cubicBezTo>
                    <a:pt x="97" y="153"/>
                    <a:pt x="106" y="149"/>
                    <a:pt x="105" y="146"/>
                  </a:cubicBezTo>
                  <a:cubicBezTo>
                    <a:pt x="105" y="142"/>
                    <a:pt x="98" y="130"/>
                    <a:pt x="98" y="125"/>
                  </a:cubicBezTo>
                  <a:cubicBezTo>
                    <a:pt x="103" y="98"/>
                    <a:pt x="132" y="115"/>
                    <a:pt x="138" y="114"/>
                  </a:cubicBezTo>
                  <a:cubicBezTo>
                    <a:pt x="142" y="114"/>
                    <a:pt x="143" y="106"/>
                    <a:pt x="145" y="105"/>
                  </a:cubicBezTo>
                  <a:cubicBezTo>
                    <a:pt x="151" y="101"/>
                    <a:pt x="170" y="107"/>
                    <a:pt x="165" y="102"/>
                  </a:cubicBezTo>
                  <a:cubicBezTo>
                    <a:pt x="154" y="90"/>
                    <a:pt x="123" y="107"/>
                    <a:pt x="107" y="111"/>
                  </a:cubicBezTo>
                  <a:cubicBezTo>
                    <a:pt x="103" y="112"/>
                    <a:pt x="98" y="105"/>
                    <a:pt x="94" y="103"/>
                  </a:cubicBezTo>
                  <a:cubicBezTo>
                    <a:pt x="90" y="101"/>
                    <a:pt x="45" y="125"/>
                    <a:pt x="38" y="140"/>
                  </a:cubicBezTo>
                  <a:cubicBezTo>
                    <a:pt x="35" y="145"/>
                    <a:pt x="42" y="152"/>
                    <a:pt x="41" y="153"/>
                  </a:cubicBezTo>
                  <a:cubicBezTo>
                    <a:pt x="41" y="153"/>
                    <a:pt x="30" y="154"/>
                    <a:pt x="31" y="154"/>
                  </a:cubicBezTo>
                  <a:cubicBezTo>
                    <a:pt x="33" y="158"/>
                    <a:pt x="36" y="152"/>
                    <a:pt x="38" y="156"/>
                  </a:cubicBezTo>
                  <a:cubicBezTo>
                    <a:pt x="39" y="157"/>
                    <a:pt x="42" y="156"/>
                    <a:pt x="43" y="155"/>
                  </a:cubicBezTo>
                  <a:cubicBezTo>
                    <a:pt x="45" y="153"/>
                    <a:pt x="49" y="152"/>
                    <a:pt x="47" y="156"/>
                  </a:cubicBezTo>
                  <a:cubicBezTo>
                    <a:pt x="46" y="159"/>
                    <a:pt x="49" y="159"/>
                    <a:pt x="49" y="162"/>
                  </a:cubicBezTo>
                  <a:cubicBezTo>
                    <a:pt x="49" y="164"/>
                    <a:pt x="46" y="168"/>
                    <a:pt x="43" y="168"/>
                  </a:cubicBezTo>
                  <a:cubicBezTo>
                    <a:pt x="36" y="168"/>
                    <a:pt x="22" y="140"/>
                    <a:pt x="17" y="141"/>
                  </a:cubicBezTo>
                  <a:cubicBezTo>
                    <a:pt x="15" y="142"/>
                    <a:pt x="20" y="153"/>
                    <a:pt x="17" y="152"/>
                  </a:cubicBezTo>
                  <a:cubicBezTo>
                    <a:pt x="4" y="148"/>
                    <a:pt x="39" y="101"/>
                    <a:pt x="48" y="94"/>
                  </a:cubicBezTo>
                  <a:cubicBezTo>
                    <a:pt x="56" y="88"/>
                    <a:pt x="105" y="95"/>
                    <a:pt x="118" y="89"/>
                  </a:cubicBezTo>
                  <a:cubicBezTo>
                    <a:pt x="143" y="78"/>
                    <a:pt x="151" y="47"/>
                    <a:pt x="168" y="29"/>
                  </a:cubicBezTo>
                  <a:cubicBezTo>
                    <a:pt x="173" y="24"/>
                    <a:pt x="191" y="28"/>
                    <a:pt x="199" y="23"/>
                  </a:cubicBezTo>
                  <a:cubicBezTo>
                    <a:pt x="205" y="19"/>
                    <a:pt x="222" y="0"/>
                    <a:pt x="230" y="7"/>
                  </a:cubicBezTo>
                  <a:cubicBezTo>
                    <a:pt x="230" y="7"/>
                    <a:pt x="224" y="11"/>
                    <a:pt x="223" y="11"/>
                  </a:cubicBezTo>
                  <a:cubicBezTo>
                    <a:pt x="218" y="15"/>
                    <a:pt x="210" y="24"/>
                    <a:pt x="211" y="31"/>
                  </a:cubicBezTo>
                  <a:cubicBezTo>
                    <a:pt x="212" y="38"/>
                    <a:pt x="222" y="43"/>
                    <a:pt x="221" y="50"/>
                  </a:cubicBezTo>
                  <a:cubicBezTo>
                    <a:pt x="221" y="56"/>
                    <a:pt x="223" y="72"/>
                    <a:pt x="221" y="78"/>
                  </a:cubicBezTo>
                  <a:cubicBezTo>
                    <a:pt x="220" y="82"/>
                    <a:pt x="212" y="85"/>
                    <a:pt x="210" y="90"/>
                  </a:cubicBezTo>
                  <a:cubicBezTo>
                    <a:pt x="209" y="94"/>
                    <a:pt x="206" y="110"/>
                    <a:pt x="203" y="111"/>
                  </a:cubicBezTo>
                  <a:cubicBezTo>
                    <a:pt x="202" y="112"/>
                    <a:pt x="201" y="112"/>
                    <a:pt x="200" y="112"/>
                  </a:cubicBezTo>
                  <a:cubicBezTo>
                    <a:pt x="198" y="111"/>
                    <a:pt x="193" y="109"/>
                    <a:pt x="186" y="106"/>
                  </a:cubicBezTo>
                  <a:cubicBezTo>
                    <a:pt x="182" y="102"/>
                    <a:pt x="178" y="98"/>
                    <a:pt x="173" y="98"/>
                  </a:cubicBezTo>
                  <a:cubicBezTo>
                    <a:pt x="160" y="97"/>
                    <a:pt x="174" y="102"/>
                    <a:pt x="186" y="106"/>
                  </a:cubicBezTo>
                  <a:cubicBezTo>
                    <a:pt x="190" y="110"/>
                    <a:pt x="194" y="113"/>
                    <a:pt x="200" y="112"/>
                  </a:cubicBezTo>
                  <a:cubicBezTo>
                    <a:pt x="200" y="112"/>
                    <a:pt x="200" y="112"/>
                    <a:pt x="200" y="112"/>
                  </a:cubicBezTo>
                  <a:cubicBezTo>
                    <a:pt x="204" y="116"/>
                    <a:pt x="197" y="124"/>
                    <a:pt x="197" y="129"/>
                  </a:cubicBezTo>
                  <a:cubicBezTo>
                    <a:pt x="198" y="136"/>
                    <a:pt x="207" y="144"/>
                    <a:pt x="203" y="150"/>
                  </a:cubicBezTo>
                  <a:cubicBezTo>
                    <a:pt x="203" y="150"/>
                    <a:pt x="201" y="151"/>
                    <a:pt x="198" y="151"/>
                  </a:cubicBezTo>
                  <a:cubicBezTo>
                    <a:pt x="191" y="151"/>
                    <a:pt x="183" y="152"/>
                    <a:pt x="177" y="154"/>
                  </a:cubicBezTo>
                  <a:cubicBezTo>
                    <a:pt x="167" y="156"/>
                    <a:pt x="156" y="158"/>
                    <a:pt x="156" y="160"/>
                  </a:cubicBezTo>
                  <a:cubicBezTo>
                    <a:pt x="155" y="160"/>
                    <a:pt x="171" y="160"/>
                    <a:pt x="174" y="157"/>
                  </a:cubicBezTo>
                  <a:cubicBezTo>
                    <a:pt x="174" y="156"/>
                    <a:pt x="176" y="155"/>
                    <a:pt x="177" y="154"/>
                  </a:cubicBezTo>
                  <a:cubicBezTo>
                    <a:pt x="185" y="153"/>
                    <a:pt x="193" y="152"/>
                    <a:pt x="198" y="151"/>
                  </a:cubicBezTo>
                  <a:cubicBezTo>
                    <a:pt x="200" y="152"/>
                    <a:pt x="202" y="152"/>
                    <a:pt x="203" y="153"/>
                  </a:cubicBezTo>
                  <a:cubicBezTo>
                    <a:pt x="215" y="158"/>
                    <a:pt x="181" y="178"/>
                    <a:pt x="189" y="185"/>
                  </a:cubicBezTo>
                  <a:cubicBezTo>
                    <a:pt x="192" y="187"/>
                    <a:pt x="194" y="166"/>
                    <a:pt x="202" y="166"/>
                  </a:cubicBezTo>
                  <a:cubicBezTo>
                    <a:pt x="202" y="166"/>
                    <a:pt x="204" y="166"/>
                    <a:pt x="204" y="167"/>
                  </a:cubicBezTo>
                  <a:cubicBezTo>
                    <a:pt x="217" y="187"/>
                    <a:pt x="239" y="169"/>
                    <a:pt x="256" y="185"/>
                  </a:cubicBezTo>
                  <a:cubicBezTo>
                    <a:pt x="257" y="186"/>
                    <a:pt x="259" y="187"/>
                    <a:pt x="259" y="188"/>
                  </a:cubicBezTo>
                  <a:cubicBezTo>
                    <a:pt x="257" y="201"/>
                    <a:pt x="232" y="240"/>
                    <a:pt x="235" y="220"/>
                  </a:cubicBezTo>
                  <a:cubicBezTo>
                    <a:pt x="235" y="218"/>
                    <a:pt x="232" y="217"/>
                    <a:pt x="230" y="217"/>
                  </a:cubicBezTo>
                  <a:cubicBezTo>
                    <a:pt x="218" y="218"/>
                    <a:pt x="227" y="237"/>
                    <a:pt x="220" y="235"/>
                  </a:cubicBezTo>
                  <a:cubicBezTo>
                    <a:pt x="217" y="235"/>
                    <a:pt x="217" y="230"/>
                    <a:pt x="219" y="229"/>
                  </a:cubicBezTo>
                  <a:cubicBezTo>
                    <a:pt x="222" y="227"/>
                    <a:pt x="204" y="226"/>
                    <a:pt x="204" y="222"/>
                  </a:cubicBezTo>
                  <a:cubicBezTo>
                    <a:pt x="204" y="218"/>
                    <a:pt x="215" y="224"/>
                    <a:pt x="216" y="220"/>
                  </a:cubicBezTo>
                  <a:cubicBezTo>
                    <a:pt x="217" y="218"/>
                    <a:pt x="218" y="205"/>
                    <a:pt x="209" y="209"/>
                  </a:cubicBezTo>
                  <a:cubicBezTo>
                    <a:pt x="182" y="217"/>
                    <a:pt x="202" y="257"/>
                    <a:pt x="190" y="273"/>
                  </a:cubicBezTo>
                  <a:cubicBezTo>
                    <a:pt x="189" y="273"/>
                    <a:pt x="189" y="273"/>
                    <a:pt x="188" y="273"/>
                  </a:cubicBezTo>
                  <a:cubicBezTo>
                    <a:pt x="185" y="271"/>
                    <a:pt x="164" y="259"/>
                    <a:pt x="161" y="270"/>
                  </a:cubicBezTo>
                  <a:cubicBezTo>
                    <a:pt x="160" y="272"/>
                    <a:pt x="167" y="273"/>
                    <a:pt x="168" y="273"/>
                  </a:cubicBezTo>
                  <a:cubicBezTo>
                    <a:pt x="181" y="275"/>
                    <a:pt x="175" y="282"/>
                    <a:pt x="173" y="287"/>
                  </a:cubicBezTo>
                  <a:cubicBezTo>
                    <a:pt x="172" y="288"/>
                    <a:pt x="175" y="289"/>
                    <a:pt x="174" y="290"/>
                  </a:cubicBezTo>
                  <a:cubicBezTo>
                    <a:pt x="164" y="299"/>
                    <a:pt x="148" y="287"/>
                    <a:pt x="139" y="289"/>
                  </a:cubicBezTo>
                  <a:cubicBezTo>
                    <a:pt x="138" y="289"/>
                    <a:pt x="133" y="289"/>
                    <a:pt x="133" y="289"/>
                  </a:cubicBezTo>
                  <a:cubicBezTo>
                    <a:pt x="132" y="292"/>
                    <a:pt x="140" y="291"/>
                    <a:pt x="141" y="291"/>
                  </a:cubicBezTo>
                  <a:cubicBezTo>
                    <a:pt x="145" y="293"/>
                    <a:pt x="147" y="300"/>
                    <a:pt x="150" y="301"/>
                  </a:cubicBezTo>
                  <a:cubicBezTo>
                    <a:pt x="152" y="302"/>
                    <a:pt x="159" y="299"/>
                    <a:pt x="160" y="301"/>
                  </a:cubicBezTo>
                  <a:cubicBezTo>
                    <a:pt x="162" y="309"/>
                    <a:pt x="128" y="317"/>
                    <a:pt x="128" y="320"/>
                  </a:cubicBezTo>
                  <a:cubicBezTo>
                    <a:pt x="128" y="321"/>
                    <a:pt x="137" y="319"/>
                    <a:pt x="138" y="319"/>
                  </a:cubicBezTo>
                  <a:cubicBezTo>
                    <a:pt x="147" y="320"/>
                    <a:pt x="135" y="331"/>
                    <a:pt x="137" y="336"/>
                  </a:cubicBezTo>
                  <a:cubicBezTo>
                    <a:pt x="138" y="340"/>
                    <a:pt x="148" y="349"/>
                    <a:pt x="147" y="353"/>
                  </a:cubicBezTo>
                  <a:cubicBezTo>
                    <a:pt x="147" y="354"/>
                    <a:pt x="146" y="354"/>
                    <a:pt x="145" y="355"/>
                  </a:cubicBezTo>
                  <a:cubicBezTo>
                    <a:pt x="143" y="359"/>
                    <a:pt x="121" y="370"/>
                    <a:pt x="126" y="370"/>
                  </a:cubicBezTo>
                  <a:cubicBezTo>
                    <a:pt x="127" y="371"/>
                    <a:pt x="135" y="373"/>
                    <a:pt x="133" y="376"/>
                  </a:cubicBezTo>
                  <a:cubicBezTo>
                    <a:pt x="131" y="378"/>
                    <a:pt x="122" y="380"/>
                    <a:pt x="122" y="382"/>
                  </a:cubicBezTo>
                  <a:cubicBezTo>
                    <a:pt x="123" y="385"/>
                    <a:pt x="135" y="380"/>
                    <a:pt x="136" y="380"/>
                  </a:cubicBezTo>
                  <a:cubicBezTo>
                    <a:pt x="141" y="380"/>
                    <a:pt x="147" y="387"/>
                    <a:pt x="151" y="393"/>
                  </a:cubicBezTo>
                  <a:cubicBezTo>
                    <a:pt x="150" y="393"/>
                    <a:pt x="150" y="395"/>
                    <a:pt x="152" y="397"/>
                  </a:cubicBezTo>
                  <a:close/>
                  <a:moveTo>
                    <a:pt x="366" y="408"/>
                  </a:moveTo>
                  <a:cubicBezTo>
                    <a:pt x="366" y="407"/>
                    <a:pt x="364" y="406"/>
                    <a:pt x="364" y="405"/>
                  </a:cubicBezTo>
                  <a:cubicBezTo>
                    <a:pt x="358" y="398"/>
                    <a:pt x="338" y="396"/>
                    <a:pt x="341" y="392"/>
                  </a:cubicBezTo>
                  <a:cubicBezTo>
                    <a:pt x="343" y="390"/>
                    <a:pt x="341" y="389"/>
                    <a:pt x="342" y="387"/>
                  </a:cubicBezTo>
                  <a:cubicBezTo>
                    <a:pt x="345" y="383"/>
                    <a:pt x="347" y="389"/>
                    <a:pt x="351" y="390"/>
                  </a:cubicBezTo>
                  <a:cubicBezTo>
                    <a:pt x="351" y="390"/>
                    <a:pt x="351" y="390"/>
                    <a:pt x="351" y="390"/>
                  </a:cubicBezTo>
                  <a:cubicBezTo>
                    <a:pt x="364" y="393"/>
                    <a:pt x="368" y="374"/>
                    <a:pt x="367" y="370"/>
                  </a:cubicBezTo>
                  <a:cubicBezTo>
                    <a:pt x="367" y="368"/>
                    <a:pt x="350" y="368"/>
                    <a:pt x="352" y="364"/>
                  </a:cubicBezTo>
                  <a:cubicBezTo>
                    <a:pt x="357" y="357"/>
                    <a:pt x="361" y="365"/>
                    <a:pt x="361" y="365"/>
                  </a:cubicBezTo>
                  <a:cubicBezTo>
                    <a:pt x="364" y="364"/>
                    <a:pt x="363" y="357"/>
                    <a:pt x="369" y="355"/>
                  </a:cubicBezTo>
                  <a:cubicBezTo>
                    <a:pt x="374" y="353"/>
                    <a:pt x="391" y="355"/>
                    <a:pt x="392" y="347"/>
                  </a:cubicBezTo>
                  <a:cubicBezTo>
                    <a:pt x="394" y="329"/>
                    <a:pt x="367" y="335"/>
                    <a:pt x="368" y="321"/>
                  </a:cubicBezTo>
                  <a:cubicBezTo>
                    <a:pt x="369" y="304"/>
                    <a:pt x="392" y="308"/>
                    <a:pt x="395" y="303"/>
                  </a:cubicBezTo>
                  <a:cubicBezTo>
                    <a:pt x="410" y="282"/>
                    <a:pt x="393" y="266"/>
                    <a:pt x="405" y="246"/>
                  </a:cubicBezTo>
                  <a:cubicBezTo>
                    <a:pt x="405" y="245"/>
                    <a:pt x="407" y="244"/>
                    <a:pt x="406" y="243"/>
                  </a:cubicBezTo>
                  <a:cubicBezTo>
                    <a:pt x="403" y="237"/>
                    <a:pt x="384" y="232"/>
                    <a:pt x="378" y="231"/>
                  </a:cubicBezTo>
                  <a:cubicBezTo>
                    <a:pt x="370" y="230"/>
                    <a:pt x="337" y="250"/>
                    <a:pt x="337" y="255"/>
                  </a:cubicBezTo>
                  <a:cubicBezTo>
                    <a:pt x="337" y="262"/>
                    <a:pt x="351" y="252"/>
                    <a:pt x="352" y="255"/>
                  </a:cubicBezTo>
                  <a:cubicBezTo>
                    <a:pt x="355" y="260"/>
                    <a:pt x="364" y="293"/>
                    <a:pt x="356" y="297"/>
                  </a:cubicBezTo>
                  <a:cubicBezTo>
                    <a:pt x="351" y="299"/>
                    <a:pt x="355" y="293"/>
                    <a:pt x="352" y="292"/>
                  </a:cubicBezTo>
                  <a:cubicBezTo>
                    <a:pt x="352" y="292"/>
                    <a:pt x="345" y="298"/>
                    <a:pt x="344" y="297"/>
                  </a:cubicBezTo>
                  <a:cubicBezTo>
                    <a:pt x="343" y="295"/>
                    <a:pt x="345" y="293"/>
                    <a:pt x="346" y="292"/>
                  </a:cubicBezTo>
                  <a:cubicBezTo>
                    <a:pt x="354" y="285"/>
                    <a:pt x="358" y="262"/>
                    <a:pt x="343" y="260"/>
                  </a:cubicBezTo>
                  <a:cubicBezTo>
                    <a:pt x="341" y="260"/>
                    <a:pt x="344" y="264"/>
                    <a:pt x="345" y="266"/>
                  </a:cubicBezTo>
                  <a:cubicBezTo>
                    <a:pt x="345" y="267"/>
                    <a:pt x="336" y="296"/>
                    <a:pt x="332" y="296"/>
                  </a:cubicBezTo>
                  <a:cubicBezTo>
                    <a:pt x="329" y="296"/>
                    <a:pt x="330" y="286"/>
                    <a:pt x="327" y="287"/>
                  </a:cubicBezTo>
                  <a:cubicBezTo>
                    <a:pt x="310" y="295"/>
                    <a:pt x="338" y="275"/>
                    <a:pt x="326" y="277"/>
                  </a:cubicBezTo>
                  <a:cubicBezTo>
                    <a:pt x="320" y="279"/>
                    <a:pt x="312" y="279"/>
                    <a:pt x="322" y="274"/>
                  </a:cubicBezTo>
                  <a:cubicBezTo>
                    <a:pt x="323" y="273"/>
                    <a:pt x="325" y="275"/>
                    <a:pt x="327" y="273"/>
                  </a:cubicBezTo>
                  <a:cubicBezTo>
                    <a:pt x="330" y="269"/>
                    <a:pt x="319" y="266"/>
                    <a:pt x="322" y="262"/>
                  </a:cubicBezTo>
                  <a:cubicBezTo>
                    <a:pt x="324" y="259"/>
                    <a:pt x="326" y="262"/>
                    <a:pt x="326" y="263"/>
                  </a:cubicBezTo>
                  <a:cubicBezTo>
                    <a:pt x="329" y="265"/>
                    <a:pt x="328" y="261"/>
                    <a:pt x="328" y="260"/>
                  </a:cubicBezTo>
                  <a:cubicBezTo>
                    <a:pt x="328" y="257"/>
                    <a:pt x="332" y="257"/>
                    <a:pt x="332" y="255"/>
                  </a:cubicBezTo>
                  <a:cubicBezTo>
                    <a:pt x="332" y="253"/>
                    <a:pt x="317" y="258"/>
                    <a:pt x="315" y="257"/>
                  </a:cubicBezTo>
                  <a:cubicBezTo>
                    <a:pt x="310" y="256"/>
                    <a:pt x="292" y="249"/>
                    <a:pt x="286" y="250"/>
                  </a:cubicBezTo>
                  <a:cubicBezTo>
                    <a:pt x="284" y="250"/>
                    <a:pt x="293" y="255"/>
                    <a:pt x="293" y="255"/>
                  </a:cubicBezTo>
                  <a:cubicBezTo>
                    <a:pt x="299" y="259"/>
                    <a:pt x="315" y="258"/>
                    <a:pt x="305" y="271"/>
                  </a:cubicBezTo>
                  <a:cubicBezTo>
                    <a:pt x="295" y="283"/>
                    <a:pt x="302" y="261"/>
                    <a:pt x="295" y="281"/>
                  </a:cubicBezTo>
                  <a:cubicBezTo>
                    <a:pt x="292" y="288"/>
                    <a:pt x="269" y="294"/>
                    <a:pt x="277" y="285"/>
                  </a:cubicBezTo>
                  <a:cubicBezTo>
                    <a:pt x="277" y="284"/>
                    <a:pt x="272" y="284"/>
                    <a:pt x="271" y="284"/>
                  </a:cubicBezTo>
                  <a:cubicBezTo>
                    <a:pt x="266" y="287"/>
                    <a:pt x="263" y="286"/>
                    <a:pt x="258" y="285"/>
                  </a:cubicBezTo>
                  <a:cubicBezTo>
                    <a:pt x="257" y="285"/>
                    <a:pt x="250" y="284"/>
                    <a:pt x="251" y="286"/>
                  </a:cubicBezTo>
                  <a:cubicBezTo>
                    <a:pt x="252" y="292"/>
                    <a:pt x="262" y="292"/>
                    <a:pt x="268" y="294"/>
                  </a:cubicBezTo>
                  <a:cubicBezTo>
                    <a:pt x="272" y="295"/>
                    <a:pt x="259" y="293"/>
                    <a:pt x="255" y="295"/>
                  </a:cubicBezTo>
                  <a:cubicBezTo>
                    <a:pt x="254" y="296"/>
                    <a:pt x="261" y="297"/>
                    <a:pt x="262" y="297"/>
                  </a:cubicBezTo>
                  <a:cubicBezTo>
                    <a:pt x="268" y="298"/>
                    <a:pt x="272" y="301"/>
                    <a:pt x="275" y="307"/>
                  </a:cubicBezTo>
                  <a:cubicBezTo>
                    <a:pt x="278" y="314"/>
                    <a:pt x="268" y="311"/>
                    <a:pt x="269" y="316"/>
                  </a:cubicBezTo>
                  <a:cubicBezTo>
                    <a:pt x="269" y="318"/>
                    <a:pt x="274" y="316"/>
                    <a:pt x="275" y="317"/>
                  </a:cubicBezTo>
                  <a:cubicBezTo>
                    <a:pt x="278" y="320"/>
                    <a:pt x="283" y="328"/>
                    <a:pt x="281" y="333"/>
                  </a:cubicBezTo>
                  <a:cubicBezTo>
                    <a:pt x="279" y="337"/>
                    <a:pt x="266" y="334"/>
                    <a:pt x="271" y="341"/>
                  </a:cubicBezTo>
                  <a:cubicBezTo>
                    <a:pt x="274" y="344"/>
                    <a:pt x="275" y="337"/>
                    <a:pt x="279" y="341"/>
                  </a:cubicBezTo>
                  <a:cubicBezTo>
                    <a:pt x="282" y="344"/>
                    <a:pt x="284" y="348"/>
                    <a:pt x="287" y="352"/>
                  </a:cubicBezTo>
                  <a:cubicBezTo>
                    <a:pt x="289" y="354"/>
                    <a:pt x="280" y="354"/>
                    <a:pt x="284" y="359"/>
                  </a:cubicBezTo>
                  <a:cubicBezTo>
                    <a:pt x="285" y="360"/>
                    <a:pt x="293" y="361"/>
                    <a:pt x="289" y="359"/>
                  </a:cubicBezTo>
                  <a:cubicBezTo>
                    <a:pt x="285" y="357"/>
                    <a:pt x="301" y="355"/>
                    <a:pt x="305" y="358"/>
                  </a:cubicBezTo>
                  <a:cubicBezTo>
                    <a:pt x="313" y="364"/>
                    <a:pt x="323" y="356"/>
                    <a:pt x="327" y="358"/>
                  </a:cubicBezTo>
                  <a:cubicBezTo>
                    <a:pt x="330" y="360"/>
                    <a:pt x="324" y="364"/>
                    <a:pt x="326" y="365"/>
                  </a:cubicBezTo>
                  <a:cubicBezTo>
                    <a:pt x="327" y="366"/>
                    <a:pt x="342" y="370"/>
                    <a:pt x="329" y="370"/>
                  </a:cubicBezTo>
                  <a:cubicBezTo>
                    <a:pt x="320" y="369"/>
                    <a:pt x="337" y="377"/>
                    <a:pt x="336" y="380"/>
                  </a:cubicBezTo>
                  <a:cubicBezTo>
                    <a:pt x="335" y="381"/>
                    <a:pt x="319" y="373"/>
                    <a:pt x="317" y="375"/>
                  </a:cubicBezTo>
                  <a:cubicBezTo>
                    <a:pt x="312" y="380"/>
                    <a:pt x="327" y="380"/>
                    <a:pt x="333" y="384"/>
                  </a:cubicBezTo>
                  <a:cubicBezTo>
                    <a:pt x="348" y="393"/>
                    <a:pt x="327" y="391"/>
                    <a:pt x="327" y="393"/>
                  </a:cubicBezTo>
                  <a:cubicBezTo>
                    <a:pt x="329" y="411"/>
                    <a:pt x="348" y="422"/>
                    <a:pt x="344" y="442"/>
                  </a:cubicBezTo>
                  <a:cubicBezTo>
                    <a:pt x="343" y="444"/>
                    <a:pt x="347" y="446"/>
                    <a:pt x="348" y="446"/>
                  </a:cubicBezTo>
                  <a:cubicBezTo>
                    <a:pt x="349" y="446"/>
                    <a:pt x="347" y="430"/>
                    <a:pt x="348" y="427"/>
                  </a:cubicBezTo>
                  <a:cubicBezTo>
                    <a:pt x="350" y="423"/>
                    <a:pt x="366" y="411"/>
                    <a:pt x="366" y="408"/>
                  </a:cubicBezTo>
                  <a:close/>
                  <a:moveTo>
                    <a:pt x="320" y="399"/>
                  </a:moveTo>
                  <a:cubicBezTo>
                    <a:pt x="315" y="398"/>
                    <a:pt x="319" y="415"/>
                    <a:pt x="314" y="412"/>
                  </a:cubicBezTo>
                  <a:cubicBezTo>
                    <a:pt x="302" y="407"/>
                    <a:pt x="278" y="381"/>
                    <a:pt x="266" y="397"/>
                  </a:cubicBezTo>
                  <a:cubicBezTo>
                    <a:pt x="262" y="402"/>
                    <a:pt x="265" y="403"/>
                    <a:pt x="267" y="407"/>
                  </a:cubicBezTo>
                  <a:cubicBezTo>
                    <a:pt x="272" y="415"/>
                    <a:pt x="260" y="414"/>
                    <a:pt x="262" y="416"/>
                  </a:cubicBezTo>
                  <a:cubicBezTo>
                    <a:pt x="262" y="416"/>
                    <a:pt x="262" y="416"/>
                    <a:pt x="262" y="416"/>
                  </a:cubicBezTo>
                  <a:cubicBezTo>
                    <a:pt x="273" y="430"/>
                    <a:pt x="335" y="445"/>
                    <a:pt x="338" y="429"/>
                  </a:cubicBezTo>
                  <a:cubicBezTo>
                    <a:pt x="339" y="426"/>
                    <a:pt x="327" y="400"/>
                    <a:pt x="320" y="399"/>
                  </a:cubicBezTo>
                  <a:close/>
                  <a:moveTo>
                    <a:pt x="399" y="386"/>
                  </a:moveTo>
                  <a:cubicBezTo>
                    <a:pt x="398" y="385"/>
                    <a:pt x="397" y="385"/>
                    <a:pt x="396" y="384"/>
                  </a:cubicBezTo>
                  <a:cubicBezTo>
                    <a:pt x="362" y="372"/>
                    <a:pt x="384" y="392"/>
                    <a:pt x="368" y="388"/>
                  </a:cubicBezTo>
                  <a:cubicBezTo>
                    <a:pt x="367" y="388"/>
                    <a:pt x="364" y="392"/>
                    <a:pt x="364" y="395"/>
                  </a:cubicBezTo>
                  <a:cubicBezTo>
                    <a:pt x="364" y="395"/>
                    <a:pt x="361" y="398"/>
                    <a:pt x="361" y="399"/>
                  </a:cubicBezTo>
                  <a:cubicBezTo>
                    <a:pt x="363" y="402"/>
                    <a:pt x="400" y="392"/>
                    <a:pt x="399" y="386"/>
                  </a:cubicBezTo>
                  <a:close/>
                  <a:moveTo>
                    <a:pt x="200" y="112"/>
                  </a:moveTo>
                  <a:cubicBezTo>
                    <a:pt x="198" y="111"/>
                    <a:pt x="193" y="109"/>
                    <a:pt x="186" y="106"/>
                  </a:cubicBezTo>
                  <a:cubicBezTo>
                    <a:pt x="190" y="110"/>
                    <a:pt x="194" y="113"/>
                    <a:pt x="200" y="112"/>
                  </a:cubicBezTo>
                  <a:close/>
                  <a:moveTo>
                    <a:pt x="177" y="154"/>
                  </a:moveTo>
                  <a:cubicBezTo>
                    <a:pt x="185" y="153"/>
                    <a:pt x="193" y="152"/>
                    <a:pt x="198" y="151"/>
                  </a:cubicBezTo>
                  <a:cubicBezTo>
                    <a:pt x="191" y="151"/>
                    <a:pt x="183" y="152"/>
                    <a:pt x="177" y="154"/>
                  </a:cubicBezTo>
                  <a:close/>
                  <a:moveTo>
                    <a:pt x="408" y="293"/>
                  </a:moveTo>
                  <a:cubicBezTo>
                    <a:pt x="408" y="290"/>
                    <a:pt x="391" y="308"/>
                    <a:pt x="404" y="311"/>
                  </a:cubicBezTo>
                  <a:cubicBezTo>
                    <a:pt x="415" y="313"/>
                    <a:pt x="413" y="298"/>
                    <a:pt x="408" y="293"/>
                  </a:cubicBezTo>
                  <a:close/>
                  <a:moveTo>
                    <a:pt x="233" y="418"/>
                  </a:moveTo>
                  <a:cubicBezTo>
                    <a:pt x="237" y="408"/>
                    <a:pt x="239" y="398"/>
                    <a:pt x="245" y="389"/>
                  </a:cubicBezTo>
                  <a:cubicBezTo>
                    <a:pt x="245" y="389"/>
                    <a:pt x="245" y="389"/>
                    <a:pt x="245" y="389"/>
                  </a:cubicBezTo>
                  <a:cubicBezTo>
                    <a:pt x="262" y="351"/>
                    <a:pt x="234" y="384"/>
                    <a:pt x="227" y="400"/>
                  </a:cubicBezTo>
                  <a:cubicBezTo>
                    <a:pt x="226" y="402"/>
                    <a:pt x="226" y="405"/>
                    <a:pt x="225" y="407"/>
                  </a:cubicBezTo>
                  <a:cubicBezTo>
                    <a:pt x="225" y="410"/>
                    <a:pt x="218" y="411"/>
                    <a:pt x="220" y="413"/>
                  </a:cubicBezTo>
                  <a:cubicBezTo>
                    <a:pt x="228" y="417"/>
                    <a:pt x="227" y="435"/>
                    <a:pt x="233" y="418"/>
                  </a:cubicBezTo>
                  <a:close/>
                  <a:moveTo>
                    <a:pt x="625" y="386"/>
                  </a:moveTo>
                  <a:cubicBezTo>
                    <a:pt x="625" y="386"/>
                    <a:pt x="625" y="386"/>
                    <a:pt x="625" y="386"/>
                  </a:cubicBezTo>
                  <a:cubicBezTo>
                    <a:pt x="647" y="377"/>
                    <a:pt x="604" y="343"/>
                    <a:pt x="598" y="344"/>
                  </a:cubicBezTo>
                  <a:cubicBezTo>
                    <a:pt x="578" y="348"/>
                    <a:pt x="600" y="397"/>
                    <a:pt x="625" y="386"/>
                  </a:cubicBezTo>
                  <a:close/>
                  <a:moveTo>
                    <a:pt x="261" y="79"/>
                  </a:moveTo>
                  <a:cubicBezTo>
                    <a:pt x="275" y="77"/>
                    <a:pt x="284" y="50"/>
                    <a:pt x="262" y="67"/>
                  </a:cubicBezTo>
                  <a:cubicBezTo>
                    <a:pt x="262" y="67"/>
                    <a:pt x="262" y="67"/>
                    <a:pt x="262" y="67"/>
                  </a:cubicBezTo>
                  <a:cubicBezTo>
                    <a:pt x="246" y="68"/>
                    <a:pt x="250" y="81"/>
                    <a:pt x="261" y="79"/>
                  </a:cubicBezTo>
                  <a:close/>
                  <a:moveTo>
                    <a:pt x="179" y="374"/>
                  </a:moveTo>
                  <a:cubicBezTo>
                    <a:pt x="179" y="374"/>
                    <a:pt x="179" y="374"/>
                    <a:pt x="179" y="375"/>
                  </a:cubicBezTo>
                  <a:cubicBezTo>
                    <a:pt x="180" y="376"/>
                    <a:pt x="183" y="374"/>
                    <a:pt x="185" y="374"/>
                  </a:cubicBezTo>
                  <a:cubicBezTo>
                    <a:pt x="189" y="375"/>
                    <a:pt x="229" y="390"/>
                    <a:pt x="239" y="377"/>
                  </a:cubicBezTo>
                  <a:cubicBezTo>
                    <a:pt x="252" y="360"/>
                    <a:pt x="245" y="340"/>
                    <a:pt x="236" y="328"/>
                  </a:cubicBezTo>
                  <a:cubicBezTo>
                    <a:pt x="231" y="321"/>
                    <a:pt x="225" y="328"/>
                    <a:pt x="224" y="328"/>
                  </a:cubicBezTo>
                  <a:cubicBezTo>
                    <a:pt x="218" y="327"/>
                    <a:pt x="237" y="322"/>
                    <a:pt x="238" y="321"/>
                  </a:cubicBezTo>
                  <a:cubicBezTo>
                    <a:pt x="243" y="319"/>
                    <a:pt x="227" y="301"/>
                    <a:pt x="227" y="302"/>
                  </a:cubicBezTo>
                  <a:cubicBezTo>
                    <a:pt x="227" y="302"/>
                    <a:pt x="227" y="302"/>
                    <a:pt x="227" y="302"/>
                  </a:cubicBezTo>
                  <a:cubicBezTo>
                    <a:pt x="222" y="307"/>
                    <a:pt x="231" y="318"/>
                    <a:pt x="223" y="321"/>
                  </a:cubicBezTo>
                  <a:cubicBezTo>
                    <a:pt x="205" y="326"/>
                    <a:pt x="212" y="318"/>
                    <a:pt x="221" y="315"/>
                  </a:cubicBezTo>
                  <a:cubicBezTo>
                    <a:pt x="222" y="314"/>
                    <a:pt x="220" y="314"/>
                    <a:pt x="219" y="313"/>
                  </a:cubicBezTo>
                  <a:cubicBezTo>
                    <a:pt x="217" y="312"/>
                    <a:pt x="200" y="300"/>
                    <a:pt x="199" y="302"/>
                  </a:cubicBezTo>
                  <a:cubicBezTo>
                    <a:pt x="196" y="306"/>
                    <a:pt x="170" y="317"/>
                    <a:pt x="163" y="317"/>
                  </a:cubicBezTo>
                  <a:cubicBezTo>
                    <a:pt x="161" y="317"/>
                    <a:pt x="154" y="308"/>
                    <a:pt x="150" y="314"/>
                  </a:cubicBezTo>
                  <a:cubicBezTo>
                    <a:pt x="148" y="316"/>
                    <a:pt x="144" y="316"/>
                    <a:pt x="144" y="318"/>
                  </a:cubicBezTo>
                  <a:cubicBezTo>
                    <a:pt x="144" y="320"/>
                    <a:pt x="145" y="321"/>
                    <a:pt x="147" y="323"/>
                  </a:cubicBezTo>
                  <a:cubicBezTo>
                    <a:pt x="148" y="323"/>
                    <a:pt x="149" y="324"/>
                    <a:pt x="150" y="324"/>
                  </a:cubicBezTo>
                  <a:cubicBezTo>
                    <a:pt x="152" y="325"/>
                    <a:pt x="150" y="324"/>
                    <a:pt x="147" y="323"/>
                  </a:cubicBezTo>
                  <a:cubicBezTo>
                    <a:pt x="147" y="322"/>
                    <a:pt x="147" y="322"/>
                    <a:pt x="146" y="323"/>
                  </a:cubicBezTo>
                  <a:cubicBezTo>
                    <a:pt x="144" y="323"/>
                    <a:pt x="153" y="328"/>
                    <a:pt x="154" y="328"/>
                  </a:cubicBezTo>
                  <a:cubicBezTo>
                    <a:pt x="155" y="328"/>
                    <a:pt x="158" y="330"/>
                    <a:pt x="159" y="332"/>
                  </a:cubicBezTo>
                  <a:cubicBezTo>
                    <a:pt x="160" y="335"/>
                    <a:pt x="153" y="333"/>
                    <a:pt x="153" y="335"/>
                  </a:cubicBezTo>
                  <a:cubicBezTo>
                    <a:pt x="154" y="340"/>
                    <a:pt x="162" y="337"/>
                    <a:pt x="163" y="339"/>
                  </a:cubicBezTo>
                  <a:cubicBezTo>
                    <a:pt x="167" y="349"/>
                    <a:pt x="168" y="361"/>
                    <a:pt x="171" y="369"/>
                  </a:cubicBezTo>
                  <a:cubicBezTo>
                    <a:pt x="172" y="370"/>
                    <a:pt x="173" y="355"/>
                    <a:pt x="182" y="361"/>
                  </a:cubicBezTo>
                  <a:cubicBezTo>
                    <a:pt x="193" y="367"/>
                    <a:pt x="179" y="371"/>
                    <a:pt x="179" y="374"/>
                  </a:cubicBezTo>
                  <a:close/>
                  <a:moveTo>
                    <a:pt x="40" y="147"/>
                  </a:moveTo>
                  <a:cubicBezTo>
                    <a:pt x="41" y="148"/>
                    <a:pt x="46" y="146"/>
                    <a:pt x="48" y="148"/>
                  </a:cubicBezTo>
                  <a:cubicBezTo>
                    <a:pt x="73" y="169"/>
                    <a:pt x="66" y="137"/>
                    <a:pt x="69" y="128"/>
                  </a:cubicBezTo>
                  <a:cubicBezTo>
                    <a:pt x="70" y="125"/>
                    <a:pt x="76" y="126"/>
                    <a:pt x="77" y="114"/>
                  </a:cubicBezTo>
                  <a:cubicBezTo>
                    <a:pt x="77" y="114"/>
                    <a:pt x="77" y="114"/>
                    <a:pt x="77" y="114"/>
                  </a:cubicBezTo>
                  <a:cubicBezTo>
                    <a:pt x="77" y="113"/>
                    <a:pt x="66" y="123"/>
                    <a:pt x="65" y="123"/>
                  </a:cubicBezTo>
                  <a:cubicBezTo>
                    <a:pt x="49" y="121"/>
                    <a:pt x="54" y="136"/>
                    <a:pt x="53" y="137"/>
                  </a:cubicBezTo>
                  <a:cubicBezTo>
                    <a:pt x="52" y="138"/>
                    <a:pt x="36" y="142"/>
                    <a:pt x="40" y="147"/>
                  </a:cubicBezTo>
                  <a:close/>
                  <a:moveTo>
                    <a:pt x="150" y="324"/>
                  </a:moveTo>
                  <a:cubicBezTo>
                    <a:pt x="149" y="324"/>
                    <a:pt x="148" y="323"/>
                    <a:pt x="147" y="323"/>
                  </a:cubicBezTo>
                  <a:cubicBezTo>
                    <a:pt x="150" y="324"/>
                    <a:pt x="152" y="325"/>
                    <a:pt x="150" y="324"/>
                  </a:cubicBezTo>
                  <a:close/>
                  <a:moveTo>
                    <a:pt x="171" y="387"/>
                  </a:moveTo>
                  <a:cubicBezTo>
                    <a:pt x="171" y="386"/>
                    <a:pt x="171" y="386"/>
                    <a:pt x="171" y="386"/>
                  </a:cubicBezTo>
                  <a:cubicBezTo>
                    <a:pt x="168" y="382"/>
                    <a:pt x="143" y="368"/>
                    <a:pt x="140" y="379"/>
                  </a:cubicBezTo>
                  <a:cubicBezTo>
                    <a:pt x="139" y="384"/>
                    <a:pt x="158" y="383"/>
                    <a:pt x="158" y="390"/>
                  </a:cubicBezTo>
                  <a:cubicBezTo>
                    <a:pt x="159" y="393"/>
                    <a:pt x="152" y="391"/>
                    <a:pt x="151" y="393"/>
                  </a:cubicBezTo>
                  <a:cubicBezTo>
                    <a:pt x="151" y="394"/>
                    <a:pt x="152" y="396"/>
                    <a:pt x="152" y="397"/>
                  </a:cubicBezTo>
                  <a:cubicBezTo>
                    <a:pt x="153" y="398"/>
                    <a:pt x="153" y="398"/>
                    <a:pt x="154" y="399"/>
                  </a:cubicBezTo>
                  <a:cubicBezTo>
                    <a:pt x="157" y="403"/>
                    <a:pt x="160" y="398"/>
                    <a:pt x="163" y="398"/>
                  </a:cubicBezTo>
                  <a:cubicBezTo>
                    <a:pt x="182" y="401"/>
                    <a:pt x="160" y="403"/>
                    <a:pt x="164" y="404"/>
                  </a:cubicBezTo>
                  <a:cubicBezTo>
                    <a:pt x="180" y="408"/>
                    <a:pt x="182" y="398"/>
                    <a:pt x="171" y="387"/>
                  </a:cubicBezTo>
                  <a:close/>
                  <a:moveTo>
                    <a:pt x="222" y="390"/>
                  </a:moveTo>
                  <a:cubicBezTo>
                    <a:pt x="222" y="389"/>
                    <a:pt x="222" y="389"/>
                    <a:pt x="222" y="389"/>
                  </a:cubicBezTo>
                  <a:cubicBezTo>
                    <a:pt x="225" y="381"/>
                    <a:pt x="218" y="385"/>
                    <a:pt x="214" y="387"/>
                  </a:cubicBezTo>
                  <a:cubicBezTo>
                    <a:pt x="201" y="393"/>
                    <a:pt x="226" y="403"/>
                    <a:pt x="222" y="390"/>
                  </a:cubicBezTo>
                  <a:close/>
                  <a:moveTo>
                    <a:pt x="226" y="282"/>
                  </a:moveTo>
                  <a:cubicBezTo>
                    <a:pt x="229" y="282"/>
                    <a:pt x="229" y="276"/>
                    <a:pt x="228" y="274"/>
                  </a:cubicBezTo>
                  <a:cubicBezTo>
                    <a:pt x="228" y="272"/>
                    <a:pt x="229" y="268"/>
                    <a:pt x="231" y="265"/>
                  </a:cubicBezTo>
                  <a:cubicBezTo>
                    <a:pt x="228" y="263"/>
                    <a:pt x="223" y="257"/>
                    <a:pt x="222" y="253"/>
                  </a:cubicBezTo>
                  <a:cubicBezTo>
                    <a:pt x="223" y="253"/>
                    <a:pt x="223" y="253"/>
                    <a:pt x="223" y="253"/>
                  </a:cubicBezTo>
                  <a:cubicBezTo>
                    <a:pt x="221" y="245"/>
                    <a:pt x="216" y="284"/>
                    <a:pt x="226" y="282"/>
                  </a:cubicBezTo>
                  <a:close/>
                  <a:moveTo>
                    <a:pt x="183" y="394"/>
                  </a:moveTo>
                  <a:cubicBezTo>
                    <a:pt x="183" y="394"/>
                    <a:pt x="183" y="394"/>
                    <a:pt x="183" y="394"/>
                  </a:cubicBezTo>
                  <a:cubicBezTo>
                    <a:pt x="181" y="390"/>
                    <a:pt x="182" y="395"/>
                    <a:pt x="183" y="396"/>
                  </a:cubicBezTo>
                  <a:cubicBezTo>
                    <a:pt x="194" y="408"/>
                    <a:pt x="197" y="411"/>
                    <a:pt x="210" y="410"/>
                  </a:cubicBezTo>
                  <a:cubicBezTo>
                    <a:pt x="210" y="410"/>
                    <a:pt x="212" y="410"/>
                    <a:pt x="211" y="410"/>
                  </a:cubicBezTo>
                  <a:cubicBezTo>
                    <a:pt x="202" y="400"/>
                    <a:pt x="199" y="410"/>
                    <a:pt x="183" y="394"/>
                  </a:cubicBezTo>
                  <a:close/>
                  <a:moveTo>
                    <a:pt x="232" y="265"/>
                  </a:moveTo>
                  <a:cubicBezTo>
                    <a:pt x="232" y="264"/>
                    <a:pt x="231" y="264"/>
                    <a:pt x="231" y="265"/>
                  </a:cubicBezTo>
                  <a:cubicBezTo>
                    <a:pt x="232" y="266"/>
                    <a:pt x="232" y="266"/>
                    <a:pt x="232" y="265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4" name="Iceland"/>
          <p:cNvSpPr>
            <a:spLocks noEditPoints="1"/>
          </p:cNvSpPr>
          <p:nvPr/>
        </p:nvSpPr>
        <p:spPr bwMode="auto">
          <a:xfrm>
            <a:off x="4758621" y="4374019"/>
            <a:ext cx="1322353" cy="747724"/>
          </a:xfrm>
          <a:custGeom>
            <a:avLst/>
            <a:gdLst>
              <a:gd name="T0" fmla="*/ 1639 w 1826"/>
              <a:gd name="T1" fmla="*/ 595 h 882"/>
              <a:gd name="T2" fmla="*/ 1526 w 1826"/>
              <a:gd name="T3" fmla="*/ 630 h 882"/>
              <a:gd name="T4" fmla="*/ 1461 w 1826"/>
              <a:gd name="T5" fmla="*/ 664 h 882"/>
              <a:gd name="T6" fmla="*/ 1268 w 1826"/>
              <a:gd name="T7" fmla="*/ 756 h 882"/>
              <a:gd name="T8" fmla="*/ 1212 w 1826"/>
              <a:gd name="T9" fmla="*/ 767 h 882"/>
              <a:gd name="T10" fmla="*/ 1110 w 1826"/>
              <a:gd name="T11" fmla="*/ 803 h 882"/>
              <a:gd name="T12" fmla="*/ 1031 w 1826"/>
              <a:gd name="T13" fmla="*/ 840 h 882"/>
              <a:gd name="T14" fmla="*/ 704 w 1826"/>
              <a:gd name="T15" fmla="*/ 832 h 882"/>
              <a:gd name="T16" fmla="*/ 682 w 1826"/>
              <a:gd name="T17" fmla="*/ 767 h 882"/>
              <a:gd name="T18" fmla="*/ 589 w 1826"/>
              <a:gd name="T19" fmla="*/ 764 h 882"/>
              <a:gd name="T20" fmla="*/ 343 w 1826"/>
              <a:gd name="T21" fmla="*/ 762 h 882"/>
              <a:gd name="T22" fmla="*/ 360 w 1826"/>
              <a:gd name="T23" fmla="*/ 710 h 882"/>
              <a:gd name="T24" fmla="*/ 471 w 1826"/>
              <a:gd name="T25" fmla="*/ 664 h 882"/>
              <a:gd name="T26" fmla="*/ 462 w 1826"/>
              <a:gd name="T27" fmla="*/ 610 h 882"/>
              <a:gd name="T28" fmla="*/ 504 w 1826"/>
              <a:gd name="T29" fmla="*/ 556 h 882"/>
              <a:gd name="T30" fmla="*/ 415 w 1826"/>
              <a:gd name="T31" fmla="*/ 563 h 882"/>
              <a:gd name="T32" fmla="*/ 358 w 1826"/>
              <a:gd name="T33" fmla="*/ 541 h 882"/>
              <a:gd name="T34" fmla="*/ 332 w 1826"/>
              <a:gd name="T35" fmla="*/ 491 h 882"/>
              <a:gd name="T36" fmla="*/ 82 w 1826"/>
              <a:gd name="T37" fmla="*/ 478 h 882"/>
              <a:gd name="T38" fmla="*/ 230 w 1826"/>
              <a:gd name="T39" fmla="*/ 454 h 882"/>
              <a:gd name="T40" fmla="*/ 328 w 1826"/>
              <a:gd name="T41" fmla="*/ 423 h 882"/>
              <a:gd name="T42" fmla="*/ 386 w 1826"/>
              <a:gd name="T43" fmla="*/ 341 h 882"/>
              <a:gd name="T44" fmla="*/ 382 w 1826"/>
              <a:gd name="T45" fmla="*/ 313 h 882"/>
              <a:gd name="T46" fmla="*/ 339 w 1826"/>
              <a:gd name="T47" fmla="*/ 293 h 882"/>
              <a:gd name="T48" fmla="*/ 276 w 1826"/>
              <a:gd name="T49" fmla="*/ 280 h 882"/>
              <a:gd name="T50" fmla="*/ 108 w 1826"/>
              <a:gd name="T51" fmla="*/ 321 h 882"/>
              <a:gd name="T52" fmla="*/ 119 w 1826"/>
              <a:gd name="T53" fmla="*/ 289 h 882"/>
              <a:gd name="T54" fmla="*/ 152 w 1826"/>
              <a:gd name="T55" fmla="*/ 241 h 882"/>
              <a:gd name="T56" fmla="*/ 213 w 1826"/>
              <a:gd name="T57" fmla="*/ 219 h 882"/>
              <a:gd name="T58" fmla="*/ 128 w 1826"/>
              <a:gd name="T59" fmla="*/ 135 h 882"/>
              <a:gd name="T60" fmla="*/ 165 w 1826"/>
              <a:gd name="T61" fmla="*/ 102 h 882"/>
              <a:gd name="T62" fmla="*/ 293 w 1826"/>
              <a:gd name="T63" fmla="*/ 148 h 882"/>
              <a:gd name="T64" fmla="*/ 363 w 1826"/>
              <a:gd name="T65" fmla="*/ 174 h 882"/>
              <a:gd name="T66" fmla="*/ 339 w 1826"/>
              <a:gd name="T67" fmla="*/ 67 h 882"/>
              <a:gd name="T68" fmla="*/ 241 w 1826"/>
              <a:gd name="T69" fmla="*/ 37 h 882"/>
              <a:gd name="T70" fmla="*/ 348 w 1826"/>
              <a:gd name="T71" fmla="*/ 29 h 882"/>
              <a:gd name="T72" fmla="*/ 443 w 1826"/>
              <a:gd name="T73" fmla="*/ 94 h 882"/>
              <a:gd name="T74" fmla="*/ 532 w 1826"/>
              <a:gd name="T75" fmla="*/ 157 h 882"/>
              <a:gd name="T76" fmla="*/ 506 w 1826"/>
              <a:gd name="T77" fmla="*/ 220 h 882"/>
              <a:gd name="T78" fmla="*/ 506 w 1826"/>
              <a:gd name="T79" fmla="*/ 276 h 882"/>
              <a:gd name="T80" fmla="*/ 571 w 1826"/>
              <a:gd name="T81" fmla="*/ 389 h 882"/>
              <a:gd name="T82" fmla="*/ 640 w 1826"/>
              <a:gd name="T83" fmla="*/ 241 h 882"/>
              <a:gd name="T84" fmla="*/ 690 w 1826"/>
              <a:gd name="T85" fmla="*/ 283 h 882"/>
              <a:gd name="T86" fmla="*/ 810 w 1826"/>
              <a:gd name="T87" fmla="*/ 224 h 882"/>
              <a:gd name="T88" fmla="*/ 847 w 1826"/>
              <a:gd name="T89" fmla="*/ 152 h 882"/>
              <a:gd name="T90" fmla="*/ 944 w 1826"/>
              <a:gd name="T91" fmla="*/ 96 h 882"/>
              <a:gd name="T92" fmla="*/ 1042 w 1826"/>
              <a:gd name="T93" fmla="*/ 185 h 882"/>
              <a:gd name="T94" fmla="*/ 1070 w 1826"/>
              <a:gd name="T95" fmla="*/ 105 h 882"/>
              <a:gd name="T96" fmla="*/ 1205 w 1826"/>
              <a:gd name="T97" fmla="*/ 102 h 882"/>
              <a:gd name="T98" fmla="*/ 1335 w 1826"/>
              <a:gd name="T99" fmla="*/ 104 h 882"/>
              <a:gd name="T100" fmla="*/ 1448 w 1826"/>
              <a:gd name="T101" fmla="*/ 37 h 882"/>
              <a:gd name="T102" fmla="*/ 1594 w 1826"/>
              <a:gd name="T103" fmla="*/ 46 h 882"/>
              <a:gd name="T104" fmla="*/ 1633 w 1826"/>
              <a:gd name="T105" fmla="*/ 141 h 882"/>
              <a:gd name="T106" fmla="*/ 1678 w 1826"/>
              <a:gd name="T107" fmla="*/ 230 h 882"/>
              <a:gd name="T108" fmla="*/ 1717 w 1826"/>
              <a:gd name="T109" fmla="*/ 256 h 882"/>
              <a:gd name="T110" fmla="*/ 1742 w 1826"/>
              <a:gd name="T111" fmla="*/ 359 h 882"/>
              <a:gd name="T112" fmla="*/ 1804 w 1826"/>
              <a:gd name="T113" fmla="*/ 389 h 882"/>
              <a:gd name="T114" fmla="*/ 1744 w 1826"/>
              <a:gd name="T115" fmla="*/ 421 h 882"/>
              <a:gd name="T116" fmla="*/ 1781 w 1826"/>
              <a:gd name="T117" fmla="*/ 473 h 882"/>
              <a:gd name="T118" fmla="*/ 1679 w 1826"/>
              <a:gd name="T119" fmla="*/ 511 h 882"/>
              <a:gd name="T120" fmla="*/ 1685 w 1826"/>
              <a:gd name="T121" fmla="*/ 550 h 882"/>
              <a:gd name="T122" fmla="*/ 1385 w 1826"/>
              <a:gd name="T123" fmla="*/ 272 h 882"/>
              <a:gd name="T124" fmla="*/ 1678 w 1826"/>
              <a:gd name="T125" fmla="*/ 334 h 8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26" h="882">
                <a:moveTo>
                  <a:pt x="313" y="497"/>
                </a:move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close/>
                <a:moveTo>
                  <a:pt x="847" y="152"/>
                </a:move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close/>
                <a:moveTo>
                  <a:pt x="1142" y="790"/>
                </a:move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close/>
                <a:moveTo>
                  <a:pt x="1670" y="567"/>
                </a:moveTo>
                <a:lnTo>
                  <a:pt x="1670" y="567"/>
                </a:lnTo>
                <a:lnTo>
                  <a:pt x="1665" y="578"/>
                </a:lnTo>
                <a:lnTo>
                  <a:pt x="1654" y="599"/>
                </a:lnTo>
                <a:lnTo>
                  <a:pt x="1646" y="608"/>
                </a:lnTo>
                <a:lnTo>
                  <a:pt x="1639" y="613"/>
                </a:lnTo>
                <a:lnTo>
                  <a:pt x="1635" y="613"/>
                </a:lnTo>
                <a:lnTo>
                  <a:pt x="1631" y="613"/>
                </a:lnTo>
                <a:lnTo>
                  <a:pt x="1628" y="612"/>
                </a:lnTo>
                <a:lnTo>
                  <a:pt x="1622" y="608"/>
                </a:lnTo>
                <a:lnTo>
                  <a:pt x="1622" y="608"/>
                </a:lnTo>
                <a:lnTo>
                  <a:pt x="1622" y="608"/>
                </a:lnTo>
                <a:lnTo>
                  <a:pt x="1624" y="606"/>
                </a:lnTo>
                <a:lnTo>
                  <a:pt x="1631" y="604"/>
                </a:lnTo>
                <a:lnTo>
                  <a:pt x="1639" y="602"/>
                </a:lnTo>
                <a:lnTo>
                  <a:pt x="1642" y="600"/>
                </a:lnTo>
                <a:lnTo>
                  <a:pt x="1644" y="599"/>
                </a:lnTo>
                <a:lnTo>
                  <a:pt x="1644" y="599"/>
                </a:lnTo>
                <a:lnTo>
                  <a:pt x="1642" y="597"/>
                </a:lnTo>
                <a:lnTo>
                  <a:pt x="1642" y="595"/>
                </a:lnTo>
                <a:lnTo>
                  <a:pt x="1639" y="595"/>
                </a:lnTo>
                <a:lnTo>
                  <a:pt x="1639" y="595"/>
                </a:lnTo>
                <a:lnTo>
                  <a:pt x="1628" y="597"/>
                </a:lnTo>
                <a:lnTo>
                  <a:pt x="1615" y="604"/>
                </a:lnTo>
                <a:lnTo>
                  <a:pt x="1602" y="613"/>
                </a:lnTo>
                <a:lnTo>
                  <a:pt x="1596" y="619"/>
                </a:lnTo>
                <a:lnTo>
                  <a:pt x="1592" y="625"/>
                </a:lnTo>
                <a:lnTo>
                  <a:pt x="1592" y="625"/>
                </a:lnTo>
                <a:lnTo>
                  <a:pt x="1590" y="630"/>
                </a:lnTo>
                <a:lnTo>
                  <a:pt x="1590" y="638"/>
                </a:lnTo>
                <a:lnTo>
                  <a:pt x="1589" y="641"/>
                </a:lnTo>
                <a:lnTo>
                  <a:pt x="1585" y="643"/>
                </a:lnTo>
                <a:lnTo>
                  <a:pt x="1585" y="643"/>
                </a:lnTo>
                <a:lnTo>
                  <a:pt x="1578" y="643"/>
                </a:lnTo>
                <a:lnTo>
                  <a:pt x="1574" y="639"/>
                </a:lnTo>
                <a:lnTo>
                  <a:pt x="1568" y="636"/>
                </a:lnTo>
                <a:lnTo>
                  <a:pt x="1563" y="632"/>
                </a:lnTo>
                <a:lnTo>
                  <a:pt x="1563" y="632"/>
                </a:lnTo>
                <a:lnTo>
                  <a:pt x="1557" y="632"/>
                </a:lnTo>
                <a:lnTo>
                  <a:pt x="1552" y="636"/>
                </a:lnTo>
                <a:lnTo>
                  <a:pt x="1544" y="641"/>
                </a:lnTo>
                <a:lnTo>
                  <a:pt x="1544" y="641"/>
                </a:lnTo>
                <a:lnTo>
                  <a:pt x="1542" y="641"/>
                </a:lnTo>
                <a:lnTo>
                  <a:pt x="1540" y="639"/>
                </a:lnTo>
                <a:lnTo>
                  <a:pt x="1540" y="634"/>
                </a:lnTo>
                <a:lnTo>
                  <a:pt x="1542" y="630"/>
                </a:lnTo>
                <a:lnTo>
                  <a:pt x="1542" y="630"/>
                </a:lnTo>
                <a:lnTo>
                  <a:pt x="1540" y="632"/>
                </a:lnTo>
                <a:lnTo>
                  <a:pt x="1540" y="632"/>
                </a:lnTo>
                <a:lnTo>
                  <a:pt x="1539" y="632"/>
                </a:lnTo>
                <a:lnTo>
                  <a:pt x="1537" y="630"/>
                </a:lnTo>
                <a:lnTo>
                  <a:pt x="1533" y="626"/>
                </a:lnTo>
                <a:lnTo>
                  <a:pt x="1529" y="623"/>
                </a:lnTo>
                <a:lnTo>
                  <a:pt x="1529" y="623"/>
                </a:lnTo>
                <a:lnTo>
                  <a:pt x="1527" y="623"/>
                </a:lnTo>
                <a:lnTo>
                  <a:pt x="1527" y="623"/>
                </a:lnTo>
                <a:lnTo>
                  <a:pt x="1526" y="630"/>
                </a:lnTo>
                <a:lnTo>
                  <a:pt x="1526" y="630"/>
                </a:lnTo>
                <a:lnTo>
                  <a:pt x="1524" y="626"/>
                </a:lnTo>
                <a:lnTo>
                  <a:pt x="1520" y="617"/>
                </a:lnTo>
                <a:lnTo>
                  <a:pt x="1516" y="613"/>
                </a:lnTo>
                <a:lnTo>
                  <a:pt x="1513" y="608"/>
                </a:lnTo>
                <a:lnTo>
                  <a:pt x="1513" y="608"/>
                </a:lnTo>
                <a:lnTo>
                  <a:pt x="1511" y="608"/>
                </a:lnTo>
                <a:lnTo>
                  <a:pt x="1513" y="610"/>
                </a:lnTo>
                <a:lnTo>
                  <a:pt x="1513" y="610"/>
                </a:lnTo>
                <a:lnTo>
                  <a:pt x="1514" y="615"/>
                </a:lnTo>
                <a:lnTo>
                  <a:pt x="1516" y="621"/>
                </a:lnTo>
                <a:lnTo>
                  <a:pt x="1516" y="626"/>
                </a:lnTo>
                <a:lnTo>
                  <a:pt x="1514" y="630"/>
                </a:lnTo>
                <a:lnTo>
                  <a:pt x="1514" y="630"/>
                </a:lnTo>
                <a:lnTo>
                  <a:pt x="1513" y="632"/>
                </a:lnTo>
                <a:lnTo>
                  <a:pt x="1511" y="634"/>
                </a:lnTo>
                <a:lnTo>
                  <a:pt x="1502" y="638"/>
                </a:lnTo>
                <a:lnTo>
                  <a:pt x="1496" y="639"/>
                </a:lnTo>
                <a:lnTo>
                  <a:pt x="1494" y="639"/>
                </a:lnTo>
                <a:lnTo>
                  <a:pt x="1496" y="641"/>
                </a:lnTo>
                <a:lnTo>
                  <a:pt x="1496" y="641"/>
                </a:lnTo>
                <a:lnTo>
                  <a:pt x="1502" y="641"/>
                </a:lnTo>
                <a:lnTo>
                  <a:pt x="1503" y="641"/>
                </a:lnTo>
                <a:lnTo>
                  <a:pt x="1505" y="643"/>
                </a:lnTo>
                <a:lnTo>
                  <a:pt x="1505" y="643"/>
                </a:lnTo>
                <a:lnTo>
                  <a:pt x="1507" y="645"/>
                </a:lnTo>
                <a:lnTo>
                  <a:pt x="1505" y="647"/>
                </a:lnTo>
                <a:lnTo>
                  <a:pt x="1498" y="649"/>
                </a:lnTo>
                <a:lnTo>
                  <a:pt x="1477" y="649"/>
                </a:lnTo>
                <a:lnTo>
                  <a:pt x="1477" y="649"/>
                </a:lnTo>
                <a:lnTo>
                  <a:pt x="1472" y="652"/>
                </a:lnTo>
                <a:lnTo>
                  <a:pt x="1468" y="652"/>
                </a:lnTo>
                <a:lnTo>
                  <a:pt x="1466" y="652"/>
                </a:lnTo>
                <a:lnTo>
                  <a:pt x="1466" y="652"/>
                </a:lnTo>
                <a:lnTo>
                  <a:pt x="1464" y="656"/>
                </a:lnTo>
                <a:lnTo>
                  <a:pt x="1463" y="660"/>
                </a:lnTo>
                <a:lnTo>
                  <a:pt x="1461" y="664"/>
                </a:lnTo>
                <a:lnTo>
                  <a:pt x="1461" y="664"/>
                </a:lnTo>
                <a:lnTo>
                  <a:pt x="1453" y="665"/>
                </a:lnTo>
                <a:lnTo>
                  <a:pt x="1446" y="667"/>
                </a:lnTo>
                <a:lnTo>
                  <a:pt x="1429" y="671"/>
                </a:lnTo>
                <a:lnTo>
                  <a:pt x="1416" y="673"/>
                </a:lnTo>
                <a:lnTo>
                  <a:pt x="1413" y="675"/>
                </a:lnTo>
                <a:lnTo>
                  <a:pt x="1414" y="678"/>
                </a:lnTo>
                <a:lnTo>
                  <a:pt x="1414" y="678"/>
                </a:lnTo>
                <a:lnTo>
                  <a:pt x="1416" y="680"/>
                </a:lnTo>
                <a:lnTo>
                  <a:pt x="1416" y="682"/>
                </a:lnTo>
                <a:lnTo>
                  <a:pt x="1411" y="686"/>
                </a:lnTo>
                <a:lnTo>
                  <a:pt x="1403" y="689"/>
                </a:lnTo>
                <a:lnTo>
                  <a:pt x="1398" y="691"/>
                </a:lnTo>
                <a:lnTo>
                  <a:pt x="1398" y="691"/>
                </a:lnTo>
                <a:lnTo>
                  <a:pt x="1375" y="702"/>
                </a:lnTo>
                <a:lnTo>
                  <a:pt x="1361" y="710"/>
                </a:lnTo>
                <a:lnTo>
                  <a:pt x="1355" y="714"/>
                </a:lnTo>
                <a:lnTo>
                  <a:pt x="1355" y="714"/>
                </a:lnTo>
                <a:lnTo>
                  <a:pt x="1353" y="717"/>
                </a:lnTo>
                <a:lnTo>
                  <a:pt x="1350" y="723"/>
                </a:lnTo>
                <a:lnTo>
                  <a:pt x="1342" y="734"/>
                </a:lnTo>
                <a:lnTo>
                  <a:pt x="1342" y="734"/>
                </a:lnTo>
                <a:lnTo>
                  <a:pt x="1340" y="738"/>
                </a:lnTo>
                <a:lnTo>
                  <a:pt x="1335" y="741"/>
                </a:lnTo>
                <a:lnTo>
                  <a:pt x="1322" y="745"/>
                </a:lnTo>
                <a:lnTo>
                  <a:pt x="1303" y="749"/>
                </a:lnTo>
                <a:lnTo>
                  <a:pt x="1283" y="753"/>
                </a:lnTo>
                <a:lnTo>
                  <a:pt x="1283" y="753"/>
                </a:lnTo>
                <a:lnTo>
                  <a:pt x="1281" y="754"/>
                </a:lnTo>
                <a:lnTo>
                  <a:pt x="1281" y="756"/>
                </a:lnTo>
                <a:lnTo>
                  <a:pt x="1283" y="762"/>
                </a:lnTo>
                <a:lnTo>
                  <a:pt x="1283" y="767"/>
                </a:lnTo>
                <a:lnTo>
                  <a:pt x="1283" y="769"/>
                </a:lnTo>
                <a:lnTo>
                  <a:pt x="1281" y="769"/>
                </a:lnTo>
                <a:lnTo>
                  <a:pt x="1281" y="769"/>
                </a:lnTo>
                <a:lnTo>
                  <a:pt x="1275" y="765"/>
                </a:lnTo>
                <a:lnTo>
                  <a:pt x="1272" y="760"/>
                </a:lnTo>
                <a:lnTo>
                  <a:pt x="1268" y="756"/>
                </a:lnTo>
                <a:lnTo>
                  <a:pt x="1268" y="756"/>
                </a:lnTo>
                <a:lnTo>
                  <a:pt x="1268" y="758"/>
                </a:lnTo>
                <a:lnTo>
                  <a:pt x="1268" y="758"/>
                </a:lnTo>
                <a:lnTo>
                  <a:pt x="1266" y="764"/>
                </a:lnTo>
                <a:lnTo>
                  <a:pt x="1264" y="769"/>
                </a:lnTo>
                <a:lnTo>
                  <a:pt x="1264" y="769"/>
                </a:lnTo>
                <a:lnTo>
                  <a:pt x="1259" y="775"/>
                </a:lnTo>
                <a:lnTo>
                  <a:pt x="1255" y="775"/>
                </a:lnTo>
                <a:lnTo>
                  <a:pt x="1253" y="773"/>
                </a:lnTo>
                <a:lnTo>
                  <a:pt x="1253" y="773"/>
                </a:lnTo>
                <a:lnTo>
                  <a:pt x="1251" y="771"/>
                </a:lnTo>
                <a:lnTo>
                  <a:pt x="1253" y="765"/>
                </a:lnTo>
                <a:lnTo>
                  <a:pt x="1257" y="754"/>
                </a:lnTo>
                <a:lnTo>
                  <a:pt x="1257" y="743"/>
                </a:lnTo>
                <a:lnTo>
                  <a:pt x="1257" y="740"/>
                </a:lnTo>
                <a:lnTo>
                  <a:pt x="1253" y="736"/>
                </a:lnTo>
                <a:lnTo>
                  <a:pt x="1253" y="736"/>
                </a:lnTo>
                <a:lnTo>
                  <a:pt x="1251" y="738"/>
                </a:lnTo>
                <a:lnTo>
                  <a:pt x="1249" y="741"/>
                </a:lnTo>
                <a:lnTo>
                  <a:pt x="1249" y="749"/>
                </a:lnTo>
                <a:lnTo>
                  <a:pt x="1249" y="749"/>
                </a:lnTo>
                <a:lnTo>
                  <a:pt x="1249" y="753"/>
                </a:lnTo>
                <a:lnTo>
                  <a:pt x="1248" y="753"/>
                </a:lnTo>
                <a:lnTo>
                  <a:pt x="1244" y="753"/>
                </a:lnTo>
                <a:lnTo>
                  <a:pt x="1242" y="753"/>
                </a:lnTo>
                <a:lnTo>
                  <a:pt x="1242" y="754"/>
                </a:lnTo>
                <a:lnTo>
                  <a:pt x="1242" y="754"/>
                </a:lnTo>
                <a:lnTo>
                  <a:pt x="1246" y="762"/>
                </a:lnTo>
                <a:lnTo>
                  <a:pt x="1248" y="769"/>
                </a:lnTo>
                <a:lnTo>
                  <a:pt x="1248" y="769"/>
                </a:lnTo>
                <a:lnTo>
                  <a:pt x="1244" y="773"/>
                </a:lnTo>
                <a:lnTo>
                  <a:pt x="1240" y="773"/>
                </a:lnTo>
                <a:lnTo>
                  <a:pt x="1231" y="769"/>
                </a:lnTo>
                <a:lnTo>
                  <a:pt x="1222" y="765"/>
                </a:lnTo>
                <a:lnTo>
                  <a:pt x="1216" y="765"/>
                </a:lnTo>
                <a:lnTo>
                  <a:pt x="1212" y="767"/>
                </a:lnTo>
                <a:lnTo>
                  <a:pt x="1212" y="767"/>
                </a:lnTo>
                <a:lnTo>
                  <a:pt x="1183" y="778"/>
                </a:lnTo>
                <a:lnTo>
                  <a:pt x="1166" y="784"/>
                </a:lnTo>
                <a:lnTo>
                  <a:pt x="1160" y="786"/>
                </a:lnTo>
                <a:lnTo>
                  <a:pt x="1159" y="784"/>
                </a:lnTo>
                <a:lnTo>
                  <a:pt x="1159" y="784"/>
                </a:lnTo>
                <a:lnTo>
                  <a:pt x="1159" y="778"/>
                </a:lnTo>
                <a:lnTo>
                  <a:pt x="1157" y="775"/>
                </a:lnTo>
                <a:lnTo>
                  <a:pt x="1157" y="775"/>
                </a:lnTo>
                <a:lnTo>
                  <a:pt x="1157" y="775"/>
                </a:lnTo>
                <a:lnTo>
                  <a:pt x="1151" y="778"/>
                </a:lnTo>
                <a:lnTo>
                  <a:pt x="1149" y="782"/>
                </a:lnTo>
                <a:lnTo>
                  <a:pt x="1147" y="786"/>
                </a:lnTo>
                <a:lnTo>
                  <a:pt x="1142" y="790"/>
                </a:lnTo>
                <a:lnTo>
                  <a:pt x="1142" y="790"/>
                </a:lnTo>
                <a:lnTo>
                  <a:pt x="1134" y="791"/>
                </a:lnTo>
                <a:lnTo>
                  <a:pt x="1131" y="791"/>
                </a:lnTo>
                <a:lnTo>
                  <a:pt x="1133" y="790"/>
                </a:lnTo>
                <a:lnTo>
                  <a:pt x="1134" y="786"/>
                </a:lnTo>
                <a:lnTo>
                  <a:pt x="1134" y="786"/>
                </a:lnTo>
                <a:lnTo>
                  <a:pt x="1136" y="784"/>
                </a:lnTo>
                <a:lnTo>
                  <a:pt x="1134" y="782"/>
                </a:lnTo>
                <a:lnTo>
                  <a:pt x="1134" y="782"/>
                </a:lnTo>
                <a:lnTo>
                  <a:pt x="1127" y="780"/>
                </a:lnTo>
                <a:lnTo>
                  <a:pt x="1125" y="780"/>
                </a:lnTo>
                <a:lnTo>
                  <a:pt x="1125" y="782"/>
                </a:lnTo>
                <a:lnTo>
                  <a:pt x="1123" y="784"/>
                </a:lnTo>
                <a:lnTo>
                  <a:pt x="1121" y="784"/>
                </a:lnTo>
                <a:lnTo>
                  <a:pt x="1118" y="784"/>
                </a:lnTo>
                <a:lnTo>
                  <a:pt x="1118" y="784"/>
                </a:lnTo>
                <a:lnTo>
                  <a:pt x="1103" y="791"/>
                </a:lnTo>
                <a:lnTo>
                  <a:pt x="1092" y="799"/>
                </a:lnTo>
                <a:lnTo>
                  <a:pt x="1086" y="804"/>
                </a:lnTo>
                <a:lnTo>
                  <a:pt x="1086" y="804"/>
                </a:lnTo>
                <a:lnTo>
                  <a:pt x="1086" y="808"/>
                </a:lnTo>
                <a:lnTo>
                  <a:pt x="1090" y="808"/>
                </a:lnTo>
                <a:lnTo>
                  <a:pt x="1099" y="804"/>
                </a:lnTo>
                <a:lnTo>
                  <a:pt x="1110" y="803"/>
                </a:lnTo>
                <a:lnTo>
                  <a:pt x="1114" y="803"/>
                </a:lnTo>
                <a:lnTo>
                  <a:pt x="1116" y="806"/>
                </a:lnTo>
                <a:lnTo>
                  <a:pt x="1116" y="806"/>
                </a:lnTo>
                <a:lnTo>
                  <a:pt x="1112" y="812"/>
                </a:lnTo>
                <a:lnTo>
                  <a:pt x="1109" y="816"/>
                </a:lnTo>
                <a:lnTo>
                  <a:pt x="1109" y="816"/>
                </a:lnTo>
                <a:lnTo>
                  <a:pt x="1105" y="817"/>
                </a:lnTo>
                <a:lnTo>
                  <a:pt x="1103" y="817"/>
                </a:lnTo>
                <a:lnTo>
                  <a:pt x="1101" y="816"/>
                </a:lnTo>
                <a:lnTo>
                  <a:pt x="1101" y="816"/>
                </a:lnTo>
                <a:lnTo>
                  <a:pt x="1097" y="814"/>
                </a:lnTo>
                <a:lnTo>
                  <a:pt x="1096" y="814"/>
                </a:lnTo>
                <a:lnTo>
                  <a:pt x="1096" y="819"/>
                </a:lnTo>
                <a:lnTo>
                  <a:pt x="1097" y="829"/>
                </a:lnTo>
                <a:lnTo>
                  <a:pt x="1099" y="832"/>
                </a:lnTo>
                <a:lnTo>
                  <a:pt x="1097" y="836"/>
                </a:lnTo>
                <a:lnTo>
                  <a:pt x="1097" y="836"/>
                </a:lnTo>
                <a:lnTo>
                  <a:pt x="1096" y="840"/>
                </a:lnTo>
                <a:lnTo>
                  <a:pt x="1094" y="843"/>
                </a:lnTo>
                <a:lnTo>
                  <a:pt x="1094" y="843"/>
                </a:lnTo>
                <a:lnTo>
                  <a:pt x="1086" y="847"/>
                </a:lnTo>
                <a:lnTo>
                  <a:pt x="1071" y="853"/>
                </a:lnTo>
                <a:lnTo>
                  <a:pt x="1057" y="856"/>
                </a:lnTo>
                <a:lnTo>
                  <a:pt x="1051" y="856"/>
                </a:lnTo>
                <a:lnTo>
                  <a:pt x="1049" y="856"/>
                </a:lnTo>
                <a:lnTo>
                  <a:pt x="1049" y="856"/>
                </a:lnTo>
                <a:lnTo>
                  <a:pt x="1047" y="853"/>
                </a:lnTo>
                <a:lnTo>
                  <a:pt x="1049" y="851"/>
                </a:lnTo>
                <a:lnTo>
                  <a:pt x="1057" y="845"/>
                </a:lnTo>
                <a:lnTo>
                  <a:pt x="1060" y="843"/>
                </a:lnTo>
                <a:lnTo>
                  <a:pt x="1055" y="845"/>
                </a:lnTo>
                <a:lnTo>
                  <a:pt x="1055" y="845"/>
                </a:lnTo>
                <a:lnTo>
                  <a:pt x="1051" y="843"/>
                </a:lnTo>
                <a:lnTo>
                  <a:pt x="1045" y="843"/>
                </a:lnTo>
                <a:lnTo>
                  <a:pt x="1045" y="843"/>
                </a:lnTo>
                <a:lnTo>
                  <a:pt x="1036" y="841"/>
                </a:lnTo>
                <a:lnTo>
                  <a:pt x="1031" y="840"/>
                </a:lnTo>
                <a:lnTo>
                  <a:pt x="1031" y="840"/>
                </a:lnTo>
                <a:lnTo>
                  <a:pt x="1031" y="843"/>
                </a:lnTo>
                <a:lnTo>
                  <a:pt x="1033" y="853"/>
                </a:lnTo>
                <a:lnTo>
                  <a:pt x="1036" y="860"/>
                </a:lnTo>
                <a:lnTo>
                  <a:pt x="1038" y="862"/>
                </a:lnTo>
                <a:lnTo>
                  <a:pt x="1040" y="862"/>
                </a:lnTo>
                <a:lnTo>
                  <a:pt x="1040" y="862"/>
                </a:lnTo>
                <a:lnTo>
                  <a:pt x="1047" y="864"/>
                </a:lnTo>
                <a:lnTo>
                  <a:pt x="1051" y="864"/>
                </a:lnTo>
                <a:lnTo>
                  <a:pt x="1051" y="866"/>
                </a:lnTo>
                <a:lnTo>
                  <a:pt x="1051" y="866"/>
                </a:lnTo>
                <a:lnTo>
                  <a:pt x="1051" y="866"/>
                </a:lnTo>
                <a:lnTo>
                  <a:pt x="1033" y="873"/>
                </a:lnTo>
                <a:lnTo>
                  <a:pt x="1010" y="879"/>
                </a:lnTo>
                <a:lnTo>
                  <a:pt x="986" y="880"/>
                </a:lnTo>
                <a:lnTo>
                  <a:pt x="962" y="882"/>
                </a:lnTo>
                <a:lnTo>
                  <a:pt x="938" y="880"/>
                </a:lnTo>
                <a:lnTo>
                  <a:pt x="918" y="879"/>
                </a:lnTo>
                <a:lnTo>
                  <a:pt x="884" y="873"/>
                </a:lnTo>
                <a:lnTo>
                  <a:pt x="884" y="873"/>
                </a:lnTo>
                <a:lnTo>
                  <a:pt x="855" y="864"/>
                </a:lnTo>
                <a:lnTo>
                  <a:pt x="823" y="853"/>
                </a:lnTo>
                <a:lnTo>
                  <a:pt x="823" y="853"/>
                </a:lnTo>
                <a:lnTo>
                  <a:pt x="814" y="851"/>
                </a:lnTo>
                <a:lnTo>
                  <a:pt x="801" y="847"/>
                </a:lnTo>
                <a:lnTo>
                  <a:pt x="793" y="845"/>
                </a:lnTo>
                <a:lnTo>
                  <a:pt x="792" y="845"/>
                </a:lnTo>
                <a:lnTo>
                  <a:pt x="793" y="843"/>
                </a:lnTo>
                <a:lnTo>
                  <a:pt x="793" y="843"/>
                </a:lnTo>
                <a:lnTo>
                  <a:pt x="801" y="841"/>
                </a:lnTo>
                <a:lnTo>
                  <a:pt x="795" y="841"/>
                </a:lnTo>
                <a:lnTo>
                  <a:pt x="777" y="841"/>
                </a:lnTo>
                <a:lnTo>
                  <a:pt x="777" y="841"/>
                </a:lnTo>
                <a:lnTo>
                  <a:pt x="753" y="841"/>
                </a:lnTo>
                <a:lnTo>
                  <a:pt x="727" y="840"/>
                </a:lnTo>
                <a:lnTo>
                  <a:pt x="716" y="836"/>
                </a:lnTo>
                <a:lnTo>
                  <a:pt x="704" y="832"/>
                </a:lnTo>
                <a:lnTo>
                  <a:pt x="697" y="829"/>
                </a:lnTo>
                <a:lnTo>
                  <a:pt x="693" y="823"/>
                </a:lnTo>
                <a:lnTo>
                  <a:pt x="693" y="823"/>
                </a:lnTo>
                <a:lnTo>
                  <a:pt x="690" y="816"/>
                </a:lnTo>
                <a:lnTo>
                  <a:pt x="690" y="816"/>
                </a:lnTo>
                <a:lnTo>
                  <a:pt x="690" y="814"/>
                </a:lnTo>
                <a:lnTo>
                  <a:pt x="690" y="814"/>
                </a:lnTo>
                <a:lnTo>
                  <a:pt x="684" y="810"/>
                </a:lnTo>
                <a:lnTo>
                  <a:pt x="680" y="804"/>
                </a:lnTo>
                <a:lnTo>
                  <a:pt x="678" y="799"/>
                </a:lnTo>
                <a:lnTo>
                  <a:pt x="678" y="799"/>
                </a:lnTo>
                <a:lnTo>
                  <a:pt x="677" y="801"/>
                </a:lnTo>
                <a:lnTo>
                  <a:pt x="677" y="801"/>
                </a:lnTo>
                <a:lnTo>
                  <a:pt x="677" y="804"/>
                </a:lnTo>
                <a:lnTo>
                  <a:pt x="678" y="806"/>
                </a:lnTo>
                <a:lnTo>
                  <a:pt x="682" y="814"/>
                </a:lnTo>
                <a:lnTo>
                  <a:pt x="682" y="814"/>
                </a:lnTo>
                <a:lnTo>
                  <a:pt x="680" y="812"/>
                </a:lnTo>
                <a:lnTo>
                  <a:pt x="673" y="810"/>
                </a:lnTo>
                <a:lnTo>
                  <a:pt x="667" y="804"/>
                </a:lnTo>
                <a:lnTo>
                  <a:pt x="664" y="801"/>
                </a:lnTo>
                <a:lnTo>
                  <a:pt x="664" y="797"/>
                </a:lnTo>
                <a:lnTo>
                  <a:pt x="664" y="797"/>
                </a:lnTo>
                <a:lnTo>
                  <a:pt x="665" y="788"/>
                </a:lnTo>
                <a:lnTo>
                  <a:pt x="667" y="784"/>
                </a:lnTo>
                <a:lnTo>
                  <a:pt x="673" y="782"/>
                </a:lnTo>
                <a:lnTo>
                  <a:pt x="678" y="784"/>
                </a:lnTo>
                <a:lnTo>
                  <a:pt x="691" y="788"/>
                </a:lnTo>
                <a:lnTo>
                  <a:pt x="695" y="790"/>
                </a:lnTo>
                <a:lnTo>
                  <a:pt x="701" y="788"/>
                </a:lnTo>
                <a:lnTo>
                  <a:pt x="701" y="788"/>
                </a:lnTo>
                <a:lnTo>
                  <a:pt x="701" y="786"/>
                </a:lnTo>
                <a:lnTo>
                  <a:pt x="699" y="784"/>
                </a:lnTo>
                <a:lnTo>
                  <a:pt x="691" y="778"/>
                </a:lnTo>
                <a:lnTo>
                  <a:pt x="684" y="773"/>
                </a:lnTo>
                <a:lnTo>
                  <a:pt x="682" y="771"/>
                </a:lnTo>
                <a:lnTo>
                  <a:pt x="682" y="767"/>
                </a:lnTo>
                <a:lnTo>
                  <a:pt x="682" y="767"/>
                </a:lnTo>
                <a:lnTo>
                  <a:pt x="684" y="764"/>
                </a:lnTo>
                <a:lnTo>
                  <a:pt x="684" y="760"/>
                </a:lnTo>
                <a:lnTo>
                  <a:pt x="682" y="758"/>
                </a:lnTo>
                <a:lnTo>
                  <a:pt x="682" y="758"/>
                </a:lnTo>
                <a:lnTo>
                  <a:pt x="677" y="758"/>
                </a:lnTo>
                <a:lnTo>
                  <a:pt x="671" y="762"/>
                </a:lnTo>
                <a:lnTo>
                  <a:pt x="667" y="767"/>
                </a:lnTo>
                <a:lnTo>
                  <a:pt x="664" y="775"/>
                </a:lnTo>
                <a:lnTo>
                  <a:pt x="658" y="788"/>
                </a:lnTo>
                <a:lnTo>
                  <a:pt x="656" y="791"/>
                </a:lnTo>
                <a:lnTo>
                  <a:pt x="654" y="793"/>
                </a:lnTo>
                <a:lnTo>
                  <a:pt x="654" y="793"/>
                </a:lnTo>
                <a:lnTo>
                  <a:pt x="647" y="791"/>
                </a:lnTo>
                <a:lnTo>
                  <a:pt x="643" y="788"/>
                </a:lnTo>
                <a:lnTo>
                  <a:pt x="638" y="784"/>
                </a:lnTo>
                <a:lnTo>
                  <a:pt x="634" y="780"/>
                </a:lnTo>
                <a:lnTo>
                  <a:pt x="634" y="780"/>
                </a:lnTo>
                <a:lnTo>
                  <a:pt x="628" y="778"/>
                </a:lnTo>
                <a:lnTo>
                  <a:pt x="630" y="777"/>
                </a:lnTo>
                <a:lnTo>
                  <a:pt x="641" y="777"/>
                </a:lnTo>
                <a:lnTo>
                  <a:pt x="651" y="777"/>
                </a:lnTo>
                <a:lnTo>
                  <a:pt x="638" y="773"/>
                </a:lnTo>
                <a:lnTo>
                  <a:pt x="638" y="773"/>
                </a:lnTo>
                <a:lnTo>
                  <a:pt x="638" y="771"/>
                </a:lnTo>
                <a:lnTo>
                  <a:pt x="640" y="767"/>
                </a:lnTo>
                <a:lnTo>
                  <a:pt x="638" y="758"/>
                </a:lnTo>
                <a:lnTo>
                  <a:pt x="638" y="751"/>
                </a:lnTo>
                <a:lnTo>
                  <a:pt x="638" y="756"/>
                </a:lnTo>
                <a:lnTo>
                  <a:pt x="638" y="756"/>
                </a:lnTo>
                <a:lnTo>
                  <a:pt x="638" y="762"/>
                </a:lnTo>
                <a:lnTo>
                  <a:pt x="636" y="765"/>
                </a:lnTo>
                <a:lnTo>
                  <a:pt x="632" y="767"/>
                </a:lnTo>
                <a:lnTo>
                  <a:pt x="628" y="769"/>
                </a:lnTo>
                <a:lnTo>
                  <a:pt x="615" y="769"/>
                </a:lnTo>
                <a:lnTo>
                  <a:pt x="602" y="767"/>
                </a:lnTo>
                <a:lnTo>
                  <a:pt x="589" y="764"/>
                </a:lnTo>
                <a:lnTo>
                  <a:pt x="575" y="760"/>
                </a:lnTo>
                <a:lnTo>
                  <a:pt x="564" y="754"/>
                </a:lnTo>
                <a:lnTo>
                  <a:pt x="556" y="747"/>
                </a:lnTo>
                <a:lnTo>
                  <a:pt x="556" y="747"/>
                </a:lnTo>
                <a:lnTo>
                  <a:pt x="554" y="745"/>
                </a:lnTo>
                <a:lnTo>
                  <a:pt x="554" y="743"/>
                </a:lnTo>
                <a:lnTo>
                  <a:pt x="558" y="738"/>
                </a:lnTo>
                <a:lnTo>
                  <a:pt x="569" y="730"/>
                </a:lnTo>
                <a:lnTo>
                  <a:pt x="573" y="727"/>
                </a:lnTo>
                <a:lnTo>
                  <a:pt x="573" y="725"/>
                </a:lnTo>
                <a:lnTo>
                  <a:pt x="573" y="725"/>
                </a:lnTo>
                <a:lnTo>
                  <a:pt x="567" y="725"/>
                </a:lnTo>
                <a:lnTo>
                  <a:pt x="554" y="727"/>
                </a:lnTo>
                <a:lnTo>
                  <a:pt x="554" y="727"/>
                </a:lnTo>
                <a:lnTo>
                  <a:pt x="545" y="728"/>
                </a:lnTo>
                <a:lnTo>
                  <a:pt x="541" y="732"/>
                </a:lnTo>
                <a:lnTo>
                  <a:pt x="541" y="736"/>
                </a:lnTo>
                <a:lnTo>
                  <a:pt x="543" y="740"/>
                </a:lnTo>
                <a:lnTo>
                  <a:pt x="543" y="743"/>
                </a:lnTo>
                <a:lnTo>
                  <a:pt x="543" y="749"/>
                </a:lnTo>
                <a:lnTo>
                  <a:pt x="538" y="753"/>
                </a:lnTo>
                <a:lnTo>
                  <a:pt x="525" y="756"/>
                </a:lnTo>
                <a:lnTo>
                  <a:pt x="525" y="756"/>
                </a:lnTo>
                <a:lnTo>
                  <a:pt x="513" y="758"/>
                </a:lnTo>
                <a:lnTo>
                  <a:pt x="504" y="758"/>
                </a:lnTo>
                <a:lnTo>
                  <a:pt x="488" y="756"/>
                </a:lnTo>
                <a:lnTo>
                  <a:pt x="473" y="751"/>
                </a:lnTo>
                <a:lnTo>
                  <a:pt x="454" y="749"/>
                </a:lnTo>
                <a:lnTo>
                  <a:pt x="454" y="749"/>
                </a:lnTo>
                <a:lnTo>
                  <a:pt x="452" y="749"/>
                </a:lnTo>
                <a:lnTo>
                  <a:pt x="450" y="753"/>
                </a:lnTo>
                <a:lnTo>
                  <a:pt x="450" y="753"/>
                </a:lnTo>
                <a:lnTo>
                  <a:pt x="447" y="754"/>
                </a:lnTo>
                <a:lnTo>
                  <a:pt x="441" y="756"/>
                </a:lnTo>
                <a:lnTo>
                  <a:pt x="426" y="758"/>
                </a:lnTo>
                <a:lnTo>
                  <a:pt x="386" y="760"/>
                </a:lnTo>
                <a:lnTo>
                  <a:pt x="343" y="762"/>
                </a:lnTo>
                <a:lnTo>
                  <a:pt x="326" y="762"/>
                </a:lnTo>
                <a:lnTo>
                  <a:pt x="315" y="764"/>
                </a:lnTo>
                <a:lnTo>
                  <a:pt x="315" y="764"/>
                </a:lnTo>
                <a:lnTo>
                  <a:pt x="311" y="765"/>
                </a:lnTo>
                <a:lnTo>
                  <a:pt x="308" y="767"/>
                </a:lnTo>
                <a:lnTo>
                  <a:pt x="308" y="767"/>
                </a:lnTo>
                <a:lnTo>
                  <a:pt x="306" y="767"/>
                </a:lnTo>
                <a:lnTo>
                  <a:pt x="304" y="765"/>
                </a:lnTo>
                <a:lnTo>
                  <a:pt x="304" y="760"/>
                </a:lnTo>
                <a:lnTo>
                  <a:pt x="306" y="751"/>
                </a:lnTo>
                <a:lnTo>
                  <a:pt x="306" y="751"/>
                </a:lnTo>
                <a:lnTo>
                  <a:pt x="306" y="749"/>
                </a:lnTo>
                <a:lnTo>
                  <a:pt x="304" y="749"/>
                </a:lnTo>
                <a:lnTo>
                  <a:pt x="302" y="747"/>
                </a:lnTo>
                <a:lnTo>
                  <a:pt x="300" y="745"/>
                </a:lnTo>
                <a:lnTo>
                  <a:pt x="300" y="745"/>
                </a:lnTo>
                <a:lnTo>
                  <a:pt x="302" y="743"/>
                </a:lnTo>
                <a:lnTo>
                  <a:pt x="304" y="740"/>
                </a:lnTo>
                <a:lnTo>
                  <a:pt x="304" y="740"/>
                </a:lnTo>
                <a:lnTo>
                  <a:pt x="306" y="736"/>
                </a:lnTo>
                <a:lnTo>
                  <a:pt x="308" y="730"/>
                </a:lnTo>
                <a:lnTo>
                  <a:pt x="308" y="730"/>
                </a:lnTo>
                <a:lnTo>
                  <a:pt x="308" y="728"/>
                </a:lnTo>
                <a:lnTo>
                  <a:pt x="306" y="723"/>
                </a:lnTo>
                <a:lnTo>
                  <a:pt x="302" y="712"/>
                </a:lnTo>
                <a:lnTo>
                  <a:pt x="300" y="704"/>
                </a:lnTo>
                <a:lnTo>
                  <a:pt x="298" y="699"/>
                </a:lnTo>
                <a:lnTo>
                  <a:pt x="300" y="693"/>
                </a:lnTo>
                <a:lnTo>
                  <a:pt x="306" y="691"/>
                </a:lnTo>
                <a:lnTo>
                  <a:pt x="306" y="691"/>
                </a:lnTo>
                <a:lnTo>
                  <a:pt x="311" y="689"/>
                </a:lnTo>
                <a:lnTo>
                  <a:pt x="315" y="693"/>
                </a:lnTo>
                <a:lnTo>
                  <a:pt x="323" y="704"/>
                </a:lnTo>
                <a:lnTo>
                  <a:pt x="328" y="710"/>
                </a:lnTo>
                <a:lnTo>
                  <a:pt x="336" y="714"/>
                </a:lnTo>
                <a:lnTo>
                  <a:pt x="347" y="714"/>
                </a:lnTo>
                <a:lnTo>
                  <a:pt x="360" y="710"/>
                </a:lnTo>
                <a:lnTo>
                  <a:pt x="360" y="710"/>
                </a:lnTo>
                <a:lnTo>
                  <a:pt x="374" y="708"/>
                </a:lnTo>
                <a:lnTo>
                  <a:pt x="397" y="706"/>
                </a:lnTo>
                <a:lnTo>
                  <a:pt x="408" y="704"/>
                </a:lnTo>
                <a:lnTo>
                  <a:pt x="415" y="701"/>
                </a:lnTo>
                <a:lnTo>
                  <a:pt x="423" y="697"/>
                </a:lnTo>
                <a:lnTo>
                  <a:pt x="426" y="693"/>
                </a:lnTo>
                <a:lnTo>
                  <a:pt x="426" y="693"/>
                </a:lnTo>
                <a:lnTo>
                  <a:pt x="426" y="691"/>
                </a:lnTo>
                <a:lnTo>
                  <a:pt x="423" y="689"/>
                </a:lnTo>
                <a:lnTo>
                  <a:pt x="417" y="686"/>
                </a:lnTo>
                <a:lnTo>
                  <a:pt x="415" y="686"/>
                </a:lnTo>
                <a:lnTo>
                  <a:pt x="415" y="684"/>
                </a:lnTo>
                <a:lnTo>
                  <a:pt x="425" y="682"/>
                </a:lnTo>
                <a:lnTo>
                  <a:pt x="425" y="682"/>
                </a:lnTo>
                <a:lnTo>
                  <a:pt x="428" y="682"/>
                </a:lnTo>
                <a:lnTo>
                  <a:pt x="432" y="682"/>
                </a:lnTo>
                <a:lnTo>
                  <a:pt x="432" y="682"/>
                </a:lnTo>
                <a:lnTo>
                  <a:pt x="434" y="680"/>
                </a:lnTo>
                <a:lnTo>
                  <a:pt x="432" y="678"/>
                </a:lnTo>
                <a:lnTo>
                  <a:pt x="425" y="676"/>
                </a:lnTo>
                <a:lnTo>
                  <a:pt x="417" y="675"/>
                </a:lnTo>
                <a:lnTo>
                  <a:pt x="415" y="673"/>
                </a:lnTo>
                <a:lnTo>
                  <a:pt x="413" y="671"/>
                </a:lnTo>
                <a:lnTo>
                  <a:pt x="413" y="671"/>
                </a:lnTo>
                <a:lnTo>
                  <a:pt x="415" y="669"/>
                </a:lnTo>
                <a:lnTo>
                  <a:pt x="417" y="669"/>
                </a:lnTo>
                <a:lnTo>
                  <a:pt x="423" y="669"/>
                </a:lnTo>
                <a:lnTo>
                  <a:pt x="434" y="671"/>
                </a:lnTo>
                <a:lnTo>
                  <a:pt x="434" y="671"/>
                </a:lnTo>
                <a:lnTo>
                  <a:pt x="437" y="673"/>
                </a:lnTo>
                <a:lnTo>
                  <a:pt x="441" y="673"/>
                </a:lnTo>
                <a:lnTo>
                  <a:pt x="454" y="671"/>
                </a:lnTo>
                <a:lnTo>
                  <a:pt x="465" y="667"/>
                </a:lnTo>
                <a:lnTo>
                  <a:pt x="471" y="664"/>
                </a:lnTo>
                <a:lnTo>
                  <a:pt x="471" y="664"/>
                </a:lnTo>
                <a:lnTo>
                  <a:pt x="471" y="664"/>
                </a:lnTo>
                <a:lnTo>
                  <a:pt x="469" y="662"/>
                </a:lnTo>
                <a:lnTo>
                  <a:pt x="465" y="664"/>
                </a:lnTo>
                <a:lnTo>
                  <a:pt x="465" y="664"/>
                </a:lnTo>
                <a:lnTo>
                  <a:pt x="460" y="660"/>
                </a:lnTo>
                <a:lnTo>
                  <a:pt x="449" y="654"/>
                </a:lnTo>
                <a:lnTo>
                  <a:pt x="439" y="647"/>
                </a:lnTo>
                <a:lnTo>
                  <a:pt x="437" y="643"/>
                </a:lnTo>
                <a:lnTo>
                  <a:pt x="439" y="639"/>
                </a:lnTo>
                <a:lnTo>
                  <a:pt x="439" y="639"/>
                </a:lnTo>
                <a:lnTo>
                  <a:pt x="445" y="634"/>
                </a:lnTo>
                <a:lnTo>
                  <a:pt x="452" y="628"/>
                </a:lnTo>
                <a:lnTo>
                  <a:pt x="463" y="623"/>
                </a:lnTo>
                <a:lnTo>
                  <a:pt x="478" y="619"/>
                </a:lnTo>
                <a:lnTo>
                  <a:pt x="489" y="617"/>
                </a:lnTo>
                <a:lnTo>
                  <a:pt x="512" y="615"/>
                </a:lnTo>
                <a:lnTo>
                  <a:pt x="521" y="612"/>
                </a:lnTo>
                <a:lnTo>
                  <a:pt x="523" y="610"/>
                </a:lnTo>
                <a:lnTo>
                  <a:pt x="526" y="606"/>
                </a:lnTo>
                <a:lnTo>
                  <a:pt x="526" y="606"/>
                </a:lnTo>
                <a:lnTo>
                  <a:pt x="526" y="606"/>
                </a:lnTo>
                <a:lnTo>
                  <a:pt x="525" y="606"/>
                </a:lnTo>
                <a:lnTo>
                  <a:pt x="521" y="606"/>
                </a:lnTo>
                <a:lnTo>
                  <a:pt x="513" y="608"/>
                </a:lnTo>
                <a:lnTo>
                  <a:pt x="513" y="608"/>
                </a:lnTo>
                <a:lnTo>
                  <a:pt x="508" y="610"/>
                </a:lnTo>
                <a:lnTo>
                  <a:pt x="506" y="608"/>
                </a:lnTo>
                <a:lnTo>
                  <a:pt x="508" y="606"/>
                </a:lnTo>
                <a:lnTo>
                  <a:pt x="508" y="606"/>
                </a:lnTo>
                <a:lnTo>
                  <a:pt x="512" y="604"/>
                </a:lnTo>
                <a:lnTo>
                  <a:pt x="512" y="604"/>
                </a:lnTo>
                <a:lnTo>
                  <a:pt x="506" y="602"/>
                </a:lnTo>
                <a:lnTo>
                  <a:pt x="491" y="602"/>
                </a:lnTo>
                <a:lnTo>
                  <a:pt x="491" y="602"/>
                </a:lnTo>
                <a:lnTo>
                  <a:pt x="482" y="602"/>
                </a:lnTo>
                <a:lnTo>
                  <a:pt x="475" y="602"/>
                </a:lnTo>
                <a:lnTo>
                  <a:pt x="467" y="606"/>
                </a:lnTo>
                <a:lnTo>
                  <a:pt x="462" y="610"/>
                </a:lnTo>
                <a:lnTo>
                  <a:pt x="447" y="617"/>
                </a:lnTo>
                <a:lnTo>
                  <a:pt x="434" y="628"/>
                </a:lnTo>
                <a:lnTo>
                  <a:pt x="434" y="628"/>
                </a:lnTo>
                <a:lnTo>
                  <a:pt x="428" y="628"/>
                </a:lnTo>
                <a:lnTo>
                  <a:pt x="417" y="630"/>
                </a:lnTo>
                <a:lnTo>
                  <a:pt x="408" y="628"/>
                </a:lnTo>
                <a:lnTo>
                  <a:pt x="404" y="628"/>
                </a:lnTo>
                <a:lnTo>
                  <a:pt x="404" y="626"/>
                </a:lnTo>
                <a:lnTo>
                  <a:pt x="404" y="626"/>
                </a:lnTo>
                <a:lnTo>
                  <a:pt x="406" y="621"/>
                </a:lnTo>
                <a:lnTo>
                  <a:pt x="410" y="619"/>
                </a:lnTo>
                <a:lnTo>
                  <a:pt x="423" y="613"/>
                </a:lnTo>
                <a:lnTo>
                  <a:pt x="436" y="612"/>
                </a:lnTo>
                <a:lnTo>
                  <a:pt x="441" y="610"/>
                </a:lnTo>
                <a:lnTo>
                  <a:pt x="443" y="606"/>
                </a:lnTo>
                <a:lnTo>
                  <a:pt x="443" y="606"/>
                </a:lnTo>
                <a:lnTo>
                  <a:pt x="443" y="604"/>
                </a:lnTo>
                <a:lnTo>
                  <a:pt x="441" y="602"/>
                </a:lnTo>
                <a:lnTo>
                  <a:pt x="432" y="604"/>
                </a:lnTo>
                <a:lnTo>
                  <a:pt x="421" y="606"/>
                </a:lnTo>
                <a:lnTo>
                  <a:pt x="417" y="606"/>
                </a:lnTo>
                <a:lnTo>
                  <a:pt x="413" y="604"/>
                </a:lnTo>
                <a:lnTo>
                  <a:pt x="413" y="604"/>
                </a:lnTo>
                <a:lnTo>
                  <a:pt x="413" y="600"/>
                </a:lnTo>
                <a:lnTo>
                  <a:pt x="415" y="597"/>
                </a:lnTo>
                <a:lnTo>
                  <a:pt x="421" y="586"/>
                </a:lnTo>
                <a:lnTo>
                  <a:pt x="432" y="576"/>
                </a:lnTo>
                <a:lnTo>
                  <a:pt x="445" y="565"/>
                </a:lnTo>
                <a:lnTo>
                  <a:pt x="458" y="558"/>
                </a:lnTo>
                <a:lnTo>
                  <a:pt x="471" y="550"/>
                </a:lnTo>
                <a:lnTo>
                  <a:pt x="480" y="550"/>
                </a:lnTo>
                <a:lnTo>
                  <a:pt x="484" y="550"/>
                </a:lnTo>
                <a:lnTo>
                  <a:pt x="486" y="552"/>
                </a:lnTo>
                <a:lnTo>
                  <a:pt x="486" y="552"/>
                </a:lnTo>
                <a:lnTo>
                  <a:pt x="489" y="556"/>
                </a:lnTo>
                <a:lnTo>
                  <a:pt x="495" y="556"/>
                </a:lnTo>
                <a:lnTo>
                  <a:pt x="504" y="556"/>
                </a:lnTo>
                <a:lnTo>
                  <a:pt x="504" y="556"/>
                </a:lnTo>
                <a:lnTo>
                  <a:pt x="504" y="556"/>
                </a:lnTo>
                <a:lnTo>
                  <a:pt x="504" y="556"/>
                </a:lnTo>
                <a:lnTo>
                  <a:pt x="501" y="554"/>
                </a:lnTo>
                <a:lnTo>
                  <a:pt x="497" y="552"/>
                </a:lnTo>
                <a:lnTo>
                  <a:pt x="493" y="550"/>
                </a:lnTo>
                <a:lnTo>
                  <a:pt x="493" y="550"/>
                </a:lnTo>
                <a:lnTo>
                  <a:pt x="488" y="547"/>
                </a:lnTo>
                <a:lnTo>
                  <a:pt x="482" y="545"/>
                </a:lnTo>
                <a:lnTo>
                  <a:pt x="478" y="545"/>
                </a:lnTo>
                <a:lnTo>
                  <a:pt x="476" y="543"/>
                </a:lnTo>
                <a:lnTo>
                  <a:pt x="476" y="543"/>
                </a:lnTo>
                <a:lnTo>
                  <a:pt x="476" y="541"/>
                </a:lnTo>
                <a:lnTo>
                  <a:pt x="478" y="539"/>
                </a:lnTo>
                <a:lnTo>
                  <a:pt x="488" y="539"/>
                </a:lnTo>
                <a:lnTo>
                  <a:pt x="499" y="537"/>
                </a:lnTo>
                <a:lnTo>
                  <a:pt x="502" y="537"/>
                </a:lnTo>
                <a:lnTo>
                  <a:pt x="502" y="534"/>
                </a:lnTo>
                <a:lnTo>
                  <a:pt x="502" y="534"/>
                </a:lnTo>
                <a:lnTo>
                  <a:pt x="501" y="532"/>
                </a:lnTo>
                <a:lnTo>
                  <a:pt x="497" y="530"/>
                </a:lnTo>
                <a:lnTo>
                  <a:pt x="486" y="532"/>
                </a:lnTo>
                <a:lnTo>
                  <a:pt x="471" y="536"/>
                </a:lnTo>
                <a:lnTo>
                  <a:pt x="471" y="536"/>
                </a:lnTo>
                <a:lnTo>
                  <a:pt x="471" y="532"/>
                </a:lnTo>
                <a:lnTo>
                  <a:pt x="469" y="530"/>
                </a:lnTo>
                <a:lnTo>
                  <a:pt x="469" y="532"/>
                </a:lnTo>
                <a:lnTo>
                  <a:pt x="463" y="539"/>
                </a:lnTo>
                <a:lnTo>
                  <a:pt x="463" y="539"/>
                </a:lnTo>
                <a:lnTo>
                  <a:pt x="454" y="549"/>
                </a:lnTo>
                <a:lnTo>
                  <a:pt x="443" y="558"/>
                </a:lnTo>
                <a:lnTo>
                  <a:pt x="430" y="565"/>
                </a:lnTo>
                <a:lnTo>
                  <a:pt x="417" y="569"/>
                </a:lnTo>
                <a:lnTo>
                  <a:pt x="417" y="569"/>
                </a:lnTo>
                <a:lnTo>
                  <a:pt x="415" y="569"/>
                </a:lnTo>
                <a:lnTo>
                  <a:pt x="415" y="567"/>
                </a:lnTo>
                <a:lnTo>
                  <a:pt x="415" y="563"/>
                </a:lnTo>
                <a:lnTo>
                  <a:pt x="417" y="558"/>
                </a:lnTo>
                <a:lnTo>
                  <a:pt x="417" y="556"/>
                </a:lnTo>
                <a:lnTo>
                  <a:pt x="415" y="556"/>
                </a:lnTo>
                <a:lnTo>
                  <a:pt x="415" y="556"/>
                </a:lnTo>
                <a:lnTo>
                  <a:pt x="412" y="558"/>
                </a:lnTo>
                <a:lnTo>
                  <a:pt x="408" y="563"/>
                </a:lnTo>
                <a:lnTo>
                  <a:pt x="400" y="576"/>
                </a:lnTo>
                <a:lnTo>
                  <a:pt x="397" y="588"/>
                </a:lnTo>
                <a:lnTo>
                  <a:pt x="393" y="589"/>
                </a:lnTo>
                <a:lnTo>
                  <a:pt x="391" y="588"/>
                </a:lnTo>
                <a:lnTo>
                  <a:pt x="391" y="588"/>
                </a:lnTo>
                <a:lnTo>
                  <a:pt x="389" y="584"/>
                </a:lnTo>
                <a:lnTo>
                  <a:pt x="384" y="584"/>
                </a:lnTo>
                <a:lnTo>
                  <a:pt x="380" y="582"/>
                </a:lnTo>
                <a:lnTo>
                  <a:pt x="378" y="578"/>
                </a:lnTo>
                <a:lnTo>
                  <a:pt x="378" y="578"/>
                </a:lnTo>
                <a:lnTo>
                  <a:pt x="380" y="571"/>
                </a:lnTo>
                <a:lnTo>
                  <a:pt x="382" y="563"/>
                </a:lnTo>
                <a:lnTo>
                  <a:pt x="384" y="558"/>
                </a:lnTo>
                <a:lnTo>
                  <a:pt x="382" y="556"/>
                </a:lnTo>
                <a:lnTo>
                  <a:pt x="380" y="554"/>
                </a:lnTo>
                <a:lnTo>
                  <a:pt x="380" y="554"/>
                </a:lnTo>
                <a:lnTo>
                  <a:pt x="376" y="554"/>
                </a:lnTo>
                <a:lnTo>
                  <a:pt x="373" y="554"/>
                </a:lnTo>
                <a:lnTo>
                  <a:pt x="367" y="558"/>
                </a:lnTo>
                <a:lnTo>
                  <a:pt x="365" y="558"/>
                </a:lnTo>
                <a:lnTo>
                  <a:pt x="363" y="558"/>
                </a:lnTo>
                <a:lnTo>
                  <a:pt x="361" y="554"/>
                </a:lnTo>
                <a:lnTo>
                  <a:pt x="361" y="549"/>
                </a:lnTo>
                <a:lnTo>
                  <a:pt x="361" y="549"/>
                </a:lnTo>
                <a:lnTo>
                  <a:pt x="363" y="545"/>
                </a:lnTo>
                <a:lnTo>
                  <a:pt x="363" y="543"/>
                </a:lnTo>
                <a:lnTo>
                  <a:pt x="363" y="543"/>
                </a:lnTo>
                <a:lnTo>
                  <a:pt x="363" y="543"/>
                </a:lnTo>
                <a:lnTo>
                  <a:pt x="361" y="541"/>
                </a:lnTo>
                <a:lnTo>
                  <a:pt x="358" y="541"/>
                </a:lnTo>
                <a:lnTo>
                  <a:pt x="358" y="541"/>
                </a:lnTo>
                <a:lnTo>
                  <a:pt x="352" y="536"/>
                </a:lnTo>
                <a:lnTo>
                  <a:pt x="348" y="530"/>
                </a:lnTo>
                <a:lnTo>
                  <a:pt x="348" y="530"/>
                </a:lnTo>
                <a:lnTo>
                  <a:pt x="348" y="528"/>
                </a:lnTo>
                <a:lnTo>
                  <a:pt x="350" y="528"/>
                </a:lnTo>
                <a:lnTo>
                  <a:pt x="354" y="530"/>
                </a:lnTo>
                <a:lnTo>
                  <a:pt x="358" y="532"/>
                </a:lnTo>
                <a:lnTo>
                  <a:pt x="363" y="534"/>
                </a:lnTo>
                <a:lnTo>
                  <a:pt x="363" y="534"/>
                </a:lnTo>
                <a:lnTo>
                  <a:pt x="367" y="530"/>
                </a:lnTo>
                <a:lnTo>
                  <a:pt x="369" y="528"/>
                </a:lnTo>
                <a:lnTo>
                  <a:pt x="371" y="524"/>
                </a:lnTo>
                <a:lnTo>
                  <a:pt x="374" y="521"/>
                </a:lnTo>
                <a:lnTo>
                  <a:pt x="374" y="521"/>
                </a:lnTo>
                <a:lnTo>
                  <a:pt x="384" y="515"/>
                </a:lnTo>
                <a:lnTo>
                  <a:pt x="389" y="511"/>
                </a:lnTo>
                <a:lnTo>
                  <a:pt x="389" y="510"/>
                </a:lnTo>
                <a:lnTo>
                  <a:pt x="389" y="510"/>
                </a:lnTo>
                <a:lnTo>
                  <a:pt x="389" y="510"/>
                </a:lnTo>
                <a:lnTo>
                  <a:pt x="386" y="510"/>
                </a:lnTo>
                <a:lnTo>
                  <a:pt x="382" y="510"/>
                </a:lnTo>
                <a:lnTo>
                  <a:pt x="373" y="515"/>
                </a:lnTo>
                <a:lnTo>
                  <a:pt x="363" y="521"/>
                </a:lnTo>
                <a:lnTo>
                  <a:pt x="360" y="523"/>
                </a:lnTo>
                <a:lnTo>
                  <a:pt x="358" y="523"/>
                </a:lnTo>
                <a:lnTo>
                  <a:pt x="358" y="523"/>
                </a:lnTo>
                <a:lnTo>
                  <a:pt x="358" y="521"/>
                </a:lnTo>
                <a:lnTo>
                  <a:pt x="358" y="519"/>
                </a:lnTo>
                <a:lnTo>
                  <a:pt x="361" y="513"/>
                </a:lnTo>
                <a:lnTo>
                  <a:pt x="367" y="508"/>
                </a:lnTo>
                <a:lnTo>
                  <a:pt x="367" y="506"/>
                </a:lnTo>
                <a:lnTo>
                  <a:pt x="367" y="502"/>
                </a:lnTo>
                <a:lnTo>
                  <a:pt x="367" y="502"/>
                </a:lnTo>
                <a:lnTo>
                  <a:pt x="361" y="499"/>
                </a:lnTo>
                <a:lnTo>
                  <a:pt x="350" y="493"/>
                </a:lnTo>
                <a:lnTo>
                  <a:pt x="339" y="491"/>
                </a:lnTo>
                <a:lnTo>
                  <a:pt x="332" y="491"/>
                </a:lnTo>
                <a:lnTo>
                  <a:pt x="328" y="493"/>
                </a:lnTo>
                <a:lnTo>
                  <a:pt x="328" y="493"/>
                </a:lnTo>
                <a:lnTo>
                  <a:pt x="319" y="495"/>
                </a:lnTo>
                <a:lnTo>
                  <a:pt x="313" y="497"/>
                </a:lnTo>
                <a:lnTo>
                  <a:pt x="313" y="497"/>
                </a:lnTo>
                <a:lnTo>
                  <a:pt x="308" y="495"/>
                </a:lnTo>
                <a:lnTo>
                  <a:pt x="304" y="489"/>
                </a:lnTo>
                <a:lnTo>
                  <a:pt x="298" y="487"/>
                </a:lnTo>
                <a:lnTo>
                  <a:pt x="297" y="487"/>
                </a:lnTo>
                <a:lnTo>
                  <a:pt x="295" y="491"/>
                </a:lnTo>
                <a:lnTo>
                  <a:pt x="295" y="491"/>
                </a:lnTo>
                <a:lnTo>
                  <a:pt x="297" y="493"/>
                </a:lnTo>
                <a:lnTo>
                  <a:pt x="298" y="495"/>
                </a:lnTo>
                <a:lnTo>
                  <a:pt x="300" y="497"/>
                </a:lnTo>
                <a:lnTo>
                  <a:pt x="300" y="499"/>
                </a:lnTo>
                <a:lnTo>
                  <a:pt x="300" y="499"/>
                </a:lnTo>
                <a:lnTo>
                  <a:pt x="297" y="499"/>
                </a:lnTo>
                <a:lnTo>
                  <a:pt x="287" y="497"/>
                </a:lnTo>
                <a:lnTo>
                  <a:pt x="260" y="491"/>
                </a:lnTo>
                <a:lnTo>
                  <a:pt x="228" y="486"/>
                </a:lnTo>
                <a:lnTo>
                  <a:pt x="215" y="484"/>
                </a:lnTo>
                <a:lnTo>
                  <a:pt x="206" y="484"/>
                </a:lnTo>
                <a:lnTo>
                  <a:pt x="206" y="484"/>
                </a:lnTo>
                <a:lnTo>
                  <a:pt x="189" y="486"/>
                </a:lnTo>
                <a:lnTo>
                  <a:pt x="178" y="489"/>
                </a:lnTo>
                <a:lnTo>
                  <a:pt x="169" y="493"/>
                </a:lnTo>
                <a:lnTo>
                  <a:pt x="159" y="499"/>
                </a:lnTo>
                <a:lnTo>
                  <a:pt x="152" y="502"/>
                </a:lnTo>
                <a:lnTo>
                  <a:pt x="143" y="508"/>
                </a:lnTo>
                <a:lnTo>
                  <a:pt x="132" y="510"/>
                </a:lnTo>
                <a:lnTo>
                  <a:pt x="119" y="511"/>
                </a:lnTo>
                <a:lnTo>
                  <a:pt x="119" y="511"/>
                </a:lnTo>
                <a:lnTo>
                  <a:pt x="113" y="510"/>
                </a:lnTo>
                <a:lnTo>
                  <a:pt x="108" y="506"/>
                </a:lnTo>
                <a:lnTo>
                  <a:pt x="93" y="493"/>
                </a:lnTo>
                <a:lnTo>
                  <a:pt x="87" y="486"/>
                </a:lnTo>
                <a:lnTo>
                  <a:pt x="82" y="478"/>
                </a:lnTo>
                <a:lnTo>
                  <a:pt x="80" y="471"/>
                </a:lnTo>
                <a:lnTo>
                  <a:pt x="80" y="465"/>
                </a:lnTo>
                <a:lnTo>
                  <a:pt x="80" y="465"/>
                </a:lnTo>
                <a:lnTo>
                  <a:pt x="87" y="460"/>
                </a:lnTo>
                <a:lnTo>
                  <a:pt x="95" y="456"/>
                </a:lnTo>
                <a:lnTo>
                  <a:pt x="104" y="456"/>
                </a:lnTo>
                <a:lnTo>
                  <a:pt x="113" y="458"/>
                </a:lnTo>
                <a:lnTo>
                  <a:pt x="132" y="463"/>
                </a:lnTo>
                <a:lnTo>
                  <a:pt x="141" y="465"/>
                </a:lnTo>
                <a:lnTo>
                  <a:pt x="148" y="465"/>
                </a:lnTo>
                <a:lnTo>
                  <a:pt x="148" y="465"/>
                </a:lnTo>
                <a:lnTo>
                  <a:pt x="156" y="461"/>
                </a:lnTo>
                <a:lnTo>
                  <a:pt x="165" y="458"/>
                </a:lnTo>
                <a:lnTo>
                  <a:pt x="182" y="450"/>
                </a:lnTo>
                <a:lnTo>
                  <a:pt x="189" y="447"/>
                </a:lnTo>
                <a:lnTo>
                  <a:pt x="196" y="445"/>
                </a:lnTo>
                <a:lnTo>
                  <a:pt x="202" y="447"/>
                </a:lnTo>
                <a:lnTo>
                  <a:pt x="206" y="450"/>
                </a:lnTo>
                <a:lnTo>
                  <a:pt x="206" y="450"/>
                </a:lnTo>
                <a:lnTo>
                  <a:pt x="209" y="456"/>
                </a:lnTo>
                <a:lnTo>
                  <a:pt x="213" y="458"/>
                </a:lnTo>
                <a:lnTo>
                  <a:pt x="215" y="458"/>
                </a:lnTo>
                <a:lnTo>
                  <a:pt x="217" y="454"/>
                </a:lnTo>
                <a:lnTo>
                  <a:pt x="217" y="454"/>
                </a:lnTo>
                <a:lnTo>
                  <a:pt x="217" y="439"/>
                </a:lnTo>
                <a:lnTo>
                  <a:pt x="217" y="435"/>
                </a:lnTo>
                <a:lnTo>
                  <a:pt x="219" y="432"/>
                </a:lnTo>
                <a:lnTo>
                  <a:pt x="221" y="430"/>
                </a:lnTo>
                <a:lnTo>
                  <a:pt x="226" y="430"/>
                </a:lnTo>
                <a:lnTo>
                  <a:pt x="226" y="430"/>
                </a:lnTo>
                <a:lnTo>
                  <a:pt x="235" y="432"/>
                </a:lnTo>
                <a:lnTo>
                  <a:pt x="241" y="434"/>
                </a:lnTo>
                <a:lnTo>
                  <a:pt x="241" y="434"/>
                </a:lnTo>
                <a:lnTo>
                  <a:pt x="237" y="439"/>
                </a:lnTo>
                <a:lnTo>
                  <a:pt x="232" y="447"/>
                </a:lnTo>
                <a:lnTo>
                  <a:pt x="230" y="450"/>
                </a:lnTo>
                <a:lnTo>
                  <a:pt x="230" y="454"/>
                </a:lnTo>
                <a:lnTo>
                  <a:pt x="232" y="456"/>
                </a:lnTo>
                <a:lnTo>
                  <a:pt x="237" y="458"/>
                </a:lnTo>
                <a:lnTo>
                  <a:pt x="237" y="458"/>
                </a:lnTo>
                <a:lnTo>
                  <a:pt x="241" y="458"/>
                </a:lnTo>
                <a:lnTo>
                  <a:pt x="243" y="456"/>
                </a:lnTo>
                <a:lnTo>
                  <a:pt x="245" y="448"/>
                </a:lnTo>
                <a:lnTo>
                  <a:pt x="248" y="441"/>
                </a:lnTo>
                <a:lnTo>
                  <a:pt x="250" y="434"/>
                </a:lnTo>
                <a:lnTo>
                  <a:pt x="250" y="434"/>
                </a:lnTo>
                <a:lnTo>
                  <a:pt x="254" y="432"/>
                </a:lnTo>
                <a:lnTo>
                  <a:pt x="256" y="432"/>
                </a:lnTo>
                <a:lnTo>
                  <a:pt x="263" y="432"/>
                </a:lnTo>
                <a:lnTo>
                  <a:pt x="272" y="434"/>
                </a:lnTo>
                <a:lnTo>
                  <a:pt x="280" y="432"/>
                </a:lnTo>
                <a:lnTo>
                  <a:pt x="280" y="432"/>
                </a:lnTo>
                <a:lnTo>
                  <a:pt x="282" y="432"/>
                </a:lnTo>
                <a:lnTo>
                  <a:pt x="282" y="428"/>
                </a:lnTo>
                <a:lnTo>
                  <a:pt x="284" y="421"/>
                </a:lnTo>
                <a:lnTo>
                  <a:pt x="285" y="417"/>
                </a:lnTo>
                <a:lnTo>
                  <a:pt x="289" y="415"/>
                </a:lnTo>
                <a:lnTo>
                  <a:pt x="293" y="413"/>
                </a:lnTo>
                <a:lnTo>
                  <a:pt x="300" y="413"/>
                </a:lnTo>
                <a:lnTo>
                  <a:pt x="300" y="413"/>
                </a:lnTo>
                <a:lnTo>
                  <a:pt x="302" y="419"/>
                </a:lnTo>
                <a:lnTo>
                  <a:pt x="304" y="428"/>
                </a:lnTo>
                <a:lnTo>
                  <a:pt x="306" y="434"/>
                </a:lnTo>
                <a:lnTo>
                  <a:pt x="310" y="437"/>
                </a:lnTo>
                <a:lnTo>
                  <a:pt x="315" y="441"/>
                </a:lnTo>
                <a:lnTo>
                  <a:pt x="324" y="441"/>
                </a:lnTo>
                <a:lnTo>
                  <a:pt x="324" y="441"/>
                </a:lnTo>
                <a:lnTo>
                  <a:pt x="326" y="441"/>
                </a:lnTo>
                <a:lnTo>
                  <a:pt x="326" y="439"/>
                </a:lnTo>
                <a:lnTo>
                  <a:pt x="326" y="434"/>
                </a:lnTo>
                <a:lnTo>
                  <a:pt x="324" y="426"/>
                </a:lnTo>
                <a:lnTo>
                  <a:pt x="326" y="424"/>
                </a:lnTo>
                <a:lnTo>
                  <a:pt x="328" y="423"/>
                </a:lnTo>
                <a:lnTo>
                  <a:pt x="328" y="423"/>
                </a:lnTo>
                <a:lnTo>
                  <a:pt x="339" y="421"/>
                </a:lnTo>
                <a:lnTo>
                  <a:pt x="356" y="421"/>
                </a:lnTo>
                <a:lnTo>
                  <a:pt x="397" y="424"/>
                </a:lnTo>
                <a:lnTo>
                  <a:pt x="436" y="426"/>
                </a:lnTo>
                <a:lnTo>
                  <a:pt x="449" y="426"/>
                </a:lnTo>
                <a:lnTo>
                  <a:pt x="452" y="426"/>
                </a:lnTo>
                <a:lnTo>
                  <a:pt x="454" y="424"/>
                </a:lnTo>
                <a:lnTo>
                  <a:pt x="454" y="424"/>
                </a:lnTo>
                <a:lnTo>
                  <a:pt x="454" y="417"/>
                </a:lnTo>
                <a:lnTo>
                  <a:pt x="456" y="406"/>
                </a:lnTo>
                <a:lnTo>
                  <a:pt x="456" y="406"/>
                </a:lnTo>
                <a:lnTo>
                  <a:pt x="460" y="391"/>
                </a:lnTo>
                <a:lnTo>
                  <a:pt x="460" y="384"/>
                </a:lnTo>
                <a:lnTo>
                  <a:pt x="458" y="382"/>
                </a:lnTo>
                <a:lnTo>
                  <a:pt x="456" y="382"/>
                </a:lnTo>
                <a:lnTo>
                  <a:pt x="450" y="384"/>
                </a:lnTo>
                <a:lnTo>
                  <a:pt x="432" y="395"/>
                </a:lnTo>
                <a:lnTo>
                  <a:pt x="421" y="400"/>
                </a:lnTo>
                <a:lnTo>
                  <a:pt x="410" y="406"/>
                </a:lnTo>
                <a:lnTo>
                  <a:pt x="410" y="406"/>
                </a:lnTo>
                <a:lnTo>
                  <a:pt x="402" y="406"/>
                </a:lnTo>
                <a:lnTo>
                  <a:pt x="393" y="406"/>
                </a:lnTo>
                <a:lnTo>
                  <a:pt x="373" y="400"/>
                </a:lnTo>
                <a:lnTo>
                  <a:pt x="354" y="395"/>
                </a:lnTo>
                <a:lnTo>
                  <a:pt x="339" y="391"/>
                </a:lnTo>
                <a:lnTo>
                  <a:pt x="339" y="391"/>
                </a:lnTo>
                <a:lnTo>
                  <a:pt x="332" y="391"/>
                </a:lnTo>
                <a:lnTo>
                  <a:pt x="328" y="389"/>
                </a:lnTo>
                <a:lnTo>
                  <a:pt x="328" y="387"/>
                </a:lnTo>
                <a:lnTo>
                  <a:pt x="328" y="387"/>
                </a:lnTo>
                <a:lnTo>
                  <a:pt x="328" y="387"/>
                </a:lnTo>
                <a:lnTo>
                  <a:pt x="330" y="382"/>
                </a:lnTo>
                <a:lnTo>
                  <a:pt x="330" y="382"/>
                </a:lnTo>
                <a:lnTo>
                  <a:pt x="339" y="371"/>
                </a:lnTo>
                <a:lnTo>
                  <a:pt x="354" y="361"/>
                </a:lnTo>
                <a:lnTo>
                  <a:pt x="369" y="350"/>
                </a:lnTo>
                <a:lnTo>
                  <a:pt x="386" y="341"/>
                </a:lnTo>
                <a:lnTo>
                  <a:pt x="421" y="326"/>
                </a:lnTo>
                <a:lnTo>
                  <a:pt x="436" y="321"/>
                </a:lnTo>
                <a:lnTo>
                  <a:pt x="449" y="319"/>
                </a:lnTo>
                <a:lnTo>
                  <a:pt x="449" y="319"/>
                </a:lnTo>
                <a:lnTo>
                  <a:pt x="460" y="315"/>
                </a:lnTo>
                <a:lnTo>
                  <a:pt x="467" y="311"/>
                </a:lnTo>
                <a:lnTo>
                  <a:pt x="471" y="308"/>
                </a:lnTo>
                <a:lnTo>
                  <a:pt x="471" y="308"/>
                </a:lnTo>
                <a:lnTo>
                  <a:pt x="469" y="308"/>
                </a:lnTo>
                <a:lnTo>
                  <a:pt x="465" y="309"/>
                </a:lnTo>
                <a:lnTo>
                  <a:pt x="460" y="311"/>
                </a:lnTo>
                <a:lnTo>
                  <a:pt x="460" y="311"/>
                </a:lnTo>
                <a:lnTo>
                  <a:pt x="452" y="311"/>
                </a:lnTo>
                <a:lnTo>
                  <a:pt x="443" y="313"/>
                </a:lnTo>
                <a:lnTo>
                  <a:pt x="425" y="311"/>
                </a:lnTo>
                <a:lnTo>
                  <a:pt x="425" y="311"/>
                </a:lnTo>
                <a:lnTo>
                  <a:pt x="425" y="311"/>
                </a:lnTo>
                <a:lnTo>
                  <a:pt x="425" y="311"/>
                </a:lnTo>
                <a:lnTo>
                  <a:pt x="426" y="308"/>
                </a:lnTo>
                <a:lnTo>
                  <a:pt x="428" y="304"/>
                </a:lnTo>
                <a:lnTo>
                  <a:pt x="428" y="302"/>
                </a:lnTo>
                <a:lnTo>
                  <a:pt x="428" y="302"/>
                </a:lnTo>
                <a:lnTo>
                  <a:pt x="425" y="302"/>
                </a:lnTo>
                <a:lnTo>
                  <a:pt x="419" y="302"/>
                </a:lnTo>
                <a:lnTo>
                  <a:pt x="413" y="302"/>
                </a:lnTo>
                <a:lnTo>
                  <a:pt x="410" y="302"/>
                </a:lnTo>
                <a:lnTo>
                  <a:pt x="410" y="300"/>
                </a:lnTo>
                <a:lnTo>
                  <a:pt x="410" y="300"/>
                </a:lnTo>
                <a:lnTo>
                  <a:pt x="406" y="293"/>
                </a:lnTo>
                <a:lnTo>
                  <a:pt x="404" y="289"/>
                </a:lnTo>
                <a:lnTo>
                  <a:pt x="402" y="287"/>
                </a:lnTo>
                <a:lnTo>
                  <a:pt x="402" y="287"/>
                </a:lnTo>
                <a:lnTo>
                  <a:pt x="400" y="289"/>
                </a:lnTo>
                <a:lnTo>
                  <a:pt x="399" y="295"/>
                </a:lnTo>
                <a:lnTo>
                  <a:pt x="393" y="300"/>
                </a:lnTo>
                <a:lnTo>
                  <a:pt x="387" y="308"/>
                </a:lnTo>
                <a:lnTo>
                  <a:pt x="382" y="313"/>
                </a:lnTo>
                <a:lnTo>
                  <a:pt x="378" y="313"/>
                </a:lnTo>
                <a:lnTo>
                  <a:pt x="374" y="315"/>
                </a:lnTo>
                <a:lnTo>
                  <a:pt x="371" y="313"/>
                </a:lnTo>
                <a:lnTo>
                  <a:pt x="367" y="311"/>
                </a:lnTo>
                <a:lnTo>
                  <a:pt x="361" y="306"/>
                </a:lnTo>
                <a:lnTo>
                  <a:pt x="358" y="300"/>
                </a:lnTo>
                <a:lnTo>
                  <a:pt x="358" y="300"/>
                </a:lnTo>
                <a:lnTo>
                  <a:pt x="358" y="300"/>
                </a:lnTo>
                <a:lnTo>
                  <a:pt x="358" y="298"/>
                </a:lnTo>
                <a:lnTo>
                  <a:pt x="365" y="295"/>
                </a:lnTo>
                <a:lnTo>
                  <a:pt x="384" y="285"/>
                </a:lnTo>
                <a:lnTo>
                  <a:pt x="400" y="276"/>
                </a:lnTo>
                <a:lnTo>
                  <a:pt x="404" y="270"/>
                </a:lnTo>
                <a:lnTo>
                  <a:pt x="404" y="269"/>
                </a:lnTo>
                <a:lnTo>
                  <a:pt x="402" y="267"/>
                </a:lnTo>
                <a:lnTo>
                  <a:pt x="402" y="267"/>
                </a:lnTo>
                <a:lnTo>
                  <a:pt x="399" y="267"/>
                </a:lnTo>
                <a:lnTo>
                  <a:pt x="395" y="269"/>
                </a:lnTo>
                <a:lnTo>
                  <a:pt x="389" y="276"/>
                </a:lnTo>
                <a:lnTo>
                  <a:pt x="389" y="276"/>
                </a:lnTo>
                <a:lnTo>
                  <a:pt x="384" y="282"/>
                </a:lnTo>
                <a:lnTo>
                  <a:pt x="378" y="283"/>
                </a:lnTo>
                <a:lnTo>
                  <a:pt x="378" y="283"/>
                </a:lnTo>
                <a:lnTo>
                  <a:pt x="373" y="285"/>
                </a:lnTo>
                <a:lnTo>
                  <a:pt x="369" y="285"/>
                </a:lnTo>
                <a:lnTo>
                  <a:pt x="369" y="283"/>
                </a:lnTo>
                <a:lnTo>
                  <a:pt x="367" y="282"/>
                </a:lnTo>
                <a:lnTo>
                  <a:pt x="367" y="280"/>
                </a:lnTo>
                <a:lnTo>
                  <a:pt x="363" y="278"/>
                </a:lnTo>
                <a:lnTo>
                  <a:pt x="360" y="278"/>
                </a:lnTo>
                <a:lnTo>
                  <a:pt x="352" y="282"/>
                </a:lnTo>
                <a:lnTo>
                  <a:pt x="352" y="282"/>
                </a:lnTo>
                <a:lnTo>
                  <a:pt x="350" y="289"/>
                </a:lnTo>
                <a:lnTo>
                  <a:pt x="347" y="293"/>
                </a:lnTo>
                <a:lnTo>
                  <a:pt x="343" y="295"/>
                </a:lnTo>
                <a:lnTo>
                  <a:pt x="339" y="293"/>
                </a:lnTo>
                <a:lnTo>
                  <a:pt x="339" y="293"/>
                </a:lnTo>
                <a:lnTo>
                  <a:pt x="337" y="287"/>
                </a:lnTo>
                <a:lnTo>
                  <a:pt x="337" y="274"/>
                </a:lnTo>
                <a:lnTo>
                  <a:pt x="334" y="261"/>
                </a:lnTo>
                <a:lnTo>
                  <a:pt x="332" y="258"/>
                </a:lnTo>
                <a:lnTo>
                  <a:pt x="328" y="258"/>
                </a:lnTo>
                <a:lnTo>
                  <a:pt x="328" y="258"/>
                </a:lnTo>
                <a:lnTo>
                  <a:pt x="328" y="261"/>
                </a:lnTo>
                <a:lnTo>
                  <a:pt x="328" y="269"/>
                </a:lnTo>
                <a:lnTo>
                  <a:pt x="328" y="269"/>
                </a:lnTo>
                <a:lnTo>
                  <a:pt x="330" y="272"/>
                </a:lnTo>
                <a:lnTo>
                  <a:pt x="328" y="276"/>
                </a:lnTo>
                <a:lnTo>
                  <a:pt x="324" y="282"/>
                </a:lnTo>
                <a:lnTo>
                  <a:pt x="321" y="283"/>
                </a:lnTo>
                <a:lnTo>
                  <a:pt x="315" y="285"/>
                </a:lnTo>
                <a:lnTo>
                  <a:pt x="315" y="285"/>
                </a:lnTo>
                <a:lnTo>
                  <a:pt x="310" y="285"/>
                </a:lnTo>
                <a:lnTo>
                  <a:pt x="308" y="280"/>
                </a:lnTo>
                <a:lnTo>
                  <a:pt x="306" y="274"/>
                </a:lnTo>
                <a:lnTo>
                  <a:pt x="306" y="267"/>
                </a:lnTo>
                <a:lnTo>
                  <a:pt x="306" y="261"/>
                </a:lnTo>
                <a:lnTo>
                  <a:pt x="304" y="258"/>
                </a:lnTo>
                <a:lnTo>
                  <a:pt x="304" y="256"/>
                </a:lnTo>
                <a:lnTo>
                  <a:pt x="300" y="256"/>
                </a:lnTo>
                <a:lnTo>
                  <a:pt x="295" y="259"/>
                </a:lnTo>
                <a:lnTo>
                  <a:pt x="295" y="259"/>
                </a:lnTo>
                <a:lnTo>
                  <a:pt x="295" y="261"/>
                </a:lnTo>
                <a:lnTo>
                  <a:pt x="295" y="265"/>
                </a:lnTo>
                <a:lnTo>
                  <a:pt x="298" y="276"/>
                </a:lnTo>
                <a:lnTo>
                  <a:pt x="302" y="289"/>
                </a:lnTo>
                <a:lnTo>
                  <a:pt x="302" y="293"/>
                </a:lnTo>
                <a:lnTo>
                  <a:pt x="300" y="295"/>
                </a:lnTo>
                <a:lnTo>
                  <a:pt x="300" y="295"/>
                </a:lnTo>
                <a:lnTo>
                  <a:pt x="295" y="293"/>
                </a:lnTo>
                <a:lnTo>
                  <a:pt x="287" y="289"/>
                </a:lnTo>
                <a:lnTo>
                  <a:pt x="274" y="283"/>
                </a:lnTo>
                <a:lnTo>
                  <a:pt x="274" y="283"/>
                </a:lnTo>
                <a:lnTo>
                  <a:pt x="276" y="280"/>
                </a:lnTo>
                <a:lnTo>
                  <a:pt x="282" y="276"/>
                </a:lnTo>
                <a:lnTo>
                  <a:pt x="287" y="270"/>
                </a:lnTo>
                <a:lnTo>
                  <a:pt x="289" y="269"/>
                </a:lnTo>
                <a:lnTo>
                  <a:pt x="289" y="267"/>
                </a:lnTo>
                <a:lnTo>
                  <a:pt x="289" y="267"/>
                </a:lnTo>
                <a:lnTo>
                  <a:pt x="285" y="263"/>
                </a:lnTo>
                <a:lnTo>
                  <a:pt x="280" y="263"/>
                </a:lnTo>
                <a:lnTo>
                  <a:pt x="274" y="267"/>
                </a:lnTo>
                <a:lnTo>
                  <a:pt x="271" y="269"/>
                </a:lnTo>
                <a:lnTo>
                  <a:pt x="261" y="278"/>
                </a:lnTo>
                <a:lnTo>
                  <a:pt x="252" y="283"/>
                </a:lnTo>
                <a:lnTo>
                  <a:pt x="252" y="283"/>
                </a:lnTo>
                <a:lnTo>
                  <a:pt x="248" y="283"/>
                </a:lnTo>
                <a:lnTo>
                  <a:pt x="247" y="282"/>
                </a:lnTo>
                <a:lnTo>
                  <a:pt x="239" y="276"/>
                </a:lnTo>
                <a:lnTo>
                  <a:pt x="232" y="272"/>
                </a:lnTo>
                <a:lnTo>
                  <a:pt x="230" y="270"/>
                </a:lnTo>
                <a:lnTo>
                  <a:pt x="226" y="272"/>
                </a:lnTo>
                <a:lnTo>
                  <a:pt x="226" y="272"/>
                </a:lnTo>
                <a:lnTo>
                  <a:pt x="224" y="274"/>
                </a:lnTo>
                <a:lnTo>
                  <a:pt x="222" y="278"/>
                </a:lnTo>
                <a:lnTo>
                  <a:pt x="222" y="282"/>
                </a:lnTo>
                <a:lnTo>
                  <a:pt x="224" y="287"/>
                </a:lnTo>
                <a:lnTo>
                  <a:pt x="224" y="291"/>
                </a:lnTo>
                <a:lnTo>
                  <a:pt x="224" y="291"/>
                </a:lnTo>
                <a:lnTo>
                  <a:pt x="221" y="296"/>
                </a:lnTo>
                <a:lnTo>
                  <a:pt x="217" y="298"/>
                </a:lnTo>
                <a:lnTo>
                  <a:pt x="209" y="298"/>
                </a:lnTo>
                <a:lnTo>
                  <a:pt x="204" y="296"/>
                </a:lnTo>
                <a:lnTo>
                  <a:pt x="193" y="291"/>
                </a:lnTo>
                <a:lnTo>
                  <a:pt x="189" y="289"/>
                </a:lnTo>
                <a:lnTo>
                  <a:pt x="189" y="289"/>
                </a:lnTo>
                <a:lnTo>
                  <a:pt x="174" y="298"/>
                </a:lnTo>
                <a:lnTo>
                  <a:pt x="152" y="309"/>
                </a:lnTo>
                <a:lnTo>
                  <a:pt x="128" y="319"/>
                </a:lnTo>
                <a:lnTo>
                  <a:pt x="117" y="321"/>
                </a:lnTo>
                <a:lnTo>
                  <a:pt x="108" y="321"/>
                </a:lnTo>
                <a:lnTo>
                  <a:pt x="108" y="321"/>
                </a:lnTo>
                <a:lnTo>
                  <a:pt x="102" y="321"/>
                </a:lnTo>
                <a:lnTo>
                  <a:pt x="96" y="319"/>
                </a:lnTo>
                <a:lnTo>
                  <a:pt x="91" y="313"/>
                </a:lnTo>
                <a:lnTo>
                  <a:pt x="89" y="308"/>
                </a:lnTo>
                <a:lnTo>
                  <a:pt x="87" y="304"/>
                </a:lnTo>
                <a:lnTo>
                  <a:pt x="87" y="304"/>
                </a:lnTo>
                <a:lnTo>
                  <a:pt x="70" y="298"/>
                </a:lnTo>
                <a:lnTo>
                  <a:pt x="70" y="298"/>
                </a:lnTo>
                <a:lnTo>
                  <a:pt x="56" y="298"/>
                </a:lnTo>
                <a:lnTo>
                  <a:pt x="33" y="298"/>
                </a:lnTo>
                <a:lnTo>
                  <a:pt x="11" y="296"/>
                </a:lnTo>
                <a:lnTo>
                  <a:pt x="4" y="296"/>
                </a:lnTo>
                <a:lnTo>
                  <a:pt x="0" y="295"/>
                </a:lnTo>
                <a:lnTo>
                  <a:pt x="0" y="295"/>
                </a:lnTo>
                <a:lnTo>
                  <a:pt x="2" y="293"/>
                </a:lnTo>
                <a:lnTo>
                  <a:pt x="4" y="291"/>
                </a:lnTo>
                <a:lnTo>
                  <a:pt x="13" y="285"/>
                </a:lnTo>
                <a:lnTo>
                  <a:pt x="28" y="278"/>
                </a:lnTo>
                <a:lnTo>
                  <a:pt x="28" y="278"/>
                </a:lnTo>
                <a:lnTo>
                  <a:pt x="30" y="276"/>
                </a:lnTo>
                <a:lnTo>
                  <a:pt x="30" y="274"/>
                </a:lnTo>
                <a:lnTo>
                  <a:pt x="30" y="267"/>
                </a:lnTo>
                <a:lnTo>
                  <a:pt x="32" y="261"/>
                </a:lnTo>
                <a:lnTo>
                  <a:pt x="33" y="258"/>
                </a:lnTo>
                <a:lnTo>
                  <a:pt x="37" y="256"/>
                </a:lnTo>
                <a:lnTo>
                  <a:pt x="37" y="256"/>
                </a:lnTo>
                <a:lnTo>
                  <a:pt x="41" y="254"/>
                </a:lnTo>
                <a:lnTo>
                  <a:pt x="44" y="254"/>
                </a:lnTo>
                <a:lnTo>
                  <a:pt x="56" y="258"/>
                </a:lnTo>
                <a:lnTo>
                  <a:pt x="67" y="265"/>
                </a:lnTo>
                <a:lnTo>
                  <a:pt x="80" y="274"/>
                </a:lnTo>
                <a:lnTo>
                  <a:pt x="93" y="282"/>
                </a:lnTo>
                <a:lnTo>
                  <a:pt x="106" y="287"/>
                </a:lnTo>
                <a:lnTo>
                  <a:pt x="111" y="289"/>
                </a:lnTo>
                <a:lnTo>
                  <a:pt x="115" y="289"/>
                </a:lnTo>
                <a:lnTo>
                  <a:pt x="119" y="289"/>
                </a:lnTo>
                <a:lnTo>
                  <a:pt x="122" y="285"/>
                </a:lnTo>
                <a:lnTo>
                  <a:pt x="122" y="285"/>
                </a:lnTo>
                <a:lnTo>
                  <a:pt x="120" y="285"/>
                </a:lnTo>
                <a:lnTo>
                  <a:pt x="119" y="285"/>
                </a:lnTo>
                <a:lnTo>
                  <a:pt x="119" y="285"/>
                </a:lnTo>
                <a:lnTo>
                  <a:pt x="109" y="280"/>
                </a:lnTo>
                <a:lnTo>
                  <a:pt x="95" y="272"/>
                </a:lnTo>
                <a:lnTo>
                  <a:pt x="80" y="261"/>
                </a:lnTo>
                <a:lnTo>
                  <a:pt x="76" y="256"/>
                </a:lnTo>
                <a:lnTo>
                  <a:pt x="76" y="252"/>
                </a:lnTo>
                <a:lnTo>
                  <a:pt x="76" y="252"/>
                </a:lnTo>
                <a:lnTo>
                  <a:pt x="80" y="250"/>
                </a:lnTo>
                <a:lnTo>
                  <a:pt x="85" y="250"/>
                </a:lnTo>
                <a:lnTo>
                  <a:pt x="100" y="256"/>
                </a:lnTo>
                <a:lnTo>
                  <a:pt x="113" y="263"/>
                </a:lnTo>
                <a:lnTo>
                  <a:pt x="119" y="263"/>
                </a:lnTo>
                <a:lnTo>
                  <a:pt x="122" y="263"/>
                </a:lnTo>
                <a:lnTo>
                  <a:pt x="122" y="263"/>
                </a:lnTo>
                <a:lnTo>
                  <a:pt x="117" y="258"/>
                </a:lnTo>
                <a:lnTo>
                  <a:pt x="108" y="252"/>
                </a:lnTo>
                <a:lnTo>
                  <a:pt x="108" y="252"/>
                </a:lnTo>
                <a:lnTo>
                  <a:pt x="95" y="246"/>
                </a:lnTo>
                <a:lnTo>
                  <a:pt x="78" y="235"/>
                </a:lnTo>
                <a:lnTo>
                  <a:pt x="70" y="228"/>
                </a:lnTo>
                <a:lnTo>
                  <a:pt x="67" y="220"/>
                </a:lnTo>
                <a:lnTo>
                  <a:pt x="67" y="219"/>
                </a:lnTo>
                <a:lnTo>
                  <a:pt x="67" y="215"/>
                </a:lnTo>
                <a:lnTo>
                  <a:pt x="69" y="211"/>
                </a:lnTo>
                <a:lnTo>
                  <a:pt x="72" y="207"/>
                </a:lnTo>
                <a:lnTo>
                  <a:pt x="72" y="207"/>
                </a:lnTo>
                <a:lnTo>
                  <a:pt x="76" y="207"/>
                </a:lnTo>
                <a:lnTo>
                  <a:pt x="80" y="207"/>
                </a:lnTo>
                <a:lnTo>
                  <a:pt x="91" y="209"/>
                </a:lnTo>
                <a:lnTo>
                  <a:pt x="106" y="217"/>
                </a:lnTo>
                <a:lnTo>
                  <a:pt x="122" y="224"/>
                </a:lnTo>
                <a:lnTo>
                  <a:pt x="139" y="232"/>
                </a:lnTo>
                <a:lnTo>
                  <a:pt x="152" y="241"/>
                </a:lnTo>
                <a:lnTo>
                  <a:pt x="161" y="248"/>
                </a:lnTo>
                <a:lnTo>
                  <a:pt x="163" y="252"/>
                </a:lnTo>
                <a:lnTo>
                  <a:pt x="163" y="254"/>
                </a:lnTo>
                <a:lnTo>
                  <a:pt x="163" y="254"/>
                </a:lnTo>
                <a:lnTo>
                  <a:pt x="165" y="259"/>
                </a:lnTo>
                <a:lnTo>
                  <a:pt x="167" y="261"/>
                </a:lnTo>
                <a:lnTo>
                  <a:pt x="171" y="261"/>
                </a:lnTo>
                <a:lnTo>
                  <a:pt x="178" y="259"/>
                </a:lnTo>
                <a:lnTo>
                  <a:pt x="189" y="252"/>
                </a:lnTo>
                <a:lnTo>
                  <a:pt x="202" y="248"/>
                </a:lnTo>
                <a:lnTo>
                  <a:pt x="202" y="248"/>
                </a:lnTo>
                <a:lnTo>
                  <a:pt x="206" y="246"/>
                </a:lnTo>
                <a:lnTo>
                  <a:pt x="208" y="246"/>
                </a:lnTo>
                <a:lnTo>
                  <a:pt x="209" y="245"/>
                </a:lnTo>
                <a:lnTo>
                  <a:pt x="209" y="245"/>
                </a:lnTo>
                <a:lnTo>
                  <a:pt x="206" y="243"/>
                </a:lnTo>
                <a:lnTo>
                  <a:pt x="200" y="243"/>
                </a:lnTo>
                <a:lnTo>
                  <a:pt x="185" y="245"/>
                </a:lnTo>
                <a:lnTo>
                  <a:pt x="178" y="245"/>
                </a:lnTo>
                <a:lnTo>
                  <a:pt x="172" y="243"/>
                </a:lnTo>
                <a:lnTo>
                  <a:pt x="169" y="239"/>
                </a:lnTo>
                <a:lnTo>
                  <a:pt x="167" y="233"/>
                </a:lnTo>
                <a:lnTo>
                  <a:pt x="167" y="233"/>
                </a:lnTo>
                <a:lnTo>
                  <a:pt x="167" y="232"/>
                </a:lnTo>
                <a:lnTo>
                  <a:pt x="169" y="230"/>
                </a:lnTo>
                <a:lnTo>
                  <a:pt x="176" y="228"/>
                </a:lnTo>
                <a:lnTo>
                  <a:pt x="198" y="228"/>
                </a:lnTo>
                <a:lnTo>
                  <a:pt x="208" y="226"/>
                </a:lnTo>
                <a:lnTo>
                  <a:pt x="217" y="224"/>
                </a:lnTo>
                <a:lnTo>
                  <a:pt x="222" y="222"/>
                </a:lnTo>
                <a:lnTo>
                  <a:pt x="224" y="219"/>
                </a:lnTo>
                <a:lnTo>
                  <a:pt x="224" y="217"/>
                </a:lnTo>
                <a:lnTo>
                  <a:pt x="224" y="217"/>
                </a:lnTo>
                <a:lnTo>
                  <a:pt x="222" y="215"/>
                </a:lnTo>
                <a:lnTo>
                  <a:pt x="219" y="217"/>
                </a:lnTo>
                <a:lnTo>
                  <a:pt x="213" y="219"/>
                </a:lnTo>
                <a:lnTo>
                  <a:pt x="213" y="219"/>
                </a:lnTo>
                <a:lnTo>
                  <a:pt x="202" y="222"/>
                </a:lnTo>
                <a:lnTo>
                  <a:pt x="189" y="222"/>
                </a:lnTo>
                <a:lnTo>
                  <a:pt x="165" y="222"/>
                </a:lnTo>
                <a:lnTo>
                  <a:pt x="165" y="222"/>
                </a:lnTo>
                <a:lnTo>
                  <a:pt x="146" y="219"/>
                </a:lnTo>
                <a:lnTo>
                  <a:pt x="135" y="213"/>
                </a:lnTo>
                <a:lnTo>
                  <a:pt x="124" y="207"/>
                </a:lnTo>
                <a:lnTo>
                  <a:pt x="117" y="200"/>
                </a:lnTo>
                <a:lnTo>
                  <a:pt x="111" y="193"/>
                </a:lnTo>
                <a:lnTo>
                  <a:pt x="109" y="189"/>
                </a:lnTo>
                <a:lnTo>
                  <a:pt x="111" y="185"/>
                </a:lnTo>
                <a:lnTo>
                  <a:pt x="113" y="181"/>
                </a:lnTo>
                <a:lnTo>
                  <a:pt x="117" y="176"/>
                </a:lnTo>
                <a:lnTo>
                  <a:pt x="117" y="176"/>
                </a:lnTo>
                <a:lnTo>
                  <a:pt x="124" y="176"/>
                </a:lnTo>
                <a:lnTo>
                  <a:pt x="135" y="178"/>
                </a:lnTo>
                <a:lnTo>
                  <a:pt x="169" y="187"/>
                </a:lnTo>
                <a:lnTo>
                  <a:pt x="202" y="196"/>
                </a:lnTo>
                <a:lnTo>
                  <a:pt x="215" y="198"/>
                </a:lnTo>
                <a:lnTo>
                  <a:pt x="221" y="198"/>
                </a:lnTo>
                <a:lnTo>
                  <a:pt x="221" y="198"/>
                </a:lnTo>
                <a:lnTo>
                  <a:pt x="221" y="196"/>
                </a:lnTo>
                <a:lnTo>
                  <a:pt x="221" y="194"/>
                </a:lnTo>
                <a:lnTo>
                  <a:pt x="211" y="193"/>
                </a:lnTo>
                <a:lnTo>
                  <a:pt x="189" y="189"/>
                </a:lnTo>
                <a:lnTo>
                  <a:pt x="189" y="189"/>
                </a:lnTo>
                <a:lnTo>
                  <a:pt x="174" y="185"/>
                </a:lnTo>
                <a:lnTo>
                  <a:pt x="152" y="176"/>
                </a:lnTo>
                <a:lnTo>
                  <a:pt x="141" y="169"/>
                </a:lnTo>
                <a:lnTo>
                  <a:pt x="130" y="163"/>
                </a:lnTo>
                <a:lnTo>
                  <a:pt x="124" y="156"/>
                </a:lnTo>
                <a:lnTo>
                  <a:pt x="120" y="148"/>
                </a:lnTo>
                <a:lnTo>
                  <a:pt x="120" y="148"/>
                </a:lnTo>
                <a:lnTo>
                  <a:pt x="120" y="144"/>
                </a:lnTo>
                <a:lnTo>
                  <a:pt x="120" y="141"/>
                </a:lnTo>
                <a:lnTo>
                  <a:pt x="124" y="137"/>
                </a:lnTo>
                <a:lnTo>
                  <a:pt x="128" y="135"/>
                </a:lnTo>
                <a:lnTo>
                  <a:pt x="137" y="135"/>
                </a:lnTo>
                <a:lnTo>
                  <a:pt x="150" y="137"/>
                </a:lnTo>
                <a:lnTo>
                  <a:pt x="161" y="141"/>
                </a:lnTo>
                <a:lnTo>
                  <a:pt x="174" y="144"/>
                </a:lnTo>
                <a:lnTo>
                  <a:pt x="182" y="150"/>
                </a:lnTo>
                <a:lnTo>
                  <a:pt x="187" y="154"/>
                </a:lnTo>
                <a:lnTo>
                  <a:pt x="187" y="154"/>
                </a:lnTo>
                <a:lnTo>
                  <a:pt x="191" y="156"/>
                </a:lnTo>
                <a:lnTo>
                  <a:pt x="193" y="157"/>
                </a:lnTo>
                <a:lnTo>
                  <a:pt x="195" y="156"/>
                </a:lnTo>
                <a:lnTo>
                  <a:pt x="195" y="156"/>
                </a:lnTo>
                <a:lnTo>
                  <a:pt x="195" y="154"/>
                </a:lnTo>
                <a:lnTo>
                  <a:pt x="193" y="152"/>
                </a:lnTo>
                <a:lnTo>
                  <a:pt x="189" y="146"/>
                </a:lnTo>
                <a:lnTo>
                  <a:pt x="172" y="137"/>
                </a:lnTo>
                <a:lnTo>
                  <a:pt x="156" y="130"/>
                </a:lnTo>
                <a:lnTo>
                  <a:pt x="148" y="126"/>
                </a:lnTo>
                <a:lnTo>
                  <a:pt x="145" y="120"/>
                </a:lnTo>
                <a:lnTo>
                  <a:pt x="145" y="120"/>
                </a:lnTo>
                <a:lnTo>
                  <a:pt x="145" y="120"/>
                </a:lnTo>
                <a:lnTo>
                  <a:pt x="146" y="118"/>
                </a:lnTo>
                <a:lnTo>
                  <a:pt x="150" y="117"/>
                </a:lnTo>
                <a:lnTo>
                  <a:pt x="165" y="118"/>
                </a:lnTo>
                <a:lnTo>
                  <a:pt x="191" y="126"/>
                </a:lnTo>
                <a:lnTo>
                  <a:pt x="191" y="126"/>
                </a:lnTo>
                <a:lnTo>
                  <a:pt x="191" y="126"/>
                </a:lnTo>
                <a:lnTo>
                  <a:pt x="189" y="124"/>
                </a:lnTo>
                <a:lnTo>
                  <a:pt x="182" y="117"/>
                </a:lnTo>
                <a:lnTo>
                  <a:pt x="182" y="117"/>
                </a:lnTo>
                <a:lnTo>
                  <a:pt x="178" y="115"/>
                </a:lnTo>
                <a:lnTo>
                  <a:pt x="174" y="115"/>
                </a:lnTo>
                <a:lnTo>
                  <a:pt x="165" y="115"/>
                </a:lnTo>
                <a:lnTo>
                  <a:pt x="158" y="113"/>
                </a:lnTo>
                <a:lnTo>
                  <a:pt x="158" y="111"/>
                </a:lnTo>
                <a:lnTo>
                  <a:pt x="159" y="107"/>
                </a:lnTo>
                <a:lnTo>
                  <a:pt x="159" y="107"/>
                </a:lnTo>
                <a:lnTo>
                  <a:pt x="165" y="102"/>
                </a:lnTo>
                <a:lnTo>
                  <a:pt x="171" y="100"/>
                </a:lnTo>
                <a:lnTo>
                  <a:pt x="178" y="98"/>
                </a:lnTo>
                <a:lnTo>
                  <a:pt x="187" y="98"/>
                </a:lnTo>
                <a:lnTo>
                  <a:pt x="204" y="102"/>
                </a:lnTo>
                <a:lnTo>
                  <a:pt x="221" y="109"/>
                </a:lnTo>
                <a:lnTo>
                  <a:pt x="237" y="118"/>
                </a:lnTo>
                <a:lnTo>
                  <a:pt x="248" y="130"/>
                </a:lnTo>
                <a:lnTo>
                  <a:pt x="258" y="139"/>
                </a:lnTo>
                <a:lnTo>
                  <a:pt x="260" y="143"/>
                </a:lnTo>
                <a:lnTo>
                  <a:pt x="260" y="146"/>
                </a:lnTo>
                <a:lnTo>
                  <a:pt x="260" y="146"/>
                </a:lnTo>
                <a:lnTo>
                  <a:pt x="254" y="159"/>
                </a:lnTo>
                <a:lnTo>
                  <a:pt x="254" y="161"/>
                </a:lnTo>
                <a:lnTo>
                  <a:pt x="256" y="161"/>
                </a:lnTo>
                <a:lnTo>
                  <a:pt x="260" y="156"/>
                </a:lnTo>
                <a:lnTo>
                  <a:pt x="265" y="143"/>
                </a:lnTo>
                <a:lnTo>
                  <a:pt x="265" y="143"/>
                </a:lnTo>
                <a:lnTo>
                  <a:pt x="267" y="141"/>
                </a:lnTo>
                <a:lnTo>
                  <a:pt x="269" y="141"/>
                </a:lnTo>
                <a:lnTo>
                  <a:pt x="271" y="146"/>
                </a:lnTo>
                <a:lnTo>
                  <a:pt x="271" y="146"/>
                </a:lnTo>
                <a:lnTo>
                  <a:pt x="274" y="150"/>
                </a:lnTo>
                <a:lnTo>
                  <a:pt x="278" y="154"/>
                </a:lnTo>
                <a:lnTo>
                  <a:pt x="278" y="156"/>
                </a:lnTo>
                <a:lnTo>
                  <a:pt x="276" y="157"/>
                </a:lnTo>
                <a:lnTo>
                  <a:pt x="267" y="169"/>
                </a:lnTo>
                <a:lnTo>
                  <a:pt x="267" y="169"/>
                </a:lnTo>
                <a:lnTo>
                  <a:pt x="274" y="163"/>
                </a:lnTo>
                <a:lnTo>
                  <a:pt x="284" y="159"/>
                </a:lnTo>
                <a:lnTo>
                  <a:pt x="284" y="159"/>
                </a:lnTo>
                <a:lnTo>
                  <a:pt x="284" y="170"/>
                </a:lnTo>
                <a:lnTo>
                  <a:pt x="284" y="178"/>
                </a:lnTo>
                <a:lnTo>
                  <a:pt x="284" y="178"/>
                </a:lnTo>
                <a:lnTo>
                  <a:pt x="287" y="176"/>
                </a:lnTo>
                <a:lnTo>
                  <a:pt x="287" y="172"/>
                </a:lnTo>
                <a:lnTo>
                  <a:pt x="291" y="157"/>
                </a:lnTo>
                <a:lnTo>
                  <a:pt x="293" y="148"/>
                </a:lnTo>
                <a:lnTo>
                  <a:pt x="297" y="143"/>
                </a:lnTo>
                <a:lnTo>
                  <a:pt x="300" y="137"/>
                </a:lnTo>
                <a:lnTo>
                  <a:pt x="304" y="137"/>
                </a:lnTo>
                <a:lnTo>
                  <a:pt x="308" y="137"/>
                </a:lnTo>
                <a:lnTo>
                  <a:pt x="308" y="137"/>
                </a:lnTo>
                <a:lnTo>
                  <a:pt x="315" y="139"/>
                </a:lnTo>
                <a:lnTo>
                  <a:pt x="319" y="141"/>
                </a:lnTo>
                <a:lnTo>
                  <a:pt x="321" y="144"/>
                </a:lnTo>
                <a:lnTo>
                  <a:pt x="323" y="148"/>
                </a:lnTo>
                <a:lnTo>
                  <a:pt x="324" y="157"/>
                </a:lnTo>
                <a:lnTo>
                  <a:pt x="321" y="169"/>
                </a:lnTo>
                <a:lnTo>
                  <a:pt x="313" y="189"/>
                </a:lnTo>
                <a:lnTo>
                  <a:pt x="311" y="196"/>
                </a:lnTo>
                <a:lnTo>
                  <a:pt x="311" y="200"/>
                </a:lnTo>
                <a:lnTo>
                  <a:pt x="313" y="202"/>
                </a:lnTo>
                <a:lnTo>
                  <a:pt x="313" y="202"/>
                </a:lnTo>
                <a:lnTo>
                  <a:pt x="317" y="196"/>
                </a:lnTo>
                <a:lnTo>
                  <a:pt x="324" y="181"/>
                </a:lnTo>
                <a:lnTo>
                  <a:pt x="334" y="159"/>
                </a:lnTo>
                <a:lnTo>
                  <a:pt x="334" y="159"/>
                </a:lnTo>
                <a:lnTo>
                  <a:pt x="337" y="163"/>
                </a:lnTo>
                <a:lnTo>
                  <a:pt x="341" y="167"/>
                </a:lnTo>
                <a:lnTo>
                  <a:pt x="345" y="176"/>
                </a:lnTo>
                <a:lnTo>
                  <a:pt x="345" y="176"/>
                </a:lnTo>
                <a:lnTo>
                  <a:pt x="347" y="176"/>
                </a:lnTo>
                <a:lnTo>
                  <a:pt x="350" y="178"/>
                </a:lnTo>
                <a:lnTo>
                  <a:pt x="352" y="180"/>
                </a:lnTo>
                <a:lnTo>
                  <a:pt x="352" y="183"/>
                </a:lnTo>
                <a:lnTo>
                  <a:pt x="350" y="187"/>
                </a:lnTo>
                <a:lnTo>
                  <a:pt x="348" y="191"/>
                </a:lnTo>
                <a:lnTo>
                  <a:pt x="348" y="191"/>
                </a:lnTo>
                <a:lnTo>
                  <a:pt x="343" y="196"/>
                </a:lnTo>
                <a:lnTo>
                  <a:pt x="347" y="193"/>
                </a:lnTo>
                <a:lnTo>
                  <a:pt x="361" y="178"/>
                </a:lnTo>
                <a:lnTo>
                  <a:pt x="361" y="178"/>
                </a:lnTo>
                <a:lnTo>
                  <a:pt x="363" y="176"/>
                </a:lnTo>
                <a:lnTo>
                  <a:pt x="363" y="174"/>
                </a:lnTo>
                <a:lnTo>
                  <a:pt x="360" y="165"/>
                </a:lnTo>
                <a:lnTo>
                  <a:pt x="347" y="150"/>
                </a:lnTo>
                <a:lnTo>
                  <a:pt x="347" y="150"/>
                </a:lnTo>
                <a:lnTo>
                  <a:pt x="343" y="144"/>
                </a:lnTo>
                <a:lnTo>
                  <a:pt x="343" y="139"/>
                </a:lnTo>
                <a:lnTo>
                  <a:pt x="345" y="137"/>
                </a:lnTo>
                <a:lnTo>
                  <a:pt x="347" y="135"/>
                </a:lnTo>
                <a:lnTo>
                  <a:pt x="354" y="133"/>
                </a:lnTo>
                <a:lnTo>
                  <a:pt x="358" y="131"/>
                </a:lnTo>
                <a:lnTo>
                  <a:pt x="358" y="128"/>
                </a:lnTo>
                <a:lnTo>
                  <a:pt x="358" y="128"/>
                </a:lnTo>
                <a:lnTo>
                  <a:pt x="356" y="126"/>
                </a:lnTo>
                <a:lnTo>
                  <a:pt x="352" y="128"/>
                </a:lnTo>
                <a:lnTo>
                  <a:pt x="343" y="131"/>
                </a:lnTo>
                <a:lnTo>
                  <a:pt x="343" y="131"/>
                </a:lnTo>
                <a:lnTo>
                  <a:pt x="336" y="131"/>
                </a:lnTo>
                <a:lnTo>
                  <a:pt x="328" y="130"/>
                </a:lnTo>
                <a:lnTo>
                  <a:pt x="304" y="117"/>
                </a:lnTo>
                <a:lnTo>
                  <a:pt x="304" y="117"/>
                </a:lnTo>
                <a:lnTo>
                  <a:pt x="272" y="102"/>
                </a:lnTo>
                <a:lnTo>
                  <a:pt x="260" y="93"/>
                </a:lnTo>
                <a:lnTo>
                  <a:pt x="256" y="91"/>
                </a:lnTo>
                <a:lnTo>
                  <a:pt x="256" y="89"/>
                </a:lnTo>
                <a:lnTo>
                  <a:pt x="258" y="89"/>
                </a:lnTo>
                <a:lnTo>
                  <a:pt x="258" y="89"/>
                </a:lnTo>
                <a:lnTo>
                  <a:pt x="291" y="85"/>
                </a:lnTo>
                <a:lnTo>
                  <a:pt x="332" y="83"/>
                </a:lnTo>
                <a:lnTo>
                  <a:pt x="356" y="80"/>
                </a:lnTo>
                <a:lnTo>
                  <a:pt x="356" y="80"/>
                </a:lnTo>
                <a:lnTo>
                  <a:pt x="352" y="80"/>
                </a:lnTo>
                <a:lnTo>
                  <a:pt x="336" y="78"/>
                </a:lnTo>
                <a:lnTo>
                  <a:pt x="336" y="78"/>
                </a:lnTo>
                <a:lnTo>
                  <a:pt x="330" y="76"/>
                </a:lnTo>
                <a:lnTo>
                  <a:pt x="328" y="74"/>
                </a:lnTo>
                <a:lnTo>
                  <a:pt x="328" y="72"/>
                </a:lnTo>
                <a:lnTo>
                  <a:pt x="332" y="70"/>
                </a:lnTo>
                <a:lnTo>
                  <a:pt x="339" y="67"/>
                </a:lnTo>
                <a:lnTo>
                  <a:pt x="343" y="63"/>
                </a:lnTo>
                <a:lnTo>
                  <a:pt x="343" y="63"/>
                </a:lnTo>
                <a:lnTo>
                  <a:pt x="339" y="63"/>
                </a:lnTo>
                <a:lnTo>
                  <a:pt x="336" y="65"/>
                </a:lnTo>
                <a:lnTo>
                  <a:pt x="328" y="68"/>
                </a:lnTo>
                <a:lnTo>
                  <a:pt x="319" y="70"/>
                </a:lnTo>
                <a:lnTo>
                  <a:pt x="313" y="72"/>
                </a:lnTo>
                <a:lnTo>
                  <a:pt x="308" y="70"/>
                </a:lnTo>
                <a:lnTo>
                  <a:pt x="308" y="70"/>
                </a:lnTo>
                <a:lnTo>
                  <a:pt x="304" y="68"/>
                </a:lnTo>
                <a:lnTo>
                  <a:pt x="304" y="67"/>
                </a:lnTo>
                <a:lnTo>
                  <a:pt x="308" y="61"/>
                </a:lnTo>
                <a:lnTo>
                  <a:pt x="308" y="61"/>
                </a:lnTo>
                <a:lnTo>
                  <a:pt x="313" y="54"/>
                </a:lnTo>
                <a:lnTo>
                  <a:pt x="313" y="52"/>
                </a:lnTo>
                <a:lnTo>
                  <a:pt x="313" y="52"/>
                </a:lnTo>
                <a:lnTo>
                  <a:pt x="308" y="52"/>
                </a:lnTo>
                <a:lnTo>
                  <a:pt x="300" y="54"/>
                </a:lnTo>
                <a:lnTo>
                  <a:pt x="280" y="61"/>
                </a:lnTo>
                <a:lnTo>
                  <a:pt x="265" y="68"/>
                </a:lnTo>
                <a:lnTo>
                  <a:pt x="265" y="68"/>
                </a:lnTo>
                <a:lnTo>
                  <a:pt x="261" y="68"/>
                </a:lnTo>
                <a:lnTo>
                  <a:pt x="256" y="68"/>
                </a:lnTo>
                <a:lnTo>
                  <a:pt x="243" y="65"/>
                </a:lnTo>
                <a:lnTo>
                  <a:pt x="230" y="59"/>
                </a:lnTo>
                <a:lnTo>
                  <a:pt x="226" y="55"/>
                </a:lnTo>
                <a:lnTo>
                  <a:pt x="224" y="52"/>
                </a:lnTo>
                <a:lnTo>
                  <a:pt x="224" y="52"/>
                </a:lnTo>
                <a:lnTo>
                  <a:pt x="228" y="52"/>
                </a:lnTo>
                <a:lnTo>
                  <a:pt x="237" y="52"/>
                </a:lnTo>
                <a:lnTo>
                  <a:pt x="247" y="50"/>
                </a:lnTo>
                <a:lnTo>
                  <a:pt x="250" y="46"/>
                </a:lnTo>
                <a:lnTo>
                  <a:pt x="252" y="42"/>
                </a:lnTo>
                <a:lnTo>
                  <a:pt x="252" y="42"/>
                </a:lnTo>
                <a:lnTo>
                  <a:pt x="250" y="41"/>
                </a:lnTo>
                <a:lnTo>
                  <a:pt x="248" y="39"/>
                </a:lnTo>
                <a:lnTo>
                  <a:pt x="241" y="37"/>
                </a:lnTo>
                <a:lnTo>
                  <a:pt x="235" y="33"/>
                </a:lnTo>
                <a:lnTo>
                  <a:pt x="234" y="31"/>
                </a:lnTo>
                <a:lnTo>
                  <a:pt x="234" y="29"/>
                </a:lnTo>
                <a:lnTo>
                  <a:pt x="234" y="29"/>
                </a:lnTo>
                <a:lnTo>
                  <a:pt x="235" y="28"/>
                </a:lnTo>
                <a:lnTo>
                  <a:pt x="239" y="28"/>
                </a:lnTo>
                <a:lnTo>
                  <a:pt x="245" y="29"/>
                </a:lnTo>
                <a:lnTo>
                  <a:pt x="254" y="35"/>
                </a:lnTo>
                <a:lnTo>
                  <a:pt x="254" y="35"/>
                </a:lnTo>
                <a:lnTo>
                  <a:pt x="254" y="29"/>
                </a:lnTo>
                <a:lnTo>
                  <a:pt x="258" y="28"/>
                </a:lnTo>
                <a:lnTo>
                  <a:pt x="261" y="28"/>
                </a:lnTo>
                <a:lnTo>
                  <a:pt x="265" y="28"/>
                </a:lnTo>
                <a:lnTo>
                  <a:pt x="280" y="31"/>
                </a:lnTo>
                <a:lnTo>
                  <a:pt x="280" y="31"/>
                </a:lnTo>
                <a:lnTo>
                  <a:pt x="276" y="28"/>
                </a:lnTo>
                <a:lnTo>
                  <a:pt x="271" y="26"/>
                </a:lnTo>
                <a:lnTo>
                  <a:pt x="265" y="20"/>
                </a:lnTo>
                <a:lnTo>
                  <a:pt x="265" y="20"/>
                </a:lnTo>
                <a:lnTo>
                  <a:pt x="267" y="18"/>
                </a:lnTo>
                <a:lnTo>
                  <a:pt x="272" y="18"/>
                </a:lnTo>
                <a:lnTo>
                  <a:pt x="284" y="24"/>
                </a:lnTo>
                <a:lnTo>
                  <a:pt x="304" y="33"/>
                </a:lnTo>
                <a:lnTo>
                  <a:pt x="304" y="33"/>
                </a:lnTo>
                <a:lnTo>
                  <a:pt x="310" y="33"/>
                </a:lnTo>
                <a:lnTo>
                  <a:pt x="313" y="33"/>
                </a:lnTo>
                <a:lnTo>
                  <a:pt x="319" y="28"/>
                </a:lnTo>
                <a:lnTo>
                  <a:pt x="323" y="26"/>
                </a:lnTo>
                <a:lnTo>
                  <a:pt x="326" y="26"/>
                </a:lnTo>
                <a:lnTo>
                  <a:pt x="332" y="26"/>
                </a:lnTo>
                <a:lnTo>
                  <a:pt x="339" y="28"/>
                </a:lnTo>
                <a:lnTo>
                  <a:pt x="339" y="28"/>
                </a:lnTo>
                <a:lnTo>
                  <a:pt x="343" y="31"/>
                </a:lnTo>
                <a:lnTo>
                  <a:pt x="345" y="33"/>
                </a:lnTo>
                <a:lnTo>
                  <a:pt x="347" y="31"/>
                </a:lnTo>
                <a:lnTo>
                  <a:pt x="347" y="31"/>
                </a:lnTo>
                <a:lnTo>
                  <a:pt x="348" y="29"/>
                </a:lnTo>
                <a:lnTo>
                  <a:pt x="348" y="28"/>
                </a:lnTo>
                <a:lnTo>
                  <a:pt x="348" y="26"/>
                </a:lnTo>
                <a:lnTo>
                  <a:pt x="345" y="22"/>
                </a:lnTo>
                <a:lnTo>
                  <a:pt x="345" y="20"/>
                </a:lnTo>
                <a:lnTo>
                  <a:pt x="345" y="20"/>
                </a:lnTo>
                <a:lnTo>
                  <a:pt x="345" y="20"/>
                </a:lnTo>
                <a:lnTo>
                  <a:pt x="350" y="18"/>
                </a:lnTo>
                <a:lnTo>
                  <a:pt x="354" y="20"/>
                </a:lnTo>
                <a:lnTo>
                  <a:pt x="358" y="22"/>
                </a:lnTo>
                <a:lnTo>
                  <a:pt x="360" y="26"/>
                </a:lnTo>
                <a:lnTo>
                  <a:pt x="369" y="41"/>
                </a:lnTo>
                <a:lnTo>
                  <a:pt x="376" y="48"/>
                </a:lnTo>
                <a:lnTo>
                  <a:pt x="387" y="57"/>
                </a:lnTo>
                <a:lnTo>
                  <a:pt x="387" y="57"/>
                </a:lnTo>
                <a:lnTo>
                  <a:pt x="387" y="59"/>
                </a:lnTo>
                <a:lnTo>
                  <a:pt x="387" y="61"/>
                </a:lnTo>
                <a:lnTo>
                  <a:pt x="386" y="67"/>
                </a:lnTo>
                <a:lnTo>
                  <a:pt x="382" y="72"/>
                </a:lnTo>
                <a:lnTo>
                  <a:pt x="382" y="74"/>
                </a:lnTo>
                <a:lnTo>
                  <a:pt x="382" y="76"/>
                </a:lnTo>
                <a:lnTo>
                  <a:pt x="382" y="76"/>
                </a:lnTo>
                <a:lnTo>
                  <a:pt x="384" y="78"/>
                </a:lnTo>
                <a:lnTo>
                  <a:pt x="387" y="78"/>
                </a:lnTo>
                <a:lnTo>
                  <a:pt x="395" y="76"/>
                </a:lnTo>
                <a:lnTo>
                  <a:pt x="406" y="70"/>
                </a:lnTo>
                <a:lnTo>
                  <a:pt x="406" y="70"/>
                </a:lnTo>
                <a:lnTo>
                  <a:pt x="415" y="74"/>
                </a:lnTo>
                <a:lnTo>
                  <a:pt x="425" y="80"/>
                </a:lnTo>
                <a:lnTo>
                  <a:pt x="430" y="85"/>
                </a:lnTo>
                <a:lnTo>
                  <a:pt x="430" y="87"/>
                </a:lnTo>
                <a:lnTo>
                  <a:pt x="428" y="91"/>
                </a:lnTo>
                <a:lnTo>
                  <a:pt x="428" y="91"/>
                </a:lnTo>
                <a:lnTo>
                  <a:pt x="425" y="93"/>
                </a:lnTo>
                <a:lnTo>
                  <a:pt x="423" y="94"/>
                </a:lnTo>
                <a:lnTo>
                  <a:pt x="423" y="94"/>
                </a:lnTo>
                <a:lnTo>
                  <a:pt x="423" y="94"/>
                </a:lnTo>
                <a:lnTo>
                  <a:pt x="443" y="94"/>
                </a:lnTo>
                <a:lnTo>
                  <a:pt x="454" y="96"/>
                </a:lnTo>
                <a:lnTo>
                  <a:pt x="458" y="98"/>
                </a:lnTo>
                <a:lnTo>
                  <a:pt x="462" y="100"/>
                </a:lnTo>
                <a:lnTo>
                  <a:pt x="462" y="100"/>
                </a:lnTo>
                <a:lnTo>
                  <a:pt x="465" y="105"/>
                </a:lnTo>
                <a:lnTo>
                  <a:pt x="467" y="111"/>
                </a:lnTo>
                <a:lnTo>
                  <a:pt x="471" y="126"/>
                </a:lnTo>
                <a:lnTo>
                  <a:pt x="473" y="139"/>
                </a:lnTo>
                <a:lnTo>
                  <a:pt x="475" y="144"/>
                </a:lnTo>
                <a:lnTo>
                  <a:pt x="475" y="146"/>
                </a:lnTo>
                <a:lnTo>
                  <a:pt x="475" y="146"/>
                </a:lnTo>
                <a:lnTo>
                  <a:pt x="478" y="148"/>
                </a:lnTo>
                <a:lnTo>
                  <a:pt x="480" y="146"/>
                </a:lnTo>
                <a:lnTo>
                  <a:pt x="484" y="143"/>
                </a:lnTo>
                <a:lnTo>
                  <a:pt x="484" y="143"/>
                </a:lnTo>
                <a:lnTo>
                  <a:pt x="484" y="139"/>
                </a:lnTo>
                <a:lnTo>
                  <a:pt x="482" y="135"/>
                </a:lnTo>
                <a:lnTo>
                  <a:pt x="480" y="130"/>
                </a:lnTo>
                <a:lnTo>
                  <a:pt x="480" y="130"/>
                </a:lnTo>
                <a:lnTo>
                  <a:pt x="488" y="124"/>
                </a:lnTo>
                <a:lnTo>
                  <a:pt x="493" y="124"/>
                </a:lnTo>
                <a:lnTo>
                  <a:pt x="495" y="128"/>
                </a:lnTo>
                <a:lnTo>
                  <a:pt x="497" y="131"/>
                </a:lnTo>
                <a:lnTo>
                  <a:pt x="499" y="141"/>
                </a:lnTo>
                <a:lnTo>
                  <a:pt x="499" y="146"/>
                </a:lnTo>
                <a:lnTo>
                  <a:pt x="499" y="146"/>
                </a:lnTo>
                <a:lnTo>
                  <a:pt x="502" y="148"/>
                </a:lnTo>
                <a:lnTo>
                  <a:pt x="508" y="148"/>
                </a:lnTo>
                <a:lnTo>
                  <a:pt x="517" y="146"/>
                </a:lnTo>
                <a:lnTo>
                  <a:pt x="521" y="146"/>
                </a:lnTo>
                <a:lnTo>
                  <a:pt x="525" y="146"/>
                </a:lnTo>
                <a:lnTo>
                  <a:pt x="528" y="148"/>
                </a:lnTo>
                <a:lnTo>
                  <a:pt x="532" y="154"/>
                </a:lnTo>
                <a:lnTo>
                  <a:pt x="532" y="154"/>
                </a:lnTo>
                <a:lnTo>
                  <a:pt x="532" y="154"/>
                </a:lnTo>
                <a:lnTo>
                  <a:pt x="532" y="156"/>
                </a:lnTo>
                <a:lnTo>
                  <a:pt x="532" y="157"/>
                </a:lnTo>
                <a:lnTo>
                  <a:pt x="528" y="157"/>
                </a:lnTo>
                <a:lnTo>
                  <a:pt x="517" y="157"/>
                </a:lnTo>
                <a:lnTo>
                  <a:pt x="517" y="157"/>
                </a:lnTo>
                <a:lnTo>
                  <a:pt x="510" y="159"/>
                </a:lnTo>
                <a:lnTo>
                  <a:pt x="502" y="161"/>
                </a:lnTo>
                <a:lnTo>
                  <a:pt x="502" y="161"/>
                </a:lnTo>
                <a:lnTo>
                  <a:pt x="499" y="161"/>
                </a:lnTo>
                <a:lnTo>
                  <a:pt x="504" y="161"/>
                </a:lnTo>
                <a:lnTo>
                  <a:pt x="513" y="163"/>
                </a:lnTo>
                <a:lnTo>
                  <a:pt x="523" y="165"/>
                </a:lnTo>
                <a:lnTo>
                  <a:pt x="523" y="165"/>
                </a:lnTo>
                <a:lnTo>
                  <a:pt x="523" y="165"/>
                </a:lnTo>
                <a:lnTo>
                  <a:pt x="517" y="169"/>
                </a:lnTo>
                <a:lnTo>
                  <a:pt x="513" y="172"/>
                </a:lnTo>
                <a:lnTo>
                  <a:pt x="513" y="172"/>
                </a:lnTo>
                <a:lnTo>
                  <a:pt x="517" y="172"/>
                </a:lnTo>
                <a:lnTo>
                  <a:pt x="523" y="172"/>
                </a:lnTo>
                <a:lnTo>
                  <a:pt x="534" y="170"/>
                </a:lnTo>
                <a:lnTo>
                  <a:pt x="534" y="170"/>
                </a:lnTo>
                <a:lnTo>
                  <a:pt x="536" y="172"/>
                </a:lnTo>
                <a:lnTo>
                  <a:pt x="536" y="174"/>
                </a:lnTo>
                <a:lnTo>
                  <a:pt x="534" y="180"/>
                </a:lnTo>
                <a:lnTo>
                  <a:pt x="534" y="185"/>
                </a:lnTo>
                <a:lnTo>
                  <a:pt x="534" y="189"/>
                </a:lnTo>
                <a:lnTo>
                  <a:pt x="534" y="189"/>
                </a:lnTo>
                <a:lnTo>
                  <a:pt x="534" y="189"/>
                </a:lnTo>
                <a:lnTo>
                  <a:pt x="538" y="191"/>
                </a:lnTo>
                <a:lnTo>
                  <a:pt x="539" y="193"/>
                </a:lnTo>
                <a:lnTo>
                  <a:pt x="539" y="193"/>
                </a:lnTo>
                <a:lnTo>
                  <a:pt x="539" y="193"/>
                </a:lnTo>
                <a:lnTo>
                  <a:pt x="538" y="198"/>
                </a:lnTo>
                <a:lnTo>
                  <a:pt x="532" y="202"/>
                </a:lnTo>
                <a:lnTo>
                  <a:pt x="521" y="206"/>
                </a:lnTo>
                <a:lnTo>
                  <a:pt x="512" y="211"/>
                </a:lnTo>
                <a:lnTo>
                  <a:pt x="508" y="215"/>
                </a:lnTo>
                <a:lnTo>
                  <a:pt x="506" y="220"/>
                </a:lnTo>
                <a:lnTo>
                  <a:pt x="506" y="220"/>
                </a:lnTo>
                <a:lnTo>
                  <a:pt x="508" y="222"/>
                </a:lnTo>
                <a:lnTo>
                  <a:pt x="512" y="224"/>
                </a:lnTo>
                <a:lnTo>
                  <a:pt x="521" y="224"/>
                </a:lnTo>
                <a:lnTo>
                  <a:pt x="528" y="226"/>
                </a:lnTo>
                <a:lnTo>
                  <a:pt x="530" y="226"/>
                </a:lnTo>
                <a:lnTo>
                  <a:pt x="530" y="228"/>
                </a:lnTo>
                <a:lnTo>
                  <a:pt x="530" y="228"/>
                </a:lnTo>
                <a:lnTo>
                  <a:pt x="525" y="235"/>
                </a:lnTo>
                <a:lnTo>
                  <a:pt x="519" y="239"/>
                </a:lnTo>
                <a:lnTo>
                  <a:pt x="512" y="243"/>
                </a:lnTo>
                <a:lnTo>
                  <a:pt x="508" y="243"/>
                </a:lnTo>
                <a:lnTo>
                  <a:pt x="502" y="241"/>
                </a:lnTo>
                <a:lnTo>
                  <a:pt x="497" y="239"/>
                </a:lnTo>
                <a:lnTo>
                  <a:pt x="488" y="232"/>
                </a:lnTo>
                <a:lnTo>
                  <a:pt x="478" y="224"/>
                </a:lnTo>
                <a:lnTo>
                  <a:pt x="471" y="217"/>
                </a:lnTo>
                <a:lnTo>
                  <a:pt x="467" y="215"/>
                </a:lnTo>
                <a:lnTo>
                  <a:pt x="463" y="215"/>
                </a:lnTo>
                <a:lnTo>
                  <a:pt x="460" y="217"/>
                </a:lnTo>
                <a:lnTo>
                  <a:pt x="458" y="219"/>
                </a:lnTo>
                <a:lnTo>
                  <a:pt x="458" y="219"/>
                </a:lnTo>
                <a:lnTo>
                  <a:pt x="463" y="222"/>
                </a:lnTo>
                <a:lnTo>
                  <a:pt x="471" y="226"/>
                </a:lnTo>
                <a:lnTo>
                  <a:pt x="471" y="226"/>
                </a:lnTo>
                <a:lnTo>
                  <a:pt x="478" y="239"/>
                </a:lnTo>
                <a:lnTo>
                  <a:pt x="484" y="246"/>
                </a:lnTo>
                <a:lnTo>
                  <a:pt x="491" y="250"/>
                </a:lnTo>
                <a:lnTo>
                  <a:pt x="499" y="252"/>
                </a:lnTo>
                <a:lnTo>
                  <a:pt x="510" y="252"/>
                </a:lnTo>
                <a:lnTo>
                  <a:pt x="515" y="254"/>
                </a:lnTo>
                <a:lnTo>
                  <a:pt x="519" y="258"/>
                </a:lnTo>
                <a:lnTo>
                  <a:pt x="519" y="258"/>
                </a:lnTo>
                <a:lnTo>
                  <a:pt x="521" y="259"/>
                </a:lnTo>
                <a:lnTo>
                  <a:pt x="519" y="263"/>
                </a:lnTo>
                <a:lnTo>
                  <a:pt x="513" y="269"/>
                </a:lnTo>
                <a:lnTo>
                  <a:pt x="508" y="274"/>
                </a:lnTo>
                <a:lnTo>
                  <a:pt x="506" y="276"/>
                </a:lnTo>
                <a:lnTo>
                  <a:pt x="506" y="278"/>
                </a:lnTo>
                <a:lnTo>
                  <a:pt x="506" y="278"/>
                </a:lnTo>
                <a:lnTo>
                  <a:pt x="510" y="278"/>
                </a:lnTo>
                <a:lnTo>
                  <a:pt x="513" y="276"/>
                </a:lnTo>
                <a:lnTo>
                  <a:pt x="525" y="269"/>
                </a:lnTo>
                <a:lnTo>
                  <a:pt x="528" y="267"/>
                </a:lnTo>
                <a:lnTo>
                  <a:pt x="534" y="267"/>
                </a:lnTo>
                <a:lnTo>
                  <a:pt x="536" y="270"/>
                </a:lnTo>
                <a:lnTo>
                  <a:pt x="538" y="280"/>
                </a:lnTo>
                <a:lnTo>
                  <a:pt x="538" y="280"/>
                </a:lnTo>
                <a:lnTo>
                  <a:pt x="536" y="287"/>
                </a:lnTo>
                <a:lnTo>
                  <a:pt x="530" y="293"/>
                </a:lnTo>
                <a:lnTo>
                  <a:pt x="517" y="304"/>
                </a:lnTo>
                <a:lnTo>
                  <a:pt x="517" y="304"/>
                </a:lnTo>
                <a:lnTo>
                  <a:pt x="508" y="311"/>
                </a:lnTo>
                <a:lnTo>
                  <a:pt x="508" y="311"/>
                </a:lnTo>
                <a:lnTo>
                  <a:pt x="510" y="311"/>
                </a:lnTo>
                <a:lnTo>
                  <a:pt x="513" y="311"/>
                </a:lnTo>
                <a:lnTo>
                  <a:pt x="523" y="306"/>
                </a:lnTo>
                <a:lnTo>
                  <a:pt x="532" y="300"/>
                </a:lnTo>
                <a:lnTo>
                  <a:pt x="536" y="300"/>
                </a:lnTo>
                <a:lnTo>
                  <a:pt x="539" y="300"/>
                </a:lnTo>
                <a:lnTo>
                  <a:pt x="539" y="300"/>
                </a:lnTo>
                <a:lnTo>
                  <a:pt x="547" y="306"/>
                </a:lnTo>
                <a:lnTo>
                  <a:pt x="551" y="313"/>
                </a:lnTo>
                <a:lnTo>
                  <a:pt x="554" y="322"/>
                </a:lnTo>
                <a:lnTo>
                  <a:pt x="556" y="334"/>
                </a:lnTo>
                <a:lnTo>
                  <a:pt x="558" y="354"/>
                </a:lnTo>
                <a:lnTo>
                  <a:pt x="560" y="363"/>
                </a:lnTo>
                <a:lnTo>
                  <a:pt x="565" y="372"/>
                </a:lnTo>
                <a:lnTo>
                  <a:pt x="565" y="372"/>
                </a:lnTo>
                <a:lnTo>
                  <a:pt x="567" y="376"/>
                </a:lnTo>
                <a:lnTo>
                  <a:pt x="569" y="382"/>
                </a:lnTo>
                <a:lnTo>
                  <a:pt x="569" y="385"/>
                </a:lnTo>
                <a:lnTo>
                  <a:pt x="569" y="389"/>
                </a:lnTo>
                <a:lnTo>
                  <a:pt x="569" y="389"/>
                </a:lnTo>
                <a:lnTo>
                  <a:pt x="571" y="389"/>
                </a:lnTo>
                <a:lnTo>
                  <a:pt x="573" y="389"/>
                </a:lnTo>
                <a:lnTo>
                  <a:pt x="575" y="382"/>
                </a:lnTo>
                <a:lnTo>
                  <a:pt x="573" y="372"/>
                </a:lnTo>
                <a:lnTo>
                  <a:pt x="573" y="367"/>
                </a:lnTo>
                <a:lnTo>
                  <a:pt x="573" y="367"/>
                </a:lnTo>
                <a:lnTo>
                  <a:pt x="569" y="363"/>
                </a:lnTo>
                <a:lnTo>
                  <a:pt x="569" y="359"/>
                </a:lnTo>
                <a:lnTo>
                  <a:pt x="571" y="354"/>
                </a:lnTo>
                <a:lnTo>
                  <a:pt x="573" y="346"/>
                </a:lnTo>
                <a:lnTo>
                  <a:pt x="575" y="339"/>
                </a:lnTo>
                <a:lnTo>
                  <a:pt x="575" y="339"/>
                </a:lnTo>
                <a:lnTo>
                  <a:pt x="571" y="322"/>
                </a:lnTo>
                <a:lnTo>
                  <a:pt x="569" y="313"/>
                </a:lnTo>
                <a:lnTo>
                  <a:pt x="569" y="309"/>
                </a:lnTo>
                <a:lnTo>
                  <a:pt x="571" y="308"/>
                </a:lnTo>
                <a:lnTo>
                  <a:pt x="571" y="308"/>
                </a:lnTo>
                <a:lnTo>
                  <a:pt x="575" y="308"/>
                </a:lnTo>
                <a:lnTo>
                  <a:pt x="578" y="311"/>
                </a:lnTo>
                <a:lnTo>
                  <a:pt x="586" y="324"/>
                </a:lnTo>
                <a:lnTo>
                  <a:pt x="595" y="337"/>
                </a:lnTo>
                <a:lnTo>
                  <a:pt x="599" y="339"/>
                </a:lnTo>
                <a:lnTo>
                  <a:pt x="601" y="339"/>
                </a:lnTo>
                <a:lnTo>
                  <a:pt x="601" y="339"/>
                </a:lnTo>
                <a:lnTo>
                  <a:pt x="601" y="339"/>
                </a:lnTo>
                <a:lnTo>
                  <a:pt x="601" y="335"/>
                </a:lnTo>
                <a:lnTo>
                  <a:pt x="601" y="335"/>
                </a:lnTo>
                <a:lnTo>
                  <a:pt x="597" y="330"/>
                </a:lnTo>
                <a:lnTo>
                  <a:pt x="595" y="322"/>
                </a:lnTo>
                <a:lnTo>
                  <a:pt x="591" y="308"/>
                </a:lnTo>
                <a:lnTo>
                  <a:pt x="593" y="291"/>
                </a:lnTo>
                <a:lnTo>
                  <a:pt x="597" y="274"/>
                </a:lnTo>
                <a:lnTo>
                  <a:pt x="604" y="261"/>
                </a:lnTo>
                <a:lnTo>
                  <a:pt x="614" y="248"/>
                </a:lnTo>
                <a:lnTo>
                  <a:pt x="619" y="245"/>
                </a:lnTo>
                <a:lnTo>
                  <a:pt x="627" y="243"/>
                </a:lnTo>
                <a:lnTo>
                  <a:pt x="632" y="241"/>
                </a:lnTo>
                <a:lnTo>
                  <a:pt x="640" y="241"/>
                </a:lnTo>
                <a:lnTo>
                  <a:pt x="640" y="241"/>
                </a:lnTo>
                <a:lnTo>
                  <a:pt x="645" y="243"/>
                </a:lnTo>
                <a:lnTo>
                  <a:pt x="647" y="246"/>
                </a:lnTo>
                <a:lnTo>
                  <a:pt x="647" y="254"/>
                </a:lnTo>
                <a:lnTo>
                  <a:pt x="647" y="261"/>
                </a:lnTo>
                <a:lnTo>
                  <a:pt x="643" y="274"/>
                </a:lnTo>
                <a:lnTo>
                  <a:pt x="643" y="280"/>
                </a:lnTo>
                <a:lnTo>
                  <a:pt x="645" y="283"/>
                </a:lnTo>
                <a:lnTo>
                  <a:pt x="645" y="283"/>
                </a:lnTo>
                <a:lnTo>
                  <a:pt x="649" y="282"/>
                </a:lnTo>
                <a:lnTo>
                  <a:pt x="653" y="278"/>
                </a:lnTo>
                <a:lnTo>
                  <a:pt x="656" y="276"/>
                </a:lnTo>
                <a:lnTo>
                  <a:pt x="656" y="276"/>
                </a:lnTo>
                <a:lnTo>
                  <a:pt x="656" y="276"/>
                </a:lnTo>
                <a:lnTo>
                  <a:pt x="656" y="276"/>
                </a:lnTo>
                <a:lnTo>
                  <a:pt x="658" y="283"/>
                </a:lnTo>
                <a:lnTo>
                  <a:pt x="662" y="293"/>
                </a:lnTo>
                <a:lnTo>
                  <a:pt x="665" y="296"/>
                </a:lnTo>
                <a:lnTo>
                  <a:pt x="669" y="298"/>
                </a:lnTo>
                <a:lnTo>
                  <a:pt x="673" y="298"/>
                </a:lnTo>
                <a:lnTo>
                  <a:pt x="677" y="296"/>
                </a:lnTo>
                <a:lnTo>
                  <a:pt x="677" y="296"/>
                </a:lnTo>
                <a:lnTo>
                  <a:pt x="680" y="291"/>
                </a:lnTo>
                <a:lnTo>
                  <a:pt x="680" y="287"/>
                </a:lnTo>
                <a:lnTo>
                  <a:pt x="677" y="283"/>
                </a:lnTo>
                <a:lnTo>
                  <a:pt x="673" y="280"/>
                </a:lnTo>
                <a:lnTo>
                  <a:pt x="669" y="278"/>
                </a:lnTo>
                <a:lnTo>
                  <a:pt x="669" y="274"/>
                </a:lnTo>
                <a:lnTo>
                  <a:pt x="673" y="270"/>
                </a:lnTo>
                <a:lnTo>
                  <a:pt x="682" y="269"/>
                </a:lnTo>
                <a:lnTo>
                  <a:pt x="682" y="269"/>
                </a:lnTo>
                <a:lnTo>
                  <a:pt x="684" y="269"/>
                </a:lnTo>
                <a:lnTo>
                  <a:pt x="684" y="270"/>
                </a:lnTo>
                <a:lnTo>
                  <a:pt x="686" y="276"/>
                </a:lnTo>
                <a:lnTo>
                  <a:pt x="688" y="283"/>
                </a:lnTo>
                <a:lnTo>
                  <a:pt x="690" y="283"/>
                </a:lnTo>
                <a:lnTo>
                  <a:pt x="690" y="283"/>
                </a:lnTo>
                <a:lnTo>
                  <a:pt x="690" y="283"/>
                </a:lnTo>
                <a:lnTo>
                  <a:pt x="697" y="272"/>
                </a:lnTo>
                <a:lnTo>
                  <a:pt x="701" y="261"/>
                </a:lnTo>
                <a:lnTo>
                  <a:pt x="704" y="250"/>
                </a:lnTo>
                <a:lnTo>
                  <a:pt x="704" y="241"/>
                </a:lnTo>
                <a:lnTo>
                  <a:pt x="704" y="232"/>
                </a:lnTo>
                <a:lnTo>
                  <a:pt x="704" y="222"/>
                </a:lnTo>
                <a:lnTo>
                  <a:pt x="699" y="206"/>
                </a:lnTo>
                <a:lnTo>
                  <a:pt x="691" y="187"/>
                </a:lnTo>
                <a:lnTo>
                  <a:pt x="684" y="170"/>
                </a:lnTo>
                <a:lnTo>
                  <a:pt x="680" y="150"/>
                </a:lnTo>
                <a:lnTo>
                  <a:pt x="680" y="141"/>
                </a:lnTo>
                <a:lnTo>
                  <a:pt x="680" y="130"/>
                </a:lnTo>
                <a:lnTo>
                  <a:pt x="680" y="130"/>
                </a:lnTo>
                <a:lnTo>
                  <a:pt x="684" y="126"/>
                </a:lnTo>
                <a:lnTo>
                  <a:pt x="688" y="124"/>
                </a:lnTo>
                <a:lnTo>
                  <a:pt x="704" y="122"/>
                </a:lnTo>
                <a:lnTo>
                  <a:pt x="721" y="120"/>
                </a:lnTo>
                <a:lnTo>
                  <a:pt x="734" y="117"/>
                </a:lnTo>
                <a:lnTo>
                  <a:pt x="734" y="117"/>
                </a:lnTo>
                <a:lnTo>
                  <a:pt x="738" y="118"/>
                </a:lnTo>
                <a:lnTo>
                  <a:pt x="741" y="122"/>
                </a:lnTo>
                <a:lnTo>
                  <a:pt x="751" y="143"/>
                </a:lnTo>
                <a:lnTo>
                  <a:pt x="751" y="143"/>
                </a:lnTo>
                <a:lnTo>
                  <a:pt x="751" y="143"/>
                </a:lnTo>
                <a:lnTo>
                  <a:pt x="758" y="156"/>
                </a:lnTo>
                <a:lnTo>
                  <a:pt x="764" y="165"/>
                </a:lnTo>
                <a:lnTo>
                  <a:pt x="771" y="172"/>
                </a:lnTo>
                <a:lnTo>
                  <a:pt x="779" y="178"/>
                </a:lnTo>
                <a:lnTo>
                  <a:pt x="792" y="183"/>
                </a:lnTo>
                <a:lnTo>
                  <a:pt x="797" y="187"/>
                </a:lnTo>
                <a:lnTo>
                  <a:pt x="801" y="193"/>
                </a:lnTo>
                <a:lnTo>
                  <a:pt x="801" y="193"/>
                </a:lnTo>
                <a:lnTo>
                  <a:pt x="805" y="200"/>
                </a:lnTo>
                <a:lnTo>
                  <a:pt x="806" y="207"/>
                </a:lnTo>
                <a:lnTo>
                  <a:pt x="806" y="217"/>
                </a:lnTo>
                <a:lnTo>
                  <a:pt x="810" y="224"/>
                </a:lnTo>
                <a:lnTo>
                  <a:pt x="810" y="224"/>
                </a:lnTo>
                <a:lnTo>
                  <a:pt x="812" y="224"/>
                </a:lnTo>
                <a:lnTo>
                  <a:pt x="812" y="224"/>
                </a:lnTo>
                <a:lnTo>
                  <a:pt x="816" y="226"/>
                </a:lnTo>
                <a:lnTo>
                  <a:pt x="819" y="226"/>
                </a:lnTo>
                <a:lnTo>
                  <a:pt x="821" y="226"/>
                </a:lnTo>
                <a:lnTo>
                  <a:pt x="823" y="224"/>
                </a:lnTo>
                <a:lnTo>
                  <a:pt x="825" y="220"/>
                </a:lnTo>
                <a:lnTo>
                  <a:pt x="827" y="220"/>
                </a:lnTo>
                <a:lnTo>
                  <a:pt x="829" y="220"/>
                </a:lnTo>
                <a:lnTo>
                  <a:pt x="829" y="220"/>
                </a:lnTo>
                <a:lnTo>
                  <a:pt x="834" y="220"/>
                </a:lnTo>
                <a:lnTo>
                  <a:pt x="836" y="222"/>
                </a:lnTo>
                <a:lnTo>
                  <a:pt x="840" y="226"/>
                </a:lnTo>
                <a:lnTo>
                  <a:pt x="842" y="230"/>
                </a:lnTo>
                <a:lnTo>
                  <a:pt x="845" y="228"/>
                </a:lnTo>
                <a:lnTo>
                  <a:pt x="845" y="228"/>
                </a:lnTo>
                <a:lnTo>
                  <a:pt x="851" y="226"/>
                </a:lnTo>
                <a:lnTo>
                  <a:pt x="853" y="222"/>
                </a:lnTo>
                <a:lnTo>
                  <a:pt x="855" y="217"/>
                </a:lnTo>
                <a:lnTo>
                  <a:pt x="855" y="213"/>
                </a:lnTo>
                <a:lnTo>
                  <a:pt x="853" y="204"/>
                </a:lnTo>
                <a:lnTo>
                  <a:pt x="849" y="194"/>
                </a:lnTo>
                <a:lnTo>
                  <a:pt x="838" y="176"/>
                </a:lnTo>
                <a:lnTo>
                  <a:pt x="832" y="169"/>
                </a:lnTo>
                <a:lnTo>
                  <a:pt x="832" y="165"/>
                </a:lnTo>
                <a:lnTo>
                  <a:pt x="832" y="165"/>
                </a:lnTo>
                <a:lnTo>
                  <a:pt x="832" y="163"/>
                </a:lnTo>
                <a:lnTo>
                  <a:pt x="834" y="161"/>
                </a:lnTo>
                <a:lnTo>
                  <a:pt x="840" y="157"/>
                </a:lnTo>
                <a:lnTo>
                  <a:pt x="845" y="156"/>
                </a:lnTo>
                <a:lnTo>
                  <a:pt x="847" y="154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44"/>
                </a:lnTo>
                <a:lnTo>
                  <a:pt x="847" y="137"/>
                </a:lnTo>
                <a:lnTo>
                  <a:pt x="851" y="133"/>
                </a:lnTo>
                <a:lnTo>
                  <a:pt x="853" y="130"/>
                </a:lnTo>
                <a:lnTo>
                  <a:pt x="858" y="128"/>
                </a:lnTo>
                <a:lnTo>
                  <a:pt x="862" y="126"/>
                </a:lnTo>
                <a:lnTo>
                  <a:pt x="873" y="126"/>
                </a:lnTo>
                <a:lnTo>
                  <a:pt x="884" y="128"/>
                </a:lnTo>
                <a:lnTo>
                  <a:pt x="895" y="131"/>
                </a:lnTo>
                <a:lnTo>
                  <a:pt x="903" y="133"/>
                </a:lnTo>
                <a:lnTo>
                  <a:pt x="906" y="133"/>
                </a:lnTo>
                <a:lnTo>
                  <a:pt x="906" y="133"/>
                </a:lnTo>
                <a:lnTo>
                  <a:pt x="908" y="131"/>
                </a:lnTo>
                <a:lnTo>
                  <a:pt x="910" y="130"/>
                </a:lnTo>
                <a:lnTo>
                  <a:pt x="906" y="122"/>
                </a:lnTo>
                <a:lnTo>
                  <a:pt x="903" y="117"/>
                </a:lnTo>
                <a:lnTo>
                  <a:pt x="903" y="113"/>
                </a:lnTo>
                <a:lnTo>
                  <a:pt x="903" y="109"/>
                </a:lnTo>
                <a:lnTo>
                  <a:pt x="903" y="109"/>
                </a:lnTo>
                <a:lnTo>
                  <a:pt x="905" y="107"/>
                </a:lnTo>
                <a:lnTo>
                  <a:pt x="908" y="104"/>
                </a:lnTo>
                <a:lnTo>
                  <a:pt x="918" y="102"/>
                </a:lnTo>
                <a:lnTo>
                  <a:pt x="918" y="102"/>
                </a:lnTo>
                <a:lnTo>
                  <a:pt x="918" y="102"/>
                </a:lnTo>
                <a:lnTo>
                  <a:pt x="919" y="100"/>
                </a:lnTo>
                <a:lnTo>
                  <a:pt x="921" y="102"/>
                </a:lnTo>
                <a:lnTo>
                  <a:pt x="925" y="105"/>
                </a:lnTo>
                <a:lnTo>
                  <a:pt x="929" y="111"/>
                </a:lnTo>
                <a:lnTo>
                  <a:pt x="931" y="111"/>
                </a:lnTo>
                <a:lnTo>
                  <a:pt x="932" y="111"/>
                </a:lnTo>
                <a:lnTo>
                  <a:pt x="932" y="111"/>
                </a:lnTo>
                <a:lnTo>
                  <a:pt x="936" y="109"/>
                </a:lnTo>
                <a:lnTo>
                  <a:pt x="938" y="105"/>
                </a:lnTo>
                <a:lnTo>
                  <a:pt x="938" y="100"/>
                </a:lnTo>
                <a:lnTo>
                  <a:pt x="940" y="98"/>
                </a:lnTo>
                <a:lnTo>
                  <a:pt x="940" y="96"/>
                </a:lnTo>
                <a:lnTo>
                  <a:pt x="944" y="96"/>
                </a:lnTo>
                <a:lnTo>
                  <a:pt x="949" y="98"/>
                </a:lnTo>
                <a:lnTo>
                  <a:pt x="949" y="98"/>
                </a:lnTo>
                <a:lnTo>
                  <a:pt x="953" y="100"/>
                </a:lnTo>
                <a:lnTo>
                  <a:pt x="953" y="102"/>
                </a:lnTo>
                <a:lnTo>
                  <a:pt x="953" y="102"/>
                </a:lnTo>
                <a:lnTo>
                  <a:pt x="949" y="107"/>
                </a:lnTo>
                <a:lnTo>
                  <a:pt x="949" y="111"/>
                </a:lnTo>
                <a:lnTo>
                  <a:pt x="949" y="113"/>
                </a:lnTo>
                <a:lnTo>
                  <a:pt x="951" y="113"/>
                </a:lnTo>
                <a:lnTo>
                  <a:pt x="957" y="109"/>
                </a:lnTo>
                <a:lnTo>
                  <a:pt x="957" y="109"/>
                </a:lnTo>
                <a:lnTo>
                  <a:pt x="960" y="105"/>
                </a:lnTo>
                <a:lnTo>
                  <a:pt x="964" y="105"/>
                </a:lnTo>
                <a:lnTo>
                  <a:pt x="964" y="105"/>
                </a:lnTo>
                <a:lnTo>
                  <a:pt x="971" y="105"/>
                </a:lnTo>
                <a:lnTo>
                  <a:pt x="975" y="107"/>
                </a:lnTo>
                <a:lnTo>
                  <a:pt x="977" y="111"/>
                </a:lnTo>
                <a:lnTo>
                  <a:pt x="977" y="117"/>
                </a:lnTo>
                <a:lnTo>
                  <a:pt x="973" y="124"/>
                </a:lnTo>
                <a:lnTo>
                  <a:pt x="973" y="128"/>
                </a:lnTo>
                <a:lnTo>
                  <a:pt x="973" y="128"/>
                </a:lnTo>
                <a:lnTo>
                  <a:pt x="975" y="131"/>
                </a:lnTo>
                <a:lnTo>
                  <a:pt x="981" y="131"/>
                </a:lnTo>
                <a:lnTo>
                  <a:pt x="988" y="133"/>
                </a:lnTo>
                <a:lnTo>
                  <a:pt x="992" y="135"/>
                </a:lnTo>
                <a:lnTo>
                  <a:pt x="994" y="139"/>
                </a:lnTo>
                <a:lnTo>
                  <a:pt x="994" y="146"/>
                </a:lnTo>
                <a:lnTo>
                  <a:pt x="994" y="156"/>
                </a:lnTo>
                <a:lnTo>
                  <a:pt x="994" y="156"/>
                </a:lnTo>
                <a:lnTo>
                  <a:pt x="992" y="159"/>
                </a:lnTo>
                <a:lnTo>
                  <a:pt x="994" y="161"/>
                </a:lnTo>
                <a:lnTo>
                  <a:pt x="994" y="161"/>
                </a:lnTo>
                <a:lnTo>
                  <a:pt x="1001" y="167"/>
                </a:lnTo>
                <a:lnTo>
                  <a:pt x="1007" y="170"/>
                </a:lnTo>
                <a:lnTo>
                  <a:pt x="1021" y="176"/>
                </a:lnTo>
                <a:lnTo>
                  <a:pt x="1034" y="181"/>
                </a:lnTo>
                <a:lnTo>
                  <a:pt x="1042" y="185"/>
                </a:lnTo>
                <a:lnTo>
                  <a:pt x="1047" y="193"/>
                </a:lnTo>
                <a:lnTo>
                  <a:pt x="1047" y="193"/>
                </a:lnTo>
                <a:lnTo>
                  <a:pt x="1051" y="198"/>
                </a:lnTo>
                <a:lnTo>
                  <a:pt x="1053" y="206"/>
                </a:lnTo>
                <a:lnTo>
                  <a:pt x="1055" y="226"/>
                </a:lnTo>
                <a:lnTo>
                  <a:pt x="1057" y="235"/>
                </a:lnTo>
                <a:lnTo>
                  <a:pt x="1060" y="243"/>
                </a:lnTo>
                <a:lnTo>
                  <a:pt x="1064" y="250"/>
                </a:lnTo>
                <a:lnTo>
                  <a:pt x="1070" y="254"/>
                </a:lnTo>
                <a:lnTo>
                  <a:pt x="1070" y="254"/>
                </a:lnTo>
                <a:lnTo>
                  <a:pt x="1071" y="254"/>
                </a:lnTo>
                <a:lnTo>
                  <a:pt x="1073" y="252"/>
                </a:lnTo>
                <a:lnTo>
                  <a:pt x="1073" y="246"/>
                </a:lnTo>
                <a:lnTo>
                  <a:pt x="1070" y="235"/>
                </a:lnTo>
                <a:lnTo>
                  <a:pt x="1070" y="235"/>
                </a:lnTo>
                <a:lnTo>
                  <a:pt x="1066" y="228"/>
                </a:lnTo>
                <a:lnTo>
                  <a:pt x="1064" y="219"/>
                </a:lnTo>
                <a:lnTo>
                  <a:pt x="1062" y="202"/>
                </a:lnTo>
                <a:lnTo>
                  <a:pt x="1062" y="194"/>
                </a:lnTo>
                <a:lnTo>
                  <a:pt x="1060" y="185"/>
                </a:lnTo>
                <a:lnTo>
                  <a:pt x="1055" y="176"/>
                </a:lnTo>
                <a:lnTo>
                  <a:pt x="1045" y="163"/>
                </a:lnTo>
                <a:lnTo>
                  <a:pt x="1045" y="163"/>
                </a:lnTo>
                <a:lnTo>
                  <a:pt x="1040" y="157"/>
                </a:lnTo>
                <a:lnTo>
                  <a:pt x="1034" y="152"/>
                </a:lnTo>
                <a:lnTo>
                  <a:pt x="1034" y="152"/>
                </a:lnTo>
                <a:lnTo>
                  <a:pt x="1034" y="152"/>
                </a:lnTo>
                <a:lnTo>
                  <a:pt x="1029" y="143"/>
                </a:lnTo>
                <a:lnTo>
                  <a:pt x="1025" y="135"/>
                </a:lnTo>
                <a:lnTo>
                  <a:pt x="1023" y="128"/>
                </a:lnTo>
                <a:lnTo>
                  <a:pt x="1023" y="122"/>
                </a:lnTo>
                <a:lnTo>
                  <a:pt x="1027" y="117"/>
                </a:lnTo>
                <a:lnTo>
                  <a:pt x="1029" y="113"/>
                </a:lnTo>
                <a:lnTo>
                  <a:pt x="1034" y="109"/>
                </a:lnTo>
                <a:lnTo>
                  <a:pt x="1040" y="107"/>
                </a:lnTo>
                <a:lnTo>
                  <a:pt x="1053" y="105"/>
                </a:lnTo>
                <a:lnTo>
                  <a:pt x="1070" y="105"/>
                </a:lnTo>
                <a:lnTo>
                  <a:pt x="1084" y="107"/>
                </a:lnTo>
                <a:lnTo>
                  <a:pt x="1096" y="111"/>
                </a:lnTo>
                <a:lnTo>
                  <a:pt x="1096" y="111"/>
                </a:lnTo>
                <a:lnTo>
                  <a:pt x="1103" y="115"/>
                </a:lnTo>
                <a:lnTo>
                  <a:pt x="1109" y="118"/>
                </a:lnTo>
                <a:lnTo>
                  <a:pt x="1121" y="131"/>
                </a:lnTo>
                <a:lnTo>
                  <a:pt x="1142" y="156"/>
                </a:lnTo>
                <a:lnTo>
                  <a:pt x="1142" y="156"/>
                </a:lnTo>
                <a:lnTo>
                  <a:pt x="1151" y="169"/>
                </a:lnTo>
                <a:lnTo>
                  <a:pt x="1157" y="178"/>
                </a:lnTo>
                <a:lnTo>
                  <a:pt x="1157" y="178"/>
                </a:lnTo>
                <a:lnTo>
                  <a:pt x="1159" y="167"/>
                </a:lnTo>
                <a:lnTo>
                  <a:pt x="1157" y="161"/>
                </a:lnTo>
                <a:lnTo>
                  <a:pt x="1157" y="159"/>
                </a:lnTo>
                <a:lnTo>
                  <a:pt x="1155" y="157"/>
                </a:lnTo>
                <a:lnTo>
                  <a:pt x="1155" y="157"/>
                </a:lnTo>
                <a:lnTo>
                  <a:pt x="1151" y="157"/>
                </a:lnTo>
                <a:lnTo>
                  <a:pt x="1149" y="156"/>
                </a:lnTo>
                <a:lnTo>
                  <a:pt x="1149" y="154"/>
                </a:lnTo>
                <a:lnTo>
                  <a:pt x="1149" y="154"/>
                </a:lnTo>
                <a:lnTo>
                  <a:pt x="1151" y="152"/>
                </a:lnTo>
                <a:lnTo>
                  <a:pt x="1155" y="152"/>
                </a:lnTo>
                <a:lnTo>
                  <a:pt x="1155" y="152"/>
                </a:lnTo>
                <a:lnTo>
                  <a:pt x="1162" y="152"/>
                </a:lnTo>
                <a:lnTo>
                  <a:pt x="1168" y="152"/>
                </a:lnTo>
                <a:lnTo>
                  <a:pt x="1173" y="156"/>
                </a:lnTo>
                <a:lnTo>
                  <a:pt x="1177" y="161"/>
                </a:lnTo>
                <a:lnTo>
                  <a:pt x="1177" y="161"/>
                </a:lnTo>
                <a:lnTo>
                  <a:pt x="1177" y="163"/>
                </a:lnTo>
                <a:lnTo>
                  <a:pt x="1177" y="165"/>
                </a:lnTo>
                <a:lnTo>
                  <a:pt x="1179" y="165"/>
                </a:lnTo>
                <a:lnTo>
                  <a:pt x="1179" y="165"/>
                </a:lnTo>
                <a:lnTo>
                  <a:pt x="1185" y="157"/>
                </a:lnTo>
                <a:lnTo>
                  <a:pt x="1188" y="146"/>
                </a:lnTo>
                <a:lnTo>
                  <a:pt x="1196" y="122"/>
                </a:lnTo>
                <a:lnTo>
                  <a:pt x="1199" y="111"/>
                </a:lnTo>
                <a:lnTo>
                  <a:pt x="1205" y="102"/>
                </a:lnTo>
                <a:lnTo>
                  <a:pt x="1212" y="94"/>
                </a:lnTo>
                <a:lnTo>
                  <a:pt x="1218" y="93"/>
                </a:lnTo>
                <a:lnTo>
                  <a:pt x="1223" y="93"/>
                </a:lnTo>
                <a:lnTo>
                  <a:pt x="1223" y="93"/>
                </a:lnTo>
                <a:lnTo>
                  <a:pt x="1236" y="93"/>
                </a:lnTo>
                <a:lnTo>
                  <a:pt x="1242" y="93"/>
                </a:lnTo>
                <a:lnTo>
                  <a:pt x="1246" y="96"/>
                </a:lnTo>
                <a:lnTo>
                  <a:pt x="1249" y="100"/>
                </a:lnTo>
                <a:lnTo>
                  <a:pt x="1251" y="107"/>
                </a:lnTo>
                <a:lnTo>
                  <a:pt x="1255" y="113"/>
                </a:lnTo>
                <a:lnTo>
                  <a:pt x="1257" y="115"/>
                </a:lnTo>
                <a:lnTo>
                  <a:pt x="1261" y="117"/>
                </a:lnTo>
                <a:lnTo>
                  <a:pt x="1274" y="117"/>
                </a:lnTo>
                <a:lnTo>
                  <a:pt x="1292" y="115"/>
                </a:lnTo>
                <a:lnTo>
                  <a:pt x="1292" y="115"/>
                </a:lnTo>
                <a:lnTo>
                  <a:pt x="1296" y="117"/>
                </a:lnTo>
                <a:lnTo>
                  <a:pt x="1303" y="122"/>
                </a:lnTo>
                <a:lnTo>
                  <a:pt x="1309" y="126"/>
                </a:lnTo>
                <a:lnTo>
                  <a:pt x="1312" y="128"/>
                </a:lnTo>
                <a:lnTo>
                  <a:pt x="1314" y="126"/>
                </a:lnTo>
                <a:lnTo>
                  <a:pt x="1314" y="126"/>
                </a:lnTo>
                <a:lnTo>
                  <a:pt x="1312" y="122"/>
                </a:lnTo>
                <a:lnTo>
                  <a:pt x="1311" y="118"/>
                </a:lnTo>
                <a:lnTo>
                  <a:pt x="1311" y="118"/>
                </a:lnTo>
                <a:lnTo>
                  <a:pt x="1305" y="113"/>
                </a:lnTo>
                <a:lnTo>
                  <a:pt x="1303" y="111"/>
                </a:lnTo>
                <a:lnTo>
                  <a:pt x="1305" y="109"/>
                </a:lnTo>
                <a:lnTo>
                  <a:pt x="1309" y="104"/>
                </a:lnTo>
                <a:lnTo>
                  <a:pt x="1318" y="100"/>
                </a:lnTo>
                <a:lnTo>
                  <a:pt x="1318" y="100"/>
                </a:lnTo>
                <a:lnTo>
                  <a:pt x="1322" y="98"/>
                </a:lnTo>
                <a:lnTo>
                  <a:pt x="1327" y="100"/>
                </a:lnTo>
                <a:lnTo>
                  <a:pt x="1331" y="104"/>
                </a:lnTo>
                <a:lnTo>
                  <a:pt x="1335" y="109"/>
                </a:lnTo>
                <a:lnTo>
                  <a:pt x="1335" y="109"/>
                </a:lnTo>
                <a:lnTo>
                  <a:pt x="1337" y="109"/>
                </a:lnTo>
                <a:lnTo>
                  <a:pt x="1335" y="104"/>
                </a:lnTo>
                <a:lnTo>
                  <a:pt x="1335" y="96"/>
                </a:lnTo>
                <a:lnTo>
                  <a:pt x="1337" y="91"/>
                </a:lnTo>
                <a:lnTo>
                  <a:pt x="1340" y="87"/>
                </a:lnTo>
                <a:lnTo>
                  <a:pt x="1340" y="87"/>
                </a:lnTo>
                <a:lnTo>
                  <a:pt x="1342" y="81"/>
                </a:lnTo>
                <a:lnTo>
                  <a:pt x="1344" y="74"/>
                </a:lnTo>
                <a:lnTo>
                  <a:pt x="1344" y="74"/>
                </a:lnTo>
                <a:lnTo>
                  <a:pt x="1342" y="67"/>
                </a:lnTo>
                <a:lnTo>
                  <a:pt x="1338" y="59"/>
                </a:lnTo>
                <a:lnTo>
                  <a:pt x="1329" y="44"/>
                </a:lnTo>
                <a:lnTo>
                  <a:pt x="1320" y="29"/>
                </a:lnTo>
                <a:lnTo>
                  <a:pt x="1316" y="22"/>
                </a:lnTo>
                <a:lnTo>
                  <a:pt x="1316" y="16"/>
                </a:lnTo>
                <a:lnTo>
                  <a:pt x="1316" y="16"/>
                </a:lnTo>
                <a:lnTo>
                  <a:pt x="1320" y="11"/>
                </a:lnTo>
                <a:lnTo>
                  <a:pt x="1325" y="9"/>
                </a:lnTo>
                <a:lnTo>
                  <a:pt x="1333" y="7"/>
                </a:lnTo>
                <a:lnTo>
                  <a:pt x="1340" y="9"/>
                </a:lnTo>
                <a:lnTo>
                  <a:pt x="1355" y="15"/>
                </a:lnTo>
                <a:lnTo>
                  <a:pt x="1362" y="16"/>
                </a:lnTo>
                <a:lnTo>
                  <a:pt x="1362" y="16"/>
                </a:lnTo>
                <a:lnTo>
                  <a:pt x="1374" y="11"/>
                </a:lnTo>
                <a:lnTo>
                  <a:pt x="1392" y="4"/>
                </a:lnTo>
                <a:lnTo>
                  <a:pt x="1403" y="0"/>
                </a:lnTo>
                <a:lnTo>
                  <a:pt x="1414" y="0"/>
                </a:lnTo>
                <a:lnTo>
                  <a:pt x="1418" y="2"/>
                </a:lnTo>
                <a:lnTo>
                  <a:pt x="1424" y="5"/>
                </a:lnTo>
                <a:lnTo>
                  <a:pt x="1427" y="9"/>
                </a:lnTo>
                <a:lnTo>
                  <a:pt x="1429" y="15"/>
                </a:lnTo>
                <a:lnTo>
                  <a:pt x="1429" y="15"/>
                </a:lnTo>
                <a:lnTo>
                  <a:pt x="1431" y="18"/>
                </a:lnTo>
                <a:lnTo>
                  <a:pt x="1431" y="22"/>
                </a:lnTo>
                <a:lnTo>
                  <a:pt x="1429" y="29"/>
                </a:lnTo>
                <a:lnTo>
                  <a:pt x="1429" y="31"/>
                </a:lnTo>
                <a:lnTo>
                  <a:pt x="1431" y="35"/>
                </a:lnTo>
                <a:lnTo>
                  <a:pt x="1437" y="37"/>
                </a:lnTo>
                <a:lnTo>
                  <a:pt x="1448" y="37"/>
                </a:lnTo>
                <a:lnTo>
                  <a:pt x="1448" y="37"/>
                </a:lnTo>
                <a:lnTo>
                  <a:pt x="1459" y="39"/>
                </a:lnTo>
                <a:lnTo>
                  <a:pt x="1463" y="41"/>
                </a:lnTo>
                <a:lnTo>
                  <a:pt x="1463" y="44"/>
                </a:lnTo>
                <a:lnTo>
                  <a:pt x="1463" y="44"/>
                </a:lnTo>
                <a:lnTo>
                  <a:pt x="1461" y="59"/>
                </a:lnTo>
                <a:lnTo>
                  <a:pt x="1457" y="70"/>
                </a:lnTo>
                <a:lnTo>
                  <a:pt x="1455" y="76"/>
                </a:lnTo>
                <a:lnTo>
                  <a:pt x="1455" y="81"/>
                </a:lnTo>
                <a:lnTo>
                  <a:pt x="1459" y="85"/>
                </a:lnTo>
                <a:lnTo>
                  <a:pt x="1463" y="89"/>
                </a:lnTo>
                <a:lnTo>
                  <a:pt x="1463" y="89"/>
                </a:lnTo>
                <a:lnTo>
                  <a:pt x="1468" y="89"/>
                </a:lnTo>
                <a:lnTo>
                  <a:pt x="1474" y="89"/>
                </a:lnTo>
                <a:lnTo>
                  <a:pt x="1479" y="87"/>
                </a:lnTo>
                <a:lnTo>
                  <a:pt x="1483" y="87"/>
                </a:lnTo>
                <a:lnTo>
                  <a:pt x="1483" y="87"/>
                </a:lnTo>
                <a:lnTo>
                  <a:pt x="1489" y="91"/>
                </a:lnTo>
                <a:lnTo>
                  <a:pt x="1494" y="96"/>
                </a:lnTo>
                <a:lnTo>
                  <a:pt x="1502" y="102"/>
                </a:lnTo>
                <a:lnTo>
                  <a:pt x="1509" y="107"/>
                </a:lnTo>
                <a:lnTo>
                  <a:pt x="1509" y="107"/>
                </a:lnTo>
                <a:lnTo>
                  <a:pt x="1516" y="109"/>
                </a:lnTo>
                <a:lnTo>
                  <a:pt x="1520" y="109"/>
                </a:lnTo>
                <a:lnTo>
                  <a:pt x="1522" y="104"/>
                </a:lnTo>
                <a:lnTo>
                  <a:pt x="1520" y="98"/>
                </a:lnTo>
                <a:lnTo>
                  <a:pt x="1520" y="87"/>
                </a:lnTo>
                <a:lnTo>
                  <a:pt x="1520" y="81"/>
                </a:lnTo>
                <a:lnTo>
                  <a:pt x="1524" y="78"/>
                </a:lnTo>
                <a:lnTo>
                  <a:pt x="1524" y="78"/>
                </a:lnTo>
                <a:lnTo>
                  <a:pt x="1542" y="72"/>
                </a:lnTo>
                <a:lnTo>
                  <a:pt x="1555" y="68"/>
                </a:lnTo>
                <a:lnTo>
                  <a:pt x="1566" y="63"/>
                </a:lnTo>
                <a:lnTo>
                  <a:pt x="1581" y="50"/>
                </a:lnTo>
                <a:lnTo>
                  <a:pt x="1581" y="50"/>
                </a:lnTo>
                <a:lnTo>
                  <a:pt x="1585" y="48"/>
                </a:lnTo>
                <a:lnTo>
                  <a:pt x="1594" y="46"/>
                </a:lnTo>
                <a:lnTo>
                  <a:pt x="1616" y="44"/>
                </a:lnTo>
                <a:lnTo>
                  <a:pt x="1639" y="42"/>
                </a:lnTo>
                <a:lnTo>
                  <a:pt x="1646" y="42"/>
                </a:lnTo>
                <a:lnTo>
                  <a:pt x="1650" y="44"/>
                </a:lnTo>
                <a:lnTo>
                  <a:pt x="1650" y="44"/>
                </a:lnTo>
                <a:lnTo>
                  <a:pt x="1644" y="46"/>
                </a:lnTo>
                <a:lnTo>
                  <a:pt x="1631" y="52"/>
                </a:lnTo>
                <a:lnTo>
                  <a:pt x="1609" y="61"/>
                </a:lnTo>
                <a:lnTo>
                  <a:pt x="1609" y="61"/>
                </a:lnTo>
                <a:lnTo>
                  <a:pt x="1590" y="68"/>
                </a:lnTo>
                <a:lnTo>
                  <a:pt x="1579" y="72"/>
                </a:lnTo>
                <a:lnTo>
                  <a:pt x="1576" y="76"/>
                </a:lnTo>
                <a:lnTo>
                  <a:pt x="1576" y="76"/>
                </a:lnTo>
                <a:lnTo>
                  <a:pt x="1576" y="76"/>
                </a:lnTo>
                <a:lnTo>
                  <a:pt x="1579" y="80"/>
                </a:lnTo>
                <a:lnTo>
                  <a:pt x="1583" y="83"/>
                </a:lnTo>
                <a:lnTo>
                  <a:pt x="1587" y="87"/>
                </a:lnTo>
                <a:lnTo>
                  <a:pt x="1589" y="91"/>
                </a:lnTo>
                <a:lnTo>
                  <a:pt x="1589" y="91"/>
                </a:lnTo>
                <a:lnTo>
                  <a:pt x="1589" y="96"/>
                </a:lnTo>
                <a:lnTo>
                  <a:pt x="1585" y="100"/>
                </a:lnTo>
                <a:lnTo>
                  <a:pt x="1585" y="100"/>
                </a:lnTo>
                <a:lnTo>
                  <a:pt x="1578" y="105"/>
                </a:lnTo>
                <a:lnTo>
                  <a:pt x="1565" y="111"/>
                </a:lnTo>
                <a:lnTo>
                  <a:pt x="1552" y="117"/>
                </a:lnTo>
                <a:lnTo>
                  <a:pt x="1550" y="120"/>
                </a:lnTo>
                <a:lnTo>
                  <a:pt x="1548" y="122"/>
                </a:lnTo>
                <a:lnTo>
                  <a:pt x="1548" y="122"/>
                </a:lnTo>
                <a:lnTo>
                  <a:pt x="1553" y="128"/>
                </a:lnTo>
                <a:lnTo>
                  <a:pt x="1557" y="131"/>
                </a:lnTo>
                <a:lnTo>
                  <a:pt x="1570" y="137"/>
                </a:lnTo>
                <a:lnTo>
                  <a:pt x="1583" y="139"/>
                </a:lnTo>
                <a:lnTo>
                  <a:pt x="1596" y="139"/>
                </a:lnTo>
                <a:lnTo>
                  <a:pt x="1620" y="137"/>
                </a:lnTo>
                <a:lnTo>
                  <a:pt x="1628" y="137"/>
                </a:lnTo>
                <a:lnTo>
                  <a:pt x="1633" y="141"/>
                </a:lnTo>
                <a:lnTo>
                  <a:pt x="1633" y="141"/>
                </a:lnTo>
                <a:lnTo>
                  <a:pt x="1639" y="148"/>
                </a:lnTo>
                <a:lnTo>
                  <a:pt x="1641" y="154"/>
                </a:lnTo>
                <a:lnTo>
                  <a:pt x="1642" y="161"/>
                </a:lnTo>
                <a:lnTo>
                  <a:pt x="1642" y="167"/>
                </a:lnTo>
                <a:lnTo>
                  <a:pt x="1641" y="170"/>
                </a:lnTo>
                <a:lnTo>
                  <a:pt x="1639" y="176"/>
                </a:lnTo>
                <a:lnTo>
                  <a:pt x="1633" y="183"/>
                </a:lnTo>
                <a:lnTo>
                  <a:pt x="1615" y="198"/>
                </a:lnTo>
                <a:lnTo>
                  <a:pt x="1607" y="206"/>
                </a:lnTo>
                <a:lnTo>
                  <a:pt x="1600" y="215"/>
                </a:lnTo>
                <a:lnTo>
                  <a:pt x="1600" y="215"/>
                </a:lnTo>
                <a:lnTo>
                  <a:pt x="1600" y="217"/>
                </a:lnTo>
                <a:lnTo>
                  <a:pt x="1602" y="217"/>
                </a:lnTo>
                <a:lnTo>
                  <a:pt x="1605" y="215"/>
                </a:lnTo>
                <a:lnTo>
                  <a:pt x="1611" y="213"/>
                </a:lnTo>
                <a:lnTo>
                  <a:pt x="1613" y="213"/>
                </a:lnTo>
                <a:lnTo>
                  <a:pt x="1613" y="215"/>
                </a:lnTo>
                <a:lnTo>
                  <a:pt x="1613" y="215"/>
                </a:lnTo>
                <a:lnTo>
                  <a:pt x="1613" y="219"/>
                </a:lnTo>
                <a:lnTo>
                  <a:pt x="1609" y="220"/>
                </a:lnTo>
                <a:lnTo>
                  <a:pt x="1607" y="224"/>
                </a:lnTo>
                <a:lnTo>
                  <a:pt x="1607" y="228"/>
                </a:lnTo>
                <a:lnTo>
                  <a:pt x="1607" y="228"/>
                </a:lnTo>
                <a:lnTo>
                  <a:pt x="1609" y="230"/>
                </a:lnTo>
                <a:lnTo>
                  <a:pt x="1611" y="230"/>
                </a:lnTo>
                <a:lnTo>
                  <a:pt x="1620" y="230"/>
                </a:lnTo>
                <a:lnTo>
                  <a:pt x="1646" y="220"/>
                </a:lnTo>
                <a:lnTo>
                  <a:pt x="1672" y="213"/>
                </a:lnTo>
                <a:lnTo>
                  <a:pt x="1681" y="211"/>
                </a:lnTo>
                <a:lnTo>
                  <a:pt x="1685" y="211"/>
                </a:lnTo>
                <a:lnTo>
                  <a:pt x="1687" y="213"/>
                </a:lnTo>
                <a:lnTo>
                  <a:pt x="1687" y="213"/>
                </a:lnTo>
                <a:lnTo>
                  <a:pt x="1687" y="215"/>
                </a:lnTo>
                <a:lnTo>
                  <a:pt x="1687" y="219"/>
                </a:lnTo>
                <a:lnTo>
                  <a:pt x="1683" y="222"/>
                </a:lnTo>
                <a:lnTo>
                  <a:pt x="1679" y="228"/>
                </a:lnTo>
                <a:lnTo>
                  <a:pt x="1678" y="230"/>
                </a:lnTo>
                <a:lnTo>
                  <a:pt x="1678" y="233"/>
                </a:lnTo>
                <a:lnTo>
                  <a:pt x="1678" y="233"/>
                </a:lnTo>
                <a:lnTo>
                  <a:pt x="1678" y="235"/>
                </a:lnTo>
                <a:lnTo>
                  <a:pt x="1681" y="237"/>
                </a:lnTo>
                <a:lnTo>
                  <a:pt x="1689" y="241"/>
                </a:lnTo>
                <a:lnTo>
                  <a:pt x="1694" y="243"/>
                </a:lnTo>
                <a:lnTo>
                  <a:pt x="1694" y="243"/>
                </a:lnTo>
                <a:lnTo>
                  <a:pt x="1694" y="245"/>
                </a:lnTo>
                <a:lnTo>
                  <a:pt x="1694" y="245"/>
                </a:lnTo>
                <a:lnTo>
                  <a:pt x="1685" y="250"/>
                </a:lnTo>
                <a:lnTo>
                  <a:pt x="1676" y="258"/>
                </a:lnTo>
                <a:lnTo>
                  <a:pt x="1676" y="258"/>
                </a:lnTo>
                <a:lnTo>
                  <a:pt x="1666" y="270"/>
                </a:lnTo>
                <a:lnTo>
                  <a:pt x="1655" y="282"/>
                </a:lnTo>
                <a:lnTo>
                  <a:pt x="1655" y="282"/>
                </a:lnTo>
                <a:lnTo>
                  <a:pt x="1650" y="291"/>
                </a:lnTo>
                <a:lnTo>
                  <a:pt x="1648" y="295"/>
                </a:lnTo>
                <a:lnTo>
                  <a:pt x="1648" y="295"/>
                </a:lnTo>
                <a:lnTo>
                  <a:pt x="1650" y="295"/>
                </a:lnTo>
                <a:lnTo>
                  <a:pt x="1650" y="295"/>
                </a:lnTo>
                <a:lnTo>
                  <a:pt x="1655" y="293"/>
                </a:lnTo>
                <a:lnTo>
                  <a:pt x="1661" y="289"/>
                </a:lnTo>
                <a:lnTo>
                  <a:pt x="1672" y="278"/>
                </a:lnTo>
                <a:lnTo>
                  <a:pt x="1685" y="265"/>
                </a:lnTo>
                <a:lnTo>
                  <a:pt x="1694" y="256"/>
                </a:lnTo>
                <a:lnTo>
                  <a:pt x="1694" y="256"/>
                </a:lnTo>
                <a:lnTo>
                  <a:pt x="1698" y="254"/>
                </a:lnTo>
                <a:lnTo>
                  <a:pt x="1700" y="254"/>
                </a:lnTo>
                <a:lnTo>
                  <a:pt x="1704" y="256"/>
                </a:lnTo>
                <a:lnTo>
                  <a:pt x="1704" y="256"/>
                </a:lnTo>
                <a:lnTo>
                  <a:pt x="1707" y="258"/>
                </a:lnTo>
                <a:lnTo>
                  <a:pt x="1707" y="256"/>
                </a:lnTo>
                <a:lnTo>
                  <a:pt x="1705" y="252"/>
                </a:lnTo>
                <a:lnTo>
                  <a:pt x="1705" y="252"/>
                </a:lnTo>
                <a:lnTo>
                  <a:pt x="1707" y="250"/>
                </a:lnTo>
                <a:lnTo>
                  <a:pt x="1709" y="252"/>
                </a:lnTo>
                <a:lnTo>
                  <a:pt x="1717" y="256"/>
                </a:lnTo>
                <a:lnTo>
                  <a:pt x="1717" y="256"/>
                </a:lnTo>
                <a:lnTo>
                  <a:pt x="1730" y="263"/>
                </a:lnTo>
                <a:lnTo>
                  <a:pt x="1737" y="265"/>
                </a:lnTo>
                <a:lnTo>
                  <a:pt x="1744" y="267"/>
                </a:lnTo>
                <a:lnTo>
                  <a:pt x="1744" y="267"/>
                </a:lnTo>
                <a:lnTo>
                  <a:pt x="1755" y="265"/>
                </a:lnTo>
                <a:lnTo>
                  <a:pt x="1761" y="267"/>
                </a:lnTo>
                <a:lnTo>
                  <a:pt x="1765" y="269"/>
                </a:lnTo>
                <a:lnTo>
                  <a:pt x="1767" y="272"/>
                </a:lnTo>
                <a:lnTo>
                  <a:pt x="1768" y="282"/>
                </a:lnTo>
                <a:lnTo>
                  <a:pt x="1770" y="285"/>
                </a:lnTo>
                <a:lnTo>
                  <a:pt x="1776" y="287"/>
                </a:lnTo>
                <a:lnTo>
                  <a:pt x="1776" y="287"/>
                </a:lnTo>
                <a:lnTo>
                  <a:pt x="1783" y="285"/>
                </a:lnTo>
                <a:lnTo>
                  <a:pt x="1793" y="283"/>
                </a:lnTo>
                <a:lnTo>
                  <a:pt x="1798" y="282"/>
                </a:lnTo>
                <a:lnTo>
                  <a:pt x="1804" y="283"/>
                </a:lnTo>
                <a:lnTo>
                  <a:pt x="1806" y="287"/>
                </a:lnTo>
                <a:lnTo>
                  <a:pt x="1807" y="293"/>
                </a:lnTo>
                <a:lnTo>
                  <a:pt x="1807" y="293"/>
                </a:lnTo>
                <a:lnTo>
                  <a:pt x="1806" y="304"/>
                </a:lnTo>
                <a:lnTo>
                  <a:pt x="1802" y="311"/>
                </a:lnTo>
                <a:lnTo>
                  <a:pt x="1796" y="319"/>
                </a:lnTo>
                <a:lnTo>
                  <a:pt x="1791" y="324"/>
                </a:lnTo>
                <a:lnTo>
                  <a:pt x="1780" y="332"/>
                </a:lnTo>
                <a:lnTo>
                  <a:pt x="1778" y="334"/>
                </a:lnTo>
                <a:lnTo>
                  <a:pt x="1778" y="334"/>
                </a:lnTo>
                <a:lnTo>
                  <a:pt x="1778" y="334"/>
                </a:lnTo>
                <a:lnTo>
                  <a:pt x="1785" y="337"/>
                </a:lnTo>
                <a:lnTo>
                  <a:pt x="1787" y="339"/>
                </a:lnTo>
                <a:lnTo>
                  <a:pt x="1785" y="343"/>
                </a:lnTo>
                <a:lnTo>
                  <a:pt x="1785" y="343"/>
                </a:lnTo>
                <a:lnTo>
                  <a:pt x="1776" y="345"/>
                </a:lnTo>
                <a:lnTo>
                  <a:pt x="1761" y="348"/>
                </a:lnTo>
                <a:lnTo>
                  <a:pt x="1748" y="354"/>
                </a:lnTo>
                <a:lnTo>
                  <a:pt x="1742" y="356"/>
                </a:lnTo>
                <a:lnTo>
                  <a:pt x="1742" y="359"/>
                </a:lnTo>
                <a:lnTo>
                  <a:pt x="1742" y="359"/>
                </a:lnTo>
                <a:lnTo>
                  <a:pt x="1744" y="359"/>
                </a:lnTo>
                <a:lnTo>
                  <a:pt x="1748" y="358"/>
                </a:lnTo>
                <a:lnTo>
                  <a:pt x="1754" y="356"/>
                </a:lnTo>
                <a:lnTo>
                  <a:pt x="1754" y="356"/>
                </a:lnTo>
                <a:lnTo>
                  <a:pt x="1767" y="354"/>
                </a:lnTo>
                <a:lnTo>
                  <a:pt x="1780" y="352"/>
                </a:lnTo>
                <a:lnTo>
                  <a:pt x="1793" y="350"/>
                </a:lnTo>
                <a:lnTo>
                  <a:pt x="1798" y="352"/>
                </a:lnTo>
                <a:lnTo>
                  <a:pt x="1804" y="354"/>
                </a:lnTo>
                <a:lnTo>
                  <a:pt x="1804" y="354"/>
                </a:lnTo>
                <a:lnTo>
                  <a:pt x="1811" y="356"/>
                </a:lnTo>
                <a:lnTo>
                  <a:pt x="1813" y="359"/>
                </a:lnTo>
                <a:lnTo>
                  <a:pt x="1815" y="361"/>
                </a:lnTo>
                <a:lnTo>
                  <a:pt x="1815" y="361"/>
                </a:lnTo>
                <a:lnTo>
                  <a:pt x="1813" y="365"/>
                </a:lnTo>
                <a:lnTo>
                  <a:pt x="1809" y="369"/>
                </a:lnTo>
                <a:lnTo>
                  <a:pt x="1806" y="372"/>
                </a:lnTo>
                <a:lnTo>
                  <a:pt x="1802" y="374"/>
                </a:lnTo>
                <a:lnTo>
                  <a:pt x="1791" y="374"/>
                </a:lnTo>
                <a:lnTo>
                  <a:pt x="1778" y="374"/>
                </a:lnTo>
                <a:lnTo>
                  <a:pt x="1754" y="374"/>
                </a:lnTo>
                <a:lnTo>
                  <a:pt x="1742" y="376"/>
                </a:lnTo>
                <a:lnTo>
                  <a:pt x="1739" y="378"/>
                </a:lnTo>
                <a:lnTo>
                  <a:pt x="1737" y="380"/>
                </a:lnTo>
                <a:lnTo>
                  <a:pt x="1737" y="380"/>
                </a:lnTo>
                <a:lnTo>
                  <a:pt x="1737" y="382"/>
                </a:lnTo>
                <a:lnTo>
                  <a:pt x="1739" y="382"/>
                </a:lnTo>
                <a:lnTo>
                  <a:pt x="1744" y="382"/>
                </a:lnTo>
                <a:lnTo>
                  <a:pt x="1754" y="382"/>
                </a:lnTo>
                <a:lnTo>
                  <a:pt x="1754" y="382"/>
                </a:lnTo>
                <a:lnTo>
                  <a:pt x="1781" y="382"/>
                </a:lnTo>
                <a:lnTo>
                  <a:pt x="1798" y="382"/>
                </a:lnTo>
                <a:lnTo>
                  <a:pt x="1806" y="384"/>
                </a:lnTo>
                <a:lnTo>
                  <a:pt x="1806" y="384"/>
                </a:lnTo>
                <a:lnTo>
                  <a:pt x="1806" y="387"/>
                </a:lnTo>
                <a:lnTo>
                  <a:pt x="1804" y="389"/>
                </a:lnTo>
                <a:lnTo>
                  <a:pt x="1794" y="391"/>
                </a:lnTo>
                <a:lnTo>
                  <a:pt x="1787" y="393"/>
                </a:lnTo>
                <a:lnTo>
                  <a:pt x="1785" y="395"/>
                </a:lnTo>
                <a:lnTo>
                  <a:pt x="1785" y="397"/>
                </a:lnTo>
                <a:lnTo>
                  <a:pt x="1785" y="397"/>
                </a:lnTo>
                <a:lnTo>
                  <a:pt x="1789" y="398"/>
                </a:lnTo>
                <a:lnTo>
                  <a:pt x="1793" y="400"/>
                </a:lnTo>
                <a:lnTo>
                  <a:pt x="1800" y="400"/>
                </a:lnTo>
                <a:lnTo>
                  <a:pt x="1807" y="398"/>
                </a:lnTo>
                <a:lnTo>
                  <a:pt x="1815" y="397"/>
                </a:lnTo>
                <a:lnTo>
                  <a:pt x="1820" y="395"/>
                </a:lnTo>
                <a:lnTo>
                  <a:pt x="1824" y="397"/>
                </a:lnTo>
                <a:lnTo>
                  <a:pt x="1826" y="402"/>
                </a:lnTo>
                <a:lnTo>
                  <a:pt x="1826" y="413"/>
                </a:lnTo>
                <a:lnTo>
                  <a:pt x="1826" y="413"/>
                </a:lnTo>
                <a:lnTo>
                  <a:pt x="1824" y="419"/>
                </a:lnTo>
                <a:lnTo>
                  <a:pt x="1818" y="423"/>
                </a:lnTo>
                <a:lnTo>
                  <a:pt x="1809" y="424"/>
                </a:lnTo>
                <a:lnTo>
                  <a:pt x="1809" y="424"/>
                </a:lnTo>
                <a:lnTo>
                  <a:pt x="1806" y="428"/>
                </a:lnTo>
                <a:lnTo>
                  <a:pt x="1806" y="432"/>
                </a:lnTo>
                <a:lnTo>
                  <a:pt x="1806" y="435"/>
                </a:lnTo>
                <a:lnTo>
                  <a:pt x="1804" y="437"/>
                </a:lnTo>
                <a:lnTo>
                  <a:pt x="1804" y="437"/>
                </a:lnTo>
                <a:lnTo>
                  <a:pt x="1794" y="441"/>
                </a:lnTo>
                <a:lnTo>
                  <a:pt x="1785" y="439"/>
                </a:lnTo>
                <a:lnTo>
                  <a:pt x="1778" y="435"/>
                </a:lnTo>
                <a:lnTo>
                  <a:pt x="1770" y="430"/>
                </a:lnTo>
                <a:lnTo>
                  <a:pt x="1755" y="419"/>
                </a:lnTo>
                <a:lnTo>
                  <a:pt x="1746" y="415"/>
                </a:lnTo>
                <a:lnTo>
                  <a:pt x="1739" y="413"/>
                </a:lnTo>
                <a:lnTo>
                  <a:pt x="1739" y="413"/>
                </a:lnTo>
                <a:lnTo>
                  <a:pt x="1737" y="413"/>
                </a:lnTo>
                <a:lnTo>
                  <a:pt x="1737" y="415"/>
                </a:lnTo>
                <a:lnTo>
                  <a:pt x="1741" y="417"/>
                </a:lnTo>
                <a:lnTo>
                  <a:pt x="1741" y="417"/>
                </a:lnTo>
                <a:lnTo>
                  <a:pt x="1744" y="421"/>
                </a:lnTo>
                <a:lnTo>
                  <a:pt x="1742" y="423"/>
                </a:lnTo>
                <a:lnTo>
                  <a:pt x="1733" y="423"/>
                </a:lnTo>
                <a:lnTo>
                  <a:pt x="1733" y="423"/>
                </a:lnTo>
                <a:lnTo>
                  <a:pt x="1717" y="423"/>
                </a:lnTo>
                <a:lnTo>
                  <a:pt x="1717" y="423"/>
                </a:lnTo>
                <a:lnTo>
                  <a:pt x="1709" y="424"/>
                </a:lnTo>
                <a:lnTo>
                  <a:pt x="1705" y="426"/>
                </a:lnTo>
                <a:lnTo>
                  <a:pt x="1704" y="426"/>
                </a:lnTo>
                <a:lnTo>
                  <a:pt x="1704" y="426"/>
                </a:lnTo>
                <a:lnTo>
                  <a:pt x="1705" y="428"/>
                </a:lnTo>
                <a:lnTo>
                  <a:pt x="1711" y="430"/>
                </a:lnTo>
                <a:lnTo>
                  <a:pt x="1718" y="430"/>
                </a:lnTo>
                <a:lnTo>
                  <a:pt x="1718" y="430"/>
                </a:lnTo>
                <a:lnTo>
                  <a:pt x="1735" y="432"/>
                </a:lnTo>
                <a:lnTo>
                  <a:pt x="1759" y="437"/>
                </a:lnTo>
                <a:lnTo>
                  <a:pt x="1772" y="441"/>
                </a:lnTo>
                <a:lnTo>
                  <a:pt x="1781" y="445"/>
                </a:lnTo>
                <a:lnTo>
                  <a:pt x="1789" y="450"/>
                </a:lnTo>
                <a:lnTo>
                  <a:pt x="1791" y="454"/>
                </a:lnTo>
                <a:lnTo>
                  <a:pt x="1793" y="456"/>
                </a:lnTo>
                <a:lnTo>
                  <a:pt x="1793" y="456"/>
                </a:lnTo>
                <a:lnTo>
                  <a:pt x="1793" y="458"/>
                </a:lnTo>
                <a:lnTo>
                  <a:pt x="1791" y="458"/>
                </a:lnTo>
                <a:lnTo>
                  <a:pt x="1785" y="460"/>
                </a:lnTo>
                <a:lnTo>
                  <a:pt x="1765" y="458"/>
                </a:lnTo>
                <a:lnTo>
                  <a:pt x="1746" y="454"/>
                </a:lnTo>
                <a:lnTo>
                  <a:pt x="1735" y="454"/>
                </a:lnTo>
                <a:lnTo>
                  <a:pt x="1735" y="454"/>
                </a:lnTo>
                <a:lnTo>
                  <a:pt x="1733" y="454"/>
                </a:lnTo>
                <a:lnTo>
                  <a:pt x="1735" y="456"/>
                </a:lnTo>
                <a:lnTo>
                  <a:pt x="1739" y="458"/>
                </a:lnTo>
                <a:lnTo>
                  <a:pt x="1746" y="461"/>
                </a:lnTo>
                <a:lnTo>
                  <a:pt x="1746" y="461"/>
                </a:lnTo>
                <a:lnTo>
                  <a:pt x="1765" y="463"/>
                </a:lnTo>
                <a:lnTo>
                  <a:pt x="1774" y="465"/>
                </a:lnTo>
                <a:lnTo>
                  <a:pt x="1778" y="469"/>
                </a:lnTo>
                <a:lnTo>
                  <a:pt x="1781" y="473"/>
                </a:lnTo>
                <a:lnTo>
                  <a:pt x="1781" y="473"/>
                </a:lnTo>
                <a:lnTo>
                  <a:pt x="1781" y="478"/>
                </a:lnTo>
                <a:lnTo>
                  <a:pt x="1780" y="480"/>
                </a:lnTo>
                <a:lnTo>
                  <a:pt x="1774" y="482"/>
                </a:lnTo>
                <a:lnTo>
                  <a:pt x="1768" y="482"/>
                </a:lnTo>
                <a:lnTo>
                  <a:pt x="1755" y="480"/>
                </a:lnTo>
                <a:lnTo>
                  <a:pt x="1750" y="480"/>
                </a:lnTo>
                <a:lnTo>
                  <a:pt x="1750" y="480"/>
                </a:lnTo>
                <a:lnTo>
                  <a:pt x="1750" y="482"/>
                </a:lnTo>
                <a:lnTo>
                  <a:pt x="1752" y="482"/>
                </a:lnTo>
                <a:lnTo>
                  <a:pt x="1759" y="486"/>
                </a:lnTo>
                <a:lnTo>
                  <a:pt x="1767" y="487"/>
                </a:lnTo>
                <a:lnTo>
                  <a:pt x="1770" y="489"/>
                </a:lnTo>
                <a:lnTo>
                  <a:pt x="1770" y="491"/>
                </a:lnTo>
                <a:lnTo>
                  <a:pt x="1770" y="491"/>
                </a:lnTo>
                <a:lnTo>
                  <a:pt x="1767" y="493"/>
                </a:lnTo>
                <a:lnTo>
                  <a:pt x="1767" y="493"/>
                </a:lnTo>
                <a:lnTo>
                  <a:pt x="1761" y="491"/>
                </a:lnTo>
                <a:lnTo>
                  <a:pt x="1755" y="493"/>
                </a:lnTo>
                <a:lnTo>
                  <a:pt x="1742" y="500"/>
                </a:lnTo>
                <a:lnTo>
                  <a:pt x="1728" y="510"/>
                </a:lnTo>
                <a:lnTo>
                  <a:pt x="1718" y="515"/>
                </a:lnTo>
                <a:lnTo>
                  <a:pt x="1707" y="521"/>
                </a:lnTo>
                <a:lnTo>
                  <a:pt x="1707" y="521"/>
                </a:lnTo>
                <a:lnTo>
                  <a:pt x="1704" y="521"/>
                </a:lnTo>
                <a:lnTo>
                  <a:pt x="1704" y="521"/>
                </a:lnTo>
                <a:lnTo>
                  <a:pt x="1694" y="517"/>
                </a:lnTo>
                <a:lnTo>
                  <a:pt x="1689" y="511"/>
                </a:lnTo>
                <a:lnTo>
                  <a:pt x="1678" y="499"/>
                </a:lnTo>
                <a:lnTo>
                  <a:pt x="1678" y="499"/>
                </a:lnTo>
                <a:lnTo>
                  <a:pt x="1674" y="495"/>
                </a:lnTo>
                <a:lnTo>
                  <a:pt x="1665" y="491"/>
                </a:lnTo>
                <a:lnTo>
                  <a:pt x="1659" y="491"/>
                </a:lnTo>
                <a:lnTo>
                  <a:pt x="1657" y="491"/>
                </a:lnTo>
                <a:lnTo>
                  <a:pt x="1657" y="491"/>
                </a:lnTo>
                <a:lnTo>
                  <a:pt x="1657" y="491"/>
                </a:lnTo>
                <a:lnTo>
                  <a:pt x="1679" y="511"/>
                </a:lnTo>
                <a:lnTo>
                  <a:pt x="1692" y="524"/>
                </a:lnTo>
                <a:lnTo>
                  <a:pt x="1696" y="530"/>
                </a:lnTo>
                <a:lnTo>
                  <a:pt x="1698" y="534"/>
                </a:lnTo>
                <a:lnTo>
                  <a:pt x="1698" y="534"/>
                </a:lnTo>
                <a:lnTo>
                  <a:pt x="1696" y="536"/>
                </a:lnTo>
                <a:lnTo>
                  <a:pt x="1692" y="536"/>
                </a:lnTo>
                <a:lnTo>
                  <a:pt x="1683" y="534"/>
                </a:lnTo>
                <a:lnTo>
                  <a:pt x="1672" y="530"/>
                </a:lnTo>
                <a:lnTo>
                  <a:pt x="1666" y="528"/>
                </a:lnTo>
                <a:lnTo>
                  <a:pt x="1663" y="530"/>
                </a:lnTo>
                <a:lnTo>
                  <a:pt x="1663" y="530"/>
                </a:lnTo>
                <a:lnTo>
                  <a:pt x="1663" y="532"/>
                </a:lnTo>
                <a:lnTo>
                  <a:pt x="1663" y="534"/>
                </a:lnTo>
                <a:lnTo>
                  <a:pt x="1663" y="534"/>
                </a:lnTo>
                <a:lnTo>
                  <a:pt x="1672" y="543"/>
                </a:lnTo>
                <a:lnTo>
                  <a:pt x="1672" y="547"/>
                </a:lnTo>
                <a:lnTo>
                  <a:pt x="1672" y="549"/>
                </a:lnTo>
                <a:lnTo>
                  <a:pt x="1670" y="549"/>
                </a:lnTo>
                <a:lnTo>
                  <a:pt x="1665" y="547"/>
                </a:lnTo>
                <a:lnTo>
                  <a:pt x="1665" y="547"/>
                </a:lnTo>
                <a:lnTo>
                  <a:pt x="1659" y="547"/>
                </a:lnTo>
                <a:lnTo>
                  <a:pt x="1652" y="549"/>
                </a:lnTo>
                <a:lnTo>
                  <a:pt x="1648" y="549"/>
                </a:lnTo>
                <a:lnTo>
                  <a:pt x="1646" y="550"/>
                </a:lnTo>
                <a:lnTo>
                  <a:pt x="1646" y="554"/>
                </a:lnTo>
                <a:lnTo>
                  <a:pt x="1648" y="556"/>
                </a:lnTo>
                <a:lnTo>
                  <a:pt x="1648" y="556"/>
                </a:lnTo>
                <a:lnTo>
                  <a:pt x="1657" y="562"/>
                </a:lnTo>
                <a:lnTo>
                  <a:pt x="1661" y="562"/>
                </a:lnTo>
                <a:lnTo>
                  <a:pt x="1665" y="562"/>
                </a:lnTo>
                <a:lnTo>
                  <a:pt x="1672" y="556"/>
                </a:lnTo>
                <a:lnTo>
                  <a:pt x="1681" y="550"/>
                </a:lnTo>
                <a:lnTo>
                  <a:pt x="1681" y="550"/>
                </a:lnTo>
                <a:lnTo>
                  <a:pt x="1683" y="550"/>
                </a:lnTo>
                <a:lnTo>
                  <a:pt x="1685" y="550"/>
                </a:lnTo>
                <a:lnTo>
                  <a:pt x="1685" y="550"/>
                </a:lnTo>
                <a:lnTo>
                  <a:pt x="1685" y="550"/>
                </a:lnTo>
                <a:lnTo>
                  <a:pt x="1683" y="554"/>
                </a:lnTo>
                <a:lnTo>
                  <a:pt x="1679" y="560"/>
                </a:lnTo>
                <a:lnTo>
                  <a:pt x="1670" y="567"/>
                </a:lnTo>
                <a:lnTo>
                  <a:pt x="1670" y="567"/>
                </a:lnTo>
                <a:close/>
                <a:moveTo>
                  <a:pt x="1390" y="287"/>
                </a:moveTo>
                <a:lnTo>
                  <a:pt x="1390" y="287"/>
                </a:lnTo>
                <a:lnTo>
                  <a:pt x="1392" y="282"/>
                </a:lnTo>
                <a:lnTo>
                  <a:pt x="1392" y="276"/>
                </a:lnTo>
                <a:lnTo>
                  <a:pt x="1390" y="270"/>
                </a:lnTo>
                <a:lnTo>
                  <a:pt x="1388" y="265"/>
                </a:lnTo>
                <a:lnTo>
                  <a:pt x="1381" y="256"/>
                </a:lnTo>
                <a:lnTo>
                  <a:pt x="1372" y="248"/>
                </a:lnTo>
                <a:lnTo>
                  <a:pt x="1372" y="248"/>
                </a:lnTo>
                <a:lnTo>
                  <a:pt x="1372" y="248"/>
                </a:lnTo>
                <a:lnTo>
                  <a:pt x="1366" y="243"/>
                </a:lnTo>
                <a:lnTo>
                  <a:pt x="1362" y="237"/>
                </a:lnTo>
                <a:lnTo>
                  <a:pt x="1359" y="224"/>
                </a:lnTo>
                <a:lnTo>
                  <a:pt x="1355" y="213"/>
                </a:lnTo>
                <a:lnTo>
                  <a:pt x="1353" y="209"/>
                </a:lnTo>
                <a:lnTo>
                  <a:pt x="1350" y="206"/>
                </a:lnTo>
                <a:lnTo>
                  <a:pt x="1350" y="206"/>
                </a:lnTo>
                <a:lnTo>
                  <a:pt x="1348" y="206"/>
                </a:lnTo>
                <a:lnTo>
                  <a:pt x="1348" y="207"/>
                </a:lnTo>
                <a:lnTo>
                  <a:pt x="1348" y="213"/>
                </a:lnTo>
                <a:lnTo>
                  <a:pt x="1350" y="220"/>
                </a:lnTo>
                <a:lnTo>
                  <a:pt x="1350" y="220"/>
                </a:lnTo>
                <a:lnTo>
                  <a:pt x="1348" y="230"/>
                </a:lnTo>
                <a:lnTo>
                  <a:pt x="1346" y="235"/>
                </a:lnTo>
                <a:lnTo>
                  <a:pt x="1348" y="239"/>
                </a:lnTo>
                <a:lnTo>
                  <a:pt x="1348" y="239"/>
                </a:lnTo>
                <a:lnTo>
                  <a:pt x="1350" y="245"/>
                </a:lnTo>
                <a:lnTo>
                  <a:pt x="1355" y="248"/>
                </a:lnTo>
                <a:lnTo>
                  <a:pt x="1366" y="256"/>
                </a:lnTo>
                <a:lnTo>
                  <a:pt x="1377" y="263"/>
                </a:lnTo>
                <a:lnTo>
                  <a:pt x="1385" y="269"/>
                </a:lnTo>
                <a:lnTo>
                  <a:pt x="1385" y="269"/>
                </a:lnTo>
                <a:lnTo>
                  <a:pt x="1385" y="272"/>
                </a:lnTo>
                <a:lnTo>
                  <a:pt x="1385" y="280"/>
                </a:lnTo>
                <a:lnTo>
                  <a:pt x="1385" y="287"/>
                </a:lnTo>
                <a:lnTo>
                  <a:pt x="1387" y="291"/>
                </a:lnTo>
                <a:lnTo>
                  <a:pt x="1388" y="293"/>
                </a:lnTo>
                <a:lnTo>
                  <a:pt x="1388" y="293"/>
                </a:lnTo>
                <a:lnTo>
                  <a:pt x="1390" y="293"/>
                </a:lnTo>
                <a:lnTo>
                  <a:pt x="1390" y="293"/>
                </a:lnTo>
                <a:lnTo>
                  <a:pt x="1390" y="287"/>
                </a:lnTo>
                <a:lnTo>
                  <a:pt x="1390" y="287"/>
                </a:lnTo>
                <a:close/>
                <a:moveTo>
                  <a:pt x="1678" y="334"/>
                </a:moveTo>
                <a:lnTo>
                  <a:pt x="1678" y="334"/>
                </a:lnTo>
                <a:lnTo>
                  <a:pt x="1678" y="334"/>
                </a:lnTo>
                <a:lnTo>
                  <a:pt x="1676" y="335"/>
                </a:lnTo>
                <a:lnTo>
                  <a:pt x="1676" y="337"/>
                </a:lnTo>
                <a:lnTo>
                  <a:pt x="1674" y="346"/>
                </a:lnTo>
                <a:lnTo>
                  <a:pt x="1672" y="354"/>
                </a:lnTo>
                <a:lnTo>
                  <a:pt x="1670" y="358"/>
                </a:lnTo>
                <a:lnTo>
                  <a:pt x="1668" y="361"/>
                </a:lnTo>
                <a:lnTo>
                  <a:pt x="1668" y="361"/>
                </a:lnTo>
                <a:lnTo>
                  <a:pt x="1661" y="365"/>
                </a:lnTo>
                <a:lnTo>
                  <a:pt x="1654" y="371"/>
                </a:lnTo>
                <a:lnTo>
                  <a:pt x="1642" y="382"/>
                </a:lnTo>
                <a:lnTo>
                  <a:pt x="1642" y="382"/>
                </a:lnTo>
                <a:lnTo>
                  <a:pt x="1618" y="397"/>
                </a:lnTo>
                <a:lnTo>
                  <a:pt x="1618" y="397"/>
                </a:lnTo>
                <a:lnTo>
                  <a:pt x="1611" y="404"/>
                </a:lnTo>
                <a:lnTo>
                  <a:pt x="1611" y="406"/>
                </a:lnTo>
                <a:lnTo>
                  <a:pt x="1613" y="404"/>
                </a:lnTo>
                <a:lnTo>
                  <a:pt x="1624" y="400"/>
                </a:lnTo>
                <a:lnTo>
                  <a:pt x="1639" y="391"/>
                </a:lnTo>
                <a:lnTo>
                  <a:pt x="1655" y="378"/>
                </a:lnTo>
                <a:lnTo>
                  <a:pt x="1670" y="363"/>
                </a:lnTo>
                <a:lnTo>
                  <a:pt x="1674" y="356"/>
                </a:lnTo>
                <a:lnTo>
                  <a:pt x="1678" y="348"/>
                </a:lnTo>
                <a:lnTo>
                  <a:pt x="1679" y="341"/>
                </a:lnTo>
                <a:lnTo>
                  <a:pt x="1678" y="334"/>
                </a:lnTo>
                <a:lnTo>
                  <a:pt x="1678" y="334"/>
                </a:lnTo>
                <a:close/>
              </a:path>
            </a:pathLst>
          </a:custGeom>
          <a:solidFill>
            <a:srgbClr val="E1E0DC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Denmark Text"/>
          <p:cNvSpPr txBox="1"/>
          <p:nvPr/>
        </p:nvSpPr>
        <p:spPr>
          <a:xfrm>
            <a:off x="7963894" y="5976693"/>
            <a:ext cx="5021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F42941"/>
                </a:solidFill>
              </a:rPr>
              <a:t>Denmark</a:t>
            </a:r>
          </a:p>
        </p:txBody>
      </p:sp>
      <p:sp>
        <p:nvSpPr>
          <p:cNvPr id="17" name="Finland Text"/>
          <p:cNvSpPr txBox="1"/>
          <p:nvPr/>
        </p:nvSpPr>
        <p:spPr>
          <a:xfrm>
            <a:off x="10430208" y="3140764"/>
            <a:ext cx="4041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rgbClr val="F42941"/>
                </a:solidFill>
              </a:rPr>
              <a:t>Finland</a:t>
            </a:r>
          </a:p>
        </p:txBody>
      </p:sp>
      <p:sp>
        <p:nvSpPr>
          <p:cNvPr id="18" name="Sweden Text"/>
          <p:cNvSpPr txBox="1"/>
          <p:nvPr/>
        </p:nvSpPr>
        <p:spPr>
          <a:xfrm>
            <a:off x="9035922" y="4690272"/>
            <a:ext cx="43737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F42941"/>
                </a:solidFill>
              </a:rPr>
              <a:t>Sweden</a:t>
            </a:r>
          </a:p>
        </p:txBody>
      </p:sp>
      <p:sp>
        <p:nvSpPr>
          <p:cNvPr id="19" name="Norway Text"/>
          <p:cNvSpPr txBox="1"/>
          <p:nvPr/>
        </p:nvSpPr>
        <p:spPr>
          <a:xfrm>
            <a:off x="8143515" y="4444794"/>
            <a:ext cx="42863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F42941"/>
                </a:solidFill>
              </a:rPr>
              <a:t>Norway</a:t>
            </a:r>
          </a:p>
        </p:txBody>
      </p:sp>
      <p:sp>
        <p:nvSpPr>
          <p:cNvPr id="20" name="Iceland Text"/>
          <p:cNvSpPr txBox="1"/>
          <p:nvPr/>
        </p:nvSpPr>
        <p:spPr>
          <a:xfrm>
            <a:off x="5320765" y="4734408"/>
            <a:ext cx="39189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F42941"/>
                </a:solidFill>
              </a:rPr>
              <a:t>Iceland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grpSp>
        <p:nvGrpSpPr>
          <p:cNvPr id="184" name="Greenland"/>
          <p:cNvGrpSpPr>
            <a:grpSpLocks noChangeAspect="1"/>
          </p:cNvGrpSpPr>
          <p:nvPr/>
        </p:nvGrpSpPr>
        <p:grpSpPr bwMode="auto">
          <a:xfrm rot="1181657">
            <a:off x="2374868" y="499204"/>
            <a:ext cx="2916164" cy="5138535"/>
            <a:chOff x="3036" y="1082"/>
            <a:chExt cx="1303" cy="2296"/>
          </a:xfrm>
          <a:solidFill>
            <a:srgbClr val="E1E0DC"/>
          </a:solidFill>
        </p:grpSpPr>
        <p:sp>
          <p:nvSpPr>
            <p:cNvPr id="185" name="Freeform 5"/>
            <p:cNvSpPr>
              <a:spLocks/>
            </p:cNvSpPr>
            <p:nvPr/>
          </p:nvSpPr>
          <p:spPr bwMode="auto">
            <a:xfrm>
              <a:off x="3429" y="3262"/>
              <a:ext cx="31" cy="26"/>
            </a:xfrm>
            <a:custGeom>
              <a:avLst/>
              <a:gdLst>
                <a:gd name="T0" fmla="*/ 26 w 31"/>
                <a:gd name="T1" fmla="*/ 15 h 26"/>
                <a:gd name="T2" fmla="*/ 21 w 31"/>
                <a:gd name="T3" fmla="*/ 26 h 26"/>
                <a:gd name="T4" fmla="*/ 0 w 31"/>
                <a:gd name="T5" fmla="*/ 15 h 26"/>
                <a:gd name="T6" fmla="*/ 31 w 31"/>
                <a:gd name="T7" fmla="*/ 0 h 26"/>
                <a:gd name="T8" fmla="*/ 26 w 31"/>
                <a:gd name="T9" fmla="*/ 1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6">
                  <a:moveTo>
                    <a:pt x="26" y="15"/>
                  </a:moveTo>
                  <a:lnTo>
                    <a:pt x="21" y="26"/>
                  </a:lnTo>
                  <a:lnTo>
                    <a:pt x="0" y="15"/>
                  </a:lnTo>
                  <a:lnTo>
                    <a:pt x="31" y="0"/>
                  </a:lnTo>
                  <a:lnTo>
                    <a:pt x="26" y="1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6" name="Freeform 6"/>
            <p:cNvSpPr>
              <a:spLocks/>
            </p:cNvSpPr>
            <p:nvPr/>
          </p:nvSpPr>
          <p:spPr bwMode="auto">
            <a:xfrm>
              <a:off x="3854" y="2799"/>
              <a:ext cx="10" cy="21"/>
            </a:xfrm>
            <a:custGeom>
              <a:avLst/>
              <a:gdLst>
                <a:gd name="T0" fmla="*/ 5 w 10"/>
                <a:gd name="T1" fmla="*/ 21 h 21"/>
                <a:gd name="T2" fmla="*/ 0 w 10"/>
                <a:gd name="T3" fmla="*/ 21 h 21"/>
                <a:gd name="T4" fmla="*/ 5 w 10"/>
                <a:gd name="T5" fmla="*/ 0 h 21"/>
                <a:gd name="T6" fmla="*/ 10 w 10"/>
                <a:gd name="T7" fmla="*/ 5 h 21"/>
                <a:gd name="T8" fmla="*/ 5 w 10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1">
                  <a:moveTo>
                    <a:pt x="5" y="21"/>
                  </a:moveTo>
                  <a:lnTo>
                    <a:pt x="0" y="21"/>
                  </a:lnTo>
                  <a:lnTo>
                    <a:pt x="5" y="0"/>
                  </a:lnTo>
                  <a:lnTo>
                    <a:pt x="10" y="5"/>
                  </a:lnTo>
                  <a:lnTo>
                    <a:pt x="5" y="21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7" name="Freeform 7"/>
            <p:cNvSpPr>
              <a:spLocks/>
            </p:cNvSpPr>
            <p:nvPr/>
          </p:nvSpPr>
          <p:spPr bwMode="auto">
            <a:xfrm>
              <a:off x="3343" y="2377"/>
              <a:ext cx="25" cy="36"/>
            </a:xfrm>
            <a:custGeom>
              <a:avLst/>
              <a:gdLst>
                <a:gd name="T0" fmla="*/ 10 w 25"/>
                <a:gd name="T1" fmla="*/ 36 h 36"/>
                <a:gd name="T2" fmla="*/ 0 w 25"/>
                <a:gd name="T3" fmla="*/ 36 h 36"/>
                <a:gd name="T4" fmla="*/ 5 w 25"/>
                <a:gd name="T5" fmla="*/ 0 h 36"/>
                <a:gd name="T6" fmla="*/ 25 w 25"/>
                <a:gd name="T7" fmla="*/ 10 h 36"/>
                <a:gd name="T8" fmla="*/ 15 w 25"/>
                <a:gd name="T9" fmla="*/ 15 h 36"/>
                <a:gd name="T10" fmla="*/ 10 w 25"/>
                <a:gd name="T1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36">
                  <a:moveTo>
                    <a:pt x="10" y="36"/>
                  </a:moveTo>
                  <a:lnTo>
                    <a:pt x="0" y="36"/>
                  </a:lnTo>
                  <a:lnTo>
                    <a:pt x="5" y="0"/>
                  </a:lnTo>
                  <a:lnTo>
                    <a:pt x="25" y="10"/>
                  </a:lnTo>
                  <a:lnTo>
                    <a:pt x="15" y="15"/>
                  </a:lnTo>
                  <a:lnTo>
                    <a:pt x="10" y="36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8" name="Freeform 8"/>
            <p:cNvSpPr>
              <a:spLocks/>
            </p:cNvSpPr>
            <p:nvPr/>
          </p:nvSpPr>
          <p:spPr bwMode="auto">
            <a:xfrm>
              <a:off x="3225" y="2321"/>
              <a:ext cx="97" cy="107"/>
            </a:xfrm>
            <a:custGeom>
              <a:avLst/>
              <a:gdLst>
                <a:gd name="T0" fmla="*/ 77 w 97"/>
                <a:gd name="T1" fmla="*/ 46 h 107"/>
                <a:gd name="T2" fmla="*/ 82 w 97"/>
                <a:gd name="T3" fmla="*/ 56 h 107"/>
                <a:gd name="T4" fmla="*/ 97 w 97"/>
                <a:gd name="T5" fmla="*/ 61 h 107"/>
                <a:gd name="T6" fmla="*/ 92 w 97"/>
                <a:gd name="T7" fmla="*/ 71 h 107"/>
                <a:gd name="T8" fmla="*/ 97 w 97"/>
                <a:gd name="T9" fmla="*/ 82 h 107"/>
                <a:gd name="T10" fmla="*/ 61 w 97"/>
                <a:gd name="T11" fmla="*/ 102 h 107"/>
                <a:gd name="T12" fmla="*/ 36 w 97"/>
                <a:gd name="T13" fmla="*/ 107 h 107"/>
                <a:gd name="T14" fmla="*/ 26 w 97"/>
                <a:gd name="T15" fmla="*/ 102 h 107"/>
                <a:gd name="T16" fmla="*/ 15 w 97"/>
                <a:gd name="T17" fmla="*/ 87 h 107"/>
                <a:gd name="T18" fmla="*/ 36 w 97"/>
                <a:gd name="T19" fmla="*/ 82 h 107"/>
                <a:gd name="T20" fmla="*/ 0 w 97"/>
                <a:gd name="T21" fmla="*/ 61 h 107"/>
                <a:gd name="T22" fmla="*/ 5 w 97"/>
                <a:gd name="T23" fmla="*/ 31 h 107"/>
                <a:gd name="T24" fmla="*/ 20 w 97"/>
                <a:gd name="T25" fmla="*/ 36 h 107"/>
                <a:gd name="T26" fmla="*/ 10 w 97"/>
                <a:gd name="T27" fmla="*/ 26 h 107"/>
                <a:gd name="T28" fmla="*/ 15 w 97"/>
                <a:gd name="T29" fmla="*/ 0 h 107"/>
                <a:gd name="T30" fmla="*/ 61 w 97"/>
                <a:gd name="T31" fmla="*/ 16 h 107"/>
                <a:gd name="T32" fmla="*/ 77 w 97"/>
                <a:gd name="T33" fmla="*/ 4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7" h="107">
                  <a:moveTo>
                    <a:pt x="77" y="46"/>
                  </a:moveTo>
                  <a:lnTo>
                    <a:pt x="82" y="56"/>
                  </a:lnTo>
                  <a:lnTo>
                    <a:pt x="97" y="61"/>
                  </a:lnTo>
                  <a:lnTo>
                    <a:pt x="92" y="71"/>
                  </a:lnTo>
                  <a:lnTo>
                    <a:pt x="97" y="82"/>
                  </a:lnTo>
                  <a:lnTo>
                    <a:pt x="61" y="102"/>
                  </a:lnTo>
                  <a:lnTo>
                    <a:pt x="36" y="107"/>
                  </a:lnTo>
                  <a:lnTo>
                    <a:pt x="26" y="102"/>
                  </a:lnTo>
                  <a:lnTo>
                    <a:pt x="15" y="87"/>
                  </a:lnTo>
                  <a:lnTo>
                    <a:pt x="36" y="82"/>
                  </a:lnTo>
                  <a:lnTo>
                    <a:pt x="0" y="61"/>
                  </a:lnTo>
                  <a:lnTo>
                    <a:pt x="5" y="31"/>
                  </a:lnTo>
                  <a:lnTo>
                    <a:pt x="20" y="36"/>
                  </a:lnTo>
                  <a:lnTo>
                    <a:pt x="10" y="26"/>
                  </a:lnTo>
                  <a:lnTo>
                    <a:pt x="15" y="0"/>
                  </a:lnTo>
                  <a:lnTo>
                    <a:pt x="61" y="16"/>
                  </a:lnTo>
                  <a:lnTo>
                    <a:pt x="77" y="46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9" name="Freeform 9"/>
            <p:cNvSpPr>
              <a:spLocks/>
            </p:cNvSpPr>
            <p:nvPr/>
          </p:nvSpPr>
          <p:spPr bwMode="auto">
            <a:xfrm>
              <a:off x="3332" y="2270"/>
              <a:ext cx="21" cy="16"/>
            </a:xfrm>
            <a:custGeom>
              <a:avLst/>
              <a:gdLst>
                <a:gd name="T0" fmla="*/ 16 w 21"/>
                <a:gd name="T1" fmla="*/ 16 h 16"/>
                <a:gd name="T2" fmla="*/ 0 w 21"/>
                <a:gd name="T3" fmla="*/ 6 h 16"/>
                <a:gd name="T4" fmla="*/ 11 w 21"/>
                <a:gd name="T5" fmla="*/ 0 h 16"/>
                <a:gd name="T6" fmla="*/ 21 w 21"/>
                <a:gd name="T7" fmla="*/ 11 h 16"/>
                <a:gd name="T8" fmla="*/ 16 w 21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6">
                  <a:moveTo>
                    <a:pt x="16" y="16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21" y="11"/>
                  </a:lnTo>
                  <a:lnTo>
                    <a:pt x="16" y="16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0" name="Freeform 10"/>
            <p:cNvSpPr>
              <a:spLocks/>
            </p:cNvSpPr>
            <p:nvPr/>
          </p:nvSpPr>
          <p:spPr bwMode="auto">
            <a:xfrm>
              <a:off x="4109" y="2220"/>
              <a:ext cx="82" cy="71"/>
            </a:xfrm>
            <a:custGeom>
              <a:avLst/>
              <a:gdLst>
                <a:gd name="T0" fmla="*/ 72 w 82"/>
                <a:gd name="T1" fmla="*/ 10 h 71"/>
                <a:gd name="T2" fmla="*/ 82 w 82"/>
                <a:gd name="T3" fmla="*/ 35 h 71"/>
                <a:gd name="T4" fmla="*/ 67 w 82"/>
                <a:gd name="T5" fmla="*/ 45 h 71"/>
                <a:gd name="T6" fmla="*/ 62 w 82"/>
                <a:gd name="T7" fmla="*/ 61 h 71"/>
                <a:gd name="T8" fmla="*/ 46 w 82"/>
                <a:gd name="T9" fmla="*/ 50 h 71"/>
                <a:gd name="T10" fmla="*/ 16 w 82"/>
                <a:gd name="T11" fmla="*/ 71 h 71"/>
                <a:gd name="T12" fmla="*/ 0 w 82"/>
                <a:gd name="T13" fmla="*/ 71 h 71"/>
                <a:gd name="T14" fmla="*/ 5 w 82"/>
                <a:gd name="T15" fmla="*/ 25 h 71"/>
                <a:gd name="T16" fmla="*/ 16 w 82"/>
                <a:gd name="T17" fmla="*/ 30 h 71"/>
                <a:gd name="T18" fmla="*/ 36 w 82"/>
                <a:gd name="T19" fmla="*/ 25 h 71"/>
                <a:gd name="T20" fmla="*/ 57 w 82"/>
                <a:gd name="T21" fmla="*/ 0 h 71"/>
                <a:gd name="T22" fmla="*/ 72 w 82"/>
                <a:gd name="T23" fmla="*/ 1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71">
                  <a:moveTo>
                    <a:pt x="72" y="10"/>
                  </a:moveTo>
                  <a:lnTo>
                    <a:pt x="82" y="35"/>
                  </a:lnTo>
                  <a:lnTo>
                    <a:pt x="67" y="45"/>
                  </a:lnTo>
                  <a:lnTo>
                    <a:pt x="62" y="61"/>
                  </a:lnTo>
                  <a:lnTo>
                    <a:pt x="46" y="50"/>
                  </a:lnTo>
                  <a:lnTo>
                    <a:pt x="16" y="71"/>
                  </a:lnTo>
                  <a:lnTo>
                    <a:pt x="0" y="71"/>
                  </a:lnTo>
                  <a:lnTo>
                    <a:pt x="5" y="25"/>
                  </a:lnTo>
                  <a:lnTo>
                    <a:pt x="16" y="30"/>
                  </a:lnTo>
                  <a:lnTo>
                    <a:pt x="36" y="25"/>
                  </a:lnTo>
                  <a:lnTo>
                    <a:pt x="57" y="0"/>
                  </a:lnTo>
                  <a:lnTo>
                    <a:pt x="72" y="1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1" name="Freeform 11"/>
            <p:cNvSpPr>
              <a:spLocks/>
            </p:cNvSpPr>
            <p:nvPr/>
          </p:nvSpPr>
          <p:spPr bwMode="auto">
            <a:xfrm>
              <a:off x="3281" y="2230"/>
              <a:ext cx="16" cy="25"/>
            </a:xfrm>
            <a:custGeom>
              <a:avLst/>
              <a:gdLst>
                <a:gd name="T0" fmla="*/ 10 w 16"/>
                <a:gd name="T1" fmla="*/ 25 h 25"/>
                <a:gd name="T2" fmla="*/ 0 w 16"/>
                <a:gd name="T3" fmla="*/ 20 h 25"/>
                <a:gd name="T4" fmla="*/ 0 w 16"/>
                <a:gd name="T5" fmla="*/ 10 h 25"/>
                <a:gd name="T6" fmla="*/ 16 w 16"/>
                <a:gd name="T7" fmla="*/ 0 h 25"/>
                <a:gd name="T8" fmla="*/ 10 w 16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25">
                  <a:moveTo>
                    <a:pt x="10" y="25"/>
                  </a:moveTo>
                  <a:lnTo>
                    <a:pt x="0" y="20"/>
                  </a:lnTo>
                  <a:lnTo>
                    <a:pt x="0" y="10"/>
                  </a:lnTo>
                  <a:lnTo>
                    <a:pt x="16" y="0"/>
                  </a:lnTo>
                  <a:lnTo>
                    <a:pt x="10" y="2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2" name="Freeform 12"/>
            <p:cNvSpPr>
              <a:spLocks/>
            </p:cNvSpPr>
            <p:nvPr/>
          </p:nvSpPr>
          <p:spPr bwMode="auto">
            <a:xfrm>
              <a:off x="3245" y="2072"/>
              <a:ext cx="36" cy="26"/>
            </a:xfrm>
            <a:custGeom>
              <a:avLst/>
              <a:gdLst>
                <a:gd name="T0" fmla="*/ 36 w 36"/>
                <a:gd name="T1" fmla="*/ 5 h 26"/>
                <a:gd name="T2" fmla="*/ 21 w 36"/>
                <a:gd name="T3" fmla="*/ 26 h 26"/>
                <a:gd name="T4" fmla="*/ 0 w 36"/>
                <a:gd name="T5" fmla="*/ 5 h 26"/>
                <a:gd name="T6" fmla="*/ 11 w 36"/>
                <a:gd name="T7" fmla="*/ 0 h 26"/>
                <a:gd name="T8" fmla="*/ 36 w 36"/>
                <a:gd name="T9" fmla="*/ 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6">
                  <a:moveTo>
                    <a:pt x="36" y="5"/>
                  </a:moveTo>
                  <a:lnTo>
                    <a:pt x="21" y="26"/>
                  </a:lnTo>
                  <a:lnTo>
                    <a:pt x="0" y="5"/>
                  </a:lnTo>
                  <a:lnTo>
                    <a:pt x="11" y="0"/>
                  </a:lnTo>
                  <a:lnTo>
                    <a:pt x="36" y="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3" name="Freeform 13"/>
            <p:cNvSpPr>
              <a:spLocks/>
            </p:cNvSpPr>
            <p:nvPr/>
          </p:nvSpPr>
          <p:spPr bwMode="auto">
            <a:xfrm>
              <a:off x="4217" y="1747"/>
              <a:ext cx="46" cy="40"/>
            </a:xfrm>
            <a:custGeom>
              <a:avLst/>
              <a:gdLst>
                <a:gd name="T0" fmla="*/ 15 w 46"/>
                <a:gd name="T1" fmla="*/ 0 h 40"/>
                <a:gd name="T2" fmla="*/ 30 w 46"/>
                <a:gd name="T3" fmla="*/ 20 h 40"/>
                <a:gd name="T4" fmla="*/ 46 w 46"/>
                <a:gd name="T5" fmla="*/ 25 h 40"/>
                <a:gd name="T6" fmla="*/ 41 w 46"/>
                <a:gd name="T7" fmla="*/ 35 h 40"/>
                <a:gd name="T8" fmla="*/ 10 w 46"/>
                <a:gd name="T9" fmla="*/ 40 h 40"/>
                <a:gd name="T10" fmla="*/ 0 w 46"/>
                <a:gd name="T11" fmla="*/ 15 h 40"/>
                <a:gd name="T12" fmla="*/ 15 w 46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40">
                  <a:moveTo>
                    <a:pt x="15" y="0"/>
                  </a:moveTo>
                  <a:lnTo>
                    <a:pt x="30" y="20"/>
                  </a:lnTo>
                  <a:lnTo>
                    <a:pt x="46" y="25"/>
                  </a:lnTo>
                  <a:lnTo>
                    <a:pt x="41" y="35"/>
                  </a:lnTo>
                  <a:lnTo>
                    <a:pt x="10" y="40"/>
                  </a:lnTo>
                  <a:lnTo>
                    <a:pt x="0" y="15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4" name="Freeform 14"/>
            <p:cNvSpPr>
              <a:spLocks/>
            </p:cNvSpPr>
            <p:nvPr/>
          </p:nvSpPr>
          <p:spPr bwMode="auto">
            <a:xfrm>
              <a:off x="4160" y="1640"/>
              <a:ext cx="36" cy="56"/>
            </a:xfrm>
            <a:custGeom>
              <a:avLst/>
              <a:gdLst>
                <a:gd name="T0" fmla="*/ 36 w 36"/>
                <a:gd name="T1" fmla="*/ 56 h 56"/>
                <a:gd name="T2" fmla="*/ 0 w 36"/>
                <a:gd name="T3" fmla="*/ 0 h 56"/>
                <a:gd name="T4" fmla="*/ 11 w 36"/>
                <a:gd name="T5" fmla="*/ 5 h 56"/>
                <a:gd name="T6" fmla="*/ 36 w 36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56">
                  <a:moveTo>
                    <a:pt x="36" y="56"/>
                  </a:moveTo>
                  <a:lnTo>
                    <a:pt x="0" y="0"/>
                  </a:lnTo>
                  <a:lnTo>
                    <a:pt x="11" y="5"/>
                  </a:lnTo>
                  <a:lnTo>
                    <a:pt x="36" y="56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5" name="Freeform 15"/>
            <p:cNvSpPr>
              <a:spLocks/>
            </p:cNvSpPr>
            <p:nvPr/>
          </p:nvSpPr>
          <p:spPr bwMode="auto">
            <a:xfrm>
              <a:off x="3036" y="1508"/>
              <a:ext cx="15" cy="20"/>
            </a:xfrm>
            <a:custGeom>
              <a:avLst/>
              <a:gdLst>
                <a:gd name="T0" fmla="*/ 10 w 15"/>
                <a:gd name="T1" fmla="*/ 20 h 20"/>
                <a:gd name="T2" fmla="*/ 0 w 15"/>
                <a:gd name="T3" fmla="*/ 0 h 20"/>
                <a:gd name="T4" fmla="*/ 10 w 15"/>
                <a:gd name="T5" fmla="*/ 0 h 20"/>
                <a:gd name="T6" fmla="*/ 15 w 15"/>
                <a:gd name="T7" fmla="*/ 10 h 20"/>
                <a:gd name="T8" fmla="*/ 10 w 15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0">
                  <a:moveTo>
                    <a:pt x="10" y="2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15" y="10"/>
                  </a:lnTo>
                  <a:lnTo>
                    <a:pt x="10" y="2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6" name="Freeform 16"/>
            <p:cNvSpPr>
              <a:spLocks/>
            </p:cNvSpPr>
            <p:nvPr/>
          </p:nvSpPr>
          <p:spPr bwMode="auto">
            <a:xfrm>
              <a:off x="4140" y="1523"/>
              <a:ext cx="10" cy="25"/>
            </a:xfrm>
            <a:custGeom>
              <a:avLst/>
              <a:gdLst>
                <a:gd name="T0" fmla="*/ 5 w 10"/>
                <a:gd name="T1" fmla="*/ 25 h 25"/>
                <a:gd name="T2" fmla="*/ 0 w 10"/>
                <a:gd name="T3" fmla="*/ 0 h 25"/>
                <a:gd name="T4" fmla="*/ 10 w 10"/>
                <a:gd name="T5" fmla="*/ 15 h 25"/>
                <a:gd name="T6" fmla="*/ 5 w 10"/>
                <a:gd name="T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5">
                  <a:moveTo>
                    <a:pt x="5" y="25"/>
                  </a:moveTo>
                  <a:lnTo>
                    <a:pt x="0" y="0"/>
                  </a:lnTo>
                  <a:lnTo>
                    <a:pt x="10" y="15"/>
                  </a:lnTo>
                  <a:lnTo>
                    <a:pt x="5" y="2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7" name="Freeform 17"/>
            <p:cNvSpPr>
              <a:spLocks/>
            </p:cNvSpPr>
            <p:nvPr/>
          </p:nvSpPr>
          <p:spPr bwMode="auto">
            <a:xfrm>
              <a:off x="4094" y="1482"/>
              <a:ext cx="20" cy="41"/>
            </a:xfrm>
            <a:custGeom>
              <a:avLst/>
              <a:gdLst>
                <a:gd name="T0" fmla="*/ 20 w 20"/>
                <a:gd name="T1" fmla="*/ 41 h 41"/>
                <a:gd name="T2" fmla="*/ 5 w 20"/>
                <a:gd name="T3" fmla="*/ 26 h 41"/>
                <a:gd name="T4" fmla="*/ 0 w 20"/>
                <a:gd name="T5" fmla="*/ 10 h 41"/>
                <a:gd name="T6" fmla="*/ 5 w 20"/>
                <a:gd name="T7" fmla="*/ 0 h 41"/>
                <a:gd name="T8" fmla="*/ 20 w 20"/>
                <a:gd name="T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lnTo>
                    <a:pt x="5" y="26"/>
                  </a:lnTo>
                  <a:lnTo>
                    <a:pt x="0" y="10"/>
                  </a:lnTo>
                  <a:lnTo>
                    <a:pt x="5" y="0"/>
                  </a:lnTo>
                  <a:lnTo>
                    <a:pt x="20" y="41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8" name="Freeform 18"/>
            <p:cNvSpPr>
              <a:spLocks/>
            </p:cNvSpPr>
            <p:nvPr/>
          </p:nvSpPr>
          <p:spPr bwMode="auto">
            <a:xfrm>
              <a:off x="4038" y="1330"/>
              <a:ext cx="30" cy="35"/>
            </a:xfrm>
            <a:custGeom>
              <a:avLst/>
              <a:gdLst>
                <a:gd name="T0" fmla="*/ 30 w 30"/>
                <a:gd name="T1" fmla="*/ 20 h 35"/>
                <a:gd name="T2" fmla="*/ 25 w 30"/>
                <a:gd name="T3" fmla="*/ 35 h 35"/>
                <a:gd name="T4" fmla="*/ 10 w 30"/>
                <a:gd name="T5" fmla="*/ 35 h 35"/>
                <a:gd name="T6" fmla="*/ 0 w 30"/>
                <a:gd name="T7" fmla="*/ 20 h 35"/>
                <a:gd name="T8" fmla="*/ 20 w 30"/>
                <a:gd name="T9" fmla="*/ 0 h 35"/>
                <a:gd name="T10" fmla="*/ 30 w 30"/>
                <a:gd name="T11" fmla="*/ 2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5">
                  <a:moveTo>
                    <a:pt x="30" y="20"/>
                  </a:moveTo>
                  <a:lnTo>
                    <a:pt x="25" y="35"/>
                  </a:lnTo>
                  <a:lnTo>
                    <a:pt x="10" y="35"/>
                  </a:lnTo>
                  <a:lnTo>
                    <a:pt x="0" y="20"/>
                  </a:lnTo>
                  <a:lnTo>
                    <a:pt x="20" y="0"/>
                  </a:lnTo>
                  <a:lnTo>
                    <a:pt x="30" y="2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9" name="Freeform 19"/>
            <p:cNvSpPr>
              <a:spLocks/>
            </p:cNvSpPr>
            <p:nvPr/>
          </p:nvSpPr>
          <p:spPr bwMode="auto">
            <a:xfrm>
              <a:off x="3951" y="1157"/>
              <a:ext cx="20" cy="25"/>
            </a:xfrm>
            <a:custGeom>
              <a:avLst/>
              <a:gdLst>
                <a:gd name="T0" fmla="*/ 20 w 20"/>
                <a:gd name="T1" fmla="*/ 20 h 25"/>
                <a:gd name="T2" fmla="*/ 15 w 20"/>
                <a:gd name="T3" fmla="*/ 25 h 25"/>
                <a:gd name="T4" fmla="*/ 0 w 20"/>
                <a:gd name="T5" fmla="*/ 0 h 25"/>
                <a:gd name="T6" fmla="*/ 20 w 20"/>
                <a:gd name="T7" fmla="*/ 2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5">
                  <a:moveTo>
                    <a:pt x="20" y="20"/>
                  </a:moveTo>
                  <a:lnTo>
                    <a:pt x="15" y="25"/>
                  </a:lnTo>
                  <a:lnTo>
                    <a:pt x="0" y="0"/>
                  </a:lnTo>
                  <a:lnTo>
                    <a:pt x="20" y="2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0" name="Freeform 20"/>
            <p:cNvSpPr>
              <a:spLocks/>
            </p:cNvSpPr>
            <p:nvPr/>
          </p:nvSpPr>
          <p:spPr bwMode="auto">
            <a:xfrm>
              <a:off x="3588" y="1157"/>
              <a:ext cx="31" cy="61"/>
            </a:xfrm>
            <a:custGeom>
              <a:avLst/>
              <a:gdLst>
                <a:gd name="T0" fmla="*/ 31 w 31"/>
                <a:gd name="T1" fmla="*/ 61 h 61"/>
                <a:gd name="T2" fmla="*/ 5 w 31"/>
                <a:gd name="T3" fmla="*/ 30 h 61"/>
                <a:gd name="T4" fmla="*/ 0 w 31"/>
                <a:gd name="T5" fmla="*/ 5 h 61"/>
                <a:gd name="T6" fmla="*/ 10 w 31"/>
                <a:gd name="T7" fmla="*/ 0 h 61"/>
                <a:gd name="T8" fmla="*/ 31 w 31"/>
                <a:gd name="T9" fmla="*/ 20 h 61"/>
                <a:gd name="T10" fmla="*/ 31 w 31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61">
                  <a:moveTo>
                    <a:pt x="31" y="61"/>
                  </a:moveTo>
                  <a:lnTo>
                    <a:pt x="5" y="30"/>
                  </a:lnTo>
                  <a:lnTo>
                    <a:pt x="0" y="5"/>
                  </a:lnTo>
                  <a:lnTo>
                    <a:pt x="10" y="0"/>
                  </a:lnTo>
                  <a:lnTo>
                    <a:pt x="31" y="20"/>
                  </a:lnTo>
                  <a:lnTo>
                    <a:pt x="31" y="6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1" name="Freeform 21"/>
            <p:cNvSpPr>
              <a:spLocks/>
            </p:cNvSpPr>
            <p:nvPr/>
          </p:nvSpPr>
          <p:spPr bwMode="auto">
            <a:xfrm>
              <a:off x="3076" y="1082"/>
              <a:ext cx="1263" cy="2296"/>
            </a:xfrm>
            <a:custGeom>
              <a:avLst/>
              <a:gdLst>
                <a:gd name="T0" fmla="*/ 823 w 1273"/>
                <a:gd name="T1" fmla="*/ 51 h 2314"/>
                <a:gd name="T2" fmla="*/ 843 w 1273"/>
                <a:gd name="T3" fmla="*/ 132 h 2314"/>
                <a:gd name="T4" fmla="*/ 935 w 1273"/>
                <a:gd name="T5" fmla="*/ 148 h 2314"/>
                <a:gd name="T6" fmla="*/ 1027 w 1273"/>
                <a:gd name="T7" fmla="*/ 224 h 2314"/>
                <a:gd name="T8" fmla="*/ 1027 w 1273"/>
                <a:gd name="T9" fmla="*/ 366 h 2314"/>
                <a:gd name="T10" fmla="*/ 1068 w 1273"/>
                <a:gd name="T11" fmla="*/ 488 h 2314"/>
                <a:gd name="T12" fmla="*/ 1084 w 1273"/>
                <a:gd name="T13" fmla="*/ 570 h 2314"/>
                <a:gd name="T14" fmla="*/ 1125 w 1273"/>
                <a:gd name="T15" fmla="*/ 651 h 2314"/>
                <a:gd name="T16" fmla="*/ 1135 w 1273"/>
                <a:gd name="T17" fmla="*/ 743 h 2314"/>
                <a:gd name="T18" fmla="*/ 1140 w 1273"/>
                <a:gd name="T19" fmla="*/ 829 h 2314"/>
                <a:gd name="T20" fmla="*/ 1099 w 1273"/>
                <a:gd name="T21" fmla="*/ 890 h 2314"/>
                <a:gd name="T22" fmla="*/ 1033 w 1273"/>
                <a:gd name="T23" fmla="*/ 982 h 2314"/>
                <a:gd name="T24" fmla="*/ 1104 w 1273"/>
                <a:gd name="T25" fmla="*/ 961 h 2314"/>
                <a:gd name="T26" fmla="*/ 1201 w 1273"/>
                <a:gd name="T27" fmla="*/ 1048 h 2314"/>
                <a:gd name="T28" fmla="*/ 1232 w 1273"/>
                <a:gd name="T29" fmla="*/ 1144 h 2314"/>
                <a:gd name="T30" fmla="*/ 1073 w 1273"/>
                <a:gd name="T31" fmla="*/ 1124 h 2314"/>
                <a:gd name="T32" fmla="*/ 1114 w 1273"/>
                <a:gd name="T33" fmla="*/ 1221 h 2314"/>
                <a:gd name="T34" fmla="*/ 1268 w 1273"/>
                <a:gd name="T35" fmla="*/ 1216 h 2314"/>
                <a:gd name="T36" fmla="*/ 1165 w 1273"/>
                <a:gd name="T37" fmla="*/ 1388 h 2314"/>
                <a:gd name="T38" fmla="*/ 946 w 1273"/>
                <a:gd name="T39" fmla="*/ 1536 h 2314"/>
                <a:gd name="T40" fmla="*/ 849 w 1273"/>
                <a:gd name="T41" fmla="*/ 1724 h 2314"/>
                <a:gd name="T42" fmla="*/ 787 w 1273"/>
                <a:gd name="T43" fmla="*/ 1688 h 2314"/>
                <a:gd name="T44" fmla="*/ 700 w 1273"/>
                <a:gd name="T45" fmla="*/ 1805 h 2314"/>
                <a:gd name="T46" fmla="*/ 639 w 1273"/>
                <a:gd name="T47" fmla="*/ 1887 h 2314"/>
                <a:gd name="T48" fmla="*/ 659 w 1273"/>
                <a:gd name="T49" fmla="*/ 1983 h 2314"/>
                <a:gd name="T50" fmla="*/ 613 w 1273"/>
                <a:gd name="T51" fmla="*/ 2105 h 2314"/>
                <a:gd name="T52" fmla="*/ 562 w 1273"/>
                <a:gd name="T53" fmla="*/ 2263 h 2314"/>
                <a:gd name="T54" fmla="*/ 496 w 1273"/>
                <a:gd name="T55" fmla="*/ 2294 h 2314"/>
                <a:gd name="T56" fmla="*/ 434 w 1273"/>
                <a:gd name="T57" fmla="*/ 2197 h 2314"/>
                <a:gd name="T58" fmla="*/ 348 w 1273"/>
                <a:gd name="T59" fmla="*/ 2192 h 2314"/>
                <a:gd name="T60" fmla="*/ 296 w 1273"/>
                <a:gd name="T61" fmla="*/ 2080 h 2314"/>
                <a:gd name="T62" fmla="*/ 220 w 1273"/>
                <a:gd name="T63" fmla="*/ 1958 h 2314"/>
                <a:gd name="T64" fmla="*/ 230 w 1273"/>
                <a:gd name="T65" fmla="*/ 1831 h 2314"/>
                <a:gd name="T66" fmla="*/ 240 w 1273"/>
                <a:gd name="T67" fmla="*/ 1826 h 2314"/>
                <a:gd name="T68" fmla="*/ 256 w 1273"/>
                <a:gd name="T69" fmla="*/ 1714 h 2314"/>
                <a:gd name="T70" fmla="*/ 245 w 1273"/>
                <a:gd name="T71" fmla="*/ 1627 h 2314"/>
                <a:gd name="T72" fmla="*/ 179 w 1273"/>
                <a:gd name="T73" fmla="*/ 1541 h 2314"/>
                <a:gd name="T74" fmla="*/ 179 w 1273"/>
                <a:gd name="T75" fmla="*/ 1531 h 2314"/>
                <a:gd name="T76" fmla="*/ 240 w 1273"/>
                <a:gd name="T77" fmla="*/ 1424 h 2314"/>
                <a:gd name="T78" fmla="*/ 302 w 1273"/>
                <a:gd name="T79" fmla="*/ 1383 h 2314"/>
                <a:gd name="T80" fmla="*/ 276 w 1273"/>
                <a:gd name="T81" fmla="*/ 1297 h 2314"/>
                <a:gd name="T82" fmla="*/ 332 w 1273"/>
                <a:gd name="T83" fmla="*/ 1266 h 2314"/>
                <a:gd name="T84" fmla="*/ 286 w 1273"/>
                <a:gd name="T85" fmla="*/ 1154 h 2314"/>
                <a:gd name="T86" fmla="*/ 271 w 1273"/>
                <a:gd name="T87" fmla="*/ 1119 h 2314"/>
                <a:gd name="T88" fmla="*/ 210 w 1273"/>
                <a:gd name="T89" fmla="*/ 1068 h 2314"/>
                <a:gd name="T90" fmla="*/ 245 w 1273"/>
                <a:gd name="T91" fmla="*/ 971 h 2314"/>
                <a:gd name="T92" fmla="*/ 245 w 1273"/>
                <a:gd name="T93" fmla="*/ 849 h 2314"/>
                <a:gd name="T94" fmla="*/ 82 w 1273"/>
                <a:gd name="T95" fmla="*/ 631 h 2314"/>
                <a:gd name="T96" fmla="*/ 26 w 1273"/>
                <a:gd name="T97" fmla="*/ 514 h 2314"/>
                <a:gd name="T98" fmla="*/ 77 w 1273"/>
                <a:gd name="T99" fmla="*/ 493 h 2314"/>
                <a:gd name="T100" fmla="*/ 56 w 1273"/>
                <a:gd name="T101" fmla="*/ 437 h 2314"/>
                <a:gd name="T102" fmla="*/ 164 w 1273"/>
                <a:gd name="T103" fmla="*/ 346 h 2314"/>
                <a:gd name="T104" fmla="*/ 276 w 1273"/>
                <a:gd name="T105" fmla="*/ 198 h 2314"/>
                <a:gd name="T106" fmla="*/ 404 w 1273"/>
                <a:gd name="T107" fmla="*/ 204 h 2314"/>
                <a:gd name="T108" fmla="*/ 491 w 1273"/>
                <a:gd name="T109" fmla="*/ 153 h 2314"/>
                <a:gd name="T110" fmla="*/ 572 w 1273"/>
                <a:gd name="T111" fmla="*/ 92 h 2314"/>
                <a:gd name="T112" fmla="*/ 613 w 1273"/>
                <a:gd name="T113" fmla="*/ 46 h 2314"/>
                <a:gd name="T114" fmla="*/ 746 w 1273"/>
                <a:gd name="T115" fmla="*/ 0 h 2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73" h="2314">
                  <a:moveTo>
                    <a:pt x="746" y="0"/>
                  </a:moveTo>
                  <a:lnTo>
                    <a:pt x="797" y="15"/>
                  </a:lnTo>
                  <a:lnTo>
                    <a:pt x="797" y="26"/>
                  </a:lnTo>
                  <a:lnTo>
                    <a:pt x="731" y="51"/>
                  </a:lnTo>
                  <a:lnTo>
                    <a:pt x="736" y="61"/>
                  </a:lnTo>
                  <a:lnTo>
                    <a:pt x="751" y="46"/>
                  </a:lnTo>
                  <a:lnTo>
                    <a:pt x="792" y="41"/>
                  </a:lnTo>
                  <a:lnTo>
                    <a:pt x="808" y="26"/>
                  </a:lnTo>
                  <a:lnTo>
                    <a:pt x="823" y="51"/>
                  </a:lnTo>
                  <a:lnTo>
                    <a:pt x="833" y="46"/>
                  </a:lnTo>
                  <a:lnTo>
                    <a:pt x="864" y="56"/>
                  </a:lnTo>
                  <a:lnTo>
                    <a:pt x="869" y="76"/>
                  </a:lnTo>
                  <a:lnTo>
                    <a:pt x="859" y="97"/>
                  </a:lnTo>
                  <a:lnTo>
                    <a:pt x="782" y="132"/>
                  </a:lnTo>
                  <a:lnTo>
                    <a:pt x="777" y="142"/>
                  </a:lnTo>
                  <a:lnTo>
                    <a:pt x="787" y="153"/>
                  </a:lnTo>
                  <a:lnTo>
                    <a:pt x="808" y="137"/>
                  </a:lnTo>
                  <a:lnTo>
                    <a:pt x="843" y="132"/>
                  </a:lnTo>
                  <a:lnTo>
                    <a:pt x="864" y="158"/>
                  </a:lnTo>
                  <a:lnTo>
                    <a:pt x="869" y="122"/>
                  </a:lnTo>
                  <a:lnTo>
                    <a:pt x="889" y="112"/>
                  </a:lnTo>
                  <a:lnTo>
                    <a:pt x="910" y="168"/>
                  </a:lnTo>
                  <a:lnTo>
                    <a:pt x="905" y="234"/>
                  </a:lnTo>
                  <a:lnTo>
                    <a:pt x="925" y="178"/>
                  </a:lnTo>
                  <a:lnTo>
                    <a:pt x="925" y="142"/>
                  </a:lnTo>
                  <a:lnTo>
                    <a:pt x="930" y="137"/>
                  </a:lnTo>
                  <a:lnTo>
                    <a:pt x="935" y="148"/>
                  </a:lnTo>
                  <a:lnTo>
                    <a:pt x="966" y="153"/>
                  </a:lnTo>
                  <a:lnTo>
                    <a:pt x="971" y="102"/>
                  </a:lnTo>
                  <a:lnTo>
                    <a:pt x="997" y="92"/>
                  </a:lnTo>
                  <a:lnTo>
                    <a:pt x="1038" y="102"/>
                  </a:lnTo>
                  <a:lnTo>
                    <a:pt x="1038" y="148"/>
                  </a:lnTo>
                  <a:lnTo>
                    <a:pt x="1022" y="163"/>
                  </a:lnTo>
                  <a:lnTo>
                    <a:pt x="1033" y="188"/>
                  </a:lnTo>
                  <a:lnTo>
                    <a:pt x="1007" y="219"/>
                  </a:lnTo>
                  <a:lnTo>
                    <a:pt x="1027" y="224"/>
                  </a:lnTo>
                  <a:lnTo>
                    <a:pt x="1027" y="244"/>
                  </a:lnTo>
                  <a:lnTo>
                    <a:pt x="1007" y="265"/>
                  </a:lnTo>
                  <a:lnTo>
                    <a:pt x="981" y="259"/>
                  </a:lnTo>
                  <a:lnTo>
                    <a:pt x="976" y="290"/>
                  </a:lnTo>
                  <a:lnTo>
                    <a:pt x="987" y="310"/>
                  </a:lnTo>
                  <a:lnTo>
                    <a:pt x="1002" y="310"/>
                  </a:lnTo>
                  <a:lnTo>
                    <a:pt x="1012" y="346"/>
                  </a:lnTo>
                  <a:lnTo>
                    <a:pt x="1027" y="351"/>
                  </a:lnTo>
                  <a:lnTo>
                    <a:pt x="1027" y="366"/>
                  </a:lnTo>
                  <a:lnTo>
                    <a:pt x="1017" y="376"/>
                  </a:lnTo>
                  <a:lnTo>
                    <a:pt x="1022" y="397"/>
                  </a:lnTo>
                  <a:lnTo>
                    <a:pt x="1012" y="402"/>
                  </a:lnTo>
                  <a:lnTo>
                    <a:pt x="1007" y="417"/>
                  </a:lnTo>
                  <a:lnTo>
                    <a:pt x="1017" y="422"/>
                  </a:lnTo>
                  <a:lnTo>
                    <a:pt x="1027" y="504"/>
                  </a:lnTo>
                  <a:lnTo>
                    <a:pt x="1038" y="514"/>
                  </a:lnTo>
                  <a:lnTo>
                    <a:pt x="1043" y="483"/>
                  </a:lnTo>
                  <a:lnTo>
                    <a:pt x="1068" y="488"/>
                  </a:lnTo>
                  <a:lnTo>
                    <a:pt x="1084" y="504"/>
                  </a:lnTo>
                  <a:lnTo>
                    <a:pt x="1063" y="498"/>
                  </a:lnTo>
                  <a:lnTo>
                    <a:pt x="1053" y="509"/>
                  </a:lnTo>
                  <a:lnTo>
                    <a:pt x="1063" y="524"/>
                  </a:lnTo>
                  <a:lnTo>
                    <a:pt x="1094" y="534"/>
                  </a:lnTo>
                  <a:lnTo>
                    <a:pt x="1109" y="524"/>
                  </a:lnTo>
                  <a:lnTo>
                    <a:pt x="1125" y="544"/>
                  </a:lnTo>
                  <a:lnTo>
                    <a:pt x="1130" y="570"/>
                  </a:lnTo>
                  <a:lnTo>
                    <a:pt x="1084" y="570"/>
                  </a:lnTo>
                  <a:lnTo>
                    <a:pt x="1068" y="600"/>
                  </a:lnTo>
                  <a:lnTo>
                    <a:pt x="1048" y="595"/>
                  </a:lnTo>
                  <a:lnTo>
                    <a:pt x="1043" y="605"/>
                  </a:lnTo>
                  <a:lnTo>
                    <a:pt x="1063" y="615"/>
                  </a:lnTo>
                  <a:lnTo>
                    <a:pt x="1084" y="641"/>
                  </a:lnTo>
                  <a:lnTo>
                    <a:pt x="1094" y="631"/>
                  </a:lnTo>
                  <a:lnTo>
                    <a:pt x="1104" y="636"/>
                  </a:lnTo>
                  <a:lnTo>
                    <a:pt x="1114" y="631"/>
                  </a:lnTo>
                  <a:lnTo>
                    <a:pt x="1125" y="651"/>
                  </a:lnTo>
                  <a:lnTo>
                    <a:pt x="1145" y="666"/>
                  </a:lnTo>
                  <a:lnTo>
                    <a:pt x="1165" y="707"/>
                  </a:lnTo>
                  <a:lnTo>
                    <a:pt x="1165" y="727"/>
                  </a:lnTo>
                  <a:lnTo>
                    <a:pt x="1140" y="717"/>
                  </a:lnTo>
                  <a:lnTo>
                    <a:pt x="1135" y="737"/>
                  </a:lnTo>
                  <a:lnTo>
                    <a:pt x="1119" y="753"/>
                  </a:lnTo>
                  <a:lnTo>
                    <a:pt x="1104" y="753"/>
                  </a:lnTo>
                  <a:lnTo>
                    <a:pt x="1125" y="758"/>
                  </a:lnTo>
                  <a:lnTo>
                    <a:pt x="1135" y="743"/>
                  </a:lnTo>
                  <a:lnTo>
                    <a:pt x="1155" y="783"/>
                  </a:lnTo>
                  <a:lnTo>
                    <a:pt x="1150" y="748"/>
                  </a:lnTo>
                  <a:lnTo>
                    <a:pt x="1160" y="743"/>
                  </a:lnTo>
                  <a:lnTo>
                    <a:pt x="1201" y="783"/>
                  </a:lnTo>
                  <a:lnTo>
                    <a:pt x="1201" y="804"/>
                  </a:lnTo>
                  <a:lnTo>
                    <a:pt x="1181" y="809"/>
                  </a:lnTo>
                  <a:lnTo>
                    <a:pt x="1186" y="819"/>
                  </a:lnTo>
                  <a:lnTo>
                    <a:pt x="1165" y="834"/>
                  </a:lnTo>
                  <a:lnTo>
                    <a:pt x="1140" y="829"/>
                  </a:lnTo>
                  <a:lnTo>
                    <a:pt x="1130" y="799"/>
                  </a:lnTo>
                  <a:lnTo>
                    <a:pt x="1135" y="849"/>
                  </a:lnTo>
                  <a:lnTo>
                    <a:pt x="1145" y="854"/>
                  </a:lnTo>
                  <a:lnTo>
                    <a:pt x="1191" y="849"/>
                  </a:lnTo>
                  <a:lnTo>
                    <a:pt x="1201" y="890"/>
                  </a:lnTo>
                  <a:lnTo>
                    <a:pt x="1181" y="895"/>
                  </a:lnTo>
                  <a:lnTo>
                    <a:pt x="1165" y="921"/>
                  </a:lnTo>
                  <a:lnTo>
                    <a:pt x="1114" y="910"/>
                  </a:lnTo>
                  <a:lnTo>
                    <a:pt x="1099" y="890"/>
                  </a:lnTo>
                  <a:lnTo>
                    <a:pt x="1094" y="910"/>
                  </a:lnTo>
                  <a:lnTo>
                    <a:pt x="1058" y="895"/>
                  </a:lnTo>
                  <a:lnTo>
                    <a:pt x="1089" y="921"/>
                  </a:lnTo>
                  <a:lnTo>
                    <a:pt x="1063" y="956"/>
                  </a:lnTo>
                  <a:lnTo>
                    <a:pt x="1022" y="946"/>
                  </a:lnTo>
                  <a:lnTo>
                    <a:pt x="1048" y="956"/>
                  </a:lnTo>
                  <a:lnTo>
                    <a:pt x="1048" y="966"/>
                  </a:lnTo>
                  <a:lnTo>
                    <a:pt x="1022" y="977"/>
                  </a:lnTo>
                  <a:lnTo>
                    <a:pt x="1033" y="982"/>
                  </a:lnTo>
                  <a:lnTo>
                    <a:pt x="1033" y="971"/>
                  </a:lnTo>
                  <a:lnTo>
                    <a:pt x="1063" y="961"/>
                  </a:lnTo>
                  <a:lnTo>
                    <a:pt x="1079" y="946"/>
                  </a:lnTo>
                  <a:lnTo>
                    <a:pt x="1079" y="936"/>
                  </a:lnTo>
                  <a:lnTo>
                    <a:pt x="1099" y="926"/>
                  </a:lnTo>
                  <a:lnTo>
                    <a:pt x="1181" y="951"/>
                  </a:lnTo>
                  <a:lnTo>
                    <a:pt x="1201" y="1027"/>
                  </a:lnTo>
                  <a:lnTo>
                    <a:pt x="1150" y="1017"/>
                  </a:lnTo>
                  <a:lnTo>
                    <a:pt x="1104" y="961"/>
                  </a:lnTo>
                  <a:lnTo>
                    <a:pt x="1058" y="1007"/>
                  </a:lnTo>
                  <a:lnTo>
                    <a:pt x="1068" y="1012"/>
                  </a:lnTo>
                  <a:lnTo>
                    <a:pt x="1104" y="977"/>
                  </a:lnTo>
                  <a:lnTo>
                    <a:pt x="1119" y="1007"/>
                  </a:lnTo>
                  <a:lnTo>
                    <a:pt x="1109" y="1027"/>
                  </a:lnTo>
                  <a:lnTo>
                    <a:pt x="1114" y="1032"/>
                  </a:lnTo>
                  <a:lnTo>
                    <a:pt x="1125" y="1017"/>
                  </a:lnTo>
                  <a:lnTo>
                    <a:pt x="1130" y="1027"/>
                  </a:lnTo>
                  <a:lnTo>
                    <a:pt x="1201" y="1048"/>
                  </a:lnTo>
                  <a:lnTo>
                    <a:pt x="1206" y="1063"/>
                  </a:lnTo>
                  <a:lnTo>
                    <a:pt x="1222" y="1058"/>
                  </a:lnTo>
                  <a:lnTo>
                    <a:pt x="1211" y="1088"/>
                  </a:lnTo>
                  <a:lnTo>
                    <a:pt x="1222" y="1109"/>
                  </a:lnTo>
                  <a:lnTo>
                    <a:pt x="1222" y="1088"/>
                  </a:lnTo>
                  <a:lnTo>
                    <a:pt x="1237" y="1083"/>
                  </a:lnTo>
                  <a:lnTo>
                    <a:pt x="1273" y="1175"/>
                  </a:lnTo>
                  <a:lnTo>
                    <a:pt x="1247" y="1180"/>
                  </a:lnTo>
                  <a:lnTo>
                    <a:pt x="1232" y="1144"/>
                  </a:lnTo>
                  <a:lnTo>
                    <a:pt x="1242" y="1185"/>
                  </a:lnTo>
                  <a:lnTo>
                    <a:pt x="1232" y="1190"/>
                  </a:lnTo>
                  <a:lnTo>
                    <a:pt x="1201" y="1185"/>
                  </a:lnTo>
                  <a:lnTo>
                    <a:pt x="1176" y="1160"/>
                  </a:lnTo>
                  <a:lnTo>
                    <a:pt x="1176" y="1144"/>
                  </a:lnTo>
                  <a:lnTo>
                    <a:pt x="1160" y="1134"/>
                  </a:lnTo>
                  <a:lnTo>
                    <a:pt x="1109" y="1109"/>
                  </a:lnTo>
                  <a:lnTo>
                    <a:pt x="1073" y="1114"/>
                  </a:lnTo>
                  <a:lnTo>
                    <a:pt x="1073" y="1124"/>
                  </a:lnTo>
                  <a:lnTo>
                    <a:pt x="1114" y="1119"/>
                  </a:lnTo>
                  <a:lnTo>
                    <a:pt x="1125" y="1144"/>
                  </a:lnTo>
                  <a:lnTo>
                    <a:pt x="1104" y="1175"/>
                  </a:lnTo>
                  <a:lnTo>
                    <a:pt x="1048" y="1185"/>
                  </a:lnTo>
                  <a:lnTo>
                    <a:pt x="1063" y="1190"/>
                  </a:lnTo>
                  <a:lnTo>
                    <a:pt x="1063" y="1216"/>
                  </a:lnTo>
                  <a:lnTo>
                    <a:pt x="1038" y="1241"/>
                  </a:lnTo>
                  <a:lnTo>
                    <a:pt x="1089" y="1236"/>
                  </a:lnTo>
                  <a:lnTo>
                    <a:pt x="1114" y="1221"/>
                  </a:lnTo>
                  <a:lnTo>
                    <a:pt x="1119" y="1231"/>
                  </a:lnTo>
                  <a:lnTo>
                    <a:pt x="1104" y="1241"/>
                  </a:lnTo>
                  <a:lnTo>
                    <a:pt x="1094" y="1271"/>
                  </a:lnTo>
                  <a:lnTo>
                    <a:pt x="1104" y="1271"/>
                  </a:lnTo>
                  <a:lnTo>
                    <a:pt x="1109" y="1251"/>
                  </a:lnTo>
                  <a:lnTo>
                    <a:pt x="1155" y="1221"/>
                  </a:lnTo>
                  <a:lnTo>
                    <a:pt x="1217" y="1226"/>
                  </a:lnTo>
                  <a:lnTo>
                    <a:pt x="1263" y="1210"/>
                  </a:lnTo>
                  <a:lnTo>
                    <a:pt x="1268" y="1216"/>
                  </a:lnTo>
                  <a:lnTo>
                    <a:pt x="1242" y="1241"/>
                  </a:lnTo>
                  <a:lnTo>
                    <a:pt x="1247" y="1251"/>
                  </a:lnTo>
                  <a:lnTo>
                    <a:pt x="1222" y="1266"/>
                  </a:lnTo>
                  <a:lnTo>
                    <a:pt x="1232" y="1277"/>
                  </a:lnTo>
                  <a:lnTo>
                    <a:pt x="1211" y="1282"/>
                  </a:lnTo>
                  <a:lnTo>
                    <a:pt x="1222" y="1292"/>
                  </a:lnTo>
                  <a:lnTo>
                    <a:pt x="1191" y="1322"/>
                  </a:lnTo>
                  <a:lnTo>
                    <a:pt x="1201" y="1332"/>
                  </a:lnTo>
                  <a:lnTo>
                    <a:pt x="1165" y="1388"/>
                  </a:lnTo>
                  <a:lnTo>
                    <a:pt x="1079" y="1449"/>
                  </a:lnTo>
                  <a:lnTo>
                    <a:pt x="1053" y="1449"/>
                  </a:lnTo>
                  <a:lnTo>
                    <a:pt x="1043" y="1465"/>
                  </a:lnTo>
                  <a:lnTo>
                    <a:pt x="1027" y="1465"/>
                  </a:lnTo>
                  <a:lnTo>
                    <a:pt x="1033" y="1475"/>
                  </a:lnTo>
                  <a:lnTo>
                    <a:pt x="1017" y="1485"/>
                  </a:lnTo>
                  <a:lnTo>
                    <a:pt x="966" y="1455"/>
                  </a:lnTo>
                  <a:lnTo>
                    <a:pt x="976" y="1505"/>
                  </a:lnTo>
                  <a:lnTo>
                    <a:pt x="946" y="1536"/>
                  </a:lnTo>
                  <a:lnTo>
                    <a:pt x="920" y="1643"/>
                  </a:lnTo>
                  <a:lnTo>
                    <a:pt x="915" y="1638"/>
                  </a:lnTo>
                  <a:lnTo>
                    <a:pt x="910" y="1643"/>
                  </a:lnTo>
                  <a:lnTo>
                    <a:pt x="910" y="1658"/>
                  </a:lnTo>
                  <a:lnTo>
                    <a:pt x="884" y="1683"/>
                  </a:lnTo>
                  <a:lnTo>
                    <a:pt x="859" y="1663"/>
                  </a:lnTo>
                  <a:lnTo>
                    <a:pt x="869" y="1699"/>
                  </a:lnTo>
                  <a:lnTo>
                    <a:pt x="854" y="1709"/>
                  </a:lnTo>
                  <a:lnTo>
                    <a:pt x="849" y="1724"/>
                  </a:lnTo>
                  <a:lnTo>
                    <a:pt x="838" y="1709"/>
                  </a:lnTo>
                  <a:lnTo>
                    <a:pt x="828" y="1734"/>
                  </a:lnTo>
                  <a:lnTo>
                    <a:pt x="818" y="1724"/>
                  </a:lnTo>
                  <a:lnTo>
                    <a:pt x="803" y="1750"/>
                  </a:lnTo>
                  <a:lnTo>
                    <a:pt x="792" y="1755"/>
                  </a:lnTo>
                  <a:lnTo>
                    <a:pt x="782" y="1750"/>
                  </a:lnTo>
                  <a:lnTo>
                    <a:pt x="803" y="1683"/>
                  </a:lnTo>
                  <a:lnTo>
                    <a:pt x="767" y="1678"/>
                  </a:lnTo>
                  <a:lnTo>
                    <a:pt x="787" y="1688"/>
                  </a:lnTo>
                  <a:lnTo>
                    <a:pt x="772" y="1724"/>
                  </a:lnTo>
                  <a:lnTo>
                    <a:pt x="757" y="1714"/>
                  </a:lnTo>
                  <a:lnTo>
                    <a:pt x="772" y="1729"/>
                  </a:lnTo>
                  <a:lnTo>
                    <a:pt x="772" y="1744"/>
                  </a:lnTo>
                  <a:lnTo>
                    <a:pt x="757" y="1755"/>
                  </a:lnTo>
                  <a:lnTo>
                    <a:pt x="690" y="1765"/>
                  </a:lnTo>
                  <a:lnTo>
                    <a:pt x="716" y="1780"/>
                  </a:lnTo>
                  <a:lnTo>
                    <a:pt x="716" y="1790"/>
                  </a:lnTo>
                  <a:lnTo>
                    <a:pt x="700" y="1805"/>
                  </a:lnTo>
                  <a:lnTo>
                    <a:pt x="690" y="1811"/>
                  </a:lnTo>
                  <a:lnTo>
                    <a:pt x="654" y="1805"/>
                  </a:lnTo>
                  <a:lnTo>
                    <a:pt x="659" y="1831"/>
                  </a:lnTo>
                  <a:lnTo>
                    <a:pt x="675" y="1826"/>
                  </a:lnTo>
                  <a:lnTo>
                    <a:pt x="695" y="1861"/>
                  </a:lnTo>
                  <a:lnTo>
                    <a:pt x="685" y="1882"/>
                  </a:lnTo>
                  <a:lnTo>
                    <a:pt x="675" y="1882"/>
                  </a:lnTo>
                  <a:lnTo>
                    <a:pt x="670" y="1892"/>
                  </a:lnTo>
                  <a:lnTo>
                    <a:pt x="639" y="1887"/>
                  </a:lnTo>
                  <a:lnTo>
                    <a:pt x="659" y="1902"/>
                  </a:lnTo>
                  <a:lnTo>
                    <a:pt x="665" y="1897"/>
                  </a:lnTo>
                  <a:lnTo>
                    <a:pt x="680" y="1902"/>
                  </a:lnTo>
                  <a:lnTo>
                    <a:pt x="675" y="1922"/>
                  </a:lnTo>
                  <a:lnTo>
                    <a:pt x="680" y="1943"/>
                  </a:lnTo>
                  <a:lnTo>
                    <a:pt x="675" y="1958"/>
                  </a:lnTo>
                  <a:lnTo>
                    <a:pt x="659" y="1963"/>
                  </a:lnTo>
                  <a:lnTo>
                    <a:pt x="654" y="1978"/>
                  </a:lnTo>
                  <a:lnTo>
                    <a:pt x="659" y="1983"/>
                  </a:lnTo>
                  <a:lnTo>
                    <a:pt x="644" y="2004"/>
                  </a:lnTo>
                  <a:lnTo>
                    <a:pt x="624" y="2004"/>
                  </a:lnTo>
                  <a:lnTo>
                    <a:pt x="613" y="1994"/>
                  </a:lnTo>
                  <a:lnTo>
                    <a:pt x="634" y="2014"/>
                  </a:lnTo>
                  <a:lnTo>
                    <a:pt x="624" y="2039"/>
                  </a:lnTo>
                  <a:lnTo>
                    <a:pt x="578" y="2039"/>
                  </a:lnTo>
                  <a:lnTo>
                    <a:pt x="613" y="2055"/>
                  </a:lnTo>
                  <a:lnTo>
                    <a:pt x="603" y="2095"/>
                  </a:lnTo>
                  <a:lnTo>
                    <a:pt x="613" y="2105"/>
                  </a:lnTo>
                  <a:lnTo>
                    <a:pt x="613" y="2121"/>
                  </a:lnTo>
                  <a:lnTo>
                    <a:pt x="608" y="2131"/>
                  </a:lnTo>
                  <a:lnTo>
                    <a:pt x="593" y="2131"/>
                  </a:lnTo>
                  <a:lnTo>
                    <a:pt x="603" y="2136"/>
                  </a:lnTo>
                  <a:lnTo>
                    <a:pt x="603" y="2146"/>
                  </a:lnTo>
                  <a:lnTo>
                    <a:pt x="583" y="2228"/>
                  </a:lnTo>
                  <a:lnTo>
                    <a:pt x="562" y="2253"/>
                  </a:lnTo>
                  <a:lnTo>
                    <a:pt x="526" y="2243"/>
                  </a:lnTo>
                  <a:lnTo>
                    <a:pt x="562" y="2263"/>
                  </a:lnTo>
                  <a:lnTo>
                    <a:pt x="562" y="2294"/>
                  </a:lnTo>
                  <a:lnTo>
                    <a:pt x="552" y="2304"/>
                  </a:lnTo>
                  <a:lnTo>
                    <a:pt x="521" y="2294"/>
                  </a:lnTo>
                  <a:lnTo>
                    <a:pt x="537" y="2314"/>
                  </a:lnTo>
                  <a:lnTo>
                    <a:pt x="516" y="2314"/>
                  </a:lnTo>
                  <a:lnTo>
                    <a:pt x="516" y="2304"/>
                  </a:lnTo>
                  <a:lnTo>
                    <a:pt x="501" y="2309"/>
                  </a:lnTo>
                  <a:lnTo>
                    <a:pt x="511" y="2273"/>
                  </a:lnTo>
                  <a:lnTo>
                    <a:pt x="496" y="2294"/>
                  </a:lnTo>
                  <a:lnTo>
                    <a:pt x="480" y="2294"/>
                  </a:lnTo>
                  <a:lnTo>
                    <a:pt x="455" y="2278"/>
                  </a:lnTo>
                  <a:lnTo>
                    <a:pt x="455" y="2258"/>
                  </a:lnTo>
                  <a:lnTo>
                    <a:pt x="470" y="2258"/>
                  </a:lnTo>
                  <a:lnTo>
                    <a:pt x="486" y="2233"/>
                  </a:lnTo>
                  <a:lnTo>
                    <a:pt x="460" y="2253"/>
                  </a:lnTo>
                  <a:lnTo>
                    <a:pt x="424" y="2233"/>
                  </a:lnTo>
                  <a:lnTo>
                    <a:pt x="419" y="2217"/>
                  </a:lnTo>
                  <a:lnTo>
                    <a:pt x="434" y="2197"/>
                  </a:lnTo>
                  <a:lnTo>
                    <a:pt x="440" y="2182"/>
                  </a:lnTo>
                  <a:lnTo>
                    <a:pt x="434" y="2177"/>
                  </a:lnTo>
                  <a:lnTo>
                    <a:pt x="388" y="2212"/>
                  </a:lnTo>
                  <a:lnTo>
                    <a:pt x="358" y="2207"/>
                  </a:lnTo>
                  <a:lnTo>
                    <a:pt x="342" y="2207"/>
                  </a:lnTo>
                  <a:lnTo>
                    <a:pt x="342" y="2217"/>
                  </a:lnTo>
                  <a:lnTo>
                    <a:pt x="322" y="2212"/>
                  </a:lnTo>
                  <a:lnTo>
                    <a:pt x="322" y="2202"/>
                  </a:lnTo>
                  <a:lnTo>
                    <a:pt x="348" y="2192"/>
                  </a:lnTo>
                  <a:lnTo>
                    <a:pt x="317" y="2187"/>
                  </a:lnTo>
                  <a:lnTo>
                    <a:pt x="317" y="2172"/>
                  </a:lnTo>
                  <a:lnTo>
                    <a:pt x="291" y="2161"/>
                  </a:lnTo>
                  <a:lnTo>
                    <a:pt x="291" y="2136"/>
                  </a:lnTo>
                  <a:lnTo>
                    <a:pt x="281" y="2131"/>
                  </a:lnTo>
                  <a:lnTo>
                    <a:pt x="286" y="2121"/>
                  </a:lnTo>
                  <a:lnTo>
                    <a:pt x="281" y="2095"/>
                  </a:lnTo>
                  <a:lnTo>
                    <a:pt x="307" y="2085"/>
                  </a:lnTo>
                  <a:lnTo>
                    <a:pt x="296" y="2080"/>
                  </a:lnTo>
                  <a:lnTo>
                    <a:pt x="266" y="2085"/>
                  </a:lnTo>
                  <a:lnTo>
                    <a:pt x="276" y="2065"/>
                  </a:lnTo>
                  <a:lnTo>
                    <a:pt x="256" y="2055"/>
                  </a:lnTo>
                  <a:lnTo>
                    <a:pt x="245" y="2039"/>
                  </a:lnTo>
                  <a:lnTo>
                    <a:pt x="250" y="2019"/>
                  </a:lnTo>
                  <a:lnTo>
                    <a:pt x="245" y="2014"/>
                  </a:lnTo>
                  <a:lnTo>
                    <a:pt x="271" y="1983"/>
                  </a:lnTo>
                  <a:lnTo>
                    <a:pt x="245" y="2004"/>
                  </a:lnTo>
                  <a:lnTo>
                    <a:pt x="220" y="1958"/>
                  </a:lnTo>
                  <a:lnTo>
                    <a:pt x="204" y="1907"/>
                  </a:lnTo>
                  <a:lnTo>
                    <a:pt x="215" y="1892"/>
                  </a:lnTo>
                  <a:lnTo>
                    <a:pt x="210" y="1882"/>
                  </a:lnTo>
                  <a:lnTo>
                    <a:pt x="266" y="1872"/>
                  </a:lnTo>
                  <a:lnTo>
                    <a:pt x="256" y="1872"/>
                  </a:lnTo>
                  <a:lnTo>
                    <a:pt x="261" y="1861"/>
                  </a:lnTo>
                  <a:lnTo>
                    <a:pt x="210" y="1877"/>
                  </a:lnTo>
                  <a:lnTo>
                    <a:pt x="204" y="1861"/>
                  </a:lnTo>
                  <a:lnTo>
                    <a:pt x="230" y="1831"/>
                  </a:lnTo>
                  <a:lnTo>
                    <a:pt x="245" y="1836"/>
                  </a:lnTo>
                  <a:lnTo>
                    <a:pt x="250" y="1826"/>
                  </a:lnTo>
                  <a:lnTo>
                    <a:pt x="271" y="1826"/>
                  </a:lnTo>
                  <a:lnTo>
                    <a:pt x="281" y="1851"/>
                  </a:lnTo>
                  <a:lnTo>
                    <a:pt x="281" y="1826"/>
                  </a:lnTo>
                  <a:lnTo>
                    <a:pt x="266" y="1816"/>
                  </a:lnTo>
                  <a:lnTo>
                    <a:pt x="250" y="1770"/>
                  </a:lnTo>
                  <a:lnTo>
                    <a:pt x="256" y="1811"/>
                  </a:lnTo>
                  <a:lnTo>
                    <a:pt x="240" y="1826"/>
                  </a:lnTo>
                  <a:lnTo>
                    <a:pt x="230" y="1826"/>
                  </a:lnTo>
                  <a:lnTo>
                    <a:pt x="235" y="1811"/>
                  </a:lnTo>
                  <a:lnTo>
                    <a:pt x="204" y="1856"/>
                  </a:lnTo>
                  <a:lnTo>
                    <a:pt x="199" y="1861"/>
                  </a:lnTo>
                  <a:lnTo>
                    <a:pt x="194" y="1856"/>
                  </a:lnTo>
                  <a:lnTo>
                    <a:pt x="199" y="1770"/>
                  </a:lnTo>
                  <a:lnTo>
                    <a:pt x="189" y="1750"/>
                  </a:lnTo>
                  <a:lnTo>
                    <a:pt x="230" y="1719"/>
                  </a:lnTo>
                  <a:lnTo>
                    <a:pt x="256" y="1714"/>
                  </a:lnTo>
                  <a:lnTo>
                    <a:pt x="225" y="1719"/>
                  </a:lnTo>
                  <a:lnTo>
                    <a:pt x="189" y="1739"/>
                  </a:lnTo>
                  <a:lnTo>
                    <a:pt x="184" y="1724"/>
                  </a:lnTo>
                  <a:lnTo>
                    <a:pt x="169" y="1724"/>
                  </a:lnTo>
                  <a:lnTo>
                    <a:pt x="179" y="1683"/>
                  </a:lnTo>
                  <a:lnTo>
                    <a:pt x="169" y="1683"/>
                  </a:lnTo>
                  <a:lnTo>
                    <a:pt x="169" y="1673"/>
                  </a:lnTo>
                  <a:lnTo>
                    <a:pt x="235" y="1627"/>
                  </a:lnTo>
                  <a:lnTo>
                    <a:pt x="245" y="1627"/>
                  </a:lnTo>
                  <a:lnTo>
                    <a:pt x="266" y="1607"/>
                  </a:lnTo>
                  <a:lnTo>
                    <a:pt x="184" y="1663"/>
                  </a:lnTo>
                  <a:lnTo>
                    <a:pt x="158" y="1663"/>
                  </a:lnTo>
                  <a:lnTo>
                    <a:pt x="174" y="1617"/>
                  </a:lnTo>
                  <a:lnTo>
                    <a:pt x="194" y="1602"/>
                  </a:lnTo>
                  <a:lnTo>
                    <a:pt x="220" y="1602"/>
                  </a:lnTo>
                  <a:lnTo>
                    <a:pt x="179" y="1592"/>
                  </a:lnTo>
                  <a:lnTo>
                    <a:pt x="169" y="1566"/>
                  </a:lnTo>
                  <a:lnTo>
                    <a:pt x="179" y="1541"/>
                  </a:lnTo>
                  <a:lnTo>
                    <a:pt x="225" y="1516"/>
                  </a:lnTo>
                  <a:lnTo>
                    <a:pt x="296" y="1551"/>
                  </a:lnTo>
                  <a:lnTo>
                    <a:pt x="276" y="1531"/>
                  </a:lnTo>
                  <a:lnTo>
                    <a:pt x="291" y="1526"/>
                  </a:lnTo>
                  <a:lnTo>
                    <a:pt x="286" y="1521"/>
                  </a:lnTo>
                  <a:lnTo>
                    <a:pt x="256" y="1526"/>
                  </a:lnTo>
                  <a:lnTo>
                    <a:pt x="235" y="1510"/>
                  </a:lnTo>
                  <a:lnTo>
                    <a:pt x="194" y="1531"/>
                  </a:lnTo>
                  <a:lnTo>
                    <a:pt x="179" y="1531"/>
                  </a:lnTo>
                  <a:lnTo>
                    <a:pt x="215" y="1470"/>
                  </a:lnTo>
                  <a:lnTo>
                    <a:pt x="261" y="1495"/>
                  </a:lnTo>
                  <a:lnTo>
                    <a:pt x="281" y="1480"/>
                  </a:lnTo>
                  <a:lnTo>
                    <a:pt x="286" y="1460"/>
                  </a:lnTo>
                  <a:lnTo>
                    <a:pt x="276" y="1460"/>
                  </a:lnTo>
                  <a:lnTo>
                    <a:pt x="271" y="1475"/>
                  </a:lnTo>
                  <a:lnTo>
                    <a:pt x="240" y="1475"/>
                  </a:lnTo>
                  <a:lnTo>
                    <a:pt x="210" y="1455"/>
                  </a:lnTo>
                  <a:lnTo>
                    <a:pt x="240" y="1424"/>
                  </a:lnTo>
                  <a:lnTo>
                    <a:pt x="276" y="1449"/>
                  </a:lnTo>
                  <a:lnTo>
                    <a:pt x="302" y="1439"/>
                  </a:lnTo>
                  <a:lnTo>
                    <a:pt x="307" y="1424"/>
                  </a:lnTo>
                  <a:lnTo>
                    <a:pt x="291" y="1429"/>
                  </a:lnTo>
                  <a:lnTo>
                    <a:pt x="302" y="1394"/>
                  </a:lnTo>
                  <a:lnTo>
                    <a:pt x="327" y="1394"/>
                  </a:lnTo>
                  <a:lnTo>
                    <a:pt x="322" y="1383"/>
                  </a:lnTo>
                  <a:lnTo>
                    <a:pt x="312" y="1388"/>
                  </a:lnTo>
                  <a:lnTo>
                    <a:pt x="302" y="1383"/>
                  </a:lnTo>
                  <a:lnTo>
                    <a:pt x="317" y="1343"/>
                  </a:lnTo>
                  <a:lnTo>
                    <a:pt x="337" y="1332"/>
                  </a:lnTo>
                  <a:lnTo>
                    <a:pt x="332" y="1317"/>
                  </a:lnTo>
                  <a:lnTo>
                    <a:pt x="342" y="1312"/>
                  </a:lnTo>
                  <a:lnTo>
                    <a:pt x="337" y="1307"/>
                  </a:lnTo>
                  <a:lnTo>
                    <a:pt x="322" y="1312"/>
                  </a:lnTo>
                  <a:lnTo>
                    <a:pt x="312" y="1302"/>
                  </a:lnTo>
                  <a:lnTo>
                    <a:pt x="296" y="1307"/>
                  </a:lnTo>
                  <a:lnTo>
                    <a:pt x="276" y="1297"/>
                  </a:lnTo>
                  <a:lnTo>
                    <a:pt x="245" y="1261"/>
                  </a:lnTo>
                  <a:lnTo>
                    <a:pt x="220" y="1246"/>
                  </a:lnTo>
                  <a:lnTo>
                    <a:pt x="215" y="1221"/>
                  </a:lnTo>
                  <a:lnTo>
                    <a:pt x="230" y="1210"/>
                  </a:lnTo>
                  <a:lnTo>
                    <a:pt x="250" y="1226"/>
                  </a:lnTo>
                  <a:lnTo>
                    <a:pt x="271" y="1226"/>
                  </a:lnTo>
                  <a:lnTo>
                    <a:pt x="307" y="1266"/>
                  </a:lnTo>
                  <a:lnTo>
                    <a:pt x="327" y="1277"/>
                  </a:lnTo>
                  <a:lnTo>
                    <a:pt x="332" y="1266"/>
                  </a:lnTo>
                  <a:lnTo>
                    <a:pt x="317" y="1256"/>
                  </a:lnTo>
                  <a:lnTo>
                    <a:pt x="322" y="1226"/>
                  </a:lnTo>
                  <a:lnTo>
                    <a:pt x="307" y="1210"/>
                  </a:lnTo>
                  <a:lnTo>
                    <a:pt x="322" y="1216"/>
                  </a:lnTo>
                  <a:lnTo>
                    <a:pt x="332" y="1210"/>
                  </a:lnTo>
                  <a:lnTo>
                    <a:pt x="286" y="1185"/>
                  </a:lnTo>
                  <a:lnTo>
                    <a:pt x="271" y="1185"/>
                  </a:lnTo>
                  <a:lnTo>
                    <a:pt x="271" y="1170"/>
                  </a:lnTo>
                  <a:lnTo>
                    <a:pt x="286" y="1154"/>
                  </a:lnTo>
                  <a:lnTo>
                    <a:pt x="317" y="1144"/>
                  </a:lnTo>
                  <a:lnTo>
                    <a:pt x="291" y="1139"/>
                  </a:lnTo>
                  <a:lnTo>
                    <a:pt x="271" y="1149"/>
                  </a:lnTo>
                  <a:lnTo>
                    <a:pt x="266" y="1144"/>
                  </a:lnTo>
                  <a:lnTo>
                    <a:pt x="276" y="1129"/>
                  </a:lnTo>
                  <a:lnTo>
                    <a:pt x="266" y="1088"/>
                  </a:lnTo>
                  <a:lnTo>
                    <a:pt x="271" y="1068"/>
                  </a:lnTo>
                  <a:lnTo>
                    <a:pt x="266" y="1068"/>
                  </a:lnTo>
                  <a:lnTo>
                    <a:pt x="271" y="1119"/>
                  </a:lnTo>
                  <a:lnTo>
                    <a:pt x="250" y="1134"/>
                  </a:lnTo>
                  <a:lnTo>
                    <a:pt x="250" y="1149"/>
                  </a:lnTo>
                  <a:lnTo>
                    <a:pt x="225" y="1160"/>
                  </a:lnTo>
                  <a:lnTo>
                    <a:pt x="199" y="1144"/>
                  </a:lnTo>
                  <a:lnTo>
                    <a:pt x="199" y="1114"/>
                  </a:lnTo>
                  <a:lnTo>
                    <a:pt x="240" y="1063"/>
                  </a:lnTo>
                  <a:lnTo>
                    <a:pt x="235" y="1058"/>
                  </a:lnTo>
                  <a:lnTo>
                    <a:pt x="220" y="1073"/>
                  </a:lnTo>
                  <a:lnTo>
                    <a:pt x="210" y="1068"/>
                  </a:lnTo>
                  <a:lnTo>
                    <a:pt x="225" y="1058"/>
                  </a:lnTo>
                  <a:lnTo>
                    <a:pt x="220" y="1048"/>
                  </a:lnTo>
                  <a:lnTo>
                    <a:pt x="225" y="1043"/>
                  </a:lnTo>
                  <a:lnTo>
                    <a:pt x="235" y="1048"/>
                  </a:lnTo>
                  <a:lnTo>
                    <a:pt x="250" y="1027"/>
                  </a:lnTo>
                  <a:lnTo>
                    <a:pt x="250" y="1002"/>
                  </a:lnTo>
                  <a:lnTo>
                    <a:pt x="230" y="997"/>
                  </a:lnTo>
                  <a:lnTo>
                    <a:pt x="230" y="987"/>
                  </a:lnTo>
                  <a:lnTo>
                    <a:pt x="245" y="971"/>
                  </a:lnTo>
                  <a:lnTo>
                    <a:pt x="245" y="951"/>
                  </a:lnTo>
                  <a:lnTo>
                    <a:pt x="235" y="956"/>
                  </a:lnTo>
                  <a:lnTo>
                    <a:pt x="230" y="941"/>
                  </a:lnTo>
                  <a:lnTo>
                    <a:pt x="240" y="921"/>
                  </a:lnTo>
                  <a:lnTo>
                    <a:pt x="240" y="885"/>
                  </a:lnTo>
                  <a:lnTo>
                    <a:pt x="215" y="880"/>
                  </a:lnTo>
                  <a:lnTo>
                    <a:pt x="230" y="875"/>
                  </a:lnTo>
                  <a:lnTo>
                    <a:pt x="235" y="849"/>
                  </a:lnTo>
                  <a:lnTo>
                    <a:pt x="245" y="849"/>
                  </a:lnTo>
                  <a:lnTo>
                    <a:pt x="210" y="753"/>
                  </a:lnTo>
                  <a:lnTo>
                    <a:pt x="225" y="743"/>
                  </a:lnTo>
                  <a:lnTo>
                    <a:pt x="220" y="717"/>
                  </a:lnTo>
                  <a:lnTo>
                    <a:pt x="210" y="712"/>
                  </a:lnTo>
                  <a:lnTo>
                    <a:pt x="194" y="682"/>
                  </a:lnTo>
                  <a:lnTo>
                    <a:pt x="133" y="626"/>
                  </a:lnTo>
                  <a:lnTo>
                    <a:pt x="118" y="636"/>
                  </a:lnTo>
                  <a:lnTo>
                    <a:pt x="112" y="621"/>
                  </a:lnTo>
                  <a:lnTo>
                    <a:pt x="82" y="631"/>
                  </a:lnTo>
                  <a:lnTo>
                    <a:pt x="77" y="615"/>
                  </a:lnTo>
                  <a:lnTo>
                    <a:pt x="56" y="621"/>
                  </a:lnTo>
                  <a:lnTo>
                    <a:pt x="46" y="610"/>
                  </a:lnTo>
                  <a:lnTo>
                    <a:pt x="46" y="631"/>
                  </a:lnTo>
                  <a:lnTo>
                    <a:pt x="20" y="610"/>
                  </a:lnTo>
                  <a:lnTo>
                    <a:pt x="5" y="570"/>
                  </a:lnTo>
                  <a:lnTo>
                    <a:pt x="46" y="559"/>
                  </a:lnTo>
                  <a:lnTo>
                    <a:pt x="15" y="534"/>
                  </a:lnTo>
                  <a:lnTo>
                    <a:pt x="26" y="514"/>
                  </a:lnTo>
                  <a:lnTo>
                    <a:pt x="5" y="524"/>
                  </a:lnTo>
                  <a:lnTo>
                    <a:pt x="0" y="519"/>
                  </a:lnTo>
                  <a:lnTo>
                    <a:pt x="5" y="509"/>
                  </a:lnTo>
                  <a:lnTo>
                    <a:pt x="0" y="498"/>
                  </a:lnTo>
                  <a:lnTo>
                    <a:pt x="5" y="488"/>
                  </a:lnTo>
                  <a:lnTo>
                    <a:pt x="41" y="493"/>
                  </a:lnTo>
                  <a:lnTo>
                    <a:pt x="51" y="504"/>
                  </a:lnTo>
                  <a:lnTo>
                    <a:pt x="61" y="493"/>
                  </a:lnTo>
                  <a:lnTo>
                    <a:pt x="77" y="493"/>
                  </a:lnTo>
                  <a:lnTo>
                    <a:pt x="97" y="504"/>
                  </a:lnTo>
                  <a:lnTo>
                    <a:pt x="107" y="519"/>
                  </a:lnTo>
                  <a:lnTo>
                    <a:pt x="118" y="498"/>
                  </a:lnTo>
                  <a:lnTo>
                    <a:pt x="112" y="478"/>
                  </a:lnTo>
                  <a:lnTo>
                    <a:pt x="82" y="483"/>
                  </a:lnTo>
                  <a:lnTo>
                    <a:pt x="77" y="468"/>
                  </a:lnTo>
                  <a:lnTo>
                    <a:pt x="56" y="478"/>
                  </a:lnTo>
                  <a:lnTo>
                    <a:pt x="41" y="443"/>
                  </a:lnTo>
                  <a:lnTo>
                    <a:pt x="56" y="437"/>
                  </a:lnTo>
                  <a:lnTo>
                    <a:pt x="51" y="432"/>
                  </a:lnTo>
                  <a:lnTo>
                    <a:pt x="46" y="437"/>
                  </a:lnTo>
                  <a:lnTo>
                    <a:pt x="26" y="412"/>
                  </a:lnTo>
                  <a:lnTo>
                    <a:pt x="26" y="381"/>
                  </a:lnTo>
                  <a:lnTo>
                    <a:pt x="46" y="356"/>
                  </a:lnTo>
                  <a:lnTo>
                    <a:pt x="82" y="361"/>
                  </a:lnTo>
                  <a:lnTo>
                    <a:pt x="123" y="356"/>
                  </a:lnTo>
                  <a:lnTo>
                    <a:pt x="128" y="346"/>
                  </a:lnTo>
                  <a:lnTo>
                    <a:pt x="164" y="346"/>
                  </a:lnTo>
                  <a:lnTo>
                    <a:pt x="189" y="356"/>
                  </a:lnTo>
                  <a:lnTo>
                    <a:pt x="210" y="336"/>
                  </a:lnTo>
                  <a:lnTo>
                    <a:pt x="235" y="285"/>
                  </a:lnTo>
                  <a:lnTo>
                    <a:pt x="250" y="280"/>
                  </a:lnTo>
                  <a:lnTo>
                    <a:pt x="245" y="275"/>
                  </a:lnTo>
                  <a:lnTo>
                    <a:pt x="220" y="280"/>
                  </a:lnTo>
                  <a:lnTo>
                    <a:pt x="204" y="265"/>
                  </a:lnTo>
                  <a:lnTo>
                    <a:pt x="210" y="244"/>
                  </a:lnTo>
                  <a:lnTo>
                    <a:pt x="276" y="198"/>
                  </a:lnTo>
                  <a:lnTo>
                    <a:pt x="291" y="198"/>
                  </a:lnTo>
                  <a:lnTo>
                    <a:pt x="296" y="219"/>
                  </a:lnTo>
                  <a:lnTo>
                    <a:pt x="307" y="188"/>
                  </a:lnTo>
                  <a:lnTo>
                    <a:pt x="327" y="204"/>
                  </a:lnTo>
                  <a:lnTo>
                    <a:pt x="358" y="137"/>
                  </a:lnTo>
                  <a:lnTo>
                    <a:pt x="368" y="132"/>
                  </a:lnTo>
                  <a:lnTo>
                    <a:pt x="383" y="148"/>
                  </a:lnTo>
                  <a:lnTo>
                    <a:pt x="383" y="163"/>
                  </a:lnTo>
                  <a:lnTo>
                    <a:pt x="404" y="204"/>
                  </a:lnTo>
                  <a:lnTo>
                    <a:pt x="383" y="132"/>
                  </a:lnTo>
                  <a:lnTo>
                    <a:pt x="409" y="122"/>
                  </a:lnTo>
                  <a:lnTo>
                    <a:pt x="440" y="122"/>
                  </a:lnTo>
                  <a:lnTo>
                    <a:pt x="450" y="112"/>
                  </a:lnTo>
                  <a:lnTo>
                    <a:pt x="460" y="122"/>
                  </a:lnTo>
                  <a:lnTo>
                    <a:pt x="450" y="183"/>
                  </a:lnTo>
                  <a:lnTo>
                    <a:pt x="465" y="163"/>
                  </a:lnTo>
                  <a:lnTo>
                    <a:pt x="470" y="122"/>
                  </a:lnTo>
                  <a:lnTo>
                    <a:pt x="491" y="153"/>
                  </a:lnTo>
                  <a:lnTo>
                    <a:pt x="491" y="168"/>
                  </a:lnTo>
                  <a:lnTo>
                    <a:pt x="511" y="168"/>
                  </a:lnTo>
                  <a:lnTo>
                    <a:pt x="501" y="148"/>
                  </a:lnTo>
                  <a:lnTo>
                    <a:pt x="501" y="112"/>
                  </a:lnTo>
                  <a:lnTo>
                    <a:pt x="511" y="112"/>
                  </a:lnTo>
                  <a:lnTo>
                    <a:pt x="578" y="183"/>
                  </a:lnTo>
                  <a:lnTo>
                    <a:pt x="578" y="153"/>
                  </a:lnTo>
                  <a:lnTo>
                    <a:pt x="588" y="127"/>
                  </a:lnTo>
                  <a:lnTo>
                    <a:pt x="572" y="92"/>
                  </a:lnTo>
                  <a:lnTo>
                    <a:pt x="578" y="87"/>
                  </a:lnTo>
                  <a:lnTo>
                    <a:pt x="608" y="92"/>
                  </a:lnTo>
                  <a:lnTo>
                    <a:pt x="619" y="102"/>
                  </a:lnTo>
                  <a:lnTo>
                    <a:pt x="624" y="92"/>
                  </a:lnTo>
                  <a:lnTo>
                    <a:pt x="562" y="81"/>
                  </a:lnTo>
                  <a:lnTo>
                    <a:pt x="567" y="61"/>
                  </a:lnTo>
                  <a:lnTo>
                    <a:pt x="572" y="66"/>
                  </a:lnTo>
                  <a:lnTo>
                    <a:pt x="603" y="46"/>
                  </a:lnTo>
                  <a:lnTo>
                    <a:pt x="613" y="46"/>
                  </a:lnTo>
                  <a:lnTo>
                    <a:pt x="624" y="61"/>
                  </a:lnTo>
                  <a:lnTo>
                    <a:pt x="634" y="36"/>
                  </a:lnTo>
                  <a:lnTo>
                    <a:pt x="659" y="66"/>
                  </a:lnTo>
                  <a:lnTo>
                    <a:pt x="665" y="51"/>
                  </a:lnTo>
                  <a:lnTo>
                    <a:pt x="654" y="46"/>
                  </a:lnTo>
                  <a:lnTo>
                    <a:pt x="649" y="31"/>
                  </a:lnTo>
                  <a:lnTo>
                    <a:pt x="659" y="31"/>
                  </a:lnTo>
                  <a:lnTo>
                    <a:pt x="659" y="20"/>
                  </a:lnTo>
                  <a:lnTo>
                    <a:pt x="746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03" name="Greenland Text"/>
          <p:cNvSpPr txBox="1"/>
          <p:nvPr/>
        </p:nvSpPr>
        <p:spPr>
          <a:xfrm>
            <a:off x="3932404" y="2416629"/>
            <a:ext cx="58264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rgbClr val="F42941"/>
                </a:solidFill>
              </a:rPr>
              <a:t>Greenland</a:t>
            </a:r>
          </a:p>
        </p:txBody>
      </p:sp>
      <p:grpSp>
        <p:nvGrpSpPr>
          <p:cNvPr id="205" name="Faeroe Island"/>
          <p:cNvGrpSpPr>
            <a:grpSpLocks noChangeAspect="1"/>
          </p:cNvGrpSpPr>
          <p:nvPr/>
        </p:nvGrpSpPr>
        <p:grpSpPr bwMode="auto">
          <a:xfrm>
            <a:off x="6480389" y="5063749"/>
            <a:ext cx="219076" cy="322263"/>
            <a:chOff x="4167" y="3001"/>
            <a:chExt cx="138" cy="203"/>
          </a:xfrm>
          <a:solidFill>
            <a:srgbClr val="E1E0DC"/>
          </a:solidFill>
        </p:grpSpPr>
        <p:sp>
          <p:nvSpPr>
            <p:cNvPr id="207" name="Freeform 5"/>
            <p:cNvSpPr>
              <a:spLocks/>
            </p:cNvSpPr>
            <p:nvPr/>
          </p:nvSpPr>
          <p:spPr bwMode="auto">
            <a:xfrm>
              <a:off x="4217" y="3156"/>
              <a:ext cx="28" cy="48"/>
            </a:xfrm>
            <a:custGeom>
              <a:avLst/>
              <a:gdLst>
                <a:gd name="T0" fmla="*/ 25 w 28"/>
                <a:gd name="T1" fmla="*/ 41 h 48"/>
                <a:gd name="T2" fmla="*/ 28 w 28"/>
                <a:gd name="T3" fmla="*/ 48 h 48"/>
                <a:gd name="T4" fmla="*/ 23 w 28"/>
                <a:gd name="T5" fmla="*/ 46 h 48"/>
                <a:gd name="T6" fmla="*/ 15 w 28"/>
                <a:gd name="T7" fmla="*/ 39 h 48"/>
                <a:gd name="T8" fmla="*/ 3 w 28"/>
                <a:gd name="T9" fmla="*/ 22 h 48"/>
                <a:gd name="T10" fmla="*/ 0 w 28"/>
                <a:gd name="T11" fmla="*/ 7 h 48"/>
                <a:gd name="T12" fmla="*/ 0 w 28"/>
                <a:gd name="T13" fmla="*/ 0 h 48"/>
                <a:gd name="T14" fmla="*/ 3 w 28"/>
                <a:gd name="T15" fmla="*/ 0 h 48"/>
                <a:gd name="T16" fmla="*/ 5 w 28"/>
                <a:gd name="T17" fmla="*/ 7 h 48"/>
                <a:gd name="T18" fmla="*/ 20 w 28"/>
                <a:gd name="T19" fmla="*/ 12 h 48"/>
                <a:gd name="T20" fmla="*/ 23 w 28"/>
                <a:gd name="T21" fmla="*/ 14 h 48"/>
                <a:gd name="T22" fmla="*/ 23 w 28"/>
                <a:gd name="T23" fmla="*/ 22 h 48"/>
                <a:gd name="T24" fmla="*/ 25 w 28"/>
                <a:gd name="T25" fmla="*/ 29 h 48"/>
                <a:gd name="T26" fmla="*/ 25 w 28"/>
                <a:gd name="T27" fmla="*/ 4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48">
                  <a:moveTo>
                    <a:pt x="25" y="41"/>
                  </a:moveTo>
                  <a:lnTo>
                    <a:pt x="28" y="48"/>
                  </a:lnTo>
                  <a:lnTo>
                    <a:pt x="23" y="46"/>
                  </a:lnTo>
                  <a:lnTo>
                    <a:pt x="15" y="39"/>
                  </a:lnTo>
                  <a:lnTo>
                    <a:pt x="3" y="22"/>
                  </a:lnTo>
                  <a:lnTo>
                    <a:pt x="0" y="7"/>
                  </a:lnTo>
                  <a:lnTo>
                    <a:pt x="0" y="0"/>
                  </a:lnTo>
                  <a:lnTo>
                    <a:pt x="3" y="0"/>
                  </a:lnTo>
                  <a:lnTo>
                    <a:pt x="5" y="7"/>
                  </a:lnTo>
                  <a:lnTo>
                    <a:pt x="20" y="12"/>
                  </a:lnTo>
                  <a:lnTo>
                    <a:pt x="23" y="14"/>
                  </a:lnTo>
                  <a:lnTo>
                    <a:pt x="23" y="22"/>
                  </a:lnTo>
                  <a:lnTo>
                    <a:pt x="25" y="29"/>
                  </a:lnTo>
                  <a:lnTo>
                    <a:pt x="25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8" name="Freeform 6"/>
            <p:cNvSpPr>
              <a:spLocks/>
            </p:cNvSpPr>
            <p:nvPr/>
          </p:nvSpPr>
          <p:spPr bwMode="auto">
            <a:xfrm>
              <a:off x="4230" y="3097"/>
              <a:ext cx="35" cy="32"/>
            </a:xfrm>
            <a:custGeom>
              <a:avLst/>
              <a:gdLst>
                <a:gd name="T0" fmla="*/ 32 w 35"/>
                <a:gd name="T1" fmla="*/ 22 h 32"/>
                <a:gd name="T2" fmla="*/ 30 w 35"/>
                <a:gd name="T3" fmla="*/ 32 h 32"/>
                <a:gd name="T4" fmla="*/ 25 w 35"/>
                <a:gd name="T5" fmla="*/ 32 h 32"/>
                <a:gd name="T6" fmla="*/ 15 w 35"/>
                <a:gd name="T7" fmla="*/ 19 h 32"/>
                <a:gd name="T8" fmla="*/ 5 w 35"/>
                <a:gd name="T9" fmla="*/ 15 h 32"/>
                <a:gd name="T10" fmla="*/ 2 w 35"/>
                <a:gd name="T11" fmla="*/ 10 h 32"/>
                <a:gd name="T12" fmla="*/ 0 w 35"/>
                <a:gd name="T13" fmla="*/ 2 h 32"/>
                <a:gd name="T14" fmla="*/ 7 w 35"/>
                <a:gd name="T15" fmla="*/ 0 h 32"/>
                <a:gd name="T16" fmla="*/ 12 w 35"/>
                <a:gd name="T17" fmla="*/ 2 h 32"/>
                <a:gd name="T18" fmla="*/ 30 w 35"/>
                <a:gd name="T19" fmla="*/ 12 h 32"/>
                <a:gd name="T20" fmla="*/ 35 w 35"/>
                <a:gd name="T21" fmla="*/ 17 h 32"/>
                <a:gd name="T22" fmla="*/ 32 w 35"/>
                <a:gd name="T2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32">
                  <a:moveTo>
                    <a:pt x="32" y="22"/>
                  </a:moveTo>
                  <a:lnTo>
                    <a:pt x="30" y="32"/>
                  </a:lnTo>
                  <a:lnTo>
                    <a:pt x="25" y="32"/>
                  </a:lnTo>
                  <a:lnTo>
                    <a:pt x="15" y="19"/>
                  </a:lnTo>
                  <a:lnTo>
                    <a:pt x="5" y="15"/>
                  </a:lnTo>
                  <a:lnTo>
                    <a:pt x="2" y="10"/>
                  </a:lnTo>
                  <a:lnTo>
                    <a:pt x="0" y="2"/>
                  </a:lnTo>
                  <a:lnTo>
                    <a:pt x="7" y="0"/>
                  </a:lnTo>
                  <a:lnTo>
                    <a:pt x="12" y="2"/>
                  </a:lnTo>
                  <a:lnTo>
                    <a:pt x="30" y="12"/>
                  </a:lnTo>
                  <a:lnTo>
                    <a:pt x="35" y="17"/>
                  </a:lnTo>
                  <a:lnTo>
                    <a:pt x="32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9" name="Freeform 7"/>
            <p:cNvSpPr>
              <a:spLocks/>
            </p:cNvSpPr>
            <p:nvPr/>
          </p:nvSpPr>
          <p:spPr bwMode="auto">
            <a:xfrm>
              <a:off x="4167" y="3045"/>
              <a:ext cx="45" cy="22"/>
            </a:xfrm>
            <a:custGeom>
              <a:avLst/>
              <a:gdLst>
                <a:gd name="T0" fmla="*/ 33 w 45"/>
                <a:gd name="T1" fmla="*/ 3 h 22"/>
                <a:gd name="T2" fmla="*/ 43 w 45"/>
                <a:gd name="T3" fmla="*/ 10 h 22"/>
                <a:gd name="T4" fmla="*/ 45 w 45"/>
                <a:gd name="T5" fmla="*/ 18 h 22"/>
                <a:gd name="T6" fmla="*/ 38 w 45"/>
                <a:gd name="T7" fmla="*/ 22 h 22"/>
                <a:gd name="T8" fmla="*/ 30 w 45"/>
                <a:gd name="T9" fmla="*/ 22 h 22"/>
                <a:gd name="T10" fmla="*/ 20 w 45"/>
                <a:gd name="T11" fmla="*/ 22 h 22"/>
                <a:gd name="T12" fmla="*/ 3 w 45"/>
                <a:gd name="T13" fmla="*/ 15 h 22"/>
                <a:gd name="T14" fmla="*/ 0 w 45"/>
                <a:gd name="T15" fmla="*/ 0 h 22"/>
                <a:gd name="T16" fmla="*/ 10 w 45"/>
                <a:gd name="T17" fmla="*/ 3 h 22"/>
                <a:gd name="T18" fmla="*/ 25 w 45"/>
                <a:gd name="T19" fmla="*/ 0 h 22"/>
                <a:gd name="T20" fmla="*/ 33 w 45"/>
                <a:gd name="T21" fmla="*/ 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">
                  <a:moveTo>
                    <a:pt x="33" y="3"/>
                  </a:moveTo>
                  <a:lnTo>
                    <a:pt x="43" y="10"/>
                  </a:lnTo>
                  <a:lnTo>
                    <a:pt x="45" y="18"/>
                  </a:lnTo>
                  <a:lnTo>
                    <a:pt x="38" y="22"/>
                  </a:lnTo>
                  <a:lnTo>
                    <a:pt x="30" y="22"/>
                  </a:lnTo>
                  <a:lnTo>
                    <a:pt x="20" y="22"/>
                  </a:lnTo>
                  <a:lnTo>
                    <a:pt x="3" y="15"/>
                  </a:lnTo>
                  <a:lnTo>
                    <a:pt x="0" y="0"/>
                  </a:lnTo>
                  <a:lnTo>
                    <a:pt x="10" y="3"/>
                  </a:lnTo>
                  <a:lnTo>
                    <a:pt x="25" y="0"/>
                  </a:lnTo>
                  <a:lnTo>
                    <a:pt x="3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0" name="Freeform 8"/>
            <p:cNvSpPr>
              <a:spLocks/>
            </p:cNvSpPr>
            <p:nvPr/>
          </p:nvSpPr>
          <p:spPr bwMode="auto">
            <a:xfrm>
              <a:off x="4205" y="3009"/>
              <a:ext cx="70" cy="78"/>
            </a:xfrm>
            <a:custGeom>
              <a:avLst/>
              <a:gdLst>
                <a:gd name="T0" fmla="*/ 70 w 70"/>
                <a:gd name="T1" fmla="*/ 19 h 78"/>
                <a:gd name="T2" fmla="*/ 62 w 70"/>
                <a:gd name="T3" fmla="*/ 49 h 78"/>
                <a:gd name="T4" fmla="*/ 57 w 70"/>
                <a:gd name="T5" fmla="*/ 49 h 78"/>
                <a:gd name="T6" fmla="*/ 47 w 70"/>
                <a:gd name="T7" fmla="*/ 41 h 78"/>
                <a:gd name="T8" fmla="*/ 42 w 70"/>
                <a:gd name="T9" fmla="*/ 39 h 78"/>
                <a:gd name="T10" fmla="*/ 40 w 70"/>
                <a:gd name="T11" fmla="*/ 44 h 78"/>
                <a:gd name="T12" fmla="*/ 37 w 70"/>
                <a:gd name="T13" fmla="*/ 49 h 78"/>
                <a:gd name="T14" fmla="*/ 42 w 70"/>
                <a:gd name="T15" fmla="*/ 51 h 78"/>
                <a:gd name="T16" fmla="*/ 50 w 70"/>
                <a:gd name="T17" fmla="*/ 71 h 78"/>
                <a:gd name="T18" fmla="*/ 50 w 70"/>
                <a:gd name="T19" fmla="*/ 76 h 78"/>
                <a:gd name="T20" fmla="*/ 50 w 70"/>
                <a:gd name="T21" fmla="*/ 78 h 78"/>
                <a:gd name="T22" fmla="*/ 37 w 70"/>
                <a:gd name="T23" fmla="*/ 73 h 78"/>
                <a:gd name="T24" fmla="*/ 15 w 70"/>
                <a:gd name="T25" fmla="*/ 49 h 78"/>
                <a:gd name="T26" fmla="*/ 0 w 70"/>
                <a:gd name="T27" fmla="*/ 7 h 78"/>
                <a:gd name="T28" fmla="*/ 30 w 70"/>
                <a:gd name="T29" fmla="*/ 0 h 78"/>
                <a:gd name="T30" fmla="*/ 47 w 70"/>
                <a:gd name="T31" fmla="*/ 12 h 78"/>
                <a:gd name="T32" fmla="*/ 70 w 70"/>
                <a:gd name="T33" fmla="*/ 1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0" h="78">
                  <a:moveTo>
                    <a:pt x="70" y="19"/>
                  </a:moveTo>
                  <a:lnTo>
                    <a:pt x="62" y="49"/>
                  </a:lnTo>
                  <a:lnTo>
                    <a:pt x="57" y="49"/>
                  </a:lnTo>
                  <a:lnTo>
                    <a:pt x="47" y="41"/>
                  </a:lnTo>
                  <a:lnTo>
                    <a:pt x="42" y="39"/>
                  </a:lnTo>
                  <a:lnTo>
                    <a:pt x="40" y="44"/>
                  </a:lnTo>
                  <a:lnTo>
                    <a:pt x="37" y="49"/>
                  </a:lnTo>
                  <a:lnTo>
                    <a:pt x="42" y="51"/>
                  </a:lnTo>
                  <a:lnTo>
                    <a:pt x="50" y="71"/>
                  </a:lnTo>
                  <a:lnTo>
                    <a:pt x="50" y="76"/>
                  </a:lnTo>
                  <a:lnTo>
                    <a:pt x="50" y="78"/>
                  </a:lnTo>
                  <a:lnTo>
                    <a:pt x="37" y="73"/>
                  </a:lnTo>
                  <a:lnTo>
                    <a:pt x="15" y="49"/>
                  </a:lnTo>
                  <a:lnTo>
                    <a:pt x="0" y="7"/>
                  </a:lnTo>
                  <a:lnTo>
                    <a:pt x="30" y="0"/>
                  </a:lnTo>
                  <a:lnTo>
                    <a:pt x="47" y="12"/>
                  </a:lnTo>
                  <a:lnTo>
                    <a:pt x="70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1" name="Freeform 9"/>
            <p:cNvSpPr>
              <a:spLocks/>
            </p:cNvSpPr>
            <p:nvPr/>
          </p:nvSpPr>
          <p:spPr bwMode="auto">
            <a:xfrm>
              <a:off x="4285" y="3001"/>
              <a:ext cx="20" cy="37"/>
            </a:xfrm>
            <a:custGeom>
              <a:avLst/>
              <a:gdLst>
                <a:gd name="T0" fmla="*/ 20 w 20"/>
                <a:gd name="T1" fmla="*/ 22 h 37"/>
                <a:gd name="T2" fmla="*/ 12 w 20"/>
                <a:gd name="T3" fmla="*/ 37 h 37"/>
                <a:gd name="T4" fmla="*/ 2 w 20"/>
                <a:gd name="T5" fmla="*/ 35 h 37"/>
                <a:gd name="T6" fmla="*/ 0 w 20"/>
                <a:gd name="T7" fmla="*/ 32 h 37"/>
                <a:gd name="T8" fmla="*/ 0 w 20"/>
                <a:gd name="T9" fmla="*/ 30 h 37"/>
                <a:gd name="T10" fmla="*/ 2 w 20"/>
                <a:gd name="T11" fmla="*/ 18 h 37"/>
                <a:gd name="T12" fmla="*/ 2 w 20"/>
                <a:gd name="T13" fmla="*/ 0 h 37"/>
                <a:gd name="T14" fmla="*/ 12 w 20"/>
                <a:gd name="T15" fmla="*/ 15 h 37"/>
                <a:gd name="T16" fmla="*/ 20 w 20"/>
                <a:gd name="T17" fmla="*/ 2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37">
                  <a:moveTo>
                    <a:pt x="20" y="22"/>
                  </a:moveTo>
                  <a:lnTo>
                    <a:pt x="12" y="37"/>
                  </a:lnTo>
                  <a:lnTo>
                    <a:pt x="2" y="35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2" y="18"/>
                  </a:lnTo>
                  <a:lnTo>
                    <a:pt x="2" y="0"/>
                  </a:lnTo>
                  <a:lnTo>
                    <a:pt x="12" y="15"/>
                  </a:lnTo>
                  <a:lnTo>
                    <a:pt x="20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12" name="Faroe Island Text"/>
          <p:cNvSpPr txBox="1"/>
          <p:nvPr/>
        </p:nvSpPr>
        <p:spPr>
          <a:xfrm>
            <a:off x="6310916" y="5476178"/>
            <a:ext cx="558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900" b="1" dirty="0">
                <a:solidFill>
                  <a:srgbClr val="F42941"/>
                </a:solidFill>
              </a:rPr>
              <a:t>Faroe </a:t>
            </a:r>
            <a:br>
              <a:rPr lang="en-GB" sz="900" b="1" dirty="0">
                <a:solidFill>
                  <a:srgbClr val="F42941"/>
                </a:solidFill>
              </a:rPr>
            </a:br>
            <a:r>
              <a:rPr lang="en-GB" sz="900" b="1" dirty="0">
                <a:solidFill>
                  <a:srgbClr val="F42941"/>
                </a:solidFill>
              </a:rPr>
              <a:t>Islands</a:t>
            </a:r>
          </a:p>
        </p:txBody>
      </p:sp>
      <p:sp>
        <p:nvSpPr>
          <p:cNvPr id="48" name="Åland Islands Text"/>
          <p:cNvSpPr txBox="1"/>
          <p:nvPr/>
        </p:nvSpPr>
        <p:spPr>
          <a:xfrm>
            <a:off x="9732683" y="4665157"/>
            <a:ext cx="558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900" b="1" noProof="1">
                <a:solidFill>
                  <a:srgbClr val="F42941"/>
                </a:solidFill>
              </a:rPr>
              <a:t>Åland Islands</a:t>
            </a:r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21107657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72"/>
          <p:cNvGrpSpPr>
            <a:grpSpLocks noChangeAspect="1"/>
          </p:cNvGrpSpPr>
          <p:nvPr/>
        </p:nvGrpSpPr>
        <p:grpSpPr bwMode="auto">
          <a:xfrm rot="20418998">
            <a:off x="5869970" y="594201"/>
            <a:ext cx="5439342" cy="5600739"/>
            <a:chOff x="2987" y="657"/>
            <a:chExt cx="1247" cy="1284"/>
          </a:xfrm>
          <a:solidFill>
            <a:srgbClr val="E1E0DC"/>
          </a:solidFill>
        </p:grpSpPr>
        <p:sp>
          <p:nvSpPr>
            <p:cNvPr id="9" name="Sweden"/>
            <p:cNvSpPr>
              <a:spLocks noEditPoints="1"/>
            </p:cNvSpPr>
            <p:nvPr/>
          </p:nvSpPr>
          <p:spPr bwMode="auto">
            <a:xfrm>
              <a:off x="3277" y="834"/>
              <a:ext cx="612" cy="1054"/>
            </a:xfrm>
            <a:custGeom>
              <a:avLst/>
              <a:gdLst>
                <a:gd name="T0" fmla="*/ 1078 w 1175"/>
                <a:gd name="T1" fmla="*/ 523 h 2023"/>
                <a:gd name="T2" fmla="*/ 968 w 1175"/>
                <a:gd name="T3" fmla="*/ 549 h 2023"/>
                <a:gd name="T4" fmla="*/ 913 w 1175"/>
                <a:gd name="T5" fmla="*/ 682 h 2023"/>
                <a:gd name="T6" fmla="*/ 760 w 1175"/>
                <a:gd name="T7" fmla="*/ 867 h 2023"/>
                <a:gd name="T8" fmla="*/ 668 w 1175"/>
                <a:gd name="T9" fmla="*/ 947 h 2023"/>
                <a:gd name="T10" fmla="*/ 589 w 1175"/>
                <a:gd name="T11" fmla="*/ 1045 h 2023"/>
                <a:gd name="T12" fmla="*/ 558 w 1175"/>
                <a:gd name="T13" fmla="*/ 1219 h 2023"/>
                <a:gd name="T14" fmla="*/ 690 w 1175"/>
                <a:gd name="T15" fmla="*/ 1348 h 2023"/>
                <a:gd name="T16" fmla="*/ 603 w 1175"/>
                <a:gd name="T17" fmla="*/ 1416 h 2023"/>
                <a:gd name="T18" fmla="*/ 463 w 1175"/>
                <a:gd name="T19" fmla="*/ 1442 h 2023"/>
                <a:gd name="T20" fmla="*/ 676 w 1175"/>
                <a:gd name="T21" fmla="*/ 1466 h 2023"/>
                <a:gd name="T22" fmla="*/ 565 w 1175"/>
                <a:gd name="T23" fmla="*/ 1544 h 2023"/>
                <a:gd name="T24" fmla="*/ 512 w 1175"/>
                <a:gd name="T25" fmla="*/ 1663 h 2023"/>
                <a:gd name="T26" fmla="*/ 481 w 1175"/>
                <a:gd name="T27" fmla="*/ 1837 h 2023"/>
                <a:gd name="T28" fmla="*/ 146 w 1175"/>
                <a:gd name="T29" fmla="*/ 1872 h 2023"/>
                <a:gd name="T30" fmla="*/ 46 w 1175"/>
                <a:gd name="T31" fmla="*/ 1615 h 2023"/>
                <a:gd name="T32" fmla="*/ 79 w 1175"/>
                <a:gd name="T33" fmla="*/ 1511 h 2023"/>
                <a:gd name="T34" fmla="*/ 111 w 1175"/>
                <a:gd name="T35" fmla="*/ 1224 h 2023"/>
                <a:gd name="T36" fmla="*/ 286 w 1175"/>
                <a:gd name="T37" fmla="*/ 780 h 2023"/>
                <a:gd name="T38" fmla="*/ 425 w 1175"/>
                <a:gd name="T39" fmla="*/ 808 h 2023"/>
                <a:gd name="T40" fmla="*/ 478 w 1175"/>
                <a:gd name="T41" fmla="*/ 321 h 2023"/>
                <a:gd name="T42" fmla="*/ 887 w 1175"/>
                <a:gd name="T43" fmla="*/ 18 h 2023"/>
                <a:gd name="T44" fmla="*/ 530 w 1175"/>
                <a:gd name="T45" fmla="*/ 1508 h 2023"/>
                <a:gd name="T46" fmla="*/ 480 w 1175"/>
                <a:gd name="T47" fmla="*/ 248 h 2023"/>
                <a:gd name="T48" fmla="*/ 465 w 1175"/>
                <a:gd name="T49" fmla="*/ 619 h 2023"/>
                <a:gd name="T50" fmla="*/ 317 w 1175"/>
                <a:gd name="T51" fmla="*/ 459 h 2023"/>
                <a:gd name="T52" fmla="*/ 424 w 1175"/>
                <a:gd name="T53" fmla="*/ 1284 h 2023"/>
                <a:gd name="T54" fmla="*/ 378 w 1175"/>
                <a:gd name="T55" fmla="*/ 1004 h 2023"/>
                <a:gd name="T56" fmla="*/ 356 w 1175"/>
                <a:gd name="T57" fmla="*/ 1262 h 2023"/>
                <a:gd name="T58" fmla="*/ 290 w 1175"/>
                <a:gd name="T59" fmla="*/ 1515 h 2023"/>
                <a:gd name="T60" fmla="*/ 315 w 1175"/>
                <a:gd name="T61" fmla="*/ 1531 h 2023"/>
                <a:gd name="T62" fmla="*/ 310 w 1175"/>
                <a:gd name="T63" fmla="*/ 928 h 2023"/>
                <a:gd name="T64" fmla="*/ 190 w 1175"/>
                <a:gd name="T65" fmla="*/ 1367 h 2023"/>
                <a:gd name="T66" fmla="*/ 205 w 1175"/>
                <a:gd name="T67" fmla="*/ 863 h 2023"/>
                <a:gd name="T68" fmla="*/ 144 w 1175"/>
                <a:gd name="T69" fmla="*/ 883 h 2023"/>
                <a:gd name="T70" fmla="*/ 152 w 1175"/>
                <a:gd name="T71" fmla="*/ 1437 h 2023"/>
                <a:gd name="T72" fmla="*/ 133 w 1175"/>
                <a:gd name="T73" fmla="*/ 1660 h 2023"/>
                <a:gd name="T74" fmla="*/ 191 w 1175"/>
                <a:gd name="T75" fmla="*/ 1470 h 2023"/>
                <a:gd name="T76" fmla="*/ 193 w 1175"/>
                <a:gd name="T77" fmla="*/ 1579 h 2023"/>
                <a:gd name="T78" fmla="*/ 302 w 1175"/>
                <a:gd name="T79" fmla="*/ 1912 h 2023"/>
                <a:gd name="T80" fmla="*/ 348 w 1175"/>
                <a:gd name="T81" fmla="*/ 1791 h 2023"/>
                <a:gd name="T82" fmla="*/ 385 w 1175"/>
                <a:gd name="T83" fmla="*/ 1648 h 2023"/>
                <a:gd name="T84" fmla="*/ 447 w 1175"/>
                <a:gd name="T85" fmla="*/ 1650 h 2023"/>
                <a:gd name="T86" fmla="*/ 406 w 1175"/>
                <a:gd name="T87" fmla="*/ 1476 h 2023"/>
                <a:gd name="T88" fmla="*/ 515 w 1175"/>
                <a:gd name="T89" fmla="*/ 709 h 2023"/>
                <a:gd name="T90" fmla="*/ 527 w 1175"/>
                <a:gd name="T91" fmla="*/ 811 h 2023"/>
                <a:gd name="T92" fmla="*/ 537 w 1175"/>
                <a:gd name="T93" fmla="*/ 1327 h 2023"/>
                <a:gd name="T94" fmla="*/ 508 w 1175"/>
                <a:gd name="T95" fmla="*/ 599 h 2023"/>
                <a:gd name="T96" fmla="*/ 529 w 1175"/>
                <a:gd name="T97" fmla="*/ 412 h 2023"/>
                <a:gd name="T98" fmla="*/ 595 w 1175"/>
                <a:gd name="T99" fmla="*/ 496 h 2023"/>
                <a:gd name="T100" fmla="*/ 644 w 1175"/>
                <a:gd name="T101" fmla="*/ 422 h 2023"/>
                <a:gd name="T102" fmla="*/ 695 w 1175"/>
                <a:gd name="T103" fmla="*/ 349 h 2023"/>
                <a:gd name="T104" fmla="*/ 541 w 1175"/>
                <a:gd name="T105" fmla="*/ 200 h 2023"/>
                <a:gd name="T106" fmla="*/ 852 w 1175"/>
                <a:gd name="T107" fmla="*/ 190 h 2023"/>
                <a:gd name="T108" fmla="*/ 872 w 1175"/>
                <a:gd name="T109" fmla="*/ 200 h 2023"/>
                <a:gd name="T110" fmla="*/ 528 w 1175"/>
                <a:gd name="T111" fmla="*/ 1784 h 2023"/>
                <a:gd name="T112" fmla="*/ 584 w 1175"/>
                <a:gd name="T113" fmla="*/ 1448 h 2023"/>
                <a:gd name="T114" fmla="*/ 662 w 1175"/>
                <a:gd name="T115" fmla="*/ 1511 h 2023"/>
                <a:gd name="T116" fmla="*/ 735 w 1175"/>
                <a:gd name="T117" fmla="*/ 1656 h 2023"/>
                <a:gd name="T118" fmla="*/ 672 w 1175"/>
                <a:gd name="T119" fmla="*/ 1441 h 2023"/>
                <a:gd name="T120" fmla="*/ 643 w 1175"/>
                <a:gd name="T121" fmla="*/ 1776 h 2023"/>
                <a:gd name="T122" fmla="*/ 304 w 1175"/>
                <a:gd name="T123" fmla="*/ 1639 h 2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75" h="2023">
                  <a:moveTo>
                    <a:pt x="675" y="1343"/>
                  </a:moveTo>
                  <a:cubicBezTo>
                    <a:pt x="675" y="1342"/>
                    <a:pt x="675" y="1342"/>
                    <a:pt x="674" y="1342"/>
                  </a:cubicBezTo>
                  <a:cubicBezTo>
                    <a:pt x="674" y="1342"/>
                    <a:pt x="675" y="1342"/>
                    <a:pt x="675" y="1343"/>
                  </a:cubicBezTo>
                  <a:close/>
                  <a:moveTo>
                    <a:pt x="65" y="1650"/>
                  </a:moveTo>
                  <a:cubicBezTo>
                    <a:pt x="65" y="1650"/>
                    <a:pt x="65" y="1650"/>
                    <a:pt x="65" y="1650"/>
                  </a:cubicBezTo>
                  <a:cubicBezTo>
                    <a:pt x="67" y="1637"/>
                    <a:pt x="44" y="1644"/>
                    <a:pt x="44" y="1646"/>
                  </a:cubicBezTo>
                  <a:cubicBezTo>
                    <a:pt x="42" y="1652"/>
                    <a:pt x="50" y="1647"/>
                    <a:pt x="50" y="1650"/>
                  </a:cubicBezTo>
                  <a:cubicBezTo>
                    <a:pt x="49" y="1668"/>
                    <a:pt x="61" y="1656"/>
                    <a:pt x="65" y="1650"/>
                  </a:cubicBezTo>
                  <a:close/>
                  <a:moveTo>
                    <a:pt x="694" y="893"/>
                  </a:moveTo>
                  <a:cubicBezTo>
                    <a:pt x="694" y="893"/>
                    <a:pt x="694" y="893"/>
                    <a:pt x="694" y="893"/>
                  </a:cubicBezTo>
                  <a:cubicBezTo>
                    <a:pt x="694" y="893"/>
                    <a:pt x="694" y="893"/>
                    <a:pt x="694" y="893"/>
                  </a:cubicBezTo>
                  <a:close/>
                  <a:moveTo>
                    <a:pt x="705" y="900"/>
                  </a:moveTo>
                  <a:cubicBezTo>
                    <a:pt x="710" y="898"/>
                    <a:pt x="700" y="896"/>
                    <a:pt x="698" y="895"/>
                  </a:cubicBezTo>
                  <a:cubicBezTo>
                    <a:pt x="696" y="895"/>
                    <a:pt x="695" y="894"/>
                    <a:pt x="694" y="893"/>
                  </a:cubicBezTo>
                  <a:cubicBezTo>
                    <a:pt x="697" y="896"/>
                    <a:pt x="689" y="910"/>
                    <a:pt x="705" y="900"/>
                  </a:cubicBezTo>
                  <a:close/>
                  <a:moveTo>
                    <a:pt x="1129" y="416"/>
                  </a:moveTo>
                  <a:cubicBezTo>
                    <a:pt x="1129" y="455"/>
                    <a:pt x="1165" y="472"/>
                    <a:pt x="1175" y="507"/>
                  </a:cubicBezTo>
                  <a:cubicBezTo>
                    <a:pt x="1175" y="507"/>
                    <a:pt x="1154" y="515"/>
                    <a:pt x="1153" y="514"/>
                  </a:cubicBezTo>
                  <a:cubicBezTo>
                    <a:pt x="1139" y="510"/>
                    <a:pt x="1125" y="503"/>
                    <a:pt x="1113" y="503"/>
                  </a:cubicBezTo>
                  <a:cubicBezTo>
                    <a:pt x="1108" y="502"/>
                    <a:pt x="1110" y="514"/>
                    <a:pt x="1110" y="514"/>
                  </a:cubicBezTo>
                  <a:cubicBezTo>
                    <a:pt x="1109" y="514"/>
                    <a:pt x="1092" y="504"/>
                    <a:pt x="1088" y="504"/>
                  </a:cubicBezTo>
                  <a:cubicBezTo>
                    <a:pt x="1085" y="504"/>
                    <a:pt x="1092" y="510"/>
                    <a:pt x="1092" y="514"/>
                  </a:cubicBezTo>
                  <a:cubicBezTo>
                    <a:pt x="1091" y="515"/>
                    <a:pt x="1085" y="515"/>
                    <a:pt x="1084" y="516"/>
                  </a:cubicBezTo>
                  <a:cubicBezTo>
                    <a:pt x="1082" y="517"/>
                    <a:pt x="1085" y="524"/>
                    <a:pt x="1078" y="523"/>
                  </a:cubicBezTo>
                  <a:cubicBezTo>
                    <a:pt x="1076" y="523"/>
                    <a:pt x="1078" y="520"/>
                    <a:pt x="1078" y="519"/>
                  </a:cubicBezTo>
                  <a:cubicBezTo>
                    <a:pt x="1078" y="519"/>
                    <a:pt x="1044" y="491"/>
                    <a:pt x="1039" y="492"/>
                  </a:cubicBezTo>
                  <a:cubicBezTo>
                    <a:pt x="1037" y="492"/>
                    <a:pt x="1041" y="496"/>
                    <a:pt x="1042" y="496"/>
                  </a:cubicBezTo>
                  <a:cubicBezTo>
                    <a:pt x="1045" y="499"/>
                    <a:pt x="1045" y="514"/>
                    <a:pt x="1040" y="515"/>
                  </a:cubicBezTo>
                  <a:cubicBezTo>
                    <a:pt x="1038" y="516"/>
                    <a:pt x="1038" y="510"/>
                    <a:pt x="1036" y="508"/>
                  </a:cubicBezTo>
                  <a:cubicBezTo>
                    <a:pt x="1033" y="506"/>
                    <a:pt x="1028" y="513"/>
                    <a:pt x="1027" y="512"/>
                  </a:cubicBezTo>
                  <a:cubicBezTo>
                    <a:pt x="1025" y="510"/>
                    <a:pt x="1028" y="492"/>
                    <a:pt x="1014" y="499"/>
                  </a:cubicBezTo>
                  <a:cubicBezTo>
                    <a:pt x="1012" y="500"/>
                    <a:pt x="1016" y="501"/>
                    <a:pt x="1012" y="502"/>
                  </a:cubicBezTo>
                  <a:cubicBezTo>
                    <a:pt x="1010" y="503"/>
                    <a:pt x="1014" y="512"/>
                    <a:pt x="1013" y="515"/>
                  </a:cubicBezTo>
                  <a:cubicBezTo>
                    <a:pt x="1011" y="523"/>
                    <a:pt x="1001" y="513"/>
                    <a:pt x="1001" y="514"/>
                  </a:cubicBezTo>
                  <a:cubicBezTo>
                    <a:pt x="998" y="520"/>
                    <a:pt x="1015" y="519"/>
                    <a:pt x="1016" y="525"/>
                  </a:cubicBezTo>
                  <a:cubicBezTo>
                    <a:pt x="1016" y="528"/>
                    <a:pt x="1012" y="530"/>
                    <a:pt x="1012" y="528"/>
                  </a:cubicBezTo>
                  <a:cubicBezTo>
                    <a:pt x="1011" y="527"/>
                    <a:pt x="1006" y="519"/>
                    <a:pt x="1005" y="525"/>
                  </a:cubicBezTo>
                  <a:cubicBezTo>
                    <a:pt x="1003" y="533"/>
                    <a:pt x="1011" y="534"/>
                    <a:pt x="998" y="535"/>
                  </a:cubicBezTo>
                  <a:cubicBezTo>
                    <a:pt x="995" y="536"/>
                    <a:pt x="1011" y="535"/>
                    <a:pt x="1009" y="532"/>
                  </a:cubicBezTo>
                  <a:cubicBezTo>
                    <a:pt x="1005" y="527"/>
                    <a:pt x="1011" y="528"/>
                    <a:pt x="1011" y="531"/>
                  </a:cubicBezTo>
                  <a:cubicBezTo>
                    <a:pt x="1011" y="534"/>
                    <a:pt x="1011" y="539"/>
                    <a:pt x="1014" y="540"/>
                  </a:cubicBezTo>
                  <a:cubicBezTo>
                    <a:pt x="1016" y="541"/>
                    <a:pt x="1023" y="545"/>
                    <a:pt x="1019" y="548"/>
                  </a:cubicBezTo>
                  <a:cubicBezTo>
                    <a:pt x="1013" y="552"/>
                    <a:pt x="965" y="519"/>
                    <a:pt x="961" y="520"/>
                  </a:cubicBezTo>
                  <a:cubicBezTo>
                    <a:pt x="959" y="520"/>
                    <a:pt x="962" y="524"/>
                    <a:pt x="963" y="525"/>
                  </a:cubicBezTo>
                  <a:cubicBezTo>
                    <a:pt x="973" y="535"/>
                    <a:pt x="990" y="538"/>
                    <a:pt x="999" y="547"/>
                  </a:cubicBezTo>
                  <a:cubicBezTo>
                    <a:pt x="1000" y="548"/>
                    <a:pt x="993" y="549"/>
                    <a:pt x="993" y="549"/>
                  </a:cubicBezTo>
                  <a:cubicBezTo>
                    <a:pt x="987" y="548"/>
                    <a:pt x="981" y="555"/>
                    <a:pt x="973" y="549"/>
                  </a:cubicBezTo>
                  <a:cubicBezTo>
                    <a:pt x="972" y="549"/>
                    <a:pt x="969" y="548"/>
                    <a:pt x="968" y="549"/>
                  </a:cubicBezTo>
                  <a:cubicBezTo>
                    <a:pt x="968" y="559"/>
                    <a:pt x="988" y="549"/>
                    <a:pt x="983" y="565"/>
                  </a:cubicBezTo>
                  <a:cubicBezTo>
                    <a:pt x="983" y="566"/>
                    <a:pt x="980" y="565"/>
                    <a:pt x="979" y="565"/>
                  </a:cubicBezTo>
                  <a:cubicBezTo>
                    <a:pt x="977" y="564"/>
                    <a:pt x="976" y="559"/>
                    <a:pt x="975" y="564"/>
                  </a:cubicBezTo>
                  <a:cubicBezTo>
                    <a:pt x="974" y="572"/>
                    <a:pt x="958" y="567"/>
                    <a:pt x="945" y="571"/>
                  </a:cubicBezTo>
                  <a:cubicBezTo>
                    <a:pt x="944" y="572"/>
                    <a:pt x="935" y="569"/>
                    <a:pt x="934" y="572"/>
                  </a:cubicBezTo>
                  <a:cubicBezTo>
                    <a:pt x="933" y="580"/>
                    <a:pt x="961" y="583"/>
                    <a:pt x="952" y="592"/>
                  </a:cubicBezTo>
                  <a:cubicBezTo>
                    <a:pt x="944" y="599"/>
                    <a:pt x="933" y="582"/>
                    <a:pt x="929" y="578"/>
                  </a:cubicBezTo>
                  <a:cubicBezTo>
                    <a:pt x="927" y="577"/>
                    <a:pt x="919" y="571"/>
                    <a:pt x="921" y="575"/>
                  </a:cubicBezTo>
                  <a:cubicBezTo>
                    <a:pt x="924" y="578"/>
                    <a:pt x="916" y="576"/>
                    <a:pt x="916" y="578"/>
                  </a:cubicBezTo>
                  <a:cubicBezTo>
                    <a:pt x="916" y="581"/>
                    <a:pt x="927" y="580"/>
                    <a:pt x="928" y="581"/>
                  </a:cubicBezTo>
                  <a:cubicBezTo>
                    <a:pt x="932" y="583"/>
                    <a:pt x="948" y="602"/>
                    <a:pt x="948" y="607"/>
                  </a:cubicBezTo>
                  <a:cubicBezTo>
                    <a:pt x="948" y="609"/>
                    <a:pt x="943" y="609"/>
                    <a:pt x="943" y="612"/>
                  </a:cubicBezTo>
                  <a:cubicBezTo>
                    <a:pt x="942" y="616"/>
                    <a:pt x="938" y="617"/>
                    <a:pt x="944" y="619"/>
                  </a:cubicBezTo>
                  <a:cubicBezTo>
                    <a:pt x="948" y="620"/>
                    <a:pt x="940" y="621"/>
                    <a:pt x="939" y="621"/>
                  </a:cubicBezTo>
                  <a:cubicBezTo>
                    <a:pt x="935" y="620"/>
                    <a:pt x="931" y="633"/>
                    <a:pt x="927" y="636"/>
                  </a:cubicBezTo>
                  <a:cubicBezTo>
                    <a:pt x="924" y="638"/>
                    <a:pt x="917" y="635"/>
                    <a:pt x="914" y="637"/>
                  </a:cubicBezTo>
                  <a:cubicBezTo>
                    <a:pt x="911" y="641"/>
                    <a:pt x="912" y="658"/>
                    <a:pt x="903" y="657"/>
                  </a:cubicBezTo>
                  <a:cubicBezTo>
                    <a:pt x="900" y="657"/>
                    <a:pt x="899" y="647"/>
                    <a:pt x="896" y="653"/>
                  </a:cubicBezTo>
                  <a:cubicBezTo>
                    <a:pt x="891" y="667"/>
                    <a:pt x="922" y="661"/>
                    <a:pt x="920" y="667"/>
                  </a:cubicBezTo>
                  <a:cubicBezTo>
                    <a:pt x="919" y="670"/>
                    <a:pt x="914" y="666"/>
                    <a:pt x="913" y="668"/>
                  </a:cubicBezTo>
                  <a:cubicBezTo>
                    <a:pt x="912" y="673"/>
                    <a:pt x="929" y="686"/>
                    <a:pt x="912" y="676"/>
                  </a:cubicBezTo>
                  <a:cubicBezTo>
                    <a:pt x="910" y="675"/>
                    <a:pt x="904" y="668"/>
                    <a:pt x="902" y="671"/>
                  </a:cubicBezTo>
                  <a:cubicBezTo>
                    <a:pt x="901" y="672"/>
                    <a:pt x="902" y="675"/>
                    <a:pt x="902" y="675"/>
                  </a:cubicBezTo>
                  <a:cubicBezTo>
                    <a:pt x="903" y="680"/>
                    <a:pt x="910" y="681"/>
                    <a:pt x="913" y="682"/>
                  </a:cubicBezTo>
                  <a:cubicBezTo>
                    <a:pt x="918" y="683"/>
                    <a:pt x="920" y="690"/>
                    <a:pt x="923" y="694"/>
                  </a:cubicBezTo>
                  <a:cubicBezTo>
                    <a:pt x="925" y="697"/>
                    <a:pt x="923" y="685"/>
                    <a:pt x="929" y="691"/>
                  </a:cubicBezTo>
                  <a:cubicBezTo>
                    <a:pt x="930" y="693"/>
                    <a:pt x="932" y="698"/>
                    <a:pt x="934" y="696"/>
                  </a:cubicBezTo>
                  <a:cubicBezTo>
                    <a:pt x="940" y="690"/>
                    <a:pt x="940" y="709"/>
                    <a:pt x="934" y="699"/>
                  </a:cubicBezTo>
                  <a:cubicBezTo>
                    <a:pt x="932" y="696"/>
                    <a:pt x="930" y="702"/>
                    <a:pt x="929" y="703"/>
                  </a:cubicBezTo>
                  <a:cubicBezTo>
                    <a:pt x="928" y="703"/>
                    <a:pt x="923" y="698"/>
                    <a:pt x="923" y="700"/>
                  </a:cubicBezTo>
                  <a:cubicBezTo>
                    <a:pt x="923" y="704"/>
                    <a:pt x="931" y="704"/>
                    <a:pt x="933" y="703"/>
                  </a:cubicBezTo>
                  <a:cubicBezTo>
                    <a:pt x="939" y="701"/>
                    <a:pt x="933" y="711"/>
                    <a:pt x="935" y="713"/>
                  </a:cubicBezTo>
                  <a:cubicBezTo>
                    <a:pt x="939" y="715"/>
                    <a:pt x="944" y="706"/>
                    <a:pt x="946" y="709"/>
                  </a:cubicBezTo>
                  <a:cubicBezTo>
                    <a:pt x="948" y="712"/>
                    <a:pt x="947" y="714"/>
                    <a:pt x="945" y="714"/>
                  </a:cubicBezTo>
                  <a:cubicBezTo>
                    <a:pt x="934" y="715"/>
                    <a:pt x="911" y="745"/>
                    <a:pt x="899" y="747"/>
                  </a:cubicBezTo>
                  <a:cubicBezTo>
                    <a:pt x="898" y="747"/>
                    <a:pt x="867" y="810"/>
                    <a:pt x="864" y="812"/>
                  </a:cubicBezTo>
                  <a:cubicBezTo>
                    <a:pt x="861" y="813"/>
                    <a:pt x="851" y="810"/>
                    <a:pt x="851" y="809"/>
                  </a:cubicBezTo>
                  <a:cubicBezTo>
                    <a:pt x="850" y="809"/>
                    <a:pt x="849" y="806"/>
                    <a:pt x="848" y="807"/>
                  </a:cubicBezTo>
                  <a:cubicBezTo>
                    <a:pt x="841" y="807"/>
                    <a:pt x="842" y="824"/>
                    <a:pt x="839" y="827"/>
                  </a:cubicBezTo>
                  <a:cubicBezTo>
                    <a:pt x="831" y="832"/>
                    <a:pt x="837" y="814"/>
                    <a:pt x="832" y="818"/>
                  </a:cubicBezTo>
                  <a:cubicBezTo>
                    <a:pt x="830" y="819"/>
                    <a:pt x="834" y="833"/>
                    <a:pt x="830" y="833"/>
                  </a:cubicBezTo>
                  <a:cubicBezTo>
                    <a:pt x="824" y="832"/>
                    <a:pt x="831" y="821"/>
                    <a:pt x="829" y="820"/>
                  </a:cubicBezTo>
                  <a:cubicBezTo>
                    <a:pt x="825" y="820"/>
                    <a:pt x="825" y="833"/>
                    <a:pt x="825" y="833"/>
                  </a:cubicBezTo>
                  <a:cubicBezTo>
                    <a:pt x="820" y="836"/>
                    <a:pt x="812" y="830"/>
                    <a:pt x="808" y="831"/>
                  </a:cubicBezTo>
                  <a:cubicBezTo>
                    <a:pt x="801" y="833"/>
                    <a:pt x="806" y="844"/>
                    <a:pt x="794" y="838"/>
                  </a:cubicBezTo>
                  <a:cubicBezTo>
                    <a:pt x="790" y="836"/>
                    <a:pt x="779" y="864"/>
                    <a:pt x="777" y="865"/>
                  </a:cubicBezTo>
                  <a:cubicBezTo>
                    <a:pt x="771" y="867"/>
                    <a:pt x="762" y="839"/>
                    <a:pt x="752" y="847"/>
                  </a:cubicBezTo>
                  <a:cubicBezTo>
                    <a:pt x="752" y="848"/>
                    <a:pt x="762" y="863"/>
                    <a:pt x="760" y="867"/>
                  </a:cubicBezTo>
                  <a:cubicBezTo>
                    <a:pt x="759" y="871"/>
                    <a:pt x="752" y="862"/>
                    <a:pt x="751" y="861"/>
                  </a:cubicBezTo>
                  <a:cubicBezTo>
                    <a:pt x="747" y="859"/>
                    <a:pt x="743" y="859"/>
                    <a:pt x="741" y="860"/>
                  </a:cubicBezTo>
                  <a:cubicBezTo>
                    <a:pt x="736" y="862"/>
                    <a:pt x="740" y="878"/>
                    <a:pt x="738" y="881"/>
                  </a:cubicBezTo>
                  <a:cubicBezTo>
                    <a:pt x="737" y="882"/>
                    <a:pt x="736" y="882"/>
                    <a:pt x="735" y="881"/>
                  </a:cubicBezTo>
                  <a:cubicBezTo>
                    <a:pt x="729" y="873"/>
                    <a:pt x="725" y="894"/>
                    <a:pt x="725" y="894"/>
                  </a:cubicBezTo>
                  <a:cubicBezTo>
                    <a:pt x="722" y="895"/>
                    <a:pt x="720" y="891"/>
                    <a:pt x="719" y="891"/>
                  </a:cubicBezTo>
                  <a:cubicBezTo>
                    <a:pt x="715" y="894"/>
                    <a:pt x="720" y="897"/>
                    <a:pt x="723" y="897"/>
                  </a:cubicBezTo>
                  <a:cubicBezTo>
                    <a:pt x="724" y="897"/>
                    <a:pt x="720" y="903"/>
                    <a:pt x="719" y="903"/>
                  </a:cubicBezTo>
                  <a:cubicBezTo>
                    <a:pt x="713" y="905"/>
                    <a:pt x="710" y="888"/>
                    <a:pt x="704" y="888"/>
                  </a:cubicBezTo>
                  <a:cubicBezTo>
                    <a:pt x="702" y="889"/>
                    <a:pt x="690" y="889"/>
                    <a:pt x="694" y="893"/>
                  </a:cubicBezTo>
                  <a:cubicBezTo>
                    <a:pt x="693" y="893"/>
                    <a:pt x="691" y="893"/>
                    <a:pt x="688" y="895"/>
                  </a:cubicBezTo>
                  <a:cubicBezTo>
                    <a:pt x="687" y="896"/>
                    <a:pt x="693" y="905"/>
                    <a:pt x="692" y="906"/>
                  </a:cubicBezTo>
                  <a:cubicBezTo>
                    <a:pt x="691" y="908"/>
                    <a:pt x="678" y="902"/>
                    <a:pt x="675" y="903"/>
                  </a:cubicBezTo>
                  <a:cubicBezTo>
                    <a:pt x="675" y="903"/>
                    <a:pt x="680" y="905"/>
                    <a:pt x="680" y="906"/>
                  </a:cubicBezTo>
                  <a:cubicBezTo>
                    <a:pt x="682" y="909"/>
                    <a:pt x="674" y="921"/>
                    <a:pt x="668" y="926"/>
                  </a:cubicBezTo>
                  <a:cubicBezTo>
                    <a:pt x="667" y="927"/>
                    <a:pt x="664" y="921"/>
                    <a:pt x="662" y="921"/>
                  </a:cubicBezTo>
                  <a:cubicBezTo>
                    <a:pt x="654" y="922"/>
                    <a:pt x="665" y="927"/>
                    <a:pt x="663" y="927"/>
                  </a:cubicBezTo>
                  <a:cubicBezTo>
                    <a:pt x="659" y="928"/>
                    <a:pt x="650" y="923"/>
                    <a:pt x="647" y="929"/>
                  </a:cubicBezTo>
                  <a:cubicBezTo>
                    <a:pt x="646" y="930"/>
                    <a:pt x="654" y="931"/>
                    <a:pt x="654" y="931"/>
                  </a:cubicBezTo>
                  <a:cubicBezTo>
                    <a:pt x="658" y="931"/>
                    <a:pt x="678" y="927"/>
                    <a:pt x="677" y="935"/>
                  </a:cubicBezTo>
                  <a:cubicBezTo>
                    <a:pt x="677" y="936"/>
                    <a:pt x="660" y="933"/>
                    <a:pt x="660" y="937"/>
                  </a:cubicBezTo>
                  <a:cubicBezTo>
                    <a:pt x="659" y="942"/>
                    <a:pt x="672" y="939"/>
                    <a:pt x="672" y="941"/>
                  </a:cubicBezTo>
                  <a:cubicBezTo>
                    <a:pt x="670" y="948"/>
                    <a:pt x="665" y="942"/>
                    <a:pt x="661" y="942"/>
                  </a:cubicBezTo>
                  <a:cubicBezTo>
                    <a:pt x="658" y="943"/>
                    <a:pt x="668" y="947"/>
                    <a:pt x="668" y="947"/>
                  </a:cubicBezTo>
                  <a:cubicBezTo>
                    <a:pt x="668" y="949"/>
                    <a:pt x="660" y="953"/>
                    <a:pt x="659" y="954"/>
                  </a:cubicBezTo>
                  <a:cubicBezTo>
                    <a:pt x="654" y="954"/>
                    <a:pt x="650" y="944"/>
                    <a:pt x="647" y="946"/>
                  </a:cubicBezTo>
                  <a:cubicBezTo>
                    <a:pt x="639" y="953"/>
                    <a:pt x="648" y="951"/>
                    <a:pt x="650" y="952"/>
                  </a:cubicBezTo>
                  <a:cubicBezTo>
                    <a:pt x="653" y="955"/>
                    <a:pt x="641" y="965"/>
                    <a:pt x="642" y="961"/>
                  </a:cubicBezTo>
                  <a:cubicBezTo>
                    <a:pt x="645" y="952"/>
                    <a:pt x="639" y="963"/>
                    <a:pt x="637" y="963"/>
                  </a:cubicBezTo>
                  <a:cubicBezTo>
                    <a:pt x="631" y="965"/>
                    <a:pt x="625" y="962"/>
                    <a:pt x="631" y="958"/>
                  </a:cubicBezTo>
                  <a:cubicBezTo>
                    <a:pt x="633" y="957"/>
                    <a:pt x="639" y="956"/>
                    <a:pt x="637" y="955"/>
                  </a:cubicBezTo>
                  <a:cubicBezTo>
                    <a:pt x="629" y="952"/>
                    <a:pt x="622" y="958"/>
                    <a:pt x="622" y="958"/>
                  </a:cubicBezTo>
                  <a:cubicBezTo>
                    <a:pt x="612" y="954"/>
                    <a:pt x="621" y="927"/>
                    <a:pt x="598" y="930"/>
                  </a:cubicBezTo>
                  <a:cubicBezTo>
                    <a:pt x="598" y="930"/>
                    <a:pt x="604" y="935"/>
                    <a:pt x="605" y="935"/>
                  </a:cubicBezTo>
                  <a:cubicBezTo>
                    <a:pt x="608" y="937"/>
                    <a:pt x="615" y="950"/>
                    <a:pt x="614" y="954"/>
                  </a:cubicBezTo>
                  <a:cubicBezTo>
                    <a:pt x="612" y="960"/>
                    <a:pt x="628" y="967"/>
                    <a:pt x="625" y="978"/>
                  </a:cubicBezTo>
                  <a:cubicBezTo>
                    <a:pt x="624" y="982"/>
                    <a:pt x="612" y="976"/>
                    <a:pt x="614" y="979"/>
                  </a:cubicBezTo>
                  <a:cubicBezTo>
                    <a:pt x="618" y="984"/>
                    <a:pt x="630" y="981"/>
                    <a:pt x="631" y="989"/>
                  </a:cubicBezTo>
                  <a:cubicBezTo>
                    <a:pt x="631" y="989"/>
                    <a:pt x="627" y="990"/>
                    <a:pt x="626" y="991"/>
                  </a:cubicBezTo>
                  <a:cubicBezTo>
                    <a:pt x="623" y="993"/>
                    <a:pt x="621" y="998"/>
                    <a:pt x="621" y="990"/>
                  </a:cubicBezTo>
                  <a:cubicBezTo>
                    <a:pt x="621" y="989"/>
                    <a:pt x="621" y="985"/>
                    <a:pt x="619" y="988"/>
                  </a:cubicBezTo>
                  <a:cubicBezTo>
                    <a:pt x="614" y="994"/>
                    <a:pt x="618" y="999"/>
                    <a:pt x="611" y="1005"/>
                  </a:cubicBezTo>
                  <a:cubicBezTo>
                    <a:pt x="608" y="1007"/>
                    <a:pt x="601" y="1000"/>
                    <a:pt x="595" y="1006"/>
                  </a:cubicBezTo>
                  <a:cubicBezTo>
                    <a:pt x="593" y="1009"/>
                    <a:pt x="600" y="1012"/>
                    <a:pt x="598" y="1012"/>
                  </a:cubicBezTo>
                  <a:cubicBezTo>
                    <a:pt x="584" y="1014"/>
                    <a:pt x="573" y="989"/>
                    <a:pt x="565" y="1005"/>
                  </a:cubicBezTo>
                  <a:cubicBezTo>
                    <a:pt x="563" y="1010"/>
                    <a:pt x="571" y="1031"/>
                    <a:pt x="577" y="1037"/>
                  </a:cubicBezTo>
                  <a:cubicBezTo>
                    <a:pt x="580" y="1040"/>
                    <a:pt x="593" y="1038"/>
                    <a:pt x="594" y="1042"/>
                  </a:cubicBezTo>
                  <a:cubicBezTo>
                    <a:pt x="595" y="1043"/>
                    <a:pt x="591" y="1044"/>
                    <a:pt x="589" y="1045"/>
                  </a:cubicBezTo>
                  <a:cubicBezTo>
                    <a:pt x="581" y="1049"/>
                    <a:pt x="586" y="1039"/>
                    <a:pt x="581" y="1045"/>
                  </a:cubicBezTo>
                  <a:cubicBezTo>
                    <a:pt x="575" y="1051"/>
                    <a:pt x="577" y="1075"/>
                    <a:pt x="577" y="1075"/>
                  </a:cubicBezTo>
                  <a:cubicBezTo>
                    <a:pt x="577" y="1078"/>
                    <a:pt x="568" y="1081"/>
                    <a:pt x="567" y="1084"/>
                  </a:cubicBezTo>
                  <a:cubicBezTo>
                    <a:pt x="565" y="1092"/>
                    <a:pt x="568" y="1110"/>
                    <a:pt x="571" y="1115"/>
                  </a:cubicBezTo>
                  <a:cubicBezTo>
                    <a:pt x="571" y="1115"/>
                    <a:pt x="570" y="1117"/>
                    <a:pt x="571" y="1118"/>
                  </a:cubicBezTo>
                  <a:cubicBezTo>
                    <a:pt x="576" y="1120"/>
                    <a:pt x="588" y="1114"/>
                    <a:pt x="580" y="1129"/>
                  </a:cubicBezTo>
                  <a:cubicBezTo>
                    <a:pt x="580" y="1131"/>
                    <a:pt x="579" y="1131"/>
                    <a:pt x="578" y="1131"/>
                  </a:cubicBezTo>
                  <a:cubicBezTo>
                    <a:pt x="571" y="1128"/>
                    <a:pt x="555" y="1108"/>
                    <a:pt x="548" y="1117"/>
                  </a:cubicBezTo>
                  <a:cubicBezTo>
                    <a:pt x="547" y="1119"/>
                    <a:pt x="554" y="1119"/>
                    <a:pt x="554" y="1119"/>
                  </a:cubicBezTo>
                  <a:cubicBezTo>
                    <a:pt x="571" y="1122"/>
                    <a:pt x="537" y="1130"/>
                    <a:pt x="549" y="1131"/>
                  </a:cubicBezTo>
                  <a:cubicBezTo>
                    <a:pt x="551" y="1131"/>
                    <a:pt x="557" y="1131"/>
                    <a:pt x="558" y="1133"/>
                  </a:cubicBezTo>
                  <a:cubicBezTo>
                    <a:pt x="560" y="1136"/>
                    <a:pt x="549" y="1135"/>
                    <a:pt x="549" y="1135"/>
                  </a:cubicBezTo>
                  <a:cubicBezTo>
                    <a:pt x="548" y="1134"/>
                    <a:pt x="542" y="1135"/>
                    <a:pt x="541" y="1138"/>
                  </a:cubicBezTo>
                  <a:cubicBezTo>
                    <a:pt x="541" y="1138"/>
                    <a:pt x="550" y="1140"/>
                    <a:pt x="551" y="1140"/>
                  </a:cubicBezTo>
                  <a:cubicBezTo>
                    <a:pt x="553" y="1141"/>
                    <a:pt x="539" y="1142"/>
                    <a:pt x="545" y="1143"/>
                  </a:cubicBezTo>
                  <a:cubicBezTo>
                    <a:pt x="560" y="1146"/>
                    <a:pt x="547" y="1164"/>
                    <a:pt x="548" y="1169"/>
                  </a:cubicBezTo>
                  <a:cubicBezTo>
                    <a:pt x="549" y="1171"/>
                    <a:pt x="560" y="1176"/>
                    <a:pt x="560" y="1177"/>
                  </a:cubicBezTo>
                  <a:cubicBezTo>
                    <a:pt x="560" y="1177"/>
                    <a:pt x="560" y="1180"/>
                    <a:pt x="557" y="1181"/>
                  </a:cubicBezTo>
                  <a:cubicBezTo>
                    <a:pt x="555" y="1181"/>
                    <a:pt x="545" y="1175"/>
                    <a:pt x="544" y="1176"/>
                  </a:cubicBezTo>
                  <a:cubicBezTo>
                    <a:pt x="544" y="1177"/>
                    <a:pt x="553" y="1184"/>
                    <a:pt x="554" y="1185"/>
                  </a:cubicBezTo>
                  <a:cubicBezTo>
                    <a:pt x="555" y="1187"/>
                    <a:pt x="548" y="1204"/>
                    <a:pt x="549" y="1206"/>
                  </a:cubicBezTo>
                  <a:cubicBezTo>
                    <a:pt x="552" y="1211"/>
                    <a:pt x="552" y="1204"/>
                    <a:pt x="552" y="1211"/>
                  </a:cubicBezTo>
                  <a:cubicBezTo>
                    <a:pt x="552" y="1214"/>
                    <a:pt x="552" y="1218"/>
                    <a:pt x="550" y="1219"/>
                  </a:cubicBezTo>
                  <a:cubicBezTo>
                    <a:pt x="549" y="1220"/>
                    <a:pt x="558" y="1219"/>
                    <a:pt x="558" y="1219"/>
                  </a:cubicBezTo>
                  <a:cubicBezTo>
                    <a:pt x="560" y="1224"/>
                    <a:pt x="549" y="1225"/>
                    <a:pt x="549" y="1230"/>
                  </a:cubicBezTo>
                  <a:cubicBezTo>
                    <a:pt x="549" y="1237"/>
                    <a:pt x="564" y="1243"/>
                    <a:pt x="561" y="1253"/>
                  </a:cubicBezTo>
                  <a:cubicBezTo>
                    <a:pt x="560" y="1257"/>
                    <a:pt x="567" y="1253"/>
                    <a:pt x="566" y="1256"/>
                  </a:cubicBezTo>
                  <a:cubicBezTo>
                    <a:pt x="565" y="1260"/>
                    <a:pt x="552" y="1263"/>
                    <a:pt x="552" y="1266"/>
                  </a:cubicBezTo>
                  <a:cubicBezTo>
                    <a:pt x="553" y="1268"/>
                    <a:pt x="558" y="1265"/>
                    <a:pt x="559" y="1266"/>
                  </a:cubicBezTo>
                  <a:cubicBezTo>
                    <a:pt x="566" y="1269"/>
                    <a:pt x="565" y="1276"/>
                    <a:pt x="566" y="1277"/>
                  </a:cubicBezTo>
                  <a:cubicBezTo>
                    <a:pt x="568" y="1281"/>
                    <a:pt x="587" y="1269"/>
                    <a:pt x="594" y="1278"/>
                  </a:cubicBezTo>
                  <a:cubicBezTo>
                    <a:pt x="596" y="1281"/>
                    <a:pt x="590" y="1281"/>
                    <a:pt x="590" y="1282"/>
                  </a:cubicBezTo>
                  <a:cubicBezTo>
                    <a:pt x="588" y="1285"/>
                    <a:pt x="592" y="1291"/>
                    <a:pt x="594" y="1292"/>
                  </a:cubicBezTo>
                  <a:cubicBezTo>
                    <a:pt x="600" y="1301"/>
                    <a:pt x="605" y="1275"/>
                    <a:pt x="621" y="1280"/>
                  </a:cubicBezTo>
                  <a:cubicBezTo>
                    <a:pt x="623" y="1281"/>
                    <a:pt x="622" y="1282"/>
                    <a:pt x="623" y="1284"/>
                  </a:cubicBezTo>
                  <a:cubicBezTo>
                    <a:pt x="625" y="1289"/>
                    <a:pt x="631" y="1306"/>
                    <a:pt x="640" y="1310"/>
                  </a:cubicBezTo>
                  <a:cubicBezTo>
                    <a:pt x="641" y="1310"/>
                    <a:pt x="648" y="1311"/>
                    <a:pt x="648" y="1312"/>
                  </a:cubicBezTo>
                  <a:cubicBezTo>
                    <a:pt x="649" y="1314"/>
                    <a:pt x="642" y="1313"/>
                    <a:pt x="645" y="1318"/>
                  </a:cubicBezTo>
                  <a:cubicBezTo>
                    <a:pt x="645" y="1318"/>
                    <a:pt x="645" y="1319"/>
                    <a:pt x="646" y="1319"/>
                  </a:cubicBezTo>
                  <a:cubicBezTo>
                    <a:pt x="648" y="1319"/>
                    <a:pt x="651" y="1315"/>
                    <a:pt x="653" y="1315"/>
                  </a:cubicBezTo>
                  <a:cubicBezTo>
                    <a:pt x="656" y="1315"/>
                    <a:pt x="679" y="1331"/>
                    <a:pt x="679" y="1332"/>
                  </a:cubicBezTo>
                  <a:cubicBezTo>
                    <a:pt x="680" y="1335"/>
                    <a:pt x="673" y="1334"/>
                    <a:pt x="672" y="1333"/>
                  </a:cubicBezTo>
                  <a:cubicBezTo>
                    <a:pt x="665" y="1331"/>
                    <a:pt x="660" y="1318"/>
                    <a:pt x="653" y="1321"/>
                  </a:cubicBezTo>
                  <a:cubicBezTo>
                    <a:pt x="650" y="1323"/>
                    <a:pt x="665" y="1335"/>
                    <a:pt x="665" y="1336"/>
                  </a:cubicBezTo>
                  <a:cubicBezTo>
                    <a:pt x="665" y="1338"/>
                    <a:pt x="661" y="1335"/>
                    <a:pt x="669" y="1343"/>
                  </a:cubicBezTo>
                  <a:cubicBezTo>
                    <a:pt x="671" y="1346"/>
                    <a:pt x="674" y="1341"/>
                    <a:pt x="674" y="1342"/>
                  </a:cubicBezTo>
                  <a:cubicBezTo>
                    <a:pt x="674" y="1343"/>
                    <a:pt x="675" y="1357"/>
                    <a:pt x="677" y="1356"/>
                  </a:cubicBezTo>
                  <a:cubicBezTo>
                    <a:pt x="682" y="1355"/>
                    <a:pt x="675" y="1338"/>
                    <a:pt x="690" y="1348"/>
                  </a:cubicBezTo>
                  <a:cubicBezTo>
                    <a:pt x="691" y="1350"/>
                    <a:pt x="689" y="1358"/>
                    <a:pt x="692" y="1362"/>
                  </a:cubicBezTo>
                  <a:cubicBezTo>
                    <a:pt x="693" y="1363"/>
                    <a:pt x="696" y="1367"/>
                    <a:pt x="696" y="1366"/>
                  </a:cubicBezTo>
                  <a:cubicBezTo>
                    <a:pt x="696" y="1363"/>
                    <a:pt x="689" y="1347"/>
                    <a:pt x="697" y="1349"/>
                  </a:cubicBezTo>
                  <a:cubicBezTo>
                    <a:pt x="702" y="1351"/>
                    <a:pt x="699" y="1359"/>
                    <a:pt x="701" y="1364"/>
                  </a:cubicBezTo>
                  <a:cubicBezTo>
                    <a:pt x="704" y="1374"/>
                    <a:pt x="711" y="1376"/>
                    <a:pt x="716" y="1382"/>
                  </a:cubicBezTo>
                  <a:cubicBezTo>
                    <a:pt x="716" y="1383"/>
                    <a:pt x="718" y="1384"/>
                    <a:pt x="718" y="1382"/>
                  </a:cubicBezTo>
                  <a:cubicBezTo>
                    <a:pt x="720" y="1376"/>
                    <a:pt x="721" y="1386"/>
                    <a:pt x="720" y="1390"/>
                  </a:cubicBezTo>
                  <a:cubicBezTo>
                    <a:pt x="719" y="1396"/>
                    <a:pt x="705" y="1375"/>
                    <a:pt x="704" y="1376"/>
                  </a:cubicBezTo>
                  <a:cubicBezTo>
                    <a:pt x="700" y="1380"/>
                    <a:pt x="707" y="1387"/>
                    <a:pt x="704" y="1391"/>
                  </a:cubicBezTo>
                  <a:cubicBezTo>
                    <a:pt x="701" y="1395"/>
                    <a:pt x="690" y="1395"/>
                    <a:pt x="690" y="1399"/>
                  </a:cubicBezTo>
                  <a:cubicBezTo>
                    <a:pt x="690" y="1400"/>
                    <a:pt x="725" y="1391"/>
                    <a:pt x="721" y="1403"/>
                  </a:cubicBezTo>
                  <a:cubicBezTo>
                    <a:pt x="719" y="1408"/>
                    <a:pt x="710" y="1398"/>
                    <a:pt x="706" y="1402"/>
                  </a:cubicBezTo>
                  <a:cubicBezTo>
                    <a:pt x="695" y="1413"/>
                    <a:pt x="687" y="1415"/>
                    <a:pt x="684" y="1418"/>
                  </a:cubicBezTo>
                  <a:cubicBezTo>
                    <a:pt x="680" y="1422"/>
                    <a:pt x="670" y="1438"/>
                    <a:pt x="659" y="1442"/>
                  </a:cubicBezTo>
                  <a:cubicBezTo>
                    <a:pt x="657" y="1443"/>
                    <a:pt x="650" y="1439"/>
                    <a:pt x="649" y="1441"/>
                  </a:cubicBezTo>
                  <a:cubicBezTo>
                    <a:pt x="647" y="1445"/>
                    <a:pt x="658" y="1449"/>
                    <a:pt x="655" y="1452"/>
                  </a:cubicBezTo>
                  <a:cubicBezTo>
                    <a:pt x="653" y="1452"/>
                    <a:pt x="651" y="1453"/>
                    <a:pt x="650" y="1452"/>
                  </a:cubicBezTo>
                  <a:cubicBezTo>
                    <a:pt x="648" y="1452"/>
                    <a:pt x="638" y="1451"/>
                    <a:pt x="640" y="1449"/>
                  </a:cubicBezTo>
                  <a:cubicBezTo>
                    <a:pt x="646" y="1439"/>
                    <a:pt x="636" y="1449"/>
                    <a:pt x="633" y="1451"/>
                  </a:cubicBezTo>
                  <a:cubicBezTo>
                    <a:pt x="631" y="1453"/>
                    <a:pt x="626" y="1449"/>
                    <a:pt x="626" y="1451"/>
                  </a:cubicBezTo>
                  <a:cubicBezTo>
                    <a:pt x="626" y="1452"/>
                    <a:pt x="639" y="1460"/>
                    <a:pt x="638" y="1461"/>
                  </a:cubicBezTo>
                  <a:cubicBezTo>
                    <a:pt x="634" y="1465"/>
                    <a:pt x="605" y="1459"/>
                    <a:pt x="603" y="1450"/>
                  </a:cubicBezTo>
                  <a:cubicBezTo>
                    <a:pt x="602" y="1443"/>
                    <a:pt x="611" y="1436"/>
                    <a:pt x="611" y="1433"/>
                  </a:cubicBezTo>
                  <a:cubicBezTo>
                    <a:pt x="611" y="1429"/>
                    <a:pt x="605" y="1419"/>
                    <a:pt x="603" y="1416"/>
                  </a:cubicBezTo>
                  <a:cubicBezTo>
                    <a:pt x="600" y="1411"/>
                    <a:pt x="601" y="1408"/>
                    <a:pt x="600" y="1409"/>
                  </a:cubicBezTo>
                  <a:cubicBezTo>
                    <a:pt x="598" y="1410"/>
                    <a:pt x="602" y="1421"/>
                    <a:pt x="599" y="1421"/>
                  </a:cubicBezTo>
                  <a:cubicBezTo>
                    <a:pt x="598" y="1420"/>
                    <a:pt x="592" y="1414"/>
                    <a:pt x="592" y="1413"/>
                  </a:cubicBezTo>
                  <a:cubicBezTo>
                    <a:pt x="592" y="1410"/>
                    <a:pt x="604" y="1398"/>
                    <a:pt x="589" y="1394"/>
                  </a:cubicBezTo>
                  <a:cubicBezTo>
                    <a:pt x="586" y="1393"/>
                    <a:pt x="587" y="1400"/>
                    <a:pt x="584" y="1402"/>
                  </a:cubicBezTo>
                  <a:cubicBezTo>
                    <a:pt x="581" y="1405"/>
                    <a:pt x="573" y="1401"/>
                    <a:pt x="569" y="1402"/>
                  </a:cubicBezTo>
                  <a:cubicBezTo>
                    <a:pt x="567" y="1403"/>
                    <a:pt x="578" y="1405"/>
                    <a:pt x="578" y="1405"/>
                  </a:cubicBezTo>
                  <a:cubicBezTo>
                    <a:pt x="582" y="1407"/>
                    <a:pt x="576" y="1413"/>
                    <a:pt x="578" y="1418"/>
                  </a:cubicBezTo>
                  <a:cubicBezTo>
                    <a:pt x="579" y="1420"/>
                    <a:pt x="581" y="1427"/>
                    <a:pt x="584" y="1427"/>
                  </a:cubicBezTo>
                  <a:cubicBezTo>
                    <a:pt x="584" y="1427"/>
                    <a:pt x="583" y="1420"/>
                    <a:pt x="582" y="1418"/>
                  </a:cubicBezTo>
                  <a:cubicBezTo>
                    <a:pt x="580" y="1414"/>
                    <a:pt x="584" y="1408"/>
                    <a:pt x="585" y="1407"/>
                  </a:cubicBezTo>
                  <a:cubicBezTo>
                    <a:pt x="587" y="1402"/>
                    <a:pt x="590" y="1407"/>
                    <a:pt x="589" y="1409"/>
                  </a:cubicBezTo>
                  <a:cubicBezTo>
                    <a:pt x="587" y="1425"/>
                    <a:pt x="609" y="1426"/>
                    <a:pt x="606" y="1433"/>
                  </a:cubicBezTo>
                  <a:cubicBezTo>
                    <a:pt x="595" y="1462"/>
                    <a:pt x="570" y="1416"/>
                    <a:pt x="570" y="1415"/>
                  </a:cubicBezTo>
                  <a:cubicBezTo>
                    <a:pt x="564" y="1414"/>
                    <a:pt x="568" y="1424"/>
                    <a:pt x="569" y="1424"/>
                  </a:cubicBezTo>
                  <a:cubicBezTo>
                    <a:pt x="572" y="1440"/>
                    <a:pt x="571" y="1437"/>
                    <a:pt x="568" y="1442"/>
                  </a:cubicBezTo>
                  <a:cubicBezTo>
                    <a:pt x="568" y="1443"/>
                    <a:pt x="542" y="1423"/>
                    <a:pt x="541" y="1423"/>
                  </a:cubicBezTo>
                  <a:cubicBezTo>
                    <a:pt x="538" y="1422"/>
                    <a:pt x="543" y="1429"/>
                    <a:pt x="542" y="1431"/>
                  </a:cubicBezTo>
                  <a:cubicBezTo>
                    <a:pt x="541" y="1434"/>
                    <a:pt x="536" y="1432"/>
                    <a:pt x="535" y="1431"/>
                  </a:cubicBezTo>
                  <a:cubicBezTo>
                    <a:pt x="511" y="1423"/>
                    <a:pt x="515" y="1436"/>
                    <a:pt x="507" y="1433"/>
                  </a:cubicBezTo>
                  <a:cubicBezTo>
                    <a:pt x="504" y="1432"/>
                    <a:pt x="501" y="1424"/>
                    <a:pt x="497" y="1422"/>
                  </a:cubicBezTo>
                  <a:cubicBezTo>
                    <a:pt x="497" y="1422"/>
                    <a:pt x="496" y="1422"/>
                    <a:pt x="495" y="1422"/>
                  </a:cubicBezTo>
                  <a:cubicBezTo>
                    <a:pt x="493" y="1423"/>
                    <a:pt x="490" y="1438"/>
                    <a:pt x="490" y="1438"/>
                  </a:cubicBezTo>
                  <a:cubicBezTo>
                    <a:pt x="476" y="1443"/>
                    <a:pt x="472" y="1438"/>
                    <a:pt x="463" y="1442"/>
                  </a:cubicBezTo>
                  <a:cubicBezTo>
                    <a:pt x="459" y="1445"/>
                    <a:pt x="450" y="1433"/>
                    <a:pt x="449" y="1438"/>
                  </a:cubicBezTo>
                  <a:cubicBezTo>
                    <a:pt x="445" y="1450"/>
                    <a:pt x="500" y="1443"/>
                    <a:pt x="500" y="1443"/>
                  </a:cubicBezTo>
                  <a:cubicBezTo>
                    <a:pt x="501" y="1443"/>
                    <a:pt x="502" y="1441"/>
                    <a:pt x="503" y="1441"/>
                  </a:cubicBezTo>
                  <a:cubicBezTo>
                    <a:pt x="506" y="1441"/>
                    <a:pt x="525" y="1461"/>
                    <a:pt x="526" y="1453"/>
                  </a:cubicBezTo>
                  <a:cubicBezTo>
                    <a:pt x="527" y="1452"/>
                    <a:pt x="509" y="1442"/>
                    <a:pt x="510" y="1441"/>
                  </a:cubicBezTo>
                  <a:cubicBezTo>
                    <a:pt x="523" y="1427"/>
                    <a:pt x="532" y="1454"/>
                    <a:pt x="539" y="1458"/>
                  </a:cubicBezTo>
                  <a:cubicBezTo>
                    <a:pt x="543" y="1459"/>
                    <a:pt x="549" y="1454"/>
                    <a:pt x="554" y="1457"/>
                  </a:cubicBezTo>
                  <a:cubicBezTo>
                    <a:pt x="556" y="1458"/>
                    <a:pt x="563" y="1457"/>
                    <a:pt x="564" y="1460"/>
                  </a:cubicBezTo>
                  <a:cubicBezTo>
                    <a:pt x="566" y="1464"/>
                    <a:pt x="559" y="1463"/>
                    <a:pt x="558" y="1464"/>
                  </a:cubicBezTo>
                  <a:cubicBezTo>
                    <a:pt x="557" y="1464"/>
                    <a:pt x="558" y="1466"/>
                    <a:pt x="559" y="1466"/>
                  </a:cubicBezTo>
                  <a:cubicBezTo>
                    <a:pt x="560" y="1468"/>
                    <a:pt x="553" y="1471"/>
                    <a:pt x="555" y="1472"/>
                  </a:cubicBezTo>
                  <a:cubicBezTo>
                    <a:pt x="556" y="1473"/>
                    <a:pt x="570" y="1475"/>
                    <a:pt x="571" y="1474"/>
                  </a:cubicBezTo>
                  <a:cubicBezTo>
                    <a:pt x="572" y="1473"/>
                    <a:pt x="565" y="1465"/>
                    <a:pt x="567" y="1463"/>
                  </a:cubicBezTo>
                  <a:cubicBezTo>
                    <a:pt x="573" y="1458"/>
                    <a:pt x="589" y="1477"/>
                    <a:pt x="589" y="1477"/>
                  </a:cubicBezTo>
                  <a:cubicBezTo>
                    <a:pt x="592" y="1476"/>
                    <a:pt x="587" y="1469"/>
                    <a:pt x="589" y="1468"/>
                  </a:cubicBezTo>
                  <a:cubicBezTo>
                    <a:pt x="593" y="1467"/>
                    <a:pt x="611" y="1477"/>
                    <a:pt x="614" y="1477"/>
                  </a:cubicBezTo>
                  <a:cubicBezTo>
                    <a:pt x="620" y="1479"/>
                    <a:pt x="617" y="1466"/>
                    <a:pt x="624" y="1465"/>
                  </a:cubicBezTo>
                  <a:cubicBezTo>
                    <a:pt x="628" y="1464"/>
                    <a:pt x="642" y="1467"/>
                    <a:pt x="645" y="1464"/>
                  </a:cubicBezTo>
                  <a:cubicBezTo>
                    <a:pt x="648" y="1458"/>
                    <a:pt x="649" y="1456"/>
                    <a:pt x="656" y="1456"/>
                  </a:cubicBezTo>
                  <a:cubicBezTo>
                    <a:pt x="663" y="1455"/>
                    <a:pt x="664" y="1463"/>
                    <a:pt x="667" y="1462"/>
                  </a:cubicBezTo>
                  <a:cubicBezTo>
                    <a:pt x="671" y="1460"/>
                    <a:pt x="661" y="1452"/>
                    <a:pt x="663" y="1447"/>
                  </a:cubicBezTo>
                  <a:cubicBezTo>
                    <a:pt x="664" y="1445"/>
                    <a:pt x="671" y="1448"/>
                    <a:pt x="672" y="1449"/>
                  </a:cubicBezTo>
                  <a:cubicBezTo>
                    <a:pt x="674" y="1451"/>
                    <a:pt x="682" y="1461"/>
                    <a:pt x="683" y="1463"/>
                  </a:cubicBezTo>
                  <a:cubicBezTo>
                    <a:pt x="684" y="1465"/>
                    <a:pt x="678" y="1466"/>
                    <a:pt x="676" y="1466"/>
                  </a:cubicBezTo>
                  <a:cubicBezTo>
                    <a:pt x="667" y="1467"/>
                    <a:pt x="653" y="1460"/>
                    <a:pt x="650" y="1465"/>
                  </a:cubicBezTo>
                  <a:cubicBezTo>
                    <a:pt x="648" y="1467"/>
                    <a:pt x="649" y="1471"/>
                    <a:pt x="651" y="1472"/>
                  </a:cubicBezTo>
                  <a:cubicBezTo>
                    <a:pt x="654" y="1473"/>
                    <a:pt x="667" y="1481"/>
                    <a:pt x="663" y="1481"/>
                  </a:cubicBezTo>
                  <a:cubicBezTo>
                    <a:pt x="662" y="1481"/>
                    <a:pt x="659" y="1480"/>
                    <a:pt x="658" y="1479"/>
                  </a:cubicBezTo>
                  <a:cubicBezTo>
                    <a:pt x="648" y="1472"/>
                    <a:pt x="656" y="1484"/>
                    <a:pt x="659" y="1484"/>
                  </a:cubicBezTo>
                  <a:cubicBezTo>
                    <a:pt x="661" y="1483"/>
                    <a:pt x="663" y="1485"/>
                    <a:pt x="663" y="1486"/>
                  </a:cubicBezTo>
                  <a:cubicBezTo>
                    <a:pt x="663" y="1490"/>
                    <a:pt x="644" y="1495"/>
                    <a:pt x="629" y="1501"/>
                  </a:cubicBezTo>
                  <a:cubicBezTo>
                    <a:pt x="624" y="1503"/>
                    <a:pt x="619" y="1528"/>
                    <a:pt x="616" y="1529"/>
                  </a:cubicBezTo>
                  <a:cubicBezTo>
                    <a:pt x="613" y="1530"/>
                    <a:pt x="613" y="1523"/>
                    <a:pt x="613" y="1522"/>
                  </a:cubicBezTo>
                  <a:cubicBezTo>
                    <a:pt x="612" y="1518"/>
                    <a:pt x="608" y="1522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ubicBezTo>
                    <a:pt x="607" y="1519"/>
                    <a:pt x="610" y="1528"/>
                    <a:pt x="603" y="1521"/>
                  </a:cubicBezTo>
                  <a:cubicBezTo>
                    <a:pt x="601" y="1519"/>
                    <a:pt x="606" y="1490"/>
                    <a:pt x="604" y="1491"/>
                  </a:cubicBezTo>
                  <a:cubicBezTo>
                    <a:pt x="599" y="1492"/>
                    <a:pt x="601" y="1502"/>
                    <a:pt x="599" y="1502"/>
                  </a:cubicBezTo>
                  <a:cubicBezTo>
                    <a:pt x="593" y="1500"/>
                    <a:pt x="599" y="1481"/>
                    <a:pt x="595" y="1485"/>
                  </a:cubicBezTo>
                  <a:cubicBezTo>
                    <a:pt x="583" y="1498"/>
                    <a:pt x="599" y="1523"/>
                    <a:pt x="585" y="1523"/>
                  </a:cubicBezTo>
                  <a:cubicBezTo>
                    <a:pt x="584" y="1523"/>
                    <a:pt x="590" y="1530"/>
                    <a:pt x="587" y="1531"/>
                  </a:cubicBezTo>
                  <a:cubicBezTo>
                    <a:pt x="585" y="1531"/>
                    <a:pt x="578" y="1522"/>
                    <a:pt x="576" y="1524"/>
                  </a:cubicBezTo>
                  <a:cubicBezTo>
                    <a:pt x="572" y="1527"/>
                    <a:pt x="584" y="1538"/>
                    <a:pt x="579" y="1539"/>
                  </a:cubicBezTo>
                  <a:cubicBezTo>
                    <a:pt x="578" y="1539"/>
                    <a:pt x="571" y="1539"/>
                    <a:pt x="570" y="1538"/>
                  </a:cubicBezTo>
                  <a:cubicBezTo>
                    <a:pt x="569" y="1538"/>
                    <a:pt x="567" y="1536"/>
                    <a:pt x="566" y="1537"/>
                  </a:cubicBezTo>
                  <a:cubicBezTo>
                    <a:pt x="565" y="1539"/>
                    <a:pt x="570" y="1540"/>
                    <a:pt x="569" y="1542"/>
                  </a:cubicBezTo>
                  <a:cubicBezTo>
                    <a:pt x="569" y="1546"/>
                    <a:pt x="567" y="1545"/>
                    <a:pt x="565" y="1544"/>
                  </a:cubicBezTo>
                  <a:cubicBezTo>
                    <a:pt x="560" y="1543"/>
                    <a:pt x="561" y="1548"/>
                    <a:pt x="560" y="1548"/>
                  </a:cubicBezTo>
                  <a:cubicBezTo>
                    <a:pt x="550" y="1549"/>
                    <a:pt x="546" y="1541"/>
                    <a:pt x="539" y="1544"/>
                  </a:cubicBezTo>
                  <a:cubicBezTo>
                    <a:pt x="537" y="1545"/>
                    <a:pt x="541" y="1546"/>
                    <a:pt x="541" y="1546"/>
                  </a:cubicBezTo>
                  <a:cubicBezTo>
                    <a:pt x="548" y="1547"/>
                    <a:pt x="538" y="1550"/>
                    <a:pt x="543" y="1551"/>
                  </a:cubicBezTo>
                  <a:cubicBezTo>
                    <a:pt x="556" y="1553"/>
                    <a:pt x="539" y="1554"/>
                    <a:pt x="533" y="1554"/>
                  </a:cubicBezTo>
                  <a:cubicBezTo>
                    <a:pt x="528" y="1554"/>
                    <a:pt x="542" y="1558"/>
                    <a:pt x="539" y="1560"/>
                  </a:cubicBezTo>
                  <a:cubicBezTo>
                    <a:pt x="518" y="1575"/>
                    <a:pt x="475" y="1545"/>
                    <a:pt x="463" y="1561"/>
                  </a:cubicBezTo>
                  <a:cubicBezTo>
                    <a:pt x="460" y="1565"/>
                    <a:pt x="474" y="1557"/>
                    <a:pt x="477" y="1561"/>
                  </a:cubicBezTo>
                  <a:cubicBezTo>
                    <a:pt x="478" y="1562"/>
                    <a:pt x="480" y="1567"/>
                    <a:pt x="481" y="1567"/>
                  </a:cubicBezTo>
                  <a:cubicBezTo>
                    <a:pt x="485" y="1568"/>
                    <a:pt x="483" y="1561"/>
                    <a:pt x="487" y="1561"/>
                  </a:cubicBezTo>
                  <a:cubicBezTo>
                    <a:pt x="501" y="1565"/>
                    <a:pt x="532" y="1573"/>
                    <a:pt x="530" y="1582"/>
                  </a:cubicBezTo>
                  <a:cubicBezTo>
                    <a:pt x="530" y="1586"/>
                    <a:pt x="506" y="1590"/>
                    <a:pt x="497" y="1586"/>
                  </a:cubicBezTo>
                  <a:cubicBezTo>
                    <a:pt x="496" y="1586"/>
                    <a:pt x="483" y="1582"/>
                    <a:pt x="484" y="1583"/>
                  </a:cubicBezTo>
                  <a:cubicBezTo>
                    <a:pt x="491" y="1593"/>
                    <a:pt x="515" y="1593"/>
                    <a:pt x="516" y="1599"/>
                  </a:cubicBezTo>
                  <a:cubicBezTo>
                    <a:pt x="516" y="1603"/>
                    <a:pt x="501" y="1597"/>
                    <a:pt x="503" y="1601"/>
                  </a:cubicBezTo>
                  <a:cubicBezTo>
                    <a:pt x="504" y="1605"/>
                    <a:pt x="508" y="1604"/>
                    <a:pt x="509" y="1608"/>
                  </a:cubicBezTo>
                  <a:cubicBezTo>
                    <a:pt x="510" y="1611"/>
                    <a:pt x="513" y="1606"/>
                    <a:pt x="514" y="1605"/>
                  </a:cubicBezTo>
                  <a:cubicBezTo>
                    <a:pt x="516" y="1605"/>
                    <a:pt x="512" y="1614"/>
                    <a:pt x="520" y="1621"/>
                  </a:cubicBezTo>
                  <a:cubicBezTo>
                    <a:pt x="522" y="1624"/>
                    <a:pt x="520" y="1628"/>
                    <a:pt x="518" y="1631"/>
                  </a:cubicBezTo>
                  <a:cubicBezTo>
                    <a:pt x="513" y="1636"/>
                    <a:pt x="503" y="1621"/>
                    <a:pt x="502" y="1622"/>
                  </a:cubicBezTo>
                  <a:cubicBezTo>
                    <a:pt x="502" y="1622"/>
                    <a:pt x="515" y="1646"/>
                    <a:pt x="514" y="1648"/>
                  </a:cubicBezTo>
                  <a:cubicBezTo>
                    <a:pt x="510" y="1655"/>
                    <a:pt x="502" y="1640"/>
                    <a:pt x="501" y="1652"/>
                  </a:cubicBezTo>
                  <a:cubicBezTo>
                    <a:pt x="501" y="1652"/>
                    <a:pt x="505" y="1653"/>
                    <a:pt x="505" y="1653"/>
                  </a:cubicBezTo>
                  <a:cubicBezTo>
                    <a:pt x="516" y="1656"/>
                    <a:pt x="512" y="1661"/>
                    <a:pt x="512" y="1663"/>
                  </a:cubicBezTo>
                  <a:cubicBezTo>
                    <a:pt x="513" y="1666"/>
                    <a:pt x="517" y="1665"/>
                    <a:pt x="514" y="1668"/>
                  </a:cubicBezTo>
                  <a:cubicBezTo>
                    <a:pt x="511" y="1669"/>
                    <a:pt x="510" y="1666"/>
                    <a:pt x="510" y="1665"/>
                  </a:cubicBezTo>
                  <a:cubicBezTo>
                    <a:pt x="509" y="1662"/>
                    <a:pt x="506" y="1662"/>
                    <a:pt x="504" y="1661"/>
                  </a:cubicBezTo>
                  <a:cubicBezTo>
                    <a:pt x="501" y="1659"/>
                    <a:pt x="493" y="1650"/>
                    <a:pt x="492" y="1651"/>
                  </a:cubicBezTo>
                  <a:cubicBezTo>
                    <a:pt x="490" y="1652"/>
                    <a:pt x="498" y="1662"/>
                    <a:pt x="498" y="1663"/>
                  </a:cubicBezTo>
                  <a:cubicBezTo>
                    <a:pt x="499" y="1667"/>
                    <a:pt x="491" y="1662"/>
                    <a:pt x="494" y="1665"/>
                  </a:cubicBezTo>
                  <a:cubicBezTo>
                    <a:pt x="495" y="1668"/>
                    <a:pt x="510" y="1682"/>
                    <a:pt x="508" y="1684"/>
                  </a:cubicBezTo>
                  <a:cubicBezTo>
                    <a:pt x="506" y="1686"/>
                    <a:pt x="487" y="1663"/>
                    <a:pt x="484" y="1665"/>
                  </a:cubicBezTo>
                  <a:cubicBezTo>
                    <a:pt x="483" y="1666"/>
                    <a:pt x="504" y="1687"/>
                    <a:pt x="504" y="1687"/>
                  </a:cubicBezTo>
                  <a:cubicBezTo>
                    <a:pt x="505" y="1687"/>
                    <a:pt x="512" y="1691"/>
                    <a:pt x="510" y="1692"/>
                  </a:cubicBezTo>
                  <a:cubicBezTo>
                    <a:pt x="507" y="1694"/>
                    <a:pt x="495" y="1691"/>
                    <a:pt x="502" y="1696"/>
                  </a:cubicBezTo>
                  <a:cubicBezTo>
                    <a:pt x="503" y="1697"/>
                    <a:pt x="503" y="1698"/>
                    <a:pt x="502" y="1698"/>
                  </a:cubicBezTo>
                  <a:cubicBezTo>
                    <a:pt x="498" y="1705"/>
                    <a:pt x="497" y="1706"/>
                    <a:pt x="492" y="1711"/>
                  </a:cubicBezTo>
                  <a:cubicBezTo>
                    <a:pt x="491" y="1712"/>
                    <a:pt x="497" y="1712"/>
                    <a:pt x="499" y="1713"/>
                  </a:cubicBezTo>
                  <a:cubicBezTo>
                    <a:pt x="501" y="1714"/>
                    <a:pt x="507" y="1716"/>
                    <a:pt x="508" y="1722"/>
                  </a:cubicBezTo>
                  <a:cubicBezTo>
                    <a:pt x="510" y="1731"/>
                    <a:pt x="487" y="1746"/>
                    <a:pt x="488" y="1753"/>
                  </a:cubicBezTo>
                  <a:cubicBezTo>
                    <a:pt x="489" y="1756"/>
                    <a:pt x="485" y="1764"/>
                    <a:pt x="488" y="1768"/>
                  </a:cubicBezTo>
                  <a:cubicBezTo>
                    <a:pt x="491" y="1771"/>
                    <a:pt x="502" y="1781"/>
                    <a:pt x="499" y="1784"/>
                  </a:cubicBezTo>
                  <a:cubicBezTo>
                    <a:pt x="498" y="1785"/>
                    <a:pt x="486" y="1782"/>
                    <a:pt x="486" y="1784"/>
                  </a:cubicBezTo>
                  <a:cubicBezTo>
                    <a:pt x="486" y="1788"/>
                    <a:pt x="485" y="1800"/>
                    <a:pt x="486" y="1808"/>
                  </a:cubicBezTo>
                  <a:cubicBezTo>
                    <a:pt x="486" y="1809"/>
                    <a:pt x="481" y="1823"/>
                    <a:pt x="487" y="1818"/>
                  </a:cubicBezTo>
                  <a:cubicBezTo>
                    <a:pt x="489" y="1816"/>
                    <a:pt x="490" y="1819"/>
                    <a:pt x="489" y="1822"/>
                  </a:cubicBezTo>
                  <a:cubicBezTo>
                    <a:pt x="488" y="1825"/>
                    <a:pt x="480" y="1820"/>
                    <a:pt x="478" y="1824"/>
                  </a:cubicBezTo>
                  <a:cubicBezTo>
                    <a:pt x="477" y="1827"/>
                    <a:pt x="483" y="1833"/>
                    <a:pt x="481" y="1837"/>
                  </a:cubicBezTo>
                  <a:cubicBezTo>
                    <a:pt x="477" y="1842"/>
                    <a:pt x="473" y="1835"/>
                    <a:pt x="469" y="1839"/>
                  </a:cubicBezTo>
                  <a:cubicBezTo>
                    <a:pt x="460" y="1852"/>
                    <a:pt x="448" y="1913"/>
                    <a:pt x="434" y="1918"/>
                  </a:cubicBezTo>
                  <a:cubicBezTo>
                    <a:pt x="426" y="1921"/>
                    <a:pt x="432" y="1907"/>
                    <a:pt x="431" y="1907"/>
                  </a:cubicBezTo>
                  <a:cubicBezTo>
                    <a:pt x="426" y="1903"/>
                    <a:pt x="413" y="1908"/>
                    <a:pt x="410" y="1907"/>
                  </a:cubicBezTo>
                  <a:cubicBezTo>
                    <a:pt x="407" y="1906"/>
                    <a:pt x="413" y="1901"/>
                    <a:pt x="410" y="1901"/>
                  </a:cubicBezTo>
                  <a:cubicBezTo>
                    <a:pt x="404" y="1899"/>
                    <a:pt x="394" y="1910"/>
                    <a:pt x="390" y="1910"/>
                  </a:cubicBezTo>
                  <a:cubicBezTo>
                    <a:pt x="381" y="1911"/>
                    <a:pt x="389" y="1906"/>
                    <a:pt x="384" y="1904"/>
                  </a:cubicBezTo>
                  <a:cubicBezTo>
                    <a:pt x="384" y="1903"/>
                    <a:pt x="383" y="1905"/>
                    <a:pt x="383" y="1905"/>
                  </a:cubicBezTo>
                  <a:cubicBezTo>
                    <a:pt x="372" y="1913"/>
                    <a:pt x="345" y="1901"/>
                    <a:pt x="331" y="1907"/>
                  </a:cubicBezTo>
                  <a:cubicBezTo>
                    <a:pt x="323" y="1910"/>
                    <a:pt x="345" y="1927"/>
                    <a:pt x="333" y="1929"/>
                  </a:cubicBezTo>
                  <a:cubicBezTo>
                    <a:pt x="324" y="1930"/>
                    <a:pt x="321" y="1915"/>
                    <a:pt x="311" y="1924"/>
                  </a:cubicBezTo>
                  <a:cubicBezTo>
                    <a:pt x="258" y="1970"/>
                    <a:pt x="323" y="1991"/>
                    <a:pt x="286" y="2013"/>
                  </a:cubicBezTo>
                  <a:cubicBezTo>
                    <a:pt x="277" y="2019"/>
                    <a:pt x="255" y="2006"/>
                    <a:pt x="243" y="2008"/>
                  </a:cubicBezTo>
                  <a:cubicBezTo>
                    <a:pt x="217" y="2012"/>
                    <a:pt x="200" y="2023"/>
                    <a:pt x="172" y="2014"/>
                  </a:cubicBezTo>
                  <a:cubicBezTo>
                    <a:pt x="170" y="2013"/>
                    <a:pt x="164" y="2015"/>
                    <a:pt x="164" y="2013"/>
                  </a:cubicBezTo>
                  <a:cubicBezTo>
                    <a:pt x="164" y="2011"/>
                    <a:pt x="166" y="2010"/>
                    <a:pt x="166" y="2008"/>
                  </a:cubicBezTo>
                  <a:cubicBezTo>
                    <a:pt x="166" y="2008"/>
                    <a:pt x="177" y="2008"/>
                    <a:pt x="178" y="2005"/>
                  </a:cubicBezTo>
                  <a:cubicBezTo>
                    <a:pt x="178" y="2004"/>
                    <a:pt x="178" y="2002"/>
                    <a:pt x="177" y="2002"/>
                  </a:cubicBezTo>
                  <a:cubicBezTo>
                    <a:pt x="161" y="1989"/>
                    <a:pt x="185" y="1983"/>
                    <a:pt x="185" y="1973"/>
                  </a:cubicBezTo>
                  <a:cubicBezTo>
                    <a:pt x="185" y="1963"/>
                    <a:pt x="174" y="1968"/>
                    <a:pt x="174" y="1959"/>
                  </a:cubicBezTo>
                  <a:cubicBezTo>
                    <a:pt x="174" y="1958"/>
                    <a:pt x="142" y="1903"/>
                    <a:pt x="137" y="1895"/>
                  </a:cubicBezTo>
                  <a:cubicBezTo>
                    <a:pt x="135" y="1893"/>
                    <a:pt x="128" y="1890"/>
                    <a:pt x="130" y="1888"/>
                  </a:cubicBezTo>
                  <a:cubicBezTo>
                    <a:pt x="137" y="1882"/>
                    <a:pt x="154" y="1906"/>
                    <a:pt x="163" y="1897"/>
                  </a:cubicBezTo>
                  <a:cubicBezTo>
                    <a:pt x="170" y="1888"/>
                    <a:pt x="145" y="1877"/>
                    <a:pt x="146" y="1872"/>
                  </a:cubicBezTo>
                  <a:cubicBezTo>
                    <a:pt x="148" y="1856"/>
                    <a:pt x="191" y="1882"/>
                    <a:pt x="169" y="1840"/>
                  </a:cubicBezTo>
                  <a:cubicBezTo>
                    <a:pt x="166" y="1834"/>
                    <a:pt x="157" y="1844"/>
                    <a:pt x="154" y="1840"/>
                  </a:cubicBezTo>
                  <a:cubicBezTo>
                    <a:pt x="142" y="1823"/>
                    <a:pt x="141" y="1813"/>
                    <a:pt x="121" y="1802"/>
                  </a:cubicBezTo>
                  <a:cubicBezTo>
                    <a:pt x="118" y="1800"/>
                    <a:pt x="123" y="1791"/>
                    <a:pt x="119" y="1787"/>
                  </a:cubicBezTo>
                  <a:cubicBezTo>
                    <a:pt x="116" y="1784"/>
                    <a:pt x="103" y="1765"/>
                    <a:pt x="103" y="1764"/>
                  </a:cubicBezTo>
                  <a:cubicBezTo>
                    <a:pt x="106" y="1757"/>
                    <a:pt x="99" y="1742"/>
                    <a:pt x="96" y="1743"/>
                  </a:cubicBezTo>
                  <a:cubicBezTo>
                    <a:pt x="96" y="1744"/>
                    <a:pt x="94" y="1744"/>
                    <a:pt x="94" y="1743"/>
                  </a:cubicBezTo>
                  <a:cubicBezTo>
                    <a:pt x="93" y="1734"/>
                    <a:pt x="99" y="1738"/>
                    <a:pt x="96" y="1729"/>
                  </a:cubicBezTo>
                  <a:cubicBezTo>
                    <a:pt x="96" y="1728"/>
                    <a:pt x="96" y="1727"/>
                    <a:pt x="95" y="1726"/>
                  </a:cubicBezTo>
                  <a:cubicBezTo>
                    <a:pt x="94" y="1726"/>
                    <a:pt x="83" y="1755"/>
                    <a:pt x="81" y="1736"/>
                  </a:cubicBezTo>
                  <a:cubicBezTo>
                    <a:pt x="80" y="1719"/>
                    <a:pt x="88" y="1715"/>
                    <a:pt x="78" y="1706"/>
                  </a:cubicBezTo>
                  <a:cubicBezTo>
                    <a:pt x="78" y="1706"/>
                    <a:pt x="78" y="1705"/>
                    <a:pt x="78" y="1705"/>
                  </a:cubicBezTo>
                  <a:cubicBezTo>
                    <a:pt x="78" y="1703"/>
                    <a:pt x="74" y="1698"/>
                    <a:pt x="75" y="1696"/>
                  </a:cubicBezTo>
                  <a:cubicBezTo>
                    <a:pt x="75" y="1695"/>
                    <a:pt x="84" y="1694"/>
                    <a:pt x="83" y="1693"/>
                  </a:cubicBezTo>
                  <a:cubicBezTo>
                    <a:pt x="80" y="1689"/>
                    <a:pt x="64" y="1695"/>
                    <a:pt x="63" y="1693"/>
                  </a:cubicBezTo>
                  <a:cubicBezTo>
                    <a:pt x="63" y="1688"/>
                    <a:pt x="71" y="1684"/>
                    <a:pt x="73" y="1682"/>
                  </a:cubicBezTo>
                  <a:cubicBezTo>
                    <a:pt x="77" y="1677"/>
                    <a:pt x="62" y="1678"/>
                    <a:pt x="60" y="1673"/>
                  </a:cubicBezTo>
                  <a:cubicBezTo>
                    <a:pt x="58" y="1671"/>
                    <a:pt x="62" y="1666"/>
                    <a:pt x="64" y="1666"/>
                  </a:cubicBezTo>
                  <a:cubicBezTo>
                    <a:pt x="72" y="1664"/>
                    <a:pt x="66" y="1662"/>
                    <a:pt x="66" y="1658"/>
                  </a:cubicBezTo>
                  <a:cubicBezTo>
                    <a:pt x="66" y="1651"/>
                    <a:pt x="82" y="1625"/>
                    <a:pt x="80" y="1620"/>
                  </a:cubicBezTo>
                  <a:cubicBezTo>
                    <a:pt x="79" y="1619"/>
                    <a:pt x="71" y="1612"/>
                    <a:pt x="73" y="1608"/>
                  </a:cubicBezTo>
                  <a:cubicBezTo>
                    <a:pt x="74" y="1605"/>
                    <a:pt x="80" y="1606"/>
                    <a:pt x="80" y="1602"/>
                  </a:cubicBezTo>
                  <a:cubicBezTo>
                    <a:pt x="79" y="1600"/>
                    <a:pt x="71" y="1605"/>
                    <a:pt x="69" y="1604"/>
                  </a:cubicBezTo>
                  <a:cubicBezTo>
                    <a:pt x="63" y="1602"/>
                    <a:pt x="51" y="1618"/>
                    <a:pt x="46" y="1615"/>
                  </a:cubicBezTo>
                  <a:cubicBezTo>
                    <a:pt x="42" y="1612"/>
                    <a:pt x="57" y="1593"/>
                    <a:pt x="59" y="1592"/>
                  </a:cubicBezTo>
                  <a:cubicBezTo>
                    <a:pt x="60" y="1592"/>
                    <a:pt x="62" y="1591"/>
                    <a:pt x="60" y="1590"/>
                  </a:cubicBezTo>
                  <a:cubicBezTo>
                    <a:pt x="57" y="1587"/>
                    <a:pt x="54" y="1593"/>
                    <a:pt x="53" y="1593"/>
                  </a:cubicBezTo>
                  <a:cubicBezTo>
                    <a:pt x="51" y="1592"/>
                    <a:pt x="51" y="1588"/>
                    <a:pt x="51" y="1587"/>
                  </a:cubicBezTo>
                  <a:cubicBezTo>
                    <a:pt x="48" y="1579"/>
                    <a:pt x="48" y="1605"/>
                    <a:pt x="42" y="1611"/>
                  </a:cubicBezTo>
                  <a:cubicBezTo>
                    <a:pt x="41" y="1611"/>
                    <a:pt x="37" y="1614"/>
                    <a:pt x="36" y="1614"/>
                  </a:cubicBezTo>
                  <a:cubicBezTo>
                    <a:pt x="35" y="1612"/>
                    <a:pt x="44" y="1605"/>
                    <a:pt x="39" y="1607"/>
                  </a:cubicBezTo>
                  <a:cubicBezTo>
                    <a:pt x="33" y="1609"/>
                    <a:pt x="36" y="1602"/>
                    <a:pt x="38" y="1603"/>
                  </a:cubicBezTo>
                  <a:cubicBezTo>
                    <a:pt x="40" y="1603"/>
                    <a:pt x="39" y="1595"/>
                    <a:pt x="37" y="1596"/>
                  </a:cubicBezTo>
                  <a:cubicBezTo>
                    <a:pt x="36" y="1597"/>
                    <a:pt x="41" y="1592"/>
                    <a:pt x="39" y="1588"/>
                  </a:cubicBezTo>
                  <a:cubicBezTo>
                    <a:pt x="38" y="1586"/>
                    <a:pt x="35" y="1593"/>
                    <a:pt x="33" y="1595"/>
                  </a:cubicBezTo>
                  <a:cubicBezTo>
                    <a:pt x="30" y="1598"/>
                    <a:pt x="24" y="1603"/>
                    <a:pt x="21" y="1603"/>
                  </a:cubicBezTo>
                  <a:cubicBezTo>
                    <a:pt x="20" y="1603"/>
                    <a:pt x="21" y="1596"/>
                    <a:pt x="20" y="1595"/>
                  </a:cubicBezTo>
                  <a:cubicBezTo>
                    <a:pt x="20" y="1591"/>
                    <a:pt x="23" y="1579"/>
                    <a:pt x="27" y="1570"/>
                  </a:cubicBezTo>
                  <a:cubicBezTo>
                    <a:pt x="27" y="1570"/>
                    <a:pt x="27" y="1569"/>
                    <a:pt x="26" y="1569"/>
                  </a:cubicBezTo>
                  <a:cubicBezTo>
                    <a:pt x="14" y="1552"/>
                    <a:pt x="26" y="1541"/>
                    <a:pt x="22" y="1531"/>
                  </a:cubicBezTo>
                  <a:cubicBezTo>
                    <a:pt x="17" y="1522"/>
                    <a:pt x="0" y="1494"/>
                    <a:pt x="29" y="1494"/>
                  </a:cubicBezTo>
                  <a:cubicBezTo>
                    <a:pt x="34" y="1494"/>
                    <a:pt x="35" y="1511"/>
                    <a:pt x="39" y="1511"/>
                  </a:cubicBezTo>
                  <a:cubicBezTo>
                    <a:pt x="41" y="1521"/>
                    <a:pt x="43" y="1532"/>
                    <a:pt x="57" y="1521"/>
                  </a:cubicBezTo>
                  <a:cubicBezTo>
                    <a:pt x="72" y="1509"/>
                    <a:pt x="72" y="1491"/>
                    <a:pt x="69" y="1473"/>
                  </a:cubicBezTo>
                  <a:cubicBezTo>
                    <a:pt x="72" y="1482"/>
                    <a:pt x="76" y="1490"/>
                    <a:pt x="73" y="1495"/>
                  </a:cubicBezTo>
                  <a:cubicBezTo>
                    <a:pt x="72" y="1496"/>
                    <a:pt x="75" y="1498"/>
                    <a:pt x="75" y="1499"/>
                  </a:cubicBezTo>
                  <a:cubicBezTo>
                    <a:pt x="76" y="1503"/>
                    <a:pt x="75" y="1501"/>
                    <a:pt x="76" y="1505"/>
                  </a:cubicBezTo>
                  <a:cubicBezTo>
                    <a:pt x="78" y="1509"/>
                    <a:pt x="73" y="1508"/>
                    <a:pt x="79" y="1511"/>
                  </a:cubicBezTo>
                  <a:cubicBezTo>
                    <a:pt x="80" y="1512"/>
                    <a:pt x="80" y="1513"/>
                    <a:pt x="80" y="1515"/>
                  </a:cubicBezTo>
                  <a:cubicBezTo>
                    <a:pt x="82" y="1529"/>
                    <a:pt x="85" y="1516"/>
                    <a:pt x="81" y="1509"/>
                  </a:cubicBezTo>
                  <a:cubicBezTo>
                    <a:pt x="81" y="1508"/>
                    <a:pt x="81" y="1508"/>
                    <a:pt x="81" y="1508"/>
                  </a:cubicBezTo>
                  <a:cubicBezTo>
                    <a:pt x="81" y="1509"/>
                    <a:pt x="74" y="1470"/>
                    <a:pt x="75" y="1468"/>
                  </a:cubicBezTo>
                  <a:cubicBezTo>
                    <a:pt x="75" y="1467"/>
                    <a:pt x="76" y="1464"/>
                    <a:pt x="78" y="1464"/>
                  </a:cubicBezTo>
                  <a:cubicBezTo>
                    <a:pt x="78" y="1464"/>
                    <a:pt x="82" y="1478"/>
                    <a:pt x="85" y="1479"/>
                  </a:cubicBezTo>
                  <a:cubicBezTo>
                    <a:pt x="91" y="1482"/>
                    <a:pt x="102" y="1489"/>
                    <a:pt x="105" y="1497"/>
                  </a:cubicBezTo>
                  <a:cubicBezTo>
                    <a:pt x="105" y="1497"/>
                    <a:pt x="106" y="1513"/>
                    <a:pt x="107" y="1510"/>
                  </a:cubicBezTo>
                  <a:cubicBezTo>
                    <a:pt x="118" y="1489"/>
                    <a:pt x="89" y="1485"/>
                    <a:pt x="83" y="1470"/>
                  </a:cubicBezTo>
                  <a:cubicBezTo>
                    <a:pt x="81" y="1465"/>
                    <a:pt x="81" y="1462"/>
                    <a:pt x="84" y="1457"/>
                  </a:cubicBezTo>
                  <a:cubicBezTo>
                    <a:pt x="93" y="1442"/>
                    <a:pt x="81" y="1453"/>
                    <a:pt x="80" y="1452"/>
                  </a:cubicBezTo>
                  <a:cubicBezTo>
                    <a:pt x="77" y="1450"/>
                    <a:pt x="77" y="1441"/>
                    <a:pt x="76" y="1441"/>
                  </a:cubicBezTo>
                  <a:cubicBezTo>
                    <a:pt x="70" y="1441"/>
                    <a:pt x="76" y="1459"/>
                    <a:pt x="73" y="1464"/>
                  </a:cubicBezTo>
                  <a:cubicBezTo>
                    <a:pt x="72" y="1467"/>
                    <a:pt x="67" y="1458"/>
                    <a:pt x="65" y="1457"/>
                  </a:cubicBezTo>
                  <a:cubicBezTo>
                    <a:pt x="61" y="1443"/>
                    <a:pt x="57" y="1430"/>
                    <a:pt x="60" y="1423"/>
                  </a:cubicBezTo>
                  <a:cubicBezTo>
                    <a:pt x="65" y="1412"/>
                    <a:pt x="82" y="1418"/>
                    <a:pt x="80" y="1402"/>
                  </a:cubicBezTo>
                  <a:cubicBezTo>
                    <a:pt x="80" y="1397"/>
                    <a:pt x="74" y="1393"/>
                    <a:pt x="74" y="1388"/>
                  </a:cubicBezTo>
                  <a:cubicBezTo>
                    <a:pt x="74" y="1378"/>
                    <a:pt x="101" y="1382"/>
                    <a:pt x="105" y="1380"/>
                  </a:cubicBezTo>
                  <a:cubicBezTo>
                    <a:pt x="111" y="1378"/>
                    <a:pt x="130" y="1360"/>
                    <a:pt x="133" y="1354"/>
                  </a:cubicBezTo>
                  <a:cubicBezTo>
                    <a:pt x="134" y="1352"/>
                    <a:pt x="133" y="1349"/>
                    <a:pt x="133" y="1346"/>
                  </a:cubicBezTo>
                  <a:cubicBezTo>
                    <a:pt x="133" y="1341"/>
                    <a:pt x="133" y="1336"/>
                    <a:pt x="133" y="1331"/>
                  </a:cubicBezTo>
                  <a:cubicBezTo>
                    <a:pt x="133" y="1328"/>
                    <a:pt x="132" y="1325"/>
                    <a:pt x="133" y="1323"/>
                  </a:cubicBezTo>
                  <a:cubicBezTo>
                    <a:pt x="136" y="1313"/>
                    <a:pt x="144" y="1310"/>
                    <a:pt x="144" y="1299"/>
                  </a:cubicBezTo>
                  <a:cubicBezTo>
                    <a:pt x="144" y="1274"/>
                    <a:pt x="108" y="1247"/>
                    <a:pt x="111" y="1224"/>
                  </a:cubicBezTo>
                  <a:cubicBezTo>
                    <a:pt x="113" y="1210"/>
                    <a:pt x="140" y="1218"/>
                    <a:pt x="148" y="1212"/>
                  </a:cubicBezTo>
                  <a:cubicBezTo>
                    <a:pt x="151" y="1210"/>
                    <a:pt x="167" y="1172"/>
                    <a:pt x="166" y="1169"/>
                  </a:cubicBezTo>
                  <a:cubicBezTo>
                    <a:pt x="155" y="1140"/>
                    <a:pt x="108" y="1143"/>
                    <a:pt x="101" y="1115"/>
                  </a:cubicBezTo>
                  <a:cubicBezTo>
                    <a:pt x="94" y="1093"/>
                    <a:pt x="119" y="1061"/>
                    <a:pt x="117" y="1037"/>
                  </a:cubicBezTo>
                  <a:cubicBezTo>
                    <a:pt x="115" y="1019"/>
                    <a:pt x="95" y="1005"/>
                    <a:pt x="92" y="988"/>
                  </a:cubicBezTo>
                  <a:cubicBezTo>
                    <a:pt x="90" y="982"/>
                    <a:pt x="97" y="972"/>
                    <a:pt x="98" y="966"/>
                  </a:cubicBezTo>
                  <a:cubicBezTo>
                    <a:pt x="98" y="960"/>
                    <a:pt x="91" y="949"/>
                    <a:pt x="93" y="944"/>
                  </a:cubicBezTo>
                  <a:cubicBezTo>
                    <a:pt x="93" y="944"/>
                    <a:pt x="105" y="926"/>
                    <a:pt x="105" y="926"/>
                  </a:cubicBezTo>
                  <a:cubicBezTo>
                    <a:pt x="105" y="914"/>
                    <a:pt x="84" y="901"/>
                    <a:pt x="84" y="889"/>
                  </a:cubicBezTo>
                  <a:cubicBezTo>
                    <a:pt x="85" y="878"/>
                    <a:pt x="106" y="868"/>
                    <a:pt x="108" y="857"/>
                  </a:cubicBezTo>
                  <a:cubicBezTo>
                    <a:pt x="109" y="852"/>
                    <a:pt x="102" y="848"/>
                    <a:pt x="102" y="842"/>
                  </a:cubicBezTo>
                  <a:cubicBezTo>
                    <a:pt x="103" y="827"/>
                    <a:pt x="130" y="803"/>
                    <a:pt x="156" y="786"/>
                  </a:cubicBezTo>
                  <a:cubicBezTo>
                    <a:pt x="155" y="791"/>
                    <a:pt x="173" y="792"/>
                    <a:pt x="175" y="799"/>
                  </a:cubicBezTo>
                  <a:cubicBezTo>
                    <a:pt x="176" y="800"/>
                    <a:pt x="183" y="815"/>
                    <a:pt x="184" y="815"/>
                  </a:cubicBezTo>
                  <a:cubicBezTo>
                    <a:pt x="194" y="817"/>
                    <a:pt x="183" y="798"/>
                    <a:pt x="180" y="797"/>
                  </a:cubicBezTo>
                  <a:cubicBezTo>
                    <a:pt x="179" y="796"/>
                    <a:pt x="179" y="796"/>
                    <a:pt x="179" y="796"/>
                  </a:cubicBezTo>
                  <a:cubicBezTo>
                    <a:pt x="178" y="795"/>
                    <a:pt x="171" y="783"/>
                    <a:pt x="164" y="781"/>
                  </a:cubicBezTo>
                  <a:cubicBezTo>
                    <a:pt x="166" y="780"/>
                    <a:pt x="167" y="779"/>
                    <a:pt x="169" y="778"/>
                  </a:cubicBezTo>
                  <a:cubicBezTo>
                    <a:pt x="170" y="781"/>
                    <a:pt x="171" y="783"/>
                    <a:pt x="172" y="781"/>
                  </a:cubicBezTo>
                  <a:cubicBezTo>
                    <a:pt x="172" y="780"/>
                    <a:pt x="172" y="780"/>
                    <a:pt x="172" y="780"/>
                  </a:cubicBezTo>
                  <a:cubicBezTo>
                    <a:pt x="172" y="778"/>
                    <a:pt x="173" y="777"/>
                    <a:pt x="173" y="776"/>
                  </a:cubicBezTo>
                  <a:cubicBezTo>
                    <a:pt x="184" y="770"/>
                    <a:pt x="194" y="766"/>
                    <a:pt x="200" y="765"/>
                  </a:cubicBezTo>
                  <a:cubicBezTo>
                    <a:pt x="222" y="763"/>
                    <a:pt x="255" y="784"/>
                    <a:pt x="272" y="771"/>
                  </a:cubicBezTo>
                  <a:cubicBezTo>
                    <a:pt x="279" y="776"/>
                    <a:pt x="285" y="779"/>
                    <a:pt x="286" y="780"/>
                  </a:cubicBezTo>
                  <a:cubicBezTo>
                    <a:pt x="289" y="782"/>
                    <a:pt x="276" y="785"/>
                    <a:pt x="277" y="786"/>
                  </a:cubicBezTo>
                  <a:cubicBezTo>
                    <a:pt x="277" y="788"/>
                    <a:pt x="281" y="786"/>
                    <a:pt x="282" y="786"/>
                  </a:cubicBezTo>
                  <a:cubicBezTo>
                    <a:pt x="292" y="783"/>
                    <a:pt x="315" y="800"/>
                    <a:pt x="318" y="810"/>
                  </a:cubicBezTo>
                  <a:cubicBezTo>
                    <a:pt x="319" y="811"/>
                    <a:pt x="319" y="811"/>
                    <a:pt x="319" y="811"/>
                  </a:cubicBezTo>
                  <a:cubicBezTo>
                    <a:pt x="346" y="817"/>
                    <a:pt x="298" y="785"/>
                    <a:pt x="274" y="769"/>
                  </a:cubicBezTo>
                  <a:cubicBezTo>
                    <a:pt x="278" y="766"/>
                    <a:pt x="280" y="760"/>
                    <a:pt x="282" y="753"/>
                  </a:cubicBezTo>
                  <a:cubicBezTo>
                    <a:pt x="293" y="690"/>
                    <a:pt x="255" y="720"/>
                    <a:pt x="240" y="695"/>
                  </a:cubicBezTo>
                  <a:cubicBezTo>
                    <a:pt x="239" y="693"/>
                    <a:pt x="241" y="689"/>
                    <a:pt x="243" y="684"/>
                  </a:cubicBezTo>
                  <a:cubicBezTo>
                    <a:pt x="249" y="688"/>
                    <a:pt x="273" y="700"/>
                    <a:pt x="277" y="701"/>
                  </a:cubicBezTo>
                  <a:cubicBezTo>
                    <a:pt x="274" y="700"/>
                    <a:pt x="288" y="719"/>
                    <a:pt x="299" y="723"/>
                  </a:cubicBezTo>
                  <a:cubicBezTo>
                    <a:pt x="317" y="729"/>
                    <a:pt x="352" y="724"/>
                    <a:pt x="366" y="742"/>
                  </a:cubicBezTo>
                  <a:cubicBezTo>
                    <a:pt x="369" y="746"/>
                    <a:pt x="386" y="762"/>
                    <a:pt x="388" y="771"/>
                  </a:cubicBezTo>
                  <a:cubicBezTo>
                    <a:pt x="388" y="775"/>
                    <a:pt x="384" y="771"/>
                    <a:pt x="385" y="776"/>
                  </a:cubicBezTo>
                  <a:cubicBezTo>
                    <a:pt x="386" y="778"/>
                    <a:pt x="403" y="786"/>
                    <a:pt x="399" y="789"/>
                  </a:cubicBezTo>
                  <a:cubicBezTo>
                    <a:pt x="397" y="790"/>
                    <a:pt x="395" y="785"/>
                    <a:pt x="393" y="785"/>
                  </a:cubicBezTo>
                  <a:cubicBezTo>
                    <a:pt x="392" y="785"/>
                    <a:pt x="403" y="797"/>
                    <a:pt x="387" y="790"/>
                  </a:cubicBezTo>
                  <a:cubicBezTo>
                    <a:pt x="384" y="788"/>
                    <a:pt x="378" y="779"/>
                    <a:pt x="379" y="788"/>
                  </a:cubicBezTo>
                  <a:cubicBezTo>
                    <a:pt x="379" y="793"/>
                    <a:pt x="400" y="797"/>
                    <a:pt x="405" y="801"/>
                  </a:cubicBezTo>
                  <a:cubicBezTo>
                    <a:pt x="408" y="804"/>
                    <a:pt x="403" y="818"/>
                    <a:pt x="404" y="819"/>
                  </a:cubicBezTo>
                  <a:cubicBezTo>
                    <a:pt x="406" y="820"/>
                    <a:pt x="407" y="816"/>
                    <a:pt x="408" y="816"/>
                  </a:cubicBezTo>
                  <a:cubicBezTo>
                    <a:pt x="413" y="815"/>
                    <a:pt x="408" y="801"/>
                    <a:pt x="423" y="809"/>
                  </a:cubicBezTo>
                  <a:cubicBezTo>
                    <a:pt x="426" y="810"/>
                    <a:pt x="422" y="814"/>
                    <a:pt x="423" y="816"/>
                  </a:cubicBezTo>
                  <a:cubicBezTo>
                    <a:pt x="424" y="817"/>
                    <a:pt x="430" y="820"/>
                    <a:pt x="432" y="819"/>
                  </a:cubicBezTo>
                  <a:cubicBezTo>
                    <a:pt x="432" y="819"/>
                    <a:pt x="426" y="809"/>
                    <a:pt x="425" y="808"/>
                  </a:cubicBezTo>
                  <a:cubicBezTo>
                    <a:pt x="423" y="803"/>
                    <a:pt x="414" y="805"/>
                    <a:pt x="410" y="802"/>
                  </a:cubicBezTo>
                  <a:cubicBezTo>
                    <a:pt x="404" y="797"/>
                    <a:pt x="405" y="790"/>
                    <a:pt x="401" y="783"/>
                  </a:cubicBezTo>
                  <a:cubicBezTo>
                    <a:pt x="399" y="782"/>
                    <a:pt x="381" y="735"/>
                    <a:pt x="381" y="732"/>
                  </a:cubicBezTo>
                  <a:cubicBezTo>
                    <a:pt x="381" y="730"/>
                    <a:pt x="362" y="726"/>
                    <a:pt x="361" y="728"/>
                  </a:cubicBezTo>
                  <a:cubicBezTo>
                    <a:pt x="361" y="730"/>
                    <a:pt x="390" y="740"/>
                    <a:pt x="378" y="750"/>
                  </a:cubicBezTo>
                  <a:cubicBezTo>
                    <a:pt x="377" y="752"/>
                    <a:pt x="374" y="746"/>
                    <a:pt x="373" y="746"/>
                  </a:cubicBezTo>
                  <a:cubicBezTo>
                    <a:pt x="370" y="739"/>
                    <a:pt x="362" y="731"/>
                    <a:pt x="355" y="729"/>
                  </a:cubicBezTo>
                  <a:cubicBezTo>
                    <a:pt x="330" y="723"/>
                    <a:pt x="305" y="724"/>
                    <a:pt x="285" y="708"/>
                  </a:cubicBezTo>
                  <a:cubicBezTo>
                    <a:pt x="282" y="705"/>
                    <a:pt x="285" y="702"/>
                    <a:pt x="283" y="700"/>
                  </a:cubicBezTo>
                  <a:cubicBezTo>
                    <a:pt x="283" y="699"/>
                    <a:pt x="257" y="683"/>
                    <a:pt x="253" y="683"/>
                  </a:cubicBezTo>
                  <a:cubicBezTo>
                    <a:pt x="251" y="683"/>
                    <a:pt x="247" y="682"/>
                    <a:pt x="245" y="682"/>
                  </a:cubicBezTo>
                  <a:cubicBezTo>
                    <a:pt x="258" y="660"/>
                    <a:pt x="292" y="620"/>
                    <a:pt x="297" y="609"/>
                  </a:cubicBezTo>
                  <a:cubicBezTo>
                    <a:pt x="299" y="604"/>
                    <a:pt x="298" y="597"/>
                    <a:pt x="301" y="592"/>
                  </a:cubicBezTo>
                  <a:cubicBezTo>
                    <a:pt x="301" y="592"/>
                    <a:pt x="313" y="582"/>
                    <a:pt x="313" y="582"/>
                  </a:cubicBezTo>
                  <a:cubicBezTo>
                    <a:pt x="314" y="578"/>
                    <a:pt x="313" y="574"/>
                    <a:pt x="313" y="571"/>
                  </a:cubicBezTo>
                  <a:cubicBezTo>
                    <a:pt x="313" y="571"/>
                    <a:pt x="313" y="549"/>
                    <a:pt x="313" y="549"/>
                  </a:cubicBezTo>
                  <a:cubicBezTo>
                    <a:pt x="313" y="546"/>
                    <a:pt x="312" y="542"/>
                    <a:pt x="313" y="538"/>
                  </a:cubicBezTo>
                  <a:cubicBezTo>
                    <a:pt x="315" y="526"/>
                    <a:pt x="324" y="515"/>
                    <a:pt x="325" y="503"/>
                  </a:cubicBezTo>
                  <a:cubicBezTo>
                    <a:pt x="326" y="494"/>
                    <a:pt x="308" y="464"/>
                    <a:pt x="313" y="457"/>
                  </a:cubicBezTo>
                  <a:cubicBezTo>
                    <a:pt x="314" y="455"/>
                    <a:pt x="394" y="454"/>
                    <a:pt x="399" y="434"/>
                  </a:cubicBezTo>
                  <a:cubicBezTo>
                    <a:pt x="401" y="425"/>
                    <a:pt x="388" y="412"/>
                    <a:pt x="390" y="403"/>
                  </a:cubicBezTo>
                  <a:cubicBezTo>
                    <a:pt x="392" y="397"/>
                    <a:pt x="409" y="390"/>
                    <a:pt x="414" y="385"/>
                  </a:cubicBezTo>
                  <a:cubicBezTo>
                    <a:pt x="427" y="373"/>
                    <a:pt x="435" y="354"/>
                    <a:pt x="448" y="342"/>
                  </a:cubicBezTo>
                  <a:cubicBezTo>
                    <a:pt x="456" y="334"/>
                    <a:pt x="471" y="330"/>
                    <a:pt x="478" y="321"/>
                  </a:cubicBezTo>
                  <a:cubicBezTo>
                    <a:pt x="500" y="292"/>
                    <a:pt x="452" y="273"/>
                    <a:pt x="454" y="259"/>
                  </a:cubicBezTo>
                  <a:cubicBezTo>
                    <a:pt x="457" y="243"/>
                    <a:pt x="478" y="248"/>
                    <a:pt x="485" y="238"/>
                  </a:cubicBezTo>
                  <a:cubicBezTo>
                    <a:pt x="498" y="221"/>
                    <a:pt x="500" y="200"/>
                    <a:pt x="512" y="184"/>
                  </a:cubicBezTo>
                  <a:cubicBezTo>
                    <a:pt x="516" y="178"/>
                    <a:pt x="544" y="162"/>
                    <a:pt x="555" y="157"/>
                  </a:cubicBezTo>
                  <a:cubicBezTo>
                    <a:pt x="555" y="162"/>
                    <a:pt x="583" y="179"/>
                    <a:pt x="584" y="184"/>
                  </a:cubicBezTo>
                  <a:cubicBezTo>
                    <a:pt x="585" y="185"/>
                    <a:pt x="585" y="186"/>
                    <a:pt x="586" y="187"/>
                  </a:cubicBezTo>
                  <a:cubicBezTo>
                    <a:pt x="587" y="188"/>
                    <a:pt x="587" y="188"/>
                    <a:pt x="587" y="189"/>
                  </a:cubicBezTo>
                  <a:cubicBezTo>
                    <a:pt x="588" y="189"/>
                    <a:pt x="588" y="189"/>
                    <a:pt x="588" y="189"/>
                  </a:cubicBezTo>
                  <a:cubicBezTo>
                    <a:pt x="594" y="192"/>
                    <a:pt x="588" y="174"/>
                    <a:pt x="582" y="174"/>
                  </a:cubicBezTo>
                  <a:cubicBezTo>
                    <a:pt x="565" y="172"/>
                    <a:pt x="587" y="168"/>
                    <a:pt x="574" y="162"/>
                  </a:cubicBezTo>
                  <a:cubicBezTo>
                    <a:pt x="571" y="161"/>
                    <a:pt x="568" y="168"/>
                    <a:pt x="565" y="162"/>
                  </a:cubicBezTo>
                  <a:cubicBezTo>
                    <a:pt x="565" y="161"/>
                    <a:pt x="562" y="156"/>
                    <a:pt x="559" y="155"/>
                  </a:cubicBezTo>
                  <a:cubicBezTo>
                    <a:pt x="559" y="155"/>
                    <a:pt x="559" y="155"/>
                    <a:pt x="560" y="155"/>
                  </a:cubicBezTo>
                  <a:cubicBezTo>
                    <a:pt x="573" y="150"/>
                    <a:pt x="602" y="182"/>
                    <a:pt x="615" y="176"/>
                  </a:cubicBezTo>
                  <a:cubicBezTo>
                    <a:pt x="655" y="157"/>
                    <a:pt x="621" y="101"/>
                    <a:pt x="632" y="89"/>
                  </a:cubicBezTo>
                  <a:cubicBezTo>
                    <a:pt x="654" y="67"/>
                    <a:pt x="776" y="122"/>
                    <a:pt x="797" y="116"/>
                  </a:cubicBezTo>
                  <a:cubicBezTo>
                    <a:pt x="800" y="115"/>
                    <a:pt x="820" y="97"/>
                    <a:pt x="820" y="97"/>
                  </a:cubicBezTo>
                  <a:cubicBezTo>
                    <a:pt x="831" y="84"/>
                    <a:pt x="799" y="89"/>
                    <a:pt x="799" y="81"/>
                  </a:cubicBezTo>
                  <a:cubicBezTo>
                    <a:pt x="799" y="77"/>
                    <a:pt x="831" y="57"/>
                    <a:pt x="835" y="45"/>
                  </a:cubicBezTo>
                  <a:cubicBezTo>
                    <a:pt x="838" y="29"/>
                    <a:pt x="827" y="17"/>
                    <a:pt x="817" y="7"/>
                  </a:cubicBezTo>
                  <a:cubicBezTo>
                    <a:pt x="815" y="6"/>
                    <a:pt x="810" y="4"/>
                    <a:pt x="812" y="2"/>
                  </a:cubicBezTo>
                  <a:cubicBezTo>
                    <a:pt x="815" y="0"/>
                    <a:pt x="819" y="2"/>
                    <a:pt x="823" y="2"/>
                  </a:cubicBezTo>
                  <a:cubicBezTo>
                    <a:pt x="827" y="2"/>
                    <a:pt x="855" y="2"/>
                    <a:pt x="859" y="2"/>
                  </a:cubicBezTo>
                  <a:cubicBezTo>
                    <a:pt x="867" y="6"/>
                    <a:pt x="885" y="11"/>
                    <a:pt x="887" y="18"/>
                  </a:cubicBezTo>
                  <a:cubicBezTo>
                    <a:pt x="887" y="24"/>
                    <a:pt x="874" y="16"/>
                    <a:pt x="884" y="26"/>
                  </a:cubicBezTo>
                  <a:cubicBezTo>
                    <a:pt x="890" y="33"/>
                    <a:pt x="974" y="85"/>
                    <a:pt x="986" y="92"/>
                  </a:cubicBezTo>
                  <a:cubicBezTo>
                    <a:pt x="1016" y="109"/>
                    <a:pt x="1055" y="98"/>
                    <a:pt x="1081" y="129"/>
                  </a:cubicBezTo>
                  <a:cubicBezTo>
                    <a:pt x="1085" y="133"/>
                    <a:pt x="1083" y="145"/>
                    <a:pt x="1084" y="147"/>
                  </a:cubicBezTo>
                  <a:cubicBezTo>
                    <a:pt x="1086" y="149"/>
                    <a:pt x="1089" y="146"/>
                    <a:pt x="1091" y="146"/>
                  </a:cubicBezTo>
                  <a:cubicBezTo>
                    <a:pt x="1101" y="144"/>
                    <a:pt x="1102" y="150"/>
                    <a:pt x="1109" y="157"/>
                  </a:cubicBezTo>
                  <a:cubicBezTo>
                    <a:pt x="1115" y="165"/>
                    <a:pt x="1137" y="171"/>
                    <a:pt x="1130" y="178"/>
                  </a:cubicBezTo>
                  <a:cubicBezTo>
                    <a:pt x="1126" y="182"/>
                    <a:pt x="1118" y="181"/>
                    <a:pt x="1115" y="186"/>
                  </a:cubicBezTo>
                  <a:cubicBezTo>
                    <a:pt x="1106" y="201"/>
                    <a:pt x="1124" y="219"/>
                    <a:pt x="1120" y="233"/>
                  </a:cubicBezTo>
                  <a:cubicBezTo>
                    <a:pt x="1118" y="238"/>
                    <a:pt x="1105" y="244"/>
                    <a:pt x="1109" y="251"/>
                  </a:cubicBezTo>
                  <a:cubicBezTo>
                    <a:pt x="1115" y="260"/>
                    <a:pt x="1130" y="251"/>
                    <a:pt x="1139" y="259"/>
                  </a:cubicBezTo>
                  <a:cubicBezTo>
                    <a:pt x="1150" y="268"/>
                    <a:pt x="1122" y="289"/>
                    <a:pt x="1121" y="298"/>
                  </a:cubicBezTo>
                  <a:cubicBezTo>
                    <a:pt x="1120" y="318"/>
                    <a:pt x="1163" y="334"/>
                    <a:pt x="1160" y="354"/>
                  </a:cubicBezTo>
                  <a:cubicBezTo>
                    <a:pt x="1160" y="354"/>
                    <a:pt x="1151" y="362"/>
                    <a:pt x="1151" y="362"/>
                  </a:cubicBezTo>
                  <a:cubicBezTo>
                    <a:pt x="1147" y="370"/>
                    <a:pt x="1153" y="383"/>
                    <a:pt x="1150" y="390"/>
                  </a:cubicBezTo>
                  <a:cubicBezTo>
                    <a:pt x="1144" y="403"/>
                    <a:pt x="1129" y="398"/>
                    <a:pt x="1129" y="416"/>
                  </a:cubicBezTo>
                  <a:close/>
                  <a:moveTo>
                    <a:pt x="465" y="1611"/>
                  </a:moveTo>
                  <a:cubicBezTo>
                    <a:pt x="466" y="1614"/>
                    <a:pt x="489" y="1615"/>
                    <a:pt x="488" y="1615"/>
                  </a:cubicBezTo>
                  <a:cubicBezTo>
                    <a:pt x="485" y="1615"/>
                    <a:pt x="481" y="1612"/>
                    <a:pt x="479" y="1610"/>
                  </a:cubicBezTo>
                  <a:cubicBezTo>
                    <a:pt x="479" y="1610"/>
                    <a:pt x="479" y="1610"/>
                    <a:pt x="479" y="1610"/>
                  </a:cubicBezTo>
                  <a:cubicBezTo>
                    <a:pt x="476" y="1606"/>
                    <a:pt x="464" y="1606"/>
                    <a:pt x="465" y="1611"/>
                  </a:cubicBezTo>
                  <a:close/>
                  <a:moveTo>
                    <a:pt x="526" y="1502"/>
                  </a:moveTo>
                  <a:cubicBezTo>
                    <a:pt x="529" y="1503"/>
                    <a:pt x="522" y="1521"/>
                    <a:pt x="529" y="1509"/>
                  </a:cubicBezTo>
                  <a:cubicBezTo>
                    <a:pt x="530" y="1508"/>
                    <a:pt x="530" y="1508"/>
                    <a:pt x="530" y="1508"/>
                  </a:cubicBezTo>
                  <a:cubicBezTo>
                    <a:pt x="535" y="1506"/>
                    <a:pt x="546" y="1516"/>
                    <a:pt x="547" y="1510"/>
                  </a:cubicBezTo>
                  <a:cubicBezTo>
                    <a:pt x="548" y="1499"/>
                    <a:pt x="533" y="1505"/>
                    <a:pt x="523" y="1497"/>
                  </a:cubicBezTo>
                  <a:cubicBezTo>
                    <a:pt x="522" y="1496"/>
                    <a:pt x="524" y="1502"/>
                    <a:pt x="526" y="1502"/>
                  </a:cubicBezTo>
                  <a:close/>
                  <a:moveTo>
                    <a:pt x="674" y="1389"/>
                  </a:moveTo>
                  <a:cubicBezTo>
                    <a:pt x="677" y="1390"/>
                    <a:pt x="684" y="1390"/>
                    <a:pt x="684" y="1386"/>
                  </a:cubicBezTo>
                  <a:cubicBezTo>
                    <a:pt x="684" y="1386"/>
                    <a:pt x="684" y="1386"/>
                    <a:pt x="684" y="1386"/>
                  </a:cubicBezTo>
                  <a:cubicBezTo>
                    <a:pt x="680" y="1382"/>
                    <a:pt x="659" y="1386"/>
                    <a:pt x="674" y="1389"/>
                  </a:cubicBezTo>
                  <a:close/>
                  <a:moveTo>
                    <a:pt x="668" y="247"/>
                  </a:moveTo>
                  <a:cubicBezTo>
                    <a:pt x="679" y="251"/>
                    <a:pt x="714" y="268"/>
                    <a:pt x="725" y="260"/>
                  </a:cubicBezTo>
                  <a:cubicBezTo>
                    <a:pt x="727" y="258"/>
                    <a:pt x="719" y="259"/>
                    <a:pt x="716" y="259"/>
                  </a:cubicBezTo>
                  <a:cubicBezTo>
                    <a:pt x="714" y="258"/>
                    <a:pt x="714" y="258"/>
                    <a:pt x="714" y="258"/>
                  </a:cubicBezTo>
                  <a:cubicBezTo>
                    <a:pt x="710" y="258"/>
                    <a:pt x="667" y="241"/>
                    <a:pt x="666" y="244"/>
                  </a:cubicBezTo>
                  <a:cubicBezTo>
                    <a:pt x="665" y="245"/>
                    <a:pt x="666" y="247"/>
                    <a:pt x="668" y="247"/>
                  </a:cubicBezTo>
                  <a:close/>
                  <a:moveTo>
                    <a:pt x="509" y="275"/>
                  </a:moveTo>
                  <a:cubicBezTo>
                    <a:pt x="511" y="273"/>
                    <a:pt x="496" y="265"/>
                    <a:pt x="507" y="265"/>
                  </a:cubicBezTo>
                  <a:cubicBezTo>
                    <a:pt x="508" y="265"/>
                    <a:pt x="517" y="269"/>
                    <a:pt x="516" y="266"/>
                  </a:cubicBezTo>
                  <a:cubicBezTo>
                    <a:pt x="514" y="261"/>
                    <a:pt x="501" y="262"/>
                    <a:pt x="497" y="260"/>
                  </a:cubicBezTo>
                  <a:cubicBezTo>
                    <a:pt x="495" y="259"/>
                    <a:pt x="490" y="255"/>
                    <a:pt x="492" y="254"/>
                  </a:cubicBezTo>
                  <a:cubicBezTo>
                    <a:pt x="501" y="251"/>
                    <a:pt x="549" y="247"/>
                    <a:pt x="552" y="236"/>
                  </a:cubicBezTo>
                  <a:cubicBezTo>
                    <a:pt x="552" y="235"/>
                    <a:pt x="543" y="234"/>
                    <a:pt x="542" y="233"/>
                  </a:cubicBezTo>
                  <a:cubicBezTo>
                    <a:pt x="536" y="233"/>
                    <a:pt x="546" y="238"/>
                    <a:pt x="536" y="239"/>
                  </a:cubicBezTo>
                  <a:cubicBezTo>
                    <a:pt x="528" y="240"/>
                    <a:pt x="511" y="229"/>
                    <a:pt x="503" y="235"/>
                  </a:cubicBezTo>
                  <a:cubicBezTo>
                    <a:pt x="500" y="239"/>
                    <a:pt x="527" y="241"/>
                    <a:pt x="527" y="242"/>
                  </a:cubicBezTo>
                  <a:cubicBezTo>
                    <a:pt x="520" y="252"/>
                    <a:pt x="486" y="246"/>
                    <a:pt x="480" y="248"/>
                  </a:cubicBezTo>
                  <a:cubicBezTo>
                    <a:pt x="470" y="251"/>
                    <a:pt x="490" y="258"/>
                    <a:pt x="491" y="260"/>
                  </a:cubicBezTo>
                  <a:cubicBezTo>
                    <a:pt x="492" y="262"/>
                    <a:pt x="473" y="260"/>
                    <a:pt x="473" y="263"/>
                  </a:cubicBezTo>
                  <a:cubicBezTo>
                    <a:pt x="473" y="264"/>
                    <a:pt x="506" y="281"/>
                    <a:pt x="509" y="275"/>
                  </a:cubicBezTo>
                  <a:close/>
                  <a:moveTo>
                    <a:pt x="483" y="328"/>
                  </a:moveTo>
                  <a:cubicBezTo>
                    <a:pt x="484" y="327"/>
                    <a:pt x="489" y="328"/>
                    <a:pt x="491" y="329"/>
                  </a:cubicBezTo>
                  <a:cubicBezTo>
                    <a:pt x="504" y="331"/>
                    <a:pt x="482" y="334"/>
                    <a:pt x="490" y="334"/>
                  </a:cubicBezTo>
                  <a:cubicBezTo>
                    <a:pt x="496" y="334"/>
                    <a:pt x="507" y="336"/>
                    <a:pt x="513" y="339"/>
                  </a:cubicBezTo>
                  <a:cubicBezTo>
                    <a:pt x="513" y="339"/>
                    <a:pt x="513" y="339"/>
                    <a:pt x="513" y="339"/>
                  </a:cubicBezTo>
                  <a:cubicBezTo>
                    <a:pt x="515" y="340"/>
                    <a:pt x="483" y="314"/>
                    <a:pt x="477" y="324"/>
                  </a:cubicBezTo>
                  <a:cubicBezTo>
                    <a:pt x="474" y="328"/>
                    <a:pt x="482" y="330"/>
                    <a:pt x="483" y="328"/>
                  </a:cubicBezTo>
                  <a:close/>
                  <a:moveTo>
                    <a:pt x="472" y="345"/>
                  </a:moveTo>
                  <a:cubicBezTo>
                    <a:pt x="472" y="345"/>
                    <a:pt x="472" y="345"/>
                    <a:pt x="472" y="345"/>
                  </a:cubicBezTo>
                  <a:cubicBezTo>
                    <a:pt x="484" y="343"/>
                    <a:pt x="497" y="344"/>
                    <a:pt x="509" y="346"/>
                  </a:cubicBezTo>
                  <a:cubicBezTo>
                    <a:pt x="509" y="346"/>
                    <a:pt x="528" y="348"/>
                    <a:pt x="527" y="348"/>
                  </a:cubicBezTo>
                  <a:cubicBezTo>
                    <a:pt x="527" y="347"/>
                    <a:pt x="527" y="347"/>
                    <a:pt x="526" y="347"/>
                  </a:cubicBezTo>
                  <a:cubicBezTo>
                    <a:pt x="517" y="343"/>
                    <a:pt x="431" y="329"/>
                    <a:pt x="472" y="345"/>
                  </a:cubicBezTo>
                  <a:close/>
                  <a:moveTo>
                    <a:pt x="486" y="401"/>
                  </a:moveTo>
                  <a:cubicBezTo>
                    <a:pt x="482" y="398"/>
                    <a:pt x="476" y="381"/>
                    <a:pt x="473" y="382"/>
                  </a:cubicBezTo>
                  <a:cubicBezTo>
                    <a:pt x="458" y="386"/>
                    <a:pt x="485" y="407"/>
                    <a:pt x="505" y="411"/>
                  </a:cubicBezTo>
                  <a:cubicBezTo>
                    <a:pt x="508" y="411"/>
                    <a:pt x="508" y="411"/>
                    <a:pt x="508" y="411"/>
                  </a:cubicBezTo>
                  <a:cubicBezTo>
                    <a:pt x="535" y="411"/>
                    <a:pt x="495" y="406"/>
                    <a:pt x="486" y="401"/>
                  </a:cubicBezTo>
                  <a:close/>
                  <a:moveTo>
                    <a:pt x="460" y="605"/>
                  </a:moveTo>
                  <a:cubicBezTo>
                    <a:pt x="465" y="608"/>
                    <a:pt x="473" y="614"/>
                    <a:pt x="475" y="617"/>
                  </a:cubicBezTo>
                  <a:cubicBezTo>
                    <a:pt x="481" y="623"/>
                    <a:pt x="467" y="614"/>
                    <a:pt x="465" y="619"/>
                  </a:cubicBezTo>
                  <a:cubicBezTo>
                    <a:pt x="465" y="620"/>
                    <a:pt x="474" y="622"/>
                    <a:pt x="475" y="623"/>
                  </a:cubicBezTo>
                  <a:cubicBezTo>
                    <a:pt x="484" y="625"/>
                    <a:pt x="486" y="643"/>
                    <a:pt x="494" y="648"/>
                  </a:cubicBezTo>
                  <a:cubicBezTo>
                    <a:pt x="500" y="652"/>
                    <a:pt x="515" y="653"/>
                    <a:pt x="516" y="651"/>
                  </a:cubicBezTo>
                  <a:cubicBezTo>
                    <a:pt x="517" y="651"/>
                    <a:pt x="507" y="648"/>
                    <a:pt x="505" y="646"/>
                  </a:cubicBezTo>
                  <a:cubicBezTo>
                    <a:pt x="498" y="636"/>
                    <a:pt x="504" y="655"/>
                    <a:pt x="496" y="645"/>
                  </a:cubicBezTo>
                  <a:cubicBezTo>
                    <a:pt x="484" y="627"/>
                    <a:pt x="483" y="613"/>
                    <a:pt x="465" y="604"/>
                  </a:cubicBezTo>
                  <a:cubicBezTo>
                    <a:pt x="463" y="603"/>
                    <a:pt x="455" y="598"/>
                    <a:pt x="454" y="599"/>
                  </a:cubicBezTo>
                  <a:cubicBezTo>
                    <a:pt x="453" y="599"/>
                    <a:pt x="459" y="605"/>
                    <a:pt x="460" y="605"/>
                  </a:cubicBezTo>
                  <a:close/>
                  <a:moveTo>
                    <a:pt x="396" y="533"/>
                  </a:moveTo>
                  <a:cubicBezTo>
                    <a:pt x="402" y="537"/>
                    <a:pt x="402" y="544"/>
                    <a:pt x="406" y="549"/>
                  </a:cubicBezTo>
                  <a:cubicBezTo>
                    <a:pt x="407" y="549"/>
                    <a:pt x="407" y="549"/>
                    <a:pt x="407" y="549"/>
                  </a:cubicBezTo>
                  <a:cubicBezTo>
                    <a:pt x="423" y="556"/>
                    <a:pt x="402" y="532"/>
                    <a:pt x="395" y="528"/>
                  </a:cubicBezTo>
                  <a:cubicBezTo>
                    <a:pt x="376" y="518"/>
                    <a:pt x="383" y="524"/>
                    <a:pt x="396" y="533"/>
                  </a:cubicBezTo>
                  <a:close/>
                  <a:moveTo>
                    <a:pt x="375" y="541"/>
                  </a:moveTo>
                  <a:cubicBezTo>
                    <a:pt x="376" y="545"/>
                    <a:pt x="394" y="559"/>
                    <a:pt x="399" y="559"/>
                  </a:cubicBezTo>
                  <a:cubicBezTo>
                    <a:pt x="406" y="560"/>
                    <a:pt x="414" y="558"/>
                    <a:pt x="422" y="559"/>
                  </a:cubicBezTo>
                  <a:cubicBezTo>
                    <a:pt x="423" y="559"/>
                    <a:pt x="429" y="559"/>
                    <a:pt x="429" y="558"/>
                  </a:cubicBezTo>
                  <a:cubicBezTo>
                    <a:pt x="428" y="554"/>
                    <a:pt x="405" y="557"/>
                    <a:pt x="402" y="556"/>
                  </a:cubicBezTo>
                  <a:cubicBezTo>
                    <a:pt x="392" y="553"/>
                    <a:pt x="386" y="531"/>
                    <a:pt x="370" y="531"/>
                  </a:cubicBezTo>
                  <a:cubicBezTo>
                    <a:pt x="367" y="530"/>
                    <a:pt x="375" y="540"/>
                    <a:pt x="375" y="541"/>
                  </a:cubicBezTo>
                  <a:close/>
                  <a:moveTo>
                    <a:pt x="359" y="480"/>
                  </a:moveTo>
                  <a:cubicBezTo>
                    <a:pt x="360" y="481"/>
                    <a:pt x="360" y="481"/>
                    <a:pt x="360" y="481"/>
                  </a:cubicBezTo>
                  <a:cubicBezTo>
                    <a:pt x="359" y="484"/>
                    <a:pt x="371" y="477"/>
                    <a:pt x="365" y="474"/>
                  </a:cubicBezTo>
                  <a:cubicBezTo>
                    <a:pt x="354" y="468"/>
                    <a:pt x="318" y="453"/>
                    <a:pt x="317" y="459"/>
                  </a:cubicBezTo>
                  <a:cubicBezTo>
                    <a:pt x="315" y="464"/>
                    <a:pt x="362" y="469"/>
                    <a:pt x="359" y="480"/>
                  </a:cubicBezTo>
                  <a:close/>
                  <a:moveTo>
                    <a:pt x="400" y="633"/>
                  </a:moveTo>
                  <a:cubicBezTo>
                    <a:pt x="400" y="633"/>
                    <a:pt x="385" y="632"/>
                    <a:pt x="383" y="630"/>
                  </a:cubicBezTo>
                  <a:cubicBezTo>
                    <a:pt x="383" y="629"/>
                    <a:pt x="383" y="629"/>
                    <a:pt x="383" y="629"/>
                  </a:cubicBezTo>
                  <a:cubicBezTo>
                    <a:pt x="377" y="627"/>
                    <a:pt x="376" y="617"/>
                    <a:pt x="373" y="616"/>
                  </a:cubicBezTo>
                  <a:cubicBezTo>
                    <a:pt x="371" y="616"/>
                    <a:pt x="375" y="626"/>
                    <a:pt x="371" y="625"/>
                  </a:cubicBezTo>
                  <a:cubicBezTo>
                    <a:pt x="368" y="624"/>
                    <a:pt x="339" y="615"/>
                    <a:pt x="340" y="622"/>
                  </a:cubicBezTo>
                  <a:cubicBezTo>
                    <a:pt x="340" y="625"/>
                    <a:pt x="363" y="625"/>
                    <a:pt x="366" y="627"/>
                  </a:cubicBezTo>
                  <a:cubicBezTo>
                    <a:pt x="370" y="628"/>
                    <a:pt x="396" y="642"/>
                    <a:pt x="400" y="633"/>
                  </a:cubicBezTo>
                  <a:close/>
                  <a:moveTo>
                    <a:pt x="436" y="780"/>
                  </a:moveTo>
                  <a:cubicBezTo>
                    <a:pt x="437" y="779"/>
                    <a:pt x="437" y="779"/>
                    <a:pt x="437" y="779"/>
                  </a:cubicBezTo>
                  <a:cubicBezTo>
                    <a:pt x="447" y="757"/>
                    <a:pt x="407" y="739"/>
                    <a:pt x="399" y="743"/>
                  </a:cubicBezTo>
                  <a:cubicBezTo>
                    <a:pt x="396" y="744"/>
                    <a:pt x="407" y="747"/>
                    <a:pt x="408" y="747"/>
                  </a:cubicBezTo>
                  <a:cubicBezTo>
                    <a:pt x="411" y="748"/>
                    <a:pt x="426" y="758"/>
                    <a:pt x="428" y="760"/>
                  </a:cubicBezTo>
                  <a:cubicBezTo>
                    <a:pt x="433" y="764"/>
                    <a:pt x="430" y="795"/>
                    <a:pt x="436" y="780"/>
                  </a:cubicBezTo>
                  <a:close/>
                  <a:moveTo>
                    <a:pt x="399" y="1195"/>
                  </a:moveTo>
                  <a:cubicBezTo>
                    <a:pt x="414" y="1193"/>
                    <a:pt x="412" y="1216"/>
                    <a:pt x="425" y="1216"/>
                  </a:cubicBezTo>
                  <a:cubicBezTo>
                    <a:pt x="427" y="1216"/>
                    <a:pt x="421" y="1210"/>
                    <a:pt x="421" y="1209"/>
                  </a:cubicBezTo>
                  <a:cubicBezTo>
                    <a:pt x="415" y="1201"/>
                    <a:pt x="426" y="1199"/>
                    <a:pt x="413" y="1195"/>
                  </a:cubicBezTo>
                  <a:cubicBezTo>
                    <a:pt x="413" y="1195"/>
                    <a:pt x="413" y="1195"/>
                    <a:pt x="413" y="1195"/>
                  </a:cubicBezTo>
                  <a:cubicBezTo>
                    <a:pt x="408" y="1193"/>
                    <a:pt x="412" y="1190"/>
                    <a:pt x="407" y="1190"/>
                  </a:cubicBezTo>
                  <a:cubicBezTo>
                    <a:pt x="405" y="1191"/>
                    <a:pt x="388" y="1196"/>
                    <a:pt x="399" y="1195"/>
                  </a:cubicBezTo>
                  <a:close/>
                  <a:moveTo>
                    <a:pt x="414" y="1287"/>
                  </a:moveTo>
                  <a:cubicBezTo>
                    <a:pt x="402" y="1308"/>
                    <a:pt x="425" y="1293"/>
                    <a:pt x="424" y="1284"/>
                  </a:cubicBezTo>
                  <a:cubicBezTo>
                    <a:pt x="424" y="1284"/>
                    <a:pt x="424" y="1284"/>
                    <a:pt x="424" y="1284"/>
                  </a:cubicBezTo>
                  <a:cubicBezTo>
                    <a:pt x="418" y="1278"/>
                    <a:pt x="416" y="1284"/>
                    <a:pt x="414" y="1287"/>
                  </a:cubicBezTo>
                  <a:close/>
                  <a:moveTo>
                    <a:pt x="392" y="1446"/>
                  </a:moveTo>
                  <a:cubicBezTo>
                    <a:pt x="392" y="1446"/>
                    <a:pt x="392" y="1446"/>
                    <a:pt x="392" y="1446"/>
                  </a:cubicBezTo>
                  <a:cubicBezTo>
                    <a:pt x="393" y="1440"/>
                    <a:pt x="381" y="1445"/>
                    <a:pt x="382" y="1448"/>
                  </a:cubicBezTo>
                  <a:cubicBezTo>
                    <a:pt x="384" y="1455"/>
                    <a:pt x="403" y="1453"/>
                    <a:pt x="392" y="1446"/>
                  </a:cubicBezTo>
                  <a:close/>
                  <a:moveTo>
                    <a:pt x="361" y="950"/>
                  </a:moveTo>
                  <a:cubicBezTo>
                    <a:pt x="370" y="953"/>
                    <a:pt x="374" y="954"/>
                    <a:pt x="382" y="960"/>
                  </a:cubicBezTo>
                  <a:cubicBezTo>
                    <a:pt x="386" y="964"/>
                    <a:pt x="393" y="973"/>
                    <a:pt x="396" y="969"/>
                  </a:cubicBezTo>
                  <a:cubicBezTo>
                    <a:pt x="400" y="962"/>
                    <a:pt x="366" y="938"/>
                    <a:pt x="366" y="937"/>
                  </a:cubicBezTo>
                  <a:cubicBezTo>
                    <a:pt x="366" y="937"/>
                    <a:pt x="366" y="937"/>
                    <a:pt x="366" y="937"/>
                  </a:cubicBezTo>
                  <a:cubicBezTo>
                    <a:pt x="367" y="936"/>
                    <a:pt x="362" y="937"/>
                    <a:pt x="363" y="938"/>
                  </a:cubicBezTo>
                  <a:cubicBezTo>
                    <a:pt x="364" y="942"/>
                    <a:pt x="358" y="949"/>
                    <a:pt x="361" y="950"/>
                  </a:cubicBezTo>
                  <a:close/>
                  <a:moveTo>
                    <a:pt x="353" y="1009"/>
                  </a:moveTo>
                  <a:cubicBezTo>
                    <a:pt x="352" y="1010"/>
                    <a:pt x="370" y="1038"/>
                    <a:pt x="361" y="1030"/>
                  </a:cubicBezTo>
                  <a:cubicBezTo>
                    <a:pt x="358" y="1026"/>
                    <a:pt x="350" y="1021"/>
                    <a:pt x="358" y="1029"/>
                  </a:cubicBezTo>
                  <a:cubicBezTo>
                    <a:pt x="358" y="1029"/>
                    <a:pt x="358" y="1029"/>
                    <a:pt x="358" y="1029"/>
                  </a:cubicBezTo>
                  <a:cubicBezTo>
                    <a:pt x="358" y="1030"/>
                    <a:pt x="358" y="1030"/>
                    <a:pt x="358" y="1030"/>
                  </a:cubicBezTo>
                  <a:cubicBezTo>
                    <a:pt x="360" y="1032"/>
                    <a:pt x="362" y="1034"/>
                    <a:pt x="364" y="1036"/>
                  </a:cubicBezTo>
                  <a:cubicBezTo>
                    <a:pt x="387" y="1053"/>
                    <a:pt x="359" y="1028"/>
                    <a:pt x="367" y="1020"/>
                  </a:cubicBezTo>
                  <a:cubicBezTo>
                    <a:pt x="368" y="1019"/>
                    <a:pt x="370" y="1019"/>
                    <a:pt x="372" y="1018"/>
                  </a:cubicBezTo>
                  <a:cubicBezTo>
                    <a:pt x="372" y="1018"/>
                    <a:pt x="373" y="1018"/>
                    <a:pt x="373" y="1018"/>
                  </a:cubicBezTo>
                  <a:cubicBezTo>
                    <a:pt x="383" y="1015"/>
                    <a:pt x="398" y="1017"/>
                    <a:pt x="397" y="1013"/>
                  </a:cubicBezTo>
                  <a:cubicBezTo>
                    <a:pt x="397" y="1011"/>
                    <a:pt x="378" y="1000"/>
                    <a:pt x="378" y="1004"/>
                  </a:cubicBezTo>
                  <a:cubicBezTo>
                    <a:pt x="377" y="1005"/>
                    <a:pt x="381" y="1005"/>
                    <a:pt x="381" y="1005"/>
                  </a:cubicBezTo>
                  <a:cubicBezTo>
                    <a:pt x="387" y="1006"/>
                    <a:pt x="392" y="1016"/>
                    <a:pt x="381" y="1008"/>
                  </a:cubicBezTo>
                  <a:cubicBezTo>
                    <a:pt x="373" y="1002"/>
                    <a:pt x="382" y="1013"/>
                    <a:pt x="382" y="1013"/>
                  </a:cubicBezTo>
                  <a:cubicBezTo>
                    <a:pt x="380" y="1015"/>
                    <a:pt x="377" y="1016"/>
                    <a:pt x="373" y="1018"/>
                  </a:cubicBezTo>
                  <a:cubicBezTo>
                    <a:pt x="373" y="1018"/>
                    <a:pt x="372" y="1018"/>
                    <a:pt x="372" y="1018"/>
                  </a:cubicBezTo>
                  <a:cubicBezTo>
                    <a:pt x="368" y="1019"/>
                    <a:pt x="363" y="1019"/>
                    <a:pt x="361" y="1018"/>
                  </a:cubicBezTo>
                  <a:cubicBezTo>
                    <a:pt x="359" y="1017"/>
                    <a:pt x="354" y="1008"/>
                    <a:pt x="353" y="1009"/>
                  </a:cubicBezTo>
                  <a:close/>
                  <a:moveTo>
                    <a:pt x="366" y="1507"/>
                  </a:moveTo>
                  <a:cubicBezTo>
                    <a:pt x="359" y="1507"/>
                    <a:pt x="368" y="1512"/>
                    <a:pt x="374" y="1509"/>
                  </a:cubicBezTo>
                  <a:cubicBezTo>
                    <a:pt x="375" y="1509"/>
                    <a:pt x="375" y="1509"/>
                    <a:pt x="375" y="1509"/>
                  </a:cubicBezTo>
                  <a:cubicBezTo>
                    <a:pt x="380" y="1507"/>
                    <a:pt x="369" y="1506"/>
                    <a:pt x="366" y="1507"/>
                  </a:cubicBezTo>
                  <a:close/>
                  <a:moveTo>
                    <a:pt x="362" y="1572"/>
                  </a:moveTo>
                  <a:cubicBezTo>
                    <a:pt x="362" y="1575"/>
                    <a:pt x="368" y="1572"/>
                    <a:pt x="370" y="1573"/>
                  </a:cubicBezTo>
                  <a:cubicBezTo>
                    <a:pt x="372" y="1577"/>
                    <a:pt x="379" y="1574"/>
                    <a:pt x="382" y="1573"/>
                  </a:cubicBezTo>
                  <a:cubicBezTo>
                    <a:pt x="383" y="1572"/>
                    <a:pt x="383" y="1572"/>
                    <a:pt x="383" y="1572"/>
                  </a:cubicBezTo>
                  <a:cubicBezTo>
                    <a:pt x="380" y="1569"/>
                    <a:pt x="362" y="1565"/>
                    <a:pt x="362" y="1572"/>
                  </a:cubicBezTo>
                  <a:close/>
                  <a:moveTo>
                    <a:pt x="325" y="1229"/>
                  </a:moveTo>
                  <a:cubicBezTo>
                    <a:pt x="325" y="1229"/>
                    <a:pt x="325" y="1229"/>
                    <a:pt x="325" y="1229"/>
                  </a:cubicBezTo>
                  <a:cubicBezTo>
                    <a:pt x="325" y="1224"/>
                    <a:pt x="309" y="1227"/>
                    <a:pt x="310" y="1232"/>
                  </a:cubicBezTo>
                  <a:cubicBezTo>
                    <a:pt x="312" y="1239"/>
                    <a:pt x="322" y="1240"/>
                    <a:pt x="327" y="1244"/>
                  </a:cubicBezTo>
                  <a:cubicBezTo>
                    <a:pt x="329" y="1247"/>
                    <a:pt x="330" y="1256"/>
                    <a:pt x="333" y="1255"/>
                  </a:cubicBezTo>
                  <a:cubicBezTo>
                    <a:pt x="335" y="1255"/>
                    <a:pt x="340" y="1244"/>
                    <a:pt x="350" y="1248"/>
                  </a:cubicBezTo>
                  <a:cubicBezTo>
                    <a:pt x="361" y="1252"/>
                    <a:pt x="338" y="1259"/>
                    <a:pt x="351" y="1258"/>
                  </a:cubicBezTo>
                  <a:cubicBezTo>
                    <a:pt x="352" y="1258"/>
                    <a:pt x="354" y="1264"/>
                    <a:pt x="356" y="1262"/>
                  </a:cubicBezTo>
                  <a:cubicBezTo>
                    <a:pt x="356" y="1261"/>
                    <a:pt x="355" y="1260"/>
                    <a:pt x="355" y="1259"/>
                  </a:cubicBezTo>
                  <a:cubicBezTo>
                    <a:pt x="350" y="1246"/>
                    <a:pt x="369" y="1244"/>
                    <a:pt x="366" y="1239"/>
                  </a:cubicBezTo>
                  <a:cubicBezTo>
                    <a:pt x="365" y="1238"/>
                    <a:pt x="361" y="1237"/>
                    <a:pt x="360" y="1237"/>
                  </a:cubicBezTo>
                  <a:cubicBezTo>
                    <a:pt x="354" y="1238"/>
                    <a:pt x="331" y="1242"/>
                    <a:pt x="325" y="1229"/>
                  </a:cubicBezTo>
                  <a:close/>
                  <a:moveTo>
                    <a:pt x="333" y="1427"/>
                  </a:moveTo>
                  <a:cubicBezTo>
                    <a:pt x="335" y="1423"/>
                    <a:pt x="326" y="1424"/>
                    <a:pt x="330" y="1417"/>
                  </a:cubicBezTo>
                  <a:cubicBezTo>
                    <a:pt x="328" y="1416"/>
                    <a:pt x="327" y="1417"/>
                    <a:pt x="325" y="1417"/>
                  </a:cubicBezTo>
                  <a:cubicBezTo>
                    <a:pt x="317" y="1416"/>
                    <a:pt x="319" y="1425"/>
                    <a:pt x="318" y="1425"/>
                  </a:cubicBezTo>
                  <a:cubicBezTo>
                    <a:pt x="317" y="1425"/>
                    <a:pt x="324" y="1439"/>
                    <a:pt x="328" y="1433"/>
                  </a:cubicBezTo>
                  <a:cubicBezTo>
                    <a:pt x="330" y="1432"/>
                    <a:pt x="324" y="1432"/>
                    <a:pt x="323" y="1431"/>
                  </a:cubicBezTo>
                  <a:cubicBezTo>
                    <a:pt x="316" y="1412"/>
                    <a:pt x="332" y="1429"/>
                    <a:pt x="333" y="1427"/>
                  </a:cubicBezTo>
                  <a:close/>
                  <a:moveTo>
                    <a:pt x="318" y="1465"/>
                  </a:moveTo>
                  <a:cubicBezTo>
                    <a:pt x="318" y="1465"/>
                    <a:pt x="318" y="1465"/>
                    <a:pt x="318" y="1465"/>
                  </a:cubicBezTo>
                  <a:cubicBezTo>
                    <a:pt x="321" y="1459"/>
                    <a:pt x="310" y="1467"/>
                    <a:pt x="309" y="1468"/>
                  </a:cubicBezTo>
                  <a:cubicBezTo>
                    <a:pt x="304" y="1474"/>
                    <a:pt x="316" y="1468"/>
                    <a:pt x="318" y="1465"/>
                  </a:cubicBezTo>
                  <a:close/>
                  <a:moveTo>
                    <a:pt x="306" y="1578"/>
                  </a:moveTo>
                  <a:cubicBezTo>
                    <a:pt x="315" y="1570"/>
                    <a:pt x="302" y="1567"/>
                    <a:pt x="300" y="1559"/>
                  </a:cubicBezTo>
                  <a:cubicBezTo>
                    <a:pt x="300" y="1557"/>
                    <a:pt x="296" y="1554"/>
                    <a:pt x="295" y="1553"/>
                  </a:cubicBezTo>
                  <a:cubicBezTo>
                    <a:pt x="290" y="1555"/>
                    <a:pt x="282" y="1562"/>
                    <a:pt x="284" y="1565"/>
                  </a:cubicBezTo>
                  <a:cubicBezTo>
                    <a:pt x="287" y="1574"/>
                    <a:pt x="291" y="1557"/>
                    <a:pt x="294" y="1558"/>
                  </a:cubicBezTo>
                  <a:cubicBezTo>
                    <a:pt x="299" y="1559"/>
                    <a:pt x="298" y="1569"/>
                    <a:pt x="303" y="1569"/>
                  </a:cubicBezTo>
                  <a:cubicBezTo>
                    <a:pt x="308" y="1569"/>
                    <a:pt x="305" y="1579"/>
                    <a:pt x="306" y="1578"/>
                  </a:cubicBezTo>
                  <a:close/>
                  <a:moveTo>
                    <a:pt x="277" y="1514"/>
                  </a:moveTo>
                  <a:cubicBezTo>
                    <a:pt x="277" y="1518"/>
                    <a:pt x="287" y="1512"/>
                    <a:pt x="290" y="1515"/>
                  </a:cubicBezTo>
                  <a:cubicBezTo>
                    <a:pt x="295" y="1521"/>
                    <a:pt x="301" y="1526"/>
                    <a:pt x="300" y="1509"/>
                  </a:cubicBezTo>
                  <a:cubicBezTo>
                    <a:pt x="299" y="1508"/>
                    <a:pt x="299" y="1508"/>
                    <a:pt x="299" y="1508"/>
                  </a:cubicBezTo>
                  <a:cubicBezTo>
                    <a:pt x="299" y="1508"/>
                    <a:pt x="299" y="1498"/>
                    <a:pt x="299" y="1498"/>
                  </a:cubicBezTo>
                  <a:cubicBezTo>
                    <a:pt x="292" y="1498"/>
                    <a:pt x="297" y="1506"/>
                    <a:pt x="291" y="1503"/>
                  </a:cubicBezTo>
                  <a:cubicBezTo>
                    <a:pt x="278" y="1495"/>
                    <a:pt x="292" y="1508"/>
                    <a:pt x="291" y="1510"/>
                  </a:cubicBezTo>
                  <a:cubicBezTo>
                    <a:pt x="290" y="1513"/>
                    <a:pt x="277" y="1507"/>
                    <a:pt x="277" y="1514"/>
                  </a:cubicBezTo>
                  <a:close/>
                  <a:moveTo>
                    <a:pt x="279" y="1245"/>
                  </a:moveTo>
                  <a:cubicBezTo>
                    <a:pt x="276" y="1243"/>
                    <a:pt x="275" y="1238"/>
                    <a:pt x="272" y="1236"/>
                  </a:cubicBezTo>
                  <a:cubicBezTo>
                    <a:pt x="269" y="1235"/>
                    <a:pt x="267" y="1232"/>
                    <a:pt x="264" y="1230"/>
                  </a:cubicBezTo>
                  <a:cubicBezTo>
                    <a:pt x="263" y="1230"/>
                    <a:pt x="263" y="1230"/>
                    <a:pt x="263" y="1230"/>
                  </a:cubicBezTo>
                  <a:cubicBezTo>
                    <a:pt x="260" y="1230"/>
                    <a:pt x="262" y="1233"/>
                    <a:pt x="264" y="1234"/>
                  </a:cubicBezTo>
                  <a:cubicBezTo>
                    <a:pt x="265" y="1234"/>
                    <a:pt x="266" y="1237"/>
                    <a:pt x="267" y="1238"/>
                  </a:cubicBezTo>
                  <a:cubicBezTo>
                    <a:pt x="267" y="1243"/>
                    <a:pt x="283" y="1248"/>
                    <a:pt x="279" y="1245"/>
                  </a:cubicBezTo>
                  <a:close/>
                  <a:moveTo>
                    <a:pt x="297" y="1399"/>
                  </a:moveTo>
                  <a:cubicBezTo>
                    <a:pt x="297" y="1399"/>
                    <a:pt x="297" y="1399"/>
                    <a:pt x="297" y="1399"/>
                  </a:cubicBezTo>
                  <a:cubicBezTo>
                    <a:pt x="297" y="1396"/>
                    <a:pt x="289" y="1400"/>
                    <a:pt x="289" y="1403"/>
                  </a:cubicBezTo>
                  <a:cubicBezTo>
                    <a:pt x="289" y="1410"/>
                    <a:pt x="300" y="1413"/>
                    <a:pt x="297" y="1399"/>
                  </a:cubicBezTo>
                  <a:close/>
                  <a:moveTo>
                    <a:pt x="291" y="1449"/>
                  </a:moveTo>
                  <a:cubicBezTo>
                    <a:pt x="296" y="1445"/>
                    <a:pt x="295" y="1442"/>
                    <a:pt x="293" y="1438"/>
                  </a:cubicBezTo>
                  <a:cubicBezTo>
                    <a:pt x="292" y="1437"/>
                    <a:pt x="292" y="1437"/>
                    <a:pt x="292" y="1437"/>
                  </a:cubicBezTo>
                  <a:cubicBezTo>
                    <a:pt x="290" y="1435"/>
                    <a:pt x="286" y="1455"/>
                    <a:pt x="291" y="1449"/>
                  </a:cubicBezTo>
                  <a:close/>
                  <a:moveTo>
                    <a:pt x="310" y="1553"/>
                  </a:moveTo>
                  <a:cubicBezTo>
                    <a:pt x="311" y="1553"/>
                    <a:pt x="315" y="1533"/>
                    <a:pt x="315" y="1531"/>
                  </a:cubicBezTo>
                  <a:cubicBezTo>
                    <a:pt x="315" y="1531"/>
                    <a:pt x="315" y="1531"/>
                    <a:pt x="315" y="1531"/>
                  </a:cubicBezTo>
                  <a:cubicBezTo>
                    <a:pt x="312" y="1528"/>
                    <a:pt x="310" y="1529"/>
                    <a:pt x="311" y="1533"/>
                  </a:cubicBezTo>
                  <a:cubicBezTo>
                    <a:pt x="312" y="1538"/>
                    <a:pt x="300" y="1531"/>
                    <a:pt x="298" y="1535"/>
                  </a:cubicBezTo>
                  <a:cubicBezTo>
                    <a:pt x="297" y="1538"/>
                    <a:pt x="308" y="1553"/>
                    <a:pt x="310" y="1553"/>
                  </a:cubicBezTo>
                  <a:close/>
                  <a:moveTo>
                    <a:pt x="325" y="933"/>
                  </a:moveTo>
                  <a:cubicBezTo>
                    <a:pt x="325" y="932"/>
                    <a:pt x="325" y="932"/>
                    <a:pt x="325" y="932"/>
                  </a:cubicBezTo>
                  <a:cubicBezTo>
                    <a:pt x="325" y="925"/>
                    <a:pt x="316" y="935"/>
                    <a:pt x="315" y="937"/>
                  </a:cubicBezTo>
                  <a:cubicBezTo>
                    <a:pt x="314" y="943"/>
                    <a:pt x="321" y="941"/>
                    <a:pt x="323" y="946"/>
                  </a:cubicBezTo>
                  <a:cubicBezTo>
                    <a:pt x="329" y="965"/>
                    <a:pt x="318" y="952"/>
                    <a:pt x="322" y="962"/>
                  </a:cubicBezTo>
                  <a:cubicBezTo>
                    <a:pt x="323" y="965"/>
                    <a:pt x="330" y="978"/>
                    <a:pt x="333" y="978"/>
                  </a:cubicBezTo>
                  <a:cubicBezTo>
                    <a:pt x="334" y="977"/>
                    <a:pt x="328" y="965"/>
                    <a:pt x="328" y="963"/>
                  </a:cubicBezTo>
                  <a:cubicBezTo>
                    <a:pt x="327" y="942"/>
                    <a:pt x="323" y="941"/>
                    <a:pt x="325" y="933"/>
                  </a:cubicBezTo>
                  <a:close/>
                  <a:moveTo>
                    <a:pt x="295" y="888"/>
                  </a:moveTo>
                  <a:cubicBezTo>
                    <a:pt x="292" y="888"/>
                    <a:pt x="268" y="879"/>
                    <a:pt x="268" y="880"/>
                  </a:cubicBezTo>
                  <a:cubicBezTo>
                    <a:pt x="267" y="883"/>
                    <a:pt x="284" y="892"/>
                    <a:pt x="282" y="898"/>
                  </a:cubicBezTo>
                  <a:cubicBezTo>
                    <a:pt x="281" y="900"/>
                    <a:pt x="268" y="888"/>
                    <a:pt x="264" y="888"/>
                  </a:cubicBezTo>
                  <a:cubicBezTo>
                    <a:pt x="263" y="888"/>
                    <a:pt x="264" y="891"/>
                    <a:pt x="264" y="892"/>
                  </a:cubicBezTo>
                  <a:cubicBezTo>
                    <a:pt x="270" y="898"/>
                    <a:pt x="297" y="907"/>
                    <a:pt x="301" y="912"/>
                  </a:cubicBezTo>
                  <a:cubicBezTo>
                    <a:pt x="306" y="920"/>
                    <a:pt x="307" y="943"/>
                    <a:pt x="305" y="944"/>
                  </a:cubicBezTo>
                  <a:cubicBezTo>
                    <a:pt x="302" y="945"/>
                    <a:pt x="299" y="928"/>
                    <a:pt x="298" y="930"/>
                  </a:cubicBezTo>
                  <a:cubicBezTo>
                    <a:pt x="296" y="933"/>
                    <a:pt x="299" y="945"/>
                    <a:pt x="301" y="946"/>
                  </a:cubicBezTo>
                  <a:cubicBezTo>
                    <a:pt x="304" y="948"/>
                    <a:pt x="309" y="951"/>
                    <a:pt x="308" y="954"/>
                  </a:cubicBezTo>
                  <a:cubicBezTo>
                    <a:pt x="308" y="954"/>
                    <a:pt x="304" y="963"/>
                    <a:pt x="306" y="961"/>
                  </a:cubicBezTo>
                  <a:cubicBezTo>
                    <a:pt x="316" y="955"/>
                    <a:pt x="309" y="939"/>
                    <a:pt x="310" y="929"/>
                  </a:cubicBezTo>
                  <a:cubicBezTo>
                    <a:pt x="310" y="928"/>
                    <a:pt x="310" y="928"/>
                    <a:pt x="310" y="928"/>
                  </a:cubicBezTo>
                  <a:cubicBezTo>
                    <a:pt x="308" y="921"/>
                    <a:pt x="300" y="907"/>
                    <a:pt x="311" y="905"/>
                  </a:cubicBezTo>
                  <a:cubicBezTo>
                    <a:pt x="317" y="903"/>
                    <a:pt x="329" y="906"/>
                    <a:pt x="333" y="911"/>
                  </a:cubicBezTo>
                  <a:cubicBezTo>
                    <a:pt x="333" y="912"/>
                    <a:pt x="339" y="920"/>
                    <a:pt x="339" y="916"/>
                  </a:cubicBezTo>
                  <a:cubicBezTo>
                    <a:pt x="340" y="914"/>
                    <a:pt x="314" y="887"/>
                    <a:pt x="313" y="886"/>
                  </a:cubicBezTo>
                  <a:cubicBezTo>
                    <a:pt x="308" y="885"/>
                    <a:pt x="313" y="894"/>
                    <a:pt x="308" y="894"/>
                  </a:cubicBezTo>
                  <a:cubicBezTo>
                    <a:pt x="301" y="894"/>
                    <a:pt x="301" y="888"/>
                    <a:pt x="295" y="888"/>
                  </a:cubicBezTo>
                  <a:close/>
                  <a:moveTo>
                    <a:pt x="275" y="844"/>
                  </a:moveTo>
                  <a:cubicBezTo>
                    <a:pt x="278" y="844"/>
                    <a:pt x="291" y="849"/>
                    <a:pt x="293" y="847"/>
                  </a:cubicBezTo>
                  <a:cubicBezTo>
                    <a:pt x="296" y="845"/>
                    <a:pt x="271" y="839"/>
                    <a:pt x="269" y="838"/>
                  </a:cubicBezTo>
                  <a:cubicBezTo>
                    <a:pt x="268" y="838"/>
                    <a:pt x="268" y="838"/>
                    <a:pt x="268" y="838"/>
                  </a:cubicBezTo>
                  <a:cubicBezTo>
                    <a:pt x="249" y="821"/>
                    <a:pt x="258" y="845"/>
                    <a:pt x="275" y="844"/>
                  </a:cubicBezTo>
                  <a:close/>
                  <a:moveTo>
                    <a:pt x="254" y="1262"/>
                  </a:moveTo>
                  <a:cubicBezTo>
                    <a:pt x="259" y="1263"/>
                    <a:pt x="261" y="1254"/>
                    <a:pt x="262" y="1251"/>
                  </a:cubicBezTo>
                  <a:cubicBezTo>
                    <a:pt x="262" y="1251"/>
                    <a:pt x="262" y="1251"/>
                    <a:pt x="262" y="1251"/>
                  </a:cubicBezTo>
                  <a:cubicBezTo>
                    <a:pt x="265" y="1244"/>
                    <a:pt x="247" y="1259"/>
                    <a:pt x="254" y="1262"/>
                  </a:cubicBezTo>
                  <a:close/>
                  <a:moveTo>
                    <a:pt x="201" y="1128"/>
                  </a:moveTo>
                  <a:cubicBezTo>
                    <a:pt x="201" y="1128"/>
                    <a:pt x="201" y="1128"/>
                    <a:pt x="201" y="1128"/>
                  </a:cubicBezTo>
                  <a:cubicBezTo>
                    <a:pt x="196" y="1124"/>
                    <a:pt x="210" y="1141"/>
                    <a:pt x="215" y="1144"/>
                  </a:cubicBezTo>
                  <a:cubicBezTo>
                    <a:pt x="221" y="1149"/>
                    <a:pt x="231" y="1148"/>
                    <a:pt x="238" y="1153"/>
                  </a:cubicBezTo>
                  <a:cubicBezTo>
                    <a:pt x="239" y="1154"/>
                    <a:pt x="240" y="1156"/>
                    <a:pt x="241" y="1157"/>
                  </a:cubicBezTo>
                  <a:cubicBezTo>
                    <a:pt x="241" y="1158"/>
                    <a:pt x="242" y="1165"/>
                    <a:pt x="244" y="1162"/>
                  </a:cubicBezTo>
                  <a:cubicBezTo>
                    <a:pt x="249" y="1154"/>
                    <a:pt x="212" y="1139"/>
                    <a:pt x="201" y="1128"/>
                  </a:cubicBezTo>
                  <a:close/>
                  <a:moveTo>
                    <a:pt x="190" y="1374"/>
                  </a:moveTo>
                  <a:cubicBezTo>
                    <a:pt x="189" y="1371"/>
                    <a:pt x="191" y="1369"/>
                    <a:pt x="190" y="1367"/>
                  </a:cubicBezTo>
                  <a:cubicBezTo>
                    <a:pt x="189" y="1366"/>
                    <a:pt x="189" y="1366"/>
                    <a:pt x="189" y="1366"/>
                  </a:cubicBezTo>
                  <a:cubicBezTo>
                    <a:pt x="188" y="1363"/>
                    <a:pt x="182" y="1348"/>
                    <a:pt x="179" y="1349"/>
                  </a:cubicBezTo>
                  <a:cubicBezTo>
                    <a:pt x="173" y="1350"/>
                    <a:pt x="207" y="1403"/>
                    <a:pt x="190" y="1374"/>
                  </a:cubicBezTo>
                  <a:close/>
                  <a:moveTo>
                    <a:pt x="180" y="1391"/>
                  </a:moveTo>
                  <a:cubicBezTo>
                    <a:pt x="179" y="1391"/>
                    <a:pt x="179" y="1391"/>
                    <a:pt x="179" y="1391"/>
                  </a:cubicBezTo>
                  <a:cubicBezTo>
                    <a:pt x="176" y="1386"/>
                    <a:pt x="173" y="1372"/>
                    <a:pt x="170" y="1377"/>
                  </a:cubicBezTo>
                  <a:cubicBezTo>
                    <a:pt x="166" y="1384"/>
                    <a:pt x="182" y="1395"/>
                    <a:pt x="180" y="1391"/>
                  </a:cubicBezTo>
                  <a:close/>
                  <a:moveTo>
                    <a:pt x="205" y="1430"/>
                  </a:moveTo>
                  <a:cubicBezTo>
                    <a:pt x="205" y="1431"/>
                    <a:pt x="206" y="1434"/>
                    <a:pt x="207" y="1434"/>
                  </a:cubicBezTo>
                  <a:cubicBezTo>
                    <a:pt x="209" y="1434"/>
                    <a:pt x="208" y="1430"/>
                    <a:pt x="208" y="1429"/>
                  </a:cubicBezTo>
                  <a:cubicBezTo>
                    <a:pt x="208" y="1414"/>
                    <a:pt x="193" y="1408"/>
                    <a:pt x="193" y="1393"/>
                  </a:cubicBezTo>
                  <a:cubicBezTo>
                    <a:pt x="193" y="1393"/>
                    <a:pt x="193" y="1393"/>
                    <a:pt x="193" y="1393"/>
                  </a:cubicBezTo>
                  <a:cubicBezTo>
                    <a:pt x="185" y="1385"/>
                    <a:pt x="204" y="1430"/>
                    <a:pt x="205" y="1430"/>
                  </a:cubicBezTo>
                  <a:close/>
                  <a:moveTo>
                    <a:pt x="219" y="1068"/>
                  </a:moveTo>
                  <a:cubicBezTo>
                    <a:pt x="221" y="1065"/>
                    <a:pt x="206" y="1060"/>
                    <a:pt x="203" y="1060"/>
                  </a:cubicBezTo>
                  <a:cubicBezTo>
                    <a:pt x="203" y="1060"/>
                    <a:pt x="203" y="1060"/>
                    <a:pt x="203" y="1060"/>
                  </a:cubicBezTo>
                  <a:cubicBezTo>
                    <a:pt x="196" y="1060"/>
                    <a:pt x="217" y="1070"/>
                    <a:pt x="219" y="1068"/>
                  </a:cubicBezTo>
                  <a:close/>
                  <a:moveTo>
                    <a:pt x="210" y="896"/>
                  </a:moveTo>
                  <a:cubicBezTo>
                    <a:pt x="210" y="896"/>
                    <a:pt x="210" y="896"/>
                    <a:pt x="210" y="896"/>
                  </a:cubicBezTo>
                  <a:cubicBezTo>
                    <a:pt x="204" y="893"/>
                    <a:pt x="184" y="897"/>
                    <a:pt x="190" y="900"/>
                  </a:cubicBezTo>
                  <a:cubicBezTo>
                    <a:pt x="198" y="904"/>
                    <a:pt x="203" y="897"/>
                    <a:pt x="212" y="901"/>
                  </a:cubicBezTo>
                  <a:cubicBezTo>
                    <a:pt x="213" y="901"/>
                    <a:pt x="228" y="905"/>
                    <a:pt x="226" y="901"/>
                  </a:cubicBezTo>
                  <a:cubicBezTo>
                    <a:pt x="225" y="898"/>
                    <a:pt x="214" y="899"/>
                    <a:pt x="210" y="896"/>
                  </a:cubicBezTo>
                  <a:close/>
                  <a:moveTo>
                    <a:pt x="205" y="863"/>
                  </a:moveTo>
                  <a:cubicBezTo>
                    <a:pt x="206" y="863"/>
                    <a:pt x="211" y="869"/>
                    <a:pt x="212" y="869"/>
                  </a:cubicBezTo>
                  <a:cubicBezTo>
                    <a:pt x="219" y="861"/>
                    <a:pt x="189" y="852"/>
                    <a:pt x="185" y="847"/>
                  </a:cubicBezTo>
                  <a:cubicBezTo>
                    <a:pt x="176" y="836"/>
                    <a:pt x="193" y="842"/>
                    <a:pt x="195" y="839"/>
                  </a:cubicBezTo>
                  <a:cubicBezTo>
                    <a:pt x="198" y="833"/>
                    <a:pt x="181" y="835"/>
                    <a:pt x="180" y="828"/>
                  </a:cubicBezTo>
                  <a:cubicBezTo>
                    <a:pt x="177" y="815"/>
                    <a:pt x="214" y="842"/>
                    <a:pt x="203" y="822"/>
                  </a:cubicBezTo>
                  <a:cubicBezTo>
                    <a:pt x="203" y="821"/>
                    <a:pt x="203" y="821"/>
                    <a:pt x="203" y="821"/>
                  </a:cubicBezTo>
                  <a:cubicBezTo>
                    <a:pt x="197" y="818"/>
                    <a:pt x="187" y="821"/>
                    <a:pt x="181" y="822"/>
                  </a:cubicBezTo>
                  <a:cubicBezTo>
                    <a:pt x="179" y="822"/>
                    <a:pt x="173" y="828"/>
                    <a:pt x="173" y="829"/>
                  </a:cubicBezTo>
                  <a:cubicBezTo>
                    <a:pt x="172" y="832"/>
                    <a:pt x="167" y="828"/>
                    <a:pt x="167" y="830"/>
                  </a:cubicBezTo>
                  <a:cubicBezTo>
                    <a:pt x="161" y="840"/>
                    <a:pt x="199" y="859"/>
                    <a:pt x="205" y="863"/>
                  </a:cubicBezTo>
                  <a:close/>
                  <a:moveTo>
                    <a:pt x="130" y="824"/>
                  </a:moveTo>
                  <a:cubicBezTo>
                    <a:pt x="134" y="826"/>
                    <a:pt x="160" y="831"/>
                    <a:pt x="162" y="827"/>
                  </a:cubicBezTo>
                  <a:cubicBezTo>
                    <a:pt x="162" y="827"/>
                    <a:pt x="130" y="824"/>
                    <a:pt x="130" y="816"/>
                  </a:cubicBezTo>
                  <a:cubicBezTo>
                    <a:pt x="130" y="816"/>
                    <a:pt x="130" y="816"/>
                    <a:pt x="130" y="816"/>
                  </a:cubicBezTo>
                  <a:cubicBezTo>
                    <a:pt x="126" y="812"/>
                    <a:pt x="127" y="821"/>
                    <a:pt x="130" y="824"/>
                  </a:cubicBezTo>
                  <a:close/>
                  <a:moveTo>
                    <a:pt x="132" y="833"/>
                  </a:moveTo>
                  <a:cubicBezTo>
                    <a:pt x="136" y="834"/>
                    <a:pt x="142" y="845"/>
                    <a:pt x="147" y="842"/>
                  </a:cubicBezTo>
                  <a:cubicBezTo>
                    <a:pt x="152" y="840"/>
                    <a:pt x="146" y="834"/>
                    <a:pt x="144" y="832"/>
                  </a:cubicBezTo>
                  <a:cubicBezTo>
                    <a:pt x="144" y="832"/>
                    <a:pt x="144" y="832"/>
                    <a:pt x="144" y="832"/>
                  </a:cubicBezTo>
                  <a:cubicBezTo>
                    <a:pt x="143" y="831"/>
                    <a:pt x="127" y="830"/>
                    <a:pt x="127" y="831"/>
                  </a:cubicBezTo>
                  <a:cubicBezTo>
                    <a:pt x="127" y="832"/>
                    <a:pt x="131" y="833"/>
                    <a:pt x="132" y="833"/>
                  </a:cubicBezTo>
                  <a:close/>
                  <a:moveTo>
                    <a:pt x="142" y="895"/>
                  </a:moveTo>
                  <a:cubicBezTo>
                    <a:pt x="146" y="894"/>
                    <a:pt x="144" y="892"/>
                    <a:pt x="145" y="889"/>
                  </a:cubicBezTo>
                  <a:cubicBezTo>
                    <a:pt x="146" y="885"/>
                    <a:pt x="144" y="887"/>
                    <a:pt x="144" y="883"/>
                  </a:cubicBezTo>
                  <a:cubicBezTo>
                    <a:pt x="144" y="882"/>
                    <a:pt x="144" y="882"/>
                    <a:pt x="144" y="882"/>
                  </a:cubicBezTo>
                  <a:cubicBezTo>
                    <a:pt x="137" y="874"/>
                    <a:pt x="122" y="898"/>
                    <a:pt x="142" y="895"/>
                  </a:cubicBezTo>
                  <a:close/>
                  <a:moveTo>
                    <a:pt x="172" y="1018"/>
                  </a:moveTo>
                  <a:cubicBezTo>
                    <a:pt x="169" y="1010"/>
                    <a:pt x="148" y="1008"/>
                    <a:pt x="146" y="999"/>
                  </a:cubicBezTo>
                  <a:cubicBezTo>
                    <a:pt x="146" y="999"/>
                    <a:pt x="146" y="999"/>
                    <a:pt x="146" y="999"/>
                  </a:cubicBezTo>
                  <a:cubicBezTo>
                    <a:pt x="144" y="997"/>
                    <a:pt x="143" y="998"/>
                    <a:pt x="144" y="1000"/>
                  </a:cubicBezTo>
                  <a:cubicBezTo>
                    <a:pt x="147" y="1004"/>
                    <a:pt x="152" y="1006"/>
                    <a:pt x="154" y="1011"/>
                  </a:cubicBezTo>
                  <a:cubicBezTo>
                    <a:pt x="156" y="1017"/>
                    <a:pt x="175" y="1024"/>
                    <a:pt x="172" y="1018"/>
                  </a:cubicBezTo>
                  <a:close/>
                  <a:moveTo>
                    <a:pt x="168" y="1429"/>
                  </a:moveTo>
                  <a:cubicBezTo>
                    <a:pt x="169" y="1427"/>
                    <a:pt x="170" y="1434"/>
                    <a:pt x="171" y="1435"/>
                  </a:cubicBezTo>
                  <a:cubicBezTo>
                    <a:pt x="172" y="1437"/>
                    <a:pt x="185" y="1452"/>
                    <a:pt x="186" y="1452"/>
                  </a:cubicBezTo>
                  <a:cubicBezTo>
                    <a:pt x="190" y="1451"/>
                    <a:pt x="180" y="1441"/>
                    <a:pt x="180" y="1440"/>
                  </a:cubicBezTo>
                  <a:cubicBezTo>
                    <a:pt x="179" y="1440"/>
                    <a:pt x="179" y="1440"/>
                    <a:pt x="179" y="1440"/>
                  </a:cubicBezTo>
                  <a:cubicBezTo>
                    <a:pt x="175" y="1436"/>
                    <a:pt x="173" y="1416"/>
                    <a:pt x="171" y="1415"/>
                  </a:cubicBezTo>
                  <a:cubicBezTo>
                    <a:pt x="168" y="1415"/>
                    <a:pt x="170" y="1417"/>
                    <a:pt x="170" y="1418"/>
                  </a:cubicBezTo>
                  <a:cubicBezTo>
                    <a:pt x="175" y="1430"/>
                    <a:pt x="165" y="1423"/>
                    <a:pt x="162" y="1422"/>
                  </a:cubicBezTo>
                  <a:cubicBezTo>
                    <a:pt x="160" y="1422"/>
                    <a:pt x="165" y="1432"/>
                    <a:pt x="168" y="1429"/>
                  </a:cubicBezTo>
                  <a:close/>
                  <a:moveTo>
                    <a:pt x="152" y="1437"/>
                  </a:moveTo>
                  <a:cubicBezTo>
                    <a:pt x="153" y="1438"/>
                    <a:pt x="164" y="1459"/>
                    <a:pt x="164" y="1458"/>
                  </a:cubicBezTo>
                  <a:cubicBezTo>
                    <a:pt x="167" y="1455"/>
                    <a:pt x="164" y="1453"/>
                    <a:pt x="163" y="1452"/>
                  </a:cubicBezTo>
                  <a:cubicBezTo>
                    <a:pt x="148" y="1435"/>
                    <a:pt x="145" y="1423"/>
                    <a:pt x="133" y="1414"/>
                  </a:cubicBezTo>
                  <a:cubicBezTo>
                    <a:pt x="133" y="1414"/>
                    <a:pt x="133" y="1414"/>
                    <a:pt x="133" y="1414"/>
                  </a:cubicBezTo>
                  <a:cubicBezTo>
                    <a:pt x="130" y="1413"/>
                    <a:pt x="132" y="1415"/>
                    <a:pt x="130" y="1416"/>
                  </a:cubicBezTo>
                  <a:cubicBezTo>
                    <a:pt x="125" y="1417"/>
                    <a:pt x="146" y="1432"/>
                    <a:pt x="152" y="1437"/>
                  </a:cubicBezTo>
                  <a:close/>
                  <a:moveTo>
                    <a:pt x="133" y="1445"/>
                  </a:moveTo>
                  <a:cubicBezTo>
                    <a:pt x="136" y="1444"/>
                    <a:pt x="137" y="1438"/>
                    <a:pt x="135" y="1436"/>
                  </a:cubicBezTo>
                  <a:cubicBezTo>
                    <a:pt x="132" y="1433"/>
                    <a:pt x="126" y="1439"/>
                    <a:pt x="127" y="1434"/>
                  </a:cubicBezTo>
                  <a:cubicBezTo>
                    <a:pt x="127" y="1434"/>
                    <a:pt x="127" y="1434"/>
                    <a:pt x="127" y="1434"/>
                  </a:cubicBezTo>
                  <a:cubicBezTo>
                    <a:pt x="125" y="1429"/>
                    <a:pt x="124" y="1446"/>
                    <a:pt x="133" y="1445"/>
                  </a:cubicBezTo>
                  <a:close/>
                  <a:moveTo>
                    <a:pt x="118" y="1485"/>
                  </a:moveTo>
                  <a:cubicBezTo>
                    <a:pt x="119" y="1486"/>
                    <a:pt x="120" y="1493"/>
                    <a:pt x="120" y="1493"/>
                  </a:cubicBezTo>
                  <a:cubicBezTo>
                    <a:pt x="120" y="1493"/>
                    <a:pt x="123" y="1471"/>
                    <a:pt x="123" y="1470"/>
                  </a:cubicBezTo>
                  <a:cubicBezTo>
                    <a:pt x="120" y="1470"/>
                    <a:pt x="119" y="1475"/>
                    <a:pt x="119" y="1478"/>
                  </a:cubicBezTo>
                  <a:cubicBezTo>
                    <a:pt x="119" y="1481"/>
                    <a:pt x="118" y="1469"/>
                    <a:pt x="115" y="1474"/>
                  </a:cubicBezTo>
                  <a:cubicBezTo>
                    <a:pt x="107" y="1486"/>
                    <a:pt x="102" y="1475"/>
                    <a:pt x="102" y="1457"/>
                  </a:cubicBezTo>
                  <a:cubicBezTo>
                    <a:pt x="102" y="1456"/>
                    <a:pt x="102" y="1456"/>
                    <a:pt x="102" y="1456"/>
                  </a:cubicBezTo>
                  <a:cubicBezTo>
                    <a:pt x="99" y="1451"/>
                    <a:pt x="99" y="1468"/>
                    <a:pt x="99" y="1469"/>
                  </a:cubicBezTo>
                  <a:cubicBezTo>
                    <a:pt x="98" y="1487"/>
                    <a:pt x="117" y="1481"/>
                    <a:pt x="118" y="1485"/>
                  </a:cubicBezTo>
                  <a:close/>
                  <a:moveTo>
                    <a:pt x="128" y="1717"/>
                  </a:moveTo>
                  <a:cubicBezTo>
                    <a:pt x="128" y="1717"/>
                    <a:pt x="128" y="1717"/>
                    <a:pt x="128" y="1717"/>
                  </a:cubicBezTo>
                  <a:cubicBezTo>
                    <a:pt x="126" y="1714"/>
                    <a:pt x="121" y="1722"/>
                    <a:pt x="118" y="1723"/>
                  </a:cubicBezTo>
                  <a:cubicBezTo>
                    <a:pt x="117" y="1724"/>
                    <a:pt x="107" y="1726"/>
                    <a:pt x="107" y="1728"/>
                  </a:cubicBezTo>
                  <a:cubicBezTo>
                    <a:pt x="108" y="1730"/>
                    <a:pt x="131" y="1724"/>
                    <a:pt x="128" y="1717"/>
                  </a:cubicBezTo>
                  <a:close/>
                  <a:moveTo>
                    <a:pt x="128" y="1660"/>
                  </a:moveTo>
                  <a:cubicBezTo>
                    <a:pt x="124" y="1662"/>
                    <a:pt x="120" y="1662"/>
                    <a:pt x="119" y="1667"/>
                  </a:cubicBezTo>
                  <a:cubicBezTo>
                    <a:pt x="118" y="1668"/>
                    <a:pt x="117" y="1675"/>
                    <a:pt x="121" y="1672"/>
                  </a:cubicBezTo>
                  <a:cubicBezTo>
                    <a:pt x="125" y="1668"/>
                    <a:pt x="129" y="1663"/>
                    <a:pt x="133" y="1660"/>
                  </a:cubicBezTo>
                  <a:cubicBezTo>
                    <a:pt x="133" y="1660"/>
                    <a:pt x="133" y="1660"/>
                    <a:pt x="133" y="1660"/>
                  </a:cubicBezTo>
                  <a:cubicBezTo>
                    <a:pt x="133" y="1657"/>
                    <a:pt x="130" y="1660"/>
                    <a:pt x="128" y="1660"/>
                  </a:cubicBezTo>
                  <a:close/>
                  <a:moveTo>
                    <a:pt x="213" y="1681"/>
                  </a:moveTo>
                  <a:cubicBezTo>
                    <a:pt x="213" y="1676"/>
                    <a:pt x="203" y="1693"/>
                    <a:pt x="207" y="1695"/>
                  </a:cubicBezTo>
                  <a:cubicBezTo>
                    <a:pt x="214" y="1697"/>
                    <a:pt x="213" y="1684"/>
                    <a:pt x="213" y="1681"/>
                  </a:cubicBezTo>
                  <a:close/>
                  <a:moveTo>
                    <a:pt x="253" y="1790"/>
                  </a:moveTo>
                  <a:cubicBezTo>
                    <a:pt x="245" y="1763"/>
                    <a:pt x="227" y="1812"/>
                    <a:pt x="236" y="1823"/>
                  </a:cubicBezTo>
                  <a:cubicBezTo>
                    <a:pt x="238" y="1826"/>
                    <a:pt x="251" y="1791"/>
                    <a:pt x="252" y="1791"/>
                  </a:cubicBezTo>
                  <a:lnTo>
                    <a:pt x="253" y="1790"/>
                  </a:lnTo>
                  <a:close/>
                  <a:moveTo>
                    <a:pt x="258" y="1543"/>
                  </a:moveTo>
                  <a:cubicBezTo>
                    <a:pt x="259" y="1542"/>
                    <a:pt x="273" y="1524"/>
                    <a:pt x="270" y="1515"/>
                  </a:cubicBezTo>
                  <a:cubicBezTo>
                    <a:pt x="269" y="1514"/>
                    <a:pt x="264" y="1512"/>
                    <a:pt x="265" y="1510"/>
                  </a:cubicBezTo>
                  <a:cubicBezTo>
                    <a:pt x="266" y="1509"/>
                    <a:pt x="283" y="1504"/>
                    <a:pt x="279" y="1500"/>
                  </a:cubicBezTo>
                  <a:cubicBezTo>
                    <a:pt x="271" y="1491"/>
                    <a:pt x="261" y="1509"/>
                    <a:pt x="262" y="1496"/>
                  </a:cubicBezTo>
                  <a:cubicBezTo>
                    <a:pt x="262" y="1488"/>
                    <a:pt x="282" y="1472"/>
                    <a:pt x="275" y="1463"/>
                  </a:cubicBezTo>
                  <a:cubicBezTo>
                    <a:pt x="270" y="1458"/>
                    <a:pt x="261" y="1464"/>
                    <a:pt x="257" y="1465"/>
                  </a:cubicBezTo>
                  <a:cubicBezTo>
                    <a:pt x="254" y="1465"/>
                    <a:pt x="254" y="1458"/>
                    <a:pt x="251" y="1458"/>
                  </a:cubicBezTo>
                  <a:cubicBezTo>
                    <a:pt x="249" y="1457"/>
                    <a:pt x="253" y="1464"/>
                    <a:pt x="246" y="1463"/>
                  </a:cubicBezTo>
                  <a:cubicBezTo>
                    <a:pt x="241" y="1463"/>
                    <a:pt x="249" y="1454"/>
                    <a:pt x="248" y="1453"/>
                  </a:cubicBezTo>
                  <a:cubicBezTo>
                    <a:pt x="245" y="1451"/>
                    <a:pt x="242" y="1457"/>
                    <a:pt x="239" y="1456"/>
                  </a:cubicBezTo>
                  <a:cubicBezTo>
                    <a:pt x="236" y="1454"/>
                    <a:pt x="240" y="1451"/>
                    <a:pt x="239" y="1451"/>
                  </a:cubicBezTo>
                  <a:cubicBezTo>
                    <a:pt x="236" y="1450"/>
                    <a:pt x="201" y="1459"/>
                    <a:pt x="200" y="1460"/>
                  </a:cubicBezTo>
                  <a:cubicBezTo>
                    <a:pt x="198" y="1462"/>
                    <a:pt x="205" y="1464"/>
                    <a:pt x="204" y="1466"/>
                  </a:cubicBezTo>
                  <a:cubicBezTo>
                    <a:pt x="203" y="1467"/>
                    <a:pt x="196" y="1466"/>
                    <a:pt x="196" y="1464"/>
                  </a:cubicBezTo>
                  <a:cubicBezTo>
                    <a:pt x="189" y="1449"/>
                    <a:pt x="195" y="1466"/>
                    <a:pt x="191" y="1470"/>
                  </a:cubicBezTo>
                  <a:cubicBezTo>
                    <a:pt x="189" y="1473"/>
                    <a:pt x="187" y="1468"/>
                    <a:pt x="186" y="1469"/>
                  </a:cubicBezTo>
                  <a:cubicBezTo>
                    <a:pt x="186" y="1469"/>
                    <a:pt x="209" y="1522"/>
                    <a:pt x="198" y="1526"/>
                  </a:cubicBezTo>
                  <a:cubicBezTo>
                    <a:pt x="197" y="1526"/>
                    <a:pt x="197" y="1526"/>
                    <a:pt x="197" y="1526"/>
                  </a:cubicBezTo>
                  <a:cubicBezTo>
                    <a:pt x="187" y="1524"/>
                    <a:pt x="188" y="1511"/>
                    <a:pt x="185" y="1507"/>
                  </a:cubicBezTo>
                  <a:cubicBezTo>
                    <a:pt x="178" y="1500"/>
                    <a:pt x="172" y="1506"/>
                    <a:pt x="169" y="1498"/>
                  </a:cubicBezTo>
                  <a:cubicBezTo>
                    <a:pt x="169" y="1497"/>
                    <a:pt x="169" y="1496"/>
                    <a:pt x="168" y="1496"/>
                  </a:cubicBezTo>
                  <a:cubicBezTo>
                    <a:pt x="141" y="1504"/>
                    <a:pt x="150" y="1534"/>
                    <a:pt x="140" y="1536"/>
                  </a:cubicBezTo>
                  <a:cubicBezTo>
                    <a:pt x="134" y="1537"/>
                    <a:pt x="141" y="1513"/>
                    <a:pt x="129" y="1514"/>
                  </a:cubicBezTo>
                  <a:cubicBezTo>
                    <a:pt x="128" y="1514"/>
                    <a:pt x="135" y="1534"/>
                    <a:pt x="135" y="1536"/>
                  </a:cubicBezTo>
                  <a:cubicBezTo>
                    <a:pt x="134" y="1538"/>
                    <a:pt x="124" y="1529"/>
                    <a:pt x="127" y="1537"/>
                  </a:cubicBezTo>
                  <a:cubicBezTo>
                    <a:pt x="130" y="1547"/>
                    <a:pt x="137" y="1533"/>
                    <a:pt x="134" y="1544"/>
                  </a:cubicBezTo>
                  <a:cubicBezTo>
                    <a:pt x="133" y="1548"/>
                    <a:pt x="134" y="1554"/>
                    <a:pt x="136" y="1556"/>
                  </a:cubicBezTo>
                  <a:cubicBezTo>
                    <a:pt x="138" y="1558"/>
                    <a:pt x="147" y="1560"/>
                    <a:pt x="147" y="1560"/>
                  </a:cubicBezTo>
                  <a:cubicBezTo>
                    <a:pt x="143" y="1574"/>
                    <a:pt x="117" y="1583"/>
                    <a:pt x="117" y="1594"/>
                  </a:cubicBezTo>
                  <a:cubicBezTo>
                    <a:pt x="117" y="1595"/>
                    <a:pt x="117" y="1597"/>
                    <a:pt x="118" y="1597"/>
                  </a:cubicBezTo>
                  <a:cubicBezTo>
                    <a:pt x="132" y="1604"/>
                    <a:pt x="138" y="1584"/>
                    <a:pt x="146" y="1583"/>
                  </a:cubicBezTo>
                  <a:cubicBezTo>
                    <a:pt x="152" y="1582"/>
                    <a:pt x="133" y="1600"/>
                    <a:pt x="139" y="1601"/>
                  </a:cubicBezTo>
                  <a:cubicBezTo>
                    <a:pt x="146" y="1602"/>
                    <a:pt x="151" y="1593"/>
                    <a:pt x="150" y="1589"/>
                  </a:cubicBezTo>
                  <a:cubicBezTo>
                    <a:pt x="149" y="1586"/>
                    <a:pt x="177" y="1580"/>
                    <a:pt x="173" y="1576"/>
                  </a:cubicBezTo>
                  <a:cubicBezTo>
                    <a:pt x="170" y="1574"/>
                    <a:pt x="168" y="1571"/>
                    <a:pt x="174" y="1570"/>
                  </a:cubicBezTo>
                  <a:cubicBezTo>
                    <a:pt x="178" y="1570"/>
                    <a:pt x="177" y="1564"/>
                    <a:pt x="179" y="1564"/>
                  </a:cubicBezTo>
                  <a:cubicBezTo>
                    <a:pt x="179" y="1565"/>
                    <a:pt x="179" y="1565"/>
                    <a:pt x="179" y="1565"/>
                  </a:cubicBezTo>
                  <a:cubicBezTo>
                    <a:pt x="180" y="1567"/>
                    <a:pt x="182" y="1565"/>
                    <a:pt x="184" y="1565"/>
                  </a:cubicBezTo>
                  <a:cubicBezTo>
                    <a:pt x="206" y="1560"/>
                    <a:pt x="184" y="1578"/>
                    <a:pt x="193" y="1579"/>
                  </a:cubicBezTo>
                  <a:cubicBezTo>
                    <a:pt x="194" y="1579"/>
                    <a:pt x="195" y="1579"/>
                    <a:pt x="196" y="1579"/>
                  </a:cubicBezTo>
                  <a:cubicBezTo>
                    <a:pt x="197" y="1579"/>
                    <a:pt x="197" y="1579"/>
                    <a:pt x="197" y="1579"/>
                  </a:cubicBezTo>
                  <a:cubicBezTo>
                    <a:pt x="198" y="1579"/>
                    <a:pt x="198" y="1579"/>
                    <a:pt x="198" y="1579"/>
                  </a:cubicBezTo>
                  <a:cubicBezTo>
                    <a:pt x="199" y="1579"/>
                    <a:pt x="199" y="1579"/>
                    <a:pt x="199" y="1579"/>
                  </a:cubicBezTo>
                  <a:cubicBezTo>
                    <a:pt x="207" y="1578"/>
                    <a:pt x="205" y="1567"/>
                    <a:pt x="211" y="1563"/>
                  </a:cubicBezTo>
                  <a:cubicBezTo>
                    <a:pt x="225" y="1553"/>
                    <a:pt x="237" y="1553"/>
                    <a:pt x="252" y="1549"/>
                  </a:cubicBezTo>
                  <a:cubicBezTo>
                    <a:pt x="253" y="1549"/>
                    <a:pt x="258" y="1544"/>
                    <a:pt x="258" y="1543"/>
                  </a:cubicBezTo>
                  <a:close/>
                  <a:moveTo>
                    <a:pt x="272" y="1768"/>
                  </a:moveTo>
                  <a:cubicBezTo>
                    <a:pt x="263" y="1768"/>
                    <a:pt x="267" y="1797"/>
                    <a:pt x="268" y="1790"/>
                  </a:cubicBezTo>
                  <a:cubicBezTo>
                    <a:pt x="268" y="1790"/>
                    <a:pt x="268" y="1790"/>
                    <a:pt x="268" y="1790"/>
                  </a:cubicBezTo>
                  <a:cubicBezTo>
                    <a:pt x="268" y="1787"/>
                    <a:pt x="275" y="1769"/>
                    <a:pt x="272" y="1768"/>
                  </a:cubicBezTo>
                  <a:close/>
                  <a:moveTo>
                    <a:pt x="277" y="1790"/>
                  </a:moveTo>
                  <a:cubicBezTo>
                    <a:pt x="277" y="1789"/>
                    <a:pt x="277" y="1789"/>
                    <a:pt x="277" y="1789"/>
                  </a:cubicBezTo>
                  <a:cubicBezTo>
                    <a:pt x="276" y="1786"/>
                    <a:pt x="282" y="1779"/>
                    <a:pt x="281" y="1777"/>
                  </a:cubicBezTo>
                  <a:cubicBezTo>
                    <a:pt x="279" y="1772"/>
                    <a:pt x="274" y="1781"/>
                    <a:pt x="273" y="1784"/>
                  </a:cubicBezTo>
                  <a:cubicBezTo>
                    <a:pt x="273" y="1793"/>
                    <a:pt x="278" y="1802"/>
                    <a:pt x="277" y="1790"/>
                  </a:cubicBezTo>
                  <a:close/>
                  <a:moveTo>
                    <a:pt x="280" y="1849"/>
                  </a:moveTo>
                  <a:cubicBezTo>
                    <a:pt x="284" y="1853"/>
                    <a:pt x="287" y="1842"/>
                    <a:pt x="289" y="1837"/>
                  </a:cubicBezTo>
                  <a:cubicBezTo>
                    <a:pt x="289" y="1837"/>
                    <a:pt x="289" y="1837"/>
                    <a:pt x="289" y="1837"/>
                  </a:cubicBezTo>
                  <a:cubicBezTo>
                    <a:pt x="300" y="1831"/>
                    <a:pt x="265" y="1835"/>
                    <a:pt x="280" y="1849"/>
                  </a:cubicBezTo>
                  <a:close/>
                  <a:moveTo>
                    <a:pt x="315" y="1910"/>
                  </a:moveTo>
                  <a:cubicBezTo>
                    <a:pt x="315" y="1907"/>
                    <a:pt x="312" y="1913"/>
                    <a:pt x="311" y="1909"/>
                  </a:cubicBezTo>
                  <a:cubicBezTo>
                    <a:pt x="311" y="1908"/>
                    <a:pt x="309" y="1909"/>
                    <a:pt x="307" y="1908"/>
                  </a:cubicBezTo>
                  <a:cubicBezTo>
                    <a:pt x="303" y="1905"/>
                    <a:pt x="305" y="1911"/>
                    <a:pt x="302" y="1912"/>
                  </a:cubicBezTo>
                  <a:cubicBezTo>
                    <a:pt x="299" y="1913"/>
                    <a:pt x="295" y="1907"/>
                    <a:pt x="294" y="1909"/>
                  </a:cubicBezTo>
                  <a:cubicBezTo>
                    <a:pt x="290" y="1919"/>
                    <a:pt x="316" y="1924"/>
                    <a:pt x="315" y="1910"/>
                  </a:cubicBezTo>
                  <a:close/>
                  <a:moveTo>
                    <a:pt x="339" y="1836"/>
                  </a:moveTo>
                  <a:cubicBezTo>
                    <a:pt x="334" y="1839"/>
                    <a:pt x="337" y="1831"/>
                    <a:pt x="332" y="1829"/>
                  </a:cubicBezTo>
                  <a:cubicBezTo>
                    <a:pt x="329" y="1827"/>
                    <a:pt x="332" y="1850"/>
                    <a:pt x="325" y="1835"/>
                  </a:cubicBezTo>
                  <a:cubicBezTo>
                    <a:pt x="324" y="1832"/>
                    <a:pt x="324" y="1829"/>
                    <a:pt x="323" y="1825"/>
                  </a:cubicBezTo>
                  <a:cubicBezTo>
                    <a:pt x="323" y="1825"/>
                    <a:pt x="323" y="1825"/>
                    <a:pt x="323" y="1825"/>
                  </a:cubicBezTo>
                  <a:cubicBezTo>
                    <a:pt x="319" y="1822"/>
                    <a:pt x="321" y="1829"/>
                    <a:pt x="322" y="1831"/>
                  </a:cubicBezTo>
                  <a:cubicBezTo>
                    <a:pt x="326" y="1843"/>
                    <a:pt x="330" y="1858"/>
                    <a:pt x="340" y="1855"/>
                  </a:cubicBezTo>
                  <a:cubicBezTo>
                    <a:pt x="340" y="1855"/>
                    <a:pt x="332" y="1841"/>
                    <a:pt x="341" y="1846"/>
                  </a:cubicBezTo>
                  <a:cubicBezTo>
                    <a:pt x="352" y="1851"/>
                    <a:pt x="340" y="1836"/>
                    <a:pt x="339" y="1836"/>
                  </a:cubicBezTo>
                  <a:close/>
                  <a:moveTo>
                    <a:pt x="334" y="1804"/>
                  </a:moveTo>
                  <a:cubicBezTo>
                    <a:pt x="341" y="1806"/>
                    <a:pt x="347" y="1794"/>
                    <a:pt x="338" y="1791"/>
                  </a:cubicBezTo>
                  <a:cubicBezTo>
                    <a:pt x="339" y="1790"/>
                    <a:pt x="339" y="1790"/>
                    <a:pt x="339" y="1790"/>
                  </a:cubicBezTo>
                  <a:cubicBezTo>
                    <a:pt x="342" y="1786"/>
                    <a:pt x="317" y="1797"/>
                    <a:pt x="334" y="1804"/>
                  </a:cubicBezTo>
                  <a:close/>
                  <a:moveTo>
                    <a:pt x="349" y="1599"/>
                  </a:moveTo>
                  <a:cubicBezTo>
                    <a:pt x="349" y="1599"/>
                    <a:pt x="349" y="1599"/>
                    <a:pt x="349" y="1599"/>
                  </a:cubicBezTo>
                  <a:cubicBezTo>
                    <a:pt x="349" y="1599"/>
                    <a:pt x="349" y="1599"/>
                    <a:pt x="349" y="1599"/>
                  </a:cubicBezTo>
                  <a:cubicBezTo>
                    <a:pt x="349" y="1599"/>
                    <a:pt x="349" y="1599"/>
                    <a:pt x="349" y="1599"/>
                  </a:cubicBezTo>
                  <a:cubicBezTo>
                    <a:pt x="348" y="1595"/>
                    <a:pt x="333" y="1597"/>
                    <a:pt x="334" y="1602"/>
                  </a:cubicBezTo>
                  <a:cubicBezTo>
                    <a:pt x="335" y="1607"/>
                    <a:pt x="347" y="1602"/>
                    <a:pt x="349" y="1599"/>
                  </a:cubicBezTo>
                  <a:close/>
                  <a:moveTo>
                    <a:pt x="354" y="1791"/>
                  </a:moveTo>
                  <a:cubicBezTo>
                    <a:pt x="354" y="1790"/>
                    <a:pt x="354" y="1790"/>
                    <a:pt x="354" y="1790"/>
                  </a:cubicBezTo>
                  <a:cubicBezTo>
                    <a:pt x="354" y="1784"/>
                    <a:pt x="347" y="1790"/>
                    <a:pt x="348" y="1791"/>
                  </a:cubicBezTo>
                  <a:cubicBezTo>
                    <a:pt x="350" y="1793"/>
                    <a:pt x="358" y="1796"/>
                    <a:pt x="354" y="1791"/>
                  </a:cubicBezTo>
                  <a:close/>
                  <a:moveTo>
                    <a:pt x="356" y="1577"/>
                  </a:moveTo>
                  <a:cubicBezTo>
                    <a:pt x="359" y="1570"/>
                    <a:pt x="346" y="1572"/>
                    <a:pt x="344" y="1568"/>
                  </a:cubicBezTo>
                  <a:cubicBezTo>
                    <a:pt x="342" y="1565"/>
                    <a:pt x="365" y="1522"/>
                    <a:pt x="350" y="1526"/>
                  </a:cubicBezTo>
                  <a:cubicBezTo>
                    <a:pt x="349" y="1526"/>
                    <a:pt x="350" y="1533"/>
                    <a:pt x="348" y="1535"/>
                  </a:cubicBezTo>
                  <a:cubicBezTo>
                    <a:pt x="335" y="1551"/>
                    <a:pt x="334" y="1544"/>
                    <a:pt x="317" y="1562"/>
                  </a:cubicBezTo>
                  <a:cubicBezTo>
                    <a:pt x="315" y="1564"/>
                    <a:pt x="288" y="1624"/>
                    <a:pt x="287" y="1632"/>
                  </a:cubicBezTo>
                  <a:cubicBezTo>
                    <a:pt x="287" y="1638"/>
                    <a:pt x="267" y="1681"/>
                    <a:pt x="286" y="1681"/>
                  </a:cubicBezTo>
                  <a:cubicBezTo>
                    <a:pt x="294" y="1681"/>
                    <a:pt x="296" y="1656"/>
                    <a:pt x="306" y="1650"/>
                  </a:cubicBezTo>
                  <a:cubicBezTo>
                    <a:pt x="307" y="1650"/>
                    <a:pt x="307" y="1650"/>
                    <a:pt x="307" y="1650"/>
                  </a:cubicBezTo>
                  <a:cubicBezTo>
                    <a:pt x="320" y="1634"/>
                    <a:pt x="317" y="1609"/>
                    <a:pt x="328" y="1596"/>
                  </a:cubicBezTo>
                  <a:cubicBezTo>
                    <a:pt x="336" y="1586"/>
                    <a:pt x="352" y="1587"/>
                    <a:pt x="356" y="1577"/>
                  </a:cubicBezTo>
                  <a:close/>
                  <a:moveTo>
                    <a:pt x="358" y="1764"/>
                  </a:moveTo>
                  <a:cubicBezTo>
                    <a:pt x="357" y="1763"/>
                    <a:pt x="357" y="1763"/>
                    <a:pt x="357" y="1763"/>
                  </a:cubicBezTo>
                  <a:cubicBezTo>
                    <a:pt x="356" y="1759"/>
                    <a:pt x="355" y="1783"/>
                    <a:pt x="361" y="1781"/>
                  </a:cubicBezTo>
                  <a:cubicBezTo>
                    <a:pt x="361" y="1781"/>
                    <a:pt x="359" y="1764"/>
                    <a:pt x="358" y="1764"/>
                  </a:cubicBezTo>
                  <a:close/>
                  <a:moveTo>
                    <a:pt x="371" y="1822"/>
                  </a:moveTo>
                  <a:cubicBezTo>
                    <a:pt x="371" y="1822"/>
                    <a:pt x="371" y="1822"/>
                    <a:pt x="371" y="1822"/>
                  </a:cubicBezTo>
                  <a:cubicBezTo>
                    <a:pt x="370" y="1820"/>
                    <a:pt x="369" y="1821"/>
                    <a:pt x="368" y="1822"/>
                  </a:cubicBezTo>
                  <a:cubicBezTo>
                    <a:pt x="366" y="1824"/>
                    <a:pt x="356" y="1818"/>
                    <a:pt x="365" y="1828"/>
                  </a:cubicBezTo>
                  <a:cubicBezTo>
                    <a:pt x="371" y="1833"/>
                    <a:pt x="374" y="1829"/>
                    <a:pt x="371" y="1822"/>
                  </a:cubicBezTo>
                  <a:close/>
                  <a:moveTo>
                    <a:pt x="390" y="1651"/>
                  </a:moveTo>
                  <a:cubicBezTo>
                    <a:pt x="390" y="1650"/>
                    <a:pt x="390" y="1650"/>
                    <a:pt x="390" y="1650"/>
                  </a:cubicBezTo>
                  <a:cubicBezTo>
                    <a:pt x="389" y="1644"/>
                    <a:pt x="386" y="1650"/>
                    <a:pt x="385" y="1648"/>
                  </a:cubicBezTo>
                  <a:cubicBezTo>
                    <a:pt x="376" y="1637"/>
                    <a:pt x="375" y="1646"/>
                    <a:pt x="368" y="1645"/>
                  </a:cubicBezTo>
                  <a:cubicBezTo>
                    <a:pt x="366" y="1644"/>
                    <a:pt x="363" y="1646"/>
                    <a:pt x="362" y="1643"/>
                  </a:cubicBezTo>
                  <a:cubicBezTo>
                    <a:pt x="362" y="1641"/>
                    <a:pt x="359" y="1625"/>
                    <a:pt x="359" y="1634"/>
                  </a:cubicBezTo>
                  <a:cubicBezTo>
                    <a:pt x="360" y="1638"/>
                    <a:pt x="357" y="1641"/>
                    <a:pt x="357" y="1641"/>
                  </a:cubicBezTo>
                  <a:cubicBezTo>
                    <a:pt x="358" y="1645"/>
                    <a:pt x="372" y="1663"/>
                    <a:pt x="375" y="1663"/>
                  </a:cubicBezTo>
                  <a:cubicBezTo>
                    <a:pt x="375" y="1663"/>
                    <a:pt x="375" y="1649"/>
                    <a:pt x="379" y="1651"/>
                  </a:cubicBezTo>
                  <a:cubicBezTo>
                    <a:pt x="381" y="1652"/>
                    <a:pt x="385" y="1669"/>
                    <a:pt x="389" y="1666"/>
                  </a:cubicBezTo>
                  <a:cubicBezTo>
                    <a:pt x="394" y="1663"/>
                    <a:pt x="381" y="1651"/>
                    <a:pt x="386" y="1652"/>
                  </a:cubicBezTo>
                  <a:cubicBezTo>
                    <a:pt x="389" y="1652"/>
                    <a:pt x="393" y="1662"/>
                    <a:pt x="390" y="1651"/>
                  </a:cubicBezTo>
                  <a:close/>
                  <a:moveTo>
                    <a:pt x="405" y="1500"/>
                  </a:moveTo>
                  <a:cubicBezTo>
                    <a:pt x="405" y="1500"/>
                    <a:pt x="405" y="1500"/>
                    <a:pt x="405" y="1500"/>
                  </a:cubicBezTo>
                  <a:cubicBezTo>
                    <a:pt x="384" y="1500"/>
                    <a:pt x="406" y="1516"/>
                    <a:pt x="405" y="1500"/>
                  </a:cubicBezTo>
                  <a:close/>
                  <a:moveTo>
                    <a:pt x="425" y="1579"/>
                  </a:moveTo>
                  <a:cubicBezTo>
                    <a:pt x="427" y="1577"/>
                    <a:pt x="455" y="1576"/>
                    <a:pt x="433" y="1575"/>
                  </a:cubicBezTo>
                  <a:cubicBezTo>
                    <a:pt x="426" y="1575"/>
                    <a:pt x="420" y="1574"/>
                    <a:pt x="413" y="1574"/>
                  </a:cubicBezTo>
                  <a:cubicBezTo>
                    <a:pt x="413" y="1574"/>
                    <a:pt x="413" y="1574"/>
                    <a:pt x="413" y="1574"/>
                  </a:cubicBezTo>
                  <a:cubicBezTo>
                    <a:pt x="394" y="1582"/>
                    <a:pt x="412" y="1589"/>
                    <a:pt x="425" y="1579"/>
                  </a:cubicBezTo>
                  <a:close/>
                  <a:moveTo>
                    <a:pt x="433" y="1518"/>
                  </a:moveTo>
                  <a:cubicBezTo>
                    <a:pt x="427" y="1518"/>
                    <a:pt x="440" y="1520"/>
                    <a:pt x="441" y="1520"/>
                  </a:cubicBezTo>
                  <a:cubicBezTo>
                    <a:pt x="460" y="1523"/>
                    <a:pt x="447" y="1516"/>
                    <a:pt x="435" y="1509"/>
                  </a:cubicBezTo>
                  <a:cubicBezTo>
                    <a:pt x="434" y="1509"/>
                    <a:pt x="434" y="1509"/>
                    <a:pt x="434" y="1509"/>
                  </a:cubicBezTo>
                  <a:cubicBezTo>
                    <a:pt x="416" y="1506"/>
                    <a:pt x="448" y="1518"/>
                    <a:pt x="433" y="1518"/>
                  </a:cubicBezTo>
                  <a:close/>
                  <a:moveTo>
                    <a:pt x="447" y="1650"/>
                  </a:moveTo>
                  <a:cubicBezTo>
                    <a:pt x="447" y="1650"/>
                    <a:pt x="447" y="1650"/>
                    <a:pt x="447" y="1650"/>
                  </a:cubicBezTo>
                  <a:cubicBezTo>
                    <a:pt x="442" y="1646"/>
                    <a:pt x="435" y="1650"/>
                    <a:pt x="433" y="1647"/>
                  </a:cubicBezTo>
                  <a:cubicBezTo>
                    <a:pt x="431" y="1645"/>
                    <a:pt x="431" y="1645"/>
                    <a:pt x="428" y="1647"/>
                  </a:cubicBezTo>
                  <a:cubicBezTo>
                    <a:pt x="422" y="1651"/>
                    <a:pt x="437" y="1668"/>
                    <a:pt x="441" y="1659"/>
                  </a:cubicBezTo>
                  <a:cubicBezTo>
                    <a:pt x="443" y="1654"/>
                    <a:pt x="420" y="1652"/>
                    <a:pt x="440" y="1650"/>
                  </a:cubicBezTo>
                  <a:cubicBezTo>
                    <a:pt x="443" y="1650"/>
                    <a:pt x="445" y="1651"/>
                    <a:pt x="447" y="1650"/>
                  </a:cubicBezTo>
                  <a:close/>
                  <a:moveTo>
                    <a:pt x="442" y="1555"/>
                  </a:moveTo>
                  <a:cubicBezTo>
                    <a:pt x="442" y="1554"/>
                    <a:pt x="442" y="1554"/>
                    <a:pt x="442" y="1554"/>
                  </a:cubicBezTo>
                  <a:cubicBezTo>
                    <a:pt x="438" y="1552"/>
                    <a:pt x="430" y="1566"/>
                    <a:pt x="441" y="1567"/>
                  </a:cubicBezTo>
                  <a:cubicBezTo>
                    <a:pt x="459" y="1568"/>
                    <a:pt x="452" y="1563"/>
                    <a:pt x="442" y="1555"/>
                  </a:cubicBezTo>
                  <a:close/>
                  <a:moveTo>
                    <a:pt x="490" y="1525"/>
                  </a:moveTo>
                  <a:cubicBezTo>
                    <a:pt x="503" y="1535"/>
                    <a:pt x="490" y="1533"/>
                    <a:pt x="500" y="1537"/>
                  </a:cubicBezTo>
                  <a:cubicBezTo>
                    <a:pt x="502" y="1537"/>
                    <a:pt x="510" y="1541"/>
                    <a:pt x="511" y="1539"/>
                  </a:cubicBezTo>
                  <a:cubicBezTo>
                    <a:pt x="511" y="1539"/>
                    <a:pt x="504" y="1535"/>
                    <a:pt x="504" y="1534"/>
                  </a:cubicBezTo>
                  <a:cubicBezTo>
                    <a:pt x="502" y="1526"/>
                    <a:pt x="500" y="1524"/>
                    <a:pt x="497" y="1523"/>
                  </a:cubicBezTo>
                  <a:cubicBezTo>
                    <a:pt x="497" y="1523"/>
                    <a:pt x="497" y="1523"/>
                    <a:pt x="497" y="1523"/>
                  </a:cubicBezTo>
                  <a:cubicBezTo>
                    <a:pt x="494" y="1524"/>
                    <a:pt x="483" y="1521"/>
                    <a:pt x="490" y="1525"/>
                  </a:cubicBezTo>
                  <a:close/>
                  <a:moveTo>
                    <a:pt x="447" y="1468"/>
                  </a:moveTo>
                  <a:cubicBezTo>
                    <a:pt x="446" y="1469"/>
                    <a:pt x="446" y="1469"/>
                    <a:pt x="446" y="1469"/>
                  </a:cubicBezTo>
                  <a:cubicBezTo>
                    <a:pt x="432" y="1469"/>
                    <a:pt x="430" y="1469"/>
                    <a:pt x="424" y="1466"/>
                  </a:cubicBezTo>
                  <a:cubicBezTo>
                    <a:pt x="414" y="1460"/>
                    <a:pt x="406" y="1467"/>
                    <a:pt x="398" y="1469"/>
                  </a:cubicBezTo>
                  <a:cubicBezTo>
                    <a:pt x="395" y="1469"/>
                    <a:pt x="379" y="1465"/>
                    <a:pt x="378" y="1468"/>
                  </a:cubicBezTo>
                  <a:cubicBezTo>
                    <a:pt x="377" y="1472"/>
                    <a:pt x="384" y="1470"/>
                    <a:pt x="385" y="1470"/>
                  </a:cubicBezTo>
                  <a:cubicBezTo>
                    <a:pt x="388" y="1471"/>
                    <a:pt x="407" y="1471"/>
                    <a:pt x="407" y="1471"/>
                  </a:cubicBezTo>
                  <a:cubicBezTo>
                    <a:pt x="411" y="1472"/>
                    <a:pt x="404" y="1473"/>
                    <a:pt x="406" y="1476"/>
                  </a:cubicBezTo>
                  <a:cubicBezTo>
                    <a:pt x="409" y="1478"/>
                    <a:pt x="413" y="1475"/>
                    <a:pt x="415" y="1477"/>
                  </a:cubicBezTo>
                  <a:cubicBezTo>
                    <a:pt x="416" y="1478"/>
                    <a:pt x="403" y="1491"/>
                    <a:pt x="423" y="1489"/>
                  </a:cubicBezTo>
                  <a:cubicBezTo>
                    <a:pt x="440" y="1487"/>
                    <a:pt x="432" y="1483"/>
                    <a:pt x="442" y="1479"/>
                  </a:cubicBezTo>
                  <a:cubicBezTo>
                    <a:pt x="448" y="1476"/>
                    <a:pt x="483" y="1473"/>
                    <a:pt x="485" y="1465"/>
                  </a:cubicBezTo>
                  <a:cubicBezTo>
                    <a:pt x="485" y="1464"/>
                    <a:pt x="481" y="1466"/>
                    <a:pt x="479" y="1467"/>
                  </a:cubicBezTo>
                  <a:cubicBezTo>
                    <a:pt x="472" y="1470"/>
                    <a:pt x="452" y="1466"/>
                    <a:pt x="447" y="1468"/>
                  </a:cubicBezTo>
                  <a:close/>
                  <a:moveTo>
                    <a:pt x="447" y="1374"/>
                  </a:moveTo>
                  <a:cubicBezTo>
                    <a:pt x="447" y="1373"/>
                    <a:pt x="447" y="1373"/>
                    <a:pt x="447" y="1373"/>
                  </a:cubicBezTo>
                  <a:cubicBezTo>
                    <a:pt x="448" y="1370"/>
                    <a:pt x="443" y="1371"/>
                    <a:pt x="442" y="1371"/>
                  </a:cubicBezTo>
                  <a:cubicBezTo>
                    <a:pt x="434" y="1372"/>
                    <a:pt x="440" y="1374"/>
                    <a:pt x="440" y="1374"/>
                  </a:cubicBezTo>
                  <a:cubicBezTo>
                    <a:pt x="437" y="1376"/>
                    <a:pt x="441" y="1377"/>
                    <a:pt x="443" y="1378"/>
                  </a:cubicBezTo>
                  <a:cubicBezTo>
                    <a:pt x="450" y="1384"/>
                    <a:pt x="446" y="1378"/>
                    <a:pt x="447" y="1374"/>
                  </a:cubicBezTo>
                  <a:close/>
                  <a:moveTo>
                    <a:pt x="447" y="1077"/>
                  </a:moveTo>
                  <a:cubicBezTo>
                    <a:pt x="446" y="1077"/>
                    <a:pt x="446" y="1077"/>
                    <a:pt x="446" y="1077"/>
                  </a:cubicBezTo>
                  <a:cubicBezTo>
                    <a:pt x="436" y="1065"/>
                    <a:pt x="445" y="1079"/>
                    <a:pt x="439" y="1076"/>
                  </a:cubicBezTo>
                  <a:cubicBezTo>
                    <a:pt x="438" y="1075"/>
                    <a:pt x="433" y="1074"/>
                    <a:pt x="432" y="1076"/>
                  </a:cubicBezTo>
                  <a:cubicBezTo>
                    <a:pt x="432" y="1077"/>
                    <a:pt x="435" y="1079"/>
                    <a:pt x="436" y="1080"/>
                  </a:cubicBezTo>
                  <a:cubicBezTo>
                    <a:pt x="439" y="1083"/>
                    <a:pt x="449" y="1080"/>
                    <a:pt x="449" y="1080"/>
                  </a:cubicBezTo>
                  <a:cubicBezTo>
                    <a:pt x="449" y="1078"/>
                    <a:pt x="451" y="1078"/>
                    <a:pt x="447" y="1077"/>
                  </a:cubicBezTo>
                  <a:close/>
                  <a:moveTo>
                    <a:pt x="470" y="672"/>
                  </a:moveTo>
                  <a:cubicBezTo>
                    <a:pt x="473" y="675"/>
                    <a:pt x="473" y="680"/>
                    <a:pt x="477" y="683"/>
                  </a:cubicBezTo>
                  <a:cubicBezTo>
                    <a:pt x="489" y="692"/>
                    <a:pt x="466" y="668"/>
                    <a:pt x="486" y="680"/>
                  </a:cubicBezTo>
                  <a:cubicBezTo>
                    <a:pt x="494" y="685"/>
                    <a:pt x="504" y="691"/>
                    <a:pt x="511" y="699"/>
                  </a:cubicBezTo>
                  <a:cubicBezTo>
                    <a:pt x="512" y="700"/>
                    <a:pt x="514" y="709"/>
                    <a:pt x="515" y="709"/>
                  </a:cubicBezTo>
                  <a:cubicBezTo>
                    <a:pt x="516" y="708"/>
                    <a:pt x="517" y="706"/>
                    <a:pt x="517" y="705"/>
                  </a:cubicBezTo>
                  <a:cubicBezTo>
                    <a:pt x="515" y="700"/>
                    <a:pt x="509" y="686"/>
                    <a:pt x="502" y="683"/>
                  </a:cubicBezTo>
                  <a:cubicBezTo>
                    <a:pt x="493" y="680"/>
                    <a:pt x="442" y="653"/>
                    <a:pt x="440" y="641"/>
                  </a:cubicBezTo>
                  <a:cubicBezTo>
                    <a:pt x="440" y="640"/>
                    <a:pt x="440" y="640"/>
                    <a:pt x="440" y="640"/>
                  </a:cubicBezTo>
                  <a:cubicBezTo>
                    <a:pt x="435" y="635"/>
                    <a:pt x="442" y="649"/>
                    <a:pt x="443" y="650"/>
                  </a:cubicBezTo>
                  <a:cubicBezTo>
                    <a:pt x="449" y="660"/>
                    <a:pt x="460" y="664"/>
                    <a:pt x="470" y="672"/>
                  </a:cubicBezTo>
                  <a:close/>
                  <a:moveTo>
                    <a:pt x="512" y="1088"/>
                  </a:moveTo>
                  <a:cubicBezTo>
                    <a:pt x="512" y="1088"/>
                    <a:pt x="512" y="1088"/>
                    <a:pt x="512" y="1088"/>
                  </a:cubicBezTo>
                  <a:cubicBezTo>
                    <a:pt x="509" y="1088"/>
                    <a:pt x="505" y="1088"/>
                    <a:pt x="502" y="1089"/>
                  </a:cubicBezTo>
                  <a:cubicBezTo>
                    <a:pt x="489" y="1091"/>
                    <a:pt x="540" y="1116"/>
                    <a:pt x="512" y="1088"/>
                  </a:cubicBezTo>
                  <a:close/>
                  <a:moveTo>
                    <a:pt x="515" y="1109"/>
                  </a:moveTo>
                  <a:cubicBezTo>
                    <a:pt x="520" y="1112"/>
                    <a:pt x="512" y="1101"/>
                    <a:pt x="504" y="1098"/>
                  </a:cubicBezTo>
                  <a:cubicBezTo>
                    <a:pt x="504" y="1098"/>
                    <a:pt x="504" y="1098"/>
                    <a:pt x="504" y="1098"/>
                  </a:cubicBezTo>
                  <a:cubicBezTo>
                    <a:pt x="496" y="1098"/>
                    <a:pt x="509" y="1105"/>
                    <a:pt x="503" y="1104"/>
                  </a:cubicBezTo>
                  <a:cubicBezTo>
                    <a:pt x="493" y="1103"/>
                    <a:pt x="512" y="1108"/>
                    <a:pt x="515" y="1109"/>
                  </a:cubicBezTo>
                  <a:close/>
                  <a:moveTo>
                    <a:pt x="501" y="1285"/>
                  </a:moveTo>
                  <a:cubicBezTo>
                    <a:pt x="506" y="1290"/>
                    <a:pt x="526" y="1290"/>
                    <a:pt x="527" y="1279"/>
                  </a:cubicBezTo>
                  <a:cubicBezTo>
                    <a:pt x="527" y="1279"/>
                    <a:pt x="527" y="1279"/>
                    <a:pt x="527" y="1279"/>
                  </a:cubicBezTo>
                  <a:cubicBezTo>
                    <a:pt x="528" y="1278"/>
                    <a:pt x="498" y="1282"/>
                    <a:pt x="501" y="1285"/>
                  </a:cubicBezTo>
                  <a:close/>
                  <a:moveTo>
                    <a:pt x="527" y="811"/>
                  </a:moveTo>
                  <a:cubicBezTo>
                    <a:pt x="527" y="811"/>
                    <a:pt x="527" y="811"/>
                    <a:pt x="527" y="811"/>
                  </a:cubicBezTo>
                  <a:cubicBezTo>
                    <a:pt x="526" y="809"/>
                    <a:pt x="526" y="815"/>
                    <a:pt x="525" y="817"/>
                  </a:cubicBezTo>
                  <a:cubicBezTo>
                    <a:pt x="522" y="821"/>
                    <a:pt x="511" y="808"/>
                    <a:pt x="511" y="812"/>
                  </a:cubicBezTo>
                  <a:cubicBezTo>
                    <a:pt x="508" y="825"/>
                    <a:pt x="546" y="827"/>
                    <a:pt x="527" y="811"/>
                  </a:cubicBezTo>
                  <a:close/>
                  <a:moveTo>
                    <a:pt x="476" y="1124"/>
                  </a:moveTo>
                  <a:cubicBezTo>
                    <a:pt x="476" y="1124"/>
                    <a:pt x="476" y="1124"/>
                    <a:pt x="476" y="1124"/>
                  </a:cubicBezTo>
                  <a:cubicBezTo>
                    <a:pt x="476" y="1122"/>
                    <a:pt x="474" y="1118"/>
                    <a:pt x="473" y="1122"/>
                  </a:cubicBezTo>
                  <a:cubicBezTo>
                    <a:pt x="473" y="1126"/>
                    <a:pt x="462" y="1120"/>
                    <a:pt x="462" y="1124"/>
                  </a:cubicBezTo>
                  <a:cubicBezTo>
                    <a:pt x="462" y="1129"/>
                    <a:pt x="469" y="1128"/>
                    <a:pt x="472" y="1128"/>
                  </a:cubicBezTo>
                  <a:cubicBezTo>
                    <a:pt x="476" y="1130"/>
                    <a:pt x="479" y="1146"/>
                    <a:pt x="482" y="1144"/>
                  </a:cubicBezTo>
                  <a:cubicBezTo>
                    <a:pt x="485" y="1143"/>
                    <a:pt x="476" y="1127"/>
                    <a:pt x="476" y="1124"/>
                  </a:cubicBezTo>
                  <a:close/>
                  <a:moveTo>
                    <a:pt x="499" y="976"/>
                  </a:moveTo>
                  <a:cubicBezTo>
                    <a:pt x="500" y="976"/>
                    <a:pt x="514" y="989"/>
                    <a:pt x="515" y="987"/>
                  </a:cubicBezTo>
                  <a:cubicBezTo>
                    <a:pt x="519" y="982"/>
                    <a:pt x="488" y="970"/>
                    <a:pt x="488" y="970"/>
                  </a:cubicBezTo>
                  <a:cubicBezTo>
                    <a:pt x="488" y="970"/>
                    <a:pt x="488" y="970"/>
                    <a:pt x="488" y="970"/>
                  </a:cubicBezTo>
                  <a:cubicBezTo>
                    <a:pt x="481" y="968"/>
                    <a:pt x="472" y="966"/>
                    <a:pt x="472" y="967"/>
                  </a:cubicBezTo>
                  <a:cubicBezTo>
                    <a:pt x="474" y="978"/>
                    <a:pt x="493" y="972"/>
                    <a:pt x="499" y="976"/>
                  </a:cubicBezTo>
                  <a:close/>
                  <a:moveTo>
                    <a:pt x="558" y="1344"/>
                  </a:moveTo>
                  <a:cubicBezTo>
                    <a:pt x="557" y="1347"/>
                    <a:pt x="573" y="1347"/>
                    <a:pt x="573" y="1343"/>
                  </a:cubicBezTo>
                  <a:cubicBezTo>
                    <a:pt x="573" y="1343"/>
                    <a:pt x="573" y="1343"/>
                    <a:pt x="573" y="1343"/>
                  </a:cubicBezTo>
                  <a:cubicBezTo>
                    <a:pt x="577" y="1339"/>
                    <a:pt x="560" y="1340"/>
                    <a:pt x="558" y="1344"/>
                  </a:cubicBezTo>
                  <a:close/>
                  <a:moveTo>
                    <a:pt x="517" y="1327"/>
                  </a:moveTo>
                  <a:cubicBezTo>
                    <a:pt x="513" y="1329"/>
                    <a:pt x="518" y="1337"/>
                    <a:pt x="514" y="1339"/>
                  </a:cubicBezTo>
                  <a:cubicBezTo>
                    <a:pt x="511" y="1340"/>
                    <a:pt x="489" y="1340"/>
                    <a:pt x="489" y="1340"/>
                  </a:cubicBezTo>
                  <a:cubicBezTo>
                    <a:pt x="489" y="1347"/>
                    <a:pt x="510" y="1338"/>
                    <a:pt x="516" y="1342"/>
                  </a:cubicBezTo>
                  <a:cubicBezTo>
                    <a:pt x="528" y="1349"/>
                    <a:pt x="515" y="1335"/>
                    <a:pt x="523" y="1328"/>
                  </a:cubicBezTo>
                  <a:cubicBezTo>
                    <a:pt x="527" y="1325"/>
                    <a:pt x="534" y="1329"/>
                    <a:pt x="536" y="1327"/>
                  </a:cubicBezTo>
                  <a:cubicBezTo>
                    <a:pt x="537" y="1327"/>
                    <a:pt x="537" y="1327"/>
                    <a:pt x="537" y="1327"/>
                  </a:cubicBezTo>
                  <a:cubicBezTo>
                    <a:pt x="539" y="1325"/>
                    <a:pt x="538" y="1319"/>
                    <a:pt x="541" y="1317"/>
                  </a:cubicBezTo>
                  <a:cubicBezTo>
                    <a:pt x="550" y="1311"/>
                    <a:pt x="543" y="1323"/>
                    <a:pt x="548" y="1321"/>
                  </a:cubicBezTo>
                  <a:cubicBezTo>
                    <a:pt x="553" y="1320"/>
                    <a:pt x="568" y="1308"/>
                    <a:pt x="572" y="1303"/>
                  </a:cubicBezTo>
                  <a:cubicBezTo>
                    <a:pt x="579" y="1291"/>
                    <a:pt x="562" y="1290"/>
                    <a:pt x="570" y="1298"/>
                  </a:cubicBezTo>
                  <a:cubicBezTo>
                    <a:pt x="570" y="1298"/>
                    <a:pt x="571" y="1299"/>
                    <a:pt x="571" y="1299"/>
                  </a:cubicBezTo>
                  <a:cubicBezTo>
                    <a:pt x="572" y="1301"/>
                    <a:pt x="548" y="1308"/>
                    <a:pt x="547" y="1309"/>
                  </a:cubicBezTo>
                  <a:cubicBezTo>
                    <a:pt x="544" y="1317"/>
                    <a:pt x="525" y="1321"/>
                    <a:pt x="517" y="1327"/>
                  </a:cubicBezTo>
                  <a:close/>
                  <a:moveTo>
                    <a:pt x="551" y="929"/>
                  </a:moveTo>
                  <a:cubicBezTo>
                    <a:pt x="550" y="928"/>
                    <a:pt x="550" y="928"/>
                    <a:pt x="550" y="928"/>
                  </a:cubicBezTo>
                  <a:cubicBezTo>
                    <a:pt x="549" y="927"/>
                    <a:pt x="530" y="909"/>
                    <a:pt x="528" y="916"/>
                  </a:cubicBezTo>
                  <a:cubicBezTo>
                    <a:pt x="528" y="917"/>
                    <a:pt x="554" y="935"/>
                    <a:pt x="551" y="929"/>
                  </a:cubicBezTo>
                  <a:close/>
                  <a:moveTo>
                    <a:pt x="543" y="614"/>
                  </a:moveTo>
                  <a:cubicBezTo>
                    <a:pt x="542" y="612"/>
                    <a:pt x="546" y="615"/>
                    <a:pt x="544" y="611"/>
                  </a:cubicBezTo>
                  <a:cubicBezTo>
                    <a:pt x="543" y="607"/>
                    <a:pt x="539" y="602"/>
                    <a:pt x="536" y="600"/>
                  </a:cubicBezTo>
                  <a:cubicBezTo>
                    <a:pt x="532" y="596"/>
                    <a:pt x="507" y="579"/>
                    <a:pt x="503" y="580"/>
                  </a:cubicBezTo>
                  <a:cubicBezTo>
                    <a:pt x="502" y="580"/>
                    <a:pt x="513" y="593"/>
                    <a:pt x="501" y="586"/>
                  </a:cubicBezTo>
                  <a:cubicBezTo>
                    <a:pt x="493" y="581"/>
                    <a:pt x="502" y="578"/>
                    <a:pt x="492" y="572"/>
                  </a:cubicBezTo>
                  <a:cubicBezTo>
                    <a:pt x="488" y="569"/>
                    <a:pt x="482" y="571"/>
                    <a:pt x="478" y="569"/>
                  </a:cubicBezTo>
                  <a:cubicBezTo>
                    <a:pt x="477" y="568"/>
                    <a:pt x="470" y="564"/>
                    <a:pt x="470" y="564"/>
                  </a:cubicBezTo>
                  <a:cubicBezTo>
                    <a:pt x="467" y="565"/>
                    <a:pt x="475" y="570"/>
                    <a:pt x="475" y="570"/>
                  </a:cubicBezTo>
                  <a:cubicBezTo>
                    <a:pt x="478" y="574"/>
                    <a:pt x="492" y="575"/>
                    <a:pt x="493" y="579"/>
                  </a:cubicBezTo>
                  <a:cubicBezTo>
                    <a:pt x="494" y="580"/>
                    <a:pt x="491" y="586"/>
                    <a:pt x="492" y="589"/>
                  </a:cubicBezTo>
                  <a:cubicBezTo>
                    <a:pt x="492" y="592"/>
                    <a:pt x="498" y="590"/>
                    <a:pt x="501" y="591"/>
                  </a:cubicBezTo>
                  <a:cubicBezTo>
                    <a:pt x="505" y="592"/>
                    <a:pt x="506" y="596"/>
                    <a:pt x="508" y="599"/>
                  </a:cubicBezTo>
                  <a:cubicBezTo>
                    <a:pt x="515" y="604"/>
                    <a:pt x="525" y="598"/>
                    <a:pt x="541" y="617"/>
                  </a:cubicBezTo>
                  <a:cubicBezTo>
                    <a:pt x="542" y="617"/>
                    <a:pt x="542" y="617"/>
                    <a:pt x="542" y="617"/>
                  </a:cubicBezTo>
                  <a:cubicBezTo>
                    <a:pt x="543" y="620"/>
                    <a:pt x="556" y="625"/>
                    <a:pt x="558" y="621"/>
                  </a:cubicBezTo>
                  <a:cubicBezTo>
                    <a:pt x="559" y="615"/>
                    <a:pt x="546" y="619"/>
                    <a:pt x="543" y="614"/>
                  </a:cubicBezTo>
                  <a:close/>
                  <a:moveTo>
                    <a:pt x="577" y="531"/>
                  </a:moveTo>
                  <a:cubicBezTo>
                    <a:pt x="571" y="525"/>
                    <a:pt x="534" y="507"/>
                    <a:pt x="525" y="507"/>
                  </a:cubicBezTo>
                  <a:cubicBezTo>
                    <a:pt x="524" y="507"/>
                    <a:pt x="524" y="507"/>
                    <a:pt x="523" y="507"/>
                  </a:cubicBezTo>
                  <a:cubicBezTo>
                    <a:pt x="523" y="507"/>
                    <a:pt x="531" y="510"/>
                    <a:pt x="531" y="510"/>
                  </a:cubicBezTo>
                  <a:cubicBezTo>
                    <a:pt x="533" y="511"/>
                    <a:pt x="541" y="517"/>
                    <a:pt x="543" y="519"/>
                  </a:cubicBezTo>
                  <a:cubicBezTo>
                    <a:pt x="549" y="528"/>
                    <a:pt x="558" y="523"/>
                    <a:pt x="573" y="532"/>
                  </a:cubicBezTo>
                  <a:cubicBezTo>
                    <a:pt x="576" y="534"/>
                    <a:pt x="571" y="538"/>
                    <a:pt x="577" y="542"/>
                  </a:cubicBezTo>
                  <a:cubicBezTo>
                    <a:pt x="577" y="543"/>
                    <a:pt x="577" y="543"/>
                    <a:pt x="577" y="543"/>
                  </a:cubicBezTo>
                  <a:cubicBezTo>
                    <a:pt x="582" y="546"/>
                    <a:pt x="579" y="533"/>
                    <a:pt x="577" y="531"/>
                  </a:cubicBezTo>
                  <a:close/>
                  <a:moveTo>
                    <a:pt x="658" y="519"/>
                  </a:moveTo>
                  <a:cubicBezTo>
                    <a:pt x="656" y="515"/>
                    <a:pt x="632" y="509"/>
                    <a:pt x="618" y="490"/>
                  </a:cubicBezTo>
                  <a:cubicBezTo>
                    <a:pt x="617" y="489"/>
                    <a:pt x="622" y="480"/>
                    <a:pt x="622" y="479"/>
                  </a:cubicBezTo>
                  <a:cubicBezTo>
                    <a:pt x="623" y="476"/>
                    <a:pt x="613" y="472"/>
                    <a:pt x="618" y="469"/>
                  </a:cubicBezTo>
                  <a:cubicBezTo>
                    <a:pt x="621" y="467"/>
                    <a:pt x="637" y="473"/>
                    <a:pt x="635" y="468"/>
                  </a:cubicBezTo>
                  <a:cubicBezTo>
                    <a:pt x="635" y="467"/>
                    <a:pt x="634" y="467"/>
                    <a:pt x="634" y="466"/>
                  </a:cubicBezTo>
                  <a:cubicBezTo>
                    <a:pt x="628" y="459"/>
                    <a:pt x="618" y="463"/>
                    <a:pt x="609" y="454"/>
                  </a:cubicBezTo>
                  <a:cubicBezTo>
                    <a:pt x="609" y="453"/>
                    <a:pt x="608" y="453"/>
                    <a:pt x="608" y="453"/>
                  </a:cubicBezTo>
                  <a:cubicBezTo>
                    <a:pt x="602" y="451"/>
                    <a:pt x="612" y="452"/>
                    <a:pt x="612" y="451"/>
                  </a:cubicBezTo>
                  <a:cubicBezTo>
                    <a:pt x="613" y="443"/>
                    <a:pt x="594" y="450"/>
                    <a:pt x="590" y="443"/>
                  </a:cubicBezTo>
                  <a:cubicBezTo>
                    <a:pt x="582" y="433"/>
                    <a:pt x="538" y="400"/>
                    <a:pt x="529" y="412"/>
                  </a:cubicBezTo>
                  <a:cubicBezTo>
                    <a:pt x="528" y="413"/>
                    <a:pt x="542" y="415"/>
                    <a:pt x="539" y="416"/>
                  </a:cubicBezTo>
                  <a:cubicBezTo>
                    <a:pt x="530" y="419"/>
                    <a:pt x="556" y="420"/>
                    <a:pt x="563" y="428"/>
                  </a:cubicBezTo>
                  <a:cubicBezTo>
                    <a:pt x="567" y="434"/>
                    <a:pt x="579" y="434"/>
                    <a:pt x="579" y="441"/>
                  </a:cubicBezTo>
                  <a:cubicBezTo>
                    <a:pt x="579" y="441"/>
                    <a:pt x="566" y="441"/>
                    <a:pt x="567" y="442"/>
                  </a:cubicBezTo>
                  <a:cubicBezTo>
                    <a:pt x="582" y="453"/>
                    <a:pt x="602" y="450"/>
                    <a:pt x="612" y="466"/>
                  </a:cubicBezTo>
                  <a:cubicBezTo>
                    <a:pt x="612" y="466"/>
                    <a:pt x="612" y="467"/>
                    <a:pt x="612" y="467"/>
                  </a:cubicBezTo>
                  <a:cubicBezTo>
                    <a:pt x="611" y="467"/>
                    <a:pt x="611" y="467"/>
                    <a:pt x="610" y="467"/>
                  </a:cubicBezTo>
                  <a:cubicBezTo>
                    <a:pt x="604" y="466"/>
                    <a:pt x="606" y="476"/>
                    <a:pt x="601" y="467"/>
                  </a:cubicBezTo>
                  <a:cubicBezTo>
                    <a:pt x="601" y="466"/>
                    <a:pt x="599" y="463"/>
                    <a:pt x="597" y="464"/>
                  </a:cubicBezTo>
                  <a:cubicBezTo>
                    <a:pt x="597" y="465"/>
                    <a:pt x="598" y="471"/>
                    <a:pt x="595" y="470"/>
                  </a:cubicBezTo>
                  <a:cubicBezTo>
                    <a:pt x="592" y="470"/>
                    <a:pt x="590" y="463"/>
                    <a:pt x="587" y="462"/>
                  </a:cubicBezTo>
                  <a:cubicBezTo>
                    <a:pt x="586" y="462"/>
                    <a:pt x="584" y="460"/>
                    <a:pt x="584" y="460"/>
                  </a:cubicBezTo>
                  <a:cubicBezTo>
                    <a:pt x="580" y="461"/>
                    <a:pt x="587" y="473"/>
                    <a:pt x="585" y="470"/>
                  </a:cubicBezTo>
                  <a:cubicBezTo>
                    <a:pt x="583" y="466"/>
                    <a:pt x="579" y="456"/>
                    <a:pt x="573" y="462"/>
                  </a:cubicBezTo>
                  <a:cubicBezTo>
                    <a:pt x="571" y="465"/>
                    <a:pt x="564" y="459"/>
                    <a:pt x="563" y="461"/>
                  </a:cubicBezTo>
                  <a:cubicBezTo>
                    <a:pt x="562" y="464"/>
                    <a:pt x="567" y="464"/>
                    <a:pt x="565" y="466"/>
                  </a:cubicBezTo>
                  <a:cubicBezTo>
                    <a:pt x="564" y="468"/>
                    <a:pt x="570" y="477"/>
                    <a:pt x="570" y="477"/>
                  </a:cubicBezTo>
                  <a:cubicBezTo>
                    <a:pt x="574" y="474"/>
                    <a:pt x="566" y="469"/>
                    <a:pt x="576" y="467"/>
                  </a:cubicBezTo>
                  <a:cubicBezTo>
                    <a:pt x="577" y="466"/>
                    <a:pt x="577" y="467"/>
                    <a:pt x="578" y="467"/>
                  </a:cubicBezTo>
                  <a:cubicBezTo>
                    <a:pt x="581" y="468"/>
                    <a:pt x="582" y="472"/>
                    <a:pt x="583" y="474"/>
                  </a:cubicBezTo>
                  <a:cubicBezTo>
                    <a:pt x="589" y="479"/>
                    <a:pt x="603" y="478"/>
                    <a:pt x="604" y="485"/>
                  </a:cubicBezTo>
                  <a:cubicBezTo>
                    <a:pt x="605" y="487"/>
                    <a:pt x="597" y="487"/>
                    <a:pt x="595" y="487"/>
                  </a:cubicBezTo>
                  <a:cubicBezTo>
                    <a:pt x="594" y="488"/>
                    <a:pt x="600" y="492"/>
                    <a:pt x="600" y="492"/>
                  </a:cubicBezTo>
                  <a:cubicBezTo>
                    <a:pt x="601" y="497"/>
                    <a:pt x="594" y="495"/>
                    <a:pt x="595" y="496"/>
                  </a:cubicBezTo>
                  <a:cubicBezTo>
                    <a:pt x="605" y="511"/>
                    <a:pt x="608" y="494"/>
                    <a:pt x="613" y="492"/>
                  </a:cubicBezTo>
                  <a:cubicBezTo>
                    <a:pt x="614" y="492"/>
                    <a:pt x="632" y="508"/>
                    <a:pt x="631" y="519"/>
                  </a:cubicBezTo>
                  <a:cubicBezTo>
                    <a:pt x="631" y="521"/>
                    <a:pt x="631" y="521"/>
                    <a:pt x="631" y="521"/>
                  </a:cubicBezTo>
                  <a:cubicBezTo>
                    <a:pt x="632" y="522"/>
                    <a:pt x="631" y="539"/>
                    <a:pt x="639" y="540"/>
                  </a:cubicBezTo>
                  <a:cubicBezTo>
                    <a:pt x="640" y="540"/>
                    <a:pt x="643" y="537"/>
                    <a:pt x="641" y="536"/>
                  </a:cubicBezTo>
                  <a:cubicBezTo>
                    <a:pt x="630" y="528"/>
                    <a:pt x="646" y="529"/>
                    <a:pt x="645" y="528"/>
                  </a:cubicBezTo>
                  <a:cubicBezTo>
                    <a:pt x="644" y="528"/>
                    <a:pt x="640" y="527"/>
                    <a:pt x="642" y="526"/>
                  </a:cubicBezTo>
                  <a:cubicBezTo>
                    <a:pt x="646" y="523"/>
                    <a:pt x="663" y="536"/>
                    <a:pt x="672" y="531"/>
                  </a:cubicBezTo>
                  <a:cubicBezTo>
                    <a:pt x="677" y="527"/>
                    <a:pt x="660" y="525"/>
                    <a:pt x="658" y="519"/>
                  </a:cubicBezTo>
                  <a:close/>
                  <a:moveTo>
                    <a:pt x="613" y="408"/>
                  </a:moveTo>
                  <a:cubicBezTo>
                    <a:pt x="614" y="408"/>
                    <a:pt x="614" y="408"/>
                    <a:pt x="614" y="408"/>
                  </a:cubicBezTo>
                  <a:cubicBezTo>
                    <a:pt x="620" y="409"/>
                    <a:pt x="614" y="400"/>
                    <a:pt x="611" y="397"/>
                  </a:cubicBezTo>
                  <a:cubicBezTo>
                    <a:pt x="603" y="390"/>
                    <a:pt x="572" y="371"/>
                    <a:pt x="573" y="367"/>
                  </a:cubicBezTo>
                  <a:cubicBezTo>
                    <a:pt x="573" y="364"/>
                    <a:pt x="567" y="361"/>
                    <a:pt x="566" y="364"/>
                  </a:cubicBezTo>
                  <a:cubicBezTo>
                    <a:pt x="564" y="368"/>
                    <a:pt x="609" y="406"/>
                    <a:pt x="613" y="408"/>
                  </a:cubicBezTo>
                  <a:close/>
                  <a:moveTo>
                    <a:pt x="659" y="413"/>
                  </a:moveTo>
                  <a:cubicBezTo>
                    <a:pt x="656" y="414"/>
                    <a:pt x="652" y="412"/>
                    <a:pt x="649" y="413"/>
                  </a:cubicBezTo>
                  <a:cubicBezTo>
                    <a:pt x="648" y="413"/>
                    <a:pt x="648" y="414"/>
                    <a:pt x="648" y="414"/>
                  </a:cubicBezTo>
                  <a:cubicBezTo>
                    <a:pt x="649" y="415"/>
                    <a:pt x="653" y="415"/>
                    <a:pt x="652" y="415"/>
                  </a:cubicBezTo>
                  <a:cubicBezTo>
                    <a:pt x="652" y="416"/>
                    <a:pt x="647" y="415"/>
                    <a:pt x="646" y="415"/>
                  </a:cubicBezTo>
                  <a:cubicBezTo>
                    <a:pt x="640" y="412"/>
                    <a:pt x="633" y="411"/>
                    <a:pt x="626" y="408"/>
                  </a:cubicBezTo>
                  <a:cubicBezTo>
                    <a:pt x="614" y="401"/>
                    <a:pt x="629" y="423"/>
                    <a:pt x="626" y="411"/>
                  </a:cubicBezTo>
                  <a:cubicBezTo>
                    <a:pt x="626" y="411"/>
                    <a:pt x="626" y="411"/>
                    <a:pt x="626" y="411"/>
                  </a:cubicBezTo>
                  <a:cubicBezTo>
                    <a:pt x="629" y="412"/>
                    <a:pt x="644" y="422"/>
                    <a:pt x="644" y="422"/>
                  </a:cubicBezTo>
                  <a:cubicBezTo>
                    <a:pt x="650" y="422"/>
                    <a:pt x="660" y="413"/>
                    <a:pt x="667" y="416"/>
                  </a:cubicBezTo>
                  <a:cubicBezTo>
                    <a:pt x="679" y="421"/>
                    <a:pt x="674" y="424"/>
                    <a:pt x="678" y="430"/>
                  </a:cubicBezTo>
                  <a:cubicBezTo>
                    <a:pt x="679" y="431"/>
                    <a:pt x="680" y="432"/>
                    <a:pt x="681" y="432"/>
                  </a:cubicBezTo>
                  <a:cubicBezTo>
                    <a:pt x="690" y="428"/>
                    <a:pt x="672" y="410"/>
                    <a:pt x="659" y="413"/>
                  </a:cubicBezTo>
                  <a:close/>
                  <a:moveTo>
                    <a:pt x="703" y="374"/>
                  </a:moveTo>
                  <a:cubicBezTo>
                    <a:pt x="702" y="370"/>
                    <a:pt x="679" y="361"/>
                    <a:pt x="674" y="361"/>
                  </a:cubicBezTo>
                  <a:cubicBezTo>
                    <a:pt x="669" y="361"/>
                    <a:pt x="663" y="361"/>
                    <a:pt x="658" y="360"/>
                  </a:cubicBezTo>
                  <a:cubicBezTo>
                    <a:pt x="657" y="360"/>
                    <a:pt x="648" y="362"/>
                    <a:pt x="651" y="364"/>
                  </a:cubicBezTo>
                  <a:cubicBezTo>
                    <a:pt x="653" y="365"/>
                    <a:pt x="657" y="364"/>
                    <a:pt x="659" y="364"/>
                  </a:cubicBezTo>
                  <a:cubicBezTo>
                    <a:pt x="664" y="363"/>
                    <a:pt x="672" y="363"/>
                    <a:pt x="676" y="364"/>
                  </a:cubicBezTo>
                  <a:cubicBezTo>
                    <a:pt x="683" y="367"/>
                    <a:pt x="686" y="375"/>
                    <a:pt x="691" y="378"/>
                  </a:cubicBezTo>
                  <a:cubicBezTo>
                    <a:pt x="691" y="378"/>
                    <a:pt x="691" y="378"/>
                    <a:pt x="691" y="378"/>
                  </a:cubicBezTo>
                  <a:cubicBezTo>
                    <a:pt x="694" y="380"/>
                    <a:pt x="699" y="379"/>
                    <a:pt x="697" y="375"/>
                  </a:cubicBezTo>
                  <a:cubicBezTo>
                    <a:pt x="693" y="369"/>
                    <a:pt x="704" y="377"/>
                    <a:pt x="703" y="374"/>
                  </a:cubicBezTo>
                  <a:close/>
                  <a:moveTo>
                    <a:pt x="756" y="372"/>
                  </a:moveTo>
                  <a:cubicBezTo>
                    <a:pt x="754" y="366"/>
                    <a:pt x="699" y="344"/>
                    <a:pt x="676" y="338"/>
                  </a:cubicBezTo>
                  <a:cubicBezTo>
                    <a:pt x="667" y="336"/>
                    <a:pt x="655" y="343"/>
                    <a:pt x="646" y="343"/>
                  </a:cubicBezTo>
                  <a:cubicBezTo>
                    <a:pt x="637" y="343"/>
                    <a:pt x="613" y="343"/>
                    <a:pt x="606" y="336"/>
                  </a:cubicBezTo>
                  <a:cubicBezTo>
                    <a:pt x="606" y="335"/>
                    <a:pt x="602" y="332"/>
                    <a:pt x="600" y="334"/>
                  </a:cubicBezTo>
                  <a:cubicBezTo>
                    <a:pt x="595" y="342"/>
                    <a:pt x="621" y="344"/>
                    <a:pt x="624" y="345"/>
                  </a:cubicBezTo>
                  <a:cubicBezTo>
                    <a:pt x="625" y="345"/>
                    <a:pt x="625" y="345"/>
                    <a:pt x="625" y="345"/>
                  </a:cubicBezTo>
                  <a:cubicBezTo>
                    <a:pt x="638" y="351"/>
                    <a:pt x="660" y="342"/>
                    <a:pt x="673" y="341"/>
                  </a:cubicBezTo>
                  <a:cubicBezTo>
                    <a:pt x="679" y="340"/>
                    <a:pt x="686" y="348"/>
                    <a:pt x="692" y="348"/>
                  </a:cubicBezTo>
                  <a:cubicBezTo>
                    <a:pt x="692" y="348"/>
                    <a:pt x="695" y="348"/>
                    <a:pt x="695" y="349"/>
                  </a:cubicBezTo>
                  <a:cubicBezTo>
                    <a:pt x="695" y="350"/>
                    <a:pt x="689" y="351"/>
                    <a:pt x="690" y="352"/>
                  </a:cubicBezTo>
                  <a:cubicBezTo>
                    <a:pt x="692" y="355"/>
                    <a:pt x="701" y="350"/>
                    <a:pt x="702" y="350"/>
                  </a:cubicBezTo>
                  <a:cubicBezTo>
                    <a:pt x="713" y="351"/>
                    <a:pt x="735" y="369"/>
                    <a:pt x="736" y="371"/>
                  </a:cubicBezTo>
                  <a:cubicBezTo>
                    <a:pt x="737" y="374"/>
                    <a:pt x="754" y="381"/>
                    <a:pt x="752" y="378"/>
                  </a:cubicBezTo>
                  <a:cubicBezTo>
                    <a:pt x="751" y="375"/>
                    <a:pt x="757" y="374"/>
                    <a:pt x="756" y="372"/>
                  </a:cubicBezTo>
                  <a:close/>
                  <a:moveTo>
                    <a:pt x="645" y="316"/>
                  </a:moveTo>
                  <a:cubicBezTo>
                    <a:pt x="655" y="317"/>
                    <a:pt x="665" y="319"/>
                    <a:pt x="673" y="324"/>
                  </a:cubicBezTo>
                  <a:cubicBezTo>
                    <a:pt x="674" y="325"/>
                    <a:pt x="674" y="325"/>
                    <a:pt x="674" y="325"/>
                  </a:cubicBezTo>
                  <a:cubicBezTo>
                    <a:pt x="678" y="328"/>
                    <a:pt x="676" y="321"/>
                    <a:pt x="675" y="319"/>
                  </a:cubicBezTo>
                  <a:cubicBezTo>
                    <a:pt x="673" y="317"/>
                    <a:pt x="638" y="303"/>
                    <a:pt x="632" y="316"/>
                  </a:cubicBezTo>
                  <a:cubicBezTo>
                    <a:pt x="630" y="319"/>
                    <a:pt x="644" y="316"/>
                    <a:pt x="645" y="316"/>
                  </a:cubicBezTo>
                  <a:close/>
                  <a:moveTo>
                    <a:pt x="786" y="378"/>
                  </a:moveTo>
                  <a:cubicBezTo>
                    <a:pt x="786" y="370"/>
                    <a:pt x="768" y="361"/>
                    <a:pt x="766" y="368"/>
                  </a:cubicBezTo>
                  <a:cubicBezTo>
                    <a:pt x="765" y="372"/>
                    <a:pt x="782" y="375"/>
                    <a:pt x="779" y="380"/>
                  </a:cubicBezTo>
                  <a:cubicBezTo>
                    <a:pt x="777" y="384"/>
                    <a:pt x="755" y="375"/>
                    <a:pt x="754" y="381"/>
                  </a:cubicBezTo>
                  <a:cubicBezTo>
                    <a:pt x="753" y="383"/>
                    <a:pt x="761" y="385"/>
                    <a:pt x="762" y="385"/>
                  </a:cubicBezTo>
                  <a:cubicBezTo>
                    <a:pt x="762" y="385"/>
                    <a:pt x="762" y="385"/>
                    <a:pt x="762" y="385"/>
                  </a:cubicBezTo>
                  <a:cubicBezTo>
                    <a:pt x="766" y="384"/>
                    <a:pt x="786" y="383"/>
                    <a:pt x="786" y="378"/>
                  </a:cubicBezTo>
                  <a:close/>
                  <a:moveTo>
                    <a:pt x="742" y="298"/>
                  </a:moveTo>
                  <a:cubicBezTo>
                    <a:pt x="727" y="289"/>
                    <a:pt x="714" y="271"/>
                    <a:pt x="698" y="263"/>
                  </a:cubicBezTo>
                  <a:cubicBezTo>
                    <a:pt x="689" y="259"/>
                    <a:pt x="679" y="263"/>
                    <a:pt x="670" y="260"/>
                  </a:cubicBezTo>
                  <a:cubicBezTo>
                    <a:pt x="659" y="258"/>
                    <a:pt x="650" y="243"/>
                    <a:pt x="640" y="238"/>
                  </a:cubicBezTo>
                  <a:cubicBezTo>
                    <a:pt x="627" y="232"/>
                    <a:pt x="615" y="229"/>
                    <a:pt x="602" y="224"/>
                  </a:cubicBezTo>
                  <a:cubicBezTo>
                    <a:pt x="594" y="222"/>
                    <a:pt x="544" y="198"/>
                    <a:pt x="541" y="200"/>
                  </a:cubicBezTo>
                  <a:cubicBezTo>
                    <a:pt x="537" y="203"/>
                    <a:pt x="547" y="203"/>
                    <a:pt x="550" y="206"/>
                  </a:cubicBezTo>
                  <a:cubicBezTo>
                    <a:pt x="560" y="212"/>
                    <a:pt x="566" y="216"/>
                    <a:pt x="566" y="216"/>
                  </a:cubicBezTo>
                  <a:cubicBezTo>
                    <a:pt x="567" y="220"/>
                    <a:pt x="551" y="215"/>
                    <a:pt x="552" y="216"/>
                  </a:cubicBezTo>
                  <a:cubicBezTo>
                    <a:pt x="554" y="222"/>
                    <a:pt x="611" y="232"/>
                    <a:pt x="633" y="239"/>
                  </a:cubicBezTo>
                  <a:cubicBezTo>
                    <a:pt x="635" y="240"/>
                    <a:pt x="658" y="257"/>
                    <a:pt x="664" y="262"/>
                  </a:cubicBezTo>
                  <a:cubicBezTo>
                    <a:pt x="674" y="269"/>
                    <a:pt x="689" y="262"/>
                    <a:pt x="696" y="267"/>
                  </a:cubicBezTo>
                  <a:cubicBezTo>
                    <a:pt x="712" y="277"/>
                    <a:pt x="731" y="301"/>
                    <a:pt x="740" y="306"/>
                  </a:cubicBezTo>
                  <a:cubicBezTo>
                    <a:pt x="747" y="310"/>
                    <a:pt x="755" y="305"/>
                    <a:pt x="763" y="308"/>
                  </a:cubicBezTo>
                  <a:cubicBezTo>
                    <a:pt x="764" y="308"/>
                    <a:pt x="782" y="325"/>
                    <a:pt x="786" y="324"/>
                  </a:cubicBezTo>
                  <a:cubicBezTo>
                    <a:pt x="786" y="323"/>
                    <a:pt x="786" y="323"/>
                    <a:pt x="786" y="323"/>
                  </a:cubicBezTo>
                  <a:cubicBezTo>
                    <a:pt x="791" y="302"/>
                    <a:pt x="751" y="304"/>
                    <a:pt x="742" y="298"/>
                  </a:cubicBezTo>
                  <a:close/>
                  <a:moveTo>
                    <a:pt x="780" y="197"/>
                  </a:moveTo>
                  <a:cubicBezTo>
                    <a:pt x="764" y="197"/>
                    <a:pt x="748" y="192"/>
                    <a:pt x="731" y="192"/>
                  </a:cubicBezTo>
                  <a:cubicBezTo>
                    <a:pt x="729" y="192"/>
                    <a:pt x="718" y="193"/>
                    <a:pt x="718" y="193"/>
                  </a:cubicBezTo>
                  <a:cubicBezTo>
                    <a:pt x="719" y="195"/>
                    <a:pt x="723" y="196"/>
                    <a:pt x="724" y="196"/>
                  </a:cubicBezTo>
                  <a:cubicBezTo>
                    <a:pt x="752" y="197"/>
                    <a:pt x="772" y="200"/>
                    <a:pt x="798" y="208"/>
                  </a:cubicBezTo>
                  <a:cubicBezTo>
                    <a:pt x="798" y="208"/>
                    <a:pt x="798" y="208"/>
                    <a:pt x="798" y="208"/>
                  </a:cubicBezTo>
                  <a:cubicBezTo>
                    <a:pt x="806" y="209"/>
                    <a:pt x="786" y="197"/>
                    <a:pt x="780" y="197"/>
                  </a:cubicBezTo>
                  <a:close/>
                  <a:moveTo>
                    <a:pt x="848" y="705"/>
                  </a:moveTo>
                  <a:cubicBezTo>
                    <a:pt x="842" y="703"/>
                    <a:pt x="834" y="719"/>
                    <a:pt x="844" y="723"/>
                  </a:cubicBezTo>
                  <a:cubicBezTo>
                    <a:pt x="844" y="723"/>
                    <a:pt x="844" y="723"/>
                    <a:pt x="844" y="723"/>
                  </a:cubicBezTo>
                  <a:cubicBezTo>
                    <a:pt x="847" y="728"/>
                    <a:pt x="852" y="707"/>
                    <a:pt x="848" y="705"/>
                  </a:cubicBezTo>
                  <a:close/>
                  <a:moveTo>
                    <a:pt x="876" y="191"/>
                  </a:moveTo>
                  <a:cubicBezTo>
                    <a:pt x="874" y="183"/>
                    <a:pt x="861" y="191"/>
                    <a:pt x="852" y="190"/>
                  </a:cubicBezTo>
                  <a:cubicBezTo>
                    <a:pt x="849" y="189"/>
                    <a:pt x="847" y="188"/>
                    <a:pt x="844" y="186"/>
                  </a:cubicBezTo>
                  <a:cubicBezTo>
                    <a:pt x="843" y="185"/>
                    <a:pt x="843" y="183"/>
                    <a:pt x="842" y="181"/>
                  </a:cubicBezTo>
                  <a:cubicBezTo>
                    <a:pt x="842" y="178"/>
                    <a:pt x="845" y="169"/>
                    <a:pt x="841" y="168"/>
                  </a:cubicBezTo>
                  <a:cubicBezTo>
                    <a:pt x="838" y="166"/>
                    <a:pt x="843" y="176"/>
                    <a:pt x="840" y="176"/>
                  </a:cubicBezTo>
                  <a:cubicBezTo>
                    <a:pt x="828" y="176"/>
                    <a:pt x="835" y="166"/>
                    <a:pt x="832" y="163"/>
                  </a:cubicBezTo>
                  <a:cubicBezTo>
                    <a:pt x="829" y="160"/>
                    <a:pt x="830" y="165"/>
                    <a:pt x="828" y="166"/>
                  </a:cubicBezTo>
                  <a:cubicBezTo>
                    <a:pt x="823" y="170"/>
                    <a:pt x="816" y="155"/>
                    <a:pt x="813" y="152"/>
                  </a:cubicBezTo>
                  <a:cubicBezTo>
                    <a:pt x="810" y="148"/>
                    <a:pt x="802" y="136"/>
                    <a:pt x="809" y="136"/>
                  </a:cubicBezTo>
                  <a:cubicBezTo>
                    <a:pt x="809" y="136"/>
                    <a:pt x="812" y="137"/>
                    <a:pt x="811" y="136"/>
                  </a:cubicBezTo>
                  <a:cubicBezTo>
                    <a:pt x="807" y="129"/>
                    <a:pt x="776" y="128"/>
                    <a:pt x="770" y="128"/>
                  </a:cubicBezTo>
                  <a:cubicBezTo>
                    <a:pt x="769" y="128"/>
                    <a:pt x="764" y="128"/>
                    <a:pt x="764" y="127"/>
                  </a:cubicBezTo>
                  <a:cubicBezTo>
                    <a:pt x="766" y="119"/>
                    <a:pt x="797" y="128"/>
                    <a:pt x="794" y="123"/>
                  </a:cubicBezTo>
                  <a:cubicBezTo>
                    <a:pt x="788" y="115"/>
                    <a:pt x="745" y="122"/>
                    <a:pt x="732" y="115"/>
                  </a:cubicBezTo>
                  <a:cubicBezTo>
                    <a:pt x="721" y="109"/>
                    <a:pt x="708" y="106"/>
                    <a:pt x="695" y="102"/>
                  </a:cubicBezTo>
                  <a:cubicBezTo>
                    <a:pt x="688" y="100"/>
                    <a:pt x="677" y="87"/>
                    <a:pt x="675" y="94"/>
                  </a:cubicBezTo>
                  <a:cubicBezTo>
                    <a:pt x="672" y="117"/>
                    <a:pt x="744" y="120"/>
                    <a:pt x="757" y="123"/>
                  </a:cubicBezTo>
                  <a:cubicBezTo>
                    <a:pt x="761" y="125"/>
                    <a:pt x="758" y="130"/>
                    <a:pt x="765" y="132"/>
                  </a:cubicBezTo>
                  <a:cubicBezTo>
                    <a:pt x="778" y="137"/>
                    <a:pt x="795" y="134"/>
                    <a:pt x="806" y="143"/>
                  </a:cubicBezTo>
                  <a:cubicBezTo>
                    <a:pt x="811" y="147"/>
                    <a:pt x="814" y="159"/>
                    <a:pt x="818" y="164"/>
                  </a:cubicBezTo>
                  <a:cubicBezTo>
                    <a:pt x="822" y="171"/>
                    <a:pt x="833" y="179"/>
                    <a:pt x="844" y="186"/>
                  </a:cubicBezTo>
                  <a:cubicBezTo>
                    <a:pt x="846" y="189"/>
                    <a:pt x="849" y="190"/>
                    <a:pt x="852" y="190"/>
                  </a:cubicBezTo>
                  <a:cubicBezTo>
                    <a:pt x="856" y="193"/>
                    <a:pt x="860" y="195"/>
                    <a:pt x="864" y="196"/>
                  </a:cubicBezTo>
                  <a:cubicBezTo>
                    <a:pt x="868" y="199"/>
                    <a:pt x="875" y="202"/>
                    <a:pt x="872" y="200"/>
                  </a:cubicBezTo>
                  <a:cubicBezTo>
                    <a:pt x="872" y="200"/>
                    <a:pt x="872" y="200"/>
                    <a:pt x="872" y="200"/>
                  </a:cubicBezTo>
                  <a:cubicBezTo>
                    <a:pt x="869" y="199"/>
                    <a:pt x="866" y="198"/>
                    <a:pt x="864" y="196"/>
                  </a:cubicBezTo>
                  <a:cubicBezTo>
                    <a:pt x="862" y="195"/>
                    <a:pt x="861" y="194"/>
                    <a:pt x="862" y="193"/>
                  </a:cubicBezTo>
                  <a:cubicBezTo>
                    <a:pt x="864" y="191"/>
                    <a:pt x="871" y="197"/>
                    <a:pt x="874" y="195"/>
                  </a:cubicBezTo>
                  <a:cubicBezTo>
                    <a:pt x="876" y="194"/>
                    <a:pt x="876" y="193"/>
                    <a:pt x="876" y="191"/>
                  </a:cubicBezTo>
                  <a:close/>
                  <a:moveTo>
                    <a:pt x="42" y="1640"/>
                  </a:moveTo>
                  <a:cubicBezTo>
                    <a:pt x="44" y="1643"/>
                    <a:pt x="47" y="1637"/>
                    <a:pt x="49" y="1635"/>
                  </a:cubicBezTo>
                  <a:cubicBezTo>
                    <a:pt x="53" y="1631"/>
                    <a:pt x="88" y="1652"/>
                    <a:pt x="67" y="1612"/>
                  </a:cubicBezTo>
                  <a:cubicBezTo>
                    <a:pt x="67" y="1612"/>
                    <a:pt x="67" y="1612"/>
                    <a:pt x="67" y="1612"/>
                  </a:cubicBezTo>
                  <a:cubicBezTo>
                    <a:pt x="62" y="1611"/>
                    <a:pt x="29" y="1628"/>
                    <a:pt x="42" y="1640"/>
                  </a:cubicBezTo>
                  <a:close/>
                  <a:moveTo>
                    <a:pt x="541" y="1740"/>
                  </a:moveTo>
                  <a:cubicBezTo>
                    <a:pt x="539" y="1735"/>
                    <a:pt x="530" y="1746"/>
                    <a:pt x="531" y="1753"/>
                  </a:cubicBezTo>
                  <a:cubicBezTo>
                    <a:pt x="533" y="1761"/>
                    <a:pt x="525" y="1758"/>
                    <a:pt x="526" y="1765"/>
                  </a:cubicBezTo>
                  <a:cubicBezTo>
                    <a:pt x="527" y="1772"/>
                    <a:pt x="526" y="1775"/>
                    <a:pt x="517" y="1789"/>
                  </a:cubicBezTo>
                  <a:cubicBezTo>
                    <a:pt x="508" y="1804"/>
                    <a:pt x="514" y="1806"/>
                    <a:pt x="507" y="1805"/>
                  </a:cubicBezTo>
                  <a:cubicBezTo>
                    <a:pt x="499" y="1805"/>
                    <a:pt x="501" y="1807"/>
                    <a:pt x="494" y="1821"/>
                  </a:cubicBezTo>
                  <a:cubicBezTo>
                    <a:pt x="487" y="1835"/>
                    <a:pt x="479" y="1848"/>
                    <a:pt x="481" y="1865"/>
                  </a:cubicBezTo>
                  <a:cubicBezTo>
                    <a:pt x="484" y="1881"/>
                    <a:pt x="478" y="1900"/>
                    <a:pt x="484" y="1900"/>
                  </a:cubicBezTo>
                  <a:cubicBezTo>
                    <a:pt x="494" y="1899"/>
                    <a:pt x="496" y="1873"/>
                    <a:pt x="500" y="1867"/>
                  </a:cubicBezTo>
                  <a:cubicBezTo>
                    <a:pt x="504" y="1861"/>
                    <a:pt x="500" y="1852"/>
                    <a:pt x="504" y="1850"/>
                  </a:cubicBezTo>
                  <a:cubicBezTo>
                    <a:pt x="508" y="1847"/>
                    <a:pt x="508" y="1842"/>
                    <a:pt x="512" y="1824"/>
                  </a:cubicBezTo>
                  <a:cubicBezTo>
                    <a:pt x="517" y="1806"/>
                    <a:pt x="521" y="1819"/>
                    <a:pt x="521" y="1810"/>
                  </a:cubicBezTo>
                  <a:cubicBezTo>
                    <a:pt x="521" y="1799"/>
                    <a:pt x="524" y="1809"/>
                    <a:pt x="524" y="1798"/>
                  </a:cubicBezTo>
                  <a:cubicBezTo>
                    <a:pt x="524" y="1787"/>
                    <a:pt x="530" y="1787"/>
                    <a:pt x="527" y="1786"/>
                  </a:cubicBezTo>
                  <a:cubicBezTo>
                    <a:pt x="525" y="1785"/>
                    <a:pt x="525" y="1783"/>
                    <a:pt x="528" y="1784"/>
                  </a:cubicBezTo>
                  <a:cubicBezTo>
                    <a:pt x="530" y="1784"/>
                    <a:pt x="532" y="1783"/>
                    <a:pt x="534" y="1772"/>
                  </a:cubicBezTo>
                  <a:cubicBezTo>
                    <a:pt x="537" y="1761"/>
                    <a:pt x="542" y="1763"/>
                    <a:pt x="540" y="1755"/>
                  </a:cubicBezTo>
                  <a:cubicBezTo>
                    <a:pt x="537" y="1746"/>
                    <a:pt x="547" y="1746"/>
                    <a:pt x="546" y="1742"/>
                  </a:cubicBezTo>
                  <a:cubicBezTo>
                    <a:pt x="545" y="1738"/>
                    <a:pt x="543" y="1744"/>
                    <a:pt x="541" y="1740"/>
                  </a:cubicBezTo>
                  <a:close/>
                  <a:moveTo>
                    <a:pt x="558" y="1445"/>
                  </a:moveTo>
                  <a:cubicBezTo>
                    <a:pt x="556" y="1445"/>
                    <a:pt x="558" y="1447"/>
                    <a:pt x="551" y="1444"/>
                  </a:cubicBezTo>
                  <a:cubicBezTo>
                    <a:pt x="537" y="1439"/>
                    <a:pt x="549" y="1460"/>
                    <a:pt x="562" y="1453"/>
                  </a:cubicBezTo>
                  <a:cubicBezTo>
                    <a:pt x="563" y="1453"/>
                    <a:pt x="564" y="1453"/>
                    <a:pt x="564" y="1451"/>
                  </a:cubicBezTo>
                  <a:cubicBezTo>
                    <a:pt x="564" y="1449"/>
                    <a:pt x="560" y="1445"/>
                    <a:pt x="558" y="1445"/>
                  </a:cubicBezTo>
                  <a:close/>
                  <a:moveTo>
                    <a:pt x="690" y="1462"/>
                  </a:moveTo>
                  <a:cubicBezTo>
                    <a:pt x="690" y="1462"/>
                    <a:pt x="695" y="1461"/>
                    <a:pt x="695" y="1459"/>
                  </a:cubicBezTo>
                  <a:cubicBezTo>
                    <a:pt x="695" y="1458"/>
                    <a:pt x="695" y="1458"/>
                    <a:pt x="695" y="1458"/>
                  </a:cubicBezTo>
                  <a:cubicBezTo>
                    <a:pt x="695" y="1456"/>
                    <a:pt x="695" y="1456"/>
                    <a:pt x="695" y="1454"/>
                  </a:cubicBezTo>
                  <a:cubicBezTo>
                    <a:pt x="695" y="1454"/>
                    <a:pt x="695" y="1454"/>
                    <a:pt x="695" y="1454"/>
                  </a:cubicBezTo>
                  <a:cubicBezTo>
                    <a:pt x="693" y="1451"/>
                    <a:pt x="688" y="1451"/>
                    <a:pt x="693" y="1458"/>
                  </a:cubicBezTo>
                  <a:cubicBezTo>
                    <a:pt x="694" y="1459"/>
                    <a:pt x="691" y="1461"/>
                    <a:pt x="690" y="1462"/>
                  </a:cubicBezTo>
                  <a:close/>
                  <a:moveTo>
                    <a:pt x="643" y="1507"/>
                  </a:moveTo>
                  <a:cubicBezTo>
                    <a:pt x="643" y="1506"/>
                    <a:pt x="643" y="1506"/>
                    <a:pt x="643" y="1506"/>
                  </a:cubicBezTo>
                  <a:cubicBezTo>
                    <a:pt x="642" y="1499"/>
                    <a:pt x="636" y="1510"/>
                    <a:pt x="636" y="1511"/>
                  </a:cubicBezTo>
                  <a:cubicBezTo>
                    <a:pt x="637" y="1512"/>
                    <a:pt x="643" y="1509"/>
                    <a:pt x="643" y="1507"/>
                  </a:cubicBezTo>
                  <a:close/>
                  <a:moveTo>
                    <a:pt x="584" y="1448"/>
                  </a:moveTo>
                  <a:cubicBezTo>
                    <a:pt x="578" y="1447"/>
                    <a:pt x="584" y="1451"/>
                    <a:pt x="585" y="1454"/>
                  </a:cubicBezTo>
                  <a:cubicBezTo>
                    <a:pt x="586" y="1462"/>
                    <a:pt x="591" y="1453"/>
                    <a:pt x="585" y="1448"/>
                  </a:cubicBezTo>
                  <a:lnTo>
                    <a:pt x="584" y="1448"/>
                  </a:lnTo>
                  <a:close/>
                  <a:moveTo>
                    <a:pt x="706" y="1416"/>
                  </a:moveTo>
                  <a:cubicBezTo>
                    <a:pt x="706" y="1415"/>
                    <a:pt x="706" y="1415"/>
                    <a:pt x="706" y="1415"/>
                  </a:cubicBezTo>
                  <a:cubicBezTo>
                    <a:pt x="711" y="1412"/>
                    <a:pt x="687" y="1424"/>
                    <a:pt x="692" y="1426"/>
                  </a:cubicBezTo>
                  <a:cubicBezTo>
                    <a:pt x="697" y="1427"/>
                    <a:pt x="703" y="1418"/>
                    <a:pt x="706" y="1416"/>
                  </a:cubicBezTo>
                  <a:close/>
                  <a:moveTo>
                    <a:pt x="581" y="1546"/>
                  </a:moveTo>
                  <a:cubicBezTo>
                    <a:pt x="583" y="1544"/>
                    <a:pt x="582" y="1542"/>
                    <a:pt x="580" y="1541"/>
                  </a:cubicBezTo>
                  <a:cubicBezTo>
                    <a:pt x="580" y="1541"/>
                    <a:pt x="580" y="1541"/>
                    <a:pt x="580" y="1541"/>
                  </a:cubicBezTo>
                  <a:cubicBezTo>
                    <a:pt x="578" y="1540"/>
                    <a:pt x="579" y="1547"/>
                    <a:pt x="581" y="1546"/>
                  </a:cubicBezTo>
                  <a:close/>
                  <a:moveTo>
                    <a:pt x="658" y="1470"/>
                  </a:moveTo>
                  <a:cubicBezTo>
                    <a:pt x="658" y="1470"/>
                    <a:pt x="654" y="1470"/>
                    <a:pt x="654" y="1470"/>
                  </a:cubicBezTo>
                  <a:cubicBezTo>
                    <a:pt x="654" y="1471"/>
                    <a:pt x="659" y="1471"/>
                    <a:pt x="660" y="1472"/>
                  </a:cubicBezTo>
                  <a:cubicBezTo>
                    <a:pt x="664" y="1476"/>
                    <a:pt x="678" y="1484"/>
                    <a:pt x="670" y="1478"/>
                  </a:cubicBezTo>
                  <a:cubicBezTo>
                    <a:pt x="668" y="1476"/>
                    <a:pt x="684" y="1476"/>
                    <a:pt x="668" y="1470"/>
                  </a:cubicBezTo>
                  <a:cubicBezTo>
                    <a:pt x="668" y="1470"/>
                    <a:pt x="668" y="1470"/>
                    <a:pt x="668" y="1470"/>
                  </a:cubicBezTo>
                  <a:cubicBezTo>
                    <a:pt x="666" y="1471"/>
                    <a:pt x="661" y="1471"/>
                    <a:pt x="658" y="1470"/>
                  </a:cubicBezTo>
                  <a:close/>
                  <a:moveTo>
                    <a:pt x="676" y="1322"/>
                  </a:moveTo>
                  <a:cubicBezTo>
                    <a:pt x="676" y="1322"/>
                    <a:pt x="673" y="1317"/>
                    <a:pt x="673" y="1316"/>
                  </a:cubicBezTo>
                  <a:cubicBezTo>
                    <a:pt x="670" y="1308"/>
                    <a:pt x="661" y="1306"/>
                    <a:pt x="661" y="1294"/>
                  </a:cubicBezTo>
                  <a:cubicBezTo>
                    <a:pt x="661" y="1294"/>
                    <a:pt x="661" y="1294"/>
                    <a:pt x="661" y="1294"/>
                  </a:cubicBezTo>
                  <a:cubicBezTo>
                    <a:pt x="650" y="1290"/>
                    <a:pt x="668" y="1331"/>
                    <a:pt x="676" y="1322"/>
                  </a:cubicBezTo>
                  <a:close/>
                  <a:moveTo>
                    <a:pt x="662" y="1511"/>
                  </a:moveTo>
                  <a:cubicBezTo>
                    <a:pt x="662" y="1511"/>
                    <a:pt x="662" y="1511"/>
                    <a:pt x="662" y="1511"/>
                  </a:cubicBezTo>
                  <a:cubicBezTo>
                    <a:pt x="664" y="1507"/>
                    <a:pt x="658" y="1511"/>
                    <a:pt x="655" y="1512"/>
                  </a:cubicBezTo>
                  <a:cubicBezTo>
                    <a:pt x="650" y="1514"/>
                    <a:pt x="655" y="1516"/>
                    <a:pt x="662" y="1511"/>
                  </a:cubicBezTo>
                  <a:close/>
                  <a:moveTo>
                    <a:pt x="697" y="1335"/>
                  </a:moveTo>
                  <a:cubicBezTo>
                    <a:pt x="698" y="1335"/>
                    <a:pt x="698" y="1335"/>
                    <a:pt x="698" y="1335"/>
                  </a:cubicBezTo>
                  <a:cubicBezTo>
                    <a:pt x="691" y="1330"/>
                    <a:pt x="701" y="1352"/>
                    <a:pt x="697" y="1335"/>
                  </a:cubicBezTo>
                  <a:close/>
                  <a:moveTo>
                    <a:pt x="692" y="1476"/>
                  </a:moveTo>
                  <a:cubicBezTo>
                    <a:pt x="686" y="1481"/>
                    <a:pt x="694" y="1480"/>
                    <a:pt x="697" y="1477"/>
                  </a:cubicBezTo>
                  <a:cubicBezTo>
                    <a:pt x="697" y="1477"/>
                    <a:pt x="697" y="1477"/>
                    <a:pt x="697" y="1477"/>
                  </a:cubicBezTo>
                  <a:cubicBezTo>
                    <a:pt x="699" y="1474"/>
                    <a:pt x="692" y="1475"/>
                    <a:pt x="692" y="1476"/>
                  </a:cubicBezTo>
                  <a:close/>
                  <a:moveTo>
                    <a:pt x="742" y="1655"/>
                  </a:moveTo>
                  <a:cubicBezTo>
                    <a:pt x="742" y="1655"/>
                    <a:pt x="742" y="1655"/>
                    <a:pt x="742" y="1655"/>
                  </a:cubicBezTo>
                  <a:cubicBezTo>
                    <a:pt x="745" y="1654"/>
                    <a:pt x="744" y="1652"/>
                    <a:pt x="741" y="1652"/>
                  </a:cubicBezTo>
                  <a:cubicBezTo>
                    <a:pt x="739" y="1651"/>
                    <a:pt x="735" y="1654"/>
                    <a:pt x="734" y="1653"/>
                  </a:cubicBezTo>
                  <a:cubicBezTo>
                    <a:pt x="734" y="1652"/>
                    <a:pt x="734" y="1652"/>
                    <a:pt x="734" y="1652"/>
                  </a:cubicBezTo>
                  <a:cubicBezTo>
                    <a:pt x="734" y="1649"/>
                    <a:pt x="733" y="1652"/>
                    <a:pt x="732" y="1652"/>
                  </a:cubicBezTo>
                  <a:cubicBezTo>
                    <a:pt x="730" y="1652"/>
                    <a:pt x="731" y="1650"/>
                    <a:pt x="729" y="1650"/>
                  </a:cubicBezTo>
                  <a:cubicBezTo>
                    <a:pt x="728" y="1651"/>
                    <a:pt x="723" y="1652"/>
                    <a:pt x="722" y="1653"/>
                  </a:cubicBezTo>
                  <a:cubicBezTo>
                    <a:pt x="721" y="1654"/>
                    <a:pt x="721" y="1656"/>
                    <a:pt x="720" y="1658"/>
                  </a:cubicBezTo>
                  <a:cubicBezTo>
                    <a:pt x="719" y="1660"/>
                    <a:pt x="717" y="1659"/>
                    <a:pt x="717" y="1662"/>
                  </a:cubicBezTo>
                  <a:cubicBezTo>
                    <a:pt x="718" y="1664"/>
                    <a:pt x="720" y="1664"/>
                    <a:pt x="720" y="1666"/>
                  </a:cubicBezTo>
                  <a:cubicBezTo>
                    <a:pt x="721" y="1666"/>
                    <a:pt x="724" y="1673"/>
                    <a:pt x="726" y="1671"/>
                  </a:cubicBezTo>
                  <a:cubicBezTo>
                    <a:pt x="727" y="1670"/>
                    <a:pt x="725" y="1669"/>
                    <a:pt x="726" y="1668"/>
                  </a:cubicBezTo>
                  <a:cubicBezTo>
                    <a:pt x="734" y="1662"/>
                    <a:pt x="724" y="1665"/>
                    <a:pt x="727" y="1660"/>
                  </a:cubicBezTo>
                  <a:cubicBezTo>
                    <a:pt x="728" y="1660"/>
                    <a:pt x="728" y="1659"/>
                    <a:pt x="729" y="1659"/>
                  </a:cubicBezTo>
                  <a:cubicBezTo>
                    <a:pt x="730" y="1658"/>
                    <a:pt x="731" y="1659"/>
                    <a:pt x="732" y="1659"/>
                  </a:cubicBezTo>
                  <a:cubicBezTo>
                    <a:pt x="734" y="1659"/>
                    <a:pt x="734" y="1657"/>
                    <a:pt x="735" y="1656"/>
                  </a:cubicBezTo>
                  <a:cubicBezTo>
                    <a:pt x="739" y="1654"/>
                    <a:pt x="739" y="1658"/>
                    <a:pt x="742" y="1655"/>
                  </a:cubicBezTo>
                  <a:close/>
                  <a:moveTo>
                    <a:pt x="734" y="1601"/>
                  </a:moveTo>
                  <a:cubicBezTo>
                    <a:pt x="736" y="1601"/>
                    <a:pt x="744" y="1599"/>
                    <a:pt x="744" y="1596"/>
                  </a:cubicBezTo>
                  <a:cubicBezTo>
                    <a:pt x="743" y="1595"/>
                    <a:pt x="736" y="1594"/>
                    <a:pt x="734" y="1593"/>
                  </a:cubicBezTo>
                  <a:cubicBezTo>
                    <a:pt x="734" y="1593"/>
                    <a:pt x="734" y="1593"/>
                    <a:pt x="734" y="1593"/>
                  </a:cubicBezTo>
                  <a:cubicBezTo>
                    <a:pt x="727" y="1593"/>
                    <a:pt x="734" y="1601"/>
                    <a:pt x="734" y="1601"/>
                  </a:cubicBezTo>
                  <a:close/>
                  <a:moveTo>
                    <a:pt x="606" y="1517"/>
                  </a:moveTo>
                  <a:cubicBezTo>
                    <a:pt x="606" y="1517"/>
                    <a:pt x="606" y="1517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lose/>
                  <a:moveTo>
                    <a:pt x="713" y="1444"/>
                  </a:moveTo>
                  <a:cubicBezTo>
                    <a:pt x="713" y="1443"/>
                    <a:pt x="713" y="1443"/>
                    <a:pt x="713" y="1443"/>
                  </a:cubicBezTo>
                  <a:cubicBezTo>
                    <a:pt x="707" y="1435"/>
                    <a:pt x="708" y="1455"/>
                    <a:pt x="713" y="1444"/>
                  </a:cubicBezTo>
                  <a:close/>
                  <a:moveTo>
                    <a:pt x="673" y="1490"/>
                  </a:moveTo>
                  <a:cubicBezTo>
                    <a:pt x="673" y="1490"/>
                    <a:pt x="673" y="1490"/>
                    <a:pt x="673" y="1490"/>
                  </a:cubicBezTo>
                  <a:cubicBezTo>
                    <a:pt x="673" y="1486"/>
                    <a:pt x="665" y="1498"/>
                    <a:pt x="664" y="1498"/>
                  </a:cubicBezTo>
                  <a:cubicBezTo>
                    <a:pt x="661" y="1500"/>
                    <a:pt x="670" y="1502"/>
                    <a:pt x="673" y="1490"/>
                  </a:cubicBezTo>
                  <a:close/>
                  <a:moveTo>
                    <a:pt x="673" y="1469"/>
                  </a:moveTo>
                  <a:cubicBezTo>
                    <a:pt x="677" y="1475"/>
                    <a:pt x="683" y="1470"/>
                    <a:pt x="685" y="1468"/>
                  </a:cubicBezTo>
                  <a:cubicBezTo>
                    <a:pt x="685" y="1468"/>
                    <a:pt x="685" y="1468"/>
                    <a:pt x="685" y="1468"/>
                  </a:cubicBezTo>
                  <a:cubicBezTo>
                    <a:pt x="689" y="1466"/>
                    <a:pt x="671" y="1465"/>
                    <a:pt x="673" y="1469"/>
                  </a:cubicBezTo>
                  <a:close/>
                  <a:moveTo>
                    <a:pt x="718" y="1416"/>
                  </a:moveTo>
                  <a:cubicBezTo>
                    <a:pt x="718" y="1411"/>
                    <a:pt x="714" y="1415"/>
                    <a:pt x="712" y="1416"/>
                  </a:cubicBezTo>
                  <a:cubicBezTo>
                    <a:pt x="699" y="1423"/>
                    <a:pt x="715" y="1416"/>
                    <a:pt x="718" y="1416"/>
                  </a:cubicBezTo>
                  <a:close/>
                  <a:moveTo>
                    <a:pt x="672" y="1441"/>
                  </a:moveTo>
                  <a:cubicBezTo>
                    <a:pt x="673" y="1448"/>
                    <a:pt x="682" y="1436"/>
                    <a:pt x="690" y="1432"/>
                  </a:cubicBezTo>
                  <a:cubicBezTo>
                    <a:pt x="690" y="1432"/>
                    <a:pt x="690" y="1432"/>
                    <a:pt x="690" y="1432"/>
                  </a:cubicBezTo>
                  <a:cubicBezTo>
                    <a:pt x="696" y="1428"/>
                    <a:pt x="670" y="1435"/>
                    <a:pt x="672" y="1441"/>
                  </a:cubicBezTo>
                  <a:close/>
                  <a:moveTo>
                    <a:pt x="541" y="1439"/>
                  </a:moveTo>
                  <a:cubicBezTo>
                    <a:pt x="540" y="1437"/>
                    <a:pt x="540" y="1436"/>
                    <a:pt x="538" y="1435"/>
                  </a:cubicBezTo>
                  <a:cubicBezTo>
                    <a:pt x="538" y="1435"/>
                    <a:pt x="538" y="1435"/>
                    <a:pt x="538" y="1435"/>
                  </a:cubicBezTo>
                  <a:cubicBezTo>
                    <a:pt x="535" y="1433"/>
                    <a:pt x="525" y="1447"/>
                    <a:pt x="539" y="1454"/>
                  </a:cubicBezTo>
                  <a:cubicBezTo>
                    <a:pt x="542" y="1455"/>
                    <a:pt x="542" y="1453"/>
                    <a:pt x="541" y="1452"/>
                  </a:cubicBezTo>
                  <a:cubicBezTo>
                    <a:pt x="536" y="1442"/>
                    <a:pt x="544" y="1442"/>
                    <a:pt x="541" y="1439"/>
                  </a:cubicBezTo>
                  <a:close/>
                  <a:moveTo>
                    <a:pt x="718" y="1668"/>
                  </a:moveTo>
                  <a:cubicBezTo>
                    <a:pt x="711" y="1663"/>
                    <a:pt x="717" y="1660"/>
                    <a:pt x="712" y="1661"/>
                  </a:cubicBezTo>
                  <a:cubicBezTo>
                    <a:pt x="707" y="1662"/>
                    <a:pt x="710" y="1666"/>
                    <a:pt x="707" y="1666"/>
                  </a:cubicBezTo>
                  <a:cubicBezTo>
                    <a:pt x="704" y="1666"/>
                    <a:pt x="707" y="1658"/>
                    <a:pt x="702" y="1660"/>
                  </a:cubicBezTo>
                  <a:cubicBezTo>
                    <a:pt x="696" y="1662"/>
                    <a:pt x="703" y="1666"/>
                    <a:pt x="700" y="1667"/>
                  </a:cubicBezTo>
                  <a:cubicBezTo>
                    <a:pt x="696" y="1669"/>
                    <a:pt x="699" y="1672"/>
                    <a:pt x="697" y="1673"/>
                  </a:cubicBezTo>
                  <a:cubicBezTo>
                    <a:pt x="692" y="1674"/>
                    <a:pt x="696" y="1659"/>
                    <a:pt x="688" y="1659"/>
                  </a:cubicBezTo>
                  <a:cubicBezTo>
                    <a:pt x="679" y="1659"/>
                    <a:pt x="685" y="1673"/>
                    <a:pt x="674" y="1672"/>
                  </a:cubicBezTo>
                  <a:cubicBezTo>
                    <a:pt x="661" y="1672"/>
                    <a:pt x="658" y="1694"/>
                    <a:pt x="645" y="1704"/>
                  </a:cubicBezTo>
                  <a:cubicBezTo>
                    <a:pt x="631" y="1714"/>
                    <a:pt x="635" y="1717"/>
                    <a:pt x="636" y="1727"/>
                  </a:cubicBezTo>
                  <a:cubicBezTo>
                    <a:pt x="638" y="1737"/>
                    <a:pt x="642" y="1734"/>
                    <a:pt x="640" y="1736"/>
                  </a:cubicBezTo>
                  <a:cubicBezTo>
                    <a:pt x="639" y="1739"/>
                    <a:pt x="641" y="1742"/>
                    <a:pt x="637" y="1746"/>
                  </a:cubicBezTo>
                  <a:cubicBezTo>
                    <a:pt x="632" y="1751"/>
                    <a:pt x="632" y="1753"/>
                    <a:pt x="636" y="1755"/>
                  </a:cubicBezTo>
                  <a:cubicBezTo>
                    <a:pt x="639" y="1757"/>
                    <a:pt x="638" y="1756"/>
                    <a:pt x="639" y="1765"/>
                  </a:cubicBezTo>
                  <a:cubicBezTo>
                    <a:pt x="640" y="1773"/>
                    <a:pt x="646" y="1769"/>
                    <a:pt x="643" y="1776"/>
                  </a:cubicBezTo>
                  <a:cubicBezTo>
                    <a:pt x="641" y="1783"/>
                    <a:pt x="643" y="1783"/>
                    <a:pt x="648" y="1778"/>
                  </a:cubicBezTo>
                  <a:cubicBezTo>
                    <a:pt x="653" y="1774"/>
                    <a:pt x="652" y="1783"/>
                    <a:pt x="646" y="1785"/>
                  </a:cubicBezTo>
                  <a:cubicBezTo>
                    <a:pt x="640" y="1787"/>
                    <a:pt x="645" y="1788"/>
                    <a:pt x="641" y="1795"/>
                  </a:cubicBezTo>
                  <a:cubicBezTo>
                    <a:pt x="636" y="1803"/>
                    <a:pt x="635" y="1802"/>
                    <a:pt x="645" y="1800"/>
                  </a:cubicBezTo>
                  <a:cubicBezTo>
                    <a:pt x="651" y="1799"/>
                    <a:pt x="652" y="1800"/>
                    <a:pt x="652" y="1796"/>
                  </a:cubicBezTo>
                  <a:cubicBezTo>
                    <a:pt x="653" y="1792"/>
                    <a:pt x="657" y="1795"/>
                    <a:pt x="656" y="1792"/>
                  </a:cubicBezTo>
                  <a:cubicBezTo>
                    <a:pt x="655" y="1789"/>
                    <a:pt x="660" y="1789"/>
                    <a:pt x="658" y="1788"/>
                  </a:cubicBezTo>
                  <a:cubicBezTo>
                    <a:pt x="655" y="1786"/>
                    <a:pt x="654" y="1777"/>
                    <a:pt x="659" y="1776"/>
                  </a:cubicBezTo>
                  <a:cubicBezTo>
                    <a:pt x="664" y="1774"/>
                    <a:pt x="669" y="1771"/>
                    <a:pt x="664" y="1771"/>
                  </a:cubicBezTo>
                  <a:cubicBezTo>
                    <a:pt x="659" y="1772"/>
                    <a:pt x="657" y="1770"/>
                    <a:pt x="670" y="1765"/>
                  </a:cubicBezTo>
                  <a:cubicBezTo>
                    <a:pt x="684" y="1760"/>
                    <a:pt x="667" y="1762"/>
                    <a:pt x="681" y="1758"/>
                  </a:cubicBezTo>
                  <a:cubicBezTo>
                    <a:pt x="690" y="1756"/>
                    <a:pt x="693" y="1754"/>
                    <a:pt x="686" y="1750"/>
                  </a:cubicBezTo>
                  <a:cubicBezTo>
                    <a:pt x="679" y="1747"/>
                    <a:pt x="700" y="1733"/>
                    <a:pt x="704" y="1736"/>
                  </a:cubicBezTo>
                  <a:cubicBezTo>
                    <a:pt x="708" y="1738"/>
                    <a:pt x="713" y="1724"/>
                    <a:pt x="702" y="1728"/>
                  </a:cubicBezTo>
                  <a:cubicBezTo>
                    <a:pt x="692" y="1731"/>
                    <a:pt x="691" y="1719"/>
                    <a:pt x="696" y="1710"/>
                  </a:cubicBezTo>
                  <a:cubicBezTo>
                    <a:pt x="701" y="1701"/>
                    <a:pt x="690" y="1705"/>
                    <a:pt x="694" y="1699"/>
                  </a:cubicBezTo>
                  <a:cubicBezTo>
                    <a:pt x="698" y="1692"/>
                    <a:pt x="695" y="1685"/>
                    <a:pt x="699" y="1687"/>
                  </a:cubicBezTo>
                  <a:cubicBezTo>
                    <a:pt x="704" y="1689"/>
                    <a:pt x="702" y="1686"/>
                    <a:pt x="704" y="1688"/>
                  </a:cubicBezTo>
                  <a:cubicBezTo>
                    <a:pt x="706" y="1690"/>
                    <a:pt x="708" y="1690"/>
                    <a:pt x="708" y="1683"/>
                  </a:cubicBezTo>
                  <a:cubicBezTo>
                    <a:pt x="709" y="1676"/>
                    <a:pt x="712" y="1683"/>
                    <a:pt x="713" y="1679"/>
                  </a:cubicBezTo>
                  <a:cubicBezTo>
                    <a:pt x="713" y="1675"/>
                    <a:pt x="715" y="1671"/>
                    <a:pt x="719" y="1673"/>
                  </a:cubicBezTo>
                  <a:cubicBezTo>
                    <a:pt x="723" y="1675"/>
                    <a:pt x="724" y="1673"/>
                    <a:pt x="718" y="1668"/>
                  </a:cubicBezTo>
                  <a:close/>
                  <a:moveTo>
                    <a:pt x="301" y="1648"/>
                  </a:moveTo>
                  <a:cubicBezTo>
                    <a:pt x="306" y="1644"/>
                    <a:pt x="311" y="1629"/>
                    <a:pt x="304" y="1639"/>
                  </a:cubicBezTo>
                  <a:cubicBezTo>
                    <a:pt x="301" y="1642"/>
                    <a:pt x="295" y="1650"/>
                    <a:pt x="301" y="1648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Norway"/>
            <p:cNvSpPr>
              <a:spLocks noEditPoints="1"/>
            </p:cNvSpPr>
            <p:nvPr/>
          </p:nvSpPr>
          <p:spPr bwMode="auto">
            <a:xfrm>
              <a:off x="2987" y="657"/>
              <a:ext cx="1223" cy="1039"/>
            </a:xfrm>
            <a:custGeom>
              <a:avLst/>
              <a:gdLst>
                <a:gd name="T0" fmla="*/ 550 w 2349"/>
                <a:gd name="T1" fmla="*/ 1825 h 1995"/>
                <a:gd name="T2" fmla="*/ 389 w 2349"/>
                <a:gd name="T3" fmla="*/ 1893 h 1995"/>
                <a:gd name="T4" fmla="*/ 71 w 2349"/>
                <a:gd name="T5" fmla="*/ 1857 h 1995"/>
                <a:gd name="T6" fmla="*/ 107 w 2349"/>
                <a:gd name="T7" fmla="*/ 1799 h 1995"/>
                <a:gd name="T8" fmla="*/ 82 w 2349"/>
                <a:gd name="T9" fmla="*/ 1729 h 1995"/>
                <a:gd name="T10" fmla="*/ 79 w 2349"/>
                <a:gd name="T11" fmla="*/ 1671 h 1995"/>
                <a:gd name="T12" fmla="*/ 35 w 2349"/>
                <a:gd name="T13" fmla="*/ 1565 h 1995"/>
                <a:gd name="T14" fmla="*/ 110 w 2349"/>
                <a:gd name="T15" fmla="*/ 1539 h 1995"/>
                <a:gd name="T16" fmla="*/ 64 w 2349"/>
                <a:gd name="T17" fmla="*/ 1429 h 1995"/>
                <a:gd name="T18" fmla="*/ 84 w 2349"/>
                <a:gd name="T19" fmla="*/ 1391 h 1995"/>
                <a:gd name="T20" fmla="*/ 168 w 2349"/>
                <a:gd name="T21" fmla="*/ 1334 h 1995"/>
                <a:gd name="T22" fmla="*/ 306 w 2349"/>
                <a:gd name="T23" fmla="*/ 1297 h 1995"/>
                <a:gd name="T24" fmla="*/ 417 w 2349"/>
                <a:gd name="T25" fmla="*/ 1212 h 1995"/>
                <a:gd name="T26" fmla="*/ 567 w 2349"/>
                <a:gd name="T27" fmla="*/ 1138 h 1995"/>
                <a:gd name="T28" fmla="*/ 546 w 2349"/>
                <a:gd name="T29" fmla="*/ 1064 h 1995"/>
                <a:gd name="T30" fmla="*/ 603 w 2349"/>
                <a:gd name="T31" fmla="*/ 983 h 1995"/>
                <a:gd name="T32" fmla="*/ 691 w 2349"/>
                <a:gd name="T33" fmla="*/ 887 h 1995"/>
                <a:gd name="T34" fmla="*/ 751 w 2349"/>
                <a:gd name="T35" fmla="*/ 768 h 1995"/>
                <a:gd name="T36" fmla="*/ 824 w 2349"/>
                <a:gd name="T37" fmla="*/ 665 h 1995"/>
                <a:gd name="T38" fmla="*/ 921 w 2349"/>
                <a:gd name="T39" fmla="*/ 625 h 1995"/>
                <a:gd name="T40" fmla="*/ 962 w 2349"/>
                <a:gd name="T41" fmla="*/ 559 h 1995"/>
                <a:gd name="T42" fmla="*/ 954 w 2349"/>
                <a:gd name="T43" fmla="*/ 508 h 1995"/>
                <a:gd name="T44" fmla="*/ 1077 w 2349"/>
                <a:gd name="T45" fmla="*/ 487 h 1995"/>
                <a:gd name="T46" fmla="*/ 1139 w 2349"/>
                <a:gd name="T47" fmla="*/ 364 h 1995"/>
                <a:gd name="T48" fmla="*/ 1330 w 2349"/>
                <a:gd name="T49" fmla="*/ 277 h 1995"/>
                <a:gd name="T50" fmla="*/ 1533 w 2349"/>
                <a:gd name="T51" fmla="*/ 197 h 1995"/>
                <a:gd name="T52" fmla="*/ 1642 w 2349"/>
                <a:gd name="T53" fmla="*/ 196 h 1995"/>
                <a:gd name="T54" fmla="*/ 1847 w 2349"/>
                <a:gd name="T55" fmla="*/ 55 h 1995"/>
                <a:gd name="T56" fmla="*/ 2033 w 2349"/>
                <a:gd name="T57" fmla="*/ 61 h 1995"/>
                <a:gd name="T58" fmla="*/ 2095 w 2349"/>
                <a:gd name="T59" fmla="*/ 164 h 1995"/>
                <a:gd name="T60" fmla="*/ 2128 w 2349"/>
                <a:gd name="T61" fmla="*/ 165 h 1995"/>
                <a:gd name="T62" fmla="*/ 2159 w 2349"/>
                <a:gd name="T63" fmla="*/ 343 h 1995"/>
                <a:gd name="T64" fmla="*/ 1114 w 2349"/>
                <a:gd name="T65" fmla="*/ 496 h 1995"/>
                <a:gd name="T66" fmla="*/ 642 w 2349"/>
                <a:gd name="T67" fmla="*/ 1229 h 1995"/>
                <a:gd name="T68" fmla="*/ 849 w 2349"/>
                <a:gd name="T69" fmla="*/ 704 h 1995"/>
                <a:gd name="T70" fmla="*/ 774 w 2349"/>
                <a:gd name="T71" fmla="*/ 992 h 1995"/>
                <a:gd name="T72" fmla="*/ 314 w 2349"/>
                <a:gd name="T73" fmla="*/ 1848 h 1995"/>
                <a:gd name="T74" fmla="*/ 522 w 2349"/>
                <a:gd name="T75" fmla="*/ 1227 h 1995"/>
                <a:gd name="T76" fmla="*/ 578 w 2349"/>
                <a:gd name="T77" fmla="*/ 1754 h 1995"/>
                <a:gd name="T78" fmla="*/ 7 w 2349"/>
                <a:gd name="T79" fmla="*/ 1597 h 1995"/>
                <a:gd name="T80" fmla="*/ 576 w 2349"/>
                <a:gd name="T81" fmla="*/ 983 h 1995"/>
                <a:gd name="T82" fmla="*/ 42 w 2349"/>
                <a:gd name="T83" fmla="*/ 1762 h 1995"/>
                <a:gd name="T84" fmla="*/ 1451 w 2349"/>
                <a:gd name="T85" fmla="*/ 191 h 1995"/>
                <a:gd name="T86" fmla="*/ 666 w 2349"/>
                <a:gd name="T87" fmla="*/ 921 h 1995"/>
                <a:gd name="T88" fmla="*/ 298 w 2349"/>
                <a:gd name="T89" fmla="*/ 1234 h 1995"/>
                <a:gd name="T90" fmla="*/ 1039 w 2349"/>
                <a:gd name="T91" fmla="*/ 428 h 1995"/>
                <a:gd name="T92" fmla="*/ 869 w 2349"/>
                <a:gd name="T93" fmla="*/ 394 h 1995"/>
                <a:gd name="T94" fmla="*/ 1713 w 2349"/>
                <a:gd name="T95" fmla="*/ 30 h 1995"/>
                <a:gd name="T96" fmla="*/ 1236 w 2349"/>
                <a:gd name="T97" fmla="*/ 240 h 1995"/>
                <a:gd name="T98" fmla="*/ 1596 w 2349"/>
                <a:gd name="T99" fmla="*/ 80 h 1995"/>
                <a:gd name="T100" fmla="*/ 1641 w 2349"/>
                <a:gd name="T101" fmla="*/ 125 h 1995"/>
                <a:gd name="T102" fmla="*/ 1266 w 2349"/>
                <a:gd name="T103" fmla="*/ 197 h 1995"/>
                <a:gd name="T104" fmla="*/ 1090 w 2349"/>
                <a:gd name="T105" fmla="*/ 304 h 1995"/>
                <a:gd name="T106" fmla="*/ 913 w 2349"/>
                <a:gd name="T107" fmla="*/ 361 h 1995"/>
                <a:gd name="T108" fmla="*/ 1037 w 2349"/>
                <a:gd name="T109" fmla="*/ 353 h 1995"/>
                <a:gd name="T110" fmla="*/ 916 w 2349"/>
                <a:gd name="T111" fmla="*/ 465 h 1995"/>
                <a:gd name="T112" fmla="*/ 906 w 2349"/>
                <a:gd name="T113" fmla="*/ 441 h 1995"/>
                <a:gd name="T114" fmla="*/ 997 w 2349"/>
                <a:gd name="T115" fmla="*/ 357 h 1995"/>
                <a:gd name="T116" fmla="*/ 918 w 2349"/>
                <a:gd name="T117" fmla="*/ 512 h 1995"/>
                <a:gd name="T118" fmla="*/ 104 w 2349"/>
                <a:gd name="T119" fmla="*/ 1827 h 1995"/>
                <a:gd name="T120" fmla="*/ 10 w 2349"/>
                <a:gd name="T121" fmla="*/ 1542 h 1995"/>
                <a:gd name="T122" fmla="*/ 44 w 2349"/>
                <a:gd name="T123" fmla="*/ 1439 h 19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49" h="1995">
                  <a:moveTo>
                    <a:pt x="42" y="1698"/>
                  </a:moveTo>
                  <a:cubicBezTo>
                    <a:pt x="40" y="1696"/>
                    <a:pt x="38" y="1688"/>
                    <a:pt x="41" y="1690"/>
                  </a:cubicBezTo>
                  <a:cubicBezTo>
                    <a:pt x="41" y="1690"/>
                    <a:pt x="41" y="1690"/>
                    <a:pt x="41" y="1690"/>
                  </a:cubicBezTo>
                  <a:cubicBezTo>
                    <a:pt x="46" y="1695"/>
                    <a:pt x="46" y="1698"/>
                    <a:pt x="47" y="1703"/>
                  </a:cubicBezTo>
                  <a:cubicBezTo>
                    <a:pt x="48" y="1707"/>
                    <a:pt x="42" y="1705"/>
                    <a:pt x="39" y="1702"/>
                  </a:cubicBezTo>
                  <a:cubicBezTo>
                    <a:pt x="32" y="1693"/>
                    <a:pt x="44" y="1701"/>
                    <a:pt x="42" y="1698"/>
                  </a:cubicBezTo>
                  <a:close/>
                  <a:moveTo>
                    <a:pt x="247" y="1329"/>
                  </a:moveTo>
                  <a:cubicBezTo>
                    <a:pt x="247" y="1327"/>
                    <a:pt x="248" y="1325"/>
                    <a:pt x="247" y="1324"/>
                  </a:cubicBezTo>
                  <a:cubicBezTo>
                    <a:pt x="247" y="1326"/>
                    <a:pt x="247" y="1327"/>
                    <a:pt x="247" y="1329"/>
                  </a:cubicBezTo>
                  <a:close/>
                  <a:moveTo>
                    <a:pt x="161" y="1398"/>
                  </a:moveTo>
                  <a:cubicBezTo>
                    <a:pt x="162" y="1397"/>
                    <a:pt x="163" y="1396"/>
                    <a:pt x="164" y="1396"/>
                  </a:cubicBezTo>
                  <a:cubicBezTo>
                    <a:pt x="164" y="1395"/>
                    <a:pt x="163" y="1393"/>
                    <a:pt x="161" y="1390"/>
                  </a:cubicBezTo>
                  <a:cubicBezTo>
                    <a:pt x="162" y="1393"/>
                    <a:pt x="162" y="1396"/>
                    <a:pt x="161" y="1398"/>
                  </a:cubicBezTo>
                  <a:close/>
                  <a:moveTo>
                    <a:pt x="430" y="1186"/>
                  </a:moveTo>
                  <a:cubicBezTo>
                    <a:pt x="430" y="1185"/>
                    <a:pt x="429" y="1185"/>
                    <a:pt x="429" y="1185"/>
                  </a:cubicBezTo>
                  <a:cubicBezTo>
                    <a:pt x="428" y="1183"/>
                    <a:pt x="426" y="1183"/>
                    <a:pt x="425" y="1183"/>
                  </a:cubicBezTo>
                  <a:cubicBezTo>
                    <a:pt x="426" y="1184"/>
                    <a:pt x="428" y="1185"/>
                    <a:pt x="430" y="1186"/>
                  </a:cubicBezTo>
                  <a:close/>
                  <a:moveTo>
                    <a:pt x="30" y="1706"/>
                  </a:moveTo>
                  <a:cubicBezTo>
                    <a:pt x="30" y="1707"/>
                    <a:pt x="30" y="1707"/>
                    <a:pt x="30" y="1707"/>
                  </a:cubicBezTo>
                  <a:cubicBezTo>
                    <a:pt x="30" y="1725"/>
                    <a:pt x="46" y="1688"/>
                    <a:pt x="30" y="1706"/>
                  </a:cubicBezTo>
                  <a:close/>
                  <a:moveTo>
                    <a:pt x="33" y="1672"/>
                  </a:moveTo>
                  <a:cubicBezTo>
                    <a:pt x="31" y="1666"/>
                    <a:pt x="30" y="1655"/>
                    <a:pt x="23" y="1644"/>
                  </a:cubicBezTo>
                  <a:cubicBezTo>
                    <a:pt x="19" y="1639"/>
                    <a:pt x="21" y="1653"/>
                    <a:pt x="21" y="1658"/>
                  </a:cubicBezTo>
                  <a:cubicBezTo>
                    <a:pt x="21" y="1658"/>
                    <a:pt x="21" y="1658"/>
                    <a:pt x="21" y="1659"/>
                  </a:cubicBezTo>
                  <a:cubicBezTo>
                    <a:pt x="21" y="1659"/>
                    <a:pt x="22" y="1659"/>
                    <a:pt x="22" y="1659"/>
                  </a:cubicBezTo>
                  <a:cubicBezTo>
                    <a:pt x="22" y="1660"/>
                    <a:pt x="23" y="1660"/>
                    <a:pt x="24" y="1661"/>
                  </a:cubicBezTo>
                  <a:cubicBezTo>
                    <a:pt x="27" y="1664"/>
                    <a:pt x="26" y="1668"/>
                    <a:pt x="20" y="1664"/>
                  </a:cubicBezTo>
                  <a:cubicBezTo>
                    <a:pt x="17" y="1662"/>
                    <a:pt x="19" y="1670"/>
                    <a:pt x="20" y="1671"/>
                  </a:cubicBezTo>
                  <a:cubicBezTo>
                    <a:pt x="20" y="1672"/>
                    <a:pt x="32" y="1680"/>
                    <a:pt x="33" y="1680"/>
                  </a:cubicBezTo>
                  <a:cubicBezTo>
                    <a:pt x="35" y="1680"/>
                    <a:pt x="34" y="1673"/>
                    <a:pt x="33" y="1672"/>
                  </a:cubicBezTo>
                  <a:close/>
                  <a:moveTo>
                    <a:pt x="597" y="1851"/>
                  </a:moveTo>
                  <a:cubicBezTo>
                    <a:pt x="598" y="1851"/>
                    <a:pt x="593" y="1836"/>
                    <a:pt x="593" y="1835"/>
                  </a:cubicBezTo>
                  <a:cubicBezTo>
                    <a:pt x="589" y="1827"/>
                    <a:pt x="581" y="1836"/>
                    <a:pt x="575" y="1832"/>
                  </a:cubicBezTo>
                  <a:cubicBezTo>
                    <a:pt x="572" y="1830"/>
                    <a:pt x="578" y="1820"/>
                    <a:pt x="574" y="1821"/>
                  </a:cubicBezTo>
                  <a:cubicBezTo>
                    <a:pt x="564" y="1824"/>
                    <a:pt x="573" y="1830"/>
                    <a:pt x="566" y="1832"/>
                  </a:cubicBezTo>
                  <a:cubicBezTo>
                    <a:pt x="562" y="1833"/>
                    <a:pt x="561" y="1825"/>
                    <a:pt x="558" y="1824"/>
                  </a:cubicBezTo>
                  <a:cubicBezTo>
                    <a:pt x="550" y="1820"/>
                    <a:pt x="555" y="1836"/>
                    <a:pt x="550" y="1825"/>
                  </a:cubicBezTo>
                  <a:cubicBezTo>
                    <a:pt x="549" y="1822"/>
                    <a:pt x="548" y="1828"/>
                    <a:pt x="539" y="1819"/>
                  </a:cubicBezTo>
                  <a:cubicBezTo>
                    <a:pt x="539" y="1818"/>
                    <a:pt x="536" y="1820"/>
                    <a:pt x="535" y="1818"/>
                  </a:cubicBezTo>
                  <a:cubicBezTo>
                    <a:pt x="534" y="1816"/>
                    <a:pt x="535" y="1813"/>
                    <a:pt x="535" y="1810"/>
                  </a:cubicBezTo>
                  <a:cubicBezTo>
                    <a:pt x="535" y="1806"/>
                    <a:pt x="522" y="1790"/>
                    <a:pt x="522" y="1788"/>
                  </a:cubicBezTo>
                  <a:cubicBezTo>
                    <a:pt x="526" y="1769"/>
                    <a:pt x="531" y="1791"/>
                    <a:pt x="532" y="1781"/>
                  </a:cubicBezTo>
                  <a:cubicBezTo>
                    <a:pt x="535" y="1761"/>
                    <a:pt x="509" y="1731"/>
                    <a:pt x="527" y="1727"/>
                  </a:cubicBezTo>
                  <a:cubicBezTo>
                    <a:pt x="533" y="1725"/>
                    <a:pt x="530" y="1749"/>
                    <a:pt x="534" y="1744"/>
                  </a:cubicBezTo>
                  <a:cubicBezTo>
                    <a:pt x="535" y="1741"/>
                    <a:pt x="540" y="1715"/>
                    <a:pt x="531" y="1720"/>
                  </a:cubicBezTo>
                  <a:cubicBezTo>
                    <a:pt x="484" y="1743"/>
                    <a:pt x="537" y="1752"/>
                    <a:pt x="522" y="1769"/>
                  </a:cubicBezTo>
                  <a:cubicBezTo>
                    <a:pt x="509" y="1785"/>
                    <a:pt x="506" y="1756"/>
                    <a:pt x="498" y="1747"/>
                  </a:cubicBezTo>
                  <a:cubicBezTo>
                    <a:pt x="497" y="1745"/>
                    <a:pt x="491" y="1741"/>
                    <a:pt x="490" y="1745"/>
                  </a:cubicBezTo>
                  <a:cubicBezTo>
                    <a:pt x="489" y="1748"/>
                    <a:pt x="502" y="1757"/>
                    <a:pt x="503" y="1765"/>
                  </a:cubicBezTo>
                  <a:cubicBezTo>
                    <a:pt x="504" y="1784"/>
                    <a:pt x="495" y="1766"/>
                    <a:pt x="491" y="1769"/>
                  </a:cubicBezTo>
                  <a:cubicBezTo>
                    <a:pt x="489" y="1770"/>
                    <a:pt x="494" y="1774"/>
                    <a:pt x="494" y="1775"/>
                  </a:cubicBezTo>
                  <a:cubicBezTo>
                    <a:pt x="498" y="1778"/>
                    <a:pt x="513" y="1789"/>
                    <a:pt x="513" y="1790"/>
                  </a:cubicBezTo>
                  <a:cubicBezTo>
                    <a:pt x="513" y="1794"/>
                    <a:pt x="508" y="1796"/>
                    <a:pt x="510" y="1800"/>
                  </a:cubicBezTo>
                  <a:cubicBezTo>
                    <a:pt x="511" y="1803"/>
                    <a:pt x="517" y="1804"/>
                    <a:pt x="516" y="1806"/>
                  </a:cubicBezTo>
                  <a:cubicBezTo>
                    <a:pt x="510" y="1818"/>
                    <a:pt x="506" y="1807"/>
                    <a:pt x="502" y="1811"/>
                  </a:cubicBezTo>
                  <a:cubicBezTo>
                    <a:pt x="495" y="1819"/>
                    <a:pt x="501" y="1834"/>
                    <a:pt x="497" y="1841"/>
                  </a:cubicBezTo>
                  <a:cubicBezTo>
                    <a:pt x="497" y="1842"/>
                    <a:pt x="495" y="1845"/>
                    <a:pt x="493" y="1844"/>
                  </a:cubicBezTo>
                  <a:cubicBezTo>
                    <a:pt x="491" y="1843"/>
                    <a:pt x="490" y="1846"/>
                    <a:pt x="489" y="1847"/>
                  </a:cubicBezTo>
                  <a:cubicBezTo>
                    <a:pt x="478" y="1853"/>
                    <a:pt x="487" y="1839"/>
                    <a:pt x="472" y="1844"/>
                  </a:cubicBezTo>
                  <a:cubicBezTo>
                    <a:pt x="472" y="1844"/>
                    <a:pt x="471" y="1860"/>
                    <a:pt x="456" y="1856"/>
                  </a:cubicBezTo>
                  <a:cubicBezTo>
                    <a:pt x="455" y="1856"/>
                    <a:pt x="455" y="1856"/>
                    <a:pt x="455" y="1856"/>
                  </a:cubicBezTo>
                  <a:cubicBezTo>
                    <a:pt x="453" y="1854"/>
                    <a:pt x="458" y="1851"/>
                    <a:pt x="455" y="1847"/>
                  </a:cubicBezTo>
                  <a:cubicBezTo>
                    <a:pt x="453" y="1844"/>
                    <a:pt x="450" y="1840"/>
                    <a:pt x="449" y="1841"/>
                  </a:cubicBezTo>
                  <a:cubicBezTo>
                    <a:pt x="446" y="1848"/>
                    <a:pt x="445" y="1838"/>
                    <a:pt x="443" y="1836"/>
                  </a:cubicBezTo>
                  <a:cubicBezTo>
                    <a:pt x="441" y="1834"/>
                    <a:pt x="442" y="1841"/>
                    <a:pt x="440" y="1841"/>
                  </a:cubicBezTo>
                  <a:cubicBezTo>
                    <a:pt x="436" y="1840"/>
                    <a:pt x="438" y="1829"/>
                    <a:pt x="436" y="1831"/>
                  </a:cubicBezTo>
                  <a:cubicBezTo>
                    <a:pt x="434" y="1833"/>
                    <a:pt x="430" y="1831"/>
                    <a:pt x="429" y="1832"/>
                  </a:cubicBezTo>
                  <a:cubicBezTo>
                    <a:pt x="425" y="1837"/>
                    <a:pt x="450" y="1850"/>
                    <a:pt x="445" y="1852"/>
                  </a:cubicBezTo>
                  <a:cubicBezTo>
                    <a:pt x="435" y="1856"/>
                    <a:pt x="419" y="1866"/>
                    <a:pt x="414" y="1868"/>
                  </a:cubicBezTo>
                  <a:cubicBezTo>
                    <a:pt x="413" y="1869"/>
                    <a:pt x="401" y="1866"/>
                    <a:pt x="405" y="1873"/>
                  </a:cubicBezTo>
                  <a:cubicBezTo>
                    <a:pt x="409" y="1879"/>
                    <a:pt x="428" y="1864"/>
                    <a:pt x="414" y="1878"/>
                  </a:cubicBezTo>
                  <a:cubicBezTo>
                    <a:pt x="412" y="1880"/>
                    <a:pt x="417" y="1878"/>
                    <a:pt x="418" y="1879"/>
                  </a:cubicBezTo>
                  <a:cubicBezTo>
                    <a:pt x="421" y="1888"/>
                    <a:pt x="383" y="1887"/>
                    <a:pt x="393" y="1888"/>
                  </a:cubicBezTo>
                  <a:cubicBezTo>
                    <a:pt x="407" y="1890"/>
                    <a:pt x="397" y="1891"/>
                    <a:pt x="389" y="1893"/>
                  </a:cubicBezTo>
                  <a:cubicBezTo>
                    <a:pt x="379" y="1895"/>
                    <a:pt x="401" y="1892"/>
                    <a:pt x="399" y="1896"/>
                  </a:cubicBezTo>
                  <a:cubicBezTo>
                    <a:pt x="395" y="1904"/>
                    <a:pt x="373" y="1905"/>
                    <a:pt x="373" y="1905"/>
                  </a:cubicBezTo>
                  <a:cubicBezTo>
                    <a:pt x="372" y="1906"/>
                    <a:pt x="378" y="1909"/>
                    <a:pt x="375" y="1912"/>
                  </a:cubicBezTo>
                  <a:cubicBezTo>
                    <a:pt x="367" y="1923"/>
                    <a:pt x="339" y="1953"/>
                    <a:pt x="337" y="1954"/>
                  </a:cubicBezTo>
                  <a:cubicBezTo>
                    <a:pt x="336" y="1955"/>
                    <a:pt x="322" y="1955"/>
                    <a:pt x="314" y="1962"/>
                  </a:cubicBezTo>
                  <a:cubicBezTo>
                    <a:pt x="310" y="1964"/>
                    <a:pt x="314" y="1972"/>
                    <a:pt x="310" y="1974"/>
                  </a:cubicBezTo>
                  <a:cubicBezTo>
                    <a:pt x="310" y="1974"/>
                    <a:pt x="287" y="1977"/>
                    <a:pt x="298" y="1969"/>
                  </a:cubicBezTo>
                  <a:cubicBezTo>
                    <a:pt x="299" y="1968"/>
                    <a:pt x="294" y="1957"/>
                    <a:pt x="292" y="1959"/>
                  </a:cubicBezTo>
                  <a:cubicBezTo>
                    <a:pt x="290" y="1961"/>
                    <a:pt x="290" y="1976"/>
                    <a:pt x="286" y="1979"/>
                  </a:cubicBezTo>
                  <a:cubicBezTo>
                    <a:pt x="285" y="1980"/>
                    <a:pt x="262" y="1985"/>
                    <a:pt x="260" y="1984"/>
                  </a:cubicBezTo>
                  <a:cubicBezTo>
                    <a:pt x="259" y="1984"/>
                    <a:pt x="259" y="1984"/>
                    <a:pt x="258" y="1984"/>
                  </a:cubicBezTo>
                  <a:cubicBezTo>
                    <a:pt x="249" y="1987"/>
                    <a:pt x="235" y="1983"/>
                    <a:pt x="227" y="1985"/>
                  </a:cubicBezTo>
                  <a:cubicBezTo>
                    <a:pt x="226" y="1985"/>
                    <a:pt x="225" y="1986"/>
                    <a:pt x="225" y="1984"/>
                  </a:cubicBezTo>
                  <a:cubicBezTo>
                    <a:pt x="225" y="1984"/>
                    <a:pt x="225" y="1982"/>
                    <a:pt x="224" y="1982"/>
                  </a:cubicBezTo>
                  <a:cubicBezTo>
                    <a:pt x="221" y="1983"/>
                    <a:pt x="204" y="1993"/>
                    <a:pt x="202" y="1992"/>
                  </a:cubicBezTo>
                  <a:cubicBezTo>
                    <a:pt x="197" y="1990"/>
                    <a:pt x="217" y="1979"/>
                    <a:pt x="216" y="1976"/>
                  </a:cubicBezTo>
                  <a:cubicBezTo>
                    <a:pt x="215" y="1975"/>
                    <a:pt x="200" y="1986"/>
                    <a:pt x="198" y="1985"/>
                  </a:cubicBezTo>
                  <a:cubicBezTo>
                    <a:pt x="198" y="1985"/>
                    <a:pt x="204" y="1973"/>
                    <a:pt x="199" y="1979"/>
                  </a:cubicBezTo>
                  <a:cubicBezTo>
                    <a:pt x="195" y="1983"/>
                    <a:pt x="195" y="1986"/>
                    <a:pt x="195" y="1979"/>
                  </a:cubicBezTo>
                  <a:cubicBezTo>
                    <a:pt x="195" y="1974"/>
                    <a:pt x="185" y="1983"/>
                    <a:pt x="185" y="1977"/>
                  </a:cubicBezTo>
                  <a:cubicBezTo>
                    <a:pt x="185" y="1972"/>
                    <a:pt x="203" y="1974"/>
                    <a:pt x="201" y="1971"/>
                  </a:cubicBezTo>
                  <a:cubicBezTo>
                    <a:pt x="200" y="1967"/>
                    <a:pt x="193" y="1972"/>
                    <a:pt x="189" y="1970"/>
                  </a:cubicBezTo>
                  <a:cubicBezTo>
                    <a:pt x="185" y="1967"/>
                    <a:pt x="180" y="1962"/>
                    <a:pt x="185" y="1971"/>
                  </a:cubicBezTo>
                  <a:cubicBezTo>
                    <a:pt x="187" y="1973"/>
                    <a:pt x="184" y="1974"/>
                    <a:pt x="180" y="1972"/>
                  </a:cubicBezTo>
                  <a:cubicBezTo>
                    <a:pt x="179" y="1972"/>
                    <a:pt x="177" y="1960"/>
                    <a:pt x="177" y="1967"/>
                  </a:cubicBezTo>
                  <a:cubicBezTo>
                    <a:pt x="176" y="1972"/>
                    <a:pt x="186" y="1995"/>
                    <a:pt x="166" y="1980"/>
                  </a:cubicBezTo>
                  <a:cubicBezTo>
                    <a:pt x="155" y="1971"/>
                    <a:pt x="174" y="1961"/>
                    <a:pt x="184" y="1955"/>
                  </a:cubicBezTo>
                  <a:cubicBezTo>
                    <a:pt x="186" y="1954"/>
                    <a:pt x="189" y="1953"/>
                    <a:pt x="189" y="1952"/>
                  </a:cubicBezTo>
                  <a:cubicBezTo>
                    <a:pt x="188" y="1949"/>
                    <a:pt x="176" y="1958"/>
                    <a:pt x="174" y="1957"/>
                  </a:cubicBezTo>
                  <a:cubicBezTo>
                    <a:pt x="170" y="1955"/>
                    <a:pt x="176" y="1951"/>
                    <a:pt x="176" y="1947"/>
                  </a:cubicBezTo>
                  <a:cubicBezTo>
                    <a:pt x="177" y="1944"/>
                    <a:pt x="173" y="1945"/>
                    <a:pt x="172" y="1945"/>
                  </a:cubicBezTo>
                  <a:cubicBezTo>
                    <a:pt x="165" y="1946"/>
                    <a:pt x="170" y="1952"/>
                    <a:pt x="169" y="1956"/>
                  </a:cubicBezTo>
                  <a:cubicBezTo>
                    <a:pt x="167" y="1962"/>
                    <a:pt x="136" y="1945"/>
                    <a:pt x="132" y="1944"/>
                  </a:cubicBezTo>
                  <a:cubicBezTo>
                    <a:pt x="113" y="1938"/>
                    <a:pt x="118" y="1930"/>
                    <a:pt x="109" y="1924"/>
                  </a:cubicBezTo>
                  <a:cubicBezTo>
                    <a:pt x="106" y="1921"/>
                    <a:pt x="96" y="1923"/>
                    <a:pt x="92" y="1922"/>
                  </a:cubicBezTo>
                  <a:cubicBezTo>
                    <a:pt x="84" y="1919"/>
                    <a:pt x="64" y="1893"/>
                    <a:pt x="65" y="1884"/>
                  </a:cubicBezTo>
                  <a:cubicBezTo>
                    <a:pt x="65" y="1873"/>
                    <a:pt x="74" y="1869"/>
                    <a:pt x="71" y="1857"/>
                  </a:cubicBezTo>
                  <a:cubicBezTo>
                    <a:pt x="70" y="1853"/>
                    <a:pt x="79" y="1867"/>
                    <a:pt x="80" y="1860"/>
                  </a:cubicBezTo>
                  <a:cubicBezTo>
                    <a:pt x="80" y="1857"/>
                    <a:pt x="66" y="1846"/>
                    <a:pt x="73" y="1844"/>
                  </a:cubicBezTo>
                  <a:cubicBezTo>
                    <a:pt x="83" y="1842"/>
                    <a:pt x="86" y="1857"/>
                    <a:pt x="87" y="1862"/>
                  </a:cubicBezTo>
                  <a:cubicBezTo>
                    <a:pt x="87" y="1863"/>
                    <a:pt x="86" y="1868"/>
                    <a:pt x="88" y="1868"/>
                  </a:cubicBezTo>
                  <a:cubicBezTo>
                    <a:pt x="91" y="1867"/>
                    <a:pt x="95" y="1854"/>
                    <a:pt x="100" y="1854"/>
                  </a:cubicBezTo>
                  <a:cubicBezTo>
                    <a:pt x="110" y="1855"/>
                    <a:pt x="118" y="1879"/>
                    <a:pt x="133" y="1872"/>
                  </a:cubicBezTo>
                  <a:cubicBezTo>
                    <a:pt x="135" y="1872"/>
                    <a:pt x="128" y="1871"/>
                    <a:pt x="127" y="1871"/>
                  </a:cubicBezTo>
                  <a:cubicBezTo>
                    <a:pt x="117" y="1868"/>
                    <a:pt x="121" y="1856"/>
                    <a:pt x="124" y="1854"/>
                  </a:cubicBezTo>
                  <a:cubicBezTo>
                    <a:pt x="132" y="1850"/>
                    <a:pt x="165" y="1848"/>
                    <a:pt x="169" y="1841"/>
                  </a:cubicBezTo>
                  <a:cubicBezTo>
                    <a:pt x="170" y="1840"/>
                    <a:pt x="155" y="1843"/>
                    <a:pt x="154" y="1843"/>
                  </a:cubicBezTo>
                  <a:cubicBezTo>
                    <a:pt x="146" y="1844"/>
                    <a:pt x="124" y="1848"/>
                    <a:pt x="119" y="1855"/>
                  </a:cubicBezTo>
                  <a:cubicBezTo>
                    <a:pt x="118" y="1857"/>
                    <a:pt x="117" y="1865"/>
                    <a:pt x="115" y="1862"/>
                  </a:cubicBezTo>
                  <a:cubicBezTo>
                    <a:pt x="113" y="1859"/>
                    <a:pt x="108" y="1851"/>
                    <a:pt x="114" y="1850"/>
                  </a:cubicBezTo>
                  <a:cubicBezTo>
                    <a:pt x="115" y="1850"/>
                    <a:pt x="119" y="1851"/>
                    <a:pt x="117" y="1849"/>
                  </a:cubicBezTo>
                  <a:cubicBezTo>
                    <a:pt x="113" y="1845"/>
                    <a:pt x="101" y="1848"/>
                    <a:pt x="101" y="1839"/>
                  </a:cubicBezTo>
                  <a:cubicBezTo>
                    <a:pt x="101" y="1832"/>
                    <a:pt x="125" y="1829"/>
                    <a:pt x="125" y="1828"/>
                  </a:cubicBezTo>
                  <a:cubicBezTo>
                    <a:pt x="124" y="1826"/>
                    <a:pt x="110" y="1831"/>
                    <a:pt x="114" y="1825"/>
                  </a:cubicBezTo>
                  <a:cubicBezTo>
                    <a:pt x="121" y="1816"/>
                    <a:pt x="134" y="1812"/>
                    <a:pt x="143" y="1806"/>
                  </a:cubicBezTo>
                  <a:cubicBezTo>
                    <a:pt x="146" y="1803"/>
                    <a:pt x="158" y="1806"/>
                    <a:pt x="155" y="1803"/>
                  </a:cubicBezTo>
                  <a:cubicBezTo>
                    <a:pt x="147" y="1795"/>
                    <a:pt x="131" y="1813"/>
                    <a:pt x="124" y="1812"/>
                  </a:cubicBezTo>
                  <a:cubicBezTo>
                    <a:pt x="116" y="1811"/>
                    <a:pt x="135" y="1805"/>
                    <a:pt x="131" y="1800"/>
                  </a:cubicBezTo>
                  <a:cubicBezTo>
                    <a:pt x="131" y="1799"/>
                    <a:pt x="131" y="1799"/>
                    <a:pt x="130" y="1798"/>
                  </a:cubicBezTo>
                  <a:cubicBezTo>
                    <a:pt x="130" y="1797"/>
                    <a:pt x="130" y="1797"/>
                    <a:pt x="130" y="1797"/>
                  </a:cubicBezTo>
                  <a:cubicBezTo>
                    <a:pt x="130" y="1797"/>
                    <a:pt x="130" y="1797"/>
                    <a:pt x="130" y="1798"/>
                  </a:cubicBezTo>
                  <a:cubicBezTo>
                    <a:pt x="130" y="1798"/>
                    <a:pt x="130" y="1798"/>
                    <a:pt x="130" y="1798"/>
                  </a:cubicBezTo>
                  <a:cubicBezTo>
                    <a:pt x="130" y="1800"/>
                    <a:pt x="130" y="1803"/>
                    <a:pt x="128" y="1803"/>
                  </a:cubicBezTo>
                  <a:cubicBezTo>
                    <a:pt x="125" y="1803"/>
                    <a:pt x="119" y="1796"/>
                    <a:pt x="118" y="1800"/>
                  </a:cubicBezTo>
                  <a:cubicBezTo>
                    <a:pt x="118" y="1802"/>
                    <a:pt x="114" y="1805"/>
                    <a:pt x="113" y="1802"/>
                  </a:cubicBezTo>
                  <a:cubicBezTo>
                    <a:pt x="111" y="1797"/>
                    <a:pt x="138" y="1777"/>
                    <a:pt x="141" y="1776"/>
                  </a:cubicBezTo>
                  <a:cubicBezTo>
                    <a:pt x="145" y="1774"/>
                    <a:pt x="151" y="1770"/>
                    <a:pt x="155" y="1770"/>
                  </a:cubicBezTo>
                  <a:cubicBezTo>
                    <a:pt x="156" y="1770"/>
                    <a:pt x="162" y="1769"/>
                    <a:pt x="162" y="1769"/>
                  </a:cubicBezTo>
                  <a:cubicBezTo>
                    <a:pt x="153" y="1762"/>
                    <a:pt x="144" y="1775"/>
                    <a:pt x="137" y="1774"/>
                  </a:cubicBezTo>
                  <a:cubicBezTo>
                    <a:pt x="130" y="1772"/>
                    <a:pt x="147" y="1757"/>
                    <a:pt x="141" y="1756"/>
                  </a:cubicBezTo>
                  <a:cubicBezTo>
                    <a:pt x="137" y="1755"/>
                    <a:pt x="132" y="1773"/>
                    <a:pt x="131" y="1776"/>
                  </a:cubicBezTo>
                  <a:cubicBezTo>
                    <a:pt x="127" y="1783"/>
                    <a:pt x="119" y="1794"/>
                    <a:pt x="114" y="1792"/>
                  </a:cubicBezTo>
                  <a:cubicBezTo>
                    <a:pt x="113" y="1792"/>
                    <a:pt x="114" y="1786"/>
                    <a:pt x="112" y="1788"/>
                  </a:cubicBezTo>
                  <a:cubicBezTo>
                    <a:pt x="110" y="1790"/>
                    <a:pt x="114" y="1800"/>
                    <a:pt x="107" y="1799"/>
                  </a:cubicBezTo>
                  <a:cubicBezTo>
                    <a:pt x="100" y="1798"/>
                    <a:pt x="102" y="1787"/>
                    <a:pt x="109" y="1786"/>
                  </a:cubicBezTo>
                  <a:cubicBezTo>
                    <a:pt x="113" y="1785"/>
                    <a:pt x="116" y="1784"/>
                    <a:pt x="120" y="1782"/>
                  </a:cubicBezTo>
                  <a:cubicBezTo>
                    <a:pt x="121" y="1782"/>
                    <a:pt x="124" y="1781"/>
                    <a:pt x="123" y="1780"/>
                  </a:cubicBezTo>
                  <a:cubicBezTo>
                    <a:pt x="121" y="1778"/>
                    <a:pt x="109" y="1781"/>
                    <a:pt x="106" y="1781"/>
                  </a:cubicBezTo>
                  <a:cubicBezTo>
                    <a:pt x="103" y="1781"/>
                    <a:pt x="96" y="1773"/>
                    <a:pt x="96" y="1773"/>
                  </a:cubicBezTo>
                  <a:cubicBezTo>
                    <a:pt x="90" y="1776"/>
                    <a:pt x="99" y="1779"/>
                    <a:pt x="96" y="1783"/>
                  </a:cubicBezTo>
                  <a:cubicBezTo>
                    <a:pt x="92" y="1786"/>
                    <a:pt x="82" y="1783"/>
                    <a:pt x="82" y="1791"/>
                  </a:cubicBezTo>
                  <a:cubicBezTo>
                    <a:pt x="82" y="1793"/>
                    <a:pt x="85" y="1790"/>
                    <a:pt x="85" y="1790"/>
                  </a:cubicBezTo>
                  <a:cubicBezTo>
                    <a:pt x="91" y="1786"/>
                    <a:pt x="104" y="1792"/>
                    <a:pt x="99" y="1800"/>
                  </a:cubicBezTo>
                  <a:cubicBezTo>
                    <a:pt x="98" y="1803"/>
                    <a:pt x="89" y="1801"/>
                    <a:pt x="87" y="1801"/>
                  </a:cubicBezTo>
                  <a:cubicBezTo>
                    <a:pt x="87" y="1801"/>
                    <a:pt x="82" y="1810"/>
                    <a:pt x="78" y="1808"/>
                  </a:cubicBezTo>
                  <a:cubicBezTo>
                    <a:pt x="76" y="1806"/>
                    <a:pt x="84" y="1783"/>
                    <a:pt x="74" y="1790"/>
                  </a:cubicBezTo>
                  <a:cubicBezTo>
                    <a:pt x="68" y="1794"/>
                    <a:pt x="77" y="1807"/>
                    <a:pt x="71" y="1809"/>
                  </a:cubicBezTo>
                  <a:cubicBezTo>
                    <a:pt x="57" y="1815"/>
                    <a:pt x="66" y="1791"/>
                    <a:pt x="62" y="1791"/>
                  </a:cubicBezTo>
                  <a:cubicBezTo>
                    <a:pt x="58" y="1790"/>
                    <a:pt x="62" y="1807"/>
                    <a:pt x="59" y="1808"/>
                  </a:cubicBezTo>
                  <a:cubicBezTo>
                    <a:pt x="57" y="1808"/>
                    <a:pt x="56" y="1799"/>
                    <a:pt x="56" y="1798"/>
                  </a:cubicBezTo>
                  <a:cubicBezTo>
                    <a:pt x="57" y="1790"/>
                    <a:pt x="53" y="1788"/>
                    <a:pt x="53" y="1796"/>
                  </a:cubicBezTo>
                  <a:cubicBezTo>
                    <a:pt x="53" y="1797"/>
                    <a:pt x="54" y="1801"/>
                    <a:pt x="52" y="1801"/>
                  </a:cubicBezTo>
                  <a:cubicBezTo>
                    <a:pt x="47" y="1801"/>
                    <a:pt x="40" y="1780"/>
                    <a:pt x="40" y="1776"/>
                  </a:cubicBezTo>
                  <a:cubicBezTo>
                    <a:pt x="40" y="1773"/>
                    <a:pt x="44" y="1776"/>
                    <a:pt x="46" y="1774"/>
                  </a:cubicBezTo>
                  <a:cubicBezTo>
                    <a:pt x="52" y="1767"/>
                    <a:pt x="49" y="1752"/>
                    <a:pt x="58" y="1756"/>
                  </a:cubicBezTo>
                  <a:cubicBezTo>
                    <a:pt x="60" y="1757"/>
                    <a:pt x="59" y="1764"/>
                    <a:pt x="60" y="1765"/>
                  </a:cubicBezTo>
                  <a:cubicBezTo>
                    <a:pt x="67" y="1766"/>
                    <a:pt x="61" y="1751"/>
                    <a:pt x="65" y="1746"/>
                  </a:cubicBezTo>
                  <a:cubicBezTo>
                    <a:pt x="66" y="1746"/>
                    <a:pt x="67" y="1744"/>
                    <a:pt x="68" y="1745"/>
                  </a:cubicBezTo>
                  <a:cubicBezTo>
                    <a:pt x="69" y="1746"/>
                    <a:pt x="68" y="1765"/>
                    <a:pt x="67" y="1768"/>
                  </a:cubicBezTo>
                  <a:cubicBezTo>
                    <a:pt x="66" y="1769"/>
                    <a:pt x="56" y="1774"/>
                    <a:pt x="61" y="1777"/>
                  </a:cubicBezTo>
                  <a:cubicBezTo>
                    <a:pt x="71" y="1784"/>
                    <a:pt x="71" y="1753"/>
                    <a:pt x="75" y="1752"/>
                  </a:cubicBezTo>
                  <a:cubicBezTo>
                    <a:pt x="83" y="1751"/>
                    <a:pt x="89" y="1763"/>
                    <a:pt x="89" y="1763"/>
                  </a:cubicBezTo>
                  <a:cubicBezTo>
                    <a:pt x="94" y="1764"/>
                    <a:pt x="91" y="1756"/>
                    <a:pt x="98" y="1756"/>
                  </a:cubicBezTo>
                  <a:cubicBezTo>
                    <a:pt x="112" y="1755"/>
                    <a:pt x="90" y="1753"/>
                    <a:pt x="90" y="1752"/>
                  </a:cubicBezTo>
                  <a:cubicBezTo>
                    <a:pt x="92" y="1740"/>
                    <a:pt x="114" y="1744"/>
                    <a:pt x="125" y="1738"/>
                  </a:cubicBezTo>
                  <a:cubicBezTo>
                    <a:pt x="137" y="1731"/>
                    <a:pt x="142" y="1728"/>
                    <a:pt x="141" y="1727"/>
                  </a:cubicBezTo>
                  <a:cubicBezTo>
                    <a:pt x="135" y="1723"/>
                    <a:pt x="118" y="1739"/>
                    <a:pt x="112" y="1739"/>
                  </a:cubicBezTo>
                  <a:cubicBezTo>
                    <a:pt x="103" y="1740"/>
                    <a:pt x="112" y="1730"/>
                    <a:pt x="110" y="1727"/>
                  </a:cubicBezTo>
                  <a:cubicBezTo>
                    <a:pt x="108" y="1721"/>
                    <a:pt x="105" y="1739"/>
                    <a:pt x="99" y="1739"/>
                  </a:cubicBezTo>
                  <a:cubicBezTo>
                    <a:pt x="91" y="1740"/>
                    <a:pt x="89" y="1726"/>
                    <a:pt x="87" y="1728"/>
                  </a:cubicBezTo>
                  <a:cubicBezTo>
                    <a:pt x="86" y="1729"/>
                    <a:pt x="83" y="1731"/>
                    <a:pt x="82" y="1729"/>
                  </a:cubicBezTo>
                  <a:cubicBezTo>
                    <a:pt x="81" y="1727"/>
                    <a:pt x="89" y="1725"/>
                    <a:pt x="90" y="1725"/>
                  </a:cubicBezTo>
                  <a:cubicBezTo>
                    <a:pt x="92" y="1723"/>
                    <a:pt x="88" y="1719"/>
                    <a:pt x="93" y="1717"/>
                  </a:cubicBezTo>
                  <a:cubicBezTo>
                    <a:pt x="97" y="1715"/>
                    <a:pt x="107" y="1715"/>
                    <a:pt x="110" y="1712"/>
                  </a:cubicBezTo>
                  <a:cubicBezTo>
                    <a:pt x="117" y="1706"/>
                    <a:pt x="108" y="1698"/>
                    <a:pt x="131" y="1691"/>
                  </a:cubicBezTo>
                  <a:cubicBezTo>
                    <a:pt x="133" y="1690"/>
                    <a:pt x="138" y="1690"/>
                    <a:pt x="139" y="1689"/>
                  </a:cubicBezTo>
                  <a:cubicBezTo>
                    <a:pt x="142" y="1683"/>
                    <a:pt x="120" y="1697"/>
                    <a:pt x="120" y="1680"/>
                  </a:cubicBezTo>
                  <a:cubicBezTo>
                    <a:pt x="119" y="1676"/>
                    <a:pt x="155" y="1643"/>
                    <a:pt x="164" y="1645"/>
                  </a:cubicBezTo>
                  <a:cubicBezTo>
                    <a:pt x="172" y="1646"/>
                    <a:pt x="160" y="1672"/>
                    <a:pt x="159" y="1681"/>
                  </a:cubicBezTo>
                  <a:cubicBezTo>
                    <a:pt x="159" y="1682"/>
                    <a:pt x="158" y="1696"/>
                    <a:pt x="160" y="1695"/>
                  </a:cubicBezTo>
                  <a:cubicBezTo>
                    <a:pt x="167" y="1691"/>
                    <a:pt x="163" y="1657"/>
                    <a:pt x="174" y="1651"/>
                  </a:cubicBezTo>
                  <a:cubicBezTo>
                    <a:pt x="183" y="1645"/>
                    <a:pt x="183" y="1638"/>
                    <a:pt x="196" y="1636"/>
                  </a:cubicBezTo>
                  <a:cubicBezTo>
                    <a:pt x="199" y="1636"/>
                    <a:pt x="211" y="1641"/>
                    <a:pt x="212" y="1635"/>
                  </a:cubicBezTo>
                  <a:cubicBezTo>
                    <a:pt x="212" y="1634"/>
                    <a:pt x="194" y="1635"/>
                    <a:pt x="193" y="1634"/>
                  </a:cubicBezTo>
                  <a:cubicBezTo>
                    <a:pt x="193" y="1634"/>
                    <a:pt x="205" y="1622"/>
                    <a:pt x="204" y="1621"/>
                  </a:cubicBezTo>
                  <a:cubicBezTo>
                    <a:pt x="200" y="1619"/>
                    <a:pt x="177" y="1645"/>
                    <a:pt x="169" y="1645"/>
                  </a:cubicBezTo>
                  <a:cubicBezTo>
                    <a:pt x="158" y="1643"/>
                    <a:pt x="177" y="1632"/>
                    <a:pt x="174" y="1632"/>
                  </a:cubicBezTo>
                  <a:cubicBezTo>
                    <a:pt x="169" y="1630"/>
                    <a:pt x="148" y="1649"/>
                    <a:pt x="141" y="1650"/>
                  </a:cubicBezTo>
                  <a:cubicBezTo>
                    <a:pt x="136" y="1650"/>
                    <a:pt x="132" y="1638"/>
                    <a:pt x="129" y="1639"/>
                  </a:cubicBezTo>
                  <a:cubicBezTo>
                    <a:pt x="125" y="1640"/>
                    <a:pt x="135" y="1651"/>
                    <a:pt x="133" y="1652"/>
                  </a:cubicBezTo>
                  <a:cubicBezTo>
                    <a:pt x="133" y="1652"/>
                    <a:pt x="123" y="1652"/>
                    <a:pt x="124" y="1654"/>
                  </a:cubicBezTo>
                  <a:cubicBezTo>
                    <a:pt x="125" y="1655"/>
                    <a:pt x="130" y="1654"/>
                    <a:pt x="130" y="1656"/>
                  </a:cubicBezTo>
                  <a:cubicBezTo>
                    <a:pt x="130" y="1657"/>
                    <a:pt x="127" y="1664"/>
                    <a:pt x="127" y="1666"/>
                  </a:cubicBezTo>
                  <a:cubicBezTo>
                    <a:pt x="128" y="1667"/>
                    <a:pt x="124" y="1670"/>
                    <a:pt x="124" y="1671"/>
                  </a:cubicBezTo>
                  <a:cubicBezTo>
                    <a:pt x="122" y="1672"/>
                    <a:pt x="116" y="1667"/>
                    <a:pt x="113" y="1668"/>
                  </a:cubicBezTo>
                  <a:cubicBezTo>
                    <a:pt x="107" y="1670"/>
                    <a:pt x="104" y="1677"/>
                    <a:pt x="100" y="1683"/>
                  </a:cubicBezTo>
                  <a:cubicBezTo>
                    <a:pt x="98" y="1687"/>
                    <a:pt x="104" y="1695"/>
                    <a:pt x="102" y="1700"/>
                  </a:cubicBezTo>
                  <a:cubicBezTo>
                    <a:pt x="99" y="1708"/>
                    <a:pt x="92" y="1703"/>
                    <a:pt x="92" y="1705"/>
                  </a:cubicBezTo>
                  <a:cubicBezTo>
                    <a:pt x="92" y="1710"/>
                    <a:pt x="90" y="1707"/>
                    <a:pt x="87" y="1706"/>
                  </a:cubicBezTo>
                  <a:cubicBezTo>
                    <a:pt x="85" y="1704"/>
                    <a:pt x="83" y="1695"/>
                    <a:pt x="88" y="1697"/>
                  </a:cubicBezTo>
                  <a:cubicBezTo>
                    <a:pt x="90" y="1698"/>
                    <a:pt x="92" y="1698"/>
                    <a:pt x="94" y="1696"/>
                  </a:cubicBezTo>
                  <a:cubicBezTo>
                    <a:pt x="99" y="1691"/>
                    <a:pt x="89" y="1695"/>
                    <a:pt x="89" y="1695"/>
                  </a:cubicBezTo>
                  <a:cubicBezTo>
                    <a:pt x="84" y="1692"/>
                    <a:pt x="90" y="1689"/>
                    <a:pt x="87" y="1684"/>
                  </a:cubicBezTo>
                  <a:cubicBezTo>
                    <a:pt x="85" y="1681"/>
                    <a:pt x="95" y="1676"/>
                    <a:pt x="94" y="1676"/>
                  </a:cubicBezTo>
                  <a:cubicBezTo>
                    <a:pt x="87" y="1671"/>
                    <a:pt x="82" y="1689"/>
                    <a:pt x="74" y="1685"/>
                  </a:cubicBezTo>
                  <a:cubicBezTo>
                    <a:pt x="71" y="1684"/>
                    <a:pt x="78" y="1675"/>
                    <a:pt x="82" y="1674"/>
                  </a:cubicBezTo>
                  <a:cubicBezTo>
                    <a:pt x="83" y="1674"/>
                    <a:pt x="88" y="1673"/>
                    <a:pt x="87" y="1672"/>
                  </a:cubicBezTo>
                  <a:cubicBezTo>
                    <a:pt x="85" y="1670"/>
                    <a:pt x="76" y="1675"/>
                    <a:pt x="79" y="1671"/>
                  </a:cubicBezTo>
                  <a:cubicBezTo>
                    <a:pt x="79" y="1671"/>
                    <a:pt x="82" y="1668"/>
                    <a:pt x="79" y="1668"/>
                  </a:cubicBezTo>
                  <a:cubicBezTo>
                    <a:pt x="78" y="1669"/>
                    <a:pt x="75" y="1673"/>
                    <a:pt x="75" y="1672"/>
                  </a:cubicBezTo>
                  <a:cubicBezTo>
                    <a:pt x="73" y="1668"/>
                    <a:pt x="91" y="1653"/>
                    <a:pt x="90" y="1650"/>
                  </a:cubicBezTo>
                  <a:cubicBezTo>
                    <a:pt x="88" y="1649"/>
                    <a:pt x="80" y="1656"/>
                    <a:pt x="76" y="1663"/>
                  </a:cubicBezTo>
                  <a:cubicBezTo>
                    <a:pt x="65" y="1682"/>
                    <a:pt x="64" y="1687"/>
                    <a:pt x="61" y="1687"/>
                  </a:cubicBezTo>
                  <a:cubicBezTo>
                    <a:pt x="54" y="1688"/>
                    <a:pt x="56" y="1676"/>
                    <a:pt x="55" y="1675"/>
                  </a:cubicBezTo>
                  <a:cubicBezTo>
                    <a:pt x="53" y="1674"/>
                    <a:pt x="38" y="1679"/>
                    <a:pt x="47" y="1673"/>
                  </a:cubicBezTo>
                  <a:cubicBezTo>
                    <a:pt x="47" y="1673"/>
                    <a:pt x="53" y="1669"/>
                    <a:pt x="52" y="1668"/>
                  </a:cubicBezTo>
                  <a:cubicBezTo>
                    <a:pt x="52" y="1668"/>
                    <a:pt x="29" y="1660"/>
                    <a:pt x="42" y="1660"/>
                  </a:cubicBezTo>
                  <a:cubicBezTo>
                    <a:pt x="43" y="1661"/>
                    <a:pt x="38" y="1659"/>
                    <a:pt x="37" y="1657"/>
                  </a:cubicBezTo>
                  <a:cubicBezTo>
                    <a:pt x="35" y="1652"/>
                    <a:pt x="50" y="1655"/>
                    <a:pt x="51" y="1650"/>
                  </a:cubicBezTo>
                  <a:cubicBezTo>
                    <a:pt x="51" y="1647"/>
                    <a:pt x="49" y="1643"/>
                    <a:pt x="46" y="1640"/>
                  </a:cubicBezTo>
                  <a:cubicBezTo>
                    <a:pt x="43" y="1638"/>
                    <a:pt x="46" y="1629"/>
                    <a:pt x="50" y="1631"/>
                  </a:cubicBezTo>
                  <a:cubicBezTo>
                    <a:pt x="61" y="1637"/>
                    <a:pt x="64" y="1651"/>
                    <a:pt x="81" y="1646"/>
                  </a:cubicBezTo>
                  <a:cubicBezTo>
                    <a:pt x="84" y="1645"/>
                    <a:pt x="87" y="1642"/>
                    <a:pt x="88" y="1638"/>
                  </a:cubicBezTo>
                  <a:cubicBezTo>
                    <a:pt x="89" y="1629"/>
                    <a:pt x="87" y="1615"/>
                    <a:pt x="88" y="1609"/>
                  </a:cubicBezTo>
                  <a:cubicBezTo>
                    <a:pt x="89" y="1607"/>
                    <a:pt x="92" y="1603"/>
                    <a:pt x="91" y="1603"/>
                  </a:cubicBezTo>
                  <a:cubicBezTo>
                    <a:pt x="81" y="1606"/>
                    <a:pt x="86" y="1593"/>
                    <a:pt x="71" y="1606"/>
                  </a:cubicBezTo>
                  <a:cubicBezTo>
                    <a:pt x="68" y="1609"/>
                    <a:pt x="74" y="1614"/>
                    <a:pt x="70" y="1617"/>
                  </a:cubicBezTo>
                  <a:cubicBezTo>
                    <a:pt x="62" y="1622"/>
                    <a:pt x="28" y="1630"/>
                    <a:pt x="32" y="1611"/>
                  </a:cubicBezTo>
                  <a:cubicBezTo>
                    <a:pt x="32" y="1611"/>
                    <a:pt x="34" y="1611"/>
                    <a:pt x="34" y="1611"/>
                  </a:cubicBezTo>
                  <a:cubicBezTo>
                    <a:pt x="38" y="1611"/>
                    <a:pt x="41" y="1619"/>
                    <a:pt x="44" y="1618"/>
                  </a:cubicBezTo>
                  <a:cubicBezTo>
                    <a:pt x="44" y="1617"/>
                    <a:pt x="37" y="1607"/>
                    <a:pt x="34" y="1606"/>
                  </a:cubicBezTo>
                  <a:cubicBezTo>
                    <a:pt x="27" y="1602"/>
                    <a:pt x="40" y="1607"/>
                    <a:pt x="36" y="1603"/>
                  </a:cubicBezTo>
                  <a:cubicBezTo>
                    <a:pt x="31" y="1598"/>
                    <a:pt x="22" y="1598"/>
                    <a:pt x="18" y="1591"/>
                  </a:cubicBezTo>
                  <a:cubicBezTo>
                    <a:pt x="15" y="1587"/>
                    <a:pt x="26" y="1595"/>
                    <a:pt x="31" y="1595"/>
                  </a:cubicBezTo>
                  <a:cubicBezTo>
                    <a:pt x="43" y="1595"/>
                    <a:pt x="53" y="1615"/>
                    <a:pt x="57" y="1615"/>
                  </a:cubicBezTo>
                  <a:cubicBezTo>
                    <a:pt x="57" y="1615"/>
                    <a:pt x="63" y="1617"/>
                    <a:pt x="57" y="1610"/>
                  </a:cubicBezTo>
                  <a:cubicBezTo>
                    <a:pt x="56" y="1608"/>
                    <a:pt x="58" y="1607"/>
                    <a:pt x="60" y="1608"/>
                  </a:cubicBezTo>
                  <a:cubicBezTo>
                    <a:pt x="68" y="1615"/>
                    <a:pt x="58" y="1601"/>
                    <a:pt x="56" y="1599"/>
                  </a:cubicBezTo>
                  <a:cubicBezTo>
                    <a:pt x="54" y="1598"/>
                    <a:pt x="45" y="1600"/>
                    <a:pt x="45" y="1595"/>
                  </a:cubicBezTo>
                  <a:cubicBezTo>
                    <a:pt x="45" y="1593"/>
                    <a:pt x="59" y="1582"/>
                    <a:pt x="61" y="1582"/>
                  </a:cubicBezTo>
                  <a:cubicBezTo>
                    <a:pt x="62" y="1582"/>
                    <a:pt x="72" y="1581"/>
                    <a:pt x="72" y="1580"/>
                  </a:cubicBezTo>
                  <a:cubicBezTo>
                    <a:pt x="58" y="1574"/>
                    <a:pt x="39" y="1596"/>
                    <a:pt x="28" y="1585"/>
                  </a:cubicBezTo>
                  <a:cubicBezTo>
                    <a:pt x="28" y="1585"/>
                    <a:pt x="27" y="1584"/>
                    <a:pt x="27" y="1583"/>
                  </a:cubicBezTo>
                  <a:cubicBezTo>
                    <a:pt x="23" y="1567"/>
                    <a:pt x="25" y="1563"/>
                    <a:pt x="31" y="1579"/>
                  </a:cubicBezTo>
                  <a:cubicBezTo>
                    <a:pt x="32" y="1580"/>
                    <a:pt x="37" y="1562"/>
                    <a:pt x="35" y="1565"/>
                  </a:cubicBezTo>
                  <a:cubicBezTo>
                    <a:pt x="33" y="1568"/>
                    <a:pt x="24" y="1566"/>
                    <a:pt x="24" y="1563"/>
                  </a:cubicBezTo>
                  <a:cubicBezTo>
                    <a:pt x="23" y="1536"/>
                    <a:pt x="61" y="1566"/>
                    <a:pt x="65" y="1562"/>
                  </a:cubicBezTo>
                  <a:cubicBezTo>
                    <a:pt x="67" y="1561"/>
                    <a:pt x="63" y="1556"/>
                    <a:pt x="66" y="1554"/>
                  </a:cubicBezTo>
                  <a:cubicBezTo>
                    <a:pt x="70" y="1552"/>
                    <a:pt x="81" y="1552"/>
                    <a:pt x="80" y="1552"/>
                  </a:cubicBezTo>
                  <a:cubicBezTo>
                    <a:pt x="77" y="1551"/>
                    <a:pt x="77" y="1549"/>
                    <a:pt x="81" y="1549"/>
                  </a:cubicBezTo>
                  <a:cubicBezTo>
                    <a:pt x="84" y="1549"/>
                    <a:pt x="96" y="1543"/>
                    <a:pt x="94" y="1549"/>
                  </a:cubicBezTo>
                  <a:cubicBezTo>
                    <a:pt x="94" y="1549"/>
                    <a:pt x="92" y="1553"/>
                    <a:pt x="94" y="1553"/>
                  </a:cubicBezTo>
                  <a:cubicBezTo>
                    <a:pt x="95" y="1552"/>
                    <a:pt x="128" y="1535"/>
                    <a:pt x="137" y="1550"/>
                  </a:cubicBezTo>
                  <a:cubicBezTo>
                    <a:pt x="138" y="1551"/>
                    <a:pt x="133" y="1555"/>
                    <a:pt x="135" y="1556"/>
                  </a:cubicBezTo>
                  <a:cubicBezTo>
                    <a:pt x="139" y="1557"/>
                    <a:pt x="139" y="1552"/>
                    <a:pt x="142" y="1552"/>
                  </a:cubicBezTo>
                  <a:cubicBezTo>
                    <a:pt x="150" y="1551"/>
                    <a:pt x="142" y="1563"/>
                    <a:pt x="146" y="1561"/>
                  </a:cubicBezTo>
                  <a:cubicBezTo>
                    <a:pt x="161" y="1553"/>
                    <a:pt x="163" y="1530"/>
                    <a:pt x="188" y="1542"/>
                  </a:cubicBezTo>
                  <a:cubicBezTo>
                    <a:pt x="190" y="1543"/>
                    <a:pt x="204" y="1555"/>
                    <a:pt x="203" y="1560"/>
                  </a:cubicBezTo>
                  <a:cubicBezTo>
                    <a:pt x="203" y="1566"/>
                    <a:pt x="185" y="1571"/>
                    <a:pt x="191" y="1571"/>
                  </a:cubicBezTo>
                  <a:cubicBezTo>
                    <a:pt x="202" y="1573"/>
                    <a:pt x="201" y="1564"/>
                    <a:pt x="212" y="1571"/>
                  </a:cubicBezTo>
                  <a:cubicBezTo>
                    <a:pt x="216" y="1573"/>
                    <a:pt x="211" y="1581"/>
                    <a:pt x="212" y="1582"/>
                  </a:cubicBezTo>
                  <a:cubicBezTo>
                    <a:pt x="214" y="1584"/>
                    <a:pt x="217" y="1576"/>
                    <a:pt x="217" y="1575"/>
                  </a:cubicBezTo>
                  <a:cubicBezTo>
                    <a:pt x="218" y="1567"/>
                    <a:pt x="198" y="1555"/>
                    <a:pt x="204" y="1548"/>
                  </a:cubicBezTo>
                  <a:cubicBezTo>
                    <a:pt x="205" y="1547"/>
                    <a:pt x="215" y="1546"/>
                    <a:pt x="217" y="1546"/>
                  </a:cubicBezTo>
                  <a:cubicBezTo>
                    <a:pt x="222" y="1547"/>
                    <a:pt x="222" y="1541"/>
                    <a:pt x="230" y="1544"/>
                  </a:cubicBezTo>
                  <a:cubicBezTo>
                    <a:pt x="232" y="1545"/>
                    <a:pt x="239" y="1551"/>
                    <a:pt x="241" y="1548"/>
                  </a:cubicBezTo>
                  <a:cubicBezTo>
                    <a:pt x="244" y="1545"/>
                    <a:pt x="231" y="1542"/>
                    <a:pt x="234" y="1540"/>
                  </a:cubicBezTo>
                  <a:cubicBezTo>
                    <a:pt x="236" y="1538"/>
                    <a:pt x="264" y="1529"/>
                    <a:pt x="264" y="1529"/>
                  </a:cubicBezTo>
                  <a:cubicBezTo>
                    <a:pt x="261" y="1525"/>
                    <a:pt x="229" y="1539"/>
                    <a:pt x="232" y="1516"/>
                  </a:cubicBezTo>
                  <a:cubicBezTo>
                    <a:pt x="233" y="1511"/>
                    <a:pt x="254" y="1493"/>
                    <a:pt x="254" y="1492"/>
                  </a:cubicBezTo>
                  <a:cubicBezTo>
                    <a:pt x="252" y="1486"/>
                    <a:pt x="234" y="1510"/>
                    <a:pt x="230" y="1509"/>
                  </a:cubicBezTo>
                  <a:cubicBezTo>
                    <a:pt x="217" y="1506"/>
                    <a:pt x="234" y="1528"/>
                    <a:pt x="234" y="1535"/>
                  </a:cubicBezTo>
                  <a:cubicBezTo>
                    <a:pt x="235" y="1542"/>
                    <a:pt x="223" y="1536"/>
                    <a:pt x="222" y="1536"/>
                  </a:cubicBezTo>
                  <a:cubicBezTo>
                    <a:pt x="218" y="1535"/>
                    <a:pt x="206" y="1543"/>
                    <a:pt x="201" y="1545"/>
                  </a:cubicBezTo>
                  <a:cubicBezTo>
                    <a:pt x="198" y="1546"/>
                    <a:pt x="194" y="1543"/>
                    <a:pt x="195" y="1541"/>
                  </a:cubicBezTo>
                  <a:cubicBezTo>
                    <a:pt x="195" y="1540"/>
                    <a:pt x="205" y="1539"/>
                    <a:pt x="203" y="1536"/>
                  </a:cubicBezTo>
                  <a:cubicBezTo>
                    <a:pt x="201" y="1533"/>
                    <a:pt x="166" y="1541"/>
                    <a:pt x="163" y="1530"/>
                  </a:cubicBezTo>
                  <a:cubicBezTo>
                    <a:pt x="162" y="1527"/>
                    <a:pt x="183" y="1508"/>
                    <a:pt x="177" y="1504"/>
                  </a:cubicBezTo>
                  <a:cubicBezTo>
                    <a:pt x="170" y="1499"/>
                    <a:pt x="172" y="1518"/>
                    <a:pt x="164" y="1522"/>
                  </a:cubicBezTo>
                  <a:cubicBezTo>
                    <a:pt x="149" y="1529"/>
                    <a:pt x="164" y="1539"/>
                    <a:pt x="158" y="1543"/>
                  </a:cubicBezTo>
                  <a:cubicBezTo>
                    <a:pt x="144" y="1551"/>
                    <a:pt x="138" y="1539"/>
                    <a:pt x="129" y="1536"/>
                  </a:cubicBezTo>
                  <a:cubicBezTo>
                    <a:pt x="126" y="1535"/>
                    <a:pt x="116" y="1547"/>
                    <a:pt x="110" y="1539"/>
                  </a:cubicBezTo>
                  <a:cubicBezTo>
                    <a:pt x="109" y="1538"/>
                    <a:pt x="118" y="1534"/>
                    <a:pt x="116" y="1533"/>
                  </a:cubicBezTo>
                  <a:cubicBezTo>
                    <a:pt x="109" y="1529"/>
                    <a:pt x="75" y="1550"/>
                    <a:pt x="59" y="1552"/>
                  </a:cubicBezTo>
                  <a:cubicBezTo>
                    <a:pt x="57" y="1552"/>
                    <a:pt x="39" y="1544"/>
                    <a:pt x="39" y="1544"/>
                  </a:cubicBezTo>
                  <a:cubicBezTo>
                    <a:pt x="38" y="1542"/>
                    <a:pt x="49" y="1542"/>
                    <a:pt x="40" y="1540"/>
                  </a:cubicBezTo>
                  <a:cubicBezTo>
                    <a:pt x="37" y="1539"/>
                    <a:pt x="31" y="1543"/>
                    <a:pt x="28" y="1538"/>
                  </a:cubicBezTo>
                  <a:cubicBezTo>
                    <a:pt x="26" y="1534"/>
                    <a:pt x="46" y="1538"/>
                    <a:pt x="46" y="1536"/>
                  </a:cubicBezTo>
                  <a:cubicBezTo>
                    <a:pt x="46" y="1535"/>
                    <a:pt x="42" y="1532"/>
                    <a:pt x="41" y="1532"/>
                  </a:cubicBezTo>
                  <a:cubicBezTo>
                    <a:pt x="32" y="1529"/>
                    <a:pt x="30" y="1526"/>
                    <a:pt x="28" y="1527"/>
                  </a:cubicBezTo>
                  <a:cubicBezTo>
                    <a:pt x="26" y="1529"/>
                    <a:pt x="21" y="1528"/>
                    <a:pt x="20" y="1525"/>
                  </a:cubicBezTo>
                  <a:cubicBezTo>
                    <a:pt x="19" y="1522"/>
                    <a:pt x="45" y="1515"/>
                    <a:pt x="46" y="1516"/>
                  </a:cubicBezTo>
                  <a:cubicBezTo>
                    <a:pt x="49" y="1517"/>
                    <a:pt x="63" y="1533"/>
                    <a:pt x="53" y="1517"/>
                  </a:cubicBezTo>
                  <a:cubicBezTo>
                    <a:pt x="52" y="1515"/>
                    <a:pt x="49" y="1516"/>
                    <a:pt x="49" y="1514"/>
                  </a:cubicBezTo>
                  <a:cubicBezTo>
                    <a:pt x="49" y="1510"/>
                    <a:pt x="71" y="1510"/>
                    <a:pt x="73" y="1510"/>
                  </a:cubicBezTo>
                  <a:cubicBezTo>
                    <a:pt x="75" y="1510"/>
                    <a:pt x="76" y="1509"/>
                    <a:pt x="78" y="1509"/>
                  </a:cubicBezTo>
                  <a:cubicBezTo>
                    <a:pt x="78" y="1509"/>
                    <a:pt x="81" y="1510"/>
                    <a:pt x="81" y="1509"/>
                  </a:cubicBezTo>
                  <a:cubicBezTo>
                    <a:pt x="76" y="1496"/>
                    <a:pt x="33" y="1518"/>
                    <a:pt x="28" y="1516"/>
                  </a:cubicBezTo>
                  <a:cubicBezTo>
                    <a:pt x="15" y="1509"/>
                    <a:pt x="36" y="1505"/>
                    <a:pt x="35" y="1501"/>
                  </a:cubicBezTo>
                  <a:cubicBezTo>
                    <a:pt x="35" y="1501"/>
                    <a:pt x="19" y="1504"/>
                    <a:pt x="19" y="1502"/>
                  </a:cubicBezTo>
                  <a:cubicBezTo>
                    <a:pt x="26" y="1489"/>
                    <a:pt x="62" y="1498"/>
                    <a:pt x="68" y="1499"/>
                  </a:cubicBezTo>
                  <a:cubicBezTo>
                    <a:pt x="71" y="1500"/>
                    <a:pt x="89" y="1488"/>
                    <a:pt x="92" y="1495"/>
                  </a:cubicBezTo>
                  <a:cubicBezTo>
                    <a:pt x="92" y="1497"/>
                    <a:pt x="94" y="1499"/>
                    <a:pt x="96" y="1497"/>
                  </a:cubicBezTo>
                  <a:cubicBezTo>
                    <a:pt x="97" y="1496"/>
                    <a:pt x="94" y="1494"/>
                    <a:pt x="93" y="1492"/>
                  </a:cubicBezTo>
                  <a:cubicBezTo>
                    <a:pt x="91" y="1488"/>
                    <a:pt x="39" y="1500"/>
                    <a:pt x="36" y="1485"/>
                  </a:cubicBezTo>
                  <a:cubicBezTo>
                    <a:pt x="34" y="1477"/>
                    <a:pt x="53" y="1487"/>
                    <a:pt x="55" y="1483"/>
                  </a:cubicBezTo>
                  <a:cubicBezTo>
                    <a:pt x="58" y="1477"/>
                    <a:pt x="34" y="1483"/>
                    <a:pt x="39" y="1479"/>
                  </a:cubicBezTo>
                  <a:cubicBezTo>
                    <a:pt x="47" y="1473"/>
                    <a:pt x="54" y="1479"/>
                    <a:pt x="56" y="1479"/>
                  </a:cubicBezTo>
                  <a:cubicBezTo>
                    <a:pt x="57" y="1479"/>
                    <a:pt x="63" y="1479"/>
                    <a:pt x="62" y="1477"/>
                  </a:cubicBezTo>
                  <a:cubicBezTo>
                    <a:pt x="57" y="1469"/>
                    <a:pt x="36" y="1483"/>
                    <a:pt x="33" y="1474"/>
                  </a:cubicBezTo>
                  <a:cubicBezTo>
                    <a:pt x="32" y="1471"/>
                    <a:pt x="56" y="1471"/>
                    <a:pt x="56" y="1469"/>
                  </a:cubicBezTo>
                  <a:cubicBezTo>
                    <a:pt x="56" y="1467"/>
                    <a:pt x="48" y="1470"/>
                    <a:pt x="47" y="1470"/>
                  </a:cubicBezTo>
                  <a:cubicBezTo>
                    <a:pt x="44" y="1471"/>
                    <a:pt x="23" y="1472"/>
                    <a:pt x="21" y="1470"/>
                  </a:cubicBezTo>
                  <a:cubicBezTo>
                    <a:pt x="7" y="1452"/>
                    <a:pt x="38" y="1458"/>
                    <a:pt x="36" y="1454"/>
                  </a:cubicBezTo>
                  <a:cubicBezTo>
                    <a:pt x="34" y="1451"/>
                    <a:pt x="47" y="1452"/>
                    <a:pt x="45" y="1450"/>
                  </a:cubicBezTo>
                  <a:cubicBezTo>
                    <a:pt x="43" y="1449"/>
                    <a:pt x="29" y="1453"/>
                    <a:pt x="30" y="1451"/>
                  </a:cubicBezTo>
                  <a:cubicBezTo>
                    <a:pt x="30" y="1450"/>
                    <a:pt x="32" y="1449"/>
                    <a:pt x="33" y="1449"/>
                  </a:cubicBezTo>
                  <a:cubicBezTo>
                    <a:pt x="46" y="1443"/>
                    <a:pt x="58" y="1428"/>
                    <a:pt x="63" y="1429"/>
                  </a:cubicBezTo>
                  <a:cubicBezTo>
                    <a:pt x="63" y="1429"/>
                    <a:pt x="64" y="1429"/>
                    <a:pt x="64" y="1429"/>
                  </a:cubicBezTo>
                  <a:cubicBezTo>
                    <a:pt x="64" y="1430"/>
                    <a:pt x="65" y="1430"/>
                    <a:pt x="65" y="1430"/>
                  </a:cubicBezTo>
                  <a:cubicBezTo>
                    <a:pt x="67" y="1430"/>
                    <a:pt x="93" y="1434"/>
                    <a:pt x="90" y="1439"/>
                  </a:cubicBezTo>
                  <a:cubicBezTo>
                    <a:pt x="90" y="1440"/>
                    <a:pt x="85" y="1440"/>
                    <a:pt x="84" y="1440"/>
                  </a:cubicBezTo>
                  <a:cubicBezTo>
                    <a:pt x="74" y="1443"/>
                    <a:pt x="84" y="1442"/>
                    <a:pt x="89" y="1441"/>
                  </a:cubicBezTo>
                  <a:cubicBezTo>
                    <a:pt x="92" y="1440"/>
                    <a:pt x="95" y="1440"/>
                    <a:pt x="99" y="1439"/>
                  </a:cubicBezTo>
                  <a:cubicBezTo>
                    <a:pt x="117" y="1434"/>
                    <a:pt x="101" y="1458"/>
                    <a:pt x="108" y="1452"/>
                  </a:cubicBezTo>
                  <a:cubicBezTo>
                    <a:pt x="109" y="1450"/>
                    <a:pt x="109" y="1442"/>
                    <a:pt x="111" y="1441"/>
                  </a:cubicBezTo>
                  <a:cubicBezTo>
                    <a:pt x="118" y="1438"/>
                    <a:pt x="122" y="1456"/>
                    <a:pt x="129" y="1450"/>
                  </a:cubicBezTo>
                  <a:cubicBezTo>
                    <a:pt x="130" y="1449"/>
                    <a:pt x="118" y="1443"/>
                    <a:pt x="118" y="1441"/>
                  </a:cubicBezTo>
                  <a:cubicBezTo>
                    <a:pt x="118" y="1440"/>
                    <a:pt x="120" y="1441"/>
                    <a:pt x="121" y="1441"/>
                  </a:cubicBezTo>
                  <a:cubicBezTo>
                    <a:pt x="123" y="1442"/>
                    <a:pt x="125" y="1442"/>
                    <a:pt x="127" y="1441"/>
                  </a:cubicBezTo>
                  <a:cubicBezTo>
                    <a:pt x="137" y="1440"/>
                    <a:pt x="146" y="1447"/>
                    <a:pt x="155" y="1445"/>
                  </a:cubicBezTo>
                  <a:cubicBezTo>
                    <a:pt x="159" y="1444"/>
                    <a:pt x="160" y="1442"/>
                    <a:pt x="161" y="1440"/>
                  </a:cubicBezTo>
                  <a:cubicBezTo>
                    <a:pt x="164" y="1439"/>
                    <a:pt x="167" y="1436"/>
                    <a:pt x="171" y="1435"/>
                  </a:cubicBezTo>
                  <a:cubicBezTo>
                    <a:pt x="176" y="1436"/>
                    <a:pt x="185" y="1442"/>
                    <a:pt x="186" y="1436"/>
                  </a:cubicBezTo>
                  <a:cubicBezTo>
                    <a:pt x="186" y="1435"/>
                    <a:pt x="179" y="1435"/>
                    <a:pt x="177" y="1434"/>
                  </a:cubicBezTo>
                  <a:cubicBezTo>
                    <a:pt x="175" y="1434"/>
                    <a:pt x="172" y="1434"/>
                    <a:pt x="171" y="1435"/>
                  </a:cubicBezTo>
                  <a:cubicBezTo>
                    <a:pt x="170" y="1435"/>
                    <a:pt x="169" y="1435"/>
                    <a:pt x="168" y="1435"/>
                  </a:cubicBezTo>
                  <a:cubicBezTo>
                    <a:pt x="164" y="1435"/>
                    <a:pt x="163" y="1438"/>
                    <a:pt x="161" y="1440"/>
                  </a:cubicBezTo>
                  <a:cubicBezTo>
                    <a:pt x="160" y="1441"/>
                    <a:pt x="159" y="1442"/>
                    <a:pt x="157" y="1442"/>
                  </a:cubicBezTo>
                  <a:cubicBezTo>
                    <a:pt x="152" y="1442"/>
                    <a:pt x="96" y="1438"/>
                    <a:pt x="94" y="1437"/>
                  </a:cubicBezTo>
                  <a:cubicBezTo>
                    <a:pt x="82" y="1432"/>
                    <a:pt x="98" y="1430"/>
                    <a:pt x="103" y="1431"/>
                  </a:cubicBezTo>
                  <a:cubicBezTo>
                    <a:pt x="104" y="1431"/>
                    <a:pt x="111" y="1430"/>
                    <a:pt x="110" y="1429"/>
                  </a:cubicBezTo>
                  <a:cubicBezTo>
                    <a:pt x="99" y="1422"/>
                    <a:pt x="35" y="1432"/>
                    <a:pt x="33" y="1429"/>
                  </a:cubicBezTo>
                  <a:cubicBezTo>
                    <a:pt x="32" y="1427"/>
                    <a:pt x="36" y="1425"/>
                    <a:pt x="36" y="1423"/>
                  </a:cubicBezTo>
                  <a:cubicBezTo>
                    <a:pt x="36" y="1417"/>
                    <a:pt x="43" y="1424"/>
                    <a:pt x="45" y="1423"/>
                  </a:cubicBezTo>
                  <a:cubicBezTo>
                    <a:pt x="47" y="1423"/>
                    <a:pt x="52" y="1413"/>
                    <a:pt x="53" y="1413"/>
                  </a:cubicBezTo>
                  <a:cubicBezTo>
                    <a:pt x="54" y="1413"/>
                    <a:pt x="62" y="1416"/>
                    <a:pt x="60" y="1413"/>
                  </a:cubicBezTo>
                  <a:cubicBezTo>
                    <a:pt x="50" y="1397"/>
                    <a:pt x="33" y="1406"/>
                    <a:pt x="31" y="1390"/>
                  </a:cubicBezTo>
                  <a:cubicBezTo>
                    <a:pt x="30" y="1386"/>
                    <a:pt x="37" y="1391"/>
                    <a:pt x="37" y="1387"/>
                  </a:cubicBezTo>
                  <a:cubicBezTo>
                    <a:pt x="37" y="1382"/>
                    <a:pt x="46" y="1391"/>
                    <a:pt x="48" y="1392"/>
                  </a:cubicBezTo>
                  <a:cubicBezTo>
                    <a:pt x="51" y="1392"/>
                    <a:pt x="64" y="1415"/>
                    <a:pt x="65" y="1415"/>
                  </a:cubicBezTo>
                  <a:cubicBezTo>
                    <a:pt x="67" y="1416"/>
                    <a:pt x="69" y="1410"/>
                    <a:pt x="70" y="1409"/>
                  </a:cubicBezTo>
                  <a:cubicBezTo>
                    <a:pt x="71" y="1407"/>
                    <a:pt x="76" y="1409"/>
                    <a:pt x="77" y="1406"/>
                  </a:cubicBezTo>
                  <a:cubicBezTo>
                    <a:pt x="78" y="1400"/>
                    <a:pt x="50" y="1406"/>
                    <a:pt x="61" y="1390"/>
                  </a:cubicBezTo>
                  <a:cubicBezTo>
                    <a:pt x="70" y="1379"/>
                    <a:pt x="85" y="1405"/>
                    <a:pt x="91" y="1403"/>
                  </a:cubicBezTo>
                  <a:cubicBezTo>
                    <a:pt x="95" y="1402"/>
                    <a:pt x="80" y="1394"/>
                    <a:pt x="84" y="1391"/>
                  </a:cubicBezTo>
                  <a:cubicBezTo>
                    <a:pt x="87" y="1389"/>
                    <a:pt x="104" y="1385"/>
                    <a:pt x="106" y="1391"/>
                  </a:cubicBezTo>
                  <a:cubicBezTo>
                    <a:pt x="108" y="1395"/>
                    <a:pt x="99" y="1413"/>
                    <a:pt x="99" y="1413"/>
                  </a:cubicBezTo>
                  <a:cubicBezTo>
                    <a:pt x="105" y="1417"/>
                    <a:pt x="103" y="1396"/>
                    <a:pt x="110" y="1396"/>
                  </a:cubicBezTo>
                  <a:cubicBezTo>
                    <a:pt x="112" y="1396"/>
                    <a:pt x="114" y="1400"/>
                    <a:pt x="116" y="1401"/>
                  </a:cubicBezTo>
                  <a:cubicBezTo>
                    <a:pt x="125" y="1405"/>
                    <a:pt x="145" y="1408"/>
                    <a:pt x="146" y="1408"/>
                  </a:cubicBezTo>
                  <a:cubicBezTo>
                    <a:pt x="147" y="1405"/>
                    <a:pt x="122" y="1402"/>
                    <a:pt x="121" y="1400"/>
                  </a:cubicBezTo>
                  <a:cubicBezTo>
                    <a:pt x="108" y="1388"/>
                    <a:pt x="102" y="1388"/>
                    <a:pt x="117" y="1387"/>
                  </a:cubicBezTo>
                  <a:cubicBezTo>
                    <a:pt x="121" y="1387"/>
                    <a:pt x="108" y="1383"/>
                    <a:pt x="108" y="1379"/>
                  </a:cubicBezTo>
                  <a:cubicBezTo>
                    <a:pt x="110" y="1374"/>
                    <a:pt x="137" y="1360"/>
                    <a:pt x="141" y="1362"/>
                  </a:cubicBezTo>
                  <a:cubicBezTo>
                    <a:pt x="144" y="1363"/>
                    <a:pt x="156" y="1380"/>
                    <a:pt x="161" y="1390"/>
                  </a:cubicBezTo>
                  <a:cubicBezTo>
                    <a:pt x="162" y="1393"/>
                    <a:pt x="162" y="1396"/>
                    <a:pt x="161" y="1398"/>
                  </a:cubicBezTo>
                  <a:cubicBezTo>
                    <a:pt x="161" y="1399"/>
                    <a:pt x="160" y="1400"/>
                    <a:pt x="160" y="1401"/>
                  </a:cubicBezTo>
                  <a:cubicBezTo>
                    <a:pt x="161" y="1401"/>
                    <a:pt x="161" y="1400"/>
                    <a:pt x="161" y="1398"/>
                  </a:cubicBezTo>
                  <a:cubicBezTo>
                    <a:pt x="162" y="1397"/>
                    <a:pt x="163" y="1396"/>
                    <a:pt x="164" y="1396"/>
                  </a:cubicBezTo>
                  <a:cubicBezTo>
                    <a:pt x="164" y="1395"/>
                    <a:pt x="163" y="1393"/>
                    <a:pt x="161" y="1390"/>
                  </a:cubicBezTo>
                  <a:cubicBezTo>
                    <a:pt x="161" y="1387"/>
                    <a:pt x="160" y="1385"/>
                    <a:pt x="159" y="1383"/>
                  </a:cubicBezTo>
                  <a:cubicBezTo>
                    <a:pt x="156" y="1377"/>
                    <a:pt x="146" y="1369"/>
                    <a:pt x="148" y="1362"/>
                  </a:cubicBezTo>
                  <a:cubicBezTo>
                    <a:pt x="151" y="1350"/>
                    <a:pt x="163" y="1365"/>
                    <a:pt x="164" y="1364"/>
                  </a:cubicBezTo>
                  <a:cubicBezTo>
                    <a:pt x="165" y="1364"/>
                    <a:pt x="164" y="1352"/>
                    <a:pt x="175" y="1351"/>
                  </a:cubicBezTo>
                  <a:cubicBezTo>
                    <a:pt x="205" y="1347"/>
                    <a:pt x="198" y="1402"/>
                    <a:pt x="200" y="1403"/>
                  </a:cubicBezTo>
                  <a:cubicBezTo>
                    <a:pt x="206" y="1407"/>
                    <a:pt x="212" y="1397"/>
                    <a:pt x="217" y="1401"/>
                  </a:cubicBezTo>
                  <a:cubicBezTo>
                    <a:pt x="219" y="1402"/>
                    <a:pt x="216" y="1396"/>
                    <a:pt x="209" y="1400"/>
                  </a:cubicBezTo>
                  <a:cubicBezTo>
                    <a:pt x="195" y="1410"/>
                    <a:pt x="206" y="1388"/>
                    <a:pt x="205" y="1383"/>
                  </a:cubicBezTo>
                  <a:cubicBezTo>
                    <a:pt x="205" y="1382"/>
                    <a:pt x="204" y="1377"/>
                    <a:pt x="205" y="1377"/>
                  </a:cubicBezTo>
                  <a:cubicBezTo>
                    <a:pt x="208" y="1374"/>
                    <a:pt x="233" y="1377"/>
                    <a:pt x="236" y="1380"/>
                  </a:cubicBezTo>
                  <a:cubicBezTo>
                    <a:pt x="236" y="1381"/>
                    <a:pt x="238" y="1384"/>
                    <a:pt x="239" y="1383"/>
                  </a:cubicBezTo>
                  <a:cubicBezTo>
                    <a:pt x="241" y="1382"/>
                    <a:pt x="236" y="1377"/>
                    <a:pt x="235" y="1377"/>
                  </a:cubicBezTo>
                  <a:cubicBezTo>
                    <a:pt x="228" y="1370"/>
                    <a:pt x="210" y="1375"/>
                    <a:pt x="200" y="1371"/>
                  </a:cubicBezTo>
                  <a:cubicBezTo>
                    <a:pt x="195" y="1368"/>
                    <a:pt x="199" y="1350"/>
                    <a:pt x="175" y="1346"/>
                  </a:cubicBezTo>
                  <a:cubicBezTo>
                    <a:pt x="166" y="1344"/>
                    <a:pt x="156" y="1359"/>
                    <a:pt x="144" y="1353"/>
                  </a:cubicBezTo>
                  <a:cubicBezTo>
                    <a:pt x="141" y="1351"/>
                    <a:pt x="130" y="1352"/>
                    <a:pt x="133" y="1349"/>
                  </a:cubicBezTo>
                  <a:cubicBezTo>
                    <a:pt x="141" y="1340"/>
                    <a:pt x="168" y="1350"/>
                    <a:pt x="173" y="1344"/>
                  </a:cubicBezTo>
                  <a:cubicBezTo>
                    <a:pt x="173" y="1344"/>
                    <a:pt x="167" y="1341"/>
                    <a:pt x="165" y="1341"/>
                  </a:cubicBezTo>
                  <a:cubicBezTo>
                    <a:pt x="150" y="1343"/>
                    <a:pt x="134" y="1339"/>
                    <a:pt x="135" y="1332"/>
                  </a:cubicBezTo>
                  <a:cubicBezTo>
                    <a:pt x="136" y="1330"/>
                    <a:pt x="138" y="1329"/>
                    <a:pt x="139" y="1328"/>
                  </a:cubicBezTo>
                  <a:cubicBezTo>
                    <a:pt x="144" y="1325"/>
                    <a:pt x="162" y="1325"/>
                    <a:pt x="165" y="1329"/>
                  </a:cubicBezTo>
                  <a:cubicBezTo>
                    <a:pt x="166" y="1331"/>
                    <a:pt x="166" y="1335"/>
                    <a:pt x="168" y="1334"/>
                  </a:cubicBezTo>
                  <a:cubicBezTo>
                    <a:pt x="174" y="1329"/>
                    <a:pt x="169" y="1327"/>
                    <a:pt x="178" y="1321"/>
                  </a:cubicBezTo>
                  <a:cubicBezTo>
                    <a:pt x="182" y="1319"/>
                    <a:pt x="185" y="1323"/>
                    <a:pt x="188" y="1325"/>
                  </a:cubicBezTo>
                  <a:cubicBezTo>
                    <a:pt x="189" y="1326"/>
                    <a:pt x="193" y="1328"/>
                    <a:pt x="193" y="1330"/>
                  </a:cubicBezTo>
                  <a:cubicBezTo>
                    <a:pt x="194" y="1330"/>
                    <a:pt x="193" y="1322"/>
                    <a:pt x="206" y="1321"/>
                  </a:cubicBezTo>
                  <a:cubicBezTo>
                    <a:pt x="207" y="1321"/>
                    <a:pt x="211" y="1326"/>
                    <a:pt x="212" y="1330"/>
                  </a:cubicBezTo>
                  <a:cubicBezTo>
                    <a:pt x="213" y="1333"/>
                    <a:pt x="211" y="1340"/>
                    <a:pt x="214" y="1339"/>
                  </a:cubicBezTo>
                  <a:cubicBezTo>
                    <a:pt x="218" y="1336"/>
                    <a:pt x="212" y="1324"/>
                    <a:pt x="217" y="1324"/>
                  </a:cubicBezTo>
                  <a:cubicBezTo>
                    <a:pt x="231" y="1322"/>
                    <a:pt x="243" y="1343"/>
                    <a:pt x="250" y="1343"/>
                  </a:cubicBezTo>
                  <a:cubicBezTo>
                    <a:pt x="254" y="1343"/>
                    <a:pt x="252" y="1337"/>
                    <a:pt x="254" y="1336"/>
                  </a:cubicBezTo>
                  <a:cubicBezTo>
                    <a:pt x="258" y="1332"/>
                    <a:pt x="267" y="1334"/>
                    <a:pt x="272" y="1332"/>
                  </a:cubicBezTo>
                  <a:cubicBezTo>
                    <a:pt x="275" y="1331"/>
                    <a:pt x="266" y="1331"/>
                    <a:pt x="263" y="1332"/>
                  </a:cubicBezTo>
                  <a:cubicBezTo>
                    <a:pt x="257" y="1332"/>
                    <a:pt x="247" y="1336"/>
                    <a:pt x="242" y="1331"/>
                  </a:cubicBezTo>
                  <a:cubicBezTo>
                    <a:pt x="239" y="1328"/>
                    <a:pt x="239" y="1318"/>
                    <a:pt x="246" y="1323"/>
                  </a:cubicBezTo>
                  <a:cubicBezTo>
                    <a:pt x="246" y="1323"/>
                    <a:pt x="246" y="1324"/>
                    <a:pt x="247" y="1324"/>
                  </a:cubicBezTo>
                  <a:cubicBezTo>
                    <a:pt x="247" y="1326"/>
                    <a:pt x="247" y="1327"/>
                    <a:pt x="247" y="1329"/>
                  </a:cubicBezTo>
                  <a:cubicBezTo>
                    <a:pt x="247" y="1329"/>
                    <a:pt x="247" y="1329"/>
                    <a:pt x="247" y="1330"/>
                  </a:cubicBezTo>
                  <a:cubicBezTo>
                    <a:pt x="247" y="1331"/>
                    <a:pt x="247" y="1330"/>
                    <a:pt x="247" y="1329"/>
                  </a:cubicBezTo>
                  <a:cubicBezTo>
                    <a:pt x="247" y="1327"/>
                    <a:pt x="248" y="1325"/>
                    <a:pt x="247" y="1324"/>
                  </a:cubicBezTo>
                  <a:cubicBezTo>
                    <a:pt x="247" y="1322"/>
                    <a:pt x="247" y="1321"/>
                    <a:pt x="247" y="1320"/>
                  </a:cubicBezTo>
                  <a:cubicBezTo>
                    <a:pt x="251" y="1308"/>
                    <a:pt x="291" y="1308"/>
                    <a:pt x="296" y="1310"/>
                  </a:cubicBezTo>
                  <a:cubicBezTo>
                    <a:pt x="297" y="1311"/>
                    <a:pt x="304" y="1315"/>
                    <a:pt x="304" y="1315"/>
                  </a:cubicBezTo>
                  <a:cubicBezTo>
                    <a:pt x="306" y="1312"/>
                    <a:pt x="300" y="1309"/>
                    <a:pt x="298" y="1308"/>
                  </a:cubicBezTo>
                  <a:cubicBezTo>
                    <a:pt x="294" y="1306"/>
                    <a:pt x="299" y="1303"/>
                    <a:pt x="298" y="1302"/>
                  </a:cubicBezTo>
                  <a:cubicBezTo>
                    <a:pt x="293" y="1298"/>
                    <a:pt x="244" y="1319"/>
                    <a:pt x="235" y="1316"/>
                  </a:cubicBezTo>
                  <a:cubicBezTo>
                    <a:pt x="232" y="1315"/>
                    <a:pt x="243" y="1303"/>
                    <a:pt x="254" y="1302"/>
                  </a:cubicBezTo>
                  <a:cubicBezTo>
                    <a:pt x="257" y="1301"/>
                    <a:pt x="265" y="1302"/>
                    <a:pt x="263" y="1300"/>
                  </a:cubicBezTo>
                  <a:cubicBezTo>
                    <a:pt x="258" y="1295"/>
                    <a:pt x="215" y="1308"/>
                    <a:pt x="206" y="1309"/>
                  </a:cubicBezTo>
                  <a:cubicBezTo>
                    <a:pt x="205" y="1309"/>
                    <a:pt x="198" y="1311"/>
                    <a:pt x="198" y="1309"/>
                  </a:cubicBezTo>
                  <a:cubicBezTo>
                    <a:pt x="197" y="1297"/>
                    <a:pt x="206" y="1295"/>
                    <a:pt x="220" y="1297"/>
                  </a:cubicBezTo>
                  <a:cubicBezTo>
                    <a:pt x="220" y="1297"/>
                    <a:pt x="222" y="1297"/>
                    <a:pt x="221" y="1297"/>
                  </a:cubicBezTo>
                  <a:cubicBezTo>
                    <a:pt x="219" y="1294"/>
                    <a:pt x="189" y="1287"/>
                    <a:pt x="192" y="1281"/>
                  </a:cubicBezTo>
                  <a:cubicBezTo>
                    <a:pt x="194" y="1277"/>
                    <a:pt x="221" y="1266"/>
                    <a:pt x="227" y="1267"/>
                  </a:cubicBezTo>
                  <a:cubicBezTo>
                    <a:pt x="232" y="1269"/>
                    <a:pt x="241" y="1282"/>
                    <a:pt x="245" y="1282"/>
                  </a:cubicBezTo>
                  <a:cubicBezTo>
                    <a:pt x="252" y="1281"/>
                    <a:pt x="264" y="1266"/>
                    <a:pt x="272" y="1273"/>
                  </a:cubicBezTo>
                  <a:cubicBezTo>
                    <a:pt x="274" y="1275"/>
                    <a:pt x="261" y="1282"/>
                    <a:pt x="263" y="1282"/>
                  </a:cubicBezTo>
                  <a:cubicBezTo>
                    <a:pt x="272" y="1283"/>
                    <a:pt x="284" y="1269"/>
                    <a:pt x="293" y="1274"/>
                  </a:cubicBezTo>
                  <a:cubicBezTo>
                    <a:pt x="304" y="1280"/>
                    <a:pt x="299" y="1289"/>
                    <a:pt x="306" y="1297"/>
                  </a:cubicBezTo>
                  <a:cubicBezTo>
                    <a:pt x="313" y="1304"/>
                    <a:pt x="331" y="1306"/>
                    <a:pt x="337" y="1312"/>
                  </a:cubicBezTo>
                  <a:cubicBezTo>
                    <a:pt x="339" y="1315"/>
                    <a:pt x="338" y="1322"/>
                    <a:pt x="340" y="1320"/>
                  </a:cubicBezTo>
                  <a:cubicBezTo>
                    <a:pt x="342" y="1318"/>
                    <a:pt x="342" y="1317"/>
                    <a:pt x="342" y="1315"/>
                  </a:cubicBezTo>
                  <a:cubicBezTo>
                    <a:pt x="342" y="1313"/>
                    <a:pt x="342" y="1312"/>
                    <a:pt x="341" y="1311"/>
                  </a:cubicBezTo>
                  <a:cubicBezTo>
                    <a:pt x="315" y="1292"/>
                    <a:pt x="308" y="1289"/>
                    <a:pt x="291" y="1266"/>
                  </a:cubicBezTo>
                  <a:cubicBezTo>
                    <a:pt x="289" y="1263"/>
                    <a:pt x="279" y="1270"/>
                    <a:pt x="281" y="1267"/>
                  </a:cubicBezTo>
                  <a:cubicBezTo>
                    <a:pt x="300" y="1232"/>
                    <a:pt x="318" y="1285"/>
                    <a:pt x="326" y="1286"/>
                  </a:cubicBezTo>
                  <a:cubicBezTo>
                    <a:pt x="329" y="1286"/>
                    <a:pt x="337" y="1295"/>
                    <a:pt x="340" y="1292"/>
                  </a:cubicBezTo>
                  <a:cubicBezTo>
                    <a:pt x="343" y="1288"/>
                    <a:pt x="329" y="1287"/>
                    <a:pt x="330" y="1285"/>
                  </a:cubicBezTo>
                  <a:cubicBezTo>
                    <a:pt x="334" y="1279"/>
                    <a:pt x="352" y="1297"/>
                    <a:pt x="354" y="1295"/>
                  </a:cubicBezTo>
                  <a:cubicBezTo>
                    <a:pt x="357" y="1293"/>
                    <a:pt x="326" y="1281"/>
                    <a:pt x="329" y="1276"/>
                  </a:cubicBezTo>
                  <a:cubicBezTo>
                    <a:pt x="331" y="1271"/>
                    <a:pt x="347" y="1279"/>
                    <a:pt x="351" y="1273"/>
                  </a:cubicBezTo>
                  <a:cubicBezTo>
                    <a:pt x="353" y="1269"/>
                    <a:pt x="338" y="1274"/>
                    <a:pt x="337" y="1271"/>
                  </a:cubicBezTo>
                  <a:cubicBezTo>
                    <a:pt x="337" y="1270"/>
                    <a:pt x="345" y="1267"/>
                    <a:pt x="344" y="1266"/>
                  </a:cubicBezTo>
                  <a:cubicBezTo>
                    <a:pt x="344" y="1266"/>
                    <a:pt x="327" y="1273"/>
                    <a:pt x="323" y="1271"/>
                  </a:cubicBezTo>
                  <a:cubicBezTo>
                    <a:pt x="323" y="1271"/>
                    <a:pt x="320" y="1271"/>
                    <a:pt x="320" y="1270"/>
                  </a:cubicBezTo>
                  <a:cubicBezTo>
                    <a:pt x="321" y="1266"/>
                    <a:pt x="334" y="1269"/>
                    <a:pt x="333" y="1266"/>
                  </a:cubicBezTo>
                  <a:cubicBezTo>
                    <a:pt x="333" y="1266"/>
                    <a:pt x="300" y="1266"/>
                    <a:pt x="306" y="1251"/>
                  </a:cubicBezTo>
                  <a:cubicBezTo>
                    <a:pt x="307" y="1247"/>
                    <a:pt x="313" y="1259"/>
                    <a:pt x="318" y="1258"/>
                  </a:cubicBezTo>
                  <a:cubicBezTo>
                    <a:pt x="322" y="1257"/>
                    <a:pt x="310" y="1249"/>
                    <a:pt x="313" y="1247"/>
                  </a:cubicBezTo>
                  <a:cubicBezTo>
                    <a:pt x="318" y="1244"/>
                    <a:pt x="340" y="1248"/>
                    <a:pt x="346" y="1251"/>
                  </a:cubicBezTo>
                  <a:cubicBezTo>
                    <a:pt x="347" y="1251"/>
                    <a:pt x="348" y="1254"/>
                    <a:pt x="349" y="1253"/>
                  </a:cubicBezTo>
                  <a:cubicBezTo>
                    <a:pt x="350" y="1249"/>
                    <a:pt x="340" y="1250"/>
                    <a:pt x="342" y="1245"/>
                  </a:cubicBezTo>
                  <a:cubicBezTo>
                    <a:pt x="344" y="1239"/>
                    <a:pt x="369" y="1239"/>
                    <a:pt x="374" y="1238"/>
                  </a:cubicBezTo>
                  <a:cubicBezTo>
                    <a:pt x="375" y="1238"/>
                    <a:pt x="376" y="1238"/>
                    <a:pt x="375" y="1238"/>
                  </a:cubicBezTo>
                  <a:cubicBezTo>
                    <a:pt x="375" y="1238"/>
                    <a:pt x="375" y="1238"/>
                    <a:pt x="374" y="1238"/>
                  </a:cubicBezTo>
                  <a:cubicBezTo>
                    <a:pt x="373" y="1238"/>
                    <a:pt x="372" y="1238"/>
                    <a:pt x="371" y="1238"/>
                  </a:cubicBezTo>
                  <a:cubicBezTo>
                    <a:pt x="352" y="1237"/>
                    <a:pt x="349" y="1240"/>
                    <a:pt x="338" y="1227"/>
                  </a:cubicBezTo>
                  <a:cubicBezTo>
                    <a:pt x="338" y="1227"/>
                    <a:pt x="334" y="1226"/>
                    <a:pt x="334" y="1225"/>
                  </a:cubicBezTo>
                  <a:cubicBezTo>
                    <a:pt x="339" y="1219"/>
                    <a:pt x="353" y="1224"/>
                    <a:pt x="359" y="1218"/>
                  </a:cubicBezTo>
                  <a:cubicBezTo>
                    <a:pt x="363" y="1215"/>
                    <a:pt x="346" y="1214"/>
                    <a:pt x="348" y="1209"/>
                  </a:cubicBezTo>
                  <a:cubicBezTo>
                    <a:pt x="352" y="1202"/>
                    <a:pt x="367" y="1211"/>
                    <a:pt x="370" y="1210"/>
                  </a:cubicBezTo>
                  <a:cubicBezTo>
                    <a:pt x="376" y="1210"/>
                    <a:pt x="379" y="1199"/>
                    <a:pt x="381" y="1199"/>
                  </a:cubicBezTo>
                  <a:cubicBezTo>
                    <a:pt x="397" y="1200"/>
                    <a:pt x="388" y="1225"/>
                    <a:pt x="389" y="1226"/>
                  </a:cubicBezTo>
                  <a:cubicBezTo>
                    <a:pt x="394" y="1227"/>
                    <a:pt x="398" y="1217"/>
                    <a:pt x="403" y="1216"/>
                  </a:cubicBezTo>
                  <a:cubicBezTo>
                    <a:pt x="406" y="1215"/>
                    <a:pt x="424" y="1215"/>
                    <a:pt x="423" y="1209"/>
                  </a:cubicBezTo>
                  <a:cubicBezTo>
                    <a:pt x="423" y="1207"/>
                    <a:pt x="419" y="1212"/>
                    <a:pt x="417" y="1212"/>
                  </a:cubicBezTo>
                  <a:cubicBezTo>
                    <a:pt x="412" y="1213"/>
                    <a:pt x="396" y="1216"/>
                    <a:pt x="395" y="1211"/>
                  </a:cubicBezTo>
                  <a:cubicBezTo>
                    <a:pt x="393" y="1198"/>
                    <a:pt x="424" y="1204"/>
                    <a:pt x="424" y="1198"/>
                  </a:cubicBezTo>
                  <a:cubicBezTo>
                    <a:pt x="424" y="1197"/>
                    <a:pt x="418" y="1199"/>
                    <a:pt x="417" y="1200"/>
                  </a:cubicBezTo>
                  <a:cubicBezTo>
                    <a:pt x="409" y="1200"/>
                    <a:pt x="409" y="1196"/>
                    <a:pt x="404" y="1195"/>
                  </a:cubicBezTo>
                  <a:cubicBezTo>
                    <a:pt x="402" y="1194"/>
                    <a:pt x="407" y="1199"/>
                    <a:pt x="407" y="1201"/>
                  </a:cubicBezTo>
                  <a:cubicBezTo>
                    <a:pt x="406" y="1203"/>
                    <a:pt x="398" y="1200"/>
                    <a:pt x="397" y="1200"/>
                  </a:cubicBezTo>
                  <a:cubicBezTo>
                    <a:pt x="395" y="1199"/>
                    <a:pt x="394" y="1198"/>
                    <a:pt x="394" y="1196"/>
                  </a:cubicBezTo>
                  <a:cubicBezTo>
                    <a:pt x="395" y="1195"/>
                    <a:pt x="413" y="1184"/>
                    <a:pt x="415" y="1186"/>
                  </a:cubicBezTo>
                  <a:cubicBezTo>
                    <a:pt x="416" y="1186"/>
                    <a:pt x="412" y="1191"/>
                    <a:pt x="415" y="1193"/>
                  </a:cubicBezTo>
                  <a:cubicBezTo>
                    <a:pt x="416" y="1193"/>
                    <a:pt x="417" y="1194"/>
                    <a:pt x="417" y="1193"/>
                  </a:cubicBezTo>
                  <a:cubicBezTo>
                    <a:pt x="419" y="1193"/>
                    <a:pt x="421" y="1184"/>
                    <a:pt x="425" y="1183"/>
                  </a:cubicBezTo>
                  <a:cubicBezTo>
                    <a:pt x="426" y="1184"/>
                    <a:pt x="428" y="1185"/>
                    <a:pt x="430" y="1186"/>
                  </a:cubicBezTo>
                  <a:cubicBezTo>
                    <a:pt x="430" y="1187"/>
                    <a:pt x="430" y="1189"/>
                    <a:pt x="431" y="1189"/>
                  </a:cubicBezTo>
                  <a:cubicBezTo>
                    <a:pt x="431" y="1189"/>
                    <a:pt x="431" y="1189"/>
                    <a:pt x="432" y="1189"/>
                  </a:cubicBezTo>
                  <a:cubicBezTo>
                    <a:pt x="432" y="1188"/>
                    <a:pt x="431" y="1187"/>
                    <a:pt x="430" y="1186"/>
                  </a:cubicBezTo>
                  <a:cubicBezTo>
                    <a:pt x="430" y="1185"/>
                    <a:pt x="429" y="1185"/>
                    <a:pt x="429" y="1185"/>
                  </a:cubicBezTo>
                  <a:cubicBezTo>
                    <a:pt x="428" y="1183"/>
                    <a:pt x="426" y="1183"/>
                    <a:pt x="425" y="1183"/>
                  </a:cubicBezTo>
                  <a:cubicBezTo>
                    <a:pt x="425" y="1183"/>
                    <a:pt x="425" y="1182"/>
                    <a:pt x="425" y="1182"/>
                  </a:cubicBezTo>
                  <a:cubicBezTo>
                    <a:pt x="425" y="1180"/>
                    <a:pt x="443" y="1173"/>
                    <a:pt x="444" y="1174"/>
                  </a:cubicBezTo>
                  <a:cubicBezTo>
                    <a:pt x="450" y="1176"/>
                    <a:pt x="468" y="1208"/>
                    <a:pt x="461" y="1216"/>
                  </a:cubicBezTo>
                  <a:cubicBezTo>
                    <a:pt x="460" y="1217"/>
                    <a:pt x="454" y="1219"/>
                    <a:pt x="455" y="1221"/>
                  </a:cubicBezTo>
                  <a:cubicBezTo>
                    <a:pt x="456" y="1223"/>
                    <a:pt x="467" y="1216"/>
                    <a:pt x="469" y="1216"/>
                  </a:cubicBezTo>
                  <a:cubicBezTo>
                    <a:pt x="473" y="1215"/>
                    <a:pt x="482" y="1219"/>
                    <a:pt x="488" y="1220"/>
                  </a:cubicBezTo>
                  <a:cubicBezTo>
                    <a:pt x="490" y="1221"/>
                    <a:pt x="491" y="1221"/>
                    <a:pt x="492" y="1222"/>
                  </a:cubicBezTo>
                  <a:cubicBezTo>
                    <a:pt x="493" y="1225"/>
                    <a:pt x="491" y="1232"/>
                    <a:pt x="493" y="1230"/>
                  </a:cubicBezTo>
                  <a:cubicBezTo>
                    <a:pt x="499" y="1227"/>
                    <a:pt x="497" y="1224"/>
                    <a:pt x="492" y="1222"/>
                  </a:cubicBezTo>
                  <a:cubicBezTo>
                    <a:pt x="492" y="1221"/>
                    <a:pt x="491" y="1220"/>
                    <a:pt x="491" y="1220"/>
                  </a:cubicBezTo>
                  <a:cubicBezTo>
                    <a:pt x="490" y="1220"/>
                    <a:pt x="489" y="1220"/>
                    <a:pt x="488" y="1220"/>
                  </a:cubicBezTo>
                  <a:cubicBezTo>
                    <a:pt x="479" y="1216"/>
                    <a:pt x="468" y="1212"/>
                    <a:pt x="477" y="1205"/>
                  </a:cubicBezTo>
                  <a:cubicBezTo>
                    <a:pt x="494" y="1193"/>
                    <a:pt x="548" y="1213"/>
                    <a:pt x="551" y="1201"/>
                  </a:cubicBezTo>
                  <a:cubicBezTo>
                    <a:pt x="552" y="1198"/>
                    <a:pt x="537" y="1200"/>
                    <a:pt x="538" y="1193"/>
                  </a:cubicBezTo>
                  <a:cubicBezTo>
                    <a:pt x="538" y="1192"/>
                    <a:pt x="545" y="1184"/>
                    <a:pt x="549" y="1183"/>
                  </a:cubicBezTo>
                  <a:cubicBezTo>
                    <a:pt x="551" y="1183"/>
                    <a:pt x="551" y="1183"/>
                    <a:pt x="551" y="1182"/>
                  </a:cubicBezTo>
                  <a:cubicBezTo>
                    <a:pt x="552" y="1181"/>
                    <a:pt x="552" y="1180"/>
                    <a:pt x="552" y="1180"/>
                  </a:cubicBezTo>
                  <a:cubicBezTo>
                    <a:pt x="550" y="1177"/>
                    <a:pt x="528" y="1188"/>
                    <a:pt x="529" y="1187"/>
                  </a:cubicBezTo>
                  <a:cubicBezTo>
                    <a:pt x="539" y="1168"/>
                    <a:pt x="599" y="1153"/>
                    <a:pt x="600" y="1151"/>
                  </a:cubicBezTo>
                  <a:cubicBezTo>
                    <a:pt x="605" y="1136"/>
                    <a:pt x="568" y="1146"/>
                    <a:pt x="567" y="1138"/>
                  </a:cubicBezTo>
                  <a:cubicBezTo>
                    <a:pt x="566" y="1129"/>
                    <a:pt x="604" y="1124"/>
                    <a:pt x="603" y="1118"/>
                  </a:cubicBezTo>
                  <a:cubicBezTo>
                    <a:pt x="603" y="1114"/>
                    <a:pt x="582" y="1119"/>
                    <a:pt x="580" y="1113"/>
                  </a:cubicBezTo>
                  <a:cubicBezTo>
                    <a:pt x="579" y="1108"/>
                    <a:pt x="595" y="1106"/>
                    <a:pt x="591" y="1103"/>
                  </a:cubicBezTo>
                  <a:cubicBezTo>
                    <a:pt x="583" y="1099"/>
                    <a:pt x="576" y="1118"/>
                    <a:pt x="570" y="1122"/>
                  </a:cubicBezTo>
                  <a:cubicBezTo>
                    <a:pt x="561" y="1129"/>
                    <a:pt x="524" y="1139"/>
                    <a:pt x="521" y="1149"/>
                  </a:cubicBezTo>
                  <a:cubicBezTo>
                    <a:pt x="521" y="1150"/>
                    <a:pt x="531" y="1145"/>
                    <a:pt x="532" y="1144"/>
                  </a:cubicBezTo>
                  <a:cubicBezTo>
                    <a:pt x="536" y="1141"/>
                    <a:pt x="567" y="1130"/>
                    <a:pt x="566" y="1144"/>
                  </a:cubicBezTo>
                  <a:cubicBezTo>
                    <a:pt x="565" y="1156"/>
                    <a:pt x="472" y="1203"/>
                    <a:pt x="463" y="1194"/>
                  </a:cubicBezTo>
                  <a:cubicBezTo>
                    <a:pt x="460" y="1191"/>
                    <a:pt x="462" y="1184"/>
                    <a:pt x="461" y="1181"/>
                  </a:cubicBezTo>
                  <a:cubicBezTo>
                    <a:pt x="460" y="1177"/>
                    <a:pt x="448" y="1175"/>
                    <a:pt x="452" y="1167"/>
                  </a:cubicBezTo>
                  <a:cubicBezTo>
                    <a:pt x="454" y="1162"/>
                    <a:pt x="492" y="1158"/>
                    <a:pt x="471" y="1159"/>
                  </a:cubicBezTo>
                  <a:cubicBezTo>
                    <a:pt x="468" y="1159"/>
                    <a:pt x="474" y="1154"/>
                    <a:pt x="474" y="1153"/>
                  </a:cubicBezTo>
                  <a:cubicBezTo>
                    <a:pt x="473" y="1152"/>
                    <a:pt x="430" y="1173"/>
                    <a:pt x="429" y="1170"/>
                  </a:cubicBezTo>
                  <a:cubicBezTo>
                    <a:pt x="422" y="1160"/>
                    <a:pt x="445" y="1159"/>
                    <a:pt x="450" y="1155"/>
                  </a:cubicBezTo>
                  <a:cubicBezTo>
                    <a:pt x="450" y="1155"/>
                    <a:pt x="430" y="1158"/>
                    <a:pt x="429" y="1155"/>
                  </a:cubicBezTo>
                  <a:cubicBezTo>
                    <a:pt x="428" y="1149"/>
                    <a:pt x="474" y="1135"/>
                    <a:pt x="477" y="1132"/>
                  </a:cubicBezTo>
                  <a:cubicBezTo>
                    <a:pt x="480" y="1130"/>
                    <a:pt x="487" y="1133"/>
                    <a:pt x="487" y="1130"/>
                  </a:cubicBezTo>
                  <a:cubicBezTo>
                    <a:pt x="487" y="1120"/>
                    <a:pt x="468" y="1136"/>
                    <a:pt x="465" y="1132"/>
                  </a:cubicBezTo>
                  <a:cubicBezTo>
                    <a:pt x="464" y="1131"/>
                    <a:pt x="481" y="1126"/>
                    <a:pt x="481" y="1123"/>
                  </a:cubicBezTo>
                  <a:cubicBezTo>
                    <a:pt x="481" y="1120"/>
                    <a:pt x="465" y="1128"/>
                    <a:pt x="464" y="1127"/>
                  </a:cubicBezTo>
                  <a:cubicBezTo>
                    <a:pt x="464" y="1126"/>
                    <a:pt x="468" y="1121"/>
                    <a:pt x="469" y="1120"/>
                  </a:cubicBezTo>
                  <a:cubicBezTo>
                    <a:pt x="470" y="1114"/>
                    <a:pt x="465" y="1105"/>
                    <a:pt x="470" y="1103"/>
                  </a:cubicBezTo>
                  <a:cubicBezTo>
                    <a:pt x="472" y="1103"/>
                    <a:pt x="490" y="1111"/>
                    <a:pt x="489" y="1103"/>
                  </a:cubicBezTo>
                  <a:cubicBezTo>
                    <a:pt x="489" y="1099"/>
                    <a:pt x="479" y="1105"/>
                    <a:pt x="479" y="1102"/>
                  </a:cubicBezTo>
                  <a:cubicBezTo>
                    <a:pt x="483" y="1089"/>
                    <a:pt x="489" y="1094"/>
                    <a:pt x="502" y="1093"/>
                  </a:cubicBezTo>
                  <a:cubicBezTo>
                    <a:pt x="507" y="1092"/>
                    <a:pt x="490" y="1089"/>
                    <a:pt x="492" y="1085"/>
                  </a:cubicBezTo>
                  <a:cubicBezTo>
                    <a:pt x="495" y="1076"/>
                    <a:pt x="510" y="1083"/>
                    <a:pt x="514" y="1076"/>
                  </a:cubicBezTo>
                  <a:cubicBezTo>
                    <a:pt x="514" y="1076"/>
                    <a:pt x="508" y="1061"/>
                    <a:pt x="518" y="1070"/>
                  </a:cubicBezTo>
                  <a:cubicBezTo>
                    <a:pt x="521" y="1073"/>
                    <a:pt x="514" y="1065"/>
                    <a:pt x="516" y="1065"/>
                  </a:cubicBezTo>
                  <a:cubicBezTo>
                    <a:pt x="520" y="1065"/>
                    <a:pt x="524" y="1072"/>
                    <a:pt x="528" y="1067"/>
                  </a:cubicBezTo>
                  <a:cubicBezTo>
                    <a:pt x="532" y="1062"/>
                    <a:pt x="507" y="1064"/>
                    <a:pt x="511" y="1059"/>
                  </a:cubicBezTo>
                  <a:cubicBezTo>
                    <a:pt x="513" y="1056"/>
                    <a:pt x="530" y="1054"/>
                    <a:pt x="537" y="1062"/>
                  </a:cubicBezTo>
                  <a:cubicBezTo>
                    <a:pt x="537" y="1063"/>
                    <a:pt x="541" y="1065"/>
                    <a:pt x="542" y="1065"/>
                  </a:cubicBezTo>
                  <a:cubicBezTo>
                    <a:pt x="542" y="1065"/>
                    <a:pt x="545" y="1065"/>
                    <a:pt x="545" y="1065"/>
                  </a:cubicBezTo>
                  <a:cubicBezTo>
                    <a:pt x="545" y="1065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5" y="1063"/>
                    <a:pt x="545" y="1063"/>
                  </a:cubicBezTo>
                  <a:cubicBezTo>
                    <a:pt x="542" y="1059"/>
                    <a:pt x="541" y="1054"/>
                    <a:pt x="537" y="1054"/>
                  </a:cubicBezTo>
                  <a:cubicBezTo>
                    <a:pt x="537" y="1054"/>
                    <a:pt x="526" y="1056"/>
                    <a:pt x="528" y="1053"/>
                  </a:cubicBezTo>
                  <a:cubicBezTo>
                    <a:pt x="531" y="1049"/>
                    <a:pt x="539" y="1048"/>
                    <a:pt x="543" y="1050"/>
                  </a:cubicBezTo>
                  <a:cubicBezTo>
                    <a:pt x="545" y="1051"/>
                    <a:pt x="540" y="1045"/>
                    <a:pt x="541" y="1044"/>
                  </a:cubicBezTo>
                  <a:cubicBezTo>
                    <a:pt x="544" y="1042"/>
                    <a:pt x="547" y="1047"/>
                    <a:pt x="548" y="1048"/>
                  </a:cubicBezTo>
                  <a:cubicBezTo>
                    <a:pt x="549" y="1049"/>
                    <a:pt x="551" y="1051"/>
                    <a:pt x="550" y="1048"/>
                  </a:cubicBezTo>
                  <a:cubicBezTo>
                    <a:pt x="550" y="1046"/>
                    <a:pt x="555" y="1046"/>
                    <a:pt x="556" y="1045"/>
                  </a:cubicBezTo>
                  <a:cubicBezTo>
                    <a:pt x="558" y="1041"/>
                    <a:pt x="549" y="1036"/>
                    <a:pt x="551" y="1033"/>
                  </a:cubicBezTo>
                  <a:cubicBezTo>
                    <a:pt x="561" y="1022"/>
                    <a:pt x="575" y="1056"/>
                    <a:pt x="577" y="1055"/>
                  </a:cubicBezTo>
                  <a:cubicBezTo>
                    <a:pt x="579" y="1054"/>
                    <a:pt x="588" y="1050"/>
                    <a:pt x="589" y="1056"/>
                  </a:cubicBezTo>
                  <a:cubicBezTo>
                    <a:pt x="590" y="1060"/>
                    <a:pt x="577" y="1071"/>
                    <a:pt x="579" y="1073"/>
                  </a:cubicBezTo>
                  <a:cubicBezTo>
                    <a:pt x="580" y="1074"/>
                    <a:pt x="585" y="1067"/>
                    <a:pt x="585" y="1066"/>
                  </a:cubicBezTo>
                  <a:cubicBezTo>
                    <a:pt x="588" y="1063"/>
                    <a:pt x="593" y="1054"/>
                    <a:pt x="595" y="1053"/>
                  </a:cubicBezTo>
                  <a:cubicBezTo>
                    <a:pt x="596" y="1053"/>
                    <a:pt x="617" y="1050"/>
                    <a:pt x="617" y="1049"/>
                  </a:cubicBezTo>
                  <a:cubicBezTo>
                    <a:pt x="618" y="1046"/>
                    <a:pt x="593" y="1057"/>
                    <a:pt x="599" y="1045"/>
                  </a:cubicBezTo>
                  <a:cubicBezTo>
                    <a:pt x="605" y="1035"/>
                    <a:pt x="607" y="1042"/>
                    <a:pt x="613" y="1038"/>
                  </a:cubicBezTo>
                  <a:cubicBezTo>
                    <a:pt x="615" y="1037"/>
                    <a:pt x="628" y="1032"/>
                    <a:pt x="628" y="1031"/>
                  </a:cubicBezTo>
                  <a:cubicBezTo>
                    <a:pt x="627" y="1028"/>
                    <a:pt x="616" y="1034"/>
                    <a:pt x="615" y="1032"/>
                  </a:cubicBezTo>
                  <a:cubicBezTo>
                    <a:pt x="612" y="1028"/>
                    <a:pt x="599" y="1040"/>
                    <a:pt x="594" y="1014"/>
                  </a:cubicBezTo>
                  <a:cubicBezTo>
                    <a:pt x="594" y="1014"/>
                    <a:pt x="602" y="1011"/>
                    <a:pt x="603" y="1011"/>
                  </a:cubicBezTo>
                  <a:cubicBezTo>
                    <a:pt x="612" y="1007"/>
                    <a:pt x="631" y="1004"/>
                    <a:pt x="634" y="1001"/>
                  </a:cubicBezTo>
                  <a:cubicBezTo>
                    <a:pt x="638" y="996"/>
                    <a:pt x="621" y="1001"/>
                    <a:pt x="616" y="997"/>
                  </a:cubicBezTo>
                  <a:cubicBezTo>
                    <a:pt x="613" y="994"/>
                    <a:pt x="626" y="996"/>
                    <a:pt x="629" y="992"/>
                  </a:cubicBezTo>
                  <a:cubicBezTo>
                    <a:pt x="629" y="991"/>
                    <a:pt x="617" y="997"/>
                    <a:pt x="617" y="994"/>
                  </a:cubicBezTo>
                  <a:cubicBezTo>
                    <a:pt x="618" y="987"/>
                    <a:pt x="657" y="975"/>
                    <a:pt x="662" y="977"/>
                  </a:cubicBezTo>
                  <a:cubicBezTo>
                    <a:pt x="662" y="977"/>
                    <a:pt x="668" y="982"/>
                    <a:pt x="668" y="979"/>
                  </a:cubicBezTo>
                  <a:cubicBezTo>
                    <a:pt x="668" y="977"/>
                    <a:pt x="664" y="976"/>
                    <a:pt x="663" y="975"/>
                  </a:cubicBezTo>
                  <a:cubicBezTo>
                    <a:pt x="638" y="962"/>
                    <a:pt x="601" y="1013"/>
                    <a:pt x="581" y="1010"/>
                  </a:cubicBezTo>
                  <a:cubicBezTo>
                    <a:pt x="580" y="1010"/>
                    <a:pt x="598" y="1002"/>
                    <a:pt x="598" y="998"/>
                  </a:cubicBezTo>
                  <a:cubicBezTo>
                    <a:pt x="596" y="994"/>
                    <a:pt x="574" y="1004"/>
                    <a:pt x="583" y="994"/>
                  </a:cubicBezTo>
                  <a:cubicBezTo>
                    <a:pt x="584" y="992"/>
                    <a:pt x="624" y="988"/>
                    <a:pt x="621" y="984"/>
                  </a:cubicBezTo>
                  <a:cubicBezTo>
                    <a:pt x="620" y="982"/>
                    <a:pt x="583" y="996"/>
                    <a:pt x="581" y="991"/>
                  </a:cubicBezTo>
                  <a:cubicBezTo>
                    <a:pt x="581" y="991"/>
                    <a:pt x="581" y="991"/>
                    <a:pt x="581" y="991"/>
                  </a:cubicBezTo>
                  <a:cubicBezTo>
                    <a:pt x="582" y="990"/>
                    <a:pt x="582" y="989"/>
                    <a:pt x="582" y="988"/>
                  </a:cubicBezTo>
                  <a:cubicBezTo>
                    <a:pt x="586" y="985"/>
                    <a:pt x="596" y="984"/>
                    <a:pt x="603" y="983"/>
                  </a:cubicBezTo>
                  <a:cubicBezTo>
                    <a:pt x="605" y="984"/>
                    <a:pt x="608" y="983"/>
                    <a:pt x="610" y="982"/>
                  </a:cubicBezTo>
                  <a:cubicBezTo>
                    <a:pt x="611" y="982"/>
                    <a:pt x="612" y="982"/>
                    <a:pt x="612" y="982"/>
                  </a:cubicBezTo>
                  <a:cubicBezTo>
                    <a:pt x="612" y="982"/>
                    <a:pt x="611" y="982"/>
                    <a:pt x="610" y="982"/>
                  </a:cubicBezTo>
                  <a:cubicBezTo>
                    <a:pt x="609" y="983"/>
                    <a:pt x="606" y="983"/>
                    <a:pt x="603" y="983"/>
                  </a:cubicBezTo>
                  <a:cubicBezTo>
                    <a:pt x="602" y="982"/>
                    <a:pt x="602" y="982"/>
                    <a:pt x="602" y="980"/>
                  </a:cubicBezTo>
                  <a:cubicBezTo>
                    <a:pt x="602" y="979"/>
                    <a:pt x="605" y="979"/>
                    <a:pt x="606" y="979"/>
                  </a:cubicBezTo>
                  <a:cubicBezTo>
                    <a:pt x="614" y="973"/>
                    <a:pt x="621" y="982"/>
                    <a:pt x="633" y="973"/>
                  </a:cubicBezTo>
                  <a:cubicBezTo>
                    <a:pt x="634" y="972"/>
                    <a:pt x="641" y="951"/>
                    <a:pt x="649" y="965"/>
                  </a:cubicBezTo>
                  <a:cubicBezTo>
                    <a:pt x="651" y="968"/>
                    <a:pt x="657" y="962"/>
                    <a:pt x="660" y="963"/>
                  </a:cubicBezTo>
                  <a:cubicBezTo>
                    <a:pt x="664" y="964"/>
                    <a:pt x="663" y="971"/>
                    <a:pt x="665" y="971"/>
                  </a:cubicBezTo>
                  <a:cubicBezTo>
                    <a:pt x="669" y="971"/>
                    <a:pt x="664" y="965"/>
                    <a:pt x="665" y="963"/>
                  </a:cubicBezTo>
                  <a:cubicBezTo>
                    <a:pt x="668" y="958"/>
                    <a:pt x="731" y="944"/>
                    <a:pt x="733" y="921"/>
                  </a:cubicBezTo>
                  <a:cubicBezTo>
                    <a:pt x="733" y="917"/>
                    <a:pt x="722" y="928"/>
                    <a:pt x="721" y="929"/>
                  </a:cubicBezTo>
                  <a:cubicBezTo>
                    <a:pt x="712" y="936"/>
                    <a:pt x="695" y="955"/>
                    <a:pt x="682" y="948"/>
                  </a:cubicBezTo>
                  <a:cubicBezTo>
                    <a:pt x="681" y="947"/>
                    <a:pt x="680" y="945"/>
                    <a:pt x="682" y="944"/>
                  </a:cubicBezTo>
                  <a:cubicBezTo>
                    <a:pt x="683" y="943"/>
                    <a:pt x="694" y="942"/>
                    <a:pt x="692" y="940"/>
                  </a:cubicBezTo>
                  <a:cubicBezTo>
                    <a:pt x="691" y="939"/>
                    <a:pt x="688" y="940"/>
                    <a:pt x="687" y="938"/>
                  </a:cubicBezTo>
                  <a:cubicBezTo>
                    <a:pt x="686" y="933"/>
                    <a:pt x="676" y="938"/>
                    <a:pt x="682" y="933"/>
                  </a:cubicBezTo>
                  <a:cubicBezTo>
                    <a:pt x="685" y="931"/>
                    <a:pt x="711" y="934"/>
                    <a:pt x="712" y="932"/>
                  </a:cubicBezTo>
                  <a:cubicBezTo>
                    <a:pt x="712" y="930"/>
                    <a:pt x="702" y="928"/>
                    <a:pt x="701" y="930"/>
                  </a:cubicBezTo>
                  <a:cubicBezTo>
                    <a:pt x="697" y="933"/>
                    <a:pt x="687" y="929"/>
                    <a:pt x="681" y="929"/>
                  </a:cubicBezTo>
                  <a:cubicBezTo>
                    <a:pt x="679" y="929"/>
                    <a:pt x="672" y="938"/>
                    <a:pt x="670" y="935"/>
                  </a:cubicBezTo>
                  <a:cubicBezTo>
                    <a:pt x="670" y="935"/>
                    <a:pt x="679" y="924"/>
                    <a:pt x="680" y="924"/>
                  </a:cubicBezTo>
                  <a:cubicBezTo>
                    <a:pt x="689" y="923"/>
                    <a:pt x="692" y="908"/>
                    <a:pt x="704" y="918"/>
                  </a:cubicBezTo>
                  <a:cubicBezTo>
                    <a:pt x="705" y="918"/>
                    <a:pt x="708" y="924"/>
                    <a:pt x="709" y="920"/>
                  </a:cubicBezTo>
                  <a:cubicBezTo>
                    <a:pt x="710" y="919"/>
                    <a:pt x="700" y="914"/>
                    <a:pt x="694" y="908"/>
                  </a:cubicBezTo>
                  <a:cubicBezTo>
                    <a:pt x="694" y="907"/>
                    <a:pt x="689" y="903"/>
                    <a:pt x="691" y="902"/>
                  </a:cubicBezTo>
                  <a:cubicBezTo>
                    <a:pt x="702" y="897"/>
                    <a:pt x="702" y="916"/>
                    <a:pt x="711" y="914"/>
                  </a:cubicBezTo>
                  <a:cubicBezTo>
                    <a:pt x="716" y="914"/>
                    <a:pt x="704" y="902"/>
                    <a:pt x="708" y="902"/>
                  </a:cubicBezTo>
                  <a:cubicBezTo>
                    <a:pt x="710" y="901"/>
                    <a:pt x="716" y="902"/>
                    <a:pt x="717" y="901"/>
                  </a:cubicBezTo>
                  <a:cubicBezTo>
                    <a:pt x="718" y="900"/>
                    <a:pt x="703" y="901"/>
                    <a:pt x="702" y="900"/>
                  </a:cubicBezTo>
                  <a:cubicBezTo>
                    <a:pt x="702" y="899"/>
                    <a:pt x="707" y="898"/>
                    <a:pt x="706" y="897"/>
                  </a:cubicBezTo>
                  <a:cubicBezTo>
                    <a:pt x="706" y="897"/>
                    <a:pt x="699" y="897"/>
                    <a:pt x="698" y="893"/>
                  </a:cubicBezTo>
                  <a:cubicBezTo>
                    <a:pt x="697" y="889"/>
                    <a:pt x="702" y="884"/>
                    <a:pt x="699" y="880"/>
                  </a:cubicBezTo>
                  <a:cubicBezTo>
                    <a:pt x="699" y="879"/>
                    <a:pt x="697" y="884"/>
                    <a:pt x="697" y="884"/>
                  </a:cubicBezTo>
                  <a:cubicBezTo>
                    <a:pt x="697" y="893"/>
                    <a:pt x="690" y="890"/>
                    <a:pt x="691" y="889"/>
                  </a:cubicBezTo>
                  <a:cubicBezTo>
                    <a:pt x="696" y="884"/>
                    <a:pt x="697" y="878"/>
                    <a:pt x="691" y="887"/>
                  </a:cubicBezTo>
                  <a:cubicBezTo>
                    <a:pt x="689" y="889"/>
                    <a:pt x="685" y="892"/>
                    <a:pt x="683" y="887"/>
                  </a:cubicBezTo>
                  <a:cubicBezTo>
                    <a:pt x="682" y="884"/>
                    <a:pt x="687" y="880"/>
                    <a:pt x="684" y="880"/>
                  </a:cubicBezTo>
                  <a:cubicBezTo>
                    <a:pt x="683" y="880"/>
                    <a:pt x="680" y="882"/>
                    <a:pt x="680" y="880"/>
                  </a:cubicBezTo>
                  <a:cubicBezTo>
                    <a:pt x="678" y="845"/>
                    <a:pt x="706" y="872"/>
                    <a:pt x="711" y="873"/>
                  </a:cubicBezTo>
                  <a:cubicBezTo>
                    <a:pt x="713" y="873"/>
                    <a:pt x="717" y="877"/>
                    <a:pt x="718" y="873"/>
                  </a:cubicBezTo>
                  <a:cubicBezTo>
                    <a:pt x="719" y="870"/>
                    <a:pt x="709" y="870"/>
                    <a:pt x="708" y="870"/>
                  </a:cubicBezTo>
                  <a:cubicBezTo>
                    <a:pt x="703" y="867"/>
                    <a:pt x="697" y="862"/>
                    <a:pt x="697" y="856"/>
                  </a:cubicBezTo>
                  <a:cubicBezTo>
                    <a:pt x="697" y="854"/>
                    <a:pt x="705" y="847"/>
                    <a:pt x="706" y="847"/>
                  </a:cubicBezTo>
                  <a:cubicBezTo>
                    <a:pt x="707" y="847"/>
                    <a:pt x="711" y="853"/>
                    <a:pt x="712" y="850"/>
                  </a:cubicBezTo>
                  <a:cubicBezTo>
                    <a:pt x="715" y="838"/>
                    <a:pt x="700" y="851"/>
                    <a:pt x="706" y="833"/>
                  </a:cubicBezTo>
                  <a:cubicBezTo>
                    <a:pt x="710" y="818"/>
                    <a:pt x="731" y="825"/>
                    <a:pt x="740" y="829"/>
                  </a:cubicBezTo>
                  <a:cubicBezTo>
                    <a:pt x="742" y="830"/>
                    <a:pt x="752" y="841"/>
                    <a:pt x="753" y="840"/>
                  </a:cubicBezTo>
                  <a:cubicBezTo>
                    <a:pt x="761" y="827"/>
                    <a:pt x="731" y="826"/>
                    <a:pt x="731" y="820"/>
                  </a:cubicBezTo>
                  <a:cubicBezTo>
                    <a:pt x="730" y="814"/>
                    <a:pt x="746" y="809"/>
                    <a:pt x="741" y="805"/>
                  </a:cubicBezTo>
                  <a:cubicBezTo>
                    <a:pt x="740" y="805"/>
                    <a:pt x="702" y="815"/>
                    <a:pt x="708" y="807"/>
                  </a:cubicBezTo>
                  <a:cubicBezTo>
                    <a:pt x="712" y="802"/>
                    <a:pt x="782" y="779"/>
                    <a:pt x="788" y="782"/>
                  </a:cubicBezTo>
                  <a:cubicBezTo>
                    <a:pt x="791" y="783"/>
                    <a:pt x="788" y="786"/>
                    <a:pt x="786" y="787"/>
                  </a:cubicBezTo>
                  <a:cubicBezTo>
                    <a:pt x="784" y="788"/>
                    <a:pt x="785" y="802"/>
                    <a:pt x="785" y="802"/>
                  </a:cubicBezTo>
                  <a:cubicBezTo>
                    <a:pt x="786" y="802"/>
                    <a:pt x="792" y="795"/>
                    <a:pt x="794" y="794"/>
                  </a:cubicBezTo>
                  <a:cubicBezTo>
                    <a:pt x="799" y="791"/>
                    <a:pt x="811" y="800"/>
                    <a:pt x="812" y="794"/>
                  </a:cubicBezTo>
                  <a:cubicBezTo>
                    <a:pt x="812" y="788"/>
                    <a:pt x="791" y="792"/>
                    <a:pt x="792" y="788"/>
                  </a:cubicBezTo>
                  <a:cubicBezTo>
                    <a:pt x="792" y="787"/>
                    <a:pt x="795" y="785"/>
                    <a:pt x="796" y="783"/>
                  </a:cubicBezTo>
                  <a:cubicBezTo>
                    <a:pt x="796" y="783"/>
                    <a:pt x="824" y="790"/>
                    <a:pt x="830" y="775"/>
                  </a:cubicBezTo>
                  <a:cubicBezTo>
                    <a:pt x="831" y="773"/>
                    <a:pt x="841" y="771"/>
                    <a:pt x="839" y="767"/>
                  </a:cubicBezTo>
                  <a:cubicBezTo>
                    <a:pt x="838" y="764"/>
                    <a:pt x="828" y="771"/>
                    <a:pt x="826" y="771"/>
                  </a:cubicBezTo>
                  <a:cubicBezTo>
                    <a:pt x="793" y="776"/>
                    <a:pt x="791" y="778"/>
                    <a:pt x="753" y="788"/>
                  </a:cubicBezTo>
                  <a:cubicBezTo>
                    <a:pt x="750" y="788"/>
                    <a:pt x="742" y="793"/>
                    <a:pt x="740" y="789"/>
                  </a:cubicBezTo>
                  <a:cubicBezTo>
                    <a:pt x="739" y="787"/>
                    <a:pt x="746" y="784"/>
                    <a:pt x="747" y="783"/>
                  </a:cubicBezTo>
                  <a:cubicBezTo>
                    <a:pt x="753" y="775"/>
                    <a:pt x="784" y="773"/>
                    <a:pt x="785" y="771"/>
                  </a:cubicBezTo>
                  <a:cubicBezTo>
                    <a:pt x="786" y="769"/>
                    <a:pt x="774" y="770"/>
                    <a:pt x="773" y="769"/>
                  </a:cubicBezTo>
                  <a:cubicBezTo>
                    <a:pt x="771" y="768"/>
                    <a:pt x="777" y="767"/>
                    <a:pt x="777" y="766"/>
                  </a:cubicBezTo>
                  <a:cubicBezTo>
                    <a:pt x="778" y="764"/>
                    <a:pt x="769" y="768"/>
                    <a:pt x="769" y="765"/>
                  </a:cubicBezTo>
                  <a:cubicBezTo>
                    <a:pt x="767" y="760"/>
                    <a:pt x="761" y="759"/>
                    <a:pt x="767" y="766"/>
                  </a:cubicBezTo>
                  <a:cubicBezTo>
                    <a:pt x="767" y="766"/>
                    <a:pt x="768" y="767"/>
                    <a:pt x="767" y="768"/>
                  </a:cubicBezTo>
                  <a:cubicBezTo>
                    <a:pt x="766" y="770"/>
                    <a:pt x="759" y="772"/>
                    <a:pt x="757" y="772"/>
                  </a:cubicBezTo>
                  <a:cubicBezTo>
                    <a:pt x="756" y="772"/>
                    <a:pt x="750" y="773"/>
                    <a:pt x="750" y="771"/>
                  </a:cubicBezTo>
                  <a:cubicBezTo>
                    <a:pt x="749" y="770"/>
                    <a:pt x="754" y="768"/>
                    <a:pt x="751" y="768"/>
                  </a:cubicBezTo>
                  <a:cubicBezTo>
                    <a:pt x="748" y="767"/>
                    <a:pt x="748" y="769"/>
                    <a:pt x="746" y="770"/>
                  </a:cubicBezTo>
                  <a:cubicBezTo>
                    <a:pt x="744" y="770"/>
                    <a:pt x="741" y="769"/>
                    <a:pt x="739" y="768"/>
                  </a:cubicBezTo>
                  <a:cubicBezTo>
                    <a:pt x="731" y="761"/>
                    <a:pt x="758" y="761"/>
                    <a:pt x="751" y="751"/>
                  </a:cubicBezTo>
                  <a:cubicBezTo>
                    <a:pt x="750" y="749"/>
                    <a:pt x="753" y="748"/>
                    <a:pt x="752" y="747"/>
                  </a:cubicBezTo>
                  <a:cubicBezTo>
                    <a:pt x="750" y="744"/>
                    <a:pt x="734" y="740"/>
                    <a:pt x="735" y="738"/>
                  </a:cubicBezTo>
                  <a:cubicBezTo>
                    <a:pt x="735" y="737"/>
                    <a:pt x="740" y="737"/>
                    <a:pt x="741" y="737"/>
                  </a:cubicBezTo>
                  <a:cubicBezTo>
                    <a:pt x="758" y="729"/>
                    <a:pt x="754" y="755"/>
                    <a:pt x="772" y="747"/>
                  </a:cubicBezTo>
                  <a:cubicBezTo>
                    <a:pt x="775" y="746"/>
                    <a:pt x="768" y="746"/>
                    <a:pt x="767" y="746"/>
                  </a:cubicBezTo>
                  <a:cubicBezTo>
                    <a:pt x="758" y="747"/>
                    <a:pt x="764" y="745"/>
                    <a:pt x="763" y="741"/>
                  </a:cubicBezTo>
                  <a:cubicBezTo>
                    <a:pt x="763" y="739"/>
                    <a:pt x="759" y="739"/>
                    <a:pt x="761" y="738"/>
                  </a:cubicBezTo>
                  <a:cubicBezTo>
                    <a:pt x="768" y="731"/>
                    <a:pt x="795" y="741"/>
                    <a:pt x="797" y="739"/>
                  </a:cubicBezTo>
                  <a:cubicBezTo>
                    <a:pt x="799" y="736"/>
                    <a:pt x="778" y="732"/>
                    <a:pt x="778" y="732"/>
                  </a:cubicBezTo>
                  <a:cubicBezTo>
                    <a:pt x="778" y="730"/>
                    <a:pt x="779" y="730"/>
                    <a:pt x="780" y="729"/>
                  </a:cubicBezTo>
                  <a:cubicBezTo>
                    <a:pt x="781" y="728"/>
                    <a:pt x="783" y="727"/>
                    <a:pt x="784" y="727"/>
                  </a:cubicBezTo>
                  <a:cubicBezTo>
                    <a:pt x="791" y="725"/>
                    <a:pt x="802" y="726"/>
                    <a:pt x="802" y="725"/>
                  </a:cubicBezTo>
                  <a:cubicBezTo>
                    <a:pt x="802" y="725"/>
                    <a:pt x="795" y="723"/>
                    <a:pt x="794" y="723"/>
                  </a:cubicBezTo>
                  <a:cubicBezTo>
                    <a:pt x="792" y="723"/>
                    <a:pt x="788" y="725"/>
                    <a:pt x="784" y="727"/>
                  </a:cubicBezTo>
                  <a:cubicBezTo>
                    <a:pt x="782" y="727"/>
                    <a:pt x="781" y="728"/>
                    <a:pt x="780" y="729"/>
                  </a:cubicBezTo>
                  <a:cubicBezTo>
                    <a:pt x="770" y="733"/>
                    <a:pt x="759" y="738"/>
                    <a:pt x="756" y="732"/>
                  </a:cubicBezTo>
                  <a:cubicBezTo>
                    <a:pt x="752" y="726"/>
                    <a:pt x="773" y="729"/>
                    <a:pt x="773" y="722"/>
                  </a:cubicBezTo>
                  <a:cubicBezTo>
                    <a:pt x="773" y="720"/>
                    <a:pt x="755" y="721"/>
                    <a:pt x="753" y="718"/>
                  </a:cubicBezTo>
                  <a:cubicBezTo>
                    <a:pt x="751" y="716"/>
                    <a:pt x="758" y="718"/>
                    <a:pt x="761" y="717"/>
                  </a:cubicBezTo>
                  <a:cubicBezTo>
                    <a:pt x="764" y="716"/>
                    <a:pt x="785" y="721"/>
                    <a:pt x="786" y="720"/>
                  </a:cubicBezTo>
                  <a:cubicBezTo>
                    <a:pt x="788" y="716"/>
                    <a:pt x="757" y="709"/>
                    <a:pt x="758" y="708"/>
                  </a:cubicBezTo>
                  <a:cubicBezTo>
                    <a:pt x="761" y="704"/>
                    <a:pt x="814" y="717"/>
                    <a:pt x="817" y="705"/>
                  </a:cubicBezTo>
                  <a:cubicBezTo>
                    <a:pt x="818" y="703"/>
                    <a:pt x="788" y="709"/>
                    <a:pt x="787" y="709"/>
                  </a:cubicBezTo>
                  <a:cubicBezTo>
                    <a:pt x="782" y="707"/>
                    <a:pt x="788" y="701"/>
                    <a:pt x="791" y="701"/>
                  </a:cubicBezTo>
                  <a:cubicBezTo>
                    <a:pt x="793" y="700"/>
                    <a:pt x="804" y="704"/>
                    <a:pt x="805" y="701"/>
                  </a:cubicBezTo>
                  <a:cubicBezTo>
                    <a:pt x="805" y="699"/>
                    <a:pt x="781" y="700"/>
                    <a:pt x="782" y="697"/>
                  </a:cubicBezTo>
                  <a:cubicBezTo>
                    <a:pt x="784" y="689"/>
                    <a:pt x="820" y="698"/>
                    <a:pt x="826" y="697"/>
                  </a:cubicBezTo>
                  <a:cubicBezTo>
                    <a:pt x="831" y="696"/>
                    <a:pt x="815" y="696"/>
                    <a:pt x="810" y="694"/>
                  </a:cubicBezTo>
                  <a:cubicBezTo>
                    <a:pt x="799" y="690"/>
                    <a:pt x="801" y="684"/>
                    <a:pt x="793" y="680"/>
                  </a:cubicBezTo>
                  <a:cubicBezTo>
                    <a:pt x="791" y="679"/>
                    <a:pt x="784" y="681"/>
                    <a:pt x="784" y="679"/>
                  </a:cubicBezTo>
                  <a:cubicBezTo>
                    <a:pt x="783" y="669"/>
                    <a:pt x="802" y="676"/>
                    <a:pt x="807" y="673"/>
                  </a:cubicBezTo>
                  <a:cubicBezTo>
                    <a:pt x="809" y="671"/>
                    <a:pt x="813" y="671"/>
                    <a:pt x="815" y="668"/>
                  </a:cubicBezTo>
                  <a:cubicBezTo>
                    <a:pt x="816" y="666"/>
                    <a:pt x="822" y="667"/>
                    <a:pt x="821" y="665"/>
                  </a:cubicBezTo>
                  <a:cubicBezTo>
                    <a:pt x="820" y="664"/>
                    <a:pt x="824" y="664"/>
                    <a:pt x="824" y="665"/>
                  </a:cubicBezTo>
                  <a:cubicBezTo>
                    <a:pt x="825" y="669"/>
                    <a:pt x="817" y="670"/>
                    <a:pt x="817" y="673"/>
                  </a:cubicBezTo>
                  <a:cubicBezTo>
                    <a:pt x="819" y="678"/>
                    <a:pt x="827" y="673"/>
                    <a:pt x="830" y="668"/>
                  </a:cubicBezTo>
                  <a:cubicBezTo>
                    <a:pt x="833" y="664"/>
                    <a:pt x="824" y="659"/>
                    <a:pt x="830" y="655"/>
                  </a:cubicBezTo>
                  <a:cubicBezTo>
                    <a:pt x="833" y="654"/>
                    <a:pt x="834" y="657"/>
                    <a:pt x="834" y="659"/>
                  </a:cubicBezTo>
                  <a:cubicBezTo>
                    <a:pt x="837" y="673"/>
                    <a:pt x="839" y="670"/>
                    <a:pt x="848" y="664"/>
                  </a:cubicBezTo>
                  <a:cubicBezTo>
                    <a:pt x="848" y="664"/>
                    <a:pt x="848" y="664"/>
                    <a:pt x="848" y="664"/>
                  </a:cubicBezTo>
                  <a:cubicBezTo>
                    <a:pt x="858" y="659"/>
                    <a:pt x="841" y="654"/>
                    <a:pt x="873" y="657"/>
                  </a:cubicBezTo>
                  <a:cubicBezTo>
                    <a:pt x="875" y="657"/>
                    <a:pt x="880" y="659"/>
                    <a:pt x="880" y="657"/>
                  </a:cubicBezTo>
                  <a:cubicBezTo>
                    <a:pt x="875" y="642"/>
                    <a:pt x="841" y="665"/>
                    <a:pt x="855" y="642"/>
                  </a:cubicBezTo>
                  <a:cubicBezTo>
                    <a:pt x="856" y="640"/>
                    <a:pt x="865" y="638"/>
                    <a:pt x="866" y="638"/>
                  </a:cubicBezTo>
                  <a:cubicBezTo>
                    <a:pt x="870" y="638"/>
                    <a:pt x="861" y="646"/>
                    <a:pt x="864" y="647"/>
                  </a:cubicBezTo>
                  <a:cubicBezTo>
                    <a:pt x="866" y="648"/>
                    <a:pt x="866" y="641"/>
                    <a:pt x="868" y="640"/>
                  </a:cubicBezTo>
                  <a:cubicBezTo>
                    <a:pt x="875" y="639"/>
                    <a:pt x="879" y="641"/>
                    <a:pt x="885" y="640"/>
                  </a:cubicBezTo>
                  <a:cubicBezTo>
                    <a:pt x="889" y="639"/>
                    <a:pt x="894" y="645"/>
                    <a:pt x="894" y="645"/>
                  </a:cubicBezTo>
                  <a:cubicBezTo>
                    <a:pt x="898" y="634"/>
                    <a:pt x="872" y="638"/>
                    <a:pt x="872" y="636"/>
                  </a:cubicBezTo>
                  <a:cubicBezTo>
                    <a:pt x="872" y="635"/>
                    <a:pt x="910" y="629"/>
                    <a:pt x="914" y="631"/>
                  </a:cubicBezTo>
                  <a:cubicBezTo>
                    <a:pt x="915" y="632"/>
                    <a:pt x="914" y="633"/>
                    <a:pt x="914" y="634"/>
                  </a:cubicBezTo>
                  <a:cubicBezTo>
                    <a:pt x="913" y="635"/>
                    <a:pt x="913" y="635"/>
                    <a:pt x="912" y="635"/>
                  </a:cubicBezTo>
                  <a:cubicBezTo>
                    <a:pt x="910" y="638"/>
                    <a:pt x="905" y="641"/>
                    <a:pt x="908" y="643"/>
                  </a:cubicBezTo>
                  <a:cubicBezTo>
                    <a:pt x="924" y="654"/>
                    <a:pt x="908" y="642"/>
                    <a:pt x="912" y="635"/>
                  </a:cubicBezTo>
                  <a:cubicBezTo>
                    <a:pt x="913" y="635"/>
                    <a:pt x="913" y="635"/>
                    <a:pt x="914" y="634"/>
                  </a:cubicBezTo>
                  <a:cubicBezTo>
                    <a:pt x="915" y="633"/>
                    <a:pt x="916" y="632"/>
                    <a:pt x="918" y="632"/>
                  </a:cubicBezTo>
                  <a:cubicBezTo>
                    <a:pt x="941" y="625"/>
                    <a:pt x="953" y="655"/>
                    <a:pt x="960" y="653"/>
                  </a:cubicBezTo>
                  <a:cubicBezTo>
                    <a:pt x="962" y="653"/>
                    <a:pt x="956" y="650"/>
                    <a:pt x="955" y="647"/>
                  </a:cubicBezTo>
                  <a:cubicBezTo>
                    <a:pt x="954" y="644"/>
                    <a:pt x="959" y="643"/>
                    <a:pt x="958" y="639"/>
                  </a:cubicBezTo>
                  <a:cubicBezTo>
                    <a:pt x="957" y="637"/>
                    <a:pt x="948" y="635"/>
                    <a:pt x="950" y="632"/>
                  </a:cubicBezTo>
                  <a:cubicBezTo>
                    <a:pt x="953" y="626"/>
                    <a:pt x="978" y="643"/>
                    <a:pt x="982" y="637"/>
                  </a:cubicBezTo>
                  <a:cubicBezTo>
                    <a:pt x="982" y="637"/>
                    <a:pt x="978" y="632"/>
                    <a:pt x="978" y="631"/>
                  </a:cubicBezTo>
                  <a:cubicBezTo>
                    <a:pt x="978" y="631"/>
                    <a:pt x="978" y="631"/>
                    <a:pt x="978" y="631"/>
                  </a:cubicBezTo>
                  <a:cubicBezTo>
                    <a:pt x="977" y="631"/>
                    <a:pt x="977" y="631"/>
                    <a:pt x="977" y="631"/>
                  </a:cubicBezTo>
                  <a:cubicBezTo>
                    <a:pt x="976" y="631"/>
                    <a:pt x="976" y="631"/>
                    <a:pt x="975" y="632"/>
                  </a:cubicBezTo>
                  <a:cubicBezTo>
                    <a:pt x="975" y="632"/>
                    <a:pt x="975" y="632"/>
                    <a:pt x="974" y="632"/>
                  </a:cubicBezTo>
                  <a:cubicBezTo>
                    <a:pt x="972" y="632"/>
                    <a:pt x="970" y="632"/>
                    <a:pt x="968" y="632"/>
                  </a:cubicBezTo>
                  <a:cubicBezTo>
                    <a:pt x="963" y="631"/>
                    <a:pt x="956" y="627"/>
                    <a:pt x="951" y="627"/>
                  </a:cubicBezTo>
                  <a:cubicBezTo>
                    <a:pt x="948" y="627"/>
                    <a:pt x="943" y="636"/>
                    <a:pt x="939" y="631"/>
                  </a:cubicBezTo>
                  <a:cubicBezTo>
                    <a:pt x="939" y="631"/>
                    <a:pt x="941" y="629"/>
                    <a:pt x="942" y="627"/>
                  </a:cubicBezTo>
                  <a:cubicBezTo>
                    <a:pt x="943" y="626"/>
                    <a:pt x="923" y="628"/>
                    <a:pt x="921" y="625"/>
                  </a:cubicBezTo>
                  <a:cubicBezTo>
                    <a:pt x="919" y="622"/>
                    <a:pt x="933" y="616"/>
                    <a:pt x="929" y="616"/>
                  </a:cubicBezTo>
                  <a:cubicBezTo>
                    <a:pt x="922" y="615"/>
                    <a:pt x="918" y="621"/>
                    <a:pt x="913" y="623"/>
                  </a:cubicBezTo>
                  <a:cubicBezTo>
                    <a:pt x="911" y="624"/>
                    <a:pt x="910" y="623"/>
                    <a:pt x="909" y="622"/>
                  </a:cubicBezTo>
                  <a:cubicBezTo>
                    <a:pt x="907" y="621"/>
                    <a:pt x="896" y="620"/>
                    <a:pt x="895" y="623"/>
                  </a:cubicBezTo>
                  <a:cubicBezTo>
                    <a:pt x="895" y="624"/>
                    <a:pt x="901" y="623"/>
                    <a:pt x="901" y="625"/>
                  </a:cubicBezTo>
                  <a:cubicBezTo>
                    <a:pt x="900" y="627"/>
                    <a:pt x="881" y="632"/>
                    <a:pt x="882" y="631"/>
                  </a:cubicBezTo>
                  <a:cubicBezTo>
                    <a:pt x="882" y="628"/>
                    <a:pt x="889" y="627"/>
                    <a:pt x="889" y="621"/>
                  </a:cubicBezTo>
                  <a:cubicBezTo>
                    <a:pt x="889" y="620"/>
                    <a:pt x="885" y="622"/>
                    <a:pt x="884" y="622"/>
                  </a:cubicBezTo>
                  <a:cubicBezTo>
                    <a:pt x="880" y="625"/>
                    <a:pt x="875" y="625"/>
                    <a:pt x="870" y="626"/>
                  </a:cubicBezTo>
                  <a:cubicBezTo>
                    <a:pt x="868" y="626"/>
                    <a:pt x="855" y="627"/>
                    <a:pt x="856" y="626"/>
                  </a:cubicBezTo>
                  <a:cubicBezTo>
                    <a:pt x="859" y="620"/>
                    <a:pt x="875" y="606"/>
                    <a:pt x="882" y="599"/>
                  </a:cubicBezTo>
                  <a:cubicBezTo>
                    <a:pt x="882" y="599"/>
                    <a:pt x="884" y="598"/>
                    <a:pt x="885" y="598"/>
                  </a:cubicBezTo>
                  <a:cubicBezTo>
                    <a:pt x="895" y="596"/>
                    <a:pt x="899" y="606"/>
                    <a:pt x="899" y="606"/>
                  </a:cubicBezTo>
                  <a:cubicBezTo>
                    <a:pt x="903" y="606"/>
                    <a:pt x="904" y="600"/>
                    <a:pt x="907" y="600"/>
                  </a:cubicBezTo>
                  <a:cubicBezTo>
                    <a:pt x="908" y="600"/>
                    <a:pt x="920" y="596"/>
                    <a:pt x="920" y="595"/>
                  </a:cubicBezTo>
                  <a:cubicBezTo>
                    <a:pt x="919" y="593"/>
                    <a:pt x="886" y="597"/>
                    <a:pt x="891" y="587"/>
                  </a:cubicBezTo>
                  <a:cubicBezTo>
                    <a:pt x="892" y="585"/>
                    <a:pt x="899" y="582"/>
                    <a:pt x="900" y="581"/>
                  </a:cubicBezTo>
                  <a:cubicBezTo>
                    <a:pt x="903" y="580"/>
                    <a:pt x="933" y="570"/>
                    <a:pt x="930" y="580"/>
                  </a:cubicBezTo>
                  <a:cubicBezTo>
                    <a:pt x="927" y="586"/>
                    <a:pt x="921" y="580"/>
                    <a:pt x="918" y="580"/>
                  </a:cubicBezTo>
                  <a:cubicBezTo>
                    <a:pt x="915" y="581"/>
                    <a:pt x="924" y="585"/>
                    <a:pt x="913" y="588"/>
                  </a:cubicBezTo>
                  <a:cubicBezTo>
                    <a:pt x="911" y="588"/>
                    <a:pt x="906" y="588"/>
                    <a:pt x="906" y="589"/>
                  </a:cubicBezTo>
                  <a:cubicBezTo>
                    <a:pt x="906" y="590"/>
                    <a:pt x="908" y="590"/>
                    <a:pt x="909" y="590"/>
                  </a:cubicBezTo>
                  <a:cubicBezTo>
                    <a:pt x="917" y="590"/>
                    <a:pt x="918" y="590"/>
                    <a:pt x="925" y="587"/>
                  </a:cubicBezTo>
                  <a:cubicBezTo>
                    <a:pt x="926" y="587"/>
                    <a:pt x="932" y="583"/>
                    <a:pt x="932" y="585"/>
                  </a:cubicBezTo>
                  <a:cubicBezTo>
                    <a:pt x="933" y="589"/>
                    <a:pt x="932" y="592"/>
                    <a:pt x="929" y="594"/>
                  </a:cubicBezTo>
                  <a:cubicBezTo>
                    <a:pt x="925" y="598"/>
                    <a:pt x="945" y="586"/>
                    <a:pt x="955" y="590"/>
                  </a:cubicBezTo>
                  <a:cubicBezTo>
                    <a:pt x="969" y="596"/>
                    <a:pt x="965" y="632"/>
                    <a:pt x="977" y="618"/>
                  </a:cubicBezTo>
                  <a:cubicBezTo>
                    <a:pt x="979" y="617"/>
                    <a:pt x="962" y="602"/>
                    <a:pt x="965" y="590"/>
                  </a:cubicBezTo>
                  <a:cubicBezTo>
                    <a:pt x="966" y="584"/>
                    <a:pt x="980" y="579"/>
                    <a:pt x="985" y="578"/>
                  </a:cubicBezTo>
                  <a:cubicBezTo>
                    <a:pt x="987" y="578"/>
                    <a:pt x="996" y="579"/>
                    <a:pt x="996" y="577"/>
                  </a:cubicBezTo>
                  <a:cubicBezTo>
                    <a:pt x="996" y="574"/>
                    <a:pt x="983" y="574"/>
                    <a:pt x="982" y="575"/>
                  </a:cubicBezTo>
                  <a:cubicBezTo>
                    <a:pt x="969" y="579"/>
                    <a:pt x="951" y="591"/>
                    <a:pt x="937" y="582"/>
                  </a:cubicBezTo>
                  <a:cubicBezTo>
                    <a:pt x="933" y="580"/>
                    <a:pt x="938" y="571"/>
                    <a:pt x="940" y="571"/>
                  </a:cubicBezTo>
                  <a:cubicBezTo>
                    <a:pt x="946" y="571"/>
                    <a:pt x="958" y="579"/>
                    <a:pt x="957" y="574"/>
                  </a:cubicBezTo>
                  <a:cubicBezTo>
                    <a:pt x="956" y="568"/>
                    <a:pt x="945" y="563"/>
                    <a:pt x="938" y="568"/>
                  </a:cubicBezTo>
                  <a:cubicBezTo>
                    <a:pt x="937" y="569"/>
                    <a:pt x="931" y="571"/>
                    <a:pt x="931" y="568"/>
                  </a:cubicBezTo>
                  <a:cubicBezTo>
                    <a:pt x="932" y="556"/>
                    <a:pt x="944" y="552"/>
                    <a:pt x="962" y="559"/>
                  </a:cubicBezTo>
                  <a:cubicBezTo>
                    <a:pt x="964" y="560"/>
                    <a:pt x="961" y="553"/>
                    <a:pt x="968" y="557"/>
                  </a:cubicBezTo>
                  <a:cubicBezTo>
                    <a:pt x="969" y="558"/>
                    <a:pt x="974" y="558"/>
                    <a:pt x="974" y="558"/>
                  </a:cubicBezTo>
                  <a:cubicBezTo>
                    <a:pt x="973" y="557"/>
                    <a:pt x="949" y="551"/>
                    <a:pt x="951" y="549"/>
                  </a:cubicBezTo>
                  <a:cubicBezTo>
                    <a:pt x="957" y="544"/>
                    <a:pt x="979" y="548"/>
                    <a:pt x="982" y="554"/>
                  </a:cubicBezTo>
                  <a:cubicBezTo>
                    <a:pt x="984" y="557"/>
                    <a:pt x="992" y="560"/>
                    <a:pt x="990" y="556"/>
                  </a:cubicBezTo>
                  <a:cubicBezTo>
                    <a:pt x="978" y="537"/>
                    <a:pt x="975" y="547"/>
                    <a:pt x="960" y="543"/>
                  </a:cubicBezTo>
                  <a:cubicBezTo>
                    <a:pt x="952" y="540"/>
                    <a:pt x="956" y="531"/>
                    <a:pt x="953" y="531"/>
                  </a:cubicBezTo>
                  <a:cubicBezTo>
                    <a:pt x="951" y="530"/>
                    <a:pt x="953" y="535"/>
                    <a:pt x="952" y="536"/>
                  </a:cubicBezTo>
                  <a:cubicBezTo>
                    <a:pt x="950" y="536"/>
                    <a:pt x="952" y="529"/>
                    <a:pt x="948" y="531"/>
                  </a:cubicBezTo>
                  <a:cubicBezTo>
                    <a:pt x="946" y="532"/>
                    <a:pt x="952" y="539"/>
                    <a:pt x="947" y="542"/>
                  </a:cubicBezTo>
                  <a:cubicBezTo>
                    <a:pt x="937" y="549"/>
                    <a:pt x="907" y="573"/>
                    <a:pt x="892" y="563"/>
                  </a:cubicBezTo>
                  <a:cubicBezTo>
                    <a:pt x="890" y="561"/>
                    <a:pt x="901" y="557"/>
                    <a:pt x="903" y="556"/>
                  </a:cubicBezTo>
                  <a:cubicBezTo>
                    <a:pt x="908" y="553"/>
                    <a:pt x="893" y="552"/>
                    <a:pt x="897" y="551"/>
                  </a:cubicBezTo>
                  <a:cubicBezTo>
                    <a:pt x="903" y="549"/>
                    <a:pt x="913" y="550"/>
                    <a:pt x="920" y="550"/>
                  </a:cubicBezTo>
                  <a:cubicBezTo>
                    <a:pt x="921" y="550"/>
                    <a:pt x="925" y="550"/>
                    <a:pt x="926" y="549"/>
                  </a:cubicBezTo>
                  <a:cubicBezTo>
                    <a:pt x="927" y="545"/>
                    <a:pt x="917" y="548"/>
                    <a:pt x="915" y="546"/>
                  </a:cubicBezTo>
                  <a:cubicBezTo>
                    <a:pt x="911" y="542"/>
                    <a:pt x="895" y="547"/>
                    <a:pt x="894" y="539"/>
                  </a:cubicBezTo>
                  <a:cubicBezTo>
                    <a:pt x="893" y="534"/>
                    <a:pt x="924" y="535"/>
                    <a:pt x="925" y="531"/>
                  </a:cubicBezTo>
                  <a:cubicBezTo>
                    <a:pt x="925" y="530"/>
                    <a:pt x="902" y="532"/>
                    <a:pt x="902" y="532"/>
                  </a:cubicBezTo>
                  <a:cubicBezTo>
                    <a:pt x="905" y="528"/>
                    <a:pt x="934" y="520"/>
                    <a:pt x="935" y="528"/>
                  </a:cubicBezTo>
                  <a:cubicBezTo>
                    <a:pt x="935" y="530"/>
                    <a:pt x="931" y="531"/>
                    <a:pt x="932" y="534"/>
                  </a:cubicBezTo>
                  <a:cubicBezTo>
                    <a:pt x="933" y="535"/>
                    <a:pt x="939" y="530"/>
                    <a:pt x="940" y="529"/>
                  </a:cubicBezTo>
                  <a:cubicBezTo>
                    <a:pt x="942" y="527"/>
                    <a:pt x="957" y="518"/>
                    <a:pt x="964" y="520"/>
                  </a:cubicBezTo>
                  <a:cubicBezTo>
                    <a:pt x="966" y="521"/>
                    <a:pt x="957" y="529"/>
                    <a:pt x="962" y="531"/>
                  </a:cubicBezTo>
                  <a:cubicBezTo>
                    <a:pt x="962" y="531"/>
                    <a:pt x="969" y="519"/>
                    <a:pt x="979" y="516"/>
                  </a:cubicBezTo>
                  <a:cubicBezTo>
                    <a:pt x="988" y="513"/>
                    <a:pt x="988" y="524"/>
                    <a:pt x="991" y="524"/>
                  </a:cubicBezTo>
                  <a:cubicBezTo>
                    <a:pt x="998" y="524"/>
                    <a:pt x="995" y="509"/>
                    <a:pt x="1001" y="507"/>
                  </a:cubicBezTo>
                  <a:cubicBezTo>
                    <a:pt x="1002" y="507"/>
                    <a:pt x="1002" y="507"/>
                    <a:pt x="1003" y="507"/>
                  </a:cubicBezTo>
                  <a:cubicBezTo>
                    <a:pt x="1003" y="507"/>
                    <a:pt x="1004" y="508"/>
                    <a:pt x="1004" y="508"/>
                  </a:cubicBezTo>
                  <a:cubicBezTo>
                    <a:pt x="1005" y="508"/>
                    <a:pt x="1001" y="508"/>
                    <a:pt x="1003" y="508"/>
                  </a:cubicBezTo>
                  <a:cubicBezTo>
                    <a:pt x="1003" y="508"/>
                    <a:pt x="1005" y="508"/>
                    <a:pt x="1005" y="507"/>
                  </a:cubicBezTo>
                  <a:cubicBezTo>
                    <a:pt x="1010" y="503"/>
                    <a:pt x="995" y="509"/>
                    <a:pt x="992" y="503"/>
                  </a:cubicBezTo>
                  <a:cubicBezTo>
                    <a:pt x="991" y="500"/>
                    <a:pt x="997" y="502"/>
                    <a:pt x="996" y="499"/>
                  </a:cubicBezTo>
                  <a:cubicBezTo>
                    <a:pt x="995" y="497"/>
                    <a:pt x="990" y="499"/>
                    <a:pt x="989" y="500"/>
                  </a:cubicBezTo>
                  <a:cubicBezTo>
                    <a:pt x="985" y="505"/>
                    <a:pt x="979" y="503"/>
                    <a:pt x="972" y="503"/>
                  </a:cubicBezTo>
                  <a:cubicBezTo>
                    <a:pt x="969" y="503"/>
                    <a:pt x="965" y="494"/>
                    <a:pt x="962" y="496"/>
                  </a:cubicBezTo>
                  <a:cubicBezTo>
                    <a:pt x="960" y="498"/>
                    <a:pt x="956" y="506"/>
                    <a:pt x="954" y="508"/>
                  </a:cubicBezTo>
                  <a:cubicBezTo>
                    <a:pt x="952" y="509"/>
                    <a:pt x="952" y="510"/>
                    <a:pt x="950" y="509"/>
                  </a:cubicBezTo>
                  <a:cubicBezTo>
                    <a:pt x="948" y="508"/>
                    <a:pt x="939" y="508"/>
                    <a:pt x="941" y="502"/>
                  </a:cubicBezTo>
                  <a:cubicBezTo>
                    <a:pt x="945" y="488"/>
                    <a:pt x="963" y="491"/>
                    <a:pt x="967" y="491"/>
                  </a:cubicBezTo>
                  <a:cubicBezTo>
                    <a:pt x="970" y="491"/>
                    <a:pt x="974" y="481"/>
                    <a:pt x="975" y="482"/>
                  </a:cubicBezTo>
                  <a:cubicBezTo>
                    <a:pt x="977" y="487"/>
                    <a:pt x="988" y="494"/>
                    <a:pt x="972" y="493"/>
                  </a:cubicBezTo>
                  <a:cubicBezTo>
                    <a:pt x="970" y="493"/>
                    <a:pt x="972" y="500"/>
                    <a:pt x="977" y="499"/>
                  </a:cubicBezTo>
                  <a:cubicBezTo>
                    <a:pt x="1005" y="493"/>
                    <a:pt x="996" y="463"/>
                    <a:pt x="1008" y="470"/>
                  </a:cubicBezTo>
                  <a:cubicBezTo>
                    <a:pt x="1012" y="473"/>
                    <a:pt x="1007" y="481"/>
                    <a:pt x="1008" y="482"/>
                  </a:cubicBezTo>
                  <a:cubicBezTo>
                    <a:pt x="1009" y="483"/>
                    <a:pt x="1013" y="480"/>
                    <a:pt x="1014" y="482"/>
                  </a:cubicBezTo>
                  <a:cubicBezTo>
                    <a:pt x="1015" y="484"/>
                    <a:pt x="1013" y="489"/>
                    <a:pt x="1011" y="490"/>
                  </a:cubicBezTo>
                  <a:cubicBezTo>
                    <a:pt x="1009" y="494"/>
                    <a:pt x="1009" y="501"/>
                    <a:pt x="1010" y="505"/>
                  </a:cubicBezTo>
                  <a:cubicBezTo>
                    <a:pt x="1012" y="510"/>
                    <a:pt x="1043" y="543"/>
                    <a:pt x="1050" y="540"/>
                  </a:cubicBezTo>
                  <a:cubicBezTo>
                    <a:pt x="1051" y="540"/>
                    <a:pt x="1041" y="536"/>
                    <a:pt x="1045" y="533"/>
                  </a:cubicBezTo>
                  <a:cubicBezTo>
                    <a:pt x="1047" y="531"/>
                    <a:pt x="1042" y="530"/>
                    <a:pt x="1041" y="529"/>
                  </a:cubicBezTo>
                  <a:cubicBezTo>
                    <a:pt x="1032" y="524"/>
                    <a:pt x="1025" y="523"/>
                    <a:pt x="1029" y="513"/>
                  </a:cubicBezTo>
                  <a:cubicBezTo>
                    <a:pt x="1030" y="511"/>
                    <a:pt x="1021" y="509"/>
                    <a:pt x="1023" y="508"/>
                  </a:cubicBezTo>
                  <a:cubicBezTo>
                    <a:pt x="1032" y="501"/>
                    <a:pt x="1038" y="524"/>
                    <a:pt x="1045" y="524"/>
                  </a:cubicBezTo>
                  <a:cubicBezTo>
                    <a:pt x="1052" y="524"/>
                    <a:pt x="1033" y="510"/>
                    <a:pt x="1034" y="508"/>
                  </a:cubicBezTo>
                  <a:cubicBezTo>
                    <a:pt x="1036" y="502"/>
                    <a:pt x="1050" y="522"/>
                    <a:pt x="1053" y="514"/>
                  </a:cubicBezTo>
                  <a:cubicBezTo>
                    <a:pt x="1053" y="514"/>
                    <a:pt x="1047" y="513"/>
                    <a:pt x="1046" y="512"/>
                  </a:cubicBezTo>
                  <a:cubicBezTo>
                    <a:pt x="1043" y="510"/>
                    <a:pt x="1050" y="508"/>
                    <a:pt x="1049" y="506"/>
                  </a:cubicBezTo>
                  <a:cubicBezTo>
                    <a:pt x="1048" y="504"/>
                    <a:pt x="1036" y="506"/>
                    <a:pt x="1037" y="502"/>
                  </a:cubicBezTo>
                  <a:cubicBezTo>
                    <a:pt x="1040" y="491"/>
                    <a:pt x="1069" y="498"/>
                    <a:pt x="1068" y="497"/>
                  </a:cubicBezTo>
                  <a:cubicBezTo>
                    <a:pt x="1057" y="486"/>
                    <a:pt x="1044" y="497"/>
                    <a:pt x="1035" y="496"/>
                  </a:cubicBezTo>
                  <a:cubicBezTo>
                    <a:pt x="1029" y="495"/>
                    <a:pt x="1032" y="492"/>
                    <a:pt x="1027" y="489"/>
                  </a:cubicBezTo>
                  <a:cubicBezTo>
                    <a:pt x="1027" y="489"/>
                    <a:pt x="1026" y="489"/>
                    <a:pt x="1026" y="488"/>
                  </a:cubicBezTo>
                  <a:cubicBezTo>
                    <a:pt x="1027" y="487"/>
                    <a:pt x="1040" y="488"/>
                    <a:pt x="1041" y="487"/>
                  </a:cubicBezTo>
                  <a:cubicBezTo>
                    <a:pt x="1044" y="487"/>
                    <a:pt x="1040" y="480"/>
                    <a:pt x="1043" y="480"/>
                  </a:cubicBezTo>
                  <a:cubicBezTo>
                    <a:pt x="1044" y="481"/>
                    <a:pt x="1054" y="486"/>
                    <a:pt x="1054" y="483"/>
                  </a:cubicBezTo>
                  <a:cubicBezTo>
                    <a:pt x="1055" y="482"/>
                    <a:pt x="1052" y="480"/>
                    <a:pt x="1051" y="480"/>
                  </a:cubicBezTo>
                  <a:cubicBezTo>
                    <a:pt x="1046" y="478"/>
                    <a:pt x="1048" y="476"/>
                    <a:pt x="1046" y="474"/>
                  </a:cubicBezTo>
                  <a:cubicBezTo>
                    <a:pt x="1044" y="473"/>
                    <a:pt x="1030" y="478"/>
                    <a:pt x="1026" y="478"/>
                  </a:cubicBezTo>
                  <a:cubicBezTo>
                    <a:pt x="1025" y="478"/>
                    <a:pt x="1020" y="478"/>
                    <a:pt x="1019" y="477"/>
                  </a:cubicBezTo>
                  <a:cubicBezTo>
                    <a:pt x="1015" y="473"/>
                    <a:pt x="1034" y="472"/>
                    <a:pt x="1033" y="470"/>
                  </a:cubicBezTo>
                  <a:cubicBezTo>
                    <a:pt x="1032" y="469"/>
                    <a:pt x="1013" y="465"/>
                    <a:pt x="1014" y="464"/>
                  </a:cubicBezTo>
                  <a:cubicBezTo>
                    <a:pt x="1024" y="451"/>
                    <a:pt x="1048" y="467"/>
                    <a:pt x="1055" y="478"/>
                  </a:cubicBezTo>
                  <a:cubicBezTo>
                    <a:pt x="1057" y="480"/>
                    <a:pt x="1076" y="489"/>
                    <a:pt x="1077" y="487"/>
                  </a:cubicBezTo>
                  <a:cubicBezTo>
                    <a:pt x="1077" y="478"/>
                    <a:pt x="1029" y="455"/>
                    <a:pt x="1029" y="455"/>
                  </a:cubicBezTo>
                  <a:cubicBezTo>
                    <a:pt x="1031" y="453"/>
                    <a:pt x="1025" y="455"/>
                    <a:pt x="1024" y="454"/>
                  </a:cubicBezTo>
                  <a:cubicBezTo>
                    <a:pt x="1024" y="450"/>
                    <a:pt x="1059" y="446"/>
                    <a:pt x="1063" y="445"/>
                  </a:cubicBezTo>
                  <a:cubicBezTo>
                    <a:pt x="1066" y="445"/>
                    <a:pt x="1069" y="445"/>
                    <a:pt x="1073" y="447"/>
                  </a:cubicBezTo>
                  <a:cubicBezTo>
                    <a:pt x="1075" y="448"/>
                    <a:pt x="1077" y="448"/>
                    <a:pt x="1079" y="449"/>
                  </a:cubicBezTo>
                  <a:cubicBezTo>
                    <a:pt x="1086" y="451"/>
                    <a:pt x="1079" y="458"/>
                    <a:pt x="1079" y="458"/>
                  </a:cubicBezTo>
                  <a:cubicBezTo>
                    <a:pt x="1085" y="457"/>
                    <a:pt x="1094" y="451"/>
                    <a:pt x="1099" y="451"/>
                  </a:cubicBezTo>
                  <a:cubicBezTo>
                    <a:pt x="1113" y="452"/>
                    <a:pt x="1104" y="458"/>
                    <a:pt x="1114" y="463"/>
                  </a:cubicBezTo>
                  <a:cubicBezTo>
                    <a:pt x="1116" y="464"/>
                    <a:pt x="1123" y="466"/>
                    <a:pt x="1123" y="469"/>
                  </a:cubicBezTo>
                  <a:cubicBezTo>
                    <a:pt x="1123" y="470"/>
                    <a:pt x="1121" y="481"/>
                    <a:pt x="1122" y="482"/>
                  </a:cubicBezTo>
                  <a:cubicBezTo>
                    <a:pt x="1125" y="485"/>
                    <a:pt x="1127" y="474"/>
                    <a:pt x="1131" y="472"/>
                  </a:cubicBezTo>
                  <a:cubicBezTo>
                    <a:pt x="1131" y="472"/>
                    <a:pt x="1131" y="471"/>
                    <a:pt x="1131" y="471"/>
                  </a:cubicBezTo>
                  <a:cubicBezTo>
                    <a:pt x="1131" y="464"/>
                    <a:pt x="1106" y="456"/>
                    <a:pt x="1112" y="449"/>
                  </a:cubicBezTo>
                  <a:cubicBezTo>
                    <a:pt x="1118" y="442"/>
                    <a:pt x="1125" y="448"/>
                    <a:pt x="1135" y="452"/>
                  </a:cubicBezTo>
                  <a:cubicBezTo>
                    <a:pt x="1136" y="453"/>
                    <a:pt x="1147" y="454"/>
                    <a:pt x="1145" y="451"/>
                  </a:cubicBezTo>
                  <a:cubicBezTo>
                    <a:pt x="1145" y="449"/>
                    <a:pt x="1127" y="446"/>
                    <a:pt x="1128" y="443"/>
                  </a:cubicBezTo>
                  <a:cubicBezTo>
                    <a:pt x="1130" y="437"/>
                    <a:pt x="1156" y="444"/>
                    <a:pt x="1159" y="446"/>
                  </a:cubicBezTo>
                  <a:cubicBezTo>
                    <a:pt x="1163" y="448"/>
                    <a:pt x="1176" y="448"/>
                    <a:pt x="1172" y="447"/>
                  </a:cubicBezTo>
                  <a:cubicBezTo>
                    <a:pt x="1163" y="446"/>
                    <a:pt x="1157" y="440"/>
                    <a:pt x="1149" y="437"/>
                  </a:cubicBezTo>
                  <a:cubicBezTo>
                    <a:pt x="1147" y="437"/>
                    <a:pt x="1138" y="439"/>
                    <a:pt x="1136" y="437"/>
                  </a:cubicBezTo>
                  <a:cubicBezTo>
                    <a:pt x="1136" y="436"/>
                    <a:pt x="1147" y="426"/>
                    <a:pt x="1142" y="425"/>
                  </a:cubicBezTo>
                  <a:cubicBezTo>
                    <a:pt x="1127" y="421"/>
                    <a:pt x="1112" y="449"/>
                    <a:pt x="1095" y="439"/>
                  </a:cubicBezTo>
                  <a:cubicBezTo>
                    <a:pt x="1093" y="438"/>
                    <a:pt x="1095" y="437"/>
                    <a:pt x="1096" y="437"/>
                  </a:cubicBezTo>
                  <a:cubicBezTo>
                    <a:pt x="1107" y="436"/>
                    <a:pt x="1100" y="432"/>
                    <a:pt x="1094" y="429"/>
                  </a:cubicBezTo>
                  <a:cubicBezTo>
                    <a:pt x="1091" y="428"/>
                    <a:pt x="1054" y="450"/>
                    <a:pt x="1049" y="439"/>
                  </a:cubicBezTo>
                  <a:cubicBezTo>
                    <a:pt x="1041" y="421"/>
                    <a:pt x="1057" y="431"/>
                    <a:pt x="1061" y="424"/>
                  </a:cubicBezTo>
                  <a:cubicBezTo>
                    <a:pt x="1065" y="418"/>
                    <a:pt x="1040" y="417"/>
                    <a:pt x="1074" y="402"/>
                  </a:cubicBezTo>
                  <a:cubicBezTo>
                    <a:pt x="1090" y="396"/>
                    <a:pt x="1113" y="410"/>
                    <a:pt x="1104" y="404"/>
                  </a:cubicBezTo>
                  <a:cubicBezTo>
                    <a:pt x="1097" y="399"/>
                    <a:pt x="1114" y="395"/>
                    <a:pt x="1117" y="395"/>
                  </a:cubicBezTo>
                  <a:cubicBezTo>
                    <a:pt x="1122" y="394"/>
                    <a:pt x="1149" y="412"/>
                    <a:pt x="1155" y="405"/>
                  </a:cubicBezTo>
                  <a:cubicBezTo>
                    <a:pt x="1155" y="404"/>
                    <a:pt x="1153" y="403"/>
                    <a:pt x="1152" y="402"/>
                  </a:cubicBezTo>
                  <a:cubicBezTo>
                    <a:pt x="1149" y="400"/>
                    <a:pt x="1114" y="391"/>
                    <a:pt x="1115" y="389"/>
                  </a:cubicBezTo>
                  <a:cubicBezTo>
                    <a:pt x="1120" y="370"/>
                    <a:pt x="1163" y="392"/>
                    <a:pt x="1164" y="390"/>
                  </a:cubicBezTo>
                  <a:cubicBezTo>
                    <a:pt x="1169" y="383"/>
                    <a:pt x="1134" y="380"/>
                    <a:pt x="1136" y="377"/>
                  </a:cubicBezTo>
                  <a:cubicBezTo>
                    <a:pt x="1141" y="367"/>
                    <a:pt x="1169" y="373"/>
                    <a:pt x="1170" y="371"/>
                  </a:cubicBezTo>
                  <a:cubicBezTo>
                    <a:pt x="1170" y="370"/>
                    <a:pt x="1166" y="368"/>
                    <a:pt x="1165" y="367"/>
                  </a:cubicBezTo>
                  <a:cubicBezTo>
                    <a:pt x="1158" y="361"/>
                    <a:pt x="1150" y="361"/>
                    <a:pt x="1139" y="364"/>
                  </a:cubicBezTo>
                  <a:cubicBezTo>
                    <a:pt x="1138" y="365"/>
                    <a:pt x="1133" y="368"/>
                    <a:pt x="1133" y="366"/>
                  </a:cubicBezTo>
                  <a:cubicBezTo>
                    <a:pt x="1131" y="361"/>
                    <a:pt x="1140" y="359"/>
                    <a:pt x="1142" y="357"/>
                  </a:cubicBezTo>
                  <a:cubicBezTo>
                    <a:pt x="1143" y="356"/>
                    <a:pt x="1136" y="356"/>
                    <a:pt x="1152" y="339"/>
                  </a:cubicBezTo>
                  <a:cubicBezTo>
                    <a:pt x="1159" y="331"/>
                    <a:pt x="1161" y="336"/>
                    <a:pt x="1178" y="328"/>
                  </a:cubicBezTo>
                  <a:cubicBezTo>
                    <a:pt x="1180" y="327"/>
                    <a:pt x="1197" y="327"/>
                    <a:pt x="1197" y="326"/>
                  </a:cubicBezTo>
                  <a:cubicBezTo>
                    <a:pt x="1196" y="323"/>
                    <a:pt x="1189" y="325"/>
                    <a:pt x="1189" y="322"/>
                  </a:cubicBezTo>
                  <a:cubicBezTo>
                    <a:pt x="1189" y="320"/>
                    <a:pt x="1192" y="314"/>
                    <a:pt x="1191" y="313"/>
                  </a:cubicBezTo>
                  <a:cubicBezTo>
                    <a:pt x="1189" y="313"/>
                    <a:pt x="1180" y="317"/>
                    <a:pt x="1183" y="312"/>
                  </a:cubicBezTo>
                  <a:cubicBezTo>
                    <a:pt x="1188" y="304"/>
                    <a:pt x="1193" y="297"/>
                    <a:pt x="1198" y="289"/>
                  </a:cubicBezTo>
                  <a:cubicBezTo>
                    <a:pt x="1201" y="286"/>
                    <a:pt x="1195" y="280"/>
                    <a:pt x="1197" y="278"/>
                  </a:cubicBezTo>
                  <a:cubicBezTo>
                    <a:pt x="1202" y="271"/>
                    <a:pt x="1214" y="272"/>
                    <a:pt x="1217" y="282"/>
                  </a:cubicBezTo>
                  <a:cubicBezTo>
                    <a:pt x="1217" y="284"/>
                    <a:pt x="1213" y="289"/>
                    <a:pt x="1216" y="289"/>
                  </a:cubicBezTo>
                  <a:cubicBezTo>
                    <a:pt x="1219" y="290"/>
                    <a:pt x="1224" y="286"/>
                    <a:pt x="1227" y="291"/>
                  </a:cubicBezTo>
                  <a:cubicBezTo>
                    <a:pt x="1230" y="297"/>
                    <a:pt x="1224" y="312"/>
                    <a:pt x="1228" y="313"/>
                  </a:cubicBezTo>
                  <a:cubicBezTo>
                    <a:pt x="1232" y="314"/>
                    <a:pt x="1230" y="294"/>
                    <a:pt x="1233" y="293"/>
                  </a:cubicBezTo>
                  <a:cubicBezTo>
                    <a:pt x="1237" y="293"/>
                    <a:pt x="1235" y="302"/>
                    <a:pt x="1237" y="304"/>
                  </a:cubicBezTo>
                  <a:cubicBezTo>
                    <a:pt x="1249" y="316"/>
                    <a:pt x="1242" y="301"/>
                    <a:pt x="1243" y="300"/>
                  </a:cubicBezTo>
                  <a:cubicBezTo>
                    <a:pt x="1249" y="297"/>
                    <a:pt x="1273" y="305"/>
                    <a:pt x="1273" y="305"/>
                  </a:cubicBezTo>
                  <a:cubicBezTo>
                    <a:pt x="1274" y="303"/>
                    <a:pt x="1271" y="302"/>
                    <a:pt x="1270" y="301"/>
                  </a:cubicBezTo>
                  <a:cubicBezTo>
                    <a:pt x="1268" y="299"/>
                    <a:pt x="1221" y="284"/>
                    <a:pt x="1223" y="277"/>
                  </a:cubicBezTo>
                  <a:cubicBezTo>
                    <a:pt x="1226" y="267"/>
                    <a:pt x="1255" y="260"/>
                    <a:pt x="1261" y="265"/>
                  </a:cubicBezTo>
                  <a:cubicBezTo>
                    <a:pt x="1264" y="267"/>
                    <a:pt x="1258" y="269"/>
                    <a:pt x="1259" y="271"/>
                  </a:cubicBezTo>
                  <a:cubicBezTo>
                    <a:pt x="1260" y="276"/>
                    <a:pt x="1276" y="289"/>
                    <a:pt x="1281" y="293"/>
                  </a:cubicBezTo>
                  <a:cubicBezTo>
                    <a:pt x="1287" y="297"/>
                    <a:pt x="1301" y="292"/>
                    <a:pt x="1306" y="299"/>
                  </a:cubicBezTo>
                  <a:cubicBezTo>
                    <a:pt x="1311" y="310"/>
                    <a:pt x="1284" y="304"/>
                    <a:pt x="1287" y="310"/>
                  </a:cubicBezTo>
                  <a:cubicBezTo>
                    <a:pt x="1287" y="311"/>
                    <a:pt x="1287" y="311"/>
                    <a:pt x="1287" y="311"/>
                  </a:cubicBezTo>
                  <a:cubicBezTo>
                    <a:pt x="1289" y="311"/>
                    <a:pt x="1290" y="311"/>
                    <a:pt x="1291" y="310"/>
                  </a:cubicBezTo>
                  <a:cubicBezTo>
                    <a:pt x="1294" y="308"/>
                    <a:pt x="1309" y="321"/>
                    <a:pt x="1317" y="316"/>
                  </a:cubicBezTo>
                  <a:cubicBezTo>
                    <a:pt x="1319" y="314"/>
                    <a:pt x="1313" y="311"/>
                    <a:pt x="1312" y="310"/>
                  </a:cubicBezTo>
                  <a:cubicBezTo>
                    <a:pt x="1309" y="305"/>
                    <a:pt x="1314" y="300"/>
                    <a:pt x="1309" y="295"/>
                  </a:cubicBezTo>
                  <a:cubicBezTo>
                    <a:pt x="1299" y="284"/>
                    <a:pt x="1279" y="295"/>
                    <a:pt x="1272" y="278"/>
                  </a:cubicBezTo>
                  <a:cubicBezTo>
                    <a:pt x="1268" y="269"/>
                    <a:pt x="1286" y="262"/>
                    <a:pt x="1292" y="267"/>
                  </a:cubicBezTo>
                  <a:cubicBezTo>
                    <a:pt x="1292" y="267"/>
                    <a:pt x="1296" y="270"/>
                    <a:pt x="1295" y="267"/>
                  </a:cubicBezTo>
                  <a:cubicBezTo>
                    <a:pt x="1291" y="250"/>
                    <a:pt x="1271" y="275"/>
                    <a:pt x="1267" y="259"/>
                  </a:cubicBezTo>
                  <a:cubicBezTo>
                    <a:pt x="1262" y="238"/>
                    <a:pt x="1326" y="213"/>
                    <a:pt x="1341" y="222"/>
                  </a:cubicBezTo>
                  <a:cubicBezTo>
                    <a:pt x="1343" y="223"/>
                    <a:pt x="1341" y="226"/>
                    <a:pt x="1340" y="227"/>
                  </a:cubicBezTo>
                  <a:cubicBezTo>
                    <a:pt x="1332" y="233"/>
                    <a:pt x="1331" y="266"/>
                    <a:pt x="1330" y="277"/>
                  </a:cubicBezTo>
                  <a:cubicBezTo>
                    <a:pt x="1330" y="278"/>
                    <a:pt x="1317" y="287"/>
                    <a:pt x="1320" y="288"/>
                  </a:cubicBezTo>
                  <a:cubicBezTo>
                    <a:pt x="1338" y="296"/>
                    <a:pt x="1335" y="257"/>
                    <a:pt x="1338" y="254"/>
                  </a:cubicBezTo>
                  <a:cubicBezTo>
                    <a:pt x="1342" y="251"/>
                    <a:pt x="1366" y="257"/>
                    <a:pt x="1372" y="258"/>
                  </a:cubicBezTo>
                  <a:cubicBezTo>
                    <a:pt x="1376" y="259"/>
                    <a:pt x="1364" y="255"/>
                    <a:pt x="1360" y="253"/>
                  </a:cubicBezTo>
                  <a:cubicBezTo>
                    <a:pt x="1352" y="251"/>
                    <a:pt x="1342" y="247"/>
                    <a:pt x="1346" y="237"/>
                  </a:cubicBezTo>
                  <a:cubicBezTo>
                    <a:pt x="1346" y="236"/>
                    <a:pt x="1358" y="215"/>
                    <a:pt x="1361" y="217"/>
                  </a:cubicBezTo>
                  <a:cubicBezTo>
                    <a:pt x="1364" y="219"/>
                    <a:pt x="1359" y="231"/>
                    <a:pt x="1362" y="229"/>
                  </a:cubicBezTo>
                  <a:cubicBezTo>
                    <a:pt x="1367" y="224"/>
                    <a:pt x="1371" y="203"/>
                    <a:pt x="1375" y="201"/>
                  </a:cubicBezTo>
                  <a:cubicBezTo>
                    <a:pt x="1377" y="201"/>
                    <a:pt x="1375" y="215"/>
                    <a:pt x="1380" y="215"/>
                  </a:cubicBezTo>
                  <a:cubicBezTo>
                    <a:pt x="1387" y="215"/>
                    <a:pt x="1381" y="193"/>
                    <a:pt x="1388" y="196"/>
                  </a:cubicBezTo>
                  <a:cubicBezTo>
                    <a:pt x="1400" y="201"/>
                    <a:pt x="1396" y="260"/>
                    <a:pt x="1387" y="265"/>
                  </a:cubicBezTo>
                  <a:cubicBezTo>
                    <a:pt x="1382" y="269"/>
                    <a:pt x="1389" y="275"/>
                    <a:pt x="1384" y="279"/>
                  </a:cubicBezTo>
                  <a:cubicBezTo>
                    <a:pt x="1378" y="284"/>
                    <a:pt x="1362" y="295"/>
                    <a:pt x="1362" y="299"/>
                  </a:cubicBezTo>
                  <a:cubicBezTo>
                    <a:pt x="1361" y="302"/>
                    <a:pt x="1351" y="306"/>
                    <a:pt x="1354" y="309"/>
                  </a:cubicBezTo>
                  <a:cubicBezTo>
                    <a:pt x="1358" y="313"/>
                    <a:pt x="1363" y="303"/>
                    <a:pt x="1365" y="302"/>
                  </a:cubicBezTo>
                  <a:cubicBezTo>
                    <a:pt x="1369" y="298"/>
                    <a:pt x="1385" y="292"/>
                    <a:pt x="1387" y="289"/>
                  </a:cubicBezTo>
                  <a:cubicBezTo>
                    <a:pt x="1391" y="283"/>
                    <a:pt x="1400" y="270"/>
                    <a:pt x="1401" y="264"/>
                  </a:cubicBezTo>
                  <a:cubicBezTo>
                    <a:pt x="1402" y="263"/>
                    <a:pt x="1403" y="259"/>
                    <a:pt x="1403" y="259"/>
                  </a:cubicBezTo>
                  <a:cubicBezTo>
                    <a:pt x="1407" y="257"/>
                    <a:pt x="1433" y="278"/>
                    <a:pt x="1437" y="273"/>
                  </a:cubicBezTo>
                  <a:cubicBezTo>
                    <a:pt x="1438" y="272"/>
                    <a:pt x="1405" y="253"/>
                    <a:pt x="1404" y="250"/>
                  </a:cubicBezTo>
                  <a:cubicBezTo>
                    <a:pt x="1404" y="246"/>
                    <a:pt x="1410" y="243"/>
                    <a:pt x="1410" y="239"/>
                  </a:cubicBezTo>
                  <a:cubicBezTo>
                    <a:pt x="1410" y="235"/>
                    <a:pt x="1403" y="233"/>
                    <a:pt x="1404" y="230"/>
                  </a:cubicBezTo>
                  <a:cubicBezTo>
                    <a:pt x="1405" y="228"/>
                    <a:pt x="1410" y="230"/>
                    <a:pt x="1412" y="229"/>
                  </a:cubicBezTo>
                  <a:cubicBezTo>
                    <a:pt x="1439" y="222"/>
                    <a:pt x="1430" y="208"/>
                    <a:pt x="1456" y="200"/>
                  </a:cubicBezTo>
                  <a:cubicBezTo>
                    <a:pt x="1462" y="197"/>
                    <a:pt x="1454" y="204"/>
                    <a:pt x="1452" y="204"/>
                  </a:cubicBezTo>
                  <a:cubicBezTo>
                    <a:pt x="1441" y="210"/>
                    <a:pt x="1441" y="222"/>
                    <a:pt x="1450" y="226"/>
                  </a:cubicBezTo>
                  <a:cubicBezTo>
                    <a:pt x="1455" y="227"/>
                    <a:pt x="1450" y="214"/>
                    <a:pt x="1459" y="212"/>
                  </a:cubicBezTo>
                  <a:cubicBezTo>
                    <a:pt x="1473" y="209"/>
                    <a:pt x="1460" y="222"/>
                    <a:pt x="1463" y="222"/>
                  </a:cubicBezTo>
                  <a:cubicBezTo>
                    <a:pt x="1471" y="223"/>
                    <a:pt x="1469" y="213"/>
                    <a:pt x="1469" y="209"/>
                  </a:cubicBezTo>
                  <a:cubicBezTo>
                    <a:pt x="1470" y="204"/>
                    <a:pt x="1480" y="209"/>
                    <a:pt x="1480" y="206"/>
                  </a:cubicBezTo>
                  <a:cubicBezTo>
                    <a:pt x="1480" y="203"/>
                    <a:pt x="1459" y="196"/>
                    <a:pt x="1478" y="188"/>
                  </a:cubicBezTo>
                  <a:cubicBezTo>
                    <a:pt x="1478" y="188"/>
                    <a:pt x="1479" y="187"/>
                    <a:pt x="1479" y="187"/>
                  </a:cubicBezTo>
                  <a:cubicBezTo>
                    <a:pt x="1495" y="183"/>
                    <a:pt x="1538" y="235"/>
                    <a:pt x="1546" y="234"/>
                  </a:cubicBezTo>
                  <a:cubicBezTo>
                    <a:pt x="1552" y="233"/>
                    <a:pt x="1544" y="223"/>
                    <a:pt x="1541" y="221"/>
                  </a:cubicBezTo>
                  <a:cubicBezTo>
                    <a:pt x="1525" y="211"/>
                    <a:pt x="1545" y="222"/>
                    <a:pt x="1541" y="214"/>
                  </a:cubicBezTo>
                  <a:cubicBezTo>
                    <a:pt x="1539" y="209"/>
                    <a:pt x="1532" y="210"/>
                    <a:pt x="1531" y="201"/>
                  </a:cubicBezTo>
                  <a:cubicBezTo>
                    <a:pt x="1531" y="199"/>
                    <a:pt x="1534" y="199"/>
                    <a:pt x="1533" y="197"/>
                  </a:cubicBezTo>
                  <a:cubicBezTo>
                    <a:pt x="1526" y="186"/>
                    <a:pt x="1553" y="209"/>
                    <a:pt x="1545" y="191"/>
                  </a:cubicBezTo>
                  <a:cubicBezTo>
                    <a:pt x="1544" y="189"/>
                    <a:pt x="1552" y="188"/>
                    <a:pt x="1550" y="186"/>
                  </a:cubicBezTo>
                  <a:cubicBezTo>
                    <a:pt x="1547" y="183"/>
                    <a:pt x="1523" y="195"/>
                    <a:pt x="1522" y="186"/>
                  </a:cubicBezTo>
                  <a:cubicBezTo>
                    <a:pt x="1521" y="182"/>
                    <a:pt x="1541" y="182"/>
                    <a:pt x="1544" y="179"/>
                  </a:cubicBezTo>
                  <a:cubicBezTo>
                    <a:pt x="1544" y="178"/>
                    <a:pt x="1550" y="174"/>
                    <a:pt x="1548" y="173"/>
                  </a:cubicBezTo>
                  <a:cubicBezTo>
                    <a:pt x="1541" y="170"/>
                    <a:pt x="1523" y="184"/>
                    <a:pt x="1514" y="182"/>
                  </a:cubicBezTo>
                  <a:cubicBezTo>
                    <a:pt x="1510" y="181"/>
                    <a:pt x="1492" y="175"/>
                    <a:pt x="1491" y="172"/>
                  </a:cubicBezTo>
                  <a:cubicBezTo>
                    <a:pt x="1491" y="169"/>
                    <a:pt x="1497" y="164"/>
                    <a:pt x="1494" y="163"/>
                  </a:cubicBezTo>
                  <a:cubicBezTo>
                    <a:pt x="1487" y="161"/>
                    <a:pt x="1472" y="168"/>
                    <a:pt x="1469" y="158"/>
                  </a:cubicBezTo>
                  <a:cubicBezTo>
                    <a:pt x="1468" y="156"/>
                    <a:pt x="1487" y="146"/>
                    <a:pt x="1490" y="148"/>
                  </a:cubicBezTo>
                  <a:cubicBezTo>
                    <a:pt x="1491" y="149"/>
                    <a:pt x="1489" y="151"/>
                    <a:pt x="1490" y="152"/>
                  </a:cubicBezTo>
                  <a:cubicBezTo>
                    <a:pt x="1493" y="168"/>
                    <a:pt x="1495" y="138"/>
                    <a:pt x="1502" y="140"/>
                  </a:cubicBezTo>
                  <a:cubicBezTo>
                    <a:pt x="1508" y="141"/>
                    <a:pt x="1521" y="166"/>
                    <a:pt x="1528" y="168"/>
                  </a:cubicBezTo>
                  <a:cubicBezTo>
                    <a:pt x="1529" y="168"/>
                    <a:pt x="1528" y="159"/>
                    <a:pt x="1528" y="159"/>
                  </a:cubicBezTo>
                  <a:cubicBezTo>
                    <a:pt x="1532" y="156"/>
                    <a:pt x="1522" y="157"/>
                    <a:pt x="1522" y="151"/>
                  </a:cubicBezTo>
                  <a:cubicBezTo>
                    <a:pt x="1523" y="148"/>
                    <a:pt x="1534" y="142"/>
                    <a:pt x="1538" y="140"/>
                  </a:cubicBezTo>
                  <a:cubicBezTo>
                    <a:pt x="1538" y="140"/>
                    <a:pt x="1540" y="139"/>
                    <a:pt x="1540" y="139"/>
                  </a:cubicBezTo>
                  <a:cubicBezTo>
                    <a:pt x="1542" y="140"/>
                    <a:pt x="1543" y="141"/>
                    <a:pt x="1541" y="142"/>
                  </a:cubicBezTo>
                  <a:cubicBezTo>
                    <a:pt x="1533" y="150"/>
                    <a:pt x="1544" y="143"/>
                    <a:pt x="1547" y="142"/>
                  </a:cubicBezTo>
                  <a:cubicBezTo>
                    <a:pt x="1553" y="141"/>
                    <a:pt x="1545" y="153"/>
                    <a:pt x="1551" y="153"/>
                  </a:cubicBezTo>
                  <a:cubicBezTo>
                    <a:pt x="1551" y="154"/>
                    <a:pt x="1564" y="132"/>
                    <a:pt x="1568" y="147"/>
                  </a:cubicBezTo>
                  <a:cubicBezTo>
                    <a:pt x="1569" y="150"/>
                    <a:pt x="1564" y="152"/>
                    <a:pt x="1563" y="154"/>
                  </a:cubicBezTo>
                  <a:cubicBezTo>
                    <a:pt x="1561" y="157"/>
                    <a:pt x="1569" y="164"/>
                    <a:pt x="1563" y="167"/>
                  </a:cubicBezTo>
                  <a:cubicBezTo>
                    <a:pt x="1563" y="167"/>
                    <a:pt x="1560" y="168"/>
                    <a:pt x="1561" y="169"/>
                  </a:cubicBezTo>
                  <a:cubicBezTo>
                    <a:pt x="1563" y="171"/>
                    <a:pt x="1573" y="169"/>
                    <a:pt x="1577" y="169"/>
                  </a:cubicBezTo>
                  <a:cubicBezTo>
                    <a:pt x="1580" y="170"/>
                    <a:pt x="1588" y="176"/>
                    <a:pt x="1589" y="171"/>
                  </a:cubicBezTo>
                  <a:cubicBezTo>
                    <a:pt x="1590" y="168"/>
                    <a:pt x="1556" y="166"/>
                    <a:pt x="1573" y="151"/>
                  </a:cubicBezTo>
                  <a:cubicBezTo>
                    <a:pt x="1573" y="151"/>
                    <a:pt x="1574" y="150"/>
                    <a:pt x="1574" y="150"/>
                  </a:cubicBezTo>
                  <a:cubicBezTo>
                    <a:pt x="1583" y="146"/>
                    <a:pt x="1591" y="157"/>
                    <a:pt x="1595" y="157"/>
                  </a:cubicBezTo>
                  <a:cubicBezTo>
                    <a:pt x="1598" y="156"/>
                    <a:pt x="1627" y="155"/>
                    <a:pt x="1627" y="160"/>
                  </a:cubicBezTo>
                  <a:cubicBezTo>
                    <a:pt x="1627" y="177"/>
                    <a:pt x="1565" y="178"/>
                    <a:pt x="1565" y="185"/>
                  </a:cubicBezTo>
                  <a:cubicBezTo>
                    <a:pt x="1565" y="185"/>
                    <a:pt x="1579" y="182"/>
                    <a:pt x="1581" y="182"/>
                  </a:cubicBezTo>
                  <a:cubicBezTo>
                    <a:pt x="1594" y="180"/>
                    <a:pt x="1613" y="180"/>
                    <a:pt x="1623" y="172"/>
                  </a:cubicBezTo>
                  <a:cubicBezTo>
                    <a:pt x="1625" y="171"/>
                    <a:pt x="1627" y="169"/>
                    <a:pt x="1629" y="169"/>
                  </a:cubicBezTo>
                  <a:cubicBezTo>
                    <a:pt x="1630" y="169"/>
                    <a:pt x="1630" y="169"/>
                    <a:pt x="1630" y="170"/>
                  </a:cubicBezTo>
                  <a:cubicBezTo>
                    <a:pt x="1631" y="172"/>
                    <a:pt x="1629" y="181"/>
                    <a:pt x="1630" y="186"/>
                  </a:cubicBezTo>
                  <a:cubicBezTo>
                    <a:pt x="1631" y="188"/>
                    <a:pt x="1644" y="184"/>
                    <a:pt x="1642" y="196"/>
                  </a:cubicBezTo>
                  <a:cubicBezTo>
                    <a:pt x="1642" y="197"/>
                    <a:pt x="1637" y="199"/>
                    <a:pt x="1638" y="200"/>
                  </a:cubicBezTo>
                  <a:cubicBezTo>
                    <a:pt x="1642" y="200"/>
                    <a:pt x="1652" y="190"/>
                    <a:pt x="1657" y="192"/>
                  </a:cubicBezTo>
                  <a:cubicBezTo>
                    <a:pt x="1661" y="193"/>
                    <a:pt x="1657" y="200"/>
                    <a:pt x="1657" y="200"/>
                  </a:cubicBezTo>
                  <a:cubicBezTo>
                    <a:pt x="1659" y="200"/>
                    <a:pt x="1662" y="197"/>
                    <a:pt x="1664" y="196"/>
                  </a:cubicBezTo>
                  <a:cubicBezTo>
                    <a:pt x="1696" y="186"/>
                    <a:pt x="1647" y="189"/>
                    <a:pt x="1644" y="177"/>
                  </a:cubicBezTo>
                  <a:cubicBezTo>
                    <a:pt x="1644" y="173"/>
                    <a:pt x="1668" y="176"/>
                    <a:pt x="1665" y="169"/>
                  </a:cubicBezTo>
                  <a:cubicBezTo>
                    <a:pt x="1664" y="167"/>
                    <a:pt x="1656" y="168"/>
                    <a:pt x="1656" y="165"/>
                  </a:cubicBezTo>
                  <a:cubicBezTo>
                    <a:pt x="1656" y="164"/>
                    <a:pt x="1671" y="161"/>
                    <a:pt x="1665" y="160"/>
                  </a:cubicBezTo>
                  <a:cubicBezTo>
                    <a:pt x="1663" y="160"/>
                    <a:pt x="1648" y="159"/>
                    <a:pt x="1650" y="157"/>
                  </a:cubicBezTo>
                  <a:cubicBezTo>
                    <a:pt x="1653" y="153"/>
                    <a:pt x="1676" y="155"/>
                    <a:pt x="1676" y="152"/>
                  </a:cubicBezTo>
                  <a:cubicBezTo>
                    <a:pt x="1676" y="149"/>
                    <a:pt x="1655" y="152"/>
                    <a:pt x="1656" y="150"/>
                  </a:cubicBezTo>
                  <a:cubicBezTo>
                    <a:pt x="1658" y="145"/>
                    <a:pt x="1684" y="145"/>
                    <a:pt x="1683" y="143"/>
                  </a:cubicBezTo>
                  <a:cubicBezTo>
                    <a:pt x="1683" y="142"/>
                    <a:pt x="1670" y="141"/>
                    <a:pt x="1670" y="141"/>
                  </a:cubicBezTo>
                  <a:cubicBezTo>
                    <a:pt x="1667" y="137"/>
                    <a:pt x="1705" y="113"/>
                    <a:pt x="1709" y="112"/>
                  </a:cubicBezTo>
                  <a:cubicBezTo>
                    <a:pt x="1717" y="110"/>
                    <a:pt x="1748" y="119"/>
                    <a:pt x="1750" y="118"/>
                  </a:cubicBezTo>
                  <a:cubicBezTo>
                    <a:pt x="1757" y="113"/>
                    <a:pt x="1727" y="113"/>
                    <a:pt x="1727" y="104"/>
                  </a:cubicBezTo>
                  <a:cubicBezTo>
                    <a:pt x="1727" y="100"/>
                    <a:pt x="1739" y="97"/>
                    <a:pt x="1741" y="94"/>
                  </a:cubicBezTo>
                  <a:cubicBezTo>
                    <a:pt x="1745" y="91"/>
                    <a:pt x="1741" y="80"/>
                    <a:pt x="1750" y="80"/>
                  </a:cubicBezTo>
                  <a:cubicBezTo>
                    <a:pt x="1751" y="80"/>
                    <a:pt x="1762" y="82"/>
                    <a:pt x="1763" y="84"/>
                  </a:cubicBezTo>
                  <a:cubicBezTo>
                    <a:pt x="1765" y="86"/>
                    <a:pt x="1787" y="99"/>
                    <a:pt x="1784" y="87"/>
                  </a:cubicBezTo>
                  <a:cubicBezTo>
                    <a:pt x="1780" y="75"/>
                    <a:pt x="1762" y="71"/>
                    <a:pt x="1750" y="68"/>
                  </a:cubicBezTo>
                  <a:cubicBezTo>
                    <a:pt x="1748" y="68"/>
                    <a:pt x="1739" y="69"/>
                    <a:pt x="1740" y="66"/>
                  </a:cubicBezTo>
                  <a:cubicBezTo>
                    <a:pt x="1745" y="34"/>
                    <a:pt x="1762" y="71"/>
                    <a:pt x="1775" y="66"/>
                  </a:cubicBezTo>
                  <a:cubicBezTo>
                    <a:pt x="1777" y="65"/>
                    <a:pt x="1773" y="55"/>
                    <a:pt x="1772" y="54"/>
                  </a:cubicBezTo>
                  <a:cubicBezTo>
                    <a:pt x="1771" y="51"/>
                    <a:pt x="1786" y="53"/>
                    <a:pt x="1781" y="50"/>
                  </a:cubicBezTo>
                  <a:cubicBezTo>
                    <a:pt x="1780" y="50"/>
                    <a:pt x="1772" y="47"/>
                    <a:pt x="1772" y="46"/>
                  </a:cubicBezTo>
                  <a:cubicBezTo>
                    <a:pt x="1773" y="45"/>
                    <a:pt x="1767" y="40"/>
                    <a:pt x="1771" y="39"/>
                  </a:cubicBezTo>
                  <a:cubicBezTo>
                    <a:pt x="1781" y="37"/>
                    <a:pt x="1771" y="34"/>
                    <a:pt x="1772" y="34"/>
                  </a:cubicBezTo>
                  <a:cubicBezTo>
                    <a:pt x="1786" y="27"/>
                    <a:pt x="1793" y="46"/>
                    <a:pt x="1793" y="46"/>
                  </a:cubicBezTo>
                  <a:cubicBezTo>
                    <a:pt x="1804" y="47"/>
                    <a:pt x="1808" y="29"/>
                    <a:pt x="1813" y="38"/>
                  </a:cubicBezTo>
                  <a:cubicBezTo>
                    <a:pt x="1817" y="43"/>
                    <a:pt x="1794" y="50"/>
                    <a:pt x="1800" y="52"/>
                  </a:cubicBezTo>
                  <a:cubicBezTo>
                    <a:pt x="1809" y="54"/>
                    <a:pt x="1821" y="43"/>
                    <a:pt x="1821" y="43"/>
                  </a:cubicBezTo>
                  <a:cubicBezTo>
                    <a:pt x="1825" y="46"/>
                    <a:pt x="1832" y="55"/>
                    <a:pt x="1830" y="61"/>
                  </a:cubicBezTo>
                  <a:cubicBezTo>
                    <a:pt x="1830" y="61"/>
                    <a:pt x="1828" y="64"/>
                    <a:pt x="1830" y="64"/>
                  </a:cubicBezTo>
                  <a:cubicBezTo>
                    <a:pt x="1849" y="64"/>
                    <a:pt x="1836" y="35"/>
                    <a:pt x="1839" y="35"/>
                  </a:cubicBezTo>
                  <a:cubicBezTo>
                    <a:pt x="1840" y="34"/>
                    <a:pt x="1842" y="35"/>
                    <a:pt x="1843" y="35"/>
                  </a:cubicBezTo>
                  <a:cubicBezTo>
                    <a:pt x="1862" y="44"/>
                    <a:pt x="1844" y="53"/>
                    <a:pt x="1847" y="55"/>
                  </a:cubicBezTo>
                  <a:cubicBezTo>
                    <a:pt x="1847" y="55"/>
                    <a:pt x="1847" y="56"/>
                    <a:pt x="1848" y="56"/>
                  </a:cubicBezTo>
                  <a:cubicBezTo>
                    <a:pt x="1850" y="57"/>
                    <a:pt x="1851" y="53"/>
                    <a:pt x="1852" y="52"/>
                  </a:cubicBezTo>
                  <a:cubicBezTo>
                    <a:pt x="1855" y="49"/>
                    <a:pt x="1866" y="47"/>
                    <a:pt x="1870" y="48"/>
                  </a:cubicBezTo>
                  <a:cubicBezTo>
                    <a:pt x="1871" y="48"/>
                    <a:pt x="1875" y="56"/>
                    <a:pt x="1877" y="52"/>
                  </a:cubicBezTo>
                  <a:cubicBezTo>
                    <a:pt x="1878" y="49"/>
                    <a:pt x="1886" y="44"/>
                    <a:pt x="1888" y="48"/>
                  </a:cubicBezTo>
                  <a:cubicBezTo>
                    <a:pt x="1891" y="54"/>
                    <a:pt x="1837" y="95"/>
                    <a:pt x="1822" y="104"/>
                  </a:cubicBezTo>
                  <a:cubicBezTo>
                    <a:pt x="1821" y="105"/>
                    <a:pt x="1815" y="108"/>
                    <a:pt x="1815" y="109"/>
                  </a:cubicBezTo>
                  <a:cubicBezTo>
                    <a:pt x="1816" y="112"/>
                    <a:pt x="1830" y="103"/>
                    <a:pt x="1833" y="109"/>
                  </a:cubicBezTo>
                  <a:cubicBezTo>
                    <a:pt x="1835" y="116"/>
                    <a:pt x="1813" y="112"/>
                    <a:pt x="1814" y="115"/>
                  </a:cubicBezTo>
                  <a:cubicBezTo>
                    <a:pt x="1815" y="121"/>
                    <a:pt x="1831" y="114"/>
                    <a:pt x="1832" y="118"/>
                  </a:cubicBezTo>
                  <a:cubicBezTo>
                    <a:pt x="1838" y="133"/>
                    <a:pt x="1814" y="124"/>
                    <a:pt x="1815" y="134"/>
                  </a:cubicBezTo>
                  <a:cubicBezTo>
                    <a:pt x="1815" y="138"/>
                    <a:pt x="1831" y="140"/>
                    <a:pt x="1821" y="144"/>
                  </a:cubicBezTo>
                  <a:cubicBezTo>
                    <a:pt x="1812" y="147"/>
                    <a:pt x="1790" y="176"/>
                    <a:pt x="1807" y="181"/>
                  </a:cubicBezTo>
                  <a:cubicBezTo>
                    <a:pt x="1810" y="182"/>
                    <a:pt x="1812" y="181"/>
                    <a:pt x="1811" y="178"/>
                  </a:cubicBezTo>
                  <a:cubicBezTo>
                    <a:pt x="1806" y="165"/>
                    <a:pt x="1813" y="170"/>
                    <a:pt x="1818" y="170"/>
                  </a:cubicBezTo>
                  <a:cubicBezTo>
                    <a:pt x="1821" y="170"/>
                    <a:pt x="1814" y="177"/>
                    <a:pt x="1816" y="178"/>
                  </a:cubicBezTo>
                  <a:cubicBezTo>
                    <a:pt x="1824" y="184"/>
                    <a:pt x="1847" y="154"/>
                    <a:pt x="1853" y="149"/>
                  </a:cubicBezTo>
                  <a:cubicBezTo>
                    <a:pt x="1862" y="139"/>
                    <a:pt x="1840" y="144"/>
                    <a:pt x="1847" y="135"/>
                  </a:cubicBezTo>
                  <a:cubicBezTo>
                    <a:pt x="1865" y="114"/>
                    <a:pt x="1894" y="93"/>
                    <a:pt x="1908" y="76"/>
                  </a:cubicBezTo>
                  <a:cubicBezTo>
                    <a:pt x="1908" y="76"/>
                    <a:pt x="1909" y="75"/>
                    <a:pt x="1909" y="74"/>
                  </a:cubicBezTo>
                  <a:cubicBezTo>
                    <a:pt x="1913" y="66"/>
                    <a:pt x="1921" y="63"/>
                    <a:pt x="1926" y="56"/>
                  </a:cubicBezTo>
                  <a:cubicBezTo>
                    <a:pt x="1928" y="53"/>
                    <a:pt x="1955" y="31"/>
                    <a:pt x="1958" y="37"/>
                  </a:cubicBezTo>
                  <a:cubicBezTo>
                    <a:pt x="1960" y="42"/>
                    <a:pt x="1961" y="71"/>
                    <a:pt x="1954" y="77"/>
                  </a:cubicBezTo>
                  <a:cubicBezTo>
                    <a:pt x="1951" y="80"/>
                    <a:pt x="1926" y="83"/>
                    <a:pt x="1927" y="88"/>
                  </a:cubicBezTo>
                  <a:cubicBezTo>
                    <a:pt x="1927" y="90"/>
                    <a:pt x="1935" y="87"/>
                    <a:pt x="1936" y="86"/>
                  </a:cubicBezTo>
                  <a:cubicBezTo>
                    <a:pt x="1940" y="85"/>
                    <a:pt x="1952" y="84"/>
                    <a:pt x="1954" y="88"/>
                  </a:cubicBezTo>
                  <a:cubicBezTo>
                    <a:pt x="1961" y="100"/>
                    <a:pt x="1936" y="119"/>
                    <a:pt x="1941" y="133"/>
                  </a:cubicBezTo>
                  <a:cubicBezTo>
                    <a:pt x="1944" y="140"/>
                    <a:pt x="1964" y="117"/>
                    <a:pt x="1967" y="114"/>
                  </a:cubicBezTo>
                  <a:cubicBezTo>
                    <a:pt x="1971" y="112"/>
                    <a:pt x="1993" y="121"/>
                    <a:pt x="1994" y="116"/>
                  </a:cubicBezTo>
                  <a:cubicBezTo>
                    <a:pt x="1995" y="112"/>
                    <a:pt x="1979" y="107"/>
                    <a:pt x="1983" y="100"/>
                  </a:cubicBezTo>
                  <a:cubicBezTo>
                    <a:pt x="1988" y="91"/>
                    <a:pt x="1993" y="95"/>
                    <a:pt x="2001" y="96"/>
                  </a:cubicBezTo>
                  <a:cubicBezTo>
                    <a:pt x="2002" y="96"/>
                    <a:pt x="2010" y="98"/>
                    <a:pt x="2009" y="97"/>
                  </a:cubicBezTo>
                  <a:cubicBezTo>
                    <a:pt x="2008" y="94"/>
                    <a:pt x="1993" y="90"/>
                    <a:pt x="1994" y="88"/>
                  </a:cubicBezTo>
                  <a:cubicBezTo>
                    <a:pt x="1996" y="79"/>
                    <a:pt x="1993" y="78"/>
                    <a:pt x="1997" y="72"/>
                  </a:cubicBezTo>
                  <a:cubicBezTo>
                    <a:pt x="2000" y="68"/>
                    <a:pt x="2012" y="74"/>
                    <a:pt x="2014" y="73"/>
                  </a:cubicBezTo>
                  <a:cubicBezTo>
                    <a:pt x="2017" y="70"/>
                    <a:pt x="2007" y="66"/>
                    <a:pt x="2013" y="59"/>
                  </a:cubicBezTo>
                  <a:cubicBezTo>
                    <a:pt x="2015" y="56"/>
                    <a:pt x="2029" y="61"/>
                    <a:pt x="2033" y="61"/>
                  </a:cubicBezTo>
                  <a:cubicBezTo>
                    <a:pt x="2036" y="61"/>
                    <a:pt x="2044" y="63"/>
                    <a:pt x="2041" y="62"/>
                  </a:cubicBezTo>
                  <a:cubicBezTo>
                    <a:pt x="2027" y="59"/>
                    <a:pt x="2027" y="52"/>
                    <a:pt x="2022" y="44"/>
                  </a:cubicBezTo>
                  <a:cubicBezTo>
                    <a:pt x="2021" y="43"/>
                    <a:pt x="2017" y="48"/>
                    <a:pt x="2016" y="49"/>
                  </a:cubicBezTo>
                  <a:cubicBezTo>
                    <a:pt x="2011" y="49"/>
                    <a:pt x="1998" y="49"/>
                    <a:pt x="1996" y="43"/>
                  </a:cubicBezTo>
                  <a:cubicBezTo>
                    <a:pt x="1991" y="28"/>
                    <a:pt x="2014" y="43"/>
                    <a:pt x="2016" y="40"/>
                  </a:cubicBezTo>
                  <a:cubicBezTo>
                    <a:pt x="2019" y="36"/>
                    <a:pt x="2004" y="31"/>
                    <a:pt x="2005" y="28"/>
                  </a:cubicBezTo>
                  <a:cubicBezTo>
                    <a:pt x="2006" y="12"/>
                    <a:pt x="2033" y="39"/>
                    <a:pt x="2035" y="38"/>
                  </a:cubicBezTo>
                  <a:cubicBezTo>
                    <a:pt x="2042" y="33"/>
                    <a:pt x="2021" y="19"/>
                    <a:pt x="2044" y="10"/>
                  </a:cubicBezTo>
                  <a:cubicBezTo>
                    <a:pt x="2047" y="8"/>
                    <a:pt x="2046" y="17"/>
                    <a:pt x="2047" y="20"/>
                  </a:cubicBezTo>
                  <a:cubicBezTo>
                    <a:pt x="2048" y="21"/>
                    <a:pt x="2061" y="24"/>
                    <a:pt x="2063" y="24"/>
                  </a:cubicBezTo>
                  <a:cubicBezTo>
                    <a:pt x="2071" y="27"/>
                    <a:pt x="2093" y="14"/>
                    <a:pt x="2096" y="18"/>
                  </a:cubicBezTo>
                  <a:cubicBezTo>
                    <a:pt x="2102" y="24"/>
                    <a:pt x="2087" y="30"/>
                    <a:pt x="2093" y="34"/>
                  </a:cubicBezTo>
                  <a:cubicBezTo>
                    <a:pt x="2098" y="37"/>
                    <a:pt x="2115" y="22"/>
                    <a:pt x="2123" y="34"/>
                  </a:cubicBezTo>
                  <a:cubicBezTo>
                    <a:pt x="2130" y="43"/>
                    <a:pt x="2109" y="48"/>
                    <a:pt x="2107" y="49"/>
                  </a:cubicBezTo>
                  <a:cubicBezTo>
                    <a:pt x="2106" y="50"/>
                    <a:pt x="2117" y="50"/>
                    <a:pt x="2113" y="53"/>
                  </a:cubicBezTo>
                  <a:cubicBezTo>
                    <a:pt x="2109" y="56"/>
                    <a:pt x="2097" y="55"/>
                    <a:pt x="2095" y="58"/>
                  </a:cubicBezTo>
                  <a:cubicBezTo>
                    <a:pt x="2093" y="59"/>
                    <a:pt x="2106" y="60"/>
                    <a:pt x="2097" y="64"/>
                  </a:cubicBezTo>
                  <a:cubicBezTo>
                    <a:pt x="2090" y="68"/>
                    <a:pt x="2056" y="58"/>
                    <a:pt x="2053" y="65"/>
                  </a:cubicBezTo>
                  <a:cubicBezTo>
                    <a:pt x="2053" y="66"/>
                    <a:pt x="2061" y="66"/>
                    <a:pt x="2059" y="68"/>
                  </a:cubicBezTo>
                  <a:cubicBezTo>
                    <a:pt x="2052" y="75"/>
                    <a:pt x="2057" y="70"/>
                    <a:pt x="2063" y="68"/>
                  </a:cubicBezTo>
                  <a:cubicBezTo>
                    <a:pt x="2069" y="67"/>
                    <a:pt x="2074" y="71"/>
                    <a:pt x="2080" y="71"/>
                  </a:cubicBezTo>
                  <a:cubicBezTo>
                    <a:pt x="2081" y="71"/>
                    <a:pt x="2086" y="72"/>
                    <a:pt x="2086" y="73"/>
                  </a:cubicBezTo>
                  <a:cubicBezTo>
                    <a:pt x="2086" y="78"/>
                    <a:pt x="2055" y="90"/>
                    <a:pt x="2050" y="92"/>
                  </a:cubicBezTo>
                  <a:cubicBezTo>
                    <a:pt x="2050" y="92"/>
                    <a:pt x="2043" y="93"/>
                    <a:pt x="2043" y="94"/>
                  </a:cubicBezTo>
                  <a:cubicBezTo>
                    <a:pt x="2046" y="100"/>
                    <a:pt x="2090" y="79"/>
                    <a:pt x="2096" y="77"/>
                  </a:cubicBezTo>
                  <a:cubicBezTo>
                    <a:pt x="2097" y="77"/>
                    <a:pt x="2100" y="74"/>
                    <a:pt x="2101" y="76"/>
                  </a:cubicBezTo>
                  <a:cubicBezTo>
                    <a:pt x="2114" y="95"/>
                    <a:pt x="2061" y="105"/>
                    <a:pt x="2061" y="114"/>
                  </a:cubicBezTo>
                  <a:cubicBezTo>
                    <a:pt x="2061" y="115"/>
                    <a:pt x="2063" y="117"/>
                    <a:pt x="2064" y="118"/>
                  </a:cubicBezTo>
                  <a:cubicBezTo>
                    <a:pt x="2065" y="127"/>
                    <a:pt x="2072" y="104"/>
                    <a:pt x="2090" y="110"/>
                  </a:cubicBezTo>
                  <a:cubicBezTo>
                    <a:pt x="2091" y="110"/>
                    <a:pt x="2083" y="115"/>
                    <a:pt x="2081" y="116"/>
                  </a:cubicBezTo>
                  <a:cubicBezTo>
                    <a:pt x="2080" y="117"/>
                    <a:pt x="2082" y="120"/>
                    <a:pt x="2084" y="121"/>
                  </a:cubicBezTo>
                  <a:cubicBezTo>
                    <a:pt x="2088" y="123"/>
                    <a:pt x="2096" y="103"/>
                    <a:pt x="2104" y="109"/>
                  </a:cubicBezTo>
                  <a:cubicBezTo>
                    <a:pt x="2105" y="109"/>
                    <a:pt x="2089" y="129"/>
                    <a:pt x="2088" y="132"/>
                  </a:cubicBezTo>
                  <a:cubicBezTo>
                    <a:pt x="2086" y="142"/>
                    <a:pt x="2093" y="160"/>
                    <a:pt x="2089" y="170"/>
                  </a:cubicBezTo>
                  <a:cubicBezTo>
                    <a:pt x="2086" y="176"/>
                    <a:pt x="2078" y="177"/>
                    <a:pt x="2076" y="180"/>
                  </a:cubicBezTo>
                  <a:cubicBezTo>
                    <a:pt x="2075" y="181"/>
                    <a:pt x="2083" y="180"/>
                    <a:pt x="2084" y="180"/>
                  </a:cubicBezTo>
                  <a:cubicBezTo>
                    <a:pt x="2088" y="177"/>
                    <a:pt x="2094" y="169"/>
                    <a:pt x="2095" y="164"/>
                  </a:cubicBezTo>
                  <a:cubicBezTo>
                    <a:pt x="2099" y="150"/>
                    <a:pt x="2088" y="124"/>
                    <a:pt x="2107" y="115"/>
                  </a:cubicBezTo>
                  <a:cubicBezTo>
                    <a:pt x="2116" y="110"/>
                    <a:pt x="2118" y="121"/>
                    <a:pt x="2120" y="120"/>
                  </a:cubicBezTo>
                  <a:cubicBezTo>
                    <a:pt x="2122" y="118"/>
                    <a:pt x="2118" y="114"/>
                    <a:pt x="2121" y="112"/>
                  </a:cubicBezTo>
                  <a:cubicBezTo>
                    <a:pt x="2121" y="112"/>
                    <a:pt x="2125" y="110"/>
                    <a:pt x="2124" y="110"/>
                  </a:cubicBezTo>
                  <a:cubicBezTo>
                    <a:pt x="2121" y="107"/>
                    <a:pt x="2112" y="109"/>
                    <a:pt x="2110" y="104"/>
                  </a:cubicBezTo>
                  <a:cubicBezTo>
                    <a:pt x="2109" y="103"/>
                    <a:pt x="2111" y="101"/>
                    <a:pt x="2112" y="100"/>
                  </a:cubicBezTo>
                  <a:cubicBezTo>
                    <a:pt x="2114" y="96"/>
                    <a:pt x="2116" y="85"/>
                    <a:pt x="2120" y="82"/>
                  </a:cubicBezTo>
                  <a:cubicBezTo>
                    <a:pt x="2122" y="80"/>
                    <a:pt x="2128" y="85"/>
                    <a:pt x="2130" y="83"/>
                  </a:cubicBezTo>
                  <a:cubicBezTo>
                    <a:pt x="2132" y="81"/>
                    <a:pt x="2120" y="79"/>
                    <a:pt x="2121" y="75"/>
                  </a:cubicBezTo>
                  <a:cubicBezTo>
                    <a:pt x="2123" y="67"/>
                    <a:pt x="2141" y="53"/>
                    <a:pt x="2148" y="50"/>
                  </a:cubicBezTo>
                  <a:cubicBezTo>
                    <a:pt x="2149" y="49"/>
                    <a:pt x="2150" y="49"/>
                    <a:pt x="2151" y="49"/>
                  </a:cubicBezTo>
                  <a:cubicBezTo>
                    <a:pt x="2159" y="48"/>
                    <a:pt x="2196" y="57"/>
                    <a:pt x="2200" y="65"/>
                  </a:cubicBezTo>
                  <a:cubicBezTo>
                    <a:pt x="2200" y="66"/>
                    <a:pt x="2196" y="69"/>
                    <a:pt x="2195" y="69"/>
                  </a:cubicBezTo>
                  <a:cubicBezTo>
                    <a:pt x="2189" y="74"/>
                    <a:pt x="2191" y="74"/>
                    <a:pt x="2199" y="73"/>
                  </a:cubicBezTo>
                  <a:cubicBezTo>
                    <a:pt x="2206" y="72"/>
                    <a:pt x="2190" y="76"/>
                    <a:pt x="2193" y="77"/>
                  </a:cubicBezTo>
                  <a:cubicBezTo>
                    <a:pt x="2194" y="77"/>
                    <a:pt x="2197" y="77"/>
                    <a:pt x="2196" y="79"/>
                  </a:cubicBezTo>
                  <a:cubicBezTo>
                    <a:pt x="2196" y="80"/>
                    <a:pt x="2185" y="82"/>
                    <a:pt x="2189" y="86"/>
                  </a:cubicBezTo>
                  <a:cubicBezTo>
                    <a:pt x="2191" y="87"/>
                    <a:pt x="2227" y="68"/>
                    <a:pt x="2233" y="73"/>
                  </a:cubicBezTo>
                  <a:cubicBezTo>
                    <a:pt x="2240" y="80"/>
                    <a:pt x="2223" y="90"/>
                    <a:pt x="2224" y="92"/>
                  </a:cubicBezTo>
                  <a:cubicBezTo>
                    <a:pt x="2227" y="99"/>
                    <a:pt x="2250" y="77"/>
                    <a:pt x="2252" y="77"/>
                  </a:cubicBezTo>
                  <a:cubicBezTo>
                    <a:pt x="2259" y="76"/>
                    <a:pt x="2261" y="77"/>
                    <a:pt x="2266" y="80"/>
                  </a:cubicBezTo>
                  <a:cubicBezTo>
                    <a:pt x="2278" y="86"/>
                    <a:pt x="2260" y="86"/>
                    <a:pt x="2262" y="88"/>
                  </a:cubicBezTo>
                  <a:cubicBezTo>
                    <a:pt x="2263" y="89"/>
                    <a:pt x="2272" y="88"/>
                    <a:pt x="2274" y="90"/>
                  </a:cubicBezTo>
                  <a:cubicBezTo>
                    <a:pt x="2276" y="90"/>
                    <a:pt x="2284" y="93"/>
                    <a:pt x="2284" y="95"/>
                  </a:cubicBezTo>
                  <a:cubicBezTo>
                    <a:pt x="2283" y="102"/>
                    <a:pt x="2272" y="107"/>
                    <a:pt x="2265" y="106"/>
                  </a:cubicBezTo>
                  <a:cubicBezTo>
                    <a:pt x="2263" y="106"/>
                    <a:pt x="2253" y="104"/>
                    <a:pt x="2253" y="105"/>
                  </a:cubicBezTo>
                  <a:cubicBezTo>
                    <a:pt x="2263" y="117"/>
                    <a:pt x="2283" y="100"/>
                    <a:pt x="2294" y="101"/>
                  </a:cubicBezTo>
                  <a:cubicBezTo>
                    <a:pt x="2297" y="102"/>
                    <a:pt x="2304" y="103"/>
                    <a:pt x="2306" y="104"/>
                  </a:cubicBezTo>
                  <a:cubicBezTo>
                    <a:pt x="2307" y="105"/>
                    <a:pt x="2307" y="106"/>
                    <a:pt x="2306" y="107"/>
                  </a:cubicBezTo>
                  <a:cubicBezTo>
                    <a:pt x="2302" y="110"/>
                    <a:pt x="2304" y="110"/>
                    <a:pt x="2309" y="112"/>
                  </a:cubicBezTo>
                  <a:cubicBezTo>
                    <a:pt x="2315" y="114"/>
                    <a:pt x="2320" y="124"/>
                    <a:pt x="2325" y="125"/>
                  </a:cubicBezTo>
                  <a:cubicBezTo>
                    <a:pt x="2326" y="125"/>
                    <a:pt x="2349" y="114"/>
                    <a:pt x="2348" y="133"/>
                  </a:cubicBezTo>
                  <a:cubicBezTo>
                    <a:pt x="2346" y="165"/>
                    <a:pt x="2320" y="138"/>
                    <a:pt x="2299" y="152"/>
                  </a:cubicBezTo>
                  <a:cubicBezTo>
                    <a:pt x="2289" y="159"/>
                    <a:pt x="2275" y="180"/>
                    <a:pt x="2267" y="180"/>
                  </a:cubicBezTo>
                  <a:cubicBezTo>
                    <a:pt x="2234" y="183"/>
                    <a:pt x="2198" y="175"/>
                    <a:pt x="2165" y="170"/>
                  </a:cubicBezTo>
                  <a:cubicBezTo>
                    <a:pt x="2155" y="169"/>
                    <a:pt x="2147" y="162"/>
                    <a:pt x="2136" y="162"/>
                  </a:cubicBezTo>
                  <a:cubicBezTo>
                    <a:pt x="2134" y="163"/>
                    <a:pt x="2129" y="163"/>
                    <a:pt x="2128" y="165"/>
                  </a:cubicBezTo>
                  <a:cubicBezTo>
                    <a:pt x="2127" y="166"/>
                    <a:pt x="2138" y="167"/>
                    <a:pt x="2139" y="168"/>
                  </a:cubicBezTo>
                  <a:cubicBezTo>
                    <a:pt x="2140" y="169"/>
                    <a:pt x="2116" y="179"/>
                    <a:pt x="2140" y="176"/>
                  </a:cubicBezTo>
                  <a:cubicBezTo>
                    <a:pt x="2140" y="176"/>
                    <a:pt x="2152" y="174"/>
                    <a:pt x="2150" y="176"/>
                  </a:cubicBezTo>
                  <a:cubicBezTo>
                    <a:pt x="2148" y="179"/>
                    <a:pt x="2143" y="178"/>
                    <a:pt x="2158" y="179"/>
                  </a:cubicBezTo>
                  <a:cubicBezTo>
                    <a:pt x="2165" y="180"/>
                    <a:pt x="2170" y="180"/>
                    <a:pt x="2176" y="182"/>
                  </a:cubicBezTo>
                  <a:cubicBezTo>
                    <a:pt x="2176" y="182"/>
                    <a:pt x="2176" y="183"/>
                    <a:pt x="2176" y="183"/>
                  </a:cubicBezTo>
                  <a:cubicBezTo>
                    <a:pt x="2174" y="186"/>
                    <a:pt x="2186" y="184"/>
                    <a:pt x="2177" y="188"/>
                  </a:cubicBezTo>
                  <a:cubicBezTo>
                    <a:pt x="2176" y="188"/>
                    <a:pt x="2174" y="189"/>
                    <a:pt x="2176" y="190"/>
                  </a:cubicBezTo>
                  <a:cubicBezTo>
                    <a:pt x="2182" y="193"/>
                    <a:pt x="2201" y="189"/>
                    <a:pt x="2209" y="191"/>
                  </a:cubicBezTo>
                  <a:cubicBezTo>
                    <a:pt x="2209" y="191"/>
                    <a:pt x="2209" y="191"/>
                    <a:pt x="2209" y="191"/>
                  </a:cubicBezTo>
                  <a:cubicBezTo>
                    <a:pt x="2211" y="193"/>
                    <a:pt x="2213" y="194"/>
                    <a:pt x="2216" y="194"/>
                  </a:cubicBezTo>
                  <a:cubicBezTo>
                    <a:pt x="2237" y="199"/>
                    <a:pt x="2203" y="202"/>
                    <a:pt x="2201" y="210"/>
                  </a:cubicBezTo>
                  <a:cubicBezTo>
                    <a:pt x="2201" y="212"/>
                    <a:pt x="2195" y="212"/>
                    <a:pt x="2196" y="214"/>
                  </a:cubicBezTo>
                  <a:cubicBezTo>
                    <a:pt x="2197" y="216"/>
                    <a:pt x="2202" y="215"/>
                    <a:pt x="2203" y="213"/>
                  </a:cubicBezTo>
                  <a:cubicBezTo>
                    <a:pt x="2211" y="198"/>
                    <a:pt x="2229" y="206"/>
                    <a:pt x="2232" y="217"/>
                  </a:cubicBezTo>
                  <a:cubicBezTo>
                    <a:pt x="2234" y="223"/>
                    <a:pt x="2212" y="238"/>
                    <a:pt x="2213" y="239"/>
                  </a:cubicBezTo>
                  <a:cubicBezTo>
                    <a:pt x="2213" y="240"/>
                    <a:pt x="2206" y="245"/>
                    <a:pt x="2207" y="246"/>
                  </a:cubicBezTo>
                  <a:cubicBezTo>
                    <a:pt x="2208" y="247"/>
                    <a:pt x="2211" y="244"/>
                    <a:pt x="2212" y="243"/>
                  </a:cubicBezTo>
                  <a:cubicBezTo>
                    <a:pt x="2224" y="232"/>
                    <a:pt x="2229" y="235"/>
                    <a:pt x="2245" y="235"/>
                  </a:cubicBezTo>
                  <a:cubicBezTo>
                    <a:pt x="2246" y="235"/>
                    <a:pt x="2256" y="224"/>
                    <a:pt x="2259" y="228"/>
                  </a:cubicBezTo>
                  <a:cubicBezTo>
                    <a:pt x="2261" y="232"/>
                    <a:pt x="2247" y="238"/>
                    <a:pt x="2247" y="240"/>
                  </a:cubicBezTo>
                  <a:cubicBezTo>
                    <a:pt x="2247" y="242"/>
                    <a:pt x="2249" y="238"/>
                    <a:pt x="2251" y="238"/>
                  </a:cubicBezTo>
                  <a:cubicBezTo>
                    <a:pt x="2255" y="236"/>
                    <a:pt x="2256" y="236"/>
                    <a:pt x="2259" y="233"/>
                  </a:cubicBezTo>
                  <a:cubicBezTo>
                    <a:pt x="2260" y="232"/>
                    <a:pt x="2262" y="237"/>
                    <a:pt x="2263" y="238"/>
                  </a:cubicBezTo>
                  <a:cubicBezTo>
                    <a:pt x="2274" y="249"/>
                    <a:pt x="2258" y="208"/>
                    <a:pt x="2279" y="210"/>
                  </a:cubicBezTo>
                  <a:cubicBezTo>
                    <a:pt x="2288" y="211"/>
                    <a:pt x="2268" y="219"/>
                    <a:pt x="2285" y="217"/>
                  </a:cubicBezTo>
                  <a:cubicBezTo>
                    <a:pt x="2290" y="216"/>
                    <a:pt x="2292" y="238"/>
                    <a:pt x="2289" y="242"/>
                  </a:cubicBezTo>
                  <a:cubicBezTo>
                    <a:pt x="2288" y="243"/>
                    <a:pt x="2280" y="244"/>
                    <a:pt x="2286" y="245"/>
                  </a:cubicBezTo>
                  <a:cubicBezTo>
                    <a:pt x="2302" y="246"/>
                    <a:pt x="2288" y="224"/>
                    <a:pt x="2293" y="221"/>
                  </a:cubicBezTo>
                  <a:cubicBezTo>
                    <a:pt x="2295" y="220"/>
                    <a:pt x="2311" y="222"/>
                    <a:pt x="2329" y="225"/>
                  </a:cubicBezTo>
                  <a:cubicBezTo>
                    <a:pt x="2334" y="234"/>
                    <a:pt x="2338" y="239"/>
                    <a:pt x="2338" y="248"/>
                  </a:cubicBezTo>
                  <a:cubicBezTo>
                    <a:pt x="2338" y="294"/>
                    <a:pt x="2275" y="240"/>
                    <a:pt x="2260" y="247"/>
                  </a:cubicBezTo>
                  <a:cubicBezTo>
                    <a:pt x="2258" y="248"/>
                    <a:pt x="2264" y="249"/>
                    <a:pt x="2266" y="250"/>
                  </a:cubicBezTo>
                  <a:cubicBezTo>
                    <a:pt x="2277" y="256"/>
                    <a:pt x="2260" y="271"/>
                    <a:pt x="2256" y="274"/>
                  </a:cubicBezTo>
                  <a:cubicBezTo>
                    <a:pt x="2240" y="284"/>
                    <a:pt x="2204" y="286"/>
                    <a:pt x="2192" y="300"/>
                  </a:cubicBezTo>
                  <a:cubicBezTo>
                    <a:pt x="2185" y="309"/>
                    <a:pt x="2192" y="353"/>
                    <a:pt x="2165" y="345"/>
                  </a:cubicBezTo>
                  <a:cubicBezTo>
                    <a:pt x="2163" y="344"/>
                    <a:pt x="2161" y="344"/>
                    <a:pt x="2159" y="343"/>
                  </a:cubicBezTo>
                  <a:cubicBezTo>
                    <a:pt x="2108" y="324"/>
                    <a:pt x="2194" y="286"/>
                    <a:pt x="2190" y="271"/>
                  </a:cubicBezTo>
                  <a:cubicBezTo>
                    <a:pt x="2179" y="222"/>
                    <a:pt x="2102" y="233"/>
                    <a:pt x="2069" y="180"/>
                  </a:cubicBezTo>
                  <a:cubicBezTo>
                    <a:pt x="2037" y="176"/>
                    <a:pt x="2028" y="194"/>
                    <a:pt x="2000" y="203"/>
                  </a:cubicBezTo>
                  <a:cubicBezTo>
                    <a:pt x="1981" y="209"/>
                    <a:pt x="1957" y="190"/>
                    <a:pt x="1938" y="202"/>
                  </a:cubicBezTo>
                  <a:cubicBezTo>
                    <a:pt x="1934" y="204"/>
                    <a:pt x="1899" y="234"/>
                    <a:pt x="1895" y="239"/>
                  </a:cubicBezTo>
                  <a:cubicBezTo>
                    <a:pt x="1892" y="241"/>
                    <a:pt x="1889" y="255"/>
                    <a:pt x="1883" y="263"/>
                  </a:cubicBezTo>
                  <a:cubicBezTo>
                    <a:pt x="1879" y="268"/>
                    <a:pt x="1884" y="283"/>
                    <a:pt x="1881" y="289"/>
                  </a:cubicBezTo>
                  <a:cubicBezTo>
                    <a:pt x="1877" y="300"/>
                    <a:pt x="1870" y="305"/>
                    <a:pt x="1871" y="319"/>
                  </a:cubicBezTo>
                  <a:cubicBezTo>
                    <a:pt x="1871" y="327"/>
                    <a:pt x="1881" y="339"/>
                    <a:pt x="1880" y="348"/>
                  </a:cubicBezTo>
                  <a:cubicBezTo>
                    <a:pt x="1876" y="368"/>
                    <a:pt x="1854" y="366"/>
                    <a:pt x="1841" y="369"/>
                  </a:cubicBezTo>
                  <a:cubicBezTo>
                    <a:pt x="1819" y="375"/>
                    <a:pt x="1827" y="398"/>
                    <a:pt x="1816" y="408"/>
                  </a:cubicBezTo>
                  <a:cubicBezTo>
                    <a:pt x="1810" y="414"/>
                    <a:pt x="1805" y="413"/>
                    <a:pt x="1800" y="419"/>
                  </a:cubicBezTo>
                  <a:cubicBezTo>
                    <a:pt x="1799" y="420"/>
                    <a:pt x="1782" y="402"/>
                    <a:pt x="1779" y="400"/>
                  </a:cubicBezTo>
                  <a:cubicBezTo>
                    <a:pt x="1770" y="396"/>
                    <a:pt x="1710" y="375"/>
                    <a:pt x="1705" y="377"/>
                  </a:cubicBezTo>
                  <a:cubicBezTo>
                    <a:pt x="1699" y="378"/>
                    <a:pt x="1696" y="392"/>
                    <a:pt x="1691" y="395"/>
                  </a:cubicBezTo>
                  <a:cubicBezTo>
                    <a:pt x="1686" y="399"/>
                    <a:pt x="1652" y="410"/>
                    <a:pt x="1647" y="408"/>
                  </a:cubicBezTo>
                  <a:cubicBezTo>
                    <a:pt x="1647" y="408"/>
                    <a:pt x="1635" y="398"/>
                    <a:pt x="1635" y="398"/>
                  </a:cubicBezTo>
                  <a:cubicBezTo>
                    <a:pt x="1622" y="392"/>
                    <a:pt x="1597" y="396"/>
                    <a:pt x="1583" y="396"/>
                  </a:cubicBezTo>
                  <a:cubicBezTo>
                    <a:pt x="1580" y="395"/>
                    <a:pt x="1577" y="397"/>
                    <a:pt x="1575" y="395"/>
                  </a:cubicBezTo>
                  <a:cubicBezTo>
                    <a:pt x="1571" y="390"/>
                    <a:pt x="1574" y="381"/>
                    <a:pt x="1571" y="374"/>
                  </a:cubicBezTo>
                  <a:cubicBezTo>
                    <a:pt x="1562" y="351"/>
                    <a:pt x="1503" y="294"/>
                    <a:pt x="1479" y="297"/>
                  </a:cubicBezTo>
                  <a:cubicBezTo>
                    <a:pt x="1471" y="299"/>
                    <a:pt x="1453" y="313"/>
                    <a:pt x="1453" y="321"/>
                  </a:cubicBezTo>
                  <a:cubicBezTo>
                    <a:pt x="1454" y="325"/>
                    <a:pt x="1467" y="342"/>
                    <a:pt x="1456" y="345"/>
                  </a:cubicBezTo>
                  <a:cubicBezTo>
                    <a:pt x="1452" y="346"/>
                    <a:pt x="1414" y="325"/>
                    <a:pt x="1413" y="340"/>
                  </a:cubicBezTo>
                  <a:cubicBezTo>
                    <a:pt x="1413" y="341"/>
                    <a:pt x="1415" y="341"/>
                    <a:pt x="1417" y="342"/>
                  </a:cubicBezTo>
                  <a:cubicBezTo>
                    <a:pt x="1413" y="342"/>
                    <a:pt x="1385" y="342"/>
                    <a:pt x="1381" y="342"/>
                  </a:cubicBezTo>
                  <a:cubicBezTo>
                    <a:pt x="1377" y="342"/>
                    <a:pt x="1373" y="340"/>
                    <a:pt x="1370" y="342"/>
                  </a:cubicBezTo>
                  <a:cubicBezTo>
                    <a:pt x="1368" y="344"/>
                    <a:pt x="1373" y="346"/>
                    <a:pt x="1375" y="347"/>
                  </a:cubicBezTo>
                  <a:cubicBezTo>
                    <a:pt x="1385" y="357"/>
                    <a:pt x="1396" y="369"/>
                    <a:pt x="1393" y="385"/>
                  </a:cubicBezTo>
                  <a:cubicBezTo>
                    <a:pt x="1389" y="397"/>
                    <a:pt x="1357" y="417"/>
                    <a:pt x="1357" y="421"/>
                  </a:cubicBezTo>
                  <a:cubicBezTo>
                    <a:pt x="1357" y="429"/>
                    <a:pt x="1389" y="424"/>
                    <a:pt x="1378" y="437"/>
                  </a:cubicBezTo>
                  <a:cubicBezTo>
                    <a:pt x="1378" y="437"/>
                    <a:pt x="1358" y="455"/>
                    <a:pt x="1355" y="456"/>
                  </a:cubicBezTo>
                  <a:cubicBezTo>
                    <a:pt x="1334" y="462"/>
                    <a:pt x="1212" y="407"/>
                    <a:pt x="1190" y="429"/>
                  </a:cubicBezTo>
                  <a:cubicBezTo>
                    <a:pt x="1179" y="441"/>
                    <a:pt x="1213" y="497"/>
                    <a:pt x="1173" y="516"/>
                  </a:cubicBezTo>
                  <a:cubicBezTo>
                    <a:pt x="1160" y="522"/>
                    <a:pt x="1131" y="490"/>
                    <a:pt x="1118" y="495"/>
                  </a:cubicBezTo>
                  <a:cubicBezTo>
                    <a:pt x="1117" y="495"/>
                    <a:pt x="1117" y="495"/>
                    <a:pt x="1117" y="495"/>
                  </a:cubicBezTo>
                  <a:cubicBezTo>
                    <a:pt x="1116" y="495"/>
                    <a:pt x="1115" y="495"/>
                    <a:pt x="1114" y="496"/>
                  </a:cubicBezTo>
                  <a:cubicBezTo>
                    <a:pt x="1113" y="496"/>
                    <a:pt x="1113" y="497"/>
                    <a:pt x="1113" y="497"/>
                  </a:cubicBezTo>
                  <a:cubicBezTo>
                    <a:pt x="1102" y="502"/>
                    <a:pt x="1074" y="518"/>
                    <a:pt x="1070" y="524"/>
                  </a:cubicBezTo>
                  <a:cubicBezTo>
                    <a:pt x="1058" y="540"/>
                    <a:pt x="1056" y="561"/>
                    <a:pt x="1043" y="578"/>
                  </a:cubicBezTo>
                  <a:cubicBezTo>
                    <a:pt x="1036" y="588"/>
                    <a:pt x="1015" y="583"/>
                    <a:pt x="1012" y="599"/>
                  </a:cubicBezTo>
                  <a:cubicBezTo>
                    <a:pt x="1010" y="613"/>
                    <a:pt x="1058" y="632"/>
                    <a:pt x="1036" y="661"/>
                  </a:cubicBezTo>
                  <a:cubicBezTo>
                    <a:pt x="1029" y="670"/>
                    <a:pt x="1014" y="674"/>
                    <a:pt x="1006" y="682"/>
                  </a:cubicBezTo>
                  <a:cubicBezTo>
                    <a:pt x="993" y="694"/>
                    <a:pt x="985" y="713"/>
                    <a:pt x="972" y="725"/>
                  </a:cubicBezTo>
                  <a:cubicBezTo>
                    <a:pt x="967" y="730"/>
                    <a:pt x="950" y="737"/>
                    <a:pt x="948" y="743"/>
                  </a:cubicBezTo>
                  <a:cubicBezTo>
                    <a:pt x="946" y="752"/>
                    <a:pt x="959" y="765"/>
                    <a:pt x="957" y="774"/>
                  </a:cubicBezTo>
                  <a:cubicBezTo>
                    <a:pt x="952" y="794"/>
                    <a:pt x="872" y="795"/>
                    <a:pt x="871" y="797"/>
                  </a:cubicBezTo>
                  <a:cubicBezTo>
                    <a:pt x="866" y="804"/>
                    <a:pt x="884" y="834"/>
                    <a:pt x="883" y="843"/>
                  </a:cubicBezTo>
                  <a:cubicBezTo>
                    <a:pt x="882" y="855"/>
                    <a:pt x="873" y="866"/>
                    <a:pt x="871" y="878"/>
                  </a:cubicBezTo>
                  <a:cubicBezTo>
                    <a:pt x="870" y="882"/>
                    <a:pt x="871" y="886"/>
                    <a:pt x="871" y="889"/>
                  </a:cubicBezTo>
                  <a:cubicBezTo>
                    <a:pt x="871" y="889"/>
                    <a:pt x="871" y="911"/>
                    <a:pt x="871" y="911"/>
                  </a:cubicBezTo>
                  <a:cubicBezTo>
                    <a:pt x="871" y="914"/>
                    <a:pt x="872" y="918"/>
                    <a:pt x="871" y="922"/>
                  </a:cubicBezTo>
                  <a:cubicBezTo>
                    <a:pt x="871" y="922"/>
                    <a:pt x="859" y="932"/>
                    <a:pt x="859" y="932"/>
                  </a:cubicBezTo>
                  <a:cubicBezTo>
                    <a:pt x="856" y="937"/>
                    <a:pt x="857" y="944"/>
                    <a:pt x="855" y="949"/>
                  </a:cubicBezTo>
                  <a:cubicBezTo>
                    <a:pt x="850" y="960"/>
                    <a:pt x="816" y="1000"/>
                    <a:pt x="803" y="1022"/>
                  </a:cubicBezTo>
                  <a:cubicBezTo>
                    <a:pt x="802" y="1022"/>
                    <a:pt x="801" y="1022"/>
                    <a:pt x="800" y="1023"/>
                  </a:cubicBezTo>
                  <a:cubicBezTo>
                    <a:pt x="800" y="1023"/>
                    <a:pt x="801" y="1024"/>
                    <a:pt x="801" y="1024"/>
                  </a:cubicBezTo>
                  <a:cubicBezTo>
                    <a:pt x="799" y="1029"/>
                    <a:pt x="797" y="1033"/>
                    <a:pt x="798" y="1035"/>
                  </a:cubicBezTo>
                  <a:cubicBezTo>
                    <a:pt x="813" y="1060"/>
                    <a:pt x="851" y="1030"/>
                    <a:pt x="840" y="1093"/>
                  </a:cubicBezTo>
                  <a:cubicBezTo>
                    <a:pt x="838" y="1100"/>
                    <a:pt x="836" y="1106"/>
                    <a:pt x="832" y="1109"/>
                  </a:cubicBezTo>
                  <a:cubicBezTo>
                    <a:pt x="825" y="1105"/>
                    <a:pt x="820" y="1101"/>
                    <a:pt x="820" y="1101"/>
                  </a:cubicBezTo>
                  <a:cubicBezTo>
                    <a:pt x="819" y="1099"/>
                    <a:pt x="812" y="1093"/>
                    <a:pt x="811" y="1095"/>
                  </a:cubicBezTo>
                  <a:cubicBezTo>
                    <a:pt x="809" y="1097"/>
                    <a:pt x="820" y="1105"/>
                    <a:pt x="830" y="1111"/>
                  </a:cubicBezTo>
                  <a:cubicBezTo>
                    <a:pt x="813" y="1124"/>
                    <a:pt x="780" y="1103"/>
                    <a:pt x="758" y="1105"/>
                  </a:cubicBezTo>
                  <a:cubicBezTo>
                    <a:pt x="752" y="1106"/>
                    <a:pt x="742" y="1110"/>
                    <a:pt x="731" y="1116"/>
                  </a:cubicBezTo>
                  <a:cubicBezTo>
                    <a:pt x="732" y="1102"/>
                    <a:pt x="726" y="1095"/>
                    <a:pt x="718" y="1099"/>
                  </a:cubicBezTo>
                  <a:cubicBezTo>
                    <a:pt x="718" y="1099"/>
                    <a:pt x="724" y="1107"/>
                    <a:pt x="725" y="1109"/>
                  </a:cubicBezTo>
                  <a:cubicBezTo>
                    <a:pt x="725" y="1111"/>
                    <a:pt x="726" y="1115"/>
                    <a:pt x="727" y="1118"/>
                  </a:cubicBezTo>
                  <a:cubicBezTo>
                    <a:pt x="725" y="1119"/>
                    <a:pt x="724" y="1120"/>
                    <a:pt x="722" y="1121"/>
                  </a:cubicBezTo>
                  <a:cubicBezTo>
                    <a:pt x="719" y="1120"/>
                    <a:pt x="716" y="1121"/>
                    <a:pt x="714" y="1124"/>
                  </a:cubicBezTo>
                  <a:cubicBezTo>
                    <a:pt x="714" y="1125"/>
                    <a:pt x="714" y="1125"/>
                    <a:pt x="714" y="1126"/>
                  </a:cubicBezTo>
                  <a:cubicBezTo>
                    <a:pt x="688" y="1143"/>
                    <a:pt x="661" y="1167"/>
                    <a:pt x="660" y="1182"/>
                  </a:cubicBezTo>
                  <a:cubicBezTo>
                    <a:pt x="660" y="1188"/>
                    <a:pt x="667" y="1192"/>
                    <a:pt x="666" y="1197"/>
                  </a:cubicBezTo>
                  <a:cubicBezTo>
                    <a:pt x="664" y="1208"/>
                    <a:pt x="643" y="1218"/>
                    <a:pt x="642" y="1229"/>
                  </a:cubicBezTo>
                  <a:cubicBezTo>
                    <a:pt x="642" y="1241"/>
                    <a:pt x="663" y="1254"/>
                    <a:pt x="663" y="1266"/>
                  </a:cubicBezTo>
                  <a:cubicBezTo>
                    <a:pt x="663" y="1266"/>
                    <a:pt x="651" y="1284"/>
                    <a:pt x="651" y="1284"/>
                  </a:cubicBezTo>
                  <a:cubicBezTo>
                    <a:pt x="649" y="1289"/>
                    <a:pt x="656" y="1300"/>
                    <a:pt x="656" y="1306"/>
                  </a:cubicBezTo>
                  <a:cubicBezTo>
                    <a:pt x="655" y="1312"/>
                    <a:pt x="648" y="1322"/>
                    <a:pt x="650" y="1328"/>
                  </a:cubicBezTo>
                  <a:cubicBezTo>
                    <a:pt x="653" y="1345"/>
                    <a:pt x="673" y="1359"/>
                    <a:pt x="675" y="1377"/>
                  </a:cubicBezTo>
                  <a:cubicBezTo>
                    <a:pt x="677" y="1401"/>
                    <a:pt x="652" y="1433"/>
                    <a:pt x="659" y="1455"/>
                  </a:cubicBezTo>
                  <a:cubicBezTo>
                    <a:pt x="666" y="1483"/>
                    <a:pt x="713" y="1480"/>
                    <a:pt x="724" y="1509"/>
                  </a:cubicBezTo>
                  <a:cubicBezTo>
                    <a:pt x="725" y="1512"/>
                    <a:pt x="709" y="1550"/>
                    <a:pt x="706" y="1552"/>
                  </a:cubicBezTo>
                  <a:cubicBezTo>
                    <a:pt x="698" y="1558"/>
                    <a:pt x="671" y="1550"/>
                    <a:pt x="669" y="1564"/>
                  </a:cubicBezTo>
                  <a:cubicBezTo>
                    <a:pt x="666" y="1587"/>
                    <a:pt x="702" y="1614"/>
                    <a:pt x="702" y="1639"/>
                  </a:cubicBezTo>
                  <a:cubicBezTo>
                    <a:pt x="702" y="1650"/>
                    <a:pt x="694" y="1653"/>
                    <a:pt x="691" y="1663"/>
                  </a:cubicBezTo>
                  <a:cubicBezTo>
                    <a:pt x="690" y="1665"/>
                    <a:pt x="691" y="1668"/>
                    <a:pt x="691" y="1671"/>
                  </a:cubicBezTo>
                  <a:cubicBezTo>
                    <a:pt x="691" y="1676"/>
                    <a:pt x="691" y="1681"/>
                    <a:pt x="691" y="1686"/>
                  </a:cubicBezTo>
                  <a:cubicBezTo>
                    <a:pt x="691" y="1689"/>
                    <a:pt x="692" y="1692"/>
                    <a:pt x="691" y="1694"/>
                  </a:cubicBezTo>
                  <a:cubicBezTo>
                    <a:pt x="688" y="1700"/>
                    <a:pt x="669" y="1718"/>
                    <a:pt x="663" y="1720"/>
                  </a:cubicBezTo>
                  <a:cubicBezTo>
                    <a:pt x="659" y="1722"/>
                    <a:pt x="632" y="1718"/>
                    <a:pt x="632" y="1728"/>
                  </a:cubicBezTo>
                  <a:cubicBezTo>
                    <a:pt x="632" y="1733"/>
                    <a:pt x="638" y="1737"/>
                    <a:pt x="638" y="1742"/>
                  </a:cubicBezTo>
                  <a:cubicBezTo>
                    <a:pt x="640" y="1758"/>
                    <a:pt x="623" y="1752"/>
                    <a:pt x="618" y="1763"/>
                  </a:cubicBezTo>
                  <a:cubicBezTo>
                    <a:pt x="615" y="1770"/>
                    <a:pt x="619" y="1783"/>
                    <a:pt x="623" y="1797"/>
                  </a:cubicBezTo>
                  <a:cubicBezTo>
                    <a:pt x="622" y="1797"/>
                    <a:pt x="622" y="1797"/>
                    <a:pt x="622" y="1797"/>
                  </a:cubicBezTo>
                  <a:cubicBezTo>
                    <a:pt x="621" y="1801"/>
                    <a:pt x="624" y="1807"/>
                    <a:pt x="627" y="1813"/>
                  </a:cubicBezTo>
                  <a:cubicBezTo>
                    <a:pt x="630" y="1831"/>
                    <a:pt x="630" y="1849"/>
                    <a:pt x="615" y="1861"/>
                  </a:cubicBezTo>
                  <a:cubicBezTo>
                    <a:pt x="601" y="1872"/>
                    <a:pt x="599" y="1861"/>
                    <a:pt x="597" y="1851"/>
                  </a:cubicBezTo>
                  <a:close/>
                  <a:moveTo>
                    <a:pt x="1736" y="255"/>
                  </a:moveTo>
                  <a:cubicBezTo>
                    <a:pt x="1736" y="255"/>
                    <a:pt x="1736" y="255"/>
                    <a:pt x="1736" y="255"/>
                  </a:cubicBezTo>
                  <a:cubicBezTo>
                    <a:pt x="1743" y="253"/>
                    <a:pt x="1755" y="240"/>
                    <a:pt x="1734" y="238"/>
                  </a:cubicBezTo>
                  <a:cubicBezTo>
                    <a:pt x="1723" y="237"/>
                    <a:pt x="1726" y="253"/>
                    <a:pt x="1736" y="255"/>
                  </a:cubicBezTo>
                  <a:close/>
                  <a:moveTo>
                    <a:pt x="1273" y="409"/>
                  </a:moveTo>
                  <a:cubicBezTo>
                    <a:pt x="1274" y="411"/>
                    <a:pt x="1281" y="413"/>
                    <a:pt x="1282" y="414"/>
                  </a:cubicBezTo>
                  <a:cubicBezTo>
                    <a:pt x="1305" y="425"/>
                    <a:pt x="1329" y="434"/>
                    <a:pt x="1349" y="450"/>
                  </a:cubicBezTo>
                  <a:cubicBezTo>
                    <a:pt x="1350" y="450"/>
                    <a:pt x="1352" y="450"/>
                    <a:pt x="1353" y="451"/>
                  </a:cubicBezTo>
                  <a:cubicBezTo>
                    <a:pt x="1356" y="449"/>
                    <a:pt x="1335" y="423"/>
                    <a:pt x="1300" y="419"/>
                  </a:cubicBezTo>
                  <a:cubicBezTo>
                    <a:pt x="1293" y="418"/>
                    <a:pt x="1288" y="415"/>
                    <a:pt x="1282" y="413"/>
                  </a:cubicBezTo>
                  <a:cubicBezTo>
                    <a:pt x="1279" y="411"/>
                    <a:pt x="1273" y="406"/>
                    <a:pt x="1273" y="409"/>
                  </a:cubicBezTo>
                  <a:close/>
                  <a:moveTo>
                    <a:pt x="842" y="713"/>
                  </a:moveTo>
                  <a:cubicBezTo>
                    <a:pt x="844" y="712"/>
                    <a:pt x="844" y="712"/>
                    <a:pt x="844" y="712"/>
                  </a:cubicBezTo>
                  <a:cubicBezTo>
                    <a:pt x="847" y="712"/>
                    <a:pt x="850" y="706"/>
                    <a:pt x="849" y="704"/>
                  </a:cubicBezTo>
                  <a:cubicBezTo>
                    <a:pt x="847" y="701"/>
                    <a:pt x="817" y="714"/>
                    <a:pt x="842" y="713"/>
                  </a:cubicBezTo>
                  <a:close/>
                  <a:moveTo>
                    <a:pt x="844" y="759"/>
                  </a:moveTo>
                  <a:cubicBezTo>
                    <a:pt x="845" y="759"/>
                    <a:pt x="850" y="760"/>
                    <a:pt x="850" y="758"/>
                  </a:cubicBezTo>
                  <a:cubicBezTo>
                    <a:pt x="849" y="756"/>
                    <a:pt x="834" y="758"/>
                    <a:pt x="832" y="757"/>
                  </a:cubicBezTo>
                  <a:cubicBezTo>
                    <a:pt x="829" y="757"/>
                    <a:pt x="814" y="748"/>
                    <a:pt x="812" y="751"/>
                  </a:cubicBezTo>
                  <a:cubicBezTo>
                    <a:pt x="809" y="756"/>
                    <a:pt x="823" y="754"/>
                    <a:pt x="826" y="758"/>
                  </a:cubicBezTo>
                  <a:cubicBezTo>
                    <a:pt x="827" y="759"/>
                    <a:pt x="827" y="759"/>
                    <a:pt x="827" y="759"/>
                  </a:cubicBezTo>
                  <a:cubicBezTo>
                    <a:pt x="828" y="768"/>
                    <a:pt x="834" y="760"/>
                    <a:pt x="844" y="759"/>
                  </a:cubicBezTo>
                  <a:close/>
                  <a:moveTo>
                    <a:pt x="807" y="865"/>
                  </a:moveTo>
                  <a:cubicBezTo>
                    <a:pt x="807" y="866"/>
                    <a:pt x="827" y="869"/>
                    <a:pt x="830" y="871"/>
                  </a:cubicBezTo>
                  <a:cubicBezTo>
                    <a:pt x="832" y="870"/>
                    <a:pt x="832" y="870"/>
                    <a:pt x="832" y="870"/>
                  </a:cubicBezTo>
                  <a:cubicBezTo>
                    <a:pt x="851" y="871"/>
                    <a:pt x="831" y="861"/>
                    <a:pt x="832" y="858"/>
                  </a:cubicBezTo>
                  <a:cubicBezTo>
                    <a:pt x="833" y="854"/>
                    <a:pt x="842" y="854"/>
                    <a:pt x="844" y="851"/>
                  </a:cubicBezTo>
                  <a:cubicBezTo>
                    <a:pt x="846" y="849"/>
                    <a:pt x="840" y="849"/>
                    <a:pt x="841" y="847"/>
                  </a:cubicBezTo>
                  <a:cubicBezTo>
                    <a:pt x="843" y="839"/>
                    <a:pt x="851" y="838"/>
                    <a:pt x="859" y="836"/>
                  </a:cubicBezTo>
                  <a:cubicBezTo>
                    <a:pt x="859" y="835"/>
                    <a:pt x="869" y="833"/>
                    <a:pt x="865" y="832"/>
                  </a:cubicBezTo>
                  <a:cubicBezTo>
                    <a:pt x="849" y="827"/>
                    <a:pt x="836" y="844"/>
                    <a:pt x="823" y="850"/>
                  </a:cubicBezTo>
                  <a:cubicBezTo>
                    <a:pt x="821" y="851"/>
                    <a:pt x="810" y="841"/>
                    <a:pt x="810" y="843"/>
                  </a:cubicBezTo>
                  <a:cubicBezTo>
                    <a:pt x="810" y="849"/>
                    <a:pt x="829" y="857"/>
                    <a:pt x="820" y="863"/>
                  </a:cubicBezTo>
                  <a:cubicBezTo>
                    <a:pt x="818" y="864"/>
                    <a:pt x="807" y="865"/>
                    <a:pt x="807" y="865"/>
                  </a:cubicBezTo>
                  <a:close/>
                  <a:moveTo>
                    <a:pt x="784" y="967"/>
                  </a:moveTo>
                  <a:cubicBezTo>
                    <a:pt x="786" y="971"/>
                    <a:pt x="781" y="972"/>
                    <a:pt x="785" y="976"/>
                  </a:cubicBezTo>
                  <a:cubicBezTo>
                    <a:pt x="784" y="976"/>
                    <a:pt x="784" y="976"/>
                    <a:pt x="784" y="976"/>
                  </a:cubicBezTo>
                  <a:cubicBezTo>
                    <a:pt x="788" y="982"/>
                    <a:pt x="796" y="968"/>
                    <a:pt x="803" y="969"/>
                  </a:cubicBezTo>
                  <a:cubicBezTo>
                    <a:pt x="803" y="969"/>
                    <a:pt x="811" y="969"/>
                    <a:pt x="810" y="968"/>
                  </a:cubicBezTo>
                  <a:cubicBezTo>
                    <a:pt x="805" y="960"/>
                    <a:pt x="797" y="969"/>
                    <a:pt x="789" y="969"/>
                  </a:cubicBezTo>
                  <a:cubicBezTo>
                    <a:pt x="788" y="969"/>
                    <a:pt x="781" y="961"/>
                    <a:pt x="780" y="961"/>
                  </a:cubicBezTo>
                  <a:cubicBezTo>
                    <a:pt x="779" y="963"/>
                    <a:pt x="784" y="966"/>
                    <a:pt x="784" y="967"/>
                  </a:cubicBezTo>
                  <a:close/>
                  <a:moveTo>
                    <a:pt x="774" y="992"/>
                  </a:moveTo>
                  <a:cubicBezTo>
                    <a:pt x="780" y="1000"/>
                    <a:pt x="791" y="1010"/>
                    <a:pt x="800" y="1015"/>
                  </a:cubicBezTo>
                  <a:cubicBezTo>
                    <a:pt x="800" y="1015"/>
                    <a:pt x="800" y="1015"/>
                    <a:pt x="800" y="1015"/>
                  </a:cubicBezTo>
                  <a:cubicBezTo>
                    <a:pt x="806" y="1017"/>
                    <a:pt x="805" y="1008"/>
                    <a:pt x="802" y="1007"/>
                  </a:cubicBezTo>
                  <a:cubicBezTo>
                    <a:pt x="784" y="1000"/>
                    <a:pt x="795" y="987"/>
                    <a:pt x="793" y="983"/>
                  </a:cubicBezTo>
                  <a:cubicBezTo>
                    <a:pt x="792" y="981"/>
                    <a:pt x="785" y="978"/>
                    <a:pt x="783" y="980"/>
                  </a:cubicBezTo>
                  <a:cubicBezTo>
                    <a:pt x="781" y="981"/>
                    <a:pt x="779" y="979"/>
                    <a:pt x="778" y="981"/>
                  </a:cubicBezTo>
                  <a:cubicBezTo>
                    <a:pt x="777" y="983"/>
                    <a:pt x="785" y="984"/>
                    <a:pt x="785" y="984"/>
                  </a:cubicBezTo>
                  <a:cubicBezTo>
                    <a:pt x="789" y="987"/>
                    <a:pt x="771" y="988"/>
                    <a:pt x="774" y="992"/>
                  </a:cubicBezTo>
                  <a:close/>
                  <a:moveTo>
                    <a:pt x="754" y="1021"/>
                  </a:moveTo>
                  <a:cubicBezTo>
                    <a:pt x="754" y="1021"/>
                    <a:pt x="754" y="1021"/>
                    <a:pt x="754" y="1021"/>
                  </a:cubicBezTo>
                  <a:cubicBezTo>
                    <a:pt x="760" y="1023"/>
                    <a:pt x="766" y="1015"/>
                    <a:pt x="769" y="1015"/>
                  </a:cubicBezTo>
                  <a:cubicBezTo>
                    <a:pt x="775" y="1014"/>
                    <a:pt x="804" y="1023"/>
                    <a:pt x="788" y="1014"/>
                  </a:cubicBezTo>
                  <a:cubicBezTo>
                    <a:pt x="776" y="1007"/>
                    <a:pt x="762" y="995"/>
                    <a:pt x="757" y="1017"/>
                  </a:cubicBezTo>
                  <a:cubicBezTo>
                    <a:pt x="756" y="1020"/>
                    <a:pt x="752" y="1016"/>
                    <a:pt x="754" y="1021"/>
                  </a:cubicBezTo>
                  <a:close/>
                  <a:moveTo>
                    <a:pt x="641" y="1537"/>
                  </a:moveTo>
                  <a:cubicBezTo>
                    <a:pt x="638" y="1532"/>
                    <a:pt x="634" y="1521"/>
                    <a:pt x="629" y="1519"/>
                  </a:cubicBezTo>
                  <a:cubicBezTo>
                    <a:pt x="629" y="1519"/>
                    <a:pt x="629" y="1519"/>
                    <a:pt x="629" y="1519"/>
                  </a:cubicBezTo>
                  <a:cubicBezTo>
                    <a:pt x="620" y="1514"/>
                    <a:pt x="643" y="1545"/>
                    <a:pt x="645" y="1544"/>
                  </a:cubicBezTo>
                  <a:cubicBezTo>
                    <a:pt x="646" y="1544"/>
                    <a:pt x="641" y="1538"/>
                    <a:pt x="641" y="1537"/>
                  </a:cubicBezTo>
                  <a:close/>
                  <a:moveTo>
                    <a:pt x="640" y="1372"/>
                  </a:moveTo>
                  <a:cubicBezTo>
                    <a:pt x="636" y="1394"/>
                    <a:pt x="625" y="1390"/>
                    <a:pt x="622" y="1399"/>
                  </a:cubicBezTo>
                  <a:cubicBezTo>
                    <a:pt x="622" y="1401"/>
                    <a:pt x="623" y="1402"/>
                    <a:pt x="624" y="1403"/>
                  </a:cubicBezTo>
                  <a:cubicBezTo>
                    <a:pt x="632" y="1409"/>
                    <a:pt x="642" y="1426"/>
                    <a:pt x="641" y="1425"/>
                  </a:cubicBezTo>
                  <a:cubicBezTo>
                    <a:pt x="641" y="1424"/>
                    <a:pt x="639" y="1418"/>
                    <a:pt x="639" y="1417"/>
                  </a:cubicBezTo>
                  <a:cubicBezTo>
                    <a:pt x="639" y="1416"/>
                    <a:pt x="639" y="1416"/>
                    <a:pt x="639" y="1416"/>
                  </a:cubicBezTo>
                  <a:cubicBezTo>
                    <a:pt x="642" y="1401"/>
                    <a:pt x="647" y="1360"/>
                    <a:pt x="644" y="1357"/>
                  </a:cubicBezTo>
                  <a:cubicBezTo>
                    <a:pt x="635" y="1348"/>
                    <a:pt x="641" y="1366"/>
                    <a:pt x="640" y="1372"/>
                  </a:cubicBezTo>
                  <a:close/>
                  <a:moveTo>
                    <a:pt x="609" y="1115"/>
                  </a:moveTo>
                  <a:cubicBezTo>
                    <a:pt x="609" y="1116"/>
                    <a:pt x="609" y="1115"/>
                    <a:pt x="610" y="1115"/>
                  </a:cubicBezTo>
                  <a:cubicBezTo>
                    <a:pt x="619" y="1115"/>
                    <a:pt x="613" y="1104"/>
                    <a:pt x="624" y="1102"/>
                  </a:cubicBezTo>
                  <a:cubicBezTo>
                    <a:pt x="645" y="1097"/>
                    <a:pt x="661" y="1092"/>
                    <a:pt x="679" y="1084"/>
                  </a:cubicBezTo>
                  <a:cubicBezTo>
                    <a:pt x="680" y="1084"/>
                    <a:pt x="680" y="1083"/>
                    <a:pt x="680" y="1082"/>
                  </a:cubicBezTo>
                  <a:cubicBezTo>
                    <a:pt x="678" y="1080"/>
                    <a:pt x="610" y="1102"/>
                    <a:pt x="613" y="1106"/>
                  </a:cubicBezTo>
                  <a:cubicBezTo>
                    <a:pt x="615" y="1108"/>
                    <a:pt x="611" y="1113"/>
                    <a:pt x="610" y="1114"/>
                  </a:cubicBezTo>
                  <a:cubicBezTo>
                    <a:pt x="609" y="1115"/>
                    <a:pt x="609" y="1115"/>
                    <a:pt x="609" y="1115"/>
                  </a:cubicBezTo>
                  <a:cubicBezTo>
                    <a:pt x="609" y="1115"/>
                    <a:pt x="609" y="1115"/>
                    <a:pt x="609" y="1115"/>
                  </a:cubicBezTo>
                  <a:close/>
                  <a:moveTo>
                    <a:pt x="622" y="1662"/>
                  </a:moveTo>
                  <a:cubicBezTo>
                    <a:pt x="623" y="1663"/>
                    <a:pt x="618" y="1651"/>
                    <a:pt x="615" y="1646"/>
                  </a:cubicBezTo>
                  <a:cubicBezTo>
                    <a:pt x="615" y="1646"/>
                    <a:pt x="615" y="1646"/>
                    <a:pt x="615" y="1646"/>
                  </a:cubicBezTo>
                  <a:cubicBezTo>
                    <a:pt x="612" y="1641"/>
                    <a:pt x="615" y="1653"/>
                    <a:pt x="610" y="1652"/>
                  </a:cubicBezTo>
                  <a:cubicBezTo>
                    <a:pt x="602" y="1650"/>
                    <a:pt x="622" y="1662"/>
                    <a:pt x="622" y="1662"/>
                  </a:cubicBezTo>
                  <a:close/>
                  <a:moveTo>
                    <a:pt x="314" y="1848"/>
                  </a:moveTo>
                  <a:cubicBezTo>
                    <a:pt x="314" y="1834"/>
                    <a:pt x="302" y="1838"/>
                    <a:pt x="297" y="1829"/>
                  </a:cubicBezTo>
                  <a:cubicBezTo>
                    <a:pt x="286" y="1809"/>
                    <a:pt x="307" y="1852"/>
                    <a:pt x="314" y="1849"/>
                  </a:cubicBezTo>
                  <a:lnTo>
                    <a:pt x="314" y="1848"/>
                  </a:lnTo>
                  <a:close/>
                  <a:moveTo>
                    <a:pt x="318" y="1734"/>
                  </a:moveTo>
                  <a:cubicBezTo>
                    <a:pt x="314" y="1727"/>
                    <a:pt x="301" y="1728"/>
                    <a:pt x="296" y="1725"/>
                  </a:cubicBezTo>
                  <a:cubicBezTo>
                    <a:pt x="290" y="1722"/>
                    <a:pt x="301" y="1717"/>
                    <a:pt x="293" y="1713"/>
                  </a:cubicBezTo>
                  <a:cubicBezTo>
                    <a:pt x="288" y="1709"/>
                    <a:pt x="278" y="1707"/>
                    <a:pt x="291" y="1713"/>
                  </a:cubicBezTo>
                  <a:cubicBezTo>
                    <a:pt x="292" y="1713"/>
                    <a:pt x="292" y="1713"/>
                    <a:pt x="292" y="1713"/>
                  </a:cubicBezTo>
                  <a:cubicBezTo>
                    <a:pt x="292" y="1713"/>
                    <a:pt x="292" y="1713"/>
                    <a:pt x="293" y="1713"/>
                  </a:cubicBezTo>
                  <a:cubicBezTo>
                    <a:pt x="293" y="1714"/>
                    <a:pt x="294" y="1715"/>
                    <a:pt x="294" y="1716"/>
                  </a:cubicBezTo>
                  <a:cubicBezTo>
                    <a:pt x="295" y="1720"/>
                    <a:pt x="291" y="1726"/>
                    <a:pt x="292" y="1730"/>
                  </a:cubicBezTo>
                  <a:cubicBezTo>
                    <a:pt x="292" y="1733"/>
                    <a:pt x="300" y="1737"/>
                    <a:pt x="303" y="1738"/>
                  </a:cubicBezTo>
                  <a:cubicBezTo>
                    <a:pt x="305" y="1739"/>
                    <a:pt x="312" y="1742"/>
                    <a:pt x="310" y="1740"/>
                  </a:cubicBezTo>
                  <a:cubicBezTo>
                    <a:pt x="309" y="1739"/>
                    <a:pt x="296" y="1732"/>
                    <a:pt x="300" y="1729"/>
                  </a:cubicBezTo>
                  <a:cubicBezTo>
                    <a:pt x="300" y="1728"/>
                    <a:pt x="318" y="1734"/>
                    <a:pt x="318" y="1734"/>
                  </a:cubicBezTo>
                  <a:close/>
                  <a:moveTo>
                    <a:pt x="333" y="1804"/>
                  </a:moveTo>
                  <a:cubicBezTo>
                    <a:pt x="333" y="1804"/>
                    <a:pt x="333" y="1804"/>
                    <a:pt x="333" y="1804"/>
                  </a:cubicBezTo>
                  <a:cubicBezTo>
                    <a:pt x="327" y="1800"/>
                    <a:pt x="330" y="1848"/>
                    <a:pt x="335" y="1847"/>
                  </a:cubicBezTo>
                  <a:cubicBezTo>
                    <a:pt x="335" y="1847"/>
                    <a:pt x="334" y="1806"/>
                    <a:pt x="333" y="1804"/>
                  </a:cubicBezTo>
                  <a:close/>
                  <a:moveTo>
                    <a:pt x="397" y="1512"/>
                  </a:moveTo>
                  <a:cubicBezTo>
                    <a:pt x="397" y="1510"/>
                    <a:pt x="403" y="1512"/>
                    <a:pt x="403" y="1511"/>
                  </a:cubicBezTo>
                  <a:cubicBezTo>
                    <a:pt x="400" y="1505"/>
                    <a:pt x="386" y="1510"/>
                    <a:pt x="381" y="1512"/>
                  </a:cubicBezTo>
                  <a:cubicBezTo>
                    <a:pt x="380" y="1512"/>
                    <a:pt x="380" y="1512"/>
                    <a:pt x="380" y="1512"/>
                  </a:cubicBezTo>
                  <a:cubicBezTo>
                    <a:pt x="369" y="1520"/>
                    <a:pt x="352" y="1511"/>
                    <a:pt x="338" y="1511"/>
                  </a:cubicBezTo>
                  <a:cubicBezTo>
                    <a:pt x="334" y="1510"/>
                    <a:pt x="329" y="1510"/>
                    <a:pt x="325" y="1509"/>
                  </a:cubicBezTo>
                  <a:cubicBezTo>
                    <a:pt x="323" y="1508"/>
                    <a:pt x="316" y="1506"/>
                    <a:pt x="318" y="1508"/>
                  </a:cubicBezTo>
                  <a:cubicBezTo>
                    <a:pt x="330" y="1519"/>
                    <a:pt x="372" y="1519"/>
                    <a:pt x="381" y="1513"/>
                  </a:cubicBezTo>
                  <a:cubicBezTo>
                    <a:pt x="386" y="1510"/>
                    <a:pt x="397" y="1517"/>
                    <a:pt x="397" y="1512"/>
                  </a:cubicBezTo>
                  <a:close/>
                  <a:moveTo>
                    <a:pt x="425" y="1821"/>
                  </a:moveTo>
                  <a:cubicBezTo>
                    <a:pt x="421" y="1814"/>
                    <a:pt x="401" y="1805"/>
                    <a:pt x="402" y="1797"/>
                  </a:cubicBezTo>
                  <a:cubicBezTo>
                    <a:pt x="402" y="1797"/>
                    <a:pt x="402" y="1797"/>
                    <a:pt x="402" y="1797"/>
                  </a:cubicBezTo>
                  <a:cubicBezTo>
                    <a:pt x="402" y="1794"/>
                    <a:pt x="392" y="1795"/>
                    <a:pt x="395" y="1800"/>
                  </a:cubicBezTo>
                  <a:cubicBezTo>
                    <a:pt x="399" y="1806"/>
                    <a:pt x="408" y="1809"/>
                    <a:pt x="412" y="1814"/>
                  </a:cubicBezTo>
                  <a:cubicBezTo>
                    <a:pt x="416" y="1817"/>
                    <a:pt x="426" y="1826"/>
                    <a:pt x="425" y="1821"/>
                  </a:cubicBezTo>
                  <a:close/>
                  <a:moveTo>
                    <a:pt x="515" y="1230"/>
                  </a:moveTo>
                  <a:cubicBezTo>
                    <a:pt x="516" y="1231"/>
                    <a:pt x="520" y="1229"/>
                    <a:pt x="521" y="1229"/>
                  </a:cubicBezTo>
                  <a:cubicBezTo>
                    <a:pt x="526" y="1228"/>
                    <a:pt x="564" y="1238"/>
                    <a:pt x="562" y="1231"/>
                  </a:cubicBezTo>
                  <a:cubicBezTo>
                    <a:pt x="560" y="1228"/>
                    <a:pt x="569" y="1231"/>
                    <a:pt x="566" y="1228"/>
                  </a:cubicBezTo>
                  <a:cubicBezTo>
                    <a:pt x="565" y="1227"/>
                    <a:pt x="565" y="1227"/>
                    <a:pt x="565" y="1227"/>
                  </a:cubicBezTo>
                  <a:cubicBezTo>
                    <a:pt x="557" y="1225"/>
                    <a:pt x="531" y="1226"/>
                    <a:pt x="522" y="1227"/>
                  </a:cubicBezTo>
                  <a:cubicBezTo>
                    <a:pt x="521" y="1227"/>
                    <a:pt x="514" y="1228"/>
                    <a:pt x="515" y="1230"/>
                  </a:cubicBezTo>
                  <a:close/>
                  <a:moveTo>
                    <a:pt x="492" y="1706"/>
                  </a:moveTo>
                  <a:cubicBezTo>
                    <a:pt x="492" y="1705"/>
                    <a:pt x="501" y="1689"/>
                    <a:pt x="499" y="1689"/>
                  </a:cubicBezTo>
                  <a:cubicBezTo>
                    <a:pt x="495" y="1690"/>
                    <a:pt x="497" y="1698"/>
                    <a:pt x="494" y="1698"/>
                  </a:cubicBezTo>
                  <a:cubicBezTo>
                    <a:pt x="483" y="1701"/>
                    <a:pt x="483" y="1677"/>
                    <a:pt x="470" y="1707"/>
                  </a:cubicBezTo>
                  <a:cubicBezTo>
                    <a:pt x="469" y="1708"/>
                    <a:pt x="469" y="1709"/>
                    <a:pt x="469" y="1710"/>
                  </a:cubicBezTo>
                  <a:cubicBezTo>
                    <a:pt x="470" y="1711"/>
                    <a:pt x="476" y="1705"/>
                    <a:pt x="477" y="1704"/>
                  </a:cubicBezTo>
                  <a:cubicBezTo>
                    <a:pt x="488" y="1701"/>
                    <a:pt x="503" y="1729"/>
                    <a:pt x="497" y="1714"/>
                  </a:cubicBezTo>
                  <a:cubicBezTo>
                    <a:pt x="496" y="1711"/>
                    <a:pt x="494" y="1709"/>
                    <a:pt x="493" y="1706"/>
                  </a:cubicBezTo>
                  <a:lnTo>
                    <a:pt x="492" y="1706"/>
                  </a:lnTo>
                  <a:close/>
                  <a:moveTo>
                    <a:pt x="509" y="1639"/>
                  </a:moveTo>
                  <a:cubicBezTo>
                    <a:pt x="507" y="1634"/>
                    <a:pt x="499" y="1631"/>
                    <a:pt x="499" y="1630"/>
                  </a:cubicBezTo>
                  <a:cubicBezTo>
                    <a:pt x="498" y="1627"/>
                    <a:pt x="498" y="1623"/>
                    <a:pt x="498" y="1620"/>
                  </a:cubicBezTo>
                  <a:cubicBezTo>
                    <a:pt x="498" y="1620"/>
                    <a:pt x="498" y="1620"/>
                    <a:pt x="498" y="1620"/>
                  </a:cubicBezTo>
                  <a:cubicBezTo>
                    <a:pt x="500" y="1618"/>
                    <a:pt x="500" y="1616"/>
                    <a:pt x="500" y="1615"/>
                  </a:cubicBezTo>
                  <a:cubicBezTo>
                    <a:pt x="500" y="1615"/>
                    <a:pt x="500" y="1614"/>
                    <a:pt x="500" y="1614"/>
                  </a:cubicBezTo>
                  <a:cubicBezTo>
                    <a:pt x="500" y="1612"/>
                    <a:pt x="499" y="1611"/>
                    <a:pt x="498" y="1609"/>
                  </a:cubicBezTo>
                  <a:cubicBezTo>
                    <a:pt x="498" y="1603"/>
                    <a:pt x="496" y="1597"/>
                    <a:pt x="488" y="1592"/>
                  </a:cubicBezTo>
                  <a:cubicBezTo>
                    <a:pt x="487" y="1592"/>
                    <a:pt x="487" y="1592"/>
                    <a:pt x="487" y="1592"/>
                  </a:cubicBezTo>
                  <a:cubicBezTo>
                    <a:pt x="476" y="1590"/>
                    <a:pt x="492" y="1600"/>
                    <a:pt x="498" y="1609"/>
                  </a:cubicBezTo>
                  <a:cubicBezTo>
                    <a:pt x="498" y="1613"/>
                    <a:pt x="498" y="1616"/>
                    <a:pt x="498" y="1620"/>
                  </a:cubicBezTo>
                  <a:cubicBezTo>
                    <a:pt x="490" y="1627"/>
                    <a:pt x="503" y="1634"/>
                    <a:pt x="504" y="1640"/>
                  </a:cubicBezTo>
                  <a:cubicBezTo>
                    <a:pt x="504" y="1645"/>
                    <a:pt x="495" y="1669"/>
                    <a:pt x="505" y="1670"/>
                  </a:cubicBezTo>
                  <a:cubicBezTo>
                    <a:pt x="506" y="1670"/>
                    <a:pt x="506" y="1670"/>
                    <a:pt x="507" y="1670"/>
                  </a:cubicBezTo>
                  <a:cubicBezTo>
                    <a:pt x="509" y="1668"/>
                    <a:pt x="503" y="1663"/>
                    <a:pt x="503" y="1660"/>
                  </a:cubicBezTo>
                  <a:cubicBezTo>
                    <a:pt x="504" y="1653"/>
                    <a:pt x="509" y="1650"/>
                    <a:pt x="512" y="1645"/>
                  </a:cubicBezTo>
                  <a:cubicBezTo>
                    <a:pt x="513" y="1643"/>
                    <a:pt x="509" y="1641"/>
                    <a:pt x="509" y="1639"/>
                  </a:cubicBezTo>
                  <a:close/>
                  <a:moveTo>
                    <a:pt x="568" y="1667"/>
                  </a:moveTo>
                  <a:cubicBezTo>
                    <a:pt x="575" y="1667"/>
                    <a:pt x="563" y="1658"/>
                    <a:pt x="565" y="1651"/>
                  </a:cubicBezTo>
                  <a:cubicBezTo>
                    <a:pt x="565" y="1649"/>
                    <a:pt x="566" y="1648"/>
                    <a:pt x="565" y="1649"/>
                  </a:cubicBezTo>
                  <a:cubicBezTo>
                    <a:pt x="565" y="1649"/>
                    <a:pt x="565" y="1649"/>
                    <a:pt x="565" y="1649"/>
                  </a:cubicBezTo>
                  <a:cubicBezTo>
                    <a:pt x="565" y="1650"/>
                    <a:pt x="565" y="1650"/>
                    <a:pt x="565" y="1651"/>
                  </a:cubicBezTo>
                  <a:cubicBezTo>
                    <a:pt x="562" y="1656"/>
                    <a:pt x="558" y="1667"/>
                    <a:pt x="568" y="1667"/>
                  </a:cubicBezTo>
                  <a:close/>
                  <a:moveTo>
                    <a:pt x="566" y="1714"/>
                  </a:moveTo>
                  <a:cubicBezTo>
                    <a:pt x="566" y="1714"/>
                    <a:pt x="566" y="1714"/>
                    <a:pt x="566" y="1714"/>
                  </a:cubicBezTo>
                  <a:cubicBezTo>
                    <a:pt x="560" y="1709"/>
                    <a:pt x="566" y="1718"/>
                    <a:pt x="567" y="1720"/>
                  </a:cubicBezTo>
                  <a:cubicBezTo>
                    <a:pt x="574" y="1730"/>
                    <a:pt x="577" y="1740"/>
                    <a:pt x="578" y="1754"/>
                  </a:cubicBezTo>
                  <a:cubicBezTo>
                    <a:pt x="578" y="1756"/>
                    <a:pt x="578" y="1759"/>
                    <a:pt x="581" y="1758"/>
                  </a:cubicBezTo>
                  <a:cubicBezTo>
                    <a:pt x="591" y="1754"/>
                    <a:pt x="569" y="1718"/>
                    <a:pt x="566" y="1714"/>
                  </a:cubicBezTo>
                  <a:close/>
                  <a:moveTo>
                    <a:pt x="584" y="1621"/>
                  </a:moveTo>
                  <a:cubicBezTo>
                    <a:pt x="583" y="1616"/>
                    <a:pt x="582" y="1625"/>
                    <a:pt x="577" y="1621"/>
                  </a:cubicBezTo>
                  <a:cubicBezTo>
                    <a:pt x="560" y="1610"/>
                    <a:pt x="572" y="1582"/>
                    <a:pt x="548" y="1578"/>
                  </a:cubicBezTo>
                  <a:cubicBezTo>
                    <a:pt x="547" y="1578"/>
                    <a:pt x="565" y="1600"/>
                    <a:pt x="546" y="1597"/>
                  </a:cubicBezTo>
                  <a:cubicBezTo>
                    <a:pt x="529" y="1594"/>
                    <a:pt x="534" y="1573"/>
                    <a:pt x="519" y="1562"/>
                  </a:cubicBezTo>
                  <a:cubicBezTo>
                    <a:pt x="519" y="1562"/>
                    <a:pt x="519" y="1562"/>
                    <a:pt x="519" y="1562"/>
                  </a:cubicBezTo>
                  <a:cubicBezTo>
                    <a:pt x="511" y="1558"/>
                    <a:pt x="509" y="1552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8" y="1546"/>
                    <a:pt x="508" y="1545"/>
                    <a:pt x="508" y="1545"/>
                  </a:cubicBezTo>
                  <a:cubicBezTo>
                    <a:pt x="508" y="1545"/>
                    <a:pt x="508" y="1547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9" y="1549"/>
                    <a:pt x="508" y="1551"/>
                    <a:pt x="508" y="1552"/>
                  </a:cubicBezTo>
                  <a:cubicBezTo>
                    <a:pt x="505" y="1561"/>
                    <a:pt x="521" y="1566"/>
                    <a:pt x="527" y="1573"/>
                  </a:cubicBezTo>
                  <a:cubicBezTo>
                    <a:pt x="533" y="1580"/>
                    <a:pt x="527" y="1590"/>
                    <a:pt x="534" y="1595"/>
                  </a:cubicBezTo>
                  <a:cubicBezTo>
                    <a:pt x="544" y="1604"/>
                    <a:pt x="557" y="1608"/>
                    <a:pt x="567" y="1616"/>
                  </a:cubicBezTo>
                  <a:cubicBezTo>
                    <a:pt x="576" y="1623"/>
                    <a:pt x="570" y="1632"/>
                    <a:pt x="575" y="1640"/>
                  </a:cubicBezTo>
                  <a:cubicBezTo>
                    <a:pt x="576" y="1642"/>
                    <a:pt x="577" y="1650"/>
                    <a:pt x="579" y="1648"/>
                  </a:cubicBezTo>
                  <a:cubicBezTo>
                    <a:pt x="581" y="1647"/>
                    <a:pt x="579" y="1636"/>
                    <a:pt x="579" y="1633"/>
                  </a:cubicBezTo>
                  <a:cubicBezTo>
                    <a:pt x="579" y="1629"/>
                    <a:pt x="585" y="1624"/>
                    <a:pt x="584" y="1621"/>
                  </a:cubicBezTo>
                  <a:close/>
                  <a:moveTo>
                    <a:pt x="585" y="1492"/>
                  </a:moveTo>
                  <a:cubicBezTo>
                    <a:pt x="580" y="1482"/>
                    <a:pt x="583" y="1474"/>
                    <a:pt x="579" y="1464"/>
                  </a:cubicBezTo>
                  <a:cubicBezTo>
                    <a:pt x="579" y="1464"/>
                    <a:pt x="579" y="1464"/>
                    <a:pt x="579" y="1464"/>
                  </a:cubicBezTo>
                  <a:cubicBezTo>
                    <a:pt x="577" y="1461"/>
                    <a:pt x="578" y="1504"/>
                    <a:pt x="589" y="1504"/>
                  </a:cubicBezTo>
                  <a:cubicBezTo>
                    <a:pt x="593" y="1504"/>
                    <a:pt x="586" y="1493"/>
                    <a:pt x="585" y="1492"/>
                  </a:cubicBezTo>
                  <a:close/>
                  <a:moveTo>
                    <a:pt x="38" y="1632"/>
                  </a:moveTo>
                  <a:cubicBezTo>
                    <a:pt x="46" y="1625"/>
                    <a:pt x="17" y="1619"/>
                    <a:pt x="16" y="1619"/>
                  </a:cubicBezTo>
                  <a:cubicBezTo>
                    <a:pt x="16" y="1619"/>
                    <a:pt x="16" y="1619"/>
                    <a:pt x="16" y="1619"/>
                  </a:cubicBezTo>
                  <a:cubicBezTo>
                    <a:pt x="12" y="1618"/>
                    <a:pt x="33" y="1636"/>
                    <a:pt x="38" y="1632"/>
                  </a:cubicBezTo>
                  <a:close/>
                  <a:moveTo>
                    <a:pt x="168" y="1435"/>
                  </a:moveTo>
                  <a:cubicBezTo>
                    <a:pt x="164" y="1435"/>
                    <a:pt x="163" y="1438"/>
                    <a:pt x="161" y="1440"/>
                  </a:cubicBezTo>
                  <a:cubicBezTo>
                    <a:pt x="164" y="1439"/>
                    <a:pt x="167" y="1436"/>
                    <a:pt x="171" y="1435"/>
                  </a:cubicBezTo>
                  <a:cubicBezTo>
                    <a:pt x="170" y="1435"/>
                    <a:pt x="169" y="1435"/>
                    <a:pt x="168" y="1435"/>
                  </a:cubicBezTo>
                  <a:close/>
                  <a:moveTo>
                    <a:pt x="31" y="1620"/>
                  </a:moveTo>
                  <a:cubicBezTo>
                    <a:pt x="34" y="1617"/>
                    <a:pt x="9" y="1598"/>
                    <a:pt x="7" y="1597"/>
                  </a:cubicBezTo>
                  <a:cubicBezTo>
                    <a:pt x="6" y="1597"/>
                    <a:pt x="6" y="1597"/>
                    <a:pt x="6" y="1597"/>
                  </a:cubicBezTo>
                  <a:cubicBezTo>
                    <a:pt x="0" y="1595"/>
                    <a:pt x="24" y="1625"/>
                    <a:pt x="31" y="1620"/>
                  </a:cubicBezTo>
                  <a:close/>
                  <a:moveTo>
                    <a:pt x="20" y="1628"/>
                  </a:moveTo>
                  <a:cubicBezTo>
                    <a:pt x="16" y="1626"/>
                    <a:pt x="22" y="1638"/>
                    <a:pt x="24" y="1635"/>
                  </a:cubicBezTo>
                  <a:cubicBezTo>
                    <a:pt x="26" y="1633"/>
                    <a:pt x="31" y="1653"/>
                    <a:pt x="39" y="1648"/>
                  </a:cubicBezTo>
                  <a:cubicBezTo>
                    <a:pt x="50" y="1641"/>
                    <a:pt x="22" y="1630"/>
                    <a:pt x="20" y="1628"/>
                  </a:cubicBezTo>
                  <a:close/>
                  <a:moveTo>
                    <a:pt x="130" y="1797"/>
                  </a:moveTo>
                  <a:cubicBezTo>
                    <a:pt x="130" y="1797"/>
                    <a:pt x="130" y="1797"/>
                    <a:pt x="130" y="1798"/>
                  </a:cubicBezTo>
                  <a:cubicBezTo>
                    <a:pt x="130" y="1798"/>
                    <a:pt x="130" y="1798"/>
                    <a:pt x="130" y="1798"/>
                  </a:cubicBezTo>
                  <a:cubicBezTo>
                    <a:pt x="130" y="1797"/>
                    <a:pt x="130" y="1797"/>
                    <a:pt x="130" y="1797"/>
                  </a:cubicBezTo>
                  <a:close/>
                  <a:moveTo>
                    <a:pt x="60" y="1703"/>
                  </a:moveTo>
                  <a:cubicBezTo>
                    <a:pt x="61" y="1700"/>
                    <a:pt x="59" y="1695"/>
                    <a:pt x="57" y="1694"/>
                  </a:cubicBezTo>
                  <a:cubicBezTo>
                    <a:pt x="57" y="1694"/>
                    <a:pt x="57" y="1694"/>
                    <a:pt x="57" y="1694"/>
                  </a:cubicBezTo>
                  <a:cubicBezTo>
                    <a:pt x="49" y="1693"/>
                    <a:pt x="56" y="1713"/>
                    <a:pt x="60" y="1703"/>
                  </a:cubicBezTo>
                  <a:close/>
                  <a:moveTo>
                    <a:pt x="57" y="1814"/>
                  </a:moveTo>
                  <a:cubicBezTo>
                    <a:pt x="57" y="1814"/>
                    <a:pt x="57" y="1814"/>
                    <a:pt x="57" y="1814"/>
                  </a:cubicBezTo>
                  <a:cubicBezTo>
                    <a:pt x="56" y="1814"/>
                    <a:pt x="52" y="1830"/>
                    <a:pt x="61" y="1825"/>
                  </a:cubicBezTo>
                  <a:cubicBezTo>
                    <a:pt x="65" y="1823"/>
                    <a:pt x="59" y="1816"/>
                    <a:pt x="57" y="1814"/>
                  </a:cubicBezTo>
                  <a:close/>
                  <a:moveTo>
                    <a:pt x="42" y="1791"/>
                  </a:moveTo>
                  <a:cubicBezTo>
                    <a:pt x="40" y="1789"/>
                    <a:pt x="40" y="1791"/>
                    <a:pt x="40" y="1793"/>
                  </a:cubicBezTo>
                  <a:cubicBezTo>
                    <a:pt x="41" y="1808"/>
                    <a:pt x="40" y="1807"/>
                    <a:pt x="38" y="1826"/>
                  </a:cubicBezTo>
                  <a:cubicBezTo>
                    <a:pt x="38" y="1827"/>
                    <a:pt x="38" y="1828"/>
                    <a:pt x="38" y="1828"/>
                  </a:cubicBezTo>
                  <a:cubicBezTo>
                    <a:pt x="55" y="1835"/>
                    <a:pt x="50" y="1797"/>
                    <a:pt x="42" y="1791"/>
                  </a:cubicBezTo>
                  <a:close/>
                  <a:moveTo>
                    <a:pt x="50" y="1716"/>
                  </a:moveTo>
                  <a:cubicBezTo>
                    <a:pt x="41" y="1730"/>
                    <a:pt x="61" y="1742"/>
                    <a:pt x="62" y="1741"/>
                  </a:cubicBezTo>
                  <a:cubicBezTo>
                    <a:pt x="76" y="1737"/>
                    <a:pt x="64" y="1715"/>
                    <a:pt x="55" y="1711"/>
                  </a:cubicBezTo>
                  <a:cubicBezTo>
                    <a:pt x="55" y="1711"/>
                    <a:pt x="55" y="1711"/>
                    <a:pt x="55" y="1711"/>
                  </a:cubicBezTo>
                  <a:cubicBezTo>
                    <a:pt x="55" y="1709"/>
                    <a:pt x="51" y="1714"/>
                    <a:pt x="50" y="1716"/>
                  </a:cubicBezTo>
                  <a:close/>
                  <a:moveTo>
                    <a:pt x="581" y="991"/>
                  </a:moveTo>
                  <a:cubicBezTo>
                    <a:pt x="582" y="990"/>
                    <a:pt x="582" y="989"/>
                    <a:pt x="582" y="988"/>
                  </a:cubicBezTo>
                  <a:cubicBezTo>
                    <a:pt x="581" y="989"/>
                    <a:pt x="581" y="990"/>
                    <a:pt x="581" y="991"/>
                  </a:cubicBezTo>
                  <a:close/>
                  <a:moveTo>
                    <a:pt x="912" y="635"/>
                  </a:moveTo>
                  <a:cubicBezTo>
                    <a:pt x="913" y="635"/>
                    <a:pt x="913" y="635"/>
                    <a:pt x="914" y="634"/>
                  </a:cubicBezTo>
                  <a:cubicBezTo>
                    <a:pt x="913" y="635"/>
                    <a:pt x="913" y="635"/>
                    <a:pt x="912" y="635"/>
                  </a:cubicBezTo>
                  <a:close/>
                  <a:moveTo>
                    <a:pt x="582" y="988"/>
                  </a:moveTo>
                  <a:cubicBezTo>
                    <a:pt x="582" y="987"/>
                    <a:pt x="583" y="987"/>
                    <a:pt x="583" y="986"/>
                  </a:cubicBezTo>
                  <a:cubicBezTo>
                    <a:pt x="583" y="985"/>
                    <a:pt x="577" y="984"/>
                    <a:pt x="576" y="983"/>
                  </a:cubicBezTo>
                  <a:cubicBezTo>
                    <a:pt x="567" y="969"/>
                    <a:pt x="538" y="997"/>
                    <a:pt x="551" y="992"/>
                  </a:cubicBezTo>
                  <a:cubicBezTo>
                    <a:pt x="553" y="990"/>
                    <a:pt x="556" y="988"/>
                    <a:pt x="558" y="987"/>
                  </a:cubicBezTo>
                  <a:cubicBezTo>
                    <a:pt x="559" y="986"/>
                    <a:pt x="559" y="986"/>
                    <a:pt x="559" y="986"/>
                  </a:cubicBezTo>
                  <a:cubicBezTo>
                    <a:pt x="560" y="985"/>
                    <a:pt x="561" y="985"/>
                    <a:pt x="563" y="986"/>
                  </a:cubicBezTo>
                  <a:cubicBezTo>
                    <a:pt x="569" y="992"/>
                    <a:pt x="577" y="995"/>
                    <a:pt x="581" y="991"/>
                  </a:cubicBezTo>
                  <a:cubicBezTo>
                    <a:pt x="581" y="990"/>
                    <a:pt x="581" y="989"/>
                    <a:pt x="582" y="988"/>
                  </a:cubicBezTo>
                  <a:close/>
                  <a:moveTo>
                    <a:pt x="780" y="729"/>
                  </a:moveTo>
                  <a:cubicBezTo>
                    <a:pt x="781" y="728"/>
                    <a:pt x="783" y="727"/>
                    <a:pt x="784" y="727"/>
                  </a:cubicBezTo>
                  <a:cubicBezTo>
                    <a:pt x="782" y="727"/>
                    <a:pt x="781" y="728"/>
                    <a:pt x="780" y="729"/>
                  </a:cubicBezTo>
                  <a:close/>
                  <a:moveTo>
                    <a:pt x="491" y="1220"/>
                  </a:moveTo>
                  <a:cubicBezTo>
                    <a:pt x="490" y="1220"/>
                    <a:pt x="489" y="1220"/>
                    <a:pt x="488" y="1220"/>
                  </a:cubicBezTo>
                  <a:cubicBezTo>
                    <a:pt x="490" y="1221"/>
                    <a:pt x="491" y="1221"/>
                    <a:pt x="492" y="1222"/>
                  </a:cubicBezTo>
                  <a:cubicBezTo>
                    <a:pt x="492" y="1221"/>
                    <a:pt x="491" y="1220"/>
                    <a:pt x="491" y="1220"/>
                  </a:cubicBezTo>
                  <a:close/>
                  <a:moveTo>
                    <a:pt x="546" y="1064"/>
                  </a:move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lose/>
                  <a:moveTo>
                    <a:pt x="56" y="1708"/>
                  </a:moveTo>
                  <a:cubicBezTo>
                    <a:pt x="56" y="1714"/>
                    <a:pt x="67" y="1713"/>
                    <a:pt x="67" y="1713"/>
                  </a:cubicBezTo>
                  <a:cubicBezTo>
                    <a:pt x="75" y="1727"/>
                    <a:pt x="79" y="1717"/>
                    <a:pt x="83" y="1706"/>
                  </a:cubicBezTo>
                  <a:cubicBezTo>
                    <a:pt x="83" y="1705"/>
                    <a:pt x="83" y="1705"/>
                    <a:pt x="83" y="1705"/>
                  </a:cubicBezTo>
                  <a:cubicBezTo>
                    <a:pt x="84" y="1683"/>
                    <a:pt x="63" y="1706"/>
                    <a:pt x="60" y="1706"/>
                  </a:cubicBezTo>
                  <a:cubicBezTo>
                    <a:pt x="59" y="1706"/>
                    <a:pt x="56" y="1706"/>
                    <a:pt x="56" y="1708"/>
                  </a:cubicBezTo>
                  <a:close/>
                  <a:moveTo>
                    <a:pt x="610" y="982"/>
                  </a:moveTo>
                  <a:cubicBezTo>
                    <a:pt x="609" y="983"/>
                    <a:pt x="606" y="983"/>
                    <a:pt x="603" y="983"/>
                  </a:cubicBezTo>
                  <a:cubicBezTo>
                    <a:pt x="605" y="984"/>
                    <a:pt x="608" y="983"/>
                    <a:pt x="610" y="982"/>
                  </a:cubicBezTo>
                  <a:close/>
                  <a:moveTo>
                    <a:pt x="42" y="1762"/>
                  </a:moveTo>
                  <a:cubicBezTo>
                    <a:pt x="45" y="1755"/>
                    <a:pt x="31" y="1748"/>
                    <a:pt x="43" y="1742"/>
                  </a:cubicBezTo>
                  <a:cubicBezTo>
                    <a:pt x="52" y="1737"/>
                    <a:pt x="48" y="1748"/>
                    <a:pt x="48" y="1751"/>
                  </a:cubicBezTo>
                  <a:cubicBezTo>
                    <a:pt x="48" y="1754"/>
                    <a:pt x="53" y="1750"/>
                    <a:pt x="54" y="1749"/>
                  </a:cubicBezTo>
                  <a:cubicBezTo>
                    <a:pt x="57" y="1747"/>
                    <a:pt x="49" y="1739"/>
                    <a:pt x="48" y="1736"/>
                  </a:cubicBezTo>
                  <a:cubicBezTo>
                    <a:pt x="47" y="1732"/>
                    <a:pt x="40" y="1730"/>
                    <a:pt x="38" y="1725"/>
                  </a:cubicBezTo>
                  <a:cubicBezTo>
                    <a:pt x="38" y="1725"/>
                    <a:pt x="38" y="1725"/>
                    <a:pt x="38" y="1725"/>
                  </a:cubicBezTo>
                  <a:cubicBezTo>
                    <a:pt x="36" y="1724"/>
                    <a:pt x="39" y="1730"/>
                    <a:pt x="37" y="1731"/>
                  </a:cubicBezTo>
                  <a:cubicBezTo>
                    <a:pt x="23" y="1742"/>
                    <a:pt x="44" y="1734"/>
                    <a:pt x="35" y="1750"/>
                  </a:cubicBezTo>
                  <a:cubicBezTo>
                    <a:pt x="33" y="1754"/>
                    <a:pt x="35" y="1763"/>
                    <a:pt x="37" y="1766"/>
                  </a:cubicBezTo>
                  <a:cubicBezTo>
                    <a:pt x="38" y="1767"/>
                    <a:pt x="42" y="1763"/>
                    <a:pt x="42" y="1762"/>
                  </a:cubicBezTo>
                  <a:close/>
                  <a:moveTo>
                    <a:pt x="346" y="1178"/>
                  </a:moveTo>
                  <a:cubicBezTo>
                    <a:pt x="345" y="1178"/>
                    <a:pt x="340" y="1177"/>
                    <a:pt x="340" y="1180"/>
                  </a:cubicBezTo>
                  <a:cubicBezTo>
                    <a:pt x="340" y="1182"/>
                    <a:pt x="356" y="1183"/>
                    <a:pt x="356" y="1185"/>
                  </a:cubicBezTo>
                  <a:cubicBezTo>
                    <a:pt x="356" y="1187"/>
                    <a:pt x="350" y="1185"/>
                    <a:pt x="350" y="1185"/>
                  </a:cubicBezTo>
                  <a:cubicBezTo>
                    <a:pt x="339" y="1183"/>
                    <a:pt x="316" y="1187"/>
                    <a:pt x="317" y="1202"/>
                  </a:cubicBezTo>
                  <a:cubicBezTo>
                    <a:pt x="317" y="1210"/>
                    <a:pt x="354" y="1199"/>
                    <a:pt x="363" y="1197"/>
                  </a:cubicBezTo>
                  <a:cubicBezTo>
                    <a:pt x="373" y="1196"/>
                    <a:pt x="386" y="1195"/>
                    <a:pt x="393" y="1187"/>
                  </a:cubicBezTo>
                  <a:cubicBezTo>
                    <a:pt x="394" y="1187"/>
                    <a:pt x="394" y="1187"/>
                    <a:pt x="394" y="1187"/>
                  </a:cubicBezTo>
                  <a:cubicBezTo>
                    <a:pt x="399" y="1185"/>
                    <a:pt x="392" y="1186"/>
                    <a:pt x="392" y="1183"/>
                  </a:cubicBezTo>
                  <a:cubicBezTo>
                    <a:pt x="391" y="1175"/>
                    <a:pt x="381" y="1183"/>
                    <a:pt x="379" y="1182"/>
                  </a:cubicBezTo>
                  <a:cubicBezTo>
                    <a:pt x="374" y="1180"/>
                    <a:pt x="384" y="1168"/>
                    <a:pt x="373" y="1173"/>
                  </a:cubicBezTo>
                  <a:cubicBezTo>
                    <a:pt x="372" y="1173"/>
                    <a:pt x="370" y="1173"/>
                    <a:pt x="369" y="1174"/>
                  </a:cubicBezTo>
                  <a:cubicBezTo>
                    <a:pt x="369" y="1174"/>
                    <a:pt x="355" y="1180"/>
                    <a:pt x="346" y="1178"/>
                  </a:cubicBezTo>
                  <a:close/>
                  <a:moveTo>
                    <a:pt x="552" y="974"/>
                  </a:moveTo>
                  <a:cubicBezTo>
                    <a:pt x="552" y="972"/>
                    <a:pt x="548" y="973"/>
                    <a:pt x="547" y="972"/>
                  </a:cubicBezTo>
                  <a:cubicBezTo>
                    <a:pt x="537" y="971"/>
                    <a:pt x="544" y="982"/>
                    <a:pt x="552" y="975"/>
                  </a:cubicBezTo>
                  <a:cubicBezTo>
                    <a:pt x="552" y="975"/>
                    <a:pt x="552" y="975"/>
                    <a:pt x="552" y="975"/>
                  </a:cubicBezTo>
                  <a:cubicBezTo>
                    <a:pt x="552" y="974"/>
                    <a:pt x="552" y="974"/>
                    <a:pt x="552" y="974"/>
                  </a:cubicBezTo>
                  <a:close/>
                  <a:moveTo>
                    <a:pt x="706" y="802"/>
                  </a:move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lose/>
                  <a:moveTo>
                    <a:pt x="718" y="785"/>
                  </a:moveTo>
                  <a:cubicBezTo>
                    <a:pt x="722" y="785"/>
                    <a:pt x="726" y="779"/>
                    <a:pt x="726" y="776"/>
                  </a:cubicBezTo>
                  <a:cubicBezTo>
                    <a:pt x="726" y="776"/>
                    <a:pt x="726" y="776"/>
                    <a:pt x="726" y="776"/>
                  </a:cubicBezTo>
                  <a:cubicBezTo>
                    <a:pt x="723" y="768"/>
                    <a:pt x="703" y="783"/>
                    <a:pt x="718" y="785"/>
                  </a:cubicBezTo>
                  <a:close/>
                  <a:moveTo>
                    <a:pt x="558" y="981"/>
                  </a:moveTo>
                  <a:cubicBezTo>
                    <a:pt x="559" y="980"/>
                    <a:pt x="559" y="980"/>
                    <a:pt x="559" y="980"/>
                  </a:cubicBezTo>
                  <a:cubicBezTo>
                    <a:pt x="576" y="966"/>
                    <a:pt x="558" y="974"/>
                    <a:pt x="546" y="981"/>
                  </a:cubicBezTo>
                  <a:cubicBezTo>
                    <a:pt x="524" y="994"/>
                    <a:pt x="541" y="990"/>
                    <a:pt x="558" y="981"/>
                  </a:cubicBezTo>
                  <a:close/>
                  <a:moveTo>
                    <a:pt x="1452" y="185"/>
                  </a:moveTo>
                  <a:cubicBezTo>
                    <a:pt x="1453" y="186"/>
                    <a:pt x="1453" y="186"/>
                    <a:pt x="1453" y="186"/>
                  </a:cubicBezTo>
                  <a:cubicBezTo>
                    <a:pt x="1473" y="188"/>
                    <a:pt x="1448" y="173"/>
                    <a:pt x="1452" y="185"/>
                  </a:cubicBezTo>
                  <a:close/>
                  <a:moveTo>
                    <a:pt x="1447" y="177"/>
                  </a:moveTo>
                  <a:cubicBezTo>
                    <a:pt x="1467" y="172"/>
                    <a:pt x="1421" y="161"/>
                    <a:pt x="1444" y="177"/>
                  </a:cubicBezTo>
                  <a:lnTo>
                    <a:pt x="1447" y="177"/>
                  </a:lnTo>
                  <a:close/>
                  <a:moveTo>
                    <a:pt x="1434" y="200"/>
                  </a:moveTo>
                  <a:cubicBezTo>
                    <a:pt x="1440" y="204"/>
                    <a:pt x="1469" y="186"/>
                    <a:pt x="1451" y="191"/>
                  </a:cubicBezTo>
                  <a:cubicBezTo>
                    <a:pt x="1450" y="192"/>
                    <a:pt x="1450" y="192"/>
                    <a:pt x="1450" y="192"/>
                  </a:cubicBezTo>
                  <a:cubicBezTo>
                    <a:pt x="1446" y="193"/>
                    <a:pt x="1443" y="187"/>
                    <a:pt x="1440" y="185"/>
                  </a:cubicBezTo>
                  <a:cubicBezTo>
                    <a:pt x="1429" y="180"/>
                    <a:pt x="1426" y="196"/>
                    <a:pt x="1434" y="200"/>
                  </a:cubicBezTo>
                  <a:close/>
                  <a:moveTo>
                    <a:pt x="647" y="950"/>
                  </a:moveTo>
                  <a:cubicBezTo>
                    <a:pt x="651" y="941"/>
                    <a:pt x="636" y="952"/>
                    <a:pt x="634" y="955"/>
                  </a:cubicBezTo>
                  <a:cubicBezTo>
                    <a:pt x="632" y="959"/>
                    <a:pt x="629" y="960"/>
                    <a:pt x="626" y="963"/>
                  </a:cubicBezTo>
                  <a:cubicBezTo>
                    <a:pt x="620" y="972"/>
                    <a:pt x="642" y="959"/>
                    <a:pt x="645" y="956"/>
                  </a:cubicBezTo>
                  <a:cubicBezTo>
                    <a:pt x="650" y="952"/>
                    <a:pt x="638" y="957"/>
                    <a:pt x="639" y="955"/>
                  </a:cubicBezTo>
                  <a:cubicBezTo>
                    <a:pt x="640" y="951"/>
                    <a:pt x="646" y="953"/>
                    <a:pt x="647" y="950"/>
                  </a:cubicBezTo>
                  <a:close/>
                  <a:moveTo>
                    <a:pt x="665" y="898"/>
                  </a:moveTo>
                  <a:cubicBezTo>
                    <a:pt x="665" y="897"/>
                    <a:pt x="665" y="897"/>
                    <a:pt x="665" y="897"/>
                  </a:cubicBezTo>
                  <a:cubicBezTo>
                    <a:pt x="656" y="896"/>
                    <a:pt x="657" y="921"/>
                    <a:pt x="665" y="898"/>
                  </a:cubicBezTo>
                  <a:close/>
                  <a:moveTo>
                    <a:pt x="702" y="799"/>
                  </a:moveTo>
                  <a:cubicBezTo>
                    <a:pt x="707" y="797"/>
                    <a:pt x="699" y="798"/>
                    <a:pt x="698" y="798"/>
                  </a:cubicBezTo>
                  <a:cubicBezTo>
                    <a:pt x="694" y="797"/>
                    <a:pt x="703" y="795"/>
                    <a:pt x="703" y="794"/>
                  </a:cubicBezTo>
                  <a:cubicBezTo>
                    <a:pt x="703" y="792"/>
                    <a:pt x="701" y="784"/>
                    <a:pt x="698" y="784"/>
                  </a:cubicBezTo>
                  <a:cubicBezTo>
                    <a:pt x="697" y="784"/>
                    <a:pt x="697" y="786"/>
                    <a:pt x="697" y="786"/>
                  </a:cubicBezTo>
                  <a:cubicBezTo>
                    <a:pt x="696" y="788"/>
                    <a:pt x="694" y="788"/>
                    <a:pt x="693" y="788"/>
                  </a:cubicBezTo>
                  <a:cubicBezTo>
                    <a:pt x="676" y="789"/>
                    <a:pt x="700" y="794"/>
                    <a:pt x="700" y="794"/>
                  </a:cubicBezTo>
                  <a:cubicBezTo>
                    <a:pt x="699" y="795"/>
                    <a:pt x="696" y="795"/>
                    <a:pt x="696" y="795"/>
                  </a:cubicBezTo>
                  <a:cubicBezTo>
                    <a:pt x="689" y="799"/>
                    <a:pt x="674" y="812"/>
                    <a:pt x="674" y="815"/>
                  </a:cubicBezTo>
                  <a:cubicBezTo>
                    <a:pt x="674" y="816"/>
                    <a:pt x="703" y="806"/>
                    <a:pt x="706" y="802"/>
                  </a:cubicBezTo>
                  <a:cubicBezTo>
                    <a:pt x="705" y="803"/>
                    <a:pt x="701" y="800"/>
                    <a:pt x="702" y="799"/>
                  </a:cubicBezTo>
                  <a:close/>
                  <a:moveTo>
                    <a:pt x="607" y="962"/>
                  </a:moveTo>
                  <a:cubicBezTo>
                    <a:pt x="612" y="965"/>
                    <a:pt x="618" y="959"/>
                    <a:pt x="624" y="956"/>
                  </a:cubicBezTo>
                  <a:cubicBezTo>
                    <a:pt x="624" y="956"/>
                    <a:pt x="624" y="956"/>
                    <a:pt x="624" y="956"/>
                  </a:cubicBezTo>
                  <a:cubicBezTo>
                    <a:pt x="640" y="947"/>
                    <a:pt x="597" y="958"/>
                    <a:pt x="607" y="962"/>
                  </a:cubicBezTo>
                  <a:close/>
                  <a:moveTo>
                    <a:pt x="689" y="912"/>
                  </a:moveTo>
                  <a:cubicBezTo>
                    <a:pt x="695" y="909"/>
                    <a:pt x="677" y="880"/>
                    <a:pt x="671" y="882"/>
                  </a:cubicBezTo>
                  <a:cubicBezTo>
                    <a:pt x="667" y="883"/>
                    <a:pt x="670" y="889"/>
                    <a:pt x="670" y="889"/>
                  </a:cubicBezTo>
                  <a:cubicBezTo>
                    <a:pt x="668" y="907"/>
                    <a:pt x="671" y="890"/>
                    <a:pt x="676" y="898"/>
                  </a:cubicBezTo>
                  <a:cubicBezTo>
                    <a:pt x="677" y="899"/>
                    <a:pt x="677" y="899"/>
                    <a:pt x="677" y="899"/>
                  </a:cubicBezTo>
                  <a:cubicBezTo>
                    <a:pt x="677" y="900"/>
                    <a:pt x="665" y="906"/>
                    <a:pt x="663" y="909"/>
                  </a:cubicBezTo>
                  <a:cubicBezTo>
                    <a:pt x="661" y="913"/>
                    <a:pt x="658" y="932"/>
                    <a:pt x="655" y="935"/>
                  </a:cubicBezTo>
                  <a:cubicBezTo>
                    <a:pt x="654" y="935"/>
                    <a:pt x="652" y="937"/>
                    <a:pt x="654" y="938"/>
                  </a:cubicBezTo>
                  <a:cubicBezTo>
                    <a:pt x="654" y="938"/>
                    <a:pt x="654" y="938"/>
                    <a:pt x="655" y="938"/>
                  </a:cubicBezTo>
                  <a:cubicBezTo>
                    <a:pt x="670" y="933"/>
                    <a:pt x="663" y="926"/>
                    <a:pt x="666" y="921"/>
                  </a:cubicBezTo>
                  <a:cubicBezTo>
                    <a:pt x="670" y="914"/>
                    <a:pt x="681" y="917"/>
                    <a:pt x="688" y="914"/>
                  </a:cubicBezTo>
                  <a:cubicBezTo>
                    <a:pt x="688" y="914"/>
                    <a:pt x="688" y="914"/>
                    <a:pt x="688" y="914"/>
                  </a:cubicBezTo>
                  <a:cubicBezTo>
                    <a:pt x="688" y="914"/>
                    <a:pt x="688" y="913"/>
                    <a:pt x="689" y="912"/>
                  </a:cubicBezTo>
                  <a:close/>
                  <a:moveTo>
                    <a:pt x="660" y="941"/>
                  </a:moveTo>
                  <a:cubicBezTo>
                    <a:pt x="659" y="941"/>
                    <a:pt x="658" y="941"/>
                    <a:pt x="657" y="942"/>
                  </a:cubicBezTo>
                  <a:cubicBezTo>
                    <a:pt x="655" y="944"/>
                    <a:pt x="661" y="948"/>
                    <a:pt x="659" y="951"/>
                  </a:cubicBezTo>
                  <a:cubicBezTo>
                    <a:pt x="657" y="954"/>
                    <a:pt x="647" y="955"/>
                    <a:pt x="646" y="958"/>
                  </a:cubicBezTo>
                  <a:cubicBezTo>
                    <a:pt x="645" y="964"/>
                    <a:pt x="672" y="958"/>
                    <a:pt x="675" y="956"/>
                  </a:cubicBezTo>
                  <a:cubicBezTo>
                    <a:pt x="676" y="955"/>
                    <a:pt x="676" y="955"/>
                    <a:pt x="676" y="955"/>
                  </a:cubicBezTo>
                  <a:cubicBezTo>
                    <a:pt x="678" y="950"/>
                    <a:pt x="670" y="953"/>
                    <a:pt x="668" y="952"/>
                  </a:cubicBezTo>
                  <a:cubicBezTo>
                    <a:pt x="667" y="952"/>
                    <a:pt x="672" y="947"/>
                    <a:pt x="672" y="947"/>
                  </a:cubicBezTo>
                  <a:cubicBezTo>
                    <a:pt x="673" y="939"/>
                    <a:pt x="663" y="939"/>
                    <a:pt x="660" y="941"/>
                  </a:cubicBezTo>
                  <a:close/>
                  <a:moveTo>
                    <a:pt x="648" y="864"/>
                  </a:moveTo>
                  <a:cubicBezTo>
                    <a:pt x="648" y="863"/>
                    <a:pt x="648" y="863"/>
                    <a:pt x="648" y="863"/>
                  </a:cubicBezTo>
                  <a:cubicBezTo>
                    <a:pt x="644" y="864"/>
                    <a:pt x="620" y="865"/>
                    <a:pt x="627" y="877"/>
                  </a:cubicBezTo>
                  <a:cubicBezTo>
                    <a:pt x="631" y="885"/>
                    <a:pt x="653" y="875"/>
                    <a:pt x="648" y="864"/>
                  </a:cubicBezTo>
                  <a:close/>
                  <a:moveTo>
                    <a:pt x="1884" y="83"/>
                  </a:moveTo>
                  <a:cubicBezTo>
                    <a:pt x="1885" y="83"/>
                    <a:pt x="1885" y="83"/>
                    <a:pt x="1885" y="83"/>
                  </a:cubicBezTo>
                  <a:cubicBezTo>
                    <a:pt x="1893" y="84"/>
                    <a:pt x="1891" y="75"/>
                    <a:pt x="1890" y="76"/>
                  </a:cubicBezTo>
                  <a:cubicBezTo>
                    <a:pt x="1887" y="76"/>
                    <a:pt x="1880" y="80"/>
                    <a:pt x="1884" y="83"/>
                  </a:cubicBezTo>
                  <a:close/>
                  <a:moveTo>
                    <a:pt x="715" y="558"/>
                  </a:moveTo>
                  <a:cubicBezTo>
                    <a:pt x="715" y="558"/>
                    <a:pt x="715" y="558"/>
                    <a:pt x="715" y="558"/>
                  </a:cubicBezTo>
                  <a:cubicBezTo>
                    <a:pt x="715" y="558"/>
                    <a:pt x="697" y="561"/>
                    <a:pt x="703" y="566"/>
                  </a:cubicBezTo>
                  <a:cubicBezTo>
                    <a:pt x="704" y="567"/>
                    <a:pt x="716" y="561"/>
                    <a:pt x="715" y="558"/>
                  </a:cubicBezTo>
                  <a:close/>
                  <a:moveTo>
                    <a:pt x="281" y="1249"/>
                  </a:moveTo>
                  <a:cubicBezTo>
                    <a:pt x="280" y="1248"/>
                    <a:pt x="280" y="1248"/>
                    <a:pt x="280" y="1248"/>
                  </a:cubicBezTo>
                  <a:cubicBezTo>
                    <a:pt x="265" y="1246"/>
                    <a:pt x="277" y="1260"/>
                    <a:pt x="281" y="1249"/>
                  </a:cubicBezTo>
                  <a:close/>
                  <a:moveTo>
                    <a:pt x="284" y="1257"/>
                  </a:moveTo>
                  <a:cubicBezTo>
                    <a:pt x="284" y="1257"/>
                    <a:pt x="284" y="1257"/>
                    <a:pt x="284" y="1257"/>
                  </a:cubicBezTo>
                  <a:cubicBezTo>
                    <a:pt x="280" y="1251"/>
                    <a:pt x="265" y="1257"/>
                    <a:pt x="263" y="1261"/>
                  </a:cubicBezTo>
                  <a:cubicBezTo>
                    <a:pt x="262" y="1263"/>
                    <a:pt x="282" y="1270"/>
                    <a:pt x="284" y="1257"/>
                  </a:cubicBezTo>
                  <a:close/>
                  <a:moveTo>
                    <a:pt x="308" y="1212"/>
                  </a:moveTo>
                  <a:cubicBezTo>
                    <a:pt x="308" y="1211"/>
                    <a:pt x="308" y="1211"/>
                    <a:pt x="308" y="1211"/>
                  </a:cubicBezTo>
                  <a:cubicBezTo>
                    <a:pt x="303" y="1190"/>
                    <a:pt x="287" y="1209"/>
                    <a:pt x="280" y="1205"/>
                  </a:cubicBezTo>
                  <a:cubicBezTo>
                    <a:pt x="279" y="1205"/>
                    <a:pt x="271" y="1208"/>
                    <a:pt x="272" y="1209"/>
                  </a:cubicBezTo>
                  <a:cubicBezTo>
                    <a:pt x="277" y="1218"/>
                    <a:pt x="299" y="1228"/>
                    <a:pt x="308" y="1212"/>
                  </a:cubicBezTo>
                  <a:close/>
                  <a:moveTo>
                    <a:pt x="298" y="1234"/>
                  </a:moveTo>
                  <a:cubicBezTo>
                    <a:pt x="280" y="1237"/>
                    <a:pt x="287" y="1252"/>
                    <a:pt x="305" y="1247"/>
                  </a:cubicBezTo>
                  <a:cubicBezTo>
                    <a:pt x="306" y="1247"/>
                    <a:pt x="306" y="1247"/>
                    <a:pt x="306" y="1247"/>
                  </a:cubicBezTo>
                  <a:cubicBezTo>
                    <a:pt x="310" y="1246"/>
                    <a:pt x="305" y="1233"/>
                    <a:pt x="298" y="1234"/>
                  </a:cubicBezTo>
                  <a:close/>
                  <a:moveTo>
                    <a:pt x="266" y="1269"/>
                  </a:moveTo>
                  <a:cubicBezTo>
                    <a:pt x="266" y="1268"/>
                    <a:pt x="266" y="1268"/>
                    <a:pt x="266" y="1268"/>
                  </a:cubicBezTo>
                  <a:cubicBezTo>
                    <a:pt x="263" y="1264"/>
                    <a:pt x="262" y="1254"/>
                    <a:pt x="260" y="1252"/>
                  </a:cubicBezTo>
                  <a:cubicBezTo>
                    <a:pt x="254" y="1247"/>
                    <a:pt x="256" y="1265"/>
                    <a:pt x="253" y="1266"/>
                  </a:cubicBezTo>
                  <a:cubicBezTo>
                    <a:pt x="250" y="1267"/>
                    <a:pt x="245" y="1259"/>
                    <a:pt x="243" y="1259"/>
                  </a:cubicBezTo>
                  <a:cubicBezTo>
                    <a:pt x="243" y="1260"/>
                    <a:pt x="235" y="1268"/>
                    <a:pt x="235" y="1270"/>
                  </a:cubicBezTo>
                  <a:cubicBezTo>
                    <a:pt x="237" y="1283"/>
                    <a:pt x="260" y="1273"/>
                    <a:pt x="266" y="1269"/>
                  </a:cubicBezTo>
                  <a:close/>
                  <a:moveTo>
                    <a:pt x="119" y="1331"/>
                  </a:moveTo>
                  <a:cubicBezTo>
                    <a:pt x="118" y="1332"/>
                    <a:pt x="113" y="1335"/>
                    <a:pt x="113" y="1337"/>
                  </a:cubicBezTo>
                  <a:cubicBezTo>
                    <a:pt x="114" y="1338"/>
                    <a:pt x="114" y="1338"/>
                    <a:pt x="114" y="1338"/>
                  </a:cubicBezTo>
                  <a:cubicBezTo>
                    <a:pt x="120" y="1345"/>
                    <a:pt x="125" y="1329"/>
                    <a:pt x="119" y="1331"/>
                  </a:cubicBezTo>
                  <a:close/>
                  <a:moveTo>
                    <a:pt x="308" y="1239"/>
                  </a:moveTo>
                  <a:cubicBezTo>
                    <a:pt x="311" y="1244"/>
                    <a:pt x="309" y="1247"/>
                    <a:pt x="318" y="1245"/>
                  </a:cubicBezTo>
                  <a:cubicBezTo>
                    <a:pt x="318" y="1245"/>
                    <a:pt x="318" y="1245"/>
                    <a:pt x="318" y="1245"/>
                  </a:cubicBezTo>
                  <a:cubicBezTo>
                    <a:pt x="325" y="1244"/>
                    <a:pt x="303" y="1229"/>
                    <a:pt x="308" y="1239"/>
                  </a:cubicBezTo>
                  <a:close/>
                  <a:moveTo>
                    <a:pt x="194" y="1314"/>
                  </a:moveTo>
                  <a:cubicBezTo>
                    <a:pt x="194" y="1314"/>
                    <a:pt x="194" y="1314"/>
                    <a:pt x="194" y="1314"/>
                  </a:cubicBezTo>
                  <a:cubicBezTo>
                    <a:pt x="199" y="1304"/>
                    <a:pt x="166" y="1306"/>
                    <a:pt x="171" y="1317"/>
                  </a:cubicBezTo>
                  <a:cubicBezTo>
                    <a:pt x="173" y="1322"/>
                    <a:pt x="189" y="1316"/>
                    <a:pt x="194" y="1314"/>
                  </a:cubicBezTo>
                  <a:close/>
                  <a:moveTo>
                    <a:pt x="197" y="1293"/>
                  </a:moveTo>
                  <a:cubicBezTo>
                    <a:pt x="194" y="1286"/>
                    <a:pt x="181" y="1295"/>
                    <a:pt x="181" y="1297"/>
                  </a:cubicBezTo>
                  <a:cubicBezTo>
                    <a:pt x="181" y="1308"/>
                    <a:pt x="197" y="1294"/>
                    <a:pt x="197" y="1293"/>
                  </a:cubicBezTo>
                  <a:close/>
                  <a:moveTo>
                    <a:pt x="197" y="1293"/>
                  </a:moveTo>
                  <a:cubicBezTo>
                    <a:pt x="197" y="1293"/>
                    <a:pt x="197" y="1293"/>
                    <a:pt x="197" y="1293"/>
                  </a:cubicBezTo>
                  <a:cubicBezTo>
                    <a:pt x="197" y="1293"/>
                    <a:pt x="197" y="1293"/>
                    <a:pt x="197" y="1293"/>
                  </a:cubicBezTo>
                  <a:close/>
                  <a:moveTo>
                    <a:pt x="342" y="1243"/>
                  </a:moveTo>
                  <a:cubicBezTo>
                    <a:pt x="342" y="1242"/>
                    <a:pt x="342" y="1242"/>
                    <a:pt x="342" y="1242"/>
                  </a:cubicBezTo>
                  <a:cubicBezTo>
                    <a:pt x="344" y="1241"/>
                    <a:pt x="342" y="1239"/>
                    <a:pt x="342" y="1238"/>
                  </a:cubicBezTo>
                  <a:cubicBezTo>
                    <a:pt x="340" y="1235"/>
                    <a:pt x="336" y="1236"/>
                    <a:pt x="334" y="1233"/>
                  </a:cubicBezTo>
                  <a:cubicBezTo>
                    <a:pt x="327" y="1218"/>
                    <a:pt x="330" y="1236"/>
                    <a:pt x="326" y="1236"/>
                  </a:cubicBezTo>
                  <a:cubicBezTo>
                    <a:pt x="325" y="1237"/>
                    <a:pt x="325" y="1230"/>
                    <a:pt x="324" y="1230"/>
                  </a:cubicBezTo>
                  <a:cubicBezTo>
                    <a:pt x="323" y="1230"/>
                    <a:pt x="316" y="1229"/>
                    <a:pt x="316" y="1229"/>
                  </a:cubicBezTo>
                  <a:cubicBezTo>
                    <a:pt x="308" y="1239"/>
                    <a:pt x="333" y="1248"/>
                    <a:pt x="342" y="1243"/>
                  </a:cubicBezTo>
                  <a:close/>
                  <a:moveTo>
                    <a:pt x="1039" y="428"/>
                  </a:moveTo>
                  <a:cubicBezTo>
                    <a:pt x="1021" y="415"/>
                    <a:pt x="1013" y="445"/>
                    <a:pt x="1015" y="448"/>
                  </a:cubicBezTo>
                  <a:cubicBezTo>
                    <a:pt x="1015" y="448"/>
                    <a:pt x="1015" y="448"/>
                    <a:pt x="1015" y="448"/>
                  </a:cubicBezTo>
                  <a:cubicBezTo>
                    <a:pt x="1021" y="452"/>
                    <a:pt x="1055" y="439"/>
                    <a:pt x="1039" y="428"/>
                  </a:cubicBezTo>
                  <a:close/>
                  <a:moveTo>
                    <a:pt x="1917" y="22"/>
                  </a:moveTo>
                  <a:cubicBezTo>
                    <a:pt x="1914" y="16"/>
                    <a:pt x="1895" y="38"/>
                    <a:pt x="1891" y="27"/>
                  </a:cubicBezTo>
                  <a:cubicBezTo>
                    <a:pt x="1891" y="26"/>
                    <a:pt x="1900" y="24"/>
                    <a:pt x="1890" y="22"/>
                  </a:cubicBezTo>
                  <a:cubicBezTo>
                    <a:pt x="1885" y="21"/>
                    <a:pt x="1905" y="18"/>
                    <a:pt x="1901" y="11"/>
                  </a:cubicBezTo>
                  <a:cubicBezTo>
                    <a:pt x="1899" y="7"/>
                    <a:pt x="1883" y="13"/>
                    <a:pt x="1880" y="13"/>
                  </a:cubicBezTo>
                  <a:cubicBezTo>
                    <a:pt x="1877" y="12"/>
                    <a:pt x="1879" y="10"/>
                    <a:pt x="1879" y="9"/>
                  </a:cubicBezTo>
                  <a:cubicBezTo>
                    <a:pt x="1885" y="0"/>
                    <a:pt x="1873" y="7"/>
                    <a:pt x="1870" y="6"/>
                  </a:cubicBezTo>
                  <a:cubicBezTo>
                    <a:pt x="1867" y="6"/>
                    <a:pt x="1869" y="1"/>
                    <a:pt x="1867" y="1"/>
                  </a:cubicBezTo>
                  <a:cubicBezTo>
                    <a:pt x="1843" y="10"/>
                    <a:pt x="1879" y="8"/>
                    <a:pt x="1873" y="20"/>
                  </a:cubicBezTo>
                  <a:cubicBezTo>
                    <a:pt x="1872" y="22"/>
                    <a:pt x="1870" y="18"/>
                    <a:pt x="1868" y="17"/>
                  </a:cubicBezTo>
                  <a:cubicBezTo>
                    <a:pt x="1859" y="12"/>
                    <a:pt x="1849" y="17"/>
                    <a:pt x="1847" y="16"/>
                  </a:cubicBezTo>
                  <a:cubicBezTo>
                    <a:pt x="1846" y="16"/>
                    <a:pt x="1837" y="13"/>
                    <a:pt x="1838" y="16"/>
                  </a:cubicBezTo>
                  <a:cubicBezTo>
                    <a:pt x="1838" y="17"/>
                    <a:pt x="1839" y="18"/>
                    <a:pt x="1839" y="18"/>
                  </a:cubicBezTo>
                  <a:cubicBezTo>
                    <a:pt x="1841" y="19"/>
                    <a:pt x="1836" y="20"/>
                    <a:pt x="1835" y="20"/>
                  </a:cubicBezTo>
                  <a:cubicBezTo>
                    <a:pt x="1825" y="27"/>
                    <a:pt x="1857" y="24"/>
                    <a:pt x="1858" y="26"/>
                  </a:cubicBezTo>
                  <a:cubicBezTo>
                    <a:pt x="1859" y="27"/>
                    <a:pt x="1858" y="27"/>
                    <a:pt x="1858" y="28"/>
                  </a:cubicBezTo>
                  <a:cubicBezTo>
                    <a:pt x="1856" y="28"/>
                    <a:pt x="1846" y="29"/>
                    <a:pt x="1846" y="31"/>
                  </a:cubicBezTo>
                  <a:cubicBezTo>
                    <a:pt x="1846" y="32"/>
                    <a:pt x="1851" y="34"/>
                    <a:pt x="1851" y="35"/>
                  </a:cubicBezTo>
                  <a:cubicBezTo>
                    <a:pt x="1853" y="37"/>
                    <a:pt x="1855" y="40"/>
                    <a:pt x="1858" y="41"/>
                  </a:cubicBezTo>
                  <a:cubicBezTo>
                    <a:pt x="1859" y="41"/>
                    <a:pt x="1859" y="41"/>
                    <a:pt x="1859" y="41"/>
                  </a:cubicBezTo>
                  <a:cubicBezTo>
                    <a:pt x="1877" y="42"/>
                    <a:pt x="1870" y="32"/>
                    <a:pt x="1889" y="34"/>
                  </a:cubicBezTo>
                  <a:cubicBezTo>
                    <a:pt x="1891" y="35"/>
                    <a:pt x="1922" y="30"/>
                    <a:pt x="1917" y="22"/>
                  </a:cubicBezTo>
                  <a:close/>
                  <a:moveTo>
                    <a:pt x="330" y="1220"/>
                  </a:moveTo>
                  <a:cubicBezTo>
                    <a:pt x="331" y="1222"/>
                    <a:pt x="350" y="1222"/>
                    <a:pt x="352" y="1218"/>
                  </a:cubicBezTo>
                  <a:cubicBezTo>
                    <a:pt x="352" y="1218"/>
                    <a:pt x="352" y="1218"/>
                    <a:pt x="352" y="1218"/>
                  </a:cubicBezTo>
                  <a:cubicBezTo>
                    <a:pt x="354" y="1210"/>
                    <a:pt x="327" y="1211"/>
                    <a:pt x="330" y="1220"/>
                  </a:cubicBezTo>
                  <a:close/>
                  <a:moveTo>
                    <a:pt x="331" y="1167"/>
                  </a:moveTo>
                  <a:cubicBezTo>
                    <a:pt x="344" y="1168"/>
                    <a:pt x="361" y="1170"/>
                    <a:pt x="365" y="1162"/>
                  </a:cubicBezTo>
                  <a:cubicBezTo>
                    <a:pt x="365" y="1162"/>
                    <a:pt x="365" y="1162"/>
                    <a:pt x="365" y="1162"/>
                  </a:cubicBezTo>
                  <a:cubicBezTo>
                    <a:pt x="366" y="1157"/>
                    <a:pt x="367" y="1148"/>
                    <a:pt x="363" y="1148"/>
                  </a:cubicBezTo>
                  <a:cubicBezTo>
                    <a:pt x="357" y="1148"/>
                    <a:pt x="358" y="1155"/>
                    <a:pt x="355" y="1156"/>
                  </a:cubicBezTo>
                  <a:cubicBezTo>
                    <a:pt x="350" y="1157"/>
                    <a:pt x="316" y="1167"/>
                    <a:pt x="316" y="1168"/>
                  </a:cubicBezTo>
                  <a:cubicBezTo>
                    <a:pt x="316" y="1174"/>
                    <a:pt x="329" y="1167"/>
                    <a:pt x="331" y="1167"/>
                  </a:cubicBezTo>
                  <a:close/>
                  <a:moveTo>
                    <a:pt x="869" y="394"/>
                  </a:moveTo>
                  <a:cubicBezTo>
                    <a:pt x="864" y="394"/>
                    <a:pt x="857" y="400"/>
                    <a:pt x="861" y="405"/>
                  </a:cubicBezTo>
                  <a:cubicBezTo>
                    <a:pt x="862" y="407"/>
                    <a:pt x="877" y="421"/>
                    <a:pt x="886" y="403"/>
                  </a:cubicBezTo>
                  <a:cubicBezTo>
                    <a:pt x="887" y="401"/>
                    <a:pt x="885" y="395"/>
                    <a:pt x="887" y="397"/>
                  </a:cubicBezTo>
                  <a:cubicBezTo>
                    <a:pt x="895" y="402"/>
                    <a:pt x="912" y="403"/>
                    <a:pt x="920" y="393"/>
                  </a:cubicBezTo>
                  <a:cubicBezTo>
                    <a:pt x="924" y="389"/>
                    <a:pt x="911" y="387"/>
                    <a:pt x="919" y="388"/>
                  </a:cubicBezTo>
                  <a:cubicBezTo>
                    <a:pt x="925" y="389"/>
                    <a:pt x="932" y="391"/>
                    <a:pt x="930" y="398"/>
                  </a:cubicBezTo>
                  <a:cubicBezTo>
                    <a:pt x="929" y="405"/>
                    <a:pt x="899" y="402"/>
                    <a:pt x="899" y="411"/>
                  </a:cubicBezTo>
                  <a:cubicBezTo>
                    <a:pt x="898" y="411"/>
                    <a:pt x="898" y="411"/>
                    <a:pt x="898" y="411"/>
                  </a:cubicBezTo>
                  <a:cubicBezTo>
                    <a:pt x="899" y="424"/>
                    <a:pt x="947" y="414"/>
                    <a:pt x="950" y="401"/>
                  </a:cubicBezTo>
                  <a:cubicBezTo>
                    <a:pt x="952" y="391"/>
                    <a:pt x="940" y="391"/>
                    <a:pt x="940" y="389"/>
                  </a:cubicBezTo>
                  <a:cubicBezTo>
                    <a:pt x="940" y="382"/>
                    <a:pt x="951" y="383"/>
                    <a:pt x="950" y="375"/>
                  </a:cubicBezTo>
                  <a:cubicBezTo>
                    <a:pt x="949" y="371"/>
                    <a:pt x="937" y="378"/>
                    <a:pt x="937" y="378"/>
                  </a:cubicBezTo>
                  <a:cubicBezTo>
                    <a:pt x="936" y="375"/>
                    <a:pt x="943" y="369"/>
                    <a:pt x="942" y="364"/>
                  </a:cubicBezTo>
                  <a:cubicBezTo>
                    <a:pt x="941" y="361"/>
                    <a:pt x="931" y="369"/>
                    <a:pt x="933" y="367"/>
                  </a:cubicBezTo>
                  <a:cubicBezTo>
                    <a:pt x="934" y="366"/>
                    <a:pt x="933" y="353"/>
                    <a:pt x="928" y="349"/>
                  </a:cubicBezTo>
                  <a:cubicBezTo>
                    <a:pt x="924" y="346"/>
                    <a:pt x="915" y="353"/>
                    <a:pt x="916" y="358"/>
                  </a:cubicBezTo>
                  <a:cubicBezTo>
                    <a:pt x="917" y="363"/>
                    <a:pt x="931" y="375"/>
                    <a:pt x="929" y="379"/>
                  </a:cubicBezTo>
                  <a:cubicBezTo>
                    <a:pt x="928" y="382"/>
                    <a:pt x="923" y="374"/>
                    <a:pt x="920" y="374"/>
                  </a:cubicBezTo>
                  <a:cubicBezTo>
                    <a:pt x="919" y="374"/>
                    <a:pt x="916" y="388"/>
                    <a:pt x="915" y="380"/>
                  </a:cubicBezTo>
                  <a:cubicBezTo>
                    <a:pt x="915" y="378"/>
                    <a:pt x="915" y="372"/>
                    <a:pt x="911" y="372"/>
                  </a:cubicBezTo>
                  <a:cubicBezTo>
                    <a:pt x="904" y="372"/>
                    <a:pt x="916" y="386"/>
                    <a:pt x="907" y="389"/>
                  </a:cubicBezTo>
                  <a:cubicBezTo>
                    <a:pt x="903" y="390"/>
                    <a:pt x="907" y="383"/>
                    <a:pt x="900" y="384"/>
                  </a:cubicBezTo>
                  <a:cubicBezTo>
                    <a:pt x="897" y="384"/>
                    <a:pt x="889" y="391"/>
                    <a:pt x="887" y="389"/>
                  </a:cubicBezTo>
                  <a:cubicBezTo>
                    <a:pt x="885" y="388"/>
                    <a:pt x="892" y="375"/>
                    <a:pt x="883" y="378"/>
                  </a:cubicBezTo>
                  <a:cubicBezTo>
                    <a:pt x="878" y="380"/>
                    <a:pt x="886" y="393"/>
                    <a:pt x="881" y="393"/>
                  </a:cubicBezTo>
                  <a:cubicBezTo>
                    <a:pt x="875" y="393"/>
                    <a:pt x="876" y="386"/>
                    <a:pt x="876" y="383"/>
                  </a:cubicBezTo>
                  <a:cubicBezTo>
                    <a:pt x="875" y="379"/>
                    <a:pt x="872" y="383"/>
                    <a:pt x="870" y="384"/>
                  </a:cubicBezTo>
                  <a:cubicBezTo>
                    <a:pt x="859" y="390"/>
                    <a:pt x="870" y="389"/>
                    <a:pt x="872" y="392"/>
                  </a:cubicBezTo>
                  <a:cubicBezTo>
                    <a:pt x="873" y="394"/>
                    <a:pt x="869" y="394"/>
                    <a:pt x="869" y="394"/>
                  </a:cubicBezTo>
                  <a:close/>
                  <a:moveTo>
                    <a:pt x="1737" y="40"/>
                  </a:moveTo>
                  <a:cubicBezTo>
                    <a:pt x="1740" y="40"/>
                    <a:pt x="1747" y="36"/>
                    <a:pt x="1745" y="35"/>
                  </a:cubicBezTo>
                  <a:cubicBezTo>
                    <a:pt x="1738" y="30"/>
                    <a:pt x="1734" y="37"/>
                    <a:pt x="1731" y="32"/>
                  </a:cubicBezTo>
                  <a:cubicBezTo>
                    <a:pt x="1731" y="32"/>
                    <a:pt x="1730" y="31"/>
                    <a:pt x="1730" y="31"/>
                  </a:cubicBezTo>
                  <a:cubicBezTo>
                    <a:pt x="1730" y="30"/>
                    <a:pt x="1744" y="29"/>
                    <a:pt x="1743" y="28"/>
                  </a:cubicBezTo>
                  <a:cubicBezTo>
                    <a:pt x="1741" y="27"/>
                    <a:pt x="1737" y="28"/>
                    <a:pt x="1735" y="28"/>
                  </a:cubicBezTo>
                  <a:cubicBezTo>
                    <a:pt x="1724" y="27"/>
                    <a:pt x="1723" y="24"/>
                    <a:pt x="1714" y="28"/>
                  </a:cubicBezTo>
                  <a:cubicBezTo>
                    <a:pt x="1713" y="28"/>
                    <a:pt x="1712" y="29"/>
                    <a:pt x="1713" y="30"/>
                  </a:cubicBezTo>
                  <a:cubicBezTo>
                    <a:pt x="1716" y="34"/>
                    <a:pt x="1723" y="29"/>
                    <a:pt x="1727" y="32"/>
                  </a:cubicBezTo>
                  <a:cubicBezTo>
                    <a:pt x="1728" y="32"/>
                    <a:pt x="1722" y="33"/>
                    <a:pt x="1721" y="33"/>
                  </a:cubicBezTo>
                  <a:cubicBezTo>
                    <a:pt x="1711" y="34"/>
                    <a:pt x="1719" y="36"/>
                    <a:pt x="1723" y="38"/>
                  </a:cubicBezTo>
                  <a:cubicBezTo>
                    <a:pt x="1724" y="39"/>
                    <a:pt x="1724" y="39"/>
                    <a:pt x="1724" y="39"/>
                  </a:cubicBezTo>
                  <a:cubicBezTo>
                    <a:pt x="1727" y="46"/>
                    <a:pt x="1734" y="39"/>
                    <a:pt x="1737" y="40"/>
                  </a:cubicBezTo>
                  <a:close/>
                  <a:moveTo>
                    <a:pt x="1529" y="131"/>
                  </a:moveTo>
                  <a:cubicBezTo>
                    <a:pt x="1517" y="127"/>
                    <a:pt x="1513" y="132"/>
                    <a:pt x="1520" y="146"/>
                  </a:cubicBezTo>
                  <a:cubicBezTo>
                    <a:pt x="1520" y="146"/>
                    <a:pt x="1520" y="146"/>
                    <a:pt x="1520" y="146"/>
                  </a:cubicBezTo>
                  <a:cubicBezTo>
                    <a:pt x="1525" y="151"/>
                    <a:pt x="1534" y="133"/>
                    <a:pt x="1529" y="131"/>
                  </a:cubicBezTo>
                  <a:close/>
                  <a:moveTo>
                    <a:pt x="1427" y="206"/>
                  </a:moveTo>
                  <a:cubicBezTo>
                    <a:pt x="1422" y="198"/>
                    <a:pt x="1408" y="214"/>
                    <a:pt x="1412" y="223"/>
                  </a:cubicBezTo>
                  <a:cubicBezTo>
                    <a:pt x="1412" y="223"/>
                    <a:pt x="1412" y="223"/>
                    <a:pt x="1412" y="223"/>
                  </a:cubicBezTo>
                  <a:cubicBezTo>
                    <a:pt x="1422" y="225"/>
                    <a:pt x="1432" y="213"/>
                    <a:pt x="1427" y="206"/>
                  </a:cubicBezTo>
                  <a:close/>
                  <a:moveTo>
                    <a:pt x="1430" y="172"/>
                  </a:moveTo>
                  <a:cubicBezTo>
                    <a:pt x="1430" y="165"/>
                    <a:pt x="1442" y="156"/>
                    <a:pt x="1428" y="153"/>
                  </a:cubicBezTo>
                  <a:cubicBezTo>
                    <a:pt x="1410" y="149"/>
                    <a:pt x="1380" y="176"/>
                    <a:pt x="1403" y="181"/>
                  </a:cubicBezTo>
                  <a:cubicBezTo>
                    <a:pt x="1404" y="182"/>
                    <a:pt x="1404" y="182"/>
                    <a:pt x="1404" y="182"/>
                  </a:cubicBezTo>
                  <a:cubicBezTo>
                    <a:pt x="1409" y="182"/>
                    <a:pt x="1411" y="174"/>
                    <a:pt x="1413" y="174"/>
                  </a:cubicBezTo>
                  <a:cubicBezTo>
                    <a:pt x="1415" y="174"/>
                    <a:pt x="1410" y="186"/>
                    <a:pt x="1431" y="182"/>
                  </a:cubicBezTo>
                  <a:cubicBezTo>
                    <a:pt x="1434" y="181"/>
                    <a:pt x="1430" y="174"/>
                    <a:pt x="1430" y="172"/>
                  </a:cubicBezTo>
                  <a:close/>
                  <a:moveTo>
                    <a:pt x="1703" y="79"/>
                  </a:moveTo>
                  <a:cubicBezTo>
                    <a:pt x="1702" y="79"/>
                    <a:pt x="1704" y="68"/>
                    <a:pt x="1692" y="71"/>
                  </a:cubicBezTo>
                  <a:cubicBezTo>
                    <a:pt x="1682" y="73"/>
                    <a:pt x="1690" y="100"/>
                    <a:pt x="1696" y="107"/>
                  </a:cubicBezTo>
                  <a:cubicBezTo>
                    <a:pt x="1696" y="107"/>
                    <a:pt x="1696" y="107"/>
                    <a:pt x="1696" y="107"/>
                  </a:cubicBezTo>
                  <a:cubicBezTo>
                    <a:pt x="1716" y="115"/>
                    <a:pt x="1733" y="96"/>
                    <a:pt x="1721" y="81"/>
                  </a:cubicBezTo>
                  <a:cubicBezTo>
                    <a:pt x="1716" y="74"/>
                    <a:pt x="1708" y="80"/>
                    <a:pt x="1703" y="79"/>
                  </a:cubicBezTo>
                  <a:close/>
                  <a:moveTo>
                    <a:pt x="1254" y="243"/>
                  </a:moveTo>
                  <a:cubicBezTo>
                    <a:pt x="1260" y="238"/>
                    <a:pt x="1289" y="231"/>
                    <a:pt x="1273" y="220"/>
                  </a:cubicBezTo>
                  <a:cubicBezTo>
                    <a:pt x="1272" y="219"/>
                    <a:pt x="1272" y="219"/>
                    <a:pt x="1272" y="219"/>
                  </a:cubicBezTo>
                  <a:cubicBezTo>
                    <a:pt x="1267" y="217"/>
                    <a:pt x="1257" y="217"/>
                    <a:pt x="1259" y="214"/>
                  </a:cubicBezTo>
                  <a:cubicBezTo>
                    <a:pt x="1261" y="211"/>
                    <a:pt x="1242" y="209"/>
                    <a:pt x="1242" y="212"/>
                  </a:cubicBezTo>
                  <a:cubicBezTo>
                    <a:pt x="1242" y="214"/>
                    <a:pt x="1260" y="241"/>
                    <a:pt x="1249" y="242"/>
                  </a:cubicBezTo>
                  <a:cubicBezTo>
                    <a:pt x="1247" y="242"/>
                    <a:pt x="1244" y="239"/>
                    <a:pt x="1242" y="238"/>
                  </a:cubicBezTo>
                  <a:cubicBezTo>
                    <a:pt x="1238" y="234"/>
                    <a:pt x="1243" y="225"/>
                    <a:pt x="1241" y="223"/>
                  </a:cubicBezTo>
                  <a:cubicBezTo>
                    <a:pt x="1235" y="215"/>
                    <a:pt x="1230" y="232"/>
                    <a:pt x="1228" y="232"/>
                  </a:cubicBezTo>
                  <a:cubicBezTo>
                    <a:pt x="1227" y="232"/>
                    <a:pt x="1217" y="218"/>
                    <a:pt x="1212" y="227"/>
                  </a:cubicBezTo>
                  <a:cubicBezTo>
                    <a:pt x="1206" y="239"/>
                    <a:pt x="1238" y="237"/>
                    <a:pt x="1236" y="240"/>
                  </a:cubicBezTo>
                  <a:cubicBezTo>
                    <a:pt x="1234" y="245"/>
                    <a:pt x="1202" y="235"/>
                    <a:pt x="1200" y="238"/>
                  </a:cubicBezTo>
                  <a:cubicBezTo>
                    <a:pt x="1199" y="239"/>
                    <a:pt x="1202" y="241"/>
                    <a:pt x="1202" y="242"/>
                  </a:cubicBezTo>
                  <a:cubicBezTo>
                    <a:pt x="1205" y="244"/>
                    <a:pt x="1207" y="249"/>
                    <a:pt x="1211" y="249"/>
                  </a:cubicBezTo>
                  <a:cubicBezTo>
                    <a:pt x="1212" y="250"/>
                    <a:pt x="1218" y="247"/>
                    <a:pt x="1219" y="249"/>
                  </a:cubicBezTo>
                  <a:cubicBezTo>
                    <a:pt x="1219" y="249"/>
                    <a:pt x="1217" y="251"/>
                    <a:pt x="1217" y="251"/>
                  </a:cubicBezTo>
                  <a:cubicBezTo>
                    <a:pt x="1210" y="256"/>
                    <a:pt x="1186" y="247"/>
                    <a:pt x="1186" y="252"/>
                  </a:cubicBezTo>
                  <a:cubicBezTo>
                    <a:pt x="1186" y="253"/>
                    <a:pt x="1181" y="256"/>
                    <a:pt x="1183" y="258"/>
                  </a:cubicBezTo>
                  <a:cubicBezTo>
                    <a:pt x="1190" y="267"/>
                    <a:pt x="1246" y="263"/>
                    <a:pt x="1253" y="258"/>
                  </a:cubicBezTo>
                  <a:cubicBezTo>
                    <a:pt x="1266" y="249"/>
                    <a:pt x="1245" y="251"/>
                    <a:pt x="1254" y="243"/>
                  </a:cubicBezTo>
                  <a:close/>
                  <a:moveTo>
                    <a:pt x="1570" y="112"/>
                  </a:moveTo>
                  <a:cubicBezTo>
                    <a:pt x="1577" y="111"/>
                    <a:pt x="1596" y="110"/>
                    <a:pt x="1596" y="103"/>
                  </a:cubicBezTo>
                  <a:cubicBezTo>
                    <a:pt x="1596" y="102"/>
                    <a:pt x="1595" y="100"/>
                    <a:pt x="1597" y="100"/>
                  </a:cubicBezTo>
                  <a:cubicBezTo>
                    <a:pt x="1606" y="99"/>
                    <a:pt x="1606" y="106"/>
                    <a:pt x="1608" y="107"/>
                  </a:cubicBezTo>
                  <a:cubicBezTo>
                    <a:pt x="1612" y="109"/>
                    <a:pt x="1618" y="106"/>
                    <a:pt x="1622" y="104"/>
                  </a:cubicBezTo>
                  <a:cubicBezTo>
                    <a:pt x="1626" y="101"/>
                    <a:pt x="1615" y="99"/>
                    <a:pt x="1619" y="98"/>
                  </a:cubicBezTo>
                  <a:cubicBezTo>
                    <a:pt x="1635" y="95"/>
                    <a:pt x="1636" y="98"/>
                    <a:pt x="1637" y="97"/>
                  </a:cubicBezTo>
                  <a:cubicBezTo>
                    <a:pt x="1637" y="97"/>
                    <a:pt x="1640" y="86"/>
                    <a:pt x="1641" y="84"/>
                  </a:cubicBezTo>
                  <a:cubicBezTo>
                    <a:pt x="1643" y="77"/>
                    <a:pt x="1652" y="84"/>
                    <a:pt x="1653" y="82"/>
                  </a:cubicBezTo>
                  <a:cubicBezTo>
                    <a:pt x="1655" y="74"/>
                    <a:pt x="1660" y="75"/>
                    <a:pt x="1664" y="72"/>
                  </a:cubicBezTo>
                  <a:cubicBezTo>
                    <a:pt x="1670" y="68"/>
                    <a:pt x="1664" y="64"/>
                    <a:pt x="1666" y="64"/>
                  </a:cubicBezTo>
                  <a:cubicBezTo>
                    <a:pt x="1666" y="64"/>
                    <a:pt x="1672" y="65"/>
                    <a:pt x="1672" y="63"/>
                  </a:cubicBezTo>
                  <a:cubicBezTo>
                    <a:pt x="1670" y="60"/>
                    <a:pt x="1664" y="58"/>
                    <a:pt x="1663" y="56"/>
                  </a:cubicBezTo>
                  <a:cubicBezTo>
                    <a:pt x="1659" y="43"/>
                    <a:pt x="1657" y="67"/>
                    <a:pt x="1655" y="67"/>
                  </a:cubicBezTo>
                  <a:cubicBezTo>
                    <a:pt x="1651" y="67"/>
                    <a:pt x="1649" y="61"/>
                    <a:pt x="1646" y="59"/>
                  </a:cubicBezTo>
                  <a:cubicBezTo>
                    <a:pt x="1643" y="57"/>
                    <a:pt x="1650" y="67"/>
                    <a:pt x="1642" y="63"/>
                  </a:cubicBezTo>
                  <a:cubicBezTo>
                    <a:pt x="1641" y="63"/>
                    <a:pt x="1636" y="59"/>
                    <a:pt x="1635" y="61"/>
                  </a:cubicBezTo>
                  <a:cubicBezTo>
                    <a:pt x="1634" y="63"/>
                    <a:pt x="1629" y="65"/>
                    <a:pt x="1639" y="69"/>
                  </a:cubicBezTo>
                  <a:cubicBezTo>
                    <a:pt x="1642" y="69"/>
                    <a:pt x="1647" y="73"/>
                    <a:pt x="1644" y="74"/>
                  </a:cubicBezTo>
                  <a:cubicBezTo>
                    <a:pt x="1641" y="75"/>
                    <a:pt x="1633" y="74"/>
                    <a:pt x="1631" y="76"/>
                  </a:cubicBezTo>
                  <a:cubicBezTo>
                    <a:pt x="1618" y="92"/>
                    <a:pt x="1628" y="72"/>
                    <a:pt x="1612" y="72"/>
                  </a:cubicBezTo>
                  <a:cubicBezTo>
                    <a:pt x="1608" y="72"/>
                    <a:pt x="1613" y="67"/>
                    <a:pt x="1610" y="69"/>
                  </a:cubicBezTo>
                  <a:cubicBezTo>
                    <a:pt x="1595" y="75"/>
                    <a:pt x="1616" y="79"/>
                    <a:pt x="1613" y="87"/>
                  </a:cubicBezTo>
                  <a:cubicBezTo>
                    <a:pt x="1613" y="90"/>
                    <a:pt x="1607" y="84"/>
                    <a:pt x="1607" y="88"/>
                  </a:cubicBezTo>
                  <a:cubicBezTo>
                    <a:pt x="1605" y="101"/>
                    <a:pt x="1604" y="86"/>
                    <a:pt x="1601" y="86"/>
                  </a:cubicBezTo>
                  <a:cubicBezTo>
                    <a:pt x="1598" y="85"/>
                    <a:pt x="1600" y="88"/>
                    <a:pt x="1598" y="88"/>
                  </a:cubicBezTo>
                  <a:cubicBezTo>
                    <a:pt x="1596" y="89"/>
                    <a:pt x="1597" y="84"/>
                    <a:pt x="1598" y="82"/>
                  </a:cubicBezTo>
                  <a:cubicBezTo>
                    <a:pt x="1598" y="81"/>
                    <a:pt x="1596" y="80"/>
                    <a:pt x="1596" y="80"/>
                  </a:cubicBezTo>
                  <a:cubicBezTo>
                    <a:pt x="1584" y="75"/>
                    <a:pt x="1585" y="83"/>
                    <a:pt x="1583" y="83"/>
                  </a:cubicBezTo>
                  <a:cubicBezTo>
                    <a:pt x="1574" y="81"/>
                    <a:pt x="1571" y="73"/>
                    <a:pt x="1576" y="88"/>
                  </a:cubicBezTo>
                  <a:cubicBezTo>
                    <a:pt x="1576" y="89"/>
                    <a:pt x="1577" y="90"/>
                    <a:pt x="1576" y="90"/>
                  </a:cubicBezTo>
                  <a:cubicBezTo>
                    <a:pt x="1567" y="90"/>
                    <a:pt x="1562" y="76"/>
                    <a:pt x="1562" y="87"/>
                  </a:cubicBezTo>
                  <a:cubicBezTo>
                    <a:pt x="1562" y="88"/>
                    <a:pt x="1562" y="88"/>
                    <a:pt x="1561" y="89"/>
                  </a:cubicBezTo>
                  <a:cubicBezTo>
                    <a:pt x="1560" y="90"/>
                    <a:pt x="1525" y="85"/>
                    <a:pt x="1540" y="89"/>
                  </a:cubicBezTo>
                  <a:cubicBezTo>
                    <a:pt x="1540" y="89"/>
                    <a:pt x="1540" y="89"/>
                    <a:pt x="1540" y="89"/>
                  </a:cubicBezTo>
                  <a:cubicBezTo>
                    <a:pt x="1550" y="91"/>
                    <a:pt x="1532" y="95"/>
                    <a:pt x="1544" y="97"/>
                  </a:cubicBezTo>
                  <a:cubicBezTo>
                    <a:pt x="1547" y="98"/>
                    <a:pt x="1563" y="93"/>
                    <a:pt x="1568" y="93"/>
                  </a:cubicBezTo>
                  <a:cubicBezTo>
                    <a:pt x="1568" y="93"/>
                    <a:pt x="1569" y="92"/>
                    <a:pt x="1569" y="93"/>
                  </a:cubicBezTo>
                  <a:cubicBezTo>
                    <a:pt x="1570" y="94"/>
                    <a:pt x="1564" y="96"/>
                    <a:pt x="1564" y="97"/>
                  </a:cubicBezTo>
                  <a:cubicBezTo>
                    <a:pt x="1557" y="99"/>
                    <a:pt x="1551" y="116"/>
                    <a:pt x="1553" y="116"/>
                  </a:cubicBezTo>
                  <a:cubicBezTo>
                    <a:pt x="1562" y="119"/>
                    <a:pt x="1561" y="105"/>
                    <a:pt x="1566" y="105"/>
                  </a:cubicBezTo>
                  <a:cubicBezTo>
                    <a:pt x="1570" y="104"/>
                    <a:pt x="1562" y="113"/>
                    <a:pt x="1570" y="112"/>
                  </a:cubicBezTo>
                  <a:close/>
                  <a:moveTo>
                    <a:pt x="1738" y="16"/>
                  </a:moveTo>
                  <a:cubicBezTo>
                    <a:pt x="1737" y="16"/>
                    <a:pt x="1727" y="15"/>
                    <a:pt x="1725" y="14"/>
                  </a:cubicBezTo>
                  <a:cubicBezTo>
                    <a:pt x="1719" y="12"/>
                    <a:pt x="1727" y="17"/>
                    <a:pt x="1729" y="19"/>
                  </a:cubicBezTo>
                  <a:cubicBezTo>
                    <a:pt x="1734" y="20"/>
                    <a:pt x="1741" y="21"/>
                    <a:pt x="1738" y="16"/>
                  </a:cubicBezTo>
                  <a:close/>
                  <a:moveTo>
                    <a:pt x="1723" y="18"/>
                  </a:moveTo>
                  <a:cubicBezTo>
                    <a:pt x="1724" y="18"/>
                    <a:pt x="1724" y="18"/>
                    <a:pt x="1724" y="18"/>
                  </a:cubicBezTo>
                  <a:cubicBezTo>
                    <a:pt x="1729" y="20"/>
                    <a:pt x="1729" y="20"/>
                    <a:pt x="1729" y="19"/>
                  </a:cubicBezTo>
                  <a:cubicBezTo>
                    <a:pt x="1723" y="17"/>
                    <a:pt x="1719" y="16"/>
                    <a:pt x="1723" y="18"/>
                  </a:cubicBezTo>
                  <a:close/>
                  <a:moveTo>
                    <a:pt x="1685" y="122"/>
                  </a:moveTo>
                  <a:cubicBezTo>
                    <a:pt x="1690" y="116"/>
                    <a:pt x="1683" y="93"/>
                    <a:pt x="1679" y="92"/>
                  </a:cubicBezTo>
                  <a:cubicBezTo>
                    <a:pt x="1671" y="89"/>
                    <a:pt x="1662" y="94"/>
                    <a:pt x="1666" y="93"/>
                  </a:cubicBezTo>
                  <a:cubicBezTo>
                    <a:pt x="1658" y="96"/>
                    <a:pt x="1676" y="99"/>
                    <a:pt x="1670" y="98"/>
                  </a:cubicBezTo>
                  <a:cubicBezTo>
                    <a:pt x="1680" y="100"/>
                    <a:pt x="1675" y="102"/>
                    <a:pt x="1667" y="102"/>
                  </a:cubicBezTo>
                  <a:cubicBezTo>
                    <a:pt x="1663" y="102"/>
                    <a:pt x="1665" y="110"/>
                    <a:pt x="1662" y="105"/>
                  </a:cubicBezTo>
                  <a:cubicBezTo>
                    <a:pt x="1661" y="104"/>
                    <a:pt x="1656" y="102"/>
                    <a:pt x="1655" y="105"/>
                  </a:cubicBezTo>
                  <a:cubicBezTo>
                    <a:pt x="1654" y="113"/>
                    <a:pt x="1659" y="115"/>
                    <a:pt x="1653" y="115"/>
                  </a:cubicBezTo>
                  <a:cubicBezTo>
                    <a:pt x="1651" y="116"/>
                    <a:pt x="1653" y="107"/>
                    <a:pt x="1652" y="105"/>
                  </a:cubicBezTo>
                  <a:cubicBezTo>
                    <a:pt x="1651" y="103"/>
                    <a:pt x="1643" y="101"/>
                    <a:pt x="1644" y="105"/>
                  </a:cubicBezTo>
                  <a:cubicBezTo>
                    <a:pt x="1645" y="107"/>
                    <a:pt x="1646" y="106"/>
                    <a:pt x="1647" y="107"/>
                  </a:cubicBezTo>
                  <a:cubicBezTo>
                    <a:pt x="1649" y="110"/>
                    <a:pt x="1642" y="108"/>
                    <a:pt x="1639" y="108"/>
                  </a:cubicBezTo>
                  <a:cubicBezTo>
                    <a:pt x="1624" y="109"/>
                    <a:pt x="1611" y="131"/>
                    <a:pt x="1627" y="134"/>
                  </a:cubicBezTo>
                  <a:cubicBezTo>
                    <a:pt x="1629" y="135"/>
                    <a:pt x="1629" y="135"/>
                    <a:pt x="1629" y="135"/>
                  </a:cubicBezTo>
                  <a:cubicBezTo>
                    <a:pt x="1633" y="143"/>
                    <a:pt x="1639" y="125"/>
                    <a:pt x="1641" y="125"/>
                  </a:cubicBezTo>
                  <a:cubicBezTo>
                    <a:pt x="1642" y="125"/>
                    <a:pt x="1634" y="143"/>
                    <a:pt x="1636" y="145"/>
                  </a:cubicBezTo>
                  <a:cubicBezTo>
                    <a:pt x="1640" y="148"/>
                    <a:pt x="1663" y="144"/>
                    <a:pt x="1663" y="140"/>
                  </a:cubicBezTo>
                  <a:cubicBezTo>
                    <a:pt x="1663" y="138"/>
                    <a:pt x="1656" y="139"/>
                    <a:pt x="1655" y="138"/>
                  </a:cubicBezTo>
                  <a:cubicBezTo>
                    <a:pt x="1654" y="136"/>
                    <a:pt x="1666" y="135"/>
                    <a:pt x="1667" y="135"/>
                  </a:cubicBezTo>
                  <a:cubicBezTo>
                    <a:pt x="1673" y="132"/>
                    <a:pt x="1680" y="127"/>
                    <a:pt x="1685" y="122"/>
                  </a:cubicBezTo>
                  <a:close/>
                  <a:moveTo>
                    <a:pt x="1585" y="145"/>
                  </a:moveTo>
                  <a:cubicBezTo>
                    <a:pt x="1599" y="148"/>
                    <a:pt x="1612" y="151"/>
                    <a:pt x="1627" y="151"/>
                  </a:cubicBezTo>
                  <a:cubicBezTo>
                    <a:pt x="1628" y="151"/>
                    <a:pt x="1628" y="151"/>
                    <a:pt x="1628" y="151"/>
                  </a:cubicBezTo>
                  <a:cubicBezTo>
                    <a:pt x="1641" y="149"/>
                    <a:pt x="1609" y="128"/>
                    <a:pt x="1607" y="129"/>
                  </a:cubicBezTo>
                  <a:cubicBezTo>
                    <a:pt x="1606" y="129"/>
                    <a:pt x="1605" y="130"/>
                    <a:pt x="1605" y="131"/>
                  </a:cubicBezTo>
                  <a:cubicBezTo>
                    <a:pt x="1608" y="147"/>
                    <a:pt x="1599" y="128"/>
                    <a:pt x="1599" y="128"/>
                  </a:cubicBezTo>
                  <a:cubicBezTo>
                    <a:pt x="1589" y="130"/>
                    <a:pt x="1583" y="131"/>
                    <a:pt x="1583" y="132"/>
                  </a:cubicBezTo>
                  <a:cubicBezTo>
                    <a:pt x="1583" y="134"/>
                    <a:pt x="1587" y="138"/>
                    <a:pt x="1584" y="139"/>
                  </a:cubicBezTo>
                  <a:cubicBezTo>
                    <a:pt x="1581" y="140"/>
                    <a:pt x="1580" y="132"/>
                    <a:pt x="1574" y="135"/>
                  </a:cubicBezTo>
                  <a:cubicBezTo>
                    <a:pt x="1573" y="135"/>
                    <a:pt x="1573" y="135"/>
                    <a:pt x="1573" y="136"/>
                  </a:cubicBezTo>
                  <a:cubicBezTo>
                    <a:pt x="1571" y="141"/>
                    <a:pt x="1582" y="145"/>
                    <a:pt x="1585" y="145"/>
                  </a:cubicBezTo>
                  <a:close/>
                  <a:moveTo>
                    <a:pt x="1255" y="178"/>
                  </a:moveTo>
                  <a:cubicBezTo>
                    <a:pt x="1251" y="178"/>
                    <a:pt x="1247" y="159"/>
                    <a:pt x="1246" y="175"/>
                  </a:cubicBezTo>
                  <a:cubicBezTo>
                    <a:pt x="1245" y="175"/>
                    <a:pt x="1238" y="183"/>
                    <a:pt x="1241" y="183"/>
                  </a:cubicBezTo>
                  <a:cubicBezTo>
                    <a:pt x="1249" y="184"/>
                    <a:pt x="1240" y="184"/>
                    <a:pt x="1243" y="190"/>
                  </a:cubicBezTo>
                  <a:cubicBezTo>
                    <a:pt x="1243" y="190"/>
                    <a:pt x="1243" y="190"/>
                    <a:pt x="1243" y="190"/>
                  </a:cubicBezTo>
                  <a:cubicBezTo>
                    <a:pt x="1247" y="194"/>
                    <a:pt x="1274" y="178"/>
                    <a:pt x="1271" y="175"/>
                  </a:cubicBezTo>
                  <a:cubicBezTo>
                    <a:pt x="1260" y="166"/>
                    <a:pt x="1265" y="179"/>
                    <a:pt x="1255" y="178"/>
                  </a:cubicBezTo>
                  <a:close/>
                  <a:moveTo>
                    <a:pt x="1280" y="222"/>
                  </a:moveTo>
                  <a:cubicBezTo>
                    <a:pt x="1282" y="226"/>
                    <a:pt x="1288" y="224"/>
                    <a:pt x="1291" y="224"/>
                  </a:cubicBezTo>
                  <a:cubicBezTo>
                    <a:pt x="1311" y="220"/>
                    <a:pt x="1316" y="204"/>
                    <a:pt x="1332" y="195"/>
                  </a:cubicBezTo>
                  <a:cubicBezTo>
                    <a:pt x="1333" y="195"/>
                    <a:pt x="1334" y="192"/>
                    <a:pt x="1334" y="191"/>
                  </a:cubicBezTo>
                  <a:cubicBezTo>
                    <a:pt x="1329" y="183"/>
                    <a:pt x="1326" y="195"/>
                    <a:pt x="1323" y="192"/>
                  </a:cubicBezTo>
                  <a:cubicBezTo>
                    <a:pt x="1319" y="188"/>
                    <a:pt x="1324" y="177"/>
                    <a:pt x="1311" y="187"/>
                  </a:cubicBezTo>
                  <a:cubicBezTo>
                    <a:pt x="1310" y="188"/>
                    <a:pt x="1309" y="189"/>
                    <a:pt x="1309" y="190"/>
                  </a:cubicBezTo>
                  <a:cubicBezTo>
                    <a:pt x="1309" y="191"/>
                    <a:pt x="1311" y="194"/>
                    <a:pt x="1309" y="193"/>
                  </a:cubicBezTo>
                  <a:cubicBezTo>
                    <a:pt x="1294" y="191"/>
                    <a:pt x="1304" y="174"/>
                    <a:pt x="1294" y="180"/>
                  </a:cubicBezTo>
                  <a:cubicBezTo>
                    <a:pt x="1290" y="183"/>
                    <a:pt x="1295" y="171"/>
                    <a:pt x="1289" y="177"/>
                  </a:cubicBezTo>
                  <a:cubicBezTo>
                    <a:pt x="1287" y="180"/>
                    <a:pt x="1277" y="180"/>
                    <a:pt x="1278" y="182"/>
                  </a:cubicBezTo>
                  <a:cubicBezTo>
                    <a:pt x="1280" y="185"/>
                    <a:pt x="1286" y="186"/>
                    <a:pt x="1280" y="189"/>
                  </a:cubicBezTo>
                  <a:cubicBezTo>
                    <a:pt x="1279" y="189"/>
                    <a:pt x="1259" y="182"/>
                    <a:pt x="1258" y="191"/>
                  </a:cubicBezTo>
                  <a:cubicBezTo>
                    <a:pt x="1257" y="194"/>
                    <a:pt x="1269" y="194"/>
                    <a:pt x="1266" y="197"/>
                  </a:cubicBezTo>
                  <a:cubicBezTo>
                    <a:pt x="1263" y="199"/>
                    <a:pt x="1248" y="198"/>
                    <a:pt x="1249" y="201"/>
                  </a:cubicBezTo>
                  <a:cubicBezTo>
                    <a:pt x="1251" y="210"/>
                    <a:pt x="1275" y="212"/>
                    <a:pt x="1280" y="222"/>
                  </a:cubicBezTo>
                  <a:close/>
                  <a:moveTo>
                    <a:pt x="1313" y="164"/>
                  </a:moveTo>
                  <a:cubicBezTo>
                    <a:pt x="1310" y="161"/>
                    <a:pt x="1291" y="169"/>
                    <a:pt x="1320" y="175"/>
                  </a:cubicBezTo>
                  <a:cubicBezTo>
                    <a:pt x="1320" y="175"/>
                    <a:pt x="1320" y="175"/>
                    <a:pt x="1320" y="175"/>
                  </a:cubicBezTo>
                  <a:cubicBezTo>
                    <a:pt x="1337" y="174"/>
                    <a:pt x="1317" y="168"/>
                    <a:pt x="1313" y="164"/>
                  </a:cubicBezTo>
                  <a:close/>
                  <a:moveTo>
                    <a:pt x="1285" y="164"/>
                  </a:moveTo>
                  <a:cubicBezTo>
                    <a:pt x="1285" y="164"/>
                    <a:pt x="1275" y="159"/>
                    <a:pt x="1275" y="165"/>
                  </a:cubicBezTo>
                  <a:cubicBezTo>
                    <a:pt x="1275" y="166"/>
                    <a:pt x="1282" y="169"/>
                    <a:pt x="1283" y="171"/>
                  </a:cubicBezTo>
                  <a:cubicBezTo>
                    <a:pt x="1283" y="171"/>
                    <a:pt x="1283" y="171"/>
                    <a:pt x="1283" y="171"/>
                  </a:cubicBezTo>
                  <a:cubicBezTo>
                    <a:pt x="1287" y="179"/>
                    <a:pt x="1302" y="155"/>
                    <a:pt x="1293" y="150"/>
                  </a:cubicBezTo>
                  <a:cubicBezTo>
                    <a:pt x="1283" y="144"/>
                    <a:pt x="1286" y="161"/>
                    <a:pt x="1285" y="164"/>
                  </a:cubicBezTo>
                  <a:close/>
                  <a:moveTo>
                    <a:pt x="1191" y="293"/>
                  </a:moveTo>
                  <a:cubicBezTo>
                    <a:pt x="1194" y="276"/>
                    <a:pt x="1182" y="286"/>
                    <a:pt x="1179" y="284"/>
                  </a:cubicBezTo>
                  <a:cubicBezTo>
                    <a:pt x="1174" y="280"/>
                    <a:pt x="1193" y="275"/>
                    <a:pt x="1183" y="270"/>
                  </a:cubicBezTo>
                  <a:cubicBezTo>
                    <a:pt x="1182" y="269"/>
                    <a:pt x="1182" y="269"/>
                    <a:pt x="1182" y="269"/>
                  </a:cubicBezTo>
                  <a:cubicBezTo>
                    <a:pt x="1175" y="262"/>
                    <a:pt x="1172" y="281"/>
                    <a:pt x="1168" y="279"/>
                  </a:cubicBezTo>
                  <a:cubicBezTo>
                    <a:pt x="1165" y="278"/>
                    <a:pt x="1175" y="264"/>
                    <a:pt x="1171" y="258"/>
                  </a:cubicBezTo>
                  <a:cubicBezTo>
                    <a:pt x="1167" y="253"/>
                    <a:pt x="1163" y="265"/>
                    <a:pt x="1162" y="265"/>
                  </a:cubicBezTo>
                  <a:cubicBezTo>
                    <a:pt x="1160" y="265"/>
                    <a:pt x="1155" y="251"/>
                    <a:pt x="1152" y="256"/>
                  </a:cubicBezTo>
                  <a:cubicBezTo>
                    <a:pt x="1147" y="264"/>
                    <a:pt x="1161" y="264"/>
                    <a:pt x="1152" y="270"/>
                  </a:cubicBezTo>
                  <a:cubicBezTo>
                    <a:pt x="1150" y="271"/>
                    <a:pt x="1142" y="251"/>
                    <a:pt x="1136" y="255"/>
                  </a:cubicBezTo>
                  <a:cubicBezTo>
                    <a:pt x="1128" y="261"/>
                    <a:pt x="1154" y="275"/>
                    <a:pt x="1151" y="277"/>
                  </a:cubicBezTo>
                  <a:cubicBezTo>
                    <a:pt x="1146" y="283"/>
                    <a:pt x="1131" y="262"/>
                    <a:pt x="1122" y="266"/>
                  </a:cubicBezTo>
                  <a:cubicBezTo>
                    <a:pt x="1119" y="267"/>
                    <a:pt x="1123" y="269"/>
                    <a:pt x="1124" y="270"/>
                  </a:cubicBezTo>
                  <a:cubicBezTo>
                    <a:pt x="1128" y="276"/>
                    <a:pt x="1126" y="274"/>
                    <a:pt x="1122" y="276"/>
                  </a:cubicBezTo>
                  <a:cubicBezTo>
                    <a:pt x="1119" y="277"/>
                    <a:pt x="1113" y="267"/>
                    <a:pt x="1110" y="271"/>
                  </a:cubicBezTo>
                  <a:cubicBezTo>
                    <a:pt x="1105" y="280"/>
                    <a:pt x="1137" y="282"/>
                    <a:pt x="1138" y="283"/>
                  </a:cubicBezTo>
                  <a:cubicBezTo>
                    <a:pt x="1139" y="284"/>
                    <a:pt x="1122" y="285"/>
                    <a:pt x="1121" y="285"/>
                  </a:cubicBezTo>
                  <a:cubicBezTo>
                    <a:pt x="1117" y="286"/>
                    <a:pt x="1132" y="290"/>
                    <a:pt x="1129" y="293"/>
                  </a:cubicBezTo>
                  <a:cubicBezTo>
                    <a:pt x="1128" y="294"/>
                    <a:pt x="1126" y="292"/>
                    <a:pt x="1125" y="292"/>
                  </a:cubicBezTo>
                  <a:cubicBezTo>
                    <a:pt x="1113" y="284"/>
                    <a:pt x="1090" y="286"/>
                    <a:pt x="1083" y="293"/>
                  </a:cubicBezTo>
                  <a:cubicBezTo>
                    <a:pt x="1081" y="295"/>
                    <a:pt x="1097" y="293"/>
                    <a:pt x="1097" y="293"/>
                  </a:cubicBezTo>
                  <a:cubicBezTo>
                    <a:pt x="1103" y="294"/>
                    <a:pt x="1101" y="295"/>
                    <a:pt x="1106" y="301"/>
                  </a:cubicBezTo>
                  <a:cubicBezTo>
                    <a:pt x="1107" y="303"/>
                    <a:pt x="1100" y="300"/>
                    <a:pt x="1100" y="300"/>
                  </a:cubicBezTo>
                  <a:cubicBezTo>
                    <a:pt x="1097" y="300"/>
                    <a:pt x="1085" y="300"/>
                    <a:pt x="1085" y="302"/>
                  </a:cubicBezTo>
                  <a:cubicBezTo>
                    <a:pt x="1084" y="305"/>
                    <a:pt x="1089" y="304"/>
                    <a:pt x="1090" y="304"/>
                  </a:cubicBezTo>
                  <a:cubicBezTo>
                    <a:pt x="1091" y="303"/>
                    <a:pt x="1103" y="308"/>
                    <a:pt x="1103" y="311"/>
                  </a:cubicBezTo>
                  <a:cubicBezTo>
                    <a:pt x="1103" y="313"/>
                    <a:pt x="1106" y="310"/>
                    <a:pt x="1107" y="311"/>
                  </a:cubicBezTo>
                  <a:cubicBezTo>
                    <a:pt x="1109" y="318"/>
                    <a:pt x="1083" y="311"/>
                    <a:pt x="1083" y="315"/>
                  </a:cubicBezTo>
                  <a:cubicBezTo>
                    <a:pt x="1083" y="319"/>
                    <a:pt x="1097" y="325"/>
                    <a:pt x="1105" y="321"/>
                  </a:cubicBezTo>
                  <a:cubicBezTo>
                    <a:pt x="1105" y="321"/>
                    <a:pt x="1109" y="318"/>
                    <a:pt x="1109" y="319"/>
                  </a:cubicBezTo>
                  <a:cubicBezTo>
                    <a:pt x="1110" y="323"/>
                    <a:pt x="1089" y="334"/>
                    <a:pt x="1079" y="332"/>
                  </a:cubicBezTo>
                  <a:cubicBezTo>
                    <a:pt x="1076" y="331"/>
                    <a:pt x="1075" y="333"/>
                    <a:pt x="1074" y="334"/>
                  </a:cubicBezTo>
                  <a:cubicBezTo>
                    <a:pt x="1073" y="335"/>
                    <a:pt x="1073" y="340"/>
                    <a:pt x="1074" y="340"/>
                  </a:cubicBezTo>
                  <a:cubicBezTo>
                    <a:pt x="1078" y="342"/>
                    <a:pt x="1104" y="335"/>
                    <a:pt x="1106" y="338"/>
                  </a:cubicBezTo>
                  <a:cubicBezTo>
                    <a:pt x="1106" y="339"/>
                    <a:pt x="1094" y="349"/>
                    <a:pt x="1098" y="350"/>
                  </a:cubicBezTo>
                  <a:cubicBezTo>
                    <a:pt x="1110" y="354"/>
                    <a:pt x="1116" y="325"/>
                    <a:pt x="1136" y="319"/>
                  </a:cubicBezTo>
                  <a:cubicBezTo>
                    <a:pt x="1142" y="316"/>
                    <a:pt x="1139" y="321"/>
                    <a:pt x="1138" y="324"/>
                  </a:cubicBezTo>
                  <a:cubicBezTo>
                    <a:pt x="1138" y="324"/>
                    <a:pt x="1178" y="329"/>
                    <a:pt x="1183" y="320"/>
                  </a:cubicBezTo>
                  <a:cubicBezTo>
                    <a:pt x="1184" y="319"/>
                    <a:pt x="1173" y="315"/>
                    <a:pt x="1172" y="312"/>
                  </a:cubicBezTo>
                  <a:cubicBezTo>
                    <a:pt x="1172" y="311"/>
                    <a:pt x="1175" y="312"/>
                    <a:pt x="1175" y="312"/>
                  </a:cubicBezTo>
                  <a:cubicBezTo>
                    <a:pt x="1183" y="312"/>
                    <a:pt x="1178" y="306"/>
                    <a:pt x="1176" y="302"/>
                  </a:cubicBezTo>
                  <a:cubicBezTo>
                    <a:pt x="1176" y="301"/>
                    <a:pt x="1174" y="301"/>
                    <a:pt x="1175" y="299"/>
                  </a:cubicBezTo>
                  <a:cubicBezTo>
                    <a:pt x="1178" y="296"/>
                    <a:pt x="1191" y="296"/>
                    <a:pt x="1191" y="293"/>
                  </a:cubicBezTo>
                  <a:close/>
                  <a:moveTo>
                    <a:pt x="1324" y="215"/>
                  </a:moveTo>
                  <a:cubicBezTo>
                    <a:pt x="1353" y="212"/>
                    <a:pt x="1367" y="172"/>
                    <a:pt x="1314" y="215"/>
                  </a:cubicBezTo>
                  <a:cubicBezTo>
                    <a:pt x="1314" y="216"/>
                    <a:pt x="1314" y="216"/>
                    <a:pt x="1314" y="216"/>
                  </a:cubicBezTo>
                  <a:cubicBezTo>
                    <a:pt x="1318" y="218"/>
                    <a:pt x="1320" y="215"/>
                    <a:pt x="1324" y="215"/>
                  </a:cubicBezTo>
                  <a:close/>
                  <a:moveTo>
                    <a:pt x="1098" y="379"/>
                  </a:moveTo>
                  <a:cubicBezTo>
                    <a:pt x="1093" y="366"/>
                    <a:pt x="1081" y="388"/>
                    <a:pt x="1077" y="393"/>
                  </a:cubicBezTo>
                  <a:cubicBezTo>
                    <a:pt x="1077" y="394"/>
                    <a:pt x="1077" y="394"/>
                    <a:pt x="1077" y="394"/>
                  </a:cubicBezTo>
                  <a:cubicBezTo>
                    <a:pt x="1080" y="396"/>
                    <a:pt x="1106" y="390"/>
                    <a:pt x="1107" y="387"/>
                  </a:cubicBezTo>
                  <a:cubicBezTo>
                    <a:pt x="1108" y="385"/>
                    <a:pt x="1099" y="381"/>
                    <a:pt x="1098" y="379"/>
                  </a:cubicBezTo>
                  <a:close/>
                  <a:moveTo>
                    <a:pt x="1110" y="381"/>
                  </a:moveTo>
                  <a:cubicBezTo>
                    <a:pt x="1114" y="384"/>
                    <a:pt x="1134" y="373"/>
                    <a:pt x="1132" y="369"/>
                  </a:cubicBezTo>
                  <a:cubicBezTo>
                    <a:pt x="1129" y="364"/>
                    <a:pt x="1108" y="358"/>
                    <a:pt x="1111" y="366"/>
                  </a:cubicBezTo>
                  <a:cubicBezTo>
                    <a:pt x="1112" y="368"/>
                    <a:pt x="1123" y="378"/>
                    <a:pt x="1113" y="371"/>
                  </a:cubicBezTo>
                  <a:cubicBezTo>
                    <a:pt x="1096" y="360"/>
                    <a:pt x="1102" y="367"/>
                    <a:pt x="1110" y="381"/>
                  </a:cubicBezTo>
                  <a:close/>
                  <a:moveTo>
                    <a:pt x="1134" y="350"/>
                  </a:moveTo>
                  <a:cubicBezTo>
                    <a:pt x="1156" y="339"/>
                    <a:pt x="1147" y="320"/>
                    <a:pt x="1131" y="349"/>
                  </a:cubicBezTo>
                  <a:cubicBezTo>
                    <a:pt x="1131" y="349"/>
                    <a:pt x="1131" y="349"/>
                    <a:pt x="1131" y="349"/>
                  </a:cubicBezTo>
                  <a:cubicBezTo>
                    <a:pt x="1132" y="351"/>
                    <a:pt x="1133" y="351"/>
                    <a:pt x="1134" y="350"/>
                  </a:cubicBezTo>
                  <a:close/>
                  <a:moveTo>
                    <a:pt x="913" y="361"/>
                  </a:moveTo>
                  <a:cubicBezTo>
                    <a:pt x="906" y="358"/>
                    <a:pt x="905" y="368"/>
                    <a:pt x="913" y="369"/>
                  </a:cubicBezTo>
                  <a:cubicBezTo>
                    <a:pt x="913" y="369"/>
                    <a:pt x="913" y="369"/>
                    <a:pt x="913" y="369"/>
                  </a:cubicBezTo>
                  <a:cubicBezTo>
                    <a:pt x="924" y="369"/>
                    <a:pt x="918" y="362"/>
                    <a:pt x="913" y="361"/>
                  </a:cubicBezTo>
                  <a:close/>
                  <a:moveTo>
                    <a:pt x="142" y="1357"/>
                  </a:moveTo>
                  <a:cubicBezTo>
                    <a:pt x="142" y="1357"/>
                    <a:pt x="142" y="1357"/>
                    <a:pt x="142" y="1357"/>
                  </a:cubicBezTo>
                  <a:cubicBezTo>
                    <a:pt x="144" y="1355"/>
                    <a:pt x="120" y="1348"/>
                    <a:pt x="115" y="1352"/>
                  </a:cubicBezTo>
                  <a:cubicBezTo>
                    <a:pt x="112" y="1354"/>
                    <a:pt x="136" y="1359"/>
                    <a:pt x="142" y="1357"/>
                  </a:cubicBezTo>
                  <a:close/>
                  <a:moveTo>
                    <a:pt x="834" y="653"/>
                  </a:moveTo>
                  <a:cubicBezTo>
                    <a:pt x="838" y="656"/>
                    <a:pt x="840" y="664"/>
                    <a:pt x="844" y="664"/>
                  </a:cubicBezTo>
                  <a:cubicBezTo>
                    <a:pt x="844" y="663"/>
                    <a:pt x="844" y="663"/>
                    <a:pt x="844" y="663"/>
                  </a:cubicBezTo>
                  <a:cubicBezTo>
                    <a:pt x="846" y="662"/>
                    <a:pt x="848" y="646"/>
                    <a:pt x="850" y="641"/>
                  </a:cubicBezTo>
                  <a:cubicBezTo>
                    <a:pt x="852" y="634"/>
                    <a:pt x="847" y="640"/>
                    <a:pt x="844" y="643"/>
                  </a:cubicBezTo>
                  <a:cubicBezTo>
                    <a:pt x="839" y="651"/>
                    <a:pt x="828" y="639"/>
                    <a:pt x="826" y="651"/>
                  </a:cubicBezTo>
                  <a:cubicBezTo>
                    <a:pt x="825" y="654"/>
                    <a:pt x="833" y="652"/>
                    <a:pt x="834" y="653"/>
                  </a:cubicBezTo>
                  <a:close/>
                  <a:moveTo>
                    <a:pt x="706" y="802"/>
                  </a:move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lose/>
                  <a:moveTo>
                    <a:pt x="856" y="606"/>
                  </a:moveTo>
                  <a:cubicBezTo>
                    <a:pt x="875" y="600"/>
                    <a:pt x="840" y="596"/>
                    <a:pt x="846" y="608"/>
                  </a:cubicBezTo>
                  <a:cubicBezTo>
                    <a:pt x="846" y="609"/>
                    <a:pt x="855" y="606"/>
                    <a:pt x="856" y="606"/>
                  </a:cubicBezTo>
                  <a:close/>
                  <a:moveTo>
                    <a:pt x="849" y="466"/>
                  </a:moveTo>
                  <a:cubicBezTo>
                    <a:pt x="856" y="456"/>
                    <a:pt x="824" y="455"/>
                    <a:pt x="833" y="462"/>
                  </a:cubicBezTo>
                  <a:cubicBezTo>
                    <a:pt x="835" y="464"/>
                    <a:pt x="840" y="467"/>
                    <a:pt x="843" y="469"/>
                  </a:cubicBezTo>
                  <a:cubicBezTo>
                    <a:pt x="843" y="469"/>
                    <a:pt x="843" y="469"/>
                    <a:pt x="843" y="469"/>
                  </a:cubicBezTo>
                  <a:cubicBezTo>
                    <a:pt x="846" y="469"/>
                    <a:pt x="847" y="469"/>
                    <a:pt x="849" y="466"/>
                  </a:cubicBezTo>
                  <a:close/>
                  <a:moveTo>
                    <a:pt x="726" y="818"/>
                  </a:moveTo>
                  <a:cubicBezTo>
                    <a:pt x="727" y="817"/>
                    <a:pt x="727" y="817"/>
                    <a:pt x="727" y="817"/>
                  </a:cubicBezTo>
                  <a:cubicBezTo>
                    <a:pt x="729" y="816"/>
                    <a:pt x="729" y="815"/>
                    <a:pt x="727" y="814"/>
                  </a:cubicBezTo>
                  <a:cubicBezTo>
                    <a:pt x="718" y="812"/>
                    <a:pt x="711" y="823"/>
                    <a:pt x="703" y="822"/>
                  </a:cubicBezTo>
                  <a:cubicBezTo>
                    <a:pt x="699" y="822"/>
                    <a:pt x="709" y="815"/>
                    <a:pt x="705" y="815"/>
                  </a:cubicBezTo>
                  <a:cubicBezTo>
                    <a:pt x="696" y="814"/>
                    <a:pt x="691" y="821"/>
                    <a:pt x="688" y="827"/>
                  </a:cubicBezTo>
                  <a:cubicBezTo>
                    <a:pt x="687" y="829"/>
                    <a:pt x="680" y="831"/>
                    <a:pt x="681" y="835"/>
                  </a:cubicBezTo>
                  <a:cubicBezTo>
                    <a:pt x="681" y="835"/>
                    <a:pt x="692" y="832"/>
                    <a:pt x="691" y="835"/>
                  </a:cubicBezTo>
                  <a:cubicBezTo>
                    <a:pt x="689" y="840"/>
                    <a:pt x="711" y="822"/>
                    <a:pt x="726" y="818"/>
                  </a:cubicBezTo>
                  <a:close/>
                  <a:moveTo>
                    <a:pt x="1057" y="363"/>
                  </a:moveTo>
                  <a:cubicBezTo>
                    <a:pt x="1062" y="355"/>
                    <a:pt x="1043" y="357"/>
                    <a:pt x="1037" y="353"/>
                  </a:cubicBezTo>
                  <a:cubicBezTo>
                    <a:pt x="1024" y="344"/>
                    <a:pt x="1033" y="366"/>
                    <a:pt x="1050" y="369"/>
                  </a:cubicBezTo>
                  <a:cubicBezTo>
                    <a:pt x="1050" y="369"/>
                    <a:pt x="1050" y="369"/>
                    <a:pt x="1050" y="369"/>
                  </a:cubicBezTo>
                  <a:cubicBezTo>
                    <a:pt x="1058" y="370"/>
                    <a:pt x="1055" y="367"/>
                    <a:pt x="1057" y="363"/>
                  </a:cubicBezTo>
                  <a:close/>
                  <a:moveTo>
                    <a:pt x="737" y="514"/>
                  </a:moveTo>
                  <a:cubicBezTo>
                    <a:pt x="739" y="513"/>
                    <a:pt x="739" y="519"/>
                    <a:pt x="742" y="519"/>
                  </a:cubicBezTo>
                  <a:cubicBezTo>
                    <a:pt x="746" y="519"/>
                    <a:pt x="752" y="515"/>
                    <a:pt x="748" y="508"/>
                  </a:cubicBezTo>
                  <a:cubicBezTo>
                    <a:pt x="748" y="508"/>
                    <a:pt x="748" y="508"/>
                    <a:pt x="748" y="508"/>
                  </a:cubicBezTo>
                  <a:cubicBezTo>
                    <a:pt x="747" y="500"/>
                    <a:pt x="744" y="510"/>
                    <a:pt x="743" y="504"/>
                  </a:cubicBezTo>
                  <a:cubicBezTo>
                    <a:pt x="743" y="501"/>
                    <a:pt x="747" y="500"/>
                    <a:pt x="749" y="497"/>
                  </a:cubicBezTo>
                  <a:cubicBezTo>
                    <a:pt x="750" y="496"/>
                    <a:pt x="743" y="487"/>
                    <a:pt x="742" y="495"/>
                  </a:cubicBezTo>
                  <a:cubicBezTo>
                    <a:pt x="742" y="496"/>
                    <a:pt x="742" y="496"/>
                    <a:pt x="742" y="496"/>
                  </a:cubicBezTo>
                  <a:cubicBezTo>
                    <a:pt x="742" y="496"/>
                    <a:pt x="741" y="498"/>
                    <a:pt x="741" y="498"/>
                  </a:cubicBezTo>
                  <a:cubicBezTo>
                    <a:pt x="734" y="506"/>
                    <a:pt x="716" y="536"/>
                    <a:pt x="718" y="538"/>
                  </a:cubicBezTo>
                  <a:cubicBezTo>
                    <a:pt x="722" y="543"/>
                    <a:pt x="726" y="532"/>
                    <a:pt x="728" y="531"/>
                  </a:cubicBezTo>
                  <a:cubicBezTo>
                    <a:pt x="750" y="523"/>
                    <a:pt x="730" y="519"/>
                    <a:pt x="737" y="514"/>
                  </a:cubicBezTo>
                  <a:close/>
                  <a:moveTo>
                    <a:pt x="762" y="508"/>
                  </a:moveTo>
                  <a:cubicBezTo>
                    <a:pt x="763" y="508"/>
                    <a:pt x="763" y="508"/>
                    <a:pt x="763" y="508"/>
                  </a:cubicBezTo>
                  <a:cubicBezTo>
                    <a:pt x="789" y="481"/>
                    <a:pt x="763" y="481"/>
                    <a:pt x="762" y="488"/>
                  </a:cubicBezTo>
                  <a:cubicBezTo>
                    <a:pt x="762" y="491"/>
                    <a:pt x="768" y="492"/>
                    <a:pt x="766" y="496"/>
                  </a:cubicBezTo>
                  <a:cubicBezTo>
                    <a:pt x="764" y="499"/>
                    <a:pt x="754" y="490"/>
                    <a:pt x="752" y="504"/>
                  </a:cubicBezTo>
                  <a:cubicBezTo>
                    <a:pt x="751" y="512"/>
                    <a:pt x="756" y="502"/>
                    <a:pt x="756" y="502"/>
                  </a:cubicBezTo>
                  <a:cubicBezTo>
                    <a:pt x="760" y="504"/>
                    <a:pt x="754" y="514"/>
                    <a:pt x="762" y="508"/>
                  </a:cubicBezTo>
                  <a:close/>
                  <a:moveTo>
                    <a:pt x="993" y="343"/>
                  </a:moveTo>
                  <a:cubicBezTo>
                    <a:pt x="993" y="335"/>
                    <a:pt x="1032" y="313"/>
                    <a:pt x="1016" y="301"/>
                  </a:cubicBezTo>
                  <a:cubicBezTo>
                    <a:pt x="1015" y="300"/>
                    <a:pt x="1014" y="301"/>
                    <a:pt x="1013" y="302"/>
                  </a:cubicBezTo>
                  <a:cubicBezTo>
                    <a:pt x="1009" y="304"/>
                    <a:pt x="966" y="335"/>
                    <a:pt x="966" y="335"/>
                  </a:cubicBezTo>
                  <a:cubicBezTo>
                    <a:pt x="961" y="345"/>
                    <a:pt x="957" y="356"/>
                    <a:pt x="953" y="364"/>
                  </a:cubicBezTo>
                  <a:cubicBezTo>
                    <a:pt x="953" y="365"/>
                    <a:pt x="953" y="365"/>
                    <a:pt x="953" y="365"/>
                  </a:cubicBezTo>
                  <a:cubicBezTo>
                    <a:pt x="950" y="374"/>
                    <a:pt x="962" y="366"/>
                    <a:pt x="964" y="361"/>
                  </a:cubicBezTo>
                  <a:cubicBezTo>
                    <a:pt x="966" y="357"/>
                    <a:pt x="965" y="351"/>
                    <a:pt x="965" y="351"/>
                  </a:cubicBezTo>
                  <a:cubicBezTo>
                    <a:pt x="965" y="351"/>
                    <a:pt x="993" y="356"/>
                    <a:pt x="993" y="343"/>
                  </a:cubicBezTo>
                  <a:close/>
                  <a:moveTo>
                    <a:pt x="916" y="464"/>
                  </a:moveTo>
                  <a:cubicBezTo>
                    <a:pt x="913" y="458"/>
                    <a:pt x="902" y="466"/>
                    <a:pt x="905" y="471"/>
                  </a:cubicBezTo>
                  <a:cubicBezTo>
                    <a:pt x="908" y="476"/>
                    <a:pt x="912" y="471"/>
                    <a:pt x="914" y="467"/>
                  </a:cubicBezTo>
                  <a:cubicBezTo>
                    <a:pt x="914" y="467"/>
                    <a:pt x="914" y="467"/>
                    <a:pt x="914" y="467"/>
                  </a:cubicBezTo>
                  <a:cubicBezTo>
                    <a:pt x="915" y="466"/>
                    <a:pt x="915" y="465"/>
                    <a:pt x="916" y="464"/>
                  </a:cubicBezTo>
                  <a:close/>
                  <a:moveTo>
                    <a:pt x="916" y="465"/>
                  </a:moveTo>
                  <a:cubicBezTo>
                    <a:pt x="916" y="464"/>
                    <a:pt x="916" y="464"/>
                    <a:pt x="916" y="464"/>
                  </a:cubicBezTo>
                  <a:cubicBezTo>
                    <a:pt x="915" y="465"/>
                    <a:pt x="915" y="466"/>
                    <a:pt x="914" y="467"/>
                  </a:cubicBezTo>
                  <a:cubicBezTo>
                    <a:pt x="914" y="467"/>
                    <a:pt x="914" y="467"/>
                    <a:pt x="914" y="467"/>
                  </a:cubicBezTo>
                  <a:cubicBezTo>
                    <a:pt x="915" y="466"/>
                    <a:pt x="916" y="465"/>
                    <a:pt x="916" y="465"/>
                  </a:cubicBezTo>
                  <a:close/>
                  <a:moveTo>
                    <a:pt x="1812" y="28"/>
                  </a:moveTo>
                  <a:cubicBezTo>
                    <a:pt x="1813" y="28"/>
                    <a:pt x="1813" y="28"/>
                    <a:pt x="1813" y="28"/>
                  </a:cubicBezTo>
                  <a:cubicBezTo>
                    <a:pt x="1829" y="21"/>
                    <a:pt x="1799" y="18"/>
                    <a:pt x="1812" y="28"/>
                  </a:cubicBezTo>
                  <a:close/>
                  <a:moveTo>
                    <a:pt x="1775" y="26"/>
                  </a:moveTo>
                  <a:cubicBezTo>
                    <a:pt x="1774" y="30"/>
                    <a:pt x="1786" y="30"/>
                    <a:pt x="1788" y="30"/>
                  </a:cubicBezTo>
                  <a:cubicBezTo>
                    <a:pt x="1789" y="30"/>
                    <a:pt x="1789" y="30"/>
                    <a:pt x="1789" y="30"/>
                  </a:cubicBezTo>
                  <a:cubicBezTo>
                    <a:pt x="1797" y="29"/>
                    <a:pt x="1775" y="24"/>
                    <a:pt x="1775" y="26"/>
                  </a:cubicBezTo>
                  <a:close/>
                  <a:moveTo>
                    <a:pt x="1792" y="24"/>
                  </a:moveTo>
                  <a:cubicBezTo>
                    <a:pt x="1805" y="23"/>
                    <a:pt x="1796" y="4"/>
                    <a:pt x="1788" y="11"/>
                  </a:cubicBezTo>
                  <a:cubicBezTo>
                    <a:pt x="1786" y="14"/>
                    <a:pt x="1795" y="15"/>
                    <a:pt x="1792" y="17"/>
                  </a:cubicBezTo>
                  <a:cubicBezTo>
                    <a:pt x="1789" y="19"/>
                    <a:pt x="1770" y="17"/>
                    <a:pt x="1792" y="24"/>
                  </a:cubicBezTo>
                  <a:close/>
                  <a:moveTo>
                    <a:pt x="838" y="469"/>
                  </a:moveTo>
                  <a:cubicBezTo>
                    <a:pt x="830" y="463"/>
                    <a:pt x="830" y="471"/>
                    <a:pt x="824" y="471"/>
                  </a:cubicBezTo>
                  <a:cubicBezTo>
                    <a:pt x="816" y="469"/>
                    <a:pt x="787" y="455"/>
                    <a:pt x="783" y="471"/>
                  </a:cubicBezTo>
                  <a:cubicBezTo>
                    <a:pt x="783" y="472"/>
                    <a:pt x="791" y="472"/>
                    <a:pt x="792" y="473"/>
                  </a:cubicBezTo>
                  <a:cubicBezTo>
                    <a:pt x="794" y="478"/>
                    <a:pt x="775" y="472"/>
                    <a:pt x="782" y="483"/>
                  </a:cubicBezTo>
                  <a:cubicBezTo>
                    <a:pt x="783" y="484"/>
                    <a:pt x="781" y="486"/>
                    <a:pt x="781" y="487"/>
                  </a:cubicBezTo>
                  <a:cubicBezTo>
                    <a:pt x="781" y="487"/>
                    <a:pt x="781" y="487"/>
                    <a:pt x="781" y="487"/>
                  </a:cubicBezTo>
                  <a:cubicBezTo>
                    <a:pt x="785" y="488"/>
                    <a:pt x="782" y="484"/>
                    <a:pt x="785" y="486"/>
                  </a:cubicBezTo>
                  <a:cubicBezTo>
                    <a:pt x="788" y="488"/>
                    <a:pt x="772" y="493"/>
                    <a:pt x="781" y="501"/>
                  </a:cubicBezTo>
                  <a:cubicBezTo>
                    <a:pt x="782" y="502"/>
                    <a:pt x="782" y="502"/>
                    <a:pt x="782" y="502"/>
                  </a:cubicBezTo>
                  <a:cubicBezTo>
                    <a:pt x="791" y="502"/>
                    <a:pt x="783" y="488"/>
                    <a:pt x="791" y="490"/>
                  </a:cubicBezTo>
                  <a:cubicBezTo>
                    <a:pt x="791" y="490"/>
                    <a:pt x="794" y="493"/>
                    <a:pt x="794" y="493"/>
                  </a:cubicBezTo>
                  <a:cubicBezTo>
                    <a:pt x="793" y="496"/>
                    <a:pt x="797" y="500"/>
                    <a:pt x="800" y="497"/>
                  </a:cubicBezTo>
                  <a:cubicBezTo>
                    <a:pt x="802" y="496"/>
                    <a:pt x="798" y="489"/>
                    <a:pt x="802" y="489"/>
                  </a:cubicBezTo>
                  <a:cubicBezTo>
                    <a:pt x="803" y="488"/>
                    <a:pt x="813" y="498"/>
                    <a:pt x="813" y="489"/>
                  </a:cubicBezTo>
                  <a:cubicBezTo>
                    <a:pt x="813" y="486"/>
                    <a:pt x="806" y="484"/>
                    <a:pt x="806" y="484"/>
                  </a:cubicBezTo>
                  <a:cubicBezTo>
                    <a:pt x="807" y="484"/>
                    <a:pt x="846" y="475"/>
                    <a:pt x="838" y="469"/>
                  </a:cubicBezTo>
                  <a:close/>
                  <a:moveTo>
                    <a:pt x="891" y="468"/>
                  </a:moveTo>
                  <a:cubicBezTo>
                    <a:pt x="891" y="469"/>
                    <a:pt x="908" y="462"/>
                    <a:pt x="917" y="452"/>
                  </a:cubicBezTo>
                  <a:cubicBezTo>
                    <a:pt x="918" y="450"/>
                    <a:pt x="929" y="439"/>
                    <a:pt x="929" y="438"/>
                  </a:cubicBezTo>
                  <a:cubicBezTo>
                    <a:pt x="928" y="437"/>
                    <a:pt x="920" y="439"/>
                    <a:pt x="919" y="439"/>
                  </a:cubicBezTo>
                  <a:cubicBezTo>
                    <a:pt x="916" y="442"/>
                    <a:pt x="910" y="438"/>
                    <a:pt x="906" y="441"/>
                  </a:cubicBezTo>
                  <a:cubicBezTo>
                    <a:pt x="903" y="443"/>
                    <a:pt x="907" y="449"/>
                    <a:pt x="903" y="449"/>
                  </a:cubicBezTo>
                  <a:cubicBezTo>
                    <a:pt x="902" y="450"/>
                    <a:pt x="900" y="451"/>
                    <a:pt x="899" y="452"/>
                  </a:cubicBezTo>
                  <a:cubicBezTo>
                    <a:pt x="897" y="452"/>
                    <a:pt x="896" y="453"/>
                    <a:pt x="895" y="452"/>
                  </a:cubicBezTo>
                  <a:cubicBezTo>
                    <a:pt x="894" y="452"/>
                    <a:pt x="905" y="446"/>
                    <a:pt x="896" y="441"/>
                  </a:cubicBezTo>
                  <a:cubicBezTo>
                    <a:pt x="887" y="436"/>
                    <a:pt x="892" y="447"/>
                    <a:pt x="890" y="449"/>
                  </a:cubicBezTo>
                  <a:cubicBezTo>
                    <a:pt x="887" y="451"/>
                    <a:pt x="886" y="443"/>
                    <a:pt x="886" y="442"/>
                  </a:cubicBezTo>
                  <a:cubicBezTo>
                    <a:pt x="883" y="440"/>
                    <a:pt x="879" y="443"/>
                    <a:pt x="877" y="444"/>
                  </a:cubicBezTo>
                  <a:cubicBezTo>
                    <a:pt x="875" y="445"/>
                    <a:pt x="875" y="450"/>
                    <a:pt x="874" y="449"/>
                  </a:cubicBezTo>
                  <a:cubicBezTo>
                    <a:pt x="873" y="447"/>
                    <a:pt x="861" y="449"/>
                    <a:pt x="861" y="450"/>
                  </a:cubicBezTo>
                  <a:cubicBezTo>
                    <a:pt x="860" y="452"/>
                    <a:pt x="870" y="456"/>
                    <a:pt x="871" y="459"/>
                  </a:cubicBezTo>
                  <a:cubicBezTo>
                    <a:pt x="872" y="461"/>
                    <a:pt x="867" y="457"/>
                    <a:pt x="866" y="458"/>
                  </a:cubicBezTo>
                  <a:cubicBezTo>
                    <a:pt x="858" y="468"/>
                    <a:pt x="859" y="454"/>
                    <a:pt x="855" y="458"/>
                  </a:cubicBezTo>
                  <a:cubicBezTo>
                    <a:pt x="850" y="463"/>
                    <a:pt x="855" y="464"/>
                    <a:pt x="856" y="467"/>
                  </a:cubicBezTo>
                  <a:cubicBezTo>
                    <a:pt x="856" y="469"/>
                    <a:pt x="851" y="470"/>
                    <a:pt x="853" y="470"/>
                  </a:cubicBezTo>
                  <a:cubicBezTo>
                    <a:pt x="854" y="470"/>
                    <a:pt x="858" y="470"/>
                    <a:pt x="858" y="471"/>
                  </a:cubicBezTo>
                  <a:cubicBezTo>
                    <a:pt x="858" y="471"/>
                    <a:pt x="853" y="473"/>
                    <a:pt x="852" y="473"/>
                  </a:cubicBezTo>
                  <a:cubicBezTo>
                    <a:pt x="842" y="473"/>
                    <a:pt x="848" y="478"/>
                    <a:pt x="845" y="482"/>
                  </a:cubicBezTo>
                  <a:cubicBezTo>
                    <a:pt x="844" y="484"/>
                    <a:pt x="844" y="484"/>
                    <a:pt x="844" y="484"/>
                  </a:cubicBezTo>
                  <a:cubicBezTo>
                    <a:pt x="845" y="485"/>
                    <a:pt x="887" y="473"/>
                    <a:pt x="886" y="469"/>
                  </a:cubicBezTo>
                  <a:cubicBezTo>
                    <a:pt x="885" y="464"/>
                    <a:pt x="885" y="457"/>
                    <a:pt x="890" y="456"/>
                  </a:cubicBezTo>
                  <a:cubicBezTo>
                    <a:pt x="898" y="454"/>
                    <a:pt x="889" y="467"/>
                    <a:pt x="891" y="468"/>
                  </a:cubicBezTo>
                  <a:close/>
                  <a:moveTo>
                    <a:pt x="1055" y="405"/>
                  </a:moveTo>
                  <a:cubicBezTo>
                    <a:pt x="1056" y="397"/>
                    <a:pt x="1052" y="391"/>
                    <a:pt x="1049" y="386"/>
                  </a:cubicBezTo>
                  <a:cubicBezTo>
                    <a:pt x="1048" y="384"/>
                    <a:pt x="1055" y="380"/>
                    <a:pt x="1054" y="379"/>
                  </a:cubicBezTo>
                  <a:cubicBezTo>
                    <a:pt x="1054" y="377"/>
                    <a:pt x="1047" y="381"/>
                    <a:pt x="1044" y="380"/>
                  </a:cubicBezTo>
                  <a:cubicBezTo>
                    <a:pt x="1044" y="379"/>
                    <a:pt x="1031" y="366"/>
                    <a:pt x="1027" y="366"/>
                  </a:cubicBezTo>
                  <a:cubicBezTo>
                    <a:pt x="1024" y="366"/>
                    <a:pt x="1035" y="380"/>
                    <a:pt x="1029" y="376"/>
                  </a:cubicBezTo>
                  <a:cubicBezTo>
                    <a:pt x="1026" y="375"/>
                    <a:pt x="1026" y="373"/>
                    <a:pt x="1023" y="373"/>
                  </a:cubicBezTo>
                  <a:cubicBezTo>
                    <a:pt x="1001" y="375"/>
                    <a:pt x="1023" y="386"/>
                    <a:pt x="1023" y="389"/>
                  </a:cubicBezTo>
                  <a:cubicBezTo>
                    <a:pt x="1025" y="399"/>
                    <a:pt x="1008" y="387"/>
                    <a:pt x="1008" y="398"/>
                  </a:cubicBezTo>
                  <a:cubicBezTo>
                    <a:pt x="1008" y="401"/>
                    <a:pt x="1012" y="410"/>
                    <a:pt x="1009" y="408"/>
                  </a:cubicBezTo>
                  <a:cubicBezTo>
                    <a:pt x="1007" y="407"/>
                    <a:pt x="1008" y="404"/>
                    <a:pt x="1005" y="404"/>
                  </a:cubicBezTo>
                  <a:cubicBezTo>
                    <a:pt x="998" y="402"/>
                    <a:pt x="990" y="415"/>
                    <a:pt x="988" y="420"/>
                  </a:cubicBezTo>
                  <a:cubicBezTo>
                    <a:pt x="988" y="421"/>
                    <a:pt x="982" y="426"/>
                    <a:pt x="981" y="425"/>
                  </a:cubicBezTo>
                  <a:cubicBezTo>
                    <a:pt x="976" y="418"/>
                    <a:pt x="1002" y="400"/>
                    <a:pt x="1004" y="390"/>
                  </a:cubicBezTo>
                  <a:cubicBezTo>
                    <a:pt x="1005" y="383"/>
                    <a:pt x="981" y="399"/>
                    <a:pt x="984" y="393"/>
                  </a:cubicBezTo>
                  <a:cubicBezTo>
                    <a:pt x="986" y="384"/>
                    <a:pt x="1007" y="369"/>
                    <a:pt x="997" y="357"/>
                  </a:cubicBezTo>
                  <a:cubicBezTo>
                    <a:pt x="996" y="357"/>
                    <a:pt x="995" y="356"/>
                    <a:pt x="995" y="356"/>
                  </a:cubicBezTo>
                  <a:cubicBezTo>
                    <a:pt x="982" y="353"/>
                    <a:pt x="961" y="367"/>
                    <a:pt x="965" y="375"/>
                  </a:cubicBezTo>
                  <a:cubicBezTo>
                    <a:pt x="966" y="377"/>
                    <a:pt x="973" y="379"/>
                    <a:pt x="972" y="379"/>
                  </a:cubicBezTo>
                  <a:cubicBezTo>
                    <a:pt x="968" y="383"/>
                    <a:pt x="957" y="376"/>
                    <a:pt x="956" y="384"/>
                  </a:cubicBezTo>
                  <a:cubicBezTo>
                    <a:pt x="956" y="385"/>
                    <a:pt x="956" y="387"/>
                    <a:pt x="956" y="388"/>
                  </a:cubicBezTo>
                  <a:cubicBezTo>
                    <a:pt x="956" y="389"/>
                    <a:pt x="982" y="396"/>
                    <a:pt x="979" y="398"/>
                  </a:cubicBezTo>
                  <a:cubicBezTo>
                    <a:pt x="977" y="399"/>
                    <a:pt x="961" y="391"/>
                    <a:pt x="957" y="394"/>
                  </a:cubicBezTo>
                  <a:cubicBezTo>
                    <a:pt x="946" y="403"/>
                    <a:pt x="967" y="408"/>
                    <a:pt x="968" y="410"/>
                  </a:cubicBezTo>
                  <a:cubicBezTo>
                    <a:pt x="969" y="411"/>
                    <a:pt x="973" y="411"/>
                    <a:pt x="972" y="413"/>
                  </a:cubicBezTo>
                  <a:cubicBezTo>
                    <a:pt x="972" y="413"/>
                    <a:pt x="971" y="413"/>
                    <a:pt x="971" y="413"/>
                  </a:cubicBezTo>
                  <a:cubicBezTo>
                    <a:pt x="970" y="413"/>
                    <a:pt x="970" y="413"/>
                    <a:pt x="969" y="413"/>
                  </a:cubicBezTo>
                  <a:cubicBezTo>
                    <a:pt x="960" y="413"/>
                    <a:pt x="950" y="409"/>
                    <a:pt x="953" y="416"/>
                  </a:cubicBezTo>
                  <a:cubicBezTo>
                    <a:pt x="954" y="417"/>
                    <a:pt x="956" y="421"/>
                    <a:pt x="956" y="421"/>
                  </a:cubicBezTo>
                  <a:cubicBezTo>
                    <a:pt x="950" y="422"/>
                    <a:pt x="940" y="413"/>
                    <a:pt x="935" y="420"/>
                  </a:cubicBezTo>
                  <a:cubicBezTo>
                    <a:pt x="930" y="427"/>
                    <a:pt x="949" y="430"/>
                    <a:pt x="940" y="432"/>
                  </a:cubicBezTo>
                  <a:cubicBezTo>
                    <a:pt x="933" y="433"/>
                    <a:pt x="941" y="435"/>
                    <a:pt x="945" y="435"/>
                  </a:cubicBezTo>
                  <a:cubicBezTo>
                    <a:pt x="946" y="435"/>
                    <a:pt x="948" y="435"/>
                    <a:pt x="948" y="436"/>
                  </a:cubicBezTo>
                  <a:cubicBezTo>
                    <a:pt x="947" y="437"/>
                    <a:pt x="940" y="438"/>
                    <a:pt x="939" y="438"/>
                  </a:cubicBezTo>
                  <a:cubicBezTo>
                    <a:pt x="928" y="438"/>
                    <a:pt x="921" y="456"/>
                    <a:pt x="916" y="464"/>
                  </a:cubicBezTo>
                  <a:cubicBezTo>
                    <a:pt x="916" y="464"/>
                    <a:pt x="916" y="464"/>
                    <a:pt x="916" y="465"/>
                  </a:cubicBezTo>
                  <a:cubicBezTo>
                    <a:pt x="916" y="465"/>
                    <a:pt x="916" y="465"/>
                    <a:pt x="916" y="465"/>
                  </a:cubicBezTo>
                  <a:cubicBezTo>
                    <a:pt x="916" y="465"/>
                    <a:pt x="915" y="466"/>
                    <a:pt x="914" y="467"/>
                  </a:cubicBezTo>
                  <a:cubicBezTo>
                    <a:pt x="914" y="468"/>
                    <a:pt x="914" y="468"/>
                    <a:pt x="914" y="468"/>
                  </a:cubicBezTo>
                  <a:cubicBezTo>
                    <a:pt x="914" y="470"/>
                    <a:pt x="935" y="458"/>
                    <a:pt x="936" y="455"/>
                  </a:cubicBezTo>
                  <a:cubicBezTo>
                    <a:pt x="940" y="449"/>
                    <a:pt x="946" y="447"/>
                    <a:pt x="959" y="439"/>
                  </a:cubicBezTo>
                  <a:cubicBezTo>
                    <a:pt x="962" y="437"/>
                    <a:pt x="962" y="427"/>
                    <a:pt x="965" y="428"/>
                  </a:cubicBezTo>
                  <a:cubicBezTo>
                    <a:pt x="980" y="434"/>
                    <a:pt x="942" y="451"/>
                    <a:pt x="945" y="456"/>
                  </a:cubicBezTo>
                  <a:cubicBezTo>
                    <a:pt x="946" y="457"/>
                    <a:pt x="958" y="457"/>
                    <a:pt x="960" y="456"/>
                  </a:cubicBezTo>
                  <a:cubicBezTo>
                    <a:pt x="965" y="453"/>
                    <a:pt x="970" y="465"/>
                    <a:pt x="972" y="461"/>
                  </a:cubicBezTo>
                  <a:cubicBezTo>
                    <a:pt x="974" y="458"/>
                    <a:pt x="980" y="441"/>
                    <a:pt x="983" y="441"/>
                  </a:cubicBezTo>
                  <a:cubicBezTo>
                    <a:pt x="985" y="442"/>
                    <a:pt x="983" y="447"/>
                    <a:pt x="987" y="447"/>
                  </a:cubicBezTo>
                  <a:cubicBezTo>
                    <a:pt x="988" y="447"/>
                    <a:pt x="989" y="427"/>
                    <a:pt x="994" y="438"/>
                  </a:cubicBezTo>
                  <a:cubicBezTo>
                    <a:pt x="996" y="441"/>
                    <a:pt x="991" y="448"/>
                    <a:pt x="993" y="451"/>
                  </a:cubicBezTo>
                  <a:cubicBezTo>
                    <a:pt x="999" y="459"/>
                    <a:pt x="1012" y="425"/>
                    <a:pt x="1014" y="424"/>
                  </a:cubicBezTo>
                  <a:cubicBezTo>
                    <a:pt x="1026" y="417"/>
                    <a:pt x="1053" y="430"/>
                    <a:pt x="1055" y="405"/>
                  </a:cubicBezTo>
                  <a:close/>
                  <a:moveTo>
                    <a:pt x="922" y="511"/>
                  </a:moveTo>
                  <a:cubicBezTo>
                    <a:pt x="920" y="509"/>
                    <a:pt x="919" y="511"/>
                    <a:pt x="918" y="512"/>
                  </a:cubicBezTo>
                  <a:cubicBezTo>
                    <a:pt x="905" y="524"/>
                    <a:pt x="915" y="523"/>
                    <a:pt x="935" y="521"/>
                  </a:cubicBezTo>
                  <a:cubicBezTo>
                    <a:pt x="936" y="520"/>
                    <a:pt x="936" y="520"/>
                    <a:pt x="936" y="520"/>
                  </a:cubicBezTo>
                  <a:cubicBezTo>
                    <a:pt x="947" y="517"/>
                    <a:pt x="926" y="518"/>
                    <a:pt x="922" y="511"/>
                  </a:cubicBezTo>
                  <a:close/>
                  <a:moveTo>
                    <a:pt x="934" y="513"/>
                  </a:moveTo>
                  <a:cubicBezTo>
                    <a:pt x="936" y="513"/>
                    <a:pt x="937" y="513"/>
                    <a:pt x="938" y="513"/>
                  </a:cubicBezTo>
                  <a:cubicBezTo>
                    <a:pt x="940" y="513"/>
                    <a:pt x="940" y="513"/>
                    <a:pt x="940" y="513"/>
                  </a:cubicBezTo>
                  <a:cubicBezTo>
                    <a:pt x="952" y="504"/>
                    <a:pt x="912" y="511"/>
                    <a:pt x="934" y="513"/>
                  </a:cubicBezTo>
                  <a:close/>
                  <a:moveTo>
                    <a:pt x="562" y="1026"/>
                  </a:moveTo>
                  <a:cubicBezTo>
                    <a:pt x="561" y="1036"/>
                    <a:pt x="572" y="1029"/>
                    <a:pt x="577" y="1032"/>
                  </a:cubicBezTo>
                  <a:cubicBezTo>
                    <a:pt x="584" y="1037"/>
                    <a:pt x="570" y="1032"/>
                    <a:pt x="570" y="1037"/>
                  </a:cubicBezTo>
                  <a:cubicBezTo>
                    <a:pt x="570" y="1043"/>
                    <a:pt x="588" y="1048"/>
                    <a:pt x="592" y="1048"/>
                  </a:cubicBezTo>
                  <a:cubicBezTo>
                    <a:pt x="594" y="1048"/>
                    <a:pt x="595" y="1050"/>
                    <a:pt x="596" y="1049"/>
                  </a:cubicBezTo>
                  <a:cubicBezTo>
                    <a:pt x="597" y="1048"/>
                    <a:pt x="598" y="1045"/>
                    <a:pt x="599" y="1043"/>
                  </a:cubicBezTo>
                  <a:cubicBezTo>
                    <a:pt x="599" y="1043"/>
                    <a:pt x="599" y="1043"/>
                    <a:pt x="599" y="1043"/>
                  </a:cubicBezTo>
                  <a:cubicBezTo>
                    <a:pt x="603" y="1038"/>
                    <a:pt x="585" y="1040"/>
                    <a:pt x="585" y="1039"/>
                  </a:cubicBezTo>
                  <a:cubicBezTo>
                    <a:pt x="584" y="1039"/>
                    <a:pt x="564" y="1013"/>
                    <a:pt x="562" y="1026"/>
                  </a:cubicBezTo>
                  <a:close/>
                  <a:moveTo>
                    <a:pt x="95" y="1822"/>
                  </a:moveTo>
                  <a:cubicBezTo>
                    <a:pt x="90" y="1820"/>
                    <a:pt x="87" y="1835"/>
                    <a:pt x="98" y="1825"/>
                  </a:cubicBezTo>
                  <a:cubicBezTo>
                    <a:pt x="100" y="1823"/>
                    <a:pt x="94" y="1824"/>
                    <a:pt x="95" y="1822"/>
                  </a:cubicBezTo>
                  <a:close/>
                  <a:moveTo>
                    <a:pt x="594" y="1029"/>
                  </a:moveTo>
                  <a:cubicBezTo>
                    <a:pt x="593" y="1029"/>
                    <a:pt x="590" y="1037"/>
                    <a:pt x="600" y="1038"/>
                  </a:cubicBezTo>
                  <a:cubicBezTo>
                    <a:pt x="600" y="1038"/>
                    <a:pt x="600" y="1038"/>
                    <a:pt x="600" y="1038"/>
                  </a:cubicBezTo>
                  <a:cubicBezTo>
                    <a:pt x="606" y="1039"/>
                    <a:pt x="594" y="1029"/>
                    <a:pt x="594" y="1029"/>
                  </a:cubicBezTo>
                  <a:close/>
                  <a:moveTo>
                    <a:pt x="560" y="1158"/>
                  </a:moveTo>
                  <a:cubicBezTo>
                    <a:pt x="563" y="1163"/>
                    <a:pt x="573" y="1152"/>
                    <a:pt x="579" y="1150"/>
                  </a:cubicBezTo>
                  <a:cubicBezTo>
                    <a:pt x="579" y="1150"/>
                    <a:pt x="579" y="1150"/>
                    <a:pt x="579" y="1150"/>
                  </a:cubicBezTo>
                  <a:cubicBezTo>
                    <a:pt x="581" y="1147"/>
                    <a:pt x="556" y="1149"/>
                    <a:pt x="560" y="1158"/>
                  </a:cubicBezTo>
                  <a:close/>
                  <a:moveTo>
                    <a:pt x="21" y="1510"/>
                  </a:moveTo>
                  <a:cubicBezTo>
                    <a:pt x="21" y="1510"/>
                    <a:pt x="21" y="1510"/>
                    <a:pt x="21" y="1510"/>
                  </a:cubicBezTo>
                  <a:cubicBezTo>
                    <a:pt x="19" y="1507"/>
                    <a:pt x="14" y="1506"/>
                    <a:pt x="13" y="1508"/>
                  </a:cubicBezTo>
                  <a:cubicBezTo>
                    <a:pt x="8" y="1515"/>
                    <a:pt x="21" y="1521"/>
                    <a:pt x="21" y="1510"/>
                  </a:cubicBezTo>
                  <a:close/>
                  <a:moveTo>
                    <a:pt x="85" y="1609"/>
                  </a:moveTo>
                  <a:cubicBezTo>
                    <a:pt x="85" y="1609"/>
                    <a:pt x="85" y="1609"/>
                    <a:pt x="85" y="1609"/>
                  </a:cubicBezTo>
                  <a:cubicBezTo>
                    <a:pt x="82" y="1605"/>
                    <a:pt x="74" y="1615"/>
                    <a:pt x="70" y="1621"/>
                  </a:cubicBezTo>
                  <a:cubicBezTo>
                    <a:pt x="67" y="1624"/>
                    <a:pt x="53" y="1625"/>
                    <a:pt x="55" y="1628"/>
                  </a:cubicBezTo>
                  <a:cubicBezTo>
                    <a:pt x="61" y="1642"/>
                    <a:pt x="89" y="1657"/>
                    <a:pt x="85" y="1609"/>
                  </a:cubicBezTo>
                  <a:close/>
                  <a:moveTo>
                    <a:pt x="104" y="1827"/>
                  </a:moveTo>
                  <a:cubicBezTo>
                    <a:pt x="104" y="1827"/>
                    <a:pt x="104" y="1827"/>
                    <a:pt x="104" y="1827"/>
                  </a:cubicBezTo>
                  <a:cubicBezTo>
                    <a:pt x="104" y="1826"/>
                    <a:pt x="103" y="1827"/>
                    <a:pt x="103" y="1827"/>
                  </a:cubicBezTo>
                  <a:cubicBezTo>
                    <a:pt x="94" y="1833"/>
                    <a:pt x="108" y="1835"/>
                    <a:pt x="104" y="1827"/>
                  </a:cubicBezTo>
                  <a:close/>
                  <a:moveTo>
                    <a:pt x="105" y="1816"/>
                  </a:moveTo>
                  <a:cubicBezTo>
                    <a:pt x="109" y="1819"/>
                    <a:pt x="124" y="1813"/>
                    <a:pt x="116" y="1808"/>
                  </a:cubicBezTo>
                  <a:cubicBezTo>
                    <a:pt x="116" y="1808"/>
                    <a:pt x="116" y="1808"/>
                    <a:pt x="116" y="1808"/>
                  </a:cubicBezTo>
                  <a:cubicBezTo>
                    <a:pt x="111" y="1806"/>
                    <a:pt x="99" y="1813"/>
                    <a:pt x="105" y="1816"/>
                  </a:cubicBezTo>
                  <a:close/>
                  <a:moveTo>
                    <a:pt x="111" y="1683"/>
                  </a:moveTo>
                  <a:cubicBezTo>
                    <a:pt x="110" y="1683"/>
                    <a:pt x="110" y="1683"/>
                    <a:pt x="110" y="1683"/>
                  </a:cubicBezTo>
                  <a:cubicBezTo>
                    <a:pt x="106" y="1684"/>
                    <a:pt x="104" y="1688"/>
                    <a:pt x="106" y="1691"/>
                  </a:cubicBezTo>
                  <a:cubicBezTo>
                    <a:pt x="111" y="1701"/>
                    <a:pt x="119" y="1683"/>
                    <a:pt x="111" y="1683"/>
                  </a:cubicBezTo>
                  <a:close/>
                  <a:moveTo>
                    <a:pt x="578" y="1019"/>
                  </a:moveTo>
                  <a:cubicBezTo>
                    <a:pt x="568" y="1022"/>
                    <a:pt x="596" y="1037"/>
                    <a:pt x="590" y="1022"/>
                  </a:cubicBezTo>
                  <a:cubicBezTo>
                    <a:pt x="590" y="1021"/>
                    <a:pt x="590" y="1021"/>
                    <a:pt x="590" y="1021"/>
                  </a:cubicBezTo>
                  <a:cubicBezTo>
                    <a:pt x="587" y="1017"/>
                    <a:pt x="582" y="1017"/>
                    <a:pt x="578" y="1019"/>
                  </a:cubicBezTo>
                  <a:close/>
                  <a:moveTo>
                    <a:pt x="1836" y="147"/>
                  </a:moveTo>
                  <a:cubicBezTo>
                    <a:pt x="1836" y="148"/>
                    <a:pt x="1836" y="148"/>
                    <a:pt x="1836" y="148"/>
                  </a:cubicBezTo>
                  <a:cubicBezTo>
                    <a:pt x="1843" y="157"/>
                    <a:pt x="1841" y="130"/>
                    <a:pt x="1836" y="147"/>
                  </a:cubicBezTo>
                  <a:close/>
                  <a:moveTo>
                    <a:pt x="11" y="1553"/>
                  </a:moveTo>
                  <a:cubicBezTo>
                    <a:pt x="11" y="1553"/>
                    <a:pt x="11" y="1553"/>
                    <a:pt x="11" y="1553"/>
                  </a:cubicBez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1" y="1552"/>
                    <a:pt x="11" y="1553"/>
                  </a:cubicBezTo>
                  <a:close/>
                  <a:moveTo>
                    <a:pt x="8" y="1552"/>
                  </a:moveTo>
                  <a:cubicBezTo>
                    <a:pt x="8" y="1550"/>
                    <a:pt x="10" y="1553"/>
                    <a:pt x="12" y="1554"/>
                  </a:cubicBezTo>
                  <a:cubicBezTo>
                    <a:pt x="12" y="1554"/>
                    <a:pt x="12" y="1554"/>
                    <a:pt x="11" y="1553"/>
                  </a:cubicBezTo>
                  <a:cubicBezTo>
                    <a:pt x="11" y="1553"/>
                    <a:pt x="11" y="1553"/>
                    <a:pt x="11" y="1553"/>
                  </a:cubicBezTo>
                  <a:cubicBezTo>
                    <a:pt x="11" y="1552"/>
                    <a:pt x="12" y="1554"/>
                    <a:pt x="12" y="1554"/>
                  </a:cubicBezTo>
                  <a:cubicBezTo>
                    <a:pt x="14" y="1555"/>
                    <a:pt x="15" y="1555"/>
                    <a:pt x="15" y="1555"/>
                  </a:cubicBezTo>
                  <a:cubicBezTo>
                    <a:pt x="22" y="1548"/>
                    <a:pt x="23" y="1546"/>
                    <a:pt x="20" y="1536"/>
                  </a:cubicBezTo>
                  <a:cubicBezTo>
                    <a:pt x="20" y="1536"/>
                    <a:pt x="20" y="1536"/>
                    <a:pt x="20" y="1536"/>
                  </a:cubicBezTo>
                  <a:cubicBezTo>
                    <a:pt x="18" y="1535"/>
                    <a:pt x="16" y="1536"/>
                    <a:pt x="15" y="1538"/>
                  </a:cubicBezTo>
                  <a:cubicBezTo>
                    <a:pt x="15" y="1539"/>
                    <a:pt x="16" y="1541"/>
                    <a:pt x="15" y="1542"/>
                  </a:cubicBezTo>
                  <a:cubicBezTo>
                    <a:pt x="15" y="1542"/>
                    <a:pt x="16" y="1542"/>
                    <a:pt x="15" y="1543"/>
                  </a:cubicBezTo>
                  <a:cubicBezTo>
                    <a:pt x="14" y="1543"/>
                    <a:pt x="13" y="1536"/>
                    <a:pt x="13" y="1535"/>
                  </a:cubicBezTo>
                  <a:cubicBezTo>
                    <a:pt x="13" y="1531"/>
                    <a:pt x="11" y="1536"/>
                    <a:pt x="13" y="1541"/>
                  </a:cubicBezTo>
                  <a:cubicBezTo>
                    <a:pt x="14" y="1545"/>
                    <a:pt x="12" y="1545"/>
                    <a:pt x="10" y="1542"/>
                  </a:cubicBezTo>
                  <a:cubicBezTo>
                    <a:pt x="3" y="1529"/>
                    <a:pt x="6" y="1561"/>
                    <a:pt x="8" y="1552"/>
                  </a:cubicBezTo>
                  <a:close/>
                  <a:moveTo>
                    <a:pt x="113" y="1370"/>
                  </a:moveTo>
                  <a:cubicBezTo>
                    <a:pt x="113" y="1370"/>
                    <a:pt x="113" y="1370"/>
                    <a:pt x="113" y="1370"/>
                  </a:cubicBezTo>
                  <a:cubicBezTo>
                    <a:pt x="121" y="1364"/>
                    <a:pt x="108" y="1349"/>
                    <a:pt x="100" y="1356"/>
                  </a:cubicBezTo>
                  <a:cubicBezTo>
                    <a:pt x="95" y="1360"/>
                    <a:pt x="90" y="1394"/>
                    <a:pt x="113" y="1370"/>
                  </a:cubicBezTo>
                  <a:close/>
                  <a:moveTo>
                    <a:pt x="994" y="511"/>
                  </a:moveTo>
                  <a:cubicBezTo>
                    <a:pt x="995" y="510"/>
                    <a:pt x="995" y="510"/>
                    <a:pt x="995" y="510"/>
                  </a:cubicBezTo>
                  <a:cubicBezTo>
                    <a:pt x="998" y="509"/>
                    <a:pt x="960" y="500"/>
                    <a:pt x="960" y="512"/>
                  </a:cubicBezTo>
                  <a:cubicBezTo>
                    <a:pt x="960" y="513"/>
                    <a:pt x="969" y="513"/>
                    <a:pt x="970" y="513"/>
                  </a:cubicBezTo>
                  <a:cubicBezTo>
                    <a:pt x="978" y="514"/>
                    <a:pt x="985" y="512"/>
                    <a:pt x="994" y="511"/>
                  </a:cubicBezTo>
                  <a:close/>
                  <a:moveTo>
                    <a:pt x="2256" y="222"/>
                  </a:moveTo>
                  <a:cubicBezTo>
                    <a:pt x="2258" y="221"/>
                    <a:pt x="2268" y="219"/>
                    <a:pt x="2268" y="217"/>
                  </a:cubicBezTo>
                  <a:cubicBezTo>
                    <a:pt x="2269" y="212"/>
                    <a:pt x="2257" y="211"/>
                    <a:pt x="2259" y="207"/>
                  </a:cubicBezTo>
                  <a:cubicBezTo>
                    <a:pt x="2258" y="207"/>
                    <a:pt x="2258" y="207"/>
                    <a:pt x="2258" y="207"/>
                  </a:cubicBezTo>
                  <a:cubicBezTo>
                    <a:pt x="2237" y="197"/>
                    <a:pt x="2247" y="214"/>
                    <a:pt x="2237" y="222"/>
                  </a:cubicBezTo>
                  <a:cubicBezTo>
                    <a:pt x="2234" y="224"/>
                    <a:pt x="2231" y="227"/>
                    <a:pt x="2236" y="228"/>
                  </a:cubicBezTo>
                  <a:cubicBezTo>
                    <a:pt x="2238" y="228"/>
                    <a:pt x="2245" y="229"/>
                    <a:pt x="2245" y="226"/>
                  </a:cubicBezTo>
                  <a:cubicBezTo>
                    <a:pt x="2244" y="220"/>
                    <a:pt x="2248" y="226"/>
                    <a:pt x="2256" y="222"/>
                  </a:cubicBezTo>
                  <a:close/>
                  <a:moveTo>
                    <a:pt x="743" y="757"/>
                  </a:moveTo>
                  <a:cubicBezTo>
                    <a:pt x="743" y="758"/>
                    <a:pt x="743" y="758"/>
                    <a:pt x="743" y="758"/>
                  </a:cubicBezTo>
                  <a:cubicBezTo>
                    <a:pt x="758" y="762"/>
                    <a:pt x="747" y="737"/>
                    <a:pt x="743" y="757"/>
                  </a:cubicBezTo>
                  <a:close/>
                  <a:moveTo>
                    <a:pt x="12" y="1554"/>
                  </a:move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2" y="1554"/>
                    <a:pt x="12" y="1554"/>
                  </a:cubicBezTo>
                  <a:close/>
                  <a:moveTo>
                    <a:pt x="1354" y="182"/>
                  </a:moveTo>
                  <a:cubicBezTo>
                    <a:pt x="1364" y="185"/>
                    <a:pt x="1362" y="176"/>
                    <a:pt x="1368" y="175"/>
                  </a:cubicBezTo>
                  <a:cubicBezTo>
                    <a:pt x="1384" y="172"/>
                    <a:pt x="1363" y="171"/>
                    <a:pt x="1357" y="167"/>
                  </a:cubicBezTo>
                  <a:cubicBezTo>
                    <a:pt x="1356" y="166"/>
                    <a:pt x="1354" y="153"/>
                    <a:pt x="1350" y="157"/>
                  </a:cubicBezTo>
                  <a:cubicBezTo>
                    <a:pt x="1348" y="159"/>
                    <a:pt x="1349" y="166"/>
                    <a:pt x="1344" y="164"/>
                  </a:cubicBezTo>
                  <a:cubicBezTo>
                    <a:pt x="1341" y="162"/>
                    <a:pt x="1344" y="156"/>
                    <a:pt x="1338" y="154"/>
                  </a:cubicBezTo>
                  <a:cubicBezTo>
                    <a:pt x="1335" y="153"/>
                    <a:pt x="1335" y="145"/>
                    <a:pt x="1332" y="145"/>
                  </a:cubicBezTo>
                  <a:cubicBezTo>
                    <a:pt x="1311" y="145"/>
                    <a:pt x="1340" y="179"/>
                    <a:pt x="1353" y="182"/>
                  </a:cubicBezTo>
                  <a:lnTo>
                    <a:pt x="1354" y="182"/>
                  </a:lnTo>
                  <a:close/>
                  <a:moveTo>
                    <a:pt x="14" y="1441"/>
                  </a:moveTo>
                  <a:cubicBezTo>
                    <a:pt x="17" y="1442"/>
                    <a:pt x="10" y="1453"/>
                    <a:pt x="24" y="1447"/>
                  </a:cubicBezTo>
                  <a:cubicBezTo>
                    <a:pt x="26" y="1447"/>
                    <a:pt x="40" y="1436"/>
                    <a:pt x="36" y="1441"/>
                  </a:cubicBezTo>
                  <a:cubicBezTo>
                    <a:pt x="33" y="1444"/>
                    <a:pt x="44" y="1441"/>
                    <a:pt x="44" y="1439"/>
                  </a:cubicBezTo>
                  <a:cubicBezTo>
                    <a:pt x="43" y="1438"/>
                    <a:pt x="43" y="1438"/>
                    <a:pt x="43" y="1438"/>
                  </a:cubicBezTo>
                  <a:cubicBezTo>
                    <a:pt x="34" y="1431"/>
                    <a:pt x="18" y="1432"/>
                    <a:pt x="11" y="1436"/>
                  </a:cubicBezTo>
                  <a:cubicBezTo>
                    <a:pt x="10" y="1436"/>
                    <a:pt x="5" y="1439"/>
                    <a:pt x="7" y="1440"/>
                  </a:cubicBezTo>
                  <a:cubicBezTo>
                    <a:pt x="8" y="1441"/>
                    <a:pt x="12" y="1440"/>
                    <a:pt x="14" y="1441"/>
                  </a:cubicBezTo>
                  <a:close/>
                  <a:moveTo>
                    <a:pt x="27" y="1421"/>
                  </a:moveTo>
                  <a:cubicBezTo>
                    <a:pt x="29" y="1423"/>
                    <a:pt x="23" y="1432"/>
                    <a:pt x="34" y="1419"/>
                  </a:cubicBezTo>
                  <a:cubicBezTo>
                    <a:pt x="34" y="1418"/>
                    <a:pt x="34" y="1418"/>
                    <a:pt x="34" y="1418"/>
                  </a:cubicBezTo>
                  <a:cubicBezTo>
                    <a:pt x="36" y="1416"/>
                    <a:pt x="24" y="1410"/>
                    <a:pt x="20" y="1411"/>
                  </a:cubicBezTo>
                  <a:cubicBezTo>
                    <a:pt x="17" y="1413"/>
                    <a:pt x="25" y="1418"/>
                    <a:pt x="27" y="1421"/>
                  </a:cubicBezTo>
                  <a:close/>
                  <a:moveTo>
                    <a:pt x="96" y="1377"/>
                  </a:moveTo>
                  <a:cubicBezTo>
                    <a:pt x="96" y="1377"/>
                    <a:pt x="96" y="1377"/>
                    <a:pt x="96" y="1377"/>
                  </a:cubicBezTo>
                  <a:cubicBezTo>
                    <a:pt x="96" y="1377"/>
                    <a:pt x="86" y="1373"/>
                    <a:pt x="84" y="1373"/>
                  </a:cubicBezTo>
                  <a:cubicBezTo>
                    <a:pt x="80" y="1375"/>
                    <a:pt x="67" y="1376"/>
                    <a:pt x="70" y="1381"/>
                  </a:cubicBezTo>
                  <a:cubicBezTo>
                    <a:pt x="71" y="1382"/>
                    <a:pt x="78" y="1382"/>
                    <a:pt x="78" y="1384"/>
                  </a:cubicBezTo>
                  <a:cubicBezTo>
                    <a:pt x="78" y="1386"/>
                    <a:pt x="68" y="1382"/>
                    <a:pt x="69" y="1384"/>
                  </a:cubicBezTo>
                  <a:cubicBezTo>
                    <a:pt x="77" y="1401"/>
                    <a:pt x="93" y="1380"/>
                    <a:pt x="96" y="137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inland"/>
            <p:cNvSpPr>
              <a:spLocks noEditPoints="1"/>
            </p:cNvSpPr>
            <p:nvPr/>
          </p:nvSpPr>
          <p:spPr bwMode="auto">
            <a:xfrm>
              <a:off x="3671" y="749"/>
              <a:ext cx="563" cy="835"/>
            </a:xfrm>
            <a:custGeom>
              <a:avLst/>
              <a:gdLst>
                <a:gd name="T0" fmla="*/ 195 w 1081"/>
                <a:gd name="T1" fmla="*/ 1493 h 1604"/>
                <a:gd name="T2" fmla="*/ 261 w 1081"/>
                <a:gd name="T3" fmla="*/ 1595 h 1604"/>
                <a:gd name="T4" fmla="*/ 320 w 1081"/>
                <a:gd name="T5" fmla="*/ 1535 h 1604"/>
                <a:gd name="T6" fmla="*/ 244 w 1081"/>
                <a:gd name="T7" fmla="*/ 1490 h 1604"/>
                <a:gd name="T8" fmla="*/ 214 w 1081"/>
                <a:gd name="T9" fmla="*/ 1502 h 1604"/>
                <a:gd name="T10" fmla="*/ 309 w 1081"/>
                <a:gd name="T11" fmla="*/ 1490 h 1604"/>
                <a:gd name="T12" fmla="*/ 50 w 1081"/>
                <a:gd name="T13" fmla="*/ 1489 h 1604"/>
                <a:gd name="T14" fmla="*/ 39 w 1081"/>
                <a:gd name="T15" fmla="*/ 1469 h 1604"/>
                <a:gd name="T16" fmla="*/ 53 w 1081"/>
                <a:gd name="T17" fmla="*/ 1522 h 1604"/>
                <a:gd name="T18" fmla="*/ 73 w 1081"/>
                <a:gd name="T19" fmla="*/ 1507 h 1604"/>
                <a:gd name="T20" fmla="*/ 875 w 1081"/>
                <a:gd name="T21" fmla="*/ 1228 h 1604"/>
                <a:gd name="T22" fmla="*/ 691 w 1081"/>
                <a:gd name="T23" fmla="*/ 1446 h 1604"/>
                <a:gd name="T24" fmla="*/ 538 w 1081"/>
                <a:gd name="T25" fmla="*/ 1495 h 1604"/>
                <a:gd name="T26" fmla="*/ 304 w 1081"/>
                <a:gd name="T27" fmla="*/ 1509 h 1604"/>
                <a:gd name="T28" fmla="*/ 179 w 1081"/>
                <a:gd name="T29" fmla="*/ 1378 h 1604"/>
                <a:gd name="T30" fmla="*/ 176 w 1081"/>
                <a:gd name="T31" fmla="*/ 1087 h 1604"/>
                <a:gd name="T32" fmla="*/ 463 w 1081"/>
                <a:gd name="T33" fmla="*/ 826 h 1604"/>
                <a:gd name="T34" fmla="*/ 335 w 1081"/>
                <a:gd name="T35" fmla="*/ 310 h 1604"/>
                <a:gd name="T36" fmla="*/ 755 w 1081"/>
                <a:gd name="T37" fmla="*/ 4 h 1604"/>
                <a:gd name="T38" fmla="*/ 1046 w 1081"/>
                <a:gd name="T39" fmla="*/ 1058 h 1604"/>
                <a:gd name="T40" fmla="*/ 986 w 1081"/>
                <a:gd name="T41" fmla="*/ 1122 h 1604"/>
                <a:gd name="T42" fmla="*/ 476 w 1081"/>
                <a:gd name="T43" fmla="*/ 539 h 1604"/>
                <a:gd name="T44" fmla="*/ 942 w 1081"/>
                <a:gd name="T45" fmla="*/ 1052 h 1604"/>
                <a:gd name="T46" fmla="*/ 853 w 1081"/>
                <a:gd name="T47" fmla="*/ 1164 h 1604"/>
                <a:gd name="T48" fmla="*/ 742 w 1081"/>
                <a:gd name="T49" fmla="*/ 1031 h 1604"/>
                <a:gd name="T50" fmla="*/ 667 w 1081"/>
                <a:gd name="T51" fmla="*/ 910 h 1604"/>
                <a:gd name="T52" fmla="*/ 661 w 1081"/>
                <a:gd name="T53" fmla="*/ 620 h 1604"/>
                <a:gd name="T54" fmla="*/ 748 w 1081"/>
                <a:gd name="T55" fmla="*/ 590 h 1604"/>
                <a:gd name="T56" fmla="*/ 784 w 1081"/>
                <a:gd name="T57" fmla="*/ 924 h 1604"/>
                <a:gd name="T58" fmla="*/ 850 w 1081"/>
                <a:gd name="T59" fmla="*/ 707 h 1604"/>
                <a:gd name="T60" fmla="*/ 868 w 1081"/>
                <a:gd name="T61" fmla="*/ 651 h 1604"/>
                <a:gd name="T62" fmla="*/ 844 w 1081"/>
                <a:gd name="T63" fmla="*/ 599 h 1604"/>
                <a:gd name="T64" fmla="*/ 757 w 1081"/>
                <a:gd name="T65" fmla="*/ 205 h 1604"/>
                <a:gd name="T66" fmla="*/ 764 w 1081"/>
                <a:gd name="T67" fmla="*/ 129 h 1604"/>
                <a:gd name="T68" fmla="*/ 716 w 1081"/>
                <a:gd name="T69" fmla="*/ 333 h 1604"/>
                <a:gd name="T70" fmla="*/ 557 w 1081"/>
                <a:gd name="T71" fmla="*/ 1055 h 1604"/>
                <a:gd name="T72" fmla="*/ 495 w 1081"/>
                <a:gd name="T73" fmla="*/ 1140 h 1604"/>
                <a:gd name="T74" fmla="*/ 404 w 1081"/>
                <a:gd name="T75" fmla="*/ 1122 h 1604"/>
                <a:gd name="T76" fmla="*/ 346 w 1081"/>
                <a:gd name="T77" fmla="*/ 1319 h 1604"/>
                <a:gd name="T78" fmla="*/ 457 w 1081"/>
                <a:gd name="T79" fmla="*/ 1231 h 1604"/>
                <a:gd name="T80" fmla="*/ 364 w 1081"/>
                <a:gd name="T81" fmla="*/ 1292 h 1604"/>
                <a:gd name="T82" fmla="*/ 442 w 1081"/>
                <a:gd name="T83" fmla="*/ 1302 h 1604"/>
                <a:gd name="T84" fmla="*/ 463 w 1081"/>
                <a:gd name="T85" fmla="*/ 1344 h 1604"/>
                <a:gd name="T86" fmla="*/ 599 w 1081"/>
                <a:gd name="T87" fmla="*/ 1342 h 1604"/>
                <a:gd name="T88" fmla="*/ 564 w 1081"/>
                <a:gd name="T89" fmla="*/ 1238 h 1604"/>
                <a:gd name="T90" fmla="*/ 666 w 1081"/>
                <a:gd name="T91" fmla="*/ 1169 h 1604"/>
                <a:gd name="T92" fmla="*/ 652 w 1081"/>
                <a:gd name="T93" fmla="*/ 1125 h 1604"/>
                <a:gd name="T94" fmla="*/ 567 w 1081"/>
                <a:gd name="T95" fmla="*/ 1071 h 1604"/>
                <a:gd name="T96" fmla="*/ 557 w 1081"/>
                <a:gd name="T97" fmla="*/ 1220 h 1604"/>
                <a:gd name="T98" fmla="*/ 553 w 1081"/>
                <a:gd name="T99" fmla="*/ 1360 h 1604"/>
                <a:gd name="T100" fmla="*/ 597 w 1081"/>
                <a:gd name="T101" fmla="*/ 1292 h 1604"/>
                <a:gd name="T102" fmla="*/ 635 w 1081"/>
                <a:gd name="T103" fmla="*/ 1329 h 1604"/>
                <a:gd name="T104" fmla="*/ 627 w 1081"/>
                <a:gd name="T105" fmla="*/ 1251 h 1604"/>
                <a:gd name="T106" fmla="*/ 660 w 1081"/>
                <a:gd name="T107" fmla="*/ 1219 h 1604"/>
                <a:gd name="T108" fmla="*/ 835 w 1081"/>
                <a:gd name="T109" fmla="*/ 1302 h 1604"/>
                <a:gd name="T110" fmla="*/ 933 w 1081"/>
                <a:gd name="T111" fmla="*/ 1227 h 1604"/>
                <a:gd name="T112" fmla="*/ 830 w 1081"/>
                <a:gd name="T113" fmla="*/ 1223 h 1604"/>
                <a:gd name="T114" fmla="*/ 723 w 1081"/>
                <a:gd name="T115" fmla="*/ 1089 h 1604"/>
                <a:gd name="T116" fmla="*/ 730 w 1081"/>
                <a:gd name="T117" fmla="*/ 1119 h 1604"/>
                <a:gd name="T118" fmla="*/ 759 w 1081"/>
                <a:gd name="T119" fmla="*/ 1216 h 1604"/>
                <a:gd name="T120" fmla="*/ 743 w 1081"/>
                <a:gd name="T121" fmla="*/ 1286 h 1604"/>
                <a:gd name="T122" fmla="*/ 171 w 1081"/>
                <a:gd name="T123" fmla="*/ 1048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81" h="1604">
                  <a:moveTo>
                    <a:pt x="165" y="1457"/>
                  </a:moveTo>
                  <a:cubicBezTo>
                    <a:pt x="163" y="1455"/>
                    <a:pt x="161" y="1447"/>
                    <a:pt x="164" y="1448"/>
                  </a:cubicBezTo>
                  <a:cubicBezTo>
                    <a:pt x="164" y="1448"/>
                    <a:pt x="164" y="1448"/>
                    <a:pt x="164" y="1448"/>
                  </a:cubicBezTo>
                  <a:cubicBezTo>
                    <a:pt x="170" y="1454"/>
                    <a:pt x="170" y="1465"/>
                    <a:pt x="165" y="1457"/>
                  </a:cubicBezTo>
                  <a:close/>
                  <a:moveTo>
                    <a:pt x="176" y="1448"/>
                  </a:moveTo>
                  <a:cubicBezTo>
                    <a:pt x="173" y="1450"/>
                    <a:pt x="169" y="1457"/>
                    <a:pt x="179" y="1460"/>
                  </a:cubicBezTo>
                  <a:cubicBezTo>
                    <a:pt x="182" y="1461"/>
                    <a:pt x="186" y="1455"/>
                    <a:pt x="185" y="1452"/>
                  </a:cubicBezTo>
                  <a:cubicBezTo>
                    <a:pt x="183" y="1449"/>
                    <a:pt x="178" y="1452"/>
                    <a:pt x="177" y="1448"/>
                  </a:cubicBezTo>
                  <a:cubicBezTo>
                    <a:pt x="177" y="1448"/>
                    <a:pt x="176" y="1448"/>
                    <a:pt x="176" y="1448"/>
                  </a:cubicBezTo>
                  <a:close/>
                  <a:moveTo>
                    <a:pt x="168" y="1500"/>
                  </a:moveTo>
                  <a:cubicBezTo>
                    <a:pt x="168" y="1500"/>
                    <a:pt x="168" y="1500"/>
                    <a:pt x="168" y="1500"/>
                  </a:cubicBezTo>
                  <a:cubicBezTo>
                    <a:pt x="167" y="1500"/>
                    <a:pt x="161" y="1500"/>
                    <a:pt x="161" y="1503"/>
                  </a:cubicBezTo>
                  <a:cubicBezTo>
                    <a:pt x="161" y="1504"/>
                    <a:pt x="164" y="1503"/>
                    <a:pt x="164" y="1503"/>
                  </a:cubicBezTo>
                  <a:cubicBezTo>
                    <a:pt x="166" y="1505"/>
                    <a:pt x="166" y="1505"/>
                    <a:pt x="169" y="1505"/>
                  </a:cubicBezTo>
                  <a:cubicBezTo>
                    <a:pt x="170" y="1505"/>
                    <a:pt x="171" y="1508"/>
                    <a:pt x="171" y="1507"/>
                  </a:cubicBezTo>
                  <a:cubicBezTo>
                    <a:pt x="172" y="1506"/>
                    <a:pt x="171" y="1505"/>
                    <a:pt x="172" y="1504"/>
                  </a:cubicBezTo>
                  <a:cubicBezTo>
                    <a:pt x="173" y="1504"/>
                    <a:pt x="177" y="1504"/>
                    <a:pt x="177" y="1504"/>
                  </a:cubicBezTo>
                  <a:cubicBezTo>
                    <a:pt x="177" y="1503"/>
                    <a:pt x="177" y="1503"/>
                    <a:pt x="176" y="1503"/>
                  </a:cubicBezTo>
                  <a:cubicBezTo>
                    <a:pt x="173" y="1503"/>
                    <a:pt x="170" y="1503"/>
                    <a:pt x="168" y="1500"/>
                  </a:cubicBezTo>
                  <a:close/>
                  <a:moveTo>
                    <a:pt x="182" y="1510"/>
                  </a:moveTo>
                  <a:cubicBezTo>
                    <a:pt x="180" y="1511"/>
                    <a:pt x="189" y="1511"/>
                    <a:pt x="187" y="1512"/>
                  </a:cubicBezTo>
                  <a:cubicBezTo>
                    <a:pt x="186" y="1513"/>
                    <a:pt x="179" y="1512"/>
                    <a:pt x="180" y="1514"/>
                  </a:cubicBezTo>
                  <a:cubicBezTo>
                    <a:pt x="181" y="1516"/>
                    <a:pt x="191" y="1517"/>
                    <a:pt x="194" y="1515"/>
                  </a:cubicBezTo>
                  <a:cubicBezTo>
                    <a:pt x="196" y="1513"/>
                    <a:pt x="192" y="1512"/>
                    <a:pt x="192" y="1512"/>
                  </a:cubicBezTo>
                  <a:cubicBezTo>
                    <a:pt x="191" y="1511"/>
                    <a:pt x="196" y="1511"/>
                    <a:pt x="196" y="1507"/>
                  </a:cubicBezTo>
                  <a:cubicBezTo>
                    <a:pt x="191" y="1504"/>
                    <a:pt x="185" y="1506"/>
                    <a:pt x="182" y="1510"/>
                  </a:cubicBezTo>
                  <a:close/>
                  <a:moveTo>
                    <a:pt x="192" y="1494"/>
                  </a:moveTo>
                  <a:cubicBezTo>
                    <a:pt x="192" y="1495"/>
                    <a:pt x="190" y="1500"/>
                    <a:pt x="192" y="1499"/>
                  </a:cubicBezTo>
                  <a:cubicBezTo>
                    <a:pt x="198" y="1499"/>
                    <a:pt x="193" y="1495"/>
                    <a:pt x="195" y="1493"/>
                  </a:cubicBezTo>
                  <a:cubicBezTo>
                    <a:pt x="195" y="1493"/>
                    <a:pt x="195" y="1493"/>
                    <a:pt x="195" y="1493"/>
                  </a:cubicBezTo>
                  <a:cubicBezTo>
                    <a:pt x="196" y="1490"/>
                    <a:pt x="193" y="1492"/>
                    <a:pt x="192" y="1494"/>
                  </a:cubicBezTo>
                  <a:close/>
                  <a:moveTo>
                    <a:pt x="196" y="1507"/>
                  </a:moveTo>
                  <a:cubicBezTo>
                    <a:pt x="196" y="1507"/>
                    <a:pt x="196" y="1507"/>
                    <a:pt x="196" y="1507"/>
                  </a:cubicBezTo>
                  <a:cubicBezTo>
                    <a:pt x="196" y="1507"/>
                    <a:pt x="196" y="1507"/>
                    <a:pt x="196" y="1507"/>
                  </a:cubicBezTo>
                  <a:close/>
                  <a:moveTo>
                    <a:pt x="248" y="1554"/>
                  </a:moveTo>
                  <a:cubicBezTo>
                    <a:pt x="249" y="1553"/>
                    <a:pt x="249" y="1553"/>
                    <a:pt x="249" y="1553"/>
                  </a:cubicBezTo>
                  <a:cubicBezTo>
                    <a:pt x="253" y="1542"/>
                    <a:pt x="244" y="1543"/>
                    <a:pt x="243" y="1543"/>
                  </a:cubicBezTo>
                  <a:cubicBezTo>
                    <a:pt x="238" y="1537"/>
                    <a:pt x="248" y="1566"/>
                    <a:pt x="248" y="1554"/>
                  </a:cubicBezTo>
                  <a:close/>
                  <a:moveTo>
                    <a:pt x="250" y="1495"/>
                  </a:moveTo>
                  <a:cubicBezTo>
                    <a:pt x="234" y="1501"/>
                    <a:pt x="256" y="1509"/>
                    <a:pt x="252" y="1495"/>
                  </a:cubicBezTo>
                  <a:cubicBezTo>
                    <a:pt x="252" y="1495"/>
                    <a:pt x="252" y="1495"/>
                    <a:pt x="252" y="1495"/>
                  </a:cubicBezTo>
                  <a:cubicBezTo>
                    <a:pt x="252" y="1494"/>
                    <a:pt x="251" y="1494"/>
                    <a:pt x="250" y="1495"/>
                  </a:cubicBezTo>
                  <a:close/>
                  <a:moveTo>
                    <a:pt x="249" y="1575"/>
                  </a:moveTo>
                  <a:cubicBezTo>
                    <a:pt x="246" y="1574"/>
                    <a:pt x="252" y="1568"/>
                    <a:pt x="249" y="1569"/>
                  </a:cubicBezTo>
                  <a:cubicBezTo>
                    <a:pt x="246" y="1570"/>
                    <a:pt x="245" y="1579"/>
                    <a:pt x="245" y="1580"/>
                  </a:cubicBezTo>
                  <a:cubicBezTo>
                    <a:pt x="246" y="1580"/>
                    <a:pt x="246" y="1580"/>
                    <a:pt x="246" y="1580"/>
                  </a:cubicBezTo>
                  <a:cubicBezTo>
                    <a:pt x="246" y="1580"/>
                    <a:pt x="246" y="1580"/>
                    <a:pt x="246" y="1580"/>
                  </a:cubicBezTo>
                  <a:cubicBezTo>
                    <a:pt x="247" y="1580"/>
                    <a:pt x="247" y="1580"/>
                    <a:pt x="247" y="1580"/>
                  </a:cubicBezTo>
                  <a:cubicBezTo>
                    <a:pt x="251" y="1580"/>
                    <a:pt x="257" y="1580"/>
                    <a:pt x="261" y="1581"/>
                  </a:cubicBezTo>
                  <a:cubicBezTo>
                    <a:pt x="261" y="1581"/>
                    <a:pt x="262" y="1581"/>
                    <a:pt x="261" y="1582"/>
                  </a:cubicBezTo>
                  <a:cubicBezTo>
                    <a:pt x="261" y="1582"/>
                    <a:pt x="261" y="1582"/>
                    <a:pt x="261" y="1582"/>
                  </a:cubicBezTo>
                  <a:cubicBezTo>
                    <a:pt x="261" y="1582"/>
                    <a:pt x="261" y="1582"/>
                    <a:pt x="260" y="1582"/>
                  </a:cubicBezTo>
                  <a:cubicBezTo>
                    <a:pt x="259" y="1582"/>
                    <a:pt x="246" y="1582"/>
                    <a:pt x="246" y="1585"/>
                  </a:cubicBezTo>
                  <a:cubicBezTo>
                    <a:pt x="246" y="1587"/>
                    <a:pt x="250" y="1587"/>
                    <a:pt x="250" y="1589"/>
                  </a:cubicBezTo>
                  <a:cubicBezTo>
                    <a:pt x="251" y="1592"/>
                    <a:pt x="249" y="1597"/>
                    <a:pt x="250" y="1600"/>
                  </a:cubicBezTo>
                  <a:cubicBezTo>
                    <a:pt x="250" y="1600"/>
                    <a:pt x="250" y="1601"/>
                    <a:pt x="250" y="1601"/>
                  </a:cubicBezTo>
                  <a:cubicBezTo>
                    <a:pt x="253" y="1601"/>
                    <a:pt x="256" y="1599"/>
                    <a:pt x="259" y="1597"/>
                  </a:cubicBezTo>
                  <a:cubicBezTo>
                    <a:pt x="259" y="1597"/>
                    <a:pt x="260" y="1595"/>
                    <a:pt x="261" y="1595"/>
                  </a:cubicBezTo>
                  <a:cubicBezTo>
                    <a:pt x="262" y="1595"/>
                    <a:pt x="261" y="1596"/>
                    <a:pt x="261" y="1596"/>
                  </a:cubicBezTo>
                  <a:cubicBezTo>
                    <a:pt x="260" y="1597"/>
                    <a:pt x="259" y="1599"/>
                    <a:pt x="259" y="1600"/>
                  </a:cubicBezTo>
                  <a:cubicBezTo>
                    <a:pt x="259" y="1601"/>
                    <a:pt x="261" y="1599"/>
                    <a:pt x="261" y="1600"/>
                  </a:cubicBezTo>
                  <a:cubicBezTo>
                    <a:pt x="262" y="1601"/>
                    <a:pt x="261" y="1603"/>
                    <a:pt x="262" y="1603"/>
                  </a:cubicBezTo>
                  <a:cubicBezTo>
                    <a:pt x="262" y="1604"/>
                    <a:pt x="262" y="1603"/>
                    <a:pt x="262" y="1602"/>
                  </a:cubicBezTo>
                  <a:cubicBezTo>
                    <a:pt x="262" y="1599"/>
                    <a:pt x="264" y="1601"/>
                    <a:pt x="265" y="1600"/>
                  </a:cubicBezTo>
                  <a:cubicBezTo>
                    <a:pt x="265" y="1599"/>
                    <a:pt x="265" y="1597"/>
                    <a:pt x="266" y="1597"/>
                  </a:cubicBezTo>
                  <a:cubicBezTo>
                    <a:pt x="268" y="1598"/>
                    <a:pt x="267" y="1601"/>
                    <a:pt x="270" y="1601"/>
                  </a:cubicBezTo>
                  <a:cubicBezTo>
                    <a:pt x="270" y="1600"/>
                    <a:pt x="270" y="1600"/>
                    <a:pt x="270" y="1600"/>
                  </a:cubicBezTo>
                  <a:cubicBezTo>
                    <a:pt x="271" y="1600"/>
                    <a:pt x="271" y="1600"/>
                    <a:pt x="272" y="1600"/>
                  </a:cubicBezTo>
                  <a:cubicBezTo>
                    <a:pt x="273" y="1600"/>
                    <a:pt x="276" y="1598"/>
                    <a:pt x="276" y="1596"/>
                  </a:cubicBezTo>
                  <a:cubicBezTo>
                    <a:pt x="275" y="1595"/>
                    <a:pt x="272" y="1596"/>
                    <a:pt x="273" y="1595"/>
                  </a:cubicBezTo>
                  <a:cubicBezTo>
                    <a:pt x="277" y="1590"/>
                    <a:pt x="283" y="1591"/>
                    <a:pt x="284" y="1583"/>
                  </a:cubicBezTo>
                  <a:cubicBezTo>
                    <a:pt x="284" y="1581"/>
                    <a:pt x="281" y="1578"/>
                    <a:pt x="281" y="1578"/>
                  </a:cubicBezTo>
                  <a:cubicBezTo>
                    <a:pt x="281" y="1577"/>
                    <a:pt x="283" y="1577"/>
                    <a:pt x="283" y="1576"/>
                  </a:cubicBezTo>
                  <a:cubicBezTo>
                    <a:pt x="283" y="1575"/>
                    <a:pt x="282" y="1574"/>
                    <a:pt x="283" y="1573"/>
                  </a:cubicBezTo>
                  <a:cubicBezTo>
                    <a:pt x="283" y="1571"/>
                    <a:pt x="285" y="1572"/>
                    <a:pt x="285" y="1571"/>
                  </a:cubicBezTo>
                  <a:cubicBezTo>
                    <a:pt x="286" y="1570"/>
                    <a:pt x="294" y="1560"/>
                    <a:pt x="293" y="1559"/>
                  </a:cubicBezTo>
                  <a:cubicBezTo>
                    <a:pt x="290" y="1554"/>
                    <a:pt x="283" y="1568"/>
                    <a:pt x="278" y="1569"/>
                  </a:cubicBezTo>
                  <a:cubicBezTo>
                    <a:pt x="272" y="1570"/>
                    <a:pt x="267" y="1570"/>
                    <a:pt x="261" y="1571"/>
                  </a:cubicBezTo>
                  <a:cubicBezTo>
                    <a:pt x="257" y="1572"/>
                    <a:pt x="256" y="1576"/>
                    <a:pt x="249" y="1575"/>
                  </a:cubicBezTo>
                  <a:close/>
                  <a:moveTo>
                    <a:pt x="308" y="1544"/>
                  </a:moveTo>
                  <a:cubicBezTo>
                    <a:pt x="312" y="1543"/>
                    <a:pt x="307" y="1539"/>
                    <a:pt x="311" y="1538"/>
                  </a:cubicBezTo>
                  <a:cubicBezTo>
                    <a:pt x="311" y="1538"/>
                    <a:pt x="312" y="1540"/>
                    <a:pt x="313" y="1540"/>
                  </a:cubicBezTo>
                  <a:cubicBezTo>
                    <a:pt x="313" y="1541"/>
                    <a:pt x="315" y="1540"/>
                    <a:pt x="315" y="1540"/>
                  </a:cubicBezTo>
                  <a:cubicBezTo>
                    <a:pt x="316" y="1541"/>
                    <a:pt x="315" y="1544"/>
                    <a:pt x="318" y="1544"/>
                  </a:cubicBezTo>
                  <a:cubicBezTo>
                    <a:pt x="321" y="1544"/>
                    <a:pt x="318" y="1541"/>
                    <a:pt x="319" y="1540"/>
                  </a:cubicBezTo>
                  <a:cubicBezTo>
                    <a:pt x="319" y="1538"/>
                    <a:pt x="322" y="1538"/>
                    <a:pt x="321" y="1536"/>
                  </a:cubicBezTo>
                  <a:cubicBezTo>
                    <a:pt x="320" y="1535"/>
                    <a:pt x="320" y="1535"/>
                    <a:pt x="320" y="1535"/>
                  </a:cubicBezTo>
                  <a:cubicBezTo>
                    <a:pt x="317" y="1536"/>
                    <a:pt x="306" y="1534"/>
                    <a:pt x="306" y="1534"/>
                  </a:cubicBezTo>
                  <a:cubicBezTo>
                    <a:pt x="305" y="1535"/>
                    <a:pt x="303" y="1536"/>
                    <a:pt x="301" y="1536"/>
                  </a:cubicBezTo>
                  <a:cubicBezTo>
                    <a:pt x="299" y="1536"/>
                    <a:pt x="301" y="1533"/>
                    <a:pt x="299" y="1533"/>
                  </a:cubicBezTo>
                  <a:cubicBezTo>
                    <a:pt x="298" y="1533"/>
                    <a:pt x="297" y="1535"/>
                    <a:pt x="297" y="1536"/>
                  </a:cubicBezTo>
                  <a:cubicBezTo>
                    <a:pt x="297" y="1539"/>
                    <a:pt x="301" y="1536"/>
                    <a:pt x="301" y="1538"/>
                  </a:cubicBezTo>
                  <a:cubicBezTo>
                    <a:pt x="302" y="1541"/>
                    <a:pt x="304" y="1545"/>
                    <a:pt x="308" y="1544"/>
                  </a:cubicBezTo>
                  <a:close/>
                  <a:moveTo>
                    <a:pt x="225" y="1487"/>
                  </a:moveTo>
                  <a:cubicBezTo>
                    <a:pt x="224" y="1486"/>
                    <a:pt x="224" y="1486"/>
                    <a:pt x="224" y="1486"/>
                  </a:cubicBezTo>
                  <a:cubicBezTo>
                    <a:pt x="218" y="1483"/>
                    <a:pt x="221" y="1497"/>
                    <a:pt x="225" y="1487"/>
                  </a:cubicBezTo>
                  <a:close/>
                  <a:moveTo>
                    <a:pt x="222" y="1510"/>
                  </a:moveTo>
                  <a:cubicBezTo>
                    <a:pt x="222" y="1510"/>
                    <a:pt x="222" y="1510"/>
                    <a:pt x="223" y="1510"/>
                  </a:cubicBezTo>
                  <a:cubicBezTo>
                    <a:pt x="223" y="1511"/>
                    <a:pt x="223" y="1511"/>
                    <a:pt x="223" y="1511"/>
                  </a:cubicBezTo>
                  <a:cubicBezTo>
                    <a:pt x="223" y="1511"/>
                    <a:pt x="224" y="1509"/>
                    <a:pt x="224" y="1509"/>
                  </a:cubicBezTo>
                  <a:cubicBezTo>
                    <a:pt x="225" y="1510"/>
                    <a:pt x="225" y="1511"/>
                    <a:pt x="226" y="1511"/>
                  </a:cubicBezTo>
                  <a:cubicBezTo>
                    <a:pt x="226" y="1511"/>
                    <a:pt x="226" y="1511"/>
                    <a:pt x="226" y="1511"/>
                  </a:cubicBezTo>
                  <a:cubicBezTo>
                    <a:pt x="227" y="1510"/>
                    <a:pt x="229" y="1510"/>
                    <a:pt x="229" y="1509"/>
                  </a:cubicBezTo>
                  <a:cubicBezTo>
                    <a:pt x="230" y="1506"/>
                    <a:pt x="228" y="1507"/>
                    <a:pt x="228" y="1506"/>
                  </a:cubicBezTo>
                  <a:cubicBezTo>
                    <a:pt x="227" y="1504"/>
                    <a:pt x="234" y="1504"/>
                    <a:pt x="233" y="1502"/>
                  </a:cubicBezTo>
                  <a:cubicBezTo>
                    <a:pt x="232" y="1500"/>
                    <a:pt x="217" y="1504"/>
                    <a:pt x="222" y="1510"/>
                  </a:cubicBezTo>
                  <a:close/>
                  <a:moveTo>
                    <a:pt x="321" y="1528"/>
                  </a:moveTo>
                  <a:cubicBezTo>
                    <a:pt x="317" y="1532"/>
                    <a:pt x="330" y="1534"/>
                    <a:pt x="327" y="1529"/>
                  </a:cubicBezTo>
                  <a:cubicBezTo>
                    <a:pt x="327" y="1528"/>
                    <a:pt x="327" y="1528"/>
                    <a:pt x="327" y="1528"/>
                  </a:cubicBezTo>
                  <a:cubicBezTo>
                    <a:pt x="328" y="1526"/>
                    <a:pt x="322" y="1527"/>
                    <a:pt x="321" y="1528"/>
                  </a:cubicBezTo>
                  <a:close/>
                  <a:moveTo>
                    <a:pt x="254" y="1487"/>
                  </a:moveTo>
                  <a:cubicBezTo>
                    <a:pt x="249" y="1485"/>
                    <a:pt x="229" y="1481"/>
                    <a:pt x="231" y="1490"/>
                  </a:cubicBezTo>
                  <a:cubicBezTo>
                    <a:pt x="231" y="1491"/>
                    <a:pt x="244" y="1494"/>
                    <a:pt x="241" y="1490"/>
                  </a:cubicBezTo>
                  <a:cubicBezTo>
                    <a:pt x="241" y="1489"/>
                    <a:pt x="238" y="1490"/>
                    <a:pt x="238" y="1489"/>
                  </a:cubicBezTo>
                  <a:cubicBezTo>
                    <a:pt x="237" y="1489"/>
                    <a:pt x="241" y="1489"/>
                    <a:pt x="242" y="1490"/>
                  </a:cubicBezTo>
                  <a:cubicBezTo>
                    <a:pt x="243" y="1490"/>
                    <a:pt x="243" y="1490"/>
                    <a:pt x="244" y="1490"/>
                  </a:cubicBezTo>
                  <a:cubicBezTo>
                    <a:pt x="244" y="1490"/>
                    <a:pt x="245" y="1490"/>
                    <a:pt x="245" y="1490"/>
                  </a:cubicBezTo>
                  <a:cubicBezTo>
                    <a:pt x="245" y="1491"/>
                    <a:pt x="242" y="1493"/>
                    <a:pt x="243" y="1494"/>
                  </a:cubicBezTo>
                  <a:cubicBezTo>
                    <a:pt x="244" y="1495"/>
                    <a:pt x="249" y="1492"/>
                    <a:pt x="250" y="1491"/>
                  </a:cubicBezTo>
                  <a:cubicBezTo>
                    <a:pt x="252" y="1490"/>
                    <a:pt x="254" y="1493"/>
                    <a:pt x="255" y="1490"/>
                  </a:cubicBezTo>
                  <a:cubicBezTo>
                    <a:pt x="255" y="1489"/>
                    <a:pt x="255" y="1489"/>
                    <a:pt x="255" y="1489"/>
                  </a:cubicBezTo>
                  <a:cubicBezTo>
                    <a:pt x="255" y="1489"/>
                    <a:pt x="255" y="1489"/>
                    <a:pt x="255" y="1489"/>
                  </a:cubicBezTo>
                  <a:cubicBezTo>
                    <a:pt x="256" y="1487"/>
                    <a:pt x="255" y="1487"/>
                    <a:pt x="254" y="1487"/>
                  </a:cubicBezTo>
                  <a:close/>
                  <a:moveTo>
                    <a:pt x="158" y="1404"/>
                  </a:moveTo>
                  <a:cubicBezTo>
                    <a:pt x="157" y="1405"/>
                    <a:pt x="162" y="1406"/>
                    <a:pt x="163" y="1405"/>
                  </a:cubicBezTo>
                  <a:cubicBezTo>
                    <a:pt x="164" y="1404"/>
                    <a:pt x="164" y="1404"/>
                    <a:pt x="164" y="1404"/>
                  </a:cubicBezTo>
                  <a:cubicBezTo>
                    <a:pt x="167" y="1405"/>
                    <a:pt x="160" y="1401"/>
                    <a:pt x="158" y="1404"/>
                  </a:cubicBezTo>
                  <a:close/>
                  <a:moveTo>
                    <a:pt x="224" y="1483"/>
                  </a:moveTo>
                  <a:cubicBezTo>
                    <a:pt x="228" y="1482"/>
                    <a:pt x="224" y="1482"/>
                    <a:pt x="223" y="1482"/>
                  </a:cubicBezTo>
                  <a:cubicBezTo>
                    <a:pt x="217" y="1480"/>
                    <a:pt x="224" y="1471"/>
                    <a:pt x="210" y="1463"/>
                  </a:cubicBezTo>
                  <a:cubicBezTo>
                    <a:pt x="210" y="1463"/>
                    <a:pt x="210" y="1463"/>
                    <a:pt x="210" y="1463"/>
                  </a:cubicBezTo>
                  <a:cubicBezTo>
                    <a:pt x="210" y="1462"/>
                    <a:pt x="206" y="1492"/>
                    <a:pt x="224" y="1483"/>
                  </a:cubicBezTo>
                  <a:close/>
                  <a:moveTo>
                    <a:pt x="199" y="1513"/>
                  </a:moveTo>
                  <a:cubicBezTo>
                    <a:pt x="199" y="1513"/>
                    <a:pt x="201" y="1514"/>
                    <a:pt x="201" y="1514"/>
                  </a:cubicBezTo>
                  <a:cubicBezTo>
                    <a:pt x="203" y="1514"/>
                    <a:pt x="207" y="1513"/>
                    <a:pt x="208" y="1512"/>
                  </a:cubicBezTo>
                  <a:cubicBezTo>
                    <a:pt x="210" y="1510"/>
                    <a:pt x="206" y="1510"/>
                    <a:pt x="208" y="1510"/>
                  </a:cubicBezTo>
                  <a:cubicBezTo>
                    <a:pt x="208" y="1510"/>
                    <a:pt x="209" y="1510"/>
                    <a:pt x="209" y="1510"/>
                  </a:cubicBezTo>
                  <a:cubicBezTo>
                    <a:pt x="209" y="1510"/>
                    <a:pt x="209" y="1510"/>
                    <a:pt x="209" y="1509"/>
                  </a:cubicBezTo>
                  <a:cubicBezTo>
                    <a:pt x="209" y="1509"/>
                    <a:pt x="211" y="1509"/>
                    <a:pt x="211" y="1509"/>
                  </a:cubicBezTo>
                  <a:cubicBezTo>
                    <a:pt x="211" y="1508"/>
                    <a:pt x="207" y="1509"/>
                    <a:pt x="208" y="1508"/>
                  </a:cubicBezTo>
                  <a:cubicBezTo>
                    <a:pt x="208" y="1508"/>
                    <a:pt x="209" y="1508"/>
                    <a:pt x="209" y="1508"/>
                  </a:cubicBezTo>
                  <a:cubicBezTo>
                    <a:pt x="210" y="1508"/>
                    <a:pt x="214" y="1508"/>
                    <a:pt x="214" y="1507"/>
                  </a:cubicBezTo>
                  <a:cubicBezTo>
                    <a:pt x="214" y="1506"/>
                    <a:pt x="212" y="1506"/>
                    <a:pt x="213" y="1505"/>
                  </a:cubicBezTo>
                  <a:cubicBezTo>
                    <a:pt x="214" y="1504"/>
                    <a:pt x="215" y="1506"/>
                    <a:pt x="216" y="1505"/>
                  </a:cubicBezTo>
                  <a:cubicBezTo>
                    <a:pt x="217" y="1504"/>
                    <a:pt x="214" y="1502"/>
                    <a:pt x="214" y="1502"/>
                  </a:cubicBezTo>
                  <a:cubicBezTo>
                    <a:pt x="214" y="1502"/>
                    <a:pt x="214" y="1502"/>
                    <a:pt x="214" y="1502"/>
                  </a:cubicBezTo>
                  <a:cubicBezTo>
                    <a:pt x="210" y="1503"/>
                    <a:pt x="205" y="1502"/>
                    <a:pt x="202" y="1503"/>
                  </a:cubicBezTo>
                  <a:cubicBezTo>
                    <a:pt x="198" y="1504"/>
                    <a:pt x="202" y="1508"/>
                    <a:pt x="202" y="1509"/>
                  </a:cubicBezTo>
                  <a:cubicBezTo>
                    <a:pt x="201" y="1511"/>
                    <a:pt x="200" y="1508"/>
                    <a:pt x="201" y="1511"/>
                  </a:cubicBezTo>
                  <a:cubicBezTo>
                    <a:pt x="201" y="1513"/>
                    <a:pt x="199" y="1512"/>
                    <a:pt x="199" y="1513"/>
                  </a:cubicBezTo>
                  <a:close/>
                  <a:moveTo>
                    <a:pt x="166" y="1435"/>
                  </a:moveTo>
                  <a:cubicBezTo>
                    <a:pt x="151" y="1436"/>
                    <a:pt x="180" y="1456"/>
                    <a:pt x="166" y="1436"/>
                  </a:cubicBezTo>
                  <a:lnTo>
                    <a:pt x="166" y="1435"/>
                  </a:lnTo>
                  <a:close/>
                  <a:moveTo>
                    <a:pt x="261" y="1522"/>
                  </a:moveTo>
                  <a:cubicBezTo>
                    <a:pt x="259" y="1523"/>
                    <a:pt x="262" y="1516"/>
                    <a:pt x="258" y="1518"/>
                  </a:cubicBezTo>
                  <a:cubicBezTo>
                    <a:pt x="255" y="1520"/>
                    <a:pt x="260" y="1531"/>
                    <a:pt x="260" y="1531"/>
                  </a:cubicBezTo>
                  <a:cubicBezTo>
                    <a:pt x="261" y="1531"/>
                    <a:pt x="260" y="1529"/>
                    <a:pt x="261" y="1529"/>
                  </a:cubicBezTo>
                  <a:cubicBezTo>
                    <a:pt x="262" y="1528"/>
                    <a:pt x="262" y="1529"/>
                    <a:pt x="263" y="1528"/>
                  </a:cubicBezTo>
                  <a:cubicBezTo>
                    <a:pt x="264" y="1526"/>
                    <a:pt x="265" y="1531"/>
                    <a:pt x="265" y="1529"/>
                  </a:cubicBezTo>
                  <a:cubicBezTo>
                    <a:pt x="266" y="1529"/>
                    <a:pt x="266" y="1529"/>
                    <a:pt x="266" y="1529"/>
                  </a:cubicBezTo>
                  <a:cubicBezTo>
                    <a:pt x="266" y="1527"/>
                    <a:pt x="267" y="1519"/>
                    <a:pt x="265" y="1518"/>
                  </a:cubicBezTo>
                  <a:cubicBezTo>
                    <a:pt x="259" y="1514"/>
                    <a:pt x="264" y="1521"/>
                    <a:pt x="261" y="1522"/>
                  </a:cubicBezTo>
                  <a:close/>
                  <a:moveTo>
                    <a:pt x="267" y="1499"/>
                  </a:moveTo>
                  <a:cubicBezTo>
                    <a:pt x="254" y="1503"/>
                    <a:pt x="272" y="1509"/>
                    <a:pt x="274" y="1510"/>
                  </a:cubicBezTo>
                  <a:cubicBezTo>
                    <a:pt x="275" y="1510"/>
                    <a:pt x="279" y="1511"/>
                    <a:pt x="279" y="1511"/>
                  </a:cubicBezTo>
                  <a:cubicBezTo>
                    <a:pt x="278" y="1512"/>
                    <a:pt x="270" y="1511"/>
                    <a:pt x="268" y="1513"/>
                  </a:cubicBezTo>
                  <a:cubicBezTo>
                    <a:pt x="262" y="1516"/>
                    <a:pt x="270" y="1517"/>
                    <a:pt x="268" y="1524"/>
                  </a:cubicBezTo>
                  <a:cubicBezTo>
                    <a:pt x="266" y="1532"/>
                    <a:pt x="273" y="1528"/>
                    <a:pt x="277" y="1525"/>
                  </a:cubicBezTo>
                  <a:cubicBezTo>
                    <a:pt x="279" y="1524"/>
                    <a:pt x="278" y="1533"/>
                    <a:pt x="280" y="1531"/>
                  </a:cubicBezTo>
                  <a:cubicBezTo>
                    <a:pt x="280" y="1531"/>
                    <a:pt x="283" y="1525"/>
                    <a:pt x="284" y="1526"/>
                  </a:cubicBezTo>
                  <a:cubicBezTo>
                    <a:pt x="285" y="1527"/>
                    <a:pt x="285" y="1530"/>
                    <a:pt x="287" y="1529"/>
                  </a:cubicBezTo>
                  <a:cubicBezTo>
                    <a:pt x="288" y="1529"/>
                    <a:pt x="288" y="1529"/>
                    <a:pt x="288" y="1529"/>
                  </a:cubicBezTo>
                  <a:cubicBezTo>
                    <a:pt x="289" y="1528"/>
                    <a:pt x="293" y="1528"/>
                    <a:pt x="293" y="1525"/>
                  </a:cubicBezTo>
                  <a:cubicBezTo>
                    <a:pt x="291" y="1516"/>
                    <a:pt x="310" y="1491"/>
                    <a:pt x="309" y="1490"/>
                  </a:cubicBezTo>
                  <a:cubicBezTo>
                    <a:pt x="306" y="1486"/>
                    <a:pt x="298" y="1499"/>
                    <a:pt x="293" y="1499"/>
                  </a:cubicBezTo>
                  <a:cubicBezTo>
                    <a:pt x="284" y="1498"/>
                    <a:pt x="275" y="1506"/>
                    <a:pt x="267" y="1504"/>
                  </a:cubicBezTo>
                  <a:cubicBezTo>
                    <a:pt x="265" y="1504"/>
                    <a:pt x="271" y="1498"/>
                    <a:pt x="267" y="1499"/>
                  </a:cubicBezTo>
                  <a:close/>
                  <a:moveTo>
                    <a:pt x="240" y="1049"/>
                  </a:moveTo>
                  <a:cubicBezTo>
                    <a:pt x="265" y="1049"/>
                    <a:pt x="234" y="1040"/>
                    <a:pt x="237" y="1048"/>
                  </a:cubicBezTo>
                  <a:cubicBezTo>
                    <a:pt x="237" y="1048"/>
                    <a:pt x="237" y="1048"/>
                    <a:pt x="237" y="1048"/>
                  </a:cubicBezTo>
                  <a:cubicBezTo>
                    <a:pt x="238" y="1049"/>
                    <a:pt x="238" y="1049"/>
                    <a:pt x="240" y="1049"/>
                  </a:cubicBezTo>
                  <a:close/>
                  <a:moveTo>
                    <a:pt x="20" y="1492"/>
                  </a:moveTo>
                  <a:cubicBezTo>
                    <a:pt x="20" y="1493"/>
                    <a:pt x="20" y="1486"/>
                    <a:pt x="16" y="1489"/>
                  </a:cubicBezTo>
                  <a:cubicBezTo>
                    <a:pt x="16" y="1489"/>
                    <a:pt x="17" y="1490"/>
                    <a:pt x="17" y="1490"/>
                  </a:cubicBezTo>
                  <a:cubicBezTo>
                    <a:pt x="19" y="1494"/>
                    <a:pt x="19" y="1499"/>
                    <a:pt x="21" y="1503"/>
                  </a:cubicBezTo>
                  <a:cubicBezTo>
                    <a:pt x="22" y="1507"/>
                    <a:pt x="24" y="1509"/>
                    <a:pt x="25" y="1513"/>
                  </a:cubicBezTo>
                  <a:cubicBezTo>
                    <a:pt x="26" y="1513"/>
                    <a:pt x="26" y="1516"/>
                    <a:pt x="26" y="1516"/>
                  </a:cubicBezTo>
                  <a:cubicBezTo>
                    <a:pt x="28" y="1517"/>
                    <a:pt x="28" y="1514"/>
                    <a:pt x="29" y="1513"/>
                  </a:cubicBezTo>
                  <a:cubicBezTo>
                    <a:pt x="32" y="1512"/>
                    <a:pt x="31" y="1516"/>
                    <a:pt x="35" y="1516"/>
                  </a:cubicBezTo>
                  <a:cubicBezTo>
                    <a:pt x="37" y="1515"/>
                    <a:pt x="35" y="1512"/>
                    <a:pt x="38" y="1513"/>
                  </a:cubicBezTo>
                  <a:cubicBezTo>
                    <a:pt x="44" y="1513"/>
                    <a:pt x="40" y="1519"/>
                    <a:pt x="42" y="1520"/>
                  </a:cubicBezTo>
                  <a:cubicBezTo>
                    <a:pt x="42" y="1521"/>
                    <a:pt x="43" y="1520"/>
                    <a:pt x="43" y="1520"/>
                  </a:cubicBezTo>
                  <a:cubicBezTo>
                    <a:pt x="46" y="1520"/>
                    <a:pt x="41" y="1515"/>
                    <a:pt x="44" y="1514"/>
                  </a:cubicBezTo>
                  <a:cubicBezTo>
                    <a:pt x="46" y="1513"/>
                    <a:pt x="49" y="1515"/>
                    <a:pt x="52" y="1514"/>
                  </a:cubicBezTo>
                  <a:cubicBezTo>
                    <a:pt x="55" y="1513"/>
                    <a:pt x="50" y="1510"/>
                    <a:pt x="50" y="1509"/>
                  </a:cubicBezTo>
                  <a:cubicBezTo>
                    <a:pt x="50" y="1507"/>
                    <a:pt x="52" y="1504"/>
                    <a:pt x="52" y="1502"/>
                  </a:cubicBezTo>
                  <a:cubicBezTo>
                    <a:pt x="52" y="1501"/>
                    <a:pt x="49" y="1505"/>
                    <a:pt x="49" y="1505"/>
                  </a:cubicBezTo>
                  <a:cubicBezTo>
                    <a:pt x="47" y="1504"/>
                    <a:pt x="39" y="1498"/>
                    <a:pt x="40" y="1495"/>
                  </a:cubicBezTo>
                  <a:cubicBezTo>
                    <a:pt x="40" y="1495"/>
                    <a:pt x="41" y="1495"/>
                    <a:pt x="41" y="1495"/>
                  </a:cubicBezTo>
                  <a:cubicBezTo>
                    <a:pt x="47" y="1497"/>
                    <a:pt x="40" y="1499"/>
                    <a:pt x="46" y="1499"/>
                  </a:cubicBezTo>
                  <a:cubicBezTo>
                    <a:pt x="47" y="1499"/>
                    <a:pt x="49" y="1501"/>
                    <a:pt x="49" y="1500"/>
                  </a:cubicBezTo>
                  <a:cubicBezTo>
                    <a:pt x="52" y="1495"/>
                    <a:pt x="45" y="1490"/>
                    <a:pt x="45" y="1488"/>
                  </a:cubicBezTo>
                  <a:cubicBezTo>
                    <a:pt x="46" y="1486"/>
                    <a:pt x="48" y="1490"/>
                    <a:pt x="50" y="1489"/>
                  </a:cubicBezTo>
                  <a:cubicBezTo>
                    <a:pt x="52" y="1487"/>
                    <a:pt x="49" y="1483"/>
                    <a:pt x="50" y="1482"/>
                  </a:cubicBezTo>
                  <a:cubicBezTo>
                    <a:pt x="51" y="1481"/>
                    <a:pt x="54" y="1483"/>
                    <a:pt x="54" y="1484"/>
                  </a:cubicBezTo>
                  <a:cubicBezTo>
                    <a:pt x="54" y="1486"/>
                    <a:pt x="50" y="1489"/>
                    <a:pt x="50" y="1491"/>
                  </a:cubicBezTo>
                  <a:cubicBezTo>
                    <a:pt x="50" y="1494"/>
                    <a:pt x="53" y="1494"/>
                    <a:pt x="53" y="1496"/>
                  </a:cubicBezTo>
                  <a:cubicBezTo>
                    <a:pt x="54" y="1496"/>
                    <a:pt x="52" y="1499"/>
                    <a:pt x="53" y="1499"/>
                  </a:cubicBezTo>
                  <a:cubicBezTo>
                    <a:pt x="54" y="1500"/>
                    <a:pt x="55" y="1495"/>
                    <a:pt x="56" y="1494"/>
                  </a:cubicBezTo>
                  <a:cubicBezTo>
                    <a:pt x="57" y="1492"/>
                    <a:pt x="63" y="1490"/>
                    <a:pt x="64" y="1492"/>
                  </a:cubicBezTo>
                  <a:cubicBezTo>
                    <a:pt x="66" y="1494"/>
                    <a:pt x="58" y="1494"/>
                    <a:pt x="57" y="1495"/>
                  </a:cubicBezTo>
                  <a:cubicBezTo>
                    <a:pt x="56" y="1496"/>
                    <a:pt x="55" y="1502"/>
                    <a:pt x="56" y="1502"/>
                  </a:cubicBezTo>
                  <a:cubicBezTo>
                    <a:pt x="57" y="1502"/>
                    <a:pt x="58" y="1500"/>
                    <a:pt x="59" y="1501"/>
                  </a:cubicBezTo>
                  <a:cubicBezTo>
                    <a:pt x="60" y="1501"/>
                    <a:pt x="60" y="1502"/>
                    <a:pt x="61" y="1503"/>
                  </a:cubicBezTo>
                  <a:cubicBezTo>
                    <a:pt x="65" y="1505"/>
                    <a:pt x="63" y="1499"/>
                    <a:pt x="66" y="1498"/>
                  </a:cubicBezTo>
                  <a:cubicBezTo>
                    <a:pt x="66" y="1498"/>
                    <a:pt x="68" y="1499"/>
                    <a:pt x="68" y="1498"/>
                  </a:cubicBezTo>
                  <a:cubicBezTo>
                    <a:pt x="68" y="1497"/>
                    <a:pt x="65" y="1495"/>
                    <a:pt x="67" y="1494"/>
                  </a:cubicBezTo>
                  <a:cubicBezTo>
                    <a:pt x="67" y="1493"/>
                    <a:pt x="69" y="1494"/>
                    <a:pt x="69" y="1494"/>
                  </a:cubicBezTo>
                  <a:cubicBezTo>
                    <a:pt x="70" y="1494"/>
                    <a:pt x="69" y="1492"/>
                    <a:pt x="70" y="1491"/>
                  </a:cubicBezTo>
                  <a:cubicBezTo>
                    <a:pt x="70" y="1490"/>
                    <a:pt x="73" y="1488"/>
                    <a:pt x="73" y="1487"/>
                  </a:cubicBezTo>
                  <a:cubicBezTo>
                    <a:pt x="72" y="1485"/>
                    <a:pt x="65" y="1486"/>
                    <a:pt x="64" y="1486"/>
                  </a:cubicBezTo>
                  <a:cubicBezTo>
                    <a:pt x="64" y="1486"/>
                    <a:pt x="66" y="1481"/>
                    <a:pt x="65" y="1480"/>
                  </a:cubicBezTo>
                  <a:cubicBezTo>
                    <a:pt x="65" y="1480"/>
                    <a:pt x="63" y="1481"/>
                    <a:pt x="63" y="1481"/>
                  </a:cubicBezTo>
                  <a:cubicBezTo>
                    <a:pt x="62" y="1481"/>
                    <a:pt x="62" y="1480"/>
                    <a:pt x="61" y="1479"/>
                  </a:cubicBezTo>
                  <a:cubicBezTo>
                    <a:pt x="60" y="1478"/>
                    <a:pt x="58" y="1479"/>
                    <a:pt x="57" y="1478"/>
                  </a:cubicBezTo>
                  <a:cubicBezTo>
                    <a:pt x="57" y="1477"/>
                    <a:pt x="58" y="1476"/>
                    <a:pt x="57" y="1476"/>
                  </a:cubicBezTo>
                  <a:cubicBezTo>
                    <a:pt x="56" y="1475"/>
                    <a:pt x="55" y="1477"/>
                    <a:pt x="54" y="1477"/>
                  </a:cubicBezTo>
                  <a:cubicBezTo>
                    <a:pt x="54" y="1477"/>
                    <a:pt x="50" y="1473"/>
                    <a:pt x="50" y="1476"/>
                  </a:cubicBezTo>
                  <a:cubicBezTo>
                    <a:pt x="50" y="1476"/>
                    <a:pt x="52" y="1478"/>
                    <a:pt x="51" y="1479"/>
                  </a:cubicBezTo>
                  <a:cubicBezTo>
                    <a:pt x="50" y="1479"/>
                    <a:pt x="47" y="1476"/>
                    <a:pt x="46" y="1475"/>
                  </a:cubicBezTo>
                  <a:cubicBezTo>
                    <a:pt x="45" y="1475"/>
                    <a:pt x="42" y="1477"/>
                    <a:pt x="41" y="1476"/>
                  </a:cubicBezTo>
                  <a:cubicBezTo>
                    <a:pt x="40" y="1475"/>
                    <a:pt x="40" y="1470"/>
                    <a:pt x="39" y="1469"/>
                  </a:cubicBezTo>
                  <a:cubicBezTo>
                    <a:pt x="38" y="1469"/>
                    <a:pt x="38" y="1469"/>
                    <a:pt x="38" y="1469"/>
                  </a:cubicBezTo>
                  <a:cubicBezTo>
                    <a:pt x="33" y="1468"/>
                    <a:pt x="33" y="1471"/>
                    <a:pt x="30" y="1475"/>
                  </a:cubicBezTo>
                  <a:cubicBezTo>
                    <a:pt x="30" y="1475"/>
                    <a:pt x="28" y="1475"/>
                    <a:pt x="28" y="1476"/>
                  </a:cubicBezTo>
                  <a:cubicBezTo>
                    <a:pt x="28" y="1478"/>
                    <a:pt x="31" y="1477"/>
                    <a:pt x="32" y="1478"/>
                  </a:cubicBezTo>
                  <a:cubicBezTo>
                    <a:pt x="33" y="1478"/>
                    <a:pt x="33" y="1483"/>
                    <a:pt x="35" y="1482"/>
                  </a:cubicBezTo>
                  <a:cubicBezTo>
                    <a:pt x="37" y="1481"/>
                    <a:pt x="37" y="1476"/>
                    <a:pt x="38" y="1477"/>
                  </a:cubicBezTo>
                  <a:cubicBezTo>
                    <a:pt x="40" y="1478"/>
                    <a:pt x="45" y="1490"/>
                    <a:pt x="40" y="1488"/>
                  </a:cubicBezTo>
                  <a:cubicBezTo>
                    <a:pt x="38" y="1488"/>
                    <a:pt x="39" y="1483"/>
                    <a:pt x="38" y="1483"/>
                  </a:cubicBezTo>
                  <a:cubicBezTo>
                    <a:pt x="37" y="1483"/>
                    <a:pt x="38" y="1488"/>
                    <a:pt x="38" y="1489"/>
                  </a:cubicBezTo>
                  <a:cubicBezTo>
                    <a:pt x="37" y="1491"/>
                    <a:pt x="35" y="1491"/>
                    <a:pt x="35" y="1494"/>
                  </a:cubicBezTo>
                  <a:cubicBezTo>
                    <a:pt x="35" y="1497"/>
                    <a:pt x="33" y="1494"/>
                    <a:pt x="32" y="1494"/>
                  </a:cubicBezTo>
                  <a:cubicBezTo>
                    <a:pt x="31" y="1494"/>
                    <a:pt x="33" y="1500"/>
                    <a:pt x="31" y="1500"/>
                  </a:cubicBezTo>
                  <a:cubicBezTo>
                    <a:pt x="30" y="1500"/>
                    <a:pt x="27" y="1493"/>
                    <a:pt x="26" y="1492"/>
                  </a:cubicBezTo>
                  <a:cubicBezTo>
                    <a:pt x="26" y="1491"/>
                    <a:pt x="29" y="1486"/>
                    <a:pt x="29" y="1484"/>
                  </a:cubicBezTo>
                  <a:cubicBezTo>
                    <a:pt x="29" y="1484"/>
                    <a:pt x="29" y="1484"/>
                    <a:pt x="29" y="1484"/>
                  </a:cubicBezTo>
                  <a:cubicBezTo>
                    <a:pt x="29" y="1484"/>
                    <a:pt x="30" y="1484"/>
                    <a:pt x="30" y="1483"/>
                  </a:cubicBezTo>
                  <a:cubicBezTo>
                    <a:pt x="29" y="1483"/>
                    <a:pt x="29" y="1483"/>
                    <a:pt x="29" y="1483"/>
                  </a:cubicBezTo>
                  <a:cubicBezTo>
                    <a:pt x="29" y="1483"/>
                    <a:pt x="29" y="1483"/>
                    <a:pt x="29" y="1483"/>
                  </a:cubicBezTo>
                  <a:cubicBezTo>
                    <a:pt x="28" y="1483"/>
                    <a:pt x="28" y="1484"/>
                    <a:pt x="27" y="1483"/>
                  </a:cubicBezTo>
                  <a:cubicBezTo>
                    <a:pt x="23" y="1481"/>
                    <a:pt x="27" y="1486"/>
                    <a:pt x="27" y="1486"/>
                  </a:cubicBezTo>
                  <a:cubicBezTo>
                    <a:pt x="26" y="1487"/>
                    <a:pt x="22" y="1488"/>
                    <a:pt x="22" y="1488"/>
                  </a:cubicBezTo>
                  <a:cubicBezTo>
                    <a:pt x="20" y="1489"/>
                    <a:pt x="21" y="1491"/>
                    <a:pt x="20" y="1492"/>
                  </a:cubicBezTo>
                  <a:close/>
                  <a:moveTo>
                    <a:pt x="67" y="1518"/>
                  </a:moveTo>
                  <a:cubicBezTo>
                    <a:pt x="66" y="1517"/>
                    <a:pt x="61" y="1516"/>
                    <a:pt x="60" y="1515"/>
                  </a:cubicBezTo>
                  <a:cubicBezTo>
                    <a:pt x="58" y="1515"/>
                    <a:pt x="57" y="1512"/>
                    <a:pt x="56" y="1513"/>
                  </a:cubicBezTo>
                  <a:cubicBezTo>
                    <a:pt x="55" y="1514"/>
                    <a:pt x="56" y="1517"/>
                    <a:pt x="55" y="1518"/>
                  </a:cubicBezTo>
                  <a:cubicBezTo>
                    <a:pt x="54" y="1518"/>
                    <a:pt x="47" y="1515"/>
                    <a:pt x="48" y="1519"/>
                  </a:cubicBezTo>
                  <a:cubicBezTo>
                    <a:pt x="48" y="1520"/>
                    <a:pt x="50" y="1519"/>
                    <a:pt x="51" y="1520"/>
                  </a:cubicBezTo>
                  <a:cubicBezTo>
                    <a:pt x="52" y="1520"/>
                    <a:pt x="52" y="1522"/>
                    <a:pt x="53" y="1522"/>
                  </a:cubicBezTo>
                  <a:cubicBezTo>
                    <a:pt x="54" y="1523"/>
                    <a:pt x="55" y="1521"/>
                    <a:pt x="56" y="1522"/>
                  </a:cubicBezTo>
                  <a:cubicBezTo>
                    <a:pt x="58" y="1522"/>
                    <a:pt x="58" y="1527"/>
                    <a:pt x="60" y="1528"/>
                  </a:cubicBezTo>
                  <a:cubicBezTo>
                    <a:pt x="62" y="1529"/>
                    <a:pt x="64" y="1524"/>
                    <a:pt x="65" y="1526"/>
                  </a:cubicBezTo>
                  <a:cubicBezTo>
                    <a:pt x="67" y="1528"/>
                    <a:pt x="65" y="1532"/>
                    <a:pt x="68" y="1527"/>
                  </a:cubicBezTo>
                  <a:cubicBezTo>
                    <a:pt x="68" y="1526"/>
                    <a:pt x="68" y="1526"/>
                    <a:pt x="68" y="1526"/>
                  </a:cubicBezTo>
                  <a:cubicBezTo>
                    <a:pt x="65" y="1523"/>
                    <a:pt x="68" y="1521"/>
                    <a:pt x="67" y="1518"/>
                  </a:cubicBezTo>
                  <a:close/>
                  <a:moveTo>
                    <a:pt x="14" y="1491"/>
                  </a:moveTo>
                  <a:cubicBezTo>
                    <a:pt x="9" y="1484"/>
                    <a:pt x="0" y="1505"/>
                    <a:pt x="8" y="1509"/>
                  </a:cubicBezTo>
                  <a:cubicBezTo>
                    <a:pt x="10" y="1510"/>
                    <a:pt x="12" y="1506"/>
                    <a:pt x="13" y="1504"/>
                  </a:cubicBezTo>
                  <a:cubicBezTo>
                    <a:pt x="13" y="1503"/>
                    <a:pt x="11" y="1498"/>
                    <a:pt x="11" y="1498"/>
                  </a:cubicBezTo>
                  <a:cubicBezTo>
                    <a:pt x="13" y="1498"/>
                    <a:pt x="16" y="1507"/>
                    <a:pt x="18" y="1505"/>
                  </a:cubicBezTo>
                  <a:cubicBezTo>
                    <a:pt x="20" y="1504"/>
                    <a:pt x="15" y="1492"/>
                    <a:pt x="14" y="1491"/>
                  </a:cubicBezTo>
                  <a:close/>
                  <a:moveTo>
                    <a:pt x="79" y="1491"/>
                  </a:moveTo>
                  <a:cubicBezTo>
                    <a:pt x="77" y="1495"/>
                    <a:pt x="83" y="1492"/>
                    <a:pt x="83" y="1494"/>
                  </a:cubicBezTo>
                  <a:cubicBezTo>
                    <a:pt x="83" y="1495"/>
                    <a:pt x="82" y="1496"/>
                    <a:pt x="82" y="1497"/>
                  </a:cubicBezTo>
                  <a:cubicBezTo>
                    <a:pt x="81" y="1500"/>
                    <a:pt x="84" y="1499"/>
                    <a:pt x="84" y="1497"/>
                  </a:cubicBezTo>
                  <a:cubicBezTo>
                    <a:pt x="85" y="1494"/>
                    <a:pt x="86" y="1494"/>
                    <a:pt x="87" y="1492"/>
                  </a:cubicBezTo>
                  <a:cubicBezTo>
                    <a:pt x="88" y="1489"/>
                    <a:pt x="81" y="1486"/>
                    <a:pt x="79" y="1491"/>
                  </a:cubicBezTo>
                  <a:close/>
                  <a:moveTo>
                    <a:pt x="87" y="1492"/>
                  </a:moveTo>
                  <a:cubicBezTo>
                    <a:pt x="87" y="1492"/>
                    <a:pt x="87" y="1492"/>
                    <a:pt x="87" y="1492"/>
                  </a:cubicBezTo>
                  <a:cubicBezTo>
                    <a:pt x="87" y="1492"/>
                    <a:pt x="87" y="1492"/>
                    <a:pt x="87" y="1492"/>
                  </a:cubicBezTo>
                  <a:close/>
                  <a:moveTo>
                    <a:pt x="73" y="1507"/>
                  </a:moveTo>
                  <a:cubicBezTo>
                    <a:pt x="72" y="1506"/>
                    <a:pt x="72" y="1506"/>
                    <a:pt x="72" y="1506"/>
                  </a:cubicBezTo>
                  <a:cubicBezTo>
                    <a:pt x="68" y="1506"/>
                    <a:pt x="73" y="1510"/>
                    <a:pt x="71" y="1511"/>
                  </a:cubicBezTo>
                  <a:cubicBezTo>
                    <a:pt x="69" y="1513"/>
                    <a:pt x="69" y="1506"/>
                    <a:pt x="68" y="1506"/>
                  </a:cubicBezTo>
                  <a:cubicBezTo>
                    <a:pt x="67" y="1506"/>
                    <a:pt x="65" y="1514"/>
                    <a:pt x="66" y="1515"/>
                  </a:cubicBezTo>
                  <a:cubicBezTo>
                    <a:pt x="67" y="1516"/>
                    <a:pt x="69" y="1516"/>
                    <a:pt x="70" y="1517"/>
                  </a:cubicBezTo>
                  <a:cubicBezTo>
                    <a:pt x="72" y="1522"/>
                    <a:pt x="71" y="1516"/>
                    <a:pt x="72" y="1515"/>
                  </a:cubicBezTo>
                  <a:cubicBezTo>
                    <a:pt x="73" y="1511"/>
                    <a:pt x="76" y="1512"/>
                    <a:pt x="73" y="1507"/>
                  </a:cubicBezTo>
                  <a:close/>
                  <a:moveTo>
                    <a:pt x="801" y="1166"/>
                  </a:moveTo>
                  <a:cubicBezTo>
                    <a:pt x="805" y="1163"/>
                    <a:pt x="818" y="1172"/>
                    <a:pt x="819" y="1171"/>
                  </a:cubicBezTo>
                  <a:cubicBezTo>
                    <a:pt x="819" y="1166"/>
                    <a:pt x="796" y="1151"/>
                    <a:pt x="792" y="1152"/>
                  </a:cubicBezTo>
                  <a:cubicBezTo>
                    <a:pt x="770" y="1159"/>
                    <a:pt x="789" y="1180"/>
                    <a:pt x="767" y="1176"/>
                  </a:cubicBezTo>
                  <a:cubicBezTo>
                    <a:pt x="765" y="1176"/>
                    <a:pt x="771" y="1170"/>
                    <a:pt x="773" y="1167"/>
                  </a:cubicBezTo>
                  <a:cubicBezTo>
                    <a:pt x="778" y="1156"/>
                    <a:pt x="766" y="1152"/>
                    <a:pt x="763" y="1143"/>
                  </a:cubicBezTo>
                  <a:cubicBezTo>
                    <a:pt x="762" y="1139"/>
                    <a:pt x="772" y="1144"/>
                    <a:pt x="772" y="1143"/>
                  </a:cubicBezTo>
                  <a:cubicBezTo>
                    <a:pt x="773" y="1128"/>
                    <a:pt x="748" y="1129"/>
                    <a:pt x="740" y="1137"/>
                  </a:cubicBezTo>
                  <a:cubicBezTo>
                    <a:pt x="739" y="1139"/>
                    <a:pt x="743" y="1139"/>
                    <a:pt x="741" y="1140"/>
                  </a:cubicBezTo>
                  <a:cubicBezTo>
                    <a:pt x="728" y="1148"/>
                    <a:pt x="748" y="1148"/>
                    <a:pt x="748" y="1148"/>
                  </a:cubicBezTo>
                  <a:cubicBezTo>
                    <a:pt x="747" y="1152"/>
                    <a:pt x="740" y="1152"/>
                    <a:pt x="738" y="1150"/>
                  </a:cubicBezTo>
                  <a:cubicBezTo>
                    <a:pt x="733" y="1146"/>
                    <a:pt x="743" y="1157"/>
                    <a:pt x="744" y="1160"/>
                  </a:cubicBezTo>
                  <a:cubicBezTo>
                    <a:pt x="747" y="1167"/>
                    <a:pt x="750" y="1180"/>
                    <a:pt x="761" y="1182"/>
                  </a:cubicBezTo>
                  <a:cubicBezTo>
                    <a:pt x="764" y="1183"/>
                    <a:pt x="762" y="1176"/>
                    <a:pt x="765" y="1178"/>
                  </a:cubicBezTo>
                  <a:cubicBezTo>
                    <a:pt x="772" y="1181"/>
                    <a:pt x="737" y="1210"/>
                    <a:pt x="767" y="1207"/>
                  </a:cubicBezTo>
                  <a:cubicBezTo>
                    <a:pt x="771" y="1206"/>
                    <a:pt x="772" y="1200"/>
                    <a:pt x="775" y="1201"/>
                  </a:cubicBezTo>
                  <a:cubicBezTo>
                    <a:pt x="779" y="1201"/>
                    <a:pt x="782" y="1207"/>
                    <a:pt x="787" y="1205"/>
                  </a:cubicBezTo>
                  <a:cubicBezTo>
                    <a:pt x="789" y="1204"/>
                    <a:pt x="786" y="1203"/>
                    <a:pt x="785" y="1202"/>
                  </a:cubicBezTo>
                  <a:cubicBezTo>
                    <a:pt x="779" y="1200"/>
                    <a:pt x="784" y="1198"/>
                    <a:pt x="788" y="1197"/>
                  </a:cubicBezTo>
                  <a:cubicBezTo>
                    <a:pt x="790" y="1196"/>
                    <a:pt x="801" y="1215"/>
                    <a:pt x="810" y="1210"/>
                  </a:cubicBezTo>
                  <a:cubicBezTo>
                    <a:pt x="814" y="1208"/>
                    <a:pt x="809" y="1202"/>
                    <a:pt x="815" y="1201"/>
                  </a:cubicBezTo>
                  <a:cubicBezTo>
                    <a:pt x="816" y="1201"/>
                    <a:pt x="815" y="1192"/>
                    <a:pt x="817" y="1195"/>
                  </a:cubicBezTo>
                  <a:cubicBezTo>
                    <a:pt x="819" y="1199"/>
                    <a:pt x="828" y="1196"/>
                    <a:pt x="820" y="1188"/>
                  </a:cubicBezTo>
                  <a:cubicBezTo>
                    <a:pt x="813" y="1182"/>
                    <a:pt x="830" y="1192"/>
                    <a:pt x="823" y="1186"/>
                  </a:cubicBezTo>
                  <a:cubicBezTo>
                    <a:pt x="823" y="1186"/>
                    <a:pt x="816" y="1183"/>
                    <a:pt x="818" y="1182"/>
                  </a:cubicBezTo>
                  <a:cubicBezTo>
                    <a:pt x="819" y="1181"/>
                    <a:pt x="821" y="1181"/>
                    <a:pt x="822" y="1181"/>
                  </a:cubicBezTo>
                  <a:cubicBezTo>
                    <a:pt x="817" y="1178"/>
                    <a:pt x="813" y="1176"/>
                    <a:pt x="812" y="1175"/>
                  </a:cubicBezTo>
                  <a:cubicBezTo>
                    <a:pt x="807" y="1174"/>
                    <a:pt x="798" y="1169"/>
                    <a:pt x="801" y="1166"/>
                  </a:cubicBezTo>
                  <a:close/>
                  <a:moveTo>
                    <a:pt x="875" y="1228"/>
                  </a:moveTo>
                  <a:cubicBezTo>
                    <a:pt x="876" y="1231"/>
                    <a:pt x="872" y="1234"/>
                    <a:pt x="872" y="1234"/>
                  </a:cubicBezTo>
                  <a:cubicBezTo>
                    <a:pt x="873" y="1235"/>
                    <a:pt x="879" y="1243"/>
                    <a:pt x="875" y="1243"/>
                  </a:cubicBezTo>
                  <a:cubicBezTo>
                    <a:pt x="871" y="1243"/>
                    <a:pt x="866" y="1233"/>
                    <a:pt x="864" y="1230"/>
                  </a:cubicBezTo>
                  <a:cubicBezTo>
                    <a:pt x="862" y="1226"/>
                    <a:pt x="874" y="1234"/>
                    <a:pt x="872" y="1227"/>
                  </a:cubicBezTo>
                  <a:cubicBezTo>
                    <a:pt x="871" y="1226"/>
                    <a:pt x="871" y="1222"/>
                    <a:pt x="870" y="1221"/>
                  </a:cubicBezTo>
                  <a:cubicBezTo>
                    <a:pt x="868" y="1218"/>
                    <a:pt x="823" y="1228"/>
                    <a:pt x="820" y="1232"/>
                  </a:cubicBezTo>
                  <a:cubicBezTo>
                    <a:pt x="819" y="1234"/>
                    <a:pt x="824" y="1240"/>
                    <a:pt x="825" y="1241"/>
                  </a:cubicBezTo>
                  <a:cubicBezTo>
                    <a:pt x="835" y="1248"/>
                    <a:pt x="851" y="1279"/>
                    <a:pt x="866" y="1277"/>
                  </a:cubicBezTo>
                  <a:cubicBezTo>
                    <a:pt x="875" y="1276"/>
                    <a:pt x="867" y="1270"/>
                    <a:pt x="867" y="1269"/>
                  </a:cubicBezTo>
                  <a:cubicBezTo>
                    <a:pt x="867" y="1269"/>
                    <a:pt x="879" y="1265"/>
                    <a:pt x="879" y="1263"/>
                  </a:cubicBezTo>
                  <a:cubicBezTo>
                    <a:pt x="878" y="1258"/>
                    <a:pt x="876" y="1246"/>
                    <a:pt x="881" y="1243"/>
                  </a:cubicBezTo>
                  <a:cubicBezTo>
                    <a:pt x="884" y="1241"/>
                    <a:pt x="893" y="1255"/>
                    <a:pt x="896" y="1250"/>
                  </a:cubicBezTo>
                  <a:cubicBezTo>
                    <a:pt x="897" y="1247"/>
                    <a:pt x="892" y="1245"/>
                    <a:pt x="890" y="1242"/>
                  </a:cubicBezTo>
                  <a:cubicBezTo>
                    <a:pt x="891" y="1242"/>
                    <a:pt x="891" y="1242"/>
                    <a:pt x="891" y="1242"/>
                  </a:cubicBezTo>
                  <a:cubicBezTo>
                    <a:pt x="886" y="1233"/>
                    <a:pt x="871" y="1209"/>
                    <a:pt x="875" y="1228"/>
                  </a:cubicBezTo>
                  <a:close/>
                  <a:moveTo>
                    <a:pt x="153" y="1093"/>
                  </a:moveTo>
                  <a:cubicBezTo>
                    <a:pt x="149" y="1092"/>
                    <a:pt x="154" y="1108"/>
                    <a:pt x="159" y="1100"/>
                  </a:cubicBezTo>
                  <a:cubicBezTo>
                    <a:pt x="161" y="1097"/>
                    <a:pt x="154" y="1094"/>
                    <a:pt x="153" y="1093"/>
                  </a:cubicBezTo>
                  <a:close/>
                  <a:moveTo>
                    <a:pt x="743" y="1451"/>
                  </a:moveTo>
                  <a:cubicBezTo>
                    <a:pt x="742" y="1449"/>
                    <a:pt x="741" y="1447"/>
                    <a:pt x="738" y="1447"/>
                  </a:cubicBezTo>
                  <a:cubicBezTo>
                    <a:pt x="735" y="1448"/>
                    <a:pt x="741" y="1462"/>
                    <a:pt x="735" y="1461"/>
                  </a:cubicBezTo>
                  <a:cubicBezTo>
                    <a:pt x="734" y="1461"/>
                    <a:pt x="727" y="1458"/>
                    <a:pt x="732" y="1458"/>
                  </a:cubicBezTo>
                  <a:cubicBezTo>
                    <a:pt x="732" y="1458"/>
                    <a:pt x="734" y="1457"/>
                    <a:pt x="733" y="1456"/>
                  </a:cubicBezTo>
                  <a:cubicBezTo>
                    <a:pt x="733" y="1455"/>
                    <a:pt x="725" y="1462"/>
                    <a:pt x="720" y="1459"/>
                  </a:cubicBezTo>
                  <a:cubicBezTo>
                    <a:pt x="719" y="1458"/>
                    <a:pt x="712" y="1457"/>
                    <a:pt x="714" y="1458"/>
                  </a:cubicBezTo>
                  <a:cubicBezTo>
                    <a:pt x="716" y="1459"/>
                    <a:pt x="719" y="1464"/>
                    <a:pt x="716" y="1465"/>
                  </a:cubicBezTo>
                  <a:cubicBezTo>
                    <a:pt x="710" y="1465"/>
                    <a:pt x="699" y="1458"/>
                    <a:pt x="692" y="1457"/>
                  </a:cubicBezTo>
                  <a:cubicBezTo>
                    <a:pt x="690" y="1457"/>
                    <a:pt x="705" y="1455"/>
                    <a:pt x="694" y="1452"/>
                  </a:cubicBezTo>
                  <a:cubicBezTo>
                    <a:pt x="690" y="1450"/>
                    <a:pt x="691" y="1446"/>
                    <a:pt x="691" y="1446"/>
                  </a:cubicBezTo>
                  <a:cubicBezTo>
                    <a:pt x="684" y="1446"/>
                    <a:pt x="692" y="1454"/>
                    <a:pt x="688" y="1456"/>
                  </a:cubicBezTo>
                  <a:cubicBezTo>
                    <a:pt x="687" y="1457"/>
                    <a:pt x="688" y="1454"/>
                    <a:pt x="686" y="1454"/>
                  </a:cubicBezTo>
                  <a:cubicBezTo>
                    <a:pt x="673" y="1454"/>
                    <a:pt x="675" y="1460"/>
                    <a:pt x="668" y="1461"/>
                  </a:cubicBezTo>
                  <a:cubicBezTo>
                    <a:pt x="662" y="1461"/>
                    <a:pt x="670" y="1467"/>
                    <a:pt x="668" y="1466"/>
                  </a:cubicBezTo>
                  <a:cubicBezTo>
                    <a:pt x="663" y="1466"/>
                    <a:pt x="658" y="1460"/>
                    <a:pt x="653" y="1460"/>
                  </a:cubicBezTo>
                  <a:cubicBezTo>
                    <a:pt x="646" y="1461"/>
                    <a:pt x="639" y="1474"/>
                    <a:pt x="627" y="1466"/>
                  </a:cubicBezTo>
                  <a:cubicBezTo>
                    <a:pt x="623" y="1464"/>
                    <a:pt x="625" y="1459"/>
                    <a:pt x="628" y="1457"/>
                  </a:cubicBezTo>
                  <a:cubicBezTo>
                    <a:pt x="635" y="1453"/>
                    <a:pt x="632" y="1436"/>
                    <a:pt x="645" y="1446"/>
                  </a:cubicBezTo>
                  <a:cubicBezTo>
                    <a:pt x="645" y="1446"/>
                    <a:pt x="649" y="1448"/>
                    <a:pt x="649" y="1448"/>
                  </a:cubicBezTo>
                  <a:cubicBezTo>
                    <a:pt x="650" y="1448"/>
                    <a:pt x="645" y="1438"/>
                    <a:pt x="644" y="1437"/>
                  </a:cubicBezTo>
                  <a:cubicBezTo>
                    <a:pt x="630" y="1433"/>
                    <a:pt x="622" y="1476"/>
                    <a:pt x="612" y="1477"/>
                  </a:cubicBezTo>
                  <a:cubicBezTo>
                    <a:pt x="611" y="1477"/>
                    <a:pt x="606" y="1467"/>
                    <a:pt x="604" y="1465"/>
                  </a:cubicBezTo>
                  <a:cubicBezTo>
                    <a:pt x="604" y="1465"/>
                    <a:pt x="607" y="1480"/>
                    <a:pt x="601" y="1472"/>
                  </a:cubicBezTo>
                  <a:cubicBezTo>
                    <a:pt x="600" y="1472"/>
                    <a:pt x="586" y="1467"/>
                    <a:pt x="582" y="1464"/>
                  </a:cubicBezTo>
                  <a:cubicBezTo>
                    <a:pt x="581" y="1463"/>
                    <a:pt x="576" y="1459"/>
                    <a:pt x="575" y="1461"/>
                  </a:cubicBezTo>
                  <a:cubicBezTo>
                    <a:pt x="574" y="1461"/>
                    <a:pt x="575" y="1462"/>
                    <a:pt x="575" y="1462"/>
                  </a:cubicBezTo>
                  <a:cubicBezTo>
                    <a:pt x="581" y="1466"/>
                    <a:pt x="595" y="1483"/>
                    <a:pt x="590" y="1488"/>
                  </a:cubicBezTo>
                  <a:cubicBezTo>
                    <a:pt x="587" y="1490"/>
                    <a:pt x="575" y="1468"/>
                    <a:pt x="568" y="1472"/>
                  </a:cubicBezTo>
                  <a:cubicBezTo>
                    <a:pt x="566" y="1474"/>
                    <a:pt x="571" y="1476"/>
                    <a:pt x="573" y="1478"/>
                  </a:cubicBezTo>
                  <a:cubicBezTo>
                    <a:pt x="578" y="1481"/>
                    <a:pt x="571" y="1484"/>
                    <a:pt x="571" y="1485"/>
                  </a:cubicBezTo>
                  <a:cubicBezTo>
                    <a:pt x="572" y="1487"/>
                    <a:pt x="577" y="1493"/>
                    <a:pt x="576" y="1495"/>
                  </a:cubicBezTo>
                  <a:cubicBezTo>
                    <a:pt x="574" y="1498"/>
                    <a:pt x="564" y="1483"/>
                    <a:pt x="559" y="1485"/>
                  </a:cubicBezTo>
                  <a:cubicBezTo>
                    <a:pt x="558" y="1485"/>
                    <a:pt x="562" y="1488"/>
                    <a:pt x="562" y="1489"/>
                  </a:cubicBezTo>
                  <a:cubicBezTo>
                    <a:pt x="563" y="1492"/>
                    <a:pt x="569" y="1490"/>
                    <a:pt x="568" y="1492"/>
                  </a:cubicBezTo>
                  <a:cubicBezTo>
                    <a:pt x="567" y="1499"/>
                    <a:pt x="551" y="1494"/>
                    <a:pt x="551" y="1487"/>
                  </a:cubicBezTo>
                  <a:cubicBezTo>
                    <a:pt x="551" y="1483"/>
                    <a:pt x="555" y="1484"/>
                    <a:pt x="552" y="1483"/>
                  </a:cubicBezTo>
                  <a:cubicBezTo>
                    <a:pt x="552" y="1483"/>
                    <a:pt x="551" y="1483"/>
                    <a:pt x="551" y="1482"/>
                  </a:cubicBezTo>
                  <a:cubicBezTo>
                    <a:pt x="550" y="1481"/>
                    <a:pt x="555" y="1478"/>
                    <a:pt x="553" y="1478"/>
                  </a:cubicBezTo>
                  <a:cubicBezTo>
                    <a:pt x="539" y="1476"/>
                    <a:pt x="545" y="1493"/>
                    <a:pt x="538" y="1495"/>
                  </a:cubicBezTo>
                  <a:cubicBezTo>
                    <a:pt x="535" y="1496"/>
                    <a:pt x="500" y="1495"/>
                    <a:pt x="510" y="1500"/>
                  </a:cubicBezTo>
                  <a:cubicBezTo>
                    <a:pt x="513" y="1501"/>
                    <a:pt x="500" y="1508"/>
                    <a:pt x="501" y="1505"/>
                  </a:cubicBezTo>
                  <a:cubicBezTo>
                    <a:pt x="502" y="1504"/>
                    <a:pt x="503" y="1502"/>
                    <a:pt x="502" y="1503"/>
                  </a:cubicBezTo>
                  <a:cubicBezTo>
                    <a:pt x="497" y="1505"/>
                    <a:pt x="499" y="1509"/>
                    <a:pt x="498" y="1509"/>
                  </a:cubicBezTo>
                  <a:cubicBezTo>
                    <a:pt x="488" y="1511"/>
                    <a:pt x="499" y="1500"/>
                    <a:pt x="494" y="1501"/>
                  </a:cubicBezTo>
                  <a:cubicBezTo>
                    <a:pt x="489" y="1501"/>
                    <a:pt x="493" y="1508"/>
                    <a:pt x="489" y="1510"/>
                  </a:cubicBezTo>
                  <a:cubicBezTo>
                    <a:pt x="488" y="1511"/>
                    <a:pt x="486" y="1510"/>
                    <a:pt x="485" y="1510"/>
                  </a:cubicBezTo>
                  <a:cubicBezTo>
                    <a:pt x="473" y="1507"/>
                    <a:pt x="487" y="1507"/>
                    <a:pt x="481" y="1504"/>
                  </a:cubicBezTo>
                  <a:cubicBezTo>
                    <a:pt x="477" y="1502"/>
                    <a:pt x="469" y="1515"/>
                    <a:pt x="463" y="1516"/>
                  </a:cubicBezTo>
                  <a:cubicBezTo>
                    <a:pt x="462" y="1516"/>
                    <a:pt x="457" y="1508"/>
                    <a:pt x="453" y="1508"/>
                  </a:cubicBezTo>
                  <a:cubicBezTo>
                    <a:pt x="453" y="1508"/>
                    <a:pt x="452" y="1509"/>
                    <a:pt x="452" y="1509"/>
                  </a:cubicBezTo>
                  <a:cubicBezTo>
                    <a:pt x="453" y="1516"/>
                    <a:pt x="457" y="1515"/>
                    <a:pt x="458" y="1516"/>
                  </a:cubicBezTo>
                  <a:cubicBezTo>
                    <a:pt x="459" y="1518"/>
                    <a:pt x="447" y="1533"/>
                    <a:pt x="441" y="1532"/>
                  </a:cubicBezTo>
                  <a:cubicBezTo>
                    <a:pt x="440" y="1531"/>
                    <a:pt x="446" y="1525"/>
                    <a:pt x="445" y="1523"/>
                  </a:cubicBezTo>
                  <a:cubicBezTo>
                    <a:pt x="442" y="1519"/>
                    <a:pt x="438" y="1530"/>
                    <a:pt x="433" y="1531"/>
                  </a:cubicBezTo>
                  <a:cubicBezTo>
                    <a:pt x="432" y="1531"/>
                    <a:pt x="438" y="1521"/>
                    <a:pt x="436" y="1520"/>
                  </a:cubicBezTo>
                  <a:cubicBezTo>
                    <a:pt x="422" y="1517"/>
                    <a:pt x="382" y="1545"/>
                    <a:pt x="354" y="1537"/>
                  </a:cubicBezTo>
                  <a:cubicBezTo>
                    <a:pt x="353" y="1537"/>
                    <a:pt x="366" y="1520"/>
                    <a:pt x="363" y="1520"/>
                  </a:cubicBezTo>
                  <a:cubicBezTo>
                    <a:pt x="355" y="1520"/>
                    <a:pt x="332" y="1572"/>
                    <a:pt x="305" y="1558"/>
                  </a:cubicBezTo>
                  <a:cubicBezTo>
                    <a:pt x="304" y="1557"/>
                    <a:pt x="317" y="1550"/>
                    <a:pt x="319" y="1550"/>
                  </a:cubicBezTo>
                  <a:cubicBezTo>
                    <a:pt x="329" y="1547"/>
                    <a:pt x="342" y="1540"/>
                    <a:pt x="345" y="1527"/>
                  </a:cubicBezTo>
                  <a:cubicBezTo>
                    <a:pt x="346" y="1524"/>
                    <a:pt x="337" y="1538"/>
                    <a:pt x="336" y="1540"/>
                  </a:cubicBezTo>
                  <a:cubicBezTo>
                    <a:pt x="335" y="1541"/>
                    <a:pt x="326" y="1537"/>
                    <a:pt x="326" y="1539"/>
                  </a:cubicBezTo>
                  <a:cubicBezTo>
                    <a:pt x="325" y="1539"/>
                    <a:pt x="325" y="1543"/>
                    <a:pt x="324" y="1541"/>
                  </a:cubicBezTo>
                  <a:cubicBezTo>
                    <a:pt x="319" y="1533"/>
                    <a:pt x="338" y="1531"/>
                    <a:pt x="338" y="1525"/>
                  </a:cubicBezTo>
                  <a:cubicBezTo>
                    <a:pt x="338" y="1523"/>
                    <a:pt x="330" y="1523"/>
                    <a:pt x="329" y="1523"/>
                  </a:cubicBezTo>
                  <a:cubicBezTo>
                    <a:pt x="308" y="1524"/>
                    <a:pt x="323" y="1518"/>
                    <a:pt x="317" y="1512"/>
                  </a:cubicBezTo>
                  <a:cubicBezTo>
                    <a:pt x="317" y="1511"/>
                    <a:pt x="316" y="1513"/>
                    <a:pt x="315" y="1514"/>
                  </a:cubicBezTo>
                  <a:cubicBezTo>
                    <a:pt x="314" y="1517"/>
                    <a:pt x="305" y="1513"/>
                    <a:pt x="304" y="1509"/>
                  </a:cubicBezTo>
                  <a:cubicBezTo>
                    <a:pt x="300" y="1500"/>
                    <a:pt x="325" y="1485"/>
                    <a:pt x="323" y="1480"/>
                  </a:cubicBezTo>
                  <a:cubicBezTo>
                    <a:pt x="322" y="1478"/>
                    <a:pt x="290" y="1497"/>
                    <a:pt x="284" y="1498"/>
                  </a:cubicBezTo>
                  <a:cubicBezTo>
                    <a:pt x="280" y="1499"/>
                    <a:pt x="273" y="1505"/>
                    <a:pt x="272" y="1501"/>
                  </a:cubicBezTo>
                  <a:cubicBezTo>
                    <a:pt x="272" y="1496"/>
                    <a:pt x="288" y="1493"/>
                    <a:pt x="283" y="1490"/>
                  </a:cubicBezTo>
                  <a:cubicBezTo>
                    <a:pt x="282" y="1489"/>
                    <a:pt x="265" y="1498"/>
                    <a:pt x="266" y="1495"/>
                  </a:cubicBezTo>
                  <a:cubicBezTo>
                    <a:pt x="266" y="1492"/>
                    <a:pt x="283" y="1475"/>
                    <a:pt x="282" y="1474"/>
                  </a:cubicBezTo>
                  <a:cubicBezTo>
                    <a:pt x="281" y="1472"/>
                    <a:pt x="257" y="1477"/>
                    <a:pt x="251" y="1477"/>
                  </a:cubicBezTo>
                  <a:cubicBezTo>
                    <a:pt x="238" y="1475"/>
                    <a:pt x="226" y="1456"/>
                    <a:pt x="220" y="1455"/>
                  </a:cubicBezTo>
                  <a:cubicBezTo>
                    <a:pt x="205" y="1453"/>
                    <a:pt x="220" y="1464"/>
                    <a:pt x="207" y="1461"/>
                  </a:cubicBezTo>
                  <a:cubicBezTo>
                    <a:pt x="199" y="1460"/>
                    <a:pt x="213" y="1447"/>
                    <a:pt x="211" y="1440"/>
                  </a:cubicBezTo>
                  <a:cubicBezTo>
                    <a:pt x="211" y="1440"/>
                    <a:pt x="201" y="1447"/>
                    <a:pt x="201" y="1447"/>
                  </a:cubicBezTo>
                  <a:cubicBezTo>
                    <a:pt x="193" y="1449"/>
                    <a:pt x="199" y="1460"/>
                    <a:pt x="188" y="1461"/>
                  </a:cubicBezTo>
                  <a:cubicBezTo>
                    <a:pt x="184" y="1461"/>
                    <a:pt x="189" y="1458"/>
                    <a:pt x="189" y="1456"/>
                  </a:cubicBezTo>
                  <a:cubicBezTo>
                    <a:pt x="187" y="1451"/>
                    <a:pt x="188" y="1450"/>
                    <a:pt x="188" y="1449"/>
                  </a:cubicBezTo>
                  <a:cubicBezTo>
                    <a:pt x="185" y="1446"/>
                    <a:pt x="181" y="1448"/>
                    <a:pt x="177" y="1448"/>
                  </a:cubicBezTo>
                  <a:cubicBezTo>
                    <a:pt x="177" y="1448"/>
                    <a:pt x="177" y="1448"/>
                    <a:pt x="177" y="1448"/>
                  </a:cubicBezTo>
                  <a:cubicBezTo>
                    <a:pt x="177" y="1448"/>
                    <a:pt x="177" y="1448"/>
                    <a:pt x="177" y="1448"/>
                  </a:cubicBezTo>
                  <a:cubicBezTo>
                    <a:pt x="177" y="1448"/>
                    <a:pt x="177" y="1448"/>
                    <a:pt x="176" y="1448"/>
                  </a:cubicBezTo>
                  <a:cubicBezTo>
                    <a:pt x="175" y="1448"/>
                    <a:pt x="174" y="1448"/>
                    <a:pt x="173" y="1447"/>
                  </a:cubicBezTo>
                  <a:cubicBezTo>
                    <a:pt x="170" y="1444"/>
                    <a:pt x="177" y="1444"/>
                    <a:pt x="177" y="1444"/>
                  </a:cubicBezTo>
                  <a:cubicBezTo>
                    <a:pt x="179" y="1442"/>
                    <a:pt x="169" y="1438"/>
                    <a:pt x="168" y="1436"/>
                  </a:cubicBezTo>
                  <a:cubicBezTo>
                    <a:pt x="167" y="1433"/>
                    <a:pt x="181" y="1427"/>
                    <a:pt x="179" y="1425"/>
                  </a:cubicBezTo>
                  <a:cubicBezTo>
                    <a:pt x="177" y="1423"/>
                    <a:pt x="161" y="1411"/>
                    <a:pt x="165" y="1406"/>
                  </a:cubicBezTo>
                  <a:cubicBezTo>
                    <a:pt x="166" y="1404"/>
                    <a:pt x="174" y="1408"/>
                    <a:pt x="175" y="1405"/>
                  </a:cubicBezTo>
                  <a:cubicBezTo>
                    <a:pt x="175" y="1403"/>
                    <a:pt x="170" y="1404"/>
                    <a:pt x="169" y="1403"/>
                  </a:cubicBezTo>
                  <a:cubicBezTo>
                    <a:pt x="165" y="1398"/>
                    <a:pt x="180" y="1400"/>
                    <a:pt x="173" y="1396"/>
                  </a:cubicBezTo>
                  <a:cubicBezTo>
                    <a:pt x="170" y="1394"/>
                    <a:pt x="162" y="1379"/>
                    <a:pt x="163" y="1377"/>
                  </a:cubicBezTo>
                  <a:cubicBezTo>
                    <a:pt x="164" y="1377"/>
                    <a:pt x="169" y="1380"/>
                    <a:pt x="170" y="1380"/>
                  </a:cubicBezTo>
                  <a:cubicBezTo>
                    <a:pt x="173" y="1381"/>
                    <a:pt x="177" y="1381"/>
                    <a:pt x="179" y="1378"/>
                  </a:cubicBezTo>
                  <a:cubicBezTo>
                    <a:pt x="185" y="1370"/>
                    <a:pt x="164" y="1370"/>
                    <a:pt x="186" y="1357"/>
                  </a:cubicBezTo>
                  <a:cubicBezTo>
                    <a:pt x="188" y="1356"/>
                    <a:pt x="184" y="1352"/>
                    <a:pt x="183" y="1352"/>
                  </a:cubicBezTo>
                  <a:cubicBezTo>
                    <a:pt x="175" y="1351"/>
                    <a:pt x="186" y="1345"/>
                    <a:pt x="186" y="1341"/>
                  </a:cubicBezTo>
                  <a:cubicBezTo>
                    <a:pt x="186" y="1334"/>
                    <a:pt x="178" y="1332"/>
                    <a:pt x="176" y="1327"/>
                  </a:cubicBezTo>
                  <a:cubicBezTo>
                    <a:pt x="175" y="1325"/>
                    <a:pt x="185" y="1328"/>
                    <a:pt x="187" y="1327"/>
                  </a:cubicBezTo>
                  <a:cubicBezTo>
                    <a:pt x="191" y="1323"/>
                    <a:pt x="174" y="1316"/>
                    <a:pt x="174" y="1316"/>
                  </a:cubicBezTo>
                  <a:cubicBezTo>
                    <a:pt x="174" y="1315"/>
                    <a:pt x="189" y="1319"/>
                    <a:pt x="189" y="1316"/>
                  </a:cubicBezTo>
                  <a:cubicBezTo>
                    <a:pt x="190" y="1312"/>
                    <a:pt x="175" y="1308"/>
                    <a:pt x="177" y="1305"/>
                  </a:cubicBezTo>
                  <a:cubicBezTo>
                    <a:pt x="181" y="1298"/>
                    <a:pt x="201" y="1318"/>
                    <a:pt x="200" y="1310"/>
                  </a:cubicBezTo>
                  <a:cubicBezTo>
                    <a:pt x="200" y="1309"/>
                    <a:pt x="197" y="1307"/>
                    <a:pt x="197" y="1307"/>
                  </a:cubicBezTo>
                  <a:cubicBezTo>
                    <a:pt x="180" y="1294"/>
                    <a:pt x="188" y="1284"/>
                    <a:pt x="182" y="1280"/>
                  </a:cubicBezTo>
                  <a:cubicBezTo>
                    <a:pt x="181" y="1279"/>
                    <a:pt x="179" y="1278"/>
                    <a:pt x="179" y="1277"/>
                  </a:cubicBezTo>
                  <a:cubicBezTo>
                    <a:pt x="176" y="1273"/>
                    <a:pt x="176" y="1252"/>
                    <a:pt x="170" y="1250"/>
                  </a:cubicBezTo>
                  <a:cubicBezTo>
                    <a:pt x="166" y="1248"/>
                    <a:pt x="159" y="1246"/>
                    <a:pt x="158" y="1243"/>
                  </a:cubicBezTo>
                  <a:cubicBezTo>
                    <a:pt x="153" y="1225"/>
                    <a:pt x="170" y="1218"/>
                    <a:pt x="170" y="1202"/>
                  </a:cubicBezTo>
                  <a:cubicBezTo>
                    <a:pt x="170" y="1200"/>
                    <a:pt x="167" y="1205"/>
                    <a:pt x="165" y="1206"/>
                  </a:cubicBezTo>
                  <a:cubicBezTo>
                    <a:pt x="164" y="1207"/>
                    <a:pt x="166" y="1199"/>
                    <a:pt x="166" y="1197"/>
                  </a:cubicBezTo>
                  <a:cubicBezTo>
                    <a:pt x="168" y="1187"/>
                    <a:pt x="163" y="1191"/>
                    <a:pt x="160" y="1187"/>
                  </a:cubicBezTo>
                  <a:cubicBezTo>
                    <a:pt x="159" y="1186"/>
                    <a:pt x="163" y="1181"/>
                    <a:pt x="160" y="1180"/>
                  </a:cubicBezTo>
                  <a:cubicBezTo>
                    <a:pt x="158" y="1180"/>
                    <a:pt x="155" y="1190"/>
                    <a:pt x="156" y="1191"/>
                  </a:cubicBezTo>
                  <a:cubicBezTo>
                    <a:pt x="156" y="1194"/>
                    <a:pt x="153" y="1187"/>
                    <a:pt x="154" y="1185"/>
                  </a:cubicBezTo>
                  <a:cubicBezTo>
                    <a:pt x="157" y="1177"/>
                    <a:pt x="151" y="1182"/>
                    <a:pt x="148" y="1181"/>
                  </a:cubicBezTo>
                  <a:cubicBezTo>
                    <a:pt x="147" y="1181"/>
                    <a:pt x="150" y="1175"/>
                    <a:pt x="150" y="1174"/>
                  </a:cubicBezTo>
                  <a:cubicBezTo>
                    <a:pt x="151" y="1169"/>
                    <a:pt x="147" y="1164"/>
                    <a:pt x="148" y="1160"/>
                  </a:cubicBezTo>
                  <a:cubicBezTo>
                    <a:pt x="148" y="1157"/>
                    <a:pt x="155" y="1155"/>
                    <a:pt x="155" y="1154"/>
                  </a:cubicBezTo>
                  <a:cubicBezTo>
                    <a:pt x="155" y="1150"/>
                    <a:pt x="142" y="1157"/>
                    <a:pt x="142" y="1152"/>
                  </a:cubicBezTo>
                  <a:cubicBezTo>
                    <a:pt x="142" y="1143"/>
                    <a:pt x="153" y="1116"/>
                    <a:pt x="158" y="1112"/>
                  </a:cubicBezTo>
                  <a:cubicBezTo>
                    <a:pt x="161" y="1110"/>
                    <a:pt x="167" y="1118"/>
                    <a:pt x="170" y="1113"/>
                  </a:cubicBezTo>
                  <a:cubicBezTo>
                    <a:pt x="177" y="1103"/>
                    <a:pt x="171" y="1094"/>
                    <a:pt x="176" y="1087"/>
                  </a:cubicBezTo>
                  <a:cubicBezTo>
                    <a:pt x="178" y="1082"/>
                    <a:pt x="197" y="1091"/>
                    <a:pt x="198" y="1089"/>
                  </a:cubicBezTo>
                  <a:cubicBezTo>
                    <a:pt x="198" y="1087"/>
                    <a:pt x="177" y="1069"/>
                    <a:pt x="181" y="1062"/>
                  </a:cubicBezTo>
                  <a:cubicBezTo>
                    <a:pt x="184" y="1055"/>
                    <a:pt x="199" y="1069"/>
                    <a:pt x="204" y="1063"/>
                  </a:cubicBezTo>
                  <a:cubicBezTo>
                    <a:pt x="205" y="1062"/>
                    <a:pt x="200" y="1062"/>
                    <a:pt x="200" y="1061"/>
                  </a:cubicBezTo>
                  <a:cubicBezTo>
                    <a:pt x="197" y="1059"/>
                    <a:pt x="208" y="1057"/>
                    <a:pt x="210" y="1057"/>
                  </a:cubicBezTo>
                  <a:cubicBezTo>
                    <a:pt x="220" y="1053"/>
                    <a:pt x="212" y="1069"/>
                    <a:pt x="223" y="1072"/>
                  </a:cubicBezTo>
                  <a:cubicBezTo>
                    <a:pt x="228" y="1074"/>
                    <a:pt x="223" y="1060"/>
                    <a:pt x="228" y="1058"/>
                  </a:cubicBezTo>
                  <a:cubicBezTo>
                    <a:pt x="230" y="1057"/>
                    <a:pt x="254" y="1055"/>
                    <a:pt x="256" y="1052"/>
                  </a:cubicBezTo>
                  <a:cubicBezTo>
                    <a:pt x="268" y="1040"/>
                    <a:pt x="236" y="1032"/>
                    <a:pt x="242" y="1024"/>
                  </a:cubicBezTo>
                  <a:cubicBezTo>
                    <a:pt x="244" y="1022"/>
                    <a:pt x="259" y="1031"/>
                    <a:pt x="261" y="1031"/>
                  </a:cubicBezTo>
                  <a:cubicBezTo>
                    <a:pt x="263" y="1032"/>
                    <a:pt x="258" y="1029"/>
                    <a:pt x="257" y="1027"/>
                  </a:cubicBezTo>
                  <a:cubicBezTo>
                    <a:pt x="253" y="1024"/>
                    <a:pt x="246" y="1020"/>
                    <a:pt x="251" y="1015"/>
                  </a:cubicBezTo>
                  <a:cubicBezTo>
                    <a:pt x="254" y="1012"/>
                    <a:pt x="262" y="1026"/>
                    <a:pt x="262" y="1026"/>
                  </a:cubicBezTo>
                  <a:cubicBezTo>
                    <a:pt x="269" y="1023"/>
                    <a:pt x="273" y="993"/>
                    <a:pt x="278" y="988"/>
                  </a:cubicBezTo>
                  <a:cubicBezTo>
                    <a:pt x="283" y="983"/>
                    <a:pt x="291" y="1001"/>
                    <a:pt x="293" y="1001"/>
                  </a:cubicBezTo>
                  <a:cubicBezTo>
                    <a:pt x="309" y="996"/>
                    <a:pt x="303" y="978"/>
                    <a:pt x="306" y="974"/>
                  </a:cubicBezTo>
                  <a:cubicBezTo>
                    <a:pt x="311" y="970"/>
                    <a:pt x="312" y="983"/>
                    <a:pt x="315" y="980"/>
                  </a:cubicBezTo>
                  <a:cubicBezTo>
                    <a:pt x="317" y="979"/>
                    <a:pt x="314" y="970"/>
                    <a:pt x="321" y="966"/>
                  </a:cubicBezTo>
                  <a:cubicBezTo>
                    <a:pt x="326" y="963"/>
                    <a:pt x="345" y="964"/>
                    <a:pt x="352" y="957"/>
                  </a:cubicBezTo>
                  <a:cubicBezTo>
                    <a:pt x="356" y="952"/>
                    <a:pt x="344" y="941"/>
                    <a:pt x="349" y="937"/>
                  </a:cubicBezTo>
                  <a:cubicBezTo>
                    <a:pt x="353" y="934"/>
                    <a:pt x="364" y="944"/>
                    <a:pt x="369" y="940"/>
                  </a:cubicBezTo>
                  <a:cubicBezTo>
                    <a:pt x="373" y="938"/>
                    <a:pt x="367" y="934"/>
                    <a:pt x="367" y="932"/>
                  </a:cubicBezTo>
                  <a:cubicBezTo>
                    <a:pt x="365" y="929"/>
                    <a:pt x="387" y="909"/>
                    <a:pt x="391" y="905"/>
                  </a:cubicBezTo>
                  <a:cubicBezTo>
                    <a:pt x="393" y="903"/>
                    <a:pt x="397" y="909"/>
                    <a:pt x="399" y="907"/>
                  </a:cubicBezTo>
                  <a:cubicBezTo>
                    <a:pt x="399" y="907"/>
                    <a:pt x="398" y="905"/>
                    <a:pt x="398" y="904"/>
                  </a:cubicBezTo>
                  <a:cubicBezTo>
                    <a:pt x="391" y="886"/>
                    <a:pt x="428" y="874"/>
                    <a:pt x="435" y="865"/>
                  </a:cubicBezTo>
                  <a:cubicBezTo>
                    <a:pt x="439" y="859"/>
                    <a:pt x="446" y="839"/>
                    <a:pt x="456" y="828"/>
                  </a:cubicBezTo>
                  <a:cubicBezTo>
                    <a:pt x="457" y="826"/>
                    <a:pt x="450" y="826"/>
                    <a:pt x="452" y="823"/>
                  </a:cubicBezTo>
                  <a:cubicBezTo>
                    <a:pt x="456" y="820"/>
                    <a:pt x="460" y="826"/>
                    <a:pt x="463" y="826"/>
                  </a:cubicBezTo>
                  <a:cubicBezTo>
                    <a:pt x="467" y="826"/>
                    <a:pt x="465" y="817"/>
                    <a:pt x="469" y="816"/>
                  </a:cubicBezTo>
                  <a:cubicBezTo>
                    <a:pt x="475" y="814"/>
                    <a:pt x="497" y="806"/>
                    <a:pt x="502" y="807"/>
                  </a:cubicBezTo>
                  <a:cubicBezTo>
                    <a:pt x="513" y="809"/>
                    <a:pt x="509" y="827"/>
                    <a:pt x="523" y="820"/>
                  </a:cubicBezTo>
                  <a:cubicBezTo>
                    <a:pt x="539" y="814"/>
                    <a:pt x="509" y="804"/>
                    <a:pt x="510" y="799"/>
                  </a:cubicBezTo>
                  <a:cubicBezTo>
                    <a:pt x="513" y="788"/>
                    <a:pt x="528" y="805"/>
                    <a:pt x="532" y="801"/>
                  </a:cubicBezTo>
                  <a:cubicBezTo>
                    <a:pt x="543" y="792"/>
                    <a:pt x="514" y="777"/>
                    <a:pt x="512" y="776"/>
                  </a:cubicBezTo>
                  <a:cubicBezTo>
                    <a:pt x="509" y="772"/>
                    <a:pt x="516" y="769"/>
                    <a:pt x="517" y="768"/>
                  </a:cubicBezTo>
                  <a:cubicBezTo>
                    <a:pt x="524" y="761"/>
                    <a:pt x="521" y="746"/>
                    <a:pt x="518" y="738"/>
                  </a:cubicBezTo>
                  <a:cubicBezTo>
                    <a:pt x="518" y="738"/>
                    <a:pt x="517" y="737"/>
                    <a:pt x="517" y="736"/>
                  </a:cubicBezTo>
                  <a:cubicBezTo>
                    <a:pt x="520" y="732"/>
                    <a:pt x="528" y="731"/>
                    <a:pt x="525" y="721"/>
                  </a:cubicBezTo>
                  <a:cubicBezTo>
                    <a:pt x="522" y="712"/>
                    <a:pt x="486" y="696"/>
                    <a:pt x="476" y="694"/>
                  </a:cubicBezTo>
                  <a:cubicBezTo>
                    <a:pt x="472" y="693"/>
                    <a:pt x="466" y="701"/>
                    <a:pt x="464" y="697"/>
                  </a:cubicBezTo>
                  <a:cubicBezTo>
                    <a:pt x="461" y="694"/>
                    <a:pt x="451" y="681"/>
                    <a:pt x="454" y="674"/>
                  </a:cubicBezTo>
                  <a:cubicBezTo>
                    <a:pt x="455" y="670"/>
                    <a:pt x="467" y="657"/>
                    <a:pt x="467" y="656"/>
                  </a:cubicBezTo>
                  <a:cubicBezTo>
                    <a:pt x="467" y="656"/>
                    <a:pt x="467" y="655"/>
                    <a:pt x="466" y="655"/>
                  </a:cubicBezTo>
                  <a:cubicBezTo>
                    <a:pt x="461" y="658"/>
                    <a:pt x="456" y="672"/>
                    <a:pt x="451" y="673"/>
                  </a:cubicBezTo>
                  <a:cubicBezTo>
                    <a:pt x="442" y="676"/>
                    <a:pt x="420" y="674"/>
                    <a:pt x="419" y="671"/>
                  </a:cubicBezTo>
                  <a:cubicBezTo>
                    <a:pt x="409" y="636"/>
                    <a:pt x="373" y="619"/>
                    <a:pt x="373" y="580"/>
                  </a:cubicBezTo>
                  <a:cubicBezTo>
                    <a:pt x="373" y="562"/>
                    <a:pt x="388" y="567"/>
                    <a:pt x="394" y="554"/>
                  </a:cubicBezTo>
                  <a:cubicBezTo>
                    <a:pt x="397" y="547"/>
                    <a:pt x="391" y="534"/>
                    <a:pt x="395" y="526"/>
                  </a:cubicBezTo>
                  <a:cubicBezTo>
                    <a:pt x="395" y="526"/>
                    <a:pt x="404" y="518"/>
                    <a:pt x="404" y="518"/>
                  </a:cubicBezTo>
                  <a:cubicBezTo>
                    <a:pt x="407" y="498"/>
                    <a:pt x="364" y="482"/>
                    <a:pt x="365" y="462"/>
                  </a:cubicBezTo>
                  <a:cubicBezTo>
                    <a:pt x="366" y="453"/>
                    <a:pt x="394" y="432"/>
                    <a:pt x="383" y="423"/>
                  </a:cubicBezTo>
                  <a:cubicBezTo>
                    <a:pt x="374" y="415"/>
                    <a:pt x="359" y="424"/>
                    <a:pt x="353" y="415"/>
                  </a:cubicBezTo>
                  <a:cubicBezTo>
                    <a:pt x="349" y="408"/>
                    <a:pt x="362" y="402"/>
                    <a:pt x="364" y="397"/>
                  </a:cubicBezTo>
                  <a:cubicBezTo>
                    <a:pt x="368" y="383"/>
                    <a:pt x="350" y="365"/>
                    <a:pt x="359" y="350"/>
                  </a:cubicBezTo>
                  <a:cubicBezTo>
                    <a:pt x="362" y="345"/>
                    <a:pt x="370" y="346"/>
                    <a:pt x="374" y="342"/>
                  </a:cubicBezTo>
                  <a:cubicBezTo>
                    <a:pt x="381" y="335"/>
                    <a:pt x="359" y="329"/>
                    <a:pt x="353" y="321"/>
                  </a:cubicBezTo>
                  <a:cubicBezTo>
                    <a:pt x="346" y="314"/>
                    <a:pt x="345" y="308"/>
                    <a:pt x="335" y="310"/>
                  </a:cubicBezTo>
                  <a:cubicBezTo>
                    <a:pt x="333" y="310"/>
                    <a:pt x="330" y="313"/>
                    <a:pt x="328" y="311"/>
                  </a:cubicBezTo>
                  <a:cubicBezTo>
                    <a:pt x="327" y="309"/>
                    <a:pt x="329" y="297"/>
                    <a:pt x="325" y="293"/>
                  </a:cubicBezTo>
                  <a:cubicBezTo>
                    <a:pt x="299" y="262"/>
                    <a:pt x="260" y="273"/>
                    <a:pt x="230" y="256"/>
                  </a:cubicBezTo>
                  <a:cubicBezTo>
                    <a:pt x="218" y="249"/>
                    <a:pt x="134" y="197"/>
                    <a:pt x="128" y="190"/>
                  </a:cubicBezTo>
                  <a:cubicBezTo>
                    <a:pt x="118" y="180"/>
                    <a:pt x="131" y="188"/>
                    <a:pt x="131" y="182"/>
                  </a:cubicBezTo>
                  <a:cubicBezTo>
                    <a:pt x="129" y="175"/>
                    <a:pt x="111" y="170"/>
                    <a:pt x="103" y="166"/>
                  </a:cubicBezTo>
                  <a:cubicBezTo>
                    <a:pt x="101" y="165"/>
                    <a:pt x="99" y="165"/>
                    <a:pt x="99" y="164"/>
                  </a:cubicBezTo>
                  <a:cubicBezTo>
                    <a:pt x="100" y="149"/>
                    <a:pt x="138" y="170"/>
                    <a:pt x="142" y="169"/>
                  </a:cubicBezTo>
                  <a:cubicBezTo>
                    <a:pt x="153" y="166"/>
                    <a:pt x="140" y="149"/>
                    <a:pt x="139" y="145"/>
                  </a:cubicBezTo>
                  <a:cubicBezTo>
                    <a:pt x="139" y="137"/>
                    <a:pt x="157" y="123"/>
                    <a:pt x="165" y="121"/>
                  </a:cubicBezTo>
                  <a:cubicBezTo>
                    <a:pt x="189" y="118"/>
                    <a:pt x="248" y="175"/>
                    <a:pt x="257" y="198"/>
                  </a:cubicBezTo>
                  <a:cubicBezTo>
                    <a:pt x="260" y="205"/>
                    <a:pt x="257" y="214"/>
                    <a:pt x="261" y="219"/>
                  </a:cubicBezTo>
                  <a:cubicBezTo>
                    <a:pt x="263" y="221"/>
                    <a:pt x="266" y="219"/>
                    <a:pt x="269" y="220"/>
                  </a:cubicBezTo>
                  <a:cubicBezTo>
                    <a:pt x="283" y="220"/>
                    <a:pt x="308" y="216"/>
                    <a:pt x="321" y="222"/>
                  </a:cubicBezTo>
                  <a:cubicBezTo>
                    <a:pt x="321" y="222"/>
                    <a:pt x="333" y="232"/>
                    <a:pt x="333" y="232"/>
                  </a:cubicBezTo>
                  <a:cubicBezTo>
                    <a:pt x="338" y="234"/>
                    <a:pt x="372" y="223"/>
                    <a:pt x="377" y="219"/>
                  </a:cubicBezTo>
                  <a:cubicBezTo>
                    <a:pt x="382" y="216"/>
                    <a:pt x="385" y="202"/>
                    <a:pt x="391" y="201"/>
                  </a:cubicBezTo>
                  <a:cubicBezTo>
                    <a:pt x="396" y="199"/>
                    <a:pt x="456" y="220"/>
                    <a:pt x="465" y="224"/>
                  </a:cubicBezTo>
                  <a:cubicBezTo>
                    <a:pt x="468" y="226"/>
                    <a:pt x="485" y="244"/>
                    <a:pt x="486" y="243"/>
                  </a:cubicBezTo>
                  <a:cubicBezTo>
                    <a:pt x="491" y="237"/>
                    <a:pt x="496" y="238"/>
                    <a:pt x="502" y="232"/>
                  </a:cubicBezTo>
                  <a:cubicBezTo>
                    <a:pt x="513" y="222"/>
                    <a:pt x="505" y="199"/>
                    <a:pt x="527" y="193"/>
                  </a:cubicBezTo>
                  <a:cubicBezTo>
                    <a:pt x="540" y="190"/>
                    <a:pt x="562" y="192"/>
                    <a:pt x="566" y="172"/>
                  </a:cubicBezTo>
                  <a:cubicBezTo>
                    <a:pt x="567" y="163"/>
                    <a:pt x="557" y="151"/>
                    <a:pt x="557" y="143"/>
                  </a:cubicBezTo>
                  <a:cubicBezTo>
                    <a:pt x="556" y="129"/>
                    <a:pt x="563" y="124"/>
                    <a:pt x="567" y="113"/>
                  </a:cubicBezTo>
                  <a:cubicBezTo>
                    <a:pt x="570" y="107"/>
                    <a:pt x="565" y="92"/>
                    <a:pt x="569" y="87"/>
                  </a:cubicBezTo>
                  <a:cubicBezTo>
                    <a:pt x="575" y="79"/>
                    <a:pt x="578" y="65"/>
                    <a:pt x="581" y="63"/>
                  </a:cubicBezTo>
                  <a:cubicBezTo>
                    <a:pt x="585" y="58"/>
                    <a:pt x="620" y="28"/>
                    <a:pt x="624" y="26"/>
                  </a:cubicBezTo>
                  <a:cubicBezTo>
                    <a:pt x="643" y="14"/>
                    <a:pt x="667" y="33"/>
                    <a:pt x="686" y="27"/>
                  </a:cubicBezTo>
                  <a:cubicBezTo>
                    <a:pt x="714" y="18"/>
                    <a:pt x="723" y="0"/>
                    <a:pt x="755" y="4"/>
                  </a:cubicBezTo>
                  <a:cubicBezTo>
                    <a:pt x="788" y="57"/>
                    <a:pt x="865" y="46"/>
                    <a:pt x="876" y="95"/>
                  </a:cubicBezTo>
                  <a:cubicBezTo>
                    <a:pt x="880" y="110"/>
                    <a:pt x="794" y="148"/>
                    <a:pt x="845" y="167"/>
                  </a:cubicBezTo>
                  <a:cubicBezTo>
                    <a:pt x="826" y="176"/>
                    <a:pt x="797" y="190"/>
                    <a:pt x="799" y="193"/>
                  </a:cubicBezTo>
                  <a:cubicBezTo>
                    <a:pt x="808" y="201"/>
                    <a:pt x="829" y="182"/>
                    <a:pt x="832" y="203"/>
                  </a:cubicBezTo>
                  <a:cubicBezTo>
                    <a:pt x="836" y="233"/>
                    <a:pt x="792" y="222"/>
                    <a:pt x="813" y="274"/>
                  </a:cubicBezTo>
                  <a:cubicBezTo>
                    <a:pt x="815" y="281"/>
                    <a:pt x="818" y="296"/>
                    <a:pt x="823" y="301"/>
                  </a:cubicBezTo>
                  <a:cubicBezTo>
                    <a:pt x="837" y="313"/>
                    <a:pt x="866" y="308"/>
                    <a:pt x="881" y="319"/>
                  </a:cubicBezTo>
                  <a:cubicBezTo>
                    <a:pt x="894" y="328"/>
                    <a:pt x="900" y="350"/>
                    <a:pt x="912" y="361"/>
                  </a:cubicBezTo>
                  <a:cubicBezTo>
                    <a:pt x="918" y="366"/>
                    <a:pt x="938" y="371"/>
                    <a:pt x="942" y="379"/>
                  </a:cubicBezTo>
                  <a:cubicBezTo>
                    <a:pt x="956" y="408"/>
                    <a:pt x="845" y="470"/>
                    <a:pt x="856" y="506"/>
                  </a:cubicBezTo>
                  <a:cubicBezTo>
                    <a:pt x="859" y="518"/>
                    <a:pt x="875" y="526"/>
                    <a:pt x="881" y="536"/>
                  </a:cubicBezTo>
                  <a:cubicBezTo>
                    <a:pt x="896" y="563"/>
                    <a:pt x="930" y="619"/>
                    <a:pt x="938" y="647"/>
                  </a:cubicBezTo>
                  <a:cubicBezTo>
                    <a:pt x="940" y="652"/>
                    <a:pt x="956" y="689"/>
                    <a:pt x="949" y="692"/>
                  </a:cubicBezTo>
                  <a:cubicBezTo>
                    <a:pt x="944" y="695"/>
                    <a:pt x="921" y="687"/>
                    <a:pt x="915" y="695"/>
                  </a:cubicBezTo>
                  <a:cubicBezTo>
                    <a:pt x="912" y="699"/>
                    <a:pt x="922" y="701"/>
                    <a:pt x="925" y="705"/>
                  </a:cubicBezTo>
                  <a:cubicBezTo>
                    <a:pt x="930" y="711"/>
                    <a:pt x="917" y="715"/>
                    <a:pt x="917" y="715"/>
                  </a:cubicBezTo>
                  <a:cubicBezTo>
                    <a:pt x="915" y="717"/>
                    <a:pt x="917" y="719"/>
                    <a:pt x="917" y="722"/>
                  </a:cubicBezTo>
                  <a:cubicBezTo>
                    <a:pt x="917" y="726"/>
                    <a:pt x="917" y="730"/>
                    <a:pt x="917" y="734"/>
                  </a:cubicBezTo>
                  <a:cubicBezTo>
                    <a:pt x="917" y="740"/>
                    <a:pt x="899" y="755"/>
                    <a:pt x="905" y="758"/>
                  </a:cubicBezTo>
                  <a:cubicBezTo>
                    <a:pt x="917" y="765"/>
                    <a:pt x="930" y="751"/>
                    <a:pt x="927" y="773"/>
                  </a:cubicBezTo>
                  <a:cubicBezTo>
                    <a:pt x="925" y="784"/>
                    <a:pt x="890" y="772"/>
                    <a:pt x="908" y="806"/>
                  </a:cubicBezTo>
                  <a:cubicBezTo>
                    <a:pt x="921" y="831"/>
                    <a:pt x="949" y="818"/>
                    <a:pt x="958" y="844"/>
                  </a:cubicBezTo>
                  <a:cubicBezTo>
                    <a:pt x="961" y="852"/>
                    <a:pt x="939" y="853"/>
                    <a:pt x="937" y="856"/>
                  </a:cubicBezTo>
                  <a:cubicBezTo>
                    <a:pt x="931" y="868"/>
                    <a:pt x="943" y="866"/>
                    <a:pt x="946" y="872"/>
                  </a:cubicBezTo>
                  <a:cubicBezTo>
                    <a:pt x="946" y="872"/>
                    <a:pt x="943" y="884"/>
                    <a:pt x="943" y="884"/>
                  </a:cubicBezTo>
                  <a:cubicBezTo>
                    <a:pt x="949" y="902"/>
                    <a:pt x="991" y="889"/>
                    <a:pt x="994" y="932"/>
                  </a:cubicBezTo>
                  <a:cubicBezTo>
                    <a:pt x="995" y="951"/>
                    <a:pt x="941" y="976"/>
                    <a:pt x="939" y="981"/>
                  </a:cubicBezTo>
                  <a:cubicBezTo>
                    <a:pt x="937" y="987"/>
                    <a:pt x="972" y="1013"/>
                    <a:pt x="977" y="1017"/>
                  </a:cubicBezTo>
                  <a:cubicBezTo>
                    <a:pt x="997" y="1034"/>
                    <a:pt x="1025" y="1041"/>
                    <a:pt x="1046" y="1058"/>
                  </a:cubicBezTo>
                  <a:cubicBezTo>
                    <a:pt x="1054" y="1065"/>
                    <a:pt x="1051" y="1075"/>
                    <a:pt x="1059" y="1083"/>
                  </a:cubicBezTo>
                  <a:cubicBezTo>
                    <a:pt x="1063" y="1088"/>
                    <a:pt x="1078" y="1099"/>
                    <a:pt x="1080" y="1105"/>
                  </a:cubicBezTo>
                  <a:cubicBezTo>
                    <a:pt x="1081" y="1109"/>
                    <a:pt x="1068" y="1124"/>
                    <a:pt x="1067" y="1127"/>
                  </a:cubicBezTo>
                  <a:cubicBezTo>
                    <a:pt x="1048" y="1167"/>
                    <a:pt x="1035" y="1180"/>
                    <a:pt x="1004" y="1210"/>
                  </a:cubicBezTo>
                  <a:cubicBezTo>
                    <a:pt x="986" y="1227"/>
                    <a:pt x="969" y="1245"/>
                    <a:pt x="952" y="1263"/>
                  </a:cubicBezTo>
                  <a:cubicBezTo>
                    <a:pt x="950" y="1260"/>
                    <a:pt x="948" y="1258"/>
                    <a:pt x="946" y="1257"/>
                  </a:cubicBezTo>
                  <a:cubicBezTo>
                    <a:pt x="946" y="1257"/>
                    <a:pt x="940" y="1246"/>
                    <a:pt x="939" y="1244"/>
                  </a:cubicBezTo>
                  <a:cubicBezTo>
                    <a:pt x="939" y="1243"/>
                    <a:pt x="939" y="1243"/>
                    <a:pt x="939" y="1243"/>
                  </a:cubicBezTo>
                  <a:cubicBezTo>
                    <a:pt x="937" y="1239"/>
                    <a:pt x="911" y="1220"/>
                    <a:pt x="910" y="1226"/>
                  </a:cubicBezTo>
                  <a:cubicBezTo>
                    <a:pt x="909" y="1231"/>
                    <a:pt x="940" y="1245"/>
                    <a:pt x="941" y="1254"/>
                  </a:cubicBezTo>
                  <a:cubicBezTo>
                    <a:pt x="942" y="1256"/>
                    <a:pt x="935" y="1253"/>
                    <a:pt x="934" y="1254"/>
                  </a:cubicBezTo>
                  <a:cubicBezTo>
                    <a:pt x="930" y="1254"/>
                    <a:pt x="925" y="1274"/>
                    <a:pt x="926" y="1275"/>
                  </a:cubicBezTo>
                  <a:cubicBezTo>
                    <a:pt x="934" y="1286"/>
                    <a:pt x="936" y="1269"/>
                    <a:pt x="940" y="1269"/>
                  </a:cubicBezTo>
                  <a:cubicBezTo>
                    <a:pt x="942" y="1269"/>
                    <a:pt x="943" y="1271"/>
                    <a:pt x="942" y="1273"/>
                  </a:cubicBezTo>
                  <a:cubicBezTo>
                    <a:pt x="902" y="1314"/>
                    <a:pt x="862" y="1356"/>
                    <a:pt x="817" y="1391"/>
                  </a:cubicBezTo>
                  <a:cubicBezTo>
                    <a:pt x="793" y="1409"/>
                    <a:pt x="761" y="1427"/>
                    <a:pt x="743" y="1451"/>
                  </a:cubicBezTo>
                  <a:close/>
                  <a:moveTo>
                    <a:pt x="995" y="1122"/>
                  </a:moveTo>
                  <a:cubicBezTo>
                    <a:pt x="995" y="1122"/>
                    <a:pt x="996" y="1123"/>
                    <a:pt x="997" y="1124"/>
                  </a:cubicBezTo>
                  <a:cubicBezTo>
                    <a:pt x="997" y="1125"/>
                    <a:pt x="997" y="1125"/>
                    <a:pt x="998" y="1125"/>
                  </a:cubicBezTo>
                  <a:cubicBezTo>
                    <a:pt x="998" y="1126"/>
                    <a:pt x="998" y="1125"/>
                    <a:pt x="997" y="1124"/>
                  </a:cubicBezTo>
                  <a:cubicBezTo>
                    <a:pt x="996" y="1122"/>
                    <a:pt x="996" y="1120"/>
                    <a:pt x="995" y="1119"/>
                  </a:cubicBezTo>
                  <a:cubicBezTo>
                    <a:pt x="995" y="1119"/>
                    <a:pt x="994" y="1118"/>
                    <a:pt x="995" y="1118"/>
                  </a:cubicBezTo>
                  <a:cubicBezTo>
                    <a:pt x="996" y="1116"/>
                    <a:pt x="999" y="1116"/>
                    <a:pt x="1001" y="1115"/>
                  </a:cubicBezTo>
                  <a:cubicBezTo>
                    <a:pt x="1006" y="1114"/>
                    <a:pt x="1026" y="1091"/>
                    <a:pt x="1016" y="1085"/>
                  </a:cubicBezTo>
                  <a:cubicBezTo>
                    <a:pt x="1000" y="1074"/>
                    <a:pt x="1003" y="1097"/>
                    <a:pt x="1000" y="1099"/>
                  </a:cubicBezTo>
                  <a:cubicBezTo>
                    <a:pt x="1000" y="1099"/>
                    <a:pt x="985" y="1095"/>
                    <a:pt x="985" y="1101"/>
                  </a:cubicBezTo>
                  <a:cubicBezTo>
                    <a:pt x="985" y="1106"/>
                    <a:pt x="1001" y="1110"/>
                    <a:pt x="995" y="1113"/>
                  </a:cubicBezTo>
                  <a:cubicBezTo>
                    <a:pt x="992" y="1114"/>
                    <a:pt x="986" y="1118"/>
                    <a:pt x="984" y="1121"/>
                  </a:cubicBezTo>
                  <a:cubicBezTo>
                    <a:pt x="986" y="1122"/>
                    <a:pt x="986" y="1122"/>
                    <a:pt x="986" y="1122"/>
                  </a:cubicBezTo>
                  <a:cubicBezTo>
                    <a:pt x="970" y="1137"/>
                    <a:pt x="989" y="1120"/>
                    <a:pt x="995" y="1122"/>
                  </a:cubicBezTo>
                  <a:close/>
                  <a:moveTo>
                    <a:pt x="412" y="371"/>
                  </a:moveTo>
                  <a:cubicBezTo>
                    <a:pt x="412" y="371"/>
                    <a:pt x="412" y="371"/>
                    <a:pt x="412" y="371"/>
                  </a:cubicBezTo>
                  <a:cubicBezTo>
                    <a:pt x="413" y="371"/>
                    <a:pt x="413" y="375"/>
                    <a:pt x="413" y="375"/>
                  </a:cubicBezTo>
                  <a:cubicBezTo>
                    <a:pt x="413" y="375"/>
                    <a:pt x="415" y="373"/>
                    <a:pt x="415" y="373"/>
                  </a:cubicBezTo>
                  <a:cubicBezTo>
                    <a:pt x="425" y="357"/>
                    <a:pt x="410" y="350"/>
                    <a:pt x="412" y="371"/>
                  </a:cubicBezTo>
                  <a:close/>
                  <a:moveTo>
                    <a:pt x="420" y="349"/>
                  </a:moveTo>
                  <a:cubicBezTo>
                    <a:pt x="419" y="347"/>
                    <a:pt x="403" y="340"/>
                    <a:pt x="403" y="344"/>
                  </a:cubicBezTo>
                  <a:cubicBezTo>
                    <a:pt x="403" y="346"/>
                    <a:pt x="409" y="348"/>
                    <a:pt x="410" y="351"/>
                  </a:cubicBezTo>
                  <a:cubicBezTo>
                    <a:pt x="411" y="351"/>
                    <a:pt x="411" y="351"/>
                    <a:pt x="411" y="351"/>
                  </a:cubicBezTo>
                  <a:cubicBezTo>
                    <a:pt x="412" y="353"/>
                    <a:pt x="421" y="353"/>
                    <a:pt x="423" y="351"/>
                  </a:cubicBezTo>
                  <a:cubicBezTo>
                    <a:pt x="423" y="350"/>
                    <a:pt x="421" y="349"/>
                    <a:pt x="420" y="349"/>
                  </a:cubicBezTo>
                  <a:close/>
                  <a:moveTo>
                    <a:pt x="476" y="539"/>
                  </a:moveTo>
                  <a:cubicBezTo>
                    <a:pt x="474" y="536"/>
                    <a:pt x="465" y="529"/>
                    <a:pt x="465" y="531"/>
                  </a:cubicBezTo>
                  <a:cubicBezTo>
                    <a:pt x="464" y="534"/>
                    <a:pt x="460" y="529"/>
                    <a:pt x="459" y="532"/>
                  </a:cubicBezTo>
                  <a:cubicBezTo>
                    <a:pt x="459" y="534"/>
                    <a:pt x="466" y="537"/>
                    <a:pt x="465" y="541"/>
                  </a:cubicBezTo>
                  <a:cubicBezTo>
                    <a:pt x="465" y="542"/>
                    <a:pt x="464" y="543"/>
                    <a:pt x="463" y="544"/>
                  </a:cubicBezTo>
                  <a:cubicBezTo>
                    <a:pt x="461" y="545"/>
                    <a:pt x="459" y="544"/>
                    <a:pt x="458" y="543"/>
                  </a:cubicBezTo>
                  <a:cubicBezTo>
                    <a:pt x="458" y="543"/>
                    <a:pt x="447" y="546"/>
                    <a:pt x="444" y="542"/>
                  </a:cubicBezTo>
                  <a:cubicBezTo>
                    <a:pt x="440" y="539"/>
                    <a:pt x="444" y="527"/>
                    <a:pt x="439" y="527"/>
                  </a:cubicBezTo>
                  <a:cubicBezTo>
                    <a:pt x="435" y="527"/>
                    <a:pt x="441" y="539"/>
                    <a:pt x="437" y="538"/>
                  </a:cubicBezTo>
                  <a:cubicBezTo>
                    <a:pt x="433" y="537"/>
                    <a:pt x="435" y="540"/>
                    <a:pt x="434" y="542"/>
                  </a:cubicBezTo>
                  <a:cubicBezTo>
                    <a:pt x="430" y="549"/>
                    <a:pt x="435" y="559"/>
                    <a:pt x="437" y="562"/>
                  </a:cubicBezTo>
                  <a:cubicBezTo>
                    <a:pt x="437" y="562"/>
                    <a:pt x="437" y="562"/>
                    <a:pt x="437" y="562"/>
                  </a:cubicBezTo>
                  <a:cubicBezTo>
                    <a:pt x="446" y="570"/>
                    <a:pt x="442" y="546"/>
                    <a:pt x="442" y="545"/>
                  </a:cubicBezTo>
                  <a:cubicBezTo>
                    <a:pt x="443" y="544"/>
                    <a:pt x="446" y="546"/>
                    <a:pt x="447" y="546"/>
                  </a:cubicBezTo>
                  <a:cubicBezTo>
                    <a:pt x="452" y="547"/>
                    <a:pt x="464" y="556"/>
                    <a:pt x="467" y="549"/>
                  </a:cubicBezTo>
                  <a:cubicBezTo>
                    <a:pt x="468" y="546"/>
                    <a:pt x="465" y="544"/>
                    <a:pt x="467" y="541"/>
                  </a:cubicBezTo>
                  <a:cubicBezTo>
                    <a:pt x="467" y="540"/>
                    <a:pt x="479" y="544"/>
                    <a:pt x="476" y="539"/>
                  </a:cubicBezTo>
                  <a:close/>
                  <a:moveTo>
                    <a:pt x="207" y="1278"/>
                  </a:moveTo>
                  <a:cubicBezTo>
                    <a:pt x="205" y="1276"/>
                    <a:pt x="203" y="1273"/>
                    <a:pt x="202" y="1270"/>
                  </a:cubicBezTo>
                  <a:cubicBezTo>
                    <a:pt x="202" y="1270"/>
                    <a:pt x="202" y="1270"/>
                    <a:pt x="202" y="1270"/>
                  </a:cubicBezTo>
                  <a:cubicBezTo>
                    <a:pt x="200" y="1267"/>
                    <a:pt x="197" y="1275"/>
                    <a:pt x="201" y="1281"/>
                  </a:cubicBezTo>
                  <a:cubicBezTo>
                    <a:pt x="202" y="1282"/>
                    <a:pt x="228" y="1298"/>
                    <a:pt x="207" y="1278"/>
                  </a:cubicBezTo>
                  <a:close/>
                  <a:moveTo>
                    <a:pt x="257" y="1386"/>
                  </a:moveTo>
                  <a:cubicBezTo>
                    <a:pt x="256" y="1385"/>
                    <a:pt x="256" y="1385"/>
                    <a:pt x="256" y="1385"/>
                  </a:cubicBezTo>
                  <a:cubicBezTo>
                    <a:pt x="254" y="1382"/>
                    <a:pt x="251" y="1380"/>
                    <a:pt x="248" y="1378"/>
                  </a:cubicBezTo>
                  <a:cubicBezTo>
                    <a:pt x="222" y="1363"/>
                    <a:pt x="263" y="1432"/>
                    <a:pt x="257" y="1386"/>
                  </a:cubicBezTo>
                  <a:close/>
                  <a:moveTo>
                    <a:pt x="905" y="1046"/>
                  </a:moveTo>
                  <a:cubicBezTo>
                    <a:pt x="902" y="1046"/>
                    <a:pt x="860" y="1008"/>
                    <a:pt x="856" y="1005"/>
                  </a:cubicBezTo>
                  <a:cubicBezTo>
                    <a:pt x="856" y="1005"/>
                    <a:pt x="855" y="1004"/>
                    <a:pt x="854" y="1004"/>
                  </a:cubicBezTo>
                  <a:cubicBezTo>
                    <a:pt x="847" y="1003"/>
                    <a:pt x="869" y="1019"/>
                    <a:pt x="864" y="1025"/>
                  </a:cubicBezTo>
                  <a:cubicBezTo>
                    <a:pt x="862" y="1029"/>
                    <a:pt x="846" y="1014"/>
                    <a:pt x="845" y="1016"/>
                  </a:cubicBezTo>
                  <a:cubicBezTo>
                    <a:pt x="844" y="1017"/>
                    <a:pt x="849" y="1021"/>
                    <a:pt x="850" y="1021"/>
                  </a:cubicBezTo>
                  <a:cubicBezTo>
                    <a:pt x="857" y="1027"/>
                    <a:pt x="879" y="1053"/>
                    <a:pt x="879" y="1055"/>
                  </a:cubicBezTo>
                  <a:cubicBezTo>
                    <a:pt x="875" y="1075"/>
                    <a:pt x="897" y="1062"/>
                    <a:pt x="902" y="1064"/>
                  </a:cubicBezTo>
                  <a:cubicBezTo>
                    <a:pt x="903" y="1064"/>
                    <a:pt x="903" y="1084"/>
                    <a:pt x="910" y="1074"/>
                  </a:cubicBezTo>
                  <a:cubicBezTo>
                    <a:pt x="911" y="1073"/>
                    <a:pt x="921" y="1066"/>
                    <a:pt x="921" y="1066"/>
                  </a:cubicBezTo>
                  <a:cubicBezTo>
                    <a:pt x="925" y="1072"/>
                    <a:pt x="919" y="1076"/>
                    <a:pt x="920" y="1078"/>
                  </a:cubicBezTo>
                  <a:cubicBezTo>
                    <a:pt x="922" y="1082"/>
                    <a:pt x="946" y="1107"/>
                    <a:pt x="953" y="1109"/>
                  </a:cubicBezTo>
                  <a:cubicBezTo>
                    <a:pt x="954" y="1110"/>
                    <a:pt x="954" y="1110"/>
                    <a:pt x="954" y="1110"/>
                  </a:cubicBezTo>
                  <a:cubicBezTo>
                    <a:pt x="964" y="1110"/>
                    <a:pt x="944" y="1136"/>
                    <a:pt x="944" y="1135"/>
                  </a:cubicBezTo>
                  <a:cubicBezTo>
                    <a:pt x="948" y="1141"/>
                    <a:pt x="959" y="1118"/>
                    <a:pt x="960" y="1117"/>
                  </a:cubicBezTo>
                  <a:cubicBezTo>
                    <a:pt x="962" y="1116"/>
                    <a:pt x="972" y="1131"/>
                    <a:pt x="975" y="1125"/>
                  </a:cubicBezTo>
                  <a:cubicBezTo>
                    <a:pt x="976" y="1123"/>
                    <a:pt x="968" y="1118"/>
                    <a:pt x="967" y="1118"/>
                  </a:cubicBezTo>
                  <a:cubicBezTo>
                    <a:pt x="962" y="1117"/>
                    <a:pt x="937" y="1082"/>
                    <a:pt x="936" y="1069"/>
                  </a:cubicBezTo>
                  <a:cubicBezTo>
                    <a:pt x="935" y="1065"/>
                    <a:pt x="935" y="1050"/>
                    <a:pt x="936" y="1052"/>
                  </a:cubicBezTo>
                  <a:cubicBezTo>
                    <a:pt x="937" y="1055"/>
                    <a:pt x="950" y="1062"/>
                    <a:pt x="942" y="1052"/>
                  </a:cubicBezTo>
                  <a:cubicBezTo>
                    <a:pt x="940" y="1050"/>
                    <a:pt x="938" y="1048"/>
                    <a:pt x="935" y="1047"/>
                  </a:cubicBezTo>
                  <a:cubicBezTo>
                    <a:pt x="924" y="1042"/>
                    <a:pt x="932" y="1047"/>
                    <a:pt x="929" y="1050"/>
                  </a:cubicBezTo>
                  <a:cubicBezTo>
                    <a:pt x="924" y="1053"/>
                    <a:pt x="920" y="1046"/>
                    <a:pt x="905" y="1046"/>
                  </a:cubicBezTo>
                  <a:close/>
                  <a:moveTo>
                    <a:pt x="908" y="1139"/>
                  </a:moveTo>
                  <a:cubicBezTo>
                    <a:pt x="908" y="1140"/>
                    <a:pt x="908" y="1140"/>
                    <a:pt x="908" y="1140"/>
                  </a:cubicBezTo>
                  <a:cubicBezTo>
                    <a:pt x="909" y="1144"/>
                    <a:pt x="916" y="1138"/>
                    <a:pt x="919" y="1137"/>
                  </a:cubicBezTo>
                  <a:cubicBezTo>
                    <a:pt x="936" y="1132"/>
                    <a:pt x="904" y="1087"/>
                    <a:pt x="895" y="1086"/>
                  </a:cubicBezTo>
                  <a:cubicBezTo>
                    <a:pt x="887" y="1085"/>
                    <a:pt x="898" y="1098"/>
                    <a:pt x="900" y="1100"/>
                  </a:cubicBezTo>
                  <a:cubicBezTo>
                    <a:pt x="903" y="1102"/>
                    <a:pt x="906" y="1116"/>
                    <a:pt x="906" y="1118"/>
                  </a:cubicBezTo>
                  <a:cubicBezTo>
                    <a:pt x="905" y="1119"/>
                    <a:pt x="897" y="1115"/>
                    <a:pt x="897" y="1115"/>
                  </a:cubicBezTo>
                  <a:cubicBezTo>
                    <a:pt x="897" y="1117"/>
                    <a:pt x="900" y="1117"/>
                    <a:pt x="901" y="1118"/>
                  </a:cubicBezTo>
                  <a:cubicBezTo>
                    <a:pt x="904" y="1126"/>
                    <a:pt x="894" y="1116"/>
                    <a:pt x="892" y="1114"/>
                  </a:cubicBezTo>
                  <a:cubicBezTo>
                    <a:pt x="891" y="1113"/>
                    <a:pt x="890" y="1106"/>
                    <a:pt x="889" y="1107"/>
                  </a:cubicBezTo>
                  <a:cubicBezTo>
                    <a:pt x="876" y="1115"/>
                    <a:pt x="903" y="1123"/>
                    <a:pt x="904" y="1132"/>
                  </a:cubicBezTo>
                  <a:cubicBezTo>
                    <a:pt x="905" y="1134"/>
                    <a:pt x="907" y="1137"/>
                    <a:pt x="908" y="1139"/>
                  </a:cubicBezTo>
                  <a:close/>
                  <a:moveTo>
                    <a:pt x="900" y="1142"/>
                  </a:moveTo>
                  <a:cubicBezTo>
                    <a:pt x="899" y="1137"/>
                    <a:pt x="894" y="1131"/>
                    <a:pt x="889" y="1133"/>
                  </a:cubicBezTo>
                  <a:cubicBezTo>
                    <a:pt x="886" y="1134"/>
                    <a:pt x="885" y="1143"/>
                    <a:pt x="883" y="1142"/>
                  </a:cubicBezTo>
                  <a:cubicBezTo>
                    <a:pt x="880" y="1140"/>
                    <a:pt x="880" y="1127"/>
                    <a:pt x="879" y="1125"/>
                  </a:cubicBezTo>
                  <a:cubicBezTo>
                    <a:pt x="879" y="1125"/>
                    <a:pt x="879" y="1125"/>
                    <a:pt x="879" y="1125"/>
                  </a:cubicBezTo>
                  <a:cubicBezTo>
                    <a:pt x="876" y="1122"/>
                    <a:pt x="878" y="1121"/>
                    <a:pt x="873" y="1123"/>
                  </a:cubicBezTo>
                  <a:cubicBezTo>
                    <a:pt x="864" y="1129"/>
                    <a:pt x="868" y="1133"/>
                    <a:pt x="873" y="1139"/>
                  </a:cubicBezTo>
                  <a:cubicBezTo>
                    <a:pt x="873" y="1140"/>
                    <a:pt x="861" y="1136"/>
                    <a:pt x="863" y="1140"/>
                  </a:cubicBezTo>
                  <a:cubicBezTo>
                    <a:pt x="865" y="1144"/>
                    <a:pt x="870" y="1146"/>
                    <a:pt x="875" y="1145"/>
                  </a:cubicBezTo>
                  <a:cubicBezTo>
                    <a:pt x="880" y="1144"/>
                    <a:pt x="893" y="1150"/>
                    <a:pt x="892" y="1140"/>
                  </a:cubicBezTo>
                  <a:cubicBezTo>
                    <a:pt x="892" y="1134"/>
                    <a:pt x="901" y="1146"/>
                    <a:pt x="900" y="1142"/>
                  </a:cubicBezTo>
                  <a:close/>
                  <a:moveTo>
                    <a:pt x="818" y="1143"/>
                  </a:moveTo>
                  <a:cubicBezTo>
                    <a:pt x="817" y="1145"/>
                    <a:pt x="810" y="1144"/>
                    <a:pt x="810" y="1144"/>
                  </a:cubicBezTo>
                  <a:cubicBezTo>
                    <a:pt x="810" y="1152"/>
                    <a:pt x="851" y="1166"/>
                    <a:pt x="853" y="1164"/>
                  </a:cubicBezTo>
                  <a:cubicBezTo>
                    <a:pt x="858" y="1162"/>
                    <a:pt x="824" y="1139"/>
                    <a:pt x="824" y="1138"/>
                  </a:cubicBezTo>
                  <a:cubicBezTo>
                    <a:pt x="824" y="1137"/>
                    <a:pt x="820" y="1136"/>
                    <a:pt x="821" y="1135"/>
                  </a:cubicBezTo>
                  <a:cubicBezTo>
                    <a:pt x="821" y="1135"/>
                    <a:pt x="821" y="1132"/>
                    <a:pt x="822" y="1132"/>
                  </a:cubicBezTo>
                  <a:cubicBezTo>
                    <a:pt x="824" y="1130"/>
                    <a:pt x="825" y="1133"/>
                    <a:pt x="827" y="1130"/>
                  </a:cubicBezTo>
                  <a:cubicBezTo>
                    <a:pt x="829" y="1127"/>
                    <a:pt x="831" y="1127"/>
                    <a:pt x="832" y="1126"/>
                  </a:cubicBezTo>
                  <a:cubicBezTo>
                    <a:pt x="837" y="1120"/>
                    <a:pt x="828" y="1120"/>
                    <a:pt x="829" y="1112"/>
                  </a:cubicBezTo>
                  <a:cubicBezTo>
                    <a:pt x="830" y="1110"/>
                    <a:pt x="839" y="1117"/>
                    <a:pt x="840" y="1113"/>
                  </a:cubicBezTo>
                  <a:cubicBezTo>
                    <a:pt x="842" y="1105"/>
                    <a:pt x="830" y="1110"/>
                    <a:pt x="827" y="1109"/>
                  </a:cubicBezTo>
                  <a:cubicBezTo>
                    <a:pt x="826" y="1109"/>
                    <a:pt x="821" y="1105"/>
                    <a:pt x="822" y="1108"/>
                  </a:cubicBezTo>
                  <a:cubicBezTo>
                    <a:pt x="825" y="1122"/>
                    <a:pt x="816" y="1109"/>
                    <a:pt x="820" y="1105"/>
                  </a:cubicBezTo>
                  <a:cubicBezTo>
                    <a:pt x="823" y="1101"/>
                    <a:pt x="813" y="1102"/>
                    <a:pt x="818" y="1098"/>
                  </a:cubicBezTo>
                  <a:cubicBezTo>
                    <a:pt x="819" y="1096"/>
                    <a:pt x="823" y="1102"/>
                    <a:pt x="825" y="1097"/>
                  </a:cubicBezTo>
                  <a:cubicBezTo>
                    <a:pt x="826" y="1097"/>
                    <a:pt x="826" y="1097"/>
                    <a:pt x="826" y="1097"/>
                  </a:cubicBezTo>
                  <a:cubicBezTo>
                    <a:pt x="826" y="1095"/>
                    <a:pt x="822" y="1094"/>
                    <a:pt x="820" y="1095"/>
                  </a:cubicBezTo>
                  <a:cubicBezTo>
                    <a:pt x="805" y="1095"/>
                    <a:pt x="818" y="1107"/>
                    <a:pt x="813" y="1107"/>
                  </a:cubicBezTo>
                  <a:cubicBezTo>
                    <a:pt x="808" y="1107"/>
                    <a:pt x="798" y="1097"/>
                    <a:pt x="800" y="1102"/>
                  </a:cubicBezTo>
                  <a:cubicBezTo>
                    <a:pt x="802" y="1107"/>
                    <a:pt x="825" y="1117"/>
                    <a:pt x="825" y="1127"/>
                  </a:cubicBezTo>
                  <a:cubicBezTo>
                    <a:pt x="825" y="1128"/>
                    <a:pt x="819" y="1130"/>
                    <a:pt x="817" y="1130"/>
                  </a:cubicBezTo>
                  <a:cubicBezTo>
                    <a:pt x="804" y="1129"/>
                    <a:pt x="805" y="1117"/>
                    <a:pt x="796" y="1124"/>
                  </a:cubicBezTo>
                  <a:cubicBezTo>
                    <a:pt x="793" y="1127"/>
                    <a:pt x="804" y="1128"/>
                    <a:pt x="801" y="1133"/>
                  </a:cubicBezTo>
                  <a:cubicBezTo>
                    <a:pt x="799" y="1135"/>
                    <a:pt x="805" y="1139"/>
                    <a:pt x="808" y="1140"/>
                  </a:cubicBezTo>
                  <a:cubicBezTo>
                    <a:pt x="809" y="1141"/>
                    <a:pt x="819" y="1137"/>
                    <a:pt x="818" y="1143"/>
                  </a:cubicBezTo>
                  <a:close/>
                  <a:moveTo>
                    <a:pt x="778" y="1081"/>
                  </a:moveTo>
                  <a:cubicBezTo>
                    <a:pt x="786" y="1086"/>
                    <a:pt x="800" y="1080"/>
                    <a:pt x="799" y="1071"/>
                  </a:cubicBezTo>
                  <a:cubicBezTo>
                    <a:pt x="799" y="1071"/>
                    <a:pt x="792" y="1068"/>
                    <a:pt x="795" y="1067"/>
                  </a:cubicBezTo>
                  <a:cubicBezTo>
                    <a:pt x="796" y="1066"/>
                    <a:pt x="799" y="1065"/>
                    <a:pt x="795" y="1065"/>
                  </a:cubicBezTo>
                  <a:cubicBezTo>
                    <a:pt x="778" y="1062"/>
                    <a:pt x="798" y="1068"/>
                    <a:pt x="790" y="1070"/>
                  </a:cubicBezTo>
                  <a:cubicBezTo>
                    <a:pt x="787" y="1071"/>
                    <a:pt x="778" y="1060"/>
                    <a:pt x="771" y="1056"/>
                  </a:cubicBezTo>
                  <a:cubicBezTo>
                    <a:pt x="767" y="1054"/>
                    <a:pt x="745" y="1029"/>
                    <a:pt x="742" y="1031"/>
                  </a:cubicBezTo>
                  <a:cubicBezTo>
                    <a:pt x="741" y="1032"/>
                    <a:pt x="748" y="1038"/>
                    <a:pt x="749" y="1039"/>
                  </a:cubicBezTo>
                  <a:cubicBezTo>
                    <a:pt x="758" y="1045"/>
                    <a:pt x="757" y="1054"/>
                    <a:pt x="763" y="1061"/>
                  </a:cubicBezTo>
                  <a:cubicBezTo>
                    <a:pt x="764" y="1062"/>
                    <a:pt x="764" y="1062"/>
                    <a:pt x="764" y="1062"/>
                  </a:cubicBezTo>
                  <a:cubicBezTo>
                    <a:pt x="763" y="1064"/>
                    <a:pt x="771" y="1064"/>
                    <a:pt x="774" y="1063"/>
                  </a:cubicBezTo>
                  <a:cubicBezTo>
                    <a:pt x="778" y="1063"/>
                    <a:pt x="784" y="1071"/>
                    <a:pt x="787" y="1074"/>
                  </a:cubicBezTo>
                  <a:cubicBezTo>
                    <a:pt x="790" y="1076"/>
                    <a:pt x="775" y="1079"/>
                    <a:pt x="778" y="1081"/>
                  </a:cubicBezTo>
                  <a:close/>
                  <a:moveTo>
                    <a:pt x="737" y="919"/>
                  </a:moveTo>
                  <a:cubicBezTo>
                    <a:pt x="742" y="921"/>
                    <a:pt x="761" y="928"/>
                    <a:pt x="766" y="929"/>
                  </a:cubicBezTo>
                  <a:cubicBezTo>
                    <a:pt x="768" y="929"/>
                    <a:pt x="779" y="926"/>
                    <a:pt x="779" y="926"/>
                  </a:cubicBezTo>
                  <a:cubicBezTo>
                    <a:pt x="772" y="919"/>
                    <a:pt x="763" y="922"/>
                    <a:pt x="752" y="916"/>
                  </a:cubicBezTo>
                  <a:cubicBezTo>
                    <a:pt x="749" y="914"/>
                    <a:pt x="751" y="905"/>
                    <a:pt x="749" y="905"/>
                  </a:cubicBezTo>
                  <a:cubicBezTo>
                    <a:pt x="741" y="904"/>
                    <a:pt x="736" y="917"/>
                    <a:pt x="728" y="903"/>
                  </a:cubicBezTo>
                  <a:cubicBezTo>
                    <a:pt x="727" y="901"/>
                    <a:pt x="733" y="900"/>
                    <a:pt x="735" y="899"/>
                  </a:cubicBezTo>
                  <a:cubicBezTo>
                    <a:pt x="742" y="896"/>
                    <a:pt x="756" y="902"/>
                    <a:pt x="759" y="899"/>
                  </a:cubicBezTo>
                  <a:cubicBezTo>
                    <a:pt x="763" y="895"/>
                    <a:pt x="744" y="897"/>
                    <a:pt x="746" y="891"/>
                  </a:cubicBezTo>
                  <a:cubicBezTo>
                    <a:pt x="747" y="886"/>
                    <a:pt x="762" y="893"/>
                    <a:pt x="762" y="890"/>
                  </a:cubicBezTo>
                  <a:cubicBezTo>
                    <a:pt x="761" y="882"/>
                    <a:pt x="735" y="887"/>
                    <a:pt x="733" y="887"/>
                  </a:cubicBezTo>
                  <a:cubicBezTo>
                    <a:pt x="730" y="887"/>
                    <a:pt x="728" y="881"/>
                    <a:pt x="723" y="883"/>
                  </a:cubicBezTo>
                  <a:cubicBezTo>
                    <a:pt x="719" y="885"/>
                    <a:pt x="725" y="891"/>
                    <a:pt x="712" y="894"/>
                  </a:cubicBezTo>
                  <a:cubicBezTo>
                    <a:pt x="709" y="894"/>
                    <a:pt x="709" y="901"/>
                    <a:pt x="705" y="899"/>
                  </a:cubicBezTo>
                  <a:cubicBezTo>
                    <a:pt x="704" y="899"/>
                    <a:pt x="688" y="887"/>
                    <a:pt x="686" y="883"/>
                  </a:cubicBezTo>
                  <a:cubicBezTo>
                    <a:pt x="683" y="876"/>
                    <a:pt x="698" y="883"/>
                    <a:pt x="688" y="873"/>
                  </a:cubicBezTo>
                  <a:cubicBezTo>
                    <a:pt x="686" y="870"/>
                    <a:pt x="696" y="867"/>
                    <a:pt x="693" y="866"/>
                  </a:cubicBezTo>
                  <a:cubicBezTo>
                    <a:pt x="685" y="861"/>
                    <a:pt x="673" y="870"/>
                    <a:pt x="671" y="870"/>
                  </a:cubicBezTo>
                  <a:cubicBezTo>
                    <a:pt x="671" y="870"/>
                    <a:pt x="640" y="857"/>
                    <a:pt x="656" y="868"/>
                  </a:cubicBezTo>
                  <a:cubicBezTo>
                    <a:pt x="661" y="871"/>
                    <a:pt x="646" y="875"/>
                    <a:pt x="659" y="881"/>
                  </a:cubicBezTo>
                  <a:cubicBezTo>
                    <a:pt x="671" y="886"/>
                    <a:pt x="648" y="879"/>
                    <a:pt x="648" y="882"/>
                  </a:cubicBezTo>
                  <a:cubicBezTo>
                    <a:pt x="647" y="891"/>
                    <a:pt x="657" y="891"/>
                    <a:pt x="662" y="894"/>
                  </a:cubicBezTo>
                  <a:cubicBezTo>
                    <a:pt x="667" y="897"/>
                    <a:pt x="666" y="907"/>
                    <a:pt x="667" y="910"/>
                  </a:cubicBezTo>
                  <a:cubicBezTo>
                    <a:pt x="667" y="910"/>
                    <a:pt x="667" y="910"/>
                    <a:pt x="667" y="910"/>
                  </a:cubicBezTo>
                  <a:cubicBezTo>
                    <a:pt x="672" y="924"/>
                    <a:pt x="683" y="911"/>
                    <a:pt x="689" y="913"/>
                  </a:cubicBezTo>
                  <a:cubicBezTo>
                    <a:pt x="692" y="914"/>
                    <a:pt x="685" y="918"/>
                    <a:pt x="685" y="921"/>
                  </a:cubicBezTo>
                  <a:cubicBezTo>
                    <a:pt x="686" y="923"/>
                    <a:pt x="693" y="926"/>
                    <a:pt x="695" y="927"/>
                  </a:cubicBezTo>
                  <a:cubicBezTo>
                    <a:pt x="696" y="927"/>
                    <a:pt x="695" y="929"/>
                    <a:pt x="697" y="929"/>
                  </a:cubicBezTo>
                  <a:cubicBezTo>
                    <a:pt x="702" y="927"/>
                    <a:pt x="697" y="925"/>
                    <a:pt x="696" y="922"/>
                  </a:cubicBezTo>
                  <a:cubicBezTo>
                    <a:pt x="691" y="906"/>
                    <a:pt x="717" y="917"/>
                    <a:pt x="712" y="904"/>
                  </a:cubicBezTo>
                  <a:cubicBezTo>
                    <a:pt x="712" y="903"/>
                    <a:pt x="720" y="901"/>
                    <a:pt x="720" y="901"/>
                  </a:cubicBezTo>
                  <a:cubicBezTo>
                    <a:pt x="722" y="901"/>
                    <a:pt x="731" y="916"/>
                    <a:pt x="743" y="914"/>
                  </a:cubicBezTo>
                  <a:cubicBezTo>
                    <a:pt x="753" y="912"/>
                    <a:pt x="737" y="919"/>
                    <a:pt x="737" y="919"/>
                  </a:cubicBezTo>
                  <a:close/>
                  <a:moveTo>
                    <a:pt x="640" y="1069"/>
                  </a:moveTo>
                  <a:cubicBezTo>
                    <a:pt x="641" y="1064"/>
                    <a:pt x="649" y="1066"/>
                    <a:pt x="651" y="1064"/>
                  </a:cubicBezTo>
                  <a:cubicBezTo>
                    <a:pt x="651" y="1064"/>
                    <a:pt x="645" y="1056"/>
                    <a:pt x="648" y="1055"/>
                  </a:cubicBezTo>
                  <a:cubicBezTo>
                    <a:pt x="653" y="1052"/>
                    <a:pt x="643" y="1054"/>
                    <a:pt x="642" y="1053"/>
                  </a:cubicBezTo>
                  <a:cubicBezTo>
                    <a:pt x="634" y="1048"/>
                    <a:pt x="656" y="1046"/>
                    <a:pt x="636" y="1046"/>
                  </a:cubicBezTo>
                  <a:cubicBezTo>
                    <a:pt x="631" y="1046"/>
                    <a:pt x="630" y="1036"/>
                    <a:pt x="626" y="1037"/>
                  </a:cubicBezTo>
                  <a:cubicBezTo>
                    <a:pt x="606" y="1041"/>
                    <a:pt x="631" y="1054"/>
                    <a:pt x="636" y="1060"/>
                  </a:cubicBezTo>
                  <a:cubicBezTo>
                    <a:pt x="638" y="1062"/>
                    <a:pt x="639" y="1064"/>
                    <a:pt x="637" y="1065"/>
                  </a:cubicBezTo>
                  <a:cubicBezTo>
                    <a:pt x="637" y="1066"/>
                    <a:pt x="619" y="1069"/>
                    <a:pt x="612" y="1064"/>
                  </a:cubicBezTo>
                  <a:cubicBezTo>
                    <a:pt x="611" y="1063"/>
                    <a:pt x="606" y="1047"/>
                    <a:pt x="600" y="1053"/>
                  </a:cubicBezTo>
                  <a:cubicBezTo>
                    <a:pt x="596" y="1056"/>
                    <a:pt x="619" y="1072"/>
                    <a:pt x="620" y="1074"/>
                  </a:cubicBezTo>
                  <a:cubicBezTo>
                    <a:pt x="631" y="1086"/>
                    <a:pt x="616" y="1090"/>
                    <a:pt x="634" y="1099"/>
                  </a:cubicBezTo>
                  <a:cubicBezTo>
                    <a:pt x="635" y="1100"/>
                    <a:pt x="635" y="1100"/>
                    <a:pt x="635" y="1100"/>
                  </a:cubicBezTo>
                  <a:cubicBezTo>
                    <a:pt x="653" y="1103"/>
                    <a:pt x="628" y="1086"/>
                    <a:pt x="630" y="1081"/>
                  </a:cubicBezTo>
                  <a:cubicBezTo>
                    <a:pt x="631" y="1078"/>
                    <a:pt x="636" y="1082"/>
                    <a:pt x="639" y="1079"/>
                  </a:cubicBezTo>
                  <a:cubicBezTo>
                    <a:pt x="640" y="1078"/>
                    <a:pt x="639" y="1071"/>
                    <a:pt x="640" y="1069"/>
                  </a:cubicBezTo>
                  <a:close/>
                  <a:moveTo>
                    <a:pt x="663" y="613"/>
                  </a:moveTo>
                  <a:cubicBezTo>
                    <a:pt x="664" y="612"/>
                    <a:pt x="659" y="609"/>
                    <a:pt x="658" y="610"/>
                  </a:cubicBezTo>
                  <a:cubicBezTo>
                    <a:pt x="648" y="613"/>
                    <a:pt x="660" y="618"/>
                    <a:pt x="661" y="620"/>
                  </a:cubicBezTo>
                  <a:cubicBezTo>
                    <a:pt x="670" y="631"/>
                    <a:pt x="657" y="625"/>
                    <a:pt x="660" y="634"/>
                  </a:cubicBezTo>
                  <a:cubicBezTo>
                    <a:pt x="661" y="636"/>
                    <a:pt x="670" y="631"/>
                    <a:pt x="668" y="629"/>
                  </a:cubicBezTo>
                  <a:cubicBezTo>
                    <a:pt x="667" y="629"/>
                    <a:pt x="667" y="628"/>
                    <a:pt x="668" y="627"/>
                  </a:cubicBezTo>
                  <a:cubicBezTo>
                    <a:pt x="685" y="620"/>
                    <a:pt x="680" y="643"/>
                    <a:pt x="681" y="645"/>
                  </a:cubicBezTo>
                  <a:cubicBezTo>
                    <a:pt x="681" y="646"/>
                    <a:pt x="681" y="646"/>
                    <a:pt x="681" y="646"/>
                  </a:cubicBezTo>
                  <a:cubicBezTo>
                    <a:pt x="687" y="647"/>
                    <a:pt x="695" y="650"/>
                    <a:pt x="690" y="644"/>
                  </a:cubicBezTo>
                  <a:cubicBezTo>
                    <a:pt x="688" y="640"/>
                    <a:pt x="699" y="632"/>
                    <a:pt x="691" y="627"/>
                  </a:cubicBezTo>
                  <a:cubicBezTo>
                    <a:pt x="689" y="626"/>
                    <a:pt x="658" y="620"/>
                    <a:pt x="663" y="613"/>
                  </a:cubicBezTo>
                  <a:close/>
                  <a:moveTo>
                    <a:pt x="700" y="562"/>
                  </a:moveTo>
                  <a:cubicBezTo>
                    <a:pt x="700" y="562"/>
                    <a:pt x="682" y="557"/>
                    <a:pt x="691" y="562"/>
                  </a:cubicBezTo>
                  <a:cubicBezTo>
                    <a:pt x="692" y="563"/>
                    <a:pt x="694" y="563"/>
                    <a:pt x="695" y="564"/>
                  </a:cubicBezTo>
                  <a:cubicBezTo>
                    <a:pt x="695" y="564"/>
                    <a:pt x="695" y="564"/>
                    <a:pt x="695" y="564"/>
                  </a:cubicBezTo>
                  <a:cubicBezTo>
                    <a:pt x="716" y="574"/>
                    <a:pt x="701" y="556"/>
                    <a:pt x="717" y="549"/>
                  </a:cubicBezTo>
                  <a:cubicBezTo>
                    <a:pt x="725" y="546"/>
                    <a:pt x="738" y="560"/>
                    <a:pt x="746" y="561"/>
                  </a:cubicBezTo>
                  <a:cubicBezTo>
                    <a:pt x="748" y="561"/>
                    <a:pt x="743" y="553"/>
                    <a:pt x="752" y="552"/>
                  </a:cubicBezTo>
                  <a:cubicBezTo>
                    <a:pt x="757" y="552"/>
                    <a:pt x="759" y="548"/>
                    <a:pt x="758" y="543"/>
                  </a:cubicBezTo>
                  <a:cubicBezTo>
                    <a:pt x="757" y="540"/>
                    <a:pt x="751" y="551"/>
                    <a:pt x="751" y="551"/>
                  </a:cubicBezTo>
                  <a:cubicBezTo>
                    <a:pt x="742" y="552"/>
                    <a:pt x="737" y="555"/>
                    <a:pt x="726" y="547"/>
                  </a:cubicBezTo>
                  <a:cubicBezTo>
                    <a:pt x="723" y="545"/>
                    <a:pt x="735" y="543"/>
                    <a:pt x="733" y="540"/>
                  </a:cubicBezTo>
                  <a:cubicBezTo>
                    <a:pt x="730" y="536"/>
                    <a:pt x="713" y="530"/>
                    <a:pt x="713" y="530"/>
                  </a:cubicBezTo>
                  <a:cubicBezTo>
                    <a:pt x="710" y="532"/>
                    <a:pt x="708" y="522"/>
                    <a:pt x="705" y="524"/>
                  </a:cubicBezTo>
                  <a:cubicBezTo>
                    <a:pt x="699" y="529"/>
                    <a:pt x="718" y="537"/>
                    <a:pt x="718" y="538"/>
                  </a:cubicBezTo>
                  <a:cubicBezTo>
                    <a:pt x="719" y="540"/>
                    <a:pt x="719" y="546"/>
                    <a:pt x="717" y="547"/>
                  </a:cubicBezTo>
                  <a:cubicBezTo>
                    <a:pt x="713" y="548"/>
                    <a:pt x="713" y="544"/>
                    <a:pt x="712" y="542"/>
                  </a:cubicBezTo>
                  <a:cubicBezTo>
                    <a:pt x="712" y="540"/>
                    <a:pt x="702" y="547"/>
                    <a:pt x="700" y="554"/>
                  </a:cubicBezTo>
                  <a:cubicBezTo>
                    <a:pt x="699" y="557"/>
                    <a:pt x="703" y="561"/>
                    <a:pt x="700" y="562"/>
                  </a:cubicBezTo>
                  <a:close/>
                  <a:moveTo>
                    <a:pt x="765" y="592"/>
                  </a:moveTo>
                  <a:cubicBezTo>
                    <a:pt x="760" y="596"/>
                    <a:pt x="740" y="575"/>
                    <a:pt x="737" y="585"/>
                  </a:cubicBezTo>
                  <a:cubicBezTo>
                    <a:pt x="736" y="589"/>
                    <a:pt x="745" y="591"/>
                    <a:pt x="748" y="590"/>
                  </a:cubicBezTo>
                  <a:cubicBezTo>
                    <a:pt x="751" y="590"/>
                    <a:pt x="755" y="593"/>
                    <a:pt x="759" y="594"/>
                  </a:cubicBezTo>
                  <a:cubicBezTo>
                    <a:pt x="773" y="596"/>
                    <a:pt x="754" y="599"/>
                    <a:pt x="751" y="601"/>
                  </a:cubicBezTo>
                  <a:cubicBezTo>
                    <a:pt x="750" y="601"/>
                    <a:pt x="750" y="602"/>
                    <a:pt x="749" y="602"/>
                  </a:cubicBezTo>
                  <a:cubicBezTo>
                    <a:pt x="748" y="603"/>
                    <a:pt x="748" y="603"/>
                    <a:pt x="748" y="603"/>
                  </a:cubicBezTo>
                  <a:cubicBezTo>
                    <a:pt x="747" y="604"/>
                    <a:pt x="748" y="604"/>
                    <a:pt x="750" y="604"/>
                  </a:cubicBezTo>
                  <a:cubicBezTo>
                    <a:pt x="751" y="605"/>
                    <a:pt x="771" y="613"/>
                    <a:pt x="773" y="611"/>
                  </a:cubicBezTo>
                  <a:cubicBezTo>
                    <a:pt x="787" y="605"/>
                    <a:pt x="764" y="605"/>
                    <a:pt x="766" y="602"/>
                  </a:cubicBezTo>
                  <a:cubicBezTo>
                    <a:pt x="767" y="600"/>
                    <a:pt x="779" y="600"/>
                    <a:pt x="771" y="597"/>
                  </a:cubicBezTo>
                  <a:cubicBezTo>
                    <a:pt x="770" y="597"/>
                    <a:pt x="766" y="597"/>
                    <a:pt x="766" y="596"/>
                  </a:cubicBezTo>
                  <a:cubicBezTo>
                    <a:pt x="766" y="591"/>
                    <a:pt x="784" y="596"/>
                    <a:pt x="780" y="594"/>
                  </a:cubicBezTo>
                  <a:cubicBezTo>
                    <a:pt x="779" y="593"/>
                    <a:pt x="777" y="591"/>
                    <a:pt x="776" y="590"/>
                  </a:cubicBezTo>
                  <a:cubicBezTo>
                    <a:pt x="775" y="587"/>
                    <a:pt x="769" y="577"/>
                    <a:pt x="767" y="583"/>
                  </a:cubicBezTo>
                  <a:cubicBezTo>
                    <a:pt x="766" y="586"/>
                    <a:pt x="759" y="582"/>
                    <a:pt x="759" y="584"/>
                  </a:cubicBezTo>
                  <a:cubicBezTo>
                    <a:pt x="758" y="585"/>
                    <a:pt x="768" y="590"/>
                    <a:pt x="765" y="592"/>
                  </a:cubicBezTo>
                  <a:close/>
                  <a:moveTo>
                    <a:pt x="741" y="759"/>
                  </a:moveTo>
                  <a:cubicBezTo>
                    <a:pt x="741" y="759"/>
                    <a:pt x="741" y="759"/>
                    <a:pt x="741" y="759"/>
                  </a:cubicBezTo>
                  <a:cubicBezTo>
                    <a:pt x="741" y="759"/>
                    <a:pt x="741" y="759"/>
                    <a:pt x="741" y="759"/>
                  </a:cubicBezTo>
                  <a:cubicBezTo>
                    <a:pt x="741" y="759"/>
                    <a:pt x="741" y="759"/>
                    <a:pt x="741" y="759"/>
                  </a:cubicBezTo>
                  <a:cubicBezTo>
                    <a:pt x="742" y="760"/>
                    <a:pt x="759" y="749"/>
                    <a:pt x="759" y="746"/>
                  </a:cubicBezTo>
                  <a:cubicBezTo>
                    <a:pt x="760" y="745"/>
                    <a:pt x="753" y="745"/>
                    <a:pt x="752" y="745"/>
                  </a:cubicBezTo>
                  <a:cubicBezTo>
                    <a:pt x="744" y="749"/>
                    <a:pt x="745" y="752"/>
                    <a:pt x="741" y="759"/>
                  </a:cubicBezTo>
                  <a:close/>
                  <a:moveTo>
                    <a:pt x="696" y="760"/>
                  </a:moveTo>
                  <a:cubicBezTo>
                    <a:pt x="696" y="760"/>
                    <a:pt x="696" y="760"/>
                    <a:pt x="696" y="760"/>
                  </a:cubicBezTo>
                  <a:cubicBezTo>
                    <a:pt x="697" y="757"/>
                    <a:pt x="702" y="740"/>
                    <a:pt x="689" y="744"/>
                  </a:cubicBezTo>
                  <a:cubicBezTo>
                    <a:pt x="688" y="744"/>
                    <a:pt x="693" y="755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lose/>
                  <a:moveTo>
                    <a:pt x="784" y="924"/>
                  </a:moveTo>
                  <a:cubicBezTo>
                    <a:pt x="785" y="926"/>
                    <a:pt x="792" y="943"/>
                    <a:pt x="793" y="945"/>
                  </a:cubicBezTo>
                  <a:cubicBezTo>
                    <a:pt x="793" y="945"/>
                    <a:pt x="793" y="945"/>
                    <a:pt x="793" y="945"/>
                  </a:cubicBezTo>
                  <a:cubicBezTo>
                    <a:pt x="795" y="949"/>
                    <a:pt x="792" y="935"/>
                    <a:pt x="796" y="933"/>
                  </a:cubicBezTo>
                  <a:cubicBezTo>
                    <a:pt x="797" y="932"/>
                    <a:pt x="798" y="933"/>
                    <a:pt x="799" y="933"/>
                  </a:cubicBezTo>
                  <a:cubicBezTo>
                    <a:pt x="808" y="942"/>
                    <a:pt x="805" y="931"/>
                    <a:pt x="796" y="930"/>
                  </a:cubicBezTo>
                  <a:cubicBezTo>
                    <a:pt x="791" y="929"/>
                    <a:pt x="794" y="926"/>
                    <a:pt x="796" y="924"/>
                  </a:cubicBezTo>
                  <a:cubicBezTo>
                    <a:pt x="796" y="923"/>
                    <a:pt x="795" y="921"/>
                    <a:pt x="796" y="921"/>
                  </a:cubicBezTo>
                  <a:cubicBezTo>
                    <a:pt x="797" y="920"/>
                    <a:pt x="802" y="925"/>
                    <a:pt x="803" y="926"/>
                  </a:cubicBezTo>
                  <a:cubicBezTo>
                    <a:pt x="804" y="926"/>
                    <a:pt x="808" y="927"/>
                    <a:pt x="809" y="929"/>
                  </a:cubicBezTo>
                  <a:cubicBezTo>
                    <a:pt x="810" y="931"/>
                    <a:pt x="804" y="930"/>
                    <a:pt x="805" y="932"/>
                  </a:cubicBezTo>
                  <a:cubicBezTo>
                    <a:pt x="814" y="941"/>
                    <a:pt x="843" y="932"/>
                    <a:pt x="852" y="931"/>
                  </a:cubicBezTo>
                  <a:cubicBezTo>
                    <a:pt x="857" y="931"/>
                    <a:pt x="856" y="940"/>
                    <a:pt x="864" y="940"/>
                  </a:cubicBezTo>
                  <a:cubicBezTo>
                    <a:pt x="865" y="940"/>
                    <a:pt x="865" y="940"/>
                    <a:pt x="865" y="940"/>
                  </a:cubicBezTo>
                  <a:cubicBezTo>
                    <a:pt x="869" y="938"/>
                    <a:pt x="857" y="935"/>
                    <a:pt x="860" y="934"/>
                  </a:cubicBezTo>
                  <a:cubicBezTo>
                    <a:pt x="866" y="930"/>
                    <a:pt x="875" y="928"/>
                    <a:pt x="881" y="929"/>
                  </a:cubicBezTo>
                  <a:cubicBezTo>
                    <a:pt x="882" y="929"/>
                    <a:pt x="889" y="933"/>
                    <a:pt x="889" y="932"/>
                  </a:cubicBezTo>
                  <a:cubicBezTo>
                    <a:pt x="888" y="928"/>
                    <a:pt x="865" y="918"/>
                    <a:pt x="862" y="918"/>
                  </a:cubicBezTo>
                  <a:cubicBezTo>
                    <a:pt x="855" y="919"/>
                    <a:pt x="830" y="942"/>
                    <a:pt x="817" y="929"/>
                  </a:cubicBezTo>
                  <a:cubicBezTo>
                    <a:pt x="815" y="928"/>
                    <a:pt x="808" y="925"/>
                    <a:pt x="811" y="925"/>
                  </a:cubicBezTo>
                  <a:cubicBezTo>
                    <a:pt x="821" y="923"/>
                    <a:pt x="780" y="916"/>
                    <a:pt x="791" y="924"/>
                  </a:cubicBezTo>
                  <a:cubicBezTo>
                    <a:pt x="795" y="927"/>
                    <a:pt x="783" y="923"/>
                    <a:pt x="784" y="924"/>
                  </a:cubicBezTo>
                  <a:close/>
                  <a:moveTo>
                    <a:pt x="795" y="677"/>
                  </a:moveTo>
                  <a:cubicBezTo>
                    <a:pt x="796" y="678"/>
                    <a:pt x="808" y="681"/>
                    <a:pt x="808" y="680"/>
                  </a:cubicBezTo>
                  <a:cubicBezTo>
                    <a:pt x="807" y="670"/>
                    <a:pt x="795" y="656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lose/>
                  <a:moveTo>
                    <a:pt x="873" y="689"/>
                  </a:moveTo>
                  <a:cubicBezTo>
                    <a:pt x="863" y="680"/>
                    <a:pt x="857" y="702"/>
                    <a:pt x="850" y="707"/>
                  </a:cubicBezTo>
                  <a:cubicBezTo>
                    <a:pt x="849" y="707"/>
                    <a:pt x="849" y="707"/>
                    <a:pt x="849" y="707"/>
                  </a:cubicBezTo>
                  <a:cubicBezTo>
                    <a:pt x="824" y="711"/>
                    <a:pt x="870" y="709"/>
                    <a:pt x="871" y="702"/>
                  </a:cubicBezTo>
                  <a:cubicBezTo>
                    <a:pt x="872" y="702"/>
                    <a:pt x="864" y="698"/>
                    <a:pt x="864" y="697"/>
                  </a:cubicBezTo>
                  <a:cubicBezTo>
                    <a:pt x="861" y="691"/>
                    <a:pt x="878" y="693"/>
                    <a:pt x="873" y="689"/>
                  </a:cubicBezTo>
                  <a:close/>
                  <a:moveTo>
                    <a:pt x="837" y="810"/>
                  </a:moveTo>
                  <a:cubicBezTo>
                    <a:pt x="838" y="811"/>
                    <a:pt x="838" y="811"/>
                    <a:pt x="838" y="811"/>
                  </a:cubicBezTo>
                  <a:cubicBezTo>
                    <a:pt x="848" y="811"/>
                    <a:pt x="887" y="829"/>
                    <a:pt x="858" y="816"/>
                  </a:cubicBezTo>
                  <a:cubicBezTo>
                    <a:pt x="856" y="815"/>
                    <a:pt x="854" y="813"/>
                    <a:pt x="855" y="810"/>
                  </a:cubicBezTo>
                  <a:cubicBezTo>
                    <a:pt x="857" y="804"/>
                    <a:pt x="859" y="812"/>
                    <a:pt x="862" y="808"/>
                  </a:cubicBezTo>
                  <a:cubicBezTo>
                    <a:pt x="864" y="807"/>
                    <a:pt x="859" y="807"/>
                    <a:pt x="859" y="807"/>
                  </a:cubicBezTo>
                  <a:cubicBezTo>
                    <a:pt x="858" y="806"/>
                    <a:pt x="858" y="802"/>
                    <a:pt x="861" y="792"/>
                  </a:cubicBezTo>
                  <a:cubicBezTo>
                    <a:pt x="861" y="791"/>
                    <a:pt x="863" y="791"/>
                    <a:pt x="864" y="791"/>
                  </a:cubicBezTo>
                  <a:cubicBezTo>
                    <a:pt x="865" y="791"/>
                    <a:pt x="872" y="792"/>
                    <a:pt x="871" y="791"/>
                  </a:cubicBezTo>
                  <a:cubicBezTo>
                    <a:pt x="871" y="790"/>
                    <a:pt x="866" y="790"/>
                    <a:pt x="867" y="788"/>
                  </a:cubicBezTo>
                  <a:cubicBezTo>
                    <a:pt x="868" y="784"/>
                    <a:pt x="878" y="786"/>
                    <a:pt x="881" y="784"/>
                  </a:cubicBezTo>
                  <a:cubicBezTo>
                    <a:pt x="885" y="782"/>
                    <a:pt x="880" y="774"/>
                    <a:pt x="886" y="769"/>
                  </a:cubicBezTo>
                  <a:cubicBezTo>
                    <a:pt x="888" y="767"/>
                    <a:pt x="899" y="764"/>
                    <a:pt x="898" y="764"/>
                  </a:cubicBezTo>
                  <a:cubicBezTo>
                    <a:pt x="880" y="755"/>
                    <a:pt x="883" y="782"/>
                    <a:pt x="873" y="783"/>
                  </a:cubicBezTo>
                  <a:cubicBezTo>
                    <a:pt x="854" y="786"/>
                    <a:pt x="866" y="763"/>
                    <a:pt x="865" y="763"/>
                  </a:cubicBezTo>
                  <a:cubicBezTo>
                    <a:pt x="848" y="763"/>
                    <a:pt x="861" y="798"/>
                    <a:pt x="854" y="804"/>
                  </a:cubicBezTo>
                  <a:cubicBezTo>
                    <a:pt x="843" y="814"/>
                    <a:pt x="834" y="800"/>
                    <a:pt x="837" y="810"/>
                  </a:cubicBezTo>
                  <a:close/>
                  <a:moveTo>
                    <a:pt x="877" y="828"/>
                  </a:moveTo>
                  <a:cubicBezTo>
                    <a:pt x="877" y="828"/>
                    <a:pt x="865" y="825"/>
                    <a:pt x="865" y="828"/>
                  </a:cubicBezTo>
                  <a:cubicBezTo>
                    <a:pt x="866" y="830"/>
                    <a:pt x="898" y="842"/>
                    <a:pt x="903" y="846"/>
                  </a:cubicBezTo>
                  <a:cubicBezTo>
                    <a:pt x="903" y="846"/>
                    <a:pt x="903" y="846"/>
                    <a:pt x="903" y="846"/>
                  </a:cubicBezTo>
                  <a:cubicBezTo>
                    <a:pt x="916" y="843"/>
                    <a:pt x="888" y="830"/>
                    <a:pt x="877" y="828"/>
                  </a:cubicBezTo>
                  <a:close/>
                  <a:moveTo>
                    <a:pt x="867" y="645"/>
                  </a:moveTo>
                  <a:cubicBezTo>
                    <a:pt x="865" y="645"/>
                    <a:pt x="865" y="645"/>
                    <a:pt x="865" y="645"/>
                  </a:cubicBezTo>
                  <a:cubicBezTo>
                    <a:pt x="860" y="645"/>
                    <a:pt x="871" y="650"/>
                    <a:pt x="868" y="651"/>
                  </a:cubicBezTo>
                  <a:cubicBezTo>
                    <a:pt x="856" y="654"/>
                    <a:pt x="894" y="663"/>
                    <a:pt x="904" y="659"/>
                  </a:cubicBezTo>
                  <a:cubicBezTo>
                    <a:pt x="909" y="657"/>
                    <a:pt x="888" y="653"/>
                    <a:pt x="899" y="654"/>
                  </a:cubicBezTo>
                  <a:cubicBezTo>
                    <a:pt x="906" y="655"/>
                    <a:pt x="919" y="653"/>
                    <a:pt x="924" y="657"/>
                  </a:cubicBezTo>
                  <a:cubicBezTo>
                    <a:pt x="928" y="659"/>
                    <a:pt x="941" y="662"/>
                    <a:pt x="938" y="659"/>
                  </a:cubicBezTo>
                  <a:cubicBezTo>
                    <a:pt x="932" y="655"/>
                    <a:pt x="920" y="652"/>
                    <a:pt x="914" y="650"/>
                  </a:cubicBezTo>
                  <a:cubicBezTo>
                    <a:pt x="911" y="649"/>
                    <a:pt x="906" y="648"/>
                    <a:pt x="904" y="646"/>
                  </a:cubicBezTo>
                  <a:cubicBezTo>
                    <a:pt x="904" y="645"/>
                    <a:pt x="912" y="647"/>
                    <a:pt x="913" y="647"/>
                  </a:cubicBezTo>
                  <a:cubicBezTo>
                    <a:pt x="920" y="648"/>
                    <a:pt x="900" y="642"/>
                    <a:pt x="917" y="644"/>
                  </a:cubicBezTo>
                  <a:cubicBezTo>
                    <a:pt x="918" y="644"/>
                    <a:pt x="922" y="645"/>
                    <a:pt x="922" y="643"/>
                  </a:cubicBezTo>
                  <a:cubicBezTo>
                    <a:pt x="914" y="624"/>
                    <a:pt x="890" y="656"/>
                    <a:pt x="889" y="656"/>
                  </a:cubicBezTo>
                  <a:cubicBezTo>
                    <a:pt x="883" y="657"/>
                    <a:pt x="876" y="649"/>
                    <a:pt x="867" y="645"/>
                  </a:cubicBezTo>
                  <a:close/>
                  <a:moveTo>
                    <a:pt x="776" y="633"/>
                  </a:moveTo>
                  <a:cubicBezTo>
                    <a:pt x="775" y="633"/>
                    <a:pt x="774" y="633"/>
                    <a:pt x="773" y="633"/>
                  </a:cubicBezTo>
                  <a:cubicBezTo>
                    <a:pt x="768" y="631"/>
                    <a:pt x="775" y="624"/>
                    <a:pt x="771" y="620"/>
                  </a:cubicBezTo>
                  <a:cubicBezTo>
                    <a:pt x="766" y="615"/>
                    <a:pt x="759" y="619"/>
                    <a:pt x="754" y="615"/>
                  </a:cubicBezTo>
                  <a:cubicBezTo>
                    <a:pt x="750" y="611"/>
                    <a:pt x="745" y="615"/>
                    <a:pt x="753" y="619"/>
                  </a:cubicBezTo>
                  <a:cubicBezTo>
                    <a:pt x="755" y="619"/>
                    <a:pt x="755" y="619"/>
                    <a:pt x="755" y="619"/>
                  </a:cubicBezTo>
                  <a:cubicBezTo>
                    <a:pt x="771" y="626"/>
                    <a:pt x="757" y="638"/>
                    <a:pt x="773" y="638"/>
                  </a:cubicBezTo>
                  <a:cubicBezTo>
                    <a:pt x="790" y="638"/>
                    <a:pt x="804" y="637"/>
                    <a:pt x="818" y="633"/>
                  </a:cubicBezTo>
                  <a:cubicBezTo>
                    <a:pt x="819" y="632"/>
                    <a:pt x="824" y="628"/>
                    <a:pt x="824" y="628"/>
                  </a:cubicBezTo>
                  <a:cubicBezTo>
                    <a:pt x="821" y="626"/>
                    <a:pt x="796" y="634"/>
                    <a:pt x="799" y="631"/>
                  </a:cubicBezTo>
                  <a:cubicBezTo>
                    <a:pt x="809" y="623"/>
                    <a:pt x="819" y="629"/>
                    <a:pt x="823" y="625"/>
                  </a:cubicBezTo>
                  <a:cubicBezTo>
                    <a:pt x="828" y="621"/>
                    <a:pt x="842" y="607"/>
                    <a:pt x="844" y="605"/>
                  </a:cubicBezTo>
                  <a:cubicBezTo>
                    <a:pt x="848" y="603"/>
                    <a:pt x="854" y="609"/>
                    <a:pt x="858" y="605"/>
                  </a:cubicBezTo>
                  <a:cubicBezTo>
                    <a:pt x="859" y="604"/>
                    <a:pt x="842" y="603"/>
                    <a:pt x="848" y="599"/>
                  </a:cubicBezTo>
                  <a:cubicBezTo>
                    <a:pt x="849" y="598"/>
                    <a:pt x="857" y="597"/>
                    <a:pt x="857" y="597"/>
                  </a:cubicBezTo>
                  <a:cubicBezTo>
                    <a:pt x="860" y="598"/>
                    <a:pt x="867" y="598"/>
                    <a:pt x="865" y="596"/>
                  </a:cubicBezTo>
                  <a:cubicBezTo>
                    <a:pt x="864" y="595"/>
                    <a:pt x="846" y="592"/>
                    <a:pt x="844" y="593"/>
                  </a:cubicBezTo>
                  <a:cubicBezTo>
                    <a:pt x="842" y="593"/>
                    <a:pt x="851" y="600"/>
                    <a:pt x="844" y="599"/>
                  </a:cubicBezTo>
                  <a:cubicBezTo>
                    <a:pt x="841" y="598"/>
                    <a:pt x="835" y="587"/>
                    <a:pt x="831" y="590"/>
                  </a:cubicBezTo>
                  <a:cubicBezTo>
                    <a:pt x="829" y="591"/>
                    <a:pt x="826" y="589"/>
                    <a:pt x="824" y="590"/>
                  </a:cubicBezTo>
                  <a:cubicBezTo>
                    <a:pt x="822" y="592"/>
                    <a:pt x="828" y="595"/>
                    <a:pt x="829" y="595"/>
                  </a:cubicBezTo>
                  <a:cubicBezTo>
                    <a:pt x="836" y="600"/>
                    <a:pt x="834" y="600"/>
                    <a:pt x="835" y="605"/>
                  </a:cubicBezTo>
                  <a:cubicBezTo>
                    <a:pt x="836" y="609"/>
                    <a:pt x="828" y="611"/>
                    <a:pt x="824" y="610"/>
                  </a:cubicBezTo>
                  <a:cubicBezTo>
                    <a:pt x="819" y="609"/>
                    <a:pt x="804" y="614"/>
                    <a:pt x="809" y="615"/>
                  </a:cubicBezTo>
                  <a:cubicBezTo>
                    <a:pt x="811" y="616"/>
                    <a:pt x="816" y="617"/>
                    <a:pt x="815" y="619"/>
                  </a:cubicBezTo>
                  <a:cubicBezTo>
                    <a:pt x="815" y="620"/>
                    <a:pt x="779" y="633"/>
                    <a:pt x="776" y="633"/>
                  </a:cubicBezTo>
                  <a:close/>
                  <a:moveTo>
                    <a:pt x="697" y="196"/>
                  </a:moveTo>
                  <a:cubicBezTo>
                    <a:pt x="698" y="191"/>
                    <a:pt x="688" y="183"/>
                    <a:pt x="704" y="195"/>
                  </a:cubicBezTo>
                  <a:cubicBezTo>
                    <a:pt x="705" y="196"/>
                    <a:pt x="707" y="198"/>
                    <a:pt x="709" y="199"/>
                  </a:cubicBezTo>
                  <a:cubicBezTo>
                    <a:pt x="708" y="201"/>
                    <a:pt x="712" y="204"/>
                    <a:pt x="713" y="205"/>
                  </a:cubicBezTo>
                  <a:cubicBezTo>
                    <a:pt x="716" y="206"/>
                    <a:pt x="713" y="202"/>
                    <a:pt x="709" y="199"/>
                  </a:cubicBezTo>
                  <a:cubicBezTo>
                    <a:pt x="709" y="199"/>
                    <a:pt x="709" y="199"/>
                    <a:pt x="709" y="198"/>
                  </a:cubicBezTo>
                  <a:cubicBezTo>
                    <a:pt x="710" y="198"/>
                    <a:pt x="713" y="195"/>
                    <a:pt x="714" y="197"/>
                  </a:cubicBezTo>
                  <a:cubicBezTo>
                    <a:pt x="717" y="200"/>
                    <a:pt x="723" y="203"/>
                    <a:pt x="722" y="207"/>
                  </a:cubicBezTo>
                  <a:cubicBezTo>
                    <a:pt x="721" y="210"/>
                    <a:pt x="694" y="209"/>
                    <a:pt x="690" y="218"/>
                  </a:cubicBezTo>
                  <a:cubicBezTo>
                    <a:pt x="689" y="219"/>
                    <a:pt x="695" y="219"/>
                    <a:pt x="696" y="220"/>
                  </a:cubicBezTo>
                  <a:cubicBezTo>
                    <a:pt x="707" y="224"/>
                    <a:pt x="694" y="216"/>
                    <a:pt x="701" y="214"/>
                  </a:cubicBezTo>
                  <a:cubicBezTo>
                    <a:pt x="702" y="214"/>
                    <a:pt x="710" y="216"/>
                    <a:pt x="710" y="215"/>
                  </a:cubicBezTo>
                  <a:cubicBezTo>
                    <a:pt x="711" y="212"/>
                    <a:pt x="730" y="214"/>
                    <a:pt x="731" y="216"/>
                  </a:cubicBezTo>
                  <a:cubicBezTo>
                    <a:pt x="733" y="218"/>
                    <a:pt x="727" y="221"/>
                    <a:pt x="727" y="222"/>
                  </a:cubicBezTo>
                  <a:cubicBezTo>
                    <a:pt x="729" y="225"/>
                    <a:pt x="735" y="219"/>
                    <a:pt x="734" y="216"/>
                  </a:cubicBezTo>
                  <a:cubicBezTo>
                    <a:pt x="730" y="205"/>
                    <a:pt x="745" y="197"/>
                    <a:pt x="752" y="207"/>
                  </a:cubicBezTo>
                  <a:cubicBezTo>
                    <a:pt x="755" y="211"/>
                    <a:pt x="738" y="217"/>
                    <a:pt x="738" y="219"/>
                  </a:cubicBezTo>
                  <a:cubicBezTo>
                    <a:pt x="738" y="220"/>
                    <a:pt x="769" y="208"/>
                    <a:pt x="770" y="204"/>
                  </a:cubicBezTo>
                  <a:cubicBezTo>
                    <a:pt x="771" y="202"/>
                    <a:pt x="763" y="198"/>
                    <a:pt x="761" y="199"/>
                  </a:cubicBezTo>
                  <a:cubicBezTo>
                    <a:pt x="760" y="200"/>
                    <a:pt x="763" y="201"/>
                    <a:pt x="763" y="201"/>
                  </a:cubicBezTo>
                  <a:cubicBezTo>
                    <a:pt x="768" y="204"/>
                    <a:pt x="761" y="207"/>
                    <a:pt x="757" y="205"/>
                  </a:cubicBezTo>
                  <a:cubicBezTo>
                    <a:pt x="752" y="202"/>
                    <a:pt x="747" y="194"/>
                    <a:pt x="749" y="192"/>
                  </a:cubicBezTo>
                  <a:cubicBezTo>
                    <a:pt x="758" y="186"/>
                    <a:pt x="787" y="209"/>
                    <a:pt x="795" y="197"/>
                  </a:cubicBezTo>
                  <a:cubicBezTo>
                    <a:pt x="796" y="195"/>
                    <a:pt x="792" y="196"/>
                    <a:pt x="791" y="196"/>
                  </a:cubicBezTo>
                  <a:cubicBezTo>
                    <a:pt x="785" y="196"/>
                    <a:pt x="795" y="194"/>
                    <a:pt x="797" y="193"/>
                  </a:cubicBezTo>
                  <a:cubicBezTo>
                    <a:pt x="799" y="191"/>
                    <a:pt x="777" y="198"/>
                    <a:pt x="788" y="190"/>
                  </a:cubicBezTo>
                  <a:cubicBezTo>
                    <a:pt x="792" y="188"/>
                    <a:pt x="790" y="185"/>
                    <a:pt x="786" y="185"/>
                  </a:cubicBezTo>
                  <a:cubicBezTo>
                    <a:pt x="783" y="185"/>
                    <a:pt x="766" y="181"/>
                    <a:pt x="767" y="177"/>
                  </a:cubicBezTo>
                  <a:cubicBezTo>
                    <a:pt x="771" y="163"/>
                    <a:pt x="774" y="172"/>
                    <a:pt x="782" y="170"/>
                  </a:cubicBezTo>
                  <a:cubicBezTo>
                    <a:pt x="783" y="170"/>
                    <a:pt x="781" y="159"/>
                    <a:pt x="785" y="159"/>
                  </a:cubicBezTo>
                  <a:cubicBezTo>
                    <a:pt x="788" y="159"/>
                    <a:pt x="799" y="170"/>
                    <a:pt x="802" y="168"/>
                  </a:cubicBezTo>
                  <a:cubicBezTo>
                    <a:pt x="806" y="165"/>
                    <a:pt x="807" y="154"/>
                    <a:pt x="803" y="155"/>
                  </a:cubicBezTo>
                  <a:cubicBezTo>
                    <a:pt x="802" y="156"/>
                    <a:pt x="797" y="161"/>
                    <a:pt x="796" y="159"/>
                  </a:cubicBezTo>
                  <a:cubicBezTo>
                    <a:pt x="789" y="149"/>
                    <a:pt x="809" y="147"/>
                    <a:pt x="812" y="144"/>
                  </a:cubicBezTo>
                  <a:cubicBezTo>
                    <a:pt x="814" y="141"/>
                    <a:pt x="822" y="136"/>
                    <a:pt x="818" y="137"/>
                  </a:cubicBezTo>
                  <a:cubicBezTo>
                    <a:pt x="815" y="137"/>
                    <a:pt x="795" y="143"/>
                    <a:pt x="796" y="138"/>
                  </a:cubicBezTo>
                  <a:cubicBezTo>
                    <a:pt x="796" y="141"/>
                    <a:pt x="830" y="109"/>
                    <a:pt x="832" y="108"/>
                  </a:cubicBezTo>
                  <a:cubicBezTo>
                    <a:pt x="833" y="107"/>
                    <a:pt x="836" y="107"/>
                    <a:pt x="835" y="105"/>
                  </a:cubicBezTo>
                  <a:cubicBezTo>
                    <a:pt x="827" y="93"/>
                    <a:pt x="817" y="128"/>
                    <a:pt x="792" y="133"/>
                  </a:cubicBezTo>
                  <a:cubicBezTo>
                    <a:pt x="783" y="134"/>
                    <a:pt x="820" y="121"/>
                    <a:pt x="813" y="116"/>
                  </a:cubicBezTo>
                  <a:cubicBezTo>
                    <a:pt x="809" y="112"/>
                    <a:pt x="802" y="120"/>
                    <a:pt x="799" y="121"/>
                  </a:cubicBezTo>
                  <a:cubicBezTo>
                    <a:pt x="782" y="126"/>
                    <a:pt x="776" y="114"/>
                    <a:pt x="774" y="133"/>
                  </a:cubicBezTo>
                  <a:cubicBezTo>
                    <a:pt x="774" y="135"/>
                    <a:pt x="779" y="128"/>
                    <a:pt x="780" y="127"/>
                  </a:cubicBezTo>
                  <a:cubicBezTo>
                    <a:pt x="787" y="121"/>
                    <a:pt x="777" y="133"/>
                    <a:pt x="786" y="126"/>
                  </a:cubicBezTo>
                  <a:cubicBezTo>
                    <a:pt x="787" y="125"/>
                    <a:pt x="790" y="125"/>
                    <a:pt x="790" y="126"/>
                  </a:cubicBezTo>
                  <a:cubicBezTo>
                    <a:pt x="792" y="129"/>
                    <a:pt x="779" y="142"/>
                    <a:pt x="775" y="138"/>
                  </a:cubicBezTo>
                  <a:cubicBezTo>
                    <a:pt x="773" y="136"/>
                    <a:pt x="772" y="144"/>
                    <a:pt x="769" y="141"/>
                  </a:cubicBezTo>
                  <a:cubicBezTo>
                    <a:pt x="767" y="139"/>
                    <a:pt x="772" y="134"/>
                    <a:pt x="771" y="132"/>
                  </a:cubicBezTo>
                  <a:cubicBezTo>
                    <a:pt x="770" y="131"/>
                    <a:pt x="770" y="131"/>
                    <a:pt x="771" y="129"/>
                  </a:cubicBezTo>
                  <a:cubicBezTo>
                    <a:pt x="777" y="120"/>
                    <a:pt x="769" y="128"/>
                    <a:pt x="764" y="129"/>
                  </a:cubicBezTo>
                  <a:cubicBezTo>
                    <a:pt x="763" y="130"/>
                    <a:pt x="759" y="130"/>
                    <a:pt x="759" y="132"/>
                  </a:cubicBezTo>
                  <a:cubicBezTo>
                    <a:pt x="757" y="139"/>
                    <a:pt x="766" y="152"/>
                    <a:pt x="776" y="142"/>
                  </a:cubicBezTo>
                  <a:cubicBezTo>
                    <a:pt x="779" y="139"/>
                    <a:pt x="787" y="140"/>
                    <a:pt x="786" y="143"/>
                  </a:cubicBezTo>
                  <a:cubicBezTo>
                    <a:pt x="784" y="151"/>
                    <a:pt x="771" y="151"/>
                    <a:pt x="756" y="146"/>
                  </a:cubicBezTo>
                  <a:cubicBezTo>
                    <a:pt x="754" y="145"/>
                    <a:pt x="751" y="146"/>
                    <a:pt x="748" y="147"/>
                  </a:cubicBezTo>
                  <a:cubicBezTo>
                    <a:pt x="719" y="162"/>
                    <a:pt x="715" y="185"/>
                    <a:pt x="677" y="188"/>
                  </a:cubicBezTo>
                  <a:cubicBezTo>
                    <a:pt x="677" y="189"/>
                    <a:pt x="677" y="189"/>
                    <a:pt x="677" y="189"/>
                  </a:cubicBezTo>
                  <a:cubicBezTo>
                    <a:pt x="670" y="191"/>
                    <a:pt x="695" y="203"/>
                    <a:pt x="697" y="196"/>
                  </a:cubicBezTo>
                  <a:close/>
                  <a:moveTo>
                    <a:pt x="593" y="321"/>
                  </a:moveTo>
                  <a:cubicBezTo>
                    <a:pt x="594" y="325"/>
                    <a:pt x="601" y="320"/>
                    <a:pt x="603" y="320"/>
                  </a:cubicBezTo>
                  <a:cubicBezTo>
                    <a:pt x="611" y="318"/>
                    <a:pt x="615" y="315"/>
                    <a:pt x="620" y="315"/>
                  </a:cubicBezTo>
                  <a:cubicBezTo>
                    <a:pt x="640" y="317"/>
                    <a:pt x="649" y="346"/>
                    <a:pt x="669" y="337"/>
                  </a:cubicBezTo>
                  <a:cubicBezTo>
                    <a:pt x="674" y="334"/>
                    <a:pt x="653" y="326"/>
                    <a:pt x="657" y="323"/>
                  </a:cubicBezTo>
                  <a:cubicBezTo>
                    <a:pt x="667" y="315"/>
                    <a:pt x="699" y="320"/>
                    <a:pt x="702" y="331"/>
                  </a:cubicBezTo>
                  <a:cubicBezTo>
                    <a:pt x="704" y="335"/>
                    <a:pt x="700" y="338"/>
                    <a:pt x="702" y="342"/>
                  </a:cubicBezTo>
                  <a:cubicBezTo>
                    <a:pt x="704" y="345"/>
                    <a:pt x="689" y="348"/>
                    <a:pt x="691" y="349"/>
                  </a:cubicBezTo>
                  <a:cubicBezTo>
                    <a:pt x="700" y="353"/>
                    <a:pt x="733" y="367"/>
                    <a:pt x="742" y="358"/>
                  </a:cubicBezTo>
                  <a:cubicBezTo>
                    <a:pt x="743" y="358"/>
                    <a:pt x="737" y="356"/>
                    <a:pt x="737" y="353"/>
                  </a:cubicBezTo>
                  <a:cubicBezTo>
                    <a:pt x="738" y="348"/>
                    <a:pt x="748" y="338"/>
                    <a:pt x="751" y="335"/>
                  </a:cubicBezTo>
                  <a:cubicBezTo>
                    <a:pt x="752" y="333"/>
                    <a:pt x="789" y="339"/>
                    <a:pt x="766" y="332"/>
                  </a:cubicBezTo>
                  <a:cubicBezTo>
                    <a:pt x="766" y="332"/>
                    <a:pt x="766" y="332"/>
                    <a:pt x="766" y="332"/>
                  </a:cubicBezTo>
                  <a:cubicBezTo>
                    <a:pt x="776" y="324"/>
                    <a:pt x="763" y="316"/>
                    <a:pt x="759" y="320"/>
                  </a:cubicBezTo>
                  <a:cubicBezTo>
                    <a:pt x="758" y="321"/>
                    <a:pt x="769" y="323"/>
                    <a:pt x="768" y="327"/>
                  </a:cubicBezTo>
                  <a:cubicBezTo>
                    <a:pt x="766" y="330"/>
                    <a:pt x="741" y="335"/>
                    <a:pt x="741" y="330"/>
                  </a:cubicBezTo>
                  <a:cubicBezTo>
                    <a:pt x="740" y="325"/>
                    <a:pt x="747" y="323"/>
                    <a:pt x="747" y="319"/>
                  </a:cubicBezTo>
                  <a:cubicBezTo>
                    <a:pt x="746" y="311"/>
                    <a:pt x="740" y="323"/>
                    <a:pt x="739" y="323"/>
                  </a:cubicBezTo>
                  <a:cubicBezTo>
                    <a:pt x="733" y="324"/>
                    <a:pt x="734" y="318"/>
                    <a:pt x="725" y="321"/>
                  </a:cubicBezTo>
                  <a:cubicBezTo>
                    <a:pt x="721" y="323"/>
                    <a:pt x="737" y="330"/>
                    <a:pt x="737" y="331"/>
                  </a:cubicBezTo>
                  <a:cubicBezTo>
                    <a:pt x="737" y="338"/>
                    <a:pt x="723" y="331"/>
                    <a:pt x="716" y="333"/>
                  </a:cubicBezTo>
                  <a:cubicBezTo>
                    <a:pt x="703" y="336"/>
                    <a:pt x="721" y="293"/>
                    <a:pt x="708" y="315"/>
                  </a:cubicBezTo>
                  <a:cubicBezTo>
                    <a:pt x="705" y="320"/>
                    <a:pt x="703" y="319"/>
                    <a:pt x="698" y="321"/>
                  </a:cubicBezTo>
                  <a:cubicBezTo>
                    <a:pt x="690" y="325"/>
                    <a:pt x="679" y="308"/>
                    <a:pt x="672" y="307"/>
                  </a:cubicBezTo>
                  <a:cubicBezTo>
                    <a:pt x="669" y="306"/>
                    <a:pt x="672" y="310"/>
                    <a:pt x="672" y="311"/>
                  </a:cubicBezTo>
                  <a:cubicBezTo>
                    <a:pt x="677" y="315"/>
                    <a:pt x="659" y="321"/>
                    <a:pt x="656" y="320"/>
                  </a:cubicBezTo>
                  <a:cubicBezTo>
                    <a:pt x="652" y="320"/>
                    <a:pt x="652" y="313"/>
                    <a:pt x="649" y="310"/>
                  </a:cubicBezTo>
                  <a:cubicBezTo>
                    <a:pt x="648" y="309"/>
                    <a:pt x="643" y="314"/>
                    <a:pt x="641" y="313"/>
                  </a:cubicBezTo>
                  <a:cubicBezTo>
                    <a:pt x="633" y="311"/>
                    <a:pt x="624" y="301"/>
                    <a:pt x="610" y="306"/>
                  </a:cubicBezTo>
                  <a:cubicBezTo>
                    <a:pt x="605" y="307"/>
                    <a:pt x="617" y="308"/>
                    <a:pt x="614" y="310"/>
                  </a:cubicBezTo>
                  <a:cubicBezTo>
                    <a:pt x="609" y="312"/>
                    <a:pt x="600" y="303"/>
                    <a:pt x="599" y="308"/>
                  </a:cubicBezTo>
                  <a:cubicBezTo>
                    <a:pt x="599" y="313"/>
                    <a:pt x="609" y="313"/>
                    <a:pt x="609" y="313"/>
                  </a:cubicBezTo>
                  <a:cubicBezTo>
                    <a:pt x="606" y="321"/>
                    <a:pt x="592" y="308"/>
                    <a:pt x="593" y="321"/>
                  </a:cubicBezTo>
                  <a:close/>
                  <a:moveTo>
                    <a:pt x="561" y="1014"/>
                  </a:moveTo>
                  <a:cubicBezTo>
                    <a:pt x="563" y="1019"/>
                    <a:pt x="583" y="1020"/>
                    <a:pt x="582" y="1013"/>
                  </a:cubicBezTo>
                  <a:cubicBezTo>
                    <a:pt x="580" y="1000"/>
                    <a:pt x="584" y="1012"/>
                    <a:pt x="582" y="996"/>
                  </a:cubicBezTo>
                  <a:cubicBezTo>
                    <a:pt x="582" y="995"/>
                    <a:pt x="582" y="995"/>
                    <a:pt x="582" y="995"/>
                  </a:cubicBezTo>
                  <a:cubicBezTo>
                    <a:pt x="580" y="993"/>
                    <a:pt x="576" y="986"/>
                    <a:pt x="576" y="989"/>
                  </a:cubicBezTo>
                  <a:cubicBezTo>
                    <a:pt x="576" y="991"/>
                    <a:pt x="578" y="991"/>
                    <a:pt x="577" y="994"/>
                  </a:cubicBezTo>
                  <a:cubicBezTo>
                    <a:pt x="573" y="1011"/>
                    <a:pt x="570" y="990"/>
                    <a:pt x="562" y="1001"/>
                  </a:cubicBezTo>
                  <a:cubicBezTo>
                    <a:pt x="560" y="1004"/>
                    <a:pt x="570" y="1015"/>
                    <a:pt x="567" y="1012"/>
                  </a:cubicBezTo>
                  <a:cubicBezTo>
                    <a:pt x="565" y="1010"/>
                    <a:pt x="559" y="1010"/>
                    <a:pt x="561" y="1014"/>
                  </a:cubicBezTo>
                  <a:close/>
                  <a:moveTo>
                    <a:pt x="557" y="1055"/>
                  </a:moveTo>
                  <a:cubicBezTo>
                    <a:pt x="560" y="1055"/>
                    <a:pt x="569" y="1064"/>
                    <a:pt x="570" y="1063"/>
                  </a:cubicBezTo>
                  <a:cubicBezTo>
                    <a:pt x="574" y="1060"/>
                    <a:pt x="558" y="1055"/>
                    <a:pt x="562" y="1052"/>
                  </a:cubicBezTo>
                  <a:cubicBezTo>
                    <a:pt x="565" y="1050"/>
                    <a:pt x="587" y="1077"/>
                    <a:pt x="583" y="1062"/>
                  </a:cubicBezTo>
                  <a:cubicBezTo>
                    <a:pt x="582" y="1062"/>
                    <a:pt x="582" y="1062"/>
                    <a:pt x="582" y="1062"/>
                  </a:cubicBezTo>
                  <a:cubicBezTo>
                    <a:pt x="572" y="1055"/>
                    <a:pt x="562" y="1047"/>
                    <a:pt x="557" y="1039"/>
                  </a:cubicBezTo>
                  <a:cubicBezTo>
                    <a:pt x="556" y="1038"/>
                    <a:pt x="552" y="1042"/>
                    <a:pt x="551" y="1042"/>
                  </a:cubicBezTo>
                  <a:cubicBezTo>
                    <a:pt x="540" y="1043"/>
                    <a:pt x="547" y="1054"/>
                    <a:pt x="557" y="1055"/>
                  </a:cubicBezTo>
                  <a:close/>
                  <a:moveTo>
                    <a:pt x="515" y="1015"/>
                  </a:moveTo>
                  <a:cubicBezTo>
                    <a:pt x="519" y="1018"/>
                    <a:pt x="518" y="1019"/>
                    <a:pt x="520" y="1023"/>
                  </a:cubicBezTo>
                  <a:cubicBezTo>
                    <a:pt x="520" y="1024"/>
                    <a:pt x="521" y="1025"/>
                    <a:pt x="521" y="1026"/>
                  </a:cubicBezTo>
                  <a:cubicBezTo>
                    <a:pt x="522" y="1034"/>
                    <a:pt x="530" y="1039"/>
                    <a:pt x="534" y="1045"/>
                  </a:cubicBezTo>
                  <a:cubicBezTo>
                    <a:pt x="535" y="1046"/>
                    <a:pt x="535" y="1046"/>
                    <a:pt x="535" y="1046"/>
                  </a:cubicBezTo>
                  <a:cubicBezTo>
                    <a:pt x="553" y="1053"/>
                    <a:pt x="522" y="1026"/>
                    <a:pt x="523" y="1023"/>
                  </a:cubicBezTo>
                  <a:cubicBezTo>
                    <a:pt x="525" y="1014"/>
                    <a:pt x="512" y="1012"/>
                    <a:pt x="515" y="1015"/>
                  </a:cubicBezTo>
                  <a:close/>
                  <a:moveTo>
                    <a:pt x="500" y="1048"/>
                  </a:moveTo>
                  <a:cubicBezTo>
                    <a:pt x="501" y="1051"/>
                    <a:pt x="505" y="1074"/>
                    <a:pt x="504" y="1076"/>
                  </a:cubicBezTo>
                  <a:cubicBezTo>
                    <a:pt x="502" y="1082"/>
                    <a:pt x="495" y="1068"/>
                    <a:pt x="494" y="1070"/>
                  </a:cubicBezTo>
                  <a:cubicBezTo>
                    <a:pt x="493" y="1074"/>
                    <a:pt x="511" y="1094"/>
                    <a:pt x="512" y="1101"/>
                  </a:cubicBezTo>
                  <a:cubicBezTo>
                    <a:pt x="514" y="1110"/>
                    <a:pt x="493" y="1097"/>
                    <a:pt x="506" y="1111"/>
                  </a:cubicBezTo>
                  <a:cubicBezTo>
                    <a:pt x="507" y="1111"/>
                    <a:pt x="507" y="1111"/>
                    <a:pt x="507" y="1111"/>
                  </a:cubicBezTo>
                  <a:cubicBezTo>
                    <a:pt x="507" y="1112"/>
                    <a:pt x="515" y="1115"/>
                    <a:pt x="514" y="1107"/>
                  </a:cubicBezTo>
                  <a:cubicBezTo>
                    <a:pt x="513" y="1103"/>
                    <a:pt x="525" y="1099"/>
                    <a:pt x="524" y="1098"/>
                  </a:cubicBezTo>
                  <a:cubicBezTo>
                    <a:pt x="519" y="1094"/>
                    <a:pt x="518" y="1099"/>
                    <a:pt x="512" y="1094"/>
                  </a:cubicBezTo>
                  <a:cubicBezTo>
                    <a:pt x="511" y="1093"/>
                    <a:pt x="508" y="1093"/>
                    <a:pt x="511" y="1091"/>
                  </a:cubicBezTo>
                  <a:cubicBezTo>
                    <a:pt x="514" y="1089"/>
                    <a:pt x="508" y="1085"/>
                    <a:pt x="511" y="1085"/>
                  </a:cubicBezTo>
                  <a:cubicBezTo>
                    <a:pt x="532" y="1083"/>
                    <a:pt x="506" y="1081"/>
                    <a:pt x="511" y="1077"/>
                  </a:cubicBezTo>
                  <a:cubicBezTo>
                    <a:pt x="511" y="1076"/>
                    <a:pt x="515" y="1078"/>
                    <a:pt x="515" y="1077"/>
                  </a:cubicBezTo>
                  <a:cubicBezTo>
                    <a:pt x="515" y="1076"/>
                    <a:pt x="513" y="1074"/>
                    <a:pt x="513" y="1073"/>
                  </a:cubicBezTo>
                  <a:cubicBezTo>
                    <a:pt x="512" y="1072"/>
                    <a:pt x="507" y="1039"/>
                    <a:pt x="495" y="1039"/>
                  </a:cubicBezTo>
                  <a:cubicBezTo>
                    <a:pt x="491" y="1039"/>
                    <a:pt x="500" y="1048"/>
                    <a:pt x="500" y="1048"/>
                  </a:cubicBezTo>
                  <a:close/>
                  <a:moveTo>
                    <a:pt x="539" y="1131"/>
                  </a:moveTo>
                  <a:cubicBezTo>
                    <a:pt x="539" y="1131"/>
                    <a:pt x="539" y="1131"/>
                    <a:pt x="539" y="1131"/>
                  </a:cubicBezTo>
                  <a:cubicBezTo>
                    <a:pt x="540" y="1129"/>
                    <a:pt x="529" y="1123"/>
                    <a:pt x="528" y="1124"/>
                  </a:cubicBezTo>
                  <a:cubicBezTo>
                    <a:pt x="528" y="1124"/>
                    <a:pt x="528" y="1124"/>
                    <a:pt x="528" y="1125"/>
                  </a:cubicBezTo>
                  <a:cubicBezTo>
                    <a:pt x="527" y="1143"/>
                    <a:pt x="513" y="1129"/>
                    <a:pt x="501" y="1140"/>
                  </a:cubicBezTo>
                  <a:cubicBezTo>
                    <a:pt x="499" y="1142"/>
                    <a:pt x="494" y="1134"/>
                    <a:pt x="495" y="1140"/>
                  </a:cubicBezTo>
                  <a:cubicBezTo>
                    <a:pt x="497" y="1152"/>
                    <a:pt x="530" y="1126"/>
                    <a:pt x="537" y="1142"/>
                  </a:cubicBezTo>
                  <a:cubicBezTo>
                    <a:pt x="543" y="1156"/>
                    <a:pt x="520" y="1137"/>
                    <a:pt x="518" y="1142"/>
                  </a:cubicBezTo>
                  <a:cubicBezTo>
                    <a:pt x="513" y="1149"/>
                    <a:pt x="540" y="1153"/>
                    <a:pt x="541" y="1153"/>
                  </a:cubicBezTo>
                  <a:cubicBezTo>
                    <a:pt x="543" y="1153"/>
                    <a:pt x="538" y="1132"/>
                    <a:pt x="539" y="1131"/>
                  </a:cubicBezTo>
                  <a:close/>
                  <a:moveTo>
                    <a:pt x="486" y="1240"/>
                  </a:moveTo>
                  <a:cubicBezTo>
                    <a:pt x="490" y="1243"/>
                    <a:pt x="495" y="1237"/>
                    <a:pt x="502" y="1243"/>
                  </a:cubicBezTo>
                  <a:cubicBezTo>
                    <a:pt x="503" y="1245"/>
                    <a:pt x="501" y="1255"/>
                    <a:pt x="505" y="1254"/>
                  </a:cubicBezTo>
                  <a:cubicBezTo>
                    <a:pt x="506" y="1254"/>
                    <a:pt x="506" y="1248"/>
                    <a:pt x="506" y="1247"/>
                  </a:cubicBezTo>
                  <a:cubicBezTo>
                    <a:pt x="510" y="1244"/>
                    <a:pt x="503" y="1242"/>
                    <a:pt x="501" y="1240"/>
                  </a:cubicBezTo>
                  <a:cubicBezTo>
                    <a:pt x="500" y="1240"/>
                    <a:pt x="500" y="1240"/>
                    <a:pt x="500" y="1240"/>
                  </a:cubicBezTo>
                  <a:cubicBezTo>
                    <a:pt x="487" y="1235"/>
                    <a:pt x="503" y="1228"/>
                    <a:pt x="505" y="1231"/>
                  </a:cubicBezTo>
                  <a:cubicBezTo>
                    <a:pt x="505" y="1231"/>
                    <a:pt x="504" y="1235"/>
                    <a:pt x="506" y="1233"/>
                  </a:cubicBezTo>
                  <a:cubicBezTo>
                    <a:pt x="511" y="1230"/>
                    <a:pt x="509" y="1220"/>
                    <a:pt x="510" y="1215"/>
                  </a:cubicBezTo>
                  <a:cubicBezTo>
                    <a:pt x="511" y="1213"/>
                    <a:pt x="515" y="1211"/>
                    <a:pt x="514" y="1209"/>
                  </a:cubicBezTo>
                  <a:cubicBezTo>
                    <a:pt x="513" y="1209"/>
                    <a:pt x="513" y="1208"/>
                    <a:pt x="513" y="1207"/>
                  </a:cubicBezTo>
                  <a:cubicBezTo>
                    <a:pt x="512" y="1207"/>
                    <a:pt x="510" y="1207"/>
                    <a:pt x="510" y="1207"/>
                  </a:cubicBezTo>
                  <a:cubicBezTo>
                    <a:pt x="507" y="1207"/>
                    <a:pt x="507" y="1200"/>
                    <a:pt x="503" y="1201"/>
                  </a:cubicBezTo>
                  <a:cubicBezTo>
                    <a:pt x="502" y="1201"/>
                    <a:pt x="505" y="1209"/>
                    <a:pt x="506" y="1209"/>
                  </a:cubicBezTo>
                  <a:cubicBezTo>
                    <a:pt x="508" y="1210"/>
                    <a:pt x="508" y="1218"/>
                    <a:pt x="506" y="1224"/>
                  </a:cubicBezTo>
                  <a:cubicBezTo>
                    <a:pt x="504" y="1229"/>
                    <a:pt x="492" y="1227"/>
                    <a:pt x="491" y="1234"/>
                  </a:cubicBezTo>
                  <a:cubicBezTo>
                    <a:pt x="491" y="1235"/>
                    <a:pt x="486" y="1240"/>
                    <a:pt x="486" y="1240"/>
                  </a:cubicBezTo>
                  <a:close/>
                  <a:moveTo>
                    <a:pt x="475" y="1124"/>
                  </a:moveTo>
                  <a:cubicBezTo>
                    <a:pt x="477" y="1128"/>
                    <a:pt x="467" y="1145"/>
                    <a:pt x="475" y="1142"/>
                  </a:cubicBezTo>
                  <a:cubicBezTo>
                    <a:pt x="486" y="1138"/>
                    <a:pt x="472" y="1118"/>
                    <a:pt x="471" y="1113"/>
                  </a:cubicBezTo>
                  <a:cubicBezTo>
                    <a:pt x="471" y="1112"/>
                    <a:pt x="471" y="1112"/>
                    <a:pt x="471" y="1112"/>
                  </a:cubicBezTo>
                  <a:cubicBezTo>
                    <a:pt x="467" y="1109"/>
                    <a:pt x="463" y="1107"/>
                    <a:pt x="460" y="1110"/>
                  </a:cubicBezTo>
                  <a:cubicBezTo>
                    <a:pt x="457" y="1113"/>
                    <a:pt x="474" y="1122"/>
                    <a:pt x="475" y="1124"/>
                  </a:cubicBezTo>
                  <a:close/>
                  <a:moveTo>
                    <a:pt x="404" y="1122"/>
                  </a:moveTo>
                  <a:cubicBezTo>
                    <a:pt x="404" y="1122"/>
                    <a:pt x="404" y="1122"/>
                    <a:pt x="404" y="1122"/>
                  </a:cubicBezTo>
                  <a:cubicBezTo>
                    <a:pt x="404" y="1122"/>
                    <a:pt x="404" y="1122"/>
                    <a:pt x="404" y="1122"/>
                  </a:cubicBezTo>
                  <a:close/>
                  <a:moveTo>
                    <a:pt x="391" y="1183"/>
                  </a:moveTo>
                  <a:cubicBezTo>
                    <a:pt x="402" y="1187"/>
                    <a:pt x="402" y="1171"/>
                    <a:pt x="405" y="1167"/>
                  </a:cubicBezTo>
                  <a:cubicBezTo>
                    <a:pt x="408" y="1164"/>
                    <a:pt x="419" y="1171"/>
                    <a:pt x="422" y="1167"/>
                  </a:cubicBezTo>
                  <a:cubicBezTo>
                    <a:pt x="423" y="1166"/>
                    <a:pt x="403" y="1135"/>
                    <a:pt x="404" y="1126"/>
                  </a:cubicBezTo>
                  <a:cubicBezTo>
                    <a:pt x="404" y="1125"/>
                    <a:pt x="404" y="1125"/>
                    <a:pt x="404" y="1125"/>
                  </a:cubicBezTo>
                  <a:cubicBezTo>
                    <a:pt x="405" y="1121"/>
                    <a:pt x="402" y="1119"/>
                    <a:pt x="401" y="1124"/>
                  </a:cubicBezTo>
                  <a:cubicBezTo>
                    <a:pt x="399" y="1142"/>
                    <a:pt x="417" y="1155"/>
                    <a:pt x="414" y="1163"/>
                  </a:cubicBezTo>
                  <a:cubicBezTo>
                    <a:pt x="412" y="1167"/>
                    <a:pt x="407" y="1162"/>
                    <a:pt x="406" y="1161"/>
                  </a:cubicBezTo>
                  <a:cubicBezTo>
                    <a:pt x="402" y="1159"/>
                    <a:pt x="406" y="1164"/>
                    <a:pt x="404" y="1165"/>
                  </a:cubicBezTo>
                  <a:cubicBezTo>
                    <a:pt x="402" y="1167"/>
                    <a:pt x="401" y="1169"/>
                    <a:pt x="400" y="1170"/>
                  </a:cubicBezTo>
                  <a:cubicBezTo>
                    <a:pt x="397" y="1172"/>
                    <a:pt x="392" y="1163"/>
                    <a:pt x="392" y="1168"/>
                  </a:cubicBezTo>
                  <a:cubicBezTo>
                    <a:pt x="391" y="1171"/>
                    <a:pt x="397" y="1171"/>
                    <a:pt x="398" y="1173"/>
                  </a:cubicBezTo>
                  <a:cubicBezTo>
                    <a:pt x="399" y="1177"/>
                    <a:pt x="390" y="1183"/>
                    <a:pt x="391" y="1183"/>
                  </a:cubicBezTo>
                  <a:close/>
                  <a:moveTo>
                    <a:pt x="369" y="1088"/>
                  </a:moveTo>
                  <a:cubicBezTo>
                    <a:pt x="370" y="1089"/>
                    <a:pt x="374" y="1090"/>
                    <a:pt x="374" y="1087"/>
                  </a:cubicBezTo>
                  <a:cubicBezTo>
                    <a:pt x="375" y="1078"/>
                    <a:pt x="383" y="1080"/>
                    <a:pt x="382" y="1068"/>
                  </a:cubicBezTo>
                  <a:cubicBezTo>
                    <a:pt x="381" y="1062"/>
                    <a:pt x="374" y="1062"/>
                    <a:pt x="371" y="1058"/>
                  </a:cubicBezTo>
                  <a:cubicBezTo>
                    <a:pt x="371" y="1058"/>
                    <a:pt x="371" y="1058"/>
                    <a:pt x="371" y="1058"/>
                  </a:cubicBezTo>
                  <a:cubicBezTo>
                    <a:pt x="370" y="1057"/>
                    <a:pt x="360" y="1075"/>
                    <a:pt x="369" y="1088"/>
                  </a:cubicBezTo>
                  <a:close/>
                  <a:moveTo>
                    <a:pt x="329" y="1285"/>
                  </a:moveTo>
                  <a:cubicBezTo>
                    <a:pt x="329" y="1288"/>
                    <a:pt x="343" y="1283"/>
                    <a:pt x="339" y="1282"/>
                  </a:cubicBezTo>
                  <a:cubicBezTo>
                    <a:pt x="333" y="1279"/>
                    <a:pt x="327" y="1274"/>
                    <a:pt x="316" y="1268"/>
                  </a:cubicBezTo>
                  <a:cubicBezTo>
                    <a:pt x="314" y="1267"/>
                    <a:pt x="314" y="1267"/>
                    <a:pt x="314" y="1267"/>
                  </a:cubicBezTo>
                  <a:cubicBezTo>
                    <a:pt x="299" y="1263"/>
                    <a:pt x="330" y="1277"/>
                    <a:pt x="329" y="1285"/>
                  </a:cubicBezTo>
                  <a:close/>
                  <a:moveTo>
                    <a:pt x="344" y="1320"/>
                  </a:moveTo>
                  <a:cubicBezTo>
                    <a:pt x="344" y="1320"/>
                    <a:pt x="344" y="1320"/>
                    <a:pt x="344" y="1320"/>
                  </a:cubicBezTo>
                  <a:cubicBezTo>
                    <a:pt x="345" y="1320"/>
                    <a:pt x="349" y="1321"/>
                    <a:pt x="349" y="1320"/>
                  </a:cubicBezTo>
                  <a:cubicBezTo>
                    <a:pt x="350" y="1318"/>
                    <a:pt x="347" y="1319"/>
                    <a:pt x="346" y="1319"/>
                  </a:cubicBezTo>
                  <a:cubicBezTo>
                    <a:pt x="319" y="1323"/>
                    <a:pt x="312" y="1329"/>
                    <a:pt x="287" y="1344"/>
                  </a:cubicBezTo>
                  <a:cubicBezTo>
                    <a:pt x="282" y="1347"/>
                    <a:pt x="278" y="1351"/>
                    <a:pt x="277" y="1356"/>
                  </a:cubicBezTo>
                  <a:cubicBezTo>
                    <a:pt x="277" y="1356"/>
                    <a:pt x="280" y="1357"/>
                    <a:pt x="280" y="1357"/>
                  </a:cubicBezTo>
                  <a:cubicBezTo>
                    <a:pt x="286" y="1360"/>
                    <a:pt x="282" y="1353"/>
                    <a:pt x="283" y="1351"/>
                  </a:cubicBezTo>
                  <a:cubicBezTo>
                    <a:pt x="289" y="1345"/>
                    <a:pt x="294" y="1340"/>
                    <a:pt x="302" y="1339"/>
                  </a:cubicBezTo>
                  <a:cubicBezTo>
                    <a:pt x="321" y="1334"/>
                    <a:pt x="317" y="1323"/>
                    <a:pt x="337" y="1328"/>
                  </a:cubicBezTo>
                  <a:cubicBezTo>
                    <a:pt x="337" y="1328"/>
                    <a:pt x="338" y="1328"/>
                    <a:pt x="338" y="1328"/>
                  </a:cubicBezTo>
                  <a:cubicBezTo>
                    <a:pt x="341" y="1326"/>
                    <a:pt x="330" y="1321"/>
                    <a:pt x="344" y="1320"/>
                  </a:cubicBezTo>
                  <a:close/>
                  <a:moveTo>
                    <a:pt x="380" y="1349"/>
                  </a:moveTo>
                  <a:cubicBezTo>
                    <a:pt x="388" y="1334"/>
                    <a:pt x="354" y="1342"/>
                    <a:pt x="359" y="1326"/>
                  </a:cubicBezTo>
                  <a:cubicBezTo>
                    <a:pt x="362" y="1318"/>
                    <a:pt x="392" y="1320"/>
                    <a:pt x="388" y="1298"/>
                  </a:cubicBezTo>
                  <a:cubicBezTo>
                    <a:pt x="388" y="1296"/>
                    <a:pt x="382" y="1303"/>
                    <a:pt x="382" y="1296"/>
                  </a:cubicBezTo>
                  <a:cubicBezTo>
                    <a:pt x="382" y="1295"/>
                    <a:pt x="399" y="1293"/>
                    <a:pt x="398" y="1291"/>
                  </a:cubicBezTo>
                  <a:cubicBezTo>
                    <a:pt x="396" y="1288"/>
                    <a:pt x="383" y="1296"/>
                    <a:pt x="379" y="1291"/>
                  </a:cubicBezTo>
                  <a:cubicBezTo>
                    <a:pt x="377" y="1287"/>
                    <a:pt x="387" y="1285"/>
                    <a:pt x="388" y="1281"/>
                  </a:cubicBezTo>
                  <a:cubicBezTo>
                    <a:pt x="389" y="1277"/>
                    <a:pt x="382" y="1276"/>
                    <a:pt x="380" y="1274"/>
                  </a:cubicBezTo>
                  <a:cubicBezTo>
                    <a:pt x="378" y="1271"/>
                    <a:pt x="400" y="1261"/>
                    <a:pt x="401" y="1260"/>
                  </a:cubicBezTo>
                  <a:cubicBezTo>
                    <a:pt x="416" y="1244"/>
                    <a:pt x="403" y="1259"/>
                    <a:pt x="421" y="1248"/>
                  </a:cubicBezTo>
                  <a:cubicBezTo>
                    <a:pt x="423" y="1247"/>
                    <a:pt x="408" y="1241"/>
                    <a:pt x="410" y="1235"/>
                  </a:cubicBezTo>
                  <a:cubicBezTo>
                    <a:pt x="410" y="1234"/>
                    <a:pt x="428" y="1242"/>
                    <a:pt x="429" y="1242"/>
                  </a:cubicBezTo>
                  <a:cubicBezTo>
                    <a:pt x="446" y="1244"/>
                    <a:pt x="448" y="1235"/>
                    <a:pt x="463" y="1251"/>
                  </a:cubicBezTo>
                  <a:cubicBezTo>
                    <a:pt x="465" y="1252"/>
                    <a:pt x="468" y="1257"/>
                    <a:pt x="470" y="1257"/>
                  </a:cubicBezTo>
                  <a:cubicBezTo>
                    <a:pt x="470" y="1257"/>
                    <a:pt x="462" y="1241"/>
                    <a:pt x="456" y="1240"/>
                  </a:cubicBezTo>
                  <a:cubicBezTo>
                    <a:pt x="456" y="1240"/>
                    <a:pt x="456" y="1240"/>
                    <a:pt x="456" y="1240"/>
                  </a:cubicBezTo>
                  <a:cubicBezTo>
                    <a:pt x="465" y="1232"/>
                    <a:pt x="466" y="1225"/>
                    <a:pt x="466" y="1218"/>
                  </a:cubicBezTo>
                  <a:cubicBezTo>
                    <a:pt x="466" y="1217"/>
                    <a:pt x="477" y="1206"/>
                    <a:pt x="470" y="1208"/>
                  </a:cubicBezTo>
                  <a:cubicBezTo>
                    <a:pt x="468" y="1209"/>
                    <a:pt x="467" y="1215"/>
                    <a:pt x="465" y="1214"/>
                  </a:cubicBezTo>
                  <a:cubicBezTo>
                    <a:pt x="459" y="1212"/>
                    <a:pt x="469" y="1200"/>
                    <a:pt x="466" y="1199"/>
                  </a:cubicBezTo>
                  <a:cubicBezTo>
                    <a:pt x="447" y="1197"/>
                    <a:pt x="465" y="1226"/>
                    <a:pt x="457" y="1231"/>
                  </a:cubicBezTo>
                  <a:cubicBezTo>
                    <a:pt x="456" y="1231"/>
                    <a:pt x="451" y="1223"/>
                    <a:pt x="450" y="1222"/>
                  </a:cubicBezTo>
                  <a:cubicBezTo>
                    <a:pt x="447" y="1219"/>
                    <a:pt x="439" y="1218"/>
                    <a:pt x="436" y="1216"/>
                  </a:cubicBezTo>
                  <a:cubicBezTo>
                    <a:pt x="435" y="1216"/>
                    <a:pt x="429" y="1213"/>
                    <a:pt x="429" y="1215"/>
                  </a:cubicBezTo>
                  <a:cubicBezTo>
                    <a:pt x="430" y="1228"/>
                    <a:pt x="446" y="1219"/>
                    <a:pt x="453" y="1232"/>
                  </a:cubicBezTo>
                  <a:cubicBezTo>
                    <a:pt x="453" y="1233"/>
                    <a:pt x="457" y="1237"/>
                    <a:pt x="456" y="1238"/>
                  </a:cubicBezTo>
                  <a:cubicBezTo>
                    <a:pt x="456" y="1238"/>
                    <a:pt x="454" y="1238"/>
                    <a:pt x="453" y="1238"/>
                  </a:cubicBezTo>
                  <a:cubicBezTo>
                    <a:pt x="440" y="1236"/>
                    <a:pt x="431" y="1240"/>
                    <a:pt x="432" y="1229"/>
                  </a:cubicBezTo>
                  <a:cubicBezTo>
                    <a:pt x="432" y="1227"/>
                    <a:pt x="438" y="1226"/>
                    <a:pt x="435" y="1225"/>
                  </a:cubicBezTo>
                  <a:cubicBezTo>
                    <a:pt x="433" y="1224"/>
                    <a:pt x="430" y="1221"/>
                    <a:pt x="428" y="1222"/>
                  </a:cubicBezTo>
                  <a:cubicBezTo>
                    <a:pt x="424" y="1226"/>
                    <a:pt x="419" y="1243"/>
                    <a:pt x="412" y="1231"/>
                  </a:cubicBezTo>
                  <a:cubicBezTo>
                    <a:pt x="411" y="1229"/>
                    <a:pt x="420" y="1223"/>
                    <a:pt x="418" y="1222"/>
                  </a:cubicBezTo>
                  <a:cubicBezTo>
                    <a:pt x="415" y="1222"/>
                    <a:pt x="406" y="1222"/>
                    <a:pt x="415" y="1221"/>
                  </a:cubicBezTo>
                  <a:cubicBezTo>
                    <a:pt x="416" y="1220"/>
                    <a:pt x="425" y="1217"/>
                    <a:pt x="421" y="1215"/>
                  </a:cubicBezTo>
                  <a:cubicBezTo>
                    <a:pt x="421" y="1214"/>
                    <a:pt x="402" y="1220"/>
                    <a:pt x="401" y="1219"/>
                  </a:cubicBezTo>
                  <a:cubicBezTo>
                    <a:pt x="395" y="1212"/>
                    <a:pt x="413" y="1208"/>
                    <a:pt x="402" y="1205"/>
                  </a:cubicBezTo>
                  <a:cubicBezTo>
                    <a:pt x="392" y="1202"/>
                    <a:pt x="400" y="1220"/>
                    <a:pt x="394" y="1221"/>
                  </a:cubicBezTo>
                  <a:cubicBezTo>
                    <a:pt x="380" y="1225"/>
                    <a:pt x="375" y="1200"/>
                    <a:pt x="370" y="1210"/>
                  </a:cubicBezTo>
                  <a:cubicBezTo>
                    <a:pt x="369" y="1212"/>
                    <a:pt x="374" y="1215"/>
                    <a:pt x="374" y="1217"/>
                  </a:cubicBezTo>
                  <a:cubicBezTo>
                    <a:pt x="372" y="1242"/>
                    <a:pt x="398" y="1207"/>
                    <a:pt x="404" y="1242"/>
                  </a:cubicBezTo>
                  <a:cubicBezTo>
                    <a:pt x="404" y="1243"/>
                    <a:pt x="410" y="1243"/>
                    <a:pt x="410" y="1245"/>
                  </a:cubicBezTo>
                  <a:cubicBezTo>
                    <a:pt x="410" y="1246"/>
                    <a:pt x="407" y="1246"/>
                    <a:pt x="406" y="1246"/>
                  </a:cubicBezTo>
                  <a:cubicBezTo>
                    <a:pt x="389" y="1248"/>
                    <a:pt x="394" y="1260"/>
                    <a:pt x="389" y="1262"/>
                  </a:cubicBezTo>
                  <a:cubicBezTo>
                    <a:pt x="385" y="1264"/>
                    <a:pt x="376" y="1252"/>
                    <a:pt x="372" y="1255"/>
                  </a:cubicBezTo>
                  <a:cubicBezTo>
                    <a:pt x="370" y="1256"/>
                    <a:pt x="385" y="1263"/>
                    <a:pt x="383" y="1265"/>
                  </a:cubicBezTo>
                  <a:cubicBezTo>
                    <a:pt x="374" y="1269"/>
                    <a:pt x="375" y="1270"/>
                    <a:pt x="376" y="1280"/>
                  </a:cubicBezTo>
                  <a:cubicBezTo>
                    <a:pt x="377" y="1285"/>
                    <a:pt x="372" y="1285"/>
                    <a:pt x="367" y="1283"/>
                  </a:cubicBezTo>
                  <a:cubicBezTo>
                    <a:pt x="365" y="1282"/>
                    <a:pt x="361" y="1284"/>
                    <a:pt x="366" y="1285"/>
                  </a:cubicBezTo>
                  <a:cubicBezTo>
                    <a:pt x="371" y="1286"/>
                    <a:pt x="374" y="1292"/>
                    <a:pt x="373" y="1293"/>
                  </a:cubicBezTo>
                  <a:cubicBezTo>
                    <a:pt x="372" y="1296"/>
                    <a:pt x="365" y="1289"/>
                    <a:pt x="364" y="1292"/>
                  </a:cubicBezTo>
                  <a:cubicBezTo>
                    <a:pt x="363" y="1295"/>
                    <a:pt x="379" y="1307"/>
                    <a:pt x="379" y="1312"/>
                  </a:cubicBezTo>
                  <a:cubicBezTo>
                    <a:pt x="379" y="1315"/>
                    <a:pt x="343" y="1326"/>
                    <a:pt x="344" y="1332"/>
                  </a:cubicBezTo>
                  <a:cubicBezTo>
                    <a:pt x="344" y="1334"/>
                    <a:pt x="355" y="1330"/>
                    <a:pt x="357" y="1333"/>
                  </a:cubicBezTo>
                  <a:cubicBezTo>
                    <a:pt x="358" y="1334"/>
                    <a:pt x="358" y="1342"/>
                    <a:pt x="360" y="1344"/>
                  </a:cubicBezTo>
                  <a:cubicBezTo>
                    <a:pt x="364" y="1346"/>
                    <a:pt x="383" y="1337"/>
                    <a:pt x="376" y="1348"/>
                  </a:cubicBezTo>
                  <a:cubicBezTo>
                    <a:pt x="375" y="1350"/>
                    <a:pt x="378" y="1352"/>
                    <a:pt x="380" y="1349"/>
                  </a:cubicBezTo>
                  <a:close/>
                  <a:moveTo>
                    <a:pt x="405" y="1484"/>
                  </a:moveTo>
                  <a:cubicBezTo>
                    <a:pt x="404" y="1485"/>
                    <a:pt x="399" y="1487"/>
                    <a:pt x="402" y="1488"/>
                  </a:cubicBezTo>
                  <a:cubicBezTo>
                    <a:pt x="412" y="1493"/>
                    <a:pt x="396" y="1489"/>
                    <a:pt x="390" y="1490"/>
                  </a:cubicBezTo>
                  <a:cubicBezTo>
                    <a:pt x="388" y="1491"/>
                    <a:pt x="380" y="1495"/>
                    <a:pt x="380" y="1498"/>
                  </a:cubicBezTo>
                  <a:cubicBezTo>
                    <a:pt x="379" y="1503"/>
                    <a:pt x="397" y="1510"/>
                    <a:pt x="394" y="1505"/>
                  </a:cubicBezTo>
                  <a:cubicBezTo>
                    <a:pt x="393" y="1503"/>
                    <a:pt x="398" y="1501"/>
                    <a:pt x="404" y="1499"/>
                  </a:cubicBezTo>
                  <a:cubicBezTo>
                    <a:pt x="404" y="1498"/>
                    <a:pt x="404" y="1498"/>
                    <a:pt x="404" y="1498"/>
                  </a:cubicBezTo>
                  <a:cubicBezTo>
                    <a:pt x="407" y="1496"/>
                    <a:pt x="414" y="1482"/>
                    <a:pt x="405" y="1484"/>
                  </a:cubicBezTo>
                  <a:close/>
                  <a:moveTo>
                    <a:pt x="442" y="1380"/>
                  </a:moveTo>
                  <a:cubicBezTo>
                    <a:pt x="439" y="1377"/>
                    <a:pt x="433" y="1368"/>
                    <a:pt x="434" y="1366"/>
                  </a:cubicBezTo>
                  <a:cubicBezTo>
                    <a:pt x="434" y="1363"/>
                    <a:pt x="437" y="1369"/>
                    <a:pt x="439" y="1368"/>
                  </a:cubicBezTo>
                  <a:cubicBezTo>
                    <a:pt x="440" y="1367"/>
                    <a:pt x="436" y="1362"/>
                    <a:pt x="435" y="1362"/>
                  </a:cubicBezTo>
                  <a:cubicBezTo>
                    <a:pt x="421" y="1355"/>
                    <a:pt x="422" y="1366"/>
                    <a:pt x="408" y="1358"/>
                  </a:cubicBezTo>
                  <a:cubicBezTo>
                    <a:pt x="407" y="1357"/>
                    <a:pt x="406" y="1357"/>
                    <a:pt x="405" y="1356"/>
                  </a:cubicBezTo>
                  <a:cubicBezTo>
                    <a:pt x="404" y="1355"/>
                    <a:pt x="403" y="1354"/>
                    <a:pt x="403" y="1353"/>
                  </a:cubicBezTo>
                  <a:cubicBezTo>
                    <a:pt x="403" y="1348"/>
                    <a:pt x="425" y="1343"/>
                    <a:pt x="428" y="1346"/>
                  </a:cubicBezTo>
                  <a:cubicBezTo>
                    <a:pt x="429" y="1347"/>
                    <a:pt x="431" y="1350"/>
                    <a:pt x="433" y="1347"/>
                  </a:cubicBezTo>
                  <a:cubicBezTo>
                    <a:pt x="434" y="1347"/>
                    <a:pt x="432" y="1346"/>
                    <a:pt x="432" y="1346"/>
                  </a:cubicBezTo>
                  <a:cubicBezTo>
                    <a:pt x="427" y="1341"/>
                    <a:pt x="412" y="1338"/>
                    <a:pt x="412" y="1338"/>
                  </a:cubicBezTo>
                  <a:cubicBezTo>
                    <a:pt x="412" y="1336"/>
                    <a:pt x="417" y="1338"/>
                    <a:pt x="418" y="1336"/>
                  </a:cubicBezTo>
                  <a:cubicBezTo>
                    <a:pt x="420" y="1334"/>
                    <a:pt x="427" y="1298"/>
                    <a:pt x="450" y="1310"/>
                  </a:cubicBezTo>
                  <a:cubicBezTo>
                    <a:pt x="451" y="1311"/>
                    <a:pt x="457" y="1312"/>
                    <a:pt x="458" y="1312"/>
                  </a:cubicBezTo>
                  <a:cubicBezTo>
                    <a:pt x="460" y="1308"/>
                    <a:pt x="442" y="1305"/>
                    <a:pt x="442" y="1302"/>
                  </a:cubicBezTo>
                  <a:cubicBezTo>
                    <a:pt x="442" y="1301"/>
                    <a:pt x="444" y="1300"/>
                    <a:pt x="444" y="1299"/>
                  </a:cubicBezTo>
                  <a:cubicBezTo>
                    <a:pt x="450" y="1290"/>
                    <a:pt x="466" y="1293"/>
                    <a:pt x="466" y="1293"/>
                  </a:cubicBezTo>
                  <a:cubicBezTo>
                    <a:pt x="469" y="1291"/>
                    <a:pt x="462" y="1286"/>
                    <a:pt x="464" y="1284"/>
                  </a:cubicBezTo>
                  <a:cubicBezTo>
                    <a:pt x="466" y="1282"/>
                    <a:pt x="476" y="1281"/>
                    <a:pt x="472" y="1279"/>
                  </a:cubicBezTo>
                  <a:cubicBezTo>
                    <a:pt x="471" y="1279"/>
                    <a:pt x="471" y="1279"/>
                    <a:pt x="471" y="1279"/>
                  </a:cubicBezTo>
                  <a:cubicBezTo>
                    <a:pt x="469" y="1278"/>
                    <a:pt x="467" y="1280"/>
                    <a:pt x="464" y="1280"/>
                  </a:cubicBezTo>
                  <a:cubicBezTo>
                    <a:pt x="458" y="1281"/>
                    <a:pt x="455" y="1287"/>
                    <a:pt x="448" y="1289"/>
                  </a:cubicBezTo>
                  <a:cubicBezTo>
                    <a:pt x="445" y="1291"/>
                    <a:pt x="449" y="1294"/>
                    <a:pt x="447" y="1295"/>
                  </a:cubicBezTo>
                  <a:cubicBezTo>
                    <a:pt x="437" y="1299"/>
                    <a:pt x="436" y="1287"/>
                    <a:pt x="430" y="1296"/>
                  </a:cubicBezTo>
                  <a:cubicBezTo>
                    <a:pt x="427" y="1299"/>
                    <a:pt x="440" y="1297"/>
                    <a:pt x="436" y="1303"/>
                  </a:cubicBezTo>
                  <a:cubicBezTo>
                    <a:pt x="433" y="1307"/>
                    <a:pt x="414" y="1324"/>
                    <a:pt x="411" y="1326"/>
                  </a:cubicBezTo>
                  <a:cubicBezTo>
                    <a:pt x="408" y="1327"/>
                    <a:pt x="406" y="1320"/>
                    <a:pt x="402" y="1323"/>
                  </a:cubicBezTo>
                  <a:cubicBezTo>
                    <a:pt x="402" y="1324"/>
                    <a:pt x="402" y="1324"/>
                    <a:pt x="402" y="1324"/>
                  </a:cubicBezTo>
                  <a:cubicBezTo>
                    <a:pt x="399" y="1330"/>
                    <a:pt x="407" y="1331"/>
                    <a:pt x="408" y="1334"/>
                  </a:cubicBezTo>
                  <a:cubicBezTo>
                    <a:pt x="412" y="1345"/>
                    <a:pt x="404" y="1345"/>
                    <a:pt x="399" y="1350"/>
                  </a:cubicBezTo>
                  <a:cubicBezTo>
                    <a:pt x="397" y="1352"/>
                    <a:pt x="402" y="1358"/>
                    <a:pt x="401" y="1358"/>
                  </a:cubicBezTo>
                  <a:cubicBezTo>
                    <a:pt x="396" y="1362"/>
                    <a:pt x="387" y="1351"/>
                    <a:pt x="386" y="1345"/>
                  </a:cubicBezTo>
                  <a:cubicBezTo>
                    <a:pt x="386" y="1344"/>
                    <a:pt x="384" y="1337"/>
                    <a:pt x="384" y="1338"/>
                  </a:cubicBezTo>
                  <a:cubicBezTo>
                    <a:pt x="375" y="1358"/>
                    <a:pt x="413" y="1368"/>
                    <a:pt x="426" y="1376"/>
                  </a:cubicBezTo>
                  <a:cubicBezTo>
                    <a:pt x="430" y="1379"/>
                    <a:pt x="426" y="1366"/>
                    <a:pt x="431" y="1369"/>
                  </a:cubicBezTo>
                  <a:cubicBezTo>
                    <a:pt x="434" y="1371"/>
                    <a:pt x="437" y="1388"/>
                    <a:pt x="446" y="1384"/>
                  </a:cubicBezTo>
                  <a:cubicBezTo>
                    <a:pt x="448" y="1383"/>
                    <a:pt x="444" y="1381"/>
                    <a:pt x="442" y="1380"/>
                  </a:cubicBezTo>
                  <a:close/>
                  <a:moveTo>
                    <a:pt x="473" y="1340"/>
                  </a:moveTo>
                  <a:cubicBezTo>
                    <a:pt x="472" y="1339"/>
                    <a:pt x="473" y="1337"/>
                    <a:pt x="475" y="1336"/>
                  </a:cubicBezTo>
                  <a:cubicBezTo>
                    <a:pt x="478" y="1333"/>
                    <a:pt x="471" y="1327"/>
                    <a:pt x="467" y="1327"/>
                  </a:cubicBezTo>
                  <a:cubicBezTo>
                    <a:pt x="467" y="1327"/>
                    <a:pt x="467" y="1327"/>
                    <a:pt x="467" y="1327"/>
                  </a:cubicBezTo>
                  <a:cubicBezTo>
                    <a:pt x="464" y="1327"/>
                    <a:pt x="468" y="1333"/>
                    <a:pt x="466" y="1335"/>
                  </a:cubicBezTo>
                  <a:cubicBezTo>
                    <a:pt x="465" y="1335"/>
                    <a:pt x="446" y="1335"/>
                    <a:pt x="462" y="1340"/>
                  </a:cubicBezTo>
                  <a:cubicBezTo>
                    <a:pt x="462" y="1340"/>
                    <a:pt x="464" y="1344"/>
                    <a:pt x="463" y="1344"/>
                  </a:cubicBezTo>
                  <a:cubicBezTo>
                    <a:pt x="462" y="1346"/>
                    <a:pt x="458" y="1348"/>
                    <a:pt x="456" y="1346"/>
                  </a:cubicBezTo>
                  <a:cubicBezTo>
                    <a:pt x="450" y="1339"/>
                    <a:pt x="457" y="1359"/>
                    <a:pt x="446" y="1357"/>
                  </a:cubicBezTo>
                  <a:cubicBezTo>
                    <a:pt x="442" y="1356"/>
                    <a:pt x="439" y="1345"/>
                    <a:pt x="435" y="1349"/>
                  </a:cubicBezTo>
                  <a:cubicBezTo>
                    <a:pt x="434" y="1350"/>
                    <a:pt x="447" y="1368"/>
                    <a:pt x="451" y="1369"/>
                  </a:cubicBezTo>
                  <a:cubicBezTo>
                    <a:pt x="452" y="1369"/>
                    <a:pt x="454" y="1361"/>
                    <a:pt x="454" y="1360"/>
                  </a:cubicBezTo>
                  <a:cubicBezTo>
                    <a:pt x="454" y="1359"/>
                    <a:pt x="470" y="1366"/>
                    <a:pt x="470" y="1364"/>
                  </a:cubicBezTo>
                  <a:cubicBezTo>
                    <a:pt x="470" y="1362"/>
                    <a:pt x="468" y="1361"/>
                    <a:pt x="467" y="1360"/>
                  </a:cubicBezTo>
                  <a:cubicBezTo>
                    <a:pt x="466" y="1360"/>
                    <a:pt x="448" y="1355"/>
                    <a:pt x="460" y="1349"/>
                  </a:cubicBezTo>
                  <a:cubicBezTo>
                    <a:pt x="460" y="1349"/>
                    <a:pt x="466" y="1348"/>
                    <a:pt x="467" y="1346"/>
                  </a:cubicBezTo>
                  <a:cubicBezTo>
                    <a:pt x="467" y="1345"/>
                    <a:pt x="468" y="1339"/>
                    <a:pt x="470" y="1340"/>
                  </a:cubicBezTo>
                  <a:cubicBezTo>
                    <a:pt x="476" y="1345"/>
                    <a:pt x="477" y="1367"/>
                    <a:pt x="485" y="1362"/>
                  </a:cubicBezTo>
                  <a:cubicBezTo>
                    <a:pt x="492" y="1358"/>
                    <a:pt x="476" y="1344"/>
                    <a:pt x="473" y="1340"/>
                  </a:cubicBezTo>
                  <a:close/>
                  <a:moveTo>
                    <a:pt x="508" y="1330"/>
                  </a:moveTo>
                  <a:cubicBezTo>
                    <a:pt x="508" y="1330"/>
                    <a:pt x="507" y="1330"/>
                    <a:pt x="507" y="1330"/>
                  </a:cubicBezTo>
                  <a:cubicBezTo>
                    <a:pt x="499" y="1326"/>
                    <a:pt x="491" y="1331"/>
                    <a:pt x="484" y="1322"/>
                  </a:cubicBezTo>
                  <a:cubicBezTo>
                    <a:pt x="484" y="1322"/>
                    <a:pt x="480" y="1319"/>
                    <a:pt x="481" y="1318"/>
                  </a:cubicBezTo>
                  <a:cubicBezTo>
                    <a:pt x="485" y="1313"/>
                    <a:pt x="508" y="1324"/>
                    <a:pt x="499" y="1313"/>
                  </a:cubicBezTo>
                  <a:cubicBezTo>
                    <a:pt x="498" y="1313"/>
                    <a:pt x="498" y="1313"/>
                    <a:pt x="498" y="1313"/>
                  </a:cubicBezTo>
                  <a:cubicBezTo>
                    <a:pt x="493" y="1311"/>
                    <a:pt x="489" y="1315"/>
                    <a:pt x="483" y="1314"/>
                  </a:cubicBezTo>
                  <a:cubicBezTo>
                    <a:pt x="463" y="1311"/>
                    <a:pt x="494" y="1343"/>
                    <a:pt x="508" y="1331"/>
                  </a:cubicBezTo>
                  <a:cubicBezTo>
                    <a:pt x="508" y="1331"/>
                    <a:pt x="508" y="1331"/>
                    <a:pt x="508" y="1330"/>
                  </a:cubicBezTo>
                  <a:close/>
                  <a:moveTo>
                    <a:pt x="606" y="1373"/>
                  </a:moveTo>
                  <a:cubicBezTo>
                    <a:pt x="593" y="1364"/>
                    <a:pt x="604" y="1367"/>
                    <a:pt x="599" y="1358"/>
                  </a:cubicBezTo>
                  <a:cubicBezTo>
                    <a:pt x="598" y="1355"/>
                    <a:pt x="592" y="1354"/>
                    <a:pt x="592" y="1350"/>
                  </a:cubicBezTo>
                  <a:cubicBezTo>
                    <a:pt x="592" y="1347"/>
                    <a:pt x="599" y="1349"/>
                    <a:pt x="600" y="1347"/>
                  </a:cubicBezTo>
                  <a:cubicBezTo>
                    <a:pt x="603" y="1342"/>
                    <a:pt x="601" y="1352"/>
                    <a:pt x="603" y="1353"/>
                  </a:cubicBezTo>
                  <a:cubicBezTo>
                    <a:pt x="606" y="1355"/>
                    <a:pt x="607" y="1350"/>
                    <a:pt x="606" y="1348"/>
                  </a:cubicBezTo>
                  <a:cubicBezTo>
                    <a:pt x="605" y="1346"/>
                    <a:pt x="608" y="1343"/>
                    <a:pt x="608" y="1343"/>
                  </a:cubicBezTo>
                  <a:cubicBezTo>
                    <a:pt x="606" y="1341"/>
                    <a:pt x="599" y="1343"/>
                    <a:pt x="599" y="1342"/>
                  </a:cubicBezTo>
                  <a:cubicBezTo>
                    <a:pt x="599" y="1340"/>
                    <a:pt x="617" y="1326"/>
                    <a:pt x="614" y="1324"/>
                  </a:cubicBezTo>
                  <a:cubicBezTo>
                    <a:pt x="611" y="1321"/>
                    <a:pt x="605" y="1330"/>
                    <a:pt x="605" y="1332"/>
                  </a:cubicBezTo>
                  <a:cubicBezTo>
                    <a:pt x="604" y="1334"/>
                    <a:pt x="592" y="1344"/>
                    <a:pt x="589" y="1348"/>
                  </a:cubicBezTo>
                  <a:cubicBezTo>
                    <a:pt x="587" y="1354"/>
                    <a:pt x="602" y="1355"/>
                    <a:pt x="592" y="1360"/>
                  </a:cubicBezTo>
                  <a:cubicBezTo>
                    <a:pt x="587" y="1362"/>
                    <a:pt x="578" y="1347"/>
                    <a:pt x="570" y="1345"/>
                  </a:cubicBezTo>
                  <a:cubicBezTo>
                    <a:pt x="566" y="1344"/>
                    <a:pt x="570" y="1350"/>
                    <a:pt x="568" y="1350"/>
                  </a:cubicBezTo>
                  <a:cubicBezTo>
                    <a:pt x="563" y="1350"/>
                    <a:pt x="557" y="1345"/>
                    <a:pt x="552" y="1343"/>
                  </a:cubicBezTo>
                  <a:cubicBezTo>
                    <a:pt x="548" y="1342"/>
                    <a:pt x="546" y="1346"/>
                    <a:pt x="544" y="1344"/>
                  </a:cubicBezTo>
                  <a:cubicBezTo>
                    <a:pt x="543" y="1343"/>
                    <a:pt x="544" y="1338"/>
                    <a:pt x="543" y="1339"/>
                  </a:cubicBezTo>
                  <a:cubicBezTo>
                    <a:pt x="542" y="1340"/>
                    <a:pt x="541" y="1346"/>
                    <a:pt x="540" y="1344"/>
                  </a:cubicBezTo>
                  <a:cubicBezTo>
                    <a:pt x="537" y="1338"/>
                    <a:pt x="546" y="1332"/>
                    <a:pt x="546" y="1329"/>
                  </a:cubicBezTo>
                  <a:cubicBezTo>
                    <a:pt x="547" y="1326"/>
                    <a:pt x="535" y="1322"/>
                    <a:pt x="538" y="1320"/>
                  </a:cubicBezTo>
                  <a:cubicBezTo>
                    <a:pt x="542" y="1319"/>
                    <a:pt x="546" y="1318"/>
                    <a:pt x="549" y="1320"/>
                  </a:cubicBezTo>
                  <a:cubicBezTo>
                    <a:pt x="550" y="1321"/>
                    <a:pt x="558" y="1324"/>
                    <a:pt x="558" y="1322"/>
                  </a:cubicBezTo>
                  <a:cubicBezTo>
                    <a:pt x="556" y="1312"/>
                    <a:pt x="550" y="1319"/>
                    <a:pt x="541" y="1315"/>
                  </a:cubicBezTo>
                  <a:cubicBezTo>
                    <a:pt x="540" y="1315"/>
                    <a:pt x="555" y="1298"/>
                    <a:pt x="545" y="1302"/>
                  </a:cubicBezTo>
                  <a:cubicBezTo>
                    <a:pt x="543" y="1302"/>
                    <a:pt x="542" y="1300"/>
                    <a:pt x="542" y="1299"/>
                  </a:cubicBezTo>
                  <a:cubicBezTo>
                    <a:pt x="546" y="1293"/>
                    <a:pt x="566" y="1308"/>
                    <a:pt x="563" y="1302"/>
                  </a:cubicBezTo>
                  <a:cubicBezTo>
                    <a:pt x="562" y="1297"/>
                    <a:pt x="549" y="1290"/>
                    <a:pt x="549" y="1289"/>
                  </a:cubicBezTo>
                  <a:cubicBezTo>
                    <a:pt x="549" y="1289"/>
                    <a:pt x="565" y="1270"/>
                    <a:pt x="559" y="1266"/>
                  </a:cubicBezTo>
                  <a:cubicBezTo>
                    <a:pt x="558" y="1265"/>
                    <a:pt x="544" y="1281"/>
                    <a:pt x="544" y="1276"/>
                  </a:cubicBezTo>
                  <a:cubicBezTo>
                    <a:pt x="544" y="1266"/>
                    <a:pt x="546" y="1262"/>
                    <a:pt x="554" y="1261"/>
                  </a:cubicBezTo>
                  <a:cubicBezTo>
                    <a:pt x="557" y="1260"/>
                    <a:pt x="561" y="1257"/>
                    <a:pt x="560" y="1256"/>
                  </a:cubicBezTo>
                  <a:cubicBezTo>
                    <a:pt x="556" y="1252"/>
                    <a:pt x="553" y="1260"/>
                    <a:pt x="548" y="1255"/>
                  </a:cubicBezTo>
                  <a:cubicBezTo>
                    <a:pt x="543" y="1250"/>
                    <a:pt x="555" y="1253"/>
                    <a:pt x="553" y="1251"/>
                  </a:cubicBezTo>
                  <a:cubicBezTo>
                    <a:pt x="552" y="1250"/>
                    <a:pt x="546" y="1245"/>
                    <a:pt x="549" y="1243"/>
                  </a:cubicBezTo>
                  <a:cubicBezTo>
                    <a:pt x="553" y="1240"/>
                    <a:pt x="553" y="1248"/>
                    <a:pt x="554" y="1247"/>
                  </a:cubicBezTo>
                  <a:cubicBezTo>
                    <a:pt x="559" y="1245"/>
                    <a:pt x="562" y="1243"/>
                    <a:pt x="562" y="1244"/>
                  </a:cubicBezTo>
                  <a:cubicBezTo>
                    <a:pt x="566" y="1246"/>
                    <a:pt x="563" y="1238"/>
                    <a:pt x="564" y="1238"/>
                  </a:cubicBezTo>
                  <a:cubicBezTo>
                    <a:pt x="567" y="1238"/>
                    <a:pt x="575" y="1244"/>
                    <a:pt x="576" y="1243"/>
                  </a:cubicBezTo>
                  <a:cubicBezTo>
                    <a:pt x="580" y="1238"/>
                    <a:pt x="564" y="1234"/>
                    <a:pt x="563" y="1232"/>
                  </a:cubicBezTo>
                  <a:cubicBezTo>
                    <a:pt x="561" y="1228"/>
                    <a:pt x="567" y="1218"/>
                    <a:pt x="568" y="1215"/>
                  </a:cubicBezTo>
                  <a:cubicBezTo>
                    <a:pt x="568" y="1214"/>
                    <a:pt x="570" y="1207"/>
                    <a:pt x="572" y="1207"/>
                  </a:cubicBezTo>
                  <a:cubicBezTo>
                    <a:pt x="574" y="1208"/>
                    <a:pt x="571" y="1225"/>
                    <a:pt x="582" y="1227"/>
                  </a:cubicBezTo>
                  <a:cubicBezTo>
                    <a:pt x="582" y="1227"/>
                    <a:pt x="575" y="1219"/>
                    <a:pt x="576" y="1217"/>
                  </a:cubicBezTo>
                  <a:cubicBezTo>
                    <a:pt x="577" y="1215"/>
                    <a:pt x="577" y="1200"/>
                    <a:pt x="578" y="1199"/>
                  </a:cubicBezTo>
                  <a:cubicBezTo>
                    <a:pt x="579" y="1199"/>
                    <a:pt x="586" y="1203"/>
                    <a:pt x="587" y="1203"/>
                  </a:cubicBezTo>
                  <a:cubicBezTo>
                    <a:pt x="593" y="1201"/>
                    <a:pt x="577" y="1194"/>
                    <a:pt x="579" y="1188"/>
                  </a:cubicBezTo>
                  <a:cubicBezTo>
                    <a:pt x="579" y="1186"/>
                    <a:pt x="580" y="1180"/>
                    <a:pt x="580" y="1183"/>
                  </a:cubicBezTo>
                  <a:cubicBezTo>
                    <a:pt x="581" y="1189"/>
                    <a:pt x="595" y="1205"/>
                    <a:pt x="601" y="1201"/>
                  </a:cubicBezTo>
                  <a:cubicBezTo>
                    <a:pt x="606" y="1196"/>
                    <a:pt x="580" y="1186"/>
                    <a:pt x="587" y="1183"/>
                  </a:cubicBezTo>
                  <a:cubicBezTo>
                    <a:pt x="592" y="1180"/>
                    <a:pt x="608" y="1197"/>
                    <a:pt x="610" y="1196"/>
                  </a:cubicBezTo>
                  <a:cubicBezTo>
                    <a:pt x="615" y="1193"/>
                    <a:pt x="591" y="1155"/>
                    <a:pt x="613" y="1152"/>
                  </a:cubicBezTo>
                  <a:cubicBezTo>
                    <a:pt x="641" y="1149"/>
                    <a:pt x="630" y="1179"/>
                    <a:pt x="626" y="1172"/>
                  </a:cubicBezTo>
                  <a:cubicBezTo>
                    <a:pt x="626" y="1172"/>
                    <a:pt x="626" y="1172"/>
                    <a:pt x="626" y="1172"/>
                  </a:cubicBezTo>
                  <a:cubicBezTo>
                    <a:pt x="625" y="1171"/>
                    <a:pt x="625" y="1171"/>
                    <a:pt x="626" y="1172"/>
                  </a:cubicBezTo>
                  <a:cubicBezTo>
                    <a:pt x="626" y="1173"/>
                    <a:pt x="629" y="1178"/>
                    <a:pt x="627" y="1178"/>
                  </a:cubicBezTo>
                  <a:cubicBezTo>
                    <a:pt x="624" y="1179"/>
                    <a:pt x="622" y="1176"/>
                    <a:pt x="617" y="1176"/>
                  </a:cubicBezTo>
                  <a:cubicBezTo>
                    <a:pt x="613" y="1176"/>
                    <a:pt x="626" y="1183"/>
                    <a:pt x="617" y="1182"/>
                  </a:cubicBezTo>
                  <a:cubicBezTo>
                    <a:pt x="613" y="1182"/>
                    <a:pt x="614" y="1197"/>
                    <a:pt x="622" y="1197"/>
                  </a:cubicBezTo>
                  <a:cubicBezTo>
                    <a:pt x="624" y="1196"/>
                    <a:pt x="619" y="1193"/>
                    <a:pt x="619" y="1191"/>
                  </a:cubicBezTo>
                  <a:cubicBezTo>
                    <a:pt x="622" y="1179"/>
                    <a:pt x="630" y="1185"/>
                    <a:pt x="638" y="1177"/>
                  </a:cubicBezTo>
                  <a:cubicBezTo>
                    <a:pt x="641" y="1174"/>
                    <a:pt x="640" y="1151"/>
                    <a:pt x="642" y="1151"/>
                  </a:cubicBezTo>
                  <a:cubicBezTo>
                    <a:pt x="643" y="1150"/>
                    <a:pt x="643" y="1151"/>
                    <a:pt x="643" y="1152"/>
                  </a:cubicBezTo>
                  <a:cubicBezTo>
                    <a:pt x="658" y="1163"/>
                    <a:pt x="640" y="1172"/>
                    <a:pt x="644" y="1175"/>
                  </a:cubicBezTo>
                  <a:cubicBezTo>
                    <a:pt x="647" y="1177"/>
                    <a:pt x="653" y="1161"/>
                    <a:pt x="654" y="1170"/>
                  </a:cubicBezTo>
                  <a:cubicBezTo>
                    <a:pt x="654" y="1171"/>
                    <a:pt x="666" y="1177"/>
                    <a:pt x="666" y="1177"/>
                  </a:cubicBezTo>
                  <a:cubicBezTo>
                    <a:pt x="668" y="1177"/>
                    <a:pt x="666" y="1169"/>
                    <a:pt x="666" y="1169"/>
                  </a:cubicBezTo>
                  <a:cubicBezTo>
                    <a:pt x="667" y="1160"/>
                    <a:pt x="659" y="1170"/>
                    <a:pt x="658" y="1170"/>
                  </a:cubicBezTo>
                  <a:cubicBezTo>
                    <a:pt x="656" y="1170"/>
                    <a:pt x="657" y="1167"/>
                    <a:pt x="658" y="1166"/>
                  </a:cubicBezTo>
                  <a:cubicBezTo>
                    <a:pt x="664" y="1163"/>
                    <a:pt x="656" y="1164"/>
                    <a:pt x="654" y="1164"/>
                  </a:cubicBezTo>
                  <a:cubicBezTo>
                    <a:pt x="653" y="1164"/>
                    <a:pt x="653" y="1161"/>
                    <a:pt x="653" y="1160"/>
                  </a:cubicBezTo>
                  <a:cubicBezTo>
                    <a:pt x="654" y="1153"/>
                    <a:pt x="659" y="1156"/>
                    <a:pt x="661" y="1152"/>
                  </a:cubicBezTo>
                  <a:cubicBezTo>
                    <a:pt x="662" y="1152"/>
                    <a:pt x="658" y="1151"/>
                    <a:pt x="660" y="1147"/>
                  </a:cubicBezTo>
                  <a:cubicBezTo>
                    <a:pt x="662" y="1144"/>
                    <a:pt x="672" y="1157"/>
                    <a:pt x="676" y="1155"/>
                  </a:cubicBezTo>
                  <a:cubicBezTo>
                    <a:pt x="680" y="1153"/>
                    <a:pt x="667" y="1149"/>
                    <a:pt x="667" y="1147"/>
                  </a:cubicBezTo>
                  <a:cubicBezTo>
                    <a:pt x="669" y="1135"/>
                    <a:pt x="670" y="1151"/>
                    <a:pt x="676" y="1144"/>
                  </a:cubicBezTo>
                  <a:cubicBezTo>
                    <a:pt x="677" y="1143"/>
                    <a:pt x="672" y="1141"/>
                    <a:pt x="671" y="1140"/>
                  </a:cubicBezTo>
                  <a:cubicBezTo>
                    <a:pt x="665" y="1135"/>
                    <a:pt x="662" y="1132"/>
                    <a:pt x="660" y="1124"/>
                  </a:cubicBezTo>
                  <a:cubicBezTo>
                    <a:pt x="659" y="1124"/>
                    <a:pt x="656" y="1119"/>
                    <a:pt x="657" y="1119"/>
                  </a:cubicBezTo>
                  <a:cubicBezTo>
                    <a:pt x="660" y="1118"/>
                    <a:pt x="668" y="1127"/>
                    <a:pt x="672" y="1127"/>
                  </a:cubicBezTo>
                  <a:cubicBezTo>
                    <a:pt x="676" y="1127"/>
                    <a:pt x="667" y="1117"/>
                    <a:pt x="671" y="1115"/>
                  </a:cubicBezTo>
                  <a:cubicBezTo>
                    <a:pt x="674" y="1113"/>
                    <a:pt x="680" y="1124"/>
                    <a:pt x="688" y="1120"/>
                  </a:cubicBezTo>
                  <a:cubicBezTo>
                    <a:pt x="688" y="1120"/>
                    <a:pt x="675" y="1113"/>
                    <a:pt x="674" y="1113"/>
                  </a:cubicBezTo>
                  <a:cubicBezTo>
                    <a:pt x="665" y="1109"/>
                    <a:pt x="663" y="1123"/>
                    <a:pt x="658" y="1107"/>
                  </a:cubicBezTo>
                  <a:cubicBezTo>
                    <a:pt x="658" y="1106"/>
                    <a:pt x="661" y="1104"/>
                    <a:pt x="662" y="1103"/>
                  </a:cubicBezTo>
                  <a:cubicBezTo>
                    <a:pt x="662" y="1103"/>
                    <a:pt x="665" y="1110"/>
                    <a:pt x="668" y="1108"/>
                  </a:cubicBezTo>
                  <a:cubicBezTo>
                    <a:pt x="671" y="1106"/>
                    <a:pt x="663" y="1102"/>
                    <a:pt x="665" y="1099"/>
                  </a:cubicBezTo>
                  <a:cubicBezTo>
                    <a:pt x="666" y="1098"/>
                    <a:pt x="662" y="1095"/>
                    <a:pt x="667" y="1098"/>
                  </a:cubicBezTo>
                  <a:cubicBezTo>
                    <a:pt x="677" y="1105"/>
                    <a:pt x="680" y="1103"/>
                    <a:pt x="669" y="1096"/>
                  </a:cubicBezTo>
                  <a:cubicBezTo>
                    <a:pt x="661" y="1091"/>
                    <a:pt x="679" y="1092"/>
                    <a:pt x="674" y="1089"/>
                  </a:cubicBezTo>
                  <a:cubicBezTo>
                    <a:pt x="665" y="1083"/>
                    <a:pt x="665" y="1094"/>
                    <a:pt x="662" y="1095"/>
                  </a:cubicBezTo>
                  <a:cubicBezTo>
                    <a:pt x="656" y="1098"/>
                    <a:pt x="645" y="1086"/>
                    <a:pt x="644" y="1092"/>
                  </a:cubicBezTo>
                  <a:cubicBezTo>
                    <a:pt x="643" y="1097"/>
                    <a:pt x="659" y="1099"/>
                    <a:pt x="657" y="1105"/>
                  </a:cubicBezTo>
                  <a:cubicBezTo>
                    <a:pt x="656" y="1109"/>
                    <a:pt x="643" y="1095"/>
                    <a:pt x="642" y="1095"/>
                  </a:cubicBezTo>
                  <a:cubicBezTo>
                    <a:pt x="641" y="1095"/>
                    <a:pt x="647" y="1102"/>
                    <a:pt x="647" y="1103"/>
                  </a:cubicBezTo>
                  <a:cubicBezTo>
                    <a:pt x="646" y="1110"/>
                    <a:pt x="658" y="1121"/>
                    <a:pt x="652" y="1125"/>
                  </a:cubicBezTo>
                  <a:cubicBezTo>
                    <a:pt x="651" y="1125"/>
                    <a:pt x="632" y="1106"/>
                    <a:pt x="631" y="1104"/>
                  </a:cubicBezTo>
                  <a:cubicBezTo>
                    <a:pt x="630" y="1102"/>
                    <a:pt x="622" y="1097"/>
                    <a:pt x="622" y="1100"/>
                  </a:cubicBezTo>
                  <a:cubicBezTo>
                    <a:pt x="622" y="1105"/>
                    <a:pt x="670" y="1139"/>
                    <a:pt x="655" y="1152"/>
                  </a:cubicBezTo>
                  <a:cubicBezTo>
                    <a:pt x="647" y="1159"/>
                    <a:pt x="618" y="1120"/>
                    <a:pt x="616" y="1114"/>
                  </a:cubicBezTo>
                  <a:cubicBezTo>
                    <a:pt x="616" y="1113"/>
                    <a:pt x="612" y="1109"/>
                    <a:pt x="610" y="1109"/>
                  </a:cubicBezTo>
                  <a:cubicBezTo>
                    <a:pt x="603" y="1113"/>
                    <a:pt x="636" y="1145"/>
                    <a:pt x="632" y="1151"/>
                  </a:cubicBezTo>
                  <a:cubicBezTo>
                    <a:pt x="629" y="1154"/>
                    <a:pt x="619" y="1144"/>
                    <a:pt x="617" y="1144"/>
                  </a:cubicBezTo>
                  <a:cubicBezTo>
                    <a:pt x="609" y="1142"/>
                    <a:pt x="615" y="1150"/>
                    <a:pt x="615" y="1150"/>
                  </a:cubicBezTo>
                  <a:cubicBezTo>
                    <a:pt x="603" y="1154"/>
                    <a:pt x="603" y="1151"/>
                    <a:pt x="599" y="1155"/>
                  </a:cubicBezTo>
                  <a:cubicBezTo>
                    <a:pt x="597" y="1158"/>
                    <a:pt x="600" y="1184"/>
                    <a:pt x="600" y="1184"/>
                  </a:cubicBezTo>
                  <a:cubicBezTo>
                    <a:pt x="581" y="1179"/>
                    <a:pt x="594" y="1169"/>
                    <a:pt x="593" y="1167"/>
                  </a:cubicBezTo>
                  <a:cubicBezTo>
                    <a:pt x="593" y="1165"/>
                    <a:pt x="593" y="1159"/>
                    <a:pt x="590" y="1160"/>
                  </a:cubicBezTo>
                  <a:cubicBezTo>
                    <a:pt x="586" y="1161"/>
                    <a:pt x="588" y="1170"/>
                    <a:pt x="584" y="1172"/>
                  </a:cubicBezTo>
                  <a:cubicBezTo>
                    <a:pt x="581" y="1173"/>
                    <a:pt x="584" y="1186"/>
                    <a:pt x="583" y="1182"/>
                  </a:cubicBezTo>
                  <a:cubicBezTo>
                    <a:pt x="581" y="1174"/>
                    <a:pt x="559" y="1164"/>
                    <a:pt x="559" y="1155"/>
                  </a:cubicBezTo>
                  <a:cubicBezTo>
                    <a:pt x="559" y="1152"/>
                    <a:pt x="575" y="1167"/>
                    <a:pt x="565" y="1153"/>
                  </a:cubicBezTo>
                  <a:cubicBezTo>
                    <a:pt x="562" y="1148"/>
                    <a:pt x="570" y="1144"/>
                    <a:pt x="573" y="1142"/>
                  </a:cubicBezTo>
                  <a:cubicBezTo>
                    <a:pt x="577" y="1139"/>
                    <a:pt x="587" y="1154"/>
                    <a:pt x="592" y="1150"/>
                  </a:cubicBezTo>
                  <a:cubicBezTo>
                    <a:pt x="597" y="1145"/>
                    <a:pt x="580" y="1141"/>
                    <a:pt x="579" y="1134"/>
                  </a:cubicBezTo>
                  <a:cubicBezTo>
                    <a:pt x="578" y="1132"/>
                    <a:pt x="584" y="1140"/>
                    <a:pt x="584" y="1138"/>
                  </a:cubicBezTo>
                  <a:cubicBezTo>
                    <a:pt x="584" y="1132"/>
                    <a:pt x="580" y="1118"/>
                    <a:pt x="585" y="1121"/>
                  </a:cubicBezTo>
                  <a:cubicBezTo>
                    <a:pt x="586" y="1121"/>
                    <a:pt x="591" y="1126"/>
                    <a:pt x="590" y="1123"/>
                  </a:cubicBezTo>
                  <a:cubicBezTo>
                    <a:pt x="590" y="1121"/>
                    <a:pt x="584" y="1116"/>
                    <a:pt x="586" y="1114"/>
                  </a:cubicBezTo>
                  <a:cubicBezTo>
                    <a:pt x="593" y="1108"/>
                    <a:pt x="612" y="1146"/>
                    <a:pt x="612" y="1134"/>
                  </a:cubicBezTo>
                  <a:cubicBezTo>
                    <a:pt x="613" y="1129"/>
                    <a:pt x="619" y="1138"/>
                    <a:pt x="619" y="1136"/>
                  </a:cubicBezTo>
                  <a:cubicBezTo>
                    <a:pt x="618" y="1117"/>
                    <a:pt x="582" y="1109"/>
                    <a:pt x="579" y="1094"/>
                  </a:cubicBezTo>
                  <a:cubicBezTo>
                    <a:pt x="578" y="1085"/>
                    <a:pt x="592" y="1103"/>
                    <a:pt x="595" y="1098"/>
                  </a:cubicBezTo>
                  <a:cubicBezTo>
                    <a:pt x="596" y="1097"/>
                    <a:pt x="580" y="1087"/>
                    <a:pt x="578" y="1086"/>
                  </a:cubicBezTo>
                  <a:cubicBezTo>
                    <a:pt x="576" y="1084"/>
                    <a:pt x="573" y="1068"/>
                    <a:pt x="567" y="1071"/>
                  </a:cubicBezTo>
                  <a:cubicBezTo>
                    <a:pt x="560" y="1074"/>
                    <a:pt x="570" y="1083"/>
                    <a:pt x="568" y="1083"/>
                  </a:cubicBezTo>
                  <a:cubicBezTo>
                    <a:pt x="563" y="1083"/>
                    <a:pt x="544" y="1068"/>
                    <a:pt x="549" y="1063"/>
                  </a:cubicBezTo>
                  <a:cubicBezTo>
                    <a:pt x="549" y="1063"/>
                    <a:pt x="550" y="1057"/>
                    <a:pt x="549" y="1056"/>
                  </a:cubicBezTo>
                  <a:cubicBezTo>
                    <a:pt x="546" y="1054"/>
                    <a:pt x="544" y="1064"/>
                    <a:pt x="540" y="1064"/>
                  </a:cubicBezTo>
                  <a:cubicBezTo>
                    <a:pt x="540" y="1064"/>
                    <a:pt x="542" y="1076"/>
                    <a:pt x="538" y="1076"/>
                  </a:cubicBezTo>
                  <a:cubicBezTo>
                    <a:pt x="535" y="1075"/>
                    <a:pt x="537" y="1072"/>
                    <a:pt x="535" y="1071"/>
                  </a:cubicBezTo>
                  <a:cubicBezTo>
                    <a:pt x="525" y="1068"/>
                    <a:pt x="540" y="1084"/>
                    <a:pt x="538" y="1090"/>
                  </a:cubicBezTo>
                  <a:cubicBezTo>
                    <a:pt x="535" y="1096"/>
                    <a:pt x="523" y="1080"/>
                    <a:pt x="524" y="1090"/>
                  </a:cubicBezTo>
                  <a:cubicBezTo>
                    <a:pt x="525" y="1091"/>
                    <a:pt x="522" y="1092"/>
                    <a:pt x="523" y="1094"/>
                  </a:cubicBezTo>
                  <a:cubicBezTo>
                    <a:pt x="536" y="1106"/>
                    <a:pt x="541" y="1098"/>
                    <a:pt x="543" y="1085"/>
                  </a:cubicBezTo>
                  <a:cubicBezTo>
                    <a:pt x="544" y="1084"/>
                    <a:pt x="541" y="1079"/>
                    <a:pt x="541" y="1078"/>
                  </a:cubicBezTo>
                  <a:cubicBezTo>
                    <a:pt x="542" y="1078"/>
                    <a:pt x="568" y="1091"/>
                    <a:pt x="576" y="1101"/>
                  </a:cubicBezTo>
                  <a:cubicBezTo>
                    <a:pt x="578" y="1104"/>
                    <a:pt x="584" y="1107"/>
                    <a:pt x="582" y="1109"/>
                  </a:cubicBezTo>
                  <a:cubicBezTo>
                    <a:pt x="581" y="1110"/>
                    <a:pt x="578" y="1106"/>
                    <a:pt x="577" y="1107"/>
                  </a:cubicBezTo>
                  <a:cubicBezTo>
                    <a:pt x="573" y="1108"/>
                    <a:pt x="562" y="1106"/>
                    <a:pt x="565" y="1108"/>
                  </a:cubicBezTo>
                  <a:cubicBezTo>
                    <a:pt x="567" y="1109"/>
                    <a:pt x="575" y="1113"/>
                    <a:pt x="575" y="1115"/>
                  </a:cubicBezTo>
                  <a:cubicBezTo>
                    <a:pt x="574" y="1117"/>
                    <a:pt x="566" y="1122"/>
                    <a:pt x="564" y="1124"/>
                  </a:cubicBezTo>
                  <a:cubicBezTo>
                    <a:pt x="562" y="1125"/>
                    <a:pt x="581" y="1126"/>
                    <a:pt x="574" y="1138"/>
                  </a:cubicBezTo>
                  <a:cubicBezTo>
                    <a:pt x="571" y="1141"/>
                    <a:pt x="567" y="1129"/>
                    <a:pt x="563" y="1130"/>
                  </a:cubicBezTo>
                  <a:cubicBezTo>
                    <a:pt x="561" y="1131"/>
                    <a:pt x="570" y="1156"/>
                    <a:pt x="554" y="1147"/>
                  </a:cubicBezTo>
                  <a:cubicBezTo>
                    <a:pt x="553" y="1146"/>
                    <a:pt x="546" y="1147"/>
                    <a:pt x="545" y="1148"/>
                  </a:cubicBezTo>
                  <a:cubicBezTo>
                    <a:pt x="543" y="1157"/>
                    <a:pt x="558" y="1163"/>
                    <a:pt x="561" y="1165"/>
                  </a:cubicBezTo>
                  <a:cubicBezTo>
                    <a:pt x="570" y="1170"/>
                    <a:pt x="564" y="1176"/>
                    <a:pt x="564" y="1176"/>
                  </a:cubicBezTo>
                  <a:cubicBezTo>
                    <a:pt x="574" y="1181"/>
                    <a:pt x="569" y="1171"/>
                    <a:pt x="573" y="1175"/>
                  </a:cubicBezTo>
                  <a:cubicBezTo>
                    <a:pt x="576" y="1177"/>
                    <a:pt x="577" y="1193"/>
                    <a:pt x="576" y="1193"/>
                  </a:cubicBezTo>
                  <a:cubicBezTo>
                    <a:pt x="576" y="1194"/>
                    <a:pt x="574" y="1193"/>
                    <a:pt x="573" y="1193"/>
                  </a:cubicBezTo>
                  <a:cubicBezTo>
                    <a:pt x="566" y="1190"/>
                    <a:pt x="575" y="1198"/>
                    <a:pt x="570" y="1204"/>
                  </a:cubicBezTo>
                  <a:cubicBezTo>
                    <a:pt x="562" y="1213"/>
                    <a:pt x="558" y="1204"/>
                    <a:pt x="554" y="1211"/>
                  </a:cubicBezTo>
                  <a:cubicBezTo>
                    <a:pt x="552" y="1215"/>
                    <a:pt x="562" y="1216"/>
                    <a:pt x="557" y="1220"/>
                  </a:cubicBezTo>
                  <a:cubicBezTo>
                    <a:pt x="549" y="1227"/>
                    <a:pt x="532" y="1215"/>
                    <a:pt x="532" y="1216"/>
                  </a:cubicBezTo>
                  <a:cubicBezTo>
                    <a:pt x="527" y="1233"/>
                    <a:pt x="551" y="1221"/>
                    <a:pt x="553" y="1227"/>
                  </a:cubicBezTo>
                  <a:cubicBezTo>
                    <a:pt x="554" y="1228"/>
                    <a:pt x="548" y="1226"/>
                    <a:pt x="549" y="1231"/>
                  </a:cubicBezTo>
                  <a:cubicBezTo>
                    <a:pt x="550" y="1235"/>
                    <a:pt x="560" y="1233"/>
                    <a:pt x="558" y="1237"/>
                  </a:cubicBezTo>
                  <a:cubicBezTo>
                    <a:pt x="555" y="1245"/>
                    <a:pt x="544" y="1237"/>
                    <a:pt x="540" y="1239"/>
                  </a:cubicBezTo>
                  <a:cubicBezTo>
                    <a:pt x="538" y="1239"/>
                    <a:pt x="541" y="1240"/>
                    <a:pt x="541" y="1240"/>
                  </a:cubicBezTo>
                  <a:cubicBezTo>
                    <a:pt x="545" y="1243"/>
                    <a:pt x="542" y="1251"/>
                    <a:pt x="538" y="1252"/>
                  </a:cubicBezTo>
                  <a:cubicBezTo>
                    <a:pt x="536" y="1252"/>
                    <a:pt x="536" y="1255"/>
                    <a:pt x="536" y="1255"/>
                  </a:cubicBezTo>
                  <a:cubicBezTo>
                    <a:pt x="524" y="1254"/>
                    <a:pt x="516" y="1249"/>
                    <a:pt x="512" y="1260"/>
                  </a:cubicBezTo>
                  <a:cubicBezTo>
                    <a:pt x="512" y="1261"/>
                    <a:pt x="534" y="1256"/>
                    <a:pt x="535" y="1259"/>
                  </a:cubicBezTo>
                  <a:cubicBezTo>
                    <a:pt x="537" y="1274"/>
                    <a:pt x="522" y="1275"/>
                    <a:pt x="517" y="1271"/>
                  </a:cubicBezTo>
                  <a:cubicBezTo>
                    <a:pt x="515" y="1270"/>
                    <a:pt x="508" y="1269"/>
                    <a:pt x="508" y="1269"/>
                  </a:cubicBezTo>
                  <a:cubicBezTo>
                    <a:pt x="513" y="1288"/>
                    <a:pt x="538" y="1283"/>
                    <a:pt x="534" y="1293"/>
                  </a:cubicBezTo>
                  <a:cubicBezTo>
                    <a:pt x="533" y="1299"/>
                    <a:pt x="514" y="1309"/>
                    <a:pt x="514" y="1309"/>
                  </a:cubicBezTo>
                  <a:cubicBezTo>
                    <a:pt x="512" y="1308"/>
                    <a:pt x="507" y="1305"/>
                    <a:pt x="506" y="1307"/>
                  </a:cubicBezTo>
                  <a:cubicBezTo>
                    <a:pt x="506" y="1309"/>
                    <a:pt x="507" y="1310"/>
                    <a:pt x="508" y="1310"/>
                  </a:cubicBezTo>
                  <a:cubicBezTo>
                    <a:pt x="517" y="1315"/>
                    <a:pt x="509" y="1316"/>
                    <a:pt x="507" y="1319"/>
                  </a:cubicBezTo>
                  <a:cubicBezTo>
                    <a:pt x="506" y="1319"/>
                    <a:pt x="520" y="1326"/>
                    <a:pt x="521" y="1328"/>
                  </a:cubicBezTo>
                  <a:cubicBezTo>
                    <a:pt x="522" y="1331"/>
                    <a:pt x="513" y="1332"/>
                    <a:pt x="515" y="1334"/>
                  </a:cubicBezTo>
                  <a:cubicBezTo>
                    <a:pt x="516" y="1337"/>
                    <a:pt x="521" y="1334"/>
                    <a:pt x="522" y="1338"/>
                  </a:cubicBezTo>
                  <a:cubicBezTo>
                    <a:pt x="522" y="1339"/>
                    <a:pt x="523" y="1342"/>
                    <a:pt x="524" y="1341"/>
                  </a:cubicBezTo>
                  <a:cubicBezTo>
                    <a:pt x="528" y="1333"/>
                    <a:pt x="534" y="1361"/>
                    <a:pt x="531" y="1347"/>
                  </a:cubicBezTo>
                  <a:cubicBezTo>
                    <a:pt x="530" y="1341"/>
                    <a:pt x="539" y="1347"/>
                    <a:pt x="540" y="1349"/>
                  </a:cubicBezTo>
                  <a:cubicBezTo>
                    <a:pt x="544" y="1359"/>
                    <a:pt x="520" y="1372"/>
                    <a:pt x="520" y="1376"/>
                  </a:cubicBezTo>
                  <a:cubicBezTo>
                    <a:pt x="522" y="1384"/>
                    <a:pt x="538" y="1374"/>
                    <a:pt x="538" y="1374"/>
                  </a:cubicBezTo>
                  <a:cubicBezTo>
                    <a:pt x="544" y="1380"/>
                    <a:pt x="536" y="1382"/>
                    <a:pt x="544" y="1385"/>
                  </a:cubicBezTo>
                  <a:cubicBezTo>
                    <a:pt x="545" y="1386"/>
                    <a:pt x="545" y="1386"/>
                    <a:pt x="545" y="1386"/>
                  </a:cubicBezTo>
                  <a:cubicBezTo>
                    <a:pt x="546" y="1393"/>
                    <a:pt x="552" y="1377"/>
                    <a:pt x="547" y="1373"/>
                  </a:cubicBezTo>
                  <a:cubicBezTo>
                    <a:pt x="545" y="1372"/>
                    <a:pt x="524" y="1369"/>
                    <a:pt x="553" y="1360"/>
                  </a:cubicBezTo>
                  <a:cubicBezTo>
                    <a:pt x="555" y="1359"/>
                    <a:pt x="557" y="1357"/>
                    <a:pt x="558" y="1355"/>
                  </a:cubicBezTo>
                  <a:cubicBezTo>
                    <a:pt x="558" y="1355"/>
                    <a:pt x="551" y="1354"/>
                    <a:pt x="550" y="1354"/>
                  </a:cubicBezTo>
                  <a:cubicBezTo>
                    <a:pt x="547" y="1352"/>
                    <a:pt x="544" y="1347"/>
                    <a:pt x="549" y="1346"/>
                  </a:cubicBezTo>
                  <a:cubicBezTo>
                    <a:pt x="549" y="1346"/>
                    <a:pt x="551" y="1346"/>
                    <a:pt x="551" y="1346"/>
                  </a:cubicBezTo>
                  <a:cubicBezTo>
                    <a:pt x="553" y="1346"/>
                    <a:pt x="554" y="1346"/>
                    <a:pt x="555" y="1347"/>
                  </a:cubicBezTo>
                  <a:cubicBezTo>
                    <a:pt x="561" y="1350"/>
                    <a:pt x="571" y="1360"/>
                    <a:pt x="570" y="1361"/>
                  </a:cubicBezTo>
                  <a:cubicBezTo>
                    <a:pt x="570" y="1362"/>
                    <a:pt x="566" y="1366"/>
                    <a:pt x="568" y="1367"/>
                  </a:cubicBezTo>
                  <a:cubicBezTo>
                    <a:pt x="571" y="1368"/>
                    <a:pt x="574" y="1357"/>
                    <a:pt x="575" y="1356"/>
                  </a:cubicBezTo>
                  <a:cubicBezTo>
                    <a:pt x="576" y="1354"/>
                    <a:pt x="578" y="1361"/>
                    <a:pt x="578" y="1362"/>
                  </a:cubicBezTo>
                  <a:cubicBezTo>
                    <a:pt x="580" y="1362"/>
                    <a:pt x="580" y="1357"/>
                    <a:pt x="582" y="1357"/>
                  </a:cubicBezTo>
                  <a:cubicBezTo>
                    <a:pt x="588" y="1360"/>
                    <a:pt x="588" y="1368"/>
                    <a:pt x="592" y="1371"/>
                  </a:cubicBezTo>
                  <a:cubicBezTo>
                    <a:pt x="593" y="1371"/>
                    <a:pt x="597" y="1371"/>
                    <a:pt x="597" y="1372"/>
                  </a:cubicBezTo>
                  <a:cubicBezTo>
                    <a:pt x="599" y="1383"/>
                    <a:pt x="584" y="1386"/>
                    <a:pt x="584" y="1392"/>
                  </a:cubicBezTo>
                  <a:cubicBezTo>
                    <a:pt x="583" y="1400"/>
                    <a:pt x="589" y="1382"/>
                    <a:pt x="589" y="1392"/>
                  </a:cubicBezTo>
                  <a:cubicBezTo>
                    <a:pt x="589" y="1393"/>
                    <a:pt x="588" y="1396"/>
                    <a:pt x="590" y="1396"/>
                  </a:cubicBezTo>
                  <a:cubicBezTo>
                    <a:pt x="591" y="1396"/>
                    <a:pt x="594" y="1386"/>
                    <a:pt x="595" y="1385"/>
                  </a:cubicBezTo>
                  <a:cubicBezTo>
                    <a:pt x="600" y="1378"/>
                    <a:pt x="597" y="1379"/>
                    <a:pt x="599" y="1378"/>
                  </a:cubicBezTo>
                  <a:cubicBezTo>
                    <a:pt x="601" y="1376"/>
                    <a:pt x="612" y="1377"/>
                    <a:pt x="606" y="1373"/>
                  </a:cubicBezTo>
                  <a:close/>
                  <a:moveTo>
                    <a:pt x="614" y="1287"/>
                  </a:moveTo>
                  <a:cubicBezTo>
                    <a:pt x="605" y="1283"/>
                    <a:pt x="608" y="1262"/>
                    <a:pt x="602" y="1262"/>
                  </a:cubicBezTo>
                  <a:cubicBezTo>
                    <a:pt x="596" y="1261"/>
                    <a:pt x="599" y="1277"/>
                    <a:pt x="596" y="1279"/>
                  </a:cubicBezTo>
                  <a:cubicBezTo>
                    <a:pt x="592" y="1281"/>
                    <a:pt x="577" y="1267"/>
                    <a:pt x="576" y="1269"/>
                  </a:cubicBezTo>
                  <a:cubicBezTo>
                    <a:pt x="573" y="1274"/>
                    <a:pt x="582" y="1274"/>
                    <a:pt x="581" y="1277"/>
                  </a:cubicBezTo>
                  <a:cubicBezTo>
                    <a:pt x="573" y="1291"/>
                    <a:pt x="567" y="1287"/>
                    <a:pt x="576" y="1297"/>
                  </a:cubicBezTo>
                  <a:cubicBezTo>
                    <a:pt x="578" y="1298"/>
                    <a:pt x="585" y="1295"/>
                    <a:pt x="583" y="1303"/>
                  </a:cubicBezTo>
                  <a:cubicBezTo>
                    <a:pt x="584" y="1304"/>
                    <a:pt x="584" y="1304"/>
                    <a:pt x="584" y="1304"/>
                  </a:cubicBezTo>
                  <a:cubicBezTo>
                    <a:pt x="583" y="1305"/>
                    <a:pt x="587" y="1308"/>
                    <a:pt x="588" y="1308"/>
                  </a:cubicBezTo>
                  <a:cubicBezTo>
                    <a:pt x="597" y="1309"/>
                    <a:pt x="598" y="1306"/>
                    <a:pt x="600" y="1295"/>
                  </a:cubicBezTo>
                  <a:cubicBezTo>
                    <a:pt x="600" y="1294"/>
                    <a:pt x="597" y="1294"/>
                    <a:pt x="597" y="1292"/>
                  </a:cubicBezTo>
                  <a:cubicBezTo>
                    <a:pt x="600" y="1280"/>
                    <a:pt x="582" y="1299"/>
                    <a:pt x="589" y="1286"/>
                  </a:cubicBezTo>
                  <a:cubicBezTo>
                    <a:pt x="590" y="1284"/>
                    <a:pt x="587" y="1281"/>
                    <a:pt x="589" y="1280"/>
                  </a:cubicBezTo>
                  <a:cubicBezTo>
                    <a:pt x="590" y="1279"/>
                    <a:pt x="595" y="1282"/>
                    <a:pt x="595" y="1282"/>
                  </a:cubicBezTo>
                  <a:cubicBezTo>
                    <a:pt x="603" y="1288"/>
                    <a:pt x="596" y="1278"/>
                    <a:pt x="602" y="1278"/>
                  </a:cubicBezTo>
                  <a:cubicBezTo>
                    <a:pt x="605" y="1278"/>
                    <a:pt x="613" y="1296"/>
                    <a:pt x="620" y="1297"/>
                  </a:cubicBezTo>
                  <a:cubicBezTo>
                    <a:pt x="621" y="1297"/>
                    <a:pt x="639" y="1299"/>
                    <a:pt x="632" y="1295"/>
                  </a:cubicBezTo>
                  <a:cubicBezTo>
                    <a:pt x="629" y="1293"/>
                    <a:pt x="636" y="1291"/>
                    <a:pt x="633" y="1288"/>
                  </a:cubicBezTo>
                  <a:cubicBezTo>
                    <a:pt x="629" y="1284"/>
                    <a:pt x="630" y="1281"/>
                    <a:pt x="624" y="1277"/>
                  </a:cubicBezTo>
                  <a:cubicBezTo>
                    <a:pt x="622" y="1276"/>
                    <a:pt x="624" y="1282"/>
                    <a:pt x="624" y="1284"/>
                  </a:cubicBezTo>
                  <a:cubicBezTo>
                    <a:pt x="623" y="1289"/>
                    <a:pt x="614" y="1276"/>
                    <a:pt x="613" y="1280"/>
                  </a:cubicBezTo>
                  <a:cubicBezTo>
                    <a:pt x="612" y="1282"/>
                    <a:pt x="617" y="1289"/>
                    <a:pt x="614" y="1287"/>
                  </a:cubicBezTo>
                  <a:close/>
                  <a:moveTo>
                    <a:pt x="635" y="1386"/>
                  </a:moveTo>
                  <a:cubicBezTo>
                    <a:pt x="634" y="1386"/>
                    <a:pt x="634" y="1386"/>
                    <a:pt x="634" y="1386"/>
                  </a:cubicBezTo>
                  <a:cubicBezTo>
                    <a:pt x="634" y="1381"/>
                    <a:pt x="611" y="1381"/>
                    <a:pt x="611" y="1381"/>
                  </a:cubicBezTo>
                  <a:cubicBezTo>
                    <a:pt x="611" y="1381"/>
                    <a:pt x="628" y="1399"/>
                    <a:pt x="612" y="1395"/>
                  </a:cubicBezTo>
                  <a:cubicBezTo>
                    <a:pt x="610" y="1395"/>
                    <a:pt x="605" y="1394"/>
                    <a:pt x="606" y="1398"/>
                  </a:cubicBezTo>
                  <a:cubicBezTo>
                    <a:pt x="608" y="1402"/>
                    <a:pt x="613" y="1400"/>
                    <a:pt x="615" y="1399"/>
                  </a:cubicBezTo>
                  <a:cubicBezTo>
                    <a:pt x="620" y="1395"/>
                    <a:pt x="618" y="1402"/>
                    <a:pt x="619" y="1402"/>
                  </a:cubicBezTo>
                  <a:cubicBezTo>
                    <a:pt x="633" y="1404"/>
                    <a:pt x="611" y="1387"/>
                    <a:pt x="632" y="1389"/>
                  </a:cubicBezTo>
                  <a:cubicBezTo>
                    <a:pt x="633" y="1389"/>
                    <a:pt x="634" y="1392"/>
                    <a:pt x="635" y="1391"/>
                  </a:cubicBezTo>
                  <a:cubicBezTo>
                    <a:pt x="636" y="1390"/>
                    <a:pt x="635" y="1387"/>
                    <a:pt x="635" y="1386"/>
                  </a:cubicBezTo>
                  <a:close/>
                  <a:moveTo>
                    <a:pt x="662" y="1325"/>
                  </a:moveTo>
                  <a:cubicBezTo>
                    <a:pt x="659" y="1324"/>
                    <a:pt x="657" y="1325"/>
                    <a:pt x="654" y="1323"/>
                  </a:cubicBezTo>
                  <a:cubicBezTo>
                    <a:pt x="648" y="1320"/>
                    <a:pt x="649" y="1325"/>
                    <a:pt x="644" y="1324"/>
                  </a:cubicBezTo>
                  <a:cubicBezTo>
                    <a:pt x="640" y="1323"/>
                    <a:pt x="647" y="1314"/>
                    <a:pt x="647" y="1313"/>
                  </a:cubicBezTo>
                  <a:cubicBezTo>
                    <a:pt x="649" y="1301"/>
                    <a:pt x="644" y="1294"/>
                    <a:pt x="641" y="1291"/>
                  </a:cubicBezTo>
                  <a:cubicBezTo>
                    <a:pt x="641" y="1291"/>
                    <a:pt x="638" y="1285"/>
                    <a:pt x="637" y="1285"/>
                  </a:cubicBezTo>
                  <a:cubicBezTo>
                    <a:pt x="636" y="1285"/>
                    <a:pt x="647" y="1310"/>
                    <a:pt x="643" y="1315"/>
                  </a:cubicBezTo>
                  <a:cubicBezTo>
                    <a:pt x="640" y="1320"/>
                    <a:pt x="635" y="1324"/>
                    <a:pt x="635" y="1329"/>
                  </a:cubicBezTo>
                  <a:cubicBezTo>
                    <a:pt x="635" y="1336"/>
                    <a:pt x="651" y="1337"/>
                    <a:pt x="652" y="1341"/>
                  </a:cubicBezTo>
                  <a:cubicBezTo>
                    <a:pt x="652" y="1341"/>
                    <a:pt x="652" y="1343"/>
                    <a:pt x="652" y="1343"/>
                  </a:cubicBezTo>
                  <a:cubicBezTo>
                    <a:pt x="649" y="1354"/>
                    <a:pt x="643" y="1347"/>
                    <a:pt x="640" y="1351"/>
                  </a:cubicBezTo>
                  <a:cubicBezTo>
                    <a:pt x="639" y="1353"/>
                    <a:pt x="633" y="1348"/>
                    <a:pt x="633" y="1350"/>
                  </a:cubicBezTo>
                  <a:cubicBezTo>
                    <a:pt x="635" y="1363"/>
                    <a:pt x="648" y="1359"/>
                    <a:pt x="646" y="1372"/>
                  </a:cubicBezTo>
                  <a:cubicBezTo>
                    <a:pt x="645" y="1373"/>
                    <a:pt x="645" y="1373"/>
                    <a:pt x="645" y="1373"/>
                  </a:cubicBezTo>
                  <a:cubicBezTo>
                    <a:pt x="646" y="1376"/>
                    <a:pt x="648" y="1372"/>
                    <a:pt x="649" y="1373"/>
                  </a:cubicBezTo>
                  <a:cubicBezTo>
                    <a:pt x="660" y="1375"/>
                    <a:pt x="647" y="1364"/>
                    <a:pt x="651" y="1360"/>
                  </a:cubicBezTo>
                  <a:cubicBezTo>
                    <a:pt x="655" y="1357"/>
                    <a:pt x="658" y="1369"/>
                    <a:pt x="663" y="1368"/>
                  </a:cubicBezTo>
                  <a:cubicBezTo>
                    <a:pt x="664" y="1368"/>
                    <a:pt x="669" y="1369"/>
                    <a:pt x="668" y="1367"/>
                  </a:cubicBezTo>
                  <a:cubicBezTo>
                    <a:pt x="668" y="1367"/>
                    <a:pt x="668" y="1367"/>
                    <a:pt x="667" y="1366"/>
                  </a:cubicBezTo>
                  <a:cubicBezTo>
                    <a:pt x="664" y="1362"/>
                    <a:pt x="659" y="1365"/>
                    <a:pt x="656" y="1359"/>
                  </a:cubicBezTo>
                  <a:cubicBezTo>
                    <a:pt x="656" y="1359"/>
                    <a:pt x="657" y="1349"/>
                    <a:pt x="654" y="1352"/>
                  </a:cubicBezTo>
                  <a:cubicBezTo>
                    <a:pt x="653" y="1353"/>
                    <a:pt x="652" y="1357"/>
                    <a:pt x="651" y="1356"/>
                  </a:cubicBezTo>
                  <a:cubicBezTo>
                    <a:pt x="648" y="1353"/>
                    <a:pt x="656" y="1346"/>
                    <a:pt x="656" y="1342"/>
                  </a:cubicBezTo>
                  <a:cubicBezTo>
                    <a:pt x="655" y="1334"/>
                    <a:pt x="639" y="1332"/>
                    <a:pt x="640" y="1329"/>
                  </a:cubicBezTo>
                  <a:cubicBezTo>
                    <a:pt x="645" y="1321"/>
                    <a:pt x="685" y="1339"/>
                    <a:pt x="662" y="1325"/>
                  </a:cubicBezTo>
                  <a:close/>
                  <a:moveTo>
                    <a:pt x="672" y="1282"/>
                  </a:moveTo>
                  <a:cubicBezTo>
                    <a:pt x="671" y="1282"/>
                    <a:pt x="671" y="1282"/>
                    <a:pt x="671" y="1282"/>
                  </a:cubicBezTo>
                  <a:cubicBezTo>
                    <a:pt x="667" y="1281"/>
                    <a:pt x="662" y="1283"/>
                    <a:pt x="661" y="1277"/>
                  </a:cubicBezTo>
                  <a:cubicBezTo>
                    <a:pt x="660" y="1273"/>
                    <a:pt x="664" y="1268"/>
                    <a:pt x="663" y="1264"/>
                  </a:cubicBezTo>
                  <a:cubicBezTo>
                    <a:pt x="663" y="1262"/>
                    <a:pt x="657" y="1261"/>
                    <a:pt x="658" y="1259"/>
                  </a:cubicBezTo>
                  <a:cubicBezTo>
                    <a:pt x="659" y="1256"/>
                    <a:pt x="665" y="1263"/>
                    <a:pt x="663" y="1260"/>
                  </a:cubicBezTo>
                  <a:cubicBezTo>
                    <a:pt x="654" y="1243"/>
                    <a:pt x="640" y="1247"/>
                    <a:pt x="638" y="1236"/>
                  </a:cubicBezTo>
                  <a:cubicBezTo>
                    <a:pt x="638" y="1234"/>
                    <a:pt x="634" y="1232"/>
                    <a:pt x="632" y="1233"/>
                  </a:cubicBezTo>
                  <a:cubicBezTo>
                    <a:pt x="632" y="1233"/>
                    <a:pt x="633" y="1237"/>
                    <a:pt x="634" y="1238"/>
                  </a:cubicBezTo>
                  <a:cubicBezTo>
                    <a:pt x="639" y="1251"/>
                    <a:pt x="666" y="1258"/>
                    <a:pt x="652" y="1263"/>
                  </a:cubicBezTo>
                  <a:cubicBezTo>
                    <a:pt x="646" y="1265"/>
                    <a:pt x="635" y="1247"/>
                    <a:pt x="631" y="1247"/>
                  </a:cubicBezTo>
                  <a:cubicBezTo>
                    <a:pt x="630" y="1246"/>
                    <a:pt x="625" y="1250"/>
                    <a:pt x="627" y="1251"/>
                  </a:cubicBezTo>
                  <a:cubicBezTo>
                    <a:pt x="638" y="1252"/>
                    <a:pt x="621" y="1263"/>
                    <a:pt x="619" y="1263"/>
                  </a:cubicBezTo>
                  <a:cubicBezTo>
                    <a:pt x="612" y="1261"/>
                    <a:pt x="617" y="1260"/>
                    <a:pt x="616" y="1255"/>
                  </a:cubicBezTo>
                  <a:cubicBezTo>
                    <a:pt x="615" y="1247"/>
                    <a:pt x="628" y="1247"/>
                    <a:pt x="621" y="1242"/>
                  </a:cubicBezTo>
                  <a:cubicBezTo>
                    <a:pt x="614" y="1236"/>
                    <a:pt x="614" y="1254"/>
                    <a:pt x="613" y="1256"/>
                  </a:cubicBezTo>
                  <a:cubicBezTo>
                    <a:pt x="611" y="1261"/>
                    <a:pt x="607" y="1258"/>
                    <a:pt x="606" y="1259"/>
                  </a:cubicBezTo>
                  <a:cubicBezTo>
                    <a:pt x="604" y="1261"/>
                    <a:pt x="608" y="1262"/>
                    <a:pt x="609" y="1264"/>
                  </a:cubicBezTo>
                  <a:cubicBezTo>
                    <a:pt x="610" y="1269"/>
                    <a:pt x="630" y="1270"/>
                    <a:pt x="632" y="1273"/>
                  </a:cubicBezTo>
                  <a:cubicBezTo>
                    <a:pt x="635" y="1277"/>
                    <a:pt x="652" y="1295"/>
                    <a:pt x="651" y="1302"/>
                  </a:cubicBezTo>
                  <a:cubicBezTo>
                    <a:pt x="650" y="1303"/>
                    <a:pt x="652" y="1308"/>
                    <a:pt x="655" y="1306"/>
                  </a:cubicBezTo>
                  <a:cubicBezTo>
                    <a:pt x="656" y="1305"/>
                    <a:pt x="652" y="1300"/>
                    <a:pt x="654" y="1299"/>
                  </a:cubicBezTo>
                  <a:cubicBezTo>
                    <a:pt x="657" y="1299"/>
                    <a:pt x="655" y="1306"/>
                    <a:pt x="659" y="1306"/>
                  </a:cubicBezTo>
                  <a:cubicBezTo>
                    <a:pt x="665" y="1306"/>
                    <a:pt x="660" y="1298"/>
                    <a:pt x="661" y="1297"/>
                  </a:cubicBezTo>
                  <a:cubicBezTo>
                    <a:pt x="661" y="1297"/>
                    <a:pt x="661" y="1290"/>
                    <a:pt x="659" y="1289"/>
                  </a:cubicBezTo>
                  <a:cubicBezTo>
                    <a:pt x="655" y="1284"/>
                    <a:pt x="658" y="1295"/>
                    <a:pt x="656" y="1295"/>
                  </a:cubicBezTo>
                  <a:cubicBezTo>
                    <a:pt x="654" y="1293"/>
                    <a:pt x="641" y="1286"/>
                    <a:pt x="643" y="1282"/>
                  </a:cubicBezTo>
                  <a:cubicBezTo>
                    <a:pt x="643" y="1281"/>
                    <a:pt x="646" y="1283"/>
                    <a:pt x="648" y="1284"/>
                  </a:cubicBezTo>
                  <a:cubicBezTo>
                    <a:pt x="658" y="1290"/>
                    <a:pt x="650" y="1280"/>
                    <a:pt x="659" y="1286"/>
                  </a:cubicBezTo>
                  <a:cubicBezTo>
                    <a:pt x="661" y="1287"/>
                    <a:pt x="667" y="1292"/>
                    <a:pt x="670" y="1290"/>
                  </a:cubicBezTo>
                  <a:cubicBezTo>
                    <a:pt x="671" y="1288"/>
                    <a:pt x="671" y="1283"/>
                    <a:pt x="672" y="1285"/>
                  </a:cubicBezTo>
                  <a:cubicBezTo>
                    <a:pt x="683" y="1296"/>
                    <a:pt x="673" y="1282"/>
                    <a:pt x="672" y="1282"/>
                  </a:cubicBezTo>
                  <a:close/>
                  <a:moveTo>
                    <a:pt x="693" y="1262"/>
                  </a:moveTo>
                  <a:cubicBezTo>
                    <a:pt x="700" y="1259"/>
                    <a:pt x="683" y="1246"/>
                    <a:pt x="688" y="1240"/>
                  </a:cubicBezTo>
                  <a:cubicBezTo>
                    <a:pt x="688" y="1239"/>
                    <a:pt x="688" y="1239"/>
                    <a:pt x="688" y="1239"/>
                  </a:cubicBezTo>
                  <a:cubicBezTo>
                    <a:pt x="691" y="1231"/>
                    <a:pt x="682" y="1227"/>
                    <a:pt x="677" y="1222"/>
                  </a:cubicBezTo>
                  <a:cubicBezTo>
                    <a:pt x="677" y="1222"/>
                    <a:pt x="676" y="1221"/>
                    <a:pt x="676" y="1222"/>
                  </a:cubicBezTo>
                  <a:cubicBezTo>
                    <a:pt x="676" y="1223"/>
                    <a:pt x="682" y="1241"/>
                    <a:pt x="681" y="1240"/>
                  </a:cubicBezTo>
                  <a:cubicBezTo>
                    <a:pt x="674" y="1238"/>
                    <a:pt x="674" y="1217"/>
                    <a:pt x="670" y="1223"/>
                  </a:cubicBezTo>
                  <a:cubicBezTo>
                    <a:pt x="670" y="1223"/>
                    <a:pt x="669" y="1231"/>
                    <a:pt x="667" y="1228"/>
                  </a:cubicBezTo>
                  <a:cubicBezTo>
                    <a:pt x="665" y="1225"/>
                    <a:pt x="660" y="1216"/>
                    <a:pt x="660" y="1219"/>
                  </a:cubicBezTo>
                  <a:cubicBezTo>
                    <a:pt x="659" y="1227"/>
                    <a:pt x="677" y="1239"/>
                    <a:pt x="676" y="1242"/>
                  </a:cubicBezTo>
                  <a:cubicBezTo>
                    <a:pt x="673" y="1249"/>
                    <a:pt x="662" y="1239"/>
                    <a:pt x="665" y="1248"/>
                  </a:cubicBezTo>
                  <a:cubicBezTo>
                    <a:pt x="668" y="1254"/>
                    <a:pt x="680" y="1252"/>
                    <a:pt x="681" y="1252"/>
                  </a:cubicBezTo>
                  <a:cubicBezTo>
                    <a:pt x="686" y="1254"/>
                    <a:pt x="689" y="1264"/>
                    <a:pt x="693" y="1262"/>
                  </a:cubicBezTo>
                  <a:close/>
                  <a:moveTo>
                    <a:pt x="701" y="1337"/>
                  </a:moveTo>
                  <a:cubicBezTo>
                    <a:pt x="709" y="1345"/>
                    <a:pt x="718" y="1341"/>
                    <a:pt x="708" y="1346"/>
                  </a:cubicBezTo>
                  <a:cubicBezTo>
                    <a:pt x="707" y="1346"/>
                    <a:pt x="705" y="1349"/>
                    <a:pt x="705" y="1350"/>
                  </a:cubicBezTo>
                  <a:cubicBezTo>
                    <a:pt x="706" y="1352"/>
                    <a:pt x="710" y="1345"/>
                    <a:pt x="711" y="1350"/>
                  </a:cubicBezTo>
                  <a:cubicBezTo>
                    <a:pt x="714" y="1361"/>
                    <a:pt x="745" y="1349"/>
                    <a:pt x="762" y="1346"/>
                  </a:cubicBezTo>
                  <a:cubicBezTo>
                    <a:pt x="765" y="1345"/>
                    <a:pt x="771" y="1357"/>
                    <a:pt x="775" y="1358"/>
                  </a:cubicBezTo>
                  <a:cubicBezTo>
                    <a:pt x="777" y="1359"/>
                    <a:pt x="780" y="1357"/>
                    <a:pt x="780" y="1361"/>
                  </a:cubicBezTo>
                  <a:cubicBezTo>
                    <a:pt x="780" y="1371"/>
                    <a:pt x="765" y="1351"/>
                    <a:pt x="757" y="1356"/>
                  </a:cubicBezTo>
                  <a:cubicBezTo>
                    <a:pt x="747" y="1362"/>
                    <a:pt x="746" y="1362"/>
                    <a:pt x="749" y="1366"/>
                  </a:cubicBezTo>
                  <a:cubicBezTo>
                    <a:pt x="751" y="1368"/>
                    <a:pt x="750" y="1371"/>
                    <a:pt x="752" y="1370"/>
                  </a:cubicBezTo>
                  <a:cubicBezTo>
                    <a:pt x="757" y="1368"/>
                    <a:pt x="752" y="1375"/>
                    <a:pt x="753" y="1376"/>
                  </a:cubicBezTo>
                  <a:cubicBezTo>
                    <a:pt x="755" y="1378"/>
                    <a:pt x="759" y="1377"/>
                    <a:pt x="761" y="1375"/>
                  </a:cubicBezTo>
                  <a:cubicBezTo>
                    <a:pt x="763" y="1374"/>
                    <a:pt x="787" y="1373"/>
                    <a:pt x="797" y="1369"/>
                  </a:cubicBezTo>
                  <a:cubicBezTo>
                    <a:pt x="804" y="1366"/>
                    <a:pt x="841" y="1360"/>
                    <a:pt x="839" y="1349"/>
                  </a:cubicBezTo>
                  <a:cubicBezTo>
                    <a:pt x="837" y="1326"/>
                    <a:pt x="801" y="1341"/>
                    <a:pt x="798" y="1339"/>
                  </a:cubicBezTo>
                  <a:cubicBezTo>
                    <a:pt x="796" y="1338"/>
                    <a:pt x="786" y="1340"/>
                    <a:pt x="787" y="1334"/>
                  </a:cubicBezTo>
                  <a:cubicBezTo>
                    <a:pt x="787" y="1331"/>
                    <a:pt x="794" y="1332"/>
                    <a:pt x="798" y="1332"/>
                  </a:cubicBezTo>
                  <a:cubicBezTo>
                    <a:pt x="798" y="1332"/>
                    <a:pt x="799" y="1333"/>
                    <a:pt x="800" y="1333"/>
                  </a:cubicBezTo>
                  <a:cubicBezTo>
                    <a:pt x="801" y="1333"/>
                    <a:pt x="800" y="1332"/>
                    <a:pt x="798" y="1332"/>
                  </a:cubicBezTo>
                  <a:cubicBezTo>
                    <a:pt x="797" y="1331"/>
                    <a:pt x="811" y="1328"/>
                    <a:pt x="812" y="1326"/>
                  </a:cubicBezTo>
                  <a:cubicBezTo>
                    <a:pt x="817" y="1321"/>
                    <a:pt x="801" y="1307"/>
                    <a:pt x="816" y="1317"/>
                  </a:cubicBezTo>
                  <a:cubicBezTo>
                    <a:pt x="818" y="1319"/>
                    <a:pt x="822" y="1318"/>
                    <a:pt x="824" y="1317"/>
                  </a:cubicBezTo>
                  <a:cubicBezTo>
                    <a:pt x="825" y="1315"/>
                    <a:pt x="818" y="1305"/>
                    <a:pt x="820" y="1302"/>
                  </a:cubicBezTo>
                  <a:cubicBezTo>
                    <a:pt x="826" y="1295"/>
                    <a:pt x="830" y="1304"/>
                    <a:pt x="835" y="1304"/>
                  </a:cubicBezTo>
                  <a:cubicBezTo>
                    <a:pt x="837" y="1304"/>
                    <a:pt x="836" y="1303"/>
                    <a:pt x="835" y="1302"/>
                  </a:cubicBezTo>
                  <a:cubicBezTo>
                    <a:pt x="834" y="1301"/>
                    <a:pt x="832" y="1299"/>
                    <a:pt x="835" y="1299"/>
                  </a:cubicBezTo>
                  <a:cubicBezTo>
                    <a:pt x="836" y="1300"/>
                    <a:pt x="840" y="1301"/>
                    <a:pt x="841" y="1300"/>
                  </a:cubicBezTo>
                  <a:cubicBezTo>
                    <a:pt x="845" y="1295"/>
                    <a:pt x="811" y="1299"/>
                    <a:pt x="814" y="1293"/>
                  </a:cubicBezTo>
                  <a:cubicBezTo>
                    <a:pt x="816" y="1288"/>
                    <a:pt x="822" y="1293"/>
                    <a:pt x="823" y="1294"/>
                  </a:cubicBezTo>
                  <a:cubicBezTo>
                    <a:pt x="826" y="1294"/>
                    <a:pt x="823" y="1287"/>
                    <a:pt x="824" y="1286"/>
                  </a:cubicBezTo>
                  <a:cubicBezTo>
                    <a:pt x="825" y="1285"/>
                    <a:pt x="833" y="1286"/>
                    <a:pt x="834" y="1287"/>
                  </a:cubicBezTo>
                  <a:cubicBezTo>
                    <a:pt x="841" y="1290"/>
                    <a:pt x="854" y="1308"/>
                    <a:pt x="860" y="1305"/>
                  </a:cubicBezTo>
                  <a:cubicBezTo>
                    <a:pt x="862" y="1304"/>
                    <a:pt x="853" y="1297"/>
                    <a:pt x="854" y="1297"/>
                  </a:cubicBezTo>
                  <a:cubicBezTo>
                    <a:pt x="858" y="1297"/>
                    <a:pt x="872" y="1300"/>
                    <a:pt x="872" y="1300"/>
                  </a:cubicBezTo>
                  <a:cubicBezTo>
                    <a:pt x="878" y="1296"/>
                    <a:pt x="867" y="1296"/>
                    <a:pt x="873" y="1294"/>
                  </a:cubicBezTo>
                  <a:cubicBezTo>
                    <a:pt x="878" y="1292"/>
                    <a:pt x="885" y="1283"/>
                    <a:pt x="884" y="1281"/>
                  </a:cubicBezTo>
                  <a:cubicBezTo>
                    <a:pt x="883" y="1281"/>
                    <a:pt x="886" y="1278"/>
                    <a:pt x="886" y="1277"/>
                  </a:cubicBezTo>
                  <a:cubicBezTo>
                    <a:pt x="889" y="1277"/>
                    <a:pt x="886" y="1283"/>
                    <a:pt x="890" y="1282"/>
                  </a:cubicBezTo>
                  <a:cubicBezTo>
                    <a:pt x="891" y="1281"/>
                    <a:pt x="891" y="1279"/>
                    <a:pt x="891" y="1278"/>
                  </a:cubicBezTo>
                  <a:cubicBezTo>
                    <a:pt x="893" y="1275"/>
                    <a:pt x="895" y="1281"/>
                    <a:pt x="897" y="1278"/>
                  </a:cubicBezTo>
                  <a:cubicBezTo>
                    <a:pt x="899" y="1275"/>
                    <a:pt x="892" y="1273"/>
                    <a:pt x="893" y="1272"/>
                  </a:cubicBezTo>
                  <a:cubicBezTo>
                    <a:pt x="895" y="1269"/>
                    <a:pt x="908" y="1271"/>
                    <a:pt x="908" y="1268"/>
                  </a:cubicBezTo>
                  <a:cubicBezTo>
                    <a:pt x="908" y="1266"/>
                    <a:pt x="904" y="1262"/>
                    <a:pt x="907" y="1262"/>
                  </a:cubicBezTo>
                  <a:cubicBezTo>
                    <a:pt x="911" y="1261"/>
                    <a:pt x="911" y="1267"/>
                    <a:pt x="913" y="1267"/>
                  </a:cubicBezTo>
                  <a:cubicBezTo>
                    <a:pt x="922" y="1267"/>
                    <a:pt x="907" y="1254"/>
                    <a:pt x="915" y="1259"/>
                  </a:cubicBezTo>
                  <a:cubicBezTo>
                    <a:pt x="918" y="1260"/>
                    <a:pt x="923" y="1254"/>
                    <a:pt x="921" y="1251"/>
                  </a:cubicBezTo>
                  <a:cubicBezTo>
                    <a:pt x="918" y="1247"/>
                    <a:pt x="914" y="1242"/>
                    <a:pt x="911" y="1237"/>
                  </a:cubicBezTo>
                  <a:cubicBezTo>
                    <a:pt x="903" y="1224"/>
                    <a:pt x="916" y="1255"/>
                    <a:pt x="899" y="1241"/>
                  </a:cubicBezTo>
                  <a:cubicBezTo>
                    <a:pt x="896" y="1237"/>
                    <a:pt x="887" y="1225"/>
                    <a:pt x="888" y="1225"/>
                  </a:cubicBezTo>
                  <a:cubicBezTo>
                    <a:pt x="889" y="1226"/>
                    <a:pt x="896" y="1232"/>
                    <a:pt x="896" y="1229"/>
                  </a:cubicBezTo>
                  <a:cubicBezTo>
                    <a:pt x="896" y="1226"/>
                    <a:pt x="899" y="1219"/>
                    <a:pt x="896" y="1216"/>
                  </a:cubicBezTo>
                  <a:cubicBezTo>
                    <a:pt x="895" y="1215"/>
                    <a:pt x="895" y="1215"/>
                    <a:pt x="895" y="1215"/>
                  </a:cubicBezTo>
                  <a:cubicBezTo>
                    <a:pt x="902" y="1216"/>
                    <a:pt x="920" y="1219"/>
                    <a:pt x="928" y="1225"/>
                  </a:cubicBezTo>
                  <a:cubicBezTo>
                    <a:pt x="930" y="1226"/>
                    <a:pt x="931" y="1230"/>
                    <a:pt x="933" y="1227"/>
                  </a:cubicBezTo>
                  <a:cubicBezTo>
                    <a:pt x="934" y="1226"/>
                    <a:pt x="933" y="1225"/>
                    <a:pt x="934" y="1225"/>
                  </a:cubicBezTo>
                  <a:cubicBezTo>
                    <a:pt x="935" y="1222"/>
                    <a:pt x="939" y="1225"/>
                    <a:pt x="941" y="1221"/>
                  </a:cubicBezTo>
                  <a:cubicBezTo>
                    <a:pt x="941" y="1220"/>
                    <a:pt x="937" y="1216"/>
                    <a:pt x="936" y="1215"/>
                  </a:cubicBezTo>
                  <a:cubicBezTo>
                    <a:pt x="920" y="1212"/>
                    <a:pt x="907" y="1214"/>
                    <a:pt x="898" y="1197"/>
                  </a:cubicBezTo>
                  <a:cubicBezTo>
                    <a:pt x="897" y="1194"/>
                    <a:pt x="904" y="1200"/>
                    <a:pt x="908" y="1199"/>
                  </a:cubicBezTo>
                  <a:cubicBezTo>
                    <a:pt x="911" y="1199"/>
                    <a:pt x="902" y="1193"/>
                    <a:pt x="907" y="1192"/>
                  </a:cubicBezTo>
                  <a:cubicBezTo>
                    <a:pt x="912" y="1192"/>
                    <a:pt x="914" y="1201"/>
                    <a:pt x="916" y="1195"/>
                  </a:cubicBezTo>
                  <a:cubicBezTo>
                    <a:pt x="917" y="1191"/>
                    <a:pt x="927" y="1198"/>
                    <a:pt x="926" y="1195"/>
                  </a:cubicBezTo>
                  <a:cubicBezTo>
                    <a:pt x="925" y="1188"/>
                    <a:pt x="914" y="1192"/>
                    <a:pt x="915" y="1189"/>
                  </a:cubicBezTo>
                  <a:cubicBezTo>
                    <a:pt x="917" y="1185"/>
                    <a:pt x="940" y="1180"/>
                    <a:pt x="930" y="1176"/>
                  </a:cubicBezTo>
                  <a:cubicBezTo>
                    <a:pt x="921" y="1174"/>
                    <a:pt x="923" y="1146"/>
                    <a:pt x="911" y="1148"/>
                  </a:cubicBezTo>
                  <a:cubicBezTo>
                    <a:pt x="897" y="1150"/>
                    <a:pt x="908" y="1154"/>
                    <a:pt x="908" y="1159"/>
                  </a:cubicBezTo>
                  <a:cubicBezTo>
                    <a:pt x="907" y="1167"/>
                    <a:pt x="899" y="1158"/>
                    <a:pt x="906" y="1170"/>
                  </a:cubicBezTo>
                  <a:cubicBezTo>
                    <a:pt x="908" y="1175"/>
                    <a:pt x="898" y="1169"/>
                    <a:pt x="901" y="1173"/>
                  </a:cubicBezTo>
                  <a:cubicBezTo>
                    <a:pt x="906" y="1178"/>
                    <a:pt x="908" y="1178"/>
                    <a:pt x="910" y="1181"/>
                  </a:cubicBezTo>
                  <a:cubicBezTo>
                    <a:pt x="910" y="1182"/>
                    <a:pt x="913" y="1185"/>
                    <a:pt x="910" y="1185"/>
                  </a:cubicBezTo>
                  <a:cubicBezTo>
                    <a:pt x="900" y="1185"/>
                    <a:pt x="891" y="1162"/>
                    <a:pt x="888" y="1160"/>
                  </a:cubicBezTo>
                  <a:cubicBezTo>
                    <a:pt x="883" y="1157"/>
                    <a:pt x="887" y="1172"/>
                    <a:pt x="882" y="1164"/>
                  </a:cubicBezTo>
                  <a:cubicBezTo>
                    <a:pt x="880" y="1161"/>
                    <a:pt x="885" y="1156"/>
                    <a:pt x="883" y="1154"/>
                  </a:cubicBezTo>
                  <a:cubicBezTo>
                    <a:pt x="881" y="1152"/>
                    <a:pt x="877" y="1149"/>
                    <a:pt x="875" y="1151"/>
                  </a:cubicBezTo>
                  <a:cubicBezTo>
                    <a:pt x="872" y="1153"/>
                    <a:pt x="865" y="1157"/>
                    <a:pt x="868" y="1159"/>
                  </a:cubicBezTo>
                  <a:cubicBezTo>
                    <a:pt x="874" y="1165"/>
                    <a:pt x="876" y="1168"/>
                    <a:pt x="879" y="1177"/>
                  </a:cubicBezTo>
                  <a:cubicBezTo>
                    <a:pt x="881" y="1181"/>
                    <a:pt x="869" y="1180"/>
                    <a:pt x="869" y="1181"/>
                  </a:cubicBezTo>
                  <a:cubicBezTo>
                    <a:pt x="876" y="1193"/>
                    <a:pt x="877" y="1196"/>
                    <a:pt x="874" y="1204"/>
                  </a:cubicBezTo>
                  <a:cubicBezTo>
                    <a:pt x="874" y="1206"/>
                    <a:pt x="887" y="1208"/>
                    <a:pt x="886" y="1208"/>
                  </a:cubicBezTo>
                  <a:cubicBezTo>
                    <a:pt x="863" y="1224"/>
                    <a:pt x="877" y="1204"/>
                    <a:pt x="856" y="1210"/>
                  </a:cubicBezTo>
                  <a:cubicBezTo>
                    <a:pt x="853" y="1212"/>
                    <a:pt x="870" y="1214"/>
                    <a:pt x="870" y="1217"/>
                  </a:cubicBezTo>
                  <a:cubicBezTo>
                    <a:pt x="870" y="1220"/>
                    <a:pt x="856" y="1217"/>
                    <a:pt x="854" y="1217"/>
                  </a:cubicBezTo>
                  <a:cubicBezTo>
                    <a:pt x="849" y="1215"/>
                    <a:pt x="837" y="1227"/>
                    <a:pt x="830" y="1223"/>
                  </a:cubicBezTo>
                  <a:cubicBezTo>
                    <a:pt x="830" y="1223"/>
                    <a:pt x="827" y="1222"/>
                    <a:pt x="829" y="1221"/>
                  </a:cubicBezTo>
                  <a:cubicBezTo>
                    <a:pt x="831" y="1220"/>
                    <a:pt x="834" y="1222"/>
                    <a:pt x="836" y="1221"/>
                  </a:cubicBezTo>
                  <a:cubicBezTo>
                    <a:pt x="839" y="1219"/>
                    <a:pt x="822" y="1213"/>
                    <a:pt x="821" y="1212"/>
                  </a:cubicBezTo>
                  <a:cubicBezTo>
                    <a:pt x="820" y="1209"/>
                    <a:pt x="842" y="1219"/>
                    <a:pt x="843" y="1218"/>
                  </a:cubicBezTo>
                  <a:cubicBezTo>
                    <a:pt x="849" y="1216"/>
                    <a:pt x="825" y="1205"/>
                    <a:pt x="831" y="1205"/>
                  </a:cubicBezTo>
                  <a:cubicBezTo>
                    <a:pt x="832" y="1205"/>
                    <a:pt x="846" y="1215"/>
                    <a:pt x="846" y="1213"/>
                  </a:cubicBezTo>
                  <a:cubicBezTo>
                    <a:pt x="848" y="1207"/>
                    <a:pt x="836" y="1204"/>
                    <a:pt x="834" y="1201"/>
                  </a:cubicBezTo>
                  <a:cubicBezTo>
                    <a:pt x="833" y="1200"/>
                    <a:pt x="830" y="1188"/>
                    <a:pt x="826" y="1183"/>
                  </a:cubicBezTo>
                  <a:cubicBezTo>
                    <a:pt x="831" y="1186"/>
                    <a:pt x="837" y="1189"/>
                    <a:pt x="840" y="1189"/>
                  </a:cubicBezTo>
                  <a:cubicBezTo>
                    <a:pt x="841" y="1189"/>
                    <a:pt x="829" y="1179"/>
                    <a:pt x="840" y="1182"/>
                  </a:cubicBezTo>
                  <a:cubicBezTo>
                    <a:pt x="842" y="1183"/>
                    <a:pt x="846" y="1186"/>
                    <a:pt x="847" y="1184"/>
                  </a:cubicBezTo>
                  <a:cubicBezTo>
                    <a:pt x="849" y="1181"/>
                    <a:pt x="823" y="1171"/>
                    <a:pt x="820" y="1167"/>
                  </a:cubicBezTo>
                  <a:cubicBezTo>
                    <a:pt x="805" y="1144"/>
                    <a:pt x="785" y="1157"/>
                    <a:pt x="772" y="1122"/>
                  </a:cubicBezTo>
                  <a:cubicBezTo>
                    <a:pt x="772" y="1122"/>
                    <a:pt x="775" y="1121"/>
                    <a:pt x="775" y="1120"/>
                  </a:cubicBezTo>
                  <a:cubicBezTo>
                    <a:pt x="776" y="1117"/>
                    <a:pt x="780" y="1120"/>
                    <a:pt x="783" y="1115"/>
                  </a:cubicBezTo>
                  <a:cubicBezTo>
                    <a:pt x="783" y="1114"/>
                    <a:pt x="775" y="1110"/>
                    <a:pt x="774" y="1110"/>
                  </a:cubicBezTo>
                  <a:cubicBezTo>
                    <a:pt x="769" y="1110"/>
                    <a:pt x="779" y="1097"/>
                    <a:pt x="781" y="1095"/>
                  </a:cubicBezTo>
                  <a:cubicBezTo>
                    <a:pt x="782" y="1094"/>
                    <a:pt x="801" y="1095"/>
                    <a:pt x="786" y="1091"/>
                  </a:cubicBezTo>
                  <a:cubicBezTo>
                    <a:pt x="782" y="1091"/>
                    <a:pt x="795" y="1093"/>
                    <a:pt x="795" y="1090"/>
                  </a:cubicBezTo>
                  <a:cubicBezTo>
                    <a:pt x="795" y="1085"/>
                    <a:pt x="792" y="1087"/>
                    <a:pt x="790" y="1087"/>
                  </a:cubicBezTo>
                  <a:cubicBezTo>
                    <a:pt x="780" y="1087"/>
                    <a:pt x="783" y="1094"/>
                    <a:pt x="774" y="1095"/>
                  </a:cubicBezTo>
                  <a:cubicBezTo>
                    <a:pt x="768" y="1096"/>
                    <a:pt x="765" y="1087"/>
                    <a:pt x="762" y="1087"/>
                  </a:cubicBezTo>
                  <a:cubicBezTo>
                    <a:pt x="753" y="1085"/>
                    <a:pt x="754" y="1097"/>
                    <a:pt x="745" y="1091"/>
                  </a:cubicBezTo>
                  <a:cubicBezTo>
                    <a:pt x="741" y="1088"/>
                    <a:pt x="753" y="1080"/>
                    <a:pt x="747" y="1076"/>
                  </a:cubicBezTo>
                  <a:cubicBezTo>
                    <a:pt x="746" y="1075"/>
                    <a:pt x="744" y="1077"/>
                    <a:pt x="743" y="1078"/>
                  </a:cubicBezTo>
                  <a:cubicBezTo>
                    <a:pt x="730" y="1082"/>
                    <a:pt x="744" y="1085"/>
                    <a:pt x="738" y="1093"/>
                  </a:cubicBezTo>
                  <a:cubicBezTo>
                    <a:pt x="734" y="1098"/>
                    <a:pt x="749" y="1095"/>
                    <a:pt x="743" y="1100"/>
                  </a:cubicBezTo>
                  <a:cubicBezTo>
                    <a:pt x="738" y="1103"/>
                    <a:pt x="732" y="1103"/>
                    <a:pt x="729" y="1093"/>
                  </a:cubicBezTo>
                  <a:cubicBezTo>
                    <a:pt x="729" y="1092"/>
                    <a:pt x="723" y="1088"/>
                    <a:pt x="723" y="1089"/>
                  </a:cubicBezTo>
                  <a:cubicBezTo>
                    <a:pt x="722" y="1092"/>
                    <a:pt x="727" y="1093"/>
                    <a:pt x="728" y="1095"/>
                  </a:cubicBezTo>
                  <a:cubicBezTo>
                    <a:pt x="729" y="1099"/>
                    <a:pt x="720" y="1097"/>
                    <a:pt x="719" y="1097"/>
                  </a:cubicBezTo>
                  <a:cubicBezTo>
                    <a:pt x="717" y="1097"/>
                    <a:pt x="712" y="1095"/>
                    <a:pt x="711" y="1095"/>
                  </a:cubicBezTo>
                  <a:cubicBezTo>
                    <a:pt x="703" y="1090"/>
                    <a:pt x="697" y="1076"/>
                    <a:pt x="691" y="1068"/>
                  </a:cubicBezTo>
                  <a:cubicBezTo>
                    <a:pt x="691" y="1068"/>
                    <a:pt x="691" y="1067"/>
                    <a:pt x="691" y="1067"/>
                  </a:cubicBezTo>
                  <a:cubicBezTo>
                    <a:pt x="692" y="1062"/>
                    <a:pt x="698" y="1071"/>
                    <a:pt x="700" y="1071"/>
                  </a:cubicBezTo>
                  <a:cubicBezTo>
                    <a:pt x="707" y="1071"/>
                    <a:pt x="700" y="1061"/>
                    <a:pt x="701" y="1055"/>
                  </a:cubicBezTo>
                  <a:cubicBezTo>
                    <a:pt x="701" y="1052"/>
                    <a:pt x="707" y="1048"/>
                    <a:pt x="706" y="1047"/>
                  </a:cubicBezTo>
                  <a:cubicBezTo>
                    <a:pt x="705" y="1046"/>
                    <a:pt x="702" y="1042"/>
                    <a:pt x="704" y="1041"/>
                  </a:cubicBezTo>
                  <a:cubicBezTo>
                    <a:pt x="706" y="1040"/>
                    <a:pt x="699" y="1044"/>
                    <a:pt x="697" y="1043"/>
                  </a:cubicBezTo>
                  <a:cubicBezTo>
                    <a:pt x="696" y="1042"/>
                    <a:pt x="696" y="1041"/>
                    <a:pt x="696" y="1040"/>
                  </a:cubicBezTo>
                  <a:cubicBezTo>
                    <a:pt x="697" y="1035"/>
                    <a:pt x="687" y="1024"/>
                    <a:pt x="691" y="1027"/>
                  </a:cubicBezTo>
                  <a:cubicBezTo>
                    <a:pt x="693" y="1029"/>
                    <a:pt x="696" y="1037"/>
                    <a:pt x="698" y="1034"/>
                  </a:cubicBezTo>
                  <a:cubicBezTo>
                    <a:pt x="706" y="1025"/>
                    <a:pt x="665" y="1000"/>
                    <a:pt x="661" y="1006"/>
                  </a:cubicBezTo>
                  <a:cubicBezTo>
                    <a:pt x="660" y="1007"/>
                    <a:pt x="673" y="1021"/>
                    <a:pt x="673" y="1021"/>
                  </a:cubicBezTo>
                  <a:cubicBezTo>
                    <a:pt x="678" y="1018"/>
                    <a:pt x="669" y="1015"/>
                    <a:pt x="673" y="1013"/>
                  </a:cubicBezTo>
                  <a:cubicBezTo>
                    <a:pt x="681" y="1011"/>
                    <a:pt x="687" y="1026"/>
                    <a:pt x="692" y="1040"/>
                  </a:cubicBezTo>
                  <a:cubicBezTo>
                    <a:pt x="698" y="1054"/>
                    <a:pt x="678" y="1045"/>
                    <a:pt x="693" y="1061"/>
                  </a:cubicBezTo>
                  <a:cubicBezTo>
                    <a:pt x="695" y="1064"/>
                    <a:pt x="680" y="1063"/>
                    <a:pt x="683" y="1066"/>
                  </a:cubicBezTo>
                  <a:cubicBezTo>
                    <a:pt x="701" y="1080"/>
                    <a:pt x="684" y="1078"/>
                    <a:pt x="686" y="1083"/>
                  </a:cubicBezTo>
                  <a:cubicBezTo>
                    <a:pt x="687" y="1086"/>
                    <a:pt x="690" y="1084"/>
                    <a:pt x="691" y="1083"/>
                  </a:cubicBezTo>
                  <a:cubicBezTo>
                    <a:pt x="692" y="1082"/>
                    <a:pt x="693" y="1083"/>
                    <a:pt x="693" y="1088"/>
                  </a:cubicBezTo>
                  <a:cubicBezTo>
                    <a:pt x="693" y="1088"/>
                    <a:pt x="698" y="1092"/>
                    <a:pt x="699" y="1092"/>
                  </a:cubicBezTo>
                  <a:cubicBezTo>
                    <a:pt x="702" y="1094"/>
                    <a:pt x="717" y="1121"/>
                    <a:pt x="722" y="1117"/>
                  </a:cubicBezTo>
                  <a:cubicBezTo>
                    <a:pt x="724" y="1116"/>
                    <a:pt x="719" y="1110"/>
                    <a:pt x="722" y="1107"/>
                  </a:cubicBezTo>
                  <a:cubicBezTo>
                    <a:pt x="723" y="1107"/>
                    <a:pt x="725" y="1112"/>
                    <a:pt x="726" y="1108"/>
                  </a:cubicBezTo>
                  <a:cubicBezTo>
                    <a:pt x="727" y="1104"/>
                    <a:pt x="732" y="1102"/>
                    <a:pt x="734" y="1107"/>
                  </a:cubicBezTo>
                  <a:cubicBezTo>
                    <a:pt x="735" y="1114"/>
                    <a:pt x="725" y="1110"/>
                    <a:pt x="729" y="1118"/>
                  </a:cubicBezTo>
                  <a:cubicBezTo>
                    <a:pt x="729" y="1118"/>
                    <a:pt x="729" y="1119"/>
                    <a:pt x="730" y="1119"/>
                  </a:cubicBezTo>
                  <a:cubicBezTo>
                    <a:pt x="727" y="1120"/>
                    <a:pt x="725" y="1122"/>
                    <a:pt x="725" y="1124"/>
                  </a:cubicBezTo>
                  <a:cubicBezTo>
                    <a:pt x="725" y="1127"/>
                    <a:pt x="733" y="1127"/>
                    <a:pt x="732" y="1130"/>
                  </a:cubicBezTo>
                  <a:cubicBezTo>
                    <a:pt x="732" y="1136"/>
                    <a:pt x="726" y="1131"/>
                    <a:pt x="726" y="1131"/>
                  </a:cubicBezTo>
                  <a:cubicBezTo>
                    <a:pt x="726" y="1137"/>
                    <a:pt x="725" y="1142"/>
                    <a:pt x="725" y="1146"/>
                  </a:cubicBezTo>
                  <a:cubicBezTo>
                    <a:pt x="724" y="1149"/>
                    <a:pt x="732" y="1157"/>
                    <a:pt x="729" y="1156"/>
                  </a:cubicBezTo>
                  <a:cubicBezTo>
                    <a:pt x="724" y="1154"/>
                    <a:pt x="718" y="1146"/>
                    <a:pt x="716" y="1150"/>
                  </a:cubicBezTo>
                  <a:cubicBezTo>
                    <a:pt x="714" y="1157"/>
                    <a:pt x="735" y="1160"/>
                    <a:pt x="737" y="1166"/>
                  </a:cubicBezTo>
                  <a:cubicBezTo>
                    <a:pt x="740" y="1174"/>
                    <a:pt x="725" y="1160"/>
                    <a:pt x="724" y="1163"/>
                  </a:cubicBezTo>
                  <a:cubicBezTo>
                    <a:pt x="724" y="1165"/>
                    <a:pt x="732" y="1172"/>
                    <a:pt x="734" y="1175"/>
                  </a:cubicBezTo>
                  <a:cubicBezTo>
                    <a:pt x="735" y="1176"/>
                    <a:pt x="737" y="1178"/>
                    <a:pt x="735" y="1178"/>
                  </a:cubicBezTo>
                  <a:cubicBezTo>
                    <a:pt x="732" y="1177"/>
                    <a:pt x="719" y="1167"/>
                    <a:pt x="720" y="1163"/>
                  </a:cubicBezTo>
                  <a:cubicBezTo>
                    <a:pt x="721" y="1162"/>
                    <a:pt x="721" y="1158"/>
                    <a:pt x="720" y="1159"/>
                  </a:cubicBezTo>
                  <a:cubicBezTo>
                    <a:pt x="718" y="1159"/>
                    <a:pt x="714" y="1167"/>
                    <a:pt x="711" y="1165"/>
                  </a:cubicBezTo>
                  <a:cubicBezTo>
                    <a:pt x="708" y="1164"/>
                    <a:pt x="712" y="1156"/>
                    <a:pt x="708" y="1155"/>
                  </a:cubicBezTo>
                  <a:cubicBezTo>
                    <a:pt x="704" y="1153"/>
                    <a:pt x="707" y="1163"/>
                    <a:pt x="705" y="1158"/>
                  </a:cubicBezTo>
                  <a:cubicBezTo>
                    <a:pt x="701" y="1150"/>
                    <a:pt x="702" y="1168"/>
                    <a:pt x="701" y="1168"/>
                  </a:cubicBezTo>
                  <a:cubicBezTo>
                    <a:pt x="696" y="1169"/>
                    <a:pt x="678" y="1142"/>
                    <a:pt x="682" y="1153"/>
                  </a:cubicBezTo>
                  <a:cubicBezTo>
                    <a:pt x="685" y="1161"/>
                    <a:pt x="703" y="1182"/>
                    <a:pt x="709" y="1171"/>
                  </a:cubicBezTo>
                  <a:cubicBezTo>
                    <a:pt x="709" y="1170"/>
                    <a:pt x="705" y="1168"/>
                    <a:pt x="705" y="1168"/>
                  </a:cubicBezTo>
                  <a:cubicBezTo>
                    <a:pt x="703" y="1166"/>
                    <a:pt x="710" y="1169"/>
                    <a:pt x="712" y="1169"/>
                  </a:cubicBezTo>
                  <a:cubicBezTo>
                    <a:pt x="715" y="1168"/>
                    <a:pt x="712" y="1175"/>
                    <a:pt x="718" y="1181"/>
                  </a:cubicBezTo>
                  <a:cubicBezTo>
                    <a:pt x="719" y="1182"/>
                    <a:pt x="723" y="1184"/>
                    <a:pt x="724" y="1184"/>
                  </a:cubicBezTo>
                  <a:cubicBezTo>
                    <a:pt x="732" y="1181"/>
                    <a:pt x="720" y="1173"/>
                    <a:pt x="723" y="1173"/>
                  </a:cubicBezTo>
                  <a:cubicBezTo>
                    <a:pt x="724" y="1172"/>
                    <a:pt x="748" y="1194"/>
                    <a:pt x="739" y="1177"/>
                  </a:cubicBezTo>
                  <a:cubicBezTo>
                    <a:pt x="739" y="1176"/>
                    <a:pt x="735" y="1168"/>
                    <a:pt x="740" y="1171"/>
                  </a:cubicBezTo>
                  <a:cubicBezTo>
                    <a:pt x="741" y="1172"/>
                    <a:pt x="744" y="1177"/>
                    <a:pt x="744" y="1178"/>
                  </a:cubicBezTo>
                  <a:cubicBezTo>
                    <a:pt x="747" y="1198"/>
                    <a:pt x="750" y="1182"/>
                    <a:pt x="754" y="1191"/>
                  </a:cubicBezTo>
                  <a:cubicBezTo>
                    <a:pt x="757" y="1197"/>
                    <a:pt x="745" y="1190"/>
                    <a:pt x="744" y="1193"/>
                  </a:cubicBezTo>
                  <a:cubicBezTo>
                    <a:pt x="744" y="1198"/>
                    <a:pt x="757" y="1210"/>
                    <a:pt x="759" y="1216"/>
                  </a:cubicBezTo>
                  <a:cubicBezTo>
                    <a:pt x="761" y="1219"/>
                    <a:pt x="746" y="1216"/>
                    <a:pt x="749" y="1218"/>
                  </a:cubicBezTo>
                  <a:cubicBezTo>
                    <a:pt x="755" y="1223"/>
                    <a:pt x="783" y="1230"/>
                    <a:pt x="786" y="1229"/>
                  </a:cubicBezTo>
                  <a:cubicBezTo>
                    <a:pt x="786" y="1229"/>
                    <a:pt x="774" y="1226"/>
                    <a:pt x="783" y="1224"/>
                  </a:cubicBezTo>
                  <a:cubicBezTo>
                    <a:pt x="791" y="1222"/>
                    <a:pt x="804" y="1235"/>
                    <a:pt x="801" y="1235"/>
                  </a:cubicBezTo>
                  <a:cubicBezTo>
                    <a:pt x="799" y="1234"/>
                    <a:pt x="789" y="1228"/>
                    <a:pt x="788" y="1230"/>
                  </a:cubicBezTo>
                  <a:cubicBezTo>
                    <a:pt x="786" y="1233"/>
                    <a:pt x="820" y="1245"/>
                    <a:pt x="822" y="1248"/>
                  </a:cubicBezTo>
                  <a:cubicBezTo>
                    <a:pt x="822" y="1249"/>
                    <a:pt x="830" y="1250"/>
                    <a:pt x="829" y="1252"/>
                  </a:cubicBezTo>
                  <a:cubicBezTo>
                    <a:pt x="829" y="1252"/>
                    <a:pt x="816" y="1252"/>
                    <a:pt x="815" y="1252"/>
                  </a:cubicBezTo>
                  <a:cubicBezTo>
                    <a:pt x="815" y="1252"/>
                    <a:pt x="814" y="1252"/>
                    <a:pt x="814" y="1252"/>
                  </a:cubicBezTo>
                  <a:cubicBezTo>
                    <a:pt x="814" y="1253"/>
                    <a:pt x="818" y="1255"/>
                    <a:pt x="819" y="1255"/>
                  </a:cubicBezTo>
                  <a:cubicBezTo>
                    <a:pt x="832" y="1259"/>
                    <a:pt x="836" y="1257"/>
                    <a:pt x="838" y="1266"/>
                  </a:cubicBezTo>
                  <a:cubicBezTo>
                    <a:pt x="840" y="1273"/>
                    <a:pt x="803" y="1261"/>
                    <a:pt x="803" y="1262"/>
                  </a:cubicBezTo>
                  <a:cubicBezTo>
                    <a:pt x="801" y="1264"/>
                    <a:pt x="808" y="1263"/>
                    <a:pt x="808" y="1264"/>
                  </a:cubicBezTo>
                  <a:cubicBezTo>
                    <a:pt x="812" y="1268"/>
                    <a:pt x="799" y="1267"/>
                    <a:pt x="807" y="1272"/>
                  </a:cubicBezTo>
                  <a:cubicBezTo>
                    <a:pt x="807" y="1273"/>
                    <a:pt x="809" y="1276"/>
                    <a:pt x="808" y="1277"/>
                  </a:cubicBezTo>
                  <a:cubicBezTo>
                    <a:pt x="805" y="1278"/>
                    <a:pt x="801" y="1271"/>
                    <a:pt x="801" y="1271"/>
                  </a:cubicBezTo>
                  <a:cubicBezTo>
                    <a:pt x="798" y="1272"/>
                    <a:pt x="801" y="1278"/>
                    <a:pt x="801" y="1279"/>
                  </a:cubicBezTo>
                  <a:cubicBezTo>
                    <a:pt x="800" y="1279"/>
                    <a:pt x="798" y="1274"/>
                    <a:pt x="795" y="1274"/>
                  </a:cubicBezTo>
                  <a:cubicBezTo>
                    <a:pt x="789" y="1272"/>
                    <a:pt x="802" y="1282"/>
                    <a:pt x="793" y="1279"/>
                  </a:cubicBezTo>
                  <a:cubicBezTo>
                    <a:pt x="788" y="1278"/>
                    <a:pt x="789" y="1271"/>
                    <a:pt x="783" y="1277"/>
                  </a:cubicBezTo>
                  <a:cubicBezTo>
                    <a:pt x="782" y="1278"/>
                    <a:pt x="782" y="1278"/>
                    <a:pt x="781" y="1279"/>
                  </a:cubicBezTo>
                  <a:cubicBezTo>
                    <a:pt x="778" y="1284"/>
                    <a:pt x="784" y="1309"/>
                    <a:pt x="767" y="1316"/>
                  </a:cubicBezTo>
                  <a:cubicBezTo>
                    <a:pt x="764" y="1318"/>
                    <a:pt x="764" y="1313"/>
                    <a:pt x="763" y="1311"/>
                  </a:cubicBezTo>
                  <a:cubicBezTo>
                    <a:pt x="762" y="1305"/>
                    <a:pt x="760" y="1296"/>
                    <a:pt x="755" y="1296"/>
                  </a:cubicBezTo>
                  <a:cubicBezTo>
                    <a:pt x="747" y="1296"/>
                    <a:pt x="758" y="1294"/>
                    <a:pt x="756" y="1292"/>
                  </a:cubicBezTo>
                  <a:cubicBezTo>
                    <a:pt x="750" y="1284"/>
                    <a:pt x="749" y="1284"/>
                    <a:pt x="745" y="1276"/>
                  </a:cubicBezTo>
                  <a:cubicBezTo>
                    <a:pt x="744" y="1275"/>
                    <a:pt x="734" y="1281"/>
                    <a:pt x="734" y="1277"/>
                  </a:cubicBezTo>
                  <a:cubicBezTo>
                    <a:pt x="735" y="1274"/>
                    <a:pt x="728" y="1266"/>
                    <a:pt x="726" y="1268"/>
                  </a:cubicBezTo>
                  <a:cubicBezTo>
                    <a:pt x="719" y="1277"/>
                    <a:pt x="744" y="1282"/>
                    <a:pt x="743" y="1286"/>
                  </a:cubicBezTo>
                  <a:cubicBezTo>
                    <a:pt x="741" y="1291"/>
                    <a:pt x="738" y="1292"/>
                    <a:pt x="733" y="1292"/>
                  </a:cubicBezTo>
                  <a:cubicBezTo>
                    <a:pt x="722" y="1293"/>
                    <a:pt x="725" y="1296"/>
                    <a:pt x="734" y="1296"/>
                  </a:cubicBezTo>
                  <a:cubicBezTo>
                    <a:pt x="734" y="1296"/>
                    <a:pt x="736" y="1295"/>
                    <a:pt x="736" y="1296"/>
                  </a:cubicBezTo>
                  <a:cubicBezTo>
                    <a:pt x="737" y="1298"/>
                    <a:pt x="733" y="1300"/>
                    <a:pt x="731" y="1301"/>
                  </a:cubicBezTo>
                  <a:cubicBezTo>
                    <a:pt x="724" y="1301"/>
                    <a:pt x="721" y="1305"/>
                    <a:pt x="719" y="1302"/>
                  </a:cubicBezTo>
                  <a:cubicBezTo>
                    <a:pt x="717" y="1301"/>
                    <a:pt x="718" y="1290"/>
                    <a:pt x="713" y="1292"/>
                  </a:cubicBezTo>
                  <a:cubicBezTo>
                    <a:pt x="711" y="1293"/>
                    <a:pt x="714" y="1300"/>
                    <a:pt x="714" y="1301"/>
                  </a:cubicBezTo>
                  <a:cubicBezTo>
                    <a:pt x="714" y="1308"/>
                    <a:pt x="724" y="1316"/>
                    <a:pt x="702" y="1308"/>
                  </a:cubicBezTo>
                  <a:cubicBezTo>
                    <a:pt x="701" y="1308"/>
                    <a:pt x="703" y="1300"/>
                    <a:pt x="704" y="1300"/>
                  </a:cubicBezTo>
                  <a:cubicBezTo>
                    <a:pt x="706" y="1299"/>
                    <a:pt x="706" y="1297"/>
                    <a:pt x="705" y="1295"/>
                  </a:cubicBezTo>
                  <a:cubicBezTo>
                    <a:pt x="702" y="1292"/>
                    <a:pt x="702" y="1301"/>
                    <a:pt x="700" y="1299"/>
                  </a:cubicBezTo>
                  <a:cubicBezTo>
                    <a:pt x="699" y="1297"/>
                    <a:pt x="706" y="1278"/>
                    <a:pt x="696" y="1289"/>
                  </a:cubicBezTo>
                  <a:cubicBezTo>
                    <a:pt x="691" y="1294"/>
                    <a:pt x="697" y="1311"/>
                    <a:pt x="705" y="1313"/>
                  </a:cubicBezTo>
                  <a:cubicBezTo>
                    <a:pt x="707" y="1314"/>
                    <a:pt x="715" y="1319"/>
                    <a:pt x="715" y="1319"/>
                  </a:cubicBezTo>
                  <a:cubicBezTo>
                    <a:pt x="704" y="1319"/>
                    <a:pt x="688" y="1309"/>
                    <a:pt x="695" y="1322"/>
                  </a:cubicBezTo>
                  <a:cubicBezTo>
                    <a:pt x="698" y="1327"/>
                    <a:pt x="699" y="1318"/>
                    <a:pt x="703" y="1321"/>
                  </a:cubicBezTo>
                  <a:cubicBezTo>
                    <a:pt x="704" y="1322"/>
                    <a:pt x="701" y="1327"/>
                    <a:pt x="700" y="1327"/>
                  </a:cubicBezTo>
                  <a:cubicBezTo>
                    <a:pt x="691" y="1332"/>
                    <a:pt x="697" y="1332"/>
                    <a:pt x="693" y="1340"/>
                  </a:cubicBezTo>
                  <a:cubicBezTo>
                    <a:pt x="692" y="1342"/>
                    <a:pt x="699" y="1335"/>
                    <a:pt x="701" y="1337"/>
                  </a:cubicBezTo>
                  <a:close/>
                  <a:moveTo>
                    <a:pt x="729" y="1375"/>
                  </a:moveTo>
                  <a:cubicBezTo>
                    <a:pt x="729" y="1376"/>
                    <a:pt x="733" y="1380"/>
                    <a:pt x="734" y="1379"/>
                  </a:cubicBezTo>
                  <a:cubicBezTo>
                    <a:pt x="738" y="1379"/>
                    <a:pt x="737" y="1384"/>
                    <a:pt x="732" y="1389"/>
                  </a:cubicBezTo>
                  <a:cubicBezTo>
                    <a:pt x="730" y="1392"/>
                    <a:pt x="730" y="1380"/>
                    <a:pt x="727" y="1384"/>
                  </a:cubicBezTo>
                  <a:cubicBezTo>
                    <a:pt x="717" y="1401"/>
                    <a:pt x="707" y="1371"/>
                    <a:pt x="699" y="1387"/>
                  </a:cubicBezTo>
                  <a:cubicBezTo>
                    <a:pt x="699" y="1388"/>
                    <a:pt x="699" y="1388"/>
                    <a:pt x="699" y="1388"/>
                  </a:cubicBezTo>
                  <a:cubicBezTo>
                    <a:pt x="699" y="1388"/>
                    <a:pt x="699" y="1392"/>
                    <a:pt x="701" y="1390"/>
                  </a:cubicBezTo>
                  <a:cubicBezTo>
                    <a:pt x="703" y="1387"/>
                    <a:pt x="741" y="1403"/>
                    <a:pt x="749" y="1388"/>
                  </a:cubicBezTo>
                  <a:cubicBezTo>
                    <a:pt x="751" y="1385"/>
                    <a:pt x="732" y="1369"/>
                    <a:pt x="729" y="1375"/>
                  </a:cubicBezTo>
                  <a:close/>
                  <a:moveTo>
                    <a:pt x="171" y="1048"/>
                  </a:moveTo>
                  <a:cubicBezTo>
                    <a:pt x="186" y="1038"/>
                    <a:pt x="165" y="1042"/>
                    <a:pt x="165" y="1041"/>
                  </a:cubicBezTo>
                  <a:cubicBezTo>
                    <a:pt x="165" y="1041"/>
                    <a:pt x="165" y="1041"/>
                    <a:pt x="165" y="1041"/>
                  </a:cubicBezTo>
                  <a:cubicBezTo>
                    <a:pt x="162" y="1042"/>
                    <a:pt x="168" y="1050"/>
                    <a:pt x="171" y="1048"/>
                  </a:cubicBezTo>
                  <a:close/>
                  <a:moveTo>
                    <a:pt x="154" y="1052"/>
                  </a:moveTo>
                  <a:cubicBezTo>
                    <a:pt x="138" y="1053"/>
                    <a:pt x="174" y="1083"/>
                    <a:pt x="179" y="1055"/>
                  </a:cubicBezTo>
                  <a:cubicBezTo>
                    <a:pt x="179" y="1054"/>
                    <a:pt x="179" y="1054"/>
                    <a:pt x="179" y="1054"/>
                  </a:cubicBezTo>
                  <a:cubicBezTo>
                    <a:pt x="176" y="1049"/>
                    <a:pt x="165" y="1059"/>
                    <a:pt x="161" y="1059"/>
                  </a:cubicBezTo>
                  <a:cubicBezTo>
                    <a:pt x="156" y="1058"/>
                    <a:pt x="170" y="1051"/>
                    <a:pt x="154" y="1052"/>
                  </a:cubicBezTo>
                  <a:close/>
                  <a:moveTo>
                    <a:pt x="94" y="1525"/>
                  </a:moveTo>
                  <a:cubicBezTo>
                    <a:pt x="95" y="1526"/>
                    <a:pt x="106" y="1526"/>
                    <a:pt x="104" y="1522"/>
                  </a:cubicBezTo>
                  <a:cubicBezTo>
                    <a:pt x="103" y="1520"/>
                    <a:pt x="102" y="1522"/>
                    <a:pt x="101" y="1519"/>
                  </a:cubicBezTo>
                  <a:cubicBezTo>
                    <a:pt x="100" y="1519"/>
                    <a:pt x="100" y="1519"/>
                    <a:pt x="100" y="1519"/>
                  </a:cubicBezTo>
                  <a:cubicBezTo>
                    <a:pt x="98" y="1519"/>
                    <a:pt x="92" y="1524"/>
                    <a:pt x="94" y="1525"/>
                  </a:cubicBezTo>
                  <a:close/>
                  <a:moveTo>
                    <a:pt x="86" y="1521"/>
                  </a:moveTo>
                  <a:cubicBezTo>
                    <a:pt x="83" y="1530"/>
                    <a:pt x="87" y="1523"/>
                    <a:pt x="89" y="1520"/>
                  </a:cubicBezTo>
                  <a:cubicBezTo>
                    <a:pt x="90" y="1519"/>
                    <a:pt x="90" y="1519"/>
                    <a:pt x="90" y="1519"/>
                  </a:cubicBezTo>
                  <a:cubicBezTo>
                    <a:pt x="91" y="1517"/>
                    <a:pt x="87" y="1518"/>
                    <a:pt x="86" y="1521"/>
                  </a:cubicBezTo>
                  <a:close/>
                  <a:moveTo>
                    <a:pt x="75" y="1530"/>
                  </a:moveTo>
                  <a:cubicBezTo>
                    <a:pt x="76" y="1531"/>
                    <a:pt x="79" y="1529"/>
                    <a:pt x="80" y="1529"/>
                  </a:cubicBezTo>
                  <a:cubicBezTo>
                    <a:pt x="80" y="1529"/>
                    <a:pt x="84" y="1531"/>
                    <a:pt x="85" y="1530"/>
                  </a:cubicBezTo>
                  <a:cubicBezTo>
                    <a:pt x="85" y="1529"/>
                    <a:pt x="84" y="1528"/>
                    <a:pt x="83" y="1527"/>
                  </a:cubicBezTo>
                  <a:cubicBezTo>
                    <a:pt x="82" y="1527"/>
                    <a:pt x="82" y="1527"/>
                    <a:pt x="82" y="1527"/>
                  </a:cubicBezTo>
                  <a:cubicBezTo>
                    <a:pt x="82" y="1527"/>
                    <a:pt x="80" y="1526"/>
                    <a:pt x="79" y="1526"/>
                  </a:cubicBezTo>
                  <a:cubicBezTo>
                    <a:pt x="79" y="1526"/>
                    <a:pt x="75" y="1530"/>
                    <a:pt x="75" y="15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" name="Denmark"/>
            <p:cNvSpPr>
              <a:spLocks noEditPoints="1"/>
            </p:cNvSpPr>
            <p:nvPr/>
          </p:nvSpPr>
          <p:spPr bwMode="auto">
            <a:xfrm>
              <a:off x="3141" y="1709"/>
              <a:ext cx="337" cy="232"/>
            </a:xfrm>
            <a:custGeom>
              <a:avLst/>
              <a:gdLst>
                <a:gd name="T0" fmla="*/ 138 w 647"/>
                <a:gd name="T1" fmla="*/ 401 h 446"/>
                <a:gd name="T2" fmla="*/ 52 w 647"/>
                <a:gd name="T3" fmla="*/ 371 h 446"/>
                <a:gd name="T4" fmla="*/ 55 w 647"/>
                <a:gd name="T5" fmla="*/ 368 h 446"/>
                <a:gd name="T6" fmla="*/ 14 w 647"/>
                <a:gd name="T7" fmla="*/ 316 h 446"/>
                <a:gd name="T8" fmla="*/ 12 w 647"/>
                <a:gd name="T9" fmla="*/ 275 h 446"/>
                <a:gd name="T10" fmla="*/ 13 w 647"/>
                <a:gd name="T11" fmla="*/ 161 h 446"/>
                <a:gd name="T12" fmla="*/ 55 w 647"/>
                <a:gd name="T13" fmla="*/ 163 h 446"/>
                <a:gd name="T14" fmla="*/ 88 w 647"/>
                <a:gd name="T15" fmla="*/ 166 h 446"/>
                <a:gd name="T16" fmla="*/ 117 w 647"/>
                <a:gd name="T17" fmla="*/ 170 h 446"/>
                <a:gd name="T18" fmla="*/ 138 w 647"/>
                <a:gd name="T19" fmla="*/ 114 h 446"/>
                <a:gd name="T20" fmla="*/ 38 w 647"/>
                <a:gd name="T21" fmla="*/ 140 h 446"/>
                <a:gd name="T22" fmla="*/ 47 w 647"/>
                <a:gd name="T23" fmla="*/ 156 h 446"/>
                <a:gd name="T24" fmla="*/ 48 w 647"/>
                <a:gd name="T25" fmla="*/ 94 h 446"/>
                <a:gd name="T26" fmla="*/ 223 w 647"/>
                <a:gd name="T27" fmla="*/ 11 h 446"/>
                <a:gd name="T28" fmla="*/ 203 w 647"/>
                <a:gd name="T29" fmla="*/ 111 h 446"/>
                <a:gd name="T30" fmla="*/ 200 w 647"/>
                <a:gd name="T31" fmla="*/ 112 h 446"/>
                <a:gd name="T32" fmla="*/ 177 w 647"/>
                <a:gd name="T33" fmla="*/ 154 h 446"/>
                <a:gd name="T34" fmla="*/ 203 w 647"/>
                <a:gd name="T35" fmla="*/ 153 h 446"/>
                <a:gd name="T36" fmla="*/ 259 w 647"/>
                <a:gd name="T37" fmla="*/ 188 h 446"/>
                <a:gd name="T38" fmla="*/ 204 w 647"/>
                <a:gd name="T39" fmla="*/ 222 h 446"/>
                <a:gd name="T40" fmla="*/ 161 w 647"/>
                <a:gd name="T41" fmla="*/ 270 h 446"/>
                <a:gd name="T42" fmla="*/ 133 w 647"/>
                <a:gd name="T43" fmla="*/ 289 h 446"/>
                <a:gd name="T44" fmla="*/ 138 w 647"/>
                <a:gd name="T45" fmla="*/ 319 h 446"/>
                <a:gd name="T46" fmla="*/ 133 w 647"/>
                <a:gd name="T47" fmla="*/ 376 h 446"/>
                <a:gd name="T48" fmla="*/ 366 w 647"/>
                <a:gd name="T49" fmla="*/ 408 h 446"/>
                <a:gd name="T50" fmla="*/ 351 w 647"/>
                <a:gd name="T51" fmla="*/ 390 h 446"/>
                <a:gd name="T52" fmla="*/ 392 w 647"/>
                <a:gd name="T53" fmla="*/ 347 h 446"/>
                <a:gd name="T54" fmla="*/ 378 w 647"/>
                <a:gd name="T55" fmla="*/ 231 h 446"/>
                <a:gd name="T56" fmla="*/ 344 w 647"/>
                <a:gd name="T57" fmla="*/ 297 h 446"/>
                <a:gd name="T58" fmla="*/ 327 w 647"/>
                <a:gd name="T59" fmla="*/ 287 h 446"/>
                <a:gd name="T60" fmla="*/ 326 w 647"/>
                <a:gd name="T61" fmla="*/ 263 h 446"/>
                <a:gd name="T62" fmla="*/ 293 w 647"/>
                <a:gd name="T63" fmla="*/ 255 h 446"/>
                <a:gd name="T64" fmla="*/ 258 w 647"/>
                <a:gd name="T65" fmla="*/ 285 h 446"/>
                <a:gd name="T66" fmla="*/ 275 w 647"/>
                <a:gd name="T67" fmla="*/ 307 h 446"/>
                <a:gd name="T68" fmla="*/ 279 w 647"/>
                <a:gd name="T69" fmla="*/ 341 h 446"/>
                <a:gd name="T70" fmla="*/ 327 w 647"/>
                <a:gd name="T71" fmla="*/ 358 h 446"/>
                <a:gd name="T72" fmla="*/ 333 w 647"/>
                <a:gd name="T73" fmla="*/ 384 h 446"/>
                <a:gd name="T74" fmla="*/ 366 w 647"/>
                <a:gd name="T75" fmla="*/ 408 h 446"/>
                <a:gd name="T76" fmla="*/ 262 w 647"/>
                <a:gd name="T77" fmla="*/ 416 h 446"/>
                <a:gd name="T78" fmla="*/ 396 w 647"/>
                <a:gd name="T79" fmla="*/ 384 h 446"/>
                <a:gd name="T80" fmla="*/ 200 w 647"/>
                <a:gd name="T81" fmla="*/ 112 h 446"/>
                <a:gd name="T82" fmla="*/ 177 w 647"/>
                <a:gd name="T83" fmla="*/ 154 h 446"/>
                <a:gd name="T84" fmla="*/ 245 w 647"/>
                <a:gd name="T85" fmla="*/ 389 h 446"/>
                <a:gd name="T86" fmla="*/ 233 w 647"/>
                <a:gd name="T87" fmla="*/ 418 h 446"/>
                <a:gd name="T88" fmla="*/ 261 w 647"/>
                <a:gd name="T89" fmla="*/ 79 h 446"/>
                <a:gd name="T90" fmla="*/ 179 w 647"/>
                <a:gd name="T91" fmla="*/ 375 h 446"/>
                <a:gd name="T92" fmla="*/ 238 w 647"/>
                <a:gd name="T93" fmla="*/ 321 h 446"/>
                <a:gd name="T94" fmla="*/ 219 w 647"/>
                <a:gd name="T95" fmla="*/ 313 h 446"/>
                <a:gd name="T96" fmla="*/ 147 w 647"/>
                <a:gd name="T97" fmla="*/ 323 h 446"/>
                <a:gd name="T98" fmla="*/ 159 w 647"/>
                <a:gd name="T99" fmla="*/ 332 h 446"/>
                <a:gd name="T100" fmla="*/ 179 w 647"/>
                <a:gd name="T101" fmla="*/ 374 h 446"/>
                <a:gd name="T102" fmla="*/ 77 w 647"/>
                <a:gd name="T103" fmla="*/ 114 h 446"/>
                <a:gd name="T104" fmla="*/ 147 w 647"/>
                <a:gd name="T105" fmla="*/ 323 h 446"/>
                <a:gd name="T106" fmla="*/ 158 w 647"/>
                <a:gd name="T107" fmla="*/ 390 h 446"/>
                <a:gd name="T108" fmla="*/ 164 w 647"/>
                <a:gd name="T109" fmla="*/ 404 h 446"/>
                <a:gd name="T110" fmla="*/ 222 w 647"/>
                <a:gd name="T111" fmla="*/ 390 h 446"/>
                <a:gd name="T112" fmla="*/ 223 w 647"/>
                <a:gd name="T113" fmla="*/ 253 h 446"/>
                <a:gd name="T114" fmla="*/ 210 w 647"/>
                <a:gd name="T115" fmla="*/ 410 h 446"/>
                <a:gd name="T116" fmla="*/ 232 w 647"/>
                <a:gd name="T117" fmla="*/ 265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47" h="446">
                  <a:moveTo>
                    <a:pt x="152" y="397"/>
                  </a:moveTo>
                  <a:cubicBezTo>
                    <a:pt x="153" y="399"/>
                    <a:pt x="153" y="400"/>
                    <a:pt x="152" y="401"/>
                  </a:cubicBezTo>
                  <a:cubicBezTo>
                    <a:pt x="151" y="403"/>
                    <a:pt x="148" y="400"/>
                    <a:pt x="146" y="401"/>
                  </a:cubicBezTo>
                  <a:cubicBezTo>
                    <a:pt x="144" y="404"/>
                    <a:pt x="156" y="411"/>
                    <a:pt x="140" y="406"/>
                  </a:cubicBezTo>
                  <a:cubicBezTo>
                    <a:pt x="138" y="406"/>
                    <a:pt x="139" y="402"/>
                    <a:pt x="138" y="401"/>
                  </a:cubicBezTo>
                  <a:cubicBezTo>
                    <a:pt x="137" y="400"/>
                    <a:pt x="145" y="399"/>
                    <a:pt x="140" y="396"/>
                  </a:cubicBezTo>
                  <a:cubicBezTo>
                    <a:pt x="139" y="396"/>
                    <a:pt x="126" y="406"/>
                    <a:pt x="123" y="411"/>
                  </a:cubicBezTo>
                  <a:cubicBezTo>
                    <a:pt x="106" y="412"/>
                    <a:pt x="85" y="399"/>
                    <a:pt x="67" y="401"/>
                  </a:cubicBezTo>
                  <a:cubicBezTo>
                    <a:pt x="65" y="401"/>
                    <a:pt x="58" y="401"/>
                    <a:pt x="52" y="400"/>
                  </a:cubicBezTo>
                  <a:cubicBezTo>
                    <a:pt x="53" y="387"/>
                    <a:pt x="56" y="371"/>
                    <a:pt x="52" y="371"/>
                  </a:cubicBezTo>
                  <a:cubicBezTo>
                    <a:pt x="48" y="370"/>
                    <a:pt x="46" y="367"/>
                    <a:pt x="44" y="368"/>
                  </a:cubicBezTo>
                  <a:cubicBezTo>
                    <a:pt x="43" y="370"/>
                    <a:pt x="46" y="373"/>
                    <a:pt x="44" y="375"/>
                  </a:cubicBezTo>
                  <a:cubicBezTo>
                    <a:pt x="41" y="377"/>
                    <a:pt x="37" y="380"/>
                    <a:pt x="36" y="374"/>
                  </a:cubicBezTo>
                  <a:cubicBezTo>
                    <a:pt x="36" y="371"/>
                    <a:pt x="35" y="370"/>
                    <a:pt x="36" y="367"/>
                  </a:cubicBezTo>
                  <a:cubicBezTo>
                    <a:pt x="44" y="345"/>
                    <a:pt x="42" y="372"/>
                    <a:pt x="55" y="368"/>
                  </a:cubicBezTo>
                  <a:cubicBezTo>
                    <a:pt x="57" y="368"/>
                    <a:pt x="52" y="331"/>
                    <a:pt x="50" y="328"/>
                  </a:cubicBezTo>
                  <a:cubicBezTo>
                    <a:pt x="47" y="322"/>
                    <a:pt x="35" y="325"/>
                    <a:pt x="30" y="319"/>
                  </a:cubicBezTo>
                  <a:cubicBezTo>
                    <a:pt x="24" y="313"/>
                    <a:pt x="23" y="303"/>
                    <a:pt x="16" y="309"/>
                  </a:cubicBezTo>
                  <a:cubicBezTo>
                    <a:pt x="11" y="313"/>
                    <a:pt x="25" y="318"/>
                    <a:pt x="24" y="322"/>
                  </a:cubicBezTo>
                  <a:cubicBezTo>
                    <a:pt x="23" y="325"/>
                    <a:pt x="15" y="317"/>
                    <a:pt x="14" y="316"/>
                  </a:cubicBezTo>
                  <a:cubicBezTo>
                    <a:pt x="12" y="314"/>
                    <a:pt x="3" y="314"/>
                    <a:pt x="2" y="311"/>
                  </a:cubicBezTo>
                  <a:cubicBezTo>
                    <a:pt x="0" y="304"/>
                    <a:pt x="12" y="290"/>
                    <a:pt x="11" y="281"/>
                  </a:cubicBezTo>
                  <a:cubicBezTo>
                    <a:pt x="10" y="274"/>
                    <a:pt x="8" y="267"/>
                    <a:pt x="8" y="260"/>
                  </a:cubicBezTo>
                  <a:cubicBezTo>
                    <a:pt x="8" y="259"/>
                    <a:pt x="5" y="251"/>
                    <a:pt x="6" y="251"/>
                  </a:cubicBezTo>
                  <a:cubicBezTo>
                    <a:pt x="10" y="250"/>
                    <a:pt x="11" y="275"/>
                    <a:pt x="12" y="275"/>
                  </a:cubicBezTo>
                  <a:cubicBezTo>
                    <a:pt x="38" y="275"/>
                    <a:pt x="27" y="232"/>
                    <a:pt x="7" y="233"/>
                  </a:cubicBezTo>
                  <a:cubicBezTo>
                    <a:pt x="7" y="233"/>
                    <a:pt x="9" y="251"/>
                    <a:pt x="5" y="249"/>
                  </a:cubicBezTo>
                  <a:cubicBezTo>
                    <a:pt x="4" y="249"/>
                    <a:pt x="4" y="246"/>
                    <a:pt x="4" y="245"/>
                  </a:cubicBezTo>
                  <a:cubicBezTo>
                    <a:pt x="2" y="227"/>
                    <a:pt x="2" y="166"/>
                    <a:pt x="13" y="151"/>
                  </a:cubicBezTo>
                  <a:cubicBezTo>
                    <a:pt x="15" y="148"/>
                    <a:pt x="10" y="160"/>
                    <a:pt x="13" y="161"/>
                  </a:cubicBezTo>
                  <a:cubicBezTo>
                    <a:pt x="22" y="164"/>
                    <a:pt x="18" y="169"/>
                    <a:pt x="21" y="172"/>
                  </a:cubicBezTo>
                  <a:cubicBezTo>
                    <a:pt x="22" y="174"/>
                    <a:pt x="25" y="169"/>
                    <a:pt x="27" y="169"/>
                  </a:cubicBezTo>
                  <a:cubicBezTo>
                    <a:pt x="32" y="167"/>
                    <a:pt x="42" y="170"/>
                    <a:pt x="45" y="169"/>
                  </a:cubicBezTo>
                  <a:cubicBezTo>
                    <a:pt x="49" y="169"/>
                    <a:pt x="46" y="184"/>
                    <a:pt x="53" y="183"/>
                  </a:cubicBezTo>
                  <a:cubicBezTo>
                    <a:pt x="73" y="182"/>
                    <a:pt x="54" y="167"/>
                    <a:pt x="55" y="163"/>
                  </a:cubicBezTo>
                  <a:cubicBezTo>
                    <a:pt x="58" y="157"/>
                    <a:pt x="72" y="155"/>
                    <a:pt x="76" y="152"/>
                  </a:cubicBezTo>
                  <a:cubicBezTo>
                    <a:pt x="79" y="151"/>
                    <a:pt x="69" y="150"/>
                    <a:pt x="69" y="150"/>
                  </a:cubicBezTo>
                  <a:cubicBezTo>
                    <a:pt x="70" y="145"/>
                    <a:pt x="76" y="139"/>
                    <a:pt x="79" y="137"/>
                  </a:cubicBezTo>
                  <a:cubicBezTo>
                    <a:pt x="82" y="136"/>
                    <a:pt x="85" y="136"/>
                    <a:pt x="88" y="137"/>
                  </a:cubicBezTo>
                  <a:cubicBezTo>
                    <a:pt x="110" y="147"/>
                    <a:pt x="85" y="154"/>
                    <a:pt x="88" y="166"/>
                  </a:cubicBezTo>
                  <a:cubicBezTo>
                    <a:pt x="88" y="167"/>
                    <a:pt x="88" y="170"/>
                    <a:pt x="89" y="171"/>
                  </a:cubicBezTo>
                  <a:cubicBezTo>
                    <a:pt x="94" y="174"/>
                    <a:pt x="92" y="159"/>
                    <a:pt x="97" y="158"/>
                  </a:cubicBezTo>
                  <a:cubicBezTo>
                    <a:pt x="110" y="156"/>
                    <a:pt x="105" y="176"/>
                    <a:pt x="112" y="176"/>
                  </a:cubicBezTo>
                  <a:cubicBezTo>
                    <a:pt x="113" y="176"/>
                    <a:pt x="113" y="174"/>
                    <a:pt x="114" y="173"/>
                  </a:cubicBezTo>
                  <a:cubicBezTo>
                    <a:pt x="115" y="173"/>
                    <a:pt x="120" y="172"/>
                    <a:pt x="117" y="170"/>
                  </a:cubicBezTo>
                  <a:cubicBezTo>
                    <a:pt x="99" y="160"/>
                    <a:pt x="122" y="163"/>
                    <a:pt x="111" y="152"/>
                  </a:cubicBezTo>
                  <a:cubicBezTo>
                    <a:pt x="108" y="149"/>
                    <a:pt x="100" y="158"/>
                    <a:pt x="99" y="155"/>
                  </a:cubicBezTo>
                  <a:cubicBezTo>
                    <a:pt x="97" y="153"/>
                    <a:pt x="106" y="149"/>
                    <a:pt x="105" y="146"/>
                  </a:cubicBezTo>
                  <a:cubicBezTo>
                    <a:pt x="105" y="142"/>
                    <a:pt x="98" y="130"/>
                    <a:pt x="98" y="125"/>
                  </a:cubicBezTo>
                  <a:cubicBezTo>
                    <a:pt x="103" y="98"/>
                    <a:pt x="132" y="115"/>
                    <a:pt x="138" y="114"/>
                  </a:cubicBezTo>
                  <a:cubicBezTo>
                    <a:pt x="142" y="114"/>
                    <a:pt x="143" y="106"/>
                    <a:pt x="145" y="105"/>
                  </a:cubicBezTo>
                  <a:cubicBezTo>
                    <a:pt x="151" y="101"/>
                    <a:pt x="170" y="107"/>
                    <a:pt x="165" y="102"/>
                  </a:cubicBezTo>
                  <a:cubicBezTo>
                    <a:pt x="154" y="90"/>
                    <a:pt x="123" y="107"/>
                    <a:pt x="107" y="111"/>
                  </a:cubicBezTo>
                  <a:cubicBezTo>
                    <a:pt x="103" y="112"/>
                    <a:pt x="98" y="105"/>
                    <a:pt x="94" y="103"/>
                  </a:cubicBezTo>
                  <a:cubicBezTo>
                    <a:pt x="90" y="101"/>
                    <a:pt x="45" y="125"/>
                    <a:pt x="38" y="140"/>
                  </a:cubicBezTo>
                  <a:cubicBezTo>
                    <a:pt x="35" y="145"/>
                    <a:pt x="42" y="152"/>
                    <a:pt x="41" y="153"/>
                  </a:cubicBezTo>
                  <a:cubicBezTo>
                    <a:pt x="41" y="153"/>
                    <a:pt x="30" y="154"/>
                    <a:pt x="31" y="154"/>
                  </a:cubicBezTo>
                  <a:cubicBezTo>
                    <a:pt x="33" y="158"/>
                    <a:pt x="36" y="152"/>
                    <a:pt x="38" y="156"/>
                  </a:cubicBezTo>
                  <a:cubicBezTo>
                    <a:pt x="39" y="157"/>
                    <a:pt x="42" y="156"/>
                    <a:pt x="43" y="155"/>
                  </a:cubicBezTo>
                  <a:cubicBezTo>
                    <a:pt x="45" y="153"/>
                    <a:pt x="49" y="152"/>
                    <a:pt x="47" y="156"/>
                  </a:cubicBezTo>
                  <a:cubicBezTo>
                    <a:pt x="46" y="159"/>
                    <a:pt x="49" y="159"/>
                    <a:pt x="49" y="162"/>
                  </a:cubicBezTo>
                  <a:cubicBezTo>
                    <a:pt x="49" y="164"/>
                    <a:pt x="46" y="168"/>
                    <a:pt x="43" y="168"/>
                  </a:cubicBezTo>
                  <a:cubicBezTo>
                    <a:pt x="36" y="168"/>
                    <a:pt x="22" y="140"/>
                    <a:pt x="17" y="141"/>
                  </a:cubicBezTo>
                  <a:cubicBezTo>
                    <a:pt x="15" y="142"/>
                    <a:pt x="20" y="153"/>
                    <a:pt x="17" y="152"/>
                  </a:cubicBezTo>
                  <a:cubicBezTo>
                    <a:pt x="4" y="148"/>
                    <a:pt x="39" y="101"/>
                    <a:pt x="48" y="94"/>
                  </a:cubicBezTo>
                  <a:cubicBezTo>
                    <a:pt x="56" y="88"/>
                    <a:pt x="105" y="95"/>
                    <a:pt x="118" y="89"/>
                  </a:cubicBezTo>
                  <a:cubicBezTo>
                    <a:pt x="143" y="78"/>
                    <a:pt x="151" y="47"/>
                    <a:pt x="168" y="29"/>
                  </a:cubicBezTo>
                  <a:cubicBezTo>
                    <a:pt x="173" y="24"/>
                    <a:pt x="191" y="28"/>
                    <a:pt x="199" y="23"/>
                  </a:cubicBezTo>
                  <a:cubicBezTo>
                    <a:pt x="205" y="19"/>
                    <a:pt x="222" y="0"/>
                    <a:pt x="230" y="7"/>
                  </a:cubicBezTo>
                  <a:cubicBezTo>
                    <a:pt x="230" y="7"/>
                    <a:pt x="224" y="11"/>
                    <a:pt x="223" y="11"/>
                  </a:cubicBezTo>
                  <a:cubicBezTo>
                    <a:pt x="218" y="15"/>
                    <a:pt x="210" y="24"/>
                    <a:pt x="211" y="31"/>
                  </a:cubicBezTo>
                  <a:cubicBezTo>
                    <a:pt x="212" y="38"/>
                    <a:pt x="222" y="43"/>
                    <a:pt x="221" y="50"/>
                  </a:cubicBezTo>
                  <a:cubicBezTo>
                    <a:pt x="221" y="56"/>
                    <a:pt x="223" y="72"/>
                    <a:pt x="221" y="78"/>
                  </a:cubicBezTo>
                  <a:cubicBezTo>
                    <a:pt x="220" y="82"/>
                    <a:pt x="212" y="85"/>
                    <a:pt x="210" y="90"/>
                  </a:cubicBezTo>
                  <a:cubicBezTo>
                    <a:pt x="209" y="94"/>
                    <a:pt x="206" y="110"/>
                    <a:pt x="203" y="111"/>
                  </a:cubicBezTo>
                  <a:cubicBezTo>
                    <a:pt x="202" y="112"/>
                    <a:pt x="201" y="112"/>
                    <a:pt x="200" y="112"/>
                  </a:cubicBezTo>
                  <a:cubicBezTo>
                    <a:pt x="198" y="111"/>
                    <a:pt x="193" y="109"/>
                    <a:pt x="186" y="106"/>
                  </a:cubicBezTo>
                  <a:cubicBezTo>
                    <a:pt x="182" y="102"/>
                    <a:pt x="178" y="98"/>
                    <a:pt x="173" y="98"/>
                  </a:cubicBezTo>
                  <a:cubicBezTo>
                    <a:pt x="160" y="97"/>
                    <a:pt x="174" y="102"/>
                    <a:pt x="186" y="106"/>
                  </a:cubicBezTo>
                  <a:cubicBezTo>
                    <a:pt x="190" y="110"/>
                    <a:pt x="194" y="113"/>
                    <a:pt x="200" y="112"/>
                  </a:cubicBezTo>
                  <a:cubicBezTo>
                    <a:pt x="200" y="112"/>
                    <a:pt x="200" y="112"/>
                    <a:pt x="200" y="112"/>
                  </a:cubicBezTo>
                  <a:cubicBezTo>
                    <a:pt x="204" y="116"/>
                    <a:pt x="197" y="124"/>
                    <a:pt x="197" y="129"/>
                  </a:cubicBezTo>
                  <a:cubicBezTo>
                    <a:pt x="198" y="136"/>
                    <a:pt x="207" y="144"/>
                    <a:pt x="203" y="150"/>
                  </a:cubicBezTo>
                  <a:cubicBezTo>
                    <a:pt x="203" y="150"/>
                    <a:pt x="201" y="151"/>
                    <a:pt x="198" y="151"/>
                  </a:cubicBezTo>
                  <a:cubicBezTo>
                    <a:pt x="191" y="151"/>
                    <a:pt x="183" y="152"/>
                    <a:pt x="177" y="154"/>
                  </a:cubicBezTo>
                  <a:cubicBezTo>
                    <a:pt x="167" y="156"/>
                    <a:pt x="156" y="158"/>
                    <a:pt x="156" y="160"/>
                  </a:cubicBezTo>
                  <a:cubicBezTo>
                    <a:pt x="155" y="160"/>
                    <a:pt x="171" y="160"/>
                    <a:pt x="174" y="157"/>
                  </a:cubicBezTo>
                  <a:cubicBezTo>
                    <a:pt x="174" y="156"/>
                    <a:pt x="176" y="155"/>
                    <a:pt x="177" y="154"/>
                  </a:cubicBezTo>
                  <a:cubicBezTo>
                    <a:pt x="185" y="153"/>
                    <a:pt x="193" y="152"/>
                    <a:pt x="198" y="151"/>
                  </a:cubicBezTo>
                  <a:cubicBezTo>
                    <a:pt x="200" y="152"/>
                    <a:pt x="202" y="152"/>
                    <a:pt x="203" y="153"/>
                  </a:cubicBezTo>
                  <a:cubicBezTo>
                    <a:pt x="215" y="158"/>
                    <a:pt x="181" y="178"/>
                    <a:pt x="189" y="185"/>
                  </a:cubicBezTo>
                  <a:cubicBezTo>
                    <a:pt x="192" y="187"/>
                    <a:pt x="194" y="166"/>
                    <a:pt x="202" y="166"/>
                  </a:cubicBezTo>
                  <a:cubicBezTo>
                    <a:pt x="202" y="166"/>
                    <a:pt x="204" y="166"/>
                    <a:pt x="204" y="167"/>
                  </a:cubicBezTo>
                  <a:cubicBezTo>
                    <a:pt x="217" y="187"/>
                    <a:pt x="239" y="169"/>
                    <a:pt x="256" y="185"/>
                  </a:cubicBezTo>
                  <a:cubicBezTo>
                    <a:pt x="257" y="186"/>
                    <a:pt x="259" y="187"/>
                    <a:pt x="259" y="188"/>
                  </a:cubicBezTo>
                  <a:cubicBezTo>
                    <a:pt x="257" y="201"/>
                    <a:pt x="232" y="240"/>
                    <a:pt x="235" y="220"/>
                  </a:cubicBezTo>
                  <a:cubicBezTo>
                    <a:pt x="235" y="218"/>
                    <a:pt x="232" y="217"/>
                    <a:pt x="230" y="217"/>
                  </a:cubicBezTo>
                  <a:cubicBezTo>
                    <a:pt x="218" y="218"/>
                    <a:pt x="227" y="237"/>
                    <a:pt x="220" y="235"/>
                  </a:cubicBezTo>
                  <a:cubicBezTo>
                    <a:pt x="217" y="235"/>
                    <a:pt x="217" y="230"/>
                    <a:pt x="219" y="229"/>
                  </a:cubicBezTo>
                  <a:cubicBezTo>
                    <a:pt x="222" y="227"/>
                    <a:pt x="204" y="226"/>
                    <a:pt x="204" y="222"/>
                  </a:cubicBezTo>
                  <a:cubicBezTo>
                    <a:pt x="204" y="218"/>
                    <a:pt x="215" y="224"/>
                    <a:pt x="216" y="220"/>
                  </a:cubicBezTo>
                  <a:cubicBezTo>
                    <a:pt x="217" y="218"/>
                    <a:pt x="218" y="205"/>
                    <a:pt x="209" y="209"/>
                  </a:cubicBezTo>
                  <a:cubicBezTo>
                    <a:pt x="182" y="217"/>
                    <a:pt x="202" y="257"/>
                    <a:pt x="190" y="273"/>
                  </a:cubicBezTo>
                  <a:cubicBezTo>
                    <a:pt x="189" y="273"/>
                    <a:pt x="189" y="273"/>
                    <a:pt x="188" y="273"/>
                  </a:cubicBezTo>
                  <a:cubicBezTo>
                    <a:pt x="185" y="271"/>
                    <a:pt x="164" y="259"/>
                    <a:pt x="161" y="270"/>
                  </a:cubicBezTo>
                  <a:cubicBezTo>
                    <a:pt x="160" y="272"/>
                    <a:pt x="167" y="273"/>
                    <a:pt x="168" y="273"/>
                  </a:cubicBezTo>
                  <a:cubicBezTo>
                    <a:pt x="181" y="275"/>
                    <a:pt x="175" y="282"/>
                    <a:pt x="173" y="287"/>
                  </a:cubicBezTo>
                  <a:cubicBezTo>
                    <a:pt x="172" y="288"/>
                    <a:pt x="175" y="289"/>
                    <a:pt x="174" y="290"/>
                  </a:cubicBezTo>
                  <a:cubicBezTo>
                    <a:pt x="164" y="299"/>
                    <a:pt x="148" y="287"/>
                    <a:pt x="139" y="289"/>
                  </a:cubicBezTo>
                  <a:cubicBezTo>
                    <a:pt x="138" y="289"/>
                    <a:pt x="133" y="289"/>
                    <a:pt x="133" y="289"/>
                  </a:cubicBezTo>
                  <a:cubicBezTo>
                    <a:pt x="132" y="292"/>
                    <a:pt x="140" y="291"/>
                    <a:pt x="141" y="291"/>
                  </a:cubicBezTo>
                  <a:cubicBezTo>
                    <a:pt x="145" y="293"/>
                    <a:pt x="147" y="300"/>
                    <a:pt x="150" y="301"/>
                  </a:cubicBezTo>
                  <a:cubicBezTo>
                    <a:pt x="152" y="302"/>
                    <a:pt x="159" y="299"/>
                    <a:pt x="160" y="301"/>
                  </a:cubicBezTo>
                  <a:cubicBezTo>
                    <a:pt x="162" y="309"/>
                    <a:pt x="128" y="317"/>
                    <a:pt x="128" y="320"/>
                  </a:cubicBezTo>
                  <a:cubicBezTo>
                    <a:pt x="128" y="321"/>
                    <a:pt x="137" y="319"/>
                    <a:pt x="138" y="319"/>
                  </a:cubicBezTo>
                  <a:cubicBezTo>
                    <a:pt x="147" y="320"/>
                    <a:pt x="135" y="331"/>
                    <a:pt x="137" y="336"/>
                  </a:cubicBezTo>
                  <a:cubicBezTo>
                    <a:pt x="138" y="340"/>
                    <a:pt x="148" y="349"/>
                    <a:pt x="147" y="353"/>
                  </a:cubicBezTo>
                  <a:cubicBezTo>
                    <a:pt x="147" y="354"/>
                    <a:pt x="146" y="354"/>
                    <a:pt x="145" y="355"/>
                  </a:cubicBezTo>
                  <a:cubicBezTo>
                    <a:pt x="143" y="359"/>
                    <a:pt x="121" y="370"/>
                    <a:pt x="126" y="370"/>
                  </a:cubicBezTo>
                  <a:cubicBezTo>
                    <a:pt x="127" y="371"/>
                    <a:pt x="135" y="373"/>
                    <a:pt x="133" y="376"/>
                  </a:cubicBezTo>
                  <a:cubicBezTo>
                    <a:pt x="131" y="378"/>
                    <a:pt x="122" y="380"/>
                    <a:pt x="122" y="382"/>
                  </a:cubicBezTo>
                  <a:cubicBezTo>
                    <a:pt x="123" y="385"/>
                    <a:pt x="135" y="380"/>
                    <a:pt x="136" y="380"/>
                  </a:cubicBezTo>
                  <a:cubicBezTo>
                    <a:pt x="141" y="380"/>
                    <a:pt x="147" y="387"/>
                    <a:pt x="151" y="393"/>
                  </a:cubicBezTo>
                  <a:cubicBezTo>
                    <a:pt x="150" y="393"/>
                    <a:pt x="150" y="395"/>
                    <a:pt x="152" y="397"/>
                  </a:cubicBezTo>
                  <a:close/>
                  <a:moveTo>
                    <a:pt x="366" y="408"/>
                  </a:moveTo>
                  <a:cubicBezTo>
                    <a:pt x="366" y="407"/>
                    <a:pt x="364" y="406"/>
                    <a:pt x="364" y="405"/>
                  </a:cubicBezTo>
                  <a:cubicBezTo>
                    <a:pt x="358" y="398"/>
                    <a:pt x="338" y="396"/>
                    <a:pt x="341" y="392"/>
                  </a:cubicBezTo>
                  <a:cubicBezTo>
                    <a:pt x="343" y="390"/>
                    <a:pt x="341" y="389"/>
                    <a:pt x="342" y="387"/>
                  </a:cubicBezTo>
                  <a:cubicBezTo>
                    <a:pt x="345" y="383"/>
                    <a:pt x="347" y="389"/>
                    <a:pt x="351" y="390"/>
                  </a:cubicBezTo>
                  <a:cubicBezTo>
                    <a:pt x="351" y="390"/>
                    <a:pt x="351" y="390"/>
                    <a:pt x="351" y="390"/>
                  </a:cubicBezTo>
                  <a:cubicBezTo>
                    <a:pt x="364" y="393"/>
                    <a:pt x="368" y="374"/>
                    <a:pt x="367" y="370"/>
                  </a:cubicBezTo>
                  <a:cubicBezTo>
                    <a:pt x="367" y="368"/>
                    <a:pt x="350" y="368"/>
                    <a:pt x="352" y="364"/>
                  </a:cubicBezTo>
                  <a:cubicBezTo>
                    <a:pt x="357" y="357"/>
                    <a:pt x="361" y="365"/>
                    <a:pt x="361" y="365"/>
                  </a:cubicBezTo>
                  <a:cubicBezTo>
                    <a:pt x="364" y="364"/>
                    <a:pt x="363" y="357"/>
                    <a:pt x="369" y="355"/>
                  </a:cubicBezTo>
                  <a:cubicBezTo>
                    <a:pt x="374" y="353"/>
                    <a:pt x="391" y="355"/>
                    <a:pt x="392" y="347"/>
                  </a:cubicBezTo>
                  <a:cubicBezTo>
                    <a:pt x="394" y="329"/>
                    <a:pt x="367" y="335"/>
                    <a:pt x="368" y="321"/>
                  </a:cubicBezTo>
                  <a:cubicBezTo>
                    <a:pt x="369" y="304"/>
                    <a:pt x="392" y="308"/>
                    <a:pt x="395" y="303"/>
                  </a:cubicBezTo>
                  <a:cubicBezTo>
                    <a:pt x="410" y="282"/>
                    <a:pt x="393" y="266"/>
                    <a:pt x="405" y="246"/>
                  </a:cubicBezTo>
                  <a:cubicBezTo>
                    <a:pt x="405" y="245"/>
                    <a:pt x="407" y="244"/>
                    <a:pt x="406" y="243"/>
                  </a:cubicBezTo>
                  <a:cubicBezTo>
                    <a:pt x="403" y="237"/>
                    <a:pt x="384" y="232"/>
                    <a:pt x="378" y="231"/>
                  </a:cubicBezTo>
                  <a:cubicBezTo>
                    <a:pt x="370" y="230"/>
                    <a:pt x="337" y="250"/>
                    <a:pt x="337" y="255"/>
                  </a:cubicBezTo>
                  <a:cubicBezTo>
                    <a:pt x="337" y="262"/>
                    <a:pt x="351" y="252"/>
                    <a:pt x="352" y="255"/>
                  </a:cubicBezTo>
                  <a:cubicBezTo>
                    <a:pt x="355" y="260"/>
                    <a:pt x="364" y="293"/>
                    <a:pt x="356" y="297"/>
                  </a:cubicBezTo>
                  <a:cubicBezTo>
                    <a:pt x="351" y="299"/>
                    <a:pt x="355" y="293"/>
                    <a:pt x="352" y="292"/>
                  </a:cubicBezTo>
                  <a:cubicBezTo>
                    <a:pt x="352" y="292"/>
                    <a:pt x="345" y="298"/>
                    <a:pt x="344" y="297"/>
                  </a:cubicBezTo>
                  <a:cubicBezTo>
                    <a:pt x="343" y="295"/>
                    <a:pt x="345" y="293"/>
                    <a:pt x="346" y="292"/>
                  </a:cubicBezTo>
                  <a:cubicBezTo>
                    <a:pt x="354" y="285"/>
                    <a:pt x="358" y="262"/>
                    <a:pt x="343" y="260"/>
                  </a:cubicBezTo>
                  <a:cubicBezTo>
                    <a:pt x="341" y="260"/>
                    <a:pt x="344" y="264"/>
                    <a:pt x="345" y="266"/>
                  </a:cubicBezTo>
                  <a:cubicBezTo>
                    <a:pt x="345" y="267"/>
                    <a:pt x="336" y="296"/>
                    <a:pt x="332" y="296"/>
                  </a:cubicBezTo>
                  <a:cubicBezTo>
                    <a:pt x="329" y="296"/>
                    <a:pt x="330" y="286"/>
                    <a:pt x="327" y="287"/>
                  </a:cubicBezTo>
                  <a:cubicBezTo>
                    <a:pt x="310" y="295"/>
                    <a:pt x="338" y="275"/>
                    <a:pt x="326" y="277"/>
                  </a:cubicBezTo>
                  <a:cubicBezTo>
                    <a:pt x="320" y="279"/>
                    <a:pt x="312" y="279"/>
                    <a:pt x="322" y="274"/>
                  </a:cubicBezTo>
                  <a:cubicBezTo>
                    <a:pt x="323" y="273"/>
                    <a:pt x="325" y="275"/>
                    <a:pt x="327" y="273"/>
                  </a:cubicBezTo>
                  <a:cubicBezTo>
                    <a:pt x="330" y="269"/>
                    <a:pt x="319" y="266"/>
                    <a:pt x="322" y="262"/>
                  </a:cubicBezTo>
                  <a:cubicBezTo>
                    <a:pt x="324" y="259"/>
                    <a:pt x="326" y="262"/>
                    <a:pt x="326" y="263"/>
                  </a:cubicBezTo>
                  <a:cubicBezTo>
                    <a:pt x="329" y="265"/>
                    <a:pt x="328" y="261"/>
                    <a:pt x="328" y="260"/>
                  </a:cubicBezTo>
                  <a:cubicBezTo>
                    <a:pt x="328" y="257"/>
                    <a:pt x="332" y="257"/>
                    <a:pt x="332" y="255"/>
                  </a:cubicBezTo>
                  <a:cubicBezTo>
                    <a:pt x="332" y="253"/>
                    <a:pt x="317" y="258"/>
                    <a:pt x="315" y="257"/>
                  </a:cubicBezTo>
                  <a:cubicBezTo>
                    <a:pt x="310" y="256"/>
                    <a:pt x="292" y="249"/>
                    <a:pt x="286" y="250"/>
                  </a:cubicBezTo>
                  <a:cubicBezTo>
                    <a:pt x="284" y="250"/>
                    <a:pt x="293" y="255"/>
                    <a:pt x="293" y="255"/>
                  </a:cubicBezTo>
                  <a:cubicBezTo>
                    <a:pt x="299" y="259"/>
                    <a:pt x="315" y="258"/>
                    <a:pt x="305" y="271"/>
                  </a:cubicBezTo>
                  <a:cubicBezTo>
                    <a:pt x="295" y="283"/>
                    <a:pt x="302" y="261"/>
                    <a:pt x="295" y="281"/>
                  </a:cubicBezTo>
                  <a:cubicBezTo>
                    <a:pt x="292" y="288"/>
                    <a:pt x="269" y="294"/>
                    <a:pt x="277" y="285"/>
                  </a:cubicBezTo>
                  <a:cubicBezTo>
                    <a:pt x="277" y="284"/>
                    <a:pt x="272" y="284"/>
                    <a:pt x="271" y="284"/>
                  </a:cubicBezTo>
                  <a:cubicBezTo>
                    <a:pt x="266" y="287"/>
                    <a:pt x="263" y="286"/>
                    <a:pt x="258" y="285"/>
                  </a:cubicBezTo>
                  <a:cubicBezTo>
                    <a:pt x="257" y="285"/>
                    <a:pt x="250" y="284"/>
                    <a:pt x="251" y="286"/>
                  </a:cubicBezTo>
                  <a:cubicBezTo>
                    <a:pt x="252" y="292"/>
                    <a:pt x="262" y="292"/>
                    <a:pt x="268" y="294"/>
                  </a:cubicBezTo>
                  <a:cubicBezTo>
                    <a:pt x="272" y="295"/>
                    <a:pt x="259" y="293"/>
                    <a:pt x="255" y="295"/>
                  </a:cubicBezTo>
                  <a:cubicBezTo>
                    <a:pt x="254" y="296"/>
                    <a:pt x="261" y="297"/>
                    <a:pt x="262" y="297"/>
                  </a:cubicBezTo>
                  <a:cubicBezTo>
                    <a:pt x="268" y="298"/>
                    <a:pt x="272" y="301"/>
                    <a:pt x="275" y="307"/>
                  </a:cubicBezTo>
                  <a:cubicBezTo>
                    <a:pt x="278" y="314"/>
                    <a:pt x="268" y="311"/>
                    <a:pt x="269" y="316"/>
                  </a:cubicBezTo>
                  <a:cubicBezTo>
                    <a:pt x="269" y="318"/>
                    <a:pt x="274" y="316"/>
                    <a:pt x="275" y="317"/>
                  </a:cubicBezTo>
                  <a:cubicBezTo>
                    <a:pt x="278" y="320"/>
                    <a:pt x="283" y="328"/>
                    <a:pt x="281" y="333"/>
                  </a:cubicBezTo>
                  <a:cubicBezTo>
                    <a:pt x="279" y="337"/>
                    <a:pt x="266" y="334"/>
                    <a:pt x="271" y="341"/>
                  </a:cubicBezTo>
                  <a:cubicBezTo>
                    <a:pt x="274" y="344"/>
                    <a:pt x="275" y="337"/>
                    <a:pt x="279" y="341"/>
                  </a:cubicBezTo>
                  <a:cubicBezTo>
                    <a:pt x="282" y="344"/>
                    <a:pt x="284" y="348"/>
                    <a:pt x="287" y="352"/>
                  </a:cubicBezTo>
                  <a:cubicBezTo>
                    <a:pt x="289" y="354"/>
                    <a:pt x="280" y="354"/>
                    <a:pt x="284" y="359"/>
                  </a:cubicBezTo>
                  <a:cubicBezTo>
                    <a:pt x="285" y="360"/>
                    <a:pt x="293" y="361"/>
                    <a:pt x="289" y="359"/>
                  </a:cubicBezTo>
                  <a:cubicBezTo>
                    <a:pt x="285" y="357"/>
                    <a:pt x="301" y="355"/>
                    <a:pt x="305" y="358"/>
                  </a:cubicBezTo>
                  <a:cubicBezTo>
                    <a:pt x="313" y="364"/>
                    <a:pt x="323" y="356"/>
                    <a:pt x="327" y="358"/>
                  </a:cubicBezTo>
                  <a:cubicBezTo>
                    <a:pt x="330" y="360"/>
                    <a:pt x="324" y="364"/>
                    <a:pt x="326" y="365"/>
                  </a:cubicBezTo>
                  <a:cubicBezTo>
                    <a:pt x="327" y="366"/>
                    <a:pt x="342" y="370"/>
                    <a:pt x="329" y="370"/>
                  </a:cubicBezTo>
                  <a:cubicBezTo>
                    <a:pt x="320" y="369"/>
                    <a:pt x="337" y="377"/>
                    <a:pt x="336" y="380"/>
                  </a:cubicBezTo>
                  <a:cubicBezTo>
                    <a:pt x="335" y="381"/>
                    <a:pt x="319" y="373"/>
                    <a:pt x="317" y="375"/>
                  </a:cubicBezTo>
                  <a:cubicBezTo>
                    <a:pt x="312" y="380"/>
                    <a:pt x="327" y="380"/>
                    <a:pt x="333" y="384"/>
                  </a:cubicBezTo>
                  <a:cubicBezTo>
                    <a:pt x="348" y="393"/>
                    <a:pt x="327" y="391"/>
                    <a:pt x="327" y="393"/>
                  </a:cubicBezTo>
                  <a:cubicBezTo>
                    <a:pt x="329" y="411"/>
                    <a:pt x="348" y="422"/>
                    <a:pt x="344" y="442"/>
                  </a:cubicBezTo>
                  <a:cubicBezTo>
                    <a:pt x="343" y="444"/>
                    <a:pt x="347" y="446"/>
                    <a:pt x="348" y="446"/>
                  </a:cubicBezTo>
                  <a:cubicBezTo>
                    <a:pt x="349" y="446"/>
                    <a:pt x="347" y="430"/>
                    <a:pt x="348" y="427"/>
                  </a:cubicBezTo>
                  <a:cubicBezTo>
                    <a:pt x="350" y="423"/>
                    <a:pt x="366" y="411"/>
                    <a:pt x="366" y="408"/>
                  </a:cubicBezTo>
                  <a:close/>
                  <a:moveTo>
                    <a:pt x="320" y="399"/>
                  </a:moveTo>
                  <a:cubicBezTo>
                    <a:pt x="315" y="398"/>
                    <a:pt x="319" y="415"/>
                    <a:pt x="314" y="412"/>
                  </a:cubicBezTo>
                  <a:cubicBezTo>
                    <a:pt x="302" y="407"/>
                    <a:pt x="278" y="381"/>
                    <a:pt x="266" y="397"/>
                  </a:cubicBezTo>
                  <a:cubicBezTo>
                    <a:pt x="262" y="402"/>
                    <a:pt x="265" y="403"/>
                    <a:pt x="267" y="407"/>
                  </a:cubicBezTo>
                  <a:cubicBezTo>
                    <a:pt x="272" y="415"/>
                    <a:pt x="260" y="414"/>
                    <a:pt x="262" y="416"/>
                  </a:cubicBezTo>
                  <a:cubicBezTo>
                    <a:pt x="262" y="416"/>
                    <a:pt x="262" y="416"/>
                    <a:pt x="262" y="416"/>
                  </a:cubicBezTo>
                  <a:cubicBezTo>
                    <a:pt x="273" y="430"/>
                    <a:pt x="335" y="445"/>
                    <a:pt x="338" y="429"/>
                  </a:cubicBezTo>
                  <a:cubicBezTo>
                    <a:pt x="339" y="426"/>
                    <a:pt x="327" y="400"/>
                    <a:pt x="320" y="399"/>
                  </a:cubicBezTo>
                  <a:close/>
                  <a:moveTo>
                    <a:pt x="399" y="386"/>
                  </a:moveTo>
                  <a:cubicBezTo>
                    <a:pt x="398" y="385"/>
                    <a:pt x="397" y="385"/>
                    <a:pt x="396" y="384"/>
                  </a:cubicBezTo>
                  <a:cubicBezTo>
                    <a:pt x="362" y="372"/>
                    <a:pt x="384" y="392"/>
                    <a:pt x="368" y="388"/>
                  </a:cubicBezTo>
                  <a:cubicBezTo>
                    <a:pt x="367" y="388"/>
                    <a:pt x="364" y="392"/>
                    <a:pt x="364" y="395"/>
                  </a:cubicBezTo>
                  <a:cubicBezTo>
                    <a:pt x="364" y="395"/>
                    <a:pt x="361" y="398"/>
                    <a:pt x="361" y="399"/>
                  </a:cubicBezTo>
                  <a:cubicBezTo>
                    <a:pt x="363" y="402"/>
                    <a:pt x="400" y="392"/>
                    <a:pt x="399" y="386"/>
                  </a:cubicBezTo>
                  <a:close/>
                  <a:moveTo>
                    <a:pt x="200" y="112"/>
                  </a:moveTo>
                  <a:cubicBezTo>
                    <a:pt x="198" y="111"/>
                    <a:pt x="193" y="109"/>
                    <a:pt x="186" y="106"/>
                  </a:cubicBezTo>
                  <a:cubicBezTo>
                    <a:pt x="190" y="110"/>
                    <a:pt x="194" y="113"/>
                    <a:pt x="200" y="112"/>
                  </a:cubicBezTo>
                  <a:close/>
                  <a:moveTo>
                    <a:pt x="177" y="154"/>
                  </a:moveTo>
                  <a:cubicBezTo>
                    <a:pt x="185" y="153"/>
                    <a:pt x="193" y="152"/>
                    <a:pt x="198" y="151"/>
                  </a:cubicBezTo>
                  <a:cubicBezTo>
                    <a:pt x="191" y="151"/>
                    <a:pt x="183" y="152"/>
                    <a:pt x="177" y="154"/>
                  </a:cubicBezTo>
                  <a:close/>
                  <a:moveTo>
                    <a:pt x="408" y="293"/>
                  </a:moveTo>
                  <a:cubicBezTo>
                    <a:pt x="408" y="290"/>
                    <a:pt x="391" y="308"/>
                    <a:pt x="404" y="311"/>
                  </a:cubicBezTo>
                  <a:cubicBezTo>
                    <a:pt x="415" y="313"/>
                    <a:pt x="413" y="298"/>
                    <a:pt x="408" y="293"/>
                  </a:cubicBezTo>
                  <a:close/>
                  <a:moveTo>
                    <a:pt x="233" y="418"/>
                  </a:moveTo>
                  <a:cubicBezTo>
                    <a:pt x="237" y="408"/>
                    <a:pt x="239" y="398"/>
                    <a:pt x="245" y="389"/>
                  </a:cubicBezTo>
                  <a:cubicBezTo>
                    <a:pt x="245" y="389"/>
                    <a:pt x="245" y="389"/>
                    <a:pt x="245" y="389"/>
                  </a:cubicBezTo>
                  <a:cubicBezTo>
                    <a:pt x="262" y="351"/>
                    <a:pt x="234" y="384"/>
                    <a:pt x="227" y="400"/>
                  </a:cubicBezTo>
                  <a:cubicBezTo>
                    <a:pt x="226" y="402"/>
                    <a:pt x="226" y="405"/>
                    <a:pt x="225" y="407"/>
                  </a:cubicBezTo>
                  <a:cubicBezTo>
                    <a:pt x="225" y="410"/>
                    <a:pt x="218" y="411"/>
                    <a:pt x="220" y="413"/>
                  </a:cubicBezTo>
                  <a:cubicBezTo>
                    <a:pt x="228" y="417"/>
                    <a:pt x="227" y="435"/>
                    <a:pt x="233" y="418"/>
                  </a:cubicBezTo>
                  <a:close/>
                  <a:moveTo>
                    <a:pt x="625" y="386"/>
                  </a:moveTo>
                  <a:cubicBezTo>
                    <a:pt x="625" y="386"/>
                    <a:pt x="625" y="386"/>
                    <a:pt x="625" y="386"/>
                  </a:cubicBezTo>
                  <a:cubicBezTo>
                    <a:pt x="647" y="377"/>
                    <a:pt x="604" y="343"/>
                    <a:pt x="598" y="344"/>
                  </a:cubicBezTo>
                  <a:cubicBezTo>
                    <a:pt x="578" y="348"/>
                    <a:pt x="600" y="397"/>
                    <a:pt x="625" y="386"/>
                  </a:cubicBezTo>
                  <a:close/>
                  <a:moveTo>
                    <a:pt x="261" y="79"/>
                  </a:moveTo>
                  <a:cubicBezTo>
                    <a:pt x="275" y="77"/>
                    <a:pt x="284" y="50"/>
                    <a:pt x="262" y="67"/>
                  </a:cubicBezTo>
                  <a:cubicBezTo>
                    <a:pt x="262" y="67"/>
                    <a:pt x="262" y="67"/>
                    <a:pt x="262" y="67"/>
                  </a:cubicBezTo>
                  <a:cubicBezTo>
                    <a:pt x="246" y="68"/>
                    <a:pt x="250" y="81"/>
                    <a:pt x="261" y="79"/>
                  </a:cubicBezTo>
                  <a:close/>
                  <a:moveTo>
                    <a:pt x="179" y="374"/>
                  </a:moveTo>
                  <a:cubicBezTo>
                    <a:pt x="179" y="374"/>
                    <a:pt x="179" y="374"/>
                    <a:pt x="179" y="375"/>
                  </a:cubicBezTo>
                  <a:cubicBezTo>
                    <a:pt x="180" y="376"/>
                    <a:pt x="183" y="374"/>
                    <a:pt x="185" y="374"/>
                  </a:cubicBezTo>
                  <a:cubicBezTo>
                    <a:pt x="189" y="375"/>
                    <a:pt x="229" y="390"/>
                    <a:pt x="239" y="377"/>
                  </a:cubicBezTo>
                  <a:cubicBezTo>
                    <a:pt x="252" y="360"/>
                    <a:pt x="245" y="340"/>
                    <a:pt x="236" y="328"/>
                  </a:cubicBezTo>
                  <a:cubicBezTo>
                    <a:pt x="231" y="321"/>
                    <a:pt x="225" y="328"/>
                    <a:pt x="224" y="328"/>
                  </a:cubicBezTo>
                  <a:cubicBezTo>
                    <a:pt x="218" y="327"/>
                    <a:pt x="237" y="322"/>
                    <a:pt x="238" y="321"/>
                  </a:cubicBezTo>
                  <a:cubicBezTo>
                    <a:pt x="243" y="319"/>
                    <a:pt x="227" y="301"/>
                    <a:pt x="227" y="302"/>
                  </a:cubicBezTo>
                  <a:cubicBezTo>
                    <a:pt x="227" y="302"/>
                    <a:pt x="227" y="302"/>
                    <a:pt x="227" y="302"/>
                  </a:cubicBezTo>
                  <a:cubicBezTo>
                    <a:pt x="222" y="307"/>
                    <a:pt x="231" y="318"/>
                    <a:pt x="223" y="321"/>
                  </a:cubicBezTo>
                  <a:cubicBezTo>
                    <a:pt x="205" y="326"/>
                    <a:pt x="212" y="318"/>
                    <a:pt x="221" y="315"/>
                  </a:cubicBezTo>
                  <a:cubicBezTo>
                    <a:pt x="222" y="314"/>
                    <a:pt x="220" y="314"/>
                    <a:pt x="219" y="313"/>
                  </a:cubicBezTo>
                  <a:cubicBezTo>
                    <a:pt x="217" y="312"/>
                    <a:pt x="200" y="300"/>
                    <a:pt x="199" y="302"/>
                  </a:cubicBezTo>
                  <a:cubicBezTo>
                    <a:pt x="196" y="306"/>
                    <a:pt x="170" y="317"/>
                    <a:pt x="163" y="317"/>
                  </a:cubicBezTo>
                  <a:cubicBezTo>
                    <a:pt x="161" y="317"/>
                    <a:pt x="154" y="308"/>
                    <a:pt x="150" y="314"/>
                  </a:cubicBezTo>
                  <a:cubicBezTo>
                    <a:pt x="148" y="316"/>
                    <a:pt x="144" y="316"/>
                    <a:pt x="144" y="318"/>
                  </a:cubicBezTo>
                  <a:cubicBezTo>
                    <a:pt x="144" y="320"/>
                    <a:pt x="145" y="321"/>
                    <a:pt x="147" y="323"/>
                  </a:cubicBezTo>
                  <a:cubicBezTo>
                    <a:pt x="148" y="323"/>
                    <a:pt x="149" y="324"/>
                    <a:pt x="150" y="324"/>
                  </a:cubicBezTo>
                  <a:cubicBezTo>
                    <a:pt x="152" y="325"/>
                    <a:pt x="150" y="324"/>
                    <a:pt x="147" y="323"/>
                  </a:cubicBezTo>
                  <a:cubicBezTo>
                    <a:pt x="147" y="322"/>
                    <a:pt x="147" y="322"/>
                    <a:pt x="146" y="323"/>
                  </a:cubicBezTo>
                  <a:cubicBezTo>
                    <a:pt x="144" y="323"/>
                    <a:pt x="153" y="328"/>
                    <a:pt x="154" y="328"/>
                  </a:cubicBezTo>
                  <a:cubicBezTo>
                    <a:pt x="155" y="328"/>
                    <a:pt x="158" y="330"/>
                    <a:pt x="159" y="332"/>
                  </a:cubicBezTo>
                  <a:cubicBezTo>
                    <a:pt x="160" y="335"/>
                    <a:pt x="153" y="333"/>
                    <a:pt x="153" y="335"/>
                  </a:cubicBezTo>
                  <a:cubicBezTo>
                    <a:pt x="154" y="340"/>
                    <a:pt x="162" y="337"/>
                    <a:pt x="163" y="339"/>
                  </a:cubicBezTo>
                  <a:cubicBezTo>
                    <a:pt x="167" y="349"/>
                    <a:pt x="168" y="361"/>
                    <a:pt x="171" y="369"/>
                  </a:cubicBezTo>
                  <a:cubicBezTo>
                    <a:pt x="172" y="370"/>
                    <a:pt x="173" y="355"/>
                    <a:pt x="182" y="361"/>
                  </a:cubicBezTo>
                  <a:cubicBezTo>
                    <a:pt x="193" y="367"/>
                    <a:pt x="179" y="371"/>
                    <a:pt x="179" y="374"/>
                  </a:cubicBezTo>
                  <a:close/>
                  <a:moveTo>
                    <a:pt x="40" y="147"/>
                  </a:moveTo>
                  <a:cubicBezTo>
                    <a:pt x="41" y="148"/>
                    <a:pt x="46" y="146"/>
                    <a:pt x="48" y="148"/>
                  </a:cubicBezTo>
                  <a:cubicBezTo>
                    <a:pt x="73" y="169"/>
                    <a:pt x="66" y="137"/>
                    <a:pt x="69" y="128"/>
                  </a:cubicBezTo>
                  <a:cubicBezTo>
                    <a:pt x="70" y="125"/>
                    <a:pt x="76" y="126"/>
                    <a:pt x="77" y="114"/>
                  </a:cubicBezTo>
                  <a:cubicBezTo>
                    <a:pt x="77" y="114"/>
                    <a:pt x="77" y="114"/>
                    <a:pt x="77" y="114"/>
                  </a:cubicBezTo>
                  <a:cubicBezTo>
                    <a:pt x="77" y="113"/>
                    <a:pt x="66" y="123"/>
                    <a:pt x="65" y="123"/>
                  </a:cubicBezTo>
                  <a:cubicBezTo>
                    <a:pt x="49" y="121"/>
                    <a:pt x="54" y="136"/>
                    <a:pt x="53" y="137"/>
                  </a:cubicBezTo>
                  <a:cubicBezTo>
                    <a:pt x="52" y="138"/>
                    <a:pt x="36" y="142"/>
                    <a:pt x="40" y="147"/>
                  </a:cubicBezTo>
                  <a:close/>
                  <a:moveTo>
                    <a:pt x="150" y="324"/>
                  </a:moveTo>
                  <a:cubicBezTo>
                    <a:pt x="149" y="324"/>
                    <a:pt x="148" y="323"/>
                    <a:pt x="147" y="323"/>
                  </a:cubicBezTo>
                  <a:cubicBezTo>
                    <a:pt x="150" y="324"/>
                    <a:pt x="152" y="325"/>
                    <a:pt x="150" y="324"/>
                  </a:cubicBezTo>
                  <a:close/>
                  <a:moveTo>
                    <a:pt x="171" y="387"/>
                  </a:moveTo>
                  <a:cubicBezTo>
                    <a:pt x="171" y="386"/>
                    <a:pt x="171" y="386"/>
                    <a:pt x="171" y="386"/>
                  </a:cubicBezTo>
                  <a:cubicBezTo>
                    <a:pt x="168" y="382"/>
                    <a:pt x="143" y="368"/>
                    <a:pt x="140" y="379"/>
                  </a:cubicBezTo>
                  <a:cubicBezTo>
                    <a:pt x="139" y="384"/>
                    <a:pt x="158" y="383"/>
                    <a:pt x="158" y="390"/>
                  </a:cubicBezTo>
                  <a:cubicBezTo>
                    <a:pt x="159" y="393"/>
                    <a:pt x="152" y="391"/>
                    <a:pt x="151" y="393"/>
                  </a:cubicBezTo>
                  <a:cubicBezTo>
                    <a:pt x="151" y="394"/>
                    <a:pt x="152" y="396"/>
                    <a:pt x="152" y="397"/>
                  </a:cubicBezTo>
                  <a:cubicBezTo>
                    <a:pt x="153" y="398"/>
                    <a:pt x="153" y="398"/>
                    <a:pt x="154" y="399"/>
                  </a:cubicBezTo>
                  <a:cubicBezTo>
                    <a:pt x="157" y="403"/>
                    <a:pt x="160" y="398"/>
                    <a:pt x="163" y="398"/>
                  </a:cubicBezTo>
                  <a:cubicBezTo>
                    <a:pt x="182" y="401"/>
                    <a:pt x="160" y="403"/>
                    <a:pt x="164" y="404"/>
                  </a:cubicBezTo>
                  <a:cubicBezTo>
                    <a:pt x="180" y="408"/>
                    <a:pt x="182" y="398"/>
                    <a:pt x="171" y="387"/>
                  </a:cubicBezTo>
                  <a:close/>
                  <a:moveTo>
                    <a:pt x="222" y="390"/>
                  </a:moveTo>
                  <a:cubicBezTo>
                    <a:pt x="222" y="389"/>
                    <a:pt x="222" y="389"/>
                    <a:pt x="222" y="389"/>
                  </a:cubicBezTo>
                  <a:cubicBezTo>
                    <a:pt x="225" y="381"/>
                    <a:pt x="218" y="385"/>
                    <a:pt x="214" y="387"/>
                  </a:cubicBezTo>
                  <a:cubicBezTo>
                    <a:pt x="201" y="393"/>
                    <a:pt x="226" y="403"/>
                    <a:pt x="222" y="390"/>
                  </a:cubicBezTo>
                  <a:close/>
                  <a:moveTo>
                    <a:pt x="226" y="282"/>
                  </a:moveTo>
                  <a:cubicBezTo>
                    <a:pt x="229" y="282"/>
                    <a:pt x="229" y="276"/>
                    <a:pt x="228" y="274"/>
                  </a:cubicBezTo>
                  <a:cubicBezTo>
                    <a:pt x="228" y="272"/>
                    <a:pt x="229" y="268"/>
                    <a:pt x="231" y="265"/>
                  </a:cubicBezTo>
                  <a:cubicBezTo>
                    <a:pt x="228" y="263"/>
                    <a:pt x="223" y="257"/>
                    <a:pt x="222" y="253"/>
                  </a:cubicBezTo>
                  <a:cubicBezTo>
                    <a:pt x="223" y="253"/>
                    <a:pt x="223" y="253"/>
                    <a:pt x="223" y="253"/>
                  </a:cubicBezTo>
                  <a:cubicBezTo>
                    <a:pt x="221" y="245"/>
                    <a:pt x="216" y="284"/>
                    <a:pt x="226" y="282"/>
                  </a:cubicBezTo>
                  <a:close/>
                  <a:moveTo>
                    <a:pt x="183" y="394"/>
                  </a:moveTo>
                  <a:cubicBezTo>
                    <a:pt x="183" y="394"/>
                    <a:pt x="183" y="394"/>
                    <a:pt x="183" y="394"/>
                  </a:cubicBezTo>
                  <a:cubicBezTo>
                    <a:pt x="181" y="390"/>
                    <a:pt x="182" y="395"/>
                    <a:pt x="183" y="396"/>
                  </a:cubicBezTo>
                  <a:cubicBezTo>
                    <a:pt x="194" y="408"/>
                    <a:pt x="197" y="411"/>
                    <a:pt x="210" y="410"/>
                  </a:cubicBezTo>
                  <a:cubicBezTo>
                    <a:pt x="210" y="410"/>
                    <a:pt x="212" y="410"/>
                    <a:pt x="211" y="410"/>
                  </a:cubicBezTo>
                  <a:cubicBezTo>
                    <a:pt x="202" y="400"/>
                    <a:pt x="199" y="410"/>
                    <a:pt x="183" y="394"/>
                  </a:cubicBezTo>
                  <a:close/>
                  <a:moveTo>
                    <a:pt x="232" y="265"/>
                  </a:moveTo>
                  <a:cubicBezTo>
                    <a:pt x="232" y="264"/>
                    <a:pt x="231" y="264"/>
                    <a:pt x="231" y="265"/>
                  </a:cubicBezTo>
                  <a:cubicBezTo>
                    <a:pt x="232" y="266"/>
                    <a:pt x="232" y="266"/>
                    <a:pt x="232" y="265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4" name="Iceland"/>
          <p:cNvSpPr>
            <a:spLocks noEditPoints="1"/>
          </p:cNvSpPr>
          <p:nvPr/>
        </p:nvSpPr>
        <p:spPr bwMode="auto">
          <a:xfrm>
            <a:off x="1565954" y="3938138"/>
            <a:ext cx="2076589" cy="1174206"/>
          </a:xfrm>
          <a:custGeom>
            <a:avLst/>
            <a:gdLst>
              <a:gd name="T0" fmla="*/ 1639 w 1826"/>
              <a:gd name="T1" fmla="*/ 595 h 882"/>
              <a:gd name="T2" fmla="*/ 1526 w 1826"/>
              <a:gd name="T3" fmla="*/ 630 h 882"/>
              <a:gd name="T4" fmla="*/ 1461 w 1826"/>
              <a:gd name="T5" fmla="*/ 664 h 882"/>
              <a:gd name="T6" fmla="*/ 1268 w 1826"/>
              <a:gd name="T7" fmla="*/ 756 h 882"/>
              <a:gd name="T8" fmla="*/ 1212 w 1826"/>
              <a:gd name="T9" fmla="*/ 767 h 882"/>
              <a:gd name="T10" fmla="*/ 1110 w 1826"/>
              <a:gd name="T11" fmla="*/ 803 h 882"/>
              <a:gd name="T12" fmla="*/ 1031 w 1826"/>
              <a:gd name="T13" fmla="*/ 840 h 882"/>
              <a:gd name="T14" fmla="*/ 704 w 1826"/>
              <a:gd name="T15" fmla="*/ 832 h 882"/>
              <a:gd name="T16" fmla="*/ 682 w 1826"/>
              <a:gd name="T17" fmla="*/ 767 h 882"/>
              <a:gd name="T18" fmla="*/ 589 w 1826"/>
              <a:gd name="T19" fmla="*/ 764 h 882"/>
              <a:gd name="T20" fmla="*/ 343 w 1826"/>
              <a:gd name="T21" fmla="*/ 762 h 882"/>
              <a:gd name="T22" fmla="*/ 360 w 1826"/>
              <a:gd name="T23" fmla="*/ 710 h 882"/>
              <a:gd name="T24" fmla="*/ 471 w 1826"/>
              <a:gd name="T25" fmla="*/ 664 h 882"/>
              <a:gd name="T26" fmla="*/ 462 w 1826"/>
              <a:gd name="T27" fmla="*/ 610 h 882"/>
              <a:gd name="T28" fmla="*/ 504 w 1826"/>
              <a:gd name="T29" fmla="*/ 556 h 882"/>
              <a:gd name="T30" fmla="*/ 415 w 1826"/>
              <a:gd name="T31" fmla="*/ 563 h 882"/>
              <a:gd name="T32" fmla="*/ 358 w 1826"/>
              <a:gd name="T33" fmla="*/ 541 h 882"/>
              <a:gd name="T34" fmla="*/ 332 w 1826"/>
              <a:gd name="T35" fmla="*/ 491 h 882"/>
              <a:gd name="T36" fmla="*/ 82 w 1826"/>
              <a:gd name="T37" fmla="*/ 478 h 882"/>
              <a:gd name="T38" fmla="*/ 230 w 1826"/>
              <a:gd name="T39" fmla="*/ 454 h 882"/>
              <a:gd name="T40" fmla="*/ 328 w 1826"/>
              <a:gd name="T41" fmla="*/ 423 h 882"/>
              <a:gd name="T42" fmla="*/ 386 w 1826"/>
              <a:gd name="T43" fmla="*/ 341 h 882"/>
              <a:gd name="T44" fmla="*/ 382 w 1826"/>
              <a:gd name="T45" fmla="*/ 313 h 882"/>
              <a:gd name="T46" fmla="*/ 339 w 1826"/>
              <a:gd name="T47" fmla="*/ 293 h 882"/>
              <a:gd name="T48" fmla="*/ 276 w 1826"/>
              <a:gd name="T49" fmla="*/ 280 h 882"/>
              <a:gd name="T50" fmla="*/ 108 w 1826"/>
              <a:gd name="T51" fmla="*/ 321 h 882"/>
              <a:gd name="T52" fmla="*/ 119 w 1826"/>
              <a:gd name="T53" fmla="*/ 289 h 882"/>
              <a:gd name="T54" fmla="*/ 152 w 1826"/>
              <a:gd name="T55" fmla="*/ 241 h 882"/>
              <a:gd name="T56" fmla="*/ 213 w 1826"/>
              <a:gd name="T57" fmla="*/ 219 h 882"/>
              <a:gd name="T58" fmla="*/ 128 w 1826"/>
              <a:gd name="T59" fmla="*/ 135 h 882"/>
              <a:gd name="T60" fmla="*/ 165 w 1826"/>
              <a:gd name="T61" fmla="*/ 102 h 882"/>
              <a:gd name="T62" fmla="*/ 293 w 1826"/>
              <a:gd name="T63" fmla="*/ 148 h 882"/>
              <a:gd name="T64" fmla="*/ 363 w 1826"/>
              <a:gd name="T65" fmla="*/ 174 h 882"/>
              <a:gd name="T66" fmla="*/ 339 w 1826"/>
              <a:gd name="T67" fmla="*/ 67 h 882"/>
              <a:gd name="T68" fmla="*/ 241 w 1826"/>
              <a:gd name="T69" fmla="*/ 37 h 882"/>
              <a:gd name="T70" fmla="*/ 348 w 1826"/>
              <a:gd name="T71" fmla="*/ 29 h 882"/>
              <a:gd name="T72" fmla="*/ 443 w 1826"/>
              <a:gd name="T73" fmla="*/ 94 h 882"/>
              <a:gd name="T74" fmla="*/ 532 w 1826"/>
              <a:gd name="T75" fmla="*/ 157 h 882"/>
              <a:gd name="T76" fmla="*/ 506 w 1826"/>
              <a:gd name="T77" fmla="*/ 220 h 882"/>
              <a:gd name="T78" fmla="*/ 506 w 1826"/>
              <a:gd name="T79" fmla="*/ 276 h 882"/>
              <a:gd name="T80" fmla="*/ 571 w 1826"/>
              <a:gd name="T81" fmla="*/ 389 h 882"/>
              <a:gd name="T82" fmla="*/ 640 w 1826"/>
              <a:gd name="T83" fmla="*/ 241 h 882"/>
              <a:gd name="T84" fmla="*/ 690 w 1826"/>
              <a:gd name="T85" fmla="*/ 283 h 882"/>
              <a:gd name="T86" fmla="*/ 810 w 1826"/>
              <a:gd name="T87" fmla="*/ 224 h 882"/>
              <a:gd name="T88" fmla="*/ 847 w 1826"/>
              <a:gd name="T89" fmla="*/ 152 h 882"/>
              <a:gd name="T90" fmla="*/ 944 w 1826"/>
              <a:gd name="T91" fmla="*/ 96 h 882"/>
              <a:gd name="T92" fmla="*/ 1042 w 1826"/>
              <a:gd name="T93" fmla="*/ 185 h 882"/>
              <a:gd name="T94" fmla="*/ 1070 w 1826"/>
              <a:gd name="T95" fmla="*/ 105 h 882"/>
              <a:gd name="T96" fmla="*/ 1205 w 1826"/>
              <a:gd name="T97" fmla="*/ 102 h 882"/>
              <a:gd name="T98" fmla="*/ 1335 w 1826"/>
              <a:gd name="T99" fmla="*/ 104 h 882"/>
              <a:gd name="T100" fmla="*/ 1448 w 1826"/>
              <a:gd name="T101" fmla="*/ 37 h 882"/>
              <a:gd name="T102" fmla="*/ 1594 w 1826"/>
              <a:gd name="T103" fmla="*/ 46 h 882"/>
              <a:gd name="T104" fmla="*/ 1633 w 1826"/>
              <a:gd name="T105" fmla="*/ 141 h 882"/>
              <a:gd name="T106" fmla="*/ 1678 w 1826"/>
              <a:gd name="T107" fmla="*/ 230 h 882"/>
              <a:gd name="T108" fmla="*/ 1717 w 1826"/>
              <a:gd name="T109" fmla="*/ 256 h 882"/>
              <a:gd name="T110" fmla="*/ 1742 w 1826"/>
              <a:gd name="T111" fmla="*/ 359 h 882"/>
              <a:gd name="T112" fmla="*/ 1804 w 1826"/>
              <a:gd name="T113" fmla="*/ 389 h 882"/>
              <a:gd name="T114" fmla="*/ 1744 w 1826"/>
              <a:gd name="T115" fmla="*/ 421 h 882"/>
              <a:gd name="T116" fmla="*/ 1781 w 1826"/>
              <a:gd name="T117" fmla="*/ 473 h 882"/>
              <a:gd name="T118" fmla="*/ 1679 w 1826"/>
              <a:gd name="T119" fmla="*/ 511 h 882"/>
              <a:gd name="T120" fmla="*/ 1685 w 1826"/>
              <a:gd name="T121" fmla="*/ 550 h 882"/>
              <a:gd name="T122" fmla="*/ 1385 w 1826"/>
              <a:gd name="T123" fmla="*/ 272 h 882"/>
              <a:gd name="T124" fmla="*/ 1678 w 1826"/>
              <a:gd name="T125" fmla="*/ 334 h 8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26" h="882">
                <a:moveTo>
                  <a:pt x="313" y="497"/>
                </a:move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close/>
                <a:moveTo>
                  <a:pt x="847" y="152"/>
                </a:move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close/>
                <a:moveTo>
                  <a:pt x="1142" y="790"/>
                </a:move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close/>
                <a:moveTo>
                  <a:pt x="1670" y="567"/>
                </a:moveTo>
                <a:lnTo>
                  <a:pt x="1670" y="567"/>
                </a:lnTo>
                <a:lnTo>
                  <a:pt x="1665" y="578"/>
                </a:lnTo>
                <a:lnTo>
                  <a:pt x="1654" y="599"/>
                </a:lnTo>
                <a:lnTo>
                  <a:pt x="1646" y="608"/>
                </a:lnTo>
                <a:lnTo>
                  <a:pt x="1639" y="613"/>
                </a:lnTo>
                <a:lnTo>
                  <a:pt x="1635" y="613"/>
                </a:lnTo>
                <a:lnTo>
                  <a:pt x="1631" y="613"/>
                </a:lnTo>
                <a:lnTo>
                  <a:pt x="1628" y="612"/>
                </a:lnTo>
                <a:lnTo>
                  <a:pt x="1622" y="608"/>
                </a:lnTo>
                <a:lnTo>
                  <a:pt x="1622" y="608"/>
                </a:lnTo>
                <a:lnTo>
                  <a:pt x="1622" y="608"/>
                </a:lnTo>
                <a:lnTo>
                  <a:pt x="1624" y="606"/>
                </a:lnTo>
                <a:lnTo>
                  <a:pt x="1631" y="604"/>
                </a:lnTo>
                <a:lnTo>
                  <a:pt x="1639" y="602"/>
                </a:lnTo>
                <a:lnTo>
                  <a:pt x="1642" y="600"/>
                </a:lnTo>
                <a:lnTo>
                  <a:pt x="1644" y="599"/>
                </a:lnTo>
                <a:lnTo>
                  <a:pt x="1644" y="599"/>
                </a:lnTo>
                <a:lnTo>
                  <a:pt x="1642" y="597"/>
                </a:lnTo>
                <a:lnTo>
                  <a:pt x="1642" y="595"/>
                </a:lnTo>
                <a:lnTo>
                  <a:pt x="1639" y="595"/>
                </a:lnTo>
                <a:lnTo>
                  <a:pt x="1639" y="595"/>
                </a:lnTo>
                <a:lnTo>
                  <a:pt x="1628" y="597"/>
                </a:lnTo>
                <a:lnTo>
                  <a:pt x="1615" y="604"/>
                </a:lnTo>
                <a:lnTo>
                  <a:pt x="1602" y="613"/>
                </a:lnTo>
                <a:lnTo>
                  <a:pt x="1596" y="619"/>
                </a:lnTo>
                <a:lnTo>
                  <a:pt x="1592" y="625"/>
                </a:lnTo>
                <a:lnTo>
                  <a:pt x="1592" y="625"/>
                </a:lnTo>
                <a:lnTo>
                  <a:pt x="1590" y="630"/>
                </a:lnTo>
                <a:lnTo>
                  <a:pt x="1590" y="638"/>
                </a:lnTo>
                <a:lnTo>
                  <a:pt x="1589" y="641"/>
                </a:lnTo>
                <a:lnTo>
                  <a:pt x="1585" y="643"/>
                </a:lnTo>
                <a:lnTo>
                  <a:pt x="1585" y="643"/>
                </a:lnTo>
                <a:lnTo>
                  <a:pt x="1578" y="643"/>
                </a:lnTo>
                <a:lnTo>
                  <a:pt x="1574" y="639"/>
                </a:lnTo>
                <a:lnTo>
                  <a:pt x="1568" y="636"/>
                </a:lnTo>
                <a:lnTo>
                  <a:pt x="1563" y="632"/>
                </a:lnTo>
                <a:lnTo>
                  <a:pt x="1563" y="632"/>
                </a:lnTo>
                <a:lnTo>
                  <a:pt x="1557" y="632"/>
                </a:lnTo>
                <a:lnTo>
                  <a:pt x="1552" y="636"/>
                </a:lnTo>
                <a:lnTo>
                  <a:pt x="1544" y="641"/>
                </a:lnTo>
                <a:lnTo>
                  <a:pt x="1544" y="641"/>
                </a:lnTo>
                <a:lnTo>
                  <a:pt x="1542" y="641"/>
                </a:lnTo>
                <a:lnTo>
                  <a:pt x="1540" y="639"/>
                </a:lnTo>
                <a:lnTo>
                  <a:pt x="1540" y="634"/>
                </a:lnTo>
                <a:lnTo>
                  <a:pt x="1542" y="630"/>
                </a:lnTo>
                <a:lnTo>
                  <a:pt x="1542" y="630"/>
                </a:lnTo>
                <a:lnTo>
                  <a:pt x="1540" y="632"/>
                </a:lnTo>
                <a:lnTo>
                  <a:pt x="1540" y="632"/>
                </a:lnTo>
                <a:lnTo>
                  <a:pt x="1539" y="632"/>
                </a:lnTo>
                <a:lnTo>
                  <a:pt x="1537" y="630"/>
                </a:lnTo>
                <a:lnTo>
                  <a:pt x="1533" y="626"/>
                </a:lnTo>
                <a:lnTo>
                  <a:pt x="1529" y="623"/>
                </a:lnTo>
                <a:lnTo>
                  <a:pt x="1529" y="623"/>
                </a:lnTo>
                <a:lnTo>
                  <a:pt x="1527" y="623"/>
                </a:lnTo>
                <a:lnTo>
                  <a:pt x="1527" y="623"/>
                </a:lnTo>
                <a:lnTo>
                  <a:pt x="1526" y="630"/>
                </a:lnTo>
                <a:lnTo>
                  <a:pt x="1526" y="630"/>
                </a:lnTo>
                <a:lnTo>
                  <a:pt x="1524" y="626"/>
                </a:lnTo>
                <a:lnTo>
                  <a:pt x="1520" y="617"/>
                </a:lnTo>
                <a:lnTo>
                  <a:pt x="1516" y="613"/>
                </a:lnTo>
                <a:lnTo>
                  <a:pt x="1513" y="608"/>
                </a:lnTo>
                <a:lnTo>
                  <a:pt x="1513" y="608"/>
                </a:lnTo>
                <a:lnTo>
                  <a:pt x="1511" y="608"/>
                </a:lnTo>
                <a:lnTo>
                  <a:pt x="1513" y="610"/>
                </a:lnTo>
                <a:lnTo>
                  <a:pt x="1513" y="610"/>
                </a:lnTo>
                <a:lnTo>
                  <a:pt x="1514" y="615"/>
                </a:lnTo>
                <a:lnTo>
                  <a:pt x="1516" y="621"/>
                </a:lnTo>
                <a:lnTo>
                  <a:pt x="1516" y="626"/>
                </a:lnTo>
                <a:lnTo>
                  <a:pt x="1514" y="630"/>
                </a:lnTo>
                <a:lnTo>
                  <a:pt x="1514" y="630"/>
                </a:lnTo>
                <a:lnTo>
                  <a:pt x="1513" y="632"/>
                </a:lnTo>
                <a:lnTo>
                  <a:pt x="1511" y="634"/>
                </a:lnTo>
                <a:lnTo>
                  <a:pt x="1502" y="638"/>
                </a:lnTo>
                <a:lnTo>
                  <a:pt x="1496" y="639"/>
                </a:lnTo>
                <a:lnTo>
                  <a:pt x="1494" y="639"/>
                </a:lnTo>
                <a:lnTo>
                  <a:pt x="1496" y="641"/>
                </a:lnTo>
                <a:lnTo>
                  <a:pt x="1496" y="641"/>
                </a:lnTo>
                <a:lnTo>
                  <a:pt x="1502" y="641"/>
                </a:lnTo>
                <a:lnTo>
                  <a:pt x="1503" y="641"/>
                </a:lnTo>
                <a:lnTo>
                  <a:pt x="1505" y="643"/>
                </a:lnTo>
                <a:lnTo>
                  <a:pt x="1505" y="643"/>
                </a:lnTo>
                <a:lnTo>
                  <a:pt x="1507" y="645"/>
                </a:lnTo>
                <a:lnTo>
                  <a:pt x="1505" y="647"/>
                </a:lnTo>
                <a:lnTo>
                  <a:pt x="1498" y="649"/>
                </a:lnTo>
                <a:lnTo>
                  <a:pt x="1477" y="649"/>
                </a:lnTo>
                <a:lnTo>
                  <a:pt x="1477" y="649"/>
                </a:lnTo>
                <a:lnTo>
                  <a:pt x="1472" y="652"/>
                </a:lnTo>
                <a:lnTo>
                  <a:pt x="1468" y="652"/>
                </a:lnTo>
                <a:lnTo>
                  <a:pt x="1466" y="652"/>
                </a:lnTo>
                <a:lnTo>
                  <a:pt x="1466" y="652"/>
                </a:lnTo>
                <a:lnTo>
                  <a:pt x="1464" y="656"/>
                </a:lnTo>
                <a:lnTo>
                  <a:pt x="1463" y="660"/>
                </a:lnTo>
                <a:lnTo>
                  <a:pt x="1461" y="664"/>
                </a:lnTo>
                <a:lnTo>
                  <a:pt x="1461" y="664"/>
                </a:lnTo>
                <a:lnTo>
                  <a:pt x="1453" y="665"/>
                </a:lnTo>
                <a:lnTo>
                  <a:pt x="1446" y="667"/>
                </a:lnTo>
                <a:lnTo>
                  <a:pt x="1429" y="671"/>
                </a:lnTo>
                <a:lnTo>
                  <a:pt x="1416" y="673"/>
                </a:lnTo>
                <a:lnTo>
                  <a:pt x="1413" y="675"/>
                </a:lnTo>
                <a:lnTo>
                  <a:pt x="1414" y="678"/>
                </a:lnTo>
                <a:lnTo>
                  <a:pt x="1414" y="678"/>
                </a:lnTo>
                <a:lnTo>
                  <a:pt x="1416" y="680"/>
                </a:lnTo>
                <a:lnTo>
                  <a:pt x="1416" y="682"/>
                </a:lnTo>
                <a:lnTo>
                  <a:pt x="1411" y="686"/>
                </a:lnTo>
                <a:lnTo>
                  <a:pt x="1403" y="689"/>
                </a:lnTo>
                <a:lnTo>
                  <a:pt x="1398" y="691"/>
                </a:lnTo>
                <a:lnTo>
                  <a:pt x="1398" y="691"/>
                </a:lnTo>
                <a:lnTo>
                  <a:pt x="1375" y="702"/>
                </a:lnTo>
                <a:lnTo>
                  <a:pt x="1361" y="710"/>
                </a:lnTo>
                <a:lnTo>
                  <a:pt x="1355" y="714"/>
                </a:lnTo>
                <a:lnTo>
                  <a:pt x="1355" y="714"/>
                </a:lnTo>
                <a:lnTo>
                  <a:pt x="1353" y="717"/>
                </a:lnTo>
                <a:lnTo>
                  <a:pt x="1350" y="723"/>
                </a:lnTo>
                <a:lnTo>
                  <a:pt x="1342" y="734"/>
                </a:lnTo>
                <a:lnTo>
                  <a:pt x="1342" y="734"/>
                </a:lnTo>
                <a:lnTo>
                  <a:pt x="1340" y="738"/>
                </a:lnTo>
                <a:lnTo>
                  <a:pt x="1335" y="741"/>
                </a:lnTo>
                <a:lnTo>
                  <a:pt x="1322" y="745"/>
                </a:lnTo>
                <a:lnTo>
                  <a:pt x="1303" y="749"/>
                </a:lnTo>
                <a:lnTo>
                  <a:pt x="1283" y="753"/>
                </a:lnTo>
                <a:lnTo>
                  <a:pt x="1283" y="753"/>
                </a:lnTo>
                <a:lnTo>
                  <a:pt x="1281" y="754"/>
                </a:lnTo>
                <a:lnTo>
                  <a:pt x="1281" y="756"/>
                </a:lnTo>
                <a:lnTo>
                  <a:pt x="1283" y="762"/>
                </a:lnTo>
                <a:lnTo>
                  <a:pt x="1283" y="767"/>
                </a:lnTo>
                <a:lnTo>
                  <a:pt x="1283" y="769"/>
                </a:lnTo>
                <a:lnTo>
                  <a:pt x="1281" y="769"/>
                </a:lnTo>
                <a:lnTo>
                  <a:pt x="1281" y="769"/>
                </a:lnTo>
                <a:lnTo>
                  <a:pt x="1275" y="765"/>
                </a:lnTo>
                <a:lnTo>
                  <a:pt x="1272" y="760"/>
                </a:lnTo>
                <a:lnTo>
                  <a:pt x="1268" y="756"/>
                </a:lnTo>
                <a:lnTo>
                  <a:pt x="1268" y="756"/>
                </a:lnTo>
                <a:lnTo>
                  <a:pt x="1268" y="758"/>
                </a:lnTo>
                <a:lnTo>
                  <a:pt x="1268" y="758"/>
                </a:lnTo>
                <a:lnTo>
                  <a:pt x="1266" y="764"/>
                </a:lnTo>
                <a:lnTo>
                  <a:pt x="1264" y="769"/>
                </a:lnTo>
                <a:lnTo>
                  <a:pt x="1264" y="769"/>
                </a:lnTo>
                <a:lnTo>
                  <a:pt x="1259" y="775"/>
                </a:lnTo>
                <a:lnTo>
                  <a:pt x="1255" y="775"/>
                </a:lnTo>
                <a:lnTo>
                  <a:pt x="1253" y="773"/>
                </a:lnTo>
                <a:lnTo>
                  <a:pt x="1253" y="773"/>
                </a:lnTo>
                <a:lnTo>
                  <a:pt x="1251" y="771"/>
                </a:lnTo>
                <a:lnTo>
                  <a:pt x="1253" y="765"/>
                </a:lnTo>
                <a:lnTo>
                  <a:pt x="1257" y="754"/>
                </a:lnTo>
                <a:lnTo>
                  <a:pt x="1257" y="743"/>
                </a:lnTo>
                <a:lnTo>
                  <a:pt x="1257" y="740"/>
                </a:lnTo>
                <a:lnTo>
                  <a:pt x="1253" y="736"/>
                </a:lnTo>
                <a:lnTo>
                  <a:pt x="1253" y="736"/>
                </a:lnTo>
                <a:lnTo>
                  <a:pt x="1251" y="738"/>
                </a:lnTo>
                <a:lnTo>
                  <a:pt x="1249" y="741"/>
                </a:lnTo>
                <a:lnTo>
                  <a:pt x="1249" y="749"/>
                </a:lnTo>
                <a:lnTo>
                  <a:pt x="1249" y="749"/>
                </a:lnTo>
                <a:lnTo>
                  <a:pt x="1249" y="753"/>
                </a:lnTo>
                <a:lnTo>
                  <a:pt x="1248" y="753"/>
                </a:lnTo>
                <a:lnTo>
                  <a:pt x="1244" y="753"/>
                </a:lnTo>
                <a:lnTo>
                  <a:pt x="1242" y="753"/>
                </a:lnTo>
                <a:lnTo>
                  <a:pt x="1242" y="754"/>
                </a:lnTo>
                <a:lnTo>
                  <a:pt x="1242" y="754"/>
                </a:lnTo>
                <a:lnTo>
                  <a:pt x="1246" y="762"/>
                </a:lnTo>
                <a:lnTo>
                  <a:pt x="1248" y="769"/>
                </a:lnTo>
                <a:lnTo>
                  <a:pt x="1248" y="769"/>
                </a:lnTo>
                <a:lnTo>
                  <a:pt x="1244" y="773"/>
                </a:lnTo>
                <a:lnTo>
                  <a:pt x="1240" y="773"/>
                </a:lnTo>
                <a:lnTo>
                  <a:pt x="1231" y="769"/>
                </a:lnTo>
                <a:lnTo>
                  <a:pt x="1222" y="765"/>
                </a:lnTo>
                <a:lnTo>
                  <a:pt x="1216" y="765"/>
                </a:lnTo>
                <a:lnTo>
                  <a:pt x="1212" y="767"/>
                </a:lnTo>
                <a:lnTo>
                  <a:pt x="1212" y="767"/>
                </a:lnTo>
                <a:lnTo>
                  <a:pt x="1183" y="778"/>
                </a:lnTo>
                <a:lnTo>
                  <a:pt x="1166" y="784"/>
                </a:lnTo>
                <a:lnTo>
                  <a:pt x="1160" y="786"/>
                </a:lnTo>
                <a:lnTo>
                  <a:pt x="1159" y="784"/>
                </a:lnTo>
                <a:lnTo>
                  <a:pt x="1159" y="784"/>
                </a:lnTo>
                <a:lnTo>
                  <a:pt x="1159" y="778"/>
                </a:lnTo>
                <a:lnTo>
                  <a:pt x="1157" y="775"/>
                </a:lnTo>
                <a:lnTo>
                  <a:pt x="1157" y="775"/>
                </a:lnTo>
                <a:lnTo>
                  <a:pt x="1157" y="775"/>
                </a:lnTo>
                <a:lnTo>
                  <a:pt x="1151" y="778"/>
                </a:lnTo>
                <a:lnTo>
                  <a:pt x="1149" y="782"/>
                </a:lnTo>
                <a:lnTo>
                  <a:pt x="1147" y="786"/>
                </a:lnTo>
                <a:lnTo>
                  <a:pt x="1142" y="790"/>
                </a:lnTo>
                <a:lnTo>
                  <a:pt x="1142" y="790"/>
                </a:lnTo>
                <a:lnTo>
                  <a:pt x="1134" y="791"/>
                </a:lnTo>
                <a:lnTo>
                  <a:pt x="1131" y="791"/>
                </a:lnTo>
                <a:lnTo>
                  <a:pt x="1133" y="790"/>
                </a:lnTo>
                <a:lnTo>
                  <a:pt x="1134" y="786"/>
                </a:lnTo>
                <a:lnTo>
                  <a:pt x="1134" y="786"/>
                </a:lnTo>
                <a:lnTo>
                  <a:pt x="1136" y="784"/>
                </a:lnTo>
                <a:lnTo>
                  <a:pt x="1134" y="782"/>
                </a:lnTo>
                <a:lnTo>
                  <a:pt x="1134" y="782"/>
                </a:lnTo>
                <a:lnTo>
                  <a:pt x="1127" y="780"/>
                </a:lnTo>
                <a:lnTo>
                  <a:pt x="1125" y="780"/>
                </a:lnTo>
                <a:lnTo>
                  <a:pt x="1125" y="782"/>
                </a:lnTo>
                <a:lnTo>
                  <a:pt x="1123" y="784"/>
                </a:lnTo>
                <a:lnTo>
                  <a:pt x="1121" y="784"/>
                </a:lnTo>
                <a:lnTo>
                  <a:pt x="1118" y="784"/>
                </a:lnTo>
                <a:lnTo>
                  <a:pt x="1118" y="784"/>
                </a:lnTo>
                <a:lnTo>
                  <a:pt x="1103" y="791"/>
                </a:lnTo>
                <a:lnTo>
                  <a:pt x="1092" y="799"/>
                </a:lnTo>
                <a:lnTo>
                  <a:pt x="1086" y="804"/>
                </a:lnTo>
                <a:lnTo>
                  <a:pt x="1086" y="804"/>
                </a:lnTo>
                <a:lnTo>
                  <a:pt x="1086" y="808"/>
                </a:lnTo>
                <a:lnTo>
                  <a:pt x="1090" y="808"/>
                </a:lnTo>
                <a:lnTo>
                  <a:pt x="1099" y="804"/>
                </a:lnTo>
                <a:lnTo>
                  <a:pt x="1110" y="803"/>
                </a:lnTo>
                <a:lnTo>
                  <a:pt x="1114" y="803"/>
                </a:lnTo>
                <a:lnTo>
                  <a:pt x="1116" y="806"/>
                </a:lnTo>
                <a:lnTo>
                  <a:pt x="1116" y="806"/>
                </a:lnTo>
                <a:lnTo>
                  <a:pt x="1112" y="812"/>
                </a:lnTo>
                <a:lnTo>
                  <a:pt x="1109" y="816"/>
                </a:lnTo>
                <a:lnTo>
                  <a:pt x="1109" y="816"/>
                </a:lnTo>
                <a:lnTo>
                  <a:pt x="1105" y="817"/>
                </a:lnTo>
                <a:lnTo>
                  <a:pt x="1103" y="817"/>
                </a:lnTo>
                <a:lnTo>
                  <a:pt x="1101" y="816"/>
                </a:lnTo>
                <a:lnTo>
                  <a:pt x="1101" y="816"/>
                </a:lnTo>
                <a:lnTo>
                  <a:pt x="1097" y="814"/>
                </a:lnTo>
                <a:lnTo>
                  <a:pt x="1096" y="814"/>
                </a:lnTo>
                <a:lnTo>
                  <a:pt x="1096" y="819"/>
                </a:lnTo>
                <a:lnTo>
                  <a:pt x="1097" y="829"/>
                </a:lnTo>
                <a:lnTo>
                  <a:pt x="1099" y="832"/>
                </a:lnTo>
                <a:lnTo>
                  <a:pt x="1097" y="836"/>
                </a:lnTo>
                <a:lnTo>
                  <a:pt x="1097" y="836"/>
                </a:lnTo>
                <a:lnTo>
                  <a:pt x="1096" y="840"/>
                </a:lnTo>
                <a:lnTo>
                  <a:pt x="1094" y="843"/>
                </a:lnTo>
                <a:lnTo>
                  <a:pt x="1094" y="843"/>
                </a:lnTo>
                <a:lnTo>
                  <a:pt x="1086" y="847"/>
                </a:lnTo>
                <a:lnTo>
                  <a:pt x="1071" y="853"/>
                </a:lnTo>
                <a:lnTo>
                  <a:pt x="1057" y="856"/>
                </a:lnTo>
                <a:lnTo>
                  <a:pt x="1051" y="856"/>
                </a:lnTo>
                <a:lnTo>
                  <a:pt x="1049" y="856"/>
                </a:lnTo>
                <a:lnTo>
                  <a:pt x="1049" y="856"/>
                </a:lnTo>
                <a:lnTo>
                  <a:pt x="1047" y="853"/>
                </a:lnTo>
                <a:lnTo>
                  <a:pt x="1049" y="851"/>
                </a:lnTo>
                <a:lnTo>
                  <a:pt x="1057" y="845"/>
                </a:lnTo>
                <a:lnTo>
                  <a:pt x="1060" y="843"/>
                </a:lnTo>
                <a:lnTo>
                  <a:pt x="1055" y="845"/>
                </a:lnTo>
                <a:lnTo>
                  <a:pt x="1055" y="845"/>
                </a:lnTo>
                <a:lnTo>
                  <a:pt x="1051" y="843"/>
                </a:lnTo>
                <a:lnTo>
                  <a:pt x="1045" y="843"/>
                </a:lnTo>
                <a:lnTo>
                  <a:pt x="1045" y="843"/>
                </a:lnTo>
                <a:lnTo>
                  <a:pt x="1036" y="841"/>
                </a:lnTo>
                <a:lnTo>
                  <a:pt x="1031" y="840"/>
                </a:lnTo>
                <a:lnTo>
                  <a:pt x="1031" y="840"/>
                </a:lnTo>
                <a:lnTo>
                  <a:pt x="1031" y="843"/>
                </a:lnTo>
                <a:lnTo>
                  <a:pt x="1033" y="853"/>
                </a:lnTo>
                <a:lnTo>
                  <a:pt x="1036" y="860"/>
                </a:lnTo>
                <a:lnTo>
                  <a:pt x="1038" y="862"/>
                </a:lnTo>
                <a:lnTo>
                  <a:pt x="1040" y="862"/>
                </a:lnTo>
                <a:lnTo>
                  <a:pt x="1040" y="862"/>
                </a:lnTo>
                <a:lnTo>
                  <a:pt x="1047" y="864"/>
                </a:lnTo>
                <a:lnTo>
                  <a:pt x="1051" y="864"/>
                </a:lnTo>
                <a:lnTo>
                  <a:pt x="1051" y="866"/>
                </a:lnTo>
                <a:lnTo>
                  <a:pt x="1051" y="866"/>
                </a:lnTo>
                <a:lnTo>
                  <a:pt x="1051" y="866"/>
                </a:lnTo>
                <a:lnTo>
                  <a:pt x="1033" y="873"/>
                </a:lnTo>
                <a:lnTo>
                  <a:pt x="1010" y="879"/>
                </a:lnTo>
                <a:lnTo>
                  <a:pt x="986" y="880"/>
                </a:lnTo>
                <a:lnTo>
                  <a:pt x="962" y="882"/>
                </a:lnTo>
                <a:lnTo>
                  <a:pt x="938" y="880"/>
                </a:lnTo>
                <a:lnTo>
                  <a:pt x="918" y="879"/>
                </a:lnTo>
                <a:lnTo>
                  <a:pt x="884" y="873"/>
                </a:lnTo>
                <a:lnTo>
                  <a:pt x="884" y="873"/>
                </a:lnTo>
                <a:lnTo>
                  <a:pt x="855" y="864"/>
                </a:lnTo>
                <a:lnTo>
                  <a:pt x="823" y="853"/>
                </a:lnTo>
                <a:lnTo>
                  <a:pt x="823" y="853"/>
                </a:lnTo>
                <a:lnTo>
                  <a:pt x="814" y="851"/>
                </a:lnTo>
                <a:lnTo>
                  <a:pt x="801" y="847"/>
                </a:lnTo>
                <a:lnTo>
                  <a:pt x="793" y="845"/>
                </a:lnTo>
                <a:lnTo>
                  <a:pt x="792" y="845"/>
                </a:lnTo>
                <a:lnTo>
                  <a:pt x="793" y="843"/>
                </a:lnTo>
                <a:lnTo>
                  <a:pt x="793" y="843"/>
                </a:lnTo>
                <a:lnTo>
                  <a:pt x="801" y="841"/>
                </a:lnTo>
                <a:lnTo>
                  <a:pt x="795" y="841"/>
                </a:lnTo>
                <a:lnTo>
                  <a:pt x="777" y="841"/>
                </a:lnTo>
                <a:lnTo>
                  <a:pt x="777" y="841"/>
                </a:lnTo>
                <a:lnTo>
                  <a:pt x="753" y="841"/>
                </a:lnTo>
                <a:lnTo>
                  <a:pt x="727" y="840"/>
                </a:lnTo>
                <a:lnTo>
                  <a:pt x="716" y="836"/>
                </a:lnTo>
                <a:lnTo>
                  <a:pt x="704" y="832"/>
                </a:lnTo>
                <a:lnTo>
                  <a:pt x="697" y="829"/>
                </a:lnTo>
                <a:lnTo>
                  <a:pt x="693" y="823"/>
                </a:lnTo>
                <a:lnTo>
                  <a:pt x="693" y="823"/>
                </a:lnTo>
                <a:lnTo>
                  <a:pt x="690" y="816"/>
                </a:lnTo>
                <a:lnTo>
                  <a:pt x="690" y="816"/>
                </a:lnTo>
                <a:lnTo>
                  <a:pt x="690" y="814"/>
                </a:lnTo>
                <a:lnTo>
                  <a:pt x="690" y="814"/>
                </a:lnTo>
                <a:lnTo>
                  <a:pt x="684" y="810"/>
                </a:lnTo>
                <a:lnTo>
                  <a:pt x="680" y="804"/>
                </a:lnTo>
                <a:lnTo>
                  <a:pt x="678" y="799"/>
                </a:lnTo>
                <a:lnTo>
                  <a:pt x="678" y="799"/>
                </a:lnTo>
                <a:lnTo>
                  <a:pt x="677" y="801"/>
                </a:lnTo>
                <a:lnTo>
                  <a:pt x="677" y="801"/>
                </a:lnTo>
                <a:lnTo>
                  <a:pt x="677" y="804"/>
                </a:lnTo>
                <a:lnTo>
                  <a:pt x="678" y="806"/>
                </a:lnTo>
                <a:lnTo>
                  <a:pt x="682" y="814"/>
                </a:lnTo>
                <a:lnTo>
                  <a:pt x="682" y="814"/>
                </a:lnTo>
                <a:lnTo>
                  <a:pt x="680" y="812"/>
                </a:lnTo>
                <a:lnTo>
                  <a:pt x="673" y="810"/>
                </a:lnTo>
                <a:lnTo>
                  <a:pt x="667" y="804"/>
                </a:lnTo>
                <a:lnTo>
                  <a:pt x="664" y="801"/>
                </a:lnTo>
                <a:lnTo>
                  <a:pt x="664" y="797"/>
                </a:lnTo>
                <a:lnTo>
                  <a:pt x="664" y="797"/>
                </a:lnTo>
                <a:lnTo>
                  <a:pt x="665" y="788"/>
                </a:lnTo>
                <a:lnTo>
                  <a:pt x="667" y="784"/>
                </a:lnTo>
                <a:lnTo>
                  <a:pt x="673" y="782"/>
                </a:lnTo>
                <a:lnTo>
                  <a:pt x="678" y="784"/>
                </a:lnTo>
                <a:lnTo>
                  <a:pt x="691" y="788"/>
                </a:lnTo>
                <a:lnTo>
                  <a:pt x="695" y="790"/>
                </a:lnTo>
                <a:lnTo>
                  <a:pt x="701" y="788"/>
                </a:lnTo>
                <a:lnTo>
                  <a:pt x="701" y="788"/>
                </a:lnTo>
                <a:lnTo>
                  <a:pt x="701" y="786"/>
                </a:lnTo>
                <a:lnTo>
                  <a:pt x="699" y="784"/>
                </a:lnTo>
                <a:lnTo>
                  <a:pt x="691" y="778"/>
                </a:lnTo>
                <a:lnTo>
                  <a:pt x="684" y="773"/>
                </a:lnTo>
                <a:lnTo>
                  <a:pt x="682" y="771"/>
                </a:lnTo>
                <a:lnTo>
                  <a:pt x="682" y="767"/>
                </a:lnTo>
                <a:lnTo>
                  <a:pt x="682" y="767"/>
                </a:lnTo>
                <a:lnTo>
                  <a:pt x="684" y="764"/>
                </a:lnTo>
                <a:lnTo>
                  <a:pt x="684" y="760"/>
                </a:lnTo>
                <a:lnTo>
                  <a:pt x="682" y="758"/>
                </a:lnTo>
                <a:lnTo>
                  <a:pt x="682" y="758"/>
                </a:lnTo>
                <a:lnTo>
                  <a:pt x="677" y="758"/>
                </a:lnTo>
                <a:lnTo>
                  <a:pt x="671" y="762"/>
                </a:lnTo>
                <a:lnTo>
                  <a:pt x="667" y="767"/>
                </a:lnTo>
                <a:lnTo>
                  <a:pt x="664" y="775"/>
                </a:lnTo>
                <a:lnTo>
                  <a:pt x="658" y="788"/>
                </a:lnTo>
                <a:lnTo>
                  <a:pt x="656" y="791"/>
                </a:lnTo>
                <a:lnTo>
                  <a:pt x="654" y="793"/>
                </a:lnTo>
                <a:lnTo>
                  <a:pt x="654" y="793"/>
                </a:lnTo>
                <a:lnTo>
                  <a:pt x="647" y="791"/>
                </a:lnTo>
                <a:lnTo>
                  <a:pt x="643" y="788"/>
                </a:lnTo>
                <a:lnTo>
                  <a:pt x="638" y="784"/>
                </a:lnTo>
                <a:lnTo>
                  <a:pt x="634" y="780"/>
                </a:lnTo>
                <a:lnTo>
                  <a:pt x="634" y="780"/>
                </a:lnTo>
                <a:lnTo>
                  <a:pt x="628" y="778"/>
                </a:lnTo>
                <a:lnTo>
                  <a:pt x="630" y="777"/>
                </a:lnTo>
                <a:lnTo>
                  <a:pt x="641" y="777"/>
                </a:lnTo>
                <a:lnTo>
                  <a:pt x="651" y="777"/>
                </a:lnTo>
                <a:lnTo>
                  <a:pt x="638" y="773"/>
                </a:lnTo>
                <a:lnTo>
                  <a:pt x="638" y="773"/>
                </a:lnTo>
                <a:lnTo>
                  <a:pt x="638" y="771"/>
                </a:lnTo>
                <a:lnTo>
                  <a:pt x="640" y="767"/>
                </a:lnTo>
                <a:lnTo>
                  <a:pt x="638" y="758"/>
                </a:lnTo>
                <a:lnTo>
                  <a:pt x="638" y="751"/>
                </a:lnTo>
                <a:lnTo>
                  <a:pt x="638" y="756"/>
                </a:lnTo>
                <a:lnTo>
                  <a:pt x="638" y="756"/>
                </a:lnTo>
                <a:lnTo>
                  <a:pt x="638" y="762"/>
                </a:lnTo>
                <a:lnTo>
                  <a:pt x="636" y="765"/>
                </a:lnTo>
                <a:lnTo>
                  <a:pt x="632" y="767"/>
                </a:lnTo>
                <a:lnTo>
                  <a:pt x="628" y="769"/>
                </a:lnTo>
                <a:lnTo>
                  <a:pt x="615" y="769"/>
                </a:lnTo>
                <a:lnTo>
                  <a:pt x="602" y="767"/>
                </a:lnTo>
                <a:lnTo>
                  <a:pt x="589" y="764"/>
                </a:lnTo>
                <a:lnTo>
                  <a:pt x="575" y="760"/>
                </a:lnTo>
                <a:lnTo>
                  <a:pt x="564" y="754"/>
                </a:lnTo>
                <a:lnTo>
                  <a:pt x="556" y="747"/>
                </a:lnTo>
                <a:lnTo>
                  <a:pt x="556" y="747"/>
                </a:lnTo>
                <a:lnTo>
                  <a:pt x="554" y="745"/>
                </a:lnTo>
                <a:lnTo>
                  <a:pt x="554" y="743"/>
                </a:lnTo>
                <a:lnTo>
                  <a:pt x="558" y="738"/>
                </a:lnTo>
                <a:lnTo>
                  <a:pt x="569" y="730"/>
                </a:lnTo>
                <a:lnTo>
                  <a:pt x="573" y="727"/>
                </a:lnTo>
                <a:lnTo>
                  <a:pt x="573" y="725"/>
                </a:lnTo>
                <a:lnTo>
                  <a:pt x="573" y="725"/>
                </a:lnTo>
                <a:lnTo>
                  <a:pt x="567" y="725"/>
                </a:lnTo>
                <a:lnTo>
                  <a:pt x="554" y="727"/>
                </a:lnTo>
                <a:lnTo>
                  <a:pt x="554" y="727"/>
                </a:lnTo>
                <a:lnTo>
                  <a:pt x="545" y="728"/>
                </a:lnTo>
                <a:lnTo>
                  <a:pt x="541" y="732"/>
                </a:lnTo>
                <a:lnTo>
                  <a:pt x="541" y="736"/>
                </a:lnTo>
                <a:lnTo>
                  <a:pt x="543" y="740"/>
                </a:lnTo>
                <a:lnTo>
                  <a:pt x="543" y="743"/>
                </a:lnTo>
                <a:lnTo>
                  <a:pt x="543" y="749"/>
                </a:lnTo>
                <a:lnTo>
                  <a:pt x="538" y="753"/>
                </a:lnTo>
                <a:lnTo>
                  <a:pt x="525" y="756"/>
                </a:lnTo>
                <a:lnTo>
                  <a:pt x="525" y="756"/>
                </a:lnTo>
                <a:lnTo>
                  <a:pt x="513" y="758"/>
                </a:lnTo>
                <a:lnTo>
                  <a:pt x="504" y="758"/>
                </a:lnTo>
                <a:lnTo>
                  <a:pt x="488" y="756"/>
                </a:lnTo>
                <a:lnTo>
                  <a:pt x="473" y="751"/>
                </a:lnTo>
                <a:lnTo>
                  <a:pt x="454" y="749"/>
                </a:lnTo>
                <a:lnTo>
                  <a:pt x="454" y="749"/>
                </a:lnTo>
                <a:lnTo>
                  <a:pt x="452" y="749"/>
                </a:lnTo>
                <a:lnTo>
                  <a:pt x="450" y="753"/>
                </a:lnTo>
                <a:lnTo>
                  <a:pt x="450" y="753"/>
                </a:lnTo>
                <a:lnTo>
                  <a:pt x="447" y="754"/>
                </a:lnTo>
                <a:lnTo>
                  <a:pt x="441" y="756"/>
                </a:lnTo>
                <a:lnTo>
                  <a:pt x="426" y="758"/>
                </a:lnTo>
                <a:lnTo>
                  <a:pt x="386" y="760"/>
                </a:lnTo>
                <a:lnTo>
                  <a:pt x="343" y="762"/>
                </a:lnTo>
                <a:lnTo>
                  <a:pt x="326" y="762"/>
                </a:lnTo>
                <a:lnTo>
                  <a:pt x="315" y="764"/>
                </a:lnTo>
                <a:lnTo>
                  <a:pt x="315" y="764"/>
                </a:lnTo>
                <a:lnTo>
                  <a:pt x="311" y="765"/>
                </a:lnTo>
                <a:lnTo>
                  <a:pt x="308" y="767"/>
                </a:lnTo>
                <a:lnTo>
                  <a:pt x="308" y="767"/>
                </a:lnTo>
                <a:lnTo>
                  <a:pt x="306" y="767"/>
                </a:lnTo>
                <a:lnTo>
                  <a:pt x="304" y="765"/>
                </a:lnTo>
                <a:lnTo>
                  <a:pt x="304" y="760"/>
                </a:lnTo>
                <a:lnTo>
                  <a:pt x="306" y="751"/>
                </a:lnTo>
                <a:lnTo>
                  <a:pt x="306" y="751"/>
                </a:lnTo>
                <a:lnTo>
                  <a:pt x="306" y="749"/>
                </a:lnTo>
                <a:lnTo>
                  <a:pt x="304" y="749"/>
                </a:lnTo>
                <a:lnTo>
                  <a:pt x="302" y="747"/>
                </a:lnTo>
                <a:lnTo>
                  <a:pt x="300" y="745"/>
                </a:lnTo>
                <a:lnTo>
                  <a:pt x="300" y="745"/>
                </a:lnTo>
                <a:lnTo>
                  <a:pt x="302" y="743"/>
                </a:lnTo>
                <a:lnTo>
                  <a:pt x="304" y="740"/>
                </a:lnTo>
                <a:lnTo>
                  <a:pt x="304" y="740"/>
                </a:lnTo>
                <a:lnTo>
                  <a:pt x="306" y="736"/>
                </a:lnTo>
                <a:lnTo>
                  <a:pt x="308" y="730"/>
                </a:lnTo>
                <a:lnTo>
                  <a:pt x="308" y="730"/>
                </a:lnTo>
                <a:lnTo>
                  <a:pt x="308" y="728"/>
                </a:lnTo>
                <a:lnTo>
                  <a:pt x="306" y="723"/>
                </a:lnTo>
                <a:lnTo>
                  <a:pt x="302" y="712"/>
                </a:lnTo>
                <a:lnTo>
                  <a:pt x="300" y="704"/>
                </a:lnTo>
                <a:lnTo>
                  <a:pt x="298" y="699"/>
                </a:lnTo>
                <a:lnTo>
                  <a:pt x="300" y="693"/>
                </a:lnTo>
                <a:lnTo>
                  <a:pt x="306" y="691"/>
                </a:lnTo>
                <a:lnTo>
                  <a:pt x="306" y="691"/>
                </a:lnTo>
                <a:lnTo>
                  <a:pt x="311" y="689"/>
                </a:lnTo>
                <a:lnTo>
                  <a:pt x="315" y="693"/>
                </a:lnTo>
                <a:lnTo>
                  <a:pt x="323" y="704"/>
                </a:lnTo>
                <a:lnTo>
                  <a:pt x="328" y="710"/>
                </a:lnTo>
                <a:lnTo>
                  <a:pt x="336" y="714"/>
                </a:lnTo>
                <a:lnTo>
                  <a:pt x="347" y="714"/>
                </a:lnTo>
                <a:lnTo>
                  <a:pt x="360" y="710"/>
                </a:lnTo>
                <a:lnTo>
                  <a:pt x="360" y="710"/>
                </a:lnTo>
                <a:lnTo>
                  <a:pt x="374" y="708"/>
                </a:lnTo>
                <a:lnTo>
                  <a:pt x="397" y="706"/>
                </a:lnTo>
                <a:lnTo>
                  <a:pt x="408" y="704"/>
                </a:lnTo>
                <a:lnTo>
                  <a:pt x="415" y="701"/>
                </a:lnTo>
                <a:lnTo>
                  <a:pt x="423" y="697"/>
                </a:lnTo>
                <a:lnTo>
                  <a:pt x="426" y="693"/>
                </a:lnTo>
                <a:lnTo>
                  <a:pt x="426" y="693"/>
                </a:lnTo>
                <a:lnTo>
                  <a:pt x="426" y="691"/>
                </a:lnTo>
                <a:lnTo>
                  <a:pt x="423" y="689"/>
                </a:lnTo>
                <a:lnTo>
                  <a:pt x="417" y="686"/>
                </a:lnTo>
                <a:lnTo>
                  <a:pt x="415" y="686"/>
                </a:lnTo>
                <a:lnTo>
                  <a:pt x="415" y="684"/>
                </a:lnTo>
                <a:lnTo>
                  <a:pt x="425" y="682"/>
                </a:lnTo>
                <a:lnTo>
                  <a:pt x="425" y="682"/>
                </a:lnTo>
                <a:lnTo>
                  <a:pt x="428" y="682"/>
                </a:lnTo>
                <a:lnTo>
                  <a:pt x="432" y="682"/>
                </a:lnTo>
                <a:lnTo>
                  <a:pt x="432" y="682"/>
                </a:lnTo>
                <a:lnTo>
                  <a:pt x="434" y="680"/>
                </a:lnTo>
                <a:lnTo>
                  <a:pt x="432" y="678"/>
                </a:lnTo>
                <a:lnTo>
                  <a:pt x="425" y="676"/>
                </a:lnTo>
                <a:lnTo>
                  <a:pt x="417" y="675"/>
                </a:lnTo>
                <a:lnTo>
                  <a:pt x="415" y="673"/>
                </a:lnTo>
                <a:lnTo>
                  <a:pt x="413" y="671"/>
                </a:lnTo>
                <a:lnTo>
                  <a:pt x="413" y="671"/>
                </a:lnTo>
                <a:lnTo>
                  <a:pt x="415" y="669"/>
                </a:lnTo>
                <a:lnTo>
                  <a:pt x="417" y="669"/>
                </a:lnTo>
                <a:lnTo>
                  <a:pt x="423" y="669"/>
                </a:lnTo>
                <a:lnTo>
                  <a:pt x="434" y="671"/>
                </a:lnTo>
                <a:lnTo>
                  <a:pt x="434" y="671"/>
                </a:lnTo>
                <a:lnTo>
                  <a:pt x="437" y="673"/>
                </a:lnTo>
                <a:lnTo>
                  <a:pt x="441" y="673"/>
                </a:lnTo>
                <a:lnTo>
                  <a:pt x="454" y="671"/>
                </a:lnTo>
                <a:lnTo>
                  <a:pt x="465" y="667"/>
                </a:lnTo>
                <a:lnTo>
                  <a:pt x="471" y="664"/>
                </a:lnTo>
                <a:lnTo>
                  <a:pt x="471" y="664"/>
                </a:lnTo>
                <a:lnTo>
                  <a:pt x="471" y="664"/>
                </a:lnTo>
                <a:lnTo>
                  <a:pt x="469" y="662"/>
                </a:lnTo>
                <a:lnTo>
                  <a:pt x="465" y="664"/>
                </a:lnTo>
                <a:lnTo>
                  <a:pt x="465" y="664"/>
                </a:lnTo>
                <a:lnTo>
                  <a:pt x="460" y="660"/>
                </a:lnTo>
                <a:lnTo>
                  <a:pt x="449" y="654"/>
                </a:lnTo>
                <a:lnTo>
                  <a:pt x="439" y="647"/>
                </a:lnTo>
                <a:lnTo>
                  <a:pt x="437" y="643"/>
                </a:lnTo>
                <a:lnTo>
                  <a:pt x="439" y="639"/>
                </a:lnTo>
                <a:lnTo>
                  <a:pt x="439" y="639"/>
                </a:lnTo>
                <a:lnTo>
                  <a:pt x="445" y="634"/>
                </a:lnTo>
                <a:lnTo>
                  <a:pt x="452" y="628"/>
                </a:lnTo>
                <a:lnTo>
                  <a:pt x="463" y="623"/>
                </a:lnTo>
                <a:lnTo>
                  <a:pt x="478" y="619"/>
                </a:lnTo>
                <a:lnTo>
                  <a:pt x="489" y="617"/>
                </a:lnTo>
                <a:lnTo>
                  <a:pt x="512" y="615"/>
                </a:lnTo>
                <a:lnTo>
                  <a:pt x="521" y="612"/>
                </a:lnTo>
                <a:lnTo>
                  <a:pt x="523" y="610"/>
                </a:lnTo>
                <a:lnTo>
                  <a:pt x="526" y="606"/>
                </a:lnTo>
                <a:lnTo>
                  <a:pt x="526" y="606"/>
                </a:lnTo>
                <a:lnTo>
                  <a:pt x="526" y="606"/>
                </a:lnTo>
                <a:lnTo>
                  <a:pt x="525" y="606"/>
                </a:lnTo>
                <a:lnTo>
                  <a:pt x="521" y="606"/>
                </a:lnTo>
                <a:lnTo>
                  <a:pt x="513" y="608"/>
                </a:lnTo>
                <a:lnTo>
                  <a:pt x="513" y="608"/>
                </a:lnTo>
                <a:lnTo>
                  <a:pt x="508" y="610"/>
                </a:lnTo>
                <a:lnTo>
                  <a:pt x="506" y="608"/>
                </a:lnTo>
                <a:lnTo>
                  <a:pt x="508" y="606"/>
                </a:lnTo>
                <a:lnTo>
                  <a:pt x="508" y="606"/>
                </a:lnTo>
                <a:lnTo>
                  <a:pt x="512" y="604"/>
                </a:lnTo>
                <a:lnTo>
                  <a:pt x="512" y="604"/>
                </a:lnTo>
                <a:lnTo>
                  <a:pt x="506" y="602"/>
                </a:lnTo>
                <a:lnTo>
                  <a:pt x="491" y="602"/>
                </a:lnTo>
                <a:lnTo>
                  <a:pt x="491" y="602"/>
                </a:lnTo>
                <a:lnTo>
                  <a:pt x="482" y="602"/>
                </a:lnTo>
                <a:lnTo>
                  <a:pt x="475" y="602"/>
                </a:lnTo>
                <a:lnTo>
                  <a:pt x="467" y="606"/>
                </a:lnTo>
                <a:lnTo>
                  <a:pt x="462" y="610"/>
                </a:lnTo>
                <a:lnTo>
                  <a:pt x="447" y="617"/>
                </a:lnTo>
                <a:lnTo>
                  <a:pt x="434" y="628"/>
                </a:lnTo>
                <a:lnTo>
                  <a:pt x="434" y="628"/>
                </a:lnTo>
                <a:lnTo>
                  <a:pt x="428" y="628"/>
                </a:lnTo>
                <a:lnTo>
                  <a:pt x="417" y="630"/>
                </a:lnTo>
                <a:lnTo>
                  <a:pt x="408" y="628"/>
                </a:lnTo>
                <a:lnTo>
                  <a:pt x="404" y="628"/>
                </a:lnTo>
                <a:lnTo>
                  <a:pt x="404" y="626"/>
                </a:lnTo>
                <a:lnTo>
                  <a:pt x="404" y="626"/>
                </a:lnTo>
                <a:lnTo>
                  <a:pt x="406" y="621"/>
                </a:lnTo>
                <a:lnTo>
                  <a:pt x="410" y="619"/>
                </a:lnTo>
                <a:lnTo>
                  <a:pt x="423" y="613"/>
                </a:lnTo>
                <a:lnTo>
                  <a:pt x="436" y="612"/>
                </a:lnTo>
                <a:lnTo>
                  <a:pt x="441" y="610"/>
                </a:lnTo>
                <a:lnTo>
                  <a:pt x="443" y="606"/>
                </a:lnTo>
                <a:lnTo>
                  <a:pt x="443" y="606"/>
                </a:lnTo>
                <a:lnTo>
                  <a:pt x="443" y="604"/>
                </a:lnTo>
                <a:lnTo>
                  <a:pt x="441" y="602"/>
                </a:lnTo>
                <a:lnTo>
                  <a:pt x="432" y="604"/>
                </a:lnTo>
                <a:lnTo>
                  <a:pt x="421" y="606"/>
                </a:lnTo>
                <a:lnTo>
                  <a:pt x="417" y="606"/>
                </a:lnTo>
                <a:lnTo>
                  <a:pt x="413" y="604"/>
                </a:lnTo>
                <a:lnTo>
                  <a:pt x="413" y="604"/>
                </a:lnTo>
                <a:lnTo>
                  <a:pt x="413" y="600"/>
                </a:lnTo>
                <a:lnTo>
                  <a:pt x="415" y="597"/>
                </a:lnTo>
                <a:lnTo>
                  <a:pt x="421" y="586"/>
                </a:lnTo>
                <a:lnTo>
                  <a:pt x="432" y="576"/>
                </a:lnTo>
                <a:lnTo>
                  <a:pt x="445" y="565"/>
                </a:lnTo>
                <a:lnTo>
                  <a:pt x="458" y="558"/>
                </a:lnTo>
                <a:lnTo>
                  <a:pt x="471" y="550"/>
                </a:lnTo>
                <a:lnTo>
                  <a:pt x="480" y="550"/>
                </a:lnTo>
                <a:lnTo>
                  <a:pt x="484" y="550"/>
                </a:lnTo>
                <a:lnTo>
                  <a:pt x="486" y="552"/>
                </a:lnTo>
                <a:lnTo>
                  <a:pt x="486" y="552"/>
                </a:lnTo>
                <a:lnTo>
                  <a:pt x="489" y="556"/>
                </a:lnTo>
                <a:lnTo>
                  <a:pt x="495" y="556"/>
                </a:lnTo>
                <a:lnTo>
                  <a:pt x="504" y="556"/>
                </a:lnTo>
                <a:lnTo>
                  <a:pt x="504" y="556"/>
                </a:lnTo>
                <a:lnTo>
                  <a:pt x="504" y="556"/>
                </a:lnTo>
                <a:lnTo>
                  <a:pt x="504" y="556"/>
                </a:lnTo>
                <a:lnTo>
                  <a:pt x="501" y="554"/>
                </a:lnTo>
                <a:lnTo>
                  <a:pt x="497" y="552"/>
                </a:lnTo>
                <a:lnTo>
                  <a:pt x="493" y="550"/>
                </a:lnTo>
                <a:lnTo>
                  <a:pt x="493" y="550"/>
                </a:lnTo>
                <a:lnTo>
                  <a:pt x="488" y="547"/>
                </a:lnTo>
                <a:lnTo>
                  <a:pt x="482" y="545"/>
                </a:lnTo>
                <a:lnTo>
                  <a:pt x="478" y="545"/>
                </a:lnTo>
                <a:lnTo>
                  <a:pt x="476" y="543"/>
                </a:lnTo>
                <a:lnTo>
                  <a:pt x="476" y="543"/>
                </a:lnTo>
                <a:lnTo>
                  <a:pt x="476" y="541"/>
                </a:lnTo>
                <a:lnTo>
                  <a:pt x="478" y="539"/>
                </a:lnTo>
                <a:lnTo>
                  <a:pt x="488" y="539"/>
                </a:lnTo>
                <a:lnTo>
                  <a:pt x="499" y="537"/>
                </a:lnTo>
                <a:lnTo>
                  <a:pt x="502" y="537"/>
                </a:lnTo>
                <a:lnTo>
                  <a:pt x="502" y="534"/>
                </a:lnTo>
                <a:lnTo>
                  <a:pt x="502" y="534"/>
                </a:lnTo>
                <a:lnTo>
                  <a:pt x="501" y="532"/>
                </a:lnTo>
                <a:lnTo>
                  <a:pt x="497" y="530"/>
                </a:lnTo>
                <a:lnTo>
                  <a:pt x="486" y="532"/>
                </a:lnTo>
                <a:lnTo>
                  <a:pt x="471" y="536"/>
                </a:lnTo>
                <a:lnTo>
                  <a:pt x="471" y="536"/>
                </a:lnTo>
                <a:lnTo>
                  <a:pt x="471" y="532"/>
                </a:lnTo>
                <a:lnTo>
                  <a:pt x="469" y="530"/>
                </a:lnTo>
                <a:lnTo>
                  <a:pt x="469" y="532"/>
                </a:lnTo>
                <a:lnTo>
                  <a:pt x="463" y="539"/>
                </a:lnTo>
                <a:lnTo>
                  <a:pt x="463" y="539"/>
                </a:lnTo>
                <a:lnTo>
                  <a:pt x="454" y="549"/>
                </a:lnTo>
                <a:lnTo>
                  <a:pt x="443" y="558"/>
                </a:lnTo>
                <a:lnTo>
                  <a:pt x="430" y="565"/>
                </a:lnTo>
                <a:lnTo>
                  <a:pt x="417" y="569"/>
                </a:lnTo>
                <a:lnTo>
                  <a:pt x="417" y="569"/>
                </a:lnTo>
                <a:lnTo>
                  <a:pt x="415" y="569"/>
                </a:lnTo>
                <a:lnTo>
                  <a:pt x="415" y="567"/>
                </a:lnTo>
                <a:lnTo>
                  <a:pt x="415" y="563"/>
                </a:lnTo>
                <a:lnTo>
                  <a:pt x="417" y="558"/>
                </a:lnTo>
                <a:lnTo>
                  <a:pt x="417" y="556"/>
                </a:lnTo>
                <a:lnTo>
                  <a:pt x="415" y="556"/>
                </a:lnTo>
                <a:lnTo>
                  <a:pt x="415" y="556"/>
                </a:lnTo>
                <a:lnTo>
                  <a:pt x="412" y="558"/>
                </a:lnTo>
                <a:lnTo>
                  <a:pt x="408" y="563"/>
                </a:lnTo>
                <a:lnTo>
                  <a:pt x="400" y="576"/>
                </a:lnTo>
                <a:lnTo>
                  <a:pt x="397" y="588"/>
                </a:lnTo>
                <a:lnTo>
                  <a:pt x="393" y="589"/>
                </a:lnTo>
                <a:lnTo>
                  <a:pt x="391" y="588"/>
                </a:lnTo>
                <a:lnTo>
                  <a:pt x="391" y="588"/>
                </a:lnTo>
                <a:lnTo>
                  <a:pt x="389" y="584"/>
                </a:lnTo>
                <a:lnTo>
                  <a:pt x="384" y="584"/>
                </a:lnTo>
                <a:lnTo>
                  <a:pt x="380" y="582"/>
                </a:lnTo>
                <a:lnTo>
                  <a:pt x="378" y="578"/>
                </a:lnTo>
                <a:lnTo>
                  <a:pt x="378" y="578"/>
                </a:lnTo>
                <a:lnTo>
                  <a:pt x="380" y="571"/>
                </a:lnTo>
                <a:lnTo>
                  <a:pt x="382" y="563"/>
                </a:lnTo>
                <a:lnTo>
                  <a:pt x="384" y="558"/>
                </a:lnTo>
                <a:lnTo>
                  <a:pt x="382" y="556"/>
                </a:lnTo>
                <a:lnTo>
                  <a:pt x="380" y="554"/>
                </a:lnTo>
                <a:lnTo>
                  <a:pt x="380" y="554"/>
                </a:lnTo>
                <a:lnTo>
                  <a:pt x="376" y="554"/>
                </a:lnTo>
                <a:lnTo>
                  <a:pt x="373" y="554"/>
                </a:lnTo>
                <a:lnTo>
                  <a:pt x="367" y="558"/>
                </a:lnTo>
                <a:lnTo>
                  <a:pt x="365" y="558"/>
                </a:lnTo>
                <a:lnTo>
                  <a:pt x="363" y="558"/>
                </a:lnTo>
                <a:lnTo>
                  <a:pt x="361" y="554"/>
                </a:lnTo>
                <a:lnTo>
                  <a:pt x="361" y="549"/>
                </a:lnTo>
                <a:lnTo>
                  <a:pt x="361" y="549"/>
                </a:lnTo>
                <a:lnTo>
                  <a:pt x="363" y="545"/>
                </a:lnTo>
                <a:lnTo>
                  <a:pt x="363" y="543"/>
                </a:lnTo>
                <a:lnTo>
                  <a:pt x="363" y="543"/>
                </a:lnTo>
                <a:lnTo>
                  <a:pt x="363" y="543"/>
                </a:lnTo>
                <a:lnTo>
                  <a:pt x="361" y="541"/>
                </a:lnTo>
                <a:lnTo>
                  <a:pt x="358" y="541"/>
                </a:lnTo>
                <a:lnTo>
                  <a:pt x="358" y="541"/>
                </a:lnTo>
                <a:lnTo>
                  <a:pt x="352" y="536"/>
                </a:lnTo>
                <a:lnTo>
                  <a:pt x="348" y="530"/>
                </a:lnTo>
                <a:lnTo>
                  <a:pt x="348" y="530"/>
                </a:lnTo>
                <a:lnTo>
                  <a:pt x="348" y="528"/>
                </a:lnTo>
                <a:lnTo>
                  <a:pt x="350" y="528"/>
                </a:lnTo>
                <a:lnTo>
                  <a:pt x="354" y="530"/>
                </a:lnTo>
                <a:lnTo>
                  <a:pt x="358" y="532"/>
                </a:lnTo>
                <a:lnTo>
                  <a:pt x="363" y="534"/>
                </a:lnTo>
                <a:lnTo>
                  <a:pt x="363" y="534"/>
                </a:lnTo>
                <a:lnTo>
                  <a:pt x="367" y="530"/>
                </a:lnTo>
                <a:lnTo>
                  <a:pt x="369" y="528"/>
                </a:lnTo>
                <a:lnTo>
                  <a:pt x="371" y="524"/>
                </a:lnTo>
                <a:lnTo>
                  <a:pt x="374" y="521"/>
                </a:lnTo>
                <a:lnTo>
                  <a:pt x="374" y="521"/>
                </a:lnTo>
                <a:lnTo>
                  <a:pt x="384" y="515"/>
                </a:lnTo>
                <a:lnTo>
                  <a:pt x="389" y="511"/>
                </a:lnTo>
                <a:lnTo>
                  <a:pt x="389" y="510"/>
                </a:lnTo>
                <a:lnTo>
                  <a:pt x="389" y="510"/>
                </a:lnTo>
                <a:lnTo>
                  <a:pt x="389" y="510"/>
                </a:lnTo>
                <a:lnTo>
                  <a:pt x="386" y="510"/>
                </a:lnTo>
                <a:lnTo>
                  <a:pt x="382" y="510"/>
                </a:lnTo>
                <a:lnTo>
                  <a:pt x="373" y="515"/>
                </a:lnTo>
                <a:lnTo>
                  <a:pt x="363" y="521"/>
                </a:lnTo>
                <a:lnTo>
                  <a:pt x="360" y="523"/>
                </a:lnTo>
                <a:lnTo>
                  <a:pt x="358" y="523"/>
                </a:lnTo>
                <a:lnTo>
                  <a:pt x="358" y="523"/>
                </a:lnTo>
                <a:lnTo>
                  <a:pt x="358" y="521"/>
                </a:lnTo>
                <a:lnTo>
                  <a:pt x="358" y="519"/>
                </a:lnTo>
                <a:lnTo>
                  <a:pt x="361" y="513"/>
                </a:lnTo>
                <a:lnTo>
                  <a:pt x="367" y="508"/>
                </a:lnTo>
                <a:lnTo>
                  <a:pt x="367" y="506"/>
                </a:lnTo>
                <a:lnTo>
                  <a:pt x="367" y="502"/>
                </a:lnTo>
                <a:lnTo>
                  <a:pt x="367" y="502"/>
                </a:lnTo>
                <a:lnTo>
                  <a:pt x="361" y="499"/>
                </a:lnTo>
                <a:lnTo>
                  <a:pt x="350" y="493"/>
                </a:lnTo>
                <a:lnTo>
                  <a:pt x="339" y="491"/>
                </a:lnTo>
                <a:lnTo>
                  <a:pt x="332" y="491"/>
                </a:lnTo>
                <a:lnTo>
                  <a:pt x="328" y="493"/>
                </a:lnTo>
                <a:lnTo>
                  <a:pt x="328" y="493"/>
                </a:lnTo>
                <a:lnTo>
                  <a:pt x="319" y="495"/>
                </a:lnTo>
                <a:lnTo>
                  <a:pt x="313" y="497"/>
                </a:lnTo>
                <a:lnTo>
                  <a:pt x="313" y="497"/>
                </a:lnTo>
                <a:lnTo>
                  <a:pt x="308" y="495"/>
                </a:lnTo>
                <a:lnTo>
                  <a:pt x="304" y="489"/>
                </a:lnTo>
                <a:lnTo>
                  <a:pt x="298" y="487"/>
                </a:lnTo>
                <a:lnTo>
                  <a:pt x="297" y="487"/>
                </a:lnTo>
                <a:lnTo>
                  <a:pt x="295" y="491"/>
                </a:lnTo>
                <a:lnTo>
                  <a:pt x="295" y="491"/>
                </a:lnTo>
                <a:lnTo>
                  <a:pt x="297" y="493"/>
                </a:lnTo>
                <a:lnTo>
                  <a:pt x="298" y="495"/>
                </a:lnTo>
                <a:lnTo>
                  <a:pt x="300" y="497"/>
                </a:lnTo>
                <a:lnTo>
                  <a:pt x="300" y="499"/>
                </a:lnTo>
                <a:lnTo>
                  <a:pt x="300" y="499"/>
                </a:lnTo>
                <a:lnTo>
                  <a:pt x="297" y="499"/>
                </a:lnTo>
                <a:lnTo>
                  <a:pt x="287" y="497"/>
                </a:lnTo>
                <a:lnTo>
                  <a:pt x="260" y="491"/>
                </a:lnTo>
                <a:lnTo>
                  <a:pt x="228" y="486"/>
                </a:lnTo>
                <a:lnTo>
                  <a:pt x="215" y="484"/>
                </a:lnTo>
                <a:lnTo>
                  <a:pt x="206" y="484"/>
                </a:lnTo>
                <a:lnTo>
                  <a:pt x="206" y="484"/>
                </a:lnTo>
                <a:lnTo>
                  <a:pt x="189" y="486"/>
                </a:lnTo>
                <a:lnTo>
                  <a:pt x="178" y="489"/>
                </a:lnTo>
                <a:lnTo>
                  <a:pt x="169" y="493"/>
                </a:lnTo>
                <a:lnTo>
                  <a:pt x="159" y="499"/>
                </a:lnTo>
                <a:lnTo>
                  <a:pt x="152" y="502"/>
                </a:lnTo>
                <a:lnTo>
                  <a:pt x="143" y="508"/>
                </a:lnTo>
                <a:lnTo>
                  <a:pt x="132" y="510"/>
                </a:lnTo>
                <a:lnTo>
                  <a:pt x="119" y="511"/>
                </a:lnTo>
                <a:lnTo>
                  <a:pt x="119" y="511"/>
                </a:lnTo>
                <a:lnTo>
                  <a:pt x="113" y="510"/>
                </a:lnTo>
                <a:lnTo>
                  <a:pt x="108" y="506"/>
                </a:lnTo>
                <a:lnTo>
                  <a:pt x="93" y="493"/>
                </a:lnTo>
                <a:lnTo>
                  <a:pt x="87" y="486"/>
                </a:lnTo>
                <a:lnTo>
                  <a:pt x="82" y="478"/>
                </a:lnTo>
                <a:lnTo>
                  <a:pt x="80" y="471"/>
                </a:lnTo>
                <a:lnTo>
                  <a:pt x="80" y="465"/>
                </a:lnTo>
                <a:lnTo>
                  <a:pt x="80" y="465"/>
                </a:lnTo>
                <a:lnTo>
                  <a:pt x="87" y="460"/>
                </a:lnTo>
                <a:lnTo>
                  <a:pt x="95" y="456"/>
                </a:lnTo>
                <a:lnTo>
                  <a:pt x="104" y="456"/>
                </a:lnTo>
                <a:lnTo>
                  <a:pt x="113" y="458"/>
                </a:lnTo>
                <a:lnTo>
                  <a:pt x="132" y="463"/>
                </a:lnTo>
                <a:lnTo>
                  <a:pt x="141" y="465"/>
                </a:lnTo>
                <a:lnTo>
                  <a:pt x="148" y="465"/>
                </a:lnTo>
                <a:lnTo>
                  <a:pt x="148" y="465"/>
                </a:lnTo>
                <a:lnTo>
                  <a:pt x="156" y="461"/>
                </a:lnTo>
                <a:lnTo>
                  <a:pt x="165" y="458"/>
                </a:lnTo>
                <a:lnTo>
                  <a:pt x="182" y="450"/>
                </a:lnTo>
                <a:lnTo>
                  <a:pt x="189" y="447"/>
                </a:lnTo>
                <a:lnTo>
                  <a:pt x="196" y="445"/>
                </a:lnTo>
                <a:lnTo>
                  <a:pt x="202" y="447"/>
                </a:lnTo>
                <a:lnTo>
                  <a:pt x="206" y="450"/>
                </a:lnTo>
                <a:lnTo>
                  <a:pt x="206" y="450"/>
                </a:lnTo>
                <a:lnTo>
                  <a:pt x="209" y="456"/>
                </a:lnTo>
                <a:lnTo>
                  <a:pt x="213" y="458"/>
                </a:lnTo>
                <a:lnTo>
                  <a:pt x="215" y="458"/>
                </a:lnTo>
                <a:lnTo>
                  <a:pt x="217" y="454"/>
                </a:lnTo>
                <a:lnTo>
                  <a:pt x="217" y="454"/>
                </a:lnTo>
                <a:lnTo>
                  <a:pt x="217" y="439"/>
                </a:lnTo>
                <a:lnTo>
                  <a:pt x="217" y="435"/>
                </a:lnTo>
                <a:lnTo>
                  <a:pt x="219" y="432"/>
                </a:lnTo>
                <a:lnTo>
                  <a:pt x="221" y="430"/>
                </a:lnTo>
                <a:lnTo>
                  <a:pt x="226" y="430"/>
                </a:lnTo>
                <a:lnTo>
                  <a:pt x="226" y="430"/>
                </a:lnTo>
                <a:lnTo>
                  <a:pt x="235" y="432"/>
                </a:lnTo>
                <a:lnTo>
                  <a:pt x="241" y="434"/>
                </a:lnTo>
                <a:lnTo>
                  <a:pt x="241" y="434"/>
                </a:lnTo>
                <a:lnTo>
                  <a:pt x="237" y="439"/>
                </a:lnTo>
                <a:lnTo>
                  <a:pt x="232" y="447"/>
                </a:lnTo>
                <a:lnTo>
                  <a:pt x="230" y="450"/>
                </a:lnTo>
                <a:lnTo>
                  <a:pt x="230" y="454"/>
                </a:lnTo>
                <a:lnTo>
                  <a:pt x="232" y="456"/>
                </a:lnTo>
                <a:lnTo>
                  <a:pt x="237" y="458"/>
                </a:lnTo>
                <a:lnTo>
                  <a:pt x="237" y="458"/>
                </a:lnTo>
                <a:lnTo>
                  <a:pt x="241" y="458"/>
                </a:lnTo>
                <a:lnTo>
                  <a:pt x="243" y="456"/>
                </a:lnTo>
                <a:lnTo>
                  <a:pt x="245" y="448"/>
                </a:lnTo>
                <a:lnTo>
                  <a:pt x="248" y="441"/>
                </a:lnTo>
                <a:lnTo>
                  <a:pt x="250" y="434"/>
                </a:lnTo>
                <a:lnTo>
                  <a:pt x="250" y="434"/>
                </a:lnTo>
                <a:lnTo>
                  <a:pt x="254" y="432"/>
                </a:lnTo>
                <a:lnTo>
                  <a:pt x="256" y="432"/>
                </a:lnTo>
                <a:lnTo>
                  <a:pt x="263" y="432"/>
                </a:lnTo>
                <a:lnTo>
                  <a:pt x="272" y="434"/>
                </a:lnTo>
                <a:lnTo>
                  <a:pt x="280" y="432"/>
                </a:lnTo>
                <a:lnTo>
                  <a:pt x="280" y="432"/>
                </a:lnTo>
                <a:lnTo>
                  <a:pt x="282" y="432"/>
                </a:lnTo>
                <a:lnTo>
                  <a:pt x="282" y="428"/>
                </a:lnTo>
                <a:lnTo>
                  <a:pt x="284" y="421"/>
                </a:lnTo>
                <a:lnTo>
                  <a:pt x="285" y="417"/>
                </a:lnTo>
                <a:lnTo>
                  <a:pt x="289" y="415"/>
                </a:lnTo>
                <a:lnTo>
                  <a:pt x="293" y="413"/>
                </a:lnTo>
                <a:lnTo>
                  <a:pt x="300" y="413"/>
                </a:lnTo>
                <a:lnTo>
                  <a:pt x="300" y="413"/>
                </a:lnTo>
                <a:lnTo>
                  <a:pt x="302" y="419"/>
                </a:lnTo>
                <a:lnTo>
                  <a:pt x="304" y="428"/>
                </a:lnTo>
                <a:lnTo>
                  <a:pt x="306" y="434"/>
                </a:lnTo>
                <a:lnTo>
                  <a:pt x="310" y="437"/>
                </a:lnTo>
                <a:lnTo>
                  <a:pt x="315" y="441"/>
                </a:lnTo>
                <a:lnTo>
                  <a:pt x="324" y="441"/>
                </a:lnTo>
                <a:lnTo>
                  <a:pt x="324" y="441"/>
                </a:lnTo>
                <a:lnTo>
                  <a:pt x="326" y="441"/>
                </a:lnTo>
                <a:lnTo>
                  <a:pt x="326" y="439"/>
                </a:lnTo>
                <a:lnTo>
                  <a:pt x="326" y="434"/>
                </a:lnTo>
                <a:lnTo>
                  <a:pt x="324" y="426"/>
                </a:lnTo>
                <a:lnTo>
                  <a:pt x="326" y="424"/>
                </a:lnTo>
                <a:lnTo>
                  <a:pt x="328" y="423"/>
                </a:lnTo>
                <a:lnTo>
                  <a:pt x="328" y="423"/>
                </a:lnTo>
                <a:lnTo>
                  <a:pt x="339" y="421"/>
                </a:lnTo>
                <a:lnTo>
                  <a:pt x="356" y="421"/>
                </a:lnTo>
                <a:lnTo>
                  <a:pt x="397" y="424"/>
                </a:lnTo>
                <a:lnTo>
                  <a:pt x="436" y="426"/>
                </a:lnTo>
                <a:lnTo>
                  <a:pt x="449" y="426"/>
                </a:lnTo>
                <a:lnTo>
                  <a:pt x="452" y="426"/>
                </a:lnTo>
                <a:lnTo>
                  <a:pt x="454" y="424"/>
                </a:lnTo>
                <a:lnTo>
                  <a:pt x="454" y="424"/>
                </a:lnTo>
                <a:lnTo>
                  <a:pt x="454" y="417"/>
                </a:lnTo>
                <a:lnTo>
                  <a:pt x="456" y="406"/>
                </a:lnTo>
                <a:lnTo>
                  <a:pt x="456" y="406"/>
                </a:lnTo>
                <a:lnTo>
                  <a:pt x="460" y="391"/>
                </a:lnTo>
                <a:lnTo>
                  <a:pt x="460" y="384"/>
                </a:lnTo>
                <a:lnTo>
                  <a:pt x="458" y="382"/>
                </a:lnTo>
                <a:lnTo>
                  <a:pt x="456" y="382"/>
                </a:lnTo>
                <a:lnTo>
                  <a:pt x="450" y="384"/>
                </a:lnTo>
                <a:lnTo>
                  <a:pt x="432" y="395"/>
                </a:lnTo>
                <a:lnTo>
                  <a:pt x="421" y="400"/>
                </a:lnTo>
                <a:lnTo>
                  <a:pt x="410" y="406"/>
                </a:lnTo>
                <a:lnTo>
                  <a:pt x="410" y="406"/>
                </a:lnTo>
                <a:lnTo>
                  <a:pt x="402" y="406"/>
                </a:lnTo>
                <a:lnTo>
                  <a:pt x="393" y="406"/>
                </a:lnTo>
                <a:lnTo>
                  <a:pt x="373" y="400"/>
                </a:lnTo>
                <a:lnTo>
                  <a:pt x="354" y="395"/>
                </a:lnTo>
                <a:lnTo>
                  <a:pt x="339" y="391"/>
                </a:lnTo>
                <a:lnTo>
                  <a:pt x="339" y="391"/>
                </a:lnTo>
                <a:lnTo>
                  <a:pt x="332" y="391"/>
                </a:lnTo>
                <a:lnTo>
                  <a:pt x="328" y="389"/>
                </a:lnTo>
                <a:lnTo>
                  <a:pt x="328" y="387"/>
                </a:lnTo>
                <a:lnTo>
                  <a:pt x="328" y="387"/>
                </a:lnTo>
                <a:lnTo>
                  <a:pt x="328" y="387"/>
                </a:lnTo>
                <a:lnTo>
                  <a:pt x="330" y="382"/>
                </a:lnTo>
                <a:lnTo>
                  <a:pt x="330" y="382"/>
                </a:lnTo>
                <a:lnTo>
                  <a:pt x="339" y="371"/>
                </a:lnTo>
                <a:lnTo>
                  <a:pt x="354" y="361"/>
                </a:lnTo>
                <a:lnTo>
                  <a:pt x="369" y="350"/>
                </a:lnTo>
                <a:lnTo>
                  <a:pt x="386" y="341"/>
                </a:lnTo>
                <a:lnTo>
                  <a:pt x="421" y="326"/>
                </a:lnTo>
                <a:lnTo>
                  <a:pt x="436" y="321"/>
                </a:lnTo>
                <a:lnTo>
                  <a:pt x="449" y="319"/>
                </a:lnTo>
                <a:lnTo>
                  <a:pt x="449" y="319"/>
                </a:lnTo>
                <a:lnTo>
                  <a:pt x="460" y="315"/>
                </a:lnTo>
                <a:lnTo>
                  <a:pt x="467" y="311"/>
                </a:lnTo>
                <a:lnTo>
                  <a:pt x="471" y="308"/>
                </a:lnTo>
                <a:lnTo>
                  <a:pt x="471" y="308"/>
                </a:lnTo>
                <a:lnTo>
                  <a:pt x="469" y="308"/>
                </a:lnTo>
                <a:lnTo>
                  <a:pt x="465" y="309"/>
                </a:lnTo>
                <a:lnTo>
                  <a:pt x="460" y="311"/>
                </a:lnTo>
                <a:lnTo>
                  <a:pt x="460" y="311"/>
                </a:lnTo>
                <a:lnTo>
                  <a:pt x="452" y="311"/>
                </a:lnTo>
                <a:lnTo>
                  <a:pt x="443" y="313"/>
                </a:lnTo>
                <a:lnTo>
                  <a:pt x="425" y="311"/>
                </a:lnTo>
                <a:lnTo>
                  <a:pt x="425" y="311"/>
                </a:lnTo>
                <a:lnTo>
                  <a:pt x="425" y="311"/>
                </a:lnTo>
                <a:lnTo>
                  <a:pt x="425" y="311"/>
                </a:lnTo>
                <a:lnTo>
                  <a:pt x="426" y="308"/>
                </a:lnTo>
                <a:lnTo>
                  <a:pt x="428" y="304"/>
                </a:lnTo>
                <a:lnTo>
                  <a:pt x="428" y="302"/>
                </a:lnTo>
                <a:lnTo>
                  <a:pt x="428" y="302"/>
                </a:lnTo>
                <a:lnTo>
                  <a:pt x="425" y="302"/>
                </a:lnTo>
                <a:lnTo>
                  <a:pt x="419" y="302"/>
                </a:lnTo>
                <a:lnTo>
                  <a:pt x="413" y="302"/>
                </a:lnTo>
                <a:lnTo>
                  <a:pt x="410" y="302"/>
                </a:lnTo>
                <a:lnTo>
                  <a:pt x="410" y="300"/>
                </a:lnTo>
                <a:lnTo>
                  <a:pt x="410" y="300"/>
                </a:lnTo>
                <a:lnTo>
                  <a:pt x="406" y="293"/>
                </a:lnTo>
                <a:lnTo>
                  <a:pt x="404" y="289"/>
                </a:lnTo>
                <a:lnTo>
                  <a:pt x="402" y="287"/>
                </a:lnTo>
                <a:lnTo>
                  <a:pt x="402" y="287"/>
                </a:lnTo>
                <a:lnTo>
                  <a:pt x="400" y="289"/>
                </a:lnTo>
                <a:lnTo>
                  <a:pt x="399" y="295"/>
                </a:lnTo>
                <a:lnTo>
                  <a:pt x="393" y="300"/>
                </a:lnTo>
                <a:lnTo>
                  <a:pt x="387" y="308"/>
                </a:lnTo>
                <a:lnTo>
                  <a:pt x="382" y="313"/>
                </a:lnTo>
                <a:lnTo>
                  <a:pt x="378" y="313"/>
                </a:lnTo>
                <a:lnTo>
                  <a:pt x="374" y="315"/>
                </a:lnTo>
                <a:lnTo>
                  <a:pt x="371" y="313"/>
                </a:lnTo>
                <a:lnTo>
                  <a:pt x="367" y="311"/>
                </a:lnTo>
                <a:lnTo>
                  <a:pt x="361" y="306"/>
                </a:lnTo>
                <a:lnTo>
                  <a:pt x="358" y="300"/>
                </a:lnTo>
                <a:lnTo>
                  <a:pt x="358" y="300"/>
                </a:lnTo>
                <a:lnTo>
                  <a:pt x="358" y="300"/>
                </a:lnTo>
                <a:lnTo>
                  <a:pt x="358" y="298"/>
                </a:lnTo>
                <a:lnTo>
                  <a:pt x="365" y="295"/>
                </a:lnTo>
                <a:lnTo>
                  <a:pt x="384" y="285"/>
                </a:lnTo>
                <a:lnTo>
                  <a:pt x="400" y="276"/>
                </a:lnTo>
                <a:lnTo>
                  <a:pt x="404" y="270"/>
                </a:lnTo>
                <a:lnTo>
                  <a:pt x="404" y="269"/>
                </a:lnTo>
                <a:lnTo>
                  <a:pt x="402" y="267"/>
                </a:lnTo>
                <a:lnTo>
                  <a:pt x="402" y="267"/>
                </a:lnTo>
                <a:lnTo>
                  <a:pt x="399" y="267"/>
                </a:lnTo>
                <a:lnTo>
                  <a:pt x="395" y="269"/>
                </a:lnTo>
                <a:lnTo>
                  <a:pt x="389" y="276"/>
                </a:lnTo>
                <a:lnTo>
                  <a:pt x="389" y="276"/>
                </a:lnTo>
                <a:lnTo>
                  <a:pt x="384" y="282"/>
                </a:lnTo>
                <a:lnTo>
                  <a:pt x="378" y="283"/>
                </a:lnTo>
                <a:lnTo>
                  <a:pt x="378" y="283"/>
                </a:lnTo>
                <a:lnTo>
                  <a:pt x="373" y="285"/>
                </a:lnTo>
                <a:lnTo>
                  <a:pt x="369" y="285"/>
                </a:lnTo>
                <a:lnTo>
                  <a:pt x="369" y="283"/>
                </a:lnTo>
                <a:lnTo>
                  <a:pt x="367" y="282"/>
                </a:lnTo>
                <a:lnTo>
                  <a:pt x="367" y="280"/>
                </a:lnTo>
                <a:lnTo>
                  <a:pt x="363" y="278"/>
                </a:lnTo>
                <a:lnTo>
                  <a:pt x="360" y="278"/>
                </a:lnTo>
                <a:lnTo>
                  <a:pt x="352" y="282"/>
                </a:lnTo>
                <a:lnTo>
                  <a:pt x="352" y="282"/>
                </a:lnTo>
                <a:lnTo>
                  <a:pt x="350" y="289"/>
                </a:lnTo>
                <a:lnTo>
                  <a:pt x="347" y="293"/>
                </a:lnTo>
                <a:lnTo>
                  <a:pt x="343" y="295"/>
                </a:lnTo>
                <a:lnTo>
                  <a:pt x="339" y="293"/>
                </a:lnTo>
                <a:lnTo>
                  <a:pt x="339" y="293"/>
                </a:lnTo>
                <a:lnTo>
                  <a:pt x="337" y="287"/>
                </a:lnTo>
                <a:lnTo>
                  <a:pt x="337" y="274"/>
                </a:lnTo>
                <a:lnTo>
                  <a:pt x="334" y="261"/>
                </a:lnTo>
                <a:lnTo>
                  <a:pt x="332" y="258"/>
                </a:lnTo>
                <a:lnTo>
                  <a:pt x="328" y="258"/>
                </a:lnTo>
                <a:lnTo>
                  <a:pt x="328" y="258"/>
                </a:lnTo>
                <a:lnTo>
                  <a:pt x="328" y="261"/>
                </a:lnTo>
                <a:lnTo>
                  <a:pt x="328" y="269"/>
                </a:lnTo>
                <a:lnTo>
                  <a:pt x="328" y="269"/>
                </a:lnTo>
                <a:lnTo>
                  <a:pt x="330" y="272"/>
                </a:lnTo>
                <a:lnTo>
                  <a:pt x="328" y="276"/>
                </a:lnTo>
                <a:lnTo>
                  <a:pt x="324" y="282"/>
                </a:lnTo>
                <a:lnTo>
                  <a:pt x="321" y="283"/>
                </a:lnTo>
                <a:lnTo>
                  <a:pt x="315" y="285"/>
                </a:lnTo>
                <a:lnTo>
                  <a:pt x="315" y="285"/>
                </a:lnTo>
                <a:lnTo>
                  <a:pt x="310" y="285"/>
                </a:lnTo>
                <a:lnTo>
                  <a:pt x="308" y="280"/>
                </a:lnTo>
                <a:lnTo>
                  <a:pt x="306" y="274"/>
                </a:lnTo>
                <a:lnTo>
                  <a:pt x="306" y="267"/>
                </a:lnTo>
                <a:lnTo>
                  <a:pt x="306" y="261"/>
                </a:lnTo>
                <a:lnTo>
                  <a:pt x="304" y="258"/>
                </a:lnTo>
                <a:lnTo>
                  <a:pt x="304" y="256"/>
                </a:lnTo>
                <a:lnTo>
                  <a:pt x="300" y="256"/>
                </a:lnTo>
                <a:lnTo>
                  <a:pt x="295" y="259"/>
                </a:lnTo>
                <a:lnTo>
                  <a:pt x="295" y="259"/>
                </a:lnTo>
                <a:lnTo>
                  <a:pt x="295" y="261"/>
                </a:lnTo>
                <a:lnTo>
                  <a:pt x="295" y="265"/>
                </a:lnTo>
                <a:lnTo>
                  <a:pt x="298" y="276"/>
                </a:lnTo>
                <a:lnTo>
                  <a:pt x="302" y="289"/>
                </a:lnTo>
                <a:lnTo>
                  <a:pt x="302" y="293"/>
                </a:lnTo>
                <a:lnTo>
                  <a:pt x="300" y="295"/>
                </a:lnTo>
                <a:lnTo>
                  <a:pt x="300" y="295"/>
                </a:lnTo>
                <a:lnTo>
                  <a:pt x="295" y="293"/>
                </a:lnTo>
                <a:lnTo>
                  <a:pt x="287" y="289"/>
                </a:lnTo>
                <a:lnTo>
                  <a:pt x="274" y="283"/>
                </a:lnTo>
                <a:lnTo>
                  <a:pt x="274" y="283"/>
                </a:lnTo>
                <a:lnTo>
                  <a:pt x="276" y="280"/>
                </a:lnTo>
                <a:lnTo>
                  <a:pt x="282" y="276"/>
                </a:lnTo>
                <a:lnTo>
                  <a:pt x="287" y="270"/>
                </a:lnTo>
                <a:lnTo>
                  <a:pt x="289" y="269"/>
                </a:lnTo>
                <a:lnTo>
                  <a:pt x="289" y="267"/>
                </a:lnTo>
                <a:lnTo>
                  <a:pt x="289" y="267"/>
                </a:lnTo>
                <a:lnTo>
                  <a:pt x="285" y="263"/>
                </a:lnTo>
                <a:lnTo>
                  <a:pt x="280" y="263"/>
                </a:lnTo>
                <a:lnTo>
                  <a:pt x="274" y="267"/>
                </a:lnTo>
                <a:lnTo>
                  <a:pt x="271" y="269"/>
                </a:lnTo>
                <a:lnTo>
                  <a:pt x="261" y="278"/>
                </a:lnTo>
                <a:lnTo>
                  <a:pt x="252" y="283"/>
                </a:lnTo>
                <a:lnTo>
                  <a:pt x="252" y="283"/>
                </a:lnTo>
                <a:lnTo>
                  <a:pt x="248" y="283"/>
                </a:lnTo>
                <a:lnTo>
                  <a:pt x="247" y="282"/>
                </a:lnTo>
                <a:lnTo>
                  <a:pt x="239" y="276"/>
                </a:lnTo>
                <a:lnTo>
                  <a:pt x="232" y="272"/>
                </a:lnTo>
                <a:lnTo>
                  <a:pt x="230" y="270"/>
                </a:lnTo>
                <a:lnTo>
                  <a:pt x="226" y="272"/>
                </a:lnTo>
                <a:lnTo>
                  <a:pt x="226" y="272"/>
                </a:lnTo>
                <a:lnTo>
                  <a:pt x="224" y="274"/>
                </a:lnTo>
                <a:lnTo>
                  <a:pt x="222" y="278"/>
                </a:lnTo>
                <a:lnTo>
                  <a:pt x="222" y="282"/>
                </a:lnTo>
                <a:lnTo>
                  <a:pt x="224" y="287"/>
                </a:lnTo>
                <a:lnTo>
                  <a:pt x="224" y="291"/>
                </a:lnTo>
                <a:lnTo>
                  <a:pt x="224" y="291"/>
                </a:lnTo>
                <a:lnTo>
                  <a:pt x="221" y="296"/>
                </a:lnTo>
                <a:lnTo>
                  <a:pt x="217" y="298"/>
                </a:lnTo>
                <a:lnTo>
                  <a:pt x="209" y="298"/>
                </a:lnTo>
                <a:lnTo>
                  <a:pt x="204" y="296"/>
                </a:lnTo>
                <a:lnTo>
                  <a:pt x="193" y="291"/>
                </a:lnTo>
                <a:lnTo>
                  <a:pt x="189" y="289"/>
                </a:lnTo>
                <a:lnTo>
                  <a:pt x="189" y="289"/>
                </a:lnTo>
                <a:lnTo>
                  <a:pt x="174" y="298"/>
                </a:lnTo>
                <a:lnTo>
                  <a:pt x="152" y="309"/>
                </a:lnTo>
                <a:lnTo>
                  <a:pt x="128" y="319"/>
                </a:lnTo>
                <a:lnTo>
                  <a:pt x="117" y="321"/>
                </a:lnTo>
                <a:lnTo>
                  <a:pt x="108" y="321"/>
                </a:lnTo>
                <a:lnTo>
                  <a:pt x="108" y="321"/>
                </a:lnTo>
                <a:lnTo>
                  <a:pt x="102" y="321"/>
                </a:lnTo>
                <a:lnTo>
                  <a:pt x="96" y="319"/>
                </a:lnTo>
                <a:lnTo>
                  <a:pt x="91" y="313"/>
                </a:lnTo>
                <a:lnTo>
                  <a:pt x="89" y="308"/>
                </a:lnTo>
                <a:lnTo>
                  <a:pt x="87" y="304"/>
                </a:lnTo>
                <a:lnTo>
                  <a:pt x="87" y="304"/>
                </a:lnTo>
                <a:lnTo>
                  <a:pt x="70" y="298"/>
                </a:lnTo>
                <a:lnTo>
                  <a:pt x="70" y="298"/>
                </a:lnTo>
                <a:lnTo>
                  <a:pt x="56" y="298"/>
                </a:lnTo>
                <a:lnTo>
                  <a:pt x="33" y="298"/>
                </a:lnTo>
                <a:lnTo>
                  <a:pt x="11" y="296"/>
                </a:lnTo>
                <a:lnTo>
                  <a:pt x="4" y="296"/>
                </a:lnTo>
                <a:lnTo>
                  <a:pt x="0" y="295"/>
                </a:lnTo>
                <a:lnTo>
                  <a:pt x="0" y="295"/>
                </a:lnTo>
                <a:lnTo>
                  <a:pt x="2" y="293"/>
                </a:lnTo>
                <a:lnTo>
                  <a:pt x="4" y="291"/>
                </a:lnTo>
                <a:lnTo>
                  <a:pt x="13" y="285"/>
                </a:lnTo>
                <a:lnTo>
                  <a:pt x="28" y="278"/>
                </a:lnTo>
                <a:lnTo>
                  <a:pt x="28" y="278"/>
                </a:lnTo>
                <a:lnTo>
                  <a:pt x="30" y="276"/>
                </a:lnTo>
                <a:lnTo>
                  <a:pt x="30" y="274"/>
                </a:lnTo>
                <a:lnTo>
                  <a:pt x="30" y="267"/>
                </a:lnTo>
                <a:lnTo>
                  <a:pt x="32" y="261"/>
                </a:lnTo>
                <a:lnTo>
                  <a:pt x="33" y="258"/>
                </a:lnTo>
                <a:lnTo>
                  <a:pt x="37" y="256"/>
                </a:lnTo>
                <a:lnTo>
                  <a:pt x="37" y="256"/>
                </a:lnTo>
                <a:lnTo>
                  <a:pt x="41" y="254"/>
                </a:lnTo>
                <a:lnTo>
                  <a:pt x="44" y="254"/>
                </a:lnTo>
                <a:lnTo>
                  <a:pt x="56" y="258"/>
                </a:lnTo>
                <a:lnTo>
                  <a:pt x="67" y="265"/>
                </a:lnTo>
                <a:lnTo>
                  <a:pt x="80" y="274"/>
                </a:lnTo>
                <a:lnTo>
                  <a:pt x="93" y="282"/>
                </a:lnTo>
                <a:lnTo>
                  <a:pt x="106" y="287"/>
                </a:lnTo>
                <a:lnTo>
                  <a:pt x="111" y="289"/>
                </a:lnTo>
                <a:lnTo>
                  <a:pt x="115" y="289"/>
                </a:lnTo>
                <a:lnTo>
                  <a:pt x="119" y="289"/>
                </a:lnTo>
                <a:lnTo>
                  <a:pt x="122" y="285"/>
                </a:lnTo>
                <a:lnTo>
                  <a:pt x="122" y="285"/>
                </a:lnTo>
                <a:lnTo>
                  <a:pt x="120" y="285"/>
                </a:lnTo>
                <a:lnTo>
                  <a:pt x="119" y="285"/>
                </a:lnTo>
                <a:lnTo>
                  <a:pt x="119" y="285"/>
                </a:lnTo>
                <a:lnTo>
                  <a:pt x="109" y="280"/>
                </a:lnTo>
                <a:lnTo>
                  <a:pt x="95" y="272"/>
                </a:lnTo>
                <a:lnTo>
                  <a:pt x="80" y="261"/>
                </a:lnTo>
                <a:lnTo>
                  <a:pt x="76" y="256"/>
                </a:lnTo>
                <a:lnTo>
                  <a:pt x="76" y="252"/>
                </a:lnTo>
                <a:lnTo>
                  <a:pt x="76" y="252"/>
                </a:lnTo>
                <a:lnTo>
                  <a:pt x="80" y="250"/>
                </a:lnTo>
                <a:lnTo>
                  <a:pt x="85" y="250"/>
                </a:lnTo>
                <a:lnTo>
                  <a:pt x="100" y="256"/>
                </a:lnTo>
                <a:lnTo>
                  <a:pt x="113" y="263"/>
                </a:lnTo>
                <a:lnTo>
                  <a:pt x="119" y="263"/>
                </a:lnTo>
                <a:lnTo>
                  <a:pt x="122" y="263"/>
                </a:lnTo>
                <a:lnTo>
                  <a:pt x="122" y="263"/>
                </a:lnTo>
                <a:lnTo>
                  <a:pt x="117" y="258"/>
                </a:lnTo>
                <a:lnTo>
                  <a:pt x="108" y="252"/>
                </a:lnTo>
                <a:lnTo>
                  <a:pt x="108" y="252"/>
                </a:lnTo>
                <a:lnTo>
                  <a:pt x="95" y="246"/>
                </a:lnTo>
                <a:lnTo>
                  <a:pt x="78" y="235"/>
                </a:lnTo>
                <a:lnTo>
                  <a:pt x="70" y="228"/>
                </a:lnTo>
                <a:lnTo>
                  <a:pt x="67" y="220"/>
                </a:lnTo>
                <a:lnTo>
                  <a:pt x="67" y="219"/>
                </a:lnTo>
                <a:lnTo>
                  <a:pt x="67" y="215"/>
                </a:lnTo>
                <a:lnTo>
                  <a:pt x="69" y="211"/>
                </a:lnTo>
                <a:lnTo>
                  <a:pt x="72" y="207"/>
                </a:lnTo>
                <a:lnTo>
                  <a:pt x="72" y="207"/>
                </a:lnTo>
                <a:lnTo>
                  <a:pt x="76" y="207"/>
                </a:lnTo>
                <a:lnTo>
                  <a:pt x="80" y="207"/>
                </a:lnTo>
                <a:lnTo>
                  <a:pt x="91" y="209"/>
                </a:lnTo>
                <a:lnTo>
                  <a:pt x="106" y="217"/>
                </a:lnTo>
                <a:lnTo>
                  <a:pt x="122" y="224"/>
                </a:lnTo>
                <a:lnTo>
                  <a:pt x="139" y="232"/>
                </a:lnTo>
                <a:lnTo>
                  <a:pt x="152" y="241"/>
                </a:lnTo>
                <a:lnTo>
                  <a:pt x="161" y="248"/>
                </a:lnTo>
                <a:lnTo>
                  <a:pt x="163" y="252"/>
                </a:lnTo>
                <a:lnTo>
                  <a:pt x="163" y="254"/>
                </a:lnTo>
                <a:lnTo>
                  <a:pt x="163" y="254"/>
                </a:lnTo>
                <a:lnTo>
                  <a:pt x="165" y="259"/>
                </a:lnTo>
                <a:lnTo>
                  <a:pt x="167" y="261"/>
                </a:lnTo>
                <a:lnTo>
                  <a:pt x="171" y="261"/>
                </a:lnTo>
                <a:lnTo>
                  <a:pt x="178" y="259"/>
                </a:lnTo>
                <a:lnTo>
                  <a:pt x="189" y="252"/>
                </a:lnTo>
                <a:lnTo>
                  <a:pt x="202" y="248"/>
                </a:lnTo>
                <a:lnTo>
                  <a:pt x="202" y="248"/>
                </a:lnTo>
                <a:lnTo>
                  <a:pt x="206" y="246"/>
                </a:lnTo>
                <a:lnTo>
                  <a:pt x="208" y="246"/>
                </a:lnTo>
                <a:lnTo>
                  <a:pt x="209" y="245"/>
                </a:lnTo>
                <a:lnTo>
                  <a:pt x="209" y="245"/>
                </a:lnTo>
                <a:lnTo>
                  <a:pt x="206" y="243"/>
                </a:lnTo>
                <a:lnTo>
                  <a:pt x="200" y="243"/>
                </a:lnTo>
                <a:lnTo>
                  <a:pt x="185" y="245"/>
                </a:lnTo>
                <a:lnTo>
                  <a:pt x="178" y="245"/>
                </a:lnTo>
                <a:lnTo>
                  <a:pt x="172" y="243"/>
                </a:lnTo>
                <a:lnTo>
                  <a:pt x="169" y="239"/>
                </a:lnTo>
                <a:lnTo>
                  <a:pt x="167" y="233"/>
                </a:lnTo>
                <a:lnTo>
                  <a:pt x="167" y="233"/>
                </a:lnTo>
                <a:lnTo>
                  <a:pt x="167" y="232"/>
                </a:lnTo>
                <a:lnTo>
                  <a:pt x="169" y="230"/>
                </a:lnTo>
                <a:lnTo>
                  <a:pt x="176" y="228"/>
                </a:lnTo>
                <a:lnTo>
                  <a:pt x="198" y="228"/>
                </a:lnTo>
                <a:lnTo>
                  <a:pt x="208" y="226"/>
                </a:lnTo>
                <a:lnTo>
                  <a:pt x="217" y="224"/>
                </a:lnTo>
                <a:lnTo>
                  <a:pt x="222" y="222"/>
                </a:lnTo>
                <a:lnTo>
                  <a:pt x="224" y="219"/>
                </a:lnTo>
                <a:lnTo>
                  <a:pt x="224" y="217"/>
                </a:lnTo>
                <a:lnTo>
                  <a:pt x="224" y="217"/>
                </a:lnTo>
                <a:lnTo>
                  <a:pt x="222" y="215"/>
                </a:lnTo>
                <a:lnTo>
                  <a:pt x="219" y="217"/>
                </a:lnTo>
                <a:lnTo>
                  <a:pt x="213" y="219"/>
                </a:lnTo>
                <a:lnTo>
                  <a:pt x="213" y="219"/>
                </a:lnTo>
                <a:lnTo>
                  <a:pt x="202" y="222"/>
                </a:lnTo>
                <a:lnTo>
                  <a:pt x="189" y="222"/>
                </a:lnTo>
                <a:lnTo>
                  <a:pt x="165" y="222"/>
                </a:lnTo>
                <a:lnTo>
                  <a:pt x="165" y="222"/>
                </a:lnTo>
                <a:lnTo>
                  <a:pt x="146" y="219"/>
                </a:lnTo>
                <a:lnTo>
                  <a:pt x="135" y="213"/>
                </a:lnTo>
                <a:lnTo>
                  <a:pt x="124" y="207"/>
                </a:lnTo>
                <a:lnTo>
                  <a:pt x="117" y="200"/>
                </a:lnTo>
                <a:lnTo>
                  <a:pt x="111" y="193"/>
                </a:lnTo>
                <a:lnTo>
                  <a:pt x="109" y="189"/>
                </a:lnTo>
                <a:lnTo>
                  <a:pt x="111" y="185"/>
                </a:lnTo>
                <a:lnTo>
                  <a:pt x="113" y="181"/>
                </a:lnTo>
                <a:lnTo>
                  <a:pt x="117" y="176"/>
                </a:lnTo>
                <a:lnTo>
                  <a:pt x="117" y="176"/>
                </a:lnTo>
                <a:lnTo>
                  <a:pt x="124" y="176"/>
                </a:lnTo>
                <a:lnTo>
                  <a:pt x="135" y="178"/>
                </a:lnTo>
                <a:lnTo>
                  <a:pt x="169" y="187"/>
                </a:lnTo>
                <a:lnTo>
                  <a:pt x="202" y="196"/>
                </a:lnTo>
                <a:lnTo>
                  <a:pt x="215" y="198"/>
                </a:lnTo>
                <a:lnTo>
                  <a:pt x="221" y="198"/>
                </a:lnTo>
                <a:lnTo>
                  <a:pt x="221" y="198"/>
                </a:lnTo>
                <a:lnTo>
                  <a:pt x="221" y="196"/>
                </a:lnTo>
                <a:lnTo>
                  <a:pt x="221" y="194"/>
                </a:lnTo>
                <a:lnTo>
                  <a:pt x="211" y="193"/>
                </a:lnTo>
                <a:lnTo>
                  <a:pt x="189" y="189"/>
                </a:lnTo>
                <a:lnTo>
                  <a:pt x="189" y="189"/>
                </a:lnTo>
                <a:lnTo>
                  <a:pt x="174" y="185"/>
                </a:lnTo>
                <a:lnTo>
                  <a:pt x="152" y="176"/>
                </a:lnTo>
                <a:lnTo>
                  <a:pt x="141" y="169"/>
                </a:lnTo>
                <a:lnTo>
                  <a:pt x="130" y="163"/>
                </a:lnTo>
                <a:lnTo>
                  <a:pt x="124" y="156"/>
                </a:lnTo>
                <a:lnTo>
                  <a:pt x="120" y="148"/>
                </a:lnTo>
                <a:lnTo>
                  <a:pt x="120" y="148"/>
                </a:lnTo>
                <a:lnTo>
                  <a:pt x="120" y="144"/>
                </a:lnTo>
                <a:lnTo>
                  <a:pt x="120" y="141"/>
                </a:lnTo>
                <a:lnTo>
                  <a:pt x="124" y="137"/>
                </a:lnTo>
                <a:lnTo>
                  <a:pt x="128" y="135"/>
                </a:lnTo>
                <a:lnTo>
                  <a:pt x="137" y="135"/>
                </a:lnTo>
                <a:lnTo>
                  <a:pt x="150" y="137"/>
                </a:lnTo>
                <a:lnTo>
                  <a:pt x="161" y="141"/>
                </a:lnTo>
                <a:lnTo>
                  <a:pt x="174" y="144"/>
                </a:lnTo>
                <a:lnTo>
                  <a:pt x="182" y="150"/>
                </a:lnTo>
                <a:lnTo>
                  <a:pt x="187" y="154"/>
                </a:lnTo>
                <a:lnTo>
                  <a:pt x="187" y="154"/>
                </a:lnTo>
                <a:lnTo>
                  <a:pt x="191" y="156"/>
                </a:lnTo>
                <a:lnTo>
                  <a:pt x="193" y="157"/>
                </a:lnTo>
                <a:lnTo>
                  <a:pt x="195" y="156"/>
                </a:lnTo>
                <a:lnTo>
                  <a:pt x="195" y="156"/>
                </a:lnTo>
                <a:lnTo>
                  <a:pt x="195" y="154"/>
                </a:lnTo>
                <a:lnTo>
                  <a:pt x="193" y="152"/>
                </a:lnTo>
                <a:lnTo>
                  <a:pt x="189" y="146"/>
                </a:lnTo>
                <a:lnTo>
                  <a:pt x="172" y="137"/>
                </a:lnTo>
                <a:lnTo>
                  <a:pt x="156" y="130"/>
                </a:lnTo>
                <a:lnTo>
                  <a:pt x="148" y="126"/>
                </a:lnTo>
                <a:lnTo>
                  <a:pt x="145" y="120"/>
                </a:lnTo>
                <a:lnTo>
                  <a:pt x="145" y="120"/>
                </a:lnTo>
                <a:lnTo>
                  <a:pt x="145" y="120"/>
                </a:lnTo>
                <a:lnTo>
                  <a:pt x="146" y="118"/>
                </a:lnTo>
                <a:lnTo>
                  <a:pt x="150" y="117"/>
                </a:lnTo>
                <a:lnTo>
                  <a:pt x="165" y="118"/>
                </a:lnTo>
                <a:lnTo>
                  <a:pt x="191" y="126"/>
                </a:lnTo>
                <a:lnTo>
                  <a:pt x="191" y="126"/>
                </a:lnTo>
                <a:lnTo>
                  <a:pt x="191" y="126"/>
                </a:lnTo>
                <a:lnTo>
                  <a:pt x="189" y="124"/>
                </a:lnTo>
                <a:lnTo>
                  <a:pt x="182" y="117"/>
                </a:lnTo>
                <a:lnTo>
                  <a:pt x="182" y="117"/>
                </a:lnTo>
                <a:lnTo>
                  <a:pt x="178" y="115"/>
                </a:lnTo>
                <a:lnTo>
                  <a:pt x="174" y="115"/>
                </a:lnTo>
                <a:lnTo>
                  <a:pt x="165" y="115"/>
                </a:lnTo>
                <a:lnTo>
                  <a:pt x="158" y="113"/>
                </a:lnTo>
                <a:lnTo>
                  <a:pt x="158" y="111"/>
                </a:lnTo>
                <a:lnTo>
                  <a:pt x="159" y="107"/>
                </a:lnTo>
                <a:lnTo>
                  <a:pt x="159" y="107"/>
                </a:lnTo>
                <a:lnTo>
                  <a:pt x="165" y="102"/>
                </a:lnTo>
                <a:lnTo>
                  <a:pt x="171" y="100"/>
                </a:lnTo>
                <a:lnTo>
                  <a:pt x="178" y="98"/>
                </a:lnTo>
                <a:lnTo>
                  <a:pt x="187" y="98"/>
                </a:lnTo>
                <a:lnTo>
                  <a:pt x="204" y="102"/>
                </a:lnTo>
                <a:lnTo>
                  <a:pt x="221" y="109"/>
                </a:lnTo>
                <a:lnTo>
                  <a:pt x="237" y="118"/>
                </a:lnTo>
                <a:lnTo>
                  <a:pt x="248" y="130"/>
                </a:lnTo>
                <a:lnTo>
                  <a:pt x="258" y="139"/>
                </a:lnTo>
                <a:lnTo>
                  <a:pt x="260" y="143"/>
                </a:lnTo>
                <a:lnTo>
                  <a:pt x="260" y="146"/>
                </a:lnTo>
                <a:lnTo>
                  <a:pt x="260" y="146"/>
                </a:lnTo>
                <a:lnTo>
                  <a:pt x="254" y="159"/>
                </a:lnTo>
                <a:lnTo>
                  <a:pt x="254" y="161"/>
                </a:lnTo>
                <a:lnTo>
                  <a:pt x="256" y="161"/>
                </a:lnTo>
                <a:lnTo>
                  <a:pt x="260" y="156"/>
                </a:lnTo>
                <a:lnTo>
                  <a:pt x="265" y="143"/>
                </a:lnTo>
                <a:lnTo>
                  <a:pt x="265" y="143"/>
                </a:lnTo>
                <a:lnTo>
                  <a:pt x="267" y="141"/>
                </a:lnTo>
                <a:lnTo>
                  <a:pt x="269" y="141"/>
                </a:lnTo>
                <a:lnTo>
                  <a:pt x="271" y="146"/>
                </a:lnTo>
                <a:lnTo>
                  <a:pt x="271" y="146"/>
                </a:lnTo>
                <a:lnTo>
                  <a:pt x="274" y="150"/>
                </a:lnTo>
                <a:lnTo>
                  <a:pt x="278" y="154"/>
                </a:lnTo>
                <a:lnTo>
                  <a:pt x="278" y="156"/>
                </a:lnTo>
                <a:lnTo>
                  <a:pt x="276" y="157"/>
                </a:lnTo>
                <a:lnTo>
                  <a:pt x="267" y="169"/>
                </a:lnTo>
                <a:lnTo>
                  <a:pt x="267" y="169"/>
                </a:lnTo>
                <a:lnTo>
                  <a:pt x="274" y="163"/>
                </a:lnTo>
                <a:lnTo>
                  <a:pt x="284" y="159"/>
                </a:lnTo>
                <a:lnTo>
                  <a:pt x="284" y="159"/>
                </a:lnTo>
                <a:lnTo>
                  <a:pt x="284" y="170"/>
                </a:lnTo>
                <a:lnTo>
                  <a:pt x="284" y="178"/>
                </a:lnTo>
                <a:lnTo>
                  <a:pt x="284" y="178"/>
                </a:lnTo>
                <a:lnTo>
                  <a:pt x="287" y="176"/>
                </a:lnTo>
                <a:lnTo>
                  <a:pt x="287" y="172"/>
                </a:lnTo>
                <a:lnTo>
                  <a:pt x="291" y="157"/>
                </a:lnTo>
                <a:lnTo>
                  <a:pt x="293" y="148"/>
                </a:lnTo>
                <a:lnTo>
                  <a:pt x="297" y="143"/>
                </a:lnTo>
                <a:lnTo>
                  <a:pt x="300" y="137"/>
                </a:lnTo>
                <a:lnTo>
                  <a:pt x="304" y="137"/>
                </a:lnTo>
                <a:lnTo>
                  <a:pt x="308" y="137"/>
                </a:lnTo>
                <a:lnTo>
                  <a:pt x="308" y="137"/>
                </a:lnTo>
                <a:lnTo>
                  <a:pt x="315" y="139"/>
                </a:lnTo>
                <a:lnTo>
                  <a:pt x="319" y="141"/>
                </a:lnTo>
                <a:lnTo>
                  <a:pt x="321" y="144"/>
                </a:lnTo>
                <a:lnTo>
                  <a:pt x="323" y="148"/>
                </a:lnTo>
                <a:lnTo>
                  <a:pt x="324" y="157"/>
                </a:lnTo>
                <a:lnTo>
                  <a:pt x="321" y="169"/>
                </a:lnTo>
                <a:lnTo>
                  <a:pt x="313" y="189"/>
                </a:lnTo>
                <a:lnTo>
                  <a:pt x="311" y="196"/>
                </a:lnTo>
                <a:lnTo>
                  <a:pt x="311" y="200"/>
                </a:lnTo>
                <a:lnTo>
                  <a:pt x="313" y="202"/>
                </a:lnTo>
                <a:lnTo>
                  <a:pt x="313" y="202"/>
                </a:lnTo>
                <a:lnTo>
                  <a:pt x="317" y="196"/>
                </a:lnTo>
                <a:lnTo>
                  <a:pt x="324" y="181"/>
                </a:lnTo>
                <a:lnTo>
                  <a:pt x="334" y="159"/>
                </a:lnTo>
                <a:lnTo>
                  <a:pt x="334" y="159"/>
                </a:lnTo>
                <a:lnTo>
                  <a:pt x="337" y="163"/>
                </a:lnTo>
                <a:lnTo>
                  <a:pt x="341" y="167"/>
                </a:lnTo>
                <a:lnTo>
                  <a:pt x="345" y="176"/>
                </a:lnTo>
                <a:lnTo>
                  <a:pt x="345" y="176"/>
                </a:lnTo>
                <a:lnTo>
                  <a:pt x="347" y="176"/>
                </a:lnTo>
                <a:lnTo>
                  <a:pt x="350" y="178"/>
                </a:lnTo>
                <a:lnTo>
                  <a:pt x="352" y="180"/>
                </a:lnTo>
                <a:lnTo>
                  <a:pt x="352" y="183"/>
                </a:lnTo>
                <a:lnTo>
                  <a:pt x="350" y="187"/>
                </a:lnTo>
                <a:lnTo>
                  <a:pt x="348" y="191"/>
                </a:lnTo>
                <a:lnTo>
                  <a:pt x="348" y="191"/>
                </a:lnTo>
                <a:lnTo>
                  <a:pt x="343" y="196"/>
                </a:lnTo>
                <a:lnTo>
                  <a:pt x="347" y="193"/>
                </a:lnTo>
                <a:lnTo>
                  <a:pt x="361" y="178"/>
                </a:lnTo>
                <a:lnTo>
                  <a:pt x="361" y="178"/>
                </a:lnTo>
                <a:lnTo>
                  <a:pt x="363" y="176"/>
                </a:lnTo>
                <a:lnTo>
                  <a:pt x="363" y="174"/>
                </a:lnTo>
                <a:lnTo>
                  <a:pt x="360" y="165"/>
                </a:lnTo>
                <a:lnTo>
                  <a:pt x="347" y="150"/>
                </a:lnTo>
                <a:lnTo>
                  <a:pt x="347" y="150"/>
                </a:lnTo>
                <a:lnTo>
                  <a:pt x="343" y="144"/>
                </a:lnTo>
                <a:lnTo>
                  <a:pt x="343" y="139"/>
                </a:lnTo>
                <a:lnTo>
                  <a:pt x="345" y="137"/>
                </a:lnTo>
                <a:lnTo>
                  <a:pt x="347" y="135"/>
                </a:lnTo>
                <a:lnTo>
                  <a:pt x="354" y="133"/>
                </a:lnTo>
                <a:lnTo>
                  <a:pt x="358" y="131"/>
                </a:lnTo>
                <a:lnTo>
                  <a:pt x="358" y="128"/>
                </a:lnTo>
                <a:lnTo>
                  <a:pt x="358" y="128"/>
                </a:lnTo>
                <a:lnTo>
                  <a:pt x="356" y="126"/>
                </a:lnTo>
                <a:lnTo>
                  <a:pt x="352" y="128"/>
                </a:lnTo>
                <a:lnTo>
                  <a:pt x="343" y="131"/>
                </a:lnTo>
                <a:lnTo>
                  <a:pt x="343" y="131"/>
                </a:lnTo>
                <a:lnTo>
                  <a:pt x="336" y="131"/>
                </a:lnTo>
                <a:lnTo>
                  <a:pt x="328" y="130"/>
                </a:lnTo>
                <a:lnTo>
                  <a:pt x="304" y="117"/>
                </a:lnTo>
                <a:lnTo>
                  <a:pt x="304" y="117"/>
                </a:lnTo>
                <a:lnTo>
                  <a:pt x="272" y="102"/>
                </a:lnTo>
                <a:lnTo>
                  <a:pt x="260" y="93"/>
                </a:lnTo>
                <a:lnTo>
                  <a:pt x="256" y="91"/>
                </a:lnTo>
                <a:lnTo>
                  <a:pt x="256" y="89"/>
                </a:lnTo>
                <a:lnTo>
                  <a:pt x="258" y="89"/>
                </a:lnTo>
                <a:lnTo>
                  <a:pt x="258" y="89"/>
                </a:lnTo>
                <a:lnTo>
                  <a:pt x="291" y="85"/>
                </a:lnTo>
                <a:lnTo>
                  <a:pt x="332" y="83"/>
                </a:lnTo>
                <a:lnTo>
                  <a:pt x="356" y="80"/>
                </a:lnTo>
                <a:lnTo>
                  <a:pt x="356" y="80"/>
                </a:lnTo>
                <a:lnTo>
                  <a:pt x="352" y="80"/>
                </a:lnTo>
                <a:lnTo>
                  <a:pt x="336" y="78"/>
                </a:lnTo>
                <a:lnTo>
                  <a:pt x="336" y="78"/>
                </a:lnTo>
                <a:lnTo>
                  <a:pt x="330" y="76"/>
                </a:lnTo>
                <a:lnTo>
                  <a:pt x="328" y="74"/>
                </a:lnTo>
                <a:lnTo>
                  <a:pt x="328" y="72"/>
                </a:lnTo>
                <a:lnTo>
                  <a:pt x="332" y="70"/>
                </a:lnTo>
                <a:lnTo>
                  <a:pt x="339" y="67"/>
                </a:lnTo>
                <a:lnTo>
                  <a:pt x="343" y="63"/>
                </a:lnTo>
                <a:lnTo>
                  <a:pt x="343" y="63"/>
                </a:lnTo>
                <a:lnTo>
                  <a:pt x="339" y="63"/>
                </a:lnTo>
                <a:lnTo>
                  <a:pt x="336" y="65"/>
                </a:lnTo>
                <a:lnTo>
                  <a:pt x="328" y="68"/>
                </a:lnTo>
                <a:lnTo>
                  <a:pt x="319" y="70"/>
                </a:lnTo>
                <a:lnTo>
                  <a:pt x="313" y="72"/>
                </a:lnTo>
                <a:lnTo>
                  <a:pt x="308" y="70"/>
                </a:lnTo>
                <a:lnTo>
                  <a:pt x="308" y="70"/>
                </a:lnTo>
                <a:lnTo>
                  <a:pt x="304" y="68"/>
                </a:lnTo>
                <a:lnTo>
                  <a:pt x="304" y="67"/>
                </a:lnTo>
                <a:lnTo>
                  <a:pt x="308" y="61"/>
                </a:lnTo>
                <a:lnTo>
                  <a:pt x="308" y="61"/>
                </a:lnTo>
                <a:lnTo>
                  <a:pt x="313" y="54"/>
                </a:lnTo>
                <a:lnTo>
                  <a:pt x="313" y="52"/>
                </a:lnTo>
                <a:lnTo>
                  <a:pt x="313" y="52"/>
                </a:lnTo>
                <a:lnTo>
                  <a:pt x="308" y="52"/>
                </a:lnTo>
                <a:lnTo>
                  <a:pt x="300" y="54"/>
                </a:lnTo>
                <a:lnTo>
                  <a:pt x="280" y="61"/>
                </a:lnTo>
                <a:lnTo>
                  <a:pt x="265" y="68"/>
                </a:lnTo>
                <a:lnTo>
                  <a:pt x="265" y="68"/>
                </a:lnTo>
                <a:lnTo>
                  <a:pt x="261" y="68"/>
                </a:lnTo>
                <a:lnTo>
                  <a:pt x="256" y="68"/>
                </a:lnTo>
                <a:lnTo>
                  <a:pt x="243" y="65"/>
                </a:lnTo>
                <a:lnTo>
                  <a:pt x="230" y="59"/>
                </a:lnTo>
                <a:lnTo>
                  <a:pt x="226" y="55"/>
                </a:lnTo>
                <a:lnTo>
                  <a:pt x="224" y="52"/>
                </a:lnTo>
                <a:lnTo>
                  <a:pt x="224" y="52"/>
                </a:lnTo>
                <a:lnTo>
                  <a:pt x="228" y="52"/>
                </a:lnTo>
                <a:lnTo>
                  <a:pt x="237" y="52"/>
                </a:lnTo>
                <a:lnTo>
                  <a:pt x="247" y="50"/>
                </a:lnTo>
                <a:lnTo>
                  <a:pt x="250" y="46"/>
                </a:lnTo>
                <a:lnTo>
                  <a:pt x="252" y="42"/>
                </a:lnTo>
                <a:lnTo>
                  <a:pt x="252" y="42"/>
                </a:lnTo>
                <a:lnTo>
                  <a:pt x="250" y="41"/>
                </a:lnTo>
                <a:lnTo>
                  <a:pt x="248" y="39"/>
                </a:lnTo>
                <a:lnTo>
                  <a:pt x="241" y="37"/>
                </a:lnTo>
                <a:lnTo>
                  <a:pt x="235" y="33"/>
                </a:lnTo>
                <a:lnTo>
                  <a:pt x="234" y="31"/>
                </a:lnTo>
                <a:lnTo>
                  <a:pt x="234" y="29"/>
                </a:lnTo>
                <a:lnTo>
                  <a:pt x="234" y="29"/>
                </a:lnTo>
                <a:lnTo>
                  <a:pt x="235" y="28"/>
                </a:lnTo>
                <a:lnTo>
                  <a:pt x="239" y="28"/>
                </a:lnTo>
                <a:lnTo>
                  <a:pt x="245" y="29"/>
                </a:lnTo>
                <a:lnTo>
                  <a:pt x="254" y="35"/>
                </a:lnTo>
                <a:lnTo>
                  <a:pt x="254" y="35"/>
                </a:lnTo>
                <a:lnTo>
                  <a:pt x="254" y="29"/>
                </a:lnTo>
                <a:lnTo>
                  <a:pt x="258" y="28"/>
                </a:lnTo>
                <a:lnTo>
                  <a:pt x="261" y="28"/>
                </a:lnTo>
                <a:lnTo>
                  <a:pt x="265" y="28"/>
                </a:lnTo>
                <a:lnTo>
                  <a:pt x="280" y="31"/>
                </a:lnTo>
                <a:lnTo>
                  <a:pt x="280" y="31"/>
                </a:lnTo>
                <a:lnTo>
                  <a:pt x="276" y="28"/>
                </a:lnTo>
                <a:lnTo>
                  <a:pt x="271" y="26"/>
                </a:lnTo>
                <a:lnTo>
                  <a:pt x="265" y="20"/>
                </a:lnTo>
                <a:lnTo>
                  <a:pt x="265" y="20"/>
                </a:lnTo>
                <a:lnTo>
                  <a:pt x="267" y="18"/>
                </a:lnTo>
                <a:lnTo>
                  <a:pt x="272" y="18"/>
                </a:lnTo>
                <a:lnTo>
                  <a:pt x="284" y="24"/>
                </a:lnTo>
                <a:lnTo>
                  <a:pt x="304" y="33"/>
                </a:lnTo>
                <a:lnTo>
                  <a:pt x="304" y="33"/>
                </a:lnTo>
                <a:lnTo>
                  <a:pt x="310" y="33"/>
                </a:lnTo>
                <a:lnTo>
                  <a:pt x="313" y="33"/>
                </a:lnTo>
                <a:lnTo>
                  <a:pt x="319" y="28"/>
                </a:lnTo>
                <a:lnTo>
                  <a:pt x="323" y="26"/>
                </a:lnTo>
                <a:lnTo>
                  <a:pt x="326" y="26"/>
                </a:lnTo>
                <a:lnTo>
                  <a:pt x="332" y="26"/>
                </a:lnTo>
                <a:lnTo>
                  <a:pt x="339" y="28"/>
                </a:lnTo>
                <a:lnTo>
                  <a:pt x="339" y="28"/>
                </a:lnTo>
                <a:lnTo>
                  <a:pt x="343" y="31"/>
                </a:lnTo>
                <a:lnTo>
                  <a:pt x="345" y="33"/>
                </a:lnTo>
                <a:lnTo>
                  <a:pt x="347" y="31"/>
                </a:lnTo>
                <a:lnTo>
                  <a:pt x="347" y="31"/>
                </a:lnTo>
                <a:lnTo>
                  <a:pt x="348" y="29"/>
                </a:lnTo>
                <a:lnTo>
                  <a:pt x="348" y="28"/>
                </a:lnTo>
                <a:lnTo>
                  <a:pt x="348" y="26"/>
                </a:lnTo>
                <a:lnTo>
                  <a:pt x="345" y="22"/>
                </a:lnTo>
                <a:lnTo>
                  <a:pt x="345" y="20"/>
                </a:lnTo>
                <a:lnTo>
                  <a:pt x="345" y="20"/>
                </a:lnTo>
                <a:lnTo>
                  <a:pt x="345" y="20"/>
                </a:lnTo>
                <a:lnTo>
                  <a:pt x="350" y="18"/>
                </a:lnTo>
                <a:lnTo>
                  <a:pt x="354" y="20"/>
                </a:lnTo>
                <a:lnTo>
                  <a:pt x="358" y="22"/>
                </a:lnTo>
                <a:lnTo>
                  <a:pt x="360" y="26"/>
                </a:lnTo>
                <a:lnTo>
                  <a:pt x="369" y="41"/>
                </a:lnTo>
                <a:lnTo>
                  <a:pt x="376" y="48"/>
                </a:lnTo>
                <a:lnTo>
                  <a:pt x="387" y="57"/>
                </a:lnTo>
                <a:lnTo>
                  <a:pt x="387" y="57"/>
                </a:lnTo>
                <a:lnTo>
                  <a:pt x="387" y="59"/>
                </a:lnTo>
                <a:lnTo>
                  <a:pt x="387" y="61"/>
                </a:lnTo>
                <a:lnTo>
                  <a:pt x="386" y="67"/>
                </a:lnTo>
                <a:lnTo>
                  <a:pt x="382" y="72"/>
                </a:lnTo>
                <a:lnTo>
                  <a:pt x="382" y="74"/>
                </a:lnTo>
                <a:lnTo>
                  <a:pt x="382" y="76"/>
                </a:lnTo>
                <a:lnTo>
                  <a:pt x="382" y="76"/>
                </a:lnTo>
                <a:lnTo>
                  <a:pt x="384" y="78"/>
                </a:lnTo>
                <a:lnTo>
                  <a:pt x="387" y="78"/>
                </a:lnTo>
                <a:lnTo>
                  <a:pt x="395" y="76"/>
                </a:lnTo>
                <a:lnTo>
                  <a:pt x="406" y="70"/>
                </a:lnTo>
                <a:lnTo>
                  <a:pt x="406" y="70"/>
                </a:lnTo>
                <a:lnTo>
                  <a:pt x="415" y="74"/>
                </a:lnTo>
                <a:lnTo>
                  <a:pt x="425" y="80"/>
                </a:lnTo>
                <a:lnTo>
                  <a:pt x="430" y="85"/>
                </a:lnTo>
                <a:lnTo>
                  <a:pt x="430" y="87"/>
                </a:lnTo>
                <a:lnTo>
                  <a:pt x="428" y="91"/>
                </a:lnTo>
                <a:lnTo>
                  <a:pt x="428" y="91"/>
                </a:lnTo>
                <a:lnTo>
                  <a:pt x="425" y="93"/>
                </a:lnTo>
                <a:lnTo>
                  <a:pt x="423" y="94"/>
                </a:lnTo>
                <a:lnTo>
                  <a:pt x="423" y="94"/>
                </a:lnTo>
                <a:lnTo>
                  <a:pt x="423" y="94"/>
                </a:lnTo>
                <a:lnTo>
                  <a:pt x="443" y="94"/>
                </a:lnTo>
                <a:lnTo>
                  <a:pt x="454" y="96"/>
                </a:lnTo>
                <a:lnTo>
                  <a:pt x="458" y="98"/>
                </a:lnTo>
                <a:lnTo>
                  <a:pt x="462" y="100"/>
                </a:lnTo>
                <a:lnTo>
                  <a:pt x="462" y="100"/>
                </a:lnTo>
                <a:lnTo>
                  <a:pt x="465" y="105"/>
                </a:lnTo>
                <a:lnTo>
                  <a:pt x="467" y="111"/>
                </a:lnTo>
                <a:lnTo>
                  <a:pt x="471" y="126"/>
                </a:lnTo>
                <a:lnTo>
                  <a:pt x="473" y="139"/>
                </a:lnTo>
                <a:lnTo>
                  <a:pt x="475" y="144"/>
                </a:lnTo>
                <a:lnTo>
                  <a:pt x="475" y="146"/>
                </a:lnTo>
                <a:lnTo>
                  <a:pt x="475" y="146"/>
                </a:lnTo>
                <a:lnTo>
                  <a:pt x="478" y="148"/>
                </a:lnTo>
                <a:lnTo>
                  <a:pt x="480" y="146"/>
                </a:lnTo>
                <a:lnTo>
                  <a:pt x="484" y="143"/>
                </a:lnTo>
                <a:lnTo>
                  <a:pt x="484" y="143"/>
                </a:lnTo>
                <a:lnTo>
                  <a:pt x="484" y="139"/>
                </a:lnTo>
                <a:lnTo>
                  <a:pt x="482" y="135"/>
                </a:lnTo>
                <a:lnTo>
                  <a:pt x="480" y="130"/>
                </a:lnTo>
                <a:lnTo>
                  <a:pt x="480" y="130"/>
                </a:lnTo>
                <a:lnTo>
                  <a:pt x="488" y="124"/>
                </a:lnTo>
                <a:lnTo>
                  <a:pt x="493" y="124"/>
                </a:lnTo>
                <a:lnTo>
                  <a:pt x="495" y="128"/>
                </a:lnTo>
                <a:lnTo>
                  <a:pt x="497" y="131"/>
                </a:lnTo>
                <a:lnTo>
                  <a:pt x="499" y="141"/>
                </a:lnTo>
                <a:lnTo>
                  <a:pt x="499" y="146"/>
                </a:lnTo>
                <a:lnTo>
                  <a:pt x="499" y="146"/>
                </a:lnTo>
                <a:lnTo>
                  <a:pt x="502" y="148"/>
                </a:lnTo>
                <a:lnTo>
                  <a:pt x="508" y="148"/>
                </a:lnTo>
                <a:lnTo>
                  <a:pt x="517" y="146"/>
                </a:lnTo>
                <a:lnTo>
                  <a:pt x="521" y="146"/>
                </a:lnTo>
                <a:lnTo>
                  <a:pt x="525" y="146"/>
                </a:lnTo>
                <a:lnTo>
                  <a:pt x="528" y="148"/>
                </a:lnTo>
                <a:lnTo>
                  <a:pt x="532" y="154"/>
                </a:lnTo>
                <a:lnTo>
                  <a:pt x="532" y="154"/>
                </a:lnTo>
                <a:lnTo>
                  <a:pt x="532" y="154"/>
                </a:lnTo>
                <a:lnTo>
                  <a:pt x="532" y="156"/>
                </a:lnTo>
                <a:lnTo>
                  <a:pt x="532" y="157"/>
                </a:lnTo>
                <a:lnTo>
                  <a:pt x="528" y="157"/>
                </a:lnTo>
                <a:lnTo>
                  <a:pt x="517" y="157"/>
                </a:lnTo>
                <a:lnTo>
                  <a:pt x="517" y="157"/>
                </a:lnTo>
                <a:lnTo>
                  <a:pt x="510" y="159"/>
                </a:lnTo>
                <a:lnTo>
                  <a:pt x="502" y="161"/>
                </a:lnTo>
                <a:lnTo>
                  <a:pt x="502" y="161"/>
                </a:lnTo>
                <a:lnTo>
                  <a:pt x="499" y="161"/>
                </a:lnTo>
                <a:lnTo>
                  <a:pt x="504" y="161"/>
                </a:lnTo>
                <a:lnTo>
                  <a:pt x="513" y="163"/>
                </a:lnTo>
                <a:lnTo>
                  <a:pt x="523" y="165"/>
                </a:lnTo>
                <a:lnTo>
                  <a:pt x="523" y="165"/>
                </a:lnTo>
                <a:lnTo>
                  <a:pt x="523" y="165"/>
                </a:lnTo>
                <a:lnTo>
                  <a:pt x="517" y="169"/>
                </a:lnTo>
                <a:lnTo>
                  <a:pt x="513" y="172"/>
                </a:lnTo>
                <a:lnTo>
                  <a:pt x="513" y="172"/>
                </a:lnTo>
                <a:lnTo>
                  <a:pt x="517" y="172"/>
                </a:lnTo>
                <a:lnTo>
                  <a:pt x="523" y="172"/>
                </a:lnTo>
                <a:lnTo>
                  <a:pt x="534" y="170"/>
                </a:lnTo>
                <a:lnTo>
                  <a:pt x="534" y="170"/>
                </a:lnTo>
                <a:lnTo>
                  <a:pt x="536" y="172"/>
                </a:lnTo>
                <a:lnTo>
                  <a:pt x="536" y="174"/>
                </a:lnTo>
                <a:lnTo>
                  <a:pt x="534" y="180"/>
                </a:lnTo>
                <a:lnTo>
                  <a:pt x="534" y="185"/>
                </a:lnTo>
                <a:lnTo>
                  <a:pt x="534" y="189"/>
                </a:lnTo>
                <a:lnTo>
                  <a:pt x="534" y="189"/>
                </a:lnTo>
                <a:lnTo>
                  <a:pt x="534" y="189"/>
                </a:lnTo>
                <a:lnTo>
                  <a:pt x="538" y="191"/>
                </a:lnTo>
                <a:lnTo>
                  <a:pt x="539" y="193"/>
                </a:lnTo>
                <a:lnTo>
                  <a:pt x="539" y="193"/>
                </a:lnTo>
                <a:lnTo>
                  <a:pt x="539" y="193"/>
                </a:lnTo>
                <a:lnTo>
                  <a:pt x="538" y="198"/>
                </a:lnTo>
                <a:lnTo>
                  <a:pt x="532" y="202"/>
                </a:lnTo>
                <a:lnTo>
                  <a:pt x="521" y="206"/>
                </a:lnTo>
                <a:lnTo>
                  <a:pt x="512" y="211"/>
                </a:lnTo>
                <a:lnTo>
                  <a:pt x="508" y="215"/>
                </a:lnTo>
                <a:lnTo>
                  <a:pt x="506" y="220"/>
                </a:lnTo>
                <a:lnTo>
                  <a:pt x="506" y="220"/>
                </a:lnTo>
                <a:lnTo>
                  <a:pt x="508" y="222"/>
                </a:lnTo>
                <a:lnTo>
                  <a:pt x="512" y="224"/>
                </a:lnTo>
                <a:lnTo>
                  <a:pt x="521" y="224"/>
                </a:lnTo>
                <a:lnTo>
                  <a:pt x="528" y="226"/>
                </a:lnTo>
                <a:lnTo>
                  <a:pt x="530" y="226"/>
                </a:lnTo>
                <a:lnTo>
                  <a:pt x="530" y="228"/>
                </a:lnTo>
                <a:lnTo>
                  <a:pt x="530" y="228"/>
                </a:lnTo>
                <a:lnTo>
                  <a:pt x="525" y="235"/>
                </a:lnTo>
                <a:lnTo>
                  <a:pt x="519" y="239"/>
                </a:lnTo>
                <a:lnTo>
                  <a:pt x="512" y="243"/>
                </a:lnTo>
                <a:lnTo>
                  <a:pt x="508" y="243"/>
                </a:lnTo>
                <a:lnTo>
                  <a:pt x="502" y="241"/>
                </a:lnTo>
                <a:lnTo>
                  <a:pt x="497" y="239"/>
                </a:lnTo>
                <a:lnTo>
                  <a:pt x="488" y="232"/>
                </a:lnTo>
                <a:lnTo>
                  <a:pt x="478" y="224"/>
                </a:lnTo>
                <a:lnTo>
                  <a:pt x="471" y="217"/>
                </a:lnTo>
                <a:lnTo>
                  <a:pt x="467" y="215"/>
                </a:lnTo>
                <a:lnTo>
                  <a:pt x="463" y="215"/>
                </a:lnTo>
                <a:lnTo>
                  <a:pt x="460" y="217"/>
                </a:lnTo>
                <a:lnTo>
                  <a:pt x="458" y="219"/>
                </a:lnTo>
                <a:lnTo>
                  <a:pt x="458" y="219"/>
                </a:lnTo>
                <a:lnTo>
                  <a:pt x="463" y="222"/>
                </a:lnTo>
                <a:lnTo>
                  <a:pt x="471" y="226"/>
                </a:lnTo>
                <a:lnTo>
                  <a:pt x="471" y="226"/>
                </a:lnTo>
                <a:lnTo>
                  <a:pt x="478" y="239"/>
                </a:lnTo>
                <a:lnTo>
                  <a:pt x="484" y="246"/>
                </a:lnTo>
                <a:lnTo>
                  <a:pt x="491" y="250"/>
                </a:lnTo>
                <a:lnTo>
                  <a:pt x="499" y="252"/>
                </a:lnTo>
                <a:lnTo>
                  <a:pt x="510" y="252"/>
                </a:lnTo>
                <a:lnTo>
                  <a:pt x="515" y="254"/>
                </a:lnTo>
                <a:lnTo>
                  <a:pt x="519" y="258"/>
                </a:lnTo>
                <a:lnTo>
                  <a:pt x="519" y="258"/>
                </a:lnTo>
                <a:lnTo>
                  <a:pt x="521" y="259"/>
                </a:lnTo>
                <a:lnTo>
                  <a:pt x="519" y="263"/>
                </a:lnTo>
                <a:lnTo>
                  <a:pt x="513" y="269"/>
                </a:lnTo>
                <a:lnTo>
                  <a:pt x="508" y="274"/>
                </a:lnTo>
                <a:lnTo>
                  <a:pt x="506" y="276"/>
                </a:lnTo>
                <a:lnTo>
                  <a:pt x="506" y="278"/>
                </a:lnTo>
                <a:lnTo>
                  <a:pt x="506" y="278"/>
                </a:lnTo>
                <a:lnTo>
                  <a:pt x="510" y="278"/>
                </a:lnTo>
                <a:lnTo>
                  <a:pt x="513" y="276"/>
                </a:lnTo>
                <a:lnTo>
                  <a:pt x="525" y="269"/>
                </a:lnTo>
                <a:lnTo>
                  <a:pt x="528" y="267"/>
                </a:lnTo>
                <a:lnTo>
                  <a:pt x="534" y="267"/>
                </a:lnTo>
                <a:lnTo>
                  <a:pt x="536" y="270"/>
                </a:lnTo>
                <a:lnTo>
                  <a:pt x="538" y="280"/>
                </a:lnTo>
                <a:lnTo>
                  <a:pt x="538" y="280"/>
                </a:lnTo>
                <a:lnTo>
                  <a:pt x="536" y="287"/>
                </a:lnTo>
                <a:lnTo>
                  <a:pt x="530" y="293"/>
                </a:lnTo>
                <a:lnTo>
                  <a:pt x="517" y="304"/>
                </a:lnTo>
                <a:lnTo>
                  <a:pt x="517" y="304"/>
                </a:lnTo>
                <a:lnTo>
                  <a:pt x="508" y="311"/>
                </a:lnTo>
                <a:lnTo>
                  <a:pt x="508" y="311"/>
                </a:lnTo>
                <a:lnTo>
                  <a:pt x="510" y="311"/>
                </a:lnTo>
                <a:lnTo>
                  <a:pt x="513" y="311"/>
                </a:lnTo>
                <a:lnTo>
                  <a:pt x="523" y="306"/>
                </a:lnTo>
                <a:lnTo>
                  <a:pt x="532" y="300"/>
                </a:lnTo>
                <a:lnTo>
                  <a:pt x="536" y="300"/>
                </a:lnTo>
                <a:lnTo>
                  <a:pt x="539" y="300"/>
                </a:lnTo>
                <a:lnTo>
                  <a:pt x="539" y="300"/>
                </a:lnTo>
                <a:lnTo>
                  <a:pt x="547" y="306"/>
                </a:lnTo>
                <a:lnTo>
                  <a:pt x="551" y="313"/>
                </a:lnTo>
                <a:lnTo>
                  <a:pt x="554" y="322"/>
                </a:lnTo>
                <a:lnTo>
                  <a:pt x="556" y="334"/>
                </a:lnTo>
                <a:lnTo>
                  <a:pt x="558" y="354"/>
                </a:lnTo>
                <a:lnTo>
                  <a:pt x="560" y="363"/>
                </a:lnTo>
                <a:lnTo>
                  <a:pt x="565" y="372"/>
                </a:lnTo>
                <a:lnTo>
                  <a:pt x="565" y="372"/>
                </a:lnTo>
                <a:lnTo>
                  <a:pt x="567" y="376"/>
                </a:lnTo>
                <a:lnTo>
                  <a:pt x="569" y="382"/>
                </a:lnTo>
                <a:lnTo>
                  <a:pt x="569" y="385"/>
                </a:lnTo>
                <a:lnTo>
                  <a:pt x="569" y="389"/>
                </a:lnTo>
                <a:lnTo>
                  <a:pt x="569" y="389"/>
                </a:lnTo>
                <a:lnTo>
                  <a:pt x="571" y="389"/>
                </a:lnTo>
                <a:lnTo>
                  <a:pt x="573" y="389"/>
                </a:lnTo>
                <a:lnTo>
                  <a:pt x="575" y="382"/>
                </a:lnTo>
                <a:lnTo>
                  <a:pt x="573" y="372"/>
                </a:lnTo>
                <a:lnTo>
                  <a:pt x="573" y="367"/>
                </a:lnTo>
                <a:lnTo>
                  <a:pt x="573" y="367"/>
                </a:lnTo>
                <a:lnTo>
                  <a:pt x="569" y="363"/>
                </a:lnTo>
                <a:lnTo>
                  <a:pt x="569" y="359"/>
                </a:lnTo>
                <a:lnTo>
                  <a:pt x="571" y="354"/>
                </a:lnTo>
                <a:lnTo>
                  <a:pt x="573" y="346"/>
                </a:lnTo>
                <a:lnTo>
                  <a:pt x="575" y="339"/>
                </a:lnTo>
                <a:lnTo>
                  <a:pt x="575" y="339"/>
                </a:lnTo>
                <a:lnTo>
                  <a:pt x="571" y="322"/>
                </a:lnTo>
                <a:lnTo>
                  <a:pt x="569" y="313"/>
                </a:lnTo>
                <a:lnTo>
                  <a:pt x="569" y="309"/>
                </a:lnTo>
                <a:lnTo>
                  <a:pt x="571" y="308"/>
                </a:lnTo>
                <a:lnTo>
                  <a:pt x="571" y="308"/>
                </a:lnTo>
                <a:lnTo>
                  <a:pt x="575" y="308"/>
                </a:lnTo>
                <a:lnTo>
                  <a:pt x="578" y="311"/>
                </a:lnTo>
                <a:lnTo>
                  <a:pt x="586" y="324"/>
                </a:lnTo>
                <a:lnTo>
                  <a:pt x="595" y="337"/>
                </a:lnTo>
                <a:lnTo>
                  <a:pt x="599" y="339"/>
                </a:lnTo>
                <a:lnTo>
                  <a:pt x="601" y="339"/>
                </a:lnTo>
                <a:lnTo>
                  <a:pt x="601" y="339"/>
                </a:lnTo>
                <a:lnTo>
                  <a:pt x="601" y="339"/>
                </a:lnTo>
                <a:lnTo>
                  <a:pt x="601" y="335"/>
                </a:lnTo>
                <a:lnTo>
                  <a:pt x="601" y="335"/>
                </a:lnTo>
                <a:lnTo>
                  <a:pt x="597" y="330"/>
                </a:lnTo>
                <a:lnTo>
                  <a:pt x="595" y="322"/>
                </a:lnTo>
                <a:lnTo>
                  <a:pt x="591" y="308"/>
                </a:lnTo>
                <a:lnTo>
                  <a:pt x="593" y="291"/>
                </a:lnTo>
                <a:lnTo>
                  <a:pt x="597" y="274"/>
                </a:lnTo>
                <a:lnTo>
                  <a:pt x="604" y="261"/>
                </a:lnTo>
                <a:lnTo>
                  <a:pt x="614" y="248"/>
                </a:lnTo>
                <a:lnTo>
                  <a:pt x="619" y="245"/>
                </a:lnTo>
                <a:lnTo>
                  <a:pt x="627" y="243"/>
                </a:lnTo>
                <a:lnTo>
                  <a:pt x="632" y="241"/>
                </a:lnTo>
                <a:lnTo>
                  <a:pt x="640" y="241"/>
                </a:lnTo>
                <a:lnTo>
                  <a:pt x="640" y="241"/>
                </a:lnTo>
                <a:lnTo>
                  <a:pt x="645" y="243"/>
                </a:lnTo>
                <a:lnTo>
                  <a:pt x="647" y="246"/>
                </a:lnTo>
                <a:lnTo>
                  <a:pt x="647" y="254"/>
                </a:lnTo>
                <a:lnTo>
                  <a:pt x="647" y="261"/>
                </a:lnTo>
                <a:lnTo>
                  <a:pt x="643" y="274"/>
                </a:lnTo>
                <a:lnTo>
                  <a:pt x="643" y="280"/>
                </a:lnTo>
                <a:lnTo>
                  <a:pt x="645" y="283"/>
                </a:lnTo>
                <a:lnTo>
                  <a:pt x="645" y="283"/>
                </a:lnTo>
                <a:lnTo>
                  <a:pt x="649" y="282"/>
                </a:lnTo>
                <a:lnTo>
                  <a:pt x="653" y="278"/>
                </a:lnTo>
                <a:lnTo>
                  <a:pt x="656" y="276"/>
                </a:lnTo>
                <a:lnTo>
                  <a:pt x="656" y="276"/>
                </a:lnTo>
                <a:lnTo>
                  <a:pt x="656" y="276"/>
                </a:lnTo>
                <a:lnTo>
                  <a:pt x="656" y="276"/>
                </a:lnTo>
                <a:lnTo>
                  <a:pt x="658" y="283"/>
                </a:lnTo>
                <a:lnTo>
                  <a:pt x="662" y="293"/>
                </a:lnTo>
                <a:lnTo>
                  <a:pt x="665" y="296"/>
                </a:lnTo>
                <a:lnTo>
                  <a:pt x="669" y="298"/>
                </a:lnTo>
                <a:lnTo>
                  <a:pt x="673" y="298"/>
                </a:lnTo>
                <a:lnTo>
                  <a:pt x="677" y="296"/>
                </a:lnTo>
                <a:lnTo>
                  <a:pt x="677" y="296"/>
                </a:lnTo>
                <a:lnTo>
                  <a:pt x="680" y="291"/>
                </a:lnTo>
                <a:lnTo>
                  <a:pt x="680" y="287"/>
                </a:lnTo>
                <a:lnTo>
                  <a:pt x="677" y="283"/>
                </a:lnTo>
                <a:lnTo>
                  <a:pt x="673" y="280"/>
                </a:lnTo>
                <a:lnTo>
                  <a:pt x="669" y="278"/>
                </a:lnTo>
                <a:lnTo>
                  <a:pt x="669" y="274"/>
                </a:lnTo>
                <a:lnTo>
                  <a:pt x="673" y="270"/>
                </a:lnTo>
                <a:lnTo>
                  <a:pt x="682" y="269"/>
                </a:lnTo>
                <a:lnTo>
                  <a:pt x="682" y="269"/>
                </a:lnTo>
                <a:lnTo>
                  <a:pt x="684" y="269"/>
                </a:lnTo>
                <a:lnTo>
                  <a:pt x="684" y="270"/>
                </a:lnTo>
                <a:lnTo>
                  <a:pt x="686" y="276"/>
                </a:lnTo>
                <a:lnTo>
                  <a:pt x="688" y="283"/>
                </a:lnTo>
                <a:lnTo>
                  <a:pt x="690" y="283"/>
                </a:lnTo>
                <a:lnTo>
                  <a:pt x="690" y="283"/>
                </a:lnTo>
                <a:lnTo>
                  <a:pt x="690" y="283"/>
                </a:lnTo>
                <a:lnTo>
                  <a:pt x="697" y="272"/>
                </a:lnTo>
                <a:lnTo>
                  <a:pt x="701" y="261"/>
                </a:lnTo>
                <a:lnTo>
                  <a:pt x="704" y="250"/>
                </a:lnTo>
                <a:lnTo>
                  <a:pt x="704" y="241"/>
                </a:lnTo>
                <a:lnTo>
                  <a:pt x="704" y="232"/>
                </a:lnTo>
                <a:lnTo>
                  <a:pt x="704" y="222"/>
                </a:lnTo>
                <a:lnTo>
                  <a:pt x="699" y="206"/>
                </a:lnTo>
                <a:lnTo>
                  <a:pt x="691" y="187"/>
                </a:lnTo>
                <a:lnTo>
                  <a:pt x="684" y="170"/>
                </a:lnTo>
                <a:lnTo>
                  <a:pt x="680" y="150"/>
                </a:lnTo>
                <a:lnTo>
                  <a:pt x="680" y="141"/>
                </a:lnTo>
                <a:lnTo>
                  <a:pt x="680" y="130"/>
                </a:lnTo>
                <a:lnTo>
                  <a:pt x="680" y="130"/>
                </a:lnTo>
                <a:lnTo>
                  <a:pt x="684" y="126"/>
                </a:lnTo>
                <a:lnTo>
                  <a:pt x="688" y="124"/>
                </a:lnTo>
                <a:lnTo>
                  <a:pt x="704" y="122"/>
                </a:lnTo>
                <a:lnTo>
                  <a:pt x="721" y="120"/>
                </a:lnTo>
                <a:lnTo>
                  <a:pt x="734" y="117"/>
                </a:lnTo>
                <a:lnTo>
                  <a:pt x="734" y="117"/>
                </a:lnTo>
                <a:lnTo>
                  <a:pt x="738" y="118"/>
                </a:lnTo>
                <a:lnTo>
                  <a:pt x="741" y="122"/>
                </a:lnTo>
                <a:lnTo>
                  <a:pt x="751" y="143"/>
                </a:lnTo>
                <a:lnTo>
                  <a:pt x="751" y="143"/>
                </a:lnTo>
                <a:lnTo>
                  <a:pt x="751" y="143"/>
                </a:lnTo>
                <a:lnTo>
                  <a:pt x="758" y="156"/>
                </a:lnTo>
                <a:lnTo>
                  <a:pt x="764" y="165"/>
                </a:lnTo>
                <a:lnTo>
                  <a:pt x="771" y="172"/>
                </a:lnTo>
                <a:lnTo>
                  <a:pt x="779" y="178"/>
                </a:lnTo>
                <a:lnTo>
                  <a:pt x="792" y="183"/>
                </a:lnTo>
                <a:lnTo>
                  <a:pt x="797" y="187"/>
                </a:lnTo>
                <a:lnTo>
                  <a:pt x="801" y="193"/>
                </a:lnTo>
                <a:lnTo>
                  <a:pt x="801" y="193"/>
                </a:lnTo>
                <a:lnTo>
                  <a:pt x="805" y="200"/>
                </a:lnTo>
                <a:lnTo>
                  <a:pt x="806" y="207"/>
                </a:lnTo>
                <a:lnTo>
                  <a:pt x="806" y="217"/>
                </a:lnTo>
                <a:lnTo>
                  <a:pt x="810" y="224"/>
                </a:lnTo>
                <a:lnTo>
                  <a:pt x="810" y="224"/>
                </a:lnTo>
                <a:lnTo>
                  <a:pt x="812" y="224"/>
                </a:lnTo>
                <a:lnTo>
                  <a:pt x="812" y="224"/>
                </a:lnTo>
                <a:lnTo>
                  <a:pt x="816" y="226"/>
                </a:lnTo>
                <a:lnTo>
                  <a:pt x="819" y="226"/>
                </a:lnTo>
                <a:lnTo>
                  <a:pt x="821" y="226"/>
                </a:lnTo>
                <a:lnTo>
                  <a:pt x="823" y="224"/>
                </a:lnTo>
                <a:lnTo>
                  <a:pt x="825" y="220"/>
                </a:lnTo>
                <a:lnTo>
                  <a:pt x="827" y="220"/>
                </a:lnTo>
                <a:lnTo>
                  <a:pt x="829" y="220"/>
                </a:lnTo>
                <a:lnTo>
                  <a:pt x="829" y="220"/>
                </a:lnTo>
                <a:lnTo>
                  <a:pt x="834" y="220"/>
                </a:lnTo>
                <a:lnTo>
                  <a:pt x="836" y="222"/>
                </a:lnTo>
                <a:lnTo>
                  <a:pt x="840" y="226"/>
                </a:lnTo>
                <a:lnTo>
                  <a:pt x="842" y="230"/>
                </a:lnTo>
                <a:lnTo>
                  <a:pt x="845" y="228"/>
                </a:lnTo>
                <a:lnTo>
                  <a:pt x="845" y="228"/>
                </a:lnTo>
                <a:lnTo>
                  <a:pt x="851" y="226"/>
                </a:lnTo>
                <a:lnTo>
                  <a:pt x="853" y="222"/>
                </a:lnTo>
                <a:lnTo>
                  <a:pt x="855" y="217"/>
                </a:lnTo>
                <a:lnTo>
                  <a:pt x="855" y="213"/>
                </a:lnTo>
                <a:lnTo>
                  <a:pt x="853" y="204"/>
                </a:lnTo>
                <a:lnTo>
                  <a:pt x="849" y="194"/>
                </a:lnTo>
                <a:lnTo>
                  <a:pt x="838" y="176"/>
                </a:lnTo>
                <a:lnTo>
                  <a:pt x="832" y="169"/>
                </a:lnTo>
                <a:lnTo>
                  <a:pt x="832" y="165"/>
                </a:lnTo>
                <a:lnTo>
                  <a:pt x="832" y="165"/>
                </a:lnTo>
                <a:lnTo>
                  <a:pt x="832" y="163"/>
                </a:lnTo>
                <a:lnTo>
                  <a:pt x="834" y="161"/>
                </a:lnTo>
                <a:lnTo>
                  <a:pt x="840" y="157"/>
                </a:lnTo>
                <a:lnTo>
                  <a:pt x="845" y="156"/>
                </a:lnTo>
                <a:lnTo>
                  <a:pt x="847" y="154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44"/>
                </a:lnTo>
                <a:lnTo>
                  <a:pt x="847" y="137"/>
                </a:lnTo>
                <a:lnTo>
                  <a:pt x="851" y="133"/>
                </a:lnTo>
                <a:lnTo>
                  <a:pt x="853" y="130"/>
                </a:lnTo>
                <a:lnTo>
                  <a:pt x="858" y="128"/>
                </a:lnTo>
                <a:lnTo>
                  <a:pt x="862" y="126"/>
                </a:lnTo>
                <a:lnTo>
                  <a:pt x="873" y="126"/>
                </a:lnTo>
                <a:lnTo>
                  <a:pt x="884" y="128"/>
                </a:lnTo>
                <a:lnTo>
                  <a:pt x="895" y="131"/>
                </a:lnTo>
                <a:lnTo>
                  <a:pt x="903" y="133"/>
                </a:lnTo>
                <a:lnTo>
                  <a:pt x="906" y="133"/>
                </a:lnTo>
                <a:lnTo>
                  <a:pt x="906" y="133"/>
                </a:lnTo>
                <a:lnTo>
                  <a:pt x="908" y="131"/>
                </a:lnTo>
                <a:lnTo>
                  <a:pt x="910" y="130"/>
                </a:lnTo>
                <a:lnTo>
                  <a:pt x="906" y="122"/>
                </a:lnTo>
                <a:lnTo>
                  <a:pt x="903" y="117"/>
                </a:lnTo>
                <a:lnTo>
                  <a:pt x="903" y="113"/>
                </a:lnTo>
                <a:lnTo>
                  <a:pt x="903" y="109"/>
                </a:lnTo>
                <a:lnTo>
                  <a:pt x="903" y="109"/>
                </a:lnTo>
                <a:lnTo>
                  <a:pt x="905" y="107"/>
                </a:lnTo>
                <a:lnTo>
                  <a:pt x="908" y="104"/>
                </a:lnTo>
                <a:lnTo>
                  <a:pt x="918" y="102"/>
                </a:lnTo>
                <a:lnTo>
                  <a:pt x="918" y="102"/>
                </a:lnTo>
                <a:lnTo>
                  <a:pt x="918" y="102"/>
                </a:lnTo>
                <a:lnTo>
                  <a:pt x="919" y="100"/>
                </a:lnTo>
                <a:lnTo>
                  <a:pt x="921" y="102"/>
                </a:lnTo>
                <a:lnTo>
                  <a:pt x="925" y="105"/>
                </a:lnTo>
                <a:lnTo>
                  <a:pt x="929" y="111"/>
                </a:lnTo>
                <a:lnTo>
                  <a:pt x="931" y="111"/>
                </a:lnTo>
                <a:lnTo>
                  <a:pt x="932" y="111"/>
                </a:lnTo>
                <a:lnTo>
                  <a:pt x="932" y="111"/>
                </a:lnTo>
                <a:lnTo>
                  <a:pt x="936" y="109"/>
                </a:lnTo>
                <a:lnTo>
                  <a:pt x="938" y="105"/>
                </a:lnTo>
                <a:lnTo>
                  <a:pt x="938" y="100"/>
                </a:lnTo>
                <a:lnTo>
                  <a:pt x="940" y="98"/>
                </a:lnTo>
                <a:lnTo>
                  <a:pt x="940" y="96"/>
                </a:lnTo>
                <a:lnTo>
                  <a:pt x="944" y="96"/>
                </a:lnTo>
                <a:lnTo>
                  <a:pt x="949" y="98"/>
                </a:lnTo>
                <a:lnTo>
                  <a:pt x="949" y="98"/>
                </a:lnTo>
                <a:lnTo>
                  <a:pt x="953" y="100"/>
                </a:lnTo>
                <a:lnTo>
                  <a:pt x="953" y="102"/>
                </a:lnTo>
                <a:lnTo>
                  <a:pt x="953" y="102"/>
                </a:lnTo>
                <a:lnTo>
                  <a:pt x="949" y="107"/>
                </a:lnTo>
                <a:lnTo>
                  <a:pt x="949" y="111"/>
                </a:lnTo>
                <a:lnTo>
                  <a:pt x="949" y="113"/>
                </a:lnTo>
                <a:lnTo>
                  <a:pt x="951" y="113"/>
                </a:lnTo>
                <a:lnTo>
                  <a:pt x="957" y="109"/>
                </a:lnTo>
                <a:lnTo>
                  <a:pt x="957" y="109"/>
                </a:lnTo>
                <a:lnTo>
                  <a:pt x="960" y="105"/>
                </a:lnTo>
                <a:lnTo>
                  <a:pt x="964" y="105"/>
                </a:lnTo>
                <a:lnTo>
                  <a:pt x="964" y="105"/>
                </a:lnTo>
                <a:lnTo>
                  <a:pt x="971" y="105"/>
                </a:lnTo>
                <a:lnTo>
                  <a:pt x="975" y="107"/>
                </a:lnTo>
                <a:lnTo>
                  <a:pt x="977" y="111"/>
                </a:lnTo>
                <a:lnTo>
                  <a:pt x="977" y="117"/>
                </a:lnTo>
                <a:lnTo>
                  <a:pt x="973" y="124"/>
                </a:lnTo>
                <a:lnTo>
                  <a:pt x="973" y="128"/>
                </a:lnTo>
                <a:lnTo>
                  <a:pt x="973" y="128"/>
                </a:lnTo>
                <a:lnTo>
                  <a:pt x="975" y="131"/>
                </a:lnTo>
                <a:lnTo>
                  <a:pt x="981" y="131"/>
                </a:lnTo>
                <a:lnTo>
                  <a:pt x="988" y="133"/>
                </a:lnTo>
                <a:lnTo>
                  <a:pt x="992" y="135"/>
                </a:lnTo>
                <a:lnTo>
                  <a:pt x="994" y="139"/>
                </a:lnTo>
                <a:lnTo>
                  <a:pt x="994" y="146"/>
                </a:lnTo>
                <a:lnTo>
                  <a:pt x="994" y="156"/>
                </a:lnTo>
                <a:lnTo>
                  <a:pt x="994" y="156"/>
                </a:lnTo>
                <a:lnTo>
                  <a:pt x="992" y="159"/>
                </a:lnTo>
                <a:lnTo>
                  <a:pt x="994" y="161"/>
                </a:lnTo>
                <a:lnTo>
                  <a:pt x="994" y="161"/>
                </a:lnTo>
                <a:lnTo>
                  <a:pt x="1001" y="167"/>
                </a:lnTo>
                <a:lnTo>
                  <a:pt x="1007" y="170"/>
                </a:lnTo>
                <a:lnTo>
                  <a:pt x="1021" y="176"/>
                </a:lnTo>
                <a:lnTo>
                  <a:pt x="1034" y="181"/>
                </a:lnTo>
                <a:lnTo>
                  <a:pt x="1042" y="185"/>
                </a:lnTo>
                <a:lnTo>
                  <a:pt x="1047" y="193"/>
                </a:lnTo>
                <a:lnTo>
                  <a:pt x="1047" y="193"/>
                </a:lnTo>
                <a:lnTo>
                  <a:pt x="1051" y="198"/>
                </a:lnTo>
                <a:lnTo>
                  <a:pt x="1053" y="206"/>
                </a:lnTo>
                <a:lnTo>
                  <a:pt x="1055" y="226"/>
                </a:lnTo>
                <a:lnTo>
                  <a:pt x="1057" y="235"/>
                </a:lnTo>
                <a:lnTo>
                  <a:pt x="1060" y="243"/>
                </a:lnTo>
                <a:lnTo>
                  <a:pt x="1064" y="250"/>
                </a:lnTo>
                <a:lnTo>
                  <a:pt x="1070" y="254"/>
                </a:lnTo>
                <a:lnTo>
                  <a:pt x="1070" y="254"/>
                </a:lnTo>
                <a:lnTo>
                  <a:pt x="1071" y="254"/>
                </a:lnTo>
                <a:lnTo>
                  <a:pt x="1073" y="252"/>
                </a:lnTo>
                <a:lnTo>
                  <a:pt x="1073" y="246"/>
                </a:lnTo>
                <a:lnTo>
                  <a:pt x="1070" y="235"/>
                </a:lnTo>
                <a:lnTo>
                  <a:pt x="1070" y="235"/>
                </a:lnTo>
                <a:lnTo>
                  <a:pt x="1066" y="228"/>
                </a:lnTo>
                <a:lnTo>
                  <a:pt x="1064" y="219"/>
                </a:lnTo>
                <a:lnTo>
                  <a:pt x="1062" y="202"/>
                </a:lnTo>
                <a:lnTo>
                  <a:pt x="1062" y="194"/>
                </a:lnTo>
                <a:lnTo>
                  <a:pt x="1060" y="185"/>
                </a:lnTo>
                <a:lnTo>
                  <a:pt x="1055" y="176"/>
                </a:lnTo>
                <a:lnTo>
                  <a:pt x="1045" y="163"/>
                </a:lnTo>
                <a:lnTo>
                  <a:pt x="1045" y="163"/>
                </a:lnTo>
                <a:lnTo>
                  <a:pt x="1040" y="157"/>
                </a:lnTo>
                <a:lnTo>
                  <a:pt x="1034" y="152"/>
                </a:lnTo>
                <a:lnTo>
                  <a:pt x="1034" y="152"/>
                </a:lnTo>
                <a:lnTo>
                  <a:pt x="1034" y="152"/>
                </a:lnTo>
                <a:lnTo>
                  <a:pt x="1029" y="143"/>
                </a:lnTo>
                <a:lnTo>
                  <a:pt x="1025" y="135"/>
                </a:lnTo>
                <a:lnTo>
                  <a:pt x="1023" y="128"/>
                </a:lnTo>
                <a:lnTo>
                  <a:pt x="1023" y="122"/>
                </a:lnTo>
                <a:lnTo>
                  <a:pt x="1027" y="117"/>
                </a:lnTo>
                <a:lnTo>
                  <a:pt x="1029" y="113"/>
                </a:lnTo>
                <a:lnTo>
                  <a:pt x="1034" y="109"/>
                </a:lnTo>
                <a:lnTo>
                  <a:pt x="1040" y="107"/>
                </a:lnTo>
                <a:lnTo>
                  <a:pt x="1053" y="105"/>
                </a:lnTo>
                <a:lnTo>
                  <a:pt x="1070" y="105"/>
                </a:lnTo>
                <a:lnTo>
                  <a:pt x="1084" y="107"/>
                </a:lnTo>
                <a:lnTo>
                  <a:pt x="1096" y="111"/>
                </a:lnTo>
                <a:lnTo>
                  <a:pt x="1096" y="111"/>
                </a:lnTo>
                <a:lnTo>
                  <a:pt x="1103" y="115"/>
                </a:lnTo>
                <a:lnTo>
                  <a:pt x="1109" y="118"/>
                </a:lnTo>
                <a:lnTo>
                  <a:pt x="1121" y="131"/>
                </a:lnTo>
                <a:lnTo>
                  <a:pt x="1142" y="156"/>
                </a:lnTo>
                <a:lnTo>
                  <a:pt x="1142" y="156"/>
                </a:lnTo>
                <a:lnTo>
                  <a:pt x="1151" y="169"/>
                </a:lnTo>
                <a:lnTo>
                  <a:pt x="1157" y="178"/>
                </a:lnTo>
                <a:lnTo>
                  <a:pt x="1157" y="178"/>
                </a:lnTo>
                <a:lnTo>
                  <a:pt x="1159" y="167"/>
                </a:lnTo>
                <a:lnTo>
                  <a:pt x="1157" y="161"/>
                </a:lnTo>
                <a:lnTo>
                  <a:pt x="1157" y="159"/>
                </a:lnTo>
                <a:lnTo>
                  <a:pt x="1155" y="157"/>
                </a:lnTo>
                <a:lnTo>
                  <a:pt x="1155" y="157"/>
                </a:lnTo>
                <a:lnTo>
                  <a:pt x="1151" y="157"/>
                </a:lnTo>
                <a:lnTo>
                  <a:pt x="1149" y="156"/>
                </a:lnTo>
                <a:lnTo>
                  <a:pt x="1149" y="154"/>
                </a:lnTo>
                <a:lnTo>
                  <a:pt x="1149" y="154"/>
                </a:lnTo>
                <a:lnTo>
                  <a:pt x="1151" y="152"/>
                </a:lnTo>
                <a:lnTo>
                  <a:pt x="1155" y="152"/>
                </a:lnTo>
                <a:lnTo>
                  <a:pt x="1155" y="152"/>
                </a:lnTo>
                <a:lnTo>
                  <a:pt x="1162" y="152"/>
                </a:lnTo>
                <a:lnTo>
                  <a:pt x="1168" y="152"/>
                </a:lnTo>
                <a:lnTo>
                  <a:pt x="1173" y="156"/>
                </a:lnTo>
                <a:lnTo>
                  <a:pt x="1177" y="161"/>
                </a:lnTo>
                <a:lnTo>
                  <a:pt x="1177" y="161"/>
                </a:lnTo>
                <a:lnTo>
                  <a:pt x="1177" y="163"/>
                </a:lnTo>
                <a:lnTo>
                  <a:pt x="1177" y="165"/>
                </a:lnTo>
                <a:lnTo>
                  <a:pt x="1179" y="165"/>
                </a:lnTo>
                <a:lnTo>
                  <a:pt x="1179" y="165"/>
                </a:lnTo>
                <a:lnTo>
                  <a:pt x="1185" y="157"/>
                </a:lnTo>
                <a:lnTo>
                  <a:pt x="1188" y="146"/>
                </a:lnTo>
                <a:lnTo>
                  <a:pt x="1196" y="122"/>
                </a:lnTo>
                <a:lnTo>
                  <a:pt x="1199" y="111"/>
                </a:lnTo>
                <a:lnTo>
                  <a:pt x="1205" y="102"/>
                </a:lnTo>
                <a:lnTo>
                  <a:pt x="1212" y="94"/>
                </a:lnTo>
                <a:lnTo>
                  <a:pt x="1218" y="93"/>
                </a:lnTo>
                <a:lnTo>
                  <a:pt x="1223" y="93"/>
                </a:lnTo>
                <a:lnTo>
                  <a:pt x="1223" y="93"/>
                </a:lnTo>
                <a:lnTo>
                  <a:pt x="1236" y="93"/>
                </a:lnTo>
                <a:lnTo>
                  <a:pt x="1242" y="93"/>
                </a:lnTo>
                <a:lnTo>
                  <a:pt x="1246" y="96"/>
                </a:lnTo>
                <a:lnTo>
                  <a:pt x="1249" y="100"/>
                </a:lnTo>
                <a:lnTo>
                  <a:pt x="1251" y="107"/>
                </a:lnTo>
                <a:lnTo>
                  <a:pt x="1255" y="113"/>
                </a:lnTo>
                <a:lnTo>
                  <a:pt x="1257" y="115"/>
                </a:lnTo>
                <a:lnTo>
                  <a:pt x="1261" y="117"/>
                </a:lnTo>
                <a:lnTo>
                  <a:pt x="1274" y="117"/>
                </a:lnTo>
                <a:lnTo>
                  <a:pt x="1292" y="115"/>
                </a:lnTo>
                <a:lnTo>
                  <a:pt x="1292" y="115"/>
                </a:lnTo>
                <a:lnTo>
                  <a:pt x="1296" y="117"/>
                </a:lnTo>
                <a:lnTo>
                  <a:pt x="1303" y="122"/>
                </a:lnTo>
                <a:lnTo>
                  <a:pt x="1309" y="126"/>
                </a:lnTo>
                <a:lnTo>
                  <a:pt x="1312" y="128"/>
                </a:lnTo>
                <a:lnTo>
                  <a:pt x="1314" y="126"/>
                </a:lnTo>
                <a:lnTo>
                  <a:pt x="1314" y="126"/>
                </a:lnTo>
                <a:lnTo>
                  <a:pt x="1312" y="122"/>
                </a:lnTo>
                <a:lnTo>
                  <a:pt x="1311" y="118"/>
                </a:lnTo>
                <a:lnTo>
                  <a:pt x="1311" y="118"/>
                </a:lnTo>
                <a:lnTo>
                  <a:pt x="1305" y="113"/>
                </a:lnTo>
                <a:lnTo>
                  <a:pt x="1303" y="111"/>
                </a:lnTo>
                <a:lnTo>
                  <a:pt x="1305" y="109"/>
                </a:lnTo>
                <a:lnTo>
                  <a:pt x="1309" y="104"/>
                </a:lnTo>
                <a:lnTo>
                  <a:pt x="1318" y="100"/>
                </a:lnTo>
                <a:lnTo>
                  <a:pt x="1318" y="100"/>
                </a:lnTo>
                <a:lnTo>
                  <a:pt x="1322" y="98"/>
                </a:lnTo>
                <a:lnTo>
                  <a:pt x="1327" y="100"/>
                </a:lnTo>
                <a:lnTo>
                  <a:pt x="1331" y="104"/>
                </a:lnTo>
                <a:lnTo>
                  <a:pt x="1335" y="109"/>
                </a:lnTo>
                <a:lnTo>
                  <a:pt x="1335" y="109"/>
                </a:lnTo>
                <a:lnTo>
                  <a:pt x="1337" y="109"/>
                </a:lnTo>
                <a:lnTo>
                  <a:pt x="1335" y="104"/>
                </a:lnTo>
                <a:lnTo>
                  <a:pt x="1335" y="96"/>
                </a:lnTo>
                <a:lnTo>
                  <a:pt x="1337" y="91"/>
                </a:lnTo>
                <a:lnTo>
                  <a:pt x="1340" y="87"/>
                </a:lnTo>
                <a:lnTo>
                  <a:pt x="1340" y="87"/>
                </a:lnTo>
                <a:lnTo>
                  <a:pt x="1342" y="81"/>
                </a:lnTo>
                <a:lnTo>
                  <a:pt x="1344" y="74"/>
                </a:lnTo>
                <a:lnTo>
                  <a:pt x="1344" y="74"/>
                </a:lnTo>
                <a:lnTo>
                  <a:pt x="1342" y="67"/>
                </a:lnTo>
                <a:lnTo>
                  <a:pt x="1338" y="59"/>
                </a:lnTo>
                <a:lnTo>
                  <a:pt x="1329" y="44"/>
                </a:lnTo>
                <a:lnTo>
                  <a:pt x="1320" y="29"/>
                </a:lnTo>
                <a:lnTo>
                  <a:pt x="1316" y="22"/>
                </a:lnTo>
                <a:lnTo>
                  <a:pt x="1316" y="16"/>
                </a:lnTo>
                <a:lnTo>
                  <a:pt x="1316" y="16"/>
                </a:lnTo>
                <a:lnTo>
                  <a:pt x="1320" y="11"/>
                </a:lnTo>
                <a:lnTo>
                  <a:pt x="1325" y="9"/>
                </a:lnTo>
                <a:lnTo>
                  <a:pt x="1333" y="7"/>
                </a:lnTo>
                <a:lnTo>
                  <a:pt x="1340" y="9"/>
                </a:lnTo>
                <a:lnTo>
                  <a:pt x="1355" y="15"/>
                </a:lnTo>
                <a:lnTo>
                  <a:pt x="1362" y="16"/>
                </a:lnTo>
                <a:lnTo>
                  <a:pt x="1362" y="16"/>
                </a:lnTo>
                <a:lnTo>
                  <a:pt x="1374" y="11"/>
                </a:lnTo>
                <a:lnTo>
                  <a:pt x="1392" y="4"/>
                </a:lnTo>
                <a:lnTo>
                  <a:pt x="1403" y="0"/>
                </a:lnTo>
                <a:lnTo>
                  <a:pt x="1414" y="0"/>
                </a:lnTo>
                <a:lnTo>
                  <a:pt x="1418" y="2"/>
                </a:lnTo>
                <a:lnTo>
                  <a:pt x="1424" y="5"/>
                </a:lnTo>
                <a:lnTo>
                  <a:pt x="1427" y="9"/>
                </a:lnTo>
                <a:lnTo>
                  <a:pt x="1429" y="15"/>
                </a:lnTo>
                <a:lnTo>
                  <a:pt x="1429" y="15"/>
                </a:lnTo>
                <a:lnTo>
                  <a:pt x="1431" y="18"/>
                </a:lnTo>
                <a:lnTo>
                  <a:pt x="1431" y="22"/>
                </a:lnTo>
                <a:lnTo>
                  <a:pt x="1429" y="29"/>
                </a:lnTo>
                <a:lnTo>
                  <a:pt x="1429" y="31"/>
                </a:lnTo>
                <a:lnTo>
                  <a:pt x="1431" y="35"/>
                </a:lnTo>
                <a:lnTo>
                  <a:pt x="1437" y="37"/>
                </a:lnTo>
                <a:lnTo>
                  <a:pt x="1448" y="37"/>
                </a:lnTo>
                <a:lnTo>
                  <a:pt x="1448" y="37"/>
                </a:lnTo>
                <a:lnTo>
                  <a:pt x="1459" y="39"/>
                </a:lnTo>
                <a:lnTo>
                  <a:pt x="1463" y="41"/>
                </a:lnTo>
                <a:lnTo>
                  <a:pt x="1463" y="44"/>
                </a:lnTo>
                <a:lnTo>
                  <a:pt x="1463" y="44"/>
                </a:lnTo>
                <a:lnTo>
                  <a:pt x="1461" y="59"/>
                </a:lnTo>
                <a:lnTo>
                  <a:pt x="1457" y="70"/>
                </a:lnTo>
                <a:lnTo>
                  <a:pt x="1455" y="76"/>
                </a:lnTo>
                <a:lnTo>
                  <a:pt x="1455" y="81"/>
                </a:lnTo>
                <a:lnTo>
                  <a:pt x="1459" y="85"/>
                </a:lnTo>
                <a:lnTo>
                  <a:pt x="1463" y="89"/>
                </a:lnTo>
                <a:lnTo>
                  <a:pt x="1463" y="89"/>
                </a:lnTo>
                <a:lnTo>
                  <a:pt x="1468" y="89"/>
                </a:lnTo>
                <a:lnTo>
                  <a:pt x="1474" y="89"/>
                </a:lnTo>
                <a:lnTo>
                  <a:pt x="1479" y="87"/>
                </a:lnTo>
                <a:lnTo>
                  <a:pt x="1483" y="87"/>
                </a:lnTo>
                <a:lnTo>
                  <a:pt x="1483" y="87"/>
                </a:lnTo>
                <a:lnTo>
                  <a:pt x="1489" y="91"/>
                </a:lnTo>
                <a:lnTo>
                  <a:pt x="1494" y="96"/>
                </a:lnTo>
                <a:lnTo>
                  <a:pt x="1502" y="102"/>
                </a:lnTo>
                <a:lnTo>
                  <a:pt x="1509" y="107"/>
                </a:lnTo>
                <a:lnTo>
                  <a:pt x="1509" y="107"/>
                </a:lnTo>
                <a:lnTo>
                  <a:pt x="1516" y="109"/>
                </a:lnTo>
                <a:lnTo>
                  <a:pt x="1520" y="109"/>
                </a:lnTo>
                <a:lnTo>
                  <a:pt x="1522" y="104"/>
                </a:lnTo>
                <a:lnTo>
                  <a:pt x="1520" y="98"/>
                </a:lnTo>
                <a:lnTo>
                  <a:pt x="1520" y="87"/>
                </a:lnTo>
                <a:lnTo>
                  <a:pt x="1520" y="81"/>
                </a:lnTo>
                <a:lnTo>
                  <a:pt x="1524" y="78"/>
                </a:lnTo>
                <a:lnTo>
                  <a:pt x="1524" y="78"/>
                </a:lnTo>
                <a:lnTo>
                  <a:pt x="1542" y="72"/>
                </a:lnTo>
                <a:lnTo>
                  <a:pt x="1555" y="68"/>
                </a:lnTo>
                <a:lnTo>
                  <a:pt x="1566" y="63"/>
                </a:lnTo>
                <a:lnTo>
                  <a:pt x="1581" y="50"/>
                </a:lnTo>
                <a:lnTo>
                  <a:pt x="1581" y="50"/>
                </a:lnTo>
                <a:lnTo>
                  <a:pt x="1585" y="48"/>
                </a:lnTo>
                <a:lnTo>
                  <a:pt x="1594" y="46"/>
                </a:lnTo>
                <a:lnTo>
                  <a:pt x="1616" y="44"/>
                </a:lnTo>
                <a:lnTo>
                  <a:pt x="1639" y="42"/>
                </a:lnTo>
                <a:lnTo>
                  <a:pt x="1646" y="42"/>
                </a:lnTo>
                <a:lnTo>
                  <a:pt x="1650" y="44"/>
                </a:lnTo>
                <a:lnTo>
                  <a:pt x="1650" y="44"/>
                </a:lnTo>
                <a:lnTo>
                  <a:pt x="1644" y="46"/>
                </a:lnTo>
                <a:lnTo>
                  <a:pt x="1631" y="52"/>
                </a:lnTo>
                <a:lnTo>
                  <a:pt x="1609" y="61"/>
                </a:lnTo>
                <a:lnTo>
                  <a:pt x="1609" y="61"/>
                </a:lnTo>
                <a:lnTo>
                  <a:pt x="1590" y="68"/>
                </a:lnTo>
                <a:lnTo>
                  <a:pt x="1579" y="72"/>
                </a:lnTo>
                <a:lnTo>
                  <a:pt x="1576" y="76"/>
                </a:lnTo>
                <a:lnTo>
                  <a:pt x="1576" y="76"/>
                </a:lnTo>
                <a:lnTo>
                  <a:pt x="1576" y="76"/>
                </a:lnTo>
                <a:lnTo>
                  <a:pt x="1579" y="80"/>
                </a:lnTo>
                <a:lnTo>
                  <a:pt x="1583" y="83"/>
                </a:lnTo>
                <a:lnTo>
                  <a:pt x="1587" y="87"/>
                </a:lnTo>
                <a:lnTo>
                  <a:pt x="1589" y="91"/>
                </a:lnTo>
                <a:lnTo>
                  <a:pt x="1589" y="91"/>
                </a:lnTo>
                <a:lnTo>
                  <a:pt x="1589" y="96"/>
                </a:lnTo>
                <a:lnTo>
                  <a:pt x="1585" y="100"/>
                </a:lnTo>
                <a:lnTo>
                  <a:pt x="1585" y="100"/>
                </a:lnTo>
                <a:lnTo>
                  <a:pt x="1578" y="105"/>
                </a:lnTo>
                <a:lnTo>
                  <a:pt x="1565" y="111"/>
                </a:lnTo>
                <a:lnTo>
                  <a:pt x="1552" y="117"/>
                </a:lnTo>
                <a:lnTo>
                  <a:pt x="1550" y="120"/>
                </a:lnTo>
                <a:lnTo>
                  <a:pt x="1548" y="122"/>
                </a:lnTo>
                <a:lnTo>
                  <a:pt x="1548" y="122"/>
                </a:lnTo>
                <a:lnTo>
                  <a:pt x="1553" y="128"/>
                </a:lnTo>
                <a:lnTo>
                  <a:pt x="1557" y="131"/>
                </a:lnTo>
                <a:lnTo>
                  <a:pt x="1570" y="137"/>
                </a:lnTo>
                <a:lnTo>
                  <a:pt x="1583" y="139"/>
                </a:lnTo>
                <a:lnTo>
                  <a:pt x="1596" y="139"/>
                </a:lnTo>
                <a:lnTo>
                  <a:pt x="1620" y="137"/>
                </a:lnTo>
                <a:lnTo>
                  <a:pt x="1628" y="137"/>
                </a:lnTo>
                <a:lnTo>
                  <a:pt x="1633" y="141"/>
                </a:lnTo>
                <a:lnTo>
                  <a:pt x="1633" y="141"/>
                </a:lnTo>
                <a:lnTo>
                  <a:pt x="1639" y="148"/>
                </a:lnTo>
                <a:lnTo>
                  <a:pt x="1641" y="154"/>
                </a:lnTo>
                <a:lnTo>
                  <a:pt x="1642" y="161"/>
                </a:lnTo>
                <a:lnTo>
                  <a:pt x="1642" y="167"/>
                </a:lnTo>
                <a:lnTo>
                  <a:pt x="1641" y="170"/>
                </a:lnTo>
                <a:lnTo>
                  <a:pt x="1639" y="176"/>
                </a:lnTo>
                <a:lnTo>
                  <a:pt x="1633" y="183"/>
                </a:lnTo>
                <a:lnTo>
                  <a:pt x="1615" y="198"/>
                </a:lnTo>
                <a:lnTo>
                  <a:pt x="1607" y="206"/>
                </a:lnTo>
                <a:lnTo>
                  <a:pt x="1600" y="215"/>
                </a:lnTo>
                <a:lnTo>
                  <a:pt x="1600" y="215"/>
                </a:lnTo>
                <a:lnTo>
                  <a:pt x="1600" y="217"/>
                </a:lnTo>
                <a:lnTo>
                  <a:pt x="1602" y="217"/>
                </a:lnTo>
                <a:lnTo>
                  <a:pt x="1605" y="215"/>
                </a:lnTo>
                <a:lnTo>
                  <a:pt x="1611" y="213"/>
                </a:lnTo>
                <a:lnTo>
                  <a:pt x="1613" y="213"/>
                </a:lnTo>
                <a:lnTo>
                  <a:pt x="1613" y="215"/>
                </a:lnTo>
                <a:lnTo>
                  <a:pt x="1613" y="215"/>
                </a:lnTo>
                <a:lnTo>
                  <a:pt x="1613" y="219"/>
                </a:lnTo>
                <a:lnTo>
                  <a:pt x="1609" y="220"/>
                </a:lnTo>
                <a:lnTo>
                  <a:pt x="1607" y="224"/>
                </a:lnTo>
                <a:lnTo>
                  <a:pt x="1607" y="228"/>
                </a:lnTo>
                <a:lnTo>
                  <a:pt x="1607" y="228"/>
                </a:lnTo>
                <a:lnTo>
                  <a:pt x="1609" y="230"/>
                </a:lnTo>
                <a:lnTo>
                  <a:pt x="1611" y="230"/>
                </a:lnTo>
                <a:lnTo>
                  <a:pt x="1620" y="230"/>
                </a:lnTo>
                <a:lnTo>
                  <a:pt x="1646" y="220"/>
                </a:lnTo>
                <a:lnTo>
                  <a:pt x="1672" y="213"/>
                </a:lnTo>
                <a:lnTo>
                  <a:pt x="1681" y="211"/>
                </a:lnTo>
                <a:lnTo>
                  <a:pt x="1685" y="211"/>
                </a:lnTo>
                <a:lnTo>
                  <a:pt x="1687" y="213"/>
                </a:lnTo>
                <a:lnTo>
                  <a:pt x="1687" y="213"/>
                </a:lnTo>
                <a:lnTo>
                  <a:pt x="1687" y="215"/>
                </a:lnTo>
                <a:lnTo>
                  <a:pt x="1687" y="219"/>
                </a:lnTo>
                <a:lnTo>
                  <a:pt x="1683" y="222"/>
                </a:lnTo>
                <a:lnTo>
                  <a:pt x="1679" y="228"/>
                </a:lnTo>
                <a:lnTo>
                  <a:pt x="1678" y="230"/>
                </a:lnTo>
                <a:lnTo>
                  <a:pt x="1678" y="233"/>
                </a:lnTo>
                <a:lnTo>
                  <a:pt x="1678" y="233"/>
                </a:lnTo>
                <a:lnTo>
                  <a:pt x="1678" y="235"/>
                </a:lnTo>
                <a:lnTo>
                  <a:pt x="1681" y="237"/>
                </a:lnTo>
                <a:lnTo>
                  <a:pt x="1689" y="241"/>
                </a:lnTo>
                <a:lnTo>
                  <a:pt x="1694" y="243"/>
                </a:lnTo>
                <a:lnTo>
                  <a:pt x="1694" y="243"/>
                </a:lnTo>
                <a:lnTo>
                  <a:pt x="1694" y="245"/>
                </a:lnTo>
                <a:lnTo>
                  <a:pt x="1694" y="245"/>
                </a:lnTo>
                <a:lnTo>
                  <a:pt x="1685" y="250"/>
                </a:lnTo>
                <a:lnTo>
                  <a:pt x="1676" y="258"/>
                </a:lnTo>
                <a:lnTo>
                  <a:pt x="1676" y="258"/>
                </a:lnTo>
                <a:lnTo>
                  <a:pt x="1666" y="270"/>
                </a:lnTo>
                <a:lnTo>
                  <a:pt x="1655" y="282"/>
                </a:lnTo>
                <a:lnTo>
                  <a:pt x="1655" y="282"/>
                </a:lnTo>
                <a:lnTo>
                  <a:pt x="1650" y="291"/>
                </a:lnTo>
                <a:lnTo>
                  <a:pt x="1648" y="295"/>
                </a:lnTo>
                <a:lnTo>
                  <a:pt x="1648" y="295"/>
                </a:lnTo>
                <a:lnTo>
                  <a:pt x="1650" y="295"/>
                </a:lnTo>
                <a:lnTo>
                  <a:pt x="1650" y="295"/>
                </a:lnTo>
                <a:lnTo>
                  <a:pt x="1655" y="293"/>
                </a:lnTo>
                <a:lnTo>
                  <a:pt x="1661" y="289"/>
                </a:lnTo>
                <a:lnTo>
                  <a:pt x="1672" y="278"/>
                </a:lnTo>
                <a:lnTo>
                  <a:pt x="1685" y="265"/>
                </a:lnTo>
                <a:lnTo>
                  <a:pt x="1694" y="256"/>
                </a:lnTo>
                <a:lnTo>
                  <a:pt x="1694" y="256"/>
                </a:lnTo>
                <a:lnTo>
                  <a:pt x="1698" y="254"/>
                </a:lnTo>
                <a:lnTo>
                  <a:pt x="1700" y="254"/>
                </a:lnTo>
                <a:lnTo>
                  <a:pt x="1704" y="256"/>
                </a:lnTo>
                <a:lnTo>
                  <a:pt x="1704" y="256"/>
                </a:lnTo>
                <a:lnTo>
                  <a:pt x="1707" y="258"/>
                </a:lnTo>
                <a:lnTo>
                  <a:pt x="1707" y="256"/>
                </a:lnTo>
                <a:lnTo>
                  <a:pt x="1705" y="252"/>
                </a:lnTo>
                <a:lnTo>
                  <a:pt x="1705" y="252"/>
                </a:lnTo>
                <a:lnTo>
                  <a:pt x="1707" y="250"/>
                </a:lnTo>
                <a:lnTo>
                  <a:pt x="1709" y="252"/>
                </a:lnTo>
                <a:lnTo>
                  <a:pt x="1717" y="256"/>
                </a:lnTo>
                <a:lnTo>
                  <a:pt x="1717" y="256"/>
                </a:lnTo>
                <a:lnTo>
                  <a:pt x="1730" y="263"/>
                </a:lnTo>
                <a:lnTo>
                  <a:pt x="1737" y="265"/>
                </a:lnTo>
                <a:lnTo>
                  <a:pt x="1744" y="267"/>
                </a:lnTo>
                <a:lnTo>
                  <a:pt x="1744" y="267"/>
                </a:lnTo>
                <a:lnTo>
                  <a:pt x="1755" y="265"/>
                </a:lnTo>
                <a:lnTo>
                  <a:pt x="1761" y="267"/>
                </a:lnTo>
                <a:lnTo>
                  <a:pt x="1765" y="269"/>
                </a:lnTo>
                <a:lnTo>
                  <a:pt x="1767" y="272"/>
                </a:lnTo>
                <a:lnTo>
                  <a:pt x="1768" y="282"/>
                </a:lnTo>
                <a:lnTo>
                  <a:pt x="1770" y="285"/>
                </a:lnTo>
                <a:lnTo>
                  <a:pt x="1776" y="287"/>
                </a:lnTo>
                <a:lnTo>
                  <a:pt x="1776" y="287"/>
                </a:lnTo>
                <a:lnTo>
                  <a:pt x="1783" y="285"/>
                </a:lnTo>
                <a:lnTo>
                  <a:pt x="1793" y="283"/>
                </a:lnTo>
                <a:lnTo>
                  <a:pt x="1798" y="282"/>
                </a:lnTo>
                <a:lnTo>
                  <a:pt x="1804" y="283"/>
                </a:lnTo>
                <a:lnTo>
                  <a:pt x="1806" y="287"/>
                </a:lnTo>
                <a:lnTo>
                  <a:pt x="1807" y="293"/>
                </a:lnTo>
                <a:lnTo>
                  <a:pt x="1807" y="293"/>
                </a:lnTo>
                <a:lnTo>
                  <a:pt x="1806" y="304"/>
                </a:lnTo>
                <a:lnTo>
                  <a:pt x="1802" y="311"/>
                </a:lnTo>
                <a:lnTo>
                  <a:pt x="1796" y="319"/>
                </a:lnTo>
                <a:lnTo>
                  <a:pt x="1791" y="324"/>
                </a:lnTo>
                <a:lnTo>
                  <a:pt x="1780" y="332"/>
                </a:lnTo>
                <a:lnTo>
                  <a:pt x="1778" y="334"/>
                </a:lnTo>
                <a:lnTo>
                  <a:pt x="1778" y="334"/>
                </a:lnTo>
                <a:lnTo>
                  <a:pt x="1778" y="334"/>
                </a:lnTo>
                <a:lnTo>
                  <a:pt x="1785" y="337"/>
                </a:lnTo>
                <a:lnTo>
                  <a:pt x="1787" y="339"/>
                </a:lnTo>
                <a:lnTo>
                  <a:pt x="1785" y="343"/>
                </a:lnTo>
                <a:lnTo>
                  <a:pt x="1785" y="343"/>
                </a:lnTo>
                <a:lnTo>
                  <a:pt x="1776" y="345"/>
                </a:lnTo>
                <a:lnTo>
                  <a:pt x="1761" y="348"/>
                </a:lnTo>
                <a:lnTo>
                  <a:pt x="1748" y="354"/>
                </a:lnTo>
                <a:lnTo>
                  <a:pt x="1742" y="356"/>
                </a:lnTo>
                <a:lnTo>
                  <a:pt x="1742" y="359"/>
                </a:lnTo>
                <a:lnTo>
                  <a:pt x="1742" y="359"/>
                </a:lnTo>
                <a:lnTo>
                  <a:pt x="1744" y="359"/>
                </a:lnTo>
                <a:lnTo>
                  <a:pt x="1748" y="358"/>
                </a:lnTo>
                <a:lnTo>
                  <a:pt x="1754" y="356"/>
                </a:lnTo>
                <a:lnTo>
                  <a:pt x="1754" y="356"/>
                </a:lnTo>
                <a:lnTo>
                  <a:pt x="1767" y="354"/>
                </a:lnTo>
                <a:lnTo>
                  <a:pt x="1780" y="352"/>
                </a:lnTo>
                <a:lnTo>
                  <a:pt x="1793" y="350"/>
                </a:lnTo>
                <a:lnTo>
                  <a:pt x="1798" y="352"/>
                </a:lnTo>
                <a:lnTo>
                  <a:pt x="1804" y="354"/>
                </a:lnTo>
                <a:lnTo>
                  <a:pt x="1804" y="354"/>
                </a:lnTo>
                <a:lnTo>
                  <a:pt x="1811" y="356"/>
                </a:lnTo>
                <a:lnTo>
                  <a:pt x="1813" y="359"/>
                </a:lnTo>
                <a:lnTo>
                  <a:pt x="1815" y="361"/>
                </a:lnTo>
                <a:lnTo>
                  <a:pt x="1815" y="361"/>
                </a:lnTo>
                <a:lnTo>
                  <a:pt x="1813" y="365"/>
                </a:lnTo>
                <a:lnTo>
                  <a:pt x="1809" y="369"/>
                </a:lnTo>
                <a:lnTo>
                  <a:pt x="1806" y="372"/>
                </a:lnTo>
                <a:lnTo>
                  <a:pt x="1802" y="374"/>
                </a:lnTo>
                <a:lnTo>
                  <a:pt x="1791" y="374"/>
                </a:lnTo>
                <a:lnTo>
                  <a:pt x="1778" y="374"/>
                </a:lnTo>
                <a:lnTo>
                  <a:pt x="1754" y="374"/>
                </a:lnTo>
                <a:lnTo>
                  <a:pt x="1742" y="376"/>
                </a:lnTo>
                <a:lnTo>
                  <a:pt x="1739" y="378"/>
                </a:lnTo>
                <a:lnTo>
                  <a:pt x="1737" y="380"/>
                </a:lnTo>
                <a:lnTo>
                  <a:pt x="1737" y="380"/>
                </a:lnTo>
                <a:lnTo>
                  <a:pt x="1737" y="382"/>
                </a:lnTo>
                <a:lnTo>
                  <a:pt x="1739" y="382"/>
                </a:lnTo>
                <a:lnTo>
                  <a:pt x="1744" y="382"/>
                </a:lnTo>
                <a:lnTo>
                  <a:pt x="1754" y="382"/>
                </a:lnTo>
                <a:lnTo>
                  <a:pt x="1754" y="382"/>
                </a:lnTo>
                <a:lnTo>
                  <a:pt x="1781" y="382"/>
                </a:lnTo>
                <a:lnTo>
                  <a:pt x="1798" y="382"/>
                </a:lnTo>
                <a:lnTo>
                  <a:pt x="1806" y="384"/>
                </a:lnTo>
                <a:lnTo>
                  <a:pt x="1806" y="384"/>
                </a:lnTo>
                <a:lnTo>
                  <a:pt x="1806" y="387"/>
                </a:lnTo>
                <a:lnTo>
                  <a:pt x="1804" y="389"/>
                </a:lnTo>
                <a:lnTo>
                  <a:pt x="1794" y="391"/>
                </a:lnTo>
                <a:lnTo>
                  <a:pt x="1787" y="393"/>
                </a:lnTo>
                <a:lnTo>
                  <a:pt x="1785" y="395"/>
                </a:lnTo>
                <a:lnTo>
                  <a:pt x="1785" y="397"/>
                </a:lnTo>
                <a:lnTo>
                  <a:pt x="1785" y="397"/>
                </a:lnTo>
                <a:lnTo>
                  <a:pt x="1789" y="398"/>
                </a:lnTo>
                <a:lnTo>
                  <a:pt x="1793" y="400"/>
                </a:lnTo>
                <a:lnTo>
                  <a:pt x="1800" y="400"/>
                </a:lnTo>
                <a:lnTo>
                  <a:pt x="1807" y="398"/>
                </a:lnTo>
                <a:lnTo>
                  <a:pt x="1815" y="397"/>
                </a:lnTo>
                <a:lnTo>
                  <a:pt x="1820" y="395"/>
                </a:lnTo>
                <a:lnTo>
                  <a:pt x="1824" y="397"/>
                </a:lnTo>
                <a:lnTo>
                  <a:pt x="1826" y="402"/>
                </a:lnTo>
                <a:lnTo>
                  <a:pt x="1826" y="413"/>
                </a:lnTo>
                <a:lnTo>
                  <a:pt x="1826" y="413"/>
                </a:lnTo>
                <a:lnTo>
                  <a:pt x="1824" y="419"/>
                </a:lnTo>
                <a:lnTo>
                  <a:pt x="1818" y="423"/>
                </a:lnTo>
                <a:lnTo>
                  <a:pt x="1809" y="424"/>
                </a:lnTo>
                <a:lnTo>
                  <a:pt x="1809" y="424"/>
                </a:lnTo>
                <a:lnTo>
                  <a:pt x="1806" y="428"/>
                </a:lnTo>
                <a:lnTo>
                  <a:pt x="1806" y="432"/>
                </a:lnTo>
                <a:lnTo>
                  <a:pt x="1806" y="435"/>
                </a:lnTo>
                <a:lnTo>
                  <a:pt x="1804" y="437"/>
                </a:lnTo>
                <a:lnTo>
                  <a:pt x="1804" y="437"/>
                </a:lnTo>
                <a:lnTo>
                  <a:pt x="1794" y="441"/>
                </a:lnTo>
                <a:lnTo>
                  <a:pt x="1785" y="439"/>
                </a:lnTo>
                <a:lnTo>
                  <a:pt x="1778" y="435"/>
                </a:lnTo>
                <a:lnTo>
                  <a:pt x="1770" y="430"/>
                </a:lnTo>
                <a:lnTo>
                  <a:pt x="1755" y="419"/>
                </a:lnTo>
                <a:lnTo>
                  <a:pt x="1746" y="415"/>
                </a:lnTo>
                <a:lnTo>
                  <a:pt x="1739" y="413"/>
                </a:lnTo>
                <a:lnTo>
                  <a:pt x="1739" y="413"/>
                </a:lnTo>
                <a:lnTo>
                  <a:pt x="1737" y="413"/>
                </a:lnTo>
                <a:lnTo>
                  <a:pt x="1737" y="415"/>
                </a:lnTo>
                <a:lnTo>
                  <a:pt x="1741" y="417"/>
                </a:lnTo>
                <a:lnTo>
                  <a:pt x="1741" y="417"/>
                </a:lnTo>
                <a:lnTo>
                  <a:pt x="1744" y="421"/>
                </a:lnTo>
                <a:lnTo>
                  <a:pt x="1742" y="423"/>
                </a:lnTo>
                <a:lnTo>
                  <a:pt x="1733" y="423"/>
                </a:lnTo>
                <a:lnTo>
                  <a:pt x="1733" y="423"/>
                </a:lnTo>
                <a:lnTo>
                  <a:pt x="1717" y="423"/>
                </a:lnTo>
                <a:lnTo>
                  <a:pt x="1717" y="423"/>
                </a:lnTo>
                <a:lnTo>
                  <a:pt x="1709" y="424"/>
                </a:lnTo>
                <a:lnTo>
                  <a:pt x="1705" y="426"/>
                </a:lnTo>
                <a:lnTo>
                  <a:pt x="1704" y="426"/>
                </a:lnTo>
                <a:lnTo>
                  <a:pt x="1704" y="426"/>
                </a:lnTo>
                <a:lnTo>
                  <a:pt x="1705" y="428"/>
                </a:lnTo>
                <a:lnTo>
                  <a:pt x="1711" y="430"/>
                </a:lnTo>
                <a:lnTo>
                  <a:pt x="1718" y="430"/>
                </a:lnTo>
                <a:lnTo>
                  <a:pt x="1718" y="430"/>
                </a:lnTo>
                <a:lnTo>
                  <a:pt x="1735" y="432"/>
                </a:lnTo>
                <a:lnTo>
                  <a:pt x="1759" y="437"/>
                </a:lnTo>
                <a:lnTo>
                  <a:pt x="1772" y="441"/>
                </a:lnTo>
                <a:lnTo>
                  <a:pt x="1781" y="445"/>
                </a:lnTo>
                <a:lnTo>
                  <a:pt x="1789" y="450"/>
                </a:lnTo>
                <a:lnTo>
                  <a:pt x="1791" y="454"/>
                </a:lnTo>
                <a:lnTo>
                  <a:pt x="1793" y="456"/>
                </a:lnTo>
                <a:lnTo>
                  <a:pt x="1793" y="456"/>
                </a:lnTo>
                <a:lnTo>
                  <a:pt x="1793" y="458"/>
                </a:lnTo>
                <a:lnTo>
                  <a:pt x="1791" y="458"/>
                </a:lnTo>
                <a:lnTo>
                  <a:pt x="1785" y="460"/>
                </a:lnTo>
                <a:lnTo>
                  <a:pt x="1765" y="458"/>
                </a:lnTo>
                <a:lnTo>
                  <a:pt x="1746" y="454"/>
                </a:lnTo>
                <a:lnTo>
                  <a:pt x="1735" y="454"/>
                </a:lnTo>
                <a:lnTo>
                  <a:pt x="1735" y="454"/>
                </a:lnTo>
                <a:lnTo>
                  <a:pt x="1733" y="454"/>
                </a:lnTo>
                <a:lnTo>
                  <a:pt x="1735" y="456"/>
                </a:lnTo>
                <a:lnTo>
                  <a:pt x="1739" y="458"/>
                </a:lnTo>
                <a:lnTo>
                  <a:pt x="1746" y="461"/>
                </a:lnTo>
                <a:lnTo>
                  <a:pt x="1746" y="461"/>
                </a:lnTo>
                <a:lnTo>
                  <a:pt x="1765" y="463"/>
                </a:lnTo>
                <a:lnTo>
                  <a:pt x="1774" y="465"/>
                </a:lnTo>
                <a:lnTo>
                  <a:pt x="1778" y="469"/>
                </a:lnTo>
                <a:lnTo>
                  <a:pt x="1781" y="473"/>
                </a:lnTo>
                <a:lnTo>
                  <a:pt x="1781" y="473"/>
                </a:lnTo>
                <a:lnTo>
                  <a:pt x="1781" y="478"/>
                </a:lnTo>
                <a:lnTo>
                  <a:pt x="1780" y="480"/>
                </a:lnTo>
                <a:lnTo>
                  <a:pt x="1774" y="482"/>
                </a:lnTo>
                <a:lnTo>
                  <a:pt x="1768" y="482"/>
                </a:lnTo>
                <a:lnTo>
                  <a:pt x="1755" y="480"/>
                </a:lnTo>
                <a:lnTo>
                  <a:pt x="1750" y="480"/>
                </a:lnTo>
                <a:lnTo>
                  <a:pt x="1750" y="480"/>
                </a:lnTo>
                <a:lnTo>
                  <a:pt x="1750" y="482"/>
                </a:lnTo>
                <a:lnTo>
                  <a:pt x="1752" y="482"/>
                </a:lnTo>
                <a:lnTo>
                  <a:pt x="1759" y="486"/>
                </a:lnTo>
                <a:lnTo>
                  <a:pt x="1767" y="487"/>
                </a:lnTo>
                <a:lnTo>
                  <a:pt x="1770" y="489"/>
                </a:lnTo>
                <a:lnTo>
                  <a:pt x="1770" y="491"/>
                </a:lnTo>
                <a:lnTo>
                  <a:pt x="1770" y="491"/>
                </a:lnTo>
                <a:lnTo>
                  <a:pt x="1767" y="493"/>
                </a:lnTo>
                <a:lnTo>
                  <a:pt x="1767" y="493"/>
                </a:lnTo>
                <a:lnTo>
                  <a:pt x="1761" y="491"/>
                </a:lnTo>
                <a:lnTo>
                  <a:pt x="1755" y="493"/>
                </a:lnTo>
                <a:lnTo>
                  <a:pt x="1742" y="500"/>
                </a:lnTo>
                <a:lnTo>
                  <a:pt x="1728" y="510"/>
                </a:lnTo>
                <a:lnTo>
                  <a:pt x="1718" y="515"/>
                </a:lnTo>
                <a:lnTo>
                  <a:pt x="1707" y="521"/>
                </a:lnTo>
                <a:lnTo>
                  <a:pt x="1707" y="521"/>
                </a:lnTo>
                <a:lnTo>
                  <a:pt x="1704" y="521"/>
                </a:lnTo>
                <a:lnTo>
                  <a:pt x="1704" y="521"/>
                </a:lnTo>
                <a:lnTo>
                  <a:pt x="1694" y="517"/>
                </a:lnTo>
                <a:lnTo>
                  <a:pt x="1689" y="511"/>
                </a:lnTo>
                <a:lnTo>
                  <a:pt x="1678" y="499"/>
                </a:lnTo>
                <a:lnTo>
                  <a:pt x="1678" y="499"/>
                </a:lnTo>
                <a:lnTo>
                  <a:pt x="1674" y="495"/>
                </a:lnTo>
                <a:lnTo>
                  <a:pt x="1665" y="491"/>
                </a:lnTo>
                <a:lnTo>
                  <a:pt x="1659" y="491"/>
                </a:lnTo>
                <a:lnTo>
                  <a:pt x="1657" y="491"/>
                </a:lnTo>
                <a:lnTo>
                  <a:pt x="1657" y="491"/>
                </a:lnTo>
                <a:lnTo>
                  <a:pt x="1657" y="491"/>
                </a:lnTo>
                <a:lnTo>
                  <a:pt x="1679" y="511"/>
                </a:lnTo>
                <a:lnTo>
                  <a:pt x="1692" y="524"/>
                </a:lnTo>
                <a:lnTo>
                  <a:pt x="1696" y="530"/>
                </a:lnTo>
                <a:lnTo>
                  <a:pt x="1698" y="534"/>
                </a:lnTo>
                <a:lnTo>
                  <a:pt x="1698" y="534"/>
                </a:lnTo>
                <a:lnTo>
                  <a:pt x="1696" y="536"/>
                </a:lnTo>
                <a:lnTo>
                  <a:pt x="1692" y="536"/>
                </a:lnTo>
                <a:lnTo>
                  <a:pt x="1683" y="534"/>
                </a:lnTo>
                <a:lnTo>
                  <a:pt x="1672" y="530"/>
                </a:lnTo>
                <a:lnTo>
                  <a:pt x="1666" y="528"/>
                </a:lnTo>
                <a:lnTo>
                  <a:pt x="1663" y="530"/>
                </a:lnTo>
                <a:lnTo>
                  <a:pt x="1663" y="530"/>
                </a:lnTo>
                <a:lnTo>
                  <a:pt x="1663" y="532"/>
                </a:lnTo>
                <a:lnTo>
                  <a:pt x="1663" y="534"/>
                </a:lnTo>
                <a:lnTo>
                  <a:pt x="1663" y="534"/>
                </a:lnTo>
                <a:lnTo>
                  <a:pt x="1672" y="543"/>
                </a:lnTo>
                <a:lnTo>
                  <a:pt x="1672" y="547"/>
                </a:lnTo>
                <a:lnTo>
                  <a:pt x="1672" y="549"/>
                </a:lnTo>
                <a:lnTo>
                  <a:pt x="1670" y="549"/>
                </a:lnTo>
                <a:lnTo>
                  <a:pt x="1665" y="547"/>
                </a:lnTo>
                <a:lnTo>
                  <a:pt x="1665" y="547"/>
                </a:lnTo>
                <a:lnTo>
                  <a:pt x="1659" y="547"/>
                </a:lnTo>
                <a:lnTo>
                  <a:pt x="1652" y="549"/>
                </a:lnTo>
                <a:lnTo>
                  <a:pt x="1648" y="549"/>
                </a:lnTo>
                <a:lnTo>
                  <a:pt x="1646" y="550"/>
                </a:lnTo>
                <a:lnTo>
                  <a:pt x="1646" y="554"/>
                </a:lnTo>
                <a:lnTo>
                  <a:pt x="1648" y="556"/>
                </a:lnTo>
                <a:lnTo>
                  <a:pt x="1648" y="556"/>
                </a:lnTo>
                <a:lnTo>
                  <a:pt x="1657" y="562"/>
                </a:lnTo>
                <a:lnTo>
                  <a:pt x="1661" y="562"/>
                </a:lnTo>
                <a:lnTo>
                  <a:pt x="1665" y="562"/>
                </a:lnTo>
                <a:lnTo>
                  <a:pt x="1672" y="556"/>
                </a:lnTo>
                <a:lnTo>
                  <a:pt x="1681" y="550"/>
                </a:lnTo>
                <a:lnTo>
                  <a:pt x="1681" y="550"/>
                </a:lnTo>
                <a:lnTo>
                  <a:pt x="1683" y="550"/>
                </a:lnTo>
                <a:lnTo>
                  <a:pt x="1685" y="550"/>
                </a:lnTo>
                <a:lnTo>
                  <a:pt x="1685" y="550"/>
                </a:lnTo>
                <a:lnTo>
                  <a:pt x="1685" y="550"/>
                </a:lnTo>
                <a:lnTo>
                  <a:pt x="1683" y="554"/>
                </a:lnTo>
                <a:lnTo>
                  <a:pt x="1679" y="560"/>
                </a:lnTo>
                <a:lnTo>
                  <a:pt x="1670" y="567"/>
                </a:lnTo>
                <a:lnTo>
                  <a:pt x="1670" y="567"/>
                </a:lnTo>
                <a:close/>
                <a:moveTo>
                  <a:pt x="1390" y="287"/>
                </a:moveTo>
                <a:lnTo>
                  <a:pt x="1390" y="287"/>
                </a:lnTo>
                <a:lnTo>
                  <a:pt x="1392" y="282"/>
                </a:lnTo>
                <a:lnTo>
                  <a:pt x="1392" y="276"/>
                </a:lnTo>
                <a:lnTo>
                  <a:pt x="1390" y="270"/>
                </a:lnTo>
                <a:lnTo>
                  <a:pt x="1388" y="265"/>
                </a:lnTo>
                <a:lnTo>
                  <a:pt x="1381" y="256"/>
                </a:lnTo>
                <a:lnTo>
                  <a:pt x="1372" y="248"/>
                </a:lnTo>
                <a:lnTo>
                  <a:pt x="1372" y="248"/>
                </a:lnTo>
                <a:lnTo>
                  <a:pt x="1372" y="248"/>
                </a:lnTo>
                <a:lnTo>
                  <a:pt x="1366" y="243"/>
                </a:lnTo>
                <a:lnTo>
                  <a:pt x="1362" y="237"/>
                </a:lnTo>
                <a:lnTo>
                  <a:pt x="1359" y="224"/>
                </a:lnTo>
                <a:lnTo>
                  <a:pt x="1355" y="213"/>
                </a:lnTo>
                <a:lnTo>
                  <a:pt x="1353" y="209"/>
                </a:lnTo>
                <a:lnTo>
                  <a:pt x="1350" y="206"/>
                </a:lnTo>
                <a:lnTo>
                  <a:pt x="1350" y="206"/>
                </a:lnTo>
                <a:lnTo>
                  <a:pt x="1348" y="206"/>
                </a:lnTo>
                <a:lnTo>
                  <a:pt x="1348" y="207"/>
                </a:lnTo>
                <a:lnTo>
                  <a:pt x="1348" y="213"/>
                </a:lnTo>
                <a:lnTo>
                  <a:pt x="1350" y="220"/>
                </a:lnTo>
                <a:lnTo>
                  <a:pt x="1350" y="220"/>
                </a:lnTo>
                <a:lnTo>
                  <a:pt x="1348" y="230"/>
                </a:lnTo>
                <a:lnTo>
                  <a:pt x="1346" y="235"/>
                </a:lnTo>
                <a:lnTo>
                  <a:pt x="1348" y="239"/>
                </a:lnTo>
                <a:lnTo>
                  <a:pt x="1348" y="239"/>
                </a:lnTo>
                <a:lnTo>
                  <a:pt x="1350" y="245"/>
                </a:lnTo>
                <a:lnTo>
                  <a:pt x="1355" y="248"/>
                </a:lnTo>
                <a:lnTo>
                  <a:pt x="1366" y="256"/>
                </a:lnTo>
                <a:lnTo>
                  <a:pt x="1377" y="263"/>
                </a:lnTo>
                <a:lnTo>
                  <a:pt x="1385" y="269"/>
                </a:lnTo>
                <a:lnTo>
                  <a:pt x="1385" y="269"/>
                </a:lnTo>
                <a:lnTo>
                  <a:pt x="1385" y="272"/>
                </a:lnTo>
                <a:lnTo>
                  <a:pt x="1385" y="280"/>
                </a:lnTo>
                <a:lnTo>
                  <a:pt x="1385" y="287"/>
                </a:lnTo>
                <a:lnTo>
                  <a:pt x="1387" y="291"/>
                </a:lnTo>
                <a:lnTo>
                  <a:pt x="1388" y="293"/>
                </a:lnTo>
                <a:lnTo>
                  <a:pt x="1388" y="293"/>
                </a:lnTo>
                <a:lnTo>
                  <a:pt x="1390" y="293"/>
                </a:lnTo>
                <a:lnTo>
                  <a:pt x="1390" y="293"/>
                </a:lnTo>
                <a:lnTo>
                  <a:pt x="1390" y="287"/>
                </a:lnTo>
                <a:lnTo>
                  <a:pt x="1390" y="287"/>
                </a:lnTo>
                <a:close/>
                <a:moveTo>
                  <a:pt x="1678" y="334"/>
                </a:moveTo>
                <a:lnTo>
                  <a:pt x="1678" y="334"/>
                </a:lnTo>
                <a:lnTo>
                  <a:pt x="1678" y="334"/>
                </a:lnTo>
                <a:lnTo>
                  <a:pt x="1676" y="335"/>
                </a:lnTo>
                <a:lnTo>
                  <a:pt x="1676" y="337"/>
                </a:lnTo>
                <a:lnTo>
                  <a:pt x="1674" y="346"/>
                </a:lnTo>
                <a:lnTo>
                  <a:pt x="1672" y="354"/>
                </a:lnTo>
                <a:lnTo>
                  <a:pt x="1670" y="358"/>
                </a:lnTo>
                <a:lnTo>
                  <a:pt x="1668" y="361"/>
                </a:lnTo>
                <a:lnTo>
                  <a:pt x="1668" y="361"/>
                </a:lnTo>
                <a:lnTo>
                  <a:pt x="1661" y="365"/>
                </a:lnTo>
                <a:lnTo>
                  <a:pt x="1654" y="371"/>
                </a:lnTo>
                <a:lnTo>
                  <a:pt x="1642" y="382"/>
                </a:lnTo>
                <a:lnTo>
                  <a:pt x="1642" y="382"/>
                </a:lnTo>
                <a:lnTo>
                  <a:pt x="1618" y="397"/>
                </a:lnTo>
                <a:lnTo>
                  <a:pt x="1618" y="397"/>
                </a:lnTo>
                <a:lnTo>
                  <a:pt x="1611" y="404"/>
                </a:lnTo>
                <a:lnTo>
                  <a:pt x="1611" y="406"/>
                </a:lnTo>
                <a:lnTo>
                  <a:pt x="1613" y="404"/>
                </a:lnTo>
                <a:lnTo>
                  <a:pt x="1624" y="400"/>
                </a:lnTo>
                <a:lnTo>
                  <a:pt x="1639" y="391"/>
                </a:lnTo>
                <a:lnTo>
                  <a:pt x="1655" y="378"/>
                </a:lnTo>
                <a:lnTo>
                  <a:pt x="1670" y="363"/>
                </a:lnTo>
                <a:lnTo>
                  <a:pt x="1674" y="356"/>
                </a:lnTo>
                <a:lnTo>
                  <a:pt x="1678" y="348"/>
                </a:lnTo>
                <a:lnTo>
                  <a:pt x="1679" y="341"/>
                </a:lnTo>
                <a:lnTo>
                  <a:pt x="1678" y="334"/>
                </a:lnTo>
                <a:lnTo>
                  <a:pt x="1678" y="334"/>
                </a:lnTo>
                <a:close/>
              </a:path>
            </a:pathLst>
          </a:custGeom>
          <a:solidFill>
            <a:srgbClr val="E1E0DC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Denmark Text"/>
          <p:cNvSpPr txBox="1"/>
          <p:nvPr/>
        </p:nvSpPr>
        <p:spPr>
          <a:xfrm>
            <a:off x="6951757" y="6300514"/>
            <a:ext cx="5021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F42941"/>
                </a:solidFill>
              </a:rPr>
              <a:t>Denmark</a:t>
            </a:r>
          </a:p>
        </p:txBody>
      </p:sp>
      <p:sp>
        <p:nvSpPr>
          <p:cNvPr id="17" name="Finland Text"/>
          <p:cNvSpPr txBox="1"/>
          <p:nvPr/>
        </p:nvSpPr>
        <p:spPr>
          <a:xfrm>
            <a:off x="9395451" y="1490970"/>
            <a:ext cx="4041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rgbClr val="F42941"/>
                </a:solidFill>
              </a:rPr>
              <a:t>Finland</a:t>
            </a:r>
          </a:p>
        </p:txBody>
      </p:sp>
      <p:sp>
        <p:nvSpPr>
          <p:cNvPr id="18" name="Sweden Text"/>
          <p:cNvSpPr txBox="1"/>
          <p:nvPr/>
        </p:nvSpPr>
        <p:spPr>
          <a:xfrm>
            <a:off x="7923002" y="4135144"/>
            <a:ext cx="43737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F42941"/>
                </a:solidFill>
              </a:rPr>
              <a:t>Sweden</a:t>
            </a:r>
          </a:p>
        </p:txBody>
      </p:sp>
      <p:sp>
        <p:nvSpPr>
          <p:cNvPr id="19" name="Norway Text"/>
          <p:cNvSpPr txBox="1"/>
          <p:nvPr/>
        </p:nvSpPr>
        <p:spPr>
          <a:xfrm>
            <a:off x="6835114" y="4395685"/>
            <a:ext cx="42863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F42941"/>
                </a:solidFill>
              </a:rPr>
              <a:t>Norway</a:t>
            </a:r>
          </a:p>
        </p:txBody>
      </p:sp>
      <p:sp>
        <p:nvSpPr>
          <p:cNvPr id="20" name="Iceland Text"/>
          <p:cNvSpPr txBox="1"/>
          <p:nvPr/>
        </p:nvSpPr>
        <p:spPr>
          <a:xfrm>
            <a:off x="2541418" y="4563309"/>
            <a:ext cx="39189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F42941"/>
                </a:solidFill>
              </a:rPr>
              <a:t>Iceland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>
          <a:xfrm>
            <a:off x="3395663" y="6356350"/>
            <a:ext cx="5400675" cy="2225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950" kern="1200" cap="none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>
              <a:noFill/>
            </a:endParaRPr>
          </a:p>
        </p:txBody>
      </p:sp>
      <p:grpSp>
        <p:nvGrpSpPr>
          <p:cNvPr id="23" name="Greenland"/>
          <p:cNvGrpSpPr/>
          <p:nvPr/>
        </p:nvGrpSpPr>
        <p:grpSpPr>
          <a:xfrm>
            <a:off x="-585190" y="-350005"/>
            <a:ext cx="3236080" cy="4498713"/>
            <a:chOff x="-585190" y="-350005"/>
            <a:chExt cx="3236080" cy="4498713"/>
          </a:xfrm>
          <a:solidFill>
            <a:srgbClr val="E1E0DC"/>
          </a:solidFill>
        </p:grpSpPr>
        <p:sp>
          <p:nvSpPr>
            <p:cNvPr id="190" name="Freeform 10"/>
            <p:cNvSpPr>
              <a:spLocks/>
            </p:cNvSpPr>
            <p:nvPr/>
          </p:nvSpPr>
          <p:spPr bwMode="auto">
            <a:xfrm rot="1181657">
              <a:off x="1599678" y="2376697"/>
              <a:ext cx="289129" cy="250343"/>
            </a:xfrm>
            <a:custGeom>
              <a:avLst/>
              <a:gdLst>
                <a:gd name="T0" fmla="*/ 72 w 82"/>
                <a:gd name="T1" fmla="*/ 10 h 71"/>
                <a:gd name="T2" fmla="*/ 82 w 82"/>
                <a:gd name="T3" fmla="*/ 35 h 71"/>
                <a:gd name="T4" fmla="*/ 67 w 82"/>
                <a:gd name="T5" fmla="*/ 45 h 71"/>
                <a:gd name="T6" fmla="*/ 62 w 82"/>
                <a:gd name="T7" fmla="*/ 61 h 71"/>
                <a:gd name="T8" fmla="*/ 46 w 82"/>
                <a:gd name="T9" fmla="*/ 50 h 71"/>
                <a:gd name="T10" fmla="*/ 16 w 82"/>
                <a:gd name="T11" fmla="*/ 71 h 71"/>
                <a:gd name="T12" fmla="*/ 0 w 82"/>
                <a:gd name="T13" fmla="*/ 71 h 71"/>
                <a:gd name="T14" fmla="*/ 5 w 82"/>
                <a:gd name="T15" fmla="*/ 25 h 71"/>
                <a:gd name="T16" fmla="*/ 16 w 82"/>
                <a:gd name="T17" fmla="*/ 30 h 71"/>
                <a:gd name="T18" fmla="*/ 36 w 82"/>
                <a:gd name="T19" fmla="*/ 25 h 71"/>
                <a:gd name="T20" fmla="*/ 57 w 82"/>
                <a:gd name="T21" fmla="*/ 0 h 71"/>
                <a:gd name="T22" fmla="*/ 72 w 82"/>
                <a:gd name="T23" fmla="*/ 1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71">
                  <a:moveTo>
                    <a:pt x="72" y="10"/>
                  </a:moveTo>
                  <a:lnTo>
                    <a:pt x="82" y="35"/>
                  </a:lnTo>
                  <a:lnTo>
                    <a:pt x="67" y="45"/>
                  </a:lnTo>
                  <a:lnTo>
                    <a:pt x="62" y="61"/>
                  </a:lnTo>
                  <a:lnTo>
                    <a:pt x="46" y="50"/>
                  </a:lnTo>
                  <a:lnTo>
                    <a:pt x="16" y="71"/>
                  </a:lnTo>
                  <a:lnTo>
                    <a:pt x="0" y="71"/>
                  </a:lnTo>
                  <a:lnTo>
                    <a:pt x="5" y="25"/>
                  </a:lnTo>
                  <a:lnTo>
                    <a:pt x="16" y="30"/>
                  </a:lnTo>
                  <a:lnTo>
                    <a:pt x="36" y="25"/>
                  </a:lnTo>
                  <a:lnTo>
                    <a:pt x="57" y="0"/>
                  </a:lnTo>
                  <a:lnTo>
                    <a:pt x="72" y="1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3" name="Freeform 13"/>
            <p:cNvSpPr>
              <a:spLocks/>
            </p:cNvSpPr>
            <p:nvPr/>
          </p:nvSpPr>
          <p:spPr bwMode="auto">
            <a:xfrm rot="1181657">
              <a:off x="2488696" y="844945"/>
              <a:ext cx="162194" cy="141039"/>
            </a:xfrm>
            <a:custGeom>
              <a:avLst/>
              <a:gdLst>
                <a:gd name="T0" fmla="*/ 15 w 46"/>
                <a:gd name="T1" fmla="*/ 0 h 40"/>
                <a:gd name="T2" fmla="*/ 30 w 46"/>
                <a:gd name="T3" fmla="*/ 20 h 40"/>
                <a:gd name="T4" fmla="*/ 46 w 46"/>
                <a:gd name="T5" fmla="*/ 25 h 40"/>
                <a:gd name="T6" fmla="*/ 41 w 46"/>
                <a:gd name="T7" fmla="*/ 35 h 40"/>
                <a:gd name="T8" fmla="*/ 10 w 46"/>
                <a:gd name="T9" fmla="*/ 40 h 40"/>
                <a:gd name="T10" fmla="*/ 0 w 46"/>
                <a:gd name="T11" fmla="*/ 15 h 40"/>
                <a:gd name="T12" fmla="*/ 15 w 46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40">
                  <a:moveTo>
                    <a:pt x="15" y="0"/>
                  </a:moveTo>
                  <a:lnTo>
                    <a:pt x="30" y="20"/>
                  </a:lnTo>
                  <a:lnTo>
                    <a:pt x="46" y="25"/>
                  </a:lnTo>
                  <a:lnTo>
                    <a:pt x="41" y="35"/>
                  </a:lnTo>
                  <a:lnTo>
                    <a:pt x="10" y="40"/>
                  </a:lnTo>
                  <a:lnTo>
                    <a:pt x="0" y="15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4" name="Freeform 14"/>
            <p:cNvSpPr>
              <a:spLocks/>
            </p:cNvSpPr>
            <p:nvPr/>
          </p:nvSpPr>
          <p:spPr bwMode="auto">
            <a:xfrm rot="1181657">
              <a:off x="2389766" y="439986"/>
              <a:ext cx="126935" cy="197454"/>
            </a:xfrm>
            <a:custGeom>
              <a:avLst/>
              <a:gdLst>
                <a:gd name="T0" fmla="*/ 36 w 36"/>
                <a:gd name="T1" fmla="*/ 56 h 56"/>
                <a:gd name="T2" fmla="*/ 0 w 36"/>
                <a:gd name="T3" fmla="*/ 0 h 56"/>
                <a:gd name="T4" fmla="*/ 11 w 36"/>
                <a:gd name="T5" fmla="*/ 5 h 56"/>
                <a:gd name="T6" fmla="*/ 36 w 36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56">
                  <a:moveTo>
                    <a:pt x="36" y="56"/>
                  </a:moveTo>
                  <a:lnTo>
                    <a:pt x="0" y="0"/>
                  </a:lnTo>
                  <a:lnTo>
                    <a:pt x="11" y="5"/>
                  </a:lnTo>
                  <a:lnTo>
                    <a:pt x="36" y="56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6" name="Freeform 16"/>
            <p:cNvSpPr>
              <a:spLocks/>
            </p:cNvSpPr>
            <p:nvPr/>
          </p:nvSpPr>
          <p:spPr bwMode="auto">
            <a:xfrm rot="1181657">
              <a:off x="2483496" y="854"/>
              <a:ext cx="35260" cy="88149"/>
            </a:xfrm>
            <a:custGeom>
              <a:avLst/>
              <a:gdLst>
                <a:gd name="T0" fmla="*/ 5 w 10"/>
                <a:gd name="T1" fmla="*/ 25 h 25"/>
                <a:gd name="T2" fmla="*/ 0 w 10"/>
                <a:gd name="T3" fmla="*/ 0 h 25"/>
                <a:gd name="T4" fmla="*/ 10 w 10"/>
                <a:gd name="T5" fmla="*/ 15 h 25"/>
                <a:gd name="T6" fmla="*/ 5 w 10"/>
                <a:gd name="T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5">
                  <a:moveTo>
                    <a:pt x="5" y="25"/>
                  </a:moveTo>
                  <a:lnTo>
                    <a:pt x="0" y="0"/>
                  </a:lnTo>
                  <a:lnTo>
                    <a:pt x="10" y="15"/>
                  </a:lnTo>
                  <a:lnTo>
                    <a:pt x="5" y="25"/>
                  </a:lnTo>
                  <a:close/>
                </a:path>
              </a:pathLst>
            </a:custGeom>
            <a:grpFill/>
            <a:ln w="6350" cap="flat">
              <a:noFill/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auto">
            <a:xfrm rot="1181657">
              <a:off x="-585190" y="-350005"/>
              <a:ext cx="3047209" cy="4498713"/>
            </a:xfrm>
            <a:custGeom>
              <a:avLst/>
              <a:gdLst>
                <a:gd name="connsiteX0" fmla="*/ 0 w 3047209"/>
                <a:gd name="connsiteY0" fmla="*/ 777356 h 4498713"/>
                <a:gd name="connsiteX1" fmla="*/ 2171754 w 3047209"/>
                <a:gd name="connsiteY1" fmla="*/ 0 h 4498713"/>
                <a:gd name="connsiteX2" fmla="*/ 2186636 w 3047209"/>
                <a:gd name="connsiteY2" fmla="*/ 122046 h 4498713"/>
                <a:gd name="connsiteX3" fmla="*/ 2225117 w 3047209"/>
                <a:gd name="connsiteY3" fmla="*/ 157031 h 4498713"/>
                <a:gd name="connsiteX4" fmla="*/ 2242608 w 3047209"/>
                <a:gd name="connsiteY4" fmla="*/ 48577 h 4498713"/>
                <a:gd name="connsiteX5" fmla="*/ 2330065 w 3047209"/>
                <a:gd name="connsiteY5" fmla="*/ 66069 h 4498713"/>
                <a:gd name="connsiteX6" fmla="*/ 2386037 w 3047209"/>
                <a:gd name="connsiteY6" fmla="*/ 122046 h 4498713"/>
                <a:gd name="connsiteX7" fmla="*/ 2312574 w 3047209"/>
                <a:gd name="connsiteY7" fmla="*/ 101055 h 4498713"/>
                <a:gd name="connsiteX8" fmla="*/ 2277591 w 3047209"/>
                <a:gd name="connsiteY8" fmla="*/ 139539 h 4498713"/>
                <a:gd name="connsiteX9" fmla="*/ 2312574 w 3047209"/>
                <a:gd name="connsiteY9" fmla="*/ 192017 h 4498713"/>
                <a:gd name="connsiteX10" fmla="*/ 2421020 w 3047209"/>
                <a:gd name="connsiteY10" fmla="*/ 227002 h 4498713"/>
                <a:gd name="connsiteX11" fmla="*/ 2473494 w 3047209"/>
                <a:gd name="connsiteY11" fmla="*/ 192016 h 4498713"/>
                <a:gd name="connsiteX12" fmla="*/ 2529466 w 3047209"/>
                <a:gd name="connsiteY12" fmla="*/ 261987 h 4498713"/>
                <a:gd name="connsiteX13" fmla="*/ 2546957 w 3047209"/>
                <a:gd name="connsiteY13" fmla="*/ 352949 h 4498713"/>
                <a:gd name="connsiteX14" fmla="*/ 2386037 w 3047209"/>
                <a:gd name="connsiteY14" fmla="*/ 352949 h 4498713"/>
                <a:gd name="connsiteX15" fmla="*/ 2330065 w 3047209"/>
                <a:gd name="connsiteY15" fmla="*/ 457905 h 4498713"/>
                <a:gd name="connsiteX16" fmla="*/ 2260100 w 3047209"/>
                <a:gd name="connsiteY16" fmla="*/ 440413 h 4498713"/>
                <a:gd name="connsiteX17" fmla="*/ 2242608 w 3047209"/>
                <a:gd name="connsiteY17" fmla="*/ 475398 h 4498713"/>
                <a:gd name="connsiteX18" fmla="*/ 2312574 w 3047209"/>
                <a:gd name="connsiteY18" fmla="*/ 510383 h 4498713"/>
                <a:gd name="connsiteX19" fmla="*/ 2386037 w 3047209"/>
                <a:gd name="connsiteY19" fmla="*/ 601345 h 4498713"/>
                <a:gd name="connsiteX20" fmla="*/ 2421020 w 3047209"/>
                <a:gd name="connsiteY20" fmla="*/ 566360 h 4498713"/>
                <a:gd name="connsiteX21" fmla="*/ 2456002 w 3047209"/>
                <a:gd name="connsiteY21" fmla="*/ 583852 h 4498713"/>
                <a:gd name="connsiteX22" fmla="*/ 2490985 w 3047209"/>
                <a:gd name="connsiteY22" fmla="*/ 566360 h 4498713"/>
                <a:gd name="connsiteX23" fmla="*/ 2529466 w 3047209"/>
                <a:gd name="connsiteY23" fmla="*/ 636331 h 4498713"/>
                <a:gd name="connsiteX24" fmla="*/ 2599431 w 3047209"/>
                <a:gd name="connsiteY24" fmla="*/ 688809 h 4498713"/>
                <a:gd name="connsiteX25" fmla="*/ 2669397 w 3047209"/>
                <a:gd name="connsiteY25" fmla="*/ 832248 h 4498713"/>
                <a:gd name="connsiteX26" fmla="*/ 2669397 w 3047209"/>
                <a:gd name="connsiteY26" fmla="*/ 902219 h 4498713"/>
                <a:gd name="connsiteX27" fmla="*/ 2581940 w 3047209"/>
                <a:gd name="connsiteY27" fmla="*/ 867234 h 4498713"/>
                <a:gd name="connsiteX28" fmla="*/ 2564449 w 3047209"/>
                <a:gd name="connsiteY28" fmla="*/ 937205 h 4498713"/>
                <a:gd name="connsiteX29" fmla="*/ 2508476 w 3047209"/>
                <a:gd name="connsiteY29" fmla="*/ 993181 h 4498713"/>
                <a:gd name="connsiteX30" fmla="*/ 2456002 w 3047209"/>
                <a:gd name="connsiteY30" fmla="*/ 993181 h 4498713"/>
                <a:gd name="connsiteX31" fmla="*/ 2529466 w 3047209"/>
                <a:gd name="connsiteY31" fmla="*/ 1010674 h 4498713"/>
                <a:gd name="connsiteX32" fmla="*/ 2564449 w 3047209"/>
                <a:gd name="connsiteY32" fmla="*/ 958196 h 4498713"/>
                <a:gd name="connsiteX33" fmla="*/ 2634414 w 3047209"/>
                <a:gd name="connsiteY33" fmla="*/ 1098137 h 4498713"/>
                <a:gd name="connsiteX34" fmla="*/ 2616923 w 3047209"/>
                <a:gd name="connsiteY34" fmla="*/ 975689 h 4498713"/>
                <a:gd name="connsiteX35" fmla="*/ 2651905 w 3047209"/>
                <a:gd name="connsiteY35" fmla="*/ 958196 h 4498713"/>
                <a:gd name="connsiteX36" fmla="*/ 2795334 w 3047209"/>
                <a:gd name="connsiteY36" fmla="*/ 1098137 h 4498713"/>
                <a:gd name="connsiteX37" fmla="*/ 2795334 w 3047209"/>
                <a:gd name="connsiteY37" fmla="*/ 1171606 h 4498713"/>
                <a:gd name="connsiteX38" fmla="*/ 2725369 w 3047209"/>
                <a:gd name="connsiteY38" fmla="*/ 1189099 h 4498713"/>
                <a:gd name="connsiteX39" fmla="*/ 2742860 w 3047209"/>
                <a:gd name="connsiteY39" fmla="*/ 1224084 h 4498713"/>
                <a:gd name="connsiteX40" fmla="*/ 2669397 w 3047209"/>
                <a:gd name="connsiteY40" fmla="*/ 1276562 h 4498713"/>
                <a:gd name="connsiteX41" fmla="*/ 2581940 w 3047209"/>
                <a:gd name="connsiteY41" fmla="*/ 1259070 h 4498713"/>
                <a:gd name="connsiteX42" fmla="*/ 2546957 w 3047209"/>
                <a:gd name="connsiteY42" fmla="*/ 1154114 h 4498713"/>
                <a:gd name="connsiteX43" fmla="*/ 2564449 w 3047209"/>
                <a:gd name="connsiteY43" fmla="*/ 1329040 h 4498713"/>
                <a:gd name="connsiteX44" fmla="*/ 2599431 w 3047209"/>
                <a:gd name="connsiteY44" fmla="*/ 1346533 h 4498713"/>
                <a:gd name="connsiteX45" fmla="*/ 2760351 w 3047209"/>
                <a:gd name="connsiteY45" fmla="*/ 1329040 h 4498713"/>
                <a:gd name="connsiteX46" fmla="*/ 2795334 w 3047209"/>
                <a:gd name="connsiteY46" fmla="*/ 1472480 h 4498713"/>
                <a:gd name="connsiteX47" fmla="*/ 2725369 w 3047209"/>
                <a:gd name="connsiteY47" fmla="*/ 1489973 h 4498713"/>
                <a:gd name="connsiteX48" fmla="*/ 2669397 w 3047209"/>
                <a:gd name="connsiteY48" fmla="*/ 1580935 h 4498713"/>
                <a:gd name="connsiteX49" fmla="*/ 2490985 w 3047209"/>
                <a:gd name="connsiteY49" fmla="*/ 1542451 h 4498713"/>
                <a:gd name="connsiteX50" fmla="*/ 2438511 w 3047209"/>
                <a:gd name="connsiteY50" fmla="*/ 1472480 h 4498713"/>
                <a:gd name="connsiteX51" fmla="*/ 2421020 w 3047209"/>
                <a:gd name="connsiteY51" fmla="*/ 1542451 h 4498713"/>
                <a:gd name="connsiteX52" fmla="*/ 2295082 w 3047209"/>
                <a:gd name="connsiteY52" fmla="*/ 1489973 h 4498713"/>
                <a:gd name="connsiteX53" fmla="*/ 2403528 w 3047209"/>
                <a:gd name="connsiteY53" fmla="*/ 1580935 h 4498713"/>
                <a:gd name="connsiteX54" fmla="*/ 2312574 w 3047209"/>
                <a:gd name="connsiteY54" fmla="*/ 1703384 h 4498713"/>
                <a:gd name="connsiteX55" fmla="*/ 2169145 w 3047209"/>
                <a:gd name="connsiteY55" fmla="*/ 1668398 h 4498713"/>
                <a:gd name="connsiteX56" fmla="*/ 2260100 w 3047209"/>
                <a:gd name="connsiteY56" fmla="*/ 1703384 h 4498713"/>
                <a:gd name="connsiteX57" fmla="*/ 2260100 w 3047209"/>
                <a:gd name="connsiteY57" fmla="*/ 1738369 h 4498713"/>
                <a:gd name="connsiteX58" fmla="*/ 2260098 w 3047209"/>
                <a:gd name="connsiteY58" fmla="*/ 1738370 h 4498713"/>
                <a:gd name="connsiteX59" fmla="*/ 2207626 w 3047209"/>
                <a:gd name="connsiteY59" fmla="*/ 1755862 h 4498713"/>
                <a:gd name="connsiteX60" fmla="*/ 2207626 w 3047209"/>
                <a:gd name="connsiteY60" fmla="*/ 1760571 h 4498713"/>
                <a:gd name="connsiteX61" fmla="*/ 2169145 w 3047209"/>
                <a:gd name="connsiteY61" fmla="*/ 1776853 h 4498713"/>
                <a:gd name="connsiteX62" fmla="*/ 2207626 w 3047209"/>
                <a:gd name="connsiteY62" fmla="*/ 1794345 h 4498713"/>
                <a:gd name="connsiteX63" fmla="*/ 2207626 w 3047209"/>
                <a:gd name="connsiteY63" fmla="*/ 1760571 h 4498713"/>
                <a:gd name="connsiteX64" fmla="*/ 2260098 w 3047209"/>
                <a:gd name="connsiteY64" fmla="*/ 1738370 h 4498713"/>
                <a:gd name="connsiteX65" fmla="*/ 2312574 w 3047209"/>
                <a:gd name="connsiteY65" fmla="*/ 1720876 h 4498713"/>
                <a:gd name="connsiteX66" fmla="*/ 2368546 w 3047209"/>
                <a:gd name="connsiteY66" fmla="*/ 1668398 h 4498713"/>
                <a:gd name="connsiteX67" fmla="*/ 2368546 w 3047209"/>
                <a:gd name="connsiteY67" fmla="*/ 1633413 h 4498713"/>
                <a:gd name="connsiteX68" fmla="*/ 2438511 w 3047209"/>
                <a:gd name="connsiteY68" fmla="*/ 1598428 h 4498713"/>
                <a:gd name="connsiteX69" fmla="*/ 2725369 w 3047209"/>
                <a:gd name="connsiteY69" fmla="*/ 1685891 h 4498713"/>
                <a:gd name="connsiteX70" fmla="*/ 2795334 w 3047209"/>
                <a:gd name="connsiteY70" fmla="*/ 1951780 h 4498713"/>
                <a:gd name="connsiteX71" fmla="*/ 2616923 w 3047209"/>
                <a:gd name="connsiteY71" fmla="*/ 1916794 h 4498713"/>
                <a:gd name="connsiteX72" fmla="*/ 2456002 w 3047209"/>
                <a:gd name="connsiteY72" fmla="*/ 1720876 h 4498713"/>
                <a:gd name="connsiteX73" fmla="*/ 2295082 w 3047209"/>
                <a:gd name="connsiteY73" fmla="*/ 1881809 h 4498713"/>
                <a:gd name="connsiteX74" fmla="*/ 2330065 w 3047209"/>
                <a:gd name="connsiteY74" fmla="*/ 1899302 h 4498713"/>
                <a:gd name="connsiteX75" fmla="*/ 2456002 w 3047209"/>
                <a:gd name="connsiteY75" fmla="*/ 1776853 h 4498713"/>
                <a:gd name="connsiteX76" fmla="*/ 2508476 w 3047209"/>
                <a:gd name="connsiteY76" fmla="*/ 1881809 h 4498713"/>
                <a:gd name="connsiteX77" fmla="*/ 2473494 w 3047209"/>
                <a:gd name="connsiteY77" fmla="*/ 1951780 h 4498713"/>
                <a:gd name="connsiteX78" fmla="*/ 2490985 w 3047209"/>
                <a:gd name="connsiteY78" fmla="*/ 1969272 h 4498713"/>
                <a:gd name="connsiteX79" fmla="*/ 2529466 w 3047209"/>
                <a:gd name="connsiteY79" fmla="*/ 1916794 h 4498713"/>
                <a:gd name="connsiteX80" fmla="*/ 2546957 w 3047209"/>
                <a:gd name="connsiteY80" fmla="*/ 1951780 h 4498713"/>
                <a:gd name="connsiteX81" fmla="*/ 2795334 w 3047209"/>
                <a:gd name="connsiteY81" fmla="*/ 2025249 h 4498713"/>
                <a:gd name="connsiteX82" fmla="*/ 2812826 w 3047209"/>
                <a:gd name="connsiteY82" fmla="*/ 2077727 h 4498713"/>
                <a:gd name="connsiteX83" fmla="*/ 2868798 w 3047209"/>
                <a:gd name="connsiteY83" fmla="*/ 2060234 h 4498713"/>
                <a:gd name="connsiteX84" fmla="*/ 2830317 w 3047209"/>
                <a:gd name="connsiteY84" fmla="*/ 2165190 h 4498713"/>
                <a:gd name="connsiteX85" fmla="*/ 2868798 w 3047209"/>
                <a:gd name="connsiteY85" fmla="*/ 2238659 h 4498713"/>
                <a:gd name="connsiteX86" fmla="*/ 2868798 w 3047209"/>
                <a:gd name="connsiteY86" fmla="*/ 2165190 h 4498713"/>
                <a:gd name="connsiteX87" fmla="*/ 2921272 w 3047209"/>
                <a:gd name="connsiteY87" fmla="*/ 2147698 h 4498713"/>
                <a:gd name="connsiteX88" fmla="*/ 3047209 w 3047209"/>
                <a:gd name="connsiteY88" fmla="*/ 2469563 h 4498713"/>
                <a:gd name="connsiteX89" fmla="*/ 2956254 w 3047209"/>
                <a:gd name="connsiteY89" fmla="*/ 2487055 h 4498713"/>
                <a:gd name="connsiteX90" fmla="*/ 2903780 w 3047209"/>
                <a:gd name="connsiteY90" fmla="*/ 2361108 h 4498713"/>
                <a:gd name="connsiteX91" fmla="*/ 2938763 w 3047209"/>
                <a:gd name="connsiteY91" fmla="*/ 2504548 h 4498713"/>
                <a:gd name="connsiteX92" fmla="*/ 2903780 w 3047209"/>
                <a:gd name="connsiteY92" fmla="*/ 2522041 h 4498713"/>
                <a:gd name="connsiteX93" fmla="*/ 2795334 w 3047209"/>
                <a:gd name="connsiteY93" fmla="*/ 2504548 h 4498713"/>
                <a:gd name="connsiteX94" fmla="*/ 2707877 w 3047209"/>
                <a:gd name="connsiteY94" fmla="*/ 2417085 h 4498713"/>
                <a:gd name="connsiteX95" fmla="*/ 2707877 w 3047209"/>
                <a:gd name="connsiteY95" fmla="*/ 2361108 h 4498713"/>
                <a:gd name="connsiteX96" fmla="*/ 2651905 w 3047209"/>
                <a:gd name="connsiteY96" fmla="*/ 2326123 h 4498713"/>
                <a:gd name="connsiteX97" fmla="*/ 2473494 w 3047209"/>
                <a:gd name="connsiteY97" fmla="*/ 2238659 h 4498713"/>
                <a:gd name="connsiteX98" fmla="*/ 2347556 w 3047209"/>
                <a:gd name="connsiteY98" fmla="*/ 2256152 h 4498713"/>
                <a:gd name="connsiteX99" fmla="*/ 2347556 w 3047209"/>
                <a:gd name="connsiteY99" fmla="*/ 2291137 h 4498713"/>
                <a:gd name="connsiteX100" fmla="*/ 2490985 w 3047209"/>
                <a:gd name="connsiteY100" fmla="*/ 2273645 h 4498713"/>
                <a:gd name="connsiteX101" fmla="*/ 2529466 w 3047209"/>
                <a:gd name="connsiteY101" fmla="*/ 2361108 h 4498713"/>
                <a:gd name="connsiteX102" fmla="*/ 2456002 w 3047209"/>
                <a:gd name="connsiteY102" fmla="*/ 2469563 h 4498713"/>
                <a:gd name="connsiteX103" fmla="*/ 2260100 w 3047209"/>
                <a:gd name="connsiteY103" fmla="*/ 2504548 h 4498713"/>
                <a:gd name="connsiteX104" fmla="*/ 2312574 w 3047209"/>
                <a:gd name="connsiteY104" fmla="*/ 2522041 h 4498713"/>
                <a:gd name="connsiteX105" fmla="*/ 2312574 w 3047209"/>
                <a:gd name="connsiteY105" fmla="*/ 2613003 h 4498713"/>
                <a:gd name="connsiteX106" fmla="*/ 2225117 w 3047209"/>
                <a:gd name="connsiteY106" fmla="*/ 2700466 h 4498713"/>
                <a:gd name="connsiteX107" fmla="*/ 2403528 w 3047209"/>
                <a:gd name="connsiteY107" fmla="*/ 2682974 h 4498713"/>
                <a:gd name="connsiteX108" fmla="*/ 2490985 w 3047209"/>
                <a:gd name="connsiteY108" fmla="*/ 2630495 h 4498713"/>
                <a:gd name="connsiteX109" fmla="*/ 2508476 w 3047209"/>
                <a:gd name="connsiteY109" fmla="*/ 2665481 h 4498713"/>
                <a:gd name="connsiteX110" fmla="*/ 2456002 w 3047209"/>
                <a:gd name="connsiteY110" fmla="*/ 2700466 h 4498713"/>
                <a:gd name="connsiteX111" fmla="*/ 2421020 w 3047209"/>
                <a:gd name="connsiteY111" fmla="*/ 2805422 h 4498713"/>
                <a:gd name="connsiteX112" fmla="*/ 2456002 w 3047209"/>
                <a:gd name="connsiteY112" fmla="*/ 2805422 h 4498713"/>
                <a:gd name="connsiteX113" fmla="*/ 2473494 w 3047209"/>
                <a:gd name="connsiteY113" fmla="*/ 2735452 h 4498713"/>
                <a:gd name="connsiteX114" fmla="*/ 2634414 w 3047209"/>
                <a:gd name="connsiteY114" fmla="*/ 2630495 h 4498713"/>
                <a:gd name="connsiteX115" fmla="*/ 2851306 w 3047209"/>
                <a:gd name="connsiteY115" fmla="*/ 2647988 h 4498713"/>
                <a:gd name="connsiteX116" fmla="*/ 3012227 w 3047209"/>
                <a:gd name="connsiteY116" fmla="*/ 2592012 h 4498713"/>
                <a:gd name="connsiteX117" fmla="*/ 3029718 w 3047209"/>
                <a:gd name="connsiteY117" fmla="*/ 2613003 h 4498713"/>
                <a:gd name="connsiteX118" fmla="*/ 2938763 w 3047209"/>
                <a:gd name="connsiteY118" fmla="*/ 2700466 h 4498713"/>
                <a:gd name="connsiteX119" fmla="*/ 2956254 w 3047209"/>
                <a:gd name="connsiteY119" fmla="*/ 2735452 h 4498713"/>
                <a:gd name="connsiteX120" fmla="*/ 2868798 w 3047209"/>
                <a:gd name="connsiteY120" fmla="*/ 2787930 h 4498713"/>
                <a:gd name="connsiteX121" fmla="*/ 2903780 w 3047209"/>
                <a:gd name="connsiteY121" fmla="*/ 2826413 h 4498713"/>
                <a:gd name="connsiteX122" fmla="*/ 2830317 w 3047209"/>
                <a:gd name="connsiteY122" fmla="*/ 2843906 h 4498713"/>
                <a:gd name="connsiteX123" fmla="*/ 2868798 w 3047209"/>
                <a:gd name="connsiteY123" fmla="*/ 2878891 h 4498713"/>
                <a:gd name="connsiteX124" fmla="*/ 2760351 w 3047209"/>
                <a:gd name="connsiteY124" fmla="*/ 2983848 h 4498713"/>
                <a:gd name="connsiteX125" fmla="*/ 2795334 w 3047209"/>
                <a:gd name="connsiteY125" fmla="*/ 3018833 h 4498713"/>
                <a:gd name="connsiteX126" fmla="*/ 2669397 w 3047209"/>
                <a:gd name="connsiteY126" fmla="*/ 3214751 h 4498713"/>
                <a:gd name="connsiteX127" fmla="*/ 2368546 w 3047209"/>
                <a:gd name="connsiteY127" fmla="*/ 3428161 h 4498713"/>
                <a:gd name="connsiteX128" fmla="*/ 2277591 w 3047209"/>
                <a:gd name="connsiteY128" fmla="*/ 3428161 h 4498713"/>
                <a:gd name="connsiteX129" fmla="*/ 2242608 w 3047209"/>
                <a:gd name="connsiteY129" fmla="*/ 3484138 h 4498713"/>
                <a:gd name="connsiteX130" fmla="*/ 2186636 w 3047209"/>
                <a:gd name="connsiteY130" fmla="*/ 3484138 h 4498713"/>
                <a:gd name="connsiteX131" fmla="*/ 2207626 w 3047209"/>
                <a:gd name="connsiteY131" fmla="*/ 3519123 h 4498713"/>
                <a:gd name="connsiteX132" fmla="*/ 2151654 w 3047209"/>
                <a:gd name="connsiteY132" fmla="*/ 3554109 h 4498713"/>
                <a:gd name="connsiteX133" fmla="*/ 1973242 w 3047209"/>
                <a:gd name="connsiteY133" fmla="*/ 3449153 h 4498713"/>
                <a:gd name="connsiteX134" fmla="*/ 2008225 w 3047209"/>
                <a:gd name="connsiteY134" fmla="*/ 3624079 h 4498713"/>
                <a:gd name="connsiteX135" fmla="*/ 1903277 w 3047209"/>
                <a:gd name="connsiteY135" fmla="*/ 3732534 h 4498713"/>
                <a:gd name="connsiteX136" fmla="*/ 1812322 w 3047209"/>
                <a:gd name="connsiteY136" fmla="*/ 4106877 h 4498713"/>
                <a:gd name="connsiteX137" fmla="*/ 1794830 w 3047209"/>
                <a:gd name="connsiteY137" fmla="*/ 4089385 h 4498713"/>
                <a:gd name="connsiteX138" fmla="*/ 1777339 w 3047209"/>
                <a:gd name="connsiteY138" fmla="*/ 4106877 h 4498713"/>
                <a:gd name="connsiteX139" fmla="*/ 1777339 w 3047209"/>
                <a:gd name="connsiteY139" fmla="*/ 4159355 h 4498713"/>
                <a:gd name="connsiteX140" fmla="*/ 1686384 w 3047209"/>
                <a:gd name="connsiteY140" fmla="*/ 4246819 h 4498713"/>
                <a:gd name="connsiteX141" fmla="*/ 1598928 w 3047209"/>
                <a:gd name="connsiteY141" fmla="*/ 4176848 h 4498713"/>
                <a:gd name="connsiteX142" fmla="*/ 1633910 w 3047209"/>
                <a:gd name="connsiteY142" fmla="*/ 4302795 h 4498713"/>
                <a:gd name="connsiteX143" fmla="*/ 1581436 w 3047209"/>
                <a:gd name="connsiteY143" fmla="*/ 4337781 h 4498713"/>
                <a:gd name="connsiteX144" fmla="*/ 1563945 w 3047209"/>
                <a:gd name="connsiteY144" fmla="*/ 4390259 h 4498713"/>
                <a:gd name="connsiteX145" fmla="*/ 1525464 w 3047209"/>
                <a:gd name="connsiteY145" fmla="*/ 4337781 h 4498713"/>
                <a:gd name="connsiteX146" fmla="*/ 1490481 w 3047209"/>
                <a:gd name="connsiteY146" fmla="*/ 4425244 h 4498713"/>
                <a:gd name="connsiteX147" fmla="*/ 1455499 w 3047209"/>
                <a:gd name="connsiteY147" fmla="*/ 4390259 h 4498713"/>
                <a:gd name="connsiteX148" fmla="*/ 1403025 w 3047209"/>
                <a:gd name="connsiteY148" fmla="*/ 4481221 h 4498713"/>
                <a:gd name="connsiteX149" fmla="*/ 1364544 w 3047209"/>
                <a:gd name="connsiteY149" fmla="*/ 4498713 h 4498713"/>
                <a:gd name="connsiteX150" fmla="*/ 1329561 w 3047209"/>
                <a:gd name="connsiteY150" fmla="*/ 4481221 h 4498713"/>
                <a:gd name="connsiteX151" fmla="*/ 1403025 w 3047209"/>
                <a:gd name="connsiteY151" fmla="*/ 4246819 h 4498713"/>
                <a:gd name="connsiteX152" fmla="*/ 1277087 w 3047209"/>
                <a:gd name="connsiteY152" fmla="*/ 4229326 h 4498713"/>
                <a:gd name="connsiteX153" fmla="*/ 1347052 w 3047209"/>
                <a:gd name="connsiteY153" fmla="*/ 4264311 h 4498713"/>
                <a:gd name="connsiteX154" fmla="*/ 1294578 w 3047209"/>
                <a:gd name="connsiteY154" fmla="*/ 4390259 h 4498713"/>
                <a:gd name="connsiteX155" fmla="*/ 1292768 w 3047209"/>
                <a:gd name="connsiteY155" fmla="*/ 4389052 h 4498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</a:cxnLst>
              <a:rect l="l" t="t" r="r" b="b"/>
              <a:pathLst>
                <a:path w="3047209" h="4498713">
                  <a:moveTo>
                    <a:pt x="0" y="777356"/>
                  </a:moveTo>
                  <a:lnTo>
                    <a:pt x="2171754" y="0"/>
                  </a:lnTo>
                  <a:lnTo>
                    <a:pt x="2186636" y="122046"/>
                  </a:lnTo>
                  <a:lnTo>
                    <a:pt x="2225117" y="157031"/>
                  </a:lnTo>
                  <a:lnTo>
                    <a:pt x="2242608" y="48577"/>
                  </a:lnTo>
                  <a:lnTo>
                    <a:pt x="2330065" y="66069"/>
                  </a:lnTo>
                  <a:lnTo>
                    <a:pt x="2386037" y="122046"/>
                  </a:lnTo>
                  <a:lnTo>
                    <a:pt x="2312574" y="101055"/>
                  </a:lnTo>
                  <a:lnTo>
                    <a:pt x="2277591" y="139539"/>
                  </a:lnTo>
                  <a:lnTo>
                    <a:pt x="2312574" y="192017"/>
                  </a:lnTo>
                  <a:lnTo>
                    <a:pt x="2421020" y="227002"/>
                  </a:lnTo>
                  <a:lnTo>
                    <a:pt x="2473494" y="192016"/>
                  </a:lnTo>
                  <a:lnTo>
                    <a:pt x="2529466" y="261987"/>
                  </a:lnTo>
                  <a:lnTo>
                    <a:pt x="2546957" y="352949"/>
                  </a:lnTo>
                  <a:lnTo>
                    <a:pt x="2386037" y="352949"/>
                  </a:lnTo>
                  <a:lnTo>
                    <a:pt x="2330065" y="457905"/>
                  </a:lnTo>
                  <a:lnTo>
                    <a:pt x="2260100" y="440413"/>
                  </a:lnTo>
                  <a:lnTo>
                    <a:pt x="2242608" y="475398"/>
                  </a:lnTo>
                  <a:lnTo>
                    <a:pt x="2312574" y="510383"/>
                  </a:lnTo>
                  <a:lnTo>
                    <a:pt x="2386037" y="601345"/>
                  </a:lnTo>
                  <a:lnTo>
                    <a:pt x="2421020" y="566360"/>
                  </a:lnTo>
                  <a:lnTo>
                    <a:pt x="2456002" y="583852"/>
                  </a:lnTo>
                  <a:lnTo>
                    <a:pt x="2490985" y="566360"/>
                  </a:lnTo>
                  <a:lnTo>
                    <a:pt x="2529466" y="636331"/>
                  </a:lnTo>
                  <a:lnTo>
                    <a:pt x="2599431" y="688809"/>
                  </a:lnTo>
                  <a:lnTo>
                    <a:pt x="2669397" y="832248"/>
                  </a:lnTo>
                  <a:lnTo>
                    <a:pt x="2669397" y="902219"/>
                  </a:lnTo>
                  <a:lnTo>
                    <a:pt x="2581940" y="867234"/>
                  </a:lnTo>
                  <a:lnTo>
                    <a:pt x="2564449" y="937205"/>
                  </a:lnTo>
                  <a:lnTo>
                    <a:pt x="2508476" y="993181"/>
                  </a:lnTo>
                  <a:lnTo>
                    <a:pt x="2456002" y="993181"/>
                  </a:lnTo>
                  <a:lnTo>
                    <a:pt x="2529466" y="1010674"/>
                  </a:lnTo>
                  <a:lnTo>
                    <a:pt x="2564449" y="958196"/>
                  </a:lnTo>
                  <a:lnTo>
                    <a:pt x="2634414" y="1098137"/>
                  </a:lnTo>
                  <a:lnTo>
                    <a:pt x="2616923" y="975689"/>
                  </a:lnTo>
                  <a:lnTo>
                    <a:pt x="2651905" y="958196"/>
                  </a:lnTo>
                  <a:lnTo>
                    <a:pt x="2795334" y="1098137"/>
                  </a:lnTo>
                  <a:lnTo>
                    <a:pt x="2795334" y="1171606"/>
                  </a:lnTo>
                  <a:lnTo>
                    <a:pt x="2725369" y="1189099"/>
                  </a:lnTo>
                  <a:lnTo>
                    <a:pt x="2742860" y="1224084"/>
                  </a:lnTo>
                  <a:lnTo>
                    <a:pt x="2669397" y="1276562"/>
                  </a:lnTo>
                  <a:lnTo>
                    <a:pt x="2581940" y="1259070"/>
                  </a:lnTo>
                  <a:lnTo>
                    <a:pt x="2546957" y="1154114"/>
                  </a:lnTo>
                  <a:lnTo>
                    <a:pt x="2564449" y="1329040"/>
                  </a:lnTo>
                  <a:lnTo>
                    <a:pt x="2599431" y="1346533"/>
                  </a:lnTo>
                  <a:lnTo>
                    <a:pt x="2760351" y="1329040"/>
                  </a:lnTo>
                  <a:lnTo>
                    <a:pt x="2795334" y="1472480"/>
                  </a:lnTo>
                  <a:lnTo>
                    <a:pt x="2725369" y="1489973"/>
                  </a:lnTo>
                  <a:lnTo>
                    <a:pt x="2669397" y="1580935"/>
                  </a:lnTo>
                  <a:lnTo>
                    <a:pt x="2490985" y="1542451"/>
                  </a:lnTo>
                  <a:lnTo>
                    <a:pt x="2438511" y="1472480"/>
                  </a:lnTo>
                  <a:lnTo>
                    <a:pt x="2421020" y="1542451"/>
                  </a:lnTo>
                  <a:lnTo>
                    <a:pt x="2295082" y="1489973"/>
                  </a:lnTo>
                  <a:lnTo>
                    <a:pt x="2403528" y="1580935"/>
                  </a:lnTo>
                  <a:lnTo>
                    <a:pt x="2312574" y="1703384"/>
                  </a:lnTo>
                  <a:lnTo>
                    <a:pt x="2169145" y="1668398"/>
                  </a:lnTo>
                  <a:lnTo>
                    <a:pt x="2260100" y="1703384"/>
                  </a:lnTo>
                  <a:lnTo>
                    <a:pt x="2260100" y="1738369"/>
                  </a:lnTo>
                  <a:lnTo>
                    <a:pt x="2260098" y="1738370"/>
                  </a:lnTo>
                  <a:lnTo>
                    <a:pt x="2207626" y="1755862"/>
                  </a:lnTo>
                  <a:lnTo>
                    <a:pt x="2207626" y="1760571"/>
                  </a:lnTo>
                  <a:lnTo>
                    <a:pt x="2169145" y="1776853"/>
                  </a:lnTo>
                  <a:lnTo>
                    <a:pt x="2207626" y="1794345"/>
                  </a:lnTo>
                  <a:lnTo>
                    <a:pt x="2207626" y="1760571"/>
                  </a:lnTo>
                  <a:lnTo>
                    <a:pt x="2260098" y="1738370"/>
                  </a:lnTo>
                  <a:lnTo>
                    <a:pt x="2312574" y="1720876"/>
                  </a:lnTo>
                  <a:lnTo>
                    <a:pt x="2368546" y="1668398"/>
                  </a:lnTo>
                  <a:lnTo>
                    <a:pt x="2368546" y="1633413"/>
                  </a:lnTo>
                  <a:lnTo>
                    <a:pt x="2438511" y="1598428"/>
                  </a:lnTo>
                  <a:lnTo>
                    <a:pt x="2725369" y="1685891"/>
                  </a:lnTo>
                  <a:lnTo>
                    <a:pt x="2795334" y="1951780"/>
                  </a:lnTo>
                  <a:lnTo>
                    <a:pt x="2616923" y="1916794"/>
                  </a:lnTo>
                  <a:lnTo>
                    <a:pt x="2456002" y="1720876"/>
                  </a:lnTo>
                  <a:lnTo>
                    <a:pt x="2295082" y="1881809"/>
                  </a:lnTo>
                  <a:lnTo>
                    <a:pt x="2330065" y="1899302"/>
                  </a:lnTo>
                  <a:lnTo>
                    <a:pt x="2456002" y="1776853"/>
                  </a:lnTo>
                  <a:lnTo>
                    <a:pt x="2508476" y="1881809"/>
                  </a:lnTo>
                  <a:lnTo>
                    <a:pt x="2473494" y="1951780"/>
                  </a:lnTo>
                  <a:lnTo>
                    <a:pt x="2490985" y="1969272"/>
                  </a:lnTo>
                  <a:lnTo>
                    <a:pt x="2529466" y="1916794"/>
                  </a:lnTo>
                  <a:lnTo>
                    <a:pt x="2546957" y="1951780"/>
                  </a:lnTo>
                  <a:lnTo>
                    <a:pt x="2795334" y="2025249"/>
                  </a:lnTo>
                  <a:lnTo>
                    <a:pt x="2812826" y="2077727"/>
                  </a:lnTo>
                  <a:lnTo>
                    <a:pt x="2868798" y="2060234"/>
                  </a:lnTo>
                  <a:lnTo>
                    <a:pt x="2830317" y="2165190"/>
                  </a:lnTo>
                  <a:lnTo>
                    <a:pt x="2868798" y="2238659"/>
                  </a:lnTo>
                  <a:lnTo>
                    <a:pt x="2868798" y="2165190"/>
                  </a:lnTo>
                  <a:lnTo>
                    <a:pt x="2921272" y="2147698"/>
                  </a:lnTo>
                  <a:lnTo>
                    <a:pt x="3047209" y="2469563"/>
                  </a:lnTo>
                  <a:lnTo>
                    <a:pt x="2956254" y="2487055"/>
                  </a:lnTo>
                  <a:lnTo>
                    <a:pt x="2903780" y="2361108"/>
                  </a:lnTo>
                  <a:lnTo>
                    <a:pt x="2938763" y="2504548"/>
                  </a:lnTo>
                  <a:lnTo>
                    <a:pt x="2903780" y="2522041"/>
                  </a:lnTo>
                  <a:lnTo>
                    <a:pt x="2795334" y="2504548"/>
                  </a:lnTo>
                  <a:lnTo>
                    <a:pt x="2707877" y="2417085"/>
                  </a:lnTo>
                  <a:lnTo>
                    <a:pt x="2707877" y="2361108"/>
                  </a:lnTo>
                  <a:lnTo>
                    <a:pt x="2651905" y="2326123"/>
                  </a:lnTo>
                  <a:lnTo>
                    <a:pt x="2473494" y="2238659"/>
                  </a:lnTo>
                  <a:lnTo>
                    <a:pt x="2347556" y="2256152"/>
                  </a:lnTo>
                  <a:lnTo>
                    <a:pt x="2347556" y="2291137"/>
                  </a:lnTo>
                  <a:lnTo>
                    <a:pt x="2490985" y="2273645"/>
                  </a:lnTo>
                  <a:lnTo>
                    <a:pt x="2529466" y="2361108"/>
                  </a:lnTo>
                  <a:lnTo>
                    <a:pt x="2456002" y="2469563"/>
                  </a:lnTo>
                  <a:lnTo>
                    <a:pt x="2260100" y="2504548"/>
                  </a:lnTo>
                  <a:lnTo>
                    <a:pt x="2312574" y="2522041"/>
                  </a:lnTo>
                  <a:lnTo>
                    <a:pt x="2312574" y="2613003"/>
                  </a:lnTo>
                  <a:lnTo>
                    <a:pt x="2225117" y="2700466"/>
                  </a:lnTo>
                  <a:lnTo>
                    <a:pt x="2403528" y="2682974"/>
                  </a:lnTo>
                  <a:lnTo>
                    <a:pt x="2490985" y="2630495"/>
                  </a:lnTo>
                  <a:lnTo>
                    <a:pt x="2508476" y="2665481"/>
                  </a:lnTo>
                  <a:lnTo>
                    <a:pt x="2456002" y="2700466"/>
                  </a:lnTo>
                  <a:lnTo>
                    <a:pt x="2421020" y="2805422"/>
                  </a:lnTo>
                  <a:lnTo>
                    <a:pt x="2456002" y="2805422"/>
                  </a:lnTo>
                  <a:lnTo>
                    <a:pt x="2473494" y="2735452"/>
                  </a:lnTo>
                  <a:lnTo>
                    <a:pt x="2634414" y="2630495"/>
                  </a:lnTo>
                  <a:lnTo>
                    <a:pt x="2851306" y="2647988"/>
                  </a:lnTo>
                  <a:lnTo>
                    <a:pt x="3012227" y="2592012"/>
                  </a:lnTo>
                  <a:lnTo>
                    <a:pt x="3029718" y="2613003"/>
                  </a:lnTo>
                  <a:lnTo>
                    <a:pt x="2938763" y="2700466"/>
                  </a:lnTo>
                  <a:lnTo>
                    <a:pt x="2956254" y="2735452"/>
                  </a:lnTo>
                  <a:lnTo>
                    <a:pt x="2868798" y="2787930"/>
                  </a:lnTo>
                  <a:lnTo>
                    <a:pt x="2903780" y="2826413"/>
                  </a:lnTo>
                  <a:lnTo>
                    <a:pt x="2830317" y="2843906"/>
                  </a:lnTo>
                  <a:lnTo>
                    <a:pt x="2868798" y="2878891"/>
                  </a:lnTo>
                  <a:lnTo>
                    <a:pt x="2760351" y="2983848"/>
                  </a:lnTo>
                  <a:lnTo>
                    <a:pt x="2795334" y="3018833"/>
                  </a:lnTo>
                  <a:lnTo>
                    <a:pt x="2669397" y="3214751"/>
                  </a:lnTo>
                  <a:lnTo>
                    <a:pt x="2368546" y="3428161"/>
                  </a:lnTo>
                  <a:lnTo>
                    <a:pt x="2277591" y="3428161"/>
                  </a:lnTo>
                  <a:lnTo>
                    <a:pt x="2242608" y="3484138"/>
                  </a:lnTo>
                  <a:lnTo>
                    <a:pt x="2186636" y="3484138"/>
                  </a:lnTo>
                  <a:lnTo>
                    <a:pt x="2207626" y="3519123"/>
                  </a:lnTo>
                  <a:lnTo>
                    <a:pt x="2151654" y="3554109"/>
                  </a:lnTo>
                  <a:lnTo>
                    <a:pt x="1973242" y="3449153"/>
                  </a:lnTo>
                  <a:lnTo>
                    <a:pt x="2008225" y="3624079"/>
                  </a:lnTo>
                  <a:lnTo>
                    <a:pt x="1903277" y="3732534"/>
                  </a:lnTo>
                  <a:lnTo>
                    <a:pt x="1812322" y="4106877"/>
                  </a:lnTo>
                  <a:lnTo>
                    <a:pt x="1794830" y="4089385"/>
                  </a:lnTo>
                  <a:lnTo>
                    <a:pt x="1777339" y="4106877"/>
                  </a:lnTo>
                  <a:lnTo>
                    <a:pt x="1777339" y="4159355"/>
                  </a:lnTo>
                  <a:lnTo>
                    <a:pt x="1686384" y="4246819"/>
                  </a:lnTo>
                  <a:lnTo>
                    <a:pt x="1598928" y="4176848"/>
                  </a:lnTo>
                  <a:lnTo>
                    <a:pt x="1633910" y="4302795"/>
                  </a:lnTo>
                  <a:lnTo>
                    <a:pt x="1581436" y="4337781"/>
                  </a:lnTo>
                  <a:lnTo>
                    <a:pt x="1563945" y="4390259"/>
                  </a:lnTo>
                  <a:lnTo>
                    <a:pt x="1525464" y="4337781"/>
                  </a:lnTo>
                  <a:lnTo>
                    <a:pt x="1490481" y="4425244"/>
                  </a:lnTo>
                  <a:lnTo>
                    <a:pt x="1455499" y="4390259"/>
                  </a:lnTo>
                  <a:lnTo>
                    <a:pt x="1403025" y="4481221"/>
                  </a:lnTo>
                  <a:lnTo>
                    <a:pt x="1364544" y="4498713"/>
                  </a:lnTo>
                  <a:lnTo>
                    <a:pt x="1329561" y="4481221"/>
                  </a:lnTo>
                  <a:lnTo>
                    <a:pt x="1403025" y="4246819"/>
                  </a:lnTo>
                  <a:lnTo>
                    <a:pt x="1277087" y="4229326"/>
                  </a:lnTo>
                  <a:lnTo>
                    <a:pt x="1347052" y="4264311"/>
                  </a:lnTo>
                  <a:lnTo>
                    <a:pt x="1294578" y="4390259"/>
                  </a:lnTo>
                  <a:lnTo>
                    <a:pt x="1292768" y="4389052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</p:grpSp>
      <p:sp>
        <p:nvSpPr>
          <p:cNvPr id="203" name="Greenland Text"/>
          <p:cNvSpPr txBox="1"/>
          <p:nvPr/>
        </p:nvSpPr>
        <p:spPr>
          <a:xfrm>
            <a:off x="983302" y="2023002"/>
            <a:ext cx="58264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rgbClr val="F42941"/>
                </a:solidFill>
              </a:rPr>
              <a:t>Greenland</a:t>
            </a:r>
          </a:p>
        </p:txBody>
      </p:sp>
      <p:grpSp>
        <p:nvGrpSpPr>
          <p:cNvPr id="205" name="Faeroe Island"/>
          <p:cNvGrpSpPr>
            <a:grpSpLocks noChangeAspect="1"/>
          </p:cNvGrpSpPr>
          <p:nvPr/>
        </p:nvGrpSpPr>
        <p:grpSpPr bwMode="auto">
          <a:xfrm>
            <a:off x="4222342" y="5112343"/>
            <a:ext cx="453102" cy="666518"/>
            <a:chOff x="4167" y="3001"/>
            <a:chExt cx="138" cy="203"/>
          </a:xfrm>
          <a:solidFill>
            <a:schemeClr val="accent3"/>
          </a:solidFill>
        </p:grpSpPr>
        <p:sp>
          <p:nvSpPr>
            <p:cNvPr id="207" name="Freeform 5"/>
            <p:cNvSpPr>
              <a:spLocks/>
            </p:cNvSpPr>
            <p:nvPr/>
          </p:nvSpPr>
          <p:spPr bwMode="auto">
            <a:xfrm>
              <a:off x="4217" y="3156"/>
              <a:ext cx="28" cy="48"/>
            </a:xfrm>
            <a:custGeom>
              <a:avLst/>
              <a:gdLst>
                <a:gd name="T0" fmla="*/ 25 w 28"/>
                <a:gd name="T1" fmla="*/ 41 h 48"/>
                <a:gd name="T2" fmla="*/ 28 w 28"/>
                <a:gd name="T3" fmla="*/ 48 h 48"/>
                <a:gd name="T4" fmla="*/ 23 w 28"/>
                <a:gd name="T5" fmla="*/ 46 h 48"/>
                <a:gd name="T6" fmla="*/ 15 w 28"/>
                <a:gd name="T7" fmla="*/ 39 h 48"/>
                <a:gd name="T8" fmla="*/ 3 w 28"/>
                <a:gd name="T9" fmla="*/ 22 h 48"/>
                <a:gd name="T10" fmla="*/ 0 w 28"/>
                <a:gd name="T11" fmla="*/ 7 h 48"/>
                <a:gd name="T12" fmla="*/ 0 w 28"/>
                <a:gd name="T13" fmla="*/ 0 h 48"/>
                <a:gd name="T14" fmla="*/ 3 w 28"/>
                <a:gd name="T15" fmla="*/ 0 h 48"/>
                <a:gd name="T16" fmla="*/ 5 w 28"/>
                <a:gd name="T17" fmla="*/ 7 h 48"/>
                <a:gd name="T18" fmla="*/ 20 w 28"/>
                <a:gd name="T19" fmla="*/ 12 h 48"/>
                <a:gd name="T20" fmla="*/ 23 w 28"/>
                <a:gd name="T21" fmla="*/ 14 h 48"/>
                <a:gd name="T22" fmla="*/ 23 w 28"/>
                <a:gd name="T23" fmla="*/ 22 h 48"/>
                <a:gd name="T24" fmla="*/ 25 w 28"/>
                <a:gd name="T25" fmla="*/ 29 h 48"/>
                <a:gd name="T26" fmla="*/ 25 w 28"/>
                <a:gd name="T27" fmla="*/ 4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48">
                  <a:moveTo>
                    <a:pt x="25" y="41"/>
                  </a:moveTo>
                  <a:lnTo>
                    <a:pt x="28" y="48"/>
                  </a:lnTo>
                  <a:lnTo>
                    <a:pt x="23" y="46"/>
                  </a:lnTo>
                  <a:lnTo>
                    <a:pt x="15" y="39"/>
                  </a:lnTo>
                  <a:lnTo>
                    <a:pt x="3" y="22"/>
                  </a:lnTo>
                  <a:lnTo>
                    <a:pt x="0" y="7"/>
                  </a:lnTo>
                  <a:lnTo>
                    <a:pt x="0" y="0"/>
                  </a:lnTo>
                  <a:lnTo>
                    <a:pt x="3" y="0"/>
                  </a:lnTo>
                  <a:lnTo>
                    <a:pt x="5" y="7"/>
                  </a:lnTo>
                  <a:lnTo>
                    <a:pt x="20" y="12"/>
                  </a:lnTo>
                  <a:lnTo>
                    <a:pt x="23" y="14"/>
                  </a:lnTo>
                  <a:lnTo>
                    <a:pt x="23" y="22"/>
                  </a:lnTo>
                  <a:lnTo>
                    <a:pt x="25" y="29"/>
                  </a:lnTo>
                  <a:lnTo>
                    <a:pt x="25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8" name="Freeform 6"/>
            <p:cNvSpPr>
              <a:spLocks/>
            </p:cNvSpPr>
            <p:nvPr/>
          </p:nvSpPr>
          <p:spPr bwMode="auto">
            <a:xfrm>
              <a:off x="4230" y="3097"/>
              <a:ext cx="35" cy="32"/>
            </a:xfrm>
            <a:custGeom>
              <a:avLst/>
              <a:gdLst>
                <a:gd name="T0" fmla="*/ 32 w 35"/>
                <a:gd name="T1" fmla="*/ 22 h 32"/>
                <a:gd name="T2" fmla="*/ 30 w 35"/>
                <a:gd name="T3" fmla="*/ 32 h 32"/>
                <a:gd name="T4" fmla="*/ 25 w 35"/>
                <a:gd name="T5" fmla="*/ 32 h 32"/>
                <a:gd name="T6" fmla="*/ 15 w 35"/>
                <a:gd name="T7" fmla="*/ 19 h 32"/>
                <a:gd name="T8" fmla="*/ 5 w 35"/>
                <a:gd name="T9" fmla="*/ 15 h 32"/>
                <a:gd name="T10" fmla="*/ 2 w 35"/>
                <a:gd name="T11" fmla="*/ 10 h 32"/>
                <a:gd name="T12" fmla="*/ 0 w 35"/>
                <a:gd name="T13" fmla="*/ 2 h 32"/>
                <a:gd name="T14" fmla="*/ 7 w 35"/>
                <a:gd name="T15" fmla="*/ 0 h 32"/>
                <a:gd name="T16" fmla="*/ 12 w 35"/>
                <a:gd name="T17" fmla="*/ 2 h 32"/>
                <a:gd name="T18" fmla="*/ 30 w 35"/>
                <a:gd name="T19" fmla="*/ 12 h 32"/>
                <a:gd name="T20" fmla="*/ 35 w 35"/>
                <a:gd name="T21" fmla="*/ 17 h 32"/>
                <a:gd name="T22" fmla="*/ 32 w 35"/>
                <a:gd name="T2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32">
                  <a:moveTo>
                    <a:pt x="32" y="22"/>
                  </a:moveTo>
                  <a:lnTo>
                    <a:pt x="30" y="32"/>
                  </a:lnTo>
                  <a:lnTo>
                    <a:pt x="25" y="32"/>
                  </a:lnTo>
                  <a:lnTo>
                    <a:pt x="15" y="19"/>
                  </a:lnTo>
                  <a:lnTo>
                    <a:pt x="5" y="15"/>
                  </a:lnTo>
                  <a:lnTo>
                    <a:pt x="2" y="10"/>
                  </a:lnTo>
                  <a:lnTo>
                    <a:pt x="0" y="2"/>
                  </a:lnTo>
                  <a:lnTo>
                    <a:pt x="7" y="0"/>
                  </a:lnTo>
                  <a:lnTo>
                    <a:pt x="12" y="2"/>
                  </a:lnTo>
                  <a:lnTo>
                    <a:pt x="30" y="12"/>
                  </a:lnTo>
                  <a:lnTo>
                    <a:pt x="35" y="17"/>
                  </a:lnTo>
                  <a:lnTo>
                    <a:pt x="32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9" name="Freeform 7"/>
            <p:cNvSpPr>
              <a:spLocks/>
            </p:cNvSpPr>
            <p:nvPr/>
          </p:nvSpPr>
          <p:spPr bwMode="auto">
            <a:xfrm>
              <a:off x="4167" y="3045"/>
              <a:ext cx="45" cy="22"/>
            </a:xfrm>
            <a:custGeom>
              <a:avLst/>
              <a:gdLst>
                <a:gd name="T0" fmla="*/ 33 w 45"/>
                <a:gd name="T1" fmla="*/ 3 h 22"/>
                <a:gd name="T2" fmla="*/ 43 w 45"/>
                <a:gd name="T3" fmla="*/ 10 h 22"/>
                <a:gd name="T4" fmla="*/ 45 w 45"/>
                <a:gd name="T5" fmla="*/ 18 h 22"/>
                <a:gd name="T6" fmla="*/ 38 w 45"/>
                <a:gd name="T7" fmla="*/ 22 h 22"/>
                <a:gd name="T8" fmla="*/ 30 w 45"/>
                <a:gd name="T9" fmla="*/ 22 h 22"/>
                <a:gd name="T10" fmla="*/ 20 w 45"/>
                <a:gd name="T11" fmla="*/ 22 h 22"/>
                <a:gd name="T12" fmla="*/ 3 w 45"/>
                <a:gd name="T13" fmla="*/ 15 h 22"/>
                <a:gd name="T14" fmla="*/ 0 w 45"/>
                <a:gd name="T15" fmla="*/ 0 h 22"/>
                <a:gd name="T16" fmla="*/ 10 w 45"/>
                <a:gd name="T17" fmla="*/ 3 h 22"/>
                <a:gd name="T18" fmla="*/ 25 w 45"/>
                <a:gd name="T19" fmla="*/ 0 h 22"/>
                <a:gd name="T20" fmla="*/ 33 w 45"/>
                <a:gd name="T21" fmla="*/ 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">
                  <a:moveTo>
                    <a:pt x="33" y="3"/>
                  </a:moveTo>
                  <a:lnTo>
                    <a:pt x="43" y="10"/>
                  </a:lnTo>
                  <a:lnTo>
                    <a:pt x="45" y="18"/>
                  </a:lnTo>
                  <a:lnTo>
                    <a:pt x="38" y="22"/>
                  </a:lnTo>
                  <a:lnTo>
                    <a:pt x="30" y="22"/>
                  </a:lnTo>
                  <a:lnTo>
                    <a:pt x="20" y="22"/>
                  </a:lnTo>
                  <a:lnTo>
                    <a:pt x="3" y="15"/>
                  </a:lnTo>
                  <a:lnTo>
                    <a:pt x="0" y="0"/>
                  </a:lnTo>
                  <a:lnTo>
                    <a:pt x="10" y="3"/>
                  </a:lnTo>
                  <a:lnTo>
                    <a:pt x="25" y="0"/>
                  </a:lnTo>
                  <a:lnTo>
                    <a:pt x="3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0" name="Freeform 8"/>
            <p:cNvSpPr>
              <a:spLocks/>
            </p:cNvSpPr>
            <p:nvPr/>
          </p:nvSpPr>
          <p:spPr bwMode="auto">
            <a:xfrm>
              <a:off x="4205" y="3009"/>
              <a:ext cx="70" cy="78"/>
            </a:xfrm>
            <a:custGeom>
              <a:avLst/>
              <a:gdLst>
                <a:gd name="T0" fmla="*/ 70 w 70"/>
                <a:gd name="T1" fmla="*/ 19 h 78"/>
                <a:gd name="T2" fmla="*/ 62 w 70"/>
                <a:gd name="T3" fmla="*/ 49 h 78"/>
                <a:gd name="T4" fmla="*/ 57 w 70"/>
                <a:gd name="T5" fmla="*/ 49 h 78"/>
                <a:gd name="T6" fmla="*/ 47 w 70"/>
                <a:gd name="T7" fmla="*/ 41 h 78"/>
                <a:gd name="T8" fmla="*/ 42 w 70"/>
                <a:gd name="T9" fmla="*/ 39 h 78"/>
                <a:gd name="T10" fmla="*/ 40 w 70"/>
                <a:gd name="T11" fmla="*/ 44 h 78"/>
                <a:gd name="T12" fmla="*/ 37 w 70"/>
                <a:gd name="T13" fmla="*/ 49 h 78"/>
                <a:gd name="T14" fmla="*/ 42 w 70"/>
                <a:gd name="T15" fmla="*/ 51 h 78"/>
                <a:gd name="T16" fmla="*/ 50 w 70"/>
                <a:gd name="T17" fmla="*/ 71 h 78"/>
                <a:gd name="T18" fmla="*/ 50 w 70"/>
                <a:gd name="T19" fmla="*/ 76 h 78"/>
                <a:gd name="T20" fmla="*/ 50 w 70"/>
                <a:gd name="T21" fmla="*/ 78 h 78"/>
                <a:gd name="T22" fmla="*/ 37 w 70"/>
                <a:gd name="T23" fmla="*/ 73 h 78"/>
                <a:gd name="T24" fmla="*/ 15 w 70"/>
                <a:gd name="T25" fmla="*/ 49 h 78"/>
                <a:gd name="T26" fmla="*/ 0 w 70"/>
                <a:gd name="T27" fmla="*/ 7 h 78"/>
                <a:gd name="T28" fmla="*/ 30 w 70"/>
                <a:gd name="T29" fmla="*/ 0 h 78"/>
                <a:gd name="T30" fmla="*/ 47 w 70"/>
                <a:gd name="T31" fmla="*/ 12 h 78"/>
                <a:gd name="T32" fmla="*/ 70 w 70"/>
                <a:gd name="T33" fmla="*/ 1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0" h="78">
                  <a:moveTo>
                    <a:pt x="70" y="19"/>
                  </a:moveTo>
                  <a:lnTo>
                    <a:pt x="62" y="49"/>
                  </a:lnTo>
                  <a:lnTo>
                    <a:pt x="57" y="49"/>
                  </a:lnTo>
                  <a:lnTo>
                    <a:pt x="47" y="41"/>
                  </a:lnTo>
                  <a:lnTo>
                    <a:pt x="42" y="39"/>
                  </a:lnTo>
                  <a:lnTo>
                    <a:pt x="40" y="44"/>
                  </a:lnTo>
                  <a:lnTo>
                    <a:pt x="37" y="49"/>
                  </a:lnTo>
                  <a:lnTo>
                    <a:pt x="42" y="51"/>
                  </a:lnTo>
                  <a:lnTo>
                    <a:pt x="50" y="71"/>
                  </a:lnTo>
                  <a:lnTo>
                    <a:pt x="50" y="76"/>
                  </a:lnTo>
                  <a:lnTo>
                    <a:pt x="50" y="78"/>
                  </a:lnTo>
                  <a:lnTo>
                    <a:pt x="37" y="73"/>
                  </a:lnTo>
                  <a:lnTo>
                    <a:pt x="15" y="49"/>
                  </a:lnTo>
                  <a:lnTo>
                    <a:pt x="0" y="7"/>
                  </a:lnTo>
                  <a:lnTo>
                    <a:pt x="30" y="0"/>
                  </a:lnTo>
                  <a:lnTo>
                    <a:pt x="47" y="12"/>
                  </a:lnTo>
                  <a:lnTo>
                    <a:pt x="70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1" name="Freeform 9"/>
            <p:cNvSpPr>
              <a:spLocks/>
            </p:cNvSpPr>
            <p:nvPr/>
          </p:nvSpPr>
          <p:spPr bwMode="auto">
            <a:xfrm>
              <a:off x="4285" y="3001"/>
              <a:ext cx="20" cy="37"/>
            </a:xfrm>
            <a:custGeom>
              <a:avLst/>
              <a:gdLst>
                <a:gd name="T0" fmla="*/ 20 w 20"/>
                <a:gd name="T1" fmla="*/ 22 h 37"/>
                <a:gd name="T2" fmla="*/ 12 w 20"/>
                <a:gd name="T3" fmla="*/ 37 h 37"/>
                <a:gd name="T4" fmla="*/ 2 w 20"/>
                <a:gd name="T5" fmla="*/ 35 h 37"/>
                <a:gd name="T6" fmla="*/ 0 w 20"/>
                <a:gd name="T7" fmla="*/ 32 h 37"/>
                <a:gd name="T8" fmla="*/ 0 w 20"/>
                <a:gd name="T9" fmla="*/ 30 h 37"/>
                <a:gd name="T10" fmla="*/ 2 w 20"/>
                <a:gd name="T11" fmla="*/ 18 h 37"/>
                <a:gd name="T12" fmla="*/ 2 w 20"/>
                <a:gd name="T13" fmla="*/ 0 h 37"/>
                <a:gd name="T14" fmla="*/ 12 w 20"/>
                <a:gd name="T15" fmla="*/ 15 h 37"/>
                <a:gd name="T16" fmla="*/ 20 w 20"/>
                <a:gd name="T17" fmla="*/ 2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37">
                  <a:moveTo>
                    <a:pt x="20" y="22"/>
                  </a:moveTo>
                  <a:lnTo>
                    <a:pt x="12" y="37"/>
                  </a:lnTo>
                  <a:lnTo>
                    <a:pt x="2" y="35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2" y="18"/>
                  </a:lnTo>
                  <a:lnTo>
                    <a:pt x="2" y="0"/>
                  </a:lnTo>
                  <a:lnTo>
                    <a:pt x="12" y="15"/>
                  </a:lnTo>
                  <a:lnTo>
                    <a:pt x="20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12" name="Faroe Island Text"/>
          <p:cNvSpPr txBox="1"/>
          <p:nvPr/>
        </p:nvSpPr>
        <p:spPr>
          <a:xfrm>
            <a:off x="4501296" y="5273137"/>
            <a:ext cx="558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900" b="1" dirty="0">
                <a:solidFill>
                  <a:srgbClr val="F42941"/>
                </a:solidFill>
              </a:rPr>
              <a:t>Faroe </a:t>
            </a:r>
            <a:br>
              <a:rPr lang="en-GB" sz="900" b="1" dirty="0">
                <a:solidFill>
                  <a:srgbClr val="F42941"/>
                </a:solidFill>
              </a:rPr>
            </a:br>
            <a:r>
              <a:rPr lang="en-GB" sz="900" b="1" dirty="0">
                <a:solidFill>
                  <a:srgbClr val="F42941"/>
                </a:solidFill>
              </a:rPr>
              <a:t>Islands</a:t>
            </a:r>
          </a:p>
        </p:txBody>
      </p:sp>
      <p:sp>
        <p:nvSpPr>
          <p:cNvPr id="48" name="Åland Islands Text"/>
          <p:cNvSpPr txBox="1"/>
          <p:nvPr/>
        </p:nvSpPr>
        <p:spPr>
          <a:xfrm>
            <a:off x="8775837" y="3882597"/>
            <a:ext cx="558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900" b="1" noProof="1">
                <a:solidFill>
                  <a:srgbClr val="F42941"/>
                </a:solidFill>
              </a:rPr>
              <a:t>Åland Islands</a:t>
            </a:r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40046810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eece"/>
          <p:cNvGrpSpPr/>
          <p:nvPr/>
        </p:nvGrpSpPr>
        <p:grpSpPr>
          <a:xfrm>
            <a:off x="10557401" y="5599113"/>
            <a:ext cx="1063625" cy="1130300"/>
            <a:chOff x="10578421" y="5599113"/>
            <a:chExt cx="1063625" cy="1130300"/>
          </a:xfrm>
          <a:solidFill>
            <a:srgbClr val="E1E0DC"/>
          </a:solidFill>
        </p:grpSpPr>
        <p:sp>
          <p:nvSpPr>
            <p:cNvPr id="8" name="Freeform 54"/>
            <p:cNvSpPr>
              <a:spLocks/>
            </p:cNvSpPr>
            <p:nvPr/>
          </p:nvSpPr>
          <p:spPr bwMode="auto">
            <a:xfrm>
              <a:off x="10578421" y="5599113"/>
              <a:ext cx="1063625" cy="863600"/>
            </a:xfrm>
            <a:custGeom>
              <a:avLst/>
              <a:gdLst>
                <a:gd name="T0" fmla="*/ 348 w 371"/>
                <a:gd name="T1" fmla="*/ 82 h 301"/>
                <a:gd name="T2" fmla="*/ 328 w 371"/>
                <a:gd name="T3" fmla="*/ 66 h 301"/>
                <a:gd name="T4" fmla="*/ 287 w 371"/>
                <a:gd name="T5" fmla="*/ 66 h 301"/>
                <a:gd name="T6" fmla="*/ 246 w 371"/>
                <a:gd name="T7" fmla="*/ 74 h 301"/>
                <a:gd name="T8" fmla="*/ 214 w 371"/>
                <a:gd name="T9" fmla="*/ 94 h 301"/>
                <a:gd name="T10" fmla="*/ 221 w 371"/>
                <a:gd name="T11" fmla="*/ 122 h 301"/>
                <a:gd name="T12" fmla="*/ 209 w 371"/>
                <a:gd name="T13" fmla="*/ 133 h 301"/>
                <a:gd name="T14" fmla="*/ 188 w 371"/>
                <a:gd name="T15" fmla="*/ 138 h 301"/>
                <a:gd name="T16" fmla="*/ 158 w 371"/>
                <a:gd name="T17" fmla="*/ 122 h 301"/>
                <a:gd name="T18" fmla="*/ 146 w 371"/>
                <a:gd name="T19" fmla="*/ 122 h 301"/>
                <a:gd name="T20" fmla="*/ 146 w 371"/>
                <a:gd name="T21" fmla="*/ 149 h 301"/>
                <a:gd name="T22" fmla="*/ 178 w 371"/>
                <a:gd name="T23" fmla="*/ 193 h 301"/>
                <a:gd name="T24" fmla="*/ 225 w 371"/>
                <a:gd name="T25" fmla="*/ 214 h 301"/>
                <a:gd name="T26" fmla="*/ 259 w 371"/>
                <a:gd name="T27" fmla="*/ 224 h 301"/>
                <a:gd name="T28" fmla="*/ 271 w 371"/>
                <a:gd name="T29" fmla="*/ 245 h 301"/>
                <a:gd name="T30" fmla="*/ 295 w 371"/>
                <a:gd name="T31" fmla="*/ 261 h 301"/>
                <a:gd name="T32" fmla="*/ 263 w 371"/>
                <a:gd name="T33" fmla="*/ 249 h 301"/>
                <a:gd name="T34" fmla="*/ 234 w 371"/>
                <a:gd name="T35" fmla="*/ 243 h 301"/>
                <a:gd name="T36" fmla="*/ 197 w 371"/>
                <a:gd name="T37" fmla="*/ 219 h 301"/>
                <a:gd name="T38" fmla="*/ 187 w 371"/>
                <a:gd name="T39" fmla="*/ 239 h 301"/>
                <a:gd name="T40" fmla="*/ 209 w 371"/>
                <a:gd name="T41" fmla="*/ 238 h 301"/>
                <a:gd name="T42" fmla="*/ 226 w 371"/>
                <a:gd name="T43" fmla="*/ 249 h 301"/>
                <a:gd name="T44" fmla="*/ 256 w 371"/>
                <a:gd name="T45" fmla="*/ 258 h 301"/>
                <a:gd name="T46" fmla="*/ 267 w 371"/>
                <a:gd name="T47" fmla="*/ 291 h 301"/>
                <a:gd name="T48" fmla="*/ 237 w 371"/>
                <a:gd name="T49" fmla="*/ 283 h 301"/>
                <a:gd name="T50" fmla="*/ 209 w 371"/>
                <a:gd name="T51" fmla="*/ 289 h 301"/>
                <a:gd name="T52" fmla="*/ 201 w 371"/>
                <a:gd name="T53" fmla="*/ 294 h 301"/>
                <a:gd name="T54" fmla="*/ 208 w 371"/>
                <a:gd name="T55" fmla="*/ 278 h 301"/>
                <a:gd name="T56" fmla="*/ 184 w 371"/>
                <a:gd name="T57" fmla="*/ 271 h 301"/>
                <a:gd name="T58" fmla="*/ 160 w 371"/>
                <a:gd name="T59" fmla="*/ 269 h 301"/>
                <a:gd name="T60" fmla="*/ 115 w 371"/>
                <a:gd name="T61" fmla="*/ 275 h 301"/>
                <a:gd name="T62" fmla="*/ 83 w 371"/>
                <a:gd name="T63" fmla="*/ 280 h 301"/>
                <a:gd name="T64" fmla="*/ 63 w 371"/>
                <a:gd name="T65" fmla="*/ 252 h 301"/>
                <a:gd name="T66" fmla="*/ 55 w 371"/>
                <a:gd name="T67" fmla="*/ 237 h 301"/>
                <a:gd name="T68" fmla="*/ 18 w 371"/>
                <a:gd name="T69" fmla="*/ 201 h 301"/>
                <a:gd name="T70" fmla="*/ 6 w 371"/>
                <a:gd name="T71" fmla="*/ 195 h 301"/>
                <a:gd name="T72" fmla="*/ 14 w 371"/>
                <a:gd name="T73" fmla="*/ 171 h 301"/>
                <a:gd name="T74" fmla="*/ 35 w 371"/>
                <a:gd name="T75" fmla="*/ 122 h 301"/>
                <a:gd name="T76" fmla="*/ 56 w 371"/>
                <a:gd name="T77" fmla="*/ 105 h 301"/>
                <a:gd name="T78" fmla="*/ 92 w 371"/>
                <a:gd name="T79" fmla="*/ 81 h 301"/>
                <a:gd name="T80" fmla="*/ 119 w 371"/>
                <a:gd name="T81" fmla="*/ 66 h 301"/>
                <a:gd name="T82" fmla="*/ 241 w 371"/>
                <a:gd name="T83" fmla="*/ 32 h 301"/>
                <a:gd name="T84" fmla="*/ 269 w 371"/>
                <a:gd name="T85" fmla="*/ 37 h 301"/>
                <a:gd name="T86" fmla="*/ 333 w 371"/>
                <a:gd name="T87" fmla="*/ 32 h 301"/>
                <a:gd name="T88" fmla="*/ 339 w 371"/>
                <a:gd name="T89" fmla="*/ 0 h 301"/>
                <a:gd name="T90" fmla="*/ 350 w 371"/>
                <a:gd name="T91" fmla="*/ 32 h 301"/>
                <a:gd name="T92" fmla="*/ 366 w 371"/>
                <a:gd name="T93" fmla="*/ 76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71" h="301">
                  <a:moveTo>
                    <a:pt x="366" y="76"/>
                  </a:moveTo>
                  <a:cubicBezTo>
                    <a:pt x="348" y="82"/>
                    <a:pt x="348" y="82"/>
                    <a:pt x="348" y="82"/>
                  </a:cubicBezTo>
                  <a:cubicBezTo>
                    <a:pt x="339" y="72"/>
                    <a:pt x="339" y="72"/>
                    <a:pt x="339" y="72"/>
                  </a:cubicBezTo>
                  <a:cubicBezTo>
                    <a:pt x="328" y="66"/>
                    <a:pt x="328" y="66"/>
                    <a:pt x="328" y="66"/>
                  </a:cubicBezTo>
                  <a:cubicBezTo>
                    <a:pt x="309" y="72"/>
                    <a:pt x="309" y="72"/>
                    <a:pt x="309" y="72"/>
                  </a:cubicBezTo>
                  <a:cubicBezTo>
                    <a:pt x="287" y="66"/>
                    <a:pt x="287" y="66"/>
                    <a:pt x="287" y="66"/>
                  </a:cubicBezTo>
                  <a:cubicBezTo>
                    <a:pt x="263" y="82"/>
                    <a:pt x="263" y="82"/>
                    <a:pt x="263" y="82"/>
                  </a:cubicBezTo>
                  <a:cubicBezTo>
                    <a:pt x="246" y="74"/>
                    <a:pt x="246" y="74"/>
                    <a:pt x="246" y="74"/>
                  </a:cubicBezTo>
                  <a:cubicBezTo>
                    <a:pt x="232" y="91"/>
                    <a:pt x="232" y="91"/>
                    <a:pt x="232" y="91"/>
                  </a:cubicBezTo>
                  <a:cubicBezTo>
                    <a:pt x="214" y="94"/>
                    <a:pt x="214" y="94"/>
                    <a:pt x="214" y="94"/>
                  </a:cubicBezTo>
                  <a:cubicBezTo>
                    <a:pt x="214" y="109"/>
                    <a:pt x="214" y="109"/>
                    <a:pt x="214" y="109"/>
                  </a:cubicBezTo>
                  <a:cubicBezTo>
                    <a:pt x="221" y="122"/>
                    <a:pt x="221" y="122"/>
                    <a:pt x="221" y="122"/>
                  </a:cubicBezTo>
                  <a:cubicBezTo>
                    <a:pt x="212" y="122"/>
                    <a:pt x="212" y="122"/>
                    <a:pt x="212" y="122"/>
                  </a:cubicBezTo>
                  <a:cubicBezTo>
                    <a:pt x="209" y="133"/>
                    <a:pt x="209" y="133"/>
                    <a:pt x="209" y="133"/>
                  </a:cubicBezTo>
                  <a:cubicBezTo>
                    <a:pt x="199" y="133"/>
                    <a:pt x="199" y="133"/>
                    <a:pt x="199" y="133"/>
                  </a:cubicBezTo>
                  <a:cubicBezTo>
                    <a:pt x="188" y="138"/>
                    <a:pt x="188" y="138"/>
                    <a:pt x="188" y="138"/>
                  </a:cubicBezTo>
                  <a:cubicBezTo>
                    <a:pt x="167" y="128"/>
                    <a:pt x="167" y="128"/>
                    <a:pt x="167" y="128"/>
                  </a:cubicBezTo>
                  <a:cubicBezTo>
                    <a:pt x="158" y="122"/>
                    <a:pt x="158" y="122"/>
                    <a:pt x="158" y="122"/>
                  </a:cubicBezTo>
                  <a:cubicBezTo>
                    <a:pt x="162" y="112"/>
                    <a:pt x="162" y="112"/>
                    <a:pt x="162" y="112"/>
                  </a:cubicBezTo>
                  <a:cubicBezTo>
                    <a:pt x="146" y="122"/>
                    <a:pt x="146" y="122"/>
                    <a:pt x="146" y="122"/>
                  </a:cubicBezTo>
                  <a:cubicBezTo>
                    <a:pt x="152" y="140"/>
                    <a:pt x="152" y="140"/>
                    <a:pt x="152" y="140"/>
                  </a:cubicBezTo>
                  <a:cubicBezTo>
                    <a:pt x="146" y="149"/>
                    <a:pt x="146" y="149"/>
                    <a:pt x="146" y="149"/>
                  </a:cubicBezTo>
                  <a:cubicBezTo>
                    <a:pt x="173" y="176"/>
                    <a:pt x="173" y="176"/>
                    <a:pt x="173" y="176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201" y="204"/>
                    <a:pt x="201" y="204"/>
                    <a:pt x="201" y="204"/>
                  </a:cubicBezTo>
                  <a:cubicBezTo>
                    <a:pt x="225" y="214"/>
                    <a:pt x="225" y="214"/>
                    <a:pt x="225" y="214"/>
                  </a:cubicBezTo>
                  <a:cubicBezTo>
                    <a:pt x="242" y="224"/>
                    <a:pt x="242" y="224"/>
                    <a:pt x="242" y="224"/>
                  </a:cubicBezTo>
                  <a:cubicBezTo>
                    <a:pt x="259" y="224"/>
                    <a:pt x="259" y="224"/>
                    <a:pt x="259" y="224"/>
                  </a:cubicBezTo>
                  <a:cubicBezTo>
                    <a:pt x="269" y="226"/>
                    <a:pt x="269" y="226"/>
                    <a:pt x="269" y="226"/>
                  </a:cubicBezTo>
                  <a:cubicBezTo>
                    <a:pt x="271" y="245"/>
                    <a:pt x="271" y="245"/>
                    <a:pt x="271" y="245"/>
                  </a:cubicBezTo>
                  <a:cubicBezTo>
                    <a:pt x="294" y="250"/>
                    <a:pt x="294" y="250"/>
                    <a:pt x="294" y="250"/>
                  </a:cubicBezTo>
                  <a:cubicBezTo>
                    <a:pt x="295" y="261"/>
                    <a:pt x="295" y="261"/>
                    <a:pt x="295" y="261"/>
                  </a:cubicBezTo>
                  <a:cubicBezTo>
                    <a:pt x="278" y="266"/>
                    <a:pt x="278" y="266"/>
                    <a:pt x="278" y="266"/>
                  </a:cubicBezTo>
                  <a:cubicBezTo>
                    <a:pt x="263" y="249"/>
                    <a:pt x="263" y="249"/>
                    <a:pt x="263" y="249"/>
                  </a:cubicBezTo>
                  <a:cubicBezTo>
                    <a:pt x="259" y="240"/>
                    <a:pt x="259" y="240"/>
                    <a:pt x="259" y="240"/>
                  </a:cubicBezTo>
                  <a:cubicBezTo>
                    <a:pt x="234" y="243"/>
                    <a:pt x="234" y="243"/>
                    <a:pt x="234" y="243"/>
                  </a:cubicBezTo>
                  <a:cubicBezTo>
                    <a:pt x="225" y="231"/>
                    <a:pt x="225" y="231"/>
                    <a:pt x="225" y="231"/>
                  </a:cubicBezTo>
                  <a:cubicBezTo>
                    <a:pt x="197" y="219"/>
                    <a:pt x="197" y="219"/>
                    <a:pt x="197" y="219"/>
                  </a:cubicBezTo>
                  <a:cubicBezTo>
                    <a:pt x="171" y="230"/>
                    <a:pt x="171" y="230"/>
                    <a:pt x="171" y="230"/>
                  </a:cubicBezTo>
                  <a:cubicBezTo>
                    <a:pt x="187" y="239"/>
                    <a:pt x="187" y="239"/>
                    <a:pt x="187" y="239"/>
                  </a:cubicBezTo>
                  <a:cubicBezTo>
                    <a:pt x="203" y="245"/>
                    <a:pt x="203" y="245"/>
                    <a:pt x="203" y="245"/>
                  </a:cubicBezTo>
                  <a:cubicBezTo>
                    <a:pt x="203" y="245"/>
                    <a:pt x="208" y="237"/>
                    <a:pt x="209" y="238"/>
                  </a:cubicBezTo>
                  <a:cubicBezTo>
                    <a:pt x="210" y="240"/>
                    <a:pt x="217" y="247"/>
                    <a:pt x="217" y="247"/>
                  </a:cubicBezTo>
                  <a:cubicBezTo>
                    <a:pt x="226" y="249"/>
                    <a:pt x="226" y="249"/>
                    <a:pt x="226" y="249"/>
                  </a:cubicBezTo>
                  <a:cubicBezTo>
                    <a:pt x="229" y="256"/>
                    <a:pt x="229" y="256"/>
                    <a:pt x="229" y="256"/>
                  </a:cubicBezTo>
                  <a:cubicBezTo>
                    <a:pt x="256" y="258"/>
                    <a:pt x="256" y="258"/>
                    <a:pt x="256" y="258"/>
                  </a:cubicBezTo>
                  <a:cubicBezTo>
                    <a:pt x="256" y="271"/>
                    <a:pt x="256" y="271"/>
                    <a:pt x="256" y="271"/>
                  </a:cubicBezTo>
                  <a:cubicBezTo>
                    <a:pt x="267" y="291"/>
                    <a:pt x="267" y="291"/>
                    <a:pt x="267" y="291"/>
                  </a:cubicBezTo>
                  <a:cubicBezTo>
                    <a:pt x="260" y="301"/>
                    <a:pt x="260" y="301"/>
                    <a:pt x="260" y="301"/>
                  </a:cubicBezTo>
                  <a:cubicBezTo>
                    <a:pt x="237" y="283"/>
                    <a:pt x="237" y="283"/>
                    <a:pt x="237" y="283"/>
                  </a:cubicBezTo>
                  <a:cubicBezTo>
                    <a:pt x="227" y="278"/>
                    <a:pt x="227" y="278"/>
                    <a:pt x="227" y="278"/>
                  </a:cubicBezTo>
                  <a:cubicBezTo>
                    <a:pt x="209" y="289"/>
                    <a:pt x="209" y="289"/>
                    <a:pt x="209" y="289"/>
                  </a:cubicBezTo>
                  <a:cubicBezTo>
                    <a:pt x="201" y="288"/>
                    <a:pt x="201" y="288"/>
                    <a:pt x="201" y="288"/>
                  </a:cubicBezTo>
                  <a:cubicBezTo>
                    <a:pt x="201" y="294"/>
                    <a:pt x="201" y="294"/>
                    <a:pt x="201" y="294"/>
                  </a:cubicBezTo>
                  <a:cubicBezTo>
                    <a:pt x="194" y="279"/>
                    <a:pt x="194" y="279"/>
                    <a:pt x="194" y="279"/>
                  </a:cubicBezTo>
                  <a:cubicBezTo>
                    <a:pt x="208" y="278"/>
                    <a:pt x="208" y="278"/>
                    <a:pt x="208" y="278"/>
                  </a:cubicBezTo>
                  <a:cubicBezTo>
                    <a:pt x="209" y="269"/>
                    <a:pt x="209" y="269"/>
                    <a:pt x="209" y="269"/>
                  </a:cubicBezTo>
                  <a:cubicBezTo>
                    <a:pt x="184" y="271"/>
                    <a:pt x="184" y="271"/>
                    <a:pt x="184" y="271"/>
                  </a:cubicBezTo>
                  <a:cubicBezTo>
                    <a:pt x="173" y="260"/>
                    <a:pt x="173" y="260"/>
                    <a:pt x="173" y="260"/>
                  </a:cubicBezTo>
                  <a:cubicBezTo>
                    <a:pt x="160" y="269"/>
                    <a:pt x="160" y="269"/>
                    <a:pt x="160" y="269"/>
                  </a:cubicBezTo>
                  <a:cubicBezTo>
                    <a:pt x="128" y="266"/>
                    <a:pt x="128" y="266"/>
                    <a:pt x="128" y="266"/>
                  </a:cubicBezTo>
                  <a:cubicBezTo>
                    <a:pt x="115" y="275"/>
                    <a:pt x="115" y="275"/>
                    <a:pt x="115" y="275"/>
                  </a:cubicBezTo>
                  <a:cubicBezTo>
                    <a:pt x="94" y="273"/>
                    <a:pt x="94" y="273"/>
                    <a:pt x="94" y="273"/>
                  </a:cubicBezTo>
                  <a:cubicBezTo>
                    <a:pt x="83" y="280"/>
                    <a:pt x="83" y="280"/>
                    <a:pt x="83" y="280"/>
                  </a:cubicBezTo>
                  <a:cubicBezTo>
                    <a:pt x="76" y="264"/>
                    <a:pt x="76" y="264"/>
                    <a:pt x="76" y="264"/>
                  </a:cubicBezTo>
                  <a:cubicBezTo>
                    <a:pt x="63" y="252"/>
                    <a:pt x="63" y="252"/>
                    <a:pt x="63" y="252"/>
                  </a:cubicBezTo>
                  <a:cubicBezTo>
                    <a:pt x="55" y="247"/>
                    <a:pt x="55" y="247"/>
                    <a:pt x="55" y="247"/>
                  </a:cubicBezTo>
                  <a:cubicBezTo>
                    <a:pt x="55" y="237"/>
                    <a:pt x="55" y="237"/>
                    <a:pt x="55" y="237"/>
                  </a:cubicBezTo>
                  <a:cubicBezTo>
                    <a:pt x="18" y="212"/>
                    <a:pt x="18" y="212"/>
                    <a:pt x="18" y="212"/>
                  </a:cubicBezTo>
                  <a:cubicBezTo>
                    <a:pt x="18" y="201"/>
                    <a:pt x="18" y="201"/>
                    <a:pt x="18" y="20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6" y="195"/>
                    <a:pt x="6" y="195"/>
                    <a:pt x="6" y="195"/>
                  </a:cubicBezTo>
                  <a:cubicBezTo>
                    <a:pt x="21" y="187"/>
                    <a:pt x="21" y="187"/>
                    <a:pt x="21" y="187"/>
                  </a:cubicBezTo>
                  <a:cubicBezTo>
                    <a:pt x="14" y="171"/>
                    <a:pt x="14" y="171"/>
                    <a:pt x="14" y="171"/>
                  </a:cubicBezTo>
                  <a:cubicBezTo>
                    <a:pt x="37" y="163"/>
                    <a:pt x="37" y="163"/>
                    <a:pt x="37" y="163"/>
                  </a:cubicBezTo>
                  <a:cubicBezTo>
                    <a:pt x="35" y="122"/>
                    <a:pt x="35" y="122"/>
                    <a:pt x="35" y="122"/>
                  </a:cubicBezTo>
                  <a:cubicBezTo>
                    <a:pt x="45" y="112"/>
                    <a:pt x="45" y="112"/>
                    <a:pt x="45" y="112"/>
                  </a:cubicBezTo>
                  <a:cubicBezTo>
                    <a:pt x="56" y="105"/>
                    <a:pt x="56" y="105"/>
                    <a:pt x="56" y="105"/>
                  </a:cubicBezTo>
                  <a:cubicBezTo>
                    <a:pt x="92" y="90"/>
                    <a:pt x="92" y="90"/>
                    <a:pt x="92" y="90"/>
                  </a:cubicBezTo>
                  <a:cubicBezTo>
                    <a:pt x="92" y="81"/>
                    <a:pt x="92" y="81"/>
                    <a:pt x="92" y="81"/>
                  </a:cubicBezTo>
                  <a:cubicBezTo>
                    <a:pt x="108" y="77"/>
                    <a:pt x="108" y="77"/>
                    <a:pt x="108" y="77"/>
                  </a:cubicBezTo>
                  <a:cubicBezTo>
                    <a:pt x="119" y="66"/>
                    <a:pt x="119" y="66"/>
                    <a:pt x="119" y="66"/>
                  </a:cubicBezTo>
                  <a:cubicBezTo>
                    <a:pt x="143" y="66"/>
                    <a:pt x="143" y="66"/>
                    <a:pt x="143" y="66"/>
                  </a:cubicBezTo>
                  <a:cubicBezTo>
                    <a:pt x="241" y="32"/>
                    <a:pt x="241" y="32"/>
                    <a:pt x="241" y="32"/>
                  </a:cubicBezTo>
                  <a:cubicBezTo>
                    <a:pt x="251" y="42"/>
                    <a:pt x="251" y="42"/>
                    <a:pt x="251" y="42"/>
                  </a:cubicBezTo>
                  <a:cubicBezTo>
                    <a:pt x="269" y="37"/>
                    <a:pt x="269" y="37"/>
                    <a:pt x="269" y="37"/>
                  </a:cubicBezTo>
                  <a:cubicBezTo>
                    <a:pt x="287" y="47"/>
                    <a:pt x="287" y="47"/>
                    <a:pt x="287" y="47"/>
                  </a:cubicBezTo>
                  <a:cubicBezTo>
                    <a:pt x="333" y="32"/>
                    <a:pt x="333" y="32"/>
                    <a:pt x="333" y="32"/>
                  </a:cubicBezTo>
                  <a:cubicBezTo>
                    <a:pt x="327" y="10"/>
                    <a:pt x="327" y="10"/>
                    <a:pt x="327" y="10"/>
                  </a:cubicBezTo>
                  <a:cubicBezTo>
                    <a:pt x="339" y="0"/>
                    <a:pt x="339" y="0"/>
                    <a:pt x="339" y="0"/>
                  </a:cubicBezTo>
                  <a:cubicBezTo>
                    <a:pt x="371" y="16"/>
                    <a:pt x="371" y="16"/>
                    <a:pt x="371" y="16"/>
                  </a:cubicBezTo>
                  <a:cubicBezTo>
                    <a:pt x="350" y="32"/>
                    <a:pt x="350" y="32"/>
                    <a:pt x="350" y="32"/>
                  </a:cubicBezTo>
                  <a:cubicBezTo>
                    <a:pt x="342" y="66"/>
                    <a:pt x="342" y="66"/>
                    <a:pt x="342" y="66"/>
                  </a:cubicBezTo>
                  <a:lnTo>
                    <a:pt x="366" y="7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55"/>
            <p:cNvSpPr>
              <a:spLocks/>
            </p:cNvSpPr>
            <p:nvPr/>
          </p:nvSpPr>
          <p:spPr bwMode="auto">
            <a:xfrm>
              <a:off x="10837183" y="6388100"/>
              <a:ext cx="409575" cy="341313"/>
            </a:xfrm>
            <a:custGeom>
              <a:avLst/>
              <a:gdLst>
                <a:gd name="T0" fmla="*/ 103 w 143"/>
                <a:gd name="T1" fmla="*/ 21 h 119"/>
                <a:gd name="T2" fmla="*/ 113 w 143"/>
                <a:gd name="T3" fmla="*/ 21 h 119"/>
                <a:gd name="T4" fmla="*/ 120 w 143"/>
                <a:gd name="T5" fmla="*/ 21 h 119"/>
                <a:gd name="T6" fmla="*/ 126 w 143"/>
                <a:gd name="T7" fmla="*/ 36 h 119"/>
                <a:gd name="T8" fmla="*/ 143 w 143"/>
                <a:gd name="T9" fmla="*/ 36 h 119"/>
                <a:gd name="T10" fmla="*/ 143 w 143"/>
                <a:gd name="T11" fmla="*/ 52 h 119"/>
                <a:gd name="T12" fmla="*/ 123 w 143"/>
                <a:gd name="T13" fmla="*/ 48 h 119"/>
                <a:gd name="T14" fmla="*/ 109 w 143"/>
                <a:gd name="T15" fmla="*/ 42 h 119"/>
                <a:gd name="T16" fmla="*/ 95 w 143"/>
                <a:gd name="T17" fmla="*/ 43 h 119"/>
                <a:gd name="T18" fmla="*/ 104 w 143"/>
                <a:gd name="T19" fmla="*/ 55 h 119"/>
                <a:gd name="T20" fmla="*/ 127 w 143"/>
                <a:gd name="T21" fmla="*/ 80 h 119"/>
                <a:gd name="T22" fmla="*/ 131 w 143"/>
                <a:gd name="T23" fmla="*/ 102 h 119"/>
                <a:gd name="T24" fmla="*/ 116 w 143"/>
                <a:gd name="T25" fmla="*/ 99 h 119"/>
                <a:gd name="T26" fmla="*/ 101 w 143"/>
                <a:gd name="T27" fmla="*/ 93 h 119"/>
                <a:gd name="T28" fmla="*/ 99 w 143"/>
                <a:gd name="T29" fmla="*/ 106 h 119"/>
                <a:gd name="T30" fmla="*/ 100 w 143"/>
                <a:gd name="T31" fmla="*/ 119 h 119"/>
                <a:gd name="T32" fmla="*/ 86 w 143"/>
                <a:gd name="T33" fmla="*/ 119 h 119"/>
                <a:gd name="T34" fmla="*/ 86 w 143"/>
                <a:gd name="T35" fmla="*/ 103 h 119"/>
                <a:gd name="T36" fmla="*/ 73 w 143"/>
                <a:gd name="T37" fmla="*/ 83 h 119"/>
                <a:gd name="T38" fmla="*/ 62 w 143"/>
                <a:gd name="T39" fmla="*/ 84 h 119"/>
                <a:gd name="T40" fmla="*/ 62 w 143"/>
                <a:gd name="T41" fmla="*/ 106 h 119"/>
                <a:gd name="T42" fmla="*/ 48 w 143"/>
                <a:gd name="T43" fmla="*/ 109 h 119"/>
                <a:gd name="T44" fmla="*/ 41 w 143"/>
                <a:gd name="T45" fmla="*/ 93 h 119"/>
                <a:gd name="T46" fmla="*/ 29 w 143"/>
                <a:gd name="T47" fmla="*/ 80 h 119"/>
                <a:gd name="T48" fmla="*/ 38 w 143"/>
                <a:gd name="T49" fmla="*/ 67 h 119"/>
                <a:gd name="T50" fmla="*/ 19 w 143"/>
                <a:gd name="T51" fmla="*/ 46 h 119"/>
                <a:gd name="T52" fmla="*/ 0 w 143"/>
                <a:gd name="T53" fmla="*/ 33 h 119"/>
                <a:gd name="T54" fmla="*/ 12 w 143"/>
                <a:gd name="T55" fmla="*/ 15 h 119"/>
                <a:gd name="T56" fmla="*/ 29 w 143"/>
                <a:gd name="T57" fmla="*/ 8 h 119"/>
                <a:gd name="T58" fmla="*/ 39 w 143"/>
                <a:gd name="T59" fmla="*/ 0 h 119"/>
                <a:gd name="T60" fmla="*/ 74 w 143"/>
                <a:gd name="T61" fmla="*/ 5 h 119"/>
                <a:gd name="T62" fmla="*/ 89 w 143"/>
                <a:gd name="T63" fmla="*/ 6 h 119"/>
                <a:gd name="T64" fmla="*/ 101 w 143"/>
                <a:gd name="T65" fmla="*/ 16 h 119"/>
                <a:gd name="T66" fmla="*/ 103 w 143"/>
                <a:gd name="T67" fmla="*/ 21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3" h="119">
                  <a:moveTo>
                    <a:pt x="103" y="21"/>
                  </a:moveTo>
                  <a:cubicBezTo>
                    <a:pt x="113" y="21"/>
                    <a:pt x="113" y="21"/>
                    <a:pt x="113" y="21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43" y="36"/>
                    <a:pt x="143" y="36"/>
                    <a:pt x="143" y="36"/>
                  </a:cubicBezTo>
                  <a:cubicBezTo>
                    <a:pt x="143" y="52"/>
                    <a:pt x="143" y="52"/>
                    <a:pt x="143" y="52"/>
                  </a:cubicBezTo>
                  <a:cubicBezTo>
                    <a:pt x="123" y="48"/>
                    <a:pt x="123" y="48"/>
                    <a:pt x="123" y="48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95" y="43"/>
                    <a:pt x="95" y="43"/>
                    <a:pt x="95" y="43"/>
                  </a:cubicBezTo>
                  <a:cubicBezTo>
                    <a:pt x="104" y="55"/>
                    <a:pt x="104" y="55"/>
                    <a:pt x="104" y="55"/>
                  </a:cubicBezTo>
                  <a:cubicBezTo>
                    <a:pt x="127" y="80"/>
                    <a:pt x="127" y="80"/>
                    <a:pt x="127" y="80"/>
                  </a:cubicBezTo>
                  <a:cubicBezTo>
                    <a:pt x="131" y="102"/>
                    <a:pt x="131" y="102"/>
                    <a:pt x="131" y="102"/>
                  </a:cubicBezTo>
                  <a:cubicBezTo>
                    <a:pt x="116" y="99"/>
                    <a:pt x="116" y="99"/>
                    <a:pt x="116" y="99"/>
                  </a:cubicBezTo>
                  <a:cubicBezTo>
                    <a:pt x="101" y="93"/>
                    <a:pt x="101" y="93"/>
                    <a:pt x="101" y="93"/>
                  </a:cubicBezTo>
                  <a:cubicBezTo>
                    <a:pt x="99" y="106"/>
                    <a:pt x="99" y="106"/>
                    <a:pt x="99" y="106"/>
                  </a:cubicBezTo>
                  <a:cubicBezTo>
                    <a:pt x="99" y="106"/>
                    <a:pt x="102" y="119"/>
                    <a:pt x="100" y="119"/>
                  </a:cubicBezTo>
                  <a:cubicBezTo>
                    <a:pt x="98" y="119"/>
                    <a:pt x="86" y="119"/>
                    <a:pt x="86" y="119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73" y="83"/>
                    <a:pt x="73" y="83"/>
                    <a:pt x="73" y="83"/>
                  </a:cubicBezTo>
                  <a:cubicBezTo>
                    <a:pt x="62" y="84"/>
                    <a:pt x="62" y="84"/>
                    <a:pt x="62" y="84"/>
                  </a:cubicBezTo>
                  <a:cubicBezTo>
                    <a:pt x="62" y="106"/>
                    <a:pt x="62" y="106"/>
                    <a:pt x="62" y="106"/>
                  </a:cubicBezTo>
                  <a:cubicBezTo>
                    <a:pt x="62" y="106"/>
                    <a:pt x="49" y="112"/>
                    <a:pt x="48" y="109"/>
                  </a:cubicBezTo>
                  <a:cubicBezTo>
                    <a:pt x="47" y="106"/>
                    <a:pt x="41" y="93"/>
                    <a:pt x="41" y="93"/>
                  </a:cubicBezTo>
                  <a:cubicBezTo>
                    <a:pt x="29" y="80"/>
                    <a:pt x="29" y="80"/>
                    <a:pt x="29" y="80"/>
                  </a:cubicBezTo>
                  <a:cubicBezTo>
                    <a:pt x="29" y="80"/>
                    <a:pt x="38" y="68"/>
                    <a:pt x="38" y="67"/>
                  </a:cubicBezTo>
                  <a:cubicBezTo>
                    <a:pt x="37" y="65"/>
                    <a:pt x="19" y="46"/>
                    <a:pt x="19" y="46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74" y="5"/>
                    <a:pt x="74" y="5"/>
                    <a:pt x="74" y="5"/>
                  </a:cubicBezTo>
                  <a:cubicBezTo>
                    <a:pt x="89" y="6"/>
                    <a:pt x="89" y="6"/>
                    <a:pt x="89" y="6"/>
                  </a:cubicBezTo>
                  <a:cubicBezTo>
                    <a:pt x="101" y="16"/>
                    <a:pt x="101" y="16"/>
                    <a:pt x="101" y="16"/>
                  </a:cubicBezTo>
                  <a:lnTo>
                    <a:pt x="103" y="21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0" name="Bulgaria"/>
          <p:cNvSpPr>
            <a:spLocks/>
          </p:cNvSpPr>
          <p:nvPr/>
        </p:nvSpPr>
        <p:spPr bwMode="auto">
          <a:xfrm>
            <a:off x="10827276" y="5108575"/>
            <a:ext cx="971550" cy="679450"/>
          </a:xfrm>
          <a:custGeom>
            <a:avLst/>
            <a:gdLst>
              <a:gd name="T0" fmla="*/ 612 w 612"/>
              <a:gd name="T1" fmla="*/ 72 h 428"/>
              <a:gd name="T2" fmla="*/ 572 w 612"/>
              <a:gd name="T3" fmla="*/ 72 h 428"/>
              <a:gd name="T4" fmla="*/ 560 w 612"/>
              <a:gd name="T5" fmla="*/ 101 h 428"/>
              <a:gd name="T6" fmla="*/ 576 w 612"/>
              <a:gd name="T7" fmla="*/ 157 h 428"/>
              <a:gd name="T8" fmla="*/ 535 w 612"/>
              <a:gd name="T9" fmla="*/ 197 h 428"/>
              <a:gd name="T10" fmla="*/ 565 w 612"/>
              <a:gd name="T11" fmla="*/ 215 h 428"/>
              <a:gd name="T12" fmla="*/ 600 w 612"/>
              <a:gd name="T13" fmla="*/ 238 h 428"/>
              <a:gd name="T14" fmla="*/ 565 w 612"/>
              <a:gd name="T15" fmla="*/ 262 h 428"/>
              <a:gd name="T16" fmla="*/ 535 w 612"/>
              <a:gd name="T17" fmla="*/ 247 h 428"/>
              <a:gd name="T18" fmla="*/ 462 w 612"/>
              <a:gd name="T19" fmla="*/ 276 h 428"/>
              <a:gd name="T20" fmla="*/ 442 w 612"/>
              <a:gd name="T21" fmla="*/ 309 h 428"/>
              <a:gd name="T22" fmla="*/ 421 w 612"/>
              <a:gd name="T23" fmla="*/ 327 h 428"/>
              <a:gd name="T24" fmla="*/ 432 w 612"/>
              <a:gd name="T25" fmla="*/ 367 h 428"/>
              <a:gd name="T26" fmla="*/ 374 w 612"/>
              <a:gd name="T27" fmla="*/ 385 h 428"/>
              <a:gd name="T28" fmla="*/ 348 w 612"/>
              <a:gd name="T29" fmla="*/ 394 h 428"/>
              <a:gd name="T30" fmla="*/ 316 w 612"/>
              <a:gd name="T31" fmla="*/ 376 h 428"/>
              <a:gd name="T32" fmla="*/ 283 w 612"/>
              <a:gd name="T33" fmla="*/ 385 h 428"/>
              <a:gd name="T34" fmla="*/ 265 w 612"/>
              <a:gd name="T35" fmla="*/ 367 h 428"/>
              <a:gd name="T36" fmla="*/ 164 w 612"/>
              <a:gd name="T37" fmla="*/ 406 h 428"/>
              <a:gd name="T38" fmla="*/ 88 w 612"/>
              <a:gd name="T39" fmla="*/ 428 h 428"/>
              <a:gd name="T40" fmla="*/ 105 w 612"/>
              <a:gd name="T41" fmla="*/ 383 h 428"/>
              <a:gd name="T42" fmla="*/ 88 w 612"/>
              <a:gd name="T43" fmla="*/ 339 h 428"/>
              <a:gd name="T44" fmla="*/ 23 w 612"/>
              <a:gd name="T45" fmla="*/ 316 h 428"/>
              <a:gd name="T46" fmla="*/ 41 w 612"/>
              <a:gd name="T47" fmla="*/ 287 h 428"/>
              <a:gd name="T48" fmla="*/ 23 w 612"/>
              <a:gd name="T49" fmla="*/ 251 h 428"/>
              <a:gd name="T50" fmla="*/ 74 w 612"/>
              <a:gd name="T51" fmla="*/ 195 h 428"/>
              <a:gd name="T52" fmla="*/ 0 w 612"/>
              <a:gd name="T53" fmla="*/ 153 h 428"/>
              <a:gd name="T54" fmla="*/ 0 w 612"/>
              <a:gd name="T55" fmla="*/ 106 h 428"/>
              <a:gd name="T56" fmla="*/ 36 w 612"/>
              <a:gd name="T57" fmla="*/ 85 h 428"/>
              <a:gd name="T58" fmla="*/ 40 w 612"/>
              <a:gd name="T59" fmla="*/ 112 h 428"/>
              <a:gd name="T60" fmla="*/ 72 w 612"/>
              <a:gd name="T61" fmla="*/ 123 h 428"/>
              <a:gd name="T62" fmla="*/ 108 w 612"/>
              <a:gd name="T63" fmla="*/ 103 h 428"/>
              <a:gd name="T64" fmla="*/ 188 w 612"/>
              <a:gd name="T65" fmla="*/ 115 h 428"/>
              <a:gd name="T66" fmla="*/ 206 w 612"/>
              <a:gd name="T67" fmla="*/ 99 h 428"/>
              <a:gd name="T68" fmla="*/ 309 w 612"/>
              <a:gd name="T69" fmla="*/ 99 h 428"/>
              <a:gd name="T70" fmla="*/ 354 w 612"/>
              <a:gd name="T71" fmla="*/ 41 h 428"/>
              <a:gd name="T72" fmla="*/ 451 w 612"/>
              <a:gd name="T73" fmla="*/ 0 h 428"/>
              <a:gd name="T74" fmla="*/ 489 w 612"/>
              <a:gd name="T75" fmla="*/ 5 h 428"/>
              <a:gd name="T76" fmla="*/ 520 w 612"/>
              <a:gd name="T77" fmla="*/ 14 h 428"/>
              <a:gd name="T78" fmla="*/ 531 w 612"/>
              <a:gd name="T79" fmla="*/ 5 h 428"/>
              <a:gd name="T80" fmla="*/ 556 w 612"/>
              <a:gd name="T81" fmla="*/ 20 h 428"/>
              <a:gd name="T82" fmla="*/ 607 w 612"/>
              <a:gd name="T83" fmla="*/ 20 h 428"/>
              <a:gd name="T84" fmla="*/ 612 w 612"/>
              <a:gd name="T85" fmla="*/ 72 h 4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612" h="428">
                <a:moveTo>
                  <a:pt x="612" y="72"/>
                </a:moveTo>
                <a:lnTo>
                  <a:pt x="572" y="72"/>
                </a:lnTo>
                <a:lnTo>
                  <a:pt x="560" y="101"/>
                </a:lnTo>
                <a:lnTo>
                  <a:pt x="576" y="157"/>
                </a:lnTo>
                <a:lnTo>
                  <a:pt x="535" y="197"/>
                </a:lnTo>
                <a:lnTo>
                  <a:pt x="565" y="215"/>
                </a:lnTo>
                <a:lnTo>
                  <a:pt x="600" y="238"/>
                </a:lnTo>
                <a:lnTo>
                  <a:pt x="565" y="262"/>
                </a:lnTo>
                <a:lnTo>
                  <a:pt x="535" y="247"/>
                </a:lnTo>
                <a:lnTo>
                  <a:pt x="462" y="276"/>
                </a:lnTo>
                <a:lnTo>
                  <a:pt x="442" y="309"/>
                </a:lnTo>
                <a:lnTo>
                  <a:pt x="421" y="327"/>
                </a:lnTo>
                <a:lnTo>
                  <a:pt x="432" y="367"/>
                </a:lnTo>
                <a:lnTo>
                  <a:pt x="374" y="385"/>
                </a:lnTo>
                <a:lnTo>
                  <a:pt x="348" y="394"/>
                </a:lnTo>
                <a:lnTo>
                  <a:pt x="316" y="376"/>
                </a:lnTo>
                <a:lnTo>
                  <a:pt x="283" y="385"/>
                </a:lnTo>
                <a:lnTo>
                  <a:pt x="265" y="367"/>
                </a:lnTo>
                <a:lnTo>
                  <a:pt x="164" y="406"/>
                </a:lnTo>
                <a:lnTo>
                  <a:pt x="88" y="428"/>
                </a:lnTo>
                <a:lnTo>
                  <a:pt x="105" y="383"/>
                </a:lnTo>
                <a:lnTo>
                  <a:pt x="88" y="339"/>
                </a:lnTo>
                <a:lnTo>
                  <a:pt x="23" y="316"/>
                </a:lnTo>
                <a:lnTo>
                  <a:pt x="41" y="287"/>
                </a:lnTo>
                <a:lnTo>
                  <a:pt x="23" y="251"/>
                </a:lnTo>
                <a:lnTo>
                  <a:pt x="74" y="195"/>
                </a:lnTo>
                <a:lnTo>
                  <a:pt x="0" y="153"/>
                </a:lnTo>
                <a:lnTo>
                  <a:pt x="0" y="106"/>
                </a:lnTo>
                <a:lnTo>
                  <a:pt x="36" y="85"/>
                </a:lnTo>
                <a:lnTo>
                  <a:pt x="40" y="112"/>
                </a:lnTo>
                <a:lnTo>
                  <a:pt x="72" y="123"/>
                </a:lnTo>
                <a:lnTo>
                  <a:pt x="108" y="103"/>
                </a:lnTo>
                <a:lnTo>
                  <a:pt x="188" y="115"/>
                </a:lnTo>
                <a:lnTo>
                  <a:pt x="206" y="99"/>
                </a:lnTo>
                <a:lnTo>
                  <a:pt x="309" y="99"/>
                </a:lnTo>
                <a:lnTo>
                  <a:pt x="354" y="41"/>
                </a:lnTo>
                <a:lnTo>
                  <a:pt x="451" y="0"/>
                </a:lnTo>
                <a:lnTo>
                  <a:pt x="489" y="5"/>
                </a:lnTo>
                <a:lnTo>
                  <a:pt x="520" y="14"/>
                </a:lnTo>
                <a:lnTo>
                  <a:pt x="531" y="5"/>
                </a:lnTo>
                <a:lnTo>
                  <a:pt x="556" y="20"/>
                </a:lnTo>
                <a:lnTo>
                  <a:pt x="607" y="20"/>
                </a:lnTo>
                <a:lnTo>
                  <a:pt x="612" y="72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11" name="Macedonia"/>
          <p:cNvSpPr>
            <a:spLocks/>
          </p:cNvSpPr>
          <p:nvPr/>
        </p:nvSpPr>
        <p:spPr bwMode="auto">
          <a:xfrm>
            <a:off x="10574863" y="5589588"/>
            <a:ext cx="419100" cy="330200"/>
          </a:xfrm>
          <a:custGeom>
            <a:avLst/>
            <a:gdLst>
              <a:gd name="T0" fmla="*/ 159 w 264"/>
              <a:gd name="T1" fmla="*/ 0 h 208"/>
              <a:gd name="T2" fmla="*/ 182 w 264"/>
              <a:gd name="T3" fmla="*/ 13 h 208"/>
              <a:gd name="T4" fmla="*/ 247 w 264"/>
              <a:gd name="T5" fmla="*/ 36 h 208"/>
              <a:gd name="T6" fmla="*/ 264 w 264"/>
              <a:gd name="T7" fmla="*/ 80 h 208"/>
              <a:gd name="T8" fmla="*/ 247 w 264"/>
              <a:gd name="T9" fmla="*/ 125 h 208"/>
              <a:gd name="T10" fmla="*/ 204 w 264"/>
              <a:gd name="T11" fmla="*/ 125 h 208"/>
              <a:gd name="T12" fmla="*/ 184 w 264"/>
              <a:gd name="T13" fmla="*/ 145 h 208"/>
              <a:gd name="T14" fmla="*/ 155 w 264"/>
              <a:gd name="T15" fmla="*/ 152 h 208"/>
              <a:gd name="T16" fmla="*/ 155 w 264"/>
              <a:gd name="T17" fmla="*/ 172 h 208"/>
              <a:gd name="T18" fmla="*/ 90 w 264"/>
              <a:gd name="T19" fmla="*/ 195 h 208"/>
              <a:gd name="T20" fmla="*/ 70 w 264"/>
              <a:gd name="T21" fmla="*/ 208 h 208"/>
              <a:gd name="T22" fmla="*/ 63 w 264"/>
              <a:gd name="T23" fmla="*/ 192 h 208"/>
              <a:gd name="T24" fmla="*/ 43 w 264"/>
              <a:gd name="T25" fmla="*/ 195 h 208"/>
              <a:gd name="T26" fmla="*/ 12 w 264"/>
              <a:gd name="T27" fmla="*/ 154 h 208"/>
              <a:gd name="T28" fmla="*/ 12 w 264"/>
              <a:gd name="T29" fmla="*/ 129 h 208"/>
              <a:gd name="T30" fmla="*/ 0 w 264"/>
              <a:gd name="T31" fmla="*/ 96 h 208"/>
              <a:gd name="T32" fmla="*/ 0 w 264"/>
              <a:gd name="T33" fmla="*/ 36 h 208"/>
              <a:gd name="T34" fmla="*/ 63 w 264"/>
              <a:gd name="T35" fmla="*/ 42 h 208"/>
              <a:gd name="T36" fmla="*/ 97 w 264"/>
              <a:gd name="T37" fmla="*/ 20 h 208"/>
              <a:gd name="T38" fmla="*/ 132 w 264"/>
              <a:gd name="T39" fmla="*/ 17 h 208"/>
              <a:gd name="T40" fmla="*/ 159 w 264"/>
              <a:gd name="T41" fmla="*/ 0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64" h="208">
                <a:moveTo>
                  <a:pt x="159" y="0"/>
                </a:moveTo>
                <a:lnTo>
                  <a:pt x="182" y="13"/>
                </a:lnTo>
                <a:lnTo>
                  <a:pt x="247" y="36"/>
                </a:lnTo>
                <a:lnTo>
                  <a:pt x="264" y="80"/>
                </a:lnTo>
                <a:lnTo>
                  <a:pt x="247" y="125"/>
                </a:lnTo>
                <a:lnTo>
                  <a:pt x="204" y="125"/>
                </a:lnTo>
                <a:lnTo>
                  <a:pt x="184" y="145"/>
                </a:lnTo>
                <a:lnTo>
                  <a:pt x="155" y="152"/>
                </a:lnTo>
                <a:lnTo>
                  <a:pt x="155" y="172"/>
                </a:lnTo>
                <a:lnTo>
                  <a:pt x="90" y="195"/>
                </a:lnTo>
                <a:lnTo>
                  <a:pt x="70" y="208"/>
                </a:lnTo>
                <a:lnTo>
                  <a:pt x="63" y="192"/>
                </a:lnTo>
                <a:lnTo>
                  <a:pt x="43" y="195"/>
                </a:lnTo>
                <a:lnTo>
                  <a:pt x="12" y="154"/>
                </a:lnTo>
                <a:lnTo>
                  <a:pt x="12" y="129"/>
                </a:lnTo>
                <a:lnTo>
                  <a:pt x="0" y="96"/>
                </a:lnTo>
                <a:lnTo>
                  <a:pt x="0" y="36"/>
                </a:lnTo>
                <a:lnTo>
                  <a:pt x="63" y="42"/>
                </a:lnTo>
                <a:lnTo>
                  <a:pt x="97" y="20"/>
                </a:lnTo>
                <a:lnTo>
                  <a:pt x="132" y="17"/>
                </a:lnTo>
                <a:lnTo>
                  <a:pt x="159" y="0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12" name="Albania"/>
          <p:cNvSpPr>
            <a:spLocks/>
          </p:cNvSpPr>
          <p:nvPr/>
        </p:nvSpPr>
        <p:spPr bwMode="auto">
          <a:xfrm>
            <a:off x="10376426" y="5602288"/>
            <a:ext cx="309563" cy="561975"/>
          </a:xfrm>
          <a:custGeom>
            <a:avLst/>
            <a:gdLst>
              <a:gd name="T0" fmla="*/ 2 w 195"/>
              <a:gd name="T1" fmla="*/ 85 h 354"/>
              <a:gd name="T2" fmla="*/ 11 w 195"/>
              <a:gd name="T3" fmla="*/ 85 h 354"/>
              <a:gd name="T4" fmla="*/ 29 w 195"/>
              <a:gd name="T5" fmla="*/ 59 h 354"/>
              <a:gd name="T6" fmla="*/ 33 w 195"/>
              <a:gd name="T7" fmla="*/ 25 h 354"/>
              <a:gd name="T8" fmla="*/ 47 w 195"/>
              <a:gd name="T9" fmla="*/ 0 h 354"/>
              <a:gd name="T10" fmla="*/ 65 w 195"/>
              <a:gd name="T11" fmla="*/ 14 h 354"/>
              <a:gd name="T12" fmla="*/ 78 w 195"/>
              <a:gd name="T13" fmla="*/ 1 h 354"/>
              <a:gd name="T14" fmla="*/ 114 w 195"/>
              <a:gd name="T15" fmla="*/ 27 h 354"/>
              <a:gd name="T16" fmla="*/ 125 w 195"/>
              <a:gd name="T17" fmla="*/ 28 h 354"/>
              <a:gd name="T18" fmla="*/ 125 w 195"/>
              <a:gd name="T19" fmla="*/ 88 h 354"/>
              <a:gd name="T20" fmla="*/ 137 w 195"/>
              <a:gd name="T21" fmla="*/ 121 h 354"/>
              <a:gd name="T22" fmla="*/ 137 w 195"/>
              <a:gd name="T23" fmla="*/ 146 h 354"/>
              <a:gd name="T24" fmla="*/ 168 w 195"/>
              <a:gd name="T25" fmla="*/ 187 h 354"/>
              <a:gd name="T26" fmla="*/ 188 w 195"/>
              <a:gd name="T27" fmla="*/ 184 h 354"/>
              <a:gd name="T28" fmla="*/ 195 w 195"/>
              <a:gd name="T29" fmla="*/ 200 h 354"/>
              <a:gd name="T30" fmla="*/ 177 w 195"/>
              <a:gd name="T31" fmla="*/ 218 h 354"/>
              <a:gd name="T32" fmla="*/ 181 w 195"/>
              <a:gd name="T33" fmla="*/ 292 h 354"/>
              <a:gd name="T34" fmla="*/ 139 w 195"/>
              <a:gd name="T35" fmla="*/ 307 h 354"/>
              <a:gd name="T36" fmla="*/ 152 w 195"/>
              <a:gd name="T37" fmla="*/ 336 h 354"/>
              <a:gd name="T38" fmla="*/ 121 w 195"/>
              <a:gd name="T39" fmla="*/ 354 h 354"/>
              <a:gd name="T40" fmla="*/ 105 w 195"/>
              <a:gd name="T41" fmla="*/ 325 h 354"/>
              <a:gd name="T42" fmla="*/ 89 w 195"/>
              <a:gd name="T43" fmla="*/ 301 h 354"/>
              <a:gd name="T44" fmla="*/ 29 w 195"/>
              <a:gd name="T45" fmla="*/ 283 h 354"/>
              <a:gd name="T46" fmla="*/ 36 w 195"/>
              <a:gd name="T47" fmla="*/ 249 h 354"/>
              <a:gd name="T48" fmla="*/ 42 w 195"/>
              <a:gd name="T49" fmla="*/ 200 h 354"/>
              <a:gd name="T50" fmla="*/ 33 w 195"/>
              <a:gd name="T51" fmla="*/ 177 h 354"/>
              <a:gd name="T52" fmla="*/ 40 w 195"/>
              <a:gd name="T53" fmla="*/ 171 h 354"/>
              <a:gd name="T54" fmla="*/ 22 w 195"/>
              <a:gd name="T55" fmla="*/ 144 h 354"/>
              <a:gd name="T56" fmla="*/ 42 w 195"/>
              <a:gd name="T57" fmla="*/ 117 h 354"/>
              <a:gd name="T58" fmla="*/ 34 w 195"/>
              <a:gd name="T59" fmla="*/ 95 h 354"/>
              <a:gd name="T60" fmla="*/ 18 w 195"/>
              <a:gd name="T61" fmla="*/ 95 h 354"/>
              <a:gd name="T62" fmla="*/ 0 w 195"/>
              <a:gd name="T63" fmla="*/ 95 h 354"/>
              <a:gd name="T64" fmla="*/ 2 w 195"/>
              <a:gd name="T65" fmla="*/ 85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95" h="354">
                <a:moveTo>
                  <a:pt x="2" y="85"/>
                </a:moveTo>
                <a:lnTo>
                  <a:pt x="11" y="85"/>
                </a:lnTo>
                <a:lnTo>
                  <a:pt x="29" y="59"/>
                </a:lnTo>
                <a:lnTo>
                  <a:pt x="33" y="25"/>
                </a:lnTo>
                <a:lnTo>
                  <a:pt x="47" y="0"/>
                </a:lnTo>
                <a:lnTo>
                  <a:pt x="65" y="14"/>
                </a:lnTo>
                <a:lnTo>
                  <a:pt x="78" y="1"/>
                </a:lnTo>
                <a:lnTo>
                  <a:pt x="114" y="27"/>
                </a:lnTo>
                <a:lnTo>
                  <a:pt x="125" y="28"/>
                </a:lnTo>
                <a:lnTo>
                  <a:pt x="125" y="88"/>
                </a:lnTo>
                <a:lnTo>
                  <a:pt x="137" y="121"/>
                </a:lnTo>
                <a:lnTo>
                  <a:pt x="137" y="146"/>
                </a:lnTo>
                <a:lnTo>
                  <a:pt x="168" y="187"/>
                </a:lnTo>
                <a:lnTo>
                  <a:pt x="188" y="184"/>
                </a:lnTo>
                <a:lnTo>
                  <a:pt x="195" y="200"/>
                </a:lnTo>
                <a:lnTo>
                  <a:pt x="177" y="218"/>
                </a:lnTo>
                <a:lnTo>
                  <a:pt x="181" y="292"/>
                </a:lnTo>
                <a:lnTo>
                  <a:pt x="139" y="307"/>
                </a:lnTo>
                <a:lnTo>
                  <a:pt x="152" y="336"/>
                </a:lnTo>
                <a:lnTo>
                  <a:pt x="121" y="354"/>
                </a:lnTo>
                <a:lnTo>
                  <a:pt x="105" y="325"/>
                </a:lnTo>
                <a:lnTo>
                  <a:pt x="89" y="301"/>
                </a:lnTo>
                <a:lnTo>
                  <a:pt x="29" y="283"/>
                </a:lnTo>
                <a:lnTo>
                  <a:pt x="36" y="249"/>
                </a:lnTo>
                <a:lnTo>
                  <a:pt x="42" y="200"/>
                </a:lnTo>
                <a:lnTo>
                  <a:pt x="33" y="177"/>
                </a:lnTo>
                <a:lnTo>
                  <a:pt x="40" y="171"/>
                </a:lnTo>
                <a:lnTo>
                  <a:pt x="22" y="144"/>
                </a:lnTo>
                <a:lnTo>
                  <a:pt x="42" y="117"/>
                </a:lnTo>
                <a:lnTo>
                  <a:pt x="34" y="95"/>
                </a:lnTo>
                <a:lnTo>
                  <a:pt x="18" y="95"/>
                </a:lnTo>
                <a:lnTo>
                  <a:pt x="0" y="95"/>
                </a:lnTo>
                <a:lnTo>
                  <a:pt x="2" y="85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13" name="Romania"/>
          <p:cNvSpPr>
            <a:spLocks/>
          </p:cNvSpPr>
          <p:nvPr/>
        </p:nvSpPr>
        <p:spPr bwMode="auto">
          <a:xfrm>
            <a:off x="10428813" y="4348163"/>
            <a:ext cx="1450975" cy="955675"/>
          </a:xfrm>
          <a:custGeom>
            <a:avLst/>
            <a:gdLst>
              <a:gd name="T0" fmla="*/ 335 w 506"/>
              <a:gd name="T1" fmla="*/ 34 h 333"/>
              <a:gd name="T2" fmla="*/ 404 w 506"/>
              <a:gd name="T3" fmla="*/ 136 h 333"/>
              <a:gd name="T4" fmla="*/ 440 w 506"/>
              <a:gd name="T5" fmla="*/ 170 h 333"/>
              <a:gd name="T6" fmla="*/ 473 w 506"/>
              <a:gd name="T7" fmla="*/ 156 h 333"/>
              <a:gd name="T8" fmla="*/ 506 w 506"/>
              <a:gd name="T9" fmla="*/ 163 h 333"/>
              <a:gd name="T10" fmla="*/ 482 w 506"/>
              <a:gd name="T11" fmla="*/ 204 h 333"/>
              <a:gd name="T12" fmla="*/ 467 w 506"/>
              <a:gd name="T13" fmla="*/ 200 h 333"/>
              <a:gd name="T14" fmla="*/ 473 w 506"/>
              <a:gd name="T15" fmla="*/ 220 h 333"/>
              <a:gd name="T16" fmla="*/ 471 w 506"/>
              <a:gd name="T17" fmla="*/ 264 h 333"/>
              <a:gd name="T18" fmla="*/ 447 w 506"/>
              <a:gd name="T19" fmla="*/ 276 h 333"/>
              <a:gd name="T20" fmla="*/ 427 w 506"/>
              <a:gd name="T21" fmla="*/ 273 h 333"/>
              <a:gd name="T22" fmla="*/ 389 w 506"/>
              <a:gd name="T23" fmla="*/ 265 h 333"/>
              <a:gd name="T24" fmla="*/ 310 w 506"/>
              <a:gd name="T25" fmla="*/ 320 h 333"/>
              <a:gd name="T26" fmla="*/ 243 w 506"/>
              <a:gd name="T27" fmla="*/ 329 h 333"/>
              <a:gd name="T28" fmla="*/ 179 w 506"/>
              <a:gd name="T29" fmla="*/ 333 h 333"/>
              <a:gd name="T30" fmla="*/ 157 w 506"/>
              <a:gd name="T31" fmla="*/ 300 h 333"/>
              <a:gd name="T32" fmla="*/ 153 w 506"/>
              <a:gd name="T33" fmla="*/ 284 h 333"/>
              <a:gd name="T34" fmla="*/ 139 w 506"/>
              <a:gd name="T35" fmla="*/ 288 h 333"/>
              <a:gd name="T36" fmla="*/ 105 w 506"/>
              <a:gd name="T37" fmla="*/ 283 h 333"/>
              <a:gd name="T38" fmla="*/ 75 w 506"/>
              <a:gd name="T39" fmla="*/ 254 h 333"/>
              <a:gd name="T40" fmla="*/ 37 w 506"/>
              <a:gd name="T41" fmla="*/ 220 h 333"/>
              <a:gd name="T42" fmla="*/ 18 w 506"/>
              <a:gd name="T43" fmla="*/ 187 h 333"/>
              <a:gd name="T44" fmla="*/ 52 w 506"/>
              <a:gd name="T45" fmla="*/ 152 h 333"/>
              <a:gd name="T46" fmla="*/ 67 w 506"/>
              <a:gd name="T47" fmla="*/ 111 h 333"/>
              <a:gd name="T48" fmla="*/ 83 w 506"/>
              <a:gd name="T49" fmla="*/ 76 h 333"/>
              <a:gd name="T50" fmla="*/ 108 w 506"/>
              <a:gd name="T51" fmla="*/ 62 h 333"/>
              <a:gd name="T52" fmla="*/ 108 w 506"/>
              <a:gd name="T53" fmla="*/ 48 h 333"/>
              <a:gd name="T54" fmla="*/ 129 w 506"/>
              <a:gd name="T55" fmla="*/ 43 h 333"/>
              <a:gd name="T56" fmla="*/ 205 w 506"/>
              <a:gd name="T57" fmla="*/ 40 h 333"/>
              <a:gd name="T58" fmla="*/ 234 w 506"/>
              <a:gd name="T59" fmla="*/ 36 h 333"/>
              <a:gd name="T60" fmla="*/ 281 w 506"/>
              <a:gd name="T61" fmla="*/ 13 h 333"/>
              <a:gd name="T62" fmla="*/ 312 w 506"/>
              <a:gd name="T63" fmla="*/ 1 h 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06" h="333">
                <a:moveTo>
                  <a:pt x="315" y="0"/>
                </a:moveTo>
                <a:cubicBezTo>
                  <a:pt x="335" y="34"/>
                  <a:pt x="335" y="34"/>
                  <a:pt x="335" y="34"/>
                </a:cubicBezTo>
                <a:cubicBezTo>
                  <a:pt x="406" y="93"/>
                  <a:pt x="406" y="93"/>
                  <a:pt x="406" y="93"/>
                </a:cubicBezTo>
                <a:cubicBezTo>
                  <a:pt x="404" y="136"/>
                  <a:pt x="404" y="136"/>
                  <a:pt x="404" y="136"/>
                </a:cubicBezTo>
                <a:cubicBezTo>
                  <a:pt x="425" y="163"/>
                  <a:pt x="425" y="163"/>
                  <a:pt x="425" y="163"/>
                </a:cubicBezTo>
                <a:cubicBezTo>
                  <a:pt x="440" y="170"/>
                  <a:pt x="440" y="170"/>
                  <a:pt x="440" y="170"/>
                </a:cubicBezTo>
                <a:cubicBezTo>
                  <a:pt x="458" y="165"/>
                  <a:pt x="458" y="165"/>
                  <a:pt x="458" y="165"/>
                </a:cubicBezTo>
                <a:cubicBezTo>
                  <a:pt x="473" y="156"/>
                  <a:pt x="473" y="156"/>
                  <a:pt x="473" y="156"/>
                </a:cubicBezTo>
                <a:cubicBezTo>
                  <a:pt x="485" y="152"/>
                  <a:pt x="485" y="152"/>
                  <a:pt x="485" y="152"/>
                </a:cubicBezTo>
                <a:cubicBezTo>
                  <a:pt x="506" y="163"/>
                  <a:pt x="506" y="163"/>
                  <a:pt x="506" y="163"/>
                </a:cubicBezTo>
                <a:cubicBezTo>
                  <a:pt x="506" y="187"/>
                  <a:pt x="506" y="187"/>
                  <a:pt x="506" y="187"/>
                </a:cubicBezTo>
                <a:cubicBezTo>
                  <a:pt x="482" y="204"/>
                  <a:pt x="482" y="204"/>
                  <a:pt x="482" y="204"/>
                </a:cubicBezTo>
                <a:cubicBezTo>
                  <a:pt x="475" y="192"/>
                  <a:pt x="475" y="192"/>
                  <a:pt x="475" y="192"/>
                </a:cubicBezTo>
                <a:cubicBezTo>
                  <a:pt x="467" y="200"/>
                  <a:pt x="467" y="200"/>
                  <a:pt x="467" y="200"/>
                </a:cubicBezTo>
                <a:cubicBezTo>
                  <a:pt x="471" y="204"/>
                  <a:pt x="471" y="204"/>
                  <a:pt x="471" y="204"/>
                </a:cubicBezTo>
                <a:cubicBezTo>
                  <a:pt x="473" y="220"/>
                  <a:pt x="473" y="220"/>
                  <a:pt x="473" y="220"/>
                </a:cubicBezTo>
                <a:cubicBezTo>
                  <a:pt x="464" y="236"/>
                  <a:pt x="464" y="236"/>
                  <a:pt x="464" y="236"/>
                </a:cubicBezTo>
                <a:cubicBezTo>
                  <a:pt x="471" y="264"/>
                  <a:pt x="471" y="264"/>
                  <a:pt x="471" y="264"/>
                </a:cubicBezTo>
                <a:cubicBezTo>
                  <a:pt x="475" y="276"/>
                  <a:pt x="475" y="276"/>
                  <a:pt x="475" y="276"/>
                </a:cubicBezTo>
                <a:cubicBezTo>
                  <a:pt x="447" y="276"/>
                  <a:pt x="447" y="276"/>
                  <a:pt x="447" y="276"/>
                </a:cubicBezTo>
                <a:cubicBezTo>
                  <a:pt x="433" y="268"/>
                  <a:pt x="433" y="268"/>
                  <a:pt x="433" y="268"/>
                </a:cubicBezTo>
                <a:cubicBezTo>
                  <a:pt x="427" y="273"/>
                  <a:pt x="427" y="273"/>
                  <a:pt x="427" y="273"/>
                </a:cubicBezTo>
                <a:cubicBezTo>
                  <a:pt x="410" y="268"/>
                  <a:pt x="410" y="268"/>
                  <a:pt x="410" y="268"/>
                </a:cubicBezTo>
                <a:cubicBezTo>
                  <a:pt x="389" y="265"/>
                  <a:pt x="389" y="265"/>
                  <a:pt x="389" y="265"/>
                </a:cubicBezTo>
                <a:cubicBezTo>
                  <a:pt x="335" y="288"/>
                  <a:pt x="335" y="288"/>
                  <a:pt x="335" y="288"/>
                </a:cubicBezTo>
                <a:cubicBezTo>
                  <a:pt x="310" y="320"/>
                  <a:pt x="310" y="320"/>
                  <a:pt x="310" y="320"/>
                </a:cubicBezTo>
                <a:cubicBezTo>
                  <a:pt x="253" y="320"/>
                  <a:pt x="253" y="320"/>
                  <a:pt x="253" y="320"/>
                </a:cubicBezTo>
                <a:cubicBezTo>
                  <a:pt x="243" y="329"/>
                  <a:pt x="243" y="329"/>
                  <a:pt x="243" y="329"/>
                </a:cubicBezTo>
                <a:cubicBezTo>
                  <a:pt x="199" y="322"/>
                  <a:pt x="199" y="322"/>
                  <a:pt x="199" y="322"/>
                </a:cubicBezTo>
                <a:cubicBezTo>
                  <a:pt x="179" y="333"/>
                  <a:pt x="179" y="333"/>
                  <a:pt x="179" y="333"/>
                </a:cubicBezTo>
                <a:cubicBezTo>
                  <a:pt x="179" y="333"/>
                  <a:pt x="161" y="330"/>
                  <a:pt x="161" y="327"/>
                </a:cubicBezTo>
                <a:cubicBezTo>
                  <a:pt x="162" y="324"/>
                  <a:pt x="157" y="300"/>
                  <a:pt x="157" y="300"/>
                </a:cubicBezTo>
                <a:cubicBezTo>
                  <a:pt x="149" y="294"/>
                  <a:pt x="149" y="294"/>
                  <a:pt x="149" y="294"/>
                </a:cubicBezTo>
                <a:cubicBezTo>
                  <a:pt x="153" y="284"/>
                  <a:pt x="153" y="284"/>
                  <a:pt x="153" y="284"/>
                </a:cubicBezTo>
                <a:cubicBezTo>
                  <a:pt x="139" y="275"/>
                  <a:pt x="139" y="275"/>
                  <a:pt x="139" y="275"/>
                </a:cubicBezTo>
                <a:cubicBezTo>
                  <a:pt x="139" y="288"/>
                  <a:pt x="139" y="288"/>
                  <a:pt x="139" y="288"/>
                </a:cubicBezTo>
                <a:cubicBezTo>
                  <a:pt x="127" y="298"/>
                  <a:pt x="127" y="298"/>
                  <a:pt x="127" y="298"/>
                </a:cubicBezTo>
                <a:cubicBezTo>
                  <a:pt x="105" y="283"/>
                  <a:pt x="105" y="283"/>
                  <a:pt x="105" y="283"/>
                </a:cubicBezTo>
                <a:cubicBezTo>
                  <a:pt x="87" y="281"/>
                  <a:pt x="87" y="281"/>
                  <a:pt x="87" y="281"/>
                </a:cubicBezTo>
                <a:cubicBezTo>
                  <a:pt x="75" y="254"/>
                  <a:pt x="75" y="254"/>
                  <a:pt x="75" y="254"/>
                </a:cubicBezTo>
                <a:cubicBezTo>
                  <a:pt x="37" y="244"/>
                  <a:pt x="37" y="244"/>
                  <a:pt x="37" y="244"/>
                </a:cubicBezTo>
                <a:cubicBezTo>
                  <a:pt x="37" y="220"/>
                  <a:pt x="37" y="220"/>
                  <a:pt x="37" y="220"/>
                </a:cubicBezTo>
                <a:cubicBezTo>
                  <a:pt x="0" y="199"/>
                  <a:pt x="0" y="199"/>
                  <a:pt x="0" y="199"/>
                </a:cubicBezTo>
                <a:cubicBezTo>
                  <a:pt x="18" y="187"/>
                  <a:pt x="18" y="187"/>
                  <a:pt x="18" y="187"/>
                </a:cubicBezTo>
                <a:cubicBezTo>
                  <a:pt x="38" y="182"/>
                  <a:pt x="38" y="182"/>
                  <a:pt x="38" y="182"/>
                </a:cubicBezTo>
                <a:cubicBezTo>
                  <a:pt x="52" y="152"/>
                  <a:pt x="52" y="152"/>
                  <a:pt x="52" y="152"/>
                </a:cubicBezTo>
                <a:cubicBezTo>
                  <a:pt x="54" y="135"/>
                  <a:pt x="54" y="135"/>
                  <a:pt x="54" y="135"/>
                </a:cubicBezTo>
                <a:cubicBezTo>
                  <a:pt x="67" y="111"/>
                  <a:pt x="67" y="111"/>
                  <a:pt x="67" y="111"/>
                </a:cubicBezTo>
                <a:cubicBezTo>
                  <a:pt x="69" y="92"/>
                  <a:pt x="69" y="92"/>
                  <a:pt x="69" y="92"/>
                </a:cubicBezTo>
                <a:cubicBezTo>
                  <a:pt x="83" y="76"/>
                  <a:pt x="83" y="76"/>
                  <a:pt x="83" y="76"/>
                </a:cubicBezTo>
                <a:cubicBezTo>
                  <a:pt x="103" y="74"/>
                  <a:pt x="103" y="74"/>
                  <a:pt x="103" y="74"/>
                </a:cubicBezTo>
                <a:cubicBezTo>
                  <a:pt x="108" y="62"/>
                  <a:pt x="108" y="62"/>
                  <a:pt x="108" y="62"/>
                </a:cubicBezTo>
                <a:cubicBezTo>
                  <a:pt x="105" y="54"/>
                  <a:pt x="105" y="54"/>
                  <a:pt x="105" y="54"/>
                </a:cubicBezTo>
                <a:cubicBezTo>
                  <a:pt x="108" y="48"/>
                  <a:pt x="108" y="48"/>
                  <a:pt x="108" y="48"/>
                </a:cubicBezTo>
                <a:cubicBezTo>
                  <a:pt x="115" y="56"/>
                  <a:pt x="115" y="56"/>
                  <a:pt x="115" y="56"/>
                </a:cubicBezTo>
                <a:cubicBezTo>
                  <a:pt x="129" y="43"/>
                  <a:pt x="129" y="43"/>
                  <a:pt x="129" y="43"/>
                </a:cubicBezTo>
                <a:cubicBezTo>
                  <a:pt x="175" y="46"/>
                  <a:pt x="175" y="46"/>
                  <a:pt x="175" y="46"/>
                </a:cubicBezTo>
                <a:cubicBezTo>
                  <a:pt x="205" y="40"/>
                  <a:pt x="205" y="40"/>
                  <a:pt x="205" y="40"/>
                </a:cubicBezTo>
                <a:cubicBezTo>
                  <a:pt x="225" y="54"/>
                  <a:pt x="225" y="54"/>
                  <a:pt x="225" y="54"/>
                </a:cubicBezTo>
                <a:cubicBezTo>
                  <a:pt x="234" y="36"/>
                  <a:pt x="234" y="36"/>
                  <a:pt x="234" y="36"/>
                </a:cubicBezTo>
                <a:cubicBezTo>
                  <a:pt x="273" y="27"/>
                  <a:pt x="273" y="27"/>
                  <a:pt x="273" y="27"/>
                </a:cubicBezTo>
                <a:cubicBezTo>
                  <a:pt x="281" y="13"/>
                  <a:pt x="281" y="13"/>
                  <a:pt x="281" y="13"/>
                </a:cubicBezTo>
                <a:cubicBezTo>
                  <a:pt x="286" y="7"/>
                  <a:pt x="286" y="7"/>
                  <a:pt x="286" y="7"/>
                </a:cubicBezTo>
                <a:cubicBezTo>
                  <a:pt x="312" y="1"/>
                  <a:pt x="312" y="1"/>
                  <a:pt x="312" y="1"/>
                </a:cubicBezTo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14" name="Serbia"/>
          <p:cNvSpPr>
            <a:spLocks/>
          </p:cNvSpPr>
          <p:nvPr/>
        </p:nvSpPr>
        <p:spPr bwMode="auto">
          <a:xfrm>
            <a:off x="10208151" y="4919663"/>
            <a:ext cx="736600" cy="739775"/>
          </a:xfrm>
          <a:custGeom>
            <a:avLst/>
            <a:gdLst>
              <a:gd name="T0" fmla="*/ 413 w 464"/>
              <a:gd name="T1" fmla="*/ 435 h 466"/>
              <a:gd name="T2" fmla="*/ 390 w 464"/>
              <a:gd name="T3" fmla="*/ 422 h 466"/>
              <a:gd name="T4" fmla="*/ 359 w 464"/>
              <a:gd name="T5" fmla="*/ 440 h 466"/>
              <a:gd name="T6" fmla="*/ 328 w 464"/>
              <a:gd name="T7" fmla="*/ 440 h 466"/>
              <a:gd name="T8" fmla="*/ 294 w 464"/>
              <a:gd name="T9" fmla="*/ 466 h 466"/>
              <a:gd name="T10" fmla="*/ 222 w 464"/>
              <a:gd name="T11" fmla="*/ 457 h 466"/>
              <a:gd name="T12" fmla="*/ 184 w 464"/>
              <a:gd name="T13" fmla="*/ 430 h 466"/>
              <a:gd name="T14" fmla="*/ 184 w 464"/>
              <a:gd name="T15" fmla="*/ 406 h 466"/>
              <a:gd name="T16" fmla="*/ 200 w 464"/>
              <a:gd name="T17" fmla="*/ 393 h 466"/>
              <a:gd name="T18" fmla="*/ 191 w 464"/>
              <a:gd name="T19" fmla="*/ 366 h 466"/>
              <a:gd name="T20" fmla="*/ 162 w 464"/>
              <a:gd name="T21" fmla="*/ 357 h 466"/>
              <a:gd name="T22" fmla="*/ 150 w 464"/>
              <a:gd name="T23" fmla="*/ 325 h 466"/>
              <a:gd name="T24" fmla="*/ 106 w 464"/>
              <a:gd name="T25" fmla="*/ 312 h 466"/>
              <a:gd name="T26" fmla="*/ 77 w 464"/>
              <a:gd name="T27" fmla="*/ 271 h 466"/>
              <a:gd name="T28" fmla="*/ 108 w 464"/>
              <a:gd name="T29" fmla="*/ 271 h 466"/>
              <a:gd name="T30" fmla="*/ 94 w 464"/>
              <a:gd name="T31" fmla="*/ 245 h 466"/>
              <a:gd name="T32" fmla="*/ 57 w 464"/>
              <a:gd name="T33" fmla="*/ 231 h 466"/>
              <a:gd name="T34" fmla="*/ 74 w 464"/>
              <a:gd name="T35" fmla="*/ 162 h 466"/>
              <a:gd name="T36" fmla="*/ 66 w 464"/>
              <a:gd name="T37" fmla="*/ 150 h 466"/>
              <a:gd name="T38" fmla="*/ 25 w 464"/>
              <a:gd name="T39" fmla="*/ 166 h 466"/>
              <a:gd name="T40" fmla="*/ 10 w 464"/>
              <a:gd name="T41" fmla="*/ 159 h 466"/>
              <a:gd name="T42" fmla="*/ 45 w 464"/>
              <a:gd name="T43" fmla="*/ 141 h 466"/>
              <a:gd name="T44" fmla="*/ 45 w 464"/>
              <a:gd name="T45" fmla="*/ 99 h 466"/>
              <a:gd name="T46" fmla="*/ 12 w 464"/>
              <a:gd name="T47" fmla="*/ 75 h 466"/>
              <a:gd name="T48" fmla="*/ 12 w 464"/>
              <a:gd name="T49" fmla="*/ 52 h 466"/>
              <a:gd name="T50" fmla="*/ 0 w 464"/>
              <a:gd name="T51" fmla="*/ 41 h 466"/>
              <a:gd name="T52" fmla="*/ 28 w 464"/>
              <a:gd name="T53" fmla="*/ 36 h 466"/>
              <a:gd name="T54" fmla="*/ 75 w 464"/>
              <a:gd name="T55" fmla="*/ 0 h 466"/>
              <a:gd name="T56" fmla="*/ 139 w 464"/>
              <a:gd name="T57" fmla="*/ 0 h 466"/>
              <a:gd name="T58" fmla="*/ 206 w 464"/>
              <a:gd name="T59" fmla="*/ 38 h 466"/>
              <a:gd name="T60" fmla="*/ 206 w 464"/>
              <a:gd name="T61" fmla="*/ 81 h 466"/>
              <a:gd name="T62" fmla="*/ 274 w 464"/>
              <a:gd name="T63" fmla="*/ 99 h 466"/>
              <a:gd name="T64" fmla="*/ 296 w 464"/>
              <a:gd name="T65" fmla="*/ 148 h 466"/>
              <a:gd name="T66" fmla="*/ 328 w 464"/>
              <a:gd name="T67" fmla="*/ 151 h 466"/>
              <a:gd name="T68" fmla="*/ 368 w 464"/>
              <a:gd name="T69" fmla="*/ 177 h 466"/>
              <a:gd name="T70" fmla="*/ 390 w 464"/>
              <a:gd name="T71" fmla="*/ 160 h 466"/>
              <a:gd name="T72" fmla="*/ 390 w 464"/>
              <a:gd name="T73" fmla="*/ 137 h 466"/>
              <a:gd name="T74" fmla="*/ 415 w 464"/>
              <a:gd name="T75" fmla="*/ 153 h 466"/>
              <a:gd name="T76" fmla="*/ 408 w 464"/>
              <a:gd name="T77" fmla="*/ 169 h 466"/>
              <a:gd name="T78" fmla="*/ 422 w 464"/>
              <a:gd name="T79" fmla="*/ 180 h 466"/>
              <a:gd name="T80" fmla="*/ 426 w 464"/>
              <a:gd name="T81" fmla="*/ 202 h 466"/>
              <a:gd name="T82" fmla="*/ 390 w 464"/>
              <a:gd name="T83" fmla="*/ 225 h 466"/>
              <a:gd name="T84" fmla="*/ 390 w 464"/>
              <a:gd name="T85" fmla="*/ 272 h 466"/>
              <a:gd name="T86" fmla="*/ 464 w 464"/>
              <a:gd name="T87" fmla="*/ 314 h 466"/>
              <a:gd name="T88" fmla="*/ 413 w 464"/>
              <a:gd name="T89" fmla="*/ 368 h 466"/>
              <a:gd name="T90" fmla="*/ 431 w 464"/>
              <a:gd name="T91" fmla="*/ 406 h 466"/>
              <a:gd name="T92" fmla="*/ 413 w 464"/>
              <a:gd name="T93" fmla="*/ 435 h 4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64" h="466">
                <a:moveTo>
                  <a:pt x="413" y="435"/>
                </a:moveTo>
                <a:lnTo>
                  <a:pt x="390" y="422"/>
                </a:lnTo>
                <a:lnTo>
                  <a:pt x="359" y="440"/>
                </a:lnTo>
                <a:lnTo>
                  <a:pt x="328" y="440"/>
                </a:lnTo>
                <a:lnTo>
                  <a:pt x="294" y="466"/>
                </a:lnTo>
                <a:lnTo>
                  <a:pt x="222" y="457"/>
                </a:lnTo>
                <a:lnTo>
                  <a:pt x="184" y="430"/>
                </a:lnTo>
                <a:lnTo>
                  <a:pt x="184" y="406"/>
                </a:lnTo>
                <a:lnTo>
                  <a:pt x="200" y="393"/>
                </a:lnTo>
                <a:lnTo>
                  <a:pt x="191" y="366"/>
                </a:lnTo>
                <a:lnTo>
                  <a:pt x="162" y="357"/>
                </a:lnTo>
                <a:lnTo>
                  <a:pt x="150" y="325"/>
                </a:lnTo>
                <a:lnTo>
                  <a:pt x="106" y="312"/>
                </a:lnTo>
                <a:lnTo>
                  <a:pt x="77" y="271"/>
                </a:lnTo>
                <a:lnTo>
                  <a:pt x="108" y="271"/>
                </a:lnTo>
                <a:lnTo>
                  <a:pt x="94" y="245"/>
                </a:lnTo>
                <a:lnTo>
                  <a:pt x="57" y="231"/>
                </a:lnTo>
                <a:lnTo>
                  <a:pt x="74" y="162"/>
                </a:lnTo>
                <a:lnTo>
                  <a:pt x="66" y="150"/>
                </a:lnTo>
                <a:lnTo>
                  <a:pt x="25" y="166"/>
                </a:lnTo>
                <a:lnTo>
                  <a:pt x="10" y="159"/>
                </a:lnTo>
                <a:lnTo>
                  <a:pt x="45" y="141"/>
                </a:lnTo>
                <a:lnTo>
                  <a:pt x="45" y="99"/>
                </a:lnTo>
                <a:lnTo>
                  <a:pt x="12" y="75"/>
                </a:lnTo>
                <a:lnTo>
                  <a:pt x="12" y="52"/>
                </a:lnTo>
                <a:lnTo>
                  <a:pt x="0" y="41"/>
                </a:lnTo>
                <a:lnTo>
                  <a:pt x="28" y="36"/>
                </a:lnTo>
                <a:lnTo>
                  <a:pt x="75" y="0"/>
                </a:lnTo>
                <a:lnTo>
                  <a:pt x="139" y="0"/>
                </a:lnTo>
                <a:lnTo>
                  <a:pt x="206" y="38"/>
                </a:lnTo>
                <a:lnTo>
                  <a:pt x="206" y="81"/>
                </a:lnTo>
                <a:lnTo>
                  <a:pt x="274" y="99"/>
                </a:lnTo>
                <a:lnTo>
                  <a:pt x="296" y="148"/>
                </a:lnTo>
                <a:lnTo>
                  <a:pt x="328" y="151"/>
                </a:lnTo>
                <a:lnTo>
                  <a:pt x="368" y="177"/>
                </a:lnTo>
                <a:lnTo>
                  <a:pt x="390" y="160"/>
                </a:lnTo>
                <a:lnTo>
                  <a:pt x="390" y="137"/>
                </a:lnTo>
                <a:lnTo>
                  <a:pt x="415" y="153"/>
                </a:lnTo>
                <a:lnTo>
                  <a:pt x="408" y="169"/>
                </a:lnTo>
                <a:lnTo>
                  <a:pt x="422" y="180"/>
                </a:lnTo>
                <a:lnTo>
                  <a:pt x="426" y="202"/>
                </a:lnTo>
                <a:lnTo>
                  <a:pt x="390" y="225"/>
                </a:lnTo>
                <a:lnTo>
                  <a:pt x="390" y="272"/>
                </a:lnTo>
                <a:lnTo>
                  <a:pt x="464" y="314"/>
                </a:lnTo>
                <a:lnTo>
                  <a:pt x="413" y="368"/>
                </a:lnTo>
                <a:lnTo>
                  <a:pt x="431" y="406"/>
                </a:lnTo>
                <a:lnTo>
                  <a:pt x="413" y="435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15" name="Bosnia &amp; Herzegovina"/>
          <p:cNvSpPr>
            <a:spLocks/>
          </p:cNvSpPr>
          <p:nvPr/>
        </p:nvSpPr>
        <p:spPr bwMode="auto">
          <a:xfrm>
            <a:off x="9754126" y="5127625"/>
            <a:ext cx="628650" cy="519113"/>
          </a:xfrm>
          <a:custGeom>
            <a:avLst/>
            <a:gdLst>
              <a:gd name="T0" fmla="*/ 396 w 396"/>
              <a:gd name="T1" fmla="*/ 140 h 327"/>
              <a:gd name="T2" fmla="*/ 381 w 396"/>
              <a:gd name="T3" fmla="*/ 116 h 327"/>
              <a:gd name="T4" fmla="*/ 345 w 396"/>
              <a:gd name="T5" fmla="*/ 100 h 327"/>
              <a:gd name="T6" fmla="*/ 361 w 396"/>
              <a:gd name="T7" fmla="*/ 31 h 327"/>
              <a:gd name="T8" fmla="*/ 352 w 396"/>
              <a:gd name="T9" fmla="*/ 20 h 327"/>
              <a:gd name="T10" fmla="*/ 313 w 396"/>
              <a:gd name="T11" fmla="*/ 35 h 327"/>
              <a:gd name="T12" fmla="*/ 298 w 396"/>
              <a:gd name="T13" fmla="*/ 28 h 327"/>
              <a:gd name="T14" fmla="*/ 282 w 396"/>
              <a:gd name="T15" fmla="*/ 10 h 327"/>
              <a:gd name="T16" fmla="*/ 248 w 396"/>
              <a:gd name="T17" fmla="*/ 0 h 327"/>
              <a:gd name="T18" fmla="*/ 224 w 396"/>
              <a:gd name="T19" fmla="*/ 10 h 327"/>
              <a:gd name="T20" fmla="*/ 202 w 396"/>
              <a:gd name="T21" fmla="*/ 29 h 327"/>
              <a:gd name="T22" fmla="*/ 179 w 396"/>
              <a:gd name="T23" fmla="*/ 10 h 327"/>
              <a:gd name="T24" fmla="*/ 161 w 396"/>
              <a:gd name="T25" fmla="*/ 10 h 327"/>
              <a:gd name="T26" fmla="*/ 145 w 396"/>
              <a:gd name="T27" fmla="*/ 19 h 327"/>
              <a:gd name="T28" fmla="*/ 118 w 396"/>
              <a:gd name="T29" fmla="*/ 0 h 327"/>
              <a:gd name="T30" fmla="*/ 109 w 396"/>
              <a:gd name="T31" fmla="*/ 17 h 327"/>
              <a:gd name="T32" fmla="*/ 81 w 396"/>
              <a:gd name="T33" fmla="*/ 10 h 327"/>
              <a:gd name="T34" fmla="*/ 51 w 396"/>
              <a:gd name="T35" fmla="*/ 40 h 327"/>
              <a:gd name="T36" fmla="*/ 24 w 396"/>
              <a:gd name="T37" fmla="*/ 20 h 327"/>
              <a:gd name="T38" fmla="*/ 11 w 396"/>
              <a:gd name="T39" fmla="*/ 33 h 327"/>
              <a:gd name="T40" fmla="*/ 13 w 396"/>
              <a:gd name="T41" fmla="*/ 66 h 327"/>
              <a:gd name="T42" fmla="*/ 11 w 396"/>
              <a:gd name="T43" fmla="*/ 75 h 327"/>
              <a:gd name="T44" fmla="*/ 11 w 396"/>
              <a:gd name="T45" fmla="*/ 75 h 327"/>
              <a:gd name="T46" fmla="*/ 11 w 396"/>
              <a:gd name="T47" fmla="*/ 75 h 327"/>
              <a:gd name="T48" fmla="*/ 0 w 396"/>
              <a:gd name="T49" fmla="*/ 141 h 327"/>
              <a:gd name="T50" fmla="*/ 0 w 396"/>
              <a:gd name="T51" fmla="*/ 143 h 327"/>
              <a:gd name="T52" fmla="*/ 49 w 396"/>
              <a:gd name="T53" fmla="*/ 167 h 327"/>
              <a:gd name="T54" fmla="*/ 213 w 396"/>
              <a:gd name="T55" fmla="*/ 266 h 327"/>
              <a:gd name="T56" fmla="*/ 215 w 396"/>
              <a:gd name="T57" fmla="*/ 268 h 327"/>
              <a:gd name="T58" fmla="*/ 224 w 396"/>
              <a:gd name="T59" fmla="*/ 288 h 327"/>
              <a:gd name="T60" fmla="*/ 255 w 396"/>
              <a:gd name="T61" fmla="*/ 297 h 327"/>
              <a:gd name="T62" fmla="*/ 302 w 396"/>
              <a:gd name="T63" fmla="*/ 327 h 327"/>
              <a:gd name="T64" fmla="*/ 307 w 396"/>
              <a:gd name="T65" fmla="*/ 304 h 327"/>
              <a:gd name="T66" fmla="*/ 300 w 396"/>
              <a:gd name="T67" fmla="*/ 281 h 327"/>
              <a:gd name="T68" fmla="*/ 322 w 396"/>
              <a:gd name="T69" fmla="*/ 262 h 327"/>
              <a:gd name="T70" fmla="*/ 316 w 396"/>
              <a:gd name="T71" fmla="*/ 239 h 327"/>
              <a:gd name="T72" fmla="*/ 333 w 396"/>
              <a:gd name="T73" fmla="*/ 215 h 327"/>
              <a:gd name="T74" fmla="*/ 385 w 396"/>
              <a:gd name="T75" fmla="*/ 212 h 327"/>
              <a:gd name="T76" fmla="*/ 394 w 396"/>
              <a:gd name="T77" fmla="*/ 181 h 327"/>
              <a:gd name="T78" fmla="*/ 365 w 396"/>
              <a:gd name="T79" fmla="*/ 140 h 327"/>
              <a:gd name="T80" fmla="*/ 396 w 396"/>
              <a:gd name="T81" fmla="*/ 140 h 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96" h="327">
                <a:moveTo>
                  <a:pt x="396" y="140"/>
                </a:moveTo>
                <a:lnTo>
                  <a:pt x="381" y="116"/>
                </a:lnTo>
                <a:lnTo>
                  <a:pt x="345" y="100"/>
                </a:lnTo>
                <a:lnTo>
                  <a:pt x="361" y="31"/>
                </a:lnTo>
                <a:lnTo>
                  <a:pt x="352" y="20"/>
                </a:lnTo>
                <a:lnTo>
                  <a:pt x="313" y="35"/>
                </a:lnTo>
                <a:lnTo>
                  <a:pt x="298" y="28"/>
                </a:lnTo>
                <a:lnTo>
                  <a:pt x="282" y="10"/>
                </a:lnTo>
                <a:lnTo>
                  <a:pt x="248" y="0"/>
                </a:lnTo>
                <a:lnTo>
                  <a:pt x="224" y="10"/>
                </a:lnTo>
                <a:lnTo>
                  <a:pt x="202" y="29"/>
                </a:lnTo>
                <a:lnTo>
                  <a:pt x="179" y="10"/>
                </a:lnTo>
                <a:lnTo>
                  <a:pt x="161" y="10"/>
                </a:lnTo>
                <a:lnTo>
                  <a:pt x="145" y="19"/>
                </a:lnTo>
                <a:lnTo>
                  <a:pt x="118" y="0"/>
                </a:lnTo>
                <a:lnTo>
                  <a:pt x="109" y="17"/>
                </a:lnTo>
                <a:lnTo>
                  <a:pt x="81" y="10"/>
                </a:lnTo>
                <a:lnTo>
                  <a:pt x="51" y="40"/>
                </a:lnTo>
                <a:lnTo>
                  <a:pt x="24" y="20"/>
                </a:lnTo>
                <a:lnTo>
                  <a:pt x="11" y="33"/>
                </a:lnTo>
                <a:lnTo>
                  <a:pt x="13" y="66"/>
                </a:lnTo>
                <a:lnTo>
                  <a:pt x="11" y="75"/>
                </a:lnTo>
                <a:lnTo>
                  <a:pt x="11" y="75"/>
                </a:lnTo>
                <a:lnTo>
                  <a:pt x="11" y="75"/>
                </a:lnTo>
                <a:lnTo>
                  <a:pt x="0" y="141"/>
                </a:lnTo>
                <a:lnTo>
                  <a:pt x="0" y="143"/>
                </a:lnTo>
                <a:lnTo>
                  <a:pt x="49" y="167"/>
                </a:lnTo>
                <a:lnTo>
                  <a:pt x="213" y="266"/>
                </a:lnTo>
                <a:lnTo>
                  <a:pt x="215" y="268"/>
                </a:lnTo>
                <a:lnTo>
                  <a:pt x="224" y="288"/>
                </a:lnTo>
                <a:lnTo>
                  <a:pt x="255" y="297"/>
                </a:lnTo>
                <a:lnTo>
                  <a:pt x="302" y="327"/>
                </a:lnTo>
                <a:lnTo>
                  <a:pt x="307" y="304"/>
                </a:lnTo>
                <a:lnTo>
                  <a:pt x="300" y="281"/>
                </a:lnTo>
                <a:lnTo>
                  <a:pt x="322" y="262"/>
                </a:lnTo>
                <a:lnTo>
                  <a:pt x="316" y="239"/>
                </a:lnTo>
                <a:lnTo>
                  <a:pt x="333" y="215"/>
                </a:lnTo>
                <a:lnTo>
                  <a:pt x="385" y="212"/>
                </a:lnTo>
                <a:lnTo>
                  <a:pt x="394" y="181"/>
                </a:lnTo>
                <a:lnTo>
                  <a:pt x="365" y="140"/>
                </a:lnTo>
                <a:lnTo>
                  <a:pt x="396" y="140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16" name="Turkey"/>
          <p:cNvSpPr>
            <a:spLocks/>
          </p:cNvSpPr>
          <p:nvPr/>
        </p:nvSpPr>
        <p:spPr bwMode="auto">
          <a:xfrm>
            <a:off x="11528951" y="5486400"/>
            <a:ext cx="671513" cy="923925"/>
          </a:xfrm>
          <a:custGeom>
            <a:avLst/>
            <a:gdLst>
              <a:gd name="T0" fmla="*/ 234 w 234"/>
              <a:gd name="T1" fmla="*/ 3 h 322"/>
              <a:gd name="T2" fmla="*/ 234 w 234"/>
              <a:gd name="T3" fmla="*/ 311 h 322"/>
              <a:gd name="T4" fmla="*/ 223 w 234"/>
              <a:gd name="T5" fmla="*/ 311 h 322"/>
              <a:gd name="T6" fmla="*/ 209 w 234"/>
              <a:gd name="T7" fmla="*/ 322 h 322"/>
              <a:gd name="T8" fmla="*/ 201 w 234"/>
              <a:gd name="T9" fmla="*/ 307 h 322"/>
              <a:gd name="T10" fmla="*/ 189 w 234"/>
              <a:gd name="T11" fmla="*/ 322 h 322"/>
              <a:gd name="T12" fmla="*/ 173 w 234"/>
              <a:gd name="T13" fmla="*/ 322 h 322"/>
              <a:gd name="T14" fmla="*/ 181 w 234"/>
              <a:gd name="T15" fmla="*/ 298 h 322"/>
              <a:gd name="T16" fmla="*/ 133 w 234"/>
              <a:gd name="T17" fmla="*/ 317 h 322"/>
              <a:gd name="T18" fmla="*/ 122 w 234"/>
              <a:gd name="T19" fmla="*/ 310 h 322"/>
              <a:gd name="T20" fmla="*/ 141 w 234"/>
              <a:gd name="T21" fmla="*/ 303 h 322"/>
              <a:gd name="T22" fmla="*/ 130 w 234"/>
              <a:gd name="T23" fmla="*/ 288 h 322"/>
              <a:gd name="T24" fmla="*/ 115 w 234"/>
              <a:gd name="T25" fmla="*/ 293 h 322"/>
              <a:gd name="T26" fmla="*/ 108 w 234"/>
              <a:gd name="T27" fmla="*/ 253 h 322"/>
              <a:gd name="T28" fmla="*/ 87 w 234"/>
              <a:gd name="T29" fmla="*/ 251 h 322"/>
              <a:gd name="T30" fmla="*/ 49 w 234"/>
              <a:gd name="T31" fmla="*/ 250 h 322"/>
              <a:gd name="T32" fmla="*/ 43 w 234"/>
              <a:gd name="T33" fmla="*/ 218 h 322"/>
              <a:gd name="T34" fmla="*/ 65 w 234"/>
              <a:gd name="T35" fmla="*/ 240 h 322"/>
              <a:gd name="T36" fmla="*/ 87 w 234"/>
              <a:gd name="T37" fmla="*/ 223 h 322"/>
              <a:gd name="T38" fmla="*/ 68 w 234"/>
              <a:gd name="T39" fmla="*/ 212 h 322"/>
              <a:gd name="T40" fmla="*/ 87 w 234"/>
              <a:gd name="T41" fmla="*/ 197 h 322"/>
              <a:gd name="T42" fmla="*/ 54 w 234"/>
              <a:gd name="T43" fmla="*/ 176 h 322"/>
              <a:gd name="T44" fmla="*/ 66 w 234"/>
              <a:gd name="T45" fmla="*/ 156 h 322"/>
              <a:gd name="T46" fmla="*/ 22 w 234"/>
              <a:gd name="T47" fmla="*/ 174 h 322"/>
              <a:gd name="T48" fmla="*/ 22 w 234"/>
              <a:gd name="T49" fmla="*/ 138 h 322"/>
              <a:gd name="T50" fmla="*/ 32 w 234"/>
              <a:gd name="T51" fmla="*/ 117 h 322"/>
              <a:gd name="T52" fmla="*/ 3 w 234"/>
              <a:gd name="T53" fmla="*/ 105 h 322"/>
              <a:gd name="T54" fmla="*/ 11 w 234"/>
              <a:gd name="T55" fmla="*/ 71 h 322"/>
              <a:gd name="T56" fmla="*/ 32 w 234"/>
              <a:gd name="T57" fmla="*/ 55 h 322"/>
              <a:gd name="T58" fmla="*/ 0 w 234"/>
              <a:gd name="T59" fmla="*/ 39 h 322"/>
              <a:gd name="T60" fmla="*/ 11 w 234"/>
              <a:gd name="T61" fmla="*/ 21 h 322"/>
              <a:gd name="T62" fmla="*/ 51 w 234"/>
              <a:gd name="T63" fmla="*/ 5 h 322"/>
              <a:gd name="T64" fmla="*/ 68 w 234"/>
              <a:gd name="T65" fmla="*/ 13 h 322"/>
              <a:gd name="T66" fmla="*/ 87 w 234"/>
              <a:gd name="T67" fmla="*/ 0 h 322"/>
              <a:gd name="T68" fmla="*/ 102 w 234"/>
              <a:gd name="T69" fmla="*/ 17 h 322"/>
              <a:gd name="T70" fmla="*/ 94 w 234"/>
              <a:gd name="T71" fmla="*/ 30 h 322"/>
              <a:gd name="T72" fmla="*/ 150 w 234"/>
              <a:gd name="T73" fmla="*/ 40 h 322"/>
              <a:gd name="T74" fmla="*/ 160 w 234"/>
              <a:gd name="T75" fmla="*/ 50 h 322"/>
              <a:gd name="T76" fmla="*/ 151 w 234"/>
              <a:gd name="T77" fmla="*/ 62 h 322"/>
              <a:gd name="T78" fmla="*/ 136 w 234"/>
              <a:gd name="T79" fmla="*/ 61 h 322"/>
              <a:gd name="T80" fmla="*/ 111 w 234"/>
              <a:gd name="T81" fmla="*/ 71 h 322"/>
              <a:gd name="T82" fmla="*/ 87 w 234"/>
              <a:gd name="T83" fmla="*/ 71 h 322"/>
              <a:gd name="T84" fmla="*/ 78 w 234"/>
              <a:gd name="T85" fmla="*/ 90 h 322"/>
              <a:gd name="T86" fmla="*/ 82 w 234"/>
              <a:gd name="T87" fmla="*/ 105 h 322"/>
              <a:gd name="T88" fmla="*/ 94 w 234"/>
              <a:gd name="T89" fmla="*/ 96 h 322"/>
              <a:gd name="T90" fmla="*/ 106 w 234"/>
              <a:gd name="T91" fmla="*/ 90 h 322"/>
              <a:gd name="T92" fmla="*/ 117 w 234"/>
              <a:gd name="T93" fmla="*/ 90 h 322"/>
              <a:gd name="T94" fmla="*/ 156 w 234"/>
              <a:gd name="T95" fmla="*/ 80 h 322"/>
              <a:gd name="T96" fmla="*/ 185 w 234"/>
              <a:gd name="T97" fmla="*/ 77 h 322"/>
              <a:gd name="T98" fmla="*/ 171 w 234"/>
              <a:gd name="T99" fmla="*/ 71 h 322"/>
              <a:gd name="T100" fmla="*/ 156 w 234"/>
              <a:gd name="T101" fmla="*/ 71 h 322"/>
              <a:gd name="T102" fmla="*/ 172 w 234"/>
              <a:gd name="T103" fmla="*/ 54 h 322"/>
              <a:gd name="T104" fmla="*/ 196 w 234"/>
              <a:gd name="T105" fmla="*/ 46 h 322"/>
              <a:gd name="T106" fmla="*/ 184 w 234"/>
              <a:gd name="T107" fmla="*/ 40 h 322"/>
              <a:gd name="T108" fmla="*/ 161 w 234"/>
              <a:gd name="T109" fmla="*/ 33 h 322"/>
              <a:gd name="T110" fmla="*/ 169 w 234"/>
              <a:gd name="T111" fmla="*/ 17 h 322"/>
              <a:gd name="T112" fmla="*/ 212 w 234"/>
              <a:gd name="T113" fmla="*/ 10 h 322"/>
              <a:gd name="T114" fmla="*/ 234 w 234"/>
              <a:gd name="T115" fmla="*/ 3 h 3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34" h="322">
                <a:moveTo>
                  <a:pt x="234" y="3"/>
                </a:moveTo>
                <a:cubicBezTo>
                  <a:pt x="234" y="311"/>
                  <a:pt x="234" y="311"/>
                  <a:pt x="234" y="311"/>
                </a:cubicBezTo>
                <a:cubicBezTo>
                  <a:pt x="223" y="311"/>
                  <a:pt x="223" y="311"/>
                  <a:pt x="223" y="311"/>
                </a:cubicBezTo>
                <a:cubicBezTo>
                  <a:pt x="209" y="322"/>
                  <a:pt x="209" y="322"/>
                  <a:pt x="209" y="322"/>
                </a:cubicBezTo>
                <a:cubicBezTo>
                  <a:pt x="201" y="307"/>
                  <a:pt x="201" y="307"/>
                  <a:pt x="201" y="307"/>
                </a:cubicBezTo>
                <a:cubicBezTo>
                  <a:pt x="189" y="322"/>
                  <a:pt x="189" y="322"/>
                  <a:pt x="189" y="322"/>
                </a:cubicBezTo>
                <a:cubicBezTo>
                  <a:pt x="173" y="322"/>
                  <a:pt x="173" y="322"/>
                  <a:pt x="173" y="322"/>
                </a:cubicBezTo>
                <a:cubicBezTo>
                  <a:pt x="181" y="298"/>
                  <a:pt x="181" y="298"/>
                  <a:pt x="181" y="298"/>
                </a:cubicBezTo>
                <a:cubicBezTo>
                  <a:pt x="133" y="317"/>
                  <a:pt x="133" y="317"/>
                  <a:pt x="133" y="317"/>
                </a:cubicBezTo>
                <a:cubicBezTo>
                  <a:pt x="122" y="310"/>
                  <a:pt x="122" y="310"/>
                  <a:pt x="122" y="310"/>
                </a:cubicBezTo>
                <a:cubicBezTo>
                  <a:pt x="141" y="303"/>
                  <a:pt x="141" y="303"/>
                  <a:pt x="141" y="303"/>
                </a:cubicBezTo>
                <a:cubicBezTo>
                  <a:pt x="130" y="288"/>
                  <a:pt x="130" y="288"/>
                  <a:pt x="130" y="288"/>
                </a:cubicBezTo>
                <a:cubicBezTo>
                  <a:pt x="115" y="293"/>
                  <a:pt x="115" y="293"/>
                  <a:pt x="115" y="293"/>
                </a:cubicBezTo>
                <a:cubicBezTo>
                  <a:pt x="108" y="253"/>
                  <a:pt x="108" y="253"/>
                  <a:pt x="108" y="253"/>
                </a:cubicBezTo>
                <a:cubicBezTo>
                  <a:pt x="87" y="251"/>
                  <a:pt x="87" y="251"/>
                  <a:pt x="87" y="251"/>
                </a:cubicBezTo>
                <a:cubicBezTo>
                  <a:pt x="49" y="250"/>
                  <a:pt x="49" y="250"/>
                  <a:pt x="49" y="250"/>
                </a:cubicBezTo>
                <a:cubicBezTo>
                  <a:pt x="43" y="218"/>
                  <a:pt x="43" y="218"/>
                  <a:pt x="43" y="218"/>
                </a:cubicBezTo>
                <a:cubicBezTo>
                  <a:pt x="65" y="240"/>
                  <a:pt x="65" y="240"/>
                  <a:pt x="65" y="240"/>
                </a:cubicBezTo>
                <a:cubicBezTo>
                  <a:pt x="87" y="223"/>
                  <a:pt x="87" y="223"/>
                  <a:pt x="87" y="223"/>
                </a:cubicBezTo>
                <a:cubicBezTo>
                  <a:pt x="87" y="223"/>
                  <a:pt x="67" y="217"/>
                  <a:pt x="68" y="212"/>
                </a:cubicBezTo>
                <a:cubicBezTo>
                  <a:pt x="69" y="207"/>
                  <a:pt x="90" y="201"/>
                  <a:pt x="87" y="197"/>
                </a:cubicBezTo>
                <a:cubicBezTo>
                  <a:pt x="84" y="193"/>
                  <a:pt x="54" y="180"/>
                  <a:pt x="54" y="176"/>
                </a:cubicBezTo>
                <a:cubicBezTo>
                  <a:pt x="54" y="172"/>
                  <a:pt x="66" y="156"/>
                  <a:pt x="66" y="156"/>
                </a:cubicBezTo>
                <a:cubicBezTo>
                  <a:pt x="22" y="174"/>
                  <a:pt x="22" y="174"/>
                  <a:pt x="22" y="174"/>
                </a:cubicBezTo>
                <a:cubicBezTo>
                  <a:pt x="22" y="138"/>
                  <a:pt x="22" y="138"/>
                  <a:pt x="22" y="138"/>
                </a:cubicBezTo>
                <a:cubicBezTo>
                  <a:pt x="32" y="117"/>
                  <a:pt x="32" y="117"/>
                  <a:pt x="32" y="117"/>
                </a:cubicBezTo>
                <a:cubicBezTo>
                  <a:pt x="3" y="105"/>
                  <a:pt x="3" y="105"/>
                  <a:pt x="3" y="105"/>
                </a:cubicBezTo>
                <a:cubicBezTo>
                  <a:pt x="11" y="71"/>
                  <a:pt x="11" y="71"/>
                  <a:pt x="11" y="71"/>
                </a:cubicBezTo>
                <a:cubicBezTo>
                  <a:pt x="32" y="55"/>
                  <a:pt x="32" y="55"/>
                  <a:pt x="32" y="55"/>
                </a:cubicBezTo>
                <a:cubicBezTo>
                  <a:pt x="0" y="39"/>
                  <a:pt x="0" y="39"/>
                  <a:pt x="0" y="39"/>
                </a:cubicBezTo>
                <a:cubicBezTo>
                  <a:pt x="11" y="21"/>
                  <a:pt x="11" y="21"/>
                  <a:pt x="11" y="21"/>
                </a:cubicBezTo>
                <a:cubicBezTo>
                  <a:pt x="51" y="5"/>
                  <a:pt x="51" y="5"/>
                  <a:pt x="51" y="5"/>
                </a:cubicBezTo>
                <a:cubicBezTo>
                  <a:pt x="68" y="13"/>
                  <a:pt x="68" y="13"/>
                  <a:pt x="68" y="13"/>
                </a:cubicBezTo>
                <a:cubicBezTo>
                  <a:pt x="87" y="0"/>
                  <a:pt x="87" y="0"/>
                  <a:pt x="87" y="0"/>
                </a:cubicBezTo>
                <a:cubicBezTo>
                  <a:pt x="102" y="17"/>
                  <a:pt x="102" y="17"/>
                  <a:pt x="102" y="17"/>
                </a:cubicBezTo>
                <a:cubicBezTo>
                  <a:pt x="94" y="30"/>
                  <a:pt x="94" y="30"/>
                  <a:pt x="94" y="30"/>
                </a:cubicBezTo>
                <a:cubicBezTo>
                  <a:pt x="150" y="40"/>
                  <a:pt x="150" y="40"/>
                  <a:pt x="150" y="40"/>
                </a:cubicBezTo>
                <a:cubicBezTo>
                  <a:pt x="160" y="50"/>
                  <a:pt x="160" y="50"/>
                  <a:pt x="160" y="50"/>
                </a:cubicBezTo>
                <a:cubicBezTo>
                  <a:pt x="151" y="62"/>
                  <a:pt x="151" y="62"/>
                  <a:pt x="151" y="62"/>
                </a:cubicBezTo>
                <a:cubicBezTo>
                  <a:pt x="136" y="61"/>
                  <a:pt x="136" y="61"/>
                  <a:pt x="136" y="61"/>
                </a:cubicBezTo>
                <a:cubicBezTo>
                  <a:pt x="111" y="71"/>
                  <a:pt x="111" y="71"/>
                  <a:pt x="111" y="71"/>
                </a:cubicBezTo>
                <a:cubicBezTo>
                  <a:pt x="87" y="71"/>
                  <a:pt x="87" y="71"/>
                  <a:pt x="87" y="71"/>
                </a:cubicBezTo>
                <a:cubicBezTo>
                  <a:pt x="78" y="90"/>
                  <a:pt x="78" y="90"/>
                  <a:pt x="78" y="90"/>
                </a:cubicBezTo>
                <a:cubicBezTo>
                  <a:pt x="82" y="105"/>
                  <a:pt x="82" y="105"/>
                  <a:pt x="82" y="105"/>
                </a:cubicBezTo>
                <a:cubicBezTo>
                  <a:pt x="94" y="96"/>
                  <a:pt x="94" y="96"/>
                  <a:pt x="94" y="96"/>
                </a:cubicBezTo>
                <a:cubicBezTo>
                  <a:pt x="106" y="90"/>
                  <a:pt x="106" y="90"/>
                  <a:pt x="106" y="90"/>
                </a:cubicBezTo>
                <a:cubicBezTo>
                  <a:pt x="117" y="90"/>
                  <a:pt x="117" y="90"/>
                  <a:pt x="117" y="90"/>
                </a:cubicBezTo>
                <a:cubicBezTo>
                  <a:pt x="156" y="80"/>
                  <a:pt x="156" y="80"/>
                  <a:pt x="156" y="80"/>
                </a:cubicBezTo>
                <a:cubicBezTo>
                  <a:pt x="185" y="77"/>
                  <a:pt x="185" y="77"/>
                  <a:pt x="185" y="77"/>
                </a:cubicBezTo>
                <a:cubicBezTo>
                  <a:pt x="171" y="71"/>
                  <a:pt x="171" y="71"/>
                  <a:pt x="171" y="71"/>
                </a:cubicBezTo>
                <a:cubicBezTo>
                  <a:pt x="156" y="71"/>
                  <a:pt x="156" y="71"/>
                  <a:pt x="156" y="71"/>
                </a:cubicBezTo>
                <a:cubicBezTo>
                  <a:pt x="172" y="54"/>
                  <a:pt x="172" y="54"/>
                  <a:pt x="172" y="54"/>
                </a:cubicBezTo>
                <a:cubicBezTo>
                  <a:pt x="196" y="46"/>
                  <a:pt x="196" y="46"/>
                  <a:pt x="196" y="46"/>
                </a:cubicBezTo>
                <a:cubicBezTo>
                  <a:pt x="184" y="40"/>
                  <a:pt x="184" y="40"/>
                  <a:pt x="184" y="40"/>
                </a:cubicBezTo>
                <a:cubicBezTo>
                  <a:pt x="161" y="33"/>
                  <a:pt x="161" y="33"/>
                  <a:pt x="161" y="33"/>
                </a:cubicBezTo>
                <a:cubicBezTo>
                  <a:pt x="169" y="17"/>
                  <a:pt x="169" y="17"/>
                  <a:pt x="169" y="17"/>
                </a:cubicBezTo>
                <a:cubicBezTo>
                  <a:pt x="212" y="10"/>
                  <a:pt x="212" y="10"/>
                  <a:pt x="212" y="10"/>
                </a:cubicBezTo>
                <a:lnTo>
                  <a:pt x="234" y="3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Czech Republic"/>
          <p:cNvSpPr>
            <a:spLocks/>
          </p:cNvSpPr>
          <p:nvPr/>
        </p:nvSpPr>
        <p:spPr bwMode="auto">
          <a:xfrm>
            <a:off x="9171513" y="4046538"/>
            <a:ext cx="963613" cy="479425"/>
          </a:xfrm>
          <a:custGeom>
            <a:avLst/>
            <a:gdLst>
              <a:gd name="T0" fmla="*/ 190 w 607"/>
              <a:gd name="T1" fmla="*/ 6 h 302"/>
              <a:gd name="T2" fmla="*/ 208 w 607"/>
              <a:gd name="T3" fmla="*/ 0 h 302"/>
              <a:gd name="T4" fmla="*/ 230 w 607"/>
              <a:gd name="T5" fmla="*/ 24 h 302"/>
              <a:gd name="T6" fmla="*/ 255 w 607"/>
              <a:gd name="T7" fmla="*/ 24 h 302"/>
              <a:gd name="T8" fmla="*/ 255 w 607"/>
              <a:gd name="T9" fmla="*/ 6 h 302"/>
              <a:gd name="T10" fmla="*/ 284 w 607"/>
              <a:gd name="T11" fmla="*/ 22 h 302"/>
              <a:gd name="T12" fmla="*/ 317 w 607"/>
              <a:gd name="T13" fmla="*/ 33 h 302"/>
              <a:gd name="T14" fmla="*/ 344 w 607"/>
              <a:gd name="T15" fmla="*/ 42 h 302"/>
              <a:gd name="T16" fmla="*/ 380 w 607"/>
              <a:gd name="T17" fmla="*/ 49 h 302"/>
              <a:gd name="T18" fmla="*/ 358 w 607"/>
              <a:gd name="T19" fmla="*/ 64 h 302"/>
              <a:gd name="T20" fmla="*/ 383 w 607"/>
              <a:gd name="T21" fmla="*/ 78 h 302"/>
              <a:gd name="T22" fmla="*/ 400 w 607"/>
              <a:gd name="T23" fmla="*/ 103 h 302"/>
              <a:gd name="T24" fmla="*/ 412 w 607"/>
              <a:gd name="T25" fmla="*/ 102 h 302"/>
              <a:gd name="T26" fmla="*/ 432 w 607"/>
              <a:gd name="T27" fmla="*/ 80 h 302"/>
              <a:gd name="T28" fmla="*/ 418 w 607"/>
              <a:gd name="T29" fmla="*/ 60 h 302"/>
              <a:gd name="T30" fmla="*/ 461 w 607"/>
              <a:gd name="T31" fmla="*/ 71 h 302"/>
              <a:gd name="T32" fmla="*/ 501 w 607"/>
              <a:gd name="T33" fmla="*/ 71 h 302"/>
              <a:gd name="T34" fmla="*/ 490 w 607"/>
              <a:gd name="T35" fmla="*/ 89 h 302"/>
              <a:gd name="T36" fmla="*/ 510 w 607"/>
              <a:gd name="T37" fmla="*/ 109 h 302"/>
              <a:gd name="T38" fmla="*/ 579 w 607"/>
              <a:gd name="T39" fmla="*/ 109 h 302"/>
              <a:gd name="T40" fmla="*/ 580 w 607"/>
              <a:gd name="T41" fmla="*/ 134 h 302"/>
              <a:gd name="T42" fmla="*/ 606 w 607"/>
              <a:gd name="T43" fmla="*/ 136 h 302"/>
              <a:gd name="T44" fmla="*/ 607 w 607"/>
              <a:gd name="T45" fmla="*/ 156 h 302"/>
              <a:gd name="T46" fmla="*/ 571 w 607"/>
              <a:gd name="T47" fmla="*/ 174 h 302"/>
              <a:gd name="T48" fmla="*/ 533 w 607"/>
              <a:gd name="T49" fmla="*/ 226 h 302"/>
              <a:gd name="T50" fmla="*/ 499 w 607"/>
              <a:gd name="T51" fmla="*/ 253 h 302"/>
              <a:gd name="T52" fmla="*/ 445 w 607"/>
              <a:gd name="T53" fmla="*/ 270 h 302"/>
              <a:gd name="T54" fmla="*/ 420 w 607"/>
              <a:gd name="T55" fmla="*/ 257 h 302"/>
              <a:gd name="T56" fmla="*/ 362 w 607"/>
              <a:gd name="T57" fmla="*/ 270 h 302"/>
              <a:gd name="T58" fmla="*/ 315 w 607"/>
              <a:gd name="T59" fmla="*/ 251 h 302"/>
              <a:gd name="T60" fmla="*/ 293 w 607"/>
              <a:gd name="T61" fmla="*/ 255 h 302"/>
              <a:gd name="T62" fmla="*/ 275 w 607"/>
              <a:gd name="T63" fmla="*/ 239 h 302"/>
              <a:gd name="T64" fmla="*/ 246 w 607"/>
              <a:gd name="T65" fmla="*/ 302 h 302"/>
              <a:gd name="T66" fmla="*/ 241 w 607"/>
              <a:gd name="T67" fmla="*/ 302 h 302"/>
              <a:gd name="T68" fmla="*/ 188 w 607"/>
              <a:gd name="T69" fmla="*/ 302 h 302"/>
              <a:gd name="T70" fmla="*/ 167 w 607"/>
              <a:gd name="T71" fmla="*/ 284 h 302"/>
              <a:gd name="T72" fmla="*/ 140 w 607"/>
              <a:gd name="T73" fmla="*/ 257 h 302"/>
              <a:gd name="T74" fmla="*/ 100 w 607"/>
              <a:gd name="T75" fmla="*/ 244 h 302"/>
              <a:gd name="T76" fmla="*/ 87 w 607"/>
              <a:gd name="T77" fmla="*/ 223 h 302"/>
              <a:gd name="T78" fmla="*/ 58 w 607"/>
              <a:gd name="T79" fmla="*/ 212 h 302"/>
              <a:gd name="T80" fmla="*/ 31 w 607"/>
              <a:gd name="T81" fmla="*/ 168 h 302"/>
              <a:gd name="T82" fmla="*/ 38 w 607"/>
              <a:gd name="T83" fmla="*/ 147 h 302"/>
              <a:gd name="T84" fmla="*/ 0 w 607"/>
              <a:gd name="T85" fmla="*/ 105 h 302"/>
              <a:gd name="T86" fmla="*/ 22 w 607"/>
              <a:gd name="T87" fmla="*/ 114 h 302"/>
              <a:gd name="T88" fmla="*/ 53 w 607"/>
              <a:gd name="T89" fmla="*/ 87 h 302"/>
              <a:gd name="T90" fmla="*/ 69 w 607"/>
              <a:gd name="T91" fmla="*/ 87 h 302"/>
              <a:gd name="T92" fmla="*/ 76 w 607"/>
              <a:gd name="T93" fmla="*/ 71 h 302"/>
              <a:gd name="T94" fmla="*/ 109 w 607"/>
              <a:gd name="T95" fmla="*/ 71 h 302"/>
              <a:gd name="T96" fmla="*/ 192 w 607"/>
              <a:gd name="T97" fmla="*/ 24 h 302"/>
              <a:gd name="T98" fmla="*/ 190 w 607"/>
              <a:gd name="T99" fmla="*/ 6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607" h="302">
                <a:moveTo>
                  <a:pt x="190" y="6"/>
                </a:moveTo>
                <a:lnTo>
                  <a:pt x="208" y="0"/>
                </a:lnTo>
                <a:lnTo>
                  <a:pt x="230" y="24"/>
                </a:lnTo>
                <a:lnTo>
                  <a:pt x="255" y="24"/>
                </a:lnTo>
                <a:lnTo>
                  <a:pt x="255" y="6"/>
                </a:lnTo>
                <a:lnTo>
                  <a:pt x="284" y="22"/>
                </a:lnTo>
                <a:lnTo>
                  <a:pt x="317" y="33"/>
                </a:lnTo>
                <a:lnTo>
                  <a:pt x="344" y="42"/>
                </a:lnTo>
                <a:lnTo>
                  <a:pt x="380" y="49"/>
                </a:lnTo>
                <a:lnTo>
                  <a:pt x="358" y="64"/>
                </a:lnTo>
                <a:lnTo>
                  <a:pt x="383" y="78"/>
                </a:lnTo>
                <a:lnTo>
                  <a:pt x="400" y="103"/>
                </a:lnTo>
                <a:lnTo>
                  <a:pt x="412" y="102"/>
                </a:lnTo>
                <a:lnTo>
                  <a:pt x="432" y="80"/>
                </a:lnTo>
                <a:lnTo>
                  <a:pt x="418" y="60"/>
                </a:lnTo>
                <a:lnTo>
                  <a:pt x="461" y="71"/>
                </a:lnTo>
                <a:lnTo>
                  <a:pt x="501" y="71"/>
                </a:lnTo>
                <a:lnTo>
                  <a:pt x="490" y="89"/>
                </a:lnTo>
                <a:lnTo>
                  <a:pt x="510" y="109"/>
                </a:lnTo>
                <a:lnTo>
                  <a:pt x="579" y="109"/>
                </a:lnTo>
                <a:lnTo>
                  <a:pt x="580" y="134"/>
                </a:lnTo>
                <a:lnTo>
                  <a:pt x="606" y="136"/>
                </a:lnTo>
                <a:lnTo>
                  <a:pt x="607" y="156"/>
                </a:lnTo>
                <a:lnTo>
                  <a:pt x="571" y="174"/>
                </a:lnTo>
                <a:lnTo>
                  <a:pt x="533" y="226"/>
                </a:lnTo>
                <a:lnTo>
                  <a:pt x="499" y="253"/>
                </a:lnTo>
                <a:lnTo>
                  <a:pt x="445" y="270"/>
                </a:lnTo>
                <a:lnTo>
                  <a:pt x="420" y="257"/>
                </a:lnTo>
                <a:lnTo>
                  <a:pt x="362" y="270"/>
                </a:lnTo>
                <a:lnTo>
                  <a:pt x="315" y="251"/>
                </a:lnTo>
                <a:lnTo>
                  <a:pt x="293" y="255"/>
                </a:lnTo>
                <a:lnTo>
                  <a:pt x="275" y="239"/>
                </a:lnTo>
                <a:lnTo>
                  <a:pt x="246" y="302"/>
                </a:lnTo>
                <a:lnTo>
                  <a:pt x="241" y="302"/>
                </a:lnTo>
                <a:lnTo>
                  <a:pt x="188" y="302"/>
                </a:lnTo>
                <a:lnTo>
                  <a:pt x="167" y="284"/>
                </a:lnTo>
                <a:lnTo>
                  <a:pt x="140" y="257"/>
                </a:lnTo>
                <a:lnTo>
                  <a:pt x="100" y="244"/>
                </a:lnTo>
                <a:lnTo>
                  <a:pt x="87" y="223"/>
                </a:lnTo>
                <a:lnTo>
                  <a:pt x="58" y="212"/>
                </a:lnTo>
                <a:lnTo>
                  <a:pt x="31" y="168"/>
                </a:lnTo>
                <a:lnTo>
                  <a:pt x="38" y="147"/>
                </a:lnTo>
                <a:lnTo>
                  <a:pt x="0" y="105"/>
                </a:lnTo>
                <a:lnTo>
                  <a:pt x="22" y="114"/>
                </a:lnTo>
                <a:lnTo>
                  <a:pt x="53" y="87"/>
                </a:lnTo>
                <a:lnTo>
                  <a:pt x="69" y="87"/>
                </a:lnTo>
                <a:lnTo>
                  <a:pt x="76" y="71"/>
                </a:lnTo>
                <a:lnTo>
                  <a:pt x="109" y="71"/>
                </a:lnTo>
                <a:lnTo>
                  <a:pt x="192" y="24"/>
                </a:lnTo>
                <a:lnTo>
                  <a:pt x="190" y="6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18" name="Slovakia"/>
          <p:cNvSpPr>
            <a:spLocks/>
          </p:cNvSpPr>
          <p:nvPr/>
        </p:nvSpPr>
        <p:spPr bwMode="auto">
          <a:xfrm>
            <a:off x="9868426" y="4256088"/>
            <a:ext cx="860425" cy="398463"/>
          </a:xfrm>
          <a:custGeom>
            <a:avLst/>
            <a:gdLst>
              <a:gd name="T0" fmla="*/ 168 w 542"/>
              <a:gd name="T1" fmla="*/ 24 h 251"/>
              <a:gd name="T2" fmla="*/ 192 w 542"/>
              <a:gd name="T3" fmla="*/ 45 h 251"/>
              <a:gd name="T4" fmla="*/ 217 w 542"/>
              <a:gd name="T5" fmla="*/ 7 h 251"/>
              <a:gd name="T6" fmla="*/ 252 w 542"/>
              <a:gd name="T7" fmla="*/ 29 h 251"/>
              <a:gd name="T8" fmla="*/ 255 w 542"/>
              <a:gd name="T9" fmla="*/ 51 h 251"/>
              <a:gd name="T10" fmla="*/ 280 w 542"/>
              <a:gd name="T11" fmla="*/ 51 h 251"/>
              <a:gd name="T12" fmla="*/ 298 w 542"/>
              <a:gd name="T13" fmla="*/ 18 h 251"/>
              <a:gd name="T14" fmla="*/ 335 w 542"/>
              <a:gd name="T15" fmla="*/ 15 h 251"/>
              <a:gd name="T16" fmla="*/ 356 w 542"/>
              <a:gd name="T17" fmla="*/ 38 h 251"/>
              <a:gd name="T18" fmla="*/ 365 w 542"/>
              <a:gd name="T19" fmla="*/ 7 h 251"/>
              <a:gd name="T20" fmla="*/ 398 w 542"/>
              <a:gd name="T21" fmla="*/ 0 h 251"/>
              <a:gd name="T22" fmla="*/ 450 w 542"/>
              <a:gd name="T23" fmla="*/ 9 h 251"/>
              <a:gd name="T24" fmla="*/ 454 w 542"/>
              <a:gd name="T25" fmla="*/ 26 h 251"/>
              <a:gd name="T26" fmla="*/ 497 w 542"/>
              <a:gd name="T27" fmla="*/ 38 h 251"/>
              <a:gd name="T28" fmla="*/ 499 w 542"/>
              <a:gd name="T29" fmla="*/ 71 h 251"/>
              <a:gd name="T30" fmla="*/ 488 w 542"/>
              <a:gd name="T31" fmla="*/ 107 h 251"/>
              <a:gd name="T32" fmla="*/ 542 w 542"/>
              <a:gd name="T33" fmla="*/ 138 h 251"/>
              <a:gd name="T34" fmla="*/ 530 w 542"/>
              <a:gd name="T35" fmla="*/ 152 h 251"/>
              <a:gd name="T36" fmla="*/ 506 w 542"/>
              <a:gd name="T37" fmla="*/ 148 h 251"/>
              <a:gd name="T38" fmla="*/ 485 w 542"/>
              <a:gd name="T39" fmla="*/ 139 h 251"/>
              <a:gd name="T40" fmla="*/ 472 w 542"/>
              <a:gd name="T41" fmla="*/ 121 h 251"/>
              <a:gd name="T42" fmla="*/ 434 w 542"/>
              <a:gd name="T43" fmla="*/ 141 h 251"/>
              <a:gd name="T44" fmla="*/ 356 w 542"/>
              <a:gd name="T45" fmla="*/ 125 h 251"/>
              <a:gd name="T46" fmla="*/ 318 w 542"/>
              <a:gd name="T47" fmla="*/ 152 h 251"/>
              <a:gd name="T48" fmla="*/ 302 w 542"/>
              <a:gd name="T49" fmla="*/ 170 h 251"/>
              <a:gd name="T50" fmla="*/ 282 w 542"/>
              <a:gd name="T51" fmla="*/ 186 h 251"/>
              <a:gd name="T52" fmla="*/ 242 w 542"/>
              <a:gd name="T53" fmla="*/ 170 h 251"/>
              <a:gd name="T54" fmla="*/ 230 w 542"/>
              <a:gd name="T55" fmla="*/ 197 h 251"/>
              <a:gd name="T56" fmla="*/ 183 w 542"/>
              <a:gd name="T57" fmla="*/ 199 h 251"/>
              <a:gd name="T58" fmla="*/ 172 w 542"/>
              <a:gd name="T59" fmla="*/ 221 h 251"/>
              <a:gd name="T60" fmla="*/ 185 w 542"/>
              <a:gd name="T61" fmla="*/ 235 h 251"/>
              <a:gd name="T62" fmla="*/ 129 w 542"/>
              <a:gd name="T63" fmla="*/ 248 h 251"/>
              <a:gd name="T64" fmla="*/ 82 w 542"/>
              <a:gd name="T65" fmla="*/ 251 h 251"/>
              <a:gd name="T66" fmla="*/ 49 w 542"/>
              <a:gd name="T67" fmla="*/ 213 h 251"/>
              <a:gd name="T68" fmla="*/ 29 w 542"/>
              <a:gd name="T69" fmla="*/ 208 h 251"/>
              <a:gd name="T70" fmla="*/ 0 w 542"/>
              <a:gd name="T71" fmla="*/ 185 h 251"/>
              <a:gd name="T72" fmla="*/ 6 w 542"/>
              <a:gd name="T73" fmla="*/ 138 h 251"/>
              <a:gd name="T74" fmla="*/ 60 w 542"/>
              <a:gd name="T75" fmla="*/ 121 h 251"/>
              <a:gd name="T76" fmla="*/ 94 w 542"/>
              <a:gd name="T77" fmla="*/ 94 h 251"/>
              <a:gd name="T78" fmla="*/ 132 w 542"/>
              <a:gd name="T79" fmla="*/ 42 h 251"/>
              <a:gd name="T80" fmla="*/ 168 w 542"/>
              <a:gd name="T81" fmla="*/ 24 h 2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42" h="251">
                <a:moveTo>
                  <a:pt x="168" y="24"/>
                </a:moveTo>
                <a:lnTo>
                  <a:pt x="192" y="45"/>
                </a:lnTo>
                <a:lnTo>
                  <a:pt x="217" y="7"/>
                </a:lnTo>
                <a:lnTo>
                  <a:pt x="252" y="29"/>
                </a:lnTo>
                <a:lnTo>
                  <a:pt x="255" y="51"/>
                </a:lnTo>
                <a:lnTo>
                  <a:pt x="280" y="51"/>
                </a:lnTo>
                <a:lnTo>
                  <a:pt x="298" y="18"/>
                </a:lnTo>
                <a:lnTo>
                  <a:pt x="335" y="15"/>
                </a:lnTo>
                <a:lnTo>
                  <a:pt x="356" y="38"/>
                </a:lnTo>
                <a:lnTo>
                  <a:pt x="365" y="7"/>
                </a:lnTo>
                <a:lnTo>
                  <a:pt x="398" y="0"/>
                </a:lnTo>
                <a:lnTo>
                  <a:pt x="450" y="9"/>
                </a:lnTo>
                <a:lnTo>
                  <a:pt x="454" y="26"/>
                </a:lnTo>
                <a:lnTo>
                  <a:pt x="497" y="38"/>
                </a:lnTo>
                <a:lnTo>
                  <a:pt x="499" y="71"/>
                </a:lnTo>
                <a:lnTo>
                  <a:pt x="488" y="107"/>
                </a:lnTo>
                <a:lnTo>
                  <a:pt x="542" y="138"/>
                </a:lnTo>
                <a:lnTo>
                  <a:pt x="530" y="152"/>
                </a:lnTo>
                <a:lnTo>
                  <a:pt x="506" y="148"/>
                </a:lnTo>
                <a:lnTo>
                  <a:pt x="485" y="139"/>
                </a:lnTo>
                <a:lnTo>
                  <a:pt x="472" y="121"/>
                </a:lnTo>
                <a:lnTo>
                  <a:pt x="434" y="141"/>
                </a:lnTo>
                <a:lnTo>
                  <a:pt x="356" y="125"/>
                </a:lnTo>
                <a:lnTo>
                  <a:pt x="318" y="152"/>
                </a:lnTo>
                <a:lnTo>
                  <a:pt x="302" y="170"/>
                </a:lnTo>
                <a:lnTo>
                  <a:pt x="282" y="186"/>
                </a:lnTo>
                <a:lnTo>
                  <a:pt x="242" y="170"/>
                </a:lnTo>
                <a:lnTo>
                  <a:pt x="230" y="197"/>
                </a:lnTo>
                <a:lnTo>
                  <a:pt x="183" y="199"/>
                </a:lnTo>
                <a:lnTo>
                  <a:pt x="172" y="221"/>
                </a:lnTo>
                <a:lnTo>
                  <a:pt x="185" y="235"/>
                </a:lnTo>
                <a:lnTo>
                  <a:pt x="129" y="248"/>
                </a:lnTo>
                <a:lnTo>
                  <a:pt x="82" y="251"/>
                </a:lnTo>
                <a:lnTo>
                  <a:pt x="49" y="213"/>
                </a:lnTo>
                <a:lnTo>
                  <a:pt x="29" y="208"/>
                </a:lnTo>
                <a:lnTo>
                  <a:pt x="0" y="185"/>
                </a:lnTo>
                <a:lnTo>
                  <a:pt x="6" y="138"/>
                </a:lnTo>
                <a:lnTo>
                  <a:pt x="60" y="121"/>
                </a:lnTo>
                <a:lnTo>
                  <a:pt x="94" y="94"/>
                </a:lnTo>
                <a:lnTo>
                  <a:pt x="132" y="42"/>
                </a:lnTo>
                <a:lnTo>
                  <a:pt x="168" y="24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19" name="Hungary"/>
          <p:cNvSpPr>
            <a:spLocks/>
          </p:cNvSpPr>
          <p:nvPr/>
        </p:nvSpPr>
        <p:spPr bwMode="auto">
          <a:xfrm>
            <a:off x="9782701" y="4437063"/>
            <a:ext cx="955675" cy="587375"/>
          </a:xfrm>
          <a:custGeom>
            <a:avLst/>
            <a:gdLst>
              <a:gd name="T0" fmla="*/ 83 w 602"/>
              <a:gd name="T1" fmla="*/ 94 h 370"/>
              <a:gd name="T2" fmla="*/ 103 w 602"/>
              <a:gd name="T3" fmla="*/ 99 h 370"/>
              <a:gd name="T4" fmla="*/ 136 w 602"/>
              <a:gd name="T5" fmla="*/ 137 h 370"/>
              <a:gd name="T6" fmla="*/ 183 w 602"/>
              <a:gd name="T7" fmla="*/ 134 h 370"/>
              <a:gd name="T8" fmla="*/ 239 w 602"/>
              <a:gd name="T9" fmla="*/ 121 h 370"/>
              <a:gd name="T10" fmla="*/ 226 w 602"/>
              <a:gd name="T11" fmla="*/ 107 h 370"/>
              <a:gd name="T12" fmla="*/ 237 w 602"/>
              <a:gd name="T13" fmla="*/ 85 h 370"/>
              <a:gd name="T14" fmla="*/ 284 w 602"/>
              <a:gd name="T15" fmla="*/ 83 h 370"/>
              <a:gd name="T16" fmla="*/ 296 w 602"/>
              <a:gd name="T17" fmla="*/ 56 h 370"/>
              <a:gd name="T18" fmla="*/ 336 w 602"/>
              <a:gd name="T19" fmla="*/ 72 h 370"/>
              <a:gd name="T20" fmla="*/ 356 w 602"/>
              <a:gd name="T21" fmla="*/ 56 h 370"/>
              <a:gd name="T22" fmla="*/ 372 w 602"/>
              <a:gd name="T23" fmla="*/ 38 h 370"/>
              <a:gd name="T24" fmla="*/ 410 w 602"/>
              <a:gd name="T25" fmla="*/ 11 h 370"/>
              <a:gd name="T26" fmla="*/ 488 w 602"/>
              <a:gd name="T27" fmla="*/ 27 h 370"/>
              <a:gd name="T28" fmla="*/ 526 w 602"/>
              <a:gd name="T29" fmla="*/ 7 h 370"/>
              <a:gd name="T30" fmla="*/ 539 w 602"/>
              <a:gd name="T31" fmla="*/ 25 h 370"/>
              <a:gd name="T32" fmla="*/ 555 w 602"/>
              <a:gd name="T33" fmla="*/ 0 h 370"/>
              <a:gd name="T34" fmla="*/ 577 w 602"/>
              <a:gd name="T35" fmla="*/ 13 h 370"/>
              <a:gd name="T36" fmla="*/ 596 w 602"/>
              <a:gd name="T37" fmla="*/ 24 h 370"/>
              <a:gd name="T38" fmla="*/ 602 w 602"/>
              <a:gd name="T39" fmla="*/ 31 h 370"/>
              <a:gd name="T40" fmla="*/ 596 w 602"/>
              <a:gd name="T41" fmla="*/ 42 h 370"/>
              <a:gd name="T42" fmla="*/ 602 w 602"/>
              <a:gd name="T43" fmla="*/ 60 h 370"/>
              <a:gd name="T44" fmla="*/ 593 w 602"/>
              <a:gd name="T45" fmla="*/ 78 h 370"/>
              <a:gd name="T46" fmla="*/ 557 w 602"/>
              <a:gd name="T47" fmla="*/ 81 h 370"/>
              <a:gd name="T48" fmla="*/ 531 w 602"/>
              <a:gd name="T49" fmla="*/ 110 h 370"/>
              <a:gd name="T50" fmla="*/ 528 w 602"/>
              <a:gd name="T51" fmla="*/ 145 h 370"/>
              <a:gd name="T52" fmla="*/ 504 w 602"/>
              <a:gd name="T53" fmla="*/ 188 h 370"/>
              <a:gd name="T54" fmla="*/ 501 w 602"/>
              <a:gd name="T55" fmla="*/ 226 h 370"/>
              <a:gd name="T56" fmla="*/ 475 w 602"/>
              <a:gd name="T57" fmla="*/ 273 h 370"/>
              <a:gd name="T58" fmla="*/ 439 w 602"/>
              <a:gd name="T59" fmla="*/ 282 h 370"/>
              <a:gd name="T60" fmla="*/ 407 w 602"/>
              <a:gd name="T61" fmla="*/ 304 h 370"/>
              <a:gd name="T62" fmla="*/ 342 w 602"/>
              <a:gd name="T63" fmla="*/ 304 h 370"/>
              <a:gd name="T64" fmla="*/ 302 w 602"/>
              <a:gd name="T65" fmla="*/ 340 h 370"/>
              <a:gd name="T66" fmla="*/ 268 w 602"/>
              <a:gd name="T67" fmla="*/ 347 h 370"/>
              <a:gd name="T68" fmla="*/ 233 w 602"/>
              <a:gd name="T69" fmla="*/ 370 h 370"/>
              <a:gd name="T70" fmla="*/ 172 w 602"/>
              <a:gd name="T71" fmla="*/ 367 h 370"/>
              <a:gd name="T72" fmla="*/ 148 w 602"/>
              <a:gd name="T73" fmla="*/ 354 h 370"/>
              <a:gd name="T74" fmla="*/ 119 w 602"/>
              <a:gd name="T75" fmla="*/ 363 h 370"/>
              <a:gd name="T76" fmla="*/ 0 w 602"/>
              <a:gd name="T77" fmla="*/ 269 h 370"/>
              <a:gd name="T78" fmla="*/ 38 w 602"/>
              <a:gd name="T79" fmla="*/ 226 h 370"/>
              <a:gd name="T80" fmla="*/ 18 w 602"/>
              <a:gd name="T81" fmla="*/ 206 h 370"/>
              <a:gd name="T82" fmla="*/ 31 w 602"/>
              <a:gd name="T83" fmla="*/ 177 h 370"/>
              <a:gd name="T84" fmla="*/ 16 w 602"/>
              <a:gd name="T85" fmla="*/ 152 h 370"/>
              <a:gd name="T86" fmla="*/ 83 w 602"/>
              <a:gd name="T87" fmla="*/ 148 h 370"/>
              <a:gd name="T88" fmla="*/ 83 w 602"/>
              <a:gd name="T89" fmla="*/ 94 h 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602" h="370">
                <a:moveTo>
                  <a:pt x="83" y="94"/>
                </a:moveTo>
                <a:lnTo>
                  <a:pt x="103" y="99"/>
                </a:lnTo>
                <a:lnTo>
                  <a:pt x="136" y="137"/>
                </a:lnTo>
                <a:lnTo>
                  <a:pt x="183" y="134"/>
                </a:lnTo>
                <a:lnTo>
                  <a:pt x="239" y="121"/>
                </a:lnTo>
                <a:lnTo>
                  <a:pt x="226" y="107"/>
                </a:lnTo>
                <a:lnTo>
                  <a:pt x="237" y="85"/>
                </a:lnTo>
                <a:lnTo>
                  <a:pt x="284" y="83"/>
                </a:lnTo>
                <a:lnTo>
                  <a:pt x="296" y="56"/>
                </a:lnTo>
                <a:lnTo>
                  <a:pt x="336" y="72"/>
                </a:lnTo>
                <a:lnTo>
                  <a:pt x="356" y="56"/>
                </a:lnTo>
                <a:lnTo>
                  <a:pt x="372" y="38"/>
                </a:lnTo>
                <a:lnTo>
                  <a:pt x="410" y="11"/>
                </a:lnTo>
                <a:lnTo>
                  <a:pt x="488" y="27"/>
                </a:lnTo>
                <a:lnTo>
                  <a:pt x="526" y="7"/>
                </a:lnTo>
                <a:lnTo>
                  <a:pt x="539" y="25"/>
                </a:lnTo>
                <a:lnTo>
                  <a:pt x="555" y="0"/>
                </a:lnTo>
                <a:lnTo>
                  <a:pt x="577" y="13"/>
                </a:lnTo>
                <a:lnTo>
                  <a:pt x="596" y="24"/>
                </a:lnTo>
                <a:lnTo>
                  <a:pt x="602" y="31"/>
                </a:lnTo>
                <a:lnTo>
                  <a:pt x="596" y="42"/>
                </a:lnTo>
                <a:lnTo>
                  <a:pt x="602" y="60"/>
                </a:lnTo>
                <a:lnTo>
                  <a:pt x="593" y="78"/>
                </a:lnTo>
                <a:lnTo>
                  <a:pt x="557" y="81"/>
                </a:lnTo>
                <a:lnTo>
                  <a:pt x="531" y="110"/>
                </a:lnTo>
                <a:lnTo>
                  <a:pt x="528" y="145"/>
                </a:lnTo>
                <a:lnTo>
                  <a:pt x="504" y="188"/>
                </a:lnTo>
                <a:lnTo>
                  <a:pt x="501" y="226"/>
                </a:lnTo>
                <a:lnTo>
                  <a:pt x="475" y="273"/>
                </a:lnTo>
                <a:lnTo>
                  <a:pt x="439" y="282"/>
                </a:lnTo>
                <a:lnTo>
                  <a:pt x="407" y="304"/>
                </a:lnTo>
                <a:lnTo>
                  <a:pt x="342" y="304"/>
                </a:lnTo>
                <a:lnTo>
                  <a:pt x="302" y="340"/>
                </a:lnTo>
                <a:lnTo>
                  <a:pt x="268" y="347"/>
                </a:lnTo>
                <a:lnTo>
                  <a:pt x="233" y="370"/>
                </a:lnTo>
                <a:lnTo>
                  <a:pt x="172" y="367"/>
                </a:lnTo>
                <a:lnTo>
                  <a:pt x="148" y="354"/>
                </a:lnTo>
                <a:lnTo>
                  <a:pt x="119" y="363"/>
                </a:lnTo>
                <a:lnTo>
                  <a:pt x="0" y="269"/>
                </a:lnTo>
                <a:lnTo>
                  <a:pt x="38" y="226"/>
                </a:lnTo>
                <a:lnTo>
                  <a:pt x="18" y="206"/>
                </a:lnTo>
                <a:lnTo>
                  <a:pt x="31" y="177"/>
                </a:lnTo>
                <a:lnTo>
                  <a:pt x="16" y="152"/>
                </a:lnTo>
                <a:lnTo>
                  <a:pt x="83" y="148"/>
                </a:lnTo>
                <a:lnTo>
                  <a:pt x="83" y="94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20" name="Belarus"/>
          <p:cNvSpPr>
            <a:spLocks/>
          </p:cNvSpPr>
          <p:nvPr/>
        </p:nvSpPr>
        <p:spPr bwMode="auto">
          <a:xfrm>
            <a:off x="10609788" y="2808288"/>
            <a:ext cx="1169988" cy="984250"/>
          </a:xfrm>
          <a:custGeom>
            <a:avLst/>
            <a:gdLst>
              <a:gd name="T0" fmla="*/ 379 w 408"/>
              <a:gd name="T1" fmla="*/ 226 h 343"/>
              <a:gd name="T2" fmla="*/ 361 w 408"/>
              <a:gd name="T3" fmla="*/ 230 h 343"/>
              <a:gd name="T4" fmla="*/ 352 w 408"/>
              <a:gd name="T5" fmla="*/ 274 h 343"/>
              <a:gd name="T6" fmla="*/ 362 w 408"/>
              <a:gd name="T7" fmla="*/ 296 h 343"/>
              <a:gd name="T8" fmla="*/ 342 w 408"/>
              <a:gd name="T9" fmla="*/ 282 h 343"/>
              <a:gd name="T10" fmla="*/ 324 w 408"/>
              <a:gd name="T11" fmla="*/ 291 h 343"/>
              <a:gd name="T12" fmla="*/ 287 w 408"/>
              <a:gd name="T13" fmla="*/ 288 h 343"/>
              <a:gd name="T14" fmla="*/ 265 w 408"/>
              <a:gd name="T15" fmla="*/ 294 h 343"/>
              <a:gd name="T16" fmla="*/ 208 w 408"/>
              <a:gd name="T17" fmla="*/ 309 h 343"/>
              <a:gd name="T18" fmla="*/ 151 w 408"/>
              <a:gd name="T19" fmla="*/ 303 h 343"/>
              <a:gd name="T20" fmla="*/ 119 w 408"/>
              <a:gd name="T21" fmla="*/ 304 h 343"/>
              <a:gd name="T22" fmla="*/ 82 w 408"/>
              <a:gd name="T23" fmla="*/ 315 h 343"/>
              <a:gd name="T24" fmla="*/ 55 w 408"/>
              <a:gd name="T25" fmla="*/ 338 h 343"/>
              <a:gd name="T26" fmla="*/ 33 w 408"/>
              <a:gd name="T27" fmla="*/ 318 h 343"/>
              <a:gd name="T28" fmla="*/ 6 w 408"/>
              <a:gd name="T29" fmla="*/ 312 h 343"/>
              <a:gd name="T30" fmla="*/ 12 w 408"/>
              <a:gd name="T31" fmla="*/ 260 h 343"/>
              <a:gd name="T32" fmla="*/ 1 w 408"/>
              <a:gd name="T33" fmla="*/ 209 h 343"/>
              <a:gd name="T34" fmla="*/ 24 w 408"/>
              <a:gd name="T35" fmla="*/ 186 h 343"/>
              <a:gd name="T36" fmla="*/ 54 w 408"/>
              <a:gd name="T37" fmla="*/ 174 h 343"/>
              <a:gd name="T38" fmla="*/ 71 w 408"/>
              <a:gd name="T39" fmla="*/ 157 h 343"/>
              <a:gd name="T40" fmla="*/ 92 w 408"/>
              <a:gd name="T41" fmla="*/ 164 h 343"/>
              <a:gd name="T42" fmla="*/ 86 w 408"/>
              <a:gd name="T43" fmla="*/ 107 h 343"/>
              <a:gd name="T44" fmla="*/ 96 w 408"/>
              <a:gd name="T45" fmla="*/ 89 h 343"/>
              <a:gd name="T46" fmla="*/ 115 w 408"/>
              <a:gd name="T47" fmla="*/ 74 h 343"/>
              <a:gd name="T48" fmla="*/ 103 w 408"/>
              <a:gd name="T49" fmla="*/ 52 h 343"/>
              <a:gd name="T50" fmla="*/ 127 w 408"/>
              <a:gd name="T51" fmla="*/ 40 h 343"/>
              <a:gd name="T52" fmla="*/ 143 w 408"/>
              <a:gd name="T53" fmla="*/ 19 h 343"/>
              <a:gd name="T54" fmla="*/ 177 w 408"/>
              <a:gd name="T55" fmla="*/ 0 h 343"/>
              <a:gd name="T56" fmla="*/ 218 w 408"/>
              <a:gd name="T57" fmla="*/ 24 h 343"/>
              <a:gd name="T58" fmla="*/ 282 w 408"/>
              <a:gd name="T59" fmla="*/ 13 h 343"/>
              <a:gd name="T60" fmla="*/ 290 w 408"/>
              <a:gd name="T61" fmla="*/ 61 h 343"/>
              <a:gd name="T62" fmla="*/ 314 w 408"/>
              <a:gd name="T63" fmla="*/ 76 h 343"/>
              <a:gd name="T64" fmla="*/ 358 w 408"/>
              <a:gd name="T65" fmla="*/ 97 h 343"/>
              <a:gd name="T66" fmla="*/ 387 w 408"/>
              <a:gd name="T67" fmla="*/ 109 h 343"/>
              <a:gd name="T68" fmla="*/ 401 w 408"/>
              <a:gd name="T69" fmla="*/ 161 h 343"/>
              <a:gd name="T70" fmla="*/ 353 w 408"/>
              <a:gd name="T71" fmla="*/ 169 h 343"/>
              <a:gd name="T72" fmla="*/ 375 w 408"/>
              <a:gd name="T73" fmla="*/ 200 h 343"/>
              <a:gd name="T74" fmla="*/ 393 w 408"/>
              <a:gd name="T75" fmla="*/ 226 h 3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08" h="343">
                <a:moveTo>
                  <a:pt x="393" y="226"/>
                </a:moveTo>
                <a:cubicBezTo>
                  <a:pt x="379" y="226"/>
                  <a:pt x="379" y="226"/>
                  <a:pt x="379" y="226"/>
                </a:cubicBezTo>
                <a:cubicBezTo>
                  <a:pt x="374" y="234"/>
                  <a:pt x="374" y="234"/>
                  <a:pt x="374" y="234"/>
                </a:cubicBezTo>
                <a:cubicBezTo>
                  <a:pt x="361" y="230"/>
                  <a:pt x="361" y="230"/>
                  <a:pt x="361" y="230"/>
                </a:cubicBezTo>
                <a:cubicBezTo>
                  <a:pt x="356" y="250"/>
                  <a:pt x="356" y="250"/>
                  <a:pt x="356" y="250"/>
                </a:cubicBezTo>
                <a:cubicBezTo>
                  <a:pt x="352" y="274"/>
                  <a:pt x="352" y="274"/>
                  <a:pt x="352" y="274"/>
                </a:cubicBezTo>
                <a:cubicBezTo>
                  <a:pt x="365" y="287"/>
                  <a:pt x="365" y="287"/>
                  <a:pt x="365" y="287"/>
                </a:cubicBezTo>
                <a:cubicBezTo>
                  <a:pt x="362" y="296"/>
                  <a:pt x="362" y="296"/>
                  <a:pt x="362" y="296"/>
                </a:cubicBezTo>
                <a:cubicBezTo>
                  <a:pt x="352" y="296"/>
                  <a:pt x="352" y="296"/>
                  <a:pt x="352" y="296"/>
                </a:cubicBezTo>
                <a:cubicBezTo>
                  <a:pt x="342" y="282"/>
                  <a:pt x="342" y="282"/>
                  <a:pt x="342" y="282"/>
                </a:cubicBezTo>
                <a:cubicBezTo>
                  <a:pt x="328" y="281"/>
                  <a:pt x="328" y="281"/>
                  <a:pt x="328" y="281"/>
                </a:cubicBezTo>
                <a:cubicBezTo>
                  <a:pt x="324" y="291"/>
                  <a:pt x="324" y="291"/>
                  <a:pt x="324" y="291"/>
                </a:cubicBezTo>
                <a:cubicBezTo>
                  <a:pt x="305" y="300"/>
                  <a:pt x="305" y="300"/>
                  <a:pt x="305" y="300"/>
                </a:cubicBezTo>
                <a:cubicBezTo>
                  <a:pt x="287" y="288"/>
                  <a:pt x="287" y="288"/>
                  <a:pt x="287" y="288"/>
                </a:cubicBezTo>
                <a:cubicBezTo>
                  <a:pt x="278" y="303"/>
                  <a:pt x="278" y="303"/>
                  <a:pt x="278" y="303"/>
                </a:cubicBezTo>
                <a:cubicBezTo>
                  <a:pt x="265" y="294"/>
                  <a:pt x="265" y="294"/>
                  <a:pt x="265" y="294"/>
                </a:cubicBezTo>
                <a:cubicBezTo>
                  <a:pt x="250" y="303"/>
                  <a:pt x="250" y="303"/>
                  <a:pt x="250" y="303"/>
                </a:cubicBezTo>
                <a:cubicBezTo>
                  <a:pt x="208" y="309"/>
                  <a:pt x="208" y="309"/>
                  <a:pt x="208" y="309"/>
                </a:cubicBezTo>
                <a:cubicBezTo>
                  <a:pt x="208" y="309"/>
                  <a:pt x="204" y="296"/>
                  <a:pt x="195" y="296"/>
                </a:cubicBezTo>
                <a:cubicBezTo>
                  <a:pt x="187" y="297"/>
                  <a:pt x="151" y="303"/>
                  <a:pt x="151" y="303"/>
                </a:cubicBezTo>
                <a:cubicBezTo>
                  <a:pt x="144" y="292"/>
                  <a:pt x="144" y="292"/>
                  <a:pt x="144" y="292"/>
                </a:cubicBezTo>
                <a:cubicBezTo>
                  <a:pt x="119" y="304"/>
                  <a:pt x="119" y="304"/>
                  <a:pt x="119" y="304"/>
                </a:cubicBezTo>
                <a:cubicBezTo>
                  <a:pt x="95" y="303"/>
                  <a:pt x="95" y="303"/>
                  <a:pt x="95" y="303"/>
                </a:cubicBezTo>
                <a:cubicBezTo>
                  <a:pt x="82" y="315"/>
                  <a:pt x="82" y="315"/>
                  <a:pt x="82" y="315"/>
                </a:cubicBezTo>
                <a:cubicBezTo>
                  <a:pt x="70" y="315"/>
                  <a:pt x="70" y="315"/>
                  <a:pt x="70" y="315"/>
                </a:cubicBezTo>
                <a:cubicBezTo>
                  <a:pt x="55" y="338"/>
                  <a:pt x="55" y="338"/>
                  <a:pt x="55" y="338"/>
                </a:cubicBezTo>
                <a:cubicBezTo>
                  <a:pt x="28" y="343"/>
                  <a:pt x="28" y="343"/>
                  <a:pt x="28" y="343"/>
                </a:cubicBezTo>
                <a:cubicBezTo>
                  <a:pt x="33" y="318"/>
                  <a:pt x="33" y="318"/>
                  <a:pt x="33" y="318"/>
                </a:cubicBezTo>
                <a:cubicBezTo>
                  <a:pt x="19" y="307"/>
                  <a:pt x="19" y="307"/>
                  <a:pt x="19" y="307"/>
                </a:cubicBezTo>
                <a:cubicBezTo>
                  <a:pt x="6" y="312"/>
                  <a:pt x="6" y="312"/>
                  <a:pt x="6" y="312"/>
                </a:cubicBezTo>
                <a:cubicBezTo>
                  <a:pt x="1" y="303"/>
                  <a:pt x="1" y="303"/>
                  <a:pt x="1" y="303"/>
                </a:cubicBezTo>
                <a:cubicBezTo>
                  <a:pt x="12" y="260"/>
                  <a:pt x="12" y="260"/>
                  <a:pt x="12" y="260"/>
                </a:cubicBezTo>
                <a:cubicBezTo>
                  <a:pt x="18" y="238"/>
                  <a:pt x="18" y="238"/>
                  <a:pt x="18" y="238"/>
                </a:cubicBezTo>
                <a:cubicBezTo>
                  <a:pt x="1" y="209"/>
                  <a:pt x="1" y="209"/>
                  <a:pt x="1" y="209"/>
                </a:cubicBezTo>
                <a:cubicBezTo>
                  <a:pt x="0" y="200"/>
                  <a:pt x="0" y="200"/>
                  <a:pt x="0" y="200"/>
                </a:cubicBezTo>
                <a:cubicBezTo>
                  <a:pt x="24" y="186"/>
                  <a:pt x="24" y="186"/>
                  <a:pt x="24" y="186"/>
                </a:cubicBezTo>
                <a:cubicBezTo>
                  <a:pt x="38" y="194"/>
                  <a:pt x="38" y="194"/>
                  <a:pt x="38" y="194"/>
                </a:cubicBezTo>
                <a:cubicBezTo>
                  <a:pt x="54" y="174"/>
                  <a:pt x="54" y="174"/>
                  <a:pt x="54" y="174"/>
                </a:cubicBezTo>
                <a:cubicBezTo>
                  <a:pt x="71" y="164"/>
                  <a:pt x="71" y="164"/>
                  <a:pt x="71" y="164"/>
                </a:cubicBezTo>
                <a:cubicBezTo>
                  <a:pt x="71" y="157"/>
                  <a:pt x="71" y="157"/>
                  <a:pt x="71" y="157"/>
                </a:cubicBezTo>
                <a:cubicBezTo>
                  <a:pt x="83" y="157"/>
                  <a:pt x="83" y="157"/>
                  <a:pt x="83" y="157"/>
                </a:cubicBezTo>
                <a:cubicBezTo>
                  <a:pt x="92" y="164"/>
                  <a:pt x="92" y="164"/>
                  <a:pt x="92" y="164"/>
                </a:cubicBezTo>
                <a:cubicBezTo>
                  <a:pt x="76" y="119"/>
                  <a:pt x="76" y="119"/>
                  <a:pt x="76" y="119"/>
                </a:cubicBezTo>
                <a:cubicBezTo>
                  <a:pt x="86" y="107"/>
                  <a:pt x="86" y="107"/>
                  <a:pt x="86" y="107"/>
                </a:cubicBezTo>
                <a:cubicBezTo>
                  <a:pt x="96" y="107"/>
                  <a:pt x="96" y="107"/>
                  <a:pt x="96" y="107"/>
                </a:cubicBezTo>
                <a:cubicBezTo>
                  <a:pt x="96" y="89"/>
                  <a:pt x="96" y="89"/>
                  <a:pt x="96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5" y="74"/>
                  <a:pt x="115" y="74"/>
                  <a:pt x="115" y="74"/>
                </a:cubicBezTo>
                <a:cubicBezTo>
                  <a:pt x="103" y="68"/>
                  <a:pt x="103" y="68"/>
                  <a:pt x="103" y="68"/>
                </a:cubicBezTo>
                <a:cubicBezTo>
                  <a:pt x="103" y="52"/>
                  <a:pt x="103" y="52"/>
                  <a:pt x="103" y="52"/>
                </a:cubicBezTo>
                <a:cubicBezTo>
                  <a:pt x="113" y="45"/>
                  <a:pt x="113" y="45"/>
                  <a:pt x="113" y="45"/>
                </a:cubicBezTo>
                <a:cubicBezTo>
                  <a:pt x="127" y="40"/>
                  <a:pt x="127" y="40"/>
                  <a:pt x="127" y="40"/>
                </a:cubicBezTo>
                <a:cubicBezTo>
                  <a:pt x="139" y="40"/>
                  <a:pt x="139" y="40"/>
                  <a:pt x="139" y="40"/>
                </a:cubicBezTo>
                <a:cubicBezTo>
                  <a:pt x="143" y="19"/>
                  <a:pt x="143" y="19"/>
                  <a:pt x="143" y="19"/>
                </a:cubicBezTo>
                <a:cubicBezTo>
                  <a:pt x="159" y="3"/>
                  <a:pt x="159" y="3"/>
                  <a:pt x="159" y="3"/>
                </a:cubicBezTo>
                <a:cubicBezTo>
                  <a:pt x="177" y="0"/>
                  <a:pt x="177" y="0"/>
                  <a:pt x="177" y="0"/>
                </a:cubicBezTo>
                <a:cubicBezTo>
                  <a:pt x="209" y="0"/>
                  <a:pt x="209" y="0"/>
                  <a:pt x="209" y="0"/>
                </a:cubicBezTo>
                <a:cubicBezTo>
                  <a:pt x="218" y="24"/>
                  <a:pt x="218" y="24"/>
                  <a:pt x="218" y="24"/>
                </a:cubicBezTo>
                <a:cubicBezTo>
                  <a:pt x="245" y="0"/>
                  <a:pt x="245" y="0"/>
                  <a:pt x="245" y="0"/>
                </a:cubicBezTo>
                <a:cubicBezTo>
                  <a:pt x="282" y="13"/>
                  <a:pt x="282" y="13"/>
                  <a:pt x="282" y="13"/>
                </a:cubicBezTo>
                <a:cubicBezTo>
                  <a:pt x="290" y="39"/>
                  <a:pt x="290" y="39"/>
                  <a:pt x="290" y="39"/>
                </a:cubicBezTo>
                <a:cubicBezTo>
                  <a:pt x="290" y="61"/>
                  <a:pt x="290" y="61"/>
                  <a:pt x="290" y="61"/>
                </a:cubicBezTo>
                <a:cubicBezTo>
                  <a:pt x="307" y="63"/>
                  <a:pt x="307" y="63"/>
                  <a:pt x="307" y="63"/>
                </a:cubicBezTo>
                <a:cubicBezTo>
                  <a:pt x="314" y="76"/>
                  <a:pt x="314" y="76"/>
                  <a:pt x="314" y="76"/>
                </a:cubicBezTo>
                <a:cubicBezTo>
                  <a:pt x="334" y="92"/>
                  <a:pt x="334" y="92"/>
                  <a:pt x="334" y="92"/>
                </a:cubicBezTo>
                <a:cubicBezTo>
                  <a:pt x="358" y="97"/>
                  <a:pt x="358" y="97"/>
                  <a:pt x="358" y="97"/>
                </a:cubicBezTo>
                <a:cubicBezTo>
                  <a:pt x="359" y="113"/>
                  <a:pt x="359" y="113"/>
                  <a:pt x="359" y="113"/>
                </a:cubicBezTo>
                <a:cubicBezTo>
                  <a:pt x="387" y="109"/>
                  <a:pt x="387" y="109"/>
                  <a:pt x="387" y="109"/>
                </a:cubicBezTo>
                <a:cubicBezTo>
                  <a:pt x="408" y="130"/>
                  <a:pt x="408" y="130"/>
                  <a:pt x="408" y="130"/>
                </a:cubicBezTo>
                <a:cubicBezTo>
                  <a:pt x="401" y="161"/>
                  <a:pt x="401" y="161"/>
                  <a:pt x="401" y="161"/>
                </a:cubicBezTo>
                <a:cubicBezTo>
                  <a:pt x="358" y="159"/>
                  <a:pt x="358" y="159"/>
                  <a:pt x="358" y="159"/>
                </a:cubicBezTo>
                <a:cubicBezTo>
                  <a:pt x="353" y="169"/>
                  <a:pt x="353" y="169"/>
                  <a:pt x="353" y="169"/>
                </a:cubicBezTo>
                <a:cubicBezTo>
                  <a:pt x="372" y="180"/>
                  <a:pt x="372" y="180"/>
                  <a:pt x="372" y="180"/>
                </a:cubicBezTo>
                <a:cubicBezTo>
                  <a:pt x="375" y="200"/>
                  <a:pt x="375" y="200"/>
                  <a:pt x="375" y="200"/>
                </a:cubicBezTo>
                <a:cubicBezTo>
                  <a:pt x="393" y="226"/>
                  <a:pt x="393" y="226"/>
                  <a:pt x="393" y="226"/>
                </a:cubicBezTo>
                <a:cubicBezTo>
                  <a:pt x="393" y="226"/>
                  <a:pt x="393" y="226"/>
                  <a:pt x="393" y="226"/>
                </a:cubicBezTo>
                <a:cubicBezTo>
                  <a:pt x="393" y="226"/>
                  <a:pt x="393" y="226"/>
                  <a:pt x="393" y="226"/>
                </a:cubicBezTo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21" name="Poland"/>
          <p:cNvSpPr>
            <a:spLocks/>
          </p:cNvSpPr>
          <p:nvPr/>
        </p:nvSpPr>
        <p:spPr bwMode="auto">
          <a:xfrm>
            <a:off x="9419163" y="3278188"/>
            <a:ext cx="1408113" cy="1058863"/>
          </a:xfrm>
          <a:custGeom>
            <a:avLst/>
            <a:gdLst>
              <a:gd name="T0" fmla="*/ 1 w 491"/>
              <a:gd name="T1" fmla="*/ 76 h 369"/>
              <a:gd name="T2" fmla="*/ 39 w 491"/>
              <a:gd name="T3" fmla="*/ 62 h 369"/>
              <a:gd name="T4" fmla="*/ 48 w 491"/>
              <a:gd name="T5" fmla="*/ 59 h 369"/>
              <a:gd name="T6" fmla="*/ 97 w 491"/>
              <a:gd name="T7" fmla="*/ 31 h 369"/>
              <a:gd name="T8" fmla="*/ 111 w 491"/>
              <a:gd name="T9" fmla="*/ 27 h 369"/>
              <a:gd name="T10" fmla="*/ 180 w 491"/>
              <a:gd name="T11" fmla="*/ 0 h 369"/>
              <a:gd name="T12" fmla="*/ 185 w 491"/>
              <a:gd name="T13" fmla="*/ 24 h 369"/>
              <a:gd name="T14" fmla="*/ 234 w 491"/>
              <a:gd name="T15" fmla="*/ 16 h 369"/>
              <a:gd name="T16" fmla="*/ 355 w 491"/>
              <a:gd name="T17" fmla="*/ 16 h 369"/>
              <a:gd name="T18" fmla="*/ 396 w 491"/>
              <a:gd name="T19" fmla="*/ 16 h 369"/>
              <a:gd name="T20" fmla="*/ 416 w 491"/>
              <a:gd name="T21" fmla="*/ 45 h 369"/>
              <a:gd name="T22" fmla="*/ 427 w 491"/>
              <a:gd name="T23" fmla="*/ 96 h 369"/>
              <a:gd name="T24" fmla="*/ 416 w 491"/>
              <a:gd name="T25" fmla="*/ 139 h 369"/>
              <a:gd name="T26" fmla="*/ 434 w 491"/>
              <a:gd name="T27" fmla="*/ 143 h 369"/>
              <a:gd name="T28" fmla="*/ 443 w 491"/>
              <a:gd name="T29" fmla="*/ 179 h 369"/>
              <a:gd name="T30" fmla="*/ 456 w 491"/>
              <a:gd name="T31" fmla="*/ 209 h 369"/>
              <a:gd name="T32" fmla="*/ 477 w 491"/>
              <a:gd name="T33" fmla="*/ 233 h 369"/>
              <a:gd name="T34" fmla="*/ 489 w 491"/>
              <a:gd name="T35" fmla="*/ 254 h 369"/>
              <a:gd name="T36" fmla="*/ 438 w 491"/>
              <a:gd name="T37" fmla="*/ 317 h 369"/>
              <a:gd name="T38" fmla="*/ 445 w 491"/>
              <a:gd name="T39" fmla="*/ 351 h 369"/>
              <a:gd name="T40" fmla="*/ 432 w 491"/>
              <a:gd name="T41" fmla="*/ 362 h 369"/>
              <a:gd name="T42" fmla="*/ 406 w 491"/>
              <a:gd name="T43" fmla="*/ 346 h 369"/>
              <a:gd name="T44" fmla="*/ 359 w 491"/>
              <a:gd name="T45" fmla="*/ 345 h 369"/>
              <a:gd name="T46" fmla="*/ 342 w 491"/>
              <a:gd name="T47" fmla="*/ 349 h 369"/>
              <a:gd name="T48" fmla="*/ 312 w 491"/>
              <a:gd name="T49" fmla="*/ 369 h 369"/>
              <a:gd name="T50" fmla="*/ 296 w 491"/>
              <a:gd name="T51" fmla="*/ 357 h 369"/>
              <a:gd name="T52" fmla="*/ 263 w 491"/>
              <a:gd name="T53" fmla="*/ 366 h 369"/>
              <a:gd name="T54" fmla="*/ 249 w 491"/>
              <a:gd name="T55" fmla="*/ 343 h 369"/>
              <a:gd name="T56" fmla="*/ 234 w 491"/>
              <a:gd name="T57" fmla="*/ 328 h 369"/>
              <a:gd name="T58" fmla="*/ 190 w 491"/>
              <a:gd name="T59" fmla="*/ 322 h 369"/>
              <a:gd name="T60" fmla="*/ 191 w 491"/>
              <a:gd name="T61" fmla="*/ 307 h 369"/>
              <a:gd name="T62" fmla="*/ 145 w 491"/>
              <a:gd name="T63" fmla="*/ 301 h 369"/>
              <a:gd name="T64" fmla="*/ 146 w 491"/>
              <a:gd name="T65" fmla="*/ 320 h 369"/>
              <a:gd name="T66" fmla="*/ 135 w 491"/>
              <a:gd name="T67" fmla="*/ 325 h 369"/>
              <a:gd name="T68" fmla="*/ 112 w 491"/>
              <a:gd name="T69" fmla="*/ 303 h 369"/>
              <a:gd name="T70" fmla="*/ 104 w 491"/>
              <a:gd name="T71" fmla="*/ 291 h 369"/>
              <a:gd name="T72" fmla="*/ 55 w 491"/>
              <a:gd name="T73" fmla="*/ 271 h 369"/>
              <a:gd name="T74" fmla="*/ 34 w 491"/>
              <a:gd name="T75" fmla="*/ 233 h 369"/>
              <a:gd name="T76" fmla="*/ 32 w 491"/>
              <a:gd name="T77" fmla="*/ 202 h 369"/>
              <a:gd name="T78" fmla="*/ 21 w 491"/>
              <a:gd name="T79" fmla="*/ 162 h 369"/>
              <a:gd name="T80" fmla="*/ 17 w 491"/>
              <a:gd name="T81" fmla="*/ 125 h 3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491" h="369">
                <a:moveTo>
                  <a:pt x="1" y="92"/>
                </a:moveTo>
                <a:cubicBezTo>
                  <a:pt x="1" y="76"/>
                  <a:pt x="1" y="76"/>
                  <a:pt x="1" y="76"/>
                </a:cubicBezTo>
                <a:cubicBezTo>
                  <a:pt x="10" y="76"/>
                  <a:pt x="10" y="76"/>
                  <a:pt x="10" y="76"/>
                </a:cubicBezTo>
                <a:cubicBezTo>
                  <a:pt x="39" y="62"/>
                  <a:pt x="39" y="62"/>
                  <a:pt x="39" y="62"/>
                </a:cubicBezTo>
                <a:cubicBezTo>
                  <a:pt x="44" y="66"/>
                  <a:pt x="44" y="66"/>
                  <a:pt x="44" y="66"/>
                </a:cubicBezTo>
                <a:cubicBezTo>
                  <a:pt x="48" y="59"/>
                  <a:pt x="48" y="59"/>
                  <a:pt x="48" y="59"/>
                </a:cubicBezTo>
                <a:cubicBezTo>
                  <a:pt x="86" y="49"/>
                  <a:pt x="86" y="49"/>
                  <a:pt x="86" y="49"/>
                </a:cubicBezTo>
                <a:cubicBezTo>
                  <a:pt x="97" y="31"/>
                  <a:pt x="97" y="31"/>
                  <a:pt x="97" y="31"/>
                </a:cubicBezTo>
                <a:cubicBezTo>
                  <a:pt x="106" y="22"/>
                  <a:pt x="106" y="22"/>
                  <a:pt x="106" y="22"/>
                </a:cubicBezTo>
                <a:cubicBezTo>
                  <a:pt x="111" y="27"/>
                  <a:pt x="111" y="27"/>
                  <a:pt x="111" y="27"/>
                </a:cubicBezTo>
                <a:cubicBezTo>
                  <a:pt x="155" y="0"/>
                  <a:pt x="155" y="0"/>
                  <a:pt x="155" y="0"/>
                </a:cubicBezTo>
                <a:cubicBezTo>
                  <a:pt x="180" y="0"/>
                  <a:pt x="180" y="0"/>
                  <a:pt x="180" y="0"/>
                </a:cubicBezTo>
                <a:cubicBezTo>
                  <a:pt x="185" y="12"/>
                  <a:pt x="185" y="12"/>
                  <a:pt x="185" y="12"/>
                </a:cubicBezTo>
                <a:cubicBezTo>
                  <a:pt x="185" y="24"/>
                  <a:pt x="185" y="24"/>
                  <a:pt x="185" y="24"/>
                </a:cubicBezTo>
                <a:cubicBezTo>
                  <a:pt x="206" y="33"/>
                  <a:pt x="206" y="33"/>
                  <a:pt x="206" y="33"/>
                </a:cubicBezTo>
                <a:cubicBezTo>
                  <a:pt x="234" y="16"/>
                  <a:pt x="234" y="16"/>
                  <a:pt x="234" y="16"/>
                </a:cubicBezTo>
                <a:cubicBezTo>
                  <a:pt x="300" y="19"/>
                  <a:pt x="300" y="19"/>
                  <a:pt x="300" y="19"/>
                </a:cubicBezTo>
                <a:cubicBezTo>
                  <a:pt x="355" y="16"/>
                  <a:pt x="355" y="16"/>
                  <a:pt x="355" y="16"/>
                </a:cubicBezTo>
                <a:cubicBezTo>
                  <a:pt x="374" y="4"/>
                  <a:pt x="374" y="4"/>
                  <a:pt x="374" y="4"/>
                </a:cubicBezTo>
                <a:cubicBezTo>
                  <a:pt x="396" y="16"/>
                  <a:pt x="396" y="16"/>
                  <a:pt x="396" y="16"/>
                </a:cubicBezTo>
                <a:cubicBezTo>
                  <a:pt x="413" y="21"/>
                  <a:pt x="413" y="21"/>
                  <a:pt x="413" y="21"/>
                </a:cubicBezTo>
                <a:cubicBezTo>
                  <a:pt x="416" y="45"/>
                  <a:pt x="416" y="45"/>
                  <a:pt x="416" y="45"/>
                </a:cubicBezTo>
                <a:cubicBezTo>
                  <a:pt x="437" y="81"/>
                  <a:pt x="437" y="81"/>
                  <a:pt x="437" y="81"/>
                </a:cubicBezTo>
                <a:cubicBezTo>
                  <a:pt x="427" y="96"/>
                  <a:pt x="427" y="96"/>
                  <a:pt x="427" y="96"/>
                </a:cubicBezTo>
                <a:cubicBezTo>
                  <a:pt x="427" y="97"/>
                  <a:pt x="427" y="97"/>
                  <a:pt x="427" y="97"/>
                </a:cubicBezTo>
                <a:cubicBezTo>
                  <a:pt x="416" y="139"/>
                  <a:pt x="416" y="139"/>
                  <a:pt x="416" y="139"/>
                </a:cubicBezTo>
                <a:cubicBezTo>
                  <a:pt x="421" y="148"/>
                  <a:pt x="421" y="148"/>
                  <a:pt x="421" y="148"/>
                </a:cubicBezTo>
                <a:cubicBezTo>
                  <a:pt x="434" y="143"/>
                  <a:pt x="434" y="143"/>
                  <a:pt x="434" y="143"/>
                </a:cubicBezTo>
                <a:cubicBezTo>
                  <a:pt x="448" y="154"/>
                  <a:pt x="448" y="154"/>
                  <a:pt x="448" y="154"/>
                </a:cubicBezTo>
                <a:cubicBezTo>
                  <a:pt x="443" y="179"/>
                  <a:pt x="443" y="179"/>
                  <a:pt x="443" y="179"/>
                </a:cubicBezTo>
                <a:cubicBezTo>
                  <a:pt x="456" y="195"/>
                  <a:pt x="456" y="195"/>
                  <a:pt x="456" y="195"/>
                </a:cubicBezTo>
                <a:cubicBezTo>
                  <a:pt x="456" y="209"/>
                  <a:pt x="456" y="209"/>
                  <a:pt x="456" y="209"/>
                </a:cubicBezTo>
                <a:cubicBezTo>
                  <a:pt x="486" y="223"/>
                  <a:pt x="486" y="223"/>
                  <a:pt x="486" y="223"/>
                </a:cubicBezTo>
                <a:cubicBezTo>
                  <a:pt x="477" y="233"/>
                  <a:pt x="477" y="233"/>
                  <a:pt x="477" y="233"/>
                </a:cubicBezTo>
                <a:cubicBezTo>
                  <a:pt x="491" y="247"/>
                  <a:pt x="491" y="247"/>
                  <a:pt x="491" y="247"/>
                </a:cubicBezTo>
                <a:cubicBezTo>
                  <a:pt x="489" y="254"/>
                  <a:pt x="489" y="254"/>
                  <a:pt x="489" y="254"/>
                </a:cubicBezTo>
                <a:cubicBezTo>
                  <a:pt x="474" y="264"/>
                  <a:pt x="474" y="264"/>
                  <a:pt x="474" y="264"/>
                </a:cubicBezTo>
                <a:cubicBezTo>
                  <a:pt x="438" y="317"/>
                  <a:pt x="438" y="317"/>
                  <a:pt x="438" y="317"/>
                </a:cubicBezTo>
                <a:cubicBezTo>
                  <a:pt x="434" y="332"/>
                  <a:pt x="434" y="332"/>
                  <a:pt x="434" y="332"/>
                </a:cubicBezTo>
                <a:cubicBezTo>
                  <a:pt x="445" y="351"/>
                  <a:pt x="445" y="351"/>
                  <a:pt x="445" y="351"/>
                </a:cubicBezTo>
                <a:cubicBezTo>
                  <a:pt x="451" y="357"/>
                  <a:pt x="451" y="357"/>
                  <a:pt x="451" y="357"/>
                </a:cubicBezTo>
                <a:cubicBezTo>
                  <a:pt x="432" y="362"/>
                  <a:pt x="432" y="362"/>
                  <a:pt x="432" y="362"/>
                </a:cubicBezTo>
                <a:cubicBezTo>
                  <a:pt x="408" y="355"/>
                  <a:pt x="408" y="355"/>
                  <a:pt x="408" y="355"/>
                </a:cubicBezTo>
                <a:cubicBezTo>
                  <a:pt x="406" y="346"/>
                  <a:pt x="406" y="346"/>
                  <a:pt x="406" y="346"/>
                </a:cubicBezTo>
                <a:cubicBezTo>
                  <a:pt x="377" y="341"/>
                  <a:pt x="377" y="341"/>
                  <a:pt x="377" y="341"/>
                </a:cubicBezTo>
                <a:cubicBezTo>
                  <a:pt x="359" y="345"/>
                  <a:pt x="359" y="345"/>
                  <a:pt x="359" y="345"/>
                </a:cubicBezTo>
                <a:cubicBezTo>
                  <a:pt x="354" y="362"/>
                  <a:pt x="354" y="362"/>
                  <a:pt x="354" y="362"/>
                </a:cubicBezTo>
                <a:cubicBezTo>
                  <a:pt x="342" y="349"/>
                  <a:pt x="342" y="349"/>
                  <a:pt x="342" y="349"/>
                </a:cubicBezTo>
                <a:cubicBezTo>
                  <a:pt x="322" y="351"/>
                  <a:pt x="322" y="351"/>
                  <a:pt x="322" y="351"/>
                </a:cubicBezTo>
                <a:cubicBezTo>
                  <a:pt x="312" y="369"/>
                  <a:pt x="312" y="369"/>
                  <a:pt x="312" y="369"/>
                </a:cubicBezTo>
                <a:cubicBezTo>
                  <a:pt x="298" y="369"/>
                  <a:pt x="298" y="369"/>
                  <a:pt x="298" y="369"/>
                </a:cubicBezTo>
                <a:cubicBezTo>
                  <a:pt x="296" y="357"/>
                  <a:pt x="296" y="357"/>
                  <a:pt x="296" y="357"/>
                </a:cubicBezTo>
                <a:cubicBezTo>
                  <a:pt x="277" y="345"/>
                  <a:pt x="277" y="345"/>
                  <a:pt x="277" y="345"/>
                </a:cubicBezTo>
                <a:cubicBezTo>
                  <a:pt x="263" y="366"/>
                  <a:pt x="263" y="366"/>
                  <a:pt x="263" y="366"/>
                </a:cubicBezTo>
                <a:cubicBezTo>
                  <a:pt x="250" y="354"/>
                  <a:pt x="250" y="354"/>
                  <a:pt x="250" y="354"/>
                </a:cubicBezTo>
                <a:cubicBezTo>
                  <a:pt x="249" y="343"/>
                  <a:pt x="249" y="343"/>
                  <a:pt x="249" y="343"/>
                </a:cubicBezTo>
                <a:cubicBezTo>
                  <a:pt x="235" y="342"/>
                  <a:pt x="235" y="342"/>
                  <a:pt x="235" y="342"/>
                </a:cubicBezTo>
                <a:cubicBezTo>
                  <a:pt x="234" y="328"/>
                  <a:pt x="234" y="328"/>
                  <a:pt x="234" y="328"/>
                </a:cubicBezTo>
                <a:cubicBezTo>
                  <a:pt x="196" y="328"/>
                  <a:pt x="196" y="328"/>
                  <a:pt x="196" y="328"/>
                </a:cubicBezTo>
                <a:cubicBezTo>
                  <a:pt x="190" y="322"/>
                  <a:pt x="190" y="322"/>
                  <a:pt x="190" y="322"/>
                </a:cubicBezTo>
                <a:cubicBezTo>
                  <a:pt x="185" y="317"/>
                  <a:pt x="185" y="317"/>
                  <a:pt x="185" y="317"/>
                </a:cubicBezTo>
                <a:cubicBezTo>
                  <a:pt x="191" y="307"/>
                  <a:pt x="191" y="307"/>
                  <a:pt x="191" y="307"/>
                </a:cubicBezTo>
                <a:cubicBezTo>
                  <a:pt x="169" y="307"/>
                  <a:pt x="169" y="307"/>
                  <a:pt x="169" y="307"/>
                </a:cubicBezTo>
                <a:cubicBezTo>
                  <a:pt x="145" y="301"/>
                  <a:pt x="145" y="301"/>
                  <a:pt x="145" y="301"/>
                </a:cubicBezTo>
                <a:cubicBezTo>
                  <a:pt x="153" y="312"/>
                  <a:pt x="153" y="312"/>
                  <a:pt x="153" y="312"/>
                </a:cubicBezTo>
                <a:cubicBezTo>
                  <a:pt x="146" y="320"/>
                  <a:pt x="146" y="320"/>
                  <a:pt x="146" y="320"/>
                </a:cubicBezTo>
                <a:cubicBezTo>
                  <a:pt x="141" y="324"/>
                  <a:pt x="141" y="324"/>
                  <a:pt x="141" y="324"/>
                </a:cubicBezTo>
                <a:cubicBezTo>
                  <a:pt x="135" y="325"/>
                  <a:pt x="135" y="325"/>
                  <a:pt x="135" y="325"/>
                </a:cubicBezTo>
                <a:cubicBezTo>
                  <a:pt x="126" y="311"/>
                  <a:pt x="126" y="311"/>
                  <a:pt x="126" y="311"/>
                </a:cubicBezTo>
                <a:cubicBezTo>
                  <a:pt x="112" y="303"/>
                  <a:pt x="112" y="303"/>
                  <a:pt x="112" y="303"/>
                </a:cubicBezTo>
                <a:cubicBezTo>
                  <a:pt x="124" y="295"/>
                  <a:pt x="124" y="295"/>
                  <a:pt x="124" y="295"/>
                </a:cubicBezTo>
                <a:cubicBezTo>
                  <a:pt x="104" y="291"/>
                  <a:pt x="104" y="291"/>
                  <a:pt x="104" y="291"/>
                </a:cubicBezTo>
                <a:cubicBezTo>
                  <a:pt x="71" y="280"/>
                  <a:pt x="71" y="280"/>
                  <a:pt x="71" y="280"/>
                </a:cubicBezTo>
                <a:cubicBezTo>
                  <a:pt x="55" y="271"/>
                  <a:pt x="55" y="271"/>
                  <a:pt x="55" y="271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34" y="233"/>
                  <a:pt x="34" y="233"/>
                  <a:pt x="34" y="233"/>
                </a:cubicBezTo>
                <a:cubicBezTo>
                  <a:pt x="28" y="221"/>
                  <a:pt x="28" y="221"/>
                  <a:pt x="28" y="221"/>
                </a:cubicBezTo>
                <a:cubicBezTo>
                  <a:pt x="32" y="202"/>
                  <a:pt x="32" y="202"/>
                  <a:pt x="32" y="202"/>
                </a:cubicBezTo>
                <a:cubicBezTo>
                  <a:pt x="17" y="180"/>
                  <a:pt x="17" y="180"/>
                  <a:pt x="17" y="180"/>
                </a:cubicBezTo>
                <a:cubicBezTo>
                  <a:pt x="21" y="162"/>
                  <a:pt x="21" y="162"/>
                  <a:pt x="21" y="162"/>
                </a:cubicBezTo>
                <a:cubicBezTo>
                  <a:pt x="0" y="145"/>
                  <a:pt x="0" y="145"/>
                  <a:pt x="0" y="145"/>
                </a:cubicBezTo>
                <a:cubicBezTo>
                  <a:pt x="17" y="125"/>
                  <a:pt x="17" y="125"/>
                  <a:pt x="17" y="125"/>
                </a:cubicBezTo>
                <a:lnTo>
                  <a:pt x="1" y="92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22" name="Ukraine"/>
          <p:cNvSpPr>
            <a:spLocks/>
          </p:cNvSpPr>
          <p:nvPr/>
        </p:nvSpPr>
        <p:spPr bwMode="auto">
          <a:xfrm>
            <a:off x="10643126" y="3352800"/>
            <a:ext cx="1557338" cy="1489075"/>
          </a:xfrm>
          <a:custGeom>
            <a:avLst/>
            <a:gdLst>
              <a:gd name="T0" fmla="*/ 60 w 981"/>
              <a:gd name="T1" fmla="*/ 237 h 938"/>
              <a:gd name="T2" fmla="*/ 128 w 981"/>
              <a:gd name="T3" fmla="*/ 175 h 938"/>
              <a:gd name="T4" fmla="*/ 193 w 981"/>
              <a:gd name="T5" fmla="*/ 177 h 938"/>
              <a:gd name="T6" fmla="*/ 278 w 981"/>
              <a:gd name="T7" fmla="*/ 166 h 938"/>
              <a:gd name="T8" fmla="*/ 347 w 981"/>
              <a:gd name="T9" fmla="*/ 172 h 938"/>
              <a:gd name="T10" fmla="*/ 430 w 981"/>
              <a:gd name="T11" fmla="*/ 204 h 938"/>
              <a:gd name="T12" fmla="*/ 481 w 981"/>
              <a:gd name="T13" fmla="*/ 204 h 938"/>
              <a:gd name="T14" fmla="*/ 530 w 981"/>
              <a:gd name="T15" fmla="*/ 199 h 938"/>
              <a:gd name="T16" fmla="*/ 571 w 981"/>
              <a:gd name="T17" fmla="*/ 165 h 938"/>
              <a:gd name="T18" fmla="*/ 614 w 981"/>
              <a:gd name="T19" fmla="*/ 192 h 938"/>
              <a:gd name="T20" fmla="*/ 638 w 981"/>
              <a:gd name="T21" fmla="*/ 175 h 938"/>
              <a:gd name="T22" fmla="*/ 622 w 981"/>
              <a:gd name="T23" fmla="*/ 109 h 938"/>
              <a:gd name="T24" fmla="*/ 654 w 981"/>
              <a:gd name="T25" fmla="*/ 80 h 938"/>
              <a:gd name="T26" fmla="*/ 705 w 981"/>
              <a:gd name="T27" fmla="*/ 65 h 938"/>
              <a:gd name="T28" fmla="*/ 734 w 981"/>
              <a:gd name="T29" fmla="*/ 34 h 938"/>
              <a:gd name="T30" fmla="*/ 853 w 981"/>
              <a:gd name="T31" fmla="*/ 0 h 938"/>
              <a:gd name="T32" fmla="*/ 929 w 981"/>
              <a:gd name="T33" fmla="*/ 38 h 938"/>
              <a:gd name="T34" fmla="*/ 938 w 981"/>
              <a:gd name="T35" fmla="*/ 109 h 938"/>
              <a:gd name="T36" fmla="*/ 981 w 981"/>
              <a:gd name="T37" fmla="*/ 743 h 938"/>
              <a:gd name="T38" fmla="*/ 947 w 981"/>
              <a:gd name="T39" fmla="*/ 717 h 938"/>
              <a:gd name="T40" fmla="*/ 871 w 981"/>
              <a:gd name="T41" fmla="*/ 716 h 938"/>
              <a:gd name="T42" fmla="*/ 826 w 981"/>
              <a:gd name="T43" fmla="*/ 800 h 938"/>
              <a:gd name="T44" fmla="*/ 773 w 981"/>
              <a:gd name="T45" fmla="*/ 887 h 938"/>
              <a:gd name="T46" fmla="*/ 741 w 981"/>
              <a:gd name="T47" fmla="*/ 902 h 938"/>
              <a:gd name="T48" fmla="*/ 660 w 981"/>
              <a:gd name="T49" fmla="*/ 938 h 938"/>
              <a:gd name="T50" fmla="*/ 661 w 981"/>
              <a:gd name="T51" fmla="*/ 878 h 938"/>
              <a:gd name="T52" fmla="*/ 665 w 981"/>
              <a:gd name="T53" fmla="*/ 795 h 938"/>
              <a:gd name="T54" fmla="*/ 775 w 981"/>
              <a:gd name="T55" fmla="*/ 779 h 938"/>
              <a:gd name="T56" fmla="*/ 723 w 981"/>
              <a:gd name="T57" fmla="*/ 707 h 938"/>
              <a:gd name="T58" fmla="*/ 665 w 981"/>
              <a:gd name="T59" fmla="*/ 676 h 938"/>
              <a:gd name="T60" fmla="*/ 640 w 981"/>
              <a:gd name="T61" fmla="*/ 611 h 938"/>
              <a:gd name="T62" fmla="*/ 522 w 981"/>
              <a:gd name="T63" fmla="*/ 593 h 938"/>
              <a:gd name="T64" fmla="*/ 454 w 981"/>
              <a:gd name="T65" fmla="*/ 602 h 938"/>
              <a:gd name="T66" fmla="*/ 374 w 981"/>
              <a:gd name="T67" fmla="*/ 649 h 938"/>
              <a:gd name="T68" fmla="*/ 287 w 981"/>
              <a:gd name="T69" fmla="*/ 692 h 938"/>
              <a:gd name="T70" fmla="*/ 235 w 981"/>
              <a:gd name="T71" fmla="*/ 699 h 938"/>
              <a:gd name="T72" fmla="*/ 98 w 981"/>
              <a:gd name="T73" fmla="*/ 705 h 938"/>
              <a:gd name="T74" fmla="*/ 54 w 981"/>
              <a:gd name="T75" fmla="*/ 707 h 938"/>
              <a:gd name="T76" fmla="*/ 11 w 981"/>
              <a:gd name="T77" fmla="*/ 640 h 938"/>
              <a:gd name="T78" fmla="*/ 44 w 981"/>
              <a:gd name="T79" fmla="*/ 598 h 938"/>
              <a:gd name="T80" fmla="*/ 13 w 981"/>
              <a:gd name="T81" fmla="*/ 553 h 938"/>
              <a:gd name="T82" fmla="*/ 85 w 981"/>
              <a:gd name="T83" fmla="*/ 430 h 938"/>
              <a:gd name="T84" fmla="*/ 116 w 981"/>
              <a:gd name="T85" fmla="*/ 399 h 938"/>
              <a:gd name="T86" fmla="*/ 107 w 981"/>
              <a:gd name="T87" fmla="*/ 356 h 938"/>
              <a:gd name="T88" fmla="*/ 53 w 981"/>
              <a:gd name="T89" fmla="*/ 305 h 9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981" h="938">
                <a:moveTo>
                  <a:pt x="29" y="277"/>
                </a:moveTo>
                <a:lnTo>
                  <a:pt x="60" y="237"/>
                </a:lnTo>
                <a:lnTo>
                  <a:pt x="109" y="190"/>
                </a:lnTo>
                <a:lnTo>
                  <a:pt x="128" y="175"/>
                </a:lnTo>
                <a:lnTo>
                  <a:pt x="150" y="175"/>
                </a:lnTo>
                <a:lnTo>
                  <a:pt x="193" y="177"/>
                </a:lnTo>
                <a:lnTo>
                  <a:pt x="239" y="155"/>
                </a:lnTo>
                <a:lnTo>
                  <a:pt x="278" y="166"/>
                </a:lnTo>
                <a:lnTo>
                  <a:pt x="334" y="177"/>
                </a:lnTo>
                <a:lnTo>
                  <a:pt x="347" y="172"/>
                </a:lnTo>
                <a:lnTo>
                  <a:pt x="354" y="186"/>
                </a:lnTo>
                <a:lnTo>
                  <a:pt x="430" y="204"/>
                </a:lnTo>
                <a:lnTo>
                  <a:pt x="457" y="188"/>
                </a:lnTo>
                <a:lnTo>
                  <a:pt x="481" y="204"/>
                </a:lnTo>
                <a:lnTo>
                  <a:pt x="497" y="177"/>
                </a:lnTo>
                <a:lnTo>
                  <a:pt x="530" y="199"/>
                </a:lnTo>
                <a:lnTo>
                  <a:pt x="564" y="183"/>
                </a:lnTo>
                <a:lnTo>
                  <a:pt x="571" y="165"/>
                </a:lnTo>
                <a:lnTo>
                  <a:pt x="596" y="166"/>
                </a:lnTo>
                <a:lnTo>
                  <a:pt x="614" y="192"/>
                </a:lnTo>
                <a:lnTo>
                  <a:pt x="632" y="192"/>
                </a:lnTo>
                <a:lnTo>
                  <a:pt x="638" y="175"/>
                </a:lnTo>
                <a:lnTo>
                  <a:pt x="614" y="152"/>
                </a:lnTo>
                <a:lnTo>
                  <a:pt x="622" y="109"/>
                </a:lnTo>
                <a:lnTo>
                  <a:pt x="631" y="72"/>
                </a:lnTo>
                <a:lnTo>
                  <a:pt x="654" y="80"/>
                </a:lnTo>
                <a:lnTo>
                  <a:pt x="663" y="65"/>
                </a:lnTo>
                <a:lnTo>
                  <a:pt x="705" y="65"/>
                </a:lnTo>
                <a:lnTo>
                  <a:pt x="732" y="67"/>
                </a:lnTo>
                <a:lnTo>
                  <a:pt x="734" y="34"/>
                </a:lnTo>
                <a:lnTo>
                  <a:pt x="804" y="4"/>
                </a:lnTo>
                <a:lnTo>
                  <a:pt x="853" y="0"/>
                </a:lnTo>
                <a:lnTo>
                  <a:pt x="866" y="0"/>
                </a:lnTo>
                <a:lnTo>
                  <a:pt x="929" y="38"/>
                </a:lnTo>
                <a:lnTo>
                  <a:pt x="898" y="67"/>
                </a:lnTo>
                <a:lnTo>
                  <a:pt x="938" y="109"/>
                </a:lnTo>
                <a:lnTo>
                  <a:pt x="981" y="98"/>
                </a:lnTo>
                <a:lnTo>
                  <a:pt x="981" y="743"/>
                </a:lnTo>
                <a:lnTo>
                  <a:pt x="943" y="743"/>
                </a:lnTo>
                <a:lnTo>
                  <a:pt x="947" y="717"/>
                </a:lnTo>
                <a:lnTo>
                  <a:pt x="905" y="703"/>
                </a:lnTo>
                <a:lnTo>
                  <a:pt x="871" y="716"/>
                </a:lnTo>
                <a:lnTo>
                  <a:pt x="833" y="732"/>
                </a:lnTo>
                <a:lnTo>
                  <a:pt x="826" y="800"/>
                </a:lnTo>
                <a:lnTo>
                  <a:pt x="779" y="858"/>
                </a:lnTo>
                <a:lnTo>
                  <a:pt x="773" y="887"/>
                </a:lnTo>
                <a:lnTo>
                  <a:pt x="779" y="922"/>
                </a:lnTo>
                <a:lnTo>
                  <a:pt x="741" y="902"/>
                </a:lnTo>
                <a:lnTo>
                  <a:pt x="705" y="922"/>
                </a:lnTo>
                <a:lnTo>
                  <a:pt x="660" y="938"/>
                </a:lnTo>
                <a:lnTo>
                  <a:pt x="658" y="909"/>
                </a:lnTo>
                <a:lnTo>
                  <a:pt x="661" y="878"/>
                </a:lnTo>
                <a:lnTo>
                  <a:pt x="688" y="822"/>
                </a:lnTo>
                <a:lnTo>
                  <a:pt x="665" y="795"/>
                </a:lnTo>
                <a:lnTo>
                  <a:pt x="725" y="788"/>
                </a:lnTo>
                <a:lnTo>
                  <a:pt x="775" y="779"/>
                </a:lnTo>
                <a:lnTo>
                  <a:pt x="764" y="748"/>
                </a:lnTo>
                <a:lnTo>
                  <a:pt x="723" y="707"/>
                </a:lnTo>
                <a:lnTo>
                  <a:pt x="690" y="667"/>
                </a:lnTo>
                <a:lnTo>
                  <a:pt x="665" y="676"/>
                </a:lnTo>
                <a:lnTo>
                  <a:pt x="647" y="660"/>
                </a:lnTo>
                <a:lnTo>
                  <a:pt x="640" y="611"/>
                </a:lnTo>
                <a:lnTo>
                  <a:pt x="573" y="595"/>
                </a:lnTo>
                <a:lnTo>
                  <a:pt x="522" y="593"/>
                </a:lnTo>
                <a:lnTo>
                  <a:pt x="483" y="576"/>
                </a:lnTo>
                <a:lnTo>
                  <a:pt x="454" y="602"/>
                </a:lnTo>
                <a:lnTo>
                  <a:pt x="405" y="613"/>
                </a:lnTo>
                <a:lnTo>
                  <a:pt x="374" y="649"/>
                </a:lnTo>
                <a:lnTo>
                  <a:pt x="358" y="676"/>
                </a:lnTo>
                <a:lnTo>
                  <a:pt x="287" y="692"/>
                </a:lnTo>
                <a:lnTo>
                  <a:pt x="271" y="725"/>
                </a:lnTo>
                <a:lnTo>
                  <a:pt x="235" y="699"/>
                </a:lnTo>
                <a:lnTo>
                  <a:pt x="181" y="710"/>
                </a:lnTo>
                <a:lnTo>
                  <a:pt x="98" y="705"/>
                </a:lnTo>
                <a:lnTo>
                  <a:pt x="72" y="728"/>
                </a:lnTo>
                <a:lnTo>
                  <a:pt x="54" y="707"/>
                </a:lnTo>
                <a:lnTo>
                  <a:pt x="0" y="676"/>
                </a:lnTo>
                <a:lnTo>
                  <a:pt x="11" y="640"/>
                </a:lnTo>
                <a:lnTo>
                  <a:pt x="9" y="607"/>
                </a:lnTo>
                <a:lnTo>
                  <a:pt x="44" y="598"/>
                </a:lnTo>
                <a:lnTo>
                  <a:pt x="33" y="587"/>
                </a:lnTo>
                <a:lnTo>
                  <a:pt x="13" y="553"/>
                </a:lnTo>
                <a:lnTo>
                  <a:pt x="20" y="526"/>
                </a:lnTo>
                <a:lnTo>
                  <a:pt x="85" y="430"/>
                </a:lnTo>
                <a:lnTo>
                  <a:pt x="112" y="412"/>
                </a:lnTo>
                <a:lnTo>
                  <a:pt x="116" y="399"/>
                </a:lnTo>
                <a:lnTo>
                  <a:pt x="91" y="374"/>
                </a:lnTo>
                <a:lnTo>
                  <a:pt x="107" y="356"/>
                </a:lnTo>
                <a:lnTo>
                  <a:pt x="53" y="331"/>
                </a:lnTo>
                <a:lnTo>
                  <a:pt x="53" y="305"/>
                </a:lnTo>
                <a:lnTo>
                  <a:pt x="29" y="277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23" name="Moldova"/>
          <p:cNvSpPr>
            <a:spLocks/>
          </p:cNvSpPr>
          <p:nvPr/>
        </p:nvSpPr>
        <p:spPr bwMode="auto">
          <a:xfrm>
            <a:off x="11247963" y="4267200"/>
            <a:ext cx="625475" cy="568325"/>
          </a:xfrm>
          <a:custGeom>
            <a:avLst/>
            <a:gdLst>
              <a:gd name="T0" fmla="*/ 13 w 218"/>
              <a:gd name="T1" fmla="*/ 20 h 198"/>
              <a:gd name="T2" fmla="*/ 40 w 218"/>
              <a:gd name="T3" fmla="*/ 14 h 198"/>
              <a:gd name="T4" fmla="*/ 56 w 218"/>
              <a:gd name="T5" fmla="*/ 0 h 198"/>
              <a:gd name="T6" fmla="*/ 78 w 218"/>
              <a:gd name="T7" fmla="*/ 9 h 198"/>
              <a:gd name="T8" fmla="*/ 106 w 218"/>
              <a:gd name="T9" fmla="*/ 10 h 198"/>
              <a:gd name="T10" fmla="*/ 143 w 218"/>
              <a:gd name="T11" fmla="*/ 19 h 198"/>
              <a:gd name="T12" fmla="*/ 150 w 218"/>
              <a:gd name="T13" fmla="*/ 48 h 198"/>
              <a:gd name="T14" fmla="*/ 152 w 218"/>
              <a:gd name="T15" fmla="*/ 50 h 198"/>
              <a:gd name="T16" fmla="*/ 171 w 218"/>
              <a:gd name="T17" fmla="*/ 50 h 198"/>
              <a:gd name="T18" fmla="*/ 207 w 218"/>
              <a:gd name="T19" fmla="*/ 90 h 198"/>
              <a:gd name="T20" fmla="*/ 212 w 218"/>
              <a:gd name="T21" fmla="*/ 95 h 198"/>
              <a:gd name="T22" fmla="*/ 218 w 218"/>
              <a:gd name="T23" fmla="*/ 112 h 198"/>
              <a:gd name="T24" fmla="*/ 187 w 218"/>
              <a:gd name="T25" fmla="*/ 123 h 198"/>
              <a:gd name="T26" fmla="*/ 157 w 218"/>
              <a:gd name="T27" fmla="*/ 121 h 198"/>
              <a:gd name="T28" fmla="*/ 170 w 218"/>
              <a:gd name="T29" fmla="*/ 136 h 198"/>
              <a:gd name="T30" fmla="*/ 155 w 218"/>
              <a:gd name="T31" fmla="*/ 167 h 198"/>
              <a:gd name="T32" fmla="*/ 153 w 218"/>
              <a:gd name="T33" fmla="*/ 184 h 198"/>
              <a:gd name="T34" fmla="*/ 154 w 218"/>
              <a:gd name="T35" fmla="*/ 198 h 198"/>
              <a:gd name="T36" fmla="*/ 139 w 218"/>
              <a:gd name="T37" fmla="*/ 191 h 198"/>
              <a:gd name="T38" fmla="*/ 118 w 218"/>
              <a:gd name="T39" fmla="*/ 164 h 198"/>
              <a:gd name="T40" fmla="*/ 120 w 218"/>
              <a:gd name="T41" fmla="*/ 121 h 198"/>
              <a:gd name="T42" fmla="*/ 76 w 218"/>
              <a:gd name="T43" fmla="*/ 85 h 198"/>
              <a:gd name="T44" fmla="*/ 49 w 218"/>
              <a:gd name="T45" fmla="*/ 63 h 198"/>
              <a:gd name="T46" fmla="*/ 29 w 218"/>
              <a:gd name="T47" fmla="*/ 28 h 198"/>
              <a:gd name="T48" fmla="*/ 0 w 218"/>
              <a:gd name="T49" fmla="*/ 35 h 198"/>
              <a:gd name="T50" fmla="*/ 13 w 218"/>
              <a:gd name="T51" fmla="*/ 20 h 1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218" h="198">
                <a:moveTo>
                  <a:pt x="13" y="20"/>
                </a:moveTo>
                <a:cubicBezTo>
                  <a:pt x="40" y="14"/>
                  <a:pt x="40" y="14"/>
                  <a:pt x="40" y="14"/>
                </a:cubicBezTo>
                <a:cubicBezTo>
                  <a:pt x="56" y="0"/>
                  <a:pt x="56" y="0"/>
                  <a:pt x="56" y="0"/>
                </a:cubicBezTo>
                <a:cubicBezTo>
                  <a:pt x="78" y="9"/>
                  <a:pt x="78" y="9"/>
                  <a:pt x="78" y="9"/>
                </a:cubicBezTo>
                <a:cubicBezTo>
                  <a:pt x="106" y="10"/>
                  <a:pt x="106" y="10"/>
                  <a:pt x="106" y="10"/>
                </a:cubicBezTo>
                <a:cubicBezTo>
                  <a:pt x="143" y="19"/>
                  <a:pt x="143" y="19"/>
                  <a:pt x="143" y="19"/>
                </a:cubicBezTo>
                <a:cubicBezTo>
                  <a:pt x="150" y="48"/>
                  <a:pt x="150" y="48"/>
                  <a:pt x="150" y="48"/>
                </a:cubicBezTo>
                <a:cubicBezTo>
                  <a:pt x="152" y="50"/>
                  <a:pt x="152" y="50"/>
                  <a:pt x="152" y="50"/>
                </a:cubicBezTo>
                <a:cubicBezTo>
                  <a:pt x="171" y="50"/>
                  <a:pt x="171" y="50"/>
                  <a:pt x="171" y="50"/>
                </a:cubicBezTo>
                <a:cubicBezTo>
                  <a:pt x="207" y="90"/>
                  <a:pt x="207" y="90"/>
                  <a:pt x="207" y="90"/>
                </a:cubicBezTo>
                <a:cubicBezTo>
                  <a:pt x="212" y="95"/>
                  <a:pt x="212" y="95"/>
                  <a:pt x="212" y="95"/>
                </a:cubicBezTo>
                <a:cubicBezTo>
                  <a:pt x="218" y="112"/>
                  <a:pt x="218" y="112"/>
                  <a:pt x="218" y="112"/>
                </a:cubicBezTo>
                <a:cubicBezTo>
                  <a:pt x="187" y="123"/>
                  <a:pt x="187" y="123"/>
                  <a:pt x="187" y="123"/>
                </a:cubicBezTo>
                <a:cubicBezTo>
                  <a:pt x="157" y="121"/>
                  <a:pt x="157" y="121"/>
                  <a:pt x="157" y="121"/>
                </a:cubicBezTo>
                <a:cubicBezTo>
                  <a:pt x="170" y="136"/>
                  <a:pt x="170" y="136"/>
                  <a:pt x="170" y="136"/>
                </a:cubicBezTo>
                <a:cubicBezTo>
                  <a:pt x="155" y="167"/>
                  <a:pt x="155" y="167"/>
                  <a:pt x="155" y="167"/>
                </a:cubicBezTo>
                <a:cubicBezTo>
                  <a:pt x="153" y="184"/>
                  <a:pt x="153" y="184"/>
                  <a:pt x="153" y="184"/>
                </a:cubicBezTo>
                <a:cubicBezTo>
                  <a:pt x="154" y="198"/>
                  <a:pt x="154" y="198"/>
                  <a:pt x="154" y="198"/>
                </a:cubicBezTo>
                <a:cubicBezTo>
                  <a:pt x="139" y="191"/>
                  <a:pt x="139" y="191"/>
                  <a:pt x="139" y="191"/>
                </a:cubicBezTo>
                <a:cubicBezTo>
                  <a:pt x="118" y="164"/>
                  <a:pt x="118" y="164"/>
                  <a:pt x="118" y="164"/>
                </a:cubicBezTo>
                <a:cubicBezTo>
                  <a:pt x="120" y="121"/>
                  <a:pt x="120" y="121"/>
                  <a:pt x="120" y="121"/>
                </a:cubicBezTo>
                <a:cubicBezTo>
                  <a:pt x="76" y="85"/>
                  <a:pt x="76" y="85"/>
                  <a:pt x="76" y="85"/>
                </a:cubicBezTo>
                <a:cubicBezTo>
                  <a:pt x="76" y="85"/>
                  <a:pt x="49" y="67"/>
                  <a:pt x="49" y="63"/>
                </a:cubicBezTo>
                <a:cubicBezTo>
                  <a:pt x="48" y="59"/>
                  <a:pt x="29" y="28"/>
                  <a:pt x="29" y="28"/>
                </a:cubicBezTo>
                <a:cubicBezTo>
                  <a:pt x="0" y="35"/>
                  <a:pt x="0" y="35"/>
                  <a:pt x="0" y="35"/>
                </a:cubicBezTo>
                <a:lnTo>
                  <a:pt x="13" y="20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24" name="Austria"/>
          <p:cNvSpPr>
            <a:spLocks/>
          </p:cNvSpPr>
          <p:nvPr/>
        </p:nvSpPr>
        <p:spPr bwMode="auto">
          <a:xfrm>
            <a:off x="8801626" y="4425950"/>
            <a:ext cx="1112838" cy="508000"/>
          </a:xfrm>
          <a:custGeom>
            <a:avLst/>
            <a:gdLst>
              <a:gd name="T0" fmla="*/ 400 w 701"/>
              <a:gd name="T1" fmla="*/ 45 h 320"/>
              <a:gd name="T2" fmla="*/ 421 w 701"/>
              <a:gd name="T3" fmla="*/ 63 h 320"/>
              <a:gd name="T4" fmla="*/ 447 w 701"/>
              <a:gd name="T5" fmla="*/ 63 h 320"/>
              <a:gd name="T6" fmla="*/ 479 w 701"/>
              <a:gd name="T7" fmla="*/ 63 h 320"/>
              <a:gd name="T8" fmla="*/ 508 w 701"/>
              <a:gd name="T9" fmla="*/ 0 h 320"/>
              <a:gd name="T10" fmla="*/ 526 w 701"/>
              <a:gd name="T11" fmla="*/ 16 h 320"/>
              <a:gd name="T12" fmla="*/ 548 w 701"/>
              <a:gd name="T13" fmla="*/ 12 h 320"/>
              <a:gd name="T14" fmla="*/ 595 w 701"/>
              <a:gd name="T15" fmla="*/ 31 h 320"/>
              <a:gd name="T16" fmla="*/ 653 w 701"/>
              <a:gd name="T17" fmla="*/ 18 h 320"/>
              <a:gd name="T18" fmla="*/ 678 w 701"/>
              <a:gd name="T19" fmla="*/ 31 h 320"/>
              <a:gd name="T20" fmla="*/ 672 w 701"/>
              <a:gd name="T21" fmla="*/ 78 h 320"/>
              <a:gd name="T22" fmla="*/ 701 w 701"/>
              <a:gd name="T23" fmla="*/ 101 h 320"/>
              <a:gd name="T24" fmla="*/ 701 w 701"/>
              <a:gd name="T25" fmla="*/ 155 h 320"/>
              <a:gd name="T26" fmla="*/ 634 w 701"/>
              <a:gd name="T27" fmla="*/ 159 h 320"/>
              <a:gd name="T28" fmla="*/ 649 w 701"/>
              <a:gd name="T29" fmla="*/ 184 h 320"/>
              <a:gd name="T30" fmla="*/ 636 w 701"/>
              <a:gd name="T31" fmla="*/ 213 h 320"/>
              <a:gd name="T32" fmla="*/ 654 w 701"/>
              <a:gd name="T33" fmla="*/ 233 h 320"/>
              <a:gd name="T34" fmla="*/ 618 w 701"/>
              <a:gd name="T35" fmla="*/ 278 h 320"/>
              <a:gd name="T36" fmla="*/ 564 w 701"/>
              <a:gd name="T37" fmla="*/ 296 h 320"/>
              <a:gd name="T38" fmla="*/ 517 w 701"/>
              <a:gd name="T39" fmla="*/ 282 h 320"/>
              <a:gd name="T40" fmla="*/ 488 w 701"/>
              <a:gd name="T41" fmla="*/ 320 h 320"/>
              <a:gd name="T42" fmla="*/ 410 w 701"/>
              <a:gd name="T43" fmla="*/ 314 h 320"/>
              <a:gd name="T44" fmla="*/ 326 w 701"/>
              <a:gd name="T45" fmla="*/ 302 h 320"/>
              <a:gd name="T46" fmla="*/ 264 w 701"/>
              <a:gd name="T47" fmla="*/ 289 h 320"/>
              <a:gd name="T48" fmla="*/ 259 w 701"/>
              <a:gd name="T49" fmla="*/ 246 h 320"/>
              <a:gd name="T50" fmla="*/ 235 w 701"/>
              <a:gd name="T51" fmla="*/ 262 h 320"/>
              <a:gd name="T52" fmla="*/ 159 w 701"/>
              <a:gd name="T53" fmla="*/ 264 h 320"/>
              <a:gd name="T54" fmla="*/ 150 w 701"/>
              <a:gd name="T55" fmla="*/ 291 h 320"/>
              <a:gd name="T56" fmla="*/ 125 w 701"/>
              <a:gd name="T57" fmla="*/ 282 h 320"/>
              <a:gd name="T58" fmla="*/ 112 w 701"/>
              <a:gd name="T59" fmla="*/ 260 h 320"/>
              <a:gd name="T60" fmla="*/ 94 w 701"/>
              <a:gd name="T61" fmla="*/ 283 h 320"/>
              <a:gd name="T62" fmla="*/ 47 w 701"/>
              <a:gd name="T63" fmla="*/ 282 h 320"/>
              <a:gd name="T64" fmla="*/ 24 w 701"/>
              <a:gd name="T65" fmla="*/ 269 h 320"/>
              <a:gd name="T66" fmla="*/ 0 w 701"/>
              <a:gd name="T67" fmla="*/ 247 h 320"/>
              <a:gd name="T68" fmla="*/ 20 w 701"/>
              <a:gd name="T69" fmla="*/ 222 h 320"/>
              <a:gd name="T70" fmla="*/ 11 w 701"/>
              <a:gd name="T71" fmla="*/ 202 h 320"/>
              <a:gd name="T72" fmla="*/ 51 w 701"/>
              <a:gd name="T73" fmla="*/ 199 h 320"/>
              <a:gd name="T74" fmla="*/ 73 w 701"/>
              <a:gd name="T75" fmla="*/ 233 h 320"/>
              <a:gd name="T76" fmla="*/ 102 w 701"/>
              <a:gd name="T77" fmla="*/ 195 h 320"/>
              <a:gd name="T78" fmla="*/ 129 w 701"/>
              <a:gd name="T79" fmla="*/ 199 h 320"/>
              <a:gd name="T80" fmla="*/ 152 w 701"/>
              <a:gd name="T81" fmla="*/ 220 h 320"/>
              <a:gd name="T82" fmla="*/ 217 w 701"/>
              <a:gd name="T83" fmla="*/ 186 h 320"/>
              <a:gd name="T84" fmla="*/ 259 w 701"/>
              <a:gd name="T85" fmla="*/ 168 h 320"/>
              <a:gd name="T86" fmla="*/ 317 w 701"/>
              <a:gd name="T87" fmla="*/ 202 h 320"/>
              <a:gd name="T88" fmla="*/ 318 w 701"/>
              <a:gd name="T89" fmla="*/ 181 h 320"/>
              <a:gd name="T90" fmla="*/ 329 w 701"/>
              <a:gd name="T91" fmla="*/ 153 h 320"/>
              <a:gd name="T92" fmla="*/ 307 w 701"/>
              <a:gd name="T93" fmla="*/ 128 h 320"/>
              <a:gd name="T94" fmla="*/ 356 w 701"/>
              <a:gd name="T95" fmla="*/ 97 h 320"/>
              <a:gd name="T96" fmla="*/ 360 w 701"/>
              <a:gd name="T97" fmla="*/ 81 h 320"/>
              <a:gd name="T98" fmla="*/ 400 w 701"/>
              <a:gd name="T99" fmla="*/ 70 h 320"/>
              <a:gd name="T100" fmla="*/ 400 w 701"/>
              <a:gd name="T101" fmla="*/ 45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701" h="320">
                <a:moveTo>
                  <a:pt x="400" y="45"/>
                </a:moveTo>
                <a:lnTo>
                  <a:pt x="421" y="63"/>
                </a:lnTo>
                <a:lnTo>
                  <a:pt x="447" y="63"/>
                </a:lnTo>
                <a:lnTo>
                  <a:pt x="479" y="63"/>
                </a:lnTo>
                <a:lnTo>
                  <a:pt x="508" y="0"/>
                </a:lnTo>
                <a:lnTo>
                  <a:pt x="526" y="16"/>
                </a:lnTo>
                <a:lnTo>
                  <a:pt x="548" y="12"/>
                </a:lnTo>
                <a:lnTo>
                  <a:pt x="595" y="31"/>
                </a:lnTo>
                <a:lnTo>
                  <a:pt x="653" y="18"/>
                </a:lnTo>
                <a:lnTo>
                  <a:pt x="678" y="31"/>
                </a:lnTo>
                <a:lnTo>
                  <a:pt x="672" y="78"/>
                </a:lnTo>
                <a:lnTo>
                  <a:pt x="701" y="101"/>
                </a:lnTo>
                <a:lnTo>
                  <a:pt x="701" y="155"/>
                </a:lnTo>
                <a:lnTo>
                  <a:pt x="634" y="159"/>
                </a:lnTo>
                <a:lnTo>
                  <a:pt x="649" y="184"/>
                </a:lnTo>
                <a:lnTo>
                  <a:pt x="636" y="213"/>
                </a:lnTo>
                <a:lnTo>
                  <a:pt x="654" y="233"/>
                </a:lnTo>
                <a:lnTo>
                  <a:pt x="618" y="278"/>
                </a:lnTo>
                <a:lnTo>
                  <a:pt x="564" y="296"/>
                </a:lnTo>
                <a:lnTo>
                  <a:pt x="517" y="282"/>
                </a:lnTo>
                <a:lnTo>
                  <a:pt x="488" y="320"/>
                </a:lnTo>
                <a:lnTo>
                  <a:pt x="410" y="314"/>
                </a:lnTo>
                <a:lnTo>
                  <a:pt x="326" y="302"/>
                </a:lnTo>
                <a:lnTo>
                  <a:pt x="264" y="289"/>
                </a:lnTo>
                <a:lnTo>
                  <a:pt x="259" y="246"/>
                </a:lnTo>
                <a:lnTo>
                  <a:pt x="235" y="262"/>
                </a:lnTo>
                <a:lnTo>
                  <a:pt x="159" y="264"/>
                </a:lnTo>
                <a:lnTo>
                  <a:pt x="150" y="291"/>
                </a:lnTo>
                <a:lnTo>
                  <a:pt x="125" y="282"/>
                </a:lnTo>
                <a:lnTo>
                  <a:pt x="112" y="260"/>
                </a:lnTo>
                <a:lnTo>
                  <a:pt x="94" y="283"/>
                </a:lnTo>
                <a:lnTo>
                  <a:pt x="47" y="282"/>
                </a:lnTo>
                <a:lnTo>
                  <a:pt x="24" y="269"/>
                </a:lnTo>
                <a:lnTo>
                  <a:pt x="0" y="247"/>
                </a:lnTo>
                <a:lnTo>
                  <a:pt x="20" y="222"/>
                </a:lnTo>
                <a:lnTo>
                  <a:pt x="11" y="202"/>
                </a:lnTo>
                <a:lnTo>
                  <a:pt x="51" y="199"/>
                </a:lnTo>
                <a:lnTo>
                  <a:pt x="73" y="233"/>
                </a:lnTo>
                <a:lnTo>
                  <a:pt x="102" y="195"/>
                </a:lnTo>
                <a:lnTo>
                  <a:pt x="129" y="199"/>
                </a:lnTo>
                <a:lnTo>
                  <a:pt x="152" y="220"/>
                </a:lnTo>
                <a:lnTo>
                  <a:pt x="217" y="186"/>
                </a:lnTo>
                <a:lnTo>
                  <a:pt x="259" y="168"/>
                </a:lnTo>
                <a:lnTo>
                  <a:pt x="317" y="202"/>
                </a:lnTo>
                <a:lnTo>
                  <a:pt x="318" y="181"/>
                </a:lnTo>
                <a:lnTo>
                  <a:pt x="329" y="153"/>
                </a:lnTo>
                <a:lnTo>
                  <a:pt x="307" y="128"/>
                </a:lnTo>
                <a:lnTo>
                  <a:pt x="356" y="97"/>
                </a:lnTo>
                <a:lnTo>
                  <a:pt x="360" y="81"/>
                </a:lnTo>
                <a:lnTo>
                  <a:pt x="400" y="70"/>
                </a:lnTo>
                <a:lnTo>
                  <a:pt x="400" y="45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grpSp>
        <p:nvGrpSpPr>
          <p:cNvPr id="25" name="Italy"/>
          <p:cNvGrpSpPr/>
          <p:nvPr/>
        </p:nvGrpSpPr>
        <p:grpSpPr>
          <a:xfrm>
            <a:off x="8377763" y="4816475"/>
            <a:ext cx="1935163" cy="2041526"/>
            <a:chOff x="8398783" y="4816475"/>
            <a:chExt cx="1935163" cy="2041526"/>
          </a:xfrm>
          <a:solidFill>
            <a:srgbClr val="E1E0DC"/>
          </a:solidFill>
        </p:grpSpPr>
        <p:sp>
          <p:nvSpPr>
            <p:cNvPr id="26" name="Italy"/>
            <p:cNvSpPr>
              <a:spLocks/>
            </p:cNvSpPr>
            <p:nvPr/>
          </p:nvSpPr>
          <p:spPr bwMode="auto">
            <a:xfrm>
              <a:off x="8398783" y="4816475"/>
              <a:ext cx="1935163" cy="1749425"/>
            </a:xfrm>
            <a:custGeom>
              <a:avLst/>
              <a:gdLst>
                <a:gd name="T0" fmla="*/ 121 w 1219"/>
                <a:gd name="T1" fmla="*/ 410 h 1102"/>
                <a:gd name="T2" fmla="*/ 94 w 1219"/>
                <a:gd name="T3" fmla="*/ 348 h 1102"/>
                <a:gd name="T4" fmla="*/ 25 w 1219"/>
                <a:gd name="T5" fmla="*/ 278 h 1102"/>
                <a:gd name="T6" fmla="*/ 42 w 1219"/>
                <a:gd name="T7" fmla="*/ 196 h 1102"/>
                <a:gd name="T8" fmla="*/ 25 w 1219"/>
                <a:gd name="T9" fmla="*/ 151 h 1102"/>
                <a:gd name="T10" fmla="*/ 163 w 1219"/>
                <a:gd name="T11" fmla="*/ 92 h 1102"/>
                <a:gd name="T12" fmla="*/ 208 w 1219"/>
                <a:gd name="T13" fmla="*/ 122 h 1102"/>
                <a:gd name="T14" fmla="*/ 229 w 1219"/>
                <a:gd name="T15" fmla="*/ 164 h 1102"/>
                <a:gd name="T16" fmla="*/ 224 w 1219"/>
                <a:gd name="T17" fmla="*/ 137 h 1102"/>
                <a:gd name="T18" fmla="*/ 253 w 1219"/>
                <a:gd name="T19" fmla="*/ 83 h 1102"/>
                <a:gd name="T20" fmla="*/ 280 w 1219"/>
                <a:gd name="T21" fmla="*/ 108 h 1102"/>
                <a:gd name="T22" fmla="*/ 331 w 1219"/>
                <a:gd name="T23" fmla="*/ 124 h 1102"/>
                <a:gd name="T24" fmla="*/ 325 w 1219"/>
                <a:gd name="T25" fmla="*/ 74 h 1102"/>
                <a:gd name="T26" fmla="*/ 369 w 1219"/>
                <a:gd name="T27" fmla="*/ 83 h 1102"/>
                <a:gd name="T28" fmla="*/ 392 w 1219"/>
                <a:gd name="T29" fmla="*/ 36 h 1102"/>
                <a:gd name="T30" fmla="*/ 426 w 1219"/>
                <a:gd name="T31" fmla="*/ 18 h 1102"/>
                <a:gd name="T32" fmla="*/ 526 w 1219"/>
                <a:gd name="T33" fmla="*/ 0 h 1102"/>
                <a:gd name="T34" fmla="*/ 593 w 1219"/>
                <a:gd name="T35" fmla="*/ 56 h 1102"/>
                <a:gd name="T36" fmla="*/ 638 w 1219"/>
                <a:gd name="T37" fmla="*/ 92 h 1102"/>
                <a:gd name="T38" fmla="*/ 656 w 1219"/>
                <a:gd name="T39" fmla="*/ 133 h 1102"/>
                <a:gd name="T40" fmla="*/ 679 w 1219"/>
                <a:gd name="T41" fmla="*/ 195 h 1102"/>
                <a:gd name="T42" fmla="*/ 650 w 1219"/>
                <a:gd name="T43" fmla="*/ 171 h 1102"/>
                <a:gd name="T44" fmla="*/ 612 w 1219"/>
                <a:gd name="T45" fmla="*/ 186 h 1102"/>
                <a:gd name="T46" fmla="*/ 535 w 1219"/>
                <a:gd name="T47" fmla="*/ 206 h 1102"/>
                <a:gd name="T48" fmla="*/ 565 w 1219"/>
                <a:gd name="T49" fmla="*/ 290 h 1102"/>
                <a:gd name="T50" fmla="*/ 556 w 1219"/>
                <a:gd name="T51" fmla="*/ 355 h 1102"/>
                <a:gd name="T52" fmla="*/ 679 w 1219"/>
                <a:gd name="T53" fmla="*/ 421 h 1102"/>
                <a:gd name="T54" fmla="*/ 784 w 1219"/>
                <a:gd name="T55" fmla="*/ 589 h 1102"/>
                <a:gd name="T56" fmla="*/ 822 w 1219"/>
                <a:gd name="T57" fmla="*/ 617 h 1102"/>
                <a:gd name="T58" fmla="*/ 927 w 1219"/>
                <a:gd name="T59" fmla="*/ 617 h 1102"/>
                <a:gd name="T60" fmla="*/ 952 w 1219"/>
                <a:gd name="T61" fmla="*/ 612 h 1102"/>
                <a:gd name="T62" fmla="*/ 927 w 1219"/>
                <a:gd name="T63" fmla="*/ 661 h 1102"/>
                <a:gd name="T64" fmla="*/ 1004 w 1219"/>
                <a:gd name="T65" fmla="*/ 697 h 1102"/>
                <a:gd name="T66" fmla="*/ 1073 w 1219"/>
                <a:gd name="T67" fmla="*/ 711 h 1102"/>
                <a:gd name="T68" fmla="*/ 1158 w 1219"/>
                <a:gd name="T69" fmla="*/ 746 h 1102"/>
                <a:gd name="T70" fmla="*/ 1207 w 1219"/>
                <a:gd name="T71" fmla="*/ 784 h 1102"/>
                <a:gd name="T72" fmla="*/ 1203 w 1219"/>
                <a:gd name="T73" fmla="*/ 851 h 1102"/>
                <a:gd name="T74" fmla="*/ 1162 w 1219"/>
                <a:gd name="T75" fmla="*/ 800 h 1102"/>
                <a:gd name="T76" fmla="*/ 1089 w 1219"/>
                <a:gd name="T77" fmla="*/ 791 h 1102"/>
                <a:gd name="T78" fmla="*/ 1019 w 1219"/>
                <a:gd name="T79" fmla="*/ 831 h 1102"/>
                <a:gd name="T80" fmla="*/ 1008 w 1219"/>
                <a:gd name="T81" fmla="*/ 869 h 1102"/>
                <a:gd name="T82" fmla="*/ 1039 w 1219"/>
                <a:gd name="T83" fmla="*/ 879 h 1102"/>
                <a:gd name="T84" fmla="*/ 1084 w 1219"/>
                <a:gd name="T85" fmla="*/ 930 h 1102"/>
                <a:gd name="T86" fmla="*/ 1089 w 1219"/>
                <a:gd name="T87" fmla="*/ 963 h 1102"/>
                <a:gd name="T88" fmla="*/ 1028 w 1219"/>
                <a:gd name="T89" fmla="*/ 1024 h 1102"/>
                <a:gd name="T90" fmla="*/ 981 w 1219"/>
                <a:gd name="T91" fmla="*/ 1102 h 1102"/>
                <a:gd name="T92" fmla="*/ 925 w 1219"/>
                <a:gd name="T93" fmla="*/ 1062 h 1102"/>
                <a:gd name="T94" fmla="*/ 950 w 1219"/>
                <a:gd name="T95" fmla="*/ 999 h 1102"/>
                <a:gd name="T96" fmla="*/ 968 w 1219"/>
                <a:gd name="T97" fmla="*/ 950 h 1102"/>
                <a:gd name="T98" fmla="*/ 927 w 1219"/>
                <a:gd name="T99" fmla="*/ 845 h 1102"/>
                <a:gd name="T100" fmla="*/ 844 w 1219"/>
                <a:gd name="T101" fmla="*/ 822 h 1102"/>
                <a:gd name="T102" fmla="*/ 780 w 1219"/>
                <a:gd name="T103" fmla="*/ 787 h 1102"/>
                <a:gd name="T104" fmla="*/ 739 w 1219"/>
                <a:gd name="T105" fmla="*/ 766 h 1102"/>
                <a:gd name="T106" fmla="*/ 676 w 1219"/>
                <a:gd name="T107" fmla="*/ 711 h 1102"/>
                <a:gd name="T108" fmla="*/ 618 w 1219"/>
                <a:gd name="T109" fmla="*/ 693 h 1102"/>
                <a:gd name="T110" fmla="*/ 538 w 1219"/>
                <a:gd name="T111" fmla="*/ 646 h 1102"/>
                <a:gd name="T112" fmla="*/ 495 w 1219"/>
                <a:gd name="T113" fmla="*/ 607 h 1102"/>
                <a:gd name="T114" fmla="*/ 430 w 1219"/>
                <a:gd name="T115" fmla="*/ 581 h 1102"/>
                <a:gd name="T116" fmla="*/ 361 w 1219"/>
                <a:gd name="T117" fmla="*/ 505 h 1102"/>
                <a:gd name="T118" fmla="*/ 349 w 1219"/>
                <a:gd name="T119" fmla="*/ 430 h 1102"/>
                <a:gd name="T120" fmla="*/ 298 w 1219"/>
                <a:gd name="T121" fmla="*/ 383 h 1102"/>
                <a:gd name="T122" fmla="*/ 240 w 1219"/>
                <a:gd name="T123" fmla="*/ 352 h 1102"/>
                <a:gd name="T124" fmla="*/ 159 w 1219"/>
                <a:gd name="T125" fmla="*/ 352 h 1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19" h="1102">
                  <a:moveTo>
                    <a:pt x="141" y="377"/>
                  </a:moveTo>
                  <a:lnTo>
                    <a:pt x="121" y="410"/>
                  </a:lnTo>
                  <a:lnTo>
                    <a:pt x="70" y="410"/>
                  </a:lnTo>
                  <a:lnTo>
                    <a:pt x="94" y="348"/>
                  </a:lnTo>
                  <a:lnTo>
                    <a:pt x="14" y="336"/>
                  </a:lnTo>
                  <a:lnTo>
                    <a:pt x="25" y="278"/>
                  </a:lnTo>
                  <a:lnTo>
                    <a:pt x="0" y="242"/>
                  </a:lnTo>
                  <a:lnTo>
                    <a:pt x="42" y="196"/>
                  </a:lnTo>
                  <a:lnTo>
                    <a:pt x="2" y="162"/>
                  </a:lnTo>
                  <a:lnTo>
                    <a:pt x="25" y="151"/>
                  </a:lnTo>
                  <a:lnTo>
                    <a:pt x="126" y="148"/>
                  </a:lnTo>
                  <a:lnTo>
                    <a:pt x="163" y="92"/>
                  </a:lnTo>
                  <a:lnTo>
                    <a:pt x="181" y="117"/>
                  </a:lnTo>
                  <a:lnTo>
                    <a:pt x="208" y="122"/>
                  </a:lnTo>
                  <a:lnTo>
                    <a:pt x="208" y="153"/>
                  </a:lnTo>
                  <a:lnTo>
                    <a:pt x="229" y="164"/>
                  </a:lnTo>
                  <a:lnTo>
                    <a:pt x="244" y="153"/>
                  </a:lnTo>
                  <a:lnTo>
                    <a:pt x="224" y="137"/>
                  </a:lnTo>
                  <a:lnTo>
                    <a:pt x="253" y="110"/>
                  </a:lnTo>
                  <a:lnTo>
                    <a:pt x="253" y="83"/>
                  </a:lnTo>
                  <a:lnTo>
                    <a:pt x="262" y="74"/>
                  </a:lnTo>
                  <a:lnTo>
                    <a:pt x="280" y="108"/>
                  </a:lnTo>
                  <a:lnTo>
                    <a:pt x="311" y="95"/>
                  </a:lnTo>
                  <a:lnTo>
                    <a:pt x="331" y="124"/>
                  </a:lnTo>
                  <a:lnTo>
                    <a:pt x="343" y="108"/>
                  </a:lnTo>
                  <a:lnTo>
                    <a:pt x="325" y="74"/>
                  </a:lnTo>
                  <a:lnTo>
                    <a:pt x="343" y="63"/>
                  </a:lnTo>
                  <a:lnTo>
                    <a:pt x="369" y="83"/>
                  </a:lnTo>
                  <a:lnTo>
                    <a:pt x="372" y="50"/>
                  </a:lnTo>
                  <a:lnTo>
                    <a:pt x="392" y="36"/>
                  </a:lnTo>
                  <a:lnTo>
                    <a:pt x="417" y="45"/>
                  </a:lnTo>
                  <a:lnTo>
                    <a:pt x="426" y="18"/>
                  </a:lnTo>
                  <a:lnTo>
                    <a:pt x="502" y="16"/>
                  </a:lnTo>
                  <a:lnTo>
                    <a:pt x="526" y="0"/>
                  </a:lnTo>
                  <a:lnTo>
                    <a:pt x="531" y="43"/>
                  </a:lnTo>
                  <a:lnTo>
                    <a:pt x="593" y="56"/>
                  </a:lnTo>
                  <a:lnTo>
                    <a:pt x="685" y="68"/>
                  </a:lnTo>
                  <a:lnTo>
                    <a:pt x="638" y="92"/>
                  </a:lnTo>
                  <a:lnTo>
                    <a:pt x="672" y="110"/>
                  </a:lnTo>
                  <a:lnTo>
                    <a:pt x="656" y="133"/>
                  </a:lnTo>
                  <a:lnTo>
                    <a:pt x="699" y="171"/>
                  </a:lnTo>
                  <a:lnTo>
                    <a:pt x="679" y="195"/>
                  </a:lnTo>
                  <a:lnTo>
                    <a:pt x="668" y="159"/>
                  </a:lnTo>
                  <a:lnTo>
                    <a:pt x="650" y="171"/>
                  </a:lnTo>
                  <a:lnTo>
                    <a:pt x="618" y="160"/>
                  </a:lnTo>
                  <a:lnTo>
                    <a:pt x="612" y="186"/>
                  </a:lnTo>
                  <a:lnTo>
                    <a:pt x="567" y="213"/>
                  </a:lnTo>
                  <a:lnTo>
                    <a:pt x="535" y="206"/>
                  </a:lnTo>
                  <a:lnTo>
                    <a:pt x="564" y="269"/>
                  </a:lnTo>
                  <a:lnTo>
                    <a:pt x="565" y="290"/>
                  </a:lnTo>
                  <a:lnTo>
                    <a:pt x="540" y="305"/>
                  </a:lnTo>
                  <a:lnTo>
                    <a:pt x="556" y="355"/>
                  </a:lnTo>
                  <a:lnTo>
                    <a:pt x="656" y="421"/>
                  </a:lnTo>
                  <a:lnTo>
                    <a:pt x="679" y="421"/>
                  </a:lnTo>
                  <a:lnTo>
                    <a:pt x="735" y="542"/>
                  </a:lnTo>
                  <a:lnTo>
                    <a:pt x="784" y="589"/>
                  </a:lnTo>
                  <a:lnTo>
                    <a:pt x="797" y="589"/>
                  </a:lnTo>
                  <a:lnTo>
                    <a:pt x="822" y="617"/>
                  </a:lnTo>
                  <a:lnTo>
                    <a:pt x="896" y="617"/>
                  </a:lnTo>
                  <a:lnTo>
                    <a:pt x="927" y="617"/>
                  </a:lnTo>
                  <a:lnTo>
                    <a:pt x="934" y="607"/>
                  </a:lnTo>
                  <a:lnTo>
                    <a:pt x="952" y="612"/>
                  </a:lnTo>
                  <a:lnTo>
                    <a:pt x="952" y="630"/>
                  </a:lnTo>
                  <a:lnTo>
                    <a:pt x="927" y="661"/>
                  </a:lnTo>
                  <a:lnTo>
                    <a:pt x="952" y="679"/>
                  </a:lnTo>
                  <a:lnTo>
                    <a:pt x="1004" y="697"/>
                  </a:lnTo>
                  <a:lnTo>
                    <a:pt x="1039" y="704"/>
                  </a:lnTo>
                  <a:lnTo>
                    <a:pt x="1073" y="711"/>
                  </a:lnTo>
                  <a:lnTo>
                    <a:pt x="1100" y="733"/>
                  </a:lnTo>
                  <a:lnTo>
                    <a:pt x="1158" y="746"/>
                  </a:lnTo>
                  <a:lnTo>
                    <a:pt x="1167" y="767"/>
                  </a:lnTo>
                  <a:lnTo>
                    <a:pt x="1207" y="784"/>
                  </a:lnTo>
                  <a:lnTo>
                    <a:pt x="1219" y="809"/>
                  </a:lnTo>
                  <a:lnTo>
                    <a:pt x="1203" y="851"/>
                  </a:lnTo>
                  <a:lnTo>
                    <a:pt x="1169" y="834"/>
                  </a:lnTo>
                  <a:lnTo>
                    <a:pt x="1162" y="800"/>
                  </a:lnTo>
                  <a:lnTo>
                    <a:pt x="1144" y="787"/>
                  </a:lnTo>
                  <a:lnTo>
                    <a:pt x="1089" y="791"/>
                  </a:lnTo>
                  <a:lnTo>
                    <a:pt x="1059" y="773"/>
                  </a:lnTo>
                  <a:lnTo>
                    <a:pt x="1019" y="831"/>
                  </a:lnTo>
                  <a:lnTo>
                    <a:pt x="1023" y="851"/>
                  </a:lnTo>
                  <a:lnTo>
                    <a:pt x="1008" y="869"/>
                  </a:lnTo>
                  <a:lnTo>
                    <a:pt x="1010" y="879"/>
                  </a:lnTo>
                  <a:lnTo>
                    <a:pt x="1039" y="879"/>
                  </a:lnTo>
                  <a:lnTo>
                    <a:pt x="1084" y="903"/>
                  </a:lnTo>
                  <a:lnTo>
                    <a:pt x="1084" y="930"/>
                  </a:lnTo>
                  <a:lnTo>
                    <a:pt x="1098" y="939"/>
                  </a:lnTo>
                  <a:lnTo>
                    <a:pt x="1089" y="963"/>
                  </a:lnTo>
                  <a:lnTo>
                    <a:pt x="1026" y="990"/>
                  </a:lnTo>
                  <a:lnTo>
                    <a:pt x="1028" y="1024"/>
                  </a:lnTo>
                  <a:lnTo>
                    <a:pt x="1004" y="1055"/>
                  </a:lnTo>
                  <a:lnTo>
                    <a:pt x="981" y="1102"/>
                  </a:lnTo>
                  <a:lnTo>
                    <a:pt x="950" y="1102"/>
                  </a:lnTo>
                  <a:lnTo>
                    <a:pt x="925" y="1062"/>
                  </a:lnTo>
                  <a:lnTo>
                    <a:pt x="954" y="1038"/>
                  </a:lnTo>
                  <a:lnTo>
                    <a:pt x="950" y="999"/>
                  </a:lnTo>
                  <a:lnTo>
                    <a:pt x="997" y="984"/>
                  </a:lnTo>
                  <a:lnTo>
                    <a:pt x="968" y="950"/>
                  </a:lnTo>
                  <a:lnTo>
                    <a:pt x="939" y="883"/>
                  </a:lnTo>
                  <a:lnTo>
                    <a:pt x="927" y="845"/>
                  </a:lnTo>
                  <a:lnTo>
                    <a:pt x="874" y="849"/>
                  </a:lnTo>
                  <a:lnTo>
                    <a:pt x="844" y="822"/>
                  </a:lnTo>
                  <a:lnTo>
                    <a:pt x="826" y="776"/>
                  </a:lnTo>
                  <a:lnTo>
                    <a:pt x="780" y="787"/>
                  </a:lnTo>
                  <a:lnTo>
                    <a:pt x="780" y="760"/>
                  </a:lnTo>
                  <a:lnTo>
                    <a:pt x="739" y="766"/>
                  </a:lnTo>
                  <a:lnTo>
                    <a:pt x="706" y="706"/>
                  </a:lnTo>
                  <a:lnTo>
                    <a:pt x="676" y="711"/>
                  </a:lnTo>
                  <a:lnTo>
                    <a:pt x="634" y="715"/>
                  </a:lnTo>
                  <a:lnTo>
                    <a:pt x="618" y="693"/>
                  </a:lnTo>
                  <a:lnTo>
                    <a:pt x="593" y="693"/>
                  </a:lnTo>
                  <a:lnTo>
                    <a:pt x="538" y="646"/>
                  </a:lnTo>
                  <a:lnTo>
                    <a:pt x="515" y="610"/>
                  </a:lnTo>
                  <a:lnTo>
                    <a:pt x="495" y="607"/>
                  </a:lnTo>
                  <a:lnTo>
                    <a:pt x="470" y="583"/>
                  </a:lnTo>
                  <a:lnTo>
                    <a:pt x="430" y="581"/>
                  </a:lnTo>
                  <a:lnTo>
                    <a:pt x="435" y="560"/>
                  </a:lnTo>
                  <a:lnTo>
                    <a:pt x="361" y="505"/>
                  </a:lnTo>
                  <a:lnTo>
                    <a:pt x="370" y="473"/>
                  </a:lnTo>
                  <a:lnTo>
                    <a:pt x="349" y="430"/>
                  </a:lnTo>
                  <a:lnTo>
                    <a:pt x="349" y="390"/>
                  </a:lnTo>
                  <a:lnTo>
                    <a:pt x="298" y="383"/>
                  </a:lnTo>
                  <a:lnTo>
                    <a:pt x="255" y="346"/>
                  </a:lnTo>
                  <a:lnTo>
                    <a:pt x="240" y="352"/>
                  </a:lnTo>
                  <a:lnTo>
                    <a:pt x="210" y="332"/>
                  </a:lnTo>
                  <a:lnTo>
                    <a:pt x="159" y="352"/>
                  </a:lnTo>
                  <a:lnTo>
                    <a:pt x="141" y="37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Italy"/>
            <p:cNvSpPr>
              <a:spLocks/>
            </p:cNvSpPr>
            <p:nvPr/>
          </p:nvSpPr>
          <p:spPr bwMode="auto">
            <a:xfrm>
              <a:off x="8740096" y="5691188"/>
              <a:ext cx="157163" cy="355600"/>
            </a:xfrm>
            <a:custGeom>
              <a:avLst/>
              <a:gdLst>
                <a:gd name="T0" fmla="*/ 42 w 99"/>
                <a:gd name="T1" fmla="*/ 50 h 224"/>
                <a:gd name="T2" fmla="*/ 52 w 99"/>
                <a:gd name="T3" fmla="*/ 18 h 224"/>
                <a:gd name="T4" fmla="*/ 63 w 99"/>
                <a:gd name="T5" fmla="*/ 0 h 224"/>
                <a:gd name="T6" fmla="*/ 63 w 99"/>
                <a:gd name="T7" fmla="*/ 50 h 224"/>
                <a:gd name="T8" fmla="*/ 99 w 99"/>
                <a:gd name="T9" fmla="*/ 103 h 224"/>
                <a:gd name="T10" fmla="*/ 85 w 99"/>
                <a:gd name="T11" fmla="*/ 144 h 224"/>
                <a:gd name="T12" fmla="*/ 99 w 99"/>
                <a:gd name="T13" fmla="*/ 164 h 224"/>
                <a:gd name="T14" fmla="*/ 85 w 99"/>
                <a:gd name="T15" fmla="*/ 224 h 224"/>
                <a:gd name="T16" fmla="*/ 52 w 99"/>
                <a:gd name="T17" fmla="*/ 193 h 224"/>
                <a:gd name="T18" fmla="*/ 42 w 99"/>
                <a:gd name="T19" fmla="*/ 169 h 224"/>
                <a:gd name="T20" fmla="*/ 14 w 99"/>
                <a:gd name="T21" fmla="*/ 162 h 224"/>
                <a:gd name="T22" fmla="*/ 14 w 99"/>
                <a:gd name="T23" fmla="*/ 121 h 224"/>
                <a:gd name="T24" fmla="*/ 0 w 99"/>
                <a:gd name="T25" fmla="*/ 95 h 224"/>
                <a:gd name="T26" fmla="*/ 23 w 99"/>
                <a:gd name="T27" fmla="*/ 61 h 224"/>
                <a:gd name="T28" fmla="*/ 42 w 99"/>
                <a:gd name="T29" fmla="*/ 5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224">
                  <a:moveTo>
                    <a:pt x="42" y="50"/>
                  </a:moveTo>
                  <a:lnTo>
                    <a:pt x="52" y="18"/>
                  </a:lnTo>
                  <a:lnTo>
                    <a:pt x="63" y="0"/>
                  </a:lnTo>
                  <a:lnTo>
                    <a:pt x="63" y="50"/>
                  </a:lnTo>
                  <a:lnTo>
                    <a:pt x="99" y="103"/>
                  </a:lnTo>
                  <a:lnTo>
                    <a:pt x="85" y="144"/>
                  </a:lnTo>
                  <a:lnTo>
                    <a:pt x="99" y="164"/>
                  </a:lnTo>
                  <a:lnTo>
                    <a:pt x="85" y="224"/>
                  </a:lnTo>
                  <a:lnTo>
                    <a:pt x="52" y="193"/>
                  </a:lnTo>
                  <a:lnTo>
                    <a:pt x="42" y="169"/>
                  </a:lnTo>
                  <a:lnTo>
                    <a:pt x="14" y="162"/>
                  </a:lnTo>
                  <a:lnTo>
                    <a:pt x="14" y="121"/>
                  </a:lnTo>
                  <a:lnTo>
                    <a:pt x="0" y="95"/>
                  </a:lnTo>
                  <a:lnTo>
                    <a:pt x="23" y="61"/>
                  </a:lnTo>
                  <a:lnTo>
                    <a:pt x="42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Italy"/>
            <p:cNvSpPr>
              <a:spLocks/>
            </p:cNvSpPr>
            <p:nvPr/>
          </p:nvSpPr>
          <p:spPr bwMode="auto">
            <a:xfrm>
              <a:off x="8757558" y="6069013"/>
              <a:ext cx="295275" cy="533400"/>
            </a:xfrm>
            <a:custGeom>
              <a:avLst/>
              <a:gdLst>
                <a:gd name="T0" fmla="*/ 0 w 186"/>
                <a:gd name="T1" fmla="*/ 60 h 336"/>
                <a:gd name="T2" fmla="*/ 31 w 186"/>
                <a:gd name="T3" fmla="*/ 69 h 336"/>
                <a:gd name="T4" fmla="*/ 63 w 186"/>
                <a:gd name="T5" fmla="*/ 36 h 336"/>
                <a:gd name="T6" fmla="*/ 78 w 186"/>
                <a:gd name="T7" fmla="*/ 9 h 336"/>
                <a:gd name="T8" fmla="*/ 105 w 186"/>
                <a:gd name="T9" fmla="*/ 0 h 336"/>
                <a:gd name="T10" fmla="*/ 115 w 186"/>
                <a:gd name="T11" fmla="*/ 34 h 336"/>
                <a:gd name="T12" fmla="*/ 159 w 186"/>
                <a:gd name="T13" fmla="*/ 98 h 336"/>
                <a:gd name="T14" fmla="*/ 144 w 186"/>
                <a:gd name="T15" fmla="*/ 123 h 336"/>
                <a:gd name="T16" fmla="*/ 159 w 186"/>
                <a:gd name="T17" fmla="*/ 145 h 336"/>
                <a:gd name="T18" fmla="*/ 186 w 186"/>
                <a:gd name="T19" fmla="*/ 248 h 336"/>
                <a:gd name="T20" fmla="*/ 186 w 186"/>
                <a:gd name="T21" fmla="*/ 282 h 336"/>
                <a:gd name="T22" fmla="*/ 152 w 186"/>
                <a:gd name="T23" fmla="*/ 282 h 336"/>
                <a:gd name="T24" fmla="*/ 132 w 186"/>
                <a:gd name="T25" fmla="*/ 282 h 336"/>
                <a:gd name="T26" fmla="*/ 137 w 186"/>
                <a:gd name="T27" fmla="*/ 313 h 336"/>
                <a:gd name="T28" fmla="*/ 115 w 186"/>
                <a:gd name="T29" fmla="*/ 336 h 336"/>
                <a:gd name="T30" fmla="*/ 78 w 186"/>
                <a:gd name="T31" fmla="*/ 295 h 336"/>
                <a:gd name="T32" fmla="*/ 78 w 186"/>
                <a:gd name="T33" fmla="*/ 201 h 336"/>
                <a:gd name="T34" fmla="*/ 49 w 186"/>
                <a:gd name="T35" fmla="*/ 168 h 336"/>
                <a:gd name="T36" fmla="*/ 41 w 186"/>
                <a:gd name="T37" fmla="*/ 132 h 336"/>
                <a:gd name="T38" fmla="*/ 14 w 186"/>
                <a:gd name="T39" fmla="*/ 110 h 336"/>
                <a:gd name="T40" fmla="*/ 0 w 186"/>
                <a:gd name="T41" fmla="*/ 6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6" h="336">
                  <a:moveTo>
                    <a:pt x="0" y="60"/>
                  </a:moveTo>
                  <a:lnTo>
                    <a:pt x="31" y="69"/>
                  </a:lnTo>
                  <a:lnTo>
                    <a:pt x="63" y="36"/>
                  </a:lnTo>
                  <a:lnTo>
                    <a:pt x="78" y="9"/>
                  </a:lnTo>
                  <a:lnTo>
                    <a:pt x="105" y="0"/>
                  </a:lnTo>
                  <a:lnTo>
                    <a:pt x="115" y="34"/>
                  </a:lnTo>
                  <a:lnTo>
                    <a:pt x="159" y="98"/>
                  </a:lnTo>
                  <a:lnTo>
                    <a:pt x="144" y="123"/>
                  </a:lnTo>
                  <a:lnTo>
                    <a:pt x="159" y="145"/>
                  </a:lnTo>
                  <a:lnTo>
                    <a:pt x="186" y="248"/>
                  </a:lnTo>
                  <a:lnTo>
                    <a:pt x="186" y="282"/>
                  </a:lnTo>
                  <a:lnTo>
                    <a:pt x="152" y="282"/>
                  </a:lnTo>
                  <a:lnTo>
                    <a:pt x="132" y="282"/>
                  </a:lnTo>
                  <a:lnTo>
                    <a:pt x="137" y="313"/>
                  </a:lnTo>
                  <a:lnTo>
                    <a:pt x="115" y="336"/>
                  </a:lnTo>
                  <a:lnTo>
                    <a:pt x="78" y="295"/>
                  </a:lnTo>
                  <a:lnTo>
                    <a:pt x="78" y="201"/>
                  </a:lnTo>
                  <a:lnTo>
                    <a:pt x="49" y="168"/>
                  </a:lnTo>
                  <a:lnTo>
                    <a:pt x="41" y="132"/>
                  </a:lnTo>
                  <a:lnTo>
                    <a:pt x="14" y="110"/>
                  </a:lnTo>
                  <a:lnTo>
                    <a:pt x="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Italy"/>
            <p:cNvSpPr>
              <a:spLocks/>
            </p:cNvSpPr>
            <p:nvPr/>
          </p:nvSpPr>
          <p:spPr bwMode="auto">
            <a:xfrm>
              <a:off x="9462408" y="6516688"/>
              <a:ext cx="439738" cy="341313"/>
            </a:xfrm>
            <a:custGeom>
              <a:avLst/>
              <a:gdLst>
                <a:gd name="T0" fmla="*/ 215 w 277"/>
                <a:gd name="T1" fmla="*/ 36 h 215"/>
                <a:gd name="T2" fmla="*/ 248 w 277"/>
                <a:gd name="T3" fmla="*/ 0 h 215"/>
                <a:gd name="T4" fmla="*/ 253 w 277"/>
                <a:gd name="T5" fmla="*/ 31 h 215"/>
                <a:gd name="T6" fmla="*/ 235 w 277"/>
                <a:gd name="T7" fmla="*/ 74 h 215"/>
                <a:gd name="T8" fmla="*/ 248 w 277"/>
                <a:gd name="T9" fmla="*/ 123 h 215"/>
                <a:gd name="T10" fmla="*/ 277 w 277"/>
                <a:gd name="T11" fmla="*/ 159 h 215"/>
                <a:gd name="T12" fmla="*/ 266 w 277"/>
                <a:gd name="T13" fmla="*/ 191 h 215"/>
                <a:gd name="T14" fmla="*/ 277 w 277"/>
                <a:gd name="T15" fmla="*/ 215 h 215"/>
                <a:gd name="T16" fmla="*/ 246 w 277"/>
                <a:gd name="T17" fmla="*/ 215 h 215"/>
                <a:gd name="T18" fmla="*/ 221 w 277"/>
                <a:gd name="T19" fmla="*/ 215 h 215"/>
                <a:gd name="T20" fmla="*/ 179 w 277"/>
                <a:gd name="T21" fmla="*/ 182 h 215"/>
                <a:gd name="T22" fmla="*/ 159 w 277"/>
                <a:gd name="T23" fmla="*/ 199 h 215"/>
                <a:gd name="T24" fmla="*/ 103 w 277"/>
                <a:gd name="T25" fmla="*/ 182 h 215"/>
                <a:gd name="T26" fmla="*/ 63 w 277"/>
                <a:gd name="T27" fmla="*/ 157 h 215"/>
                <a:gd name="T28" fmla="*/ 31 w 277"/>
                <a:gd name="T29" fmla="*/ 166 h 215"/>
                <a:gd name="T30" fmla="*/ 0 w 277"/>
                <a:gd name="T31" fmla="*/ 134 h 215"/>
                <a:gd name="T32" fmla="*/ 0 w 277"/>
                <a:gd name="T33" fmla="*/ 96 h 215"/>
                <a:gd name="T34" fmla="*/ 6 w 277"/>
                <a:gd name="T35" fmla="*/ 85 h 215"/>
                <a:gd name="T36" fmla="*/ 29 w 277"/>
                <a:gd name="T37" fmla="*/ 97 h 215"/>
                <a:gd name="T38" fmla="*/ 45 w 277"/>
                <a:gd name="T39" fmla="*/ 87 h 215"/>
                <a:gd name="T40" fmla="*/ 38 w 277"/>
                <a:gd name="T41" fmla="*/ 67 h 215"/>
                <a:gd name="T42" fmla="*/ 47 w 277"/>
                <a:gd name="T43" fmla="*/ 63 h 215"/>
                <a:gd name="T44" fmla="*/ 103 w 277"/>
                <a:gd name="T45" fmla="*/ 85 h 215"/>
                <a:gd name="T46" fmla="*/ 121 w 277"/>
                <a:gd name="T47" fmla="*/ 63 h 215"/>
                <a:gd name="T48" fmla="*/ 148 w 277"/>
                <a:gd name="T49" fmla="*/ 67 h 215"/>
                <a:gd name="T50" fmla="*/ 177 w 277"/>
                <a:gd name="T51" fmla="*/ 47 h 215"/>
                <a:gd name="T52" fmla="*/ 192 w 277"/>
                <a:gd name="T53" fmla="*/ 25 h 215"/>
                <a:gd name="T54" fmla="*/ 215 w 277"/>
                <a:gd name="T55" fmla="*/ 36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77" h="215">
                  <a:moveTo>
                    <a:pt x="215" y="36"/>
                  </a:moveTo>
                  <a:lnTo>
                    <a:pt x="248" y="0"/>
                  </a:lnTo>
                  <a:lnTo>
                    <a:pt x="253" y="31"/>
                  </a:lnTo>
                  <a:lnTo>
                    <a:pt x="235" y="74"/>
                  </a:lnTo>
                  <a:lnTo>
                    <a:pt x="248" y="123"/>
                  </a:lnTo>
                  <a:lnTo>
                    <a:pt x="277" y="159"/>
                  </a:lnTo>
                  <a:lnTo>
                    <a:pt x="266" y="191"/>
                  </a:lnTo>
                  <a:lnTo>
                    <a:pt x="277" y="215"/>
                  </a:lnTo>
                  <a:lnTo>
                    <a:pt x="246" y="215"/>
                  </a:lnTo>
                  <a:lnTo>
                    <a:pt x="221" y="215"/>
                  </a:lnTo>
                  <a:lnTo>
                    <a:pt x="179" y="182"/>
                  </a:lnTo>
                  <a:lnTo>
                    <a:pt x="159" y="199"/>
                  </a:lnTo>
                  <a:lnTo>
                    <a:pt x="103" y="182"/>
                  </a:lnTo>
                  <a:lnTo>
                    <a:pt x="63" y="157"/>
                  </a:lnTo>
                  <a:lnTo>
                    <a:pt x="31" y="166"/>
                  </a:lnTo>
                  <a:lnTo>
                    <a:pt x="0" y="134"/>
                  </a:lnTo>
                  <a:lnTo>
                    <a:pt x="0" y="96"/>
                  </a:lnTo>
                  <a:lnTo>
                    <a:pt x="6" y="85"/>
                  </a:lnTo>
                  <a:lnTo>
                    <a:pt x="29" y="97"/>
                  </a:lnTo>
                  <a:lnTo>
                    <a:pt x="45" y="87"/>
                  </a:lnTo>
                  <a:lnTo>
                    <a:pt x="38" y="67"/>
                  </a:lnTo>
                  <a:lnTo>
                    <a:pt x="47" y="63"/>
                  </a:lnTo>
                  <a:lnTo>
                    <a:pt x="103" y="85"/>
                  </a:lnTo>
                  <a:lnTo>
                    <a:pt x="121" y="63"/>
                  </a:lnTo>
                  <a:lnTo>
                    <a:pt x="148" y="67"/>
                  </a:lnTo>
                  <a:lnTo>
                    <a:pt x="177" y="47"/>
                  </a:lnTo>
                  <a:lnTo>
                    <a:pt x="192" y="25"/>
                  </a:lnTo>
                  <a:lnTo>
                    <a:pt x="215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0" name="Lithuania"/>
          <p:cNvSpPr>
            <a:spLocks/>
          </p:cNvSpPr>
          <p:nvPr/>
        </p:nvSpPr>
        <p:spPr bwMode="auto">
          <a:xfrm>
            <a:off x="10219263" y="2862263"/>
            <a:ext cx="730250" cy="519113"/>
          </a:xfrm>
          <a:custGeom>
            <a:avLst/>
            <a:gdLst>
              <a:gd name="T0" fmla="*/ 137 w 460"/>
              <a:gd name="T1" fmla="*/ 197 h 327"/>
              <a:gd name="T2" fmla="*/ 170 w 460"/>
              <a:gd name="T3" fmla="*/ 213 h 327"/>
              <a:gd name="T4" fmla="*/ 162 w 460"/>
              <a:gd name="T5" fmla="*/ 235 h 327"/>
              <a:gd name="T6" fmla="*/ 171 w 460"/>
              <a:gd name="T7" fmla="*/ 269 h 327"/>
              <a:gd name="T8" fmla="*/ 211 w 460"/>
              <a:gd name="T9" fmla="*/ 291 h 327"/>
              <a:gd name="T10" fmla="*/ 242 w 460"/>
              <a:gd name="T11" fmla="*/ 300 h 327"/>
              <a:gd name="T12" fmla="*/ 246 w 460"/>
              <a:gd name="T13" fmla="*/ 327 h 327"/>
              <a:gd name="T14" fmla="*/ 289 w 460"/>
              <a:gd name="T15" fmla="*/ 302 h 327"/>
              <a:gd name="T16" fmla="*/ 314 w 460"/>
              <a:gd name="T17" fmla="*/ 316 h 327"/>
              <a:gd name="T18" fmla="*/ 343 w 460"/>
              <a:gd name="T19" fmla="*/ 280 h 327"/>
              <a:gd name="T20" fmla="*/ 374 w 460"/>
              <a:gd name="T21" fmla="*/ 262 h 327"/>
              <a:gd name="T22" fmla="*/ 374 w 460"/>
              <a:gd name="T23" fmla="*/ 249 h 327"/>
              <a:gd name="T24" fmla="*/ 395 w 460"/>
              <a:gd name="T25" fmla="*/ 249 h 327"/>
              <a:gd name="T26" fmla="*/ 412 w 460"/>
              <a:gd name="T27" fmla="*/ 262 h 327"/>
              <a:gd name="T28" fmla="*/ 383 w 460"/>
              <a:gd name="T29" fmla="*/ 181 h 327"/>
              <a:gd name="T30" fmla="*/ 401 w 460"/>
              <a:gd name="T31" fmla="*/ 159 h 327"/>
              <a:gd name="T32" fmla="*/ 419 w 460"/>
              <a:gd name="T33" fmla="*/ 159 h 327"/>
              <a:gd name="T34" fmla="*/ 419 w 460"/>
              <a:gd name="T35" fmla="*/ 127 h 327"/>
              <a:gd name="T36" fmla="*/ 460 w 460"/>
              <a:gd name="T37" fmla="*/ 127 h 327"/>
              <a:gd name="T38" fmla="*/ 453 w 460"/>
              <a:gd name="T39" fmla="*/ 100 h 327"/>
              <a:gd name="T40" fmla="*/ 432 w 460"/>
              <a:gd name="T41" fmla="*/ 89 h 327"/>
              <a:gd name="T42" fmla="*/ 432 w 460"/>
              <a:gd name="T43" fmla="*/ 60 h 327"/>
              <a:gd name="T44" fmla="*/ 417 w 460"/>
              <a:gd name="T45" fmla="*/ 60 h 327"/>
              <a:gd name="T46" fmla="*/ 352 w 460"/>
              <a:gd name="T47" fmla="*/ 27 h 327"/>
              <a:gd name="T48" fmla="*/ 300 w 460"/>
              <a:gd name="T49" fmla="*/ 27 h 327"/>
              <a:gd name="T50" fmla="*/ 285 w 460"/>
              <a:gd name="T51" fmla="*/ 0 h 327"/>
              <a:gd name="T52" fmla="*/ 255 w 460"/>
              <a:gd name="T53" fmla="*/ 31 h 327"/>
              <a:gd name="T54" fmla="*/ 184 w 460"/>
              <a:gd name="T55" fmla="*/ 31 h 327"/>
              <a:gd name="T56" fmla="*/ 159 w 460"/>
              <a:gd name="T57" fmla="*/ 22 h 327"/>
              <a:gd name="T58" fmla="*/ 155 w 460"/>
              <a:gd name="T59" fmla="*/ 49 h 327"/>
              <a:gd name="T60" fmla="*/ 137 w 460"/>
              <a:gd name="T61" fmla="*/ 33 h 327"/>
              <a:gd name="T62" fmla="*/ 123 w 460"/>
              <a:gd name="T63" fmla="*/ 45 h 327"/>
              <a:gd name="T64" fmla="*/ 67 w 460"/>
              <a:gd name="T65" fmla="*/ 34 h 327"/>
              <a:gd name="T66" fmla="*/ 14 w 460"/>
              <a:gd name="T67" fmla="*/ 69 h 327"/>
              <a:gd name="T68" fmla="*/ 0 w 460"/>
              <a:gd name="T69" fmla="*/ 96 h 327"/>
              <a:gd name="T70" fmla="*/ 0 w 460"/>
              <a:gd name="T71" fmla="*/ 119 h 327"/>
              <a:gd name="T72" fmla="*/ 18 w 460"/>
              <a:gd name="T73" fmla="*/ 141 h 327"/>
              <a:gd name="T74" fmla="*/ 23 w 460"/>
              <a:gd name="T75" fmla="*/ 181 h 327"/>
              <a:gd name="T76" fmla="*/ 58 w 460"/>
              <a:gd name="T77" fmla="*/ 193 h 327"/>
              <a:gd name="T78" fmla="*/ 108 w 460"/>
              <a:gd name="T79" fmla="*/ 206 h 327"/>
              <a:gd name="T80" fmla="*/ 137 w 460"/>
              <a:gd name="T81" fmla="*/ 197 h 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460" h="327">
                <a:moveTo>
                  <a:pt x="137" y="197"/>
                </a:moveTo>
                <a:lnTo>
                  <a:pt x="170" y="213"/>
                </a:lnTo>
                <a:lnTo>
                  <a:pt x="162" y="235"/>
                </a:lnTo>
                <a:lnTo>
                  <a:pt x="171" y="269"/>
                </a:lnTo>
                <a:lnTo>
                  <a:pt x="211" y="291"/>
                </a:lnTo>
                <a:lnTo>
                  <a:pt x="242" y="300"/>
                </a:lnTo>
                <a:lnTo>
                  <a:pt x="246" y="327"/>
                </a:lnTo>
                <a:lnTo>
                  <a:pt x="289" y="302"/>
                </a:lnTo>
                <a:lnTo>
                  <a:pt x="314" y="316"/>
                </a:lnTo>
                <a:lnTo>
                  <a:pt x="343" y="280"/>
                </a:lnTo>
                <a:lnTo>
                  <a:pt x="374" y="262"/>
                </a:lnTo>
                <a:lnTo>
                  <a:pt x="374" y="249"/>
                </a:lnTo>
                <a:lnTo>
                  <a:pt x="395" y="249"/>
                </a:lnTo>
                <a:lnTo>
                  <a:pt x="412" y="262"/>
                </a:lnTo>
                <a:lnTo>
                  <a:pt x="383" y="181"/>
                </a:lnTo>
                <a:lnTo>
                  <a:pt x="401" y="159"/>
                </a:lnTo>
                <a:lnTo>
                  <a:pt x="419" y="159"/>
                </a:lnTo>
                <a:lnTo>
                  <a:pt x="419" y="127"/>
                </a:lnTo>
                <a:lnTo>
                  <a:pt x="460" y="127"/>
                </a:lnTo>
                <a:lnTo>
                  <a:pt x="453" y="100"/>
                </a:lnTo>
                <a:lnTo>
                  <a:pt x="432" y="89"/>
                </a:lnTo>
                <a:lnTo>
                  <a:pt x="432" y="60"/>
                </a:lnTo>
                <a:lnTo>
                  <a:pt x="417" y="60"/>
                </a:lnTo>
                <a:lnTo>
                  <a:pt x="352" y="27"/>
                </a:lnTo>
                <a:lnTo>
                  <a:pt x="300" y="27"/>
                </a:lnTo>
                <a:lnTo>
                  <a:pt x="285" y="0"/>
                </a:lnTo>
                <a:lnTo>
                  <a:pt x="255" y="31"/>
                </a:lnTo>
                <a:lnTo>
                  <a:pt x="184" y="31"/>
                </a:lnTo>
                <a:lnTo>
                  <a:pt x="159" y="22"/>
                </a:lnTo>
                <a:lnTo>
                  <a:pt x="155" y="49"/>
                </a:lnTo>
                <a:lnTo>
                  <a:pt x="137" y="33"/>
                </a:lnTo>
                <a:lnTo>
                  <a:pt x="123" y="45"/>
                </a:lnTo>
                <a:lnTo>
                  <a:pt x="67" y="34"/>
                </a:lnTo>
                <a:lnTo>
                  <a:pt x="14" y="69"/>
                </a:lnTo>
                <a:lnTo>
                  <a:pt x="0" y="96"/>
                </a:lnTo>
                <a:lnTo>
                  <a:pt x="0" y="119"/>
                </a:lnTo>
                <a:lnTo>
                  <a:pt x="18" y="141"/>
                </a:lnTo>
                <a:lnTo>
                  <a:pt x="23" y="181"/>
                </a:lnTo>
                <a:lnTo>
                  <a:pt x="58" y="193"/>
                </a:lnTo>
                <a:lnTo>
                  <a:pt x="108" y="206"/>
                </a:lnTo>
                <a:lnTo>
                  <a:pt x="137" y="197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31" name="Latvia"/>
          <p:cNvSpPr>
            <a:spLocks/>
          </p:cNvSpPr>
          <p:nvPr/>
        </p:nvSpPr>
        <p:spPr bwMode="auto">
          <a:xfrm>
            <a:off x="10193863" y="2546350"/>
            <a:ext cx="871538" cy="479425"/>
          </a:xfrm>
          <a:custGeom>
            <a:avLst/>
            <a:gdLst>
              <a:gd name="T0" fmla="*/ 213 w 549"/>
              <a:gd name="T1" fmla="*/ 42 h 302"/>
              <a:gd name="T2" fmla="*/ 272 w 549"/>
              <a:gd name="T3" fmla="*/ 0 h 302"/>
              <a:gd name="T4" fmla="*/ 319 w 549"/>
              <a:gd name="T5" fmla="*/ 20 h 302"/>
              <a:gd name="T6" fmla="*/ 354 w 549"/>
              <a:gd name="T7" fmla="*/ 42 h 302"/>
              <a:gd name="T8" fmla="*/ 379 w 549"/>
              <a:gd name="T9" fmla="*/ 55 h 302"/>
              <a:gd name="T10" fmla="*/ 399 w 549"/>
              <a:gd name="T11" fmla="*/ 28 h 302"/>
              <a:gd name="T12" fmla="*/ 431 w 549"/>
              <a:gd name="T13" fmla="*/ 28 h 302"/>
              <a:gd name="T14" fmla="*/ 495 w 549"/>
              <a:gd name="T15" fmla="*/ 58 h 302"/>
              <a:gd name="T16" fmla="*/ 476 w 549"/>
              <a:gd name="T17" fmla="*/ 82 h 302"/>
              <a:gd name="T18" fmla="*/ 491 w 549"/>
              <a:gd name="T19" fmla="*/ 112 h 302"/>
              <a:gd name="T20" fmla="*/ 504 w 549"/>
              <a:gd name="T21" fmla="*/ 112 h 302"/>
              <a:gd name="T22" fmla="*/ 516 w 549"/>
              <a:gd name="T23" fmla="*/ 129 h 302"/>
              <a:gd name="T24" fmla="*/ 549 w 549"/>
              <a:gd name="T25" fmla="*/ 152 h 302"/>
              <a:gd name="T26" fmla="*/ 549 w 549"/>
              <a:gd name="T27" fmla="*/ 174 h 302"/>
              <a:gd name="T28" fmla="*/ 520 w 549"/>
              <a:gd name="T29" fmla="*/ 199 h 302"/>
              <a:gd name="T30" fmla="*/ 513 w 549"/>
              <a:gd name="T31" fmla="*/ 237 h 302"/>
              <a:gd name="T32" fmla="*/ 491 w 549"/>
              <a:gd name="T33" fmla="*/ 237 h 302"/>
              <a:gd name="T34" fmla="*/ 462 w 549"/>
              <a:gd name="T35" fmla="*/ 252 h 302"/>
              <a:gd name="T36" fmla="*/ 448 w 549"/>
              <a:gd name="T37" fmla="*/ 259 h 302"/>
              <a:gd name="T38" fmla="*/ 433 w 549"/>
              <a:gd name="T39" fmla="*/ 259 h 302"/>
              <a:gd name="T40" fmla="*/ 368 w 549"/>
              <a:gd name="T41" fmla="*/ 226 h 302"/>
              <a:gd name="T42" fmla="*/ 316 w 549"/>
              <a:gd name="T43" fmla="*/ 226 h 302"/>
              <a:gd name="T44" fmla="*/ 301 w 549"/>
              <a:gd name="T45" fmla="*/ 199 h 302"/>
              <a:gd name="T46" fmla="*/ 271 w 549"/>
              <a:gd name="T47" fmla="*/ 230 h 302"/>
              <a:gd name="T48" fmla="*/ 200 w 549"/>
              <a:gd name="T49" fmla="*/ 230 h 302"/>
              <a:gd name="T50" fmla="*/ 175 w 549"/>
              <a:gd name="T51" fmla="*/ 221 h 302"/>
              <a:gd name="T52" fmla="*/ 171 w 549"/>
              <a:gd name="T53" fmla="*/ 248 h 302"/>
              <a:gd name="T54" fmla="*/ 153 w 549"/>
              <a:gd name="T55" fmla="*/ 232 h 302"/>
              <a:gd name="T56" fmla="*/ 139 w 549"/>
              <a:gd name="T57" fmla="*/ 244 h 302"/>
              <a:gd name="T58" fmla="*/ 83 w 549"/>
              <a:gd name="T59" fmla="*/ 233 h 302"/>
              <a:gd name="T60" fmla="*/ 30 w 549"/>
              <a:gd name="T61" fmla="*/ 268 h 302"/>
              <a:gd name="T62" fmla="*/ 16 w 549"/>
              <a:gd name="T63" fmla="*/ 302 h 302"/>
              <a:gd name="T64" fmla="*/ 9 w 549"/>
              <a:gd name="T65" fmla="*/ 261 h 302"/>
              <a:gd name="T66" fmla="*/ 0 w 549"/>
              <a:gd name="T67" fmla="*/ 192 h 302"/>
              <a:gd name="T68" fmla="*/ 16 w 549"/>
              <a:gd name="T69" fmla="*/ 174 h 302"/>
              <a:gd name="T70" fmla="*/ 16 w 549"/>
              <a:gd name="T71" fmla="*/ 131 h 302"/>
              <a:gd name="T72" fmla="*/ 36 w 549"/>
              <a:gd name="T73" fmla="*/ 102 h 302"/>
              <a:gd name="T74" fmla="*/ 68 w 549"/>
              <a:gd name="T75" fmla="*/ 87 h 302"/>
              <a:gd name="T76" fmla="*/ 101 w 549"/>
              <a:gd name="T77" fmla="*/ 69 h 302"/>
              <a:gd name="T78" fmla="*/ 103 w 549"/>
              <a:gd name="T79" fmla="*/ 96 h 302"/>
              <a:gd name="T80" fmla="*/ 139 w 549"/>
              <a:gd name="T81" fmla="*/ 114 h 302"/>
              <a:gd name="T82" fmla="*/ 160 w 549"/>
              <a:gd name="T83" fmla="*/ 152 h 302"/>
              <a:gd name="T84" fmla="*/ 206 w 549"/>
              <a:gd name="T85" fmla="*/ 152 h 302"/>
              <a:gd name="T86" fmla="*/ 238 w 549"/>
              <a:gd name="T87" fmla="*/ 131 h 302"/>
              <a:gd name="T88" fmla="*/ 231 w 549"/>
              <a:gd name="T89" fmla="*/ 102 h 302"/>
              <a:gd name="T90" fmla="*/ 215 w 549"/>
              <a:gd name="T91" fmla="*/ 67 h 302"/>
              <a:gd name="T92" fmla="*/ 213 w 549"/>
              <a:gd name="T93" fmla="*/ 42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49" h="302">
                <a:moveTo>
                  <a:pt x="213" y="42"/>
                </a:moveTo>
                <a:lnTo>
                  <a:pt x="272" y="0"/>
                </a:lnTo>
                <a:lnTo>
                  <a:pt x="319" y="20"/>
                </a:lnTo>
                <a:lnTo>
                  <a:pt x="354" y="42"/>
                </a:lnTo>
                <a:lnTo>
                  <a:pt x="379" y="55"/>
                </a:lnTo>
                <a:lnTo>
                  <a:pt x="399" y="28"/>
                </a:lnTo>
                <a:lnTo>
                  <a:pt x="431" y="28"/>
                </a:lnTo>
                <a:lnTo>
                  <a:pt x="495" y="58"/>
                </a:lnTo>
                <a:lnTo>
                  <a:pt x="476" y="82"/>
                </a:lnTo>
                <a:lnTo>
                  <a:pt x="491" y="112"/>
                </a:lnTo>
                <a:lnTo>
                  <a:pt x="504" y="112"/>
                </a:lnTo>
                <a:lnTo>
                  <a:pt x="516" y="129"/>
                </a:lnTo>
                <a:lnTo>
                  <a:pt x="549" y="152"/>
                </a:lnTo>
                <a:lnTo>
                  <a:pt x="549" y="174"/>
                </a:lnTo>
                <a:lnTo>
                  <a:pt x="520" y="199"/>
                </a:lnTo>
                <a:lnTo>
                  <a:pt x="513" y="237"/>
                </a:lnTo>
                <a:lnTo>
                  <a:pt x="491" y="237"/>
                </a:lnTo>
                <a:lnTo>
                  <a:pt x="462" y="252"/>
                </a:lnTo>
                <a:lnTo>
                  <a:pt x="448" y="259"/>
                </a:lnTo>
                <a:lnTo>
                  <a:pt x="433" y="259"/>
                </a:lnTo>
                <a:lnTo>
                  <a:pt x="368" y="226"/>
                </a:lnTo>
                <a:lnTo>
                  <a:pt x="316" y="226"/>
                </a:lnTo>
                <a:lnTo>
                  <a:pt x="301" y="199"/>
                </a:lnTo>
                <a:lnTo>
                  <a:pt x="271" y="230"/>
                </a:lnTo>
                <a:lnTo>
                  <a:pt x="200" y="230"/>
                </a:lnTo>
                <a:lnTo>
                  <a:pt x="175" y="221"/>
                </a:lnTo>
                <a:lnTo>
                  <a:pt x="171" y="248"/>
                </a:lnTo>
                <a:lnTo>
                  <a:pt x="153" y="232"/>
                </a:lnTo>
                <a:lnTo>
                  <a:pt x="139" y="244"/>
                </a:lnTo>
                <a:lnTo>
                  <a:pt x="83" y="233"/>
                </a:lnTo>
                <a:lnTo>
                  <a:pt x="30" y="268"/>
                </a:lnTo>
                <a:lnTo>
                  <a:pt x="16" y="302"/>
                </a:lnTo>
                <a:lnTo>
                  <a:pt x="9" y="261"/>
                </a:lnTo>
                <a:lnTo>
                  <a:pt x="0" y="192"/>
                </a:lnTo>
                <a:lnTo>
                  <a:pt x="16" y="174"/>
                </a:lnTo>
                <a:lnTo>
                  <a:pt x="16" y="131"/>
                </a:lnTo>
                <a:lnTo>
                  <a:pt x="36" y="102"/>
                </a:lnTo>
                <a:lnTo>
                  <a:pt x="68" y="87"/>
                </a:lnTo>
                <a:lnTo>
                  <a:pt x="101" y="69"/>
                </a:lnTo>
                <a:lnTo>
                  <a:pt x="103" y="96"/>
                </a:lnTo>
                <a:lnTo>
                  <a:pt x="139" y="114"/>
                </a:lnTo>
                <a:lnTo>
                  <a:pt x="160" y="152"/>
                </a:lnTo>
                <a:lnTo>
                  <a:pt x="206" y="152"/>
                </a:lnTo>
                <a:lnTo>
                  <a:pt x="238" y="131"/>
                </a:lnTo>
                <a:lnTo>
                  <a:pt x="231" y="102"/>
                </a:lnTo>
                <a:lnTo>
                  <a:pt x="215" y="67"/>
                </a:lnTo>
                <a:lnTo>
                  <a:pt x="213" y="42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grpSp>
        <p:nvGrpSpPr>
          <p:cNvPr id="32" name="Estonia"/>
          <p:cNvGrpSpPr/>
          <p:nvPr/>
        </p:nvGrpSpPr>
        <p:grpSpPr>
          <a:xfrm>
            <a:off x="10233551" y="2214246"/>
            <a:ext cx="675007" cy="427038"/>
            <a:chOff x="10254571" y="2214246"/>
            <a:chExt cx="675007" cy="427038"/>
          </a:xfrm>
          <a:solidFill>
            <a:srgbClr val="E1E0DC"/>
          </a:solidFill>
        </p:grpSpPr>
        <p:sp>
          <p:nvSpPr>
            <p:cNvPr id="33" name="Freeform 105"/>
            <p:cNvSpPr>
              <a:spLocks/>
            </p:cNvSpPr>
            <p:nvPr/>
          </p:nvSpPr>
          <p:spPr bwMode="auto">
            <a:xfrm>
              <a:off x="10254571" y="2406650"/>
              <a:ext cx="88900" cy="71438"/>
            </a:xfrm>
            <a:custGeom>
              <a:avLst/>
              <a:gdLst>
                <a:gd name="T0" fmla="*/ 32 w 56"/>
                <a:gd name="T1" fmla="*/ 45 h 45"/>
                <a:gd name="T2" fmla="*/ 20 w 56"/>
                <a:gd name="T3" fmla="*/ 34 h 45"/>
                <a:gd name="T4" fmla="*/ 0 w 56"/>
                <a:gd name="T5" fmla="*/ 23 h 45"/>
                <a:gd name="T6" fmla="*/ 32 w 56"/>
                <a:gd name="T7" fmla="*/ 14 h 45"/>
                <a:gd name="T8" fmla="*/ 32 w 56"/>
                <a:gd name="T9" fmla="*/ 0 h 45"/>
                <a:gd name="T10" fmla="*/ 56 w 56"/>
                <a:gd name="T11" fmla="*/ 9 h 45"/>
                <a:gd name="T12" fmla="*/ 56 w 56"/>
                <a:gd name="T13" fmla="*/ 27 h 45"/>
                <a:gd name="T14" fmla="*/ 56 w 56"/>
                <a:gd name="T15" fmla="*/ 45 h 45"/>
                <a:gd name="T16" fmla="*/ 32 w 56"/>
                <a:gd name="T1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45">
                  <a:moveTo>
                    <a:pt x="32" y="45"/>
                  </a:moveTo>
                  <a:lnTo>
                    <a:pt x="20" y="34"/>
                  </a:lnTo>
                  <a:lnTo>
                    <a:pt x="0" y="23"/>
                  </a:lnTo>
                  <a:lnTo>
                    <a:pt x="32" y="14"/>
                  </a:lnTo>
                  <a:lnTo>
                    <a:pt x="32" y="0"/>
                  </a:lnTo>
                  <a:lnTo>
                    <a:pt x="56" y="9"/>
                  </a:lnTo>
                  <a:lnTo>
                    <a:pt x="56" y="27"/>
                  </a:lnTo>
                  <a:lnTo>
                    <a:pt x="56" y="45"/>
                  </a:lnTo>
                  <a:lnTo>
                    <a:pt x="32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  <p:sp>
          <p:nvSpPr>
            <p:cNvPr id="34" name="Freeform 106"/>
            <p:cNvSpPr>
              <a:spLocks/>
            </p:cNvSpPr>
            <p:nvPr/>
          </p:nvSpPr>
          <p:spPr bwMode="auto">
            <a:xfrm>
              <a:off x="10300608" y="2478088"/>
              <a:ext cx="92075" cy="138113"/>
            </a:xfrm>
            <a:custGeom>
              <a:avLst/>
              <a:gdLst>
                <a:gd name="T0" fmla="*/ 5 w 58"/>
                <a:gd name="T1" fmla="*/ 13 h 87"/>
                <a:gd name="T2" fmla="*/ 38 w 58"/>
                <a:gd name="T3" fmla="*/ 0 h 87"/>
                <a:gd name="T4" fmla="*/ 58 w 58"/>
                <a:gd name="T5" fmla="*/ 18 h 87"/>
                <a:gd name="T6" fmla="*/ 52 w 58"/>
                <a:gd name="T7" fmla="*/ 43 h 87"/>
                <a:gd name="T8" fmla="*/ 32 w 58"/>
                <a:gd name="T9" fmla="*/ 58 h 87"/>
                <a:gd name="T10" fmla="*/ 12 w 58"/>
                <a:gd name="T11" fmla="*/ 71 h 87"/>
                <a:gd name="T12" fmla="*/ 5 w 58"/>
                <a:gd name="T13" fmla="*/ 85 h 87"/>
                <a:gd name="T14" fmla="*/ 0 w 58"/>
                <a:gd name="T15" fmla="*/ 87 h 87"/>
                <a:gd name="T16" fmla="*/ 5 w 58"/>
                <a:gd name="T17" fmla="*/ 13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87">
                  <a:moveTo>
                    <a:pt x="5" y="13"/>
                  </a:moveTo>
                  <a:lnTo>
                    <a:pt x="38" y="0"/>
                  </a:lnTo>
                  <a:lnTo>
                    <a:pt x="58" y="18"/>
                  </a:lnTo>
                  <a:lnTo>
                    <a:pt x="52" y="43"/>
                  </a:lnTo>
                  <a:lnTo>
                    <a:pt x="32" y="58"/>
                  </a:lnTo>
                  <a:lnTo>
                    <a:pt x="12" y="71"/>
                  </a:lnTo>
                  <a:lnTo>
                    <a:pt x="5" y="85"/>
                  </a:lnTo>
                  <a:lnTo>
                    <a:pt x="0" y="87"/>
                  </a:lnTo>
                  <a:lnTo>
                    <a:pt x="5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  <p:sp>
          <p:nvSpPr>
            <p:cNvPr id="35" name="Freeform 43"/>
            <p:cNvSpPr>
              <a:spLocks/>
            </p:cNvSpPr>
            <p:nvPr/>
          </p:nvSpPr>
          <p:spPr bwMode="auto">
            <a:xfrm>
              <a:off x="10394590" y="2214246"/>
              <a:ext cx="534988" cy="427038"/>
            </a:xfrm>
            <a:custGeom>
              <a:avLst/>
              <a:gdLst>
                <a:gd name="T0" fmla="*/ 301 w 337"/>
                <a:gd name="T1" fmla="*/ 157 h 269"/>
                <a:gd name="T2" fmla="*/ 326 w 337"/>
                <a:gd name="T3" fmla="*/ 168 h 269"/>
                <a:gd name="T4" fmla="*/ 337 w 337"/>
                <a:gd name="T5" fmla="*/ 193 h 269"/>
                <a:gd name="T6" fmla="*/ 326 w 337"/>
                <a:gd name="T7" fmla="*/ 208 h 269"/>
                <a:gd name="T8" fmla="*/ 326 w 337"/>
                <a:gd name="T9" fmla="*/ 229 h 269"/>
                <a:gd name="T10" fmla="*/ 337 w 337"/>
                <a:gd name="T11" fmla="*/ 249 h 269"/>
                <a:gd name="T12" fmla="*/ 320 w 337"/>
                <a:gd name="T13" fmla="*/ 242 h 269"/>
                <a:gd name="T14" fmla="*/ 288 w 337"/>
                <a:gd name="T15" fmla="*/ 242 h 269"/>
                <a:gd name="T16" fmla="*/ 268 w 337"/>
                <a:gd name="T17" fmla="*/ 269 h 269"/>
                <a:gd name="T18" fmla="*/ 243 w 337"/>
                <a:gd name="T19" fmla="*/ 257 h 269"/>
                <a:gd name="T20" fmla="*/ 208 w 337"/>
                <a:gd name="T21" fmla="*/ 235 h 269"/>
                <a:gd name="T22" fmla="*/ 160 w 337"/>
                <a:gd name="T23" fmla="*/ 215 h 269"/>
                <a:gd name="T24" fmla="*/ 100 w 337"/>
                <a:gd name="T25" fmla="*/ 257 h 269"/>
                <a:gd name="T26" fmla="*/ 100 w 337"/>
                <a:gd name="T27" fmla="*/ 239 h 269"/>
                <a:gd name="T28" fmla="*/ 107 w 337"/>
                <a:gd name="T29" fmla="*/ 228 h 269"/>
                <a:gd name="T30" fmla="*/ 109 w 337"/>
                <a:gd name="T31" fmla="*/ 195 h 269"/>
                <a:gd name="T32" fmla="*/ 91 w 337"/>
                <a:gd name="T33" fmla="*/ 183 h 269"/>
                <a:gd name="T34" fmla="*/ 80 w 337"/>
                <a:gd name="T35" fmla="*/ 213 h 269"/>
                <a:gd name="T36" fmla="*/ 62 w 337"/>
                <a:gd name="T37" fmla="*/ 202 h 269"/>
                <a:gd name="T38" fmla="*/ 44 w 337"/>
                <a:gd name="T39" fmla="*/ 208 h 269"/>
                <a:gd name="T40" fmla="*/ 38 w 337"/>
                <a:gd name="T41" fmla="*/ 193 h 269"/>
                <a:gd name="T42" fmla="*/ 44 w 337"/>
                <a:gd name="T43" fmla="*/ 177 h 269"/>
                <a:gd name="T44" fmla="*/ 11 w 337"/>
                <a:gd name="T45" fmla="*/ 157 h 269"/>
                <a:gd name="T46" fmla="*/ 17 w 337"/>
                <a:gd name="T47" fmla="*/ 137 h 269"/>
                <a:gd name="T48" fmla="*/ 0 w 337"/>
                <a:gd name="T49" fmla="*/ 110 h 269"/>
                <a:gd name="T50" fmla="*/ 11 w 337"/>
                <a:gd name="T51" fmla="*/ 90 h 269"/>
                <a:gd name="T52" fmla="*/ 44 w 337"/>
                <a:gd name="T53" fmla="*/ 90 h 269"/>
                <a:gd name="T54" fmla="*/ 40 w 337"/>
                <a:gd name="T55" fmla="*/ 72 h 269"/>
                <a:gd name="T56" fmla="*/ 76 w 337"/>
                <a:gd name="T57" fmla="*/ 52 h 269"/>
                <a:gd name="T58" fmla="*/ 93 w 337"/>
                <a:gd name="T59" fmla="*/ 40 h 269"/>
                <a:gd name="T60" fmla="*/ 103 w 337"/>
                <a:gd name="T61" fmla="*/ 49 h 269"/>
                <a:gd name="T62" fmla="*/ 134 w 337"/>
                <a:gd name="T63" fmla="*/ 40 h 269"/>
                <a:gd name="T64" fmla="*/ 141 w 337"/>
                <a:gd name="T65" fmla="*/ 22 h 269"/>
                <a:gd name="T66" fmla="*/ 163 w 337"/>
                <a:gd name="T67" fmla="*/ 14 h 269"/>
                <a:gd name="T68" fmla="*/ 174 w 337"/>
                <a:gd name="T69" fmla="*/ 22 h 269"/>
                <a:gd name="T70" fmla="*/ 268 w 337"/>
                <a:gd name="T71" fmla="*/ 25 h 269"/>
                <a:gd name="T72" fmla="*/ 288 w 337"/>
                <a:gd name="T73" fmla="*/ 14 h 269"/>
                <a:gd name="T74" fmla="*/ 306 w 337"/>
                <a:gd name="T75" fmla="*/ 0 h 269"/>
                <a:gd name="T76" fmla="*/ 311 w 337"/>
                <a:gd name="T77" fmla="*/ 13 h 269"/>
                <a:gd name="T78" fmla="*/ 293 w 337"/>
                <a:gd name="T79" fmla="*/ 34 h 269"/>
                <a:gd name="T80" fmla="*/ 297 w 337"/>
                <a:gd name="T81" fmla="*/ 60 h 269"/>
                <a:gd name="T82" fmla="*/ 277 w 337"/>
                <a:gd name="T83" fmla="*/ 83 h 269"/>
                <a:gd name="T84" fmla="*/ 288 w 337"/>
                <a:gd name="T85" fmla="*/ 117 h 269"/>
                <a:gd name="T86" fmla="*/ 308 w 337"/>
                <a:gd name="T87" fmla="*/ 123 h 269"/>
                <a:gd name="T88" fmla="*/ 301 w 337"/>
                <a:gd name="T89" fmla="*/ 157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37" h="269">
                  <a:moveTo>
                    <a:pt x="301" y="157"/>
                  </a:moveTo>
                  <a:lnTo>
                    <a:pt x="326" y="168"/>
                  </a:lnTo>
                  <a:lnTo>
                    <a:pt x="337" y="193"/>
                  </a:lnTo>
                  <a:lnTo>
                    <a:pt x="326" y="208"/>
                  </a:lnTo>
                  <a:lnTo>
                    <a:pt x="326" y="229"/>
                  </a:lnTo>
                  <a:lnTo>
                    <a:pt x="337" y="249"/>
                  </a:lnTo>
                  <a:lnTo>
                    <a:pt x="320" y="242"/>
                  </a:lnTo>
                  <a:lnTo>
                    <a:pt x="288" y="242"/>
                  </a:lnTo>
                  <a:lnTo>
                    <a:pt x="268" y="269"/>
                  </a:lnTo>
                  <a:lnTo>
                    <a:pt x="243" y="257"/>
                  </a:lnTo>
                  <a:lnTo>
                    <a:pt x="208" y="235"/>
                  </a:lnTo>
                  <a:lnTo>
                    <a:pt x="160" y="215"/>
                  </a:lnTo>
                  <a:lnTo>
                    <a:pt x="100" y="257"/>
                  </a:lnTo>
                  <a:lnTo>
                    <a:pt x="100" y="239"/>
                  </a:lnTo>
                  <a:lnTo>
                    <a:pt x="107" y="228"/>
                  </a:lnTo>
                  <a:lnTo>
                    <a:pt x="109" y="195"/>
                  </a:lnTo>
                  <a:lnTo>
                    <a:pt x="91" y="183"/>
                  </a:lnTo>
                  <a:lnTo>
                    <a:pt x="80" y="213"/>
                  </a:lnTo>
                  <a:lnTo>
                    <a:pt x="62" y="202"/>
                  </a:lnTo>
                  <a:lnTo>
                    <a:pt x="44" y="208"/>
                  </a:lnTo>
                  <a:lnTo>
                    <a:pt x="38" y="193"/>
                  </a:lnTo>
                  <a:lnTo>
                    <a:pt x="44" y="177"/>
                  </a:lnTo>
                  <a:lnTo>
                    <a:pt x="11" y="157"/>
                  </a:lnTo>
                  <a:lnTo>
                    <a:pt x="17" y="137"/>
                  </a:lnTo>
                  <a:lnTo>
                    <a:pt x="0" y="110"/>
                  </a:lnTo>
                  <a:lnTo>
                    <a:pt x="11" y="90"/>
                  </a:lnTo>
                  <a:lnTo>
                    <a:pt x="44" y="90"/>
                  </a:lnTo>
                  <a:lnTo>
                    <a:pt x="40" y="72"/>
                  </a:lnTo>
                  <a:lnTo>
                    <a:pt x="76" y="52"/>
                  </a:lnTo>
                  <a:lnTo>
                    <a:pt x="93" y="40"/>
                  </a:lnTo>
                  <a:lnTo>
                    <a:pt x="103" y="49"/>
                  </a:lnTo>
                  <a:lnTo>
                    <a:pt x="134" y="40"/>
                  </a:lnTo>
                  <a:lnTo>
                    <a:pt x="141" y="22"/>
                  </a:lnTo>
                  <a:lnTo>
                    <a:pt x="163" y="14"/>
                  </a:lnTo>
                  <a:lnTo>
                    <a:pt x="174" y="22"/>
                  </a:lnTo>
                  <a:lnTo>
                    <a:pt x="268" y="25"/>
                  </a:lnTo>
                  <a:lnTo>
                    <a:pt x="288" y="14"/>
                  </a:lnTo>
                  <a:lnTo>
                    <a:pt x="306" y="0"/>
                  </a:lnTo>
                  <a:lnTo>
                    <a:pt x="311" y="13"/>
                  </a:lnTo>
                  <a:lnTo>
                    <a:pt x="293" y="34"/>
                  </a:lnTo>
                  <a:lnTo>
                    <a:pt x="297" y="60"/>
                  </a:lnTo>
                  <a:lnTo>
                    <a:pt x="277" y="83"/>
                  </a:lnTo>
                  <a:lnTo>
                    <a:pt x="288" y="117"/>
                  </a:lnTo>
                  <a:lnTo>
                    <a:pt x="308" y="123"/>
                  </a:lnTo>
                  <a:lnTo>
                    <a:pt x="301" y="15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</p:grpSp>
      <p:grpSp>
        <p:nvGrpSpPr>
          <p:cNvPr id="36" name="Kosovo"/>
          <p:cNvGrpSpPr/>
          <p:nvPr/>
        </p:nvGrpSpPr>
        <p:grpSpPr>
          <a:xfrm>
            <a:off x="10522476" y="5503863"/>
            <a:ext cx="169863" cy="155857"/>
            <a:chOff x="10543496" y="5503863"/>
            <a:chExt cx="169863" cy="155857"/>
          </a:xfrm>
          <a:solidFill>
            <a:schemeClr val="bg1"/>
          </a:solidFill>
        </p:grpSpPr>
        <p:sp>
          <p:nvSpPr>
            <p:cNvPr id="37" name="Freeform 110"/>
            <p:cNvSpPr>
              <a:spLocks/>
            </p:cNvSpPr>
            <p:nvPr/>
          </p:nvSpPr>
          <p:spPr bwMode="auto">
            <a:xfrm>
              <a:off x="10692721" y="5623720"/>
              <a:ext cx="14288" cy="36000"/>
            </a:xfrm>
            <a:custGeom>
              <a:avLst/>
              <a:gdLst>
                <a:gd name="T0" fmla="*/ 7 w 9"/>
                <a:gd name="T1" fmla="*/ 11 h 11"/>
                <a:gd name="T2" fmla="*/ 0 w 9"/>
                <a:gd name="T3" fmla="*/ 11 h 11"/>
                <a:gd name="T4" fmla="*/ 2 w 9"/>
                <a:gd name="T5" fmla="*/ 0 h 11"/>
                <a:gd name="T6" fmla="*/ 9 w 9"/>
                <a:gd name="T7" fmla="*/ 0 h 11"/>
                <a:gd name="T8" fmla="*/ 7 w 9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7" y="11"/>
                  </a:moveTo>
                  <a:lnTo>
                    <a:pt x="0" y="11"/>
                  </a:lnTo>
                  <a:lnTo>
                    <a:pt x="2" y="0"/>
                  </a:lnTo>
                  <a:lnTo>
                    <a:pt x="9" y="0"/>
                  </a:lnTo>
                  <a:lnTo>
                    <a:pt x="7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  <p:sp>
          <p:nvSpPr>
            <p:cNvPr id="38" name="Freeform 111"/>
            <p:cNvSpPr>
              <a:spLocks/>
            </p:cNvSpPr>
            <p:nvPr/>
          </p:nvSpPr>
          <p:spPr bwMode="auto">
            <a:xfrm>
              <a:off x="10689546" y="5573713"/>
              <a:ext cx="23813" cy="33338"/>
            </a:xfrm>
            <a:custGeom>
              <a:avLst/>
              <a:gdLst>
                <a:gd name="T0" fmla="*/ 13 w 15"/>
                <a:gd name="T1" fmla="*/ 21 h 21"/>
                <a:gd name="T2" fmla="*/ 6 w 15"/>
                <a:gd name="T3" fmla="*/ 21 h 21"/>
                <a:gd name="T4" fmla="*/ 8 w 15"/>
                <a:gd name="T5" fmla="*/ 12 h 21"/>
                <a:gd name="T6" fmla="*/ 0 w 15"/>
                <a:gd name="T7" fmla="*/ 5 h 21"/>
                <a:gd name="T8" fmla="*/ 6 w 15"/>
                <a:gd name="T9" fmla="*/ 0 h 21"/>
                <a:gd name="T10" fmla="*/ 15 w 15"/>
                <a:gd name="T11" fmla="*/ 9 h 21"/>
                <a:gd name="T12" fmla="*/ 13 w 15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21">
                  <a:moveTo>
                    <a:pt x="13" y="21"/>
                  </a:moveTo>
                  <a:lnTo>
                    <a:pt x="6" y="21"/>
                  </a:lnTo>
                  <a:lnTo>
                    <a:pt x="8" y="12"/>
                  </a:lnTo>
                  <a:lnTo>
                    <a:pt x="0" y="5"/>
                  </a:lnTo>
                  <a:lnTo>
                    <a:pt x="6" y="0"/>
                  </a:lnTo>
                  <a:lnTo>
                    <a:pt x="15" y="9"/>
                  </a:lnTo>
                  <a:lnTo>
                    <a:pt x="13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  <p:sp>
          <p:nvSpPr>
            <p:cNvPr id="39" name="Freeform 112"/>
            <p:cNvSpPr>
              <a:spLocks/>
            </p:cNvSpPr>
            <p:nvPr/>
          </p:nvSpPr>
          <p:spPr bwMode="auto">
            <a:xfrm>
              <a:off x="10656208" y="5535613"/>
              <a:ext cx="25400" cy="28575"/>
            </a:xfrm>
            <a:custGeom>
              <a:avLst/>
              <a:gdLst>
                <a:gd name="T0" fmla="*/ 11 w 16"/>
                <a:gd name="T1" fmla="*/ 18 h 18"/>
                <a:gd name="T2" fmla="*/ 0 w 16"/>
                <a:gd name="T3" fmla="*/ 5 h 18"/>
                <a:gd name="T4" fmla="*/ 5 w 16"/>
                <a:gd name="T5" fmla="*/ 0 h 18"/>
                <a:gd name="T6" fmla="*/ 16 w 16"/>
                <a:gd name="T7" fmla="*/ 13 h 18"/>
                <a:gd name="T8" fmla="*/ 11 w 16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8">
                  <a:moveTo>
                    <a:pt x="11" y="18"/>
                  </a:moveTo>
                  <a:lnTo>
                    <a:pt x="0" y="5"/>
                  </a:lnTo>
                  <a:lnTo>
                    <a:pt x="5" y="0"/>
                  </a:lnTo>
                  <a:lnTo>
                    <a:pt x="16" y="13"/>
                  </a:lnTo>
                  <a:lnTo>
                    <a:pt x="1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  <p:sp>
          <p:nvSpPr>
            <p:cNvPr id="40" name="Freeform 113"/>
            <p:cNvSpPr>
              <a:spLocks/>
            </p:cNvSpPr>
            <p:nvPr/>
          </p:nvSpPr>
          <p:spPr bwMode="auto">
            <a:xfrm>
              <a:off x="10613346" y="5503863"/>
              <a:ext cx="33338" cy="23813"/>
            </a:xfrm>
            <a:custGeom>
              <a:avLst/>
              <a:gdLst>
                <a:gd name="T0" fmla="*/ 16 w 21"/>
                <a:gd name="T1" fmla="*/ 15 h 15"/>
                <a:gd name="T2" fmla="*/ 11 w 21"/>
                <a:gd name="T3" fmla="*/ 7 h 15"/>
                <a:gd name="T4" fmla="*/ 1 w 21"/>
                <a:gd name="T5" fmla="*/ 11 h 15"/>
                <a:gd name="T6" fmla="*/ 0 w 21"/>
                <a:gd name="T7" fmla="*/ 4 h 15"/>
                <a:gd name="T8" fmla="*/ 11 w 21"/>
                <a:gd name="T9" fmla="*/ 0 h 15"/>
                <a:gd name="T10" fmla="*/ 21 w 21"/>
                <a:gd name="T11" fmla="*/ 9 h 15"/>
                <a:gd name="T12" fmla="*/ 16 w 21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15">
                  <a:moveTo>
                    <a:pt x="16" y="15"/>
                  </a:moveTo>
                  <a:lnTo>
                    <a:pt x="11" y="7"/>
                  </a:lnTo>
                  <a:lnTo>
                    <a:pt x="1" y="11"/>
                  </a:lnTo>
                  <a:lnTo>
                    <a:pt x="0" y="4"/>
                  </a:lnTo>
                  <a:lnTo>
                    <a:pt x="11" y="0"/>
                  </a:lnTo>
                  <a:lnTo>
                    <a:pt x="21" y="9"/>
                  </a:lnTo>
                  <a:lnTo>
                    <a:pt x="16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  <p:sp>
          <p:nvSpPr>
            <p:cNvPr id="41" name="Freeform 114"/>
            <p:cNvSpPr>
              <a:spLocks/>
            </p:cNvSpPr>
            <p:nvPr/>
          </p:nvSpPr>
          <p:spPr bwMode="auto">
            <a:xfrm>
              <a:off x="10578421" y="5518150"/>
              <a:ext cx="20638" cy="17463"/>
            </a:xfrm>
            <a:custGeom>
              <a:avLst/>
              <a:gdLst>
                <a:gd name="T0" fmla="*/ 2 w 13"/>
                <a:gd name="T1" fmla="*/ 11 h 11"/>
                <a:gd name="T2" fmla="*/ 0 w 13"/>
                <a:gd name="T3" fmla="*/ 4 h 11"/>
                <a:gd name="T4" fmla="*/ 11 w 13"/>
                <a:gd name="T5" fmla="*/ 0 h 11"/>
                <a:gd name="T6" fmla="*/ 13 w 13"/>
                <a:gd name="T7" fmla="*/ 7 h 11"/>
                <a:gd name="T8" fmla="*/ 2 w 13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1">
                  <a:moveTo>
                    <a:pt x="2" y="11"/>
                  </a:moveTo>
                  <a:lnTo>
                    <a:pt x="0" y="4"/>
                  </a:lnTo>
                  <a:lnTo>
                    <a:pt x="11" y="0"/>
                  </a:lnTo>
                  <a:lnTo>
                    <a:pt x="13" y="7"/>
                  </a:lnTo>
                  <a:lnTo>
                    <a:pt x="2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  <p:sp>
          <p:nvSpPr>
            <p:cNvPr id="42" name="Freeform 115"/>
            <p:cNvSpPr>
              <a:spLocks/>
            </p:cNvSpPr>
            <p:nvPr/>
          </p:nvSpPr>
          <p:spPr bwMode="auto">
            <a:xfrm>
              <a:off x="10543496" y="5532438"/>
              <a:ext cx="20638" cy="17463"/>
            </a:xfrm>
            <a:custGeom>
              <a:avLst/>
              <a:gdLst>
                <a:gd name="T0" fmla="*/ 4 w 13"/>
                <a:gd name="T1" fmla="*/ 11 h 11"/>
                <a:gd name="T2" fmla="*/ 0 w 13"/>
                <a:gd name="T3" fmla="*/ 4 h 11"/>
                <a:gd name="T4" fmla="*/ 11 w 13"/>
                <a:gd name="T5" fmla="*/ 0 h 11"/>
                <a:gd name="T6" fmla="*/ 13 w 13"/>
                <a:gd name="T7" fmla="*/ 7 h 11"/>
                <a:gd name="T8" fmla="*/ 4 w 13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1">
                  <a:moveTo>
                    <a:pt x="4" y="11"/>
                  </a:moveTo>
                  <a:lnTo>
                    <a:pt x="0" y="4"/>
                  </a:lnTo>
                  <a:lnTo>
                    <a:pt x="11" y="0"/>
                  </a:lnTo>
                  <a:lnTo>
                    <a:pt x="13" y="7"/>
                  </a:lnTo>
                  <a:lnTo>
                    <a:pt x="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</p:grpSp>
      <p:sp>
        <p:nvSpPr>
          <p:cNvPr id="43" name="Montenegro"/>
          <p:cNvSpPr>
            <a:spLocks/>
          </p:cNvSpPr>
          <p:nvPr/>
        </p:nvSpPr>
        <p:spPr bwMode="auto">
          <a:xfrm>
            <a:off x="10230376" y="5414963"/>
            <a:ext cx="295275" cy="322263"/>
          </a:xfrm>
          <a:custGeom>
            <a:avLst/>
            <a:gdLst>
              <a:gd name="T0" fmla="*/ 92 w 186"/>
              <a:gd name="T1" fmla="*/ 0 h 203"/>
              <a:gd name="T2" fmla="*/ 136 w 186"/>
              <a:gd name="T3" fmla="*/ 15 h 203"/>
              <a:gd name="T4" fmla="*/ 148 w 186"/>
              <a:gd name="T5" fmla="*/ 45 h 203"/>
              <a:gd name="T6" fmla="*/ 177 w 186"/>
              <a:gd name="T7" fmla="*/ 56 h 203"/>
              <a:gd name="T8" fmla="*/ 186 w 186"/>
              <a:gd name="T9" fmla="*/ 81 h 203"/>
              <a:gd name="T10" fmla="*/ 170 w 186"/>
              <a:gd name="T11" fmla="*/ 96 h 203"/>
              <a:gd name="T12" fmla="*/ 170 w 186"/>
              <a:gd name="T13" fmla="*/ 119 h 203"/>
              <a:gd name="T14" fmla="*/ 157 w 186"/>
              <a:gd name="T15" fmla="*/ 132 h 203"/>
              <a:gd name="T16" fmla="*/ 139 w 186"/>
              <a:gd name="T17" fmla="*/ 118 h 203"/>
              <a:gd name="T18" fmla="*/ 125 w 186"/>
              <a:gd name="T19" fmla="*/ 143 h 203"/>
              <a:gd name="T20" fmla="*/ 121 w 186"/>
              <a:gd name="T21" fmla="*/ 177 h 203"/>
              <a:gd name="T22" fmla="*/ 103 w 186"/>
              <a:gd name="T23" fmla="*/ 203 h 203"/>
              <a:gd name="T24" fmla="*/ 78 w 186"/>
              <a:gd name="T25" fmla="*/ 197 h 203"/>
              <a:gd name="T26" fmla="*/ 60 w 186"/>
              <a:gd name="T27" fmla="*/ 174 h 203"/>
              <a:gd name="T28" fmla="*/ 47 w 186"/>
              <a:gd name="T29" fmla="*/ 159 h 203"/>
              <a:gd name="T30" fmla="*/ 31 w 186"/>
              <a:gd name="T31" fmla="*/ 183 h 203"/>
              <a:gd name="T32" fmla="*/ 9 w 186"/>
              <a:gd name="T33" fmla="*/ 152 h 203"/>
              <a:gd name="T34" fmla="*/ 0 w 186"/>
              <a:gd name="T35" fmla="*/ 146 h 203"/>
              <a:gd name="T36" fmla="*/ 7 w 186"/>
              <a:gd name="T37" fmla="*/ 123 h 203"/>
              <a:gd name="T38" fmla="*/ 0 w 186"/>
              <a:gd name="T39" fmla="*/ 100 h 203"/>
              <a:gd name="T40" fmla="*/ 20 w 186"/>
              <a:gd name="T41" fmla="*/ 81 h 203"/>
              <a:gd name="T42" fmla="*/ 14 w 186"/>
              <a:gd name="T43" fmla="*/ 58 h 203"/>
              <a:gd name="T44" fmla="*/ 31 w 186"/>
              <a:gd name="T45" fmla="*/ 34 h 203"/>
              <a:gd name="T46" fmla="*/ 85 w 186"/>
              <a:gd name="T47" fmla="*/ 31 h 203"/>
              <a:gd name="T48" fmla="*/ 92 w 186"/>
              <a:gd name="T49" fmla="*/ 0 h 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86" h="203">
                <a:moveTo>
                  <a:pt x="92" y="0"/>
                </a:moveTo>
                <a:lnTo>
                  <a:pt x="136" y="15"/>
                </a:lnTo>
                <a:lnTo>
                  <a:pt x="148" y="45"/>
                </a:lnTo>
                <a:lnTo>
                  <a:pt x="177" y="56"/>
                </a:lnTo>
                <a:lnTo>
                  <a:pt x="186" y="81"/>
                </a:lnTo>
                <a:lnTo>
                  <a:pt x="170" y="96"/>
                </a:lnTo>
                <a:lnTo>
                  <a:pt x="170" y="119"/>
                </a:lnTo>
                <a:lnTo>
                  <a:pt x="157" y="132"/>
                </a:lnTo>
                <a:lnTo>
                  <a:pt x="139" y="118"/>
                </a:lnTo>
                <a:lnTo>
                  <a:pt x="125" y="143"/>
                </a:lnTo>
                <a:lnTo>
                  <a:pt x="121" y="177"/>
                </a:lnTo>
                <a:lnTo>
                  <a:pt x="103" y="203"/>
                </a:lnTo>
                <a:lnTo>
                  <a:pt x="78" y="197"/>
                </a:lnTo>
                <a:lnTo>
                  <a:pt x="60" y="174"/>
                </a:lnTo>
                <a:lnTo>
                  <a:pt x="47" y="159"/>
                </a:lnTo>
                <a:lnTo>
                  <a:pt x="31" y="183"/>
                </a:lnTo>
                <a:lnTo>
                  <a:pt x="9" y="152"/>
                </a:lnTo>
                <a:lnTo>
                  <a:pt x="0" y="146"/>
                </a:lnTo>
                <a:lnTo>
                  <a:pt x="7" y="123"/>
                </a:lnTo>
                <a:lnTo>
                  <a:pt x="0" y="100"/>
                </a:lnTo>
                <a:lnTo>
                  <a:pt x="20" y="81"/>
                </a:lnTo>
                <a:lnTo>
                  <a:pt x="14" y="58"/>
                </a:lnTo>
                <a:lnTo>
                  <a:pt x="31" y="34"/>
                </a:lnTo>
                <a:lnTo>
                  <a:pt x="85" y="31"/>
                </a:lnTo>
                <a:lnTo>
                  <a:pt x="92" y="0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44" name="Croatia"/>
          <p:cNvSpPr>
            <a:spLocks/>
          </p:cNvSpPr>
          <p:nvPr/>
        </p:nvSpPr>
        <p:spPr bwMode="auto">
          <a:xfrm>
            <a:off x="9408051" y="4910138"/>
            <a:ext cx="871538" cy="642938"/>
          </a:xfrm>
          <a:custGeom>
            <a:avLst/>
            <a:gdLst>
              <a:gd name="T0" fmla="*/ 286 w 304"/>
              <a:gd name="T1" fmla="*/ 30 h 224"/>
              <a:gd name="T2" fmla="*/ 257 w 304"/>
              <a:gd name="T3" fmla="*/ 40 h 224"/>
              <a:gd name="T4" fmla="*/ 213 w 304"/>
              <a:gd name="T5" fmla="*/ 31 h 224"/>
              <a:gd name="T6" fmla="*/ 152 w 304"/>
              <a:gd name="T7" fmla="*/ 0 h 224"/>
              <a:gd name="T8" fmla="*/ 134 w 304"/>
              <a:gd name="T9" fmla="*/ 31 h 224"/>
              <a:gd name="T10" fmla="*/ 109 w 304"/>
              <a:gd name="T11" fmla="*/ 58 h 224"/>
              <a:gd name="T12" fmla="*/ 100 w 304"/>
              <a:gd name="T13" fmla="*/ 59 h 224"/>
              <a:gd name="T14" fmla="*/ 42 w 304"/>
              <a:gd name="T15" fmla="*/ 69 h 224"/>
              <a:gd name="T16" fmla="*/ 19 w 304"/>
              <a:gd name="T17" fmla="*/ 75 h 224"/>
              <a:gd name="T18" fmla="*/ 0 w 304"/>
              <a:gd name="T19" fmla="*/ 83 h 224"/>
              <a:gd name="T20" fmla="*/ 7 w 304"/>
              <a:gd name="T21" fmla="*/ 109 h 224"/>
              <a:gd name="T22" fmla="*/ 31 w 304"/>
              <a:gd name="T23" fmla="*/ 112 h 224"/>
              <a:gd name="T24" fmla="*/ 44 w 304"/>
              <a:gd name="T25" fmla="*/ 95 h 224"/>
              <a:gd name="T26" fmla="*/ 54 w 304"/>
              <a:gd name="T27" fmla="*/ 86 h 224"/>
              <a:gd name="T28" fmla="*/ 77 w 304"/>
              <a:gd name="T29" fmla="*/ 104 h 224"/>
              <a:gd name="T30" fmla="*/ 84 w 304"/>
              <a:gd name="T31" fmla="*/ 145 h 224"/>
              <a:gd name="T32" fmla="*/ 98 w 304"/>
              <a:gd name="T33" fmla="*/ 161 h 224"/>
              <a:gd name="T34" fmla="*/ 143 w 304"/>
              <a:gd name="T35" fmla="*/ 188 h 224"/>
              <a:gd name="T36" fmla="*/ 167 w 304"/>
              <a:gd name="T37" fmla="*/ 191 h 224"/>
              <a:gd name="T38" fmla="*/ 191 w 304"/>
              <a:gd name="T39" fmla="*/ 199 h 224"/>
              <a:gd name="T40" fmla="*/ 199 w 304"/>
              <a:gd name="T41" fmla="*/ 212 h 224"/>
              <a:gd name="T42" fmla="*/ 239 w 304"/>
              <a:gd name="T43" fmla="*/ 223 h 224"/>
              <a:gd name="T44" fmla="*/ 239 w 304"/>
              <a:gd name="T45" fmla="*/ 223 h 224"/>
              <a:gd name="T46" fmla="*/ 143 w 304"/>
              <a:gd name="T47" fmla="*/ 160 h 224"/>
              <a:gd name="T48" fmla="*/ 130 w 304"/>
              <a:gd name="T49" fmla="*/ 147 h 224"/>
              <a:gd name="T50" fmla="*/ 133 w 304"/>
              <a:gd name="T51" fmla="*/ 125 h 224"/>
              <a:gd name="T52" fmla="*/ 126 w 304"/>
              <a:gd name="T53" fmla="*/ 94 h 224"/>
              <a:gd name="T54" fmla="*/ 149 w 304"/>
              <a:gd name="T55" fmla="*/ 98 h 224"/>
              <a:gd name="T56" fmla="*/ 180 w 304"/>
              <a:gd name="T57" fmla="*/ 85 h 224"/>
              <a:gd name="T58" fmla="*/ 200 w 304"/>
              <a:gd name="T59" fmla="*/ 86 h 224"/>
              <a:gd name="T60" fmla="*/ 219 w 304"/>
              <a:gd name="T61" fmla="*/ 81 h 224"/>
              <a:gd name="T62" fmla="*/ 245 w 304"/>
              <a:gd name="T63" fmla="*/ 81 h 224"/>
              <a:gd name="T64" fmla="*/ 276 w 304"/>
              <a:gd name="T65" fmla="*/ 81 h 224"/>
              <a:gd name="T66" fmla="*/ 304 w 304"/>
              <a:gd name="T67" fmla="*/ 81 h 224"/>
              <a:gd name="T68" fmla="*/ 286 w 304"/>
              <a:gd name="T69" fmla="*/ 46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04" h="224">
                <a:moveTo>
                  <a:pt x="286" y="46"/>
                </a:moveTo>
                <a:cubicBezTo>
                  <a:pt x="286" y="30"/>
                  <a:pt x="286" y="30"/>
                  <a:pt x="286" y="30"/>
                </a:cubicBezTo>
                <a:cubicBezTo>
                  <a:pt x="279" y="27"/>
                  <a:pt x="279" y="27"/>
                  <a:pt x="279" y="27"/>
                </a:cubicBezTo>
                <a:cubicBezTo>
                  <a:pt x="257" y="40"/>
                  <a:pt x="257" y="40"/>
                  <a:pt x="257" y="40"/>
                </a:cubicBezTo>
                <a:cubicBezTo>
                  <a:pt x="226" y="38"/>
                  <a:pt x="226" y="38"/>
                  <a:pt x="226" y="38"/>
                </a:cubicBezTo>
                <a:cubicBezTo>
                  <a:pt x="213" y="31"/>
                  <a:pt x="213" y="31"/>
                  <a:pt x="213" y="31"/>
                </a:cubicBezTo>
                <a:cubicBezTo>
                  <a:pt x="197" y="36"/>
                  <a:pt x="197" y="36"/>
                  <a:pt x="197" y="36"/>
                </a:cubicBezTo>
                <a:cubicBezTo>
                  <a:pt x="152" y="0"/>
                  <a:pt x="152" y="0"/>
                  <a:pt x="152" y="0"/>
                </a:cubicBezTo>
                <a:cubicBezTo>
                  <a:pt x="149" y="3"/>
                  <a:pt x="149" y="3"/>
                  <a:pt x="149" y="3"/>
                </a:cubicBezTo>
                <a:cubicBezTo>
                  <a:pt x="134" y="31"/>
                  <a:pt x="134" y="31"/>
                  <a:pt x="134" y="31"/>
                </a:cubicBezTo>
                <a:cubicBezTo>
                  <a:pt x="109" y="36"/>
                  <a:pt x="109" y="36"/>
                  <a:pt x="109" y="36"/>
                </a:cubicBezTo>
                <a:cubicBezTo>
                  <a:pt x="109" y="58"/>
                  <a:pt x="109" y="58"/>
                  <a:pt x="109" y="58"/>
                </a:cubicBezTo>
                <a:cubicBezTo>
                  <a:pt x="104" y="62"/>
                  <a:pt x="104" y="62"/>
                  <a:pt x="104" y="62"/>
                </a:cubicBezTo>
                <a:cubicBezTo>
                  <a:pt x="100" y="59"/>
                  <a:pt x="100" y="59"/>
                  <a:pt x="100" y="59"/>
                </a:cubicBezTo>
                <a:cubicBezTo>
                  <a:pt x="63" y="59"/>
                  <a:pt x="63" y="59"/>
                  <a:pt x="63" y="59"/>
                </a:cubicBezTo>
                <a:cubicBezTo>
                  <a:pt x="42" y="69"/>
                  <a:pt x="42" y="69"/>
                  <a:pt x="42" y="69"/>
                </a:cubicBezTo>
                <a:cubicBezTo>
                  <a:pt x="29" y="62"/>
                  <a:pt x="29" y="62"/>
                  <a:pt x="29" y="62"/>
                </a:cubicBezTo>
                <a:cubicBezTo>
                  <a:pt x="19" y="75"/>
                  <a:pt x="19" y="75"/>
                  <a:pt x="19" y="75"/>
                </a:cubicBezTo>
                <a:cubicBezTo>
                  <a:pt x="4" y="76"/>
                  <a:pt x="4" y="76"/>
                  <a:pt x="4" y="76"/>
                </a:cubicBezTo>
                <a:cubicBezTo>
                  <a:pt x="0" y="83"/>
                  <a:pt x="0" y="83"/>
                  <a:pt x="0" y="83"/>
                </a:cubicBezTo>
                <a:cubicBezTo>
                  <a:pt x="6" y="93"/>
                  <a:pt x="6" y="93"/>
                  <a:pt x="6" y="93"/>
                </a:cubicBezTo>
                <a:cubicBezTo>
                  <a:pt x="7" y="109"/>
                  <a:pt x="7" y="109"/>
                  <a:pt x="7" y="109"/>
                </a:cubicBezTo>
                <a:cubicBezTo>
                  <a:pt x="23" y="137"/>
                  <a:pt x="23" y="137"/>
                  <a:pt x="23" y="137"/>
                </a:cubicBezTo>
                <a:cubicBezTo>
                  <a:pt x="31" y="112"/>
                  <a:pt x="31" y="112"/>
                  <a:pt x="31" y="112"/>
                </a:cubicBezTo>
                <a:cubicBezTo>
                  <a:pt x="43" y="112"/>
                  <a:pt x="43" y="112"/>
                  <a:pt x="43" y="112"/>
                </a:cubicBezTo>
                <a:cubicBezTo>
                  <a:pt x="44" y="95"/>
                  <a:pt x="44" y="95"/>
                  <a:pt x="44" y="95"/>
                </a:cubicBezTo>
                <a:cubicBezTo>
                  <a:pt x="45" y="86"/>
                  <a:pt x="45" y="86"/>
                  <a:pt x="45" y="86"/>
                </a:cubicBezTo>
                <a:cubicBezTo>
                  <a:pt x="54" y="86"/>
                  <a:pt x="54" y="86"/>
                  <a:pt x="54" y="86"/>
                </a:cubicBezTo>
                <a:cubicBezTo>
                  <a:pt x="64" y="98"/>
                  <a:pt x="64" y="98"/>
                  <a:pt x="64" y="98"/>
                </a:cubicBezTo>
                <a:cubicBezTo>
                  <a:pt x="77" y="104"/>
                  <a:pt x="77" y="104"/>
                  <a:pt x="77" y="104"/>
                </a:cubicBezTo>
                <a:cubicBezTo>
                  <a:pt x="80" y="131"/>
                  <a:pt x="80" y="131"/>
                  <a:pt x="80" y="131"/>
                </a:cubicBezTo>
                <a:cubicBezTo>
                  <a:pt x="84" y="145"/>
                  <a:pt x="84" y="145"/>
                  <a:pt x="84" y="145"/>
                </a:cubicBezTo>
                <a:cubicBezTo>
                  <a:pt x="96" y="151"/>
                  <a:pt x="96" y="151"/>
                  <a:pt x="96" y="151"/>
                </a:cubicBezTo>
                <a:cubicBezTo>
                  <a:pt x="98" y="161"/>
                  <a:pt x="98" y="161"/>
                  <a:pt x="98" y="161"/>
                </a:cubicBezTo>
                <a:cubicBezTo>
                  <a:pt x="136" y="184"/>
                  <a:pt x="136" y="184"/>
                  <a:pt x="136" y="184"/>
                </a:cubicBezTo>
                <a:cubicBezTo>
                  <a:pt x="143" y="188"/>
                  <a:pt x="143" y="188"/>
                  <a:pt x="143" y="188"/>
                </a:cubicBezTo>
                <a:cubicBezTo>
                  <a:pt x="147" y="201"/>
                  <a:pt x="147" y="201"/>
                  <a:pt x="147" y="201"/>
                </a:cubicBezTo>
                <a:cubicBezTo>
                  <a:pt x="167" y="191"/>
                  <a:pt x="167" y="191"/>
                  <a:pt x="167" y="191"/>
                </a:cubicBezTo>
                <a:cubicBezTo>
                  <a:pt x="173" y="201"/>
                  <a:pt x="173" y="201"/>
                  <a:pt x="173" y="201"/>
                </a:cubicBezTo>
                <a:cubicBezTo>
                  <a:pt x="191" y="199"/>
                  <a:pt x="191" y="199"/>
                  <a:pt x="191" y="199"/>
                </a:cubicBezTo>
                <a:cubicBezTo>
                  <a:pt x="196" y="202"/>
                  <a:pt x="196" y="202"/>
                  <a:pt x="196" y="202"/>
                </a:cubicBezTo>
                <a:cubicBezTo>
                  <a:pt x="199" y="212"/>
                  <a:pt x="199" y="212"/>
                  <a:pt x="199" y="212"/>
                </a:cubicBezTo>
                <a:cubicBezTo>
                  <a:pt x="225" y="222"/>
                  <a:pt x="225" y="222"/>
                  <a:pt x="225" y="222"/>
                </a:cubicBezTo>
                <a:cubicBezTo>
                  <a:pt x="239" y="223"/>
                  <a:pt x="239" y="223"/>
                  <a:pt x="239" y="223"/>
                </a:cubicBezTo>
                <a:cubicBezTo>
                  <a:pt x="239" y="224"/>
                  <a:pt x="239" y="224"/>
                  <a:pt x="239" y="224"/>
                </a:cubicBezTo>
                <a:cubicBezTo>
                  <a:pt x="239" y="223"/>
                  <a:pt x="239" y="223"/>
                  <a:pt x="239" y="223"/>
                </a:cubicBezTo>
                <a:cubicBezTo>
                  <a:pt x="181" y="187"/>
                  <a:pt x="181" y="187"/>
                  <a:pt x="181" y="187"/>
                </a:cubicBezTo>
                <a:cubicBezTo>
                  <a:pt x="143" y="160"/>
                  <a:pt x="143" y="160"/>
                  <a:pt x="143" y="160"/>
                </a:cubicBezTo>
                <a:cubicBezTo>
                  <a:pt x="134" y="156"/>
                  <a:pt x="134" y="156"/>
                  <a:pt x="134" y="156"/>
                </a:cubicBezTo>
                <a:cubicBezTo>
                  <a:pt x="130" y="147"/>
                  <a:pt x="130" y="147"/>
                  <a:pt x="130" y="147"/>
                </a:cubicBezTo>
                <a:cubicBezTo>
                  <a:pt x="130" y="135"/>
                  <a:pt x="130" y="135"/>
                  <a:pt x="130" y="135"/>
                </a:cubicBezTo>
                <a:cubicBezTo>
                  <a:pt x="133" y="125"/>
                  <a:pt x="133" y="125"/>
                  <a:pt x="133" y="125"/>
                </a:cubicBezTo>
                <a:cubicBezTo>
                  <a:pt x="133" y="113"/>
                  <a:pt x="133" y="113"/>
                  <a:pt x="133" y="113"/>
                </a:cubicBezTo>
                <a:cubicBezTo>
                  <a:pt x="126" y="94"/>
                  <a:pt x="126" y="94"/>
                  <a:pt x="126" y="94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49" y="98"/>
                  <a:pt x="149" y="98"/>
                  <a:pt x="149" y="98"/>
                </a:cubicBezTo>
                <a:cubicBezTo>
                  <a:pt x="165" y="81"/>
                  <a:pt x="165" y="81"/>
                  <a:pt x="165" y="81"/>
                </a:cubicBezTo>
                <a:cubicBezTo>
                  <a:pt x="180" y="85"/>
                  <a:pt x="180" y="85"/>
                  <a:pt x="180" y="85"/>
                </a:cubicBezTo>
                <a:cubicBezTo>
                  <a:pt x="185" y="76"/>
                  <a:pt x="185" y="76"/>
                  <a:pt x="185" y="76"/>
                </a:cubicBezTo>
                <a:cubicBezTo>
                  <a:pt x="200" y="86"/>
                  <a:pt x="200" y="86"/>
                  <a:pt x="200" y="86"/>
                </a:cubicBezTo>
                <a:cubicBezTo>
                  <a:pt x="209" y="81"/>
                  <a:pt x="209" y="81"/>
                  <a:pt x="209" y="81"/>
                </a:cubicBezTo>
                <a:cubicBezTo>
                  <a:pt x="219" y="81"/>
                  <a:pt x="219" y="81"/>
                  <a:pt x="219" y="81"/>
                </a:cubicBezTo>
                <a:cubicBezTo>
                  <a:pt x="233" y="92"/>
                  <a:pt x="233" y="92"/>
                  <a:pt x="233" y="92"/>
                </a:cubicBezTo>
                <a:cubicBezTo>
                  <a:pt x="245" y="81"/>
                  <a:pt x="245" y="81"/>
                  <a:pt x="245" y="81"/>
                </a:cubicBezTo>
                <a:cubicBezTo>
                  <a:pt x="257" y="76"/>
                  <a:pt x="257" y="76"/>
                  <a:pt x="257" y="76"/>
                </a:cubicBezTo>
                <a:cubicBezTo>
                  <a:pt x="276" y="81"/>
                  <a:pt x="276" y="81"/>
                  <a:pt x="276" y="81"/>
                </a:cubicBezTo>
                <a:cubicBezTo>
                  <a:pt x="276" y="81"/>
                  <a:pt x="285" y="89"/>
                  <a:pt x="285" y="91"/>
                </a:cubicBezTo>
                <a:cubicBezTo>
                  <a:pt x="288" y="89"/>
                  <a:pt x="304" y="81"/>
                  <a:pt x="304" y="81"/>
                </a:cubicBezTo>
                <a:cubicBezTo>
                  <a:pt x="304" y="58"/>
                  <a:pt x="304" y="58"/>
                  <a:pt x="304" y="58"/>
                </a:cubicBezTo>
                <a:lnTo>
                  <a:pt x="286" y="46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45" name="Slovenia"/>
          <p:cNvSpPr>
            <a:spLocks/>
          </p:cNvSpPr>
          <p:nvPr/>
        </p:nvSpPr>
        <p:spPr bwMode="auto">
          <a:xfrm>
            <a:off x="9390588" y="4864100"/>
            <a:ext cx="452438" cy="252413"/>
          </a:xfrm>
          <a:custGeom>
            <a:avLst/>
            <a:gdLst>
              <a:gd name="T0" fmla="*/ 207 w 285"/>
              <a:gd name="T1" fmla="*/ 94 h 159"/>
              <a:gd name="T2" fmla="*/ 253 w 285"/>
              <a:gd name="T3" fmla="*/ 85 h 159"/>
              <a:gd name="T4" fmla="*/ 280 w 285"/>
              <a:gd name="T5" fmla="*/ 35 h 159"/>
              <a:gd name="T6" fmla="*/ 285 w 285"/>
              <a:gd name="T7" fmla="*/ 29 h 159"/>
              <a:gd name="T8" fmla="*/ 247 w 285"/>
              <a:gd name="T9" fmla="*/ 0 h 159"/>
              <a:gd name="T10" fmla="*/ 193 w 285"/>
              <a:gd name="T11" fmla="*/ 20 h 159"/>
              <a:gd name="T12" fmla="*/ 146 w 285"/>
              <a:gd name="T13" fmla="*/ 6 h 159"/>
              <a:gd name="T14" fmla="*/ 117 w 285"/>
              <a:gd name="T15" fmla="*/ 44 h 159"/>
              <a:gd name="T16" fmla="*/ 47 w 285"/>
              <a:gd name="T17" fmla="*/ 38 h 159"/>
              <a:gd name="T18" fmla="*/ 0 w 285"/>
              <a:gd name="T19" fmla="*/ 62 h 159"/>
              <a:gd name="T20" fmla="*/ 34 w 285"/>
              <a:gd name="T21" fmla="*/ 80 h 159"/>
              <a:gd name="T22" fmla="*/ 18 w 285"/>
              <a:gd name="T23" fmla="*/ 103 h 159"/>
              <a:gd name="T24" fmla="*/ 61 w 285"/>
              <a:gd name="T25" fmla="*/ 141 h 159"/>
              <a:gd name="T26" fmla="*/ 85 w 285"/>
              <a:gd name="T27" fmla="*/ 154 h 159"/>
              <a:gd name="T28" fmla="*/ 126 w 285"/>
              <a:gd name="T29" fmla="*/ 145 h 159"/>
              <a:gd name="T30" fmla="*/ 175 w 285"/>
              <a:gd name="T31" fmla="*/ 159 h 159"/>
              <a:gd name="T32" fmla="*/ 207 w 285"/>
              <a:gd name="T33" fmla="*/ 134 h 159"/>
              <a:gd name="T34" fmla="*/ 207 w 285"/>
              <a:gd name="T35" fmla="*/ 94 h 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85" h="159">
                <a:moveTo>
                  <a:pt x="207" y="94"/>
                </a:moveTo>
                <a:lnTo>
                  <a:pt x="253" y="85"/>
                </a:lnTo>
                <a:lnTo>
                  <a:pt x="280" y="35"/>
                </a:lnTo>
                <a:lnTo>
                  <a:pt x="285" y="29"/>
                </a:lnTo>
                <a:lnTo>
                  <a:pt x="247" y="0"/>
                </a:lnTo>
                <a:lnTo>
                  <a:pt x="193" y="20"/>
                </a:lnTo>
                <a:lnTo>
                  <a:pt x="146" y="6"/>
                </a:lnTo>
                <a:lnTo>
                  <a:pt x="117" y="44"/>
                </a:lnTo>
                <a:lnTo>
                  <a:pt x="47" y="38"/>
                </a:lnTo>
                <a:lnTo>
                  <a:pt x="0" y="62"/>
                </a:lnTo>
                <a:lnTo>
                  <a:pt x="34" y="80"/>
                </a:lnTo>
                <a:lnTo>
                  <a:pt x="18" y="103"/>
                </a:lnTo>
                <a:lnTo>
                  <a:pt x="61" y="141"/>
                </a:lnTo>
                <a:lnTo>
                  <a:pt x="85" y="154"/>
                </a:lnTo>
                <a:lnTo>
                  <a:pt x="126" y="145"/>
                </a:lnTo>
                <a:lnTo>
                  <a:pt x="175" y="159"/>
                </a:lnTo>
                <a:lnTo>
                  <a:pt x="207" y="134"/>
                </a:lnTo>
                <a:lnTo>
                  <a:pt x="207" y="94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46" name="Switzerland"/>
          <p:cNvSpPr>
            <a:spLocks/>
          </p:cNvSpPr>
          <p:nvPr/>
        </p:nvSpPr>
        <p:spPr bwMode="auto">
          <a:xfrm>
            <a:off x="8285688" y="4695825"/>
            <a:ext cx="714375" cy="381000"/>
          </a:xfrm>
          <a:custGeom>
            <a:avLst/>
            <a:gdLst>
              <a:gd name="T0" fmla="*/ 137 w 249"/>
              <a:gd name="T1" fmla="*/ 0 h 133"/>
              <a:gd name="T2" fmla="*/ 151 w 249"/>
              <a:gd name="T3" fmla="*/ 9 h 133"/>
              <a:gd name="T4" fmla="*/ 171 w 249"/>
              <a:gd name="T5" fmla="*/ 8 h 133"/>
              <a:gd name="T6" fmla="*/ 186 w 249"/>
              <a:gd name="T7" fmla="*/ 18 h 133"/>
              <a:gd name="T8" fmla="*/ 191 w 249"/>
              <a:gd name="T9" fmla="*/ 29 h 133"/>
              <a:gd name="T10" fmla="*/ 180 w 249"/>
              <a:gd name="T11" fmla="*/ 43 h 133"/>
              <a:gd name="T12" fmla="*/ 193 w 249"/>
              <a:gd name="T13" fmla="*/ 55 h 133"/>
              <a:gd name="T14" fmla="*/ 206 w 249"/>
              <a:gd name="T15" fmla="*/ 62 h 133"/>
              <a:gd name="T16" fmla="*/ 232 w 249"/>
              <a:gd name="T17" fmla="*/ 63 h 133"/>
              <a:gd name="T18" fmla="*/ 242 w 249"/>
              <a:gd name="T19" fmla="*/ 50 h 133"/>
              <a:gd name="T20" fmla="*/ 249 w 249"/>
              <a:gd name="T21" fmla="*/ 62 h 133"/>
              <a:gd name="T22" fmla="*/ 238 w 249"/>
              <a:gd name="T23" fmla="*/ 70 h 133"/>
              <a:gd name="T24" fmla="*/ 236 w 249"/>
              <a:gd name="T25" fmla="*/ 88 h 133"/>
              <a:gd name="T26" fmla="*/ 222 w 249"/>
              <a:gd name="T27" fmla="*/ 77 h 133"/>
              <a:gd name="T28" fmla="*/ 212 w 249"/>
              <a:gd name="T29" fmla="*/ 83 h 133"/>
              <a:gd name="T30" fmla="*/ 222 w 249"/>
              <a:gd name="T31" fmla="*/ 102 h 133"/>
              <a:gd name="T32" fmla="*/ 215 w 249"/>
              <a:gd name="T33" fmla="*/ 111 h 133"/>
              <a:gd name="T34" fmla="*/ 204 w 249"/>
              <a:gd name="T35" fmla="*/ 95 h 133"/>
              <a:gd name="T36" fmla="*/ 187 w 249"/>
              <a:gd name="T37" fmla="*/ 102 h 133"/>
              <a:gd name="T38" fmla="*/ 177 w 249"/>
              <a:gd name="T39" fmla="*/ 83 h 133"/>
              <a:gd name="T40" fmla="*/ 172 w 249"/>
              <a:gd name="T41" fmla="*/ 88 h 133"/>
              <a:gd name="T42" fmla="*/ 172 w 249"/>
              <a:gd name="T43" fmla="*/ 103 h 133"/>
              <a:gd name="T44" fmla="*/ 156 w 249"/>
              <a:gd name="T45" fmla="*/ 118 h 133"/>
              <a:gd name="T46" fmla="*/ 167 w 249"/>
              <a:gd name="T47" fmla="*/ 127 h 133"/>
              <a:gd name="T48" fmla="*/ 159 w 249"/>
              <a:gd name="T49" fmla="*/ 133 h 133"/>
              <a:gd name="T50" fmla="*/ 147 w 249"/>
              <a:gd name="T51" fmla="*/ 127 h 133"/>
              <a:gd name="T52" fmla="*/ 147 w 249"/>
              <a:gd name="T53" fmla="*/ 110 h 133"/>
              <a:gd name="T54" fmla="*/ 132 w 249"/>
              <a:gd name="T55" fmla="*/ 107 h 133"/>
              <a:gd name="T56" fmla="*/ 122 w 249"/>
              <a:gd name="T57" fmla="*/ 93 h 133"/>
              <a:gd name="T58" fmla="*/ 102 w 249"/>
              <a:gd name="T59" fmla="*/ 124 h 133"/>
              <a:gd name="T60" fmla="*/ 46 w 249"/>
              <a:gd name="T61" fmla="*/ 126 h 133"/>
              <a:gd name="T62" fmla="*/ 39 w 249"/>
              <a:gd name="T63" fmla="*/ 85 h 133"/>
              <a:gd name="T64" fmla="*/ 11 w 249"/>
              <a:gd name="T65" fmla="*/ 89 h 133"/>
              <a:gd name="T66" fmla="*/ 0 w 249"/>
              <a:gd name="T67" fmla="*/ 102 h 133"/>
              <a:gd name="T68" fmla="*/ 2 w 249"/>
              <a:gd name="T69" fmla="*/ 81 h 133"/>
              <a:gd name="T70" fmla="*/ 28 w 249"/>
              <a:gd name="T71" fmla="*/ 50 h 133"/>
              <a:gd name="T72" fmla="*/ 86 w 249"/>
              <a:gd name="T73" fmla="*/ 13 h 133"/>
              <a:gd name="T74" fmla="*/ 106 w 249"/>
              <a:gd name="T75" fmla="*/ 14 h 133"/>
              <a:gd name="T76" fmla="*/ 133 w 249"/>
              <a:gd name="T77" fmla="*/ 17 h 133"/>
              <a:gd name="T78" fmla="*/ 137 w 249"/>
              <a:gd name="T79" fmla="*/ 0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49" h="133">
                <a:moveTo>
                  <a:pt x="137" y="0"/>
                </a:moveTo>
                <a:cubicBezTo>
                  <a:pt x="151" y="9"/>
                  <a:pt x="151" y="9"/>
                  <a:pt x="151" y="9"/>
                </a:cubicBezTo>
                <a:cubicBezTo>
                  <a:pt x="171" y="8"/>
                  <a:pt x="171" y="8"/>
                  <a:pt x="171" y="8"/>
                </a:cubicBezTo>
                <a:cubicBezTo>
                  <a:pt x="186" y="18"/>
                  <a:pt x="186" y="18"/>
                  <a:pt x="186" y="18"/>
                </a:cubicBezTo>
                <a:cubicBezTo>
                  <a:pt x="191" y="29"/>
                  <a:pt x="191" y="29"/>
                  <a:pt x="191" y="29"/>
                </a:cubicBezTo>
                <a:cubicBezTo>
                  <a:pt x="180" y="43"/>
                  <a:pt x="180" y="43"/>
                  <a:pt x="180" y="43"/>
                </a:cubicBezTo>
                <a:cubicBezTo>
                  <a:pt x="193" y="55"/>
                  <a:pt x="193" y="55"/>
                  <a:pt x="193" y="55"/>
                </a:cubicBezTo>
                <a:cubicBezTo>
                  <a:pt x="206" y="62"/>
                  <a:pt x="206" y="62"/>
                  <a:pt x="206" y="62"/>
                </a:cubicBezTo>
                <a:cubicBezTo>
                  <a:pt x="232" y="63"/>
                  <a:pt x="232" y="63"/>
                  <a:pt x="232" y="63"/>
                </a:cubicBezTo>
                <a:cubicBezTo>
                  <a:pt x="242" y="50"/>
                  <a:pt x="242" y="50"/>
                  <a:pt x="242" y="50"/>
                </a:cubicBezTo>
                <a:cubicBezTo>
                  <a:pt x="249" y="62"/>
                  <a:pt x="249" y="62"/>
                  <a:pt x="249" y="62"/>
                </a:cubicBezTo>
                <a:cubicBezTo>
                  <a:pt x="238" y="70"/>
                  <a:pt x="238" y="70"/>
                  <a:pt x="238" y="70"/>
                </a:cubicBezTo>
                <a:cubicBezTo>
                  <a:pt x="236" y="88"/>
                  <a:pt x="236" y="88"/>
                  <a:pt x="236" y="88"/>
                </a:cubicBezTo>
                <a:cubicBezTo>
                  <a:pt x="222" y="77"/>
                  <a:pt x="222" y="77"/>
                  <a:pt x="222" y="77"/>
                </a:cubicBezTo>
                <a:cubicBezTo>
                  <a:pt x="212" y="83"/>
                  <a:pt x="212" y="83"/>
                  <a:pt x="212" y="83"/>
                </a:cubicBezTo>
                <a:cubicBezTo>
                  <a:pt x="222" y="102"/>
                  <a:pt x="222" y="102"/>
                  <a:pt x="222" y="102"/>
                </a:cubicBezTo>
                <a:cubicBezTo>
                  <a:pt x="215" y="111"/>
                  <a:pt x="215" y="111"/>
                  <a:pt x="215" y="111"/>
                </a:cubicBezTo>
                <a:cubicBezTo>
                  <a:pt x="204" y="95"/>
                  <a:pt x="204" y="95"/>
                  <a:pt x="204" y="95"/>
                </a:cubicBezTo>
                <a:cubicBezTo>
                  <a:pt x="187" y="102"/>
                  <a:pt x="187" y="102"/>
                  <a:pt x="187" y="102"/>
                </a:cubicBezTo>
                <a:cubicBezTo>
                  <a:pt x="177" y="83"/>
                  <a:pt x="177" y="83"/>
                  <a:pt x="177" y="83"/>
                </a:cubicBezTo>
                <a:cubicBezTo>
                  <a:pt x="172" y="88"/>
                  <a:pt x="172" y="88"/>
                  <a:pt x="172" y="88"/>
                </a:cubicBezTo>
                <a:cubicBezTo>
                  <a:pt x="172" y="103"/>
                  <a:pt x="172" y="103"/>
                  <a:pt x="172" y="103"/>
                </a:cubicBezTo>
                <a:cubicBezTo>
                  <a:pt x="156" y="118"/>
                  <a:pt x="156" y="118"/>
                  <a:pt x="156" y="118"/>
                </a:cubicBezTo>
                <a:cubicBezTo>
                  <a:pt x="167" y="127"/>
                  <a:pt x="167" y="127"/>
                  <a:pt x="167" y="127"/>
                </a:cubicBezTo>
                <a:cubicBezTo>
                  <a:pt x="159" y="133"/>
                  <a:pt x="159" y="133"/>
                  <a:pt x="159" y="133"/>
                </a:cubicBezTo>
                <a:cubicBezTo>
                  <a:pt x="147" y="127"/>
                  <a:pt x="147" y="127"/>
                  <a:pt x="147" y="127"/>
                </a:cubicBezTo>
                <a:cubicBezTo>
                  <a:pt x="147" y="110"/>
                  <a:pt x="147" y="110"/>
                  <a:pt x="147" y="110"/>
                </a:cubicBezTo>
                <a:cubicBezTo>
                  <a:pt x="132" y="107"/>
                  <a:pt x="132" y="107"/>
                  <a:pt x="132" y="107"/>
                </a:cubicBezTo>
                <a:cubicBezTo>
                  <a:pt x="122" y="93"/>
                  <a:pt x="122" y="93"/>
                  <a:pt x="122" y="93"/>
                </a:cubicBezTo>
                <a:cubicBezTo>
                  <a:pt x="102" y="124"/>
                  <a:pt x="102" y="124"/>
                  <a:pt x="102" y="124"/>
                </a:cubicBezTo>
                <a:cubicBezTo>
                  <a:pt x="102" y="124"/>
                  <a:pt x="45" y="126"/>
                  <a:pt x="46" y="126"/>
                </a:cubicBezTo>
                <a:cubicBezTo>
                  <a:pt x="48" y="126"/>
                  <a:pt x="39" y="85"/>
                  <a:pt x="39" y="85"/>
                </a:cubicBezTo>
                <a:cubicBezTo>
                  <a:pt x="11" y="89"/>
                  <a:pt x="11" y="89"/>
                  <a:pt x="11" y="89"/>
                </a:cubicBezTo>
                <a:cubicBezTo>
                  <a:pt x="0" y="102"/>
                  <a:pt x="0" y="102"/>
                  <a:pt x="0" y="102"/>
                </a:cubicBezTo>
                <a:cubicBezTo>
                  <a:pt x="2" y="81"/>
                  <a:pt x="2" y="81"/>
                  <a:pt x="2" y="81"/>
                </a:cubicBezTo>
                <a:cubicBezTo>
                  <a:pt x="28" y="50"/>
                  <a:pt x="28" y="50"/>
                  <a:pt x="28" y="50"/>
                </a:cubicBezTo>
                <a:cubicBezTo>
                  <a:pt x="86" y="13"/>
                  <a:pt x="86" y="13"/>
                  <a:pt x="86" y="13"/>
                </a:cubicBezTo>
                <a:cubicBezTo>
                  <a:pt x="106" y="14"/>
                  <a:pt x="106" y="14"/>
                  <a:pt x="106" y="14"/>
                </a:cubicBezTo>
                <a:cubicBezTo>
                  <a:pt x="133" y="17"/>
                  <a:pt x="133" y="17"/>
                  <a:pt x="133" y="17"/>
                </a:cubicBezTo>
                <a:lnTo>
                  <a:pt x="137" y="0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47" name="ANDORRA"/>
          <p:cNvSpPr>
            <a:spLocks noChangeArrowheads="1"/>
          </p:cNvSpPr>
          <p:nvPr/>
        </p:nvSpPr>
        <p:spPr bwMode="auto">
          <a:xfrm>
            <a:off x="7425263" y="5492750"/>
            <a:ext cx="244475" cy="246063"/>
          </a:xfrm>
          <a:prstGeom prst="rect">
            <a:avLst/>
          </a:prstGeom>
          <a:solidFill>
            <a:srgbClr val="E1E0DC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48" name="Portugal"/>
          <p:cNvSpPr>
            <a:spLocks/>
          </p:cNvSpPr>
          <p:nvPr/>
        </p:nvSpPr>
        <p:spPr bwMode="auto">
          <a:xfrm>
            <a:off x="5561538" y="5446713"/>
            <a:ext cx="693738" cy="989013"/>
          </a:xfrm>
          <a:custGeom>
            <a:avLst/>
            <a:gdLst>
              <a:gd name="T0" fmla="*/ 159 w 437"/>
              <a:gd name="T1" fmla="*/ 107 h 623"/>
              <a:gd name="T2" fmla="*/ 159 w 437"/>
              <a:gd name="T3" fmla="*/ 61 h 623"/>
              <a:gd name="T4" fmla="*/ 148 w 437"/>
              <a:gd name="T5" fmla="*/ 34 h 623"/>
              <a:gd name="T6" fmla="*/ 179 w 437"/>
              <a:gd name="T7" fmla="*/ 0 h 623"/>
              <a:gd name="T8" fmla="*/ 229 w 437"/>
              <a:gd name="T9" fmla="*/ 0 h 623"/>
              <a:gd name="T10" fmla="*/ 260 w 437"/>
              <a:gd name="T11" fmla="*/ 14 h 623"/>
              <a:gd name="T12" fmla="*/ 242 w 437"/>
              <a:gd name="T13" fmla="*/ 40 h 623"/>
              <a:gd name="T14" fmla="*/ 280 w 437"/>
              <a:gd name="T15" fmla="*/ 38 h 623"/>
              <a:gd name="T16" fmla="*/ 331 w 437"/>
              <a:gd name="T17" fmla="*/ 58 h 623"/>
              <a:gd name="T18" fmla="*/ 341 w 437"/>
              <a:gd name="T19" fmla="*/ 43 h 623"/>
              <a:gd name="T20" fmla="*/ 401 w 437"/>
              <a:gd name="T21" fmla="*/ 51 h 623"/>
              <a:gd name="T22" fmla="*/ 396 w 437"/>
              <a:gd name="T23" fmla="*/ 96 h 623"/>
              <a:gd name="T24" fmla="*/ 437 w 437"/>
              <a:gd name="T25" fmla="*/ 94 h 623"/>
              <a:gd name="T26" fmla="*/ 437 w 437"/>
              <a:gd name="T27" fmla="*/ 126 h 623"/>
              <a:gd name="T28" fmla="*/ 340 w 437"/>
              <a:gd name="T29" fmla="*/ 154 h 623"/>
              <a:gd name="T30" fmla="*/ 347 w 437"/>
              <a:gd name="T31" fmla="*/ 179 h 623"/>
              <a:gd name="T32" fmla="*/ 332 w 437"/>
              <a:gd name="T33" fmla="*/ 246 h 623"/>
              <a:gd name="T34" fmla="*/ 314 w 437"/>
              <a:gd name="T35" fmla="*/ 239 h 623"/>
              <a:gd name="T36" fmla="*/ 311 w 437"/>
              <a:gd name="T37" fmla="*/ 273 h 623"/>
              <a:gd name="T38" fmla="*/ 294 w 437"/>
              <a:gd name="T39" fmla="*/ 318 h 623"/>
              <a:gd name="T40" fmla="*/ 238 w 437"/>
              <a:gd name="T41" fmla="*/ 314 h 623"/>
              <a:gd name="T42" fmla="*/ 278 w 437"/>
              <a:gd name="T43" fmla="*/ 378 h 623"/>
              <a:gd name="T44" fmla="*/ 276 w 437"/>
              <a:gd name="T45" fmla="*/ 405 h 623"/>
              <a:gd name="T46" fmla="*/ 226 w 437"/>
              <a:gd name="T47" fmla="*/ 454 h 623"/>
              <a:gd name="T48" fmla="*/ 273 w 437"/>
              <a:gd name="T49" fmla="*/ 506 h 623"/>
              <a:gd name="T50" fmla="*/ 219 w 437"/>
              <a:gd name="T51" fmla="*/ 506 h 623"/>
              <a:gd name="T52" fmla="*/ 179 w 437"/>
              <a:gd name="T53" fmla="*/ 556 h 623"/>
              <a:gd name="T54" fmla="*/ 188 w 437"/>
              <a:gd name="T55" fmla="*/ 600 h 623"/>
              <a:gd name="T56" fmla="*/ 121 w 437"/>
              <a:gd name="T57" fmla="*/ 623 h 623"/>
              <a:gd name="T58" fmla="*/ 58 w 437"/>
              <a:gd name="T59" fmla="*/ 584 h 623"/>
              <a:gd name="T60" fmla="*/ 0 w 437"/>
              <a:gd name="T61" fmla="*/ 593 h 623"/>
              <a:gd name="T62" fmla="*/ 29 w 437"/>
              <a:gd name="T63" fmla="*/ 544 h 623"/>
              <a:gd name="T64" fmla="*/ 47 w 437"/>
              <a:gd name="T65" fmla="*/ 504 h 623"/>
              <a:gd name="T66" fmla="*/ 34 w 437"/>
              <a:gd name="T67" fmla="*/ 470 h 623"/>
              <a:gd name="T68" fmla="*/ 60 w 437"/>
              <a:gd name="T69" fmla="*/ 450 h 623"/>
              <a:gd name="T70" fmla="*/ 56 w 437"/>
              <a:gd name="T71" fmla="*/ 417 h 623"/>
              <a:gd name="T72" fmla="*/ 16 w 437"/>
              <a:gd name="T73" fmla="*/ 419 h 623"/>
              <a:gd name="T74" fmla="*/ 0 w 437"/>
              <a:gd name="T75" fmla="*/ 369 h 623"/>
              <a:gd name="T76" fmla="*/ 25 w 437"/>
              <a:gd name="T77" fmla="*/ 329 h 623"/>
              <a:gd name="T78" fmla="*/ 27 w 437"/>
              <a:gd name="T79" fmla="*/ 296 h 623"/>
              <a:gd name="T80" fmla="*/ 60 w 437"/>
              <a:gd name="T81" fmla="*/ 296 h 623"/>
              <a:gd name="T82" fmla="*/ 101 w 437"/>
              <a:gd name="T83" fmla="*/ 248 h 623"/>
              <a:gd name="T84" fmla="*/ 110 w 437"/>
              <a:gd name="T85" fmla="*/ 199 h 623"/>
              <a:gd name="T86" fmla="*/ 166 w 437"/>
              <a:gd name="T87" fmla="*/ 143 h 623"/>
              <a:gd name="T88" fmla="*/ 159 w 437"/>
              <a:gd name="T89" fmla="*/ 107 h 6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437" h="623">
                <a:moveTo>
                  <a:pt x="159" y="107"/>
                </a:moveTo>
                <a:lnTo>
                  <a:pt x="159" y="61"/>
                </a:lnTo>
                <a:lnTo>
                  <a:pt x="148" y="34"/>
                </a:lnTo>
                <a:lnTo>
                  <a:pt x="179" y="0"/>
                </a:lnTo>
                <a:lnTo>
                  <a:pt x="229" y="0"/>
                </a:lnTo>
                <a:lnTo>
                  <a:pt x="260" y="14"/>
                </a:lnTo>
                <a:lnTo>
                  <a:pt x="242" y="40"/>
                </a:lnTo>
                <a:lnTo>
                  <a:pt x="280" y="38"/>
                </a:lnTo>
                <a:lnTo>
                  <a:pt x="331" y="58"/>
                </a:lnTo>
                <a:lnTo>
                  <a:pt x="341" y="43"/>
                </a:lnTo>
                <a:lnTo>
                  <a:pt x="401" y="51"/>
                </a:lnTo>
                <a:lnTo>
                  <a:pt x="396" y="96"/>
                </a:lnTo>
                <a:lnTo>
                  <a:pt x="437" y="94"/>
                </a:lnTo>
                <a:lnTo>
                  <a:pt x="437" y="126"/>
                </a:lnTo>
                <a:lnTo>
                  <a:pt x="340" y="154"/>
                </a:lnTo>
                <a:lnTo>
                  <a:pt x="347" y="179"/>
                </a:lnTo>
                <a:lnTo>
                  <a:pt x="332" y="246"/>
                </a:lnTo>
                <a:lnTo>
                  <a:pt x="314" y="239"/>
                </a:lnTo>
                <a:lnTo>
                  <a:pt x="311" y="273"/>
                </a:lnTo>
                <a:lnTo>
                  <a:pt x="294" y="318"/>
                </a:lnTo>
                <a:lnTo>
                  <a:pt x="238" y="314"/>
                </a:lnTo>
                <a:lnTo>
                  <a:pt x="278" y="378"/>
                </a:lnTo>
                <a:lnTo>
                  <a:pt x="276" y="405"/>
                </a:lnTo>
                <a:lnTo>
                  <a:pt x="226" y="454"/>
                </a:lnTo>
                <a:lnTo>
                  <a:pt x="273" y="506"/>
                </a:lnTo>
                <a:lnTo>
                  <a:pt x="219" y="506"/>
                </a:lnTo>
                <a:lnTo>
                  <a:pt x="179" y="556"/>
                </a:lnTo>
                <a:lnTo>
                  <a:pt x="188" y="600"/>
                </a:lnTo>
                <a:lnTo>
                  <a:pt x="121" y="623"/>
                </a:lnTo>
                <a:lnTo>
                  <a:pt x="58" y="584"/>
                </a:lnTo>
                <a:lnTo>
                  <a:pt x="0" y="593"/>
                </a:lnTo>
                <a:lnTo>
                  <a:pt x="29" y="544"/>
                </a:lnTo>
                <a:lnTo>
                  <a:pt x="47" y="504"/>
                </a:lnTo>
                <a:lnTo>
                  <a:pt x="34" y="470"/>
                </a:lnTo>
                <a:lnTo>
                  <a:pt x="60" y="450"/>
                </a:lnTo>
                <a:lnTo>
                  <a:pt x="56" y="417"/>
                </a:lnTo>
                <a:lnTo>
                  <a:pt x="16" y="419"/>
                </a:lnTo>
                <a:lnTo>
                  <a:pt x="0" y="369"/>
                </a:lnTo>
                <a:lnTo>
                  <a:pt x="25" y="329"/>
                </a:lnTo>
                <a:lnTo>
                  <a:pt x="27" y="296"/>
                </a:lnTo>
                <a:lnTo>
                  <a:pt x="60" y="296"/>
                </a:lnTo>
                <a:lnTo>
                  <a:pt x="101" y="248"/>
                </a:lnTo>
                <a:lnTo>
                  <a:pt x="110" y="199"/>
                </a:lnTo>
                <a:lnTo>
                  <a:pt x="166" y="143"/>
                </a:lnTo>
                <a:lnTo>
                  <a:pt x="159" y="107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9" name="Spain"/>
          <p:cNvSpPr>
            <a:spLocks/>
          </p:cNvSpPr>
          <p:nvPr/>
        </p:nvSpPr>
        <p:spPr bwMode="auto">
          <a:xfrm>
            <a:off x="5825063" y="5143500"/>
            <a:ext cx="1965325" cy="1547813"/>
          </a:xfrm>
          <a:custGeom>
            <a:avLst/>
            <a:gdLst>
              <a:gd name="T0" fmla="*/ 638 w 1238"/>
              <a:gd name="T1" fmla="*/ 133 h 975"/>
              <a:gd name="T2" fmla="*/ 710 w 1238"/>
              <a:gd name="T3" fmla="*/ 169 h 975"/>
              <a:gd name="T4" fmla="*/ 779 w 1238"/>
              <a:gd name="T5" fmla="*/ 178 h 975"/>
              <a:gd name="T6" fmla="*/ 842 w 1238"/>
              <a:gd name="T7" fmla="*/ 224 h 975"/>
              <a:gd name="T8" fmla="*/ 914 w 1238"/>
              <a:gd name="T9" fmla="*/ 269 h 975"/>
              <a:gd name="T10" fmla="*/ 999 w 1238"/>
              <a:gd name="T11" fmla="*/ 256 h 975"/>
              <a:gd name="T12" fmla="*/ 1061 w 1238"/>
              <a:gd name="T13" fmla="*/ 298 h 975"/>
              <a:gd name="T14" fmla="*/ 1095 w 1238"/>
              <a:gd name="T15" fmla="*/ 316 h 975"/>
              <a:gd name="T16" fmla="*/ 1173 w 1238"/>
              <a:gd name="T17" fmla="*/ 345 h 975"/>
              <a:gd name="T18" fmla="*/ 1227 w 1238"/>
              <a:gd name="T19" fmla="*/ 397 h 975"/>
              <a:gd name="T20" fmla="*/ 1100 w 1238"/>
              <a:gd name="T21" fmla="*/ 469 h 975"/>
              <a:gd name="T22" fmla="*/ 958 w 1238"/>
              <a:gd name="T23" fmla="*/ 500 h 975"/>
              <a:gd name="T24" fmla="*/ 934 w 1238"/>
              <a:gd name="T25" fmla="*/ 532 h 975"/>
              <a:gd name="T26" fmla="*/ 826 w 1238"/>
              <a:gd name="T27" fmla="*/ 713 h 975"/>
              <a:gd name="T28" fmla="*/ 860 w 1238"/>
              <a:gd name="T29" fmla="*/ 753 h 975"/>
              <a:gd name="T30" fmla="*/ 763 w 1238"/>
              <a:gd name="T31" fmla="*/ 829 h 975"/>
              <a:gd name="T32" fmla="*/ 748 w 1238"/>
              <a:gd name="T33" fmla="*/ 869 h 975"/>
              <a:gd name="T34" fmla="*/ 703 w 1238"/>
              <a:gd name="T35" fmla="*/ 860 h 975"/>
              <a:gd name="T36" fmla="*/ 593 w 1238"/>
              <a:gd name="T37" fmla="*/ 943 h 975"/>
              <a:gd name="T38" fmla="*/ 562 w 1238"/>
              <a:gd name="T39" fmla="*/ 934 h 975"/>
              <a:gd name="T40" fmla="*/ 481 w 1238"/>
              <a:gd name="T41" fmla="*/ 926 h 975"/>
              <a:gd name="T42" fmla="*/ 338 w 1238"/>
              <a:gd name="T43" fmla="*/ 908 h 975"/>
              <a:gd name="T44" fmla="*/ 239 w 1238"/>
              <a:gd name="T45" fmla="*/ 925 h 975"/>
              <a:gd name="T46" fmla="*/ 165 w 1238"/>
              <a:gd name="T47" fmla="*/ 975 h 975"/>
              <a:gd name="T48" fmla="*/ 116 w 1238"/>
              <a:gd name="T49" fmla="*/ 908 h 975"/>
              <a:gd name="T50" fmla="*/ 116 w 1238"/>
              <a:gd name="T51" fmla="*/ 838 h 975"/>
              <a:gd name="T52" fmla="*/ 22 w 1238"/>
              <a:gd name="T53" fmla="*/ 791 h 975"/>
              <a:gd name="T54" fmla="*/ 53 w 1238"/>
              <a:gd name="T55" fmla="*/ 697 h 975"/>
              <a:gd name="T56" fmla="*/ 60 w 1238"/>
              <a:gd name="T57" fmla="*/ 645 h 975"/>
              <a:gd name="T58" fmla="*/ 112 w 1238"/>
              <a:gd name="T59" fmla="*/ 569 h 975"/>
              <a:gd name="T60" fmla="*/ 128 w 1238"/>
              <a:gd name="T61" fmla="*/ 509 h 975"/>
              <a:gd name="T62" fmla="*/ 148 w 1238"/>
              <a:gd name="T63" fmla="*/ 430 h 975"/>
              <a:gd name="T64" fmla="*/ 181 w 1238"/>
              <a:gd name="T65" fmla="*/ 370 h 975"/>
              <a:gd name="T66" fmla="*/ 271 w 1238"/>
              <a:gd name="T67" fmla="*/ 317 h 975"/>
              <a:gd name="T68" fmla="*/ 230 w 1238"/>
              <a:gd name="T69" fmla="*/ 287 h 975"/>
              <a:gd name="T70" fmla="*/ 175 w 1238"/>
              <a:gd name="T71" fmla="*/ 234 h 975"/>
              <a:gd name="T72" fmla="*/ 114 w 1238"/>
              <a:gd name="T73" fmla="*/ 229 h 975"/>
              <a:gd name="T74" fmla="*/ 94 w 1238"/>
              <a:gd name="T75" fmla="*/ 205 h 975"/>
              <a:gd name="T76" fmla="*/ 13 w 1238"/>
              <a:gd name="T77" fmla="*/ 191 h 975"/>
              <a:gd name="T78" fmla="*/ 54 w 1238"/>
              <a:gd name="T79" fmla="*/ 108 h 975"/>
              <a:gd name="T80" fmla="*/ 13 w 1238"/>
              <a:gd name="T81" fmla="*/ 110 h 975"/>
              <a:gd name="T82" fmla="*/ 27 w 1238"/>
              <a:gd name="T83" fmla="*/ 45 h 975"/>
              <a:gd name="T84" fmla="*/ 157 w 1238"/>
              <a:gd name="T85" fmla="*/ 0 h 975"/>
              <a:gd name="T86" fmla="*/ 190 w 1238"/>
              <a:gd name="T87" fmla="*/ 10 h 975"/>
              <a:gd name="T88" fmla="*/ 268 w 1238"/>
              <a:gd name="T89" fmla="*/ 56 h 975"/>
              <a:gd name="T90" fmla="*/ 356 w 1238"/>
              <a:gd name="T91" fmla="*/ 57 h 975"/>
              <a:gd name="T92" fmla="*/ 477 w 1238"/>
              <a:gd name="T93" fmla="*/ 121 h 975"/>
              <a:gd name="T94" fmla="*/ 542 w 1238"/>
              <a:gd name="T95" fmla="*/ 113 h 975"/>
              <a:gd name="T96" fmla="*/ 609 w 1238"/>
              <a:gd name="T97" fmla="*/ 157 h 9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238" h="975">
                <a:moveTo>
                  <a:pt x="609" y="157"/>
                </a:moveTo>
                <a:lnTo>
                  <a:pt x="638" y="133"/>
                </a:lnTo>
                <a:lnTo>
                  <a:pt x="672" y="157"/>
                </a:lnTo>
                <a:lnTo>
                  <a:pt x="710" y="169"/>
                </a:lnTo>
                <a:lnTo>
                  <a:pt x="763" y="162"/>
                </a:lnTo>
                <a:lnTo>
                  <a:pt x="779" y="178"/>
                </a:lnTo>
                <a:lnTo>
                  <a:pt x="779" y="204"/>
                </a:lnTo>
                <a:lnTo>
                  <a:pt x="842" y="224"/>
                </a:lnTo>
                <a:lnTo>
                  <a:pt x="898" y="252"/>
                </a:lnTo>
                <a:lnTo>
                  <a:pt x="914" y="269"/>
                </a:lnTo>
                <a:lnTo>
                  <a:pt x="990" y="278"/>
                </a:lnTo>
                <a:lnTo>
                  <a:pt x="999" y="256"/>
                </a:lnTo>
                <a:lnTo>
                  <a:pt x="1046" y="281"/>
                </a:lnTo>
                <a:lnTo>
                  <a:pt x="1061" y="298"/>
                </a:lnTo>
                <a:lnTo>
                  <a:pt x="1061" y="316"/>
                </a:lnTo>
                <a:lnTo>
                  <a:pt x="1095" y="316"/>
                </a:lnTo>
                <a:lnTo>
                  <a:pt x="1109" y="327"/>
                </a:lnTo>
                <a:lnTo>
                  <a:pt x="1173" y="345"/>
                </a:lnTo>
                <a:lnTo>
                  <a:pt x="1238" y="345"/>
                </a:lnTo>
                <a:lnTo>
                  <a:pt x="1227" y="397"/>
                </a:lnTo>
                <a:lnTo>
                  <a:pt x="1129" y="444"/>
                </a:lnTo>
                <a:lnTo>
                  <a:pt x="1100" y="469"/>
                </a:lnTo>
                <a:lnTo>
                  <a:pt x="1001" y="478"/>
                </a:lnTo>
                <a:lnTo>
                  <a:pt x="958" y="500"/>
                </a:lnTo>
                <a:lnTo>
                  <a:pt x="967" y="523"/>
                </a:lnTo>
                <a:lnTo>
                  <a:pt x="934" y="532"/>
                </a:lnTo>
                <a:lnTo>
                  <a:pt x="837" y="637"/>
                </a:lnTo>
                <a:lnTo>
                  <a:pt x="826" y="713"/>
                </a:lnTo>
                <a:lnTo>
                  <a:pt x="867" y="735"/>
                </a:lnTo>
                <a:lnTo>
                  <a:pt x="860" y="753"/>
                </a:lnTo>
                <a:lnTo>
                  <a:pt x="786" y="782"/>
                </a:lnTo>
                <a:lnTo>
                  <a:pt x="763" y="829"/>
                </a:lnTo>
                <a:lnTo>
                  <a:pt x="739" y="840"/>
                </a:lnTo>
                <a:lnTo>
                  <a:pt x="748" y="869"/>
                </a:lnTo>
                <a:lnTo>
                  <a:pt x="732" y="878"/>
                </a:lnTo>
                <a:lnTo>
                  <a:pt x="703" y="860"/>
                </a:lnTo>
                <a:lnTo>
                  <a:pt x="631" y="896"/>
                </a:lnTo>
                <a:lnTo>
                  <a:pt x="593" y="943"/>
                </a:lnTo>
                <a:lnTo>
                  <a:pt x="584" y="964"/>
                </a:lnTo>
                <a:lnTo>
                  <a:pt x="562" y="934"/>
                </a:lnTo>
                <a:lnTo>
                  <a:pt x="517" y="944"/>
                </a:lnTo>
                <a:lnTo>
                  <a:pt x="481" y="926"/>
                </a:lnTo>
                <a:lnTo>
                  <a:pt x="448" y="934"/>
                </a:lnTo>
                <a:lnTo>
                  <a:pt x="338" y="908"/>
                </a:lnTo>
                <a:lnTo>
                  <a:pt x="295" y="941"/>
                </a:lnTo>
                <a:lnTo>
                  <a:pt x="239" y="925"/>
                </a:lnTo>
                <a:lnTo>
                  <a:pt x="202" y="964"/>
                </a:lnTo>
                <a:lnTo>
                  <a:pt x="165" y="975"/>
                </a:lnTo>
                <a:lnTo>
                  <a:pt x="143" y="941"/>
                </a:lnTo>
                <a:lnTo>
                  <a:pt x="116" y="908"/>
                </a:lnTo>
                <a:lnTo>
                  <a:pt x="116" y="869"/>
                </a:lnTo>
                <a:lnTo>
                  <a:pt x="116" y="838"/>
                </a:lnTo>
                <a:lnTo>
                  <a:pt x="76" y="814"/>
                </a:lnTo>
                <a:lnTo>
                  <a:pt x="22" y="791"/>
                </a:lnTo>
                <a:lnTo>
                  <a:pt x="13" y="747"/>
                </a:lnTo>
                <a:lnTo>
                  <a:pt x="53" y="697"/>
                </a:lnTo>
                <a:lnTo>
                  <a:pt x="107" y="697"/>
                </a:lnTo>
                <a:lnTo>
                  <a:pt x="60" y="645"/>
                </a:lnTo>
                <a:lnTo>
                  <a:pt x="110" y="596"/>
                </a:lnTo>
                <a:lnTo>
                  <a:pt x="112" y="569"/>
                </a:lnTo>
                <a:lnTo>
                  <a:pt x="72" y="505"/>
                </a:lnTo>
                <a:lnTo>
                  <a:pt x="128" y="509"/>
                </a:lnTo>
                <a:lnTo>
                  <a:pt x="145" y="464"/>
                </a:lnTo>
                <a:lnTo>
                  <a:pt x="148" y="430"/>
                </a:lnTo>
                <a:lnTo>
                  <a:pt x="166" y="437"/>
                </a:lnTo>
                <a:lnTo>
                  <a:pt x="181" y="370"/>
                </a:lnTo>
                <a:lnTo>
                  <a:pt x="174" y="345"/>
                </a:lnTo>
                <a:lnTo>
                  <a:pt x="271" y="317"/>
                </a:lnTo>
                <a:lnTo>
                  <a:pt x="271" y="285"/>
                </a:lnTo>
                <a:lnTo>
                  <a:pt x="230" y="287"/>
                </a:lnTo>
                <a:lnTo>
                  <a:pt x="235" y="242"/>
                </a:lnTo>
                <a:lnTo>
                  <a:pt x="175" y="234"/>
                </a:lnTo>
                <a:lnTo>
                  <a:pt x="165" y="249"/>
                </a:lnTo>
                <a:lnTo>
                  <a:pt x="114" y="229"/>
                </a:lnTo>
                <a:lnTo>
                  <a:pt x="76" y="231"/>
                </a:lnTo>
                <a:lnTo>
                  <a:pt x="94" y="205"/>
                </a:lnTo>
                <a:lnTo>
                  <a:pt x="63" y="191"/>
                </a:lnTo>
                <a:lnTo>
                  <a:pt x="13" y="191"/>
                </a:lnTo>
                <a:lnTo>
                  <a:pt x="29" y="140"/>
                </a:lnTo>
                <a:lnTo>
                  <a:pt x="54" y="108"/>
                </a:lnTo>
                <a:lnTo>
                  <a:pt x="53" y="88"/>
                </a:lnTo>
                <a:lnTo>
                  <a:pt x="13" y="110"/>
                </a:lnTo>
                <a:lnTo>
                  <a:pt x="0" y="63"/>
                </a:lnTo>
                <a:lnTo>
                  <a:pt x="27" y="45"/>
                </a:lnTo>
                <a:lnTo>
                  <a:pt x="103" y="32"/>
                </a:lnTo>
                <a:lnTo>
                  <a:pt x="157" y="0"/>
                </a:lnTo>
                <a:lnTo>
                  <a:pt x="170" y="21"/>
                </a:lnTo>
                <a:lnTo>
                  <a:pt x="190" y="10"/>
                </a:lnTo>
                <a:lnTo>
                  <a:pt x="224" y="43"/>
                </a:lnTo>
                <a:lnTo>
                  <a:pt x="268" y="56"/>
                </a:lnTo>
                <a:lnTo>
                  <a:pt x="325" y="63"/>
                </a:lnTo>
                <a:lnTo>
                  <a:pt x="356" y="57"/>
                </a:lnTo>
                <a:lnTo>
                  <a:pt x="381" y="81"/>
                </a:lnTo>
                <a:lnTo>
                  <a:pt x="477" y="121"/>
                </a:lnTo>
                <a:lnTo>
                  <a:pt x="537" y="128"/>
                </a:lnTo>
                <a:lnTo>
                  <a:pt x="542" y="113"/>
                </a:lnTo>
                <a:lnTo>
                  <a:pt x="584" y="119"/>
                </a:lnTo>
                <a:lnTo>
                  <a:pt x="609" y="157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0" name="France"/>
          <p:cNvSpPr>
            <a:spLocks/>
          </p:cNvSpPr>
          <p:nvPr/>
        </p:nvSpPr>
        <p:spPr bwMode="auto">
          <a:xfrm>
            <a:off x="6752163" y="4013200"/>
            <a:ext cx="1889125" cy="1677988"/>
          </a:xfrm>
          <a:custGeom>
            <a:avLst/>
            <a:gdLst>
              <a:gd name="T0" fmla="*/ 246 w 659"/>
              <a:gd name="T1" fmla="*/ 109 h 585"/>
              <a:gd name="T2" fmla="*/ 336 w 659"/>
              <a:gd name="T3" fmla="*/ 64 h 585"/>
              <a:gd name="T4" fmla="*/ 386 w 659"/>
              <a:gd name="T5" fmla="*/ 0 h 585"/>
              <a:gd name="T6" fmla="*/ 454 w 659"/>
              <a:gd name="T7" fmla="*/ 54 h 585"/>
              <a:gd name="T8" fmla="*/ 490 w 659"/>
              <a:gd name="T9" fmla="*/ 73 h 585"/>
              <a:gd name="T10" fmla="*/ 551 w 659"/>
              <a:gd name="T11" fmla="*/ 120 h 585"/>
              <a:gd name="T12" fmla="*/ 594 w 659"/>
              <a:gd name="T13" fmla="*/ 150 h 585"/>
              <a:gd name="T14" fmla="*/ 628 w 659"/>
              <a:gd name="T15" fmla="*/ 200 h 585"/>
              <a:gd name="T16" fmla="*/ 563 w 659"/>
              <a:gd name="T17" fmla="*/ 288 h 585"/>
              <a:gd name="T18" fmla="*/ 535 w 659"/>
              <a:gd name="T19" fmla="*/ 340 h 585"/>
              <a:gd name="T20" fmla="*/ 575 w 659"/>
              <a:gd name="T21" fmla="*/ 323 h 585"/>
              <a:gd name="T22" fmla="*/ 568 w 659"/>
              <a:gd name="T23" fmla="*/ 370 h 585"/>
              <a:gd name="T24" fmla="*/ 567 w 659"/>
              <a:gd name="T25" fmla="*/ 414 h 585"/>
              <a:gd name="T26" fmla="*/ 575 w 659"/>
              <a:gd name="T27" fmla="*/ 466 h 585"/>
              <a:gd name="T28" fmla="*/ 606 w 659"/>
              <a:gd name="T29" fmla="*/ 507 h 585"/>
              <a:gd name="T30" fmla="*/ 488 w 659"/>
              <a:gd name="T31" fmla="*/ 536 h 585"/>
              <a:gd name="T32" fmla="*/ 450 w 659"/>
              <a:gd name="T33" fmla="*/ 528 h 585"/>
              <a:gd name="T34" fmla="*/ 362 w 659"/>
              <a:gd name="T35" fmla="*/ 529 h 585"/>
              <a:gd name="T36" fmla="*/ 362 w 659"/>
              <a:gd name="T37" fmla="*/ 585 h 585"/>
              <a:gd name="T38" fmla="*/ 291 w 659"/>
              <a:gd name="T39" fmla="*/ 575 h 585"/>
              <a:gd name="T40" fmla="*/ 264 w 659"/>
              <a:gd name="T41" fmla="*/ 559 h 585"/>
              <a:gd name="T42" fmla="*/ 230 w 659"/>
              <a:gd name="T43" fmla="*/ 536 h 585"/>
              <a:gd name="T44" fmla="*/ 183 w 659"/>
              <a:gd name="T45" fmla="*/ 543 h 585"/>
              <a:gd name="T46" fmla="*/ 143 w 659"/>
              <a:gd name="T47" fmla="*/ 518 h 585"/>
              <a:gd name="T48" fmla="*/ 108 w 659"/>
              <a:gd name="T49" fmla="*/ 493 h 585"/>
              <a:gd name="T50" fmla="*/ 121 w 659"/>
              <a:gd name="T51" fmla="*/ 463 h 585"/>
              <a:gd name="T52" fmla="*/ 151 w 659"/>
              <a:gd name="T53" fmla="*/ 351 h 585"/>
              <a:gd name="T54" fmla="*/ 155 w 659"/>
              <a:gd name="T55" fmla="*/ 337 h 585"/>
              <a:gd name="T56" fmla="*/ 159 w 659"/>
              <a:gd name="T57" fmla="*/ 296 h 585"/>
              <a:gd name="T58" fmla="*/ 126 w 659"/>
              <a:gd name="T59" fmla="*/ 266 h 585"/>
              <a:gd name="T60" fmla="*/ 122 w 659"/>
              <a:gd name="T61" fmla="*/ 242 h 585"/>
              <a:gd name="T62" fmla="*/ 113 w 659"/>
              <a:gd name="T63" fmla="*/ 207 h 585"/>
              <a:gd name="T64" fmla="*/ 45 w 659"/>
              <a:gd name="T65" fmla="*/ 177 h 585"/>
              <a:gd name="T66" fmla="*/ 0 w 659"/>
              <a:gd name="T67" fmla="*/ 156 h 585"/>
              <a:gd name="T68" fmla="*/ 5 w 659"/>
              <a:gd name="T69" fmla="*/ 132 h 585"/>
              <a:gd name="T70" fmla="*/ 43 w 659"/>
              <a:gd name="T71" fmla="*/ 111 h 585"/>
              <a:gd name="T72" fmla="*/ 85 w 659"/>
              <a:gd name="T73" fmla="*/ 110 h 585"/>
              <a:gd name="T74" fmla="*/ 123 w 659"/>
              <a:gd name="T75" fmla="*/ 126 h 585"/>
              <a:gd name="T76" fmla="*/ 172 w 659"/>
              <a:gd name="T77" fmla="*/ 143 h 585"/>
              <a:gd name="T78" fmla="*/ 174 w 659"/>
              <a:gd name="T79" fmla="*/ 100 h 585"/>
              <a:gd name="T80" fmla="*/ 163 w 659"/>
              <a:gd name="T81" fmla="*/ 65 h 585"/>
              <a:gd name="T82" fmla="*/ 188 w 659"/>
              <a:gd name="T83" fmla="*/ 94 h 5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659" h="585">
                <a:moveTo>
                  <a:pt x="201" y="92"/>
                </a:moveTo>
                <a:cubicBezTo>
                  <a:pt x="246" y="109"/>
                  <a:pt x="246" y="109"/>
                  <a:pt x="246" y="109"/>
                </a:cubicBezTo>
                <a:cubicBezTo>
                  <a:pt x="262" y="80"/>
                  <a:pt x="262" y="80"/>
                  <a:pt x="262" y="80"/>
                </a:cubicBezTo>
                <a:cubicBezTo>
                  <a:pt x="336" y="64"/>
                  <a:pt x="336" y="64"/>
                  <a:pt x="336" y="64"/>
                </a:cubicBezTo>
                <a:cubicBezTo>
                  <a:pt x="339" y="6"/>
                  <a:pt x="339" y="6"/>
                  <a:pt x="339" y="6"/>
                </a:cubicBezTo>
                <a:cubicBezTo>
                  <a:pt x="386" y="0"/>
                  <a:pt x="386" y="0"/>
                  <a:pt x="386" y="0"/>
                </a:cubicBezTo>
                <a:cubicBezTo>
                  <a:pt x="408" y="29"/>
                  <a:pt x="408" y="29"/>
                  <a:pt x="408" y="29"/>
                </a:cubicBezTo>
                <a:cubicBezTo>
                  <a:pt x="454" y="54"/>
                  <a:pt x="454" y="54"/>
                  <a:pt x="454" y="54"/>
                </a:cubicBezTo>
                <a:cubicBezTo>
                  <a:pt x="464" y="82"/>
                  <a:pt x="464" y="82"/>
                  <a:pt x="464" y="82"/>
                </a:cubicBezTo>
                <a:cubicBezTo>
                  <a:pt x="490" y="73"/>
                  <a:pt x="490" y="73"/>
                  <a:pt x="490" y="73"/>
                </a:cubicBezTo>
                <a:cubicBezTo>
                  <a:pt x="522" y="120"/>
                  <a:pt x="522" y="120"/>
                  <a:pt x="522" y="120"/>
                </a:cubicBezTo>
                <a:cubicBezTo>
                  <a:pt x="551" y="120"/>
                  <a:pt x="551" y="120"/>
                  <a:pt x="551" y="120"/>
                </a:cubicBezTo>
                <a:cubicBezTo>
                  <a:pt x="571" y="122"/>
                  <a:pt x="571" y="122"/>
                  <a:pt x="571" y="122"/>
                </a:cubicBezTo>
                <a:cubicBezTo>
                  <a:pt x="594" y="150"/>
                  <a:pt x="594" y="150"/>
                  <a:pt x="594" y="150"/>
                </a:cubicBezTo>
                <a:cubicBezTo>
                  <a:pt x="659" y="153"/>
                  <a:pt x="659" y="153"/>
                  <a:pt x="659" y="153"/>
                </a:cubicBezTo>
                <a:cubicBezTo>
                  <a:pt x="628" y="200"/>
                  <a:pt x="628" y="200"/>
                  <a:pt x="628" y="200"/>
                </a:cubicBezTo>
                <a:cubicBezTo>
                  <a:pt x="621" y="251"/>
                  <a:pt x="621" y="251"/>
                  <a:pt x="621" y="251"/>
                </a:cubicBezTo>
                <a:cubicBezTo>
                  <a:pt x="563" y="288"/>
                  <a:pt x="563" y="288"/>
                  <a:pt x="563" y="288"/>
                </a:cubicBezTo>
                <a:cubicBezTo>
                  <a:pt x="537" y="319"/>
                  <a:pt x="537" y="319"/>
                  <a:pt x="537" y="319"/>
                </a:cubicBezTo>
                <a:cubicBezTo>
                  <a:pt x="535" y="340"/>
                  <a:pt x="535" y="340"/>
                  <a:pt x="535" y="340"/>
                </a:cubicBezTo>
                <a:cubicBezTo>
                  <a:pt x="549" y="324"/>
                  <a:pt x="549" y="324"/>
                  <a:pt x="549" y="324"/>
                </a:cubicBezTo>
                <a:cubicBezTo>
                  <a:pt x="575" y="323"/>
                  <a:pt x="575" y="323"/>
                  <a:pt x="575" y="323"/>
                </a:cubicBezTo>
                <a:cubicBezTo>
                  <a:pt x="583" y="364"/>
                  <a:pt x="583" y="364"/>
                  <a:pt x="583" y="364"/>
                </a:cubicBezTo>
                <a:cubicBezTo>
                  <a:pt x="568" y="370"/>
                  <a:pt x="568" y="370"/>
                  <a:pt x="568" y="370"/>
                </a:cubicBezTo>
                <a:cubicBezTo>
                  <a:pt x="590" y="389"/>
                  <a:pt x="590" y="389"/>
                  <a:pt x="590" y="389"/>
                </a:cubicBezTo>
                <a:cubicBezTo>
                  <a:pt x="567" y="414"/>
                  <a:pt x="567" y="414"/>
                  <a:pt x="567" y="414"/>
                </a:cubicBezTo>
                <a:cubicBezTo>
                  <a:pt x="581" y="434"/>
                  <a:pt x="581" y="434"/>
                  <a:pt x="581" y="434"/>
                </a:cubicBezTo>
                <a:cubicBezTo>
                  <a:pt x="575" y="466"/>
                  <a:pt x="575" y="466"/>
                  <a:pt x="575" y="466"/>
                </a:cubicBezTo>
                <a:cubicBezTo>
                  <a:pt x="619" y="473"/>
                  <a:pt x="619" y="473"/>
                  <a:pt x="619" y="473"/>
                </a:cubicBezTo>
                <a:cubicBezTo>
                  <a:pt x="606" y="507"/>
                  <a:pt x="606" y="507"/>
                  <a:pt x="606" y="507"/>
                </a:cubicBezTo>
                <a:cubicBezTo>
                  <a:pt x="540" y="547"/>
                  <a:pt x="540" y="547"/>
                  <a:pt x="540" y="547"/>
                </a:cubicBezTo>
                <a:cubicBezTo>
                  <a:pt x="488" y="536"/>
                  <a:pt x="488" y="536"/>
                  <a:pt x="488" y="536"/>
                </a:cubicBezTo>
                <a:cubicBezTo>
                  <a:pt x="472" y="511"/>
                  <a:pt x="472" y="511"/>
                  <a:pt x="472" y="511"/>
                </a:cubicBezTo>
                <a:cubicBezTo>
                  <a:pt x="472" y="511"/>
                  <a:pt x="454" y="528"/>
                  <a:pt x="450" y="528"/>
                </a:cubicBezTo>
                <a:cubicBezTo>
                  <a:pt x="445" y="528"/>
                  <a:pt x="411" y="509"/>
                  <a:pt x="411" y="509"/>
                </a:cubicBezTo>
                <a:cubicBezTo>
                  <a:pt x="362" y="529"/>
                  <a:pt x="362" y="529"/>
                  <a:pt x="362" y="529"/>
                </a:cubicBezTo>
                <a:cubicBezTo>
                  <a:pt x="356" y="556"/>
                  <a:pt x="356" y="556"/>
                  <a:pt x="356" y="556"/>
                </a:cubicBezTo>
                <a:cubicBezTo>
                  <a:pt x="362" y="585"/>
                  <a:pt x="362" y="585"/>
                  <a:pt x="362" y="585"/>
                </a:cubicBezTo>
                <a:cubicBezTo>
                  <a:pt x="326" y="585"/>
                  <a:pt x="326" y="585"/>
                  <a:pt x="326" y="585"/>
                </a:cubicBezTo>
                <a:cubicBezTo>
                  <a:pt x="291" y="575"/>
                  <a:pt x="291" y="575"/>
                  <a:pt x="291" y="575"/>
                </a:cubicBezTo>
                <a:cubicBezTo>
                  <a:pt x="278" y="556"/>
                  <a:pt x="278" y="556"/>
                  <a:pt x="278" y="556"/>
                </a:cubicBezTo>
                <a:cubicBezTo>
                  <a:pt x="264" y="559"/>
                  <a:pt x="264" y="559"/>
                  <a:pt x="264" y="559"/>
                </a:cubicBezTo>
                <a:cubicBezTo>
                  <a:pt x="256" y="550"/>
                  <a:pt x="256" y="550"/>
                  <a:pt x="256" y="550"/>
                </a:cubicBezTo>
                <a:cubicBezTo>
                  <a:pt x="230" y="536"/>
                  <a:pt x="230" y="536"/>
                  <a:pt x="230" y="536"/>
                </a:cubicBezTo>
                <a:cubicBezTo>
                  <a:pt x="225" y="548"/>
                  <a:pt x="225" y="548"/>
                  <a:pt x="225" y="548"/>
                </a:cubicBezTo>
                <a:cubicBezTo>
                  <a:pt x="183" y="543"/>
                  <a:pt x="183" y="543"/>
                  <a:pt x="183" y="543"/>
                </a:cubicBezTo>
                <a:cubicBezTo>
                  <a:pt x="174" y="534"/>
                  <a:pt x="174" y="534"/>
                  <a:pt x="174" y="534"/>
                </a:cubicBezTo>
                <a:cubicBezTo>
                  <a:pt x="143" y="518"/>
                  <a:pt x="143" y="518"/>
                  <a:pt x="143" y="518"/>
                </a:cubicBezTo>
                <a:cubicBezTo>
                  <a:pt x="108" y="507"/>
                  <a:pt x="108" y="507"/>
                  <a:pt x="108" y="507"/>
                </a:cubicBezTo>
                <a:cubicBezTo>
                  <a:pt x="108" y="493"/>
                  <a:pt x="108" y="493"/>
                  <a:pt x="108" y="493"/>
                </a:cubicBezTo>
                <a:cubicBezTo>
                  <a:pt x="99" y="484"/>
                  <a:pt x="99" y="484"/>
                  <a:pt x="99" y="484"/>
                </a:cubicBezTo>
                <a:cubicBezTo>
                  <a:pt x="121" y="463"/>
                  <a:pt x="121" y="463"/>
                  <a:pt x="121" y="463"/>
                </a:cubicBezTo>
                <a:cubicBezTo>
                  <a:pt x="131" y="397"/>
                  <a:pt x="131" y="397"/>
                  <a:pt x="131" y="397"/>
                </a:cubicBezTo>
                <a:cubicBezTo>
                  <a:pt x="151" y="351"/>
                  <a:pt x="151" y="351"/>
                  <a:pt x="151" y="351"/>
                </a:cubicBezTo>
                <a:cubicBezTo>
                  <a:pt x="171" y="371"/>
                  <a:pt x="171" y="371"/>
                  <a:pt x="171" y="371"/>
                </a:cubicBezTo>
                <a:cubicBezTo>
                  <a:pt x="155" y="337"/>
                  <a:pt x="155" y="337"/>
                  <a:pt x="155" y="337"/>
                </a:cubicBezTo>
                <a:cubicBezTo>
                  <a:pt x="159" y="318"/>
                  <a:pt x="159" y="318"/>
                  <a:pt x="159" y="318"/>
                </a:cubicBezTo>
                <a:cubicBezTo>
                  <a:pt x="159" y="296"/>
                  <a:pt x="159" y="296"/>
                  <a:pt x="159" y="296"/>
                </a:cubicBezTo>
                <a:cubicBezTo>
                  <a:pt x="128" y="285"/>
                  <a:pt x="128" y="285"/>
                  <a:pt x="128" y="285"/>
                </a:cubicBezTo>
                <a:cubicBezTo>
                  <a:pt x="126" y="266"/>
                  <a:pt x="126" y="266"/>
                  <a:pt x="126" y="266"/>
                </a:cubicBezTo>
                <a:cubicBezTo>
                  <a:pt x="117" y="254"/>
                  <a:pt x="117" y="254"/>
                  <a:pt x="117" y="254"/>
                </a:cubicBezTo>
                <a:cubicBezTo>
                  <a:pt x="122" y="242"/>
                  <a:pt x="122" y="242"/>
                  <a:pt x="122" y="242"/>
                </a:cubicBezTo>
                <a:cubicBezTo>
                  <a:pt x="103" y="225"/>
                  <a:pt x="103" y="225"/>
                  <a:pt x="103" y="225"/>
                </a:cubicBezTo>
                <a:cubicBezTo>
                  <a:pt x="113" y="207"/>
                  <a:pt x="113" y="207"/>
                  <a:pt x="113" y="207"/>
                </a:cubicBezTo>
                <a:cubicBezTo>
                  <a:pt x="72" y="192"/>
                  <a:pt x="72" y="192"/>
                  <a:pt x="72" y="192"/>
                </a:cubicBezTo>
                <a:cubicBezTo>
                  <a:pt x="45" y="177"/>
                  <a:pt x="45" y="177"/>
                  <a:pt x="45" y="177"/>
                </a:cubicBezTo>
                <a:cubicBezTo>
                  <a:pt x="13" y="175"/>
                  <a:pt x="13" y="175"/>
                  <a:pt x="13" y="175"/>
                </a:cubicBezTo>
                <a:cubicBezTo>
                  <a:pt x="0" y="156"/>
                  <a:pt x="0" y="156"/>
                  <a:pt x="0" y="156"/>
                </a:cubicBezTo>
                <a:cubicBezTo>
                  <a:pt x="26" y="138"/>
                  <a:pt x="26" y="138"/>
                  <a:pt x="26" y="138"/>
                </a:cubicBezTo>
                <a:cubicBezTo>
                  <a:pt x="5" y="132"/>
                  <a:pt x="5" y="132"/>
                  <a:pt x="5" y="132"/>
                </a:cubicBezTo>
                <a:cubicBezTo>
                  <a:pt x="12" y="115"/>
                  <a:pt x="12" y="115"/>
                  <a:pt x="12" y="115"/>
                </a:cubicBezTo>
                <a:cubicBezTo>
                  <a:pt x="43" y="111"/>
                  <a:pt x="43" y="111"/>
                  <a:pt x="43" y="111"/>
                </a:cubicBezTo>
                <a:cubicBezTo>
                  <a:pt x="65" y="122"/>
                  <a:pt x="65" y="122"/>
                  <a:pt x="65" y="122"/>
                </a:cubicBezTo>
                <a:cubicBezTo>
                  <a:pt x="85" y="110"/>
                  <a:pt x="85" y="110"/>
                  <a:pt x="85" y="110"/>
                </a:cubicBezTo>
                <a:cubicBezTo>
                  <a:pt x="108" y="132"/>
                  <a:pt x="108" y="132"/>
                  <a:pt x="108" y="132"/>
                </a:cubicBezTo>
                <a:cubicBezTo>
                  <a:pt x="123" y="126"/>
                  <a:pt x="123" y="126"/>
                  <a:pt x="123" y="126"/>
                </a:cubicBezTo>
                <a:cubicBezTo>
                  <a:pt x="140" y="143"/>
                  <a:pt x="140" y="143"/>
                  <a:pt x="140" y="143"/>
                </a:cubicBezTo>
                <a:cubicBezTo>
                  <a:pt x="172" y="143"/>
                  <a:pt x="172" y="143"/>
                  <a:pt x="172" y="143"/>
                </a:cubicBezTo>
                <a:cubicBezTo>
                  <a:pt x="159" y="128"/>
                  <a:pt x="159" y="128"/>
                  <a:pt x="159" y="128"/>
                </a:cubicBezTo>
                <a:cubicBezTo>
                  <a:pt x="174" y="100"/>
                  <a:pt x="174" y="100"/>
                  <a:pt x="174" y="100"/>
                </a:cubicBezTo>
                <a:cubicBezTo>
                  <a:pt x="159" y="79"/>
                  <a:pt x="159" y="79"/>
                  <a:pt x="159" y="79"/>
                </a:cubicBezTo>
                <a:cubicBezTo>
                  <a:pt x="163" y="65"/>
                  <a:pt x="163" y="65"/>
                  <a:pt x="163" y="65"/>
                </a:cubicBezTo>
                <a:cubicBezTo>
                  <a:pt x="191" y="71"/>
                  <a:pt x="191" y="71"/>
                  <a:pt x="191" y="71"/>
                </a:cubicBezTo>
                <a:cubicBezTo>
                  <a:pt x="188" y="94"/>
                  <a:pt x="188" y="94"/>
                  <a:pt x="188" y="94"/>
                </a:cubicBezTo>
                <a:lnTo>
                  <a:pt x="201" y="92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51" name="Belgium"/>
          <p:cNvSpPr>
            <a:spLocks/>
          </p:cNvSpPr>
          <p:nvPr/>
        </p:nvSpPr>
        <p:spPr bwMode="auto">
          <a:xfrm>
            <a:off x="7858651" y="3957638"/>
            <a:ext cx="533400" cy="398463"/>
          </a:xfrm>
          <a:custGeom>
            <a:avLst/>
            <a:gdLst>
              <a:gd name="T0" fmla="*/ 0 w 336"/>
              <a:gd name="T1" fmla="*/ 35 h 251"/>
              <a:gd name="T2" fmla="*/ 34 w 336"/>
              <a:gd name="T3" fmla="*/ 17 h 251"/>
              <a:gd name="T4" fmla="*/ 85 w 336"/>
              <a:gd name="T5" fmla="*/ 8 h 251"/>
              <a:gd name="T6" fmla="*/ 105 w 336"/>
              <a:gd name="T7" fmla="*/ 20 h 251"/>
              <a:gd name="T8" fmla="*/ 130 w 336"/>
              <a:gd name="T9" fmla="*/ 8 h 251"/>
              <a:gd name="T10" fmla="*/ 150 w 336"/>
              <a:gd name="T11" fmla="*/ 35 h 251"/>
              <a:gd name="T12" fmla="*/ 161 w 336"/>
              <a:gd name="T13" fmla="*/ 8 h 251"/>
              <a:gd name="T14" fmla="*/ 188 w 336"/>
              <a:gd name="T15" fmla="*/ 20 h 251"/>
              <a:gd name="T16" fmla="*/ 195 w 336"/>
              <a:gd name="T17" fmla="*/ 0 h 251"/>
              <a:gd name="T18" fmla="*/ 215 w 336"/>
              <a:gd name="T19" fmla="*/ 11 h 251"/>
              <a:gd name="T20" fmla="*/ 242 w 336"/>
              <a:gd name="T21" fmla="*/ 35 h 251"/>
              <a:gd name="T22" fmla="*/ 276 w 336"/>
              <a:gd name="T23" fmla="*/ 40 h 251"/>
              <a:gd name="T24" fmla="*/ 271 w 336"/>
              <a:gd name="T25" fmla="*/ 69 h 251"/>
              <a:gd name="T26" fmla="*/ 276 w 336"/>
              <a:gd name="T27" fmla="*/ 105 h 251"/>
              <a:gd name="T28" fmla="*/ 311 w 336"/>
              <a:gd name="T29" fmla="*/ 105 h 251"/>
              <a:gd name="T30" fmla="*/ 331 w 336"/>
              <a:gd name="T31" fmla="*/ 125 h 251"/>
              <a:gd name="T32" fmla="*/ 336 w 336"/>
              <a:gd name="T33" fmla="*/ 138 h 251"/>
              <a:gd name="T34" fmla="*/ 289 w 336"/>
              <a:gd name="T35" fmla="*/ 163 h 251"/>
              <a:gd name="T36" fmla="*/ 271 w 336"/>
              <a:gd name="T37" fmla="*/ 190 h 251"/>
              <a:gd name="T38" fmla="*/ 296 w 336"/>
              <a:gd name="T39" fmla="*/ 251 h 251"/>
              <a:gd name="T40" fmla="*/ 246 w 336"/>
              <a:gd name="T41" fmla="*/ 251 h 251"/>
              <a:gd name="T42" fmla="*/ 188 w 336"/>
              <a:gd name="T43" fmla="*/ 167 h 251"/>
              <a:gd name="T44" fmla="*/ 141 w 336"/>
              <a:gd name="T45" fmla="*/ 183 h 251"/>
              <a:gd name="T46" fmla="*/ 123 w 336"/>
              <a:gd name="T47" fmla="*/ 132 h 251"/>
              <a:gd name="T48" fmla="*/ 40 w 336"/>
              <a:gd name="T49" fmla="*/ 87 h 251"/>
              <a:gd name="T50" fmla="*/ 0 w 336"/>
              <a:gd name="T51" fmla="*/ 35 h 2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36" h="251">
                <a:moveTo>
                  <a:pt x="0" y="35"/>
                </a:moveTo>
                <a:lnTo>
                  <a:pt x="34" y="17"/>
                </a:lnTo>
                <a:lnTo>
                  <a:pt x="85" y="8"/>
                </a:lnTo>
                <a:lnTo>
                  <a:pt x="105" y="20"/>
                </a:lnTo>
                <a:lnTo>
                  <a:pt x="130" y="8"/>
                </a:lnTo>
                <a:lnTo>
                  <a:pt x="150" y="35"/>
                </a:lnTo>
                <a:lnTo>
                  <a:pt x="161" y="8"/>
                </a:lnTo>
                <a:lnTo>
                  <a:pt x="188" y="20"/>
                </a:lnTo>
                <a:lnTo>
                  <a:pt x="195" y="0"/>
                </a:lnTo>
                <a:lnTo>
                  <a:pt x="215" y="11"/>
                </a:lnTo>
                <a:lnTo>
                  <a:pt x="242" y="35"/>
                </a:lnTo>
                <a:lnTo>
                  <a:pt x="276" y="40"/>
                </a:lnTo>
                <a:lnTo>
                  <a:pt x="271" y="69"/>
                </a:lnTo>
                <a:lnTo>
                  <a:pt x="276" y="105"/>
                </a:lnTo>
                <a:lnTo>
                  <a:pt x="311" y="105"/>
                </a:lnTo>
                <a:lnTo>
                  <a:pt x="331" y="125"/>
                </a:lnTo>
                <a:lnTo>
                  <a:pt x="336" y="138"/>
                </a:lnTo>
                <a:lnTo>
                  <a:pt x="289" y="163"/>
                </a:lnTo>
                <a:lnTo>
                  <a:pt x="271" y="190"/>
                </a:lnTo>
                <a:lnTo>
                  <a:pt x="296" y="251"/>
                </a:lnTo>
                <a:lnTo>
                  <a:pt x="246" y="251"/>
                </a:lnTo>
                <a:lnTo>
                  <a:pt x="188" y="167"/>
                </a:lnTo>
                <a:lnTo>
                  <a:pt x="141" y="183"/>
                </a:lnTo>
                <a:lnTo>
                  <a:pt x="123" y="132"/>
                </a:lnTo>
                <a:lnTo>
                  <a:pt x="40" y="87"/>
                </a:lnTo>
                <a:lnTo>
                  <a:pt x="0" y="35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52" name="Netherlands"/>
          <p:cNvSpPr>
            <a:spLocks/>
          </p:cNvSpPr>
          <p:nvPr/>
        </p:nvSpPr>
        <p:spPr bwMode="auto">
          <a:xfrm>
            <a:off x="8022163" y="3593344"/>
            <a:ext cx="514800" cy="533400"/>
          </a:xfrm>
          <a:custGeom>
            <a:avLst/>
            <a:gdLst>
              <a:gd name="T0" fmla="*/ 43 w 325"/>
              <a:gd name="T1" fmla="*/ 262 h 336"/>
              <a:gd name="T2" fmla="*/ 45 w 325"/>
              <a:gd name="T3" fmla="*/ 231 h 336"/>
              <a:gd name="T4" fmla="*/ 0 w 325"/>
              <a:gd name="T5" fmla="*/ 195 h 336"/>
              <a:gd name="T6" fmla="*/ 33 w 325"/>
              <a:gd name="T7" fmla="*/ 188 h 336"/>
              <a:gd name="T8" fmla="*/ 36 w 325"/>
              <a:gd name="T9" fmla="*/ 163 h 336"/>
              <a:gd name="T10" fmla="*/ 51 w 325"/>
              <a:gd name="T11" fmla="*/ 163 h 336"/>
              <a:gd name="T12" fmla="*/ 58 w 325"/>
              <a:gd name="T13" fmla="*/ 148 h 336"/>
              <a:gd name="T14" fmla="*/ 74 w 325"/>
              <a:gd name="T15" fmla="*/ 148 h 336"/>
              <a:gd name="T16" fmla="*/ 99 w 325"/>
              <a:gd name="T17" fmla="*/ 101 h 336"/>
              <a:gd name="T18" fmla="*/ 94 w 325"/>
              <a:gd name="T19" fmla="*/ 63 h 336"/>
              <a:gd name="T20" fmla="*/ 105 w 325"/>
              <a:gd name="T21" fmla="*/ 49 h 336"/>
              <a:gd name="T22" fmla="*/ 132 w 325"/>
              <a:gd name="T23" fmla="*/ 58 h 336"/>
              <a:gd name="T24" fmla="*/ 155 w 325"/>
              <a:gd name="T25" fmla="*/ 78 h 336"/>
              <a:gd name="T26" fmla="*/ 132 w 325"/>
              <a:gd name="T27" fmla="*/ 121 h 336"/>
              <a:gd name="T28" fmla="*/ 190 w 325"/>
              <a:gd name="T29" fmla="*/ 105 h 336"/>
              <a:gd name="T30" fmla="*/ 190 w 325"/>
              <a:gd name="T31" fmla="*/ 65 h 336"/>
              <a:gd name="T32" fmla="*/ 170 w 325"/>
              <a:gd name="T33" fmla="*/ 63 h 336"/>
              <a:gd name="T34" fmla="*/ 163 w 325"/>
              <a:gd name="T35" fmla="*/ 34 h 336"/>
              <a:gd name="T36" fmla="*/ 220 w 325"/>
              <a:gd name="T37" fmla="*/ 0 h 336"/>
              <a:gd name="T38" fmla="*/ 285 w 325"/>
              <a:gd name="T39" fmla="*/ 0 h 336"/>
              <a:gd name="T40" fmla="*/ 311 w 325"/>
              <a:gd name="T41" fmla="*/ 29 h 336"/>
              <a:gd name="T42" fmla="*/ 325 w 325"/>
              <a:gd name="T43" fmla="*/ 29 h 336"/>
              <a:gd name="T44" fmla="*/ 294 w 325"/>
              <a:gd name="T45" fmla="*/ 99 h 336"/>
              <a:gd name="T46" fmla="*/ 275 w 325"/>
              <a:gd name="T47" fmla="*/ 107 h 336"/>
              <a:gd name="T48" fmla="*/ 293 w 325"/>
              <a:gd name="T49" fmla="*/ 134 h 336"/>
              <a:gd name="T50" fmla="*/ 285 w 325"/>
              <a:gd name="T51" fmla="*/ 166 h 336"/>
              <a:gd name="T52" fmla="*/ 269 w 325"/>
              <a:gd name="T53" fmla="*/ 164 h 336"/>
              <a:gd name="T54" fmla="*/ 278 w 325"/>
              <a:gd name="T55" fmla="*/ 192 h 336"/>
              <a:gd name="T56" fmla="*/ 206 w 325"/>
              <a:gd name="T57" fmla="*/ 193 h 336"/>
              <a:gd name="T58" fmla="*/ 224 w 325"/>
              <a:gd name="T59" fmla="*/ 244 h 336"/>
              <a:gd name="T60" fmla="*/ 213 w 325"/>
              <a:gd name="T61" fmla="*/ 275 h 336"/>
              <a:gd name="T62" fmla="*/ 217 w 325"/>
              <a:gd name="T63" fmla="*/ 293 h 336"/>
              <a:gd name="T64" fmla="*/ 199 w 325"/>
              <a:gd name="T65" fmla="*/ 304 h 336"/>
              <a:gd name="T66" fmla="*/ 208 w 325"/>
              <a:gd name="T67" fmla="*/ 336 h 336"/>
              <a:gd name="T68" fmla="*/ 173 w 325"/>
              <a:gd name="T69" fmla="*/ 336 h 336"/>
              <a:gd name="T70" fmla="*/ 168 w 325"/>
              <a:gd name="T71" fmla="*/ 300 h 336"/>
              <a:gd name="T72" fmla="*/ 173 w 325"/>
              <a:gd name="T73" fmla="*/ 271 h 336"/>
              <a:gd name="T74" fmla="*/ 139 w 325"/>
              <a:gd name="T75" fmla="*/ 266 h 336"/>
              <a:gd name="T76" fmla="*/ 114 w 325"/>
              <a:gd name="T77" fmla="*/ 242 h 336"/>
              <a:gd name="T78" fmla="*/ 92 w 325"/>
              <a:gd name="T79" fmla="*/ 231 h 336"/>
              <a:gd name="T80" fmla="*/ 85 w 325"/>
              <a:gd name="T81" fmla="*/ 251 h 336"/>
              <a:gd name="T82" fmla="*/ 60 w 325"/>
              <a:gd name="T83" fmla="*/ 240 h 336"/>
              <a:gd name="T84" fmla="*/ 47 w 325"/>
              <a:gd name="T85" fmla="*/ 266 h 336"/>
              <a:gd name="T86" fmla="*/ 43 w 325"/>
              <a:gd name="T87" fmla="*/ 262 h 3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325" h="336">
                <a:moveTo>
                  <a:pt x="43" y="262"/>
                </a:moveTo>
                <a:lnTo>
                  <a:pt x="45" y="231"/>
                </a:lnTo>
                <a:lnTo>
                  <a:pt x="0" y="195"/>
                </a:lnTo>
                <a:lnTo>
                  <a:pt x="33" y="188"/>
                </a:lnTo>
                <a:lnTo>
                  <a:pt x="36" y="163"/>
                </a:lnTo>
                <a:lnTo>
                  <a:pt x="51" y="163"/>
                </a:lnTo>
                <a:lnTo>
                  <a:pt x="58" y="148"/>
                </a:lnTo>
                <a:lnTo>
                  <a:pt x="74" y="148"/>
                </a:lnTo>
                <a:lnTo>
                  <a:pt x="99" y="101"/>
                </a:lnTo>
                <a:lnTo>
                  <a:pt x="94" y="63"/>
                </a:lnTo>
                <a:lnTo>
                  <a:pt x="105" y="49"/>
                </a:lnTo>
                <a:lnTo>
                  <a:pt x="132" y="58"/>
                </a:lnTo>
                <a:lnTo>
                  <a:pt x="155" y="78"/>
                </a:lnTo>
                <a:lnTo>
                  <a:pt x="132" y="121"/>
                </a:lnTo>
                <a:lnTo>
                  <a:pt x="190" y="105"/>
                </a:lnTo>
                <a:lnTo>
                  <a:pt x="190" y="65"/>
                </a:lnTo>
                <a:lnTo>
                  <a:pt x="170" y="63"/>
                </a:lnTo>
                <a:lnTo>
                  <a:pt x="163" y="34"/>
                </a:lnTo>
                <a:lnTo>
                  <a:pt x="220" y="0"/>
                </a:lnTo>
                <a:lnTo>
                  <a:pt x="285" y="0"/>
                </a:lnTo>
                <a:lnTo>
                  <a:pt x="311" y="29"/>
                </a:lnTo>
                <a:lnTo>
                  <a:pt x="325" y="29"/>
                </a:lnTo>
                <a:lnTo>
                  <a:pt x="294" y="99"/>
                </a:lnTo>
                <a:lnTo>
                  <a:pt x="275" y="107"/>
                </a:lnTo>
                <a:lnTo>
                  <a:pt x="293" y="134"/>
                </a:lnTo>
                <a:lnTo>
                  <a:pt x="285" y="166"/>
                </a:lnTo>
                <a:lnTo>
                  <a:pt x="269" y="164"/>
                </a:lnTo>
                <a:lnTo>
                  <a:pt x="278" y="192"/>
                </a:lnTo>
                <a:lnTo>
                  <a:pt x="206" y="193"/>
                </a:lnTo>
                <a:lnTo>
                  <a:pt x="224" y="244"/>
                </a:lnTo>
                <a:lnTo>
                  <a:pt x="213" y="275"/>
                </a:lnTo>
                <a:lnTo>
                  <a:pt x="217" y="293"/>
                </a:lnTo>
                <a:lnTo>
                  <a:pt x="199" y="304"/>
                </a:lnTo>
                <a:lnTo>
                  <a:pt x="208" y="336"/>
                </a:lnTo>
                <a:lnTo>
                  <a:pt x="173" y="336"/>
                </a:lnTo>
                <a:lnTo>
                  <a:pt x="168" y="300"/>
                </a:lnTo>
                <a:lnTo>
                  <a:pt x="173" y="271"/>
                </a:lnTo>
                <a:lnTo>
                  <a:pt x="139" y="266"/>
                </a:lnTo>
                <a:lnTo>
                  <a:pt x="114" y="242"/>
                </a:lnTo>
                <a:lnTo>
                  <a:pt x="92" y="231"/>
                </a:lnTo>
                <a:lnTo>
                  <a:pt x="85" y="251"/>
                </a:lnTo>
                <a:lnTo>
                  <a:pt x="60" y="240"/>
                </a:lnTo>
                <a:lnTo>
                  <a:pt x="47" y="266"/>
                </a:lnTo>
                <a:lnTo>
                  <a:pt x="43" y="262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53" name="Germany"/>
          <p:cNvSpPr>
            <a:spLocks/>
          </p:cNvSpPr>
          <p:nvPr/>
        </p:nvSpPr>
        <p:spPr bwMode="auto">
          <a:xfrm>
            <a:off x="8288863" y="3324225"/>
            <a:ext cx="1287463" cy="1471613"/>
          </a:xfrm>
          <a:custGeom>
            <a:avLst/>
            <a:gdLst>
              <a:gd name="T0" fmla="*/ 157 w 811"/>
              <a:gd name="T1" fmla="*/ 145 h 927"/>
              <a:gd name="T2" fmla="*/ 237 w 811"/>
              <a:gd name="T3" fmla="*/ 190 h 927"/>
              <a:gd name="T4" fmla="*/ 260 w 811"/>
              <a:gd name="T5" fmla="*/ 136 h 927"/>
              <a:gd name="T6" fmla="*/ 284 w 811"/>
              <a:gd name="T7" fmla="*/ 132 h 927"/>
              <a:gd name="T8" fmla="*/ 293 w 811"/>
              <a:gd name="T9" fmla="*/ 123 h 927"/>
              <a:gd name="T10" fmla="*/ 260 w 811"/>
              <a:gd name="T11" fmla="*/ 74 h 927"/>
              <a:gd name="T12" fmla="*/ 262 w 811"/>
              <a:gd name="T13" fmla="*/ 16 h 927"/>
              <a:gd name="T14" fmla="*/ 340 w 811"/>
              <a:gd name="T15" fmla="*/ 16 h 927"/>
              <a:gd name="T16" fmla="*/ 378 w 811"/>
              <a:gd name="T17" fmla="*/ 58 h 927"/>
              <a:gd name="T18" fmla="*/ 423 w 811"/>
              <a:gd name="T19" fmla="*/ 71 h 927"/>
              <a:gd name="T20" fmla="*/ 457 w 811"/>
              <a:gd name="T21" fmla="*/ 63 h 927"/>
              <a:gd name="T22" fmla="*/ 466 w 811"/>
              <a:gd name="T23" fmla="*/ 92 h 927"/>
              <a:gd name="T24" fmla="*/ 472 w 811"/>
              <a:gd name="T25" fmla="*/ 110 h 927"/>
              <a:gd name="T26" fmla="*/ 517 w 811"/>
              <a:gd name="T27" fmla="*/ 90 h 927"/>
              <a:gd name="T28" fmla="*/ 578 w 811"/>
              <a:gd name="T29" fmla="*/ 56 h 927"/>
              <a:gd name="T30" fmla="*/ 627 w 811"/>
              <a:gd name="T31" fmla="*/ 42 h 927"/>
              <a:gd name="T32" fmla="*/ 656 w 811"/>
              <a:gd name="T33" fmla="*/ 36 h 927"/>
              <a:gd name="T34" fmla="*/ 676 w 811"/>
              <a:gd name="T35" fmla="*/ 65 h 927"/>
              <a:gd name="T36" fmla="*/ 649 w 811"/>
              <a:gd name="T37" fmla="*/ 83 h 927"/>
              <a:gd name="T38" fmla="*/ 686 w 811"/>
              <a:gd name="T39" fmla="*/ 98 h 927"/>
              <a:gd name="T40" fmla="*/ 714 w 811"/>
              <a:gd name="T41" fmla="*/ 137 h 927"/>
              <a:gd name="T42" fmla="*/ 712 w 811"/>
              <a:gd name="T43" fmla="*/ 233 h 927"/>
              <a:gd name="T44" fmla="*/ 742 w 811"/>
              <a:gd name="T45" fmla="*/ 296 h 927"/>
              <a:gd name="T46" fmla="*/ 762 w 811"/>
              <a:gd name="T47" fmla="*/ 370 h 927"/>
              <a:gd name="T48" fmla="*/ 800 w 811"/>
              <a:gd name="T49" fmla="*/ 419 h 927"/>
              <a:gd name="T50" fmla="*/ 811 w 811"/>
              <a:gd name="T51" fmla="*/ 479 h 927"/>
              <a:gd name="T52" fmla="*/ 764 w 811"/>
              <a:gd name="T53" fmla="*/ 455 h 927"/>
              <a:gd name="T54" fmla="*/ 748 w 811"/>
              <a:gd name="T55" fmla="*/ 479 h 927"/>
              <a:gd name="T56" fmla="*/ 632 w 811"/>
              <a:gd name="T57" fmla="*/ 526 h 927"/>
              <a:gd name="T58" fmla="*/ 609 w 811"/>
              <a:gd name="T59" fmla="*/ 542 h 927"/>
              <a:gd name="T60" fmla="*/ 556 w 811"/>
              <a:gd name="T61" fmla="*/ 560 h 927"/>
              <a:gd name="T62" fmla="*/ 587 w 811"/>
              <a:gd name="T63" fmla="*/ 623 h 927"/>
              <a:gd name="T64" fmla="*/ 643 w 811"/>
              <a:gd name="T65" fmla="*/ 678 h 927"/>
              <a:gd name="T66" fmla="*/ 696 w 811"/>
              <a:gd name="T67" fmla="*/ 712 h 927"/>
              <a:gd name="T68" fmla="*/ 723 w 811"/>
              <a:gd name="T69" fmla="*/ 764 h 927"/>
              <a:gd name="T70" fmla="*/ 679 w 811"/>
              <a:gd name="T71" fmla="*/ 791 h 927"/>
              <a:gd name="T72" fmla="*/ 652 w 811"/>
              <a:gd name="T73" fmla="*/ 847 h 927"/>
              <a:gd name="T74" fmla="*/ 640 w 811"/>
              <a:gd name="T75" fmla="*/ 896 h 927"/>
              <a:gd name="T76" fmla="*/ 540 w 811"/>
              <a:gd name="T77" fmla="*/ 880 h 927"/>
              <a:gd name="T78" fmla="*/ 452 w 811"/>
              <a:gd name="T79" fmla="*/ 893 h 927"/>
              <a:gd name="T80" fmla="*/ 396 w 811"/>
              <a:gd name="T81" fmla="*/ 927 h 927"/>
              <a:gd name="T82" fmla="*/ 334 w 811"/>
              <a:gd name="T83" fmla="*/ 896 h 927"/>
              <a:gd name="T84" fmla="*/ 271 w 811"/>
              <a:gd name="T85" fmla="*/ 880 h 927"/>
              <a:gd name="T86" fmla="*/ 238 w 811"/>
              <a:gd name="T87" fmla="*/ 894 h 927"/>
              <a:gd name="T88" fmla="*/ 150 w 811"/>
              <a:gd name="T89" fmla="*/ 887 h 927"/>
              <a:gd name="T90" fmla="*/ 222 w 811"/>
              <a:gd name="T91" fmla="*/ 710 h 927"/>
              <a:gd name="T92" fmla="*/ 63 w 811"/>
              <a:gd name="T93" fmla="*/ 654 h 927"/>
              <a:gd name="T94" fmla="*/ 0 w 811"/>
              <a:gd name="T95" fmla="*/ 589 h 927"/>
              <a:gd name="T96" fmla="*/ 65 w 811"/>
              <a:gd name="T97" fmla="*/ 537 h 927"/>
              <a:gd name="T98" fmla="*/ 40 w 811"/>
              <a:gd name="T99" fmla="*/ 504 h 927"/>
              <a:gd name="T100" fmla="*/ 49 w 811"/>
              <a:gd name="T101" fmla="*/ 461 h 927"/>
              <a:gd name="T102" fmla="*/ 56 w 811"/>
              <a:gd name="T103" fmla="*/ 412 h 927"/>
              <a:gd name="T104" fmla="*/ 110 w 811"/>
              <a:gd name="T105" fmla="*/ 360 h 927"/>
              <a:gd name="T106" fmla="*/ 117 w 811"/>
              <a:gd name="T107" fmla="*/ 334 h 927"/>
              <a:gd name="T108" fmla="*/ 107 w 811"/>
              <a:gd name="T109" fmla="*/ 275 h 927"/>
              <a:gd name="T110" fmla="*/ 157 w 811"/>
              <a:gd name="T111" fmla="*/ 197 h 927"/>
              <a:gd name="T112" fmla="*/ 128 w 811"/>
              <a:gd name="T113" fmla="*/ 181 h 9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811" h="927">
                <a:moveTo>
                  <a:pt x="128" y="181"/>
                </a:moveTo>
                <a:lnTo>
                  <a:pt x="157" y="145"/>
                </a:lnTo>
                <a:lnTo>
                  <a:pt x="222" y="145"/>
                </a:lnTo>
                <a:lnTo>
                  <a:pt x="237" y="190"/>
                </a:lnTo>
                <a:lnTo>
                  <a:pt x="260" y="197"/>
                </a:lnTo>
                <a:lnTo>
                  <a:pt x="260" y="136"/>
                </a:lnTo>
                <a:lnTo>
                  <a:pt x="273" y="123"/>
                </a:lnTo>
                <a:lnTo>
                  <a:pt x="284" y="132"/>
                </a:lnTo>
                <a:lnTo>
                  <a:pt x="318" y="136"/>
                </a:lnTo>
                <a:lnTo>
                  <a:pt x="293" y="123"/>
                </a:lnTo>
                <a:lnTo>
                  <a:pt x="296" y="83"/>
                </a:lnTo>
                <a:lnTo>
                  <a:pt x="260" y="74"/>
                </a:lnTo>
                <a:lnTo>
                  <a:pt x="298" y="58"/>
                </a:lnTo>
                <a:lnTo>
                  <a:pt x="262" y="16"/>
                </a:lnTo>
                <a:lnTo>
                  <a:pt x="267" y="0"/>
                </a:lnTo>
                <a:lnTo>
                  <a:pt x="340" y="16"/>
                </a:lnTo>
                <a:lnTo>
                  <a:pt x="381" y="22"/>
                </a:lnTo>
                <a:lnTo>
                  <a:pt x="378" y="58"/>
                </a:lnTo>
                <a:lnTo>
                  <a:pt x="392" y="72"/>
                </a:lnTo>
                <a:lnTo>
                  <a:pt x="423" y="71"/>
                </a:lnTo>
                <a:lnTo>
                  <a:pt x="437" y="74"/>
                </a:lnTo>
                <a:lnTo>
                  <a:pt x="457" y="63"/>
                </a:lnTo>
                <a:lnTo>
                  <a:pt x="472" y="67"/>
                </a:lnTo>
                <a:lnTo>
                  <a:pt x="466" y="92"/>
                </a:lnTo>
                <a:lnTo>
                  <a:pt x="444" y="119"/>
                </a:lnTo>
                <a:lnTo>
                  <a:pt x="472" y="110"/>
                </a:lnTo>
                <a:lnTo>
                  <a:pt x="482" y="123"/>
                </a:lnTo>
                <a:lnTo>
                  <a:pt x="517" y="90"/>
                </a:lnTo>
                <a:lnTo>
                  <a:pt x="555" y="98"/>
                </a:lnTo>
                <a:lnTo>
                  <a:pt x="578" y="56"/>
                </a:lnTo>
                <a:lnTo>
                  <a:pt x="612" y="60"/>
                </a:lnTo>
                <a:lnTo>
                  <a:pt x="627" y="42"/>
                </a:lnTo>
                <a:lnTo>
                  <a:pt x="643" y="22"/>
                </a:lnTo>
                <a:lnTo>
                  <a:pt x="656" y="36"/>
                </a:lnTo>
                <a:lnTo>
                  <a:pt x="663" y="43"/>
                </a:lnTo>
                <a:lnTo>
                  <a:pt x="676" y="65"/>
                </a:lnTo>
                <a:lnTo>
                  <a:pt x="667" y="78"/>
                </a:lnTo>
                <a:lnTo>
                  <a:pt x="649" y="83"/>
                </a:lnTo>
                <a:lnTo>
                  <a:pt x="650" y="98"/>
                </a:lnTo>
                <a:lnTo>
                  <a:pt x="686" y="98"/>
                </a:lnTo>
                <a:lnTo>
                  <a:pt x="686" y="130"/>
                </a:lnTo>
                <a:lnTo>
                  <a:pt x="714" y="137"/>
                </a:lnTo>
                <a:lnTo>
                  <a:pt x="742" y="197"/>
                </a:lnTo>
                <a:lnTo>
                  <a:pt x="712" y="233"/>
                </a:lnTo>
                <a:lnTo>
                  <a:pt x="750" y="264"/>
                </a:lnTo>
                <a:lnTo>
                  <a:pt x="742" y="296"/>
                </a:lnTo>
                <a:lnTo>
                  <a:pt x="770" y="336"/>
                </a:lnTo>
                <a:lnTo>
                  <a:pt x="762" y="370"/>
                </a:lnTo>
                <a:lnTo>
                  <a:pt x="773" y="392"/>
                </a:lnTo>
                <a:lnTo>
                  <a:pt x="800" y="419"/>
                </a:lnTo>
                <a:lnTo>
                  <a:pt x="811" y="461"/>
                </a:lnTo>
                <a:lnTo>
                  <a:pt x="811" y="479"/>
                </a:lnTo>
                <a:lnTo>
                  <a:pt x="786" y="479"/>
                </a:lnTo>
                <a:lnTo>
                  <a:pt x="764" y="455"/>
                </a:lnTo>
                <a:lnTo>
                  <a:pt x="746" y="461"/>
                </a:lnTo>
                <a:lnTo>
                  <a:pt x="748" y="479"/>
                </a:lnTo>
                <a:lnTo>
                  <a:pt x="665" y="526"/>
                </a:lnTo>
                <a:lnTo>
                  <a:pt x="632" y="526"/>
                </a:lnTo>
                <a:lnTo>
                  <a:pt x="627" y="542"/>
                </a:lnTo>
                <a:lnTo>
                  <a:pt x="609" y="542"/>
                </a:lnTo>
                <a:lnTo>
                  <a:pt x="578" y="569"/>
                </a:lnTo>
                <a:lnTo>
                  <a:pt x="556" y="560"/>
                </a:lnTo>
                <a:lnTo>
                  <a:pt x="594" y="602"/>
                </a:lnTo>
                <a:lnTo>
                  <a:pt x="587" y="623"/>
                </a:lnTo>
                <a:lnTo>
                  <a:pt x="614" y="667"/>
                </a:lnTo>
                <a:lnTo>
                  <a:pt x="643" y="678"/>
                </a:lnTo>
                <a:lnTo>
                  <a:pt x="656" y="699"/>
                </a:lnTo>
                <a:lnTo>
                  <a:pt x="696" y="712"/>
                </a:lnTo>
                <a:lnTo>
                  <a:pt x="723" y="739"/>
                </a:lnTo>
                <a:lnTo>
                  <a:pt x="723" y="764"/>
                </a:lnTo>
                <a:lnTo>
                  <a:pt x="683" y="775"/>
                </a:lnTo>
                <a:lnTo>
                  <a:pt x="679" y="791"/>
                </a:lnTo>
                <a:lnTo>
                  <a:pt x="630" y="822"/>
                </a:lnTo>
                <a:lnTo>
                  <a:pt x="652" y="847"/>
                </a:lnTo>
                <a:lnTo>
                  <a:pt x="641" y="875"/>
                </a:lnTo>
                <a:lnTo>
                  <a:pt x="640" y="896"/>
                </a:lnTo>
                <a:lnTo>
                  <a:pt x="582" y="862"/>
                </a:lnTo>
                <a:lnTo>
                  <a:pt x="540" y="880"/>
                </a:lnTo>
                <a:lnTo>
                  <a:pt x="475" y="914"/>
                </a:lnTo>
                <a:lnTo>
                  <a:pt x="452" y="893"/>
                </a:lnTo>
                <a:lnTo>
                  <a:pt x="425" y="889"/>
                </a:lnTo>
                <a:lnTo>
                  <a:pt x="396" y="927"/>
                </a:lnTo>
                <a:lnTo>
                  <a:pt x="374" y="893"/>
                </a:lnTo>
                <a:lnTo>
                  <a:pt x="334" y="896"/>
                </a:lnTo>
                <a:lnTo>
                  <a:pt x="307" y="878"/>
                </a:lnTo>
                <a:lnTo>
                  <a:pt x="271" y="880"/>
                </a:lnTo>
                <a:lnTo>
                  <a:pt x="246" y="864"/>
                </a:lnTo>
                <a:lnTo>
                  <a:pt x="238" y="894"/>
                </a:lnTo>
                <a:lnTo>
                  <a:pt x="190" y="889"/>
                </a:lnTo>
                <a:lnTo>
                  <a:pt x="150" y="887"/>
                </a:lnTo>
                <a:lnTo>
                  <a:pt x="168" y="793"/>
                </a:lnTo>
                <a:lnTo>
                  <a:pt x="222" y="710"/>
                </a:lnTo>
                <a:lnTo>
                  <a:pt x="107" y="706"/>
                </a:lnTo>
                <a:lnTo>
                  <a:pt x="63" y="654"/>
                </a:lnTo>
                <a:lnTo>
                  <a:pt x="25" y="650"/>
                </a:lnTo>
                <a:lnTo>
                  <a:pt x="0" y="589"/>
                </a:lnTo>
                <a:lnTo>
                  <a:pt x="18" y="562"/>
                </a:lnTo>
                <a:lnTo>
                  <a:pt x="65" y="537"/>
                </a:lnTo>
                <a:lnTo>
                  <a:pt x="60" y="524"/>
                </a:lnTo>
                <a:lnTo>
                  <a:pt x="40" y="504"/>
                </a:lnTo>
                <a:lnTo>
                  <a:pt x="31" y="472"/>
                </a:lnTo>
                <a:lnTo>
                  <a:pt x="49" y="461"/>
                </a:lnTo>
                <a:lnTo>
                  <a:pt x="45" y="443"/>
                </a:lnTo>
                <a:lnTo>
                  <a:pt x="56" y="412"/>
                </a:lnTo>
                <a:lnTo>
                  <a:pt x="38" y="361"/>
                </a:lnTo>
                <a:lnTo>
                  <a:pt x="110" y="360"/>
                </a:lnTo>
                <a:lnTo>
                  <a:pt x="101" y="332"/>
                </a:lnTo>
                <a:lnTo>
                  <a:pt x="117" y="334"/>
                </a:lnTo>
                <a:lnTo>
                  <a:pt x="125" y="302"/>
                </a:lnTo>
                <a:lnTo>
                  <a:pt x="107" y="275"/>
                </a:lnTo>
                <a:lnTo>
                  <a:pt x="126" y="267"/>
                </a:lnTo>
                <a:lnTo>
                  <a:pt x="157" y="197"/>
                </a:lnTo>
                <a:lnTo>
                  <a:pt x="143" y="197"/>
                </a:lnTo>
                <a:lnTo>
                  <a:pt x="128" y="181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sp>
        <p:nvSpPr>
          <p:cNvPr id="54" name="Luxembourg"/>
          <p:cNvSpPr>
            <a:spLocks/>
          </p:cNvSpPr>
          <p:nvPr/>
        </p:nvSpPr>
        <p:spPr bwMode="auto">
          <a:xfrm>
            <a:off x="8288863" y="4259263"/>
            <a:ext cx="100013" cy="103188"/>
          </a:xfrm>
          <a:custGeom>
            <a:avLst/>
            <a:gdLst>
              <a:gd name="T0" fmla="*/ 23 w 63"/>
              <a:gd name="T1" fmla="*/ 7 h 65"/>
              <a:gd name="T2" fmla="*/ 0 w 63"/>
              <a:gd name="T3" fmla="*/ 0 h 65"/>
              <a:gd name="T4" fmla="*/ 25 w 63"/>
              <a:gd name="T5" fmla="*/ 61 h 65"/>
              <a:gd name="T6" fmla="*/ 63 w 63"/>
              <a:gd name="T7" fmla="*/ 65 h 65"/>
              <a:gd name="T8" fmla="*/ 54 w 63"/>
              <a:gd name="T9" fmla="*/ 33 h 65"/>
              <a:gd name="T10" fmla="*/ 23 w 63"/>
              <a:gd name="T11" fmla="*/ 7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3" h="65">
                <a:moveTo>
                  <a:pt x="23" y="7"/>
                </a:moveTo>
                <a:lnTo>
                  <a:pt x="0" y="0"/>
                </a:lnTo>
                <a:lnTo>
                  <a:pt x="25" y="61"/>
                </a:lnTo>
                <a:lnTo>
                  <a:pt x="63" y="65"/>
                </a:lnTo>
                <a:lnTo>
                  <a:pt x="54" y="33"/>
                </a:lnTo>
                <a:lnTo>
                  <a:pt x="23" y="7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schemeClr val="accent1"/>
              </a:solidFill>
            </a:endParaRPr>
          </a:p>
        </p:txBody>
      </p:sp>
      <p:grpSp>
        <p:nvGrpSpPr>
          <p:cNvPr id="55" name="Ireland"/>
          <p:cNvGrpSpPr/>
          <p:nvPr/>
        </p:nvGrpSpPr>
        <p:grpSpPr>
          <a:xfrm>
            <a:off x="6183838" y="3011488"/>
            <a:ext cx="760413" cy="677863"/>
            <a:chOff x="6204858" y="3011488"/>
            <a:chExt cx="760413" cy="677863"/>
          </a:xfrm>
          <a:solidFill>
            <a:srgbClr val="E1E0DC"/>
          </a:solidFill>
        </p:grpSpPr>
        <p:sp>
          <p:nvSpPr>
            <p:cNvPr id="56" name="Ireland"/>
            <p:cNvSpPr>
              <a:spLocks/>
            </p:cNvSpPr>
            <p:nvPr/>
          </p:nvSpPr>
          <p:spPr bwMode="auto">
            <a:xfrm>
              <a:off x="6204858" y="3011488"/>
              <a:ext cx="630238" cy="677863"/>
            </a:xfrm>
            <a:custGeom>
              <a:avLst/>
              <a:gdLst>
                <a:gd name="T0" fmla="*/ 347 w 397"/>
                <a:gd name="T1" fmla="*/ 155 h 427"/>
                <a:gd name="T2" fmla="*/ 322 w 397"/>
                <a:gd name="T3" fmla="*/ 174 h 427"/>
                <a:gd name="T4" fmla="*/ 276 w 397"/>
                <a:gd name="T5" fmla="*/ 145 h 427"/>
                <a:gd name="T6" fmla="*/ 287 w 397"/>
                <a:gd name="T7" fmla="*/ 101 h 427"/>
                <a:gd name="T8" fmla="*/ 329 w 397"/>
                <a:gd name="T9" fmla="*/ 85 h 427"/>
                <a:gd name="T10" fmla="*/ 338 w 397"/>
                <a:gd name="T11" fmla="*/ 78 h 427"/>
                <a:gd name="T12" fmla="*/ 354 w 397"/>
                <a:gd name="T13" fmla="*/ 33 h 427"/>
                <a:gd name="T14" fmla="*/ 341 w 397"/>
                <a:gd name="T15" fmla="*/ 18 h 427"/>
                <a:gd name="T16" fmla="*/ 303 w 397"/>
                <a:gd name="T17" fmla="*/ 0 h 427"/>
                <a:gd name="T18" fmla="*/ 262 w 397"/>
                <a:gd name="T19" fmla="*/ 18 h 427"/>
                <a:gd name="T20" fmla="*/ 262 w 397"/>
                <a:gd name="T21" fmla="*/ 45 h 427"/>
                <a:gd name="T22" fmla="*/ 229 w 397"/>
                <a:gd name="T23" fmla="*/ 45 h 427"/>
                <a:gd name="T24" fmla="*/ 231 w 397"/>
                <a:gd name="T25" fmla="*/ 62 h 427"/>
                <a:gd name="T26" fmla="*/ 262 w 397"/>
                <a:gd name="T27" fmla="*/ 80 h 427"/>
                <a:gd name="T28" fmla="*/ 224 w 397"/>
                <a:gd name="T29" fmla="*/ 101 h 427"/>
                <a:gd name="T30" fmla="*/ 199 w 397"/>
                <a:gd name="T31" fmla="*/ 103 h 427"/>
                <a:gd name="T32" fmla="*/ 163 w 397"/>
                <a:gd name="T33" fmla="*/ 76 h 427"/>
                <a:gd name="T34" fmla="*/ 107 w 397"/>
                <a:gd name="T35" fmla="*/ 87 h 427"/>
                <a:gd name="T36" fmla="*/ 137 w 397"/>
                <a:gd name="T37" fmla="*/ 134 h 427"/>
                <a:gd name="T38" fmla="*/ 79 w 397"/>
                <a:gd name="T39" fmla="*/ 155 h 427"/>
                <a:gd name="T40" fmla="*/ 72 w 397"/>
                <a:gd name="T41" fmla="*/ 172 h 427"/>
                <a:gd name="T42" fmla="*/ 116 w 397"/>
                <a:gd name="T43" fmla="*/ 181 h 427"/>
                <a:gd name="T44" fmla="*/ 117 w 397"/>
                <a:gd name="T45" fmla="*/ 208 h 427"/>
                <a:gd name="T46" fmla="*/ 168 w 397"/>
                <a:gd name="T47" fmla="*/ 213 h 427"/>
                <a:gd name="T48" fmla="*/ 137 w 397"/>
                <a:gd name="T49" fmla="*/ 228 h 427"/>
                <a:gd name="T50" fmla="*/ 117 w 397"/>
                <a:gd name="T51" fmla="*/ 242 h 427"/>
                <a:gd name="T52" fmla="*/ 99 w 397"/>
                <a:gd name="T53" fmla="*/ 266 h 427"/>
                <a:gd name="T54" fmla="*/ 94 w 397"/>
                <a:gd name="T55" fmla="*/ 293 h 427"/>
                <a:gd name="T56" fmla="*/ 54 w 397"/>
                <a:gd name="T57" fmla="*/ 298 h 427"/>
                <a:gd name="T58" fmla="*/ 51 w 397"/>
                <a:gd name="T59" fmla="*/ 309 h 427"/>
                <a:gd name="T60" fmla="*/ 16 w 397"/>
                <a:gd name="T61" fmla="*/ 318 h 427"/>
                <a:gd name="T62" fmla="*/ 36 w 397"/>
                <a:gd name="T63" fmla="*/ 342 h 427"/>
                <a:gd name="T64" fmla="*/ 0 w 397"/>
                <a:gd name="T65" fmla="*/ 354 h 427"/>
                <a:gd name="T66" fmla="*/ 23 w 397"/>
                <a:gd name="T67" fmla="*/ 380 h 427"/>
                <a:gd name="T68" fmla="*/ 38 w 397"/>
                <a:gd name="T69" fmla="*/ 396 h 427"/>
                <a:gd name="T70" fmla="*/ 32 w 397"/>
                <a:gd name="T71" fmla="*/ 427 h 427"/>
                <a:gd name="T72" fmla="*/ 78 w 397"/>
                <a:gd name="T73" fmla="*/ 417 h 427"/>
                <a:gd name="T74" fmla="*/ 145 w 397"/>
                <a:gd name="T75" fmla="*/ 417 h 427"/>
                <a:gd name="T76" fmla="*/ 168 w 397"/>
                <a:gd name="T77" fmla="*/ 396 h 427"/>
                <a:gd name="T78" fmla="*/ 179 w 397"/>
                <a:gd name="T79" fmla="*/ 410 h 427"/>
                <a:gd name="T80" fmla="*/ 226 w 397"/>
                <a:gd name="T81" fmla="*/ 392 h 427"/>
                <a:gd name="T82" fmla="*/ 258 w 397"/>
                <a:gd name="T83" fmla="*/ 385 h 427"/>
                <a:gd name="T84" fmla="*/ 305 w 397"/>
                <a:gd name="T85" fmla="*/ 385 h 427"/>
                <a:gd name="T86" fmla="*/ 336 w 397"/>
                <a:gd name="T87" fmla="*/ 385 h 427"/>
                <a:gd name="T88" fmla="*/ 354 w 397"/>
                <a:gd name="T89" fmla="*/ 347 h 427"/>
                <a:gd name="T90" fmla="*/ 392 w 397"/>
                <a:gd name="T91" fmla="*/ 298 h 427"/>
                <a:gd name="T92" fmla="*/ 383 w 397"/>
                <a:gd name="T93" fmla="*/ 271 h 427"/>
                <a:gd name="T94" fmla="*/ 394 w 397"/>
                <a:gd name="T95" fmla="*/ 190 h 427"/>
                <a:gd name="T96" fmla="*/ 397 w 397"/>
                <a:gd name="T97" fmla="*/ 186 h 427"/>
                <a:gd name="T98" fmla="*/ 387 w 397"/>
                <a:gd name="T99" fmla="*/ 161 h 427"/>
                <a:gd name="T100" fmla="*/ 347 w 397"/>
                <a:gd name="T101" fmla="*/ 155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97" h="427">
                  <a:moveTo>
                    <a:pt x="347" y="155"/>
                  </a:moveTo>
                  <a:lnTo>
                    <a:pt x="322" y="174"/>
                  </a:lnTo>
                  <a:lnTo>
                    <a:pt x="276" y="145"/>
                  </a:lnTo>
                  <a:lnTo>
                    <a:pt x="287" y="101"/>
                  </a:lnTo>
                  <a:lnTo>
                    <a:pt x="329" y="85"/>
                  </a:lnTo>
                  <a:lnTo>
                    <a:pt x="338" y="78"/>
                  </a:lnTo>
                  <a:lnTo>
                    <a:pt x="354" y="33"/>
                  </a:lnTo>
                  <a:lnTo>
                    <a:pt x="341" y="18"/>
                  </a:lnTo>
                  <a:lnTo>
                    <a:pt x="303" y="0"/>
                  </a:lnTo>
                  <a:lnTo>
                    <a:pt x="262" y="18"/>
                  </a:lnTo>
                  <a:lnTo>
                    <a:pt x="262" y="45"/>
                  </a:lnTo>
                  <a:lnTo>
                    <a:pt x="229" y="45"/>
                  </a:lnTo>
                  <a:lnTo>
                    <a:pt x="231" y="62"/>
                  </a:lnTo>
                  <a:lnTo>
                    <a:pt x="262" y="80"/>
                  </a:lnTo>
                  <a:lnTo>
                    <a:pt x="224" y="101"/>
                  </a:lnTo>
                  <a:lnTo>
                    <a:pt x="199" y="103"/>
                  </a:lnTo>
                  <a:lnTo>
                    <a:pt x="163" y="76"/>
                  </a:lnTo>
                  <a:lnTo>
                    <a:pt x="107" y="87"/>
                  </a:lnTo>
                  <a:lnTo>
                    <a:pt x="137" y="134"/>
                  </a:lnTo>
                  <a:lnTo>
                    <a:pt x="79" y="155"/>
                  </a:lnTo>
                  <a:lnTo>
                    <a:pt x="72" y="172"/>
                  </a:lnTo>
                  <a:lnTo>
                    <a:pt x="116" y="181"/>
                  </a:lnTo>
                  <a:lnTo>
                    <a:pt x="117" y="208"/>
                  </a:lnTo>
                  <a:lnTo>
                    <a:pt x="168" y="213"/>
                  </a:lnTo>
                  <a:lnTo>
                    <a:pt x="137" y="228"/>
                  </a:lnTo>
                  <a:lnTo>
                    <a:pt x="117" y="242"/>
                  </a:lnTo>
                  <a:lnTo>
                    <a:pt x="99" y="266"/>
                  </a:lnTo>
                  <a:lnTo>
                    <a:pt x="94" y="293"/>
                  </a:lnTo>
                  <a:lnTo>
                    <a:pt x="54" y="298"/>
                  </a:lnTo>
                  <a:lnTo>
                    <a:pt x="51" y="309"/>
                  </a:lnTo>
                  <a:lnTo>
                    <a:pt x="16" y="318"/>
                  </a:lnTo>
                  <a:lnTo>
                    <a:pt x="36" y="342"/>
                  </a:lnTo>
                  <a:lnTo>
                    <a:pt x="0" y="354"/>
                  </a:lnTo>
                  <a:lnTo>
                    <a:pt x="23" y="380"/>
                  </a:lnTo>
                  <a:lnTo>
                    <a:pt x="38" y="396"/>
                  </a:lnTo>
                  <a:lnTo>
                    <a:pt x="32" y="427"/>
                  </a:lnTo>
                  <a:lnTo>
                    <a:pt x="78" y="417"/>
                  </a:lnTo>
                  <a:lnTo>
                    <a:pt x="145" y="417"/>
                  </a:lnTo>
                  <a:lnTo>
                    <a:pt x="168" y="396"/>
                  </a:lnTo>
                  <a:lnTo>
                    <a:pt x="179" y="410"/>
                  </a:lnTo>
                  <a:lnTo>
                    <a:pt x="226" y="392"/>
                  </a:lnTo>
                  <a:lnTo>
                    <a:pt x="258" y="385"/>
                  </a:lnTo>
                  <a:lnTo>
                    <a:pt x="305" y="385"/>
                  </a:lnTo>
                  <a:lnTo>
                    <a:pt x="336" y="385"/>
                  </a:lnTo>
                  <a:lnTo>
                    <a:pt x="354" y="347"/>
                  </a:lnTo>
                  <a:lnTo>
                    <a:pt x="392" y="298"/>
                  </a:lnTo>
                  <a:lnTo>
                    <a:pt x="383" y="271"/>
                  </a:lnTo>
                  <a:lnTo>
                    <a:pt x="394" y="190"/>
                  </a:lnTo>
                  <a:lnTo>
                    <a:pt x="397" y="186"/>
                  </a:lnTo>
                  <a:lnTo>
                    <a:pt x="387" y="161"/>
                  </a:lnTo>
                  <a:lnTo>
                    <a:pt x="347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  <p:sp>
          <p:nvSpPr>
            <p:cNvPr id="57" name="Ireland"/>
            <p:cNvSpPr>
              <a:spLocks/>
            </p:cNvSpPr>
            <p:nvPr/>
          </p:nvSpPr>
          <p:spPr bwMode="auto">
            <a:xfrm>
              <a:off x="6643008" y="3049588"/>
              <a:ext cx="322263" cy="257175"/>
            </a:xfrm>
            <a:custGeom>
              <a:avLst/>
              <a:gdLst>
                <a:gd name="T0" fmla="*/ 203 w 203"/>
                <a:gd name="T1" fmla="*/ 122 h 162"/>
                <a:gd name="T2" fmla="*/ 194 w 203"/>
                <a:gd name="T3" fmla="*/ 66 h 162"/>
                <a:gd name="T4" fmla="*/ 177 w 203"/>
                <a:gd name="T5" fmla="*/ 57 h 162"/>
                <a:gd name="T6" fmla="*/ 177 w 203"/>
                <a:gd name="T7" fmla="*/ 12 h 162"/>
                <a:gd name="T8" fmla="*/ 150 w 203"/>
                <a:gd name="T9" fmla="*/ 0 h 162"/>
                <a:gd name="T10" fmla="*/ 130 w 203"/>
                <a:gd name="T11" fmla="*/ 7 h 162"/>
                <a:gd name="T12" fmla="*/ 109 w 203"/>
                <a:gd name="T13" fmla="*/ 0 h 162"/>
                <a:gd name="T14" fmla="*/ 82 w 203"/>
                <a:gd name="T15" fmla="*/ 12 h 162"/>
                <a:gd name="T16" fmla="*/ 78 w 203"/>
                <a:gd name="T17" fmla="*/ 9 h 162"/>
                <a:gd name="T18" fmla="*/ 62 w 203"/>
                <a:gd name="T19" fmla="*/ 54 h 162"/>
                <a:gd name="T20" fmla="*/ 53 w 203"/>
                <a:gd name="T21" fmla="*/ 61 h 162"/>
                <a:gd name="T22" fmla="*/ 11 w 203"/>
                <a:gd name="T23" fmla="*/ 77 h 162"/>
                <a:gd name="T24" fmla="*/ 0 w 203"/>
                <a:gd name="T25" fmla="*/ 121 h 162"/>
                <a:gd name="T26" fmla="*/ 46 w 203"/>
                <a:gd name="T27" fmla="*/ 150 h 162"/>
                <a:gd name="T28" fmla="*/ 71 w 203"/>
                <a:gd name="T29" fmla="*/ 131 h 162"/>
                <a:gd name="T30" fmla="*/ 111 w 203"/>
                <a:gd name="T31" fmla="*/ 137 h 162"/>
                <a:gd name="T32" fmla="*/ 121 w 203"/>
                <a:gd name="T33" fmla="*/ 162 h 162"/>
                <a:gd name="T34" fmla="*/ 154 w 203"/>
                <a:gd name="T35" fmla="*/ 131 h 162"/>
                <a:gd name="T36" fmla="*/ 203 w 203"/>
                <a:gd name="T37" fmla="*/ 12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162">
                  <a:moveTo>
                    <a:pt x="203" y="122"/>
                  </a:moveTo>
                  <a:lnTo>
                    <a:pt x="194" y="66"/>
                  </a:lnTo>
                  <a:lnTo>
                    <a:pt x="177" y="57"/>
                  </a:lnTo>
                  <a:lnTo>
                    <a:pt x="177" y="12"/>
                  </a:lnTo>
                  <a:lnTo>
                    <a:pt x="150" y="0"/>
                  </a:lnTo>
                  <a:lnTo>
                    <a:pt x="130" y="7"/>
                  </a:lnTo>
                  <a:lnTo>
                    <a:pt x="109" y="0"/>
                  </a:lnTo>
                  <a:lnTo>
                    <a:pt x="82" y="12"/>
                  </a:lnTo>
                  <a:lnTo>
                    <a:pt x="78" y="9"/>
                  </a:lnTo>
                  <a:lnTo>
                    <a:pt x="62" y="54"/>
                  </a:lnTo>
                  <a:lnTo>
                    <a:pt x="53" y="61"/>
                  </a:lnTo>
                  <a:lnTo>
                    <a:pt x="11" y="77"/>
                  </a:lnTo>
                  <a:lnTo>
                    <a:pt x="0" y="121"/>
                  </a:lnTo>
                  <a:lnTo>
                    <a:pt x="46" y="150"/>
                  </a:lnTo>
                  <a:lnTo>
                    <a:pt x="71" y="131"/>
                  </a:lnTo>
                  <a:lnTo>
                    <a:pt x="111" y="137"/>
                  </a:lnTo>
                  <a:lnTo>
                    <a:pt x="121" y="162"/>
                  </a:lnTo>
                  <a:lnTo>
                    <a:pt x="154" y="131"/>
                  </a:lnTo>
                  <a:lnTo>
                    <a:pt x="203" y="12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</p:grpSp>
      <p:grpSp>
        <p:nvGrpSpPr>
          <p:cNvPr id="58" name="UK"/>
          <p:cNvGrpSpPr/>
          <p:nvPr/>
        </p:nvGrpSpPr>
        <p:grpSpPr>
          <a:xfrm>
            <a:off x="6717238" y="2435225"/>
            <a:ext cx="1087438" cy="1638301"/>
            <a:chOff x="6738258" y="2435225"/>
            <a:chExt cx="1087438" cy="1638301"/>
          </a:xfrm>
          <a:solidFill>
            <a:srgbClr val="E1E0DC"/>
          </a:solidFill>
        </p:grpSpPr>
        <p:sp>
          <p:nvSpPr>
            <p:cNvPr id="59" name="UK"/>
            <p:cNvSpPr>
              <a:spLocks/>
            </p:cNvSpPr>
            <p:nvPr/>
          </p:nvSpPr>
          <p:spPr bwMode="auto">
            <a:xfrm>
              <a:off x="6933521" y="2435225"/>
              <a:ext cx="174625" cy="128588"/>
            </a:xfrm>
            <a:custGeom>
              <a:avLst/>
              <a:gdLst>
                <a:gd name="T0" fmla="*/ 41 w 110"/>
                <a:gd name="T1" fmla="*/ 29 h 81"/>
                <a:gd name="T2" fmla="*/ 58 w 110"/>
                <a:gd name="T3" fmla="*/ 5 h 81"/>
                <a:gd name="T4" fmla="*/ 110 w 110"/>
                <a:gd name="T5" fmla="*/ 0 h 81"/>
                <a:gd name="T6" fmla="*/ 76 w 110"/>
                <a:gd name="T7" fmla="*/ 67 h 81"/>
                <a:gd name="T8" fmla="*/ 49 w 110"/>
                <a:gd name="T9" fmla="*/ 58 h 81"/>
                <a:gd name="T10" fmla="*/ 14 w 110"/>
                <a:gd name="T11" fmla="*/ 81 h 81"/>
                <a:gd name="T12" fmla="*/ 0 w 110"/>
                <a:gd name="T13" fmla="*/ 69 h 81"/>
                <a:gd name="T14" fmla="*/ 9 w 110"/>
                <a:gd name="T15" fmla="*/ 40 h 81"/>
                <a:gd name="T16" fmla="*/ 20 w 110"/>
                <a:gd name="T17" fmla="*/ 23 h 81"/>
                <a:gd name="T18" fmla="*/ 41 w 110"/>
                <a:gd name="T19" fmla="*/ 29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" h="81">
                  <a:moveTo>
                    <a:pt x="41" y="29"/>
                  </a:moveTo>
                  <a:lnTo>
                    <a:pt x="58" y="5"/>
                  </a:lnTo>
                  <a:lnTo>
                    <a:pt x="110" y="0"/>
                  </a:lnTo>
                  <a:lnTo>
                    <a:pt x="76" y="67"/>
                  </a:lnTo>
                  <a:lnTo>
                    <a:pt x="49" y="58"/>
                  </a:lnTo>
                  <a:lnTo>
                    <a:pt x="14" y="81"/>
                  </a:lnTo>
                  <a:lnTo>
                    <a:pt x="0" y="69"/>
                  </a:lnTo>
                  <a:lnTo>
                    <a:pt x="9" y="40"/>
                  </a:lnTo>
                  <a:lnTo>
                    <a:pt x="20" y="23"/>
                  </a:lnTo>
                  <a:lnTo>
                    <a:pt x="41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  <p:sp>
          <p:nvSpPr>
            <p:cNvPr id="60" name="UK"/>
            <p:cNvSpPr>
              <a:spLocks/>
            </p:cNvSpPr>
            <p:nvPr/>
          </p:nvSpPr>
          <p:spPr bwMode="auto">
            <a:xfrm>
              <a:off x="6738258" y="2443163"/>
              <a:ext cx="1087438" cy="1630363"/>
            </a:xfrm>
            <a:custGeom>
              <a:avLst/>
              <a:gdLst>
                <a:gd name="T0" fmla="*/ 349 w 685"/>
                <a:gd name="T1" fmla="*/ 27 h 1027"/>
                <a:gd name="T2" fmla="*/ 417 w 685"/>
                <a:gd name="T3" fmla="*/ 73 h 1027"/>
                <a:gd name="T4" fmla="*/ 394 w 685"/>
                <a:gd name="T5" fmla="*/ 134 h 1027"/>
                <a:gd name="T6" fmla="*/ 502 w 685"/>
                <a:gd name="T7" fmla="*/ 161 h 1027"/>
                <a:gd name="T8" fmla="*/ 406 w 685"/>
                <a:gd name="T9" fmla="*/ 286 h 1027"/>
                <a:gd name="T10" fmla="*/ 406 w 685"/>
                <a:gd name="T11" fmla="*/ 309 h 1027"/>
                <a:gd name="T12" fmla="*/ 363 w 685"/>
                <a:gd name="T13" fmla="*/ 344 h 1027"/>
                <a:gd name="T14" fmla="*/ 448 w 685"/>
                <a:gd name="T15" fmla="*/ 367 h 1027"/>
                <a:gd name="T16" fmla="*/ 482 w 685"/>
                <a:gd name="T17" fmla="*/ 521 h 1027"/>
                <a:gd name="T18" fmla="*/ 546 w 685"/>
                <a:gd name="T19" fmla="*/ 622 h 1027"/>
                <a:gd name="T20" fmla="*/ 549 w 685"/>
                <a:gd name="T21" fmla="*/ 745 h 1027"/>
                <a:gd name="T22" fmla="*/ 593 w 685"/>
                <a:gd name="T23" fmla="*/ 745 h 1027"/>
                <a:gd name="T24" fmla="*/ 685 w 685"/>
                <a:gd name="T25" fmla="*/ 792 h 1027"/>
                <a:gd name="T26" fmla="*/ 567 w 685"/>
                <a:gd name="T27" fmla="*/ 920 h 1027"/>
                <a:gd name="T28" fmla="*/ 636 w 685"/>
                <a:gd name="T29" fmla="*/ 943 h 1027"/>
                <a:gd name="T30" fmla="*/ 486 w 685"/>
                <a:gd name="T31" fmla="*/ 992 h 1027"/>
                <a:gd name="T32" fmla="*/ 383 w 685"/>
                <a:gd name="T33" fmla="*/ 976 h 1027"/>
                <a:gd name="T34" fmla="*/ 233 w 685"/>
                <a:gd name="T35" fmla="*/ 969 h 1027"/>
                <a:gd name="T36" fmla="*/ 179 w 685"/>
                <a:gd name="T37" fmla="*/ 1027 h 1027"/>
                <a:gd name="T38" fmla="*/ 40 w 685"/>
                <a:gd name="T39" fmla="*/ 1027 h 1027"/>
                <a:gd name="T40" fmla="*/ 0 w 685"/>
                <a:gd name="T41" fmla="*/ 992 h 1027"/>
                <a:gd name="T42" fmla="*/ 170 w 685"/>
                <a:gd name="T43" fmla="*/ 898 h 1027"/>
                <a:gd name="T44" fmla="*/ 240 w 685"/>
                <a:gd name="T45" fmla="*/ 922 h 1027"/>
                <a:gd name="T46" fmla="*/ 318 w 685"/>
                <a:gd name="T47" fmla="*/ 862 h 1027"/>
                <a:gd name="T48" fmla="*/ 204 w 685"/>
                <a:gd name="T49" fmla="*/ 871 h 1027"/>
                <a:gd name="T50" fmla="*/ 168 w 685"/>
                <a:gd name="T51" fmla="*/ 855 h 1027"/>
                <a:gd name="T52" fmla="*/ 110 w 685"/>
                <a:gd name="T53" fmla="*/ 842 h 1027"/>
                <a:gd name="T54" fmla="*/ 161 w 685"/>
                <a:gd name="T55" fmla="*/ 781 h 1027"/>
                <a:gd name="T56" fmla="*/ 202 w 685"/>
                <a:gd name="T57" fmla="*/ 694 h 1027"/>
                <a:gd name="T58" fmla="*/ 168 w 685"/>
                <a:gd name="T59" fmla="*/ 683 h 1027"/>
                <a:gd name="T60" fmla="*/ 302 w 685"/>
                <a:gd name="T61" fmla="*/ 651 h 1027"/>
                <a:gd name="T62" fmla="*/ 320 w 685"/>
                <a:gd name="T63" fmla="*/ 568 h 1027"/>
                <a:gd name="T64" fmla="*/ 316 w 685"/>
                <a:gd name="T65" fmla="*/ 476 h 1027"/>
                <a:gd name="T66" fmla="*/ 302 w 685"/>
                <a:gd name="T67" fmla="*/ 467 h 1027"/>
                <a:gd name="T68" fmla="*/ 233 w 685"/>
                <a:gd name="T69" fmla="*/ 450 h 1027"/>
                <a:gd name="T70" fmla="*/ 190 w 685"/>
                <a:gd name="T71" fmla="*/ 443 h 1027"/>
                <a:gd name="T72" fmla="*/ 224 w 685"/>
                <a:gd name="T73" fmla="*/ 344 h 1027"/>
                <a:gd name="T74" fmla="*/ 195 w 685"/>
                <a:gd name="T75" fmla="*/ 302 h 1027"/>
                <a:gd name="T76" fmla="*/ 161 w 685"/>
                <a:gd name="T77" fmla="*/ 389 h 1027"/>
                <a:gd name="T78" fmla="*/ 181 w 685"/>
                <a:gd name="T79" fmla="*/ 313 h 1027"/>
                <a:gd name="T80" fmla="*/ 202 w 685"/>
                <a:gd name="T81" fmla="*/ 241 h 1027"/>
                <a:gd name="T82" fmla="*/ 145 w 685"/>
                <a:gd name="T83" fmla="*/ 264 h 1027"/>
                <a:gd name="T84" fmla="*/ 222 w 685"/>
                <a:gd name="T85" fmla="*/ 183 h 1027"/>
                <a:gd name="T86" fmla="*/ 217 w 685"/>
                <a:gd name="T87" fmla="*/ 85 h 1027"/>
                <a:gd name="T88" fmla="*/ 304 w 685"/>
                <a:gd name="T89" fmla="*/ 0 h 10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85" h="1027">
                  <a:moveTo>
                    <a:pt x="304" y="0"/>
                  </a:moveTo>
                  <a:lnTo>
                    <a:pt x="349" y="27"/>
                  </a:lnTo>
                  <a:lnTo>
                    <a:pt x="446" y="27"/>
                  </a:lnTo>
                  <a:lnTo>
                    <a:pt x="417" y="73"/>
                  </a:lnTo>
                  <a:lnTo>
                    <a:pt x="320" y="134"/>
                  </a:lnTo>
                  <a:lnTo>
                    <a:pt x="394" y="134"/>
                  </a:lnTo>
                  <a:lnTo>
                    <a:pt x="428" y="149"/>
                  </a:lnTo>
                  <a:lnTo>
                    <a:pt x="502" y="161"/>
                  </a:lnTo>
                  <a:lnTo>
                    <a:pt x="509" y="181"/>
                  </a:lnTo>
                  <a:lnTo>
                    <a:pt x="406" y="286"/>
                  </a:lnTo>
                  <a:lnTo>
                    <a:pt x="379" y="297"/>
                  </a:lnTo>
                  <a:lnTo>
                    <a:pt x="406" y="309"/>
                  </a:lnTo>
                  <a:lnTo>
                    <a:pt x="350" y="329"/>
                  </a:lnTo>
                  <a:lnTo>
                    <a:pt x="363" y="344"/>
                  </a:lnTo>
                  <a:lnTo>
                    <a:pt x="385" y="344"/>
                  </a:lnTo>
                  <a:lnTo>
                    <a:pt x="448" y="367"/>
                  </a:lnTo>
                  <a:lnTo>
                    <a:pt x="464" y="411"/>
                  </a:lnTo>
                  <a:lnTo>
                    <a:pt x="482" y="521"/>
                  </a:lnTo>
                  <a:lnTo>
                    <a:pt x="556" y="588"/>
                  </a:lnTo>
                  <a:lnTo>
                    <a:pt x="546" y="622"/>
                  </a:lnTo>
                  <a:lnTo>
                    <a:pt x="578" y="710"/>
                  </a:lnTo>
                  <a:lnTo>
                    <a:pt x="549" y="745"/>
                  </a:lnTo>
                  <a:lnTo>
                    <a:pt x="569" y="765"/>
                  </a:lnTo>
                  <a:lnTo>
                    <a:pt x="593" y="745"/>
                  </a:lnTo>
                  <a:lnTo>
                    <a:pt x="656" y="759"/>
                  </a:lnTo>
                  <a:lnTo>
                    <a:pt x="685" y="792"/>
                  </a:lnTo>
                  <a:lnTo>
                    <a:pt x="658" y="862"/>
                  </a:lnTo>
                  <a:lnTo>
                    <a:pt x="567" y="920"/>
                  </a:lnTo>
                  <a:lnTo>
                    <a:pt x="600" y="943"/>
                  </a:lnTo>
                  <a:lnTo>
                    <a:pt x="636" y="943"/>
                  </a:lnTo>
                  <a:lnTo>
                    <a:pt x="524" y="1014"/>
                  </a:lnTo>
                  <a:lnTo>
                    <a:pt x="486" y="992"/>
                  </a:lnTo>
                  <a:lnTo>
                    <a:pt x="423" y="992"/>
                  </a:lnTo>
                  <a:lnTo>
                    <a:pt x="383" y="976"/>
                  </a:lnTo>
                  <a:lnTo>
                    <a:pt x="291" y="1000"/>
                  </a:lnTo>
                  <a:lnTo>
                    <a:pt x="233" y="969"/>
                  </a:lnTo>
                  <a:lnTo>
                    <a:pt x="211" y="969"/>
                  </a:lnTo>
                  <a:lnTo>
                    <a:pt x="179" y="1027"/>
                  </a:lnTo>
                  <a:lnTo>
                    <a:pt x="92" y="992"/>
                  </a:lnTo>
                  <a:lnTo>
                    <a:pt x="40" y="1027"/>
                  </a:lnTo>
                  <a:lnTo>
                    <a:pt x="20" y="1007"/>
                  </a:lnTo>
                  <a:lnTo>
                    <a:pt x="0" y="992"/>
                  </a:lnTo>
                  <a:lnTo>
                    <a:pt x="49" y="987"/>
                  </a:lnTo>
                  <a:lnTo>
                    <a:pt x="170" y="898"/>
                  </a:lnTo>
                  <a:lnTo>
                    <a:pt x="202" y="906"/>
                  </a:lnTo>
                  <a:lnTo>
                    <a:pt x="240" y="922"/>
                  </a:lnTo>
                  <a:lnTo>
                    <a:pt x="267" y="895"/>
                  </a:lnTo>
                  <a:lnTo>
                    <a:pt x="318" y="862"/>
                  </a:lnTo>
                  <a:lnTo>
                    <a:pt x="233" y="893"/>
                  </a:lnTo>
                  <a:lnTo>
                    <a:pt x="204" y="871"/>
                  </a:lnTo>
                  <a:lnTo>
                    <a:pt x="201" y="853"/>
                  </a:lnTo>
                  <a:lnTo>
                    <a:pt x="168" y="855"/>
                  </a:lnTo>
                  <a:lnTo>
                    <a:pt x="157" y="828"/>
                  </a:lnTo>
                  <a:lnTo>
                    <a:pt x="110" y="842"/>
                  </a:lnTo>
                  <a:lnTo>
                    <a:pt x="79" y="792"/>
                  </a:lnTo>
                  <a:lnTo>
                    <a:pt x="161" y="781"/>
                  </a:lnTo>
                  <a:lnTo>
                    <a:pt x="213" y="743"/>
                  </a:lnTo>
                  <a:lnTo>
                    <a:pt x="202" y="694"/>
                  </a:lnTo>
                  <a:lnTo>
                    <a:pt x="168" y="709"/>
                  </a:lnTo>
                  <a:lnTo>
                    <a:pt x="168" y="683"/>
                  </a:lnTo>
                  <a:lnTo>
                    <a:pt x="226" y="645"/>
                  </a:lnTo>
                  <a:lnTo>
                    <a:pt x="302" y="651"/>
                  </a:lnTo>
                  <a:lnTo>
                    <a:pt x="341" y="579"/>
                  </a:lnTo>
                  <a:lnTo>
                    <a:pt x="320" y="568"/>
                  </a:lnTo>
                  <a:lnTo>
                    <a:pt x="293" y="513"/>
                  </a:lnTo>
                  <a:lnTo>
                    <a:pt x="316" y="476"/>
                  </a:lnTo>
                  <a:lnTo>
                    <a:pt x="352" y="467"/>
                  </a:lnTo>
                  <a:lnTo>
                    <a:pt x="302" y="467"/>
                  </a:lnTo>
                  <a:lnTo>
                    <a:pt x="258" y="474"/>
                  </a:lnTo>
                  <a:lnTo>
                    <a:pt x="233" y="450"/>
                  </a:lnTo>
                  <a:lnTo>
                    <a:pt x="233" y="479"/>
                  </a:lnTo>
                  <a:lnTo>
                    <a:pt x="190" y="443"/>
                  </a:lnTo>
                  <a:lnTo>
                    <a:pt x="238" y="373"/>
                  </a:lnTo>
                  <a:lnTo>
                    <a:pt x="224" y="344"/>
                  </a:lnTo>
                  <a:lnTo>
                    <a:pt x="247" y="297"/>
                  </a:lnTo>
                  <a:lnTo>
                    <a:pt x="195" y="302"/>
                  </a:lnTo>
                  <a:lnTo>
                    <a:pt x="199" y="336"/>
                  </a:lnTo>
                  <a:lnTo>
                    <a:pt x="161" y="389"/>
                  </a:lnTo>
                  <a:lnTo>
                    <a:pt x="146" y="376"/>
                  </a:lnTo>
                  <a:lnTo>
                    <a:pt x="181" y="313"/>
                  </a:lnTo>
                  <a:lnTo>
                    <a:pt x="195" y="264"/>
                  </a:lnTo>
                  <a:lnTo>
                    <a:pt x="202" y="241"/>
                  </a:lnTo>
                  <a:lnTo>
                    <a:pt x="172" y="268"/>
                  </a:lnTo>
                  <a:lnTo>
                    <a:pt x="145" y="264"/>
                  </a:lnTo>
                  <a:lnTo>
                    <a:pt x="191" y="185"/>
                  </a:lnTo>
                  <a:lnTo>
                    <a:pt x="222" y="183"/>
                  </a:lnTo>
                  <a:lnTo>
                    <a:pt x="233" y="134"/>
                  </a:lnTo>
                  <a:lnTo>
                    <a:pt x="217" y="85"/>
                  </a:lnTo>
                  <a:lnTo>
                    <a:pt x="280" y="55"/>
                  </a:lnTo>
                  <a:lnTo>
                    <a:pt x="30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</p:grpSp>
      <p:grpSp>
        <p:nvGrpSpPr>
          <p:cNvPr id="61" name="Denmark"/>
          <p:cNvGrpSpPr/>
          <p:nvPr/>
        </p:nvGrpSpPr>
        <p:grpSpPr>
          <a:xfrm>
            <a:off x="8684151" y="2782888"/>
            <a:ext cx="525463" cy="598488"/>
            <a:chOff x="8705171" y="2782888"/>
            <a:chExt cx="525463" cy="598488"/>
          </a:xfrm>
          <a:solidFill>
            <a:schemeClr val="accent1"/>
          </a:solidFill>
        </p:grpSpPr>
        <p:sp>
          <p:nvSpPr>
            <p:cNvPr id="62" name="Denmark"/>
            <p:cNvSpPr>
              <a:spLocks/>
            </p:cNvSpPr>
            <p:nvPr/>
          </p:nvSpPr>
          <p:spPr bwMode="auto">
            <a:xfrm>
              <a:off x="8705171" y="2782888"/>
              <a:ext cx="347663" cy="576263"/>
            </a:xfrm>
            <a:custGeom>
              <a:avLst/>
              <a:gdLst>
                <a:gd name="T0" fmla="*/ 42 w 219"/>
                <a:gd name="T1" fmla="*/ 312 h 363"/>
                <a:gd name="T2" fmla="*/ 42 w 219"/>
                <a:gd name="T3" fmla="*/ 287 h 363"/>
                <a:gd name="T4" fmla="*/ 0 w 219"/>
                <a:gd name="T5" fmla="*/ 272 h 363"/>
                <a:gd name="T6" fmla="*/ 6 w 219"/>
                <a:gd name="T7" fmla="*/ 238 h 363"/>
                <a:gd name="T8" fmla="*/ 20 w 219"/>
                <a:gd name="T9" fmla="*/ 234 h 363"/>
                <a:gd name="T10" fmla="*/ 20 w 219"/>
                <a:gd name="T11" fmla="*/ 209 h 363"/>
                <a:gd name="T12" fmla="*/ 8 w 219"/>
                <a:gd name="T13" fmla="*/ 202 h 363"/>
                <a:gd name="T14" fmla="*/ 8 w 219"/>
                <a:gd name="T15" fmla="*/ 137 h 363"/>
                <a:gd name="T16" fmla="*/ 20 w 219"/>
                <a:gd name="T17" fmla="*/ 122 h 363"/>
                <a:gd name="T18" fmla="*/ 27 w 219"/>
                <a:gd name="T19" fmla="*/ 122 h 363"/>
                <a:gd name="T20" fmla="*/ 20 w 219"/>
                <a:gd name="T21" fmla="*/ 95 h 363"/>
                <a:gd name="T22" fmla="*/ 53 w 219"/>
                <a:gd name="T23" fmla="*/ 72 h 363"/>
                <a:gd name="T24" fmla="*/ 92 w 219"/>
                <a:gd name="T25" fmla="*/ 72 h 363"/>
                <a:gd name="T26" fmla="*/ 118 w 219"/>
                <a:gd name="T27" fmla="*/ 59 h 363"/>
                <a:gd name="T28" fmla="*/ 136 w 219"/>
                <a:gd name="T29" fmla="*/ 25 h 363"/>
                <a:gd name="T30" fmla="*/ 170 w 219"/>
                <a:gd name="T31" fmla="*/ 16 h 363"/>
                <a:gd name="T32" fmla="*/ 186 w 219"/>
                <a:gd name="T33" fmla="*/ 0 h 363"/>
                <a:gd name="T34" fmla="*/ 194 w 219"/>
                <a:gd name="T35" fmla="*/ 3 h 363"/>
                <a:gd name="T36" fmla="*/ 190 w 219"/>
                <a:gd name="T37" fmla="*/ 16 h 363"/>
                <a:gd name="T38" fmla="*/ 177 w 219"/>
                <a:gd name="T39" fmla="*/ 21 h 363"/>
                <a:gd name="T40" fmla="*/ 190 w 219"/>
                <a:gd name="T41" fmla="*/ 39 h 363"/>
                <a:gd name="T42" fmla="*/ 194 w 219"/>
                <a:gd name="T43" fmla="*/ 63 h 363"/>
                <a:gd name="T44" fmla="*/ 183 w 219"/>
                <a:gd name="T45" fmla="*/ 77 h 363"/>
                <a:gd name="T46" fmla="*/ 168 w 219"/>
                <a:gd name="T47" fmla="*/ 94 h 363"/>
                <a:gd name="T48" fmla="*/ 163 w 219"/>
                <a:gd name="T49" fmla="*/ 113 h 363"/>
                <a:gd name="T50" fmla="*/ 168 w 219"/>
                <a:gd name="T51" fmla="*/ 124 h 363"/>
                <a:gd name="T52" fmla="*/ 168 w 219"/>
                <a:gd name="T53" fmla="*/ 139 h 363"/>
                <a:gd name="T54" fmla="*/ 177 w 219"/>
                <a:gd name="T55" fmla="*/ 148 h 363"/>
                <a:gd name="T56" fmla="*/ 199 w 219"/>
                <a:gd name="T57" fmla="*/ 148 h 363"/>
                <a:gd name="T58" fmla="*/ 213 w 219"/>
                <a:gd name="T59" fmla="*/ 148 h 363"/>
                <a:gd name="T60" fmla="*/ 219 w 219"/>
                <a:gd name="T61" fmla="*/ 173 h 363"/>
                <a:gd name="T62" fmla="*/ 197 w 219"/>
                <a:gd name="T63" fmla="*/ 198 h 363"/>
                <a:gd name="T64" fmla="*/ 177 w 219"/>
                <a:gd name="T65" fmla="*/ 204 h 363"/>
                <a:gd name="T66" fmla="*/ 177 w 219"/>
                <a:gd name="T67" fmla="*/ 187 h 363"/>
                <a:gd name="T68" fmla="*/ 161 w 219"/>
                <a:gd name="T69" fmla="*/ 189 h 363"/>
                <a:gd name="T70" fmla="*/ 163 w 219"/>
                <a:gd name="T71" fmla="*/ 220 h 363"/>
                <a:gd name="T72" fmla="*/ 159 w 219"/>
                <a:gd name="T73" fmla="*/ 240 h 363"/>
                <a:gd name="T74" fmla="*/ 141 w 219"/>
                <a:gd name="T75" fmla="*/ 249 h 363"/>
                <a:gd name="T76" fmla="*/ 127 w 219"/>
                <a:gd name="T77" fmla="*/ 247 h 363"/>
                <a:gd name="T78" fmla="*/ 129 w 219"/>
                <a:gd name="T79" fmla="*/ 265 h 363"/>
                <a:gd name="T80" fmla="*/ 111 w 219"/>
                <a:gd name="T81" fmla="*/ 276 h 363"/>
                <a:gd name="T82" fmla="*/ 118 w 219"/>
                <a:gd name="T83" fmla="*/ 299 h 363"/>
                <a:gd name="T84" fmla="*/ 121 w 219"/>
                <a:gd name="T85" fmla="*/ 321 h 363"/>
                <a:gd name="T86" fmla="*/ 103 w 219"/>
                <a:gd name="T87" fmla="*/ 325 h 363"/>
                <a:gd name="T88" fmla="*/ 123 w 219"/>
                <a:gd name="T89" fmla="*/ 341 h 363"/>
                <a:gd name="T90" fmla="*/ 132 w 219"/>
                <a:gd name="T91" fmla="*/ 363 h 363"/>
                <a:gd name="T92" fmla="*/ 96 w 219"/>
                <a:gd name="T93" fmla="*/ 359 h 363"/>
                <a:gd name="T94" fmla="*/ 27 w 219"/>
                <a:gd name="T95" fmla="*/ 343 h 363"/>
                <a:gd name="T96" fmla="*/ 40 w 219"/>
                <a:gd name="T97" fmla="*/ 328 h 363"/>
                <a:gd name="T98" fmla="*/ 42 w 219"/>
                <a:gd name="T99" fmla="*/ 312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19" h="363">
                  <a:moveTo>
                    <a:pt x="42" y="312"/>
                  </a:moveTo>
                  <a:lnTo>
                    <a:pt x="42" y="287"/>
                  </a:lnTo>
                  <a:lnTo>
                    <a:pt x="0" y="272"/>
                  </a:lnTo>
                  <a:lnTo>
                    <a:pt x="6" y="238"/>
                  </a:lnTo>
                  <a:lnTo>
                    <a:pt x="20" y="234"/>
                  </a:lnTo>
                  <a:lnTo>
                    <a:pt x="20" y="209"/>
                  </a:lnTo>
                  <a:lnTo>
                    <a:pt x="8" y="202"/>
                  </a:lnTo>
                  <a:lnTo>
                    <a:pt x="8" y="137"/>
                  </a:lnTo>
                  <a:lnTo>
                    <a:pt x="20" y="122"/>
                  </a:lnTo>
                  <a:lnTo>
                    <a:pt x="27" y="122"/>
                  </a:lnTo>
                  <a:lnTo>
                    <a:pt x="20" y="95"/>
                  </a:lnTo>
                  <a:lnTo>
                    <a:pt x="53" y="72"/>
                  </a:lnTo>
                  <a:lnTo>
                    <a:pt x="92" y="72"/>
                  </a:lnTo>
                  <a:lnTo>
                    <a:pt x="118" y="59"/>
                  </a:lnTo>
                  <a:lnTo>
                    <a:pt x="136" y="25"/>
                  </a:lnTo>
                  <a:lnTo>
                    <a:pt x="170" y="16"/>
                  </a:lnTo>
                  <a:lnTo>
                    <a:pt x="186" y="0"/>
                  </a:lnTo>
                  <a:lnTo>
                    <a:pt x="194" y="3"/>
                  </a:lnTo>
                  <a:lnTo>
                    <a:pt x="190" y="16"/>
                  </a:lnTo>
                  <a:lnTo>
                    <a:pt x="177" y="21"/>
                  </a:lnTo>
                  <a:lnTo>
                    <a:pt x="190" y="39"/>
                  </a:lnTo>
                  <a:lnTo>
                    <a:pt x="194" y="63"/>
                  </a:lnTo>
                  <a:lnTo>
                    <a:pt x="183" y="77"/>
                  </a:lnTo>
                  <a:lnTo>
                    <a:pt x="168" y="94"/>
                  </a:lnTo>
                  <a:lnTo>
                    <a:pt x="163" y="113"/>
                  </a:lnTo>
                  <a:lnTo>
                    <a:pt x="168" y="124"/>
                  </a:lnTo>
                  <a:lnTo>
                    <a:pt x="168" y="139"/>
                  </a:lnTo>
                  <a:lnTo>
                    <a:pt x="177" y="148"/>
                  </a:lnTo>
                  <a:lnTo>
                    <a:pt x="199" y="148"/>
                  </a:lnTo>
                  <a:lnTo>
                    <a:pt x="213" y="148"/>
                  </a:lnTo>
                  <a:lnTo>
                    <a:pt x="219" y="173"/>
                  </a:lnTo>
                  <a:lnTo>
                    <a:pt x="197" y="198"/>
                  </a:lnTo>
                  <a:lnTo>
                    <a:pt x="177" y="204"/>
                  </a:lnTo>
                  <a:lnTo>
                    <a:pt x="177" y="187"/>
                  </a:lnTo>
                  <a:lnTo>
                    <a:pt x="161" y="189"/>
                  </a:lnTo>
                  <a:lnTo>
                    <a:pt x="163" y="220"/>
                  </a:lnTo>
                  <a:lnTo>
                    <a:pt x="159" y="240"/>
                  </a:lnTo>
                  <a:lnTo>
                    <a:pt x="141" y="249"/>
                  </a:lnTo>
                  <a:lnTo>
                    <a:pt x="127" y="247"/>
                  </a:lnTo>
                  <a:lnTo>
                    <a:pt x="129" y="265"/>
                  </a:lnTo>
                  <a:lnTo>
                    <a:pt x="111" y="276"/>
                  </a:lnTo>
                  <a:lnTo>
                    <a:pt x="118" y="299"/>
                  </a:lnTo>
                  <a:lnTo>
                    <a:pt x="121" y="321"/>
                  </a:lnTo>
                  <a:lnTo>
                    <a:pt x="103" y="325"/>
                  </a:lnTo>
                  <a:lnTo>
                    <a:pt x="123" y="341"/>
                  </a:lnTo>
                  <a:lnTo>
                    <a:pt x="132" y="363"/>
                  </a:lnTo>
                  <a:lnTo>
                    <a:pt x="96" y="359"/>
                  </a:lnTo>
                  <a:lnTo>
                    <a:pt x="27" y="343"/>
                  </a:lnTo>
                  <a:lnTo>
                    <a:pt x="40" y="328"/>
                  </a:lnTo>
                  <a:lnTo>
                    <a:pt x="42" y="3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  <p:sp>
          <p:nvSpPr>
            <p:cNvPr id="63" name="Denmark"/>
            <p:cNvSpPr>
              <a:spLocks/>
            </p:cNvSpPr>
            <p:nvPr/>
          </p:nvSpPr>
          <p:spPr bwMode="auto">
            <a:xfrm>
              <a:off x="8875033" y="3181350"/>
              <a:ext cx="134938" cy="131763"/>
            </a:xfrm>
            <a:custGeom>
              <a:avLst/>
              <a:gdLst>
                <a:gd name="T0" fmla="*/ 7 w 85"/>
                <a:gd name="T1" fmla="*/ 20 h 83"/>
                <a:gd name="T2" fmla="*/ 23 w 85"/>
                <a:gd name="T3" fmla="*/ 20 h 83"/>
                <a:gd name="T4" fmla="*/ 32 w 85"/>
                <a:gd name="T5" fmla="*/ 7 h 83"/>
                <a:gd name="T6" fmla="*/ 49 w 85"/>
                <a:gd name="T7" fmla="*/ 0 h 83"/>
                <a:gd name="T8" fmla="*/ 54 w 85"/>
                <a:gd name="T9" fmla="*/ 9 h 83"/>
                <a:gd name="T10" fmla="*/ 74 w 85"/>
                <a:gd name="T11" fmla="*/ 14 h 83"/>
                <a:gd name="T12" fmla="*/ 74 w 85"/>
                <a:gd name="T13" fmla="*/ 36 h 83"/>
                <a:gd name="T14" fmla="*/ 85 w 85"/>
                <a:gd name="T15" fmla="*/ 43 h 83"/>
                <a:gd name="T16" fmla="*/ 85 w 85"/>
                <a:gd name="T17" fmla="*/ 65 h 83"/>
                <a:gd name="T18" fmla="*/ 74 w 85"/>
                <a:gd name="T19" fmla="*/ 77 h 83"/>
                <a:gd name="T20" fmla="*/ 47 w 85"/>
                <a:gd name="T21" fmla="*/ 83 h 83"/>
                <a:gd name="T22" fmla="*/ 23 w 85"/>
                <a:gd name="T23" fmla="*/ 67 h 83"/>
                <a:gd name="T24" fmla="*/ 14 w 85"/>
                <a:gd name="T25" fmla="*/ 41 h 83"/>
                <a:gd name="T26" fmla="*/ 0 w 85"/>
                <a:gd name="T27" fmla="*/ 23 h 83"/>
                <a:gd name="T28" fmla="*/ 7 w 85"/>
                <a:gd name="T29" fmla="*/ 2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" h="83">
                  <a:moveTo>
                    <a:pt x="7" y="20"/>
                  </a:moveTo>
                  <a:lnTo>
                    <a:pt x="23" y="20"/>
                  </a:lnTo>
                  <a:lnTo>
                    <a:pt x="32" y="7"/>
                  </a:lnTo>
                  <a:lnTo>
                    <a:pt x="49" y="0"/>
                  </a:lnTo>
                  <a:lnTo>
                    <a:pt x="54" y="9"/>
                  </a:lnTo>
                  <a:lnTo>
                    <a:pt x="74" y="14"/>
                  </a:lnTo>
                  <a:lnTo>
                    <a:pt x="74" y="36"/>
                  </a:lnTo>
                  <a:lnTo>
                    <a:pt x="85" y="43"/>
                  </a:lnTo>
                  <a:lnTo>
                    <a:pt x="85" y="65"/>
                  </a:lnTo>
                  <a:lnTo>
                    <a:pt x="74" y="77"/>
                  </a:lnTo>
                  <a:lnTo>
                    <a:pt x="47" y="83"/>
                  </a:lnTo>
                  <a:lnTo>
                    <a:pt x="23" y="67"/>
                  </a:lnTo>
                  <a:lnTo>
                    <a:pt x="14" y="41"/>
                  </a:lnTo>
                  <a:lnTo>
                    <a:pt x="0" y="23"/>
                  </a:lnTo>
                  <a:lnTo>
                    <a:pt x="7" y="2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  <p:sp>
          <p:nvSpPr>
            <p:cNvPr id="64" name="Denmark"/>
            <p:cNvSpPr>
              <a:spLocks/>
            </p:cNvSpPr>
            <p:nvPr/>
          </p:nvSpPr>
          <p:spPr bwMode="auto">
            <a:xfrm>
              <a:off x="9009971" y="3068638"/>
              <a:ext cx="220663" cy="312738"/>
            </a:xfrm>
            <a:custGeom>
              <a:avLst/>
              <a:gdLst>
                <a:gd name="T0" fmla="*/ 0 w 139"/>
                <a:gd name="T1" fmla="*/ 58 h 197"/>
                <a:gd name="T2" fmla="*/ 43 w 139"/>
                <a:gd name="T3" fmla="*/ 51 h 197"/>
                <a:gd name="T4" fmla="*/ 50 w 139"/>
                <a:gd name="T5" fmla="*/ 40 h 197"/>
                <a:gd name="T6" fmla="*/ 79 w 139"/>
                <a:gd name="T7" fmla="*/ 33 h 197"/>
                <a:gd name="T8" fmla="*/ 83 w 139"/>
                <a:gd name="T9" fmla="*/ 0 h 197"/>
                <a:gd name="T10" fmla="*/ 112 w 139"/>
                <a:gd name="T11" fmla="*/ 7 h 197"/>
                <a:gd name="T12" fmla="*/ 126 w 139"/>
                <a:gd name="T13" fmla="*/ 24 h 197"/>
                <a:gd name="T14" fmla="*/ 126 w 139"/>
                <a:gd name="T15" fmla="*/ 45 h 197"/>
                <a:gd name="T16" fmla="*/ 139 w 139"/>
                <a:gd name="T17" fmla="*/ 54 h 197"/>
                <a:gd name="T18" fmla="*/ 139 w 139"/>
                <a:gd name="T19" fmla="*/ 71 h 197"/>
                <a:gd name="T20" fmla="*/ 119 w 139"/>
                <a:gd name="T21" fmla="*/ 80 h 197"/>
                <a:gd name="T22" fmla="*/ 112 w 139"/>
                <a:gd name="T23" fmla="*/ 96 h 197"/>
                <a:gd name="T24" fmla="*/ 126 w 139"/>
                <a:gd name="T25" fmla="*/ 107 h 197"/>
                <a:gd name="T26" fmla="*/ 126 w 139"/>
                <a:gd name="T27" fmla="*/ 119 h 197"/>
                <a:gd name="T28" fmla="*/ 99 w 139"/>
                <a:gd name="T29" fmla="*/ 119 h 197"/>
                <a:gd name="T30" fmla="*/ 108 w 139"/>
                <a:gd name="T31" fmla="*/ 141 h 197"/>
                <a:gd name="T32" fmla="*/ 81 w 139"/>
                <a:gd name="T33" fmla="*/ 141 h 197"/>
                <a:gd name="T34" fmla="*/ 87 w 139"/>
                <a:gd name="T35" fmla="*/ 154 h 197"/>
                <a:gd name="T36" fmla="*/ 105 w 139"/>
                <a:gd name="T37" fmla="*/ 154 h 197"/>
                <a:gd name="T38" fmla="*/ 97 w 139"/>
                <a:gd name="T39" fmla="*/ 166 h 197"/>
                <a:gd name="T40" fmla="*/ 88 w 139"/>
                <a:gd name="T41" fmla="*/ 186 h 197"/>
                <a:gd name="T42" fmla="*/ 70 w 139"/>
                <a:gd name="T43" fmla="*/ 186 h 197"/>
                <a:gd name="T44" fmla="*/ 52 w 139"/>
                <a:gd name="T45" fmla="*/ 197 h 197"/>
                <a:gd name="T46" fmla="*/ 36 w 139"/>
                <a:gd name="T47" fmla="*/ 181 h 197"/>
                <a:gd name="T48" fmla="*/ 18 w 139"/>
                <a:gd name="T49" fmla="*/ 161 h 197"/>
                <a:gd name="T50" fmla="*/ 29 w 139"/>
                <a:gd name="T51" fmla="*/ 148 h 197"/>
                <a:gd name="T52" fmla="*/ 50 w 139"/>
                <a:gd name="T53" fmla="*/ 154 h 197"/>
                <a:gd name="T54" fmla="*/ 61 w 139"/>
                <a:gd name="T55" fmla="*/ 166 h 197"/>
                <a:gd name="T56" fmla="*/ 70 w 139"/>
                <a:gd name="T57" fmla="*/ 154 h 197"/>
                <a:gd name="T58" fmla="*/ 77 w 139"/>
                <a:gd name="T59" fmla="*/ 132 h 197"/>
                <a:gd name="T60" fmla="*/ 76 w 139"/>
                <a:gd name="T61" fmla="*/ 119 h 197"/>
                <a:gd name="T62" fmla="*/ 38 w 139"/>
                <a:gd name="T63" fmla="*/ 125 h 197"/>
                <a:gd name="T64" fmla="*/ 25 w 139"/>
                <a:gd name="T65" fmla="*/ 107 h 197"/>
                <a:gd name="T66" fmla="*/ 34 w 139"/>
                <a:gd name="T67" fmla="*/ 91 h 197"/>
                <a:gd name="T68" fmla="*/ 36 w 139"/>
                <a:gd name="T69" fmla="*/ 74 h 197"/>
                <a:gd name="T70" fmla="*/ 0 w 139"/>
                <a:gd name="T71" fmla="*/ 58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39" h="197">
                  <a:moveTo>
                    <a:pt x="0" y="58"/>
                  </a:moveTo>
                  <a:lnTo>
                    <a:pt x="43" y="51"/>
                  </a:lnTo>
                  <a:lnTo>
                    <a:pt x="50" y="40"/>
                  </a:lnTo>
                  <a:lnTo>
                    <a:pt x="79" y="33"/>
                  </a:lnTo>
                  <a:lnTo>
                    <a:pt x="83" y="0"/>
                  </a:lnTo>
                  <a:lnTo>
                    <a:pt x="112" y="7"/>
                  </a:lnTo>
                  <a:lnTo>
                    <a:pt x="126" y="24"/>
                  </a:lnTo>
                  <a:lnTo>
                    <a:pt x="126" y="45"/>
                  </a:lnTo>
                  <a:lnTo>
                    <a:pt x="139" y="54"/>
                  </a:lnTo>
                  <a:lnTo>
                    <a:pt x="139" y="71"/>
                  </a:lnTo>
                  <a:lnTo>
                    <a:pt x="119" y="80"/>
                  </a:lnTo>
                  <a:lnTo>
                    <a:pt x="112" y="96"/>
                  </a:lnTo>
                  <a:lnTo>
                    <a:pt x="126" y="107"/>
                  </a:lnTo>
                  <a:lnTo>
                    <a:pt x="126" y="119"/>
                  </a:lnTo>
                  <a:lnTo>
                    <a:pt x="99" y="119"/>
                  </a:lnTo>
                  <a:lnTo>
                    <a:pt x="108" y="141"/>
                  </a:lnTo>
                  <a:lnTo>
                    <a:pt x="81" y="141"/>
                  </a:lnTo>
                  <a:lnTo>
                    <a:pt x="87" y="154"/>
                  </a:lnTo>
                  <a:lnTo>
                    <a:pt x="105" y="154"/>
                  </a:lnTo>
                  <a:lnTo>
                    <a:pt x="97" y="166"/>
                  </a:lnTo>
                  <a:lnTo>
                    <a:pt x="88" y="186"/>
                  </a:lnTo>
                  <a:lnTo>
                    <a:pt x="70" y="186"/>
                  </a:lnTo>
                  <a:lnTo>
                    <a:pt x="52" y="197"/>
                  </a:lnTo>
                  <a:lnTo>
                    <a:pt x="36" y="181"/>
                  </a:lnTo>
                  <a:lnTo>
                    <a:pt x="18" y="161"/>
                  </a:lnTo>
                  <a:lnTo>
                    <a:pt x="29" y="148"/>
                  </a:lnTo>
                  <a:lnTo>
                    <a:pt x="50" y="154"/>
                  </a:lnTo>
                  <a:lnTo>
                    <a:pt x="61" y="166"/>
                  </a:lnTo>
                  <a:lnTo>
                    <a:pt x="70" y="154"/>
                  </a:lnTo>
                  <a:lnTo>
                    <a:pt x="77" y="132"/>
                  </a:lnTo>
                  <a:lnTo>
                    <a:pt x="76" y="119"/>
                  </a:lnTo>
                  <a:lnTo>
                    <a:pt x="38" y="125"/>
                  </a:lnTo>
                  <a:lnTo>
                    <a:pt x="25" y="107"/>
                  </a:lnTo>
                  <a:lnTo>
                    <a:pt x="34" y="91"/>
                  </a:lnTo>
                  <a:lnTo>
                    <a:pt x="36" y="74"/>
                  </a:lnTo>
                  <a:lnTo>
                    <a:pt x="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1"/>
                </a:solidFill>
              </a:endParaRPr>
            </a:p>
          </p:txBody>
        </p:sp>
      </p:grpSp>
      <p:sp>
        <p:nvSpPr>
          <p:cNvPr id="65" name="Norway"/>
          <p:cNvSpPr>
            <a:spLocks/>
          </p:cNvSpPr>
          <p:nvPr/>
        </p:nvSpPr>
        <p:spPr bwMode="auto">
          <a:xfrm>
            <a:off x="8349188" y="85725"/>
            <a:ext cx="2322513" cy="2652713"/>
          </a:xfrm>
          <a:custGeom>
            <a:avLst/>
            <a:gdLst>
              <a:gd name="T0" fmla="*/ 780 w 810"/>
              <a:gd name="T1" fmla="*/ 57 h 925"/>
              <a:gd name="T2" fmla="*/ 738 w 810"/>
              <a:gd name="T3" fmla="*/ 48 h 925"/>
              <a:gd name="T4" fmla="*/ 702 w 810"/>
              <a:gd name="T5" fmla="*/ 47 h 925"/>
              <a:gd name="T6" fmla="*/ 682 w 810"/>
              <a:gd name="T7" fmla="*/ 0 h 925"/>
              <a:gd name="T8" fmla="*/ 649 w 810"/>
              <a:gd name="T9" fmla="*/ 6 h 925"/>
              <a:gd name="T10" fmla="*/ 643 w 810"/>
              <a:gd name="T11" fmla="*/ 6 h 925"/>
              <a:gd name="T12" fmla="*/ 616 w 810"/>
              <a:gd name="T13" fmla="*/ 13 h 925"/>
              <a:gd name="T14" fmla="*/ 593 w 810"/>
              <a:gd name="T15" fmla="*/ 14 h 925"/>
              <a:gd name="T16" fmla="*/ 570 w 810"/>
              <a:gd name="T17" fmla="*/ 74 h 925"/>
              <a:gd name="T18" fmla="*/ 584 w 810"/>
              <a:gd name="T19" fmla="*/ 0 h 925"/>
              <a:gd name="T20" fmla="*/ 550 w 810"/>
              <a:gd name="T21" fmla="*/ 43 h 925"/>
              <a:gd name="T22" fmla="*/ 515 w 810"/>
              <a:gd name="T23" fmla="*/ 57 h 925"/>
              <a:gd name="T24" fmla="*/ 518 w 810"/>
              <a:gd name="T25" fmla="*/ 86 h 925"/>
              <a:gd name="T26" fmla="*/ 480 w 810"/>
              <a:gd name="T27" fmla="*/ 90 h 925"/>
              <a:gd name="T28" fmla="*/ 439 w 810"/>
              <a:gd name="T29" fmla="*/ 99 h 925"/>
              <a:gd name="T30" fmla="*/ 402 w 810"/>
              <a:gd name="T31" fmla="*/ 132 h 925"/>
              <a:gd name="T32" fmla="*/ 396 w 810"/>
              <a:gd name="T33" fmla="*/ 177 h 925"/>
              <a:gd name="T34" fmla="*/ 337 w 810"/>
              <a:gd name="T35" fmla="*/ 189 h 925"/>
              <a:gd name="T36" fmla="*/ 339 w 810"/>
              <a:gd name="T37" fmla="*/ 214 h 925"/>
              <a:gd name="T38" fmla="*/ 334 w 810"/>
              <a:gd name="T39" fmla="*/ 256 h 925"/>
              <a:gd name="T40" fmla="*/ 309 w 810"/>
              <a:gd name="T41" fmla="*/ 314 h 925"/>
              <a:gd name="T42" fmla="*/ 276 w 810"/>
              <a:gd name="T43" fmla="*/ 355 h 925"/>
              <a:gd name="T44" fmla="*/ 275 w 810"/>
              <a:gd name="T45" fmla="*/ 447 h 925"/>
              <a:gd name="T46" fmla="*/ 217 w 810"/>
              <a:gd name="T47" fmla="*/ 478 h 925"/>
              <a:gd name="T48" fmla="*/ 139 w 810"/>
              <a:gd name="T49" fmla="*/ 562 h 925"/>
              <a:gd name="T50" fmla="*/ 88 w 810"/>
              <a:gd name="T51" fmla="*/ 582 h 925"/>
              <a:gd name="T52" fmla="*/ 61 w 810"/>
              <a:gd name="T53" fmla="*/ 613 h 925"/>
              <a:gd name="T54" fmla="*/ 19 w 810"/>
              <a:gd name="T55" fmla="*/ 637 h 925"/>
              <a:gd name="T56" fmla="*/ 8 w 810"/>
              <a:gd name="T57" fmla="*/ 709 h 925"/>
              <a:gd name="T58" fmla="*/ 7 w 810"/>
              <a:gd name="T59" fmla="*/ 756 h 925"/>
              <a:gd name="T60" fmla="*/ 34 w 810"/>
              <a:gd name="T61" fmla="*/ 769 h 925"/>
              <a:gd name="T62" fmla="*/ 29 w 810"/>
              <a:gd name="T63" fmla="*/ 802 h 925"/>
              <a:gd name="T64" fmla="*/ 18 w 810"/>
              <a:gd name="T65" fmla="*/ 834 h 925"/>
              <a:gd name="T66" fmla="*/ 44 w 810"/>
              <a:gd name="T67" fmla="*/ 834 h 925"/>
              <a:gd name="T68" fmla="*/ 16 w 810"/>
              <a:gd name="T69" fmla="*/ 884 h 925"/>
              <a:gd name="T70" fmla="*/ 74 w 810"/>
              <a:gd name="T71" fmla="*/ 925 h 925"/>
              <a:gd name="T72" fmla="*/ 142 w 810"/>
              <a:gd name="T73" fmla="*/ 878 h 925"/>
              <a:gd name="T74" fmla="*/ 183 w 810"/>
              <a:gd name="T75" fmla="*/ 864 h 925"/>
              <a:gd name="T76" fmla="*/ 210 w 810"/>
              <a:gd name="T77" fmla="*/ 797 h 925"/>
              <a:gd name="T78" fmla="*/ 240 w 810"/>
              <a:gd name="T79" fmla="*/ 850 h 925"/>
              <a:gd name="T80" fmla="*/ 259 w 810"/>
              <a:gd name="T81" fmla="*/ 795 h 925"/>
              <a:gd name="T82" fmla="*/ 279 w 810"/>
              <a:gd name="T83" fmla="*/ 720 h 925"/>
              <a:gd name="T84" fmla="*/ 253 w 810"/>
              <a:gd name="T85" fmla="*/ 614 h 925"/>
              <a:gd name="T86" fmla="*/ 275 w 810"/>
              <a:gd name="T87" fmla="*/ 522 h 925"/>
              <a:gd name="T88" fmla="*/ 307 w 810"/>
              <a:gd name="T89" fmla="*/ 480 h 925"/>
              <a:gd name="T90" fmla="*/ 354 w 810"/>
              <a:gd name="T91" fmla="*/ 355 h 925"/>
              <a:gd name="T92" fmla="*/ 373 w 810"/>
              <a:gd name="T93" fmla="*/ 281 h 925"/>
              <a:gd name="T94" fmla="*/ 447 w 810"/>
              <a:gd name="T95" fmla="*/ 209 h 925"/>
              <a:gd name="T96" fmla="*/ 472 w 810"/>
              <a:gd name="T97" fmla="*/ 175 h 925"/>
              <a:gd name="T98" fmla="*/ 513 w 810"/>
              <a:gd name="T99" fmla="*/ 155 h 925"/>
              <a:gd name="T100" fmla="*/ 602 w 810"/>
              <a:gd name="T101" fmla="*/ 190 h 925"/>
              <a:gd name="T102" fmla="*/ 723 w 810"/>
              <a:gd name="T103" fmla="*/ 171 h 925"/>
              <a:gd name="T104" fmla="*/ 784 w 810"/>
              <a:gd name="T105" fmla="*/ 106 h 925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9055 w 10000"/>
              <a:gd name="connsiteY207" fmla="*/ 1767 h 10000"/>
              <a:gd name="connsiteX208" fmla="*/ 9444 w 10000"/>
              <a:gd name="connsiteY208" fmla="*/ 1492 h 10000"/>
              <a:gd name="connsiteX209" fmla="*/ 9284 w 10000"/>
              <a:gd name="connsiteY209" fmla="*/ 1362 h 10000"/>
              <a:gd name="connsiteX210" fmla="*/ 9346 w 10000"/>
              <a:gd name="connsiteY210" fmla="*/ 1351 h 10000"/>
              <a:gd name="connsiteX211" fmla="*/ 9679 w 10000"/>
              <a:gd name="connsiteY211" fmla="*/ 1146 h 10000"/>
              <a:gd name="connsiteX212" fmla="*/ 9938 w 10000"/>
              <a:gd name="connsiteY212" fmla="*/ 1178 h 10000"/>
              <a:gd name="connsiteX213" fmla="*/ 10000 w 10000"/>
              <a:gd name="connsiteY213" fmla="*/ 865 h 10000"/>
              <a:gd name="connsiteX214" fmla="*/ 9914 w 10000"/>
              <a:gd name="connsiteY214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9055 w 10000"/>
              <a:gd name="connsiteY207" fmla="*/ 1767 h 10000"/>
              <a:gd name="connsiteX208" fmla="*/ 9444 w 10000"/>
              <a:gd name="connsiteY208" fmla="*/ 1492 h 10000"/>
              <a:gd name="connsiteX209" fmla="*/ 9284 w 10000"/>
              <a:gd name="connsiteY209" fmla="*/ 1362 h 10000"/>
              <a:gd name="connsiteX210" fmla="*/ 9346 w 10000"/>
              <a:gd name="connsiteY210" fmla="*/ 1351 h 10000"/>
              <a:gd name="connsiteX211" fmla="*/ 9679 w 10000"/>
              <a:gd name="connsiteY211" fmla="*/ 1146 h 10000"/>
              <a:gd name="connsiteX212" fmla="*/ 9938 w 10000"/>
              <a:gd name="connsiteY212" fmla="*/ 1178 h 10000"/>
              <a:gd name="connsiteX213" fmla="*/ 10000 w 10000"/>
              <a:gd name="connsiteY213" fmla="*/ 865 h 10000"/>
              <a:gd name="connsiteX214" fmla="*/ 9914 w 10000"/>
              <a:gd name="connsiteY214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9172 w 10000"/>
              <a:gd name="connsiteY207" fmla="*/ 1685 h 10000"/>
              <a:gd name="connsiteX208" fmla="*/ 9444 w 10000"/>
              <a:gd name="connsiteY208" fmla="*/ 1492 h 10000"/>
              <a:gd name="connsiteX209" fmla="*/ 9284 w 10000"/>
              <a:gd name="connsiteY209" fmla="*/ 1362 h 10000"/>
              <a:gd name="connsiteX210" fmla="*/ 9346 w 10000"/>
              <a:gd name="connsiteY210" fmla="*/ 1351 h 10000"/>
              <a:gd name="connsiteX211" fmla="*/ 9679 w 10000"/>
              <a:gd name="connsiteY211" fmla="*/ 1146 h 10000"/>
              <a:gd name="connsiteX212" fmla="*/ 9938 w 10000"/>
              <a:gd name="connsiteY212" fmla="*/ 1178 h 10000"/>
              <a:gd name="connsiteX213" fmla="*/ 10000 w 10000"/>
              <a:gd name="connsiteY213" fmla="*/ 865 h 10000"/>
              <a:gd name="connsiteX214" fmla="*/ 9914 w 10000"/>
              <a:gd name="connsiteY214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8948 w 10000"/>
              <a:gd name="connsiteY207" fmla="*/ 1825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997 w 10000"/>
              <a:gd name="connsiteY206" fmla="*/ 1965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9304 w 10000"/>
              <a:gd name="connsiteY205" fmla="*/ 2139 h 10000"/>
              <a:gd name="connsiteX206" fmla="*/ 8997 w 10000"/>
              <a:gd name="connsiteY206" fmla="*/ 1965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9304 w 10000"/>
              <a:gd name="connsiteY205" fmla="*/ 2139 h 10000"/>
              <a:gd name="connsiteX206" fmla="*/ 9102 w 10000"/>
              <a:gd name="connsiteY206" fmla="*/ 1975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9304 w 10000"/>
              <a:gd name="connsiteY205" fmla="*/ 2139 h 10000"/>
              <a:gd name="connsiteX206" fmla="*/ 9067 w 10000"/>
              <a:gd name="connsiteY206" fmla="*/ 1975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</a:cxnLst>
            <a:rect l="l" t="t" r="r" b="b"/>
            <a:pathLst>
              <a:path w="10000" h="10000">
                <a:moveTo>
                  <a:pt x="9914" y="627"/>
                </a:moveTo>
                <a:cubicBezTo>
                  <a:pt x="9914" y="573"/>
                  <a:pt x="9753" y="692"/>
                  <a:pt x="9753" y="692"/>
                </a:cubicBezTo>
                <a:cubicBezTo>
                  <a:pt x="9737" y="685"/>
                  <a:pt x="9720" y="677"/>
                  <a:pt x="9704" y="670"/>
                </a:cubicBezTo>
                <a:cubicBezTo>
                  <a:pt x="9704" y="670"/>
                  <a:pt x="9605" y="627"/>
                  <a:pt x="9630" y="616"/>
                </a:cubicBezTo>
                <a:cubicBezTo>
                  <a:pt x="9654" y="605"/>
                  <a:pt x="9543" y="562"/>
                  <a:pt x="9543" y="562"/>
                </a:cubicBezTo>
                <a:lnTo>
                  <a:pt x="9296" y="616"/>
                </a:lnTo>
                <a:lnTo>
                  <a:pt x="9173" y="703"/>
                </a:lnTo>
                <a:cubicBezTo>
                  <a:pt x="9152" y="642"/>
                  <a:pt x="9132" y="580"/>
                  <a:pt x="9111" y="519"/>
                </a:cubicBezTo>
                <a:lnTo>
                  <a:pt x="8728" y="573"/>
                </a:lnTo>
                <a:lnTo>
                  <a:pt x="8420" y="616"/>
                </a:lnTo>
                <a:lnTo>
                  <a:pt x="8235" y="541"/>
                </a:lnTo>
                <a:lnTo>
                  <a:pt x="8667" y="508"/>
                </a:lnTo>
                <a:lnTo>
                  <a:pt x="8765" y="389"/>
                </a:lnTo>
                <a:lnTo>
                  <a:pt x="8901" y="259"/>
                </a:lnTo>
                <a:lnTo>
                  <a:pt x="8704" y="184"/>
                </a:lnTo>
                <a:lnTo>
                  <a:pt x="8420" y="0"/>
                </a:lnTo>
                <a:cubicBezTo>
                  <a:pt x="8445" y="32"/>
                  <a:pt x="8469" y="65"/>
                  <a:pt x="8494" y="97"/>
                </a:cubicBezTo>
                <a:lnTo>
                  <a:pt x="8309" y="205"/>
                </a:lnTo>
                <a:lnTo>
                  <a:pt x="8210" y="43"/>
                </a:lnTo>
                <a:lnTo>
                  <a:pt x="8012" y="65"/>
                </a:lnTo>
                <a:lnTo>
                  <a:pt x="8012" y="281"/>
                </a:lnTo>
                <a:cubicBezTo>
                  <a:pt x="7987" y="306"/>
                  <a:pt x="7963" y="332"/>
                  <a:pt x="7938" y="357"/>
                </a:cubicBezTo>
                <a:cubicBezTo>
                  <a:pt x="7918" y="321"/>
                  <a:pt x="7897" y="285"/>
                  <a:pt x="7877" y="249"/>
                </a:cubicBezTo>
                <a:cubicBezTo>
                  <a:pt x="7897" y="188"/>
                  <a:pt x="7918" y="126"/>
                  <a:pt x="7938" y="65"/>
                </a:cubicBezTo>
                <a:lnTo>
                  <a:pt x="7827" y="0"/>
                </a:lnTo>
                <a:lnTo>
                  <a:pt x="7654" y="0"/>
                </a:lnTo>
                <a:lnTo>
                  <a:pt x="7556" y="86"/>
                </a:lnTo>
                <a:lnTo>
                  <a:pt x="7605" y="141"/>
                </a:lnTo>
                <a:lnTo>
                  <a:pt x="7605" y="368"/>
                </a:lnTo>
                <a:cubicBezTo>
                  <a:pt x="7589" y="411"/>
                  <a:pt x="7572" y="454"/>
                  <a:pt x="7556" y="497"/>
                </a:cubicBezTo>
                <a:cubicBezTo>
                  <a:pt x="7511" y="439"/>
                  <a:pt x="7465" y="382"/>
                  <a:pt x="7420" y="324"/>
                </a:cubicBezTo>
                <a:cubicBezTo>
                  <a:pt x="7387" y="266"/>
                  <a:pt x="7354" y="209"/>
                  <a:pt x="7321" y="151"/>
                </a:cubicBezTo>
                <a:lnTo>
                  <a:pt x="7210" y="422"/>
                </a:lnTo>
                <a:lnTo>
                  <a:pt x="7210" y="627"/>
                </a:lnTo>
                <a:lnTo>
                  <a:pt x="7210" y="703"/>
                </a:lnTo>
                <a:lnTo>
                  <a:pt x="7037" y="800"/>
                </a:lnTo>
                <a:cubicBezTo>
                  <a:pt x="7041" y="742"/>
                  <a:pt x="7045" y="685"/>
                  <a:pt x="7049" y="627"/>
                </a:cubicBezTo>
                <a:lnTo>
                  <a:pt x="7049" y="551"/>
                </a:lnTo>
                <a:lnTo>
                  <a:pt x="7160" y="205"/>
                </a:lnTo>
                <a:cubicBezTo>
                  <a:pt x="7177" y="137"/>
                  <a:pt x="7193" y="68"/>
                  <a:pt x="7210" y="0"/>
                </a:cubicBezTo>
                <a:lnTo>
                  <a:pt x="6975" y="43"/>
                </a:lnTo>
                <a:lnTo>
                  <a:pt x="6975" y="184"/>
                </a:lnTo>
                <a:lnTo>
                  <a:pt x="6790" y="292"/>
                </a:lnTo>
                <a:lnTo>
                  <a:pt x="6790" y="465"/>
                </a:lnTo>
                <a:cubicBezTo>
                  <a:pt x="6745" y="487"/>
                  <a:pt x="6699" y="508"/>
                  <a:pt x="6654" y="530"/>
                </a:cubicBezTo>
                <a:lnTo>
                  <a:pt x="6420" y="465"/>
                </a:lnTo>
                <a:lnTo>
                  <a:pt x="6160" y="573"/>
                </a:lnTo>
                <a:lnTo>
                  <a:pt x="6358" y="616"/>
                </a:lnTo>
                <a:cubicBezTo>
                  <a:pt x="6370" y="638"/>
                  <a:pt x="6383" y="659"/>
                  <a:pt x="6395" y="681"/>
                </a:cubicBezTo>
                <a:cubicBezTo>
                  <a:pt x="6428" y="731"/>
                  <a:pt x="6461" y="782"/>
                  <a:pt x="6494" y="832"/>
                </a:cubicBezTo>
                <a:lnTo>
                  <a:pt x="6494" y="973"/>
                </a:lnTo>
                <a:cubicBezTo>
                  <a:pt x="6461" y="959"/>
                  <a:pt x="6428" y="944"/>
                  <a:pt x="6395" y="930"/>
                </a:cubicBezTo>
                <a:lnTo>
                  <a:pt x="6296" y="876"/>
                </a:lnTo>
                <a:lnTo>
                  <a:pt x="6111" y="800"/>
                </a:lnTo>
                <a:lnTo>
                  <a:pt x="5926" y="800"/>
                </a:lnTo>
                <a:lnTo>
                  <a:pt x="5926" y="973"/>
                </a:lnTo>
                <a:lnTo>
                  <a:pt x="5827" y="1135"/>
                </a:lnTo>
                <a:lnTo>
                  <a:pt x="5617" y="1200"/>
                </a:lnTo>
                <a:lnTo>
                  <a:pt x="5481" y="1222"/>
                </a:lnTo>
                <a:cubicBezTo>
                  <a:pt x="5461" y="1171"/>
                  <a:pt x="5440" y="1121"/>
                  <a:pt x="5420" y="1070"/>
                </a:cubicBezTo>
                <a:lnTo>
                  <a:pt x="5235" y="1232"/>
                </a:lnTo>
                <a:cubicBezTo>
                  <a:pt x="5247" y="1286"/>
                  <a:pt x="5260" y="1341"/>
                  <a:pt x="5272" y="1395"/>
                </a:cubicBezTo>
                <a:lnTo>
                  <a:pt x="5074" y="1589"/>
                </a:lnTo>
                <a:lnTo>
                  <a:pt x="4963" y="1427"/>
                </a:lnTo>
                <a:lnTo>
                  <a:pt x="4617" y="1784"/>
                </a:lnTo>
                <a:cubicBezTo>
                  <a:pt x="4650" y="1827"/>
                  <a:pt x="4683" y="1871"/>
                  <a:pt x="4716" y="1914"/>
                </a:cubicBezTo>
                <a:cubicBezTo>
                  <a:pt x="4774" y="1860"/>
                  <a:pt x="4831" y="1805"/>
                  <a:pt x="4889" y="1751"/>
                </a:cubicBezTo>
                <a:lnTo>
                  <a:pt x="4889" y="1914"/>
                </a:lnTo>
                <a:lnTo>
                  <a:pt x="4765" y="2173"/>
                </a:lnTo>
                <a:lnTo>
                  <a:pt x="4506" y="2000"/>
                </a:lnTo>
                <a:lnTo>
                  <a:pt x="4296" y="1914"/>
                </a:lnTo>
                <a:lnTo>
                  <a:pt x="4160" y="2043"/>
                </a:lnTo>
                <a:lnTo>
                  <a:pt x="3901" y="2205"/>
                </a:lnTo>
                <a:lnTo>
                  <a:pt x="4037" y="2205"/>
                </a:lnTo>
                <a:cubicBezTo>
                  <a:pt x="4045" y="2281"/>
                  <a:pt x="4054" y="2356"/>
                  <a:pt x="4062" y="2432"/>
                </a:cubicBezTo>
                <a:lnTo>
                  <a:pt x="4185" y="2314"/>
                </a:lnTo>
                <a:lnTo>
                  <a:pt x="4469" y="2314"/>
                </a:lnTo>
                <a:cubicBezTo>
                  <a:pt x="4444" y="2379"/>
                  <a:pt x="4420" y="2443"/>
                  <a:pt x="4395" y="2508"/>
                </a:cubicBezTo>
                <a:lnTo>
                  <a:pt x="4395" y="2670"/>
                </a:lnTo>
                <a:lnTo>
                  <a:pt x="4123" y="2768"/>
                </a:lnTo>
                <a:cubicBezTo>
                  <a:pt x="4090" y="2847"/>
                  <a:pt x="4058" y="2926"/>
                  <a:pt x="4025" y="3005"/>
                </a:cubicBezTo>
                <a:lnTo>
                  <a:pt x="3926" y="3254"/>
                </a:lnTo>
                <a:cubicBezTo>
                  <a:pt x="3942" y="3301"/>
                  <a:pt x="3959" y="3348"/>
                  <a:pt x="3975" y="3395"/>
                </a:cubicBezTo>
                <a:lnTo>
                  <a:pt x="3815" y="3395"/>
                </a:lnTo>
                <a:lnTo>
                  <a:pt x="3654" y="3449"/>
                </a:lnTo>
                <a:cubicBezTo>
                  <a:pt x="3671" y="3514"/>
                  <a:pt x="3687" y="3578"/>
                  <a:pt x="3704" y="3643"/>
                </a:cubicBezTo>
                <a:lnTo>
                  <a:pt x="3543" y="3643"/>
                </a:lnTo>
                <a:cubicBezTo>
                  <a:pt x="3498" y="3708"/>
                  <a:pt x="3452" y="3773"/>
                  <a:pt x="3407" y="3838"/>
                </a:cubicBezTo>
                <a:lnTo>
                  <a:pt x="3494" y="4195"/>
                </a:lnTo>
                <a:lnTo>
                  <a:pt x="3272" y="4400"/>
                </a:lnTo>
                <a:lnTo>
                  <a:pt x="3111" y="4714"/>
                </a:lnTo>
                <a:lnTo>
                  <a:pt x="3395" y="4832"/>
                </a:lnTo>
                <a:lnTo>
                  <a:pt x="2914" y="4897"/>
                </a:lnTo>
                <a:cubicBezTo>
                  <a:pt x="2893" y="4969"/>
                  <a:pt x="2873" y="5042"/>
                  <a:pt x="2852" y="5114"/>
                </a:cubicBezTo>
                <a:cubicBezTo>
                  <a:pt x="2868" y="5190"/>
                  <a:pt x="2885" y="5265"/>
                  <a:pt x="2901" y="5341"/>
                </a:cubicBezTo>
                <a:lnTo>
                  <a:pt x="2679" y="5168"/>
                </a:lnTo>
                <a:cubicBezTo>
                  <a:pt x="2650" y="5229"/>
                  <a:pt x="2622" y="5290"/>
                  <a:pt x="2593" y="5351"/>
                </a:cubicBezTo>
                <a:lnTo>
                  <a:pt x="2185" y="5741"/>
                </a:lnTo>
                <a:lnTo>
                  <a:pt x="2012" y="6032"/>
                </a:lnTo>
                <a:lnTo>
                  <a:pt x="1716" y="6076"/>
                </a:lnTo>
                <a:cubicBezTo>
                  <a:pt x="1749" y="6126"/>
                  <a:pt x="1782" y="6177"/>
                  <a:pt x="1815" y="6227"/>
                </a:cubicBezTo>
                <a:lnTo>
                  <a:pt x="1654" y="6292"/>
                </a:lnTo>
                <a:lnTo>
                  <a:pt x="1247" y="6368"/>
                </a:lnTo>
                <a:lnTo>
                  <a:pt x="1086" y="6292"/>
                </a:lnTo>
                <a:lnTo>
                  <a:pt x="975" y="6357"/>
                </a:lnTo>
                <a:lnTo>
                  <a:pt x="1086" y="6497"/>
                </a:lnTo>
                <a:lnTo>
                  <a:pt x="901" y="6573"/>
                </a:lnTo>
                <a:lnTo>
                  <a:pt x="753" y="6627"/>
                </a:lnTo>
                <a:lnTo>
                  <a:pt x="926" y="6768"/>
                </a:lnTo>
                <a:lnTo>
                  <a:pt x="580" y="6768"/>
                </a:lnTo>
                <a:lnTo>
                  <a:pt x="420" y="6886"/>
                </a:lnTo>
                <a:lnTo>
                  <a:pt x="235" y="6886"/>
                </a:lnTo>
                <a:lnTo>
                  <a:pt x="49" y="7211"/>
                </a:lnTo>
                <a:lnTo>
                  <a:pt x="160" y="7416"/>
                </a:lnTo>
                <a:lnTo>
                  <a:pt x="0" y="7416"/>
                </a:lnTo>
                <a:lnTo>
                  <a:pt x="99" y="7665"/>
                </a:lnTo>
                <a:cubicBezTo>
                  <a:pt x="66" y="7730"/>
                  <a:pt x="33" y="7794"/>
                  <a:pt x="0" y="7859"/>
                </a:cubicBezTo>
                <a:cubicBezTo>
                  <a:pt x="16" y="7924"/>
                  <a:pt x="33" y="7989"/>
                  <a:pt x="49" y="8054"/>
                </a:cubicBezTo>
                <a:lnTo>
                  <a:pt x="333" y="8173"/>
                </a:lnTo>
                <a:lnTo>
                  <a:pt x="86" y="8173"/>
                </a:lnTo>
                <a:lnTo>
                  <a:pt x="86" y="8314"/>
                </a:lnTo>
                <a:lnTo>
                  <a:pt x="222" y="8357"/>
                </a:lnTo>
                <a:cubicBezTo>
                  <a:pt x="243" y="8382"/>
                  <a:pt x="263" y="8407"/>
                  <a:pt x="284" y="8432"/>
                </a:cubicBezTo>
                <a:lnTo>
                  <a:pt x="420" y="8314"/>
                </a:lnTo>
                <a:cubicBezTo>
                  <a:pt x="449" y="8339"/>
                  <a:pt x="477" y="8364"/>
                  <a:pt x="506" y="8389"/>
                </a:cubicBezTo>
                <a:cubicBezTo>
                  <a:pt x="490" y="8411"/>
                  <a:pt x="473" y="8432"/>
                  <a:pt x="457" y="8454"/>
                </a:cubicBezTo>
                <a:lnTo>
                  <a:pt x="272" y="8616"/>
                </a:lnTo>
                <a:lnTo>
                  <a:pt x="358" y="8670"/>
                </a:lnTo>
                <a:lnTo>
                  <a:pt x="173" y="8735"/>
                </a:lnTo>
                <a:lnTo>
                  <a:pt x="49" y="8822"/>
                </a:lnTo>
                <a:lnTo>
                  <a:pt x="136" y="8930"/>
                </a:lnTo>
                <a:lnTo>
                  <a:pt x="222" y="9016"/>
                </a:lnTo>
                <a:lnTo>
                  <a:pt x="333" y="8832"/>
                </a:lnTo>
                <a:lnTo>
                  <a:pt x="444" y="8854"/>
                </a:lnTo>
                <a:cubicBezTo>
                  <a:pt x="428" y="8886"/>
                  <a:pt x="411" y="8919"/>
                  <a:pt x="395" y="8951"/>
                </a:cubicBezTo>
                <a:lnTo>
                  <a:pt x="543" y="9016"/>
                </a:lnTo>
                <a:lnTo>
                  <a:pt x="469" y="9016"/>
                </a:lnTo>
                <a:lnTo>
                  <a:pt x="272" y="9189"/>
                </a:lnTo>
                <a:lnTo>
                  <a:pt x="86" y="9308"/>
                </a:lnTo>
                <a:cubicBezTo>
                  <a:pt x="123" y="9391"/>
                  <a:pt x="161" y="9474"/>
                  <a:pt x="198" y="9557"/>
                </a:cubicBezTo>
                <a:lnTo>
                  <a:pt x="519" y="9805"/>
                </a:lnTo>
                <a:lnTo>
                  <a:pt x="753" y="9751"/>
                </a:lnTo>
                <a:lnTo>
                  <a:pt x="630" y="9892"/>
                </a:lnTo>
                <a:lnTo>
                  <a:pt x="914" y="10000"/>
                </a:lnTo>
                <a:lnTo>
                  <a:pt x="1383" y="9924"/>
                </a:lnTo>
                <a:cubicBezTo>
                  <a:pt x="1403" y="9884"/>
                  <a:pt x="1424" y="9845"/>
                  <a:pt x="1444" y="9805"/>
                </a:cubicBezTo>
                <a:lnTo>
                  <a:pt x="1568" y="9859"/>
                </a:lnTo>
                <a:cubicBezTo>
                  <a:pt x="1630" y="9737"/>
                  <a:pt x="1691" y="9614"/>
                  <a:pt x="1753" y="9492"/>
                </a:cubicBezTo>
                <a:lnTo>
                  <a:pt x="1889" y="9535"/>
                </a:lnTo>
                <a:lnTo>
                  <a:pt x="2049" y="9276"/>
                </a:lnTo>
                <a:cubicBezTo>
                  <a:pt x="2066" y="9247"/>
                  <a:pt x="2082" y="9218"/>
                  <a:pt x="2099" y="9189"/>
                </a:cubicBezTo>
                <a:cubicBezTo>
                  <a:pt x="2152" y="9240"/>
                  <a:pt x="2206" y="9290"/>
                  <a:pt x="2259" y="9341"/>
                </a:cubicBezTo>
                <a:lnTo>
                  <a:pt x="2444" y="9189"/>
                </a:lnTo>
                <a:cubicBezTo>
                  <a:pt x="2465" y="9110"/>
                  <a:pt x="2485" y="9030"/>
                  <a:pt x="2506" y="8951"/>
                </a:cubicBezTo>
                <a:cubicBezTo>
                  <a:pt x="2485" y="8879"/>
                  <a:pt x="2465" y="8807"/>
                  <a:pt x="2444" y="8735"/>
                </a:cubicBezTo>
                <a:lnTo>
                  <a:pt x="2593" y="8616"/>
                </a:lnTo>
                <a:lnTo>
                  <a:pt x="2593" y="8897"/>
                </a:lnTo>
                <a:lnTo>
                  <a:pt x="2716" y="9092"/>
                </a:lnTo>
                <a:lnTo>
                  <a:pt x="2852" y="9092"/>
                </a:lnTo>
                <a:lnTo>
                  <a:pt x="2963" y="9189"/>
                </a:lnTo>
                <a:lnTo>
                  <a:pt x="2852" y="9276"/>
                </a:lnTo>
                <a:lnTo>
                  <a:pt x="3099" y="9276"/>
                </a:lnTo>
                <a:lnTo>
                  <a:pt x="3099" y="8800"/>
                </a:lnTo>
                <a:cubicBezTo>
                  <a:pt x="3132" y="8732"/>
                  <a:pt x="3165" y="8663"/>
                  <a:pt x="3198" y="8595"/>
                </a:cubicBezTo>
                <a:lnTo>
                  <a:pt x="3506" y="8465"/>
                </a:lnTo>
                <a:cubicBezTo>
                  <a:pt x="3485" y="8324"/>
                  <a:pt x="3465" y="8184"/>
                  <a:pt x="3444" y="8043"/>
                </a:cubicBezTo>
                <a:lnTo>
                  <a:pt x="3284" y="7784"/>
                </a:lnTo>
                <a:lnTo>
                  <a:pt x="3444" y="7784"/>
                </a:lnTo>
                <a:cubicBezTo>
                  <a:pt x="3489" y="7672"/>
                  <a:pt x="3535" y="7561"/>
                  <a:pt x="3580" y="7449"/>
                </a:cubicBezTo>
                <a:lnTo>
                  <a:pt x="3272" y="7297"/>
                </a:lnTo>
                <a:cubicBezTo>
                  <a:pt x="3288" y="7146"/>
                  <a:pt x="3305" y="6994"/>
                  <a:pt x="3321" y="6843"/>
                </a:cubicBezTo>
                <a:lnTo>
                  <a:pt x="3123" y="6638"/>
                </a:lnTo>
                <a:cubicBezTo>
                  <a:pt x="3173" y="6541"/>
                  <a:pt x="3222" y="6443"/>
                  <a:pt x="3272" y="6346"/>
                </a:cubicBezTo>
                <a:cubicBezTo>
                  <a:pt x="3218" y="6296"/>
                  <a:pt x="3165" y="6245"/>
                  <a:pt x="3111" y="6195"/>
                </a:cubicBezTo>
                <a:cubicBezTo>
                  <a:pt x="3127" y="6108"/>
                  <a:pt x="3144" y="6022"/>
                  <a:pt x="3160" y="5935"/>
                </a:cubicBezTo>
                <a:lnTo>
                  <a:pt x="3395" y="5643"/>
                </a:lnTo>
                <a:lnTo>
                  <a:pt x="3568" y="5568"/>
                </a:lnTo>
                <a:lnTo>
                  <a:pt x="3852" y="5557"/>
                </a:lnTo>
                <a:cubicBezTo>
                  <a:pt x="3901" y="5481"/>
                  <a:pt x="3951" y="5406"/>
                  <a:pt x="4000" y="5330"/>
                </a:cubicBezTo>
                <a:lnTo>
                  <a:pt x="3790" y="5189"/>
                </a:lnTo>
                <a:lnTo>
                  <a:pt x="4000" y="4638"/>
                </a:lnTo>
                <a:lnTo>
                  <a:pt x="4000" y="4000"/>
                </a:lnTo>
                <a:lnTo>
                  <a:pt x="4296" y="4000"/>
                </a:lnTo>
                <a:cubicBezTo>
                  <a:pt x="4321" y="3946"/>
                  <a:pt x="4345" y="3892"/>
                  <a:pt x="4370" y="3838"/>
                </a:cubicBezTo>
                <a:lnTo>
                  <a:pt x="4247" y="3773"/>
                </a:lnTo>
                <a:lnTo>
                  <a:pt x="4704" y="3276"/>
                </a:lnTo>
                <a:lnTo>
                  <a:pt x="4444" y="3038"/>
                </a:lnTo>
                <a:lnTo>
                  <a:pt x="4605" y="3038"/>
                </a:lnTo>
                <a:cubicBezTo>
                  <a:pt x="4638" y="2908"/>
                  <a:pt x="4671" y="2779"/>
                  <a:pt x="4704" y="2649"/>
                </a:cubicBezTo>
                <a:lnTo>
                  <a:pt x="5037" y="2649"/>
                </a:lnTo>
                <a:lnTo>
                  <a:pt x="5037" y="2259"/>
                </a:lnTo>
                <a:lnTo>
                  <a:pt x="5519" y="2259"/>
                </a:lnTo>
                <a:cubicBezTo>
                  <a:pt x="5548" y="2277"/>
                  <a:pt x="5576" y="2296"/>
                  <a:pt x="5605" y="2314"/>
                </a:cubicBezTo>
                <a:lnTo>
                  <a:pt x="5753" y="2259"/>
                </a:lnTo>
                <a:lnTo>
                  <a:pt x="5753" y="2108"/>
                </a:lnTo>
                <a:cubicBezTo>
                  <a:pt x="5778" y="2036"/>
                  <a:pt x="5802" y="1964"/>
                  <a:pt x="5827" y="1892"/>
                </a:cubicBezTo>
                <a:lnTo>
                  <a:pt x="5605" y="1751"/>
                </a:lnTo>
                <a:lnTo>
                  <a:pt x="6037" y="1838"/>
                </a:lnTo>
                <a:lnTo>
                  <a:pt x="6185" y="1654"/>
                </a:lnTo>
                <a:lnTo>
                  <a:pt x="6333" y="1676"/>
                </a:lnTo>
                <a:lnTo>
                  <a:pt x="6333" y="1676"/>
                </a:lnTo>
                <a:lnTo>
                  <a:pt x="6333" y="1676"/>
                </a:lnTo>
                <a:lnTo>
                  <a:pt x="7148" y="2119"/>
                </a:lnTo>
                <a:lnTo>
                  <a:pt x="7432" y="2054"/>
                </a:lnTo>
                <a:lnTo>
                  <a:pt x="7889" y="2065"/>
                </a:lnTo>
                <a:cubicBezTo>
                  <a:pt x="8201" y="2079"/>
                  <a:pt x="9108" y="2154"/>
                  <a:pt x="9304" y="2139"/>
                </a:cubicBezTo>
                <a:cubicBezTo>
                  <a:pt x="9500" y="2124"/>
                  <a:pt x="9087" y="2038"/>
                  <a:pt x="9067" y="1975"/>
                </a:cubicBezTo>
                <a:cubicBezTo>
                  <a:pt x="9047" y="1912"/>
                  <a:pt x="9108" y="1804"/>
                  <a:pt x="9182" y="1764"/>
                </a:cubicBezTo>
                <a:cubicBezTo>
                  <a:pt x="9256" y="1724"/>
                  <a:pt x="9128" y="1730"/>
                  <a:pt x="9172" y="1685"/>
                </a:cubicBezTo>
                <a:cubicBezTo>
                  <a:pt x="9216" y="1640"/>
                  <a:pt x="9425" y="1546"/>
                  <a:pt x="9444" y="1492"/>
                </a:cubicBezTo>
                <a:cubicBezTo>
                  <a:pt x="9463" y="1438"/>
                  <a:pt x="9284" y="1362"/>
                  <a:pt x="9284" y="1362"/>
                </a:cubicBezTo>
                <a:cubicBezTo>
                  <a:pt x="9305" y="1358"/>
                  <a:pt x="9325" y="1355"/>
                  <a:pt x="9346" y="1351"/>
                </a:cubicBezTo>
                <a:lnTo>
                  <a:pt x="9679" y="1146"/>
                </a:lnTo>
                <a:lnTo>
                  <a:pt x="9938" y="1178"/>
                </a:lnTo>
                <a:cubicBezTo>
                  <a:pt x="9959" y="1074"/>
                  <a:pt x="9979" y="969"/>
                  <a:pt x="10000" y="865"/>
                </a:cubicBezTo>
                <a:cubicBezTo>
                  <a:pt x="10000" y="865"/>
                  <a:pt x="9914" y="692"/>
                  <a:pt x="9914" y="627"/>
                </a:cubicBez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6" name="Finland"/>
          <p:cNvSpPr>
            <a:spLocks/>
          </p:cNvSpPr>
          <p:nvPr/>
        </p:nvSpPr>
        <p:spPr bwMode="auto">
          <a:xfrm>
            <a:off x="9746188" y="273050"/>
            <a:ext cx="1227138" cy="1990725"/>
          </a:xfrm>
          <a:custGeom>
            <a:avLst/>
            <a:gdLst>
              <a:gd name="T0" fmla="*/ 181 w 428"/>
              <a:gd name="T1" fmla="*/ 0 h 694"/>
              <a:gd name="T2" fmla="*/ 158 w 428"/>
              <a:gd name="T3" fmla="*/ 16 h 694"/>
              <a:gd name="T4" fmla="*/ 148 w 428"/>
              <a:gd name="T5" fmla="*/ 102 h 694"/>
              <a:gd name="T6" fmla="*/ 91 w 428"/>
              <a:gd name="T7" fmla="*/ 102 h 694"/>
              <a:gd name="T8" fmla="*/ 26 w 428"/>
              <a:gd name="T9" fmla="*/ 90 h 694"/>
              <a:gd name="T10" fmla="*/ 14 w 428"/>
              <a:gd name="T11" fmla="*/ 88 h 694"/>
              <a:gd name="T12" fmla="*/ 26 w 428"/>
              <a:gd name="T13" fmla="*/ 126 h 694"/>
              <a:gd name="T14" fmla="*/ 65 w 428"/>
              <a:gd name="T15" fmla="*/ 137 h 694"/>
              <a:gd name="T16" fmla="*/ 84 w 428"/>
              <a:gd name="T17" fmla="*/ 159 h 694"/>
              <a:gd name="T18" fmla="*/ 102 w 428"/>
              <a:gd name="T19" fmla="*/ 191 h 694"/>
              <a:gd name="T20" fmla="*/ 116 w 428"/>
              <a:gd name="T21" fmla="*/ 231 h 694"/>
              <a:gd name="T22" fmla="*/ 137 w 428"/>
              <a:gd name="T23" fmla="*/ 290 h 694"/>
              <a:gd name="T24" fmla="*/ 180 w 428"/>
              <a:gd name="T25" fmla="*/ 316 h 694"/>
              <a:gd name="T26" fmla="*/ 201 w 428"/>
              <a:gd name="T27" fmla="*/ 341 h 694"/>
              <a:gd name="T28" fmla="*/ 171 w 428"/>
              <a:gd name="T29" fmla="*/ 361 h 694"/>
              <a:gd name="T30" fmla="*/ 151 w 428"/>
              <a:gd name="T31" fmla="*/ 419 h 694"/>
              <a:gd name="T32" fmla="*/ 131 w 428"/>
              <a:gd name="T33" fmla="*/ 440 h 694"/>
              <a:gd name="T34" fmla="*/ 116 w 428"/>
              <a:gd name="T35" fmla="*/ 479 h 694"/>
              <a:gd name="T36" fmla="*/ 95 w 428"/>
              <a:gd name="T37" fmla="*/ 494 h 694"/>
              <a:gd name="T38" fmla="*/ 99 w 428"/>
              <a:gd name="T39" fmla="*/ 542 h 694"/>
              <a:gd name="T40" fmla="*/ 119 w 428"/>
              <a:gd name="T41" fmla="*/ 590 h 694"/>
              <a:gd name="T42" fmla="*/ 122 w 428"/>
              <a:gd name="T43" fmla="*/ 618 h 694"/>
              <a:gd name="T44" fmla="*/ 124 w 428"/>
              <a:gd name="T45" fmla="*/ 644 h 694"/>
              <a:gd name="T46" fmla="*/ 136 w 428"/>
              <a:gd name="T47" fmla="*/ 660 h 694"/>
              <a:gd name="T48" fmla="*/ 171 w 428"/>
              <a:gd name="T49" fmla="*/ 673 h 694"/>
              <a:gd name="T50" fmla="*/ 190 w 428"/>
              <a:gd name="T51" fmla="*/ 686 h 694"/>
              <a:gd name="T52" fmla="*/ 218 w 428"/>
              <a:gd name="T53" fmla="*/ 694 h 694"/>
              <a:gd name="T54" fmla="*/ 262 w 428"/>
              <a:gd name="T55" fmla="*/ 666 h 694"/>
              <a:gd name="T56" fmla="*/ 293 w 428"/>
              <a:gd name="T57" fmla="*/ 635 h 694"/>
              <a:gd name="T58" fmla="*/ 335 w 428"/>
              <a:gd name="T59" fmla="*/ 623 h 694"/>
              <a:gd name="T60" fmla="*/ 397 w 428"/>
              <a:gd name="T61" fmla="*/ 551 h 694"/>
              <a:gd name="T62" fmla="*/ 428 w 428"/>
              <a:gd name="T63" fmla="*/ 448 h 694"/>
              <a:gd name="T64" fmla="*/ 367 w 428"/>
              <a:gd name="T65" fmla="*/ 391 h 694"/>
              <a:gd name="T66" fmla="*/ 367 w 428"/>
              <a:gd name="T67" fmla="*/ 344 h 694"/>
              <a:gd name="T68" fmla="*/ 345 w 428"/>
              <a:gd name="T69" fmla="*/ 338 h 694"/>
              <a:gd name="T70" fmla="*/ 332 w 428"/>
              <a:gd name="T71" fmla="*/ 323 h 694"/>
              <a:gd name="T72" fmla="*/ 327 w 428"/>
              <a:gd name="T73" fmla="*/ 301 h 694"/>
              <a:gd name="T74" fmla="*/ 311 w 428"/>
              <a:gd name="T75" fmla="*/ 272 h 694"/>
              <a:gd name="T76" fmla="*/ 275 w 428"/>
              <a:gd name="T77" fmla="*/ 207 h 694"/>
              <a:gd name="T78" fmla="*/ 275 w 428"/>
              <a:gd name="T79" fmla="*/ 147 h 694"/>
              <a:gd name="T80" fmla="*/ 252 w 428"/>
              <a:gd name="T81" fmla="*/ 126 h 694"/>
              <a:gd name="T82" fmla="*/ 223 w 428"/>
              <a:gd name="T83" fmla="*/ 114 h 694"/>
              <a:gd name="T84" fmla="*/ 218 w 428"/>
              <a:gd name="T85" fmla="*/ 75 h 694"/>
              <a:gd name="T86" fmla="*/ 201 w 428"/>
              <a:gd name="T87" fmla="*/ 67 h 694"/>
              <a:gd name="T88" fmla="*/ 215 w 428"/>
              <a:gd name="T89" fmla="*/ 36 h 694"/>
              <a:gd name="T90" fmla="*/ 199 w 428"/>
              <a:gd name="T91" fmla="*/ 12 h 694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4696 w 10000"/>
              <a:gd name="connsiteY87" fmla="*/ 965 h 10000"/>
              <a:gd name="connsiteX88" fmla="*/ 5023 w 10000"/>
              <a:gd name="connsiteY88" fmla="*/ 850 h 10000"/>
              <a:gd name="connsiteX89" fmla="*/ 5023 w 10000"/>
              <a:gd name="connsiteY89" fmla="*/ 519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4696 w 10000"/>
              <a:gd name="connsiteY87" fmla="*/ 965 h 10000"/>
              <a:gd name="connsiteX88" fmla="*/ 5023 w 10000"/>
              <a:gd name="connsiteY88" fmla="*/ 850 h 10000"/>
              <a:gd name="connsiteX89" fmla="*/ 5279 w 10000"/>
              <a:gd name="connsiteY89" fmla="*/ 558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4696 w 10000"/>
              <a:gd name="connsiteY87" fmla="*/ 965 h 10000"/>
              <a:gd name="connsiteX88" fmla="*/ 5386 w 10000"/>
              <a:gd name="connsiteY88" fmla="*/ 811 h 10000"/>
              <a:gd name="connsiteX89" fmla="*/ 5279 w 10000"/>
              <a:gd name="connsiteY89" fmla="*/ 558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811 h 10000"/>
              <a:gd name="connsiteX89" fmla="*/ 5279 w 10000"/>
              <a:gd name="connsiteY89" fmla="*/ 558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745 h 10000"/>
              <a:gd name="connsiteX89" fmla="*/ 5279 w 10000"/>
              <a:gd name="connsiteY89" fmla="*/ 558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745 h 10000"/>
              <a:gd name="connsiteX89" fmla="*/ 5300 w 10000"/>
              <a:gd name="connsiteY89" fmla="*/ 519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745 h 10000"/>
              <a:gd name="connsiteX89" fmla="*/ 5300 w 10000"/>
              <a:gd name="connsiteY89" fmla="*/ 519 h 10000"/>
              <a:gd name="connsiteX90" fmla="*/ 5193 w 10000"/>
              <a:gd name="connsiteY90" fmla="*/ 347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745 h 10000"/>
              <a:gd name="connsiteX89" fmla="*/ 5300 w 10000"/>
              <a:gd name="connsiteY89" fmla="*/ 519 h 10000"/>
              <a:gd name="connsiteX90" fmla="*/ 5193 w 10000"/>
              <a:gd name="connsiteY90" fmla="*/ 347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4860 w 10000"/>
              <a:gd name="connsiteY85" fmla="*/ 1081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479 w 10000"/>
              <a:gd name="connsiteY85" fmla="*/ 1213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5694 w 10000"/>
              <a:gd name="connsiteY84" fmla="*/ 1290 h 10000"/>
              <a:gd name="connsiteX85" fmla="*/ 5479 w 10000"/>
              <a:gd name="connsiteY85" fmla="*/ 1213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680 w 10000"/>
              <a:gd name="connsiteY83" fmla="*/ 1617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765 w 10000"/>
              <a:gd name="connsiteY83" fmla="*/ 1459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765 w 10000"/>
              <a:gd name="connsiteY83" fmla="*/ 1459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744 w 10000"/>
              <a:gd name="connsiteY83" fmla="*/ 1551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659 w 10000"/>
              <a:gd name="connsiteY83" fmla="*/ 1498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659 w 10000"/>
              <a:gd name="connsiteY83" fmla="*/ 1498 h 10000"/>
              <a:gd name="connsiteX84" fmla="*/ 5673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659 w 10000"/>
              <a:gd name="connsiteY83" fmla="*/ 1498 h 10000"/>
              <a:gd name="connsiteX84" fmla="*/ 5673 w 10000"/>
              <a:gd name="connsiteY84" fmla="*/ 1290 h 10000"/>
              <a:gd name="connsiteX85" fmla="*/ 5564 w 10000"/>
              <a:gd name="connsiteY85" fmla="*/ 1200 h 10000"/>
              <a:gd name="connsiteX86" fmla="*/ 5507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</a:cxnLst>
            <a:rect l="l" t="t" r="r" b="b"/>
            <a:pathLst>
              <a:path w="10000" h="10000">
                <a:moveTo>
                  <a:pt x="4650" y="173"/>
                </a:moveTo>
                <a:lnTo>
                  <a:pt x="4229" y="0"/>
                </a:lnTo>
                <a:cubicBezTo>
                  <a:pt x="4167" y="58"/>
                  <a:pt x="4104" y="115"/>
                  <a:pt x="4042" y="173"/>
                </a:cubicBezTo>
                <a:lnTo>
                  <a:pt x="3692" y="231"/>
                </a:lnTo>
                <a:lnTo>
                  <a:pt x="3435" y="720"/>
                </a:lnTo>
                <a:cubicBezTo>
                  <a:pt x="3443" y="970"/>
                  <a:pt x="3450" y="1220"/>
                  <a:pt x="3458" y="1470"/>
                </a:cubicBezTo>
                <a:lnTo>
                  <a:pt x="2687" y="1801"/>
                </a:lnTo>
                <a:lnTo>
                  <a:pt x="2126" y="1470"/>
                </a:lnTo>
                <a:lnTo>
                  <a:pt x="1636" y="1657"/>
                </a:lnTo>
                <a:lnTo>
                  <a:pt x="607" y="1297"/>
                </a:lnTo>
                <a:lnTo>
                  <a:pt x="607" y="1297"/>
                </a:lnTo>
                <a:lnTo>
                  <a:pt x="327" y="1268"/>
                </a:lnTo>
                <a:lnTo>
                  <a:pt x="0" y="1542"/>
                </a:lnTo>
                <a:lnTo>
                  <a:pt x="607" y="1816"/>
                </a:lnTo>
                <a:lnTo>
                  <a:pt x="724" y="1830"/>
                </a:lnTo>
                <a:lnTo>
                  <a:pt x="1519" y="1974"/>
                </a:lnTo>
                <a:lnTo>
                  <a:pt x="1636" y="2046"/>
                </a:lnTo>
                <a:lnTo>
                  <a:pt x="1963" y="2291"/>
                </a:lnTo>
                <a:cubicBezTo>
                  <a:pt x="2017" y="2445"/>
                  <a:pt x="2072" y="2598"/>
                  <a:pt x="2126" y="2752"/>
                </a:cubicBezTo>
                <a:lnTo>
                  <a:pt x="2383" y="2752"/>
                </a:lnTo>
                <a:lnTo>
                  <a:pt x="2383" y="3012"/>
                </a:lnTo>
                <a:lnTo>
                  <a:pt x="2710" y="3329"/>
                </a:lnTo>
                <a:lnTo>
                  <a:pt x="2617" y="3689"/>
                </a:lnTo>
                <a:lnTo>
                  <a:pt x="3201" y="4179"/>
                </a:lnTo>
                <a:lnTo>
                  <a:pt x="3645" y="4395"/>
                </a:lnTo>
                <a:lnTo>
                  <a:pt x="4206" y="4553"/>
                </a:lnTo>
                <a:cubicBezTo>
                  <a:pt x="4253" y="4649"/>
                  <a:pt x="4299" y="4745"/>
                  <a:pt x="4346" y="4841"/>
                </a:cubicBezTo>
                <a:lnTo>
                  <a:pt x="4696" y="4914"/>
                </a:lnTo>
                <a:lnTo>
                  <a:pt x="4346" y="5029"/>
                </a:lnTo>
                <a:lnTo>
                  <a:pt x="3995" y="5202"/>
                </a:lnTo>
                <a:lnTo>
                  <a:pt x="3645" y="5692"/>
                </a:lnTo>
                <a:lnTo>
                  <a:pt x="3528" y="6037"/>
                </a:lnTo>
                <a:lnTo>
                  <a:pt x="3178" y="6182"/>
                </a:lnTo>
                <a:lnTo>
                  <a:pt x="3061" y="6340"/>
                </a:lnTo>
                <a:lnTo>
                  <a:pt x="2687" y="6427"/>
                </a:lnTo>
                <a:cubicBezTo>
                  <a:pt x="2695" y="6585"/>
                  <a:pt x="2702" y="6744"/>
                  <a:pt x="2710" y="6902"/>
                </a:cubicBezTo>
                <a:lnTo>
                  <a:pt x="2173" y="6902"/>
                </a:lnTo>
                <a:cubicBezTo>
                  <a:pt x="2189" y="6974"/>
                  <a:pt x="2204" y="7046"/>
                  <a:pt x="2220" y="7118"/>
                </a:cubicBezTo>
                <a:lnTo>
                  <a:pt x="1963" y="7507"/>
                </a:lnTo>
                <a:lnTo>
                  <a:pt x="2313" y="7810"/>
                </a:lnTo>
                <a:lnTo>
                  <a:pt x="2313" y="8141"/>
                </a:lnTo>
                <a:lnTo>
                  <a:pt x="2780" y="8501"/>
                </a:lnTo>
                <a:lnTo>
                  <a:pt x="2570" y="8602"/>
                </a:lnTo>
                <a:lnTo>
                  <a:pt x="2850" y="8905"/>
                </a:lnTo>
                <a:lnTo>
                  <a:pt x="2570" y="9063"/>
                </a:lnTo>
                <a:lnTo>
                  <a:pt x="2897" y="9280"/>
                </a:lnTo>
                <a:lnTo>
                  <a:pt x="2897" y="9582"/>
                </a:lnTo>
                <a:lnTo>
                  <a:pt x="3178" y="9510"/>
                </a:lnTo>
                <a:lnTo>
                  <a:pt x="3645" y="9553"/>
                </a:lnTo>
                <a:lnTo>
                  <a:pt x="3995" y="9697"/>
                </a:lnTo>
                <a:lnTo>
                  <a:pt x="4346" y="9669"/>
                </a:lnTo>
                <a:lnTo>
                  <a:pt x="4439" y="9885"/>
                </a:lnTo>
                <a:lnTo>
                  <a:pt x="4720" y="9914"/>
                </a:lnTo>
                <a:lnTo>
                  <a:pt x="5093" y="10000"/>
                </a:lnTo>
                <a:lnTo>
                  <a:pt x="5444" y="9755"/>
                </a:lnTo>
                <a:lnTo>
                  <a:pt x="6121" y="9597"/>
                </a:lnTo>
                <a:lnTo>
                  <a:pt x="6846" y="9337"/>
                </a:lnTo>
                <a:lnTo>
                  <a:pt x="6846" y="9150"/>
                </a:lnTo>
                <a:lnTo>
                  <a:pt x="7407" y="9207"/>
                </a:lnTo>
                <a:lnTo>
                  <a:pt x="7827" y="8977"/>
                </a:lnTo>
                <a:lnTo>
                  <a:pt x="8248" y="8977"/>
                </a:lnTo>
                <a:lnTo>
                  <a:pt x="9276" y="7939"/>
                </a:lnTo>
                <a:lnTo>
                  <a:pt x="10000" y="6787"/>
                </a:lnTo>
                <a:lnTo>
                  <a:pt x="10000" y="6455"/>
                </a:lnTo>
                <a:lnTo>
                  <a:pt x="10000" y="6066"/>
                </a:lnTo>
                <a:lnTo>
                  <a:pt x="8575" y="5634"/>
                </a:lnTo>
                <a:lnTo>
                  <a:pt x="8785" y="5216"/>
                </a:lnTo>
                <a:lnTo>
                  <a:pt x="8575" y="4957"/>
                </a:lnTo>
                <a:lnTo>
                  <a:pt x="8271" y="5029"/>
                </a:lnTo>
                <a:lnTo>
                  <a:pt x="8061" y="4870"/>
                </a:lnTo>
                <a:cubicBezTo>
                  <a:pt x="8053" y="4784"/>
                  <a:pt x="8045" y="4697"/>
                  <a:pt x="8037" y="4611"/>
                </a:cubicBezTo>
                <a:lnTo>
                  <a:pt x="7757" y="4654"/>
                </a:lnTo>
                <a:lnTo>
                  <a:pt x="7523" y="4539"/>
                </a:lnTo>
                <a:lnTo>
                  <a:pt x="7640" y="4337"/>
                </a:lnTo>
                <a:lnTo>
                  <a:pt x="7266" y="4251"/>
                </a:lnTo>
                <a:lnTo>
                  <a:pt x="7266" y="3919"/>
                </a:lnTo>
                <a:lnTo>
                  <a:pt x="7593" y="3732"/>
                </a:lnTo>
                <a:lnTo>
                  <a:pt x="6425" y="2983"/>
                </a:lnTo>
                <a:lnTo>
                  <a:pt x="6145" y="2839"/>
                </a:lnTo>
                <a:lnTo>
                  <a:pt x="6425" y="2118"/>
                </a:lnTo>
                <a:lnTo>
                  <a:pt x="6285" y="1873"/>
                </a:lnTo>
                <a:cubicBezTo>
                  <a:pt x="6153" y="1854"/>
                  <a:pt x="6035" y="1845"/>
                  <a:pt x="5888" y="1816"/>
                </a:cubicBezTo>
                <a:cubicBezTo>
                  <a:pt x="5741" y="1787"/>
                  <a:pt x="5438" y="1750"/>
                  <a:pt x="5400" y="1697"/>
                </a:cubicBezTo>
                <a:cubicBezTo>
                  <a:pt x="5362" y="1644"/>
                  <a:pt x="5614" y="1566"/>
                  <a:pt x="5659" y="1498"/>
                </a:cubicBezTo>
                <a:cubicBezTo>
                  <a:pt x="5704" y="1430"/>
                  <a:pt x="5689" y="1340"/>
                  <a:pt x="5673" y="1290"/>
                </a:cubicBezTo>
                <a:cubicBezTo>
                  <a:pt x="5657" y="1240"/>
                  <a:pt x="5592" y="1278"/>
                  <a:pt x="5564" y="1200"/>
                </a:cubicBezTo>
                <a:cubicBezTo>
                  <a:pt x="5536" y="1122"/>
                  <a:pt x="5537" y="896"/>
                  <a:pt x="5507" y="820"/>
                </a:cubicBezTo>
                <a:cubicBezTo>
                  <a:pt x="5477" y="744"/>
                  <a:pt x="5420" y="795"/>
                  <a:pt x="5386" y="745"/>
                </a:cubicBezTo>
                <a:cubicBezTo>
                  <a:pt x="5352" y="695"/>
                  <a:pt x="5300" y="519"/>
                  <a:pt x="5300" y="519"/>
                </a:cubicBezTo>
                <a:cubicBezTo>
                  <a:pt x="5293" y="453"/>
                  <a:pt x="5200" y="413"/>
                  <a:pt x="5193" y="347"/>
                </a:cubicBezTo>
                <a:lnTo>
                  <a:pt x="4650" y="173"/>
                </a:lnTo>
                <a:close/>
              </a:path>
            </a:pathLst>
          </a:custGeom>
          <a:solidFill>
            <a:srgbClr val="E1E0DC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67" name="Sweden"/>
          <p:cNvGrpSpPr/>
          <p:nvPr/>
        </p:nvGrpSpPr>
        <p:grpSpPr>
          <a:xfrm>
            <a:off x="9011176" y="550863"/>
            <a:ext cx="1127125" cy="2687638"/>
            <a:chOff x="9032196" y="550863"/>
            <a:chExt cx="1127125" cy="2687638"/>
          </a:xfrm>
          <a:solidFill>
            <a:srgbClr val="E1E0DC"/>
          </a:solidFill>
        </p:grpSpPr>
        <p:sp>
          <p:nvSpPr>
            <p:cNvPr id="68" name="Sweden"/>
            <p:cNvSpPr>
              <a:spLocks/>
            </p:cNvSpPr>
            <p:nvPr/>
          </p:nvSpPr>
          <p:spPr bwMode="auto">
            <a:xfrm>
              <a:off x="9032196" y="550863"/>
              <a:ext cx="1127125" cy="2687638"/>
            </a:xfrm>
            <a:custGeom>
              <a:avLst/>
              <a:gdLst>
                <a:gd name="T0" fmla="*/ 36 w 710"/>
                <a:gd name="T1" fmla="*/ 1178 h 1693"/>
                <a:gd name="T2" fmla="*/ 87 w 710"/>
                <a:gd name="T3" fmla="*/ 1051 h 1693"/>
                <a:gd name="T4" fmla="*/ 107 w 710"/>
                <a:gd name="T5" fmla="*/ 952 h 1693"/>
                <a:gd name="T6" fmla="*/ 40 w 710"/>
                <a:gd name="T7" fmla="*/ 817 h 1693"/>
                <a:gd name="T8" fmla="*/ 45 w 710"/>
                <a:gd name="T9" fmla="*/ 699 h 1693"/>
                <a:gd name="T10" fmla="*/ 147 w 710"/>
                <a:gd name="T11" fmla="*/ 636 h 1693"/>
                <a:gd name="T12" fmla="*/ 168 w 710"/>
                <a:gd name="T13" fmla="*/ 482 h 1693"/>
                <a:gd name="T14" fmla="*/ 222 w 710"/>
                <a:gd name="T15" fmla="*/ 349 h 1693"/>
                <a:gd name="T16" fmla="*/ 233 w 710"/>
                <a:gd name="T17" fmla="*/ 215 h 1693"/>
                <a:gd name="T18" fmla="*/ 289 w 710"/>
                <a:gd name="T19" fmla="*/ 150 h 1693"/>
                <a:gd name="T20" fmla="*/ 390 w 710"/>
                <a:gd name="T21" fmla="*/ 85 h 1693"/>
                <a:gd name="T22" fmla="*/ 425 w 710"/>
                <a:gd name="T23" fmla="*/ 60 h 1693"/>
                <a:gd name="T24" fmla="*/ 466 w 710"/>
                <a:gd name="T25" fmla="*/ 14 h 1693"/>
                <a:gd name="T26" fmla="*/ 614 w 710"/>
                <a:gd name="T27" fmla="*/ 107 h 1693"/>
                <a:gd name="T28" fmla="*/ 647 w 710"/>
                <a:gd name="T29" fmla="*/ 197 h 1693"/>
                <a:gd name="T30" fmla="*/ 710 w 710"/>
                <a:gd name="T31" fmla="*/ 343 h 1693"/>
                <a:gd name="T32" fmla="*/ 652 w 710"/>
                <a:gd name="T33" fmla="*/ 388 h 1693"/>
                <a:gd name="T34" fmla="*/ 562 w 710"/>
                <a:gd name="T35" fmla="*/ 443 h 1693"/>
                <a:gd name="T36" fmla="*/ 604 w 710"/>
                <a:gd name="T37" fmla="*/ 537 h 1693"/>
                <a:gd name="T38" fmla="*/ 490 w 710"/>
                <a:gd name="T39" fmla="*/ 683 h 1693"/>
                <a:gd name="T40" fmla="*/ 441 w 710"/>
                <a:gd name="T41" fmla="*/ 744 h 1693"/>
                <a:gd name="T42" fmla="*/ 385 w 710"/>
                <a:gd name="T43" fmla="*/ 817 h 1693"/>
                <a:gd name="T44" fmla="*/ 376 w 710"/>
                <a:gd name="T45" fmla="*/ 903 h 1693"/>
                <a:gd name="T46" fmla="*/ 407 w 710"/>
                <a:gd name="T47" fmla="*/ 1012 h 1693"/>
                <a:gd name="T48" fmla="*/ 490 w 710"/>
                <a:gd name="T49" fmla="*/ 1060 h 1693"/>
                <a:gd name="T50" fmla="*/ 539 w 710"/>
                <a:gd name="T51" fmla="*/ 1107 h 1693"/>
                <a:gd name="T52" fmla="*/ 454 w 710"/>
                <a:gd name="T53" fmla="*/ 1156 h 1693"/>
                <a:gd name="T54" fmla="*/ 439 w 710"/>
                <a:gd name="T55" fmla="*/ 1169 h 1693"/>
                <a:gd name="T56" fmla="*/ 347 w 710"/>
                <a:gd name="T57" fmla="*/ 1187 h 1693"/>
                <a:gd name="T58" fmla="*/ 446 w 710"/>
                <a:gd name="T59" fmla="*/ 1241 h 1693"/>
                <a:gd name="T60" fmla="*/ 409 w 710"/>
                <a:gd name="T61" fmla="*/ 1312 h 1693"/>
                <a:gd name="T62" fmla="*/ 407 w 710"/>
                <a:gd name="T63" fmla="*/ 1398 h 1693"/>
                <a:gd name="T64" fmla="*/ 383 w 710"/>
                <a:gd name="T65" fmla="*/ 1523 h 1693"/>
                <a:gd name="T66" fmla="*/ 282 w 710"/>
                <a:gd name="T67" fmla="*/ 1583 h 1693"/>
                <a:gd name="T68" fmla="*/ 244 w 710"/>
                <a:gd name="T69" fmla="*/ 1626 h 1693"/>
                <a:gd name="T70" fmla="*/ 213 w 710"/>
                <a:gd name="T71" fmla="*/ 1680 h 1693"/>
                <a:gd name="T72" fmla="*/ 147 w 710"/>
                <a:gd name="T73" fmla="*/ 1659 h 1693"/>
                <a:gd name="T74" fmla="*/ 109 w 710"/>
                <a:gd name="T75" fmla="*/ 1588 h 1693"/>
                <a:gd name="T76" fmla="*/ 141 w 710"/>
                <a:gd name="T77" fmla="*/ 1537 h 1693"/>
                <a:gd name="T78" fmla="*/ 54 w 710"/>
                <a:gd name="T79" fmla="*/ 1456 h 1693"/>
                <a:gd name="T80" fmla="*/ 51 w 710"/>
                <a:gd name="T81" fmla="*/ 1348 h 1693"/>
                <a:gd name="T82" fmla="*/ 0 w 710"/>
                <a:gd name="T83" fmla="*/ 1330 h 1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10" h="1693">
                  <a:moveTo>
                    <a:pt x="0" y="1257"/>
                  </a:moveTo>
                  <a:lnTo>
                    <a:pt x="36" y="1257"/>
                  </a:lnTo>
                  <a:lnTo>
                    <a:pt x="36" y="1178"/>
                  </a:lnTo>
                  <a:lnTo>
                    <a:pt x="51" y="1144"/>
                  </a:lnTo>
                  <a:lnTo>
                    <a:pt x="96" y="1122"/>
                  </a:lnTo>
                  <a:lnTo>
                    <a:pt x="87" y="1051"/>
                  </a:lnTo>
                  <a:lnTo>
                    <a:pt x="63" y="1008"/>
                  </a:lnTo>
                  <a:lnTo>
                    <a:pt x="87" y="1008"/>
                  </a:lnTo>
                  <a:lnTo>
                    <a:pt x="107" y="952"/>
                  </a:lnTo>
                  <a:lnTo>
                    <a:pt x="62" y="927"/>
                  </a:lnTo>
                  <a:lnTo>
                    <a:pt x="69" y="851"/>
                  </a:lnTo>
                  <a:lnTo>
                    <a:pt x="40" y="817"/>
                  </a:lnTo>
                  <a:lnTo>
                    <a:pt x="62" y="768"/>
                  </a:lnTo>
                  <a:lnTo>
                    <a:pt x="38" y="743"/>
                  </a:lnTo>
                  <a:lnTo>
                    <a:pt x="45" y="699"/>
                  </a:lnTo>
                  <a:lnTo>
                    <a:pt x="74" y="654"/>
                  </a:lnTo>
                  <a:lnTo>
                    <a:pt x="107" y="636"/>
                  </a:lnTo>
                  <a:lnTo>
                    <a:pt x="147" y="636"/>
                  </a:lnTo>
                  <a:lnTo>
                    <a:pt x="168" y="598"/>
                  </a:lnTo>
                  <a:lnTo>
                    <a:pt x="138" y="574"/>
                  </a:lnTo>
                  <a:lnTo>
                    <a:pt x="168" y="482"/>
                  </a:lnTo>
                  <a:lnTo>
                    <a:pt x="168" y="376"/>
                  </a:lnTo>
                  <a:lnTo>
                    <a:pt x="212" y="376"/>
                  </a:lnTo>
                  <a:lnTo>
                    <a:pt x="222" y="349"/>
                  </a:lnTo>
                  <a:lnTo>
                    <a:pt x="204" y="338"/>
                  </a:lnTo>
                  <a:lnTo>
                    <a:pt x="271" y="255"/>
                  </a:lnTo>
                  <a:lnTo>
                    <a:pt x="233" y="215"/>
                  </a:lnTo>
                  <a:lnTo>
                    <a:pt x="257" y="215"/>
                  </a:lnTo>
                  <a:lnTo>
                    <a:pt x="271" y="150"/>
                  </a:lnTo>
                  <a:lnTo>
                    <a:pt x="289" y="150"/>
                  </a:lnTo>
                  <a:lnTo>
                    <a:pt x="320" y="150"/>
                  </a:lnTo>
                  <a:lnTo>
                    <a:pt x="320" y="85"/>
                  </a:lnTo>
                  <a:lnTo>
                    <a:pt x="390" y="85"/>
                  </a:lnTo>
                  <a:lnTo>
                    <a:pt x="403" y="94"/>
                  </a:lnTo>
                  <a:lnTo>
                    <a:pt x="425" y="85"/>
                  </a:lnTo>
                  <a:lnTo>
                    <a:pt x="425" y="60"/>
                  </a:lnTo>
                  <a:lnTo>
                    <a:pt x="436" y="23"/>
                  </a:lnTo>
                  <a:lnTo>
                    <a:pt x="403" y="0"/>
                  </a:lnTo>
                  <a:lnTo>
                    <a:pt x="466" y="14"/>
                  </a:lnTo>
                  <a:lnTo>
                    <a:pt x="510" y="47"/>
                  </a:lnTo>
                  <a:lnTo>
                    <a:pt x="580" y="67"/>
                  </a:lnTo>
                  <a:lnTo>
                    <a:pt x="614" y="107"/>
                  </a:lnTo>
                  <a:lnTo>
                    <a:pt x="627" y="164"/>
                  </a:lnTo>
                  <a:lnTo>
                    <a:pt x="647" y="164"/>
                  </a:lnTo>
                  <a:lnTo>
                    <a:pt x="647" y="197"/>
                  </a:lnTo>
                  <a:lnTo>
                    <a:pt x="674" y="237"/>
                  </a:lnTo>
                  <a:lnTo>
                    <a:pt x="667" y="285"/>
                  </a:lnTo>
                  <a:lnTo>
                    <a:pt x="710" y="343"/>
                  </a:lnTo>
                  <a:lnTo>
                    <a:pt x="710" y="363"/>
                  </a:lnTo>
                  <a:lnTo>
                    <a:pt x="656" y="370"/>
                  </a:lnTo>
                  <a:lnTo>
                    <a:pt x="652" y="388"/>
                  </a:lnTo>
                  <a:lnTo>
                    <a:pt x="620" y="372"/>
                  </a:lnTo>
                  <a:lnTo>
                    <a:pt x="589" y="426"/>
                  </a:lnTo>
                  <a:lnTo>
                    <a:pt x="562" y="443"/>
                  </a:lnTo>
                  <a:lnTo>
                    <a:pt x="580" y="462"/>
                  </a:lnTo>
                  <a:lnTo>
                    <a:pt x="564" y="508"/>
                  </a:lnTo>
                  <a:lnTo>
                    <a:pt x="604" y="537"/>
                  </a:lnTo>
                  <a:lnTo>
                    <a:pt x="564" y="602"/>
                  </a:lnTo>
                  <a:lnTo>
                    <a:pt x="562" y="638"/>
                  </a:lnTo>
                  <a:lnTo>
                    <a:pt x="490" y="683"/>
                  </a:lnTo>
                  <a:lnTo>
                    <a:pt x="477" y="712"/>
                  </a:lnTo>
                  <a:lnTo>
                    <a:pt x="454" y="714"/>
                  </a:lnTo>
                  <a:lnTo>
                    <a:pt x="441" y="744"/>
                  </a:lnTo>
                  <a:lnTo>
                    <a:pt x="414" y="773"/>
                  </a:lnTo>
                  <a:lnTo>
                    <a:pt x="416" y="791"/>
                  </a:lnTo>
                  <a:lnTo>
                    <a:pt x="385" y="817"/>
                  </a:lnTo>
                  <a:lnTo>
                    <a:pt x="400" y="851"/>
                  </a:lnTo>
                  <a:lnTo>
                    <a:pt x="412" y="902"/>
                  </a:lnTo>
                  <a:lnTo>
                    <a:pt x="376" y="903"/>
                  </a:lnTo>
                  <a:lnTo>
                    <a:pt x="387" y="932"/>
                  </a:lnTo>
                  <a:lnTo>
                    <a:pt x="381" y="970"/>
                  </a:lnTo>
                  <a:lnTo>
                    <a:pt x="407" y="1012"/>
                  </a:lnTo>
                  <a:lnTo>
                    <a:pt x="405" y="1032"/>
                  </a:lnTo>
                  <a:lnTo>
                    <a:pt x="450" y="1032"/>
                  </a:lnTo>
                  <a:lnTo>
                    <a:pt x="490" y="1060"/>
                  </a:lnTo>
                  <a:lnTo>
                    <a:pt x="497" y="1088"/>
                  </a:lnTo>
                  <a:lnTo>
                    <a:pt x="517" y="1082"/>
                  </a:lnTo>
                  <a:lnTo>
                    <a:pt x="539" y="1107"/>
                  </a:lnTo>
                  <a:lnTo>
                    <a:pt x="517" y="1135"/>
                  </a:lnTo>
                  <a:lnTo>
                    <a:pt x="484" y="1169"/>
                  </a:lnTo>
                  <a:lnTo>
                    <a:pt x="454" y="1156"/>
                  </a:lnTo>
                  <a:lnTo>
                    <a:pt x="456" y="1133"/>
                  </a:lnTo>
                  <a:lnTo>
                    <a:pt x="430" y="1129"/>
                  </a:lnTo>
                  <a:lnTo>
                    <a:pt x="439" y="1169"/>
                  </a:lnTo>
                  <a:lnTo>
                    <a:pt x="409" y="1162"/>
                  </a:lnTo>
                  <a:lnTo>
                    <a:pt x="356" y="1162"/>
                  </a:lnTo>
                  <a:lnTo>
                    <a:pt x="347" y="1187"/>
                  </a:lnTo>
                  <a:lnTo>
                    <a:pt x="418" y="1192"/>
                  </a:lnTo>
                  <a:lnTo>
                    <a:pt x="456" y="1192"/>
                  </a:lnTo>
                  <a:lnTo>
                    <a:pt x="446" y="1241"/>
                  </a:lnTo>
                  <a:lnTo>
                    <a:pt x="421" y="1263"/>
                  </a:lnTo>
                  <a:lnTo>
                    <a:pt x="394" y="1275"/>
                  </a:lnTo>
                  <a:lnTo>
                    <a:pt x="409" y="1312"/>
                  </a:lnTo>
                  <a:lnTo>
                    <a:pt x="409" y="1346"/>
                  </a:lnTo>
                  <a:lnTo>
                    <a:pt x="394" y="1368"/>
                  </a:lnTo>
                  <a:lnTo>
                    <a:pt x="407" y="1398"/>
                  </a:lnTo>
                  <a:lnTo>
                    <a:pt x="394" y="1434"/>
                  </a:lnTo>
                  <a:lnTo>
                    <a:pt x="400" y="1480"/>
                  </a:lnTo>
                  <a:lnTo>
                    <a:pt x="383" y="1523"/>
                  </a:lnTo>
                  <a:lnTo>
                    <a:pt x="372" y="1574"/>
                  </a:lnTo>
                  <a:lnTo>
                    <a:pt x="336" y="1574"/>
                  </a:lnTo>
                  <a:lnTo>
                    <a:pt x="282" y="1583"/>
                  </a:lnTo>
                  <a:lnTo>
                    <a:pt x="273" y="1603"/>
                  </a:lnTo>
                  <a:lnTo>
                    <a:pt x="242" y="1603"/>
                  </a:lnTo>
                  <a:lnTo>
                    <a:pt x="244" y="1626"/>
                  </a:lnTo>
                  <a:lnTo>
                    <a:pt x="257" y="1662"/>
                  </a:lnTo>
                  <a:lnTo>
                    <a:pt x="257" y="1680"/>
                  </a:lnTo>
                  <a:lnTo>
                    <a:pt x="213" y="1680"/>
                  </a:lnTo>
                  <a:lnTo>
                    <a:pt x="179" y="1693"/>
                  </a:lnTo>
                  <a:lnTo>
                    <a:pt x="147" y="1680"/>
                  </a:lnTo>
                  <a:lnTo>
                    <a:pt x="147" y="1659"/>
                  </a:lnTo>
                  <a:lnTo>
                    <a:pt x="148" y="1646"/>
                  </a:lnTo>
                  <a:lnTo>
                    <a:pt x="121" y="1612"/>
                  </a:lnTo>
                  <a:lnTo>
                    <a:pt x="109" y="1588"/>
                  </a:lnTo>
                  <a:lnTo>
                    <a:pt x="121" y="1574"/>
                  </a:lnTo>
                  <a:lnTo>
                    <a:pt x="119" y="1559"/>
                  </a:lnTo>
                  <a:lnTo>
                    <a:pt x="141" y="1537"/>
                  </a:lnTo>
                  <a:lnTo>
                    <a:pt x="94" y="1512"/>
                  </a:lnTo>
                  <a:lnTo>
                    <a:pt x="87" y="1481"/>
                  </a:lnTo>
                  <a:lnTo>
                    <a:pt x="54" y="1456"/>
                  </a:lnTo>
                  <a:lnTo>
                    <a:pt x="62" y="1409"/>
                  </a:lnTo>
                  <a:lnTo>
                    <a:pt x="44" y="1398"/>
                  </a:lnTo>
                  <a:lnTo>
                    <a:pt x="51" y="1348"/>
                  </a:lnTo>
                  <a:lnTo>
                    <a:pt x="42" y="1322"/>
                  </a:lnTo>
                  <a:lnTo>
                    <a:pt x="29" y="1351"/>
                  </a:lnTo>
                  <a:lnTo>
                    <a:pt x="0" y="1330"/>
                  </a:lnTo>
                  <a:lnTo>
                    <a:pt x="0" y="1299"/>
                  </a:lnTo>
                  <a:lnTo>
                    <a:pt x="0" y="125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Sweden"/>
            <p:cNvSpPr>
              <a:spLocks/>
            </p:cNvSpPr>
            <p:nvPr/>
          </p:nvSpPr>
          <p:spPr bwMode="auto">
            <a:xfrm>
              <a:off x="9864046" y="2687638"/>
              <a:ext cx="103188" cy="188913"/>
            </a:xfrm>
            <a:custGeom>
              <a:avLst/>
              <a:gdLst>
                <a:gd name="T0" fmla="*/ 0 w 65"/>
                <a:gd name="T1" fmla="*/ 43 h 119"/>
                <a:gd name="T2" fmla="*/ 38 w 65"/>
                <a:gd name="T3" fmla="*/ 0 h 119"/>
                <a:gd name="T4" fmla="*/ 65 w 65"/>
                <a:gd name="T5" fmla="*/ 7 h 119"/>
                <a:gd name="T6" fmla="*/ 49 w 65"/>
                <a:gd name="T7" fmla="*/ 49 h 119"/>
                <a:gd name="T8" fmla="*/ 62 w 65"/>
                <a:gd name="T9" fmla="*/ 58 h 119"/>
                <a:gd name="T10" fmla="*/ 20 w 65"/>
                <a:gd name="T11" fmla="*/ 119 h 119"/>
                <a:gd name="T12" fmla="*/ 7 w 65"/>
                <a:gd name="T13" fmla="*/ 116 h 119"/>
                <a:gd name="T14" fmla="*/ 0 w 65"/>
                <a:gd name="T15" fmla="*/ 72 h 119"/>
                <a:gd name="T16" fmla="*/ 0 w 65"/>
                <a:gd name="T17" fmla="*/ 43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" h="119">
                  <a:moveTo>
                    <a:pt x="0" y="43"/>
                  </a:moveTo>
                  <a:lnTo>
                    <a:pt x="38" y="0"/>
                  </a:lnTo>
                  <a:lnTo>
                    <a:pt x="65" y="7"/>
                  </a:lnTo>
                  <a:lnTo>
                    <a:pt x="49" y="49"/>
                  </a:lnTo>
                  <a:lnTo>
                    <a:pt x="62" y="58"/>
                  </a:lnTo>
                  <a:lnTo>
                    <a:pt x="20" y="119"/>
                  </a:lnTo>
                  <a:lnTo>
                    <a:pt x="7" y="116"/>
                  </a:lnTo>
                  <a:lnTo>
                    <a:pt x="0" y="72"/>
                  </a:lnTo>
                  <a:lnTo>
                    <a:pt x="0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Sweden"/>
            <p:cNvSpPr>
              <a:spLocks/>
            </p:cNvSpPr>
            <p:nvPr/>
          </p:nvSpPr>
          <p:spPr bwMode="auto">
            <a:xfrm>
              <a:off x="9721171" y="2808288"/>
              <a:ext cx="28575" cy="74613"/>
            </a:xfrm>
            <a:custGeom>
              <a:avLst/>
              <a:gdLst>
                <a:gd name="T0" fmla="*/ 2 w 18"/>
                <a:gd name="T1" fmla="*/ 41 h 47"/>
                <a:gd name="T2" fmla="*/ 0 w 18"/>
                <a:gd name="T3" fmla="*/ 11 h 47"/>
                <a:gd name="T4" fmla="*/ 12 w 18"/>
                <a:gd name="T5" fmla="*/ 0 h 47"/>
                <a:gd name="T6" fmla="*/ 18 w 18"/>
                <a:gd name="T7" fmla="*/ 16 h 47"/>
                <a:gd name="T8" fmla="*/ 11 w 18"/>
                <a:gd name="T9" fmla="*/ 47 h 47"/>
                <a:gd name="T10" fmla="*/ 2 w 18"/>
                <a:gd name="T11" fmla="*/ 4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47">
                  <a:moveTo>
                    <a:pt x="2" y="41"/>
                  </a:moveTo>
                  <a:lnTo>
                    <a:pt x="0" y="11"/>
                  </a:lnTo>
                  <a:lnTo>
                    <a:pt x="12" y="0"/>
                  </a:lnTo>
                  <a:lnTo>
                    <a:pt x="18" y="16"/>
                  </a:lnTo>
                  <a:lnTo>
                    <a:pt x="11" y="47"/>
                  </a:lnTo>
                  <a:lnTo>
                    <a:pt x="2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Sweden"/>
            <p:cNvSpPr>
              <a:spLocks/>
            </p:cNvSpPr>
            <p:nvPr/>
          </p:nvSpPr>
          <p:spPr bwMode="auto">
            <a:xfrm>
              <a:off x="9675133" y="2882900"/>
              <a:ext cx="49213" cy="163513"/>
            </a:xfrm>
            <a:custGeom>
              <a:avLst/>
              <a:gdLst>
                <a:gd name="T0" fmla="*/ 22 w 31"/>
                <a:gd name="T1" fmla="*/ 9 h 103"/>
                <a:gd name="T2" fmla="*/ 22 w 31"/>
                <a:gd name="T3" fmla="*/ 0 h 103"/>
                <a:gd name="T4" fmla="*/ 31 w 31"/>
                <a:gd name="T5" fmla="*/ 11 h 103"/>
                <a:gd name="T6" fmla="*/ 22 w 31"/>
                <a:gd name="T7" fmla="*/ 32 h 103"/>
                <a:gd name="T8" fmla="*/ 20 w 31"/>
                <a:gd name="T9" fmla="*/ 47 h 103"/>
                <a:gd name="T10" fmla="*/ 22 w 31"/>
                <a:gd name="T11" fmla="*/ 83 h 103"/>
                <a:gd name="T12" fmla="*/ 9 w 31"/>
                <a:gd name="T13" fmla="*/ 103 h 103"/>
                <a:gd name="T14" fmla="*/ 0 w 31"/>
                <a:gd name="T15" fmla="*/ 81 h 103"/>
                <a:gd name="T16" fmla="*/ 0 w 31"/>
                <a:gd name="T17" fmla="*/ 50 h 103"/>
                <a:gd name="T18" fmla="*/ 7 w 31"/>
                <a:gd name="T19" fmla="*/ 29 h 103"/>
                <a:gd name="T20" fmla="*/ 22 w 31"/>
                <a:gd name="T21" fmla="*/ 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103">
                  <a:moveTo>
                    <a:pt x="22" y="9"/>
                  </a:moveTo>
                  <a:lnTo>
                    <a:pt x="22" y="0"/>
                  </a:lnTo>
                  <a:lnTo>
                    <a:pt x="31" y="11"/>
                  </a:lnTo>
                  <a:lnTo>
                    <a:pt x="22" y="32"/>
                  </a:lnTo>
                  <a:lnTo>
                    <a:pt x="20" y="47"/>
                  </a:lnTo>
                  <a:lnTo>
                    <a:pt x="22" y="83"/>
                  </a:lnTo>
                  <a:lnTo>
                    <a:pt x="9" y="103"/>
                  </a:lnTo>
                  <a:lnTo>
                    <a:pt x="0" y="81"/>
                  </a:lnTo>
                  <a:lnTo>
                    <a:pt x="0" y="50"/>
                  </a:lnTo>
                  <a:lnTo>
                    <a:pt x="7" y="29"/>
                  </a:lnTo>
                  <a:lnTo>
                    <a:pt x="2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Sweden"/>
            <p:cNvSpPr>
              <a:spLocks/>
            </p:cNvSpPr>
            <p:nvPr/>
          </p:nvSpPr>
          <p:spPr bwMode="auto">
            <a:xfrm>
              <a:off x="9770383" y="2446338"/>
              <a:ext cx="57150" cy="84138"/>
            </a:xfrm>
            <a:custGeom>
              <a:avLst/>
              <a:gdLst>
                <a:gd name="T0" fmla="*/ 7 w 20"/>
                <a:gd name="T1" fmla="*/ 2 h 29"/>
                <a:gd name="T2" fmla="*/ 15 w 20"/>
                <a:gd name="T3" fmla="*/ 0 h 29"/>
                <a:gd name="T4" fmla="*/ 20 w 20"/>
                <a:gd name="T5" fmla="*/ 7 h 29"/>
                <a:gd name="T6" fmla="*/ 14 w 20"/>
                <a:gd name="T7" fmla="*/ 14 h 29"/>
                <a:gd name="T8" fmla="*/ 10 w 20"/>
                <a:gd name="T9" fmla="*/ 17 h 29"/>
                <a:gd name="T10" fmla="*/ 10 w 20"/>
                <a:gd name="T11" fmla="*/ 29 h 29"/>
                <a:gd name="T12" fmla="*/ 3 w 20"/>
                <a:gd name="T13" fmla="*/ 19 h 29"/>
                <a:gd name="T14" fmla="*/ 0 w 20"/>
                <a:gd name="T15" fmla="*/ 11 h 29"/>
                <a:gd name="T16" fmla="*/ 4 w 20"/>
                <a:gd name="T17" fmla="*/ 2 h 29"/>
                <a:gd name="T18" fmla="*/ 7 w 20"/>
                <a:gd name="T19" fmla="*/ 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9">
                  <a:moveTo>
                    <a:pt x="7" y="2"/>
                  </a:moveTo>
                  <a:cubicBezTo>
                    <a:pt x="7" y="2"/>
                    <a:pt x="14" y="0"/>
                    <a:pt x="15" y="0"/>
                  </a:cubicBezTo>
                  <a:cubicBezTo>
                    <a:pt x="15" y="1"/>
                    <a:pt x="20" y="7"/>
                    <a:pt x="20" y="7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4"/>
                    <a:pt x="11" y="17"/>
                    <a:pt x="10" y="17"/>
                  </a:cubicBezTo>
                  <a:cubicBezTo>
                    <a:pt x="10" y="18"/>
                    <a:pt x="10" y="29"/>
                    <a:pt x="10" y="2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4" y="2"/>
                    <a:pt x="4" y="2"/>
                    <a:pt x="4" y="2"/>
                  </a:cubicBezTo>
                  <a:lnTo>
                    <a:pt x="7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Sweden"/>
            <p:cNvSpPr>
              <a:spLocks/>
            </p:cNvSpPr>
            <p:nvPr/>
          </p:nvSpPr>
          <p:spPr bwMode="auto">
            <a:xfrm>
              <a:off x="9818008" y="2424113"/>
              <a:ext cx="23813" cy="31750"/>
            </a:xfrm>
            <a:custGeom>
              <a:avLst/>
              <a:gdLst>
                <a:gd name="T0" fmla="*/ 0 w 8"/>
                <a:gd name="T1" fmla="*/ 4 h 11"/>
                <a:gd name="T2" fmla="*/ 8 w 8"/>
                <a:gd name="T3" fmla="*/ 11 h 11"/>
                <a:gd name="T4" fmla="*/ 8 w 8"/>
                <a:gd name="T5" fmla="*/ 3 h 11"/>
                <a:gd name="T6" fmla="*/ 0 w 8"/>
                <a:gd name="T7" fmla="*/ 0 h 11"/>
                <a:gd name="T8" fmla="*/ 0 w 8"/>
                <a:gd name="T9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1">
                  <a:moveTo>
                    <a:pt x="0" y="4"/>
                  </a:moveTo>
                  <a:cubicBezTo>
                    <a:pt x="0" y="5"/>
                    <a:pt x="8" y="11"/>
                    <a:pt x="8" y="1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4" name="Text"/>
          <p:cNvGrpSpPr/>
          <p:nvPr/>
        </p:nvGrpSpPr>
        <p:grpSpPr>
          <a:xfrm>
            <a:off x="5628283" y="1603376"/>
            <a:ext cx="6390770" cy="4647174"/>
            <a:chOff x="5649303" y="1603376"/>
            <a:chExt cx="6390770" cy="4647174"/>
          </a:xfrm>
        </p:grpSpPr>
        <p:sp>
          <p:nvSpPr>
            <p:cNvPr id="75" name="Turkey Text"/>
            <p:cNvSpPr txBox="1"/>
            <p:nvPr/>
          </p:nvSpPr>
          <p:spPr>
            <a:xfrm>
              <a:off x="11788401" y="5884075"/>
              <a:ext cx="25167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Turkey</a:t>
              </a:r>
            </a:p>
          </p:txBody>
        </p:sp>
        <p:sp>
          <p:nvSpPr>
            <p:cNvPr id="76" name="Bulgaria Text"/>
            <p:cNvSpPr txBox="1"/>
            <p:nvPr/>
          </p:nvSpPr>
          <p:spPr>
            <a:xfrm>
              <a:off x="11175320" y="5448201"/>
              <a:ext cx="29976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Bulgaria</a:t>
              </a:r>
            </a:p>
          </p:txBody>
        </p:sp>
        <p:sp>
          <p:nvSpPr>
            <p:cNvPr id="77" name="Romania Text"/>
            <p:cNvSpPr txBox="1"/>
            <p:nvPr/>
          </p:nvSpPr>
          <p:spPr>
            <a:xfrm>
              <a:off x="10945205" y="4841670"/>
              <a:ext cx="323807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Romania</a:t>
              </a:r>
            </a:p>
          </p:txBody>
        </p:sp>
        <p:sp>
          <p:nvSpPr>
            <p:cNvPr id="78" name="Moldova Text"/>
            <p:cNvSpPr txBox="1"/>
            <p:nvPr/>
          </p:nvSpPr>
          <p:spPr>
            <a:xfrm>
              <a:off x="11502482" y="4447743"/>
              <a:ext cx="314189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Moldova</a:t>
              </a:r>
            </a:p>
          </p:txBody>
        </p:sp>
        <p:sp>
          <p:nvSpPr>
            <p:cNvPr id="79" name="Ukraine Text"/>
            <p:cNvSpPr txBox="1"/>
            <p:nvPr/>
          </p:nvSpPr>
          <p:spPr>
            <a:xfrm>
              <a:off x="11358314" y="3914529"/>
              <a:ext cx="28373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Ukraine</a:t>
              </a:r>
            </a:p>
          </p:txBody>
        </p:sp>
        <p:sp>
          <p:nvSpPr>
            <p:cNvPr id="80" name="Belarus Text"/>
            <p:cNvSpPr txBox="1"/>
            <p:nvPr/>
          </p:nvSpPr>
          <p:spPr>
            <a:xfrm>
              <a:off x="11128766" y="3253935"/>
              <a:ext cx="26770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Belarus</a:t>
              </a:r>
            </a:p>
          </p:txBody>
        </p:sp>
        <p:sp>
          <p:nvSpPr>
            <p:cNvPr id="81" name="Lithuania Text"/>
            <p:cNvSpPr txBox="1"/>
            <p:nvPr/>
          </p:nvSpPr>
          <p:spPr>
            <a:xfrm>
              <a:off x="10446517" y="3045434"/>
              <a:ext cx="343043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Lithuania</a:t>
              </a:r>
            </a:p>
          </p:txBody>
        </p:sp>
        <p:sp>
          <p:nvSpPr>
            <p:cNvPr id="82" name="Latvia Text"/>
            <p:cNvSpPr txBox="1"/>
            <p:nvPr/>
          </p:nvSpPr>
          <p:spPr>
            <a:xfrm>
              <a:off x="10625856" y="2723156"/>
              <a:ext cx="22602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Latvia</a:t>
              </a:r>
            </a:p>
          </p:txBody>
        </p:sp>
        <p:sp>
          <p:nvSpPr>
            <p:cNvPr id="83" name="Estonia Text"/>
            <p:cNvSpPr txBox="1"/>
            <p:nvPr/>
          </p:nvSpPr>
          <p:spPr>
            <a:xfrm>
              <a:off x="10520330" y="2368611"/>
              <a:ext cx="272510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Estonia</a:t>
              </a:r>
            </a:p>
          </p:txBody>
        </p:sp>
        <p:sp>
          <p:nvSpPr>
            <p:cNvPr id="84" name="Russia Text"/>
            <p:cNvSpPr txBox="1"/>
            <p:nvPr/>
          </p:nvSpPr>
          <p:spPr>
            <a:xfrm>
              <a:off x="11333686" y="1740823"/>
              <a:ext cx="232436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Russia</a:t>
              </a:r>
            </a:p>
          </p:txBody>
        </p:sp>
        <p:sp>
          <p:nvSpPr>
            <p:cNvPr id="85" name="Greece Text"/>
            <p:cNvSpPr txBox="1"/>
            <p:nvPr/>
          </p:nvSpPr>
          <p:spPr>
            <a:xfrm>
              <a:off x="10750982" y="6160525"/>
              <a:ext cx="25167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Greece</a:t>
              </a:r>
            </a:p>
          </p:txBody>
        </p:sp>
        <p:sp>
          <p:nvSpPr>
            <p:cNvPr id="86" name="Albania Text"/>
            <p:cNvSpPr txBox="1"/>
            <p:nvPr/>
          </p:nvSpPr>
          <p:spPr>
            <a:xfrm>
              <a:off x="10488488" y="5896499"/>
              <a:ext cx="275717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Albania</a:t>
              </a:r>
            </a:p>
          </p:txBody>
        </p:sp>
        <p:sp>
          <p:nvSpPr>
            <p:cNvPr id="87" name="Makedonia Text"/>
            <p:cNvSpPr txBox="1"/>
            <p:nvPr/>
          </p:nvSpPr>
          <p:spPr>
            <a:xfrm>
              <a:off x="10600786" y="5673747"/>
              <a:ext cx="39594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Macedonia</a:t>
              </a:r>
            </a:p>
          </p:txBody>
        </p:sp>
        <p:sp>
          <p:nvSpPr>
            <p:cNvPr id="88" name="Kosovo Text"/>
            <p:cNvSpPr txBox="1"/>
            <p:nvPr/>
          </p:nvSpPr>
          <p:spPr>
            <a:xfrm>
              <a:off x="10680608" y="5486132"/>
              <a:ext cx="269304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Kosovo</a:t>
              </a:r>
            </a:p>
          </p:txBody>
        </p:sp>
        <p:sp>
          <p:nvSpPr>
            <p:cNvPr id="89" name="Montenegro Text"/>
            <p:cNvSpPr txBox="1"/>
            <p:nvPr/>
          </p:nvSpPr>
          <p:spPr>
            <a:xfrm>
              <a:off x="10271548" y="5481130"/>
              <a:ext cx="264496" cy="1800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Monte-</a:t>
              </a:r>
              <a:br>
                <a:rPr lang="en-GB" sz="650" b="1" noProof="1">
                  <a:solidFill>
                    <a:schemeClr val="accent1"/>
                  </a:solidFill>
                </a:rPr>
              </a:br>
              <a:r>
                <a:rPr lang="en-GB" sz="650" b="1" noProof="1">
                  <a:solidFill>
                    <a:schemeClr val="accent1"/>
                  </a:solidFill>
                </a:rPr>
                <a:t>negro</a:t>
              </a:r>
            </a:p>
          </p:txBody>
        </p:sp>
        <p:sp>
          <p:nvSpPr>
            <p:cNvPr id="90" name="Serbia Text"/>
            <p:cNvSpPr txBox="1"/>
            <p:nvPr/>
          </p:nvSpPr>
          <p:spPr>
            <a:xfrm>
              <a:off x="10421442" y="5199562"/>
              <a:ext cx="23083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Serbia</a:t>
              </a:r>
            </a:p>
          </p:txBody>
        </p:sp>
        <p:sp>
          <p:nvSpPr>
            <p:cNvPr id="91" name="Bosnia &amp; Herzegovina Text"/>
            <p:cNvSpPr txBox="1"/>
            <p:nvPr/>
          </p:nvSpPr>
          <p:spPr>
            <a:xfrm>
              <a:off x="9856795" y="5205454"/>
              <a:ext cx="472206" cy="1800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Bosnia &amp; </a:t>
              </a:r>
              <a:br>
                <a:rPr lang="en-GB" sz="650" b="1" noProof="1">
                  <a:solidFill>
                    <a:schemeClr val="accent1"/>
                  </a:solidFill>
                </a:rPr>
              </a:br>
              <a:r>
                <a:rPr lang="en-GB" sz="650" b="1" noProof="1">
                  <a:solidFill>
                    <a:schemeClr val="accent1"/>
                  </a:solidFill>
                </a:rPr>
                <a:t>Herzegovina</a:t>
              </a:r>
            </a:p>
          </p:txBody>
        </p:sp>
        <p:sp>
          <p:nvSpPr>
            <p:cNvPr id="92" name="Croatia Text"/>
            <p:cNvSpPr txBox="1"/>
            <p:nvPr/>
          </p:nvSpPr>
          <p:spPr>
            <a:xfrm>
              <a:off x="9589725" y="5090075"/>
              <a:ext cx="26289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Croatia</a:t>
              </a:r>
            </a:p>
          </p:txBody>
        </p:sp>
        <p:sp>
          <p:nvSpPr>
            <p:cNvPr id="93" name="Slovenia Text"/>
            <p:cNvSpPr txBox="1"/>
            <p:nvPr/>
          </p:nvSpPr>
          <p:spPr>
            <a:xfrm>
              <a:off x="9465688" y="4946695"/>
              <a:ext cx="310983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Slovenia</a:t>
              </a:r>
            </a:p>
          </p:txBody>
        </p:sp>
        <p:sp>
          <p:nvSpPr>
            <p:cNvPr id="94" name="Hungary Text"/>
            <p:cNvSpPr txBox="1"/>
            <p:nvPr/>
          </p:nvSpPr>
          <p:spPr>
            <a:xfrm>
              <a:off x="10110459" y="4708613"/>
              <a:ext cx="310983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Hungary</a:t>
              </a:r>
            </a:p>
          </p:txBody>
        </p:sp>
        <p:sp>
          <p:nvSpPr>
            <p:cNvPr id="95" name="Italy Text"/>
            <p:cNvSpPr txBox="1"/>
            <p:nvPr/>
          </p:nvSpPr>
          <p:spPr>
            <a:xfrm>
              <a:off x="9235159" y="5623720"/>
              <a:ext cx="16190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Italy</a:t>
              </a:r>
            </a:p>
          </p:txBody>
        </p:sp>
        <p:sp>
          <p:nvSpPr>
            <p:cNvPr id="96" name="Austria Text"/>
            <p:cNvSpPr txBox="1"/>
            <p:nvPr/>
          </p:nvSpPr>
          <p:spPr>
            <a:xfrm>
              <a:off x="9453547" y="4650986"/>
              <a:ext cx="259686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Austria</a:t>
              </a:r>
            </a:p>
          </p:txBody>
        </p:sp>
        <p:sp>
          <p:nvSpPr>
            <p:cNvPr id="97" name="Switzerland Text"/>
            <p:cNvSpPr txBox="1"/>
            <p:nvPr/>
          </p:nvSpPr>
          <p:spPr>
            <a:xfrm>
              <a:off x="8437475" y="4841670"/>
              <a:ext cx="431208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Switzerland</a:t>
              </a:r>
            </a:p>
          </p:txBody>
        </p:sp>
        <p:sp>
          <p:nvSpPr>
            <p:cNvPr id="98" name="Portugal Text"/>
            <p:cNvSpPr txBox="1"/>
            <p:nvPr/>
          </p:nvSpPr>
          <p:spPr>
            <a:xfrm>
              <a:off x="5649303" y="5994326"/>
              <a:ext cx="312586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a-DK" sz="650" b="1" dirty="0">
                  <a:solidFill>
                    <a:schemeClr val="accent1"/>
                  </a:solidFill>
                </a:rPr>
                <a:t>Portugal</a:t>
              </a:r>
            </a:p>
          </p:txBody>
        </p:sp>
        <p:sp>
          <p:nvSpPr>
            <p:cNvPr id="99" name="Spain Text"/>
            <p:cNvSpPr txBox="1"/>
            <p:nvPr/>
          </p:nvSpPr>
          <p:spPr>
            <a:xfrm>
              <a:off x="6556415" y="5930886"/>
              <a:ext cx="20518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a-DK" sz="650" b="1" dirty="0">
                  <a:solidFill>
                    <a:schemeClr val="accent1"/>
                  </a:solidFill>
                </a:rPr>
                <a:t>Spain</a:t>
              </a:r>
            </a:p>
          </p:txBody>
        </p:sp>
        <p:sp>
          <p:nvSpPr>
            <p:cNvPr id="100" name="Andorra Text"/>
            <p:cNvSpPr txBox="1"/>
            <p:nvPr/>
          </p:nvSpPr>
          <p:spPr>
            <a:xfrm>
              <a:off x="7509710" y="5481130"/>
              <a:ext cx="294953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Andorra</a:t>
              </a:r>
            </a:p>
          </p:txBody>
        </p:sp>
        <p:sp>
          <p:nvSpPr>
            <p:cNvPr id="101" name="France Text"/>
            <p:cNvSpPr txBox="1"/>
            <p:nvPr/>
          </p:nvSpPr>
          <p:spPr>
            <a:xfrm>
              <a:off x="7671332" y="4791656"/>
              <a:ext cx="24205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France</a:t>
              </a:r>
            </a:p>
          </p:txBody>
        </p:sp>
        <p:sp>
          <p:nvSpPr>
            <p:cNvPr id="102" name="Slovakia Text"/>
            <p:cNvSpPr txBox="1"/>
            <p:nvPr/>
          </p:nvSpPr>
          <p:spPr>
            <a:xfrm>
              <a:off x="10072207" y="4420326"/>
              <a:ext cx="307777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Slovakia</a:t>
              </a:r>
            </a:p>
          </p:txBody>
        </p:sp>
        <p:sp>
          <p:nvSpPr>
            <p:cNvPr id="103" name="Czech Republic Text"/>
            <p:cNvSpPr txBox="1"/>
            <p:nvPr/>
          </p:nvSpPr>
          <p:spPr>
            <a:xfrm>
              <a:off x="9402630" y="4256088"/>
              <a:ext cx="543418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Czech Republic</a:t>
              </a:r>
            </a:p>
          </p:txBody>
        </p:sp>
        <p:sp>
          <p:nvSpPr>
            <p:cNvPr id="104" name="Luxembourg Text"/>
            <p:cNvSpPr txBox="1"/>
            <p:nvPr/>
          </p:nvSpPr>
          <p:spPr>
            <a:xfrm>
              <a:off x="8400256" y="4250198"/>
              <a:ext cx="46006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Luxembourg</a:t>
              </a:r>
            </a:p>
          </p:txBody>
        </p:sp>
        <p:sp>
          <p:nvSpPr>
            <p:cNvPr id="105" name="Belgium Text"/>
            <p:cNvSpPr txBox="1"/>
            <p:nvPr/>
          </p:nvSpPr>
          <p:spPr>
            <a:xfrm>
              <a:off x="7998085" y="4038430"/>
              <a:ext cx="298159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Belgium</a:t>
              </a:r>
            </a:p>
          </p:txBody>
        </p:sp>
        <p:sp>
          <p:nvSpPr>
            <p:cNvPr id="106" name="Ireland Text"/>
            <p:cNvSpPr txBox="1"/>
            <p:nvPr/>
          </p:nvSpPr>
          <p:spPr>
            <a:xfrm>
              <a:off x="6461451" y="3411767"/>
              <a:ext cx="25167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Ireland</a:t>
              </a:r>
            </a:p>
          </p:txBody>
        </p:sp>
        <p:sp>
          <p:nvSpPr>
            <p:cNvPr id="107" name="UK Text"/>
            <p:cNvSpPr txBox="1"/>
            <p:nvPr/>
          </p:nvSpPr>
          <p:spPr>
            <a:xfrm>
              <a:off x="7279376" y="3565018"/>
              <a:ext cx="123432" cy="1000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650" b="1" dirty="0">
                  <a:solidFill>
                    <a:schemeClr val="accent1"/>
                  </a:solidFill>
                </a:rPr>
                <a:t>UK</a:t>
              </a:r>
            </a:p>
          </p:txBody>
        </p:sp>
        <p:sp>
          <p:nvSpPr>
            <p:cNvPr id="108" name="Netherlands Text"/>
            <p:cNvSpPr txBox="1"/>
            <p:nvPr/>
          </p:nvSpPr>
          <p:spPr>
            <a:xfrm>
              <a:off x="8172704" y="3773074"/>
              <a:ext cx="282129" cy="1800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Nether-</a:t>
              </a:r>
              <a:br>
                <a:rPr lang="en-GB" sz="650" b="1" noProof="1">
                  <a:solidFill>
                    <a:schemeClr val="accent1"/>
                  </a:solidFill>
                </a:rPr>
              </a:br>
              <a:r>
                <a:rPr lang="en-GB" sz="650" b="1" noProof="1">
                  <a:solidFill>
                    <a:schemeClr val="accent1"/>
                  </a:solidFill>
                </a:rPr>
                <a:t>lands</a:t>
              </a:r>
            </a:p>
          </p:txBody>
        </p:sp>
        <p:sp>
          <p:nvSpPr>
            <p:cNvPr id="109" name="Poland Text"/>
            <p:cNvSpPr txBox="1"/>
            <p:nvPr/>
          </p:nvSpPr>
          <p:spPr>
            <a:xfrm>
              <a:off x="10071860" y="3731412"/>
              <a:ext cx="25327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Poland</a:t>
              </a:r>
            </a:p>
          </p:txBody>
        </p:sp>
        <p:sp>
          <p:nvSpPr>
            <p:cNvPr id="110" name="Germany Text"/>
            <p:cNvSpPr txBox="1"/>
            <p:nvPr/>
          </p:nvSpPr>
          <p:spPr>
            <a:xfrm>
              <a:off x="8698771" y="3931659"/>
              <a:ext cx="33182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Germany</a:t>
              </a:r>
            </a:p>
          </p:txBody>
        </p:sp>
        <p:sp>
          <p:nvSpPr>
            <p:cNvPr id="111" name="Denmark Text"/>
            <p:cNvSpPr txBox="1"/>
            <p:nvPr/>
          </p:nvSpPr>
          <p:spPr>
            <a:xfrm>
              <a:off x="8385174" y="2999574"/>
              <a:ext cx="333425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Denmark</a:t>
              </a:r>
            </a:p>
          </p:txBody>
        </p:sp>
        <p:sp>
          <p:nvSpPr>
            <p:cNvPr id="112" name="Finland Text"/>
            <p:cNvSpPr txBox="1"/>
            <p:nvPr/>
          </p:nvSpPr>
          <p:spPr>
            <a:xfrm>
              <a:off x="10402193" y="1603376"/>
              <a:ext cx="26770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a-DK" sz="650" b="1" dirty="0">
                  <a:solidFill>
                    <a:schemeClr val="accent1"/>
                  </a:solidFill>
                </a:rPr>
                <a:t>Finland</a:t>
              </a:r>
            </a:p>
          </p:txBody>
        </p:sp>
        <p:sp>
          <p:nvSpPr>
            <p:cNvPr id="113" name="Sweden Text"/>
            <p:cNvSpPr txBox="1"/>
            <p:nvPr/>
          </p:nvSpPr>
          <p:spPr>
            <a:xfrm>
              <a:off x="9326093" y="1818976"/>
              <a:ext cx="29014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Sweden</a:t>
              </a:r>
            </a:p>
          </p:txBody>
        </p:sp>
        <p:sp>
          <p:nvSpPr>
            <p:cNvPr id="114" name="Norway Text"/>
            <p:cNvSpPr txBox="1"/>
            <p:nvPr/>
          </p:nvSpPr>
          <p:spPr>
            <a:xfrm>
              <a:off x="8623671" y="2089135"/>
              <a:ext cx="285335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Norway</a:t>
              </a:r>
            </a:p>
          </p:txBody>
        </p:sp>
      </p:grpSp>
      <p:grpSp>
        <p:nvGrpSpPr>
          <p:cNvPr id="115" name="Russia"/>
          <p:cNvGrpSpPr/>
          <p:nvPr/>
        </p:nvGrpSpPr>
        <p:grpSpPr>
          <a:xfrm>
            <a:off x="10116076" y="-3175"/>
            <a:ext cx="2084387" cy="3536950"/>
            <a:chOff x="10137096" y="-3175"/>
            <a:chExt cx="2084387" cy="3536950"/>
          </a:xfrm>
          <a:solidFill>
            <a:srgbClr val="E1E0DC"/>
          </a:solidFill>
        </p:grpSpPr>
        <p:sp>
          <p:nvSpPr>
            <p:cNvPr id="116" name="Russia"/>
            <p:cNvSpPr>
              <a:spLocks/>
            </p:cNvSpPr>
            <p:nvPr/>
          </p:nvSpPr>
          <p:spPr bwMode="auto">
            <a:xfrm>
              <a:off x="10137096" y="3149600"/>
              <a:ext cx="374650" cy="182563"/>
            </a:xfrm>
            <a:custGeom>
              <a:avLst/>
              <a:gdLst>
                <a:gd name="T0" fmla="*/ 88 w 236"/>
                <a:gd name="T1" fmla="*/ 0 h 115"/>
                <a:gd name="T2" fmla="*/ 173 w 236"/>
                <a:gd name="T3" fmla="*/ 25 h 115"/>
                <a:gd name="T4" fmla="*/ 202 w 236"/>
                <a:gd name="T5" fmla="*/ 16 h 115"/>
                <a:gd name="T6" fmla="*/ 235 w 236"/>
                <a:gd name="T7" fmla="*/ 32 h 115"/>
                <a:gd name="T8" fmla="*/ 227 w 236"/>
                <a:gd name="T9" fmla="*/ 54 h 115"/>
                <a:gd name="T10" fmla="*/ 236 w 236"/>
                <a:gd name="T11" fmla="*/ 88 h 115"/>
                <a:gd name="T12" fmla="*/ 202 w 236"/>
                <a:gd name="T13" fmla="*/ 110 h 115"/>
                <a:gd name="T14" fmla="*/ 103 w 236"/>
                <a:gd name="T15" fmla="*/ 115 h 115"/>
                <a:gd name="T16" fmla="*/ 0 w 236"/>
                <a:gd name="T17" fmla="*/ 110 h 115"/>
                <a:gd name="T18" fmla="*/ 12 w 236"/>
                <a:gd name="T19" fmla="*/ 96 h 115"/>
                <a:gd name="T20" fmla="*/ 3 w 236"/>
                <a:gd name="T21" fmla="*/ 68 h 115"/>
                <a:gd name="T22" fmla="*/ 65 w 236"/>
                <a:gd name="T23" fmla="*/ 49 h 115"/>
                <a:gd name="T24" fmla="*/ 88 w 236"/>
                <a:gd name="T2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6" h="115">
                  <a:moveTo>
                    <a:pt x="88" y="0"/>
                  </a:moveTo>
                  <a:lnTo>
                    <a:pt x="173" y="25"/>
                  </a:lnTo>
                  <a:lnTo>
                    <a:pt x="202" y="16"/>
                  </a:lnTo>
                  <a:lnTo>
                    <a:pt x="235" y="32"/>
                  </a:lnTo>
                  <a:lnTo>
                    <a:pt x="227" y="54"/>
                  </a:lnTo>
                  <a:lnTo>
                    <a:pt x="236" y="88"/>
                  </a:lnTo>
                  <a:lnTo>
                    <a:pt x="202" y="110"/>
                  </a:lnTo>
                  <a:lnTo>
                    <a:pt x="103" y="115"/>
                  </a:lnTo>
                  <a:lnTo>
                    <a:pt x="0" y="110"/>
                  </a:lnTo>
                  <a:lnTo>
                    <a:pt x="12" y="96"/>
                  </a:lnTo>
                  <a:lnTo>
                    <a:pt x="3" y="68"/>
                  </a:lnTo>
                  <a:lnTo>
                    <a:pt x="65" y="49"/>
                  </a:lnTo>
                  <a:lnTo>
                    <a:pt x="88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" name="Russia"/>
            <p:cNvSpPr>
              <a:spLocks/>
            </p:cNvSpPr>
            <p:nvPr/>
          </p:nvSpPr>
          <p:spPr bwMode="auto">
            <a:xfrm>
              <a:off x="10461263" y="-3175"/>
              <a:ext cx="1760220" cy="3536950"/>
            </a:xfrm>
            <a:custGeom>
              <a:avLst/>
              <a:gdLst>
                <a:gd name="T0" fmla="*/ 517 w 638"/>
                <a:gd name="T1" fmla="*/ 44 h 1233"/>
                <a:gd name="T2" fmla="*/ 493 w 638"/>
                <a:gd name="T3" fmla="*/ 99 h 1233"/>
                <a:gd name="T4" fmla="*/ 478 w 638"/>
                <a:gd name="T5" fmla="*/ 49 h 1233"/>
                <a:gd name="T6" fmla="*/ 419 w 638"/>
                <a:gd name="T7" fmla="*/ 23 h 1233"/>
                <a:gd name="T8" fmla="*/ 406 w 638"/>
                <a:gd name="T9" fmla="*/ 59 h 1233"/>
                <a:gd name="T10" fmla="*/ 436 w 638"/>
                <a:gd name="T11" fmla="*/ 121 h 1233"/>
                <a:gd name="T12" fmla="*/ 477 w 638"/>
                <a:gd name="T13" fmla="*/ 143 h 1233"/>
                <a:gd name="T14" fmla="*/ 458 w 638"/>
                <a:gd name="T15" fmla="*/ 178 h 1233"/>
                <a:gd name="T16" fmla="*/ 406 w 638"/>
                <a:gd name="T17" fmla="*/ 225 h 1233"/>
                <a:gd name="T18" fmla="*/ 419 w 638"/>
                <a:gd name="T19" fmla="*/ 296 h 1233"/>
                <a:gd name="T20" fmla="*/ 405 w 638"/>
                <a:gd name="T21" fmla="*/ 333 h 1233"/>
                <a:gd name="T22" fmla="*/ 328 w 638"/>
                <a:gd name="T23" fmla="*/ 320 h 1233"/>
                <a:gd name="T24" fmla="*/ 318 w 638"/>
                <a:gd name="T25" fmla="*/ 348 h 1233"/>
                <a:gd name="T26" fmla="*/ 390 w 638"/>
                <a:gd name="T27" fmla="*/ 384 h 1233"/>
                <a:gd name="T28" fmla="*/ 322 w 638"/>
                <a:gd name="T29" fmla="*/ 403 h 1233"/>
                <a:gd name="T30" fmla="*/ 289 w 638"/>
                <a:gd name="T31" fmla="*/ 403 h 1233"/>
                <a:gd name="T32" fmla="*/ 247 w 638"/>
                <a:gd name="T33" fmla="*/ 353 h 1233"/>
                <a:gd name="T34" fmla="*/ 242 w 638"/>
                <a:gd name="T35" fmla="*/ 325 h 1233"/>
                <a:gd name="T36" fmla="*/ 187 w 638"/>
                <a:gd name="T37" fmla="*/ 288 h 1233"/>
                <a:gd name="T38" fmla="*/ 134 w 638"/>
                <a:gd name="T39" fmla="*/ 261 h 1233"/>
                <a:gd name="T40" fmla="*/ 148 w 638"/>
                <a:gd name="T41" fmla="*/ 247 h 1233"/>
                <a:gd name="T42" fmla="*/ 205 w 638"/>
                <a:gd name="T43" fmla="*/ 261 h 1233"/>
                <a:gd name="T44" fmla="*/ 276 w 638"/>
                <a:gd name="T45" fmla="*/ 261 h 1233"/>
                <a:gd name="T46" fmla="*/ 377 w 638"/>
                <a:gd name="T47" fmla="*/ 171 h 1233"/>
                <a:gd name="T48" fmla="*/ 300 w 638"/>
                <a:gd name="T49" fmla="*/ 121 h 1233"/>
                <a:gd name="T50" fmla="*/ 217 w 638"/>
                <a:gd name="T51" fmla="*/ 99 h 1233"/>
                <a:gd name="T52" fmla="*/ 111 w 638"/>
                <a:gd name="T53" fmla="*/ 97 h 1233"/>
                <a:gd name="T54" fmla="*/ 100 w 638"/>
                <a:gd name="T55" fmla="*/ 112 h 1233"/>
                <a:gd name="T56" fmla="*/ 89 w 638"/>
                <a:gd name="T57" fmla="*/ 135 h 1233"/>
                <a:gd name="T58" fmla="*/ 19 w 638"/>
                <a:gd name="T59" fmla="*/ 156 h 1233"/>
                <a:gd name="T60" fmla="*/ 0 w 638"/>
                <a:gd name="T61" fmla="*/ 207 h 1233"/>
                <a:gd name="T62" fmla="*/ 24 w 638"/>
                <a:gd name="T63" fmla="*/ 213 h 1233"/>
                <a:gd name="T64" fmla="*/ 57 w 638"/>
                <a:gd name="T65" fmla="*/ 243 h 1233"/>
                <a:gd name="T66" fmla="*/ 107 w 638"/>
                <a:gd name="T67" fmla="*/ 355 h 1233"/>
                <a:gd name="T68" fmla="*/ 107 w 638"/>
                <a:gd name="T69" fmla="*/ 397 h 1233"/>
                <a:gd name="T70" fmla="*/ 125 w 638"/>
                <a:gd name="T71" fmla="*/ 415 h 1233"/>
                <a:gd name="T72" fmla="*/ 148 w 638"/>
                <a:gd name="T73" fmla="*/ 441 h 1233"/>
                <a:gd name="T74" fmla="*/ 209 w 638"/>
                <a:gd name="T75" fmla="*/ 517 h 1233"/>
                <a:gd name="T76" fmla="*/ 146 w 638"/>
                <a:gd name="T77" fmla="*/ 700 h 1233"/>
                <a:gd name="T78" fmla="*/ 187 w 638"/>
                <a:gd name="T79" fmla="*/ 720 h 1233"/>
                <a:gd name="T80" fmla="*/ 242 w 638"/>
                <a:gd name="T81" fmla="*/ 739 h 1233"/>
                <a:gd name="T82" fmla="*/ 163 w 638"/>
                <a:gd name="T83" fmla="*/ 761 h 1233"/>
                <a:gd name="T84" fmla="*/ 162 w 638"/>
                <a:gd name="T85" fmla="*/ 791 h 1233"/>
                <a:gd name="T86" fmla="*/ 159 w 638"/>
                <a:gd name="T87" fmla="*/ 837 h 1233"/>
                <a:gd name="T88" fmla="*/ 180 w 638"/>
                <a:gd name="T89" fmla="*/ 865 h 1233"/>
                <a:gd name="T90" fmla="*/ 180 w 638"/>
                <a:gd name="T91" fmla="*/ 900 h 1233"/>
                <a:gd name="T92" fmla="*/ 202 w 638"/>
                <a:gd name="T93" fmla="*/ 934 h 1233"/>
                <a:gd name="T94" fmla="*/ 224 w 638"/>
                <a:gd name="T95" fmla="*/ 963 h 1233"/>
                <a:gd name="T96" fmla="*/ 260 w 638"/>
                <a:gd name="T97" fmla="*/ 983 h 1233"/>
                <a:gd name="T98" fmla="*/ 328 w 638"/>
                <a:gd name="T99" fmla="*/ 983 h 1233"/>
                <a:gd name="T100" fmla="*/ 373 w 638"/>
                <a:gd name="T101" fmla="*/ 1044 h 1233"/>
                <a:gd name="T102" fmla="*/ 417 w 638"/>
                <a:gd name="T103" fmla="*/ 1074 h 1233"/>
                <a:gd name="T104" fmla="*/ 470 w 638"/>
                <a:gd name="T105" fmla="*/ 1092 h 1233"/>
                <a:gd name="T106" fmla="*/ 441 w 638"/>
                <a:gd name="T107" fmla="*/ 1139 h 1233"/>
                <a:gd name="T108" fmla="*/ 458 w 638"/>
                <a:gd name="T109" fmla="*/ 1183 h 1233"/>
                <a:gd name="T110" fmla="*/ 501 w 638"/>
                <a:gd name="T111" fmla="*/ 1191 h 1233"/>
                <a:gd name="T112" fmla="*/ 609 w 638"/>
                <a:gd name="T113" fmla="*/ 1191 h 1233"/>
                <a:gd name="T114" fmla="*/ 638 w 638"/>
                <a:gd name="T115" fmla="*/ 1227 h 1233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67 w 10000"/>
                <a:gd name="connsiteY84" fmla="*/ 916 h 10000"/>
                <a:gd name="connsiteX85" fmla="*/ 1538 w 10000"/>
                <a:gd name="connsiteY85" fmla="*/ 746 h 10000"/>
                <a:gd name="connsiteX86" fmla="*/ 1395 w 10000"/>
                <a:gd name="connsiteY86" fmla="*/ 1095 h 10000"/>
                <a:gd name="connsiteX87" fmla="*/ 940 w 10000"/>
                <a:gd name="connsiteY87" fmla="*/ 1054 h 10000"/>
                <a:gd name="connsiteX88" fmla="*/ 737 w 10000"/>
                <a:gd name="connsiteY88" fmla="*/ 1273 h 10000"/>
                <a:gd name="connsiteX89" fmla="*/ 298 w 10000"/>
                <a:gd name="connsiteY89" fmla="*/ 1265 h 10000"/>
                <a:gd name="connsiteX90" fmla="*/ 361 w 10000"/>
                <a:gd name="connsiteY90" fmla="*/ 1419 h 10000"/>
                <a:gd name="connsiteX91" fmla="*/ 219 w 10000"/>
                <a:gd name="connsiteY91" fmla="*/ 1525 h 10000"/>
                <a:gd name="connsiteX92" fmla="*/ 0 w 10000"/>
                <a:gd name="connsiteY92" fmla="*/ 1679 h 10000"/>
                <a:gd name="connsiteX93" fmla="*/ 31 w 10000"/>
                <a:gd name="connsiteY93" fmla="*/ 1687 h 10000"/>
                <a:gd name="connsiteX94" fmla="*/ 31 w 10000"/>
                <a:gd name="connsiteY94" fmla="*/ 1695 h 10000"/>
                <a:gd name="connsiteX95" fmla="*/ 376 w 10000"/>
                <a:gd name="connsiteY95" fmla="*/ 1727 h 10000"/>
                <a:gd name="connsiteX96" fmla="*/ 517 w 10000"/>
                <a:gd name="connsiteY96" fmla="*/ 1800 h 10000"/>
                <a:gd name="connsiteX97" fmla="*/ 799 w 10000"/>
                <a:gd name="connsiteY97" fmla="*/ 1833 h 10000"/>
                <a:gd name="connsiteX98" fmla="*/ 893 w 10000"/>
                <a:gd name="connsiteY98" fmla="*/ 1971 h 10000"/>
                <a:gd name="connsiteX99" fmla="*/ 690 w 10000"/>
                <a:gd name="connsiteY99" fmla="*/ 2376 h 10000"/>
                <a:gd name="connsiteX100" fmla="*/ 893 w 10000"/>
                <a:gd name="connsiteY100" fmla="*/ 2457 h 10000"/>
                <a:gd name="connsiteX101" fmla="*/ 1677 w 10000"/>
                <a:gd name="connsiteY101" fmla="*/ 2879 h 10000"/>
                <a:gd name="connsiteX102" fmla="*/ 1458 w 10000"/>
                <a:gd name="connsiteY102" fmla="*/ 2976 h 10000"/>
                <a:gd name="connsiteX103" fmla="*/ 1458 w 10000"/>
                <a:gd name="connsiteY103" fmla="*/ 3179 h 10000"/>
                <a:gd name="connsiteX104" fmla="*/ 1677 w 10000"/>
                <a:gd name="connsiteY104" fmla="*/ 3220 h 10000"/>
                <a:gd name="connsiteX105" fmla="*/ 1614 w 10000"/>
                <a:gd name="connsiteY105" fmla="*/ 3333 h 10000"/>
                <a:gd name="connsiteX106" fmla="*/ 1787 w 10000"/>
                <a:gd name="connsiteY106" fmla="*/ 3398 h 10000"/>
                <a:gd name="connsiteX107" fmla="*/ 1959 w 10000"/>
                <a:gd name="connsiteY107" fmla="*/ 3366 h 10000"/>
                <a:gd name="connsiteX108" fmla="*/ 1991 w 10000"/>
                <a:gd name="connsiteY108" fmla="*/ 3528 h 10000"/>
                <a:gd name="connsiteX109" fmla="*/ 2132 w 10000"/>
                <a:gd name="connsiteY109" fmla="*/ 3609 h 10000"/>
                <a:gd name="connsiteX110" fmla="*/ 2320 w 10000"/>
                <a:gd name="connsiteY110" fmla="*/ 3577 h 10000"/>
                <a:gd name="connsiteX111" fmla="*/ 2461 w 10000"/>
                <a:gd name="connsiteY111" fmla="*/ 3715 h 10000"/>
                <a:gd name="connsiteX112" fmla="*/ 2335 w 10000"/>
                <a:gd name="connsiteY112" fmla="*/ 3950 h 10000"/>
                <a:gd name="connsiteX113" fmla="*/ 3276 w 10000"/>
                <a:gd name="connsiteY113" fmla="*/ 4193 h 10000"/>
                <a:gd name="connsiteX114" fmla="*/ 3292 w 10000"/>
                <a:gd name="connsiteY114" fmla="*/ 4599 h 10000"/>
                <a:gd name="connsiteX115" fmla="*/ 2806 w 10000"/>
                <a:gd name="connsiteY115" fmla="*/ 5239 h 10000"/>
                <a:gd name="connsiteX116" fmla="*/ 2288 w 10000"/>
                <a:gd name="connsiteY116" fmla="*/ 5677 h 10000"/>
                <a:gd name="connsiteX117" fmla="*/ 2555 w 10000"/>
                <a:gd name="connsiteY117" fmla="*/ 5612 h 10000"/>
                <a:gd name="connsiteX118" fmla="*/ 2618 w 10000"/>
                <a:gd name="connsiteY118" fmla="*/ 5766 h 10000"/>
                <a:gd name="connsiteX119" fmla="*/ 2931 w 10000"/>
                <a:gd name="connsiteY119" fmla="*/ 5839 h 10000"/>
                <a:gd name="connsiteX120" fmla="*/ 3370 w 10000"/>
                <a:gd name="connsiteY120" fmla="*/ 5775 h 10000"/>
                <a:gd name="connsiteX121" fmla="*/ 3793 w 10000"/>
                <a:gd name="connsiteY121" fmla="*/ 5864 h 10000"/>
                <a:gd name="connsiteX122" fmla="*/ 3793 w 10000"/>
                <a:gd name="connsiteY122" fmla="*/ 5994 h 10000"/>
                <a:gd name="connsiteX123" fmla="*/ 3056 w 10000"/>
                <a:gd name="connsiteY123" fmla="*/ 5969 h 10000"/>
                <a:gd name="connsiteX124" fmla="*/ 2931 w 10000"/>
                <a:gd name="connsiteY124" fmla="*/ 6091 h 10000"/>
                <a:gd name="connsiteX125" fmla="*/ 2555 w 10000"/>
                <a:gd name="connsiteY125" fmla="*/ 6172 h 10000"/>
                <a:gd name="connsiteX126" fmla="*/ 2633 w 10000"/>
                <a:gd name="connsiteY126" fmla="*/ 6269 h 10000"/>
                <a:gd name="connsiteX127" fmla="*/ 2712 w 10000"/>
                <a:gd name="connsiteY127" fmla="*/ 6326 h 10000"/>
                <a:gd name="connsiteX128" fmla="*/ 2539 w 10000"/>
                <a:gd name="connsiteY128" fmla="*/ 6415 h 10000"/>
                <a:gd name="connsiteX129" fmla="*/ 2586 w 10000"/>
                <a:gd name="connsiteY129" fmla="*/ 6537 h 10000"/>
                <a:gd name="connsiteX130" fmla="*/ 2398 w 10000"/>
                <a:gd name="connsiteY130" fmla="*/ 6642 h 10000"/>
                <a:gd name="connsiteX131" fmla="*/ 2492 w 10000"/>
                <a:gd name="connsiteY131" fmla="*/ 6788 h 10000"/>
                <a:gd name="connsiteX132" fmla="*/ 2680 w 10000"/>
                <a:gd name="connsiteY132" fmla="*/ 6821 h 10000"/>
                <a:gd name="connsiteX133" fmla="*/ 2602 w 10000"/>
                <a:gd name="connsiteY133" fmla="*/ 6983 h 10000"/>
                <a:gd name="connsiteX134" fmla="*/ 2821 w 10000"/>
                <a:gd name="connsiteY134" fmla="*/ 7015 h 10000"/>
                <a:gd name="connsiteX135" fmla="*/ 2931 w 10000"/>
                <a:gd name="connsiteY135" fmla="*/ 7145 h 10000"/>
                <a:gd name="connsiteX136" fmla="*/ 2806 w 10000"/>
                <a:gd name="connsiteY136" fmla="*/ 7202 h 10000"/>
                <a:gd name="connsiteX137" fmla="*/ 2821 w 10000"/>
                <a:gd name="connsiteY137" fmla="*/ 7299 h 10000"/>
                <a:gd name="connsiteX138" fmla="*/ 2931 w 10000"/>
                <a:gd name="connsiteY138" fmla="*/ 7388 h 10000"/>
                <a:gd name="connsiteX139" fmla="*/ 3292 w 10000"/>
                <a:gd name="connsiteY139" fmla="*/ 7486 h 10000"/>
                <a:gd name="connsiteX140" fmla="*/ 3166 w 10000"/>
                <a:gd name="connsiteY140" fmla="*/ 7575 h 10000"/>
                <a:gd name="connsiteX141" fmla="*/ 3292 w 10000"/>
                <a:gd name="connsiteY141" fmla="*/ 7737 h 10000"/>
                <a:gd name="connsiteX142" fmla="*/ 3417 w 10000"/>
                <a:gd name="connsiteY142" fmla="*/ 7737 h 10000"/>
                <a:gd name="connsiteX143" fmla="*/ 3511 w 10000"/>
                <a:gd name="connsiteY143" fmla="*/ 7810 h 10000"/>
                <a:gd name="connsiteX144" fmla="*/ 3793 w 10000"/>
                <a:gd name="connsiteY144" fmla="*/ 7908 h 10000"/>
                <a:gd name="connsiteX145" fmla="*/ 3793 w 10000"/>
                <a:gd name="connsiteY145" fmla="*/ 7997 h 10000"/>
                <a:gd name="connsiteX146" fmla="*/ 4075 w 10000"/>
                <a:gd name="connsiteY146" fmla="*/ 7972 h 10000"/>
                <a:gd name="connsiteX147" fmla="*/ 4577 w 10000"/>
                <a:gd name="connsiteY147" fmla="*/ 7972 h 10000"/>
                <a:gd name="connsiteX148" fmla="*/ 4718 w 10000"/>
                <a:gd name="connsiteY148" fmla="*/ 8167 h 10000"/>
                <a:gd name="connsiteX149" fmla="*/ 5141 w 10000"/>
                <a:gd name="connsiteY149" fmla="*/ 7972 h 10000"/>
                <a:gd name="connsiteX150" fmla="*/ 5721 w 10000"/>
                <a:gd name="connsiteY150" fmla="*/ 8078 h 10000"/>
                <a:gd name="connsiteX151" fmla="*/ 5846 w 10000"/>
                <a:gd name="connsiteY151" fmla="*/ 8289 h 10000"/>
                <a:gd name="connsiteX152" fmla="*/ 5846 w 10000"/>
                <a:gd name="connsiteY152" fmla="*/ 8467 h 10000"/>
                <a:gd name="connsiteX153" fmla="*/ 6113 w 10000"/>
                <a:gd name="connsiteY153" fmla="*/ 8483 h 10000"/>
                <a:gd name="connsiteX154" fmla="*/ 6223 w 10000"/>
                <a:gd name="connsiteY154" fmla="*/ 8581 h 10000"/>
                <a:gd name="connsiteX155" fmla="*/ 6536 w 10000"/>
                <a:gd name="connsiteY155" fmla="*/ 8710 h 10000"/>
                <a:gd name="connsiteX156" fmla="*/ 6912 w 10000"/>
                <a:gd name="connsiteY156" fmla="*/ 8759 h 10000"/>
                <a:gd name="connsiteX157" fmla="*/ 6928 w 10000"/>
                <a:gd name="connsiteY157" fmla="*/ 8889 h 10000"/>
                <a:gd name="connsiteX158" fmla="*/ 7367 w 10000"/>
                <a:gd name="connsiteY158" fmla="*/ 8856 h 10000"/>
                <a:gd name="connsiteX159" fmla="*/ 7696 w 10000"/>
                <a:gd name="connsiteY159" fmla="*/ 9027 h 10000"/>
                <a:gd name="connsiteX160" fmla="*/ 7586 w 10000"/>
                <a:gd name="connsiteY160" fmla="*/ 9238 h 10000"/>
                <a:gd name="connsiteX161" fmla="*/ 6912 w 10000"/>
                <a:gd name="connsiteY161" fmla="*/ 9238 h 10000"/>
                <a:gd name="connsiteX162" fmla="*/ 6803 w 10000"/>
                <a:gd name="connsiteY162" fmla="*/ 9343 h 10000"/>
                <a:gd name="connsiteX163" fmla="*/ 7132 w 10000"/>
                <a:gd name="connsiteY163" fmla="*/ 9424 h 10000"/>
                <a:gd name="connsiteX164" fmla="*/ 7179 w 10000"/>
                <a:gd name="connsiteY164" fmla="*/ 9594 h 10000"/>
                <a:gd name="connsiteX165" fmla="*/ 7461 w 10000"/>
                <a:gd name="connsiteY165" fmla="*/ 9805 h 10000"/>
                <a:gd name="connsiteX166" fmla="*/ 7837 w 10000"/>
                <a:gd name="connsiteY166" fmla="*/ 9813 h 10000"/>
                <a:gd name="connsiteX167" fmla="*/ 7853 w 10000"/>
                <a:gd name="connsiteY167" fmla="*/ 9659 h 10000"/>
                <a:gd name="connsiteX168" fmla="*/ 8464 w 10000"/>
                <a:gd name="connsiteY168" fmla="*/ 9521 h 10000"/>
                <a:gd name="connsiteX169" fmla="*/ 9060 w 10000"/>
                <a:gd name="connsiteY169" fmla="*/ 9521 h 10000"/>
                <a:gd name="connsiteX170" fmla="*/ 9545 w 10000"/>
                <a:gd name="connsiteY170" fmla="*/ 9659 h 10000"/>
                <a:gd name="connsiteX171" fmla="*/ 9279 w 10000"/>
                <a:gd name="connsiteY171" fmla="*/ 9789 h 10000"/>
                <a:gd name="connsiteX172" fmla="*/ 9624 w 10000"/>
                <a:gd name="connsiteY172" fmla="*/ 10000 h 10000"/>
                <a:gd name="connsiteX173" fmla="*/ 10000 w 10000"/>
                <a:gd name="connsiteY173" fmla="*/ 9951 h 10000"/>
                <a:gd name="connsiteX174" fmla="*/ 10000 w 10000"/>
                <a:gd name="connsiteY174" fmla="*/ 0 h 10000"/>
                <a:gd name="connsiteX175" fmla="*/ 8433 w 10000"/>
                <a:gd name="connsiteY175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67 w 10000"/>
                <a:gd name="connsiteY84" fmla="*/ 916 h 10000"/>
                <a:gd name="connsiteX85" fmla="*/ 1538 w 10000"/>
                <a:gd name="connsiteY85" fmla="*/ 746 h 10000"/>
                <a:gd name="connsiteX86" fmla="*/ 1295 w 10000"/>
                <a:gd name="connsiteY86" fmla="*/ 865 h 10000"/>
                <a:gd name="connsiteX87" fmla="*/ 940 w 10000"/>
                <a:gd name="connsiteY87" fmla="*/ 1054 h 10000"/>
                <a:gd name="connsiteX88" fmla="*/ 737 w 10000"/>
                <a:gd name="connsiteY88" fmla="*/ 1273 h 10000"/>
                <a:gd name="connsiteX89" fmla="*/ 298 w 10000"/>
                <a:gd name="connsiteY89" fmla="*/ 1265 h 10000"/>
                <a:gd name="connsiteX90" fmla="*/ 361 w 10000"/>
                <a:gd name="connsiteY90" fmla="*/ 1419 h 10000"/>
                <a:gd name="connsiteX91" fmla="*/ 219 w 10000"/>
                <a:gd name="connsiteY91" fmla="*/ 1525 h 10000"/>
                <a:gd name="connsiteX92" fmla="*/ 0 w 10000"/>
                <a:gd name="connsiteY92" fmla="*/ 1679 h 10000"/>
                <a:gd name="connsiteX93" fmla="*/ 31 w 10000"/>
                <a:gd name="connsiteY93" fmla="*/ 1687 h 10000"/>
                <a:gd name="connsiteX94" fmla="*/ 31 w 10000"/>
                <a:gd name="connsiteY94" fmla="*/ 1695 h 10000"/>
                <a:gd name="connsiteX95" fmla="*/ 376 w 10000"/>
                <a:gd name="connsiteY95" fmla="*/ 1727 h 10000"/>
                <a:gd name="connsiteX96" fmla="*/ 517 w 10000"/>
                <a:gd name="connsiteY96" fmla="*/ 1800 h 10000"/>
                <a:gd name="connsiteX97" fmla="*/ 799 w 10000"/>
                <a:gd name="connsiteY97" fmla="*/ 1833 h 10000"/>
                <a:gd name="connsiteX98" fmla="*/ 893 w 10000"/>
                <a:gd name="connsiteY98" fmla="*/ 1971 h 10000"/>
                <a:gd name="connsiteX99" fmla="*/ 690 w 10000"/>
                <a:gd name="connsiteY99" fmla="*/ 2376 h 10000"/>
                <a:gd name="connsiteX100" fmla="*/ 893 w 10000"/>
                <a:gd name="connsiteY100" fmla="*/ 2457 h 10000"/>
                <a:gd name="connsiteX101" fmla="*/ 1677 w 10000"/>
                <a:gd name="connsiteY101" fmla="*/ 2879 h 10000"/>
                <a:gd name="connsiteX102" fmla="*/ 1458 w 10000"/>
                <a:gd name="connsiteY102" fmla="*/ 2976 h 10000"/>
                <a:gd name="connsiteX103" fmla="*/ 1458 w 10000"/>
                <a:gd name="connsiteY103" fmla="*/ 3179 h 10000"/>
                <a:gd name="connsiteX104" fmla="*/ 1677 w 10000"/>
                <a:gd name="connsiteY104" fmla="*/ 3220 h 10000"/>
                <a:gd name="connsiteX105" fmla="*/ 1614 w 10000"/>
                <a:gd name="connsiteY105" fmla="*/ 3333 h 10000"/>
                <a:gd name="connsiteX106" fmla="*/ 1787 w 10000"/>
                <a:gd name="connsiteY106" fmla="*/ 3398 h 10000"/>
                <a:gd name="connsiteX107" fmla="*/ 1959 w 10000"/>
                <a:gd name="connsiteY107" fmla="*/ 3366 h 10000"/>
                <a:gd name="connsiteX108" fmla="*/ 1991 w 10000"/>
                <a:gd name="connsiteY108" fmla="*/ 3528 h 10000"/>
                <a:gd name="connsiteX109" fmla="*/ 2132 w 10000"/>
                <a:gd name="connsiteY109" fmla="*/ 3609 h 10000"/>
                <a:gd name="connsiteX110" fmla="*/ 2320 w 10000"/>
                <a:gd name="connsiteY110" fmla="*/ 3577 h 10000"/>
                <a:gd name="connsiteX111" fmla="*/ 2461 w 10000"/>
                <a:gd name="connsiteY111" fmla="*/ 3715 h 10000"/>
                <a:gd name="connsiteX112" fmla="*/ 2335 w 10000"/>
                <a:gd name="connsiteY112" fmla="*/ 3950 h 10000"/>
                <a:gd name="connsiteX113" fmla="*/ 3276 w 10000"/>
                <a:gd name="connsiteY113" fmla="*/ 4193 h 10000"/>
                <a:gd name="connsiteX114" fmla="*/ 3292 w 10000"/>
                <a:gd name="connsiteY114" fmla="*/ 4599 h 10000"/>
                <a:gd name="connsiteX115" fmla="*/ 2806 w 10000"/>
                <a:gd name="connsiteY115" fmla="*/ 5239 h 10000"/>
                <a:gd name="connsiteX116" fmla="*/ 2288 w 10000"/>
                <a:gd name="connsiteY116" fmla="*/ 5677 h 10000"/>
                <a:gd name="connsiteX117" fmla="*/ 2555 w 10000"/>
                <a:gd name="connsiteY117" fmla="*/ 5612 h 10000"/>
                <a:gd name="connsiteX118" fmla="*/ 2618 w 10000"/>
                <a:gd name="connsiteY118" fmla="*/ 5766 h 10000"/>
                <a:gd name="connsiteX119" fmla="*/ 2931 w 10000"/>
                <a:gd name="connsiteY119" fmla="*/ 5839 h 10000"/>
                <a:gd name="connsiteX120" fmla="*/ 3370 w 10000"/>
                <a:gd name="connsiteY120" fmla="*/ 5775 h 10000"/>
                <a:gd name="connsiteX121" fmla="*/ 3793 w 10000"/>
                <a:gd name="connsiteY121" fmla="*/ 5864 h 10000"/>
                <a:gd name="connsiteX122" fmla="*/ 3793 w 10000"/>
                <a:gd name="connsiteY122" fmla="*/ 5994 h 10000"/>
                <a:gd name="connsiteX123" fmla="*/ 3056 w 10000"/>
                <a:gd name="connsiteY123" fmla="*/ 5969 h 10000"/>
                <a:gd name="connsiteX124" fmla="*/ 2931 w 10000"/>
                <a:gd name="connsiteY124" fmla="*/ 6091 h 10000"/>
                <a:gd name="connsiteX125" fmla="*/ 2555 w 10000"/>
                <a:gd name="connsiteY125" fmla="*/ 6172 h 10000"/>
                <a:gd name="connsiteX126" fmla="*/ 2633 w 10000"/>
                <a:gd name="connsiteY126" fmla="*/ 6269 h 10000"/>
                <a:gd name="connsiteX127" fmla="*/ 2712 w 10000"/>
                <a:gd name="connsiteY127" fmla="*/ 6326 h 10000"/>
                <a:gd name="connsiteX128" fmla="*/ 2539 w 10000"/>
                <a:gd name="connsiteY128" fmla="*/ 6415 h 10000"/>
                <a:gd name="connsiteX129" fmla="*/ 2586 w 10000"/>
                <a:gd name="connsiteY129" fmla="*/ 6537 h 10000"/>
                <a:gd name="connsiteX130" fmla="*/ 2398 w 10000"/>
                <a:gd name="connsiteY130" fmla="*/ 6642 h 10000"/>
                <a:gd name="connsiteX131" fmla="*/ 2492 w 10000"/>
                <a:gd name="connsiteY131" fmla="*/ 6788 h 10000"/>
                <a:gd name="connsiteX132" fmla="*/ 2680 w 10000"/>
                <a:gd name="connsiteY132" fmla="*/ 6821 h 10000"/>
                <a:gd name="connsiteX133" fmla="*/ 2602 w 10000"/>
                <a:gd name="connsiteY133" fmla="*/ 6983 h 10000"/>
                <a:gd name="connsiteX134" fmla="*/ 2821 w 10000"/>
                <a:gd name="connsiteY134" fmla="*/ 7015 h 10000"/>
                <a:gd name="connsiteX135" fmla="*/ 2931 w 10000"/>
                <a:gd name="connsiteY135" fmla="*/ 7145 h 10000"/>
                <a:gd name="connsiteX136" fmla="*/ 2806 w 10000"/>
                <a:gd name="connsiteY136" fmla="*/ 7202 h 10000"/>
                <a:gd name="connsiteX137" fmla="*/ 2821 w 10000"/>
                <a:gd name="connsiteY137" fmla="*/ 7299 h 10000"/>
                <a:gd name="connsiteX138" fmla="*/ 2931 w 10000"/>
                <a:gd name="connsiteY138" fmla="*/ 7388 h 10000"/>
                <a:gd name="connsiteX139" fmla="*/ 3292 w 10000"/>
                <a:gd name="connsiteY139" fmla="*/ 7486 h 10000"/>
                <a:gd name="connsiteX140" fmla="*/ 3166 w 10000"/>
                <a:gd name="connsiteY140" fmla="*/ 7575 h 10000"/>
                <a:gd name="connsiteX141" fmla="*/ 3292 w 10000"/>
                <a:gd name="connsiteY141" fmla="*/ 7737 h 10000"/>
                <a:gd name="connsiteX142" fmla="*/ 3417 w 10000"/>
                <a:gd name="connsiteY142" fmla="*/ 7737 h 10000"/>
                <a:gd name="connsiteX143" fmla="*/ 3511 w 10000"/>
                <a:gd name="connsiteY143" fmla="*/ 7810 h 10000"/>
                <a:gd name="connsiteX144" fmla="*/ 3793 w 10000"/>
                <a:gd name="connsiteY144" fmla="*/ 7908 h 10000"/>
                <a:gd name="connsiteX145" fmla="*/ 3793 w 10000"/>
                <a:gd name="connsiteY145" fmla="*/ 7997 h 10000"/>
                <a:gd name="connsiteX146" fmla="*/ 4075 w 10000"/>
                <a:gd name="connsiteY146" fmla="*/ 7972 h 10000"/>
                <a:gd name="connsiteX147" fmla="*/ 4577 w 10000"/>
                <a:gd name="connsiteY147" fmla="*/ 7972 h 10000"/>
                <a:gd name="connsiteX148" fmla="*/ 4718 w 10000"/>
                <a:gd name="connsiteY148" fmla="*/ 8167 h 10000"/>
                <a:gd name="connsiteX149" fmla="*/ 5141 w 10000"/>
                <a:gd name="connsiteY149" fmla="*/ 7972 h 10000"/>
                <a:gd name="connsiteX150" fmla="*/ 5721 w 10000"/>
                <a:gd name="connsiteY150" fmla="*/ 8078 h 10000"/>
                <a:gd name="connsiteX151" fmla="*/ 5846 w 10000"/>
                <a:gd name="connsiteY151" fmla="*/ 8289 h 10000"/>
                <a:gd name="connsiteX152" fmla="*/ 5846 w 10000"/>
                <a:gd name="connsiteY152" fmla="*/ 8467 h 10000"/>
                <a:gd name="connsiteX153" fmla="*/ 6113 w 10000"/>
                <a:gd name="connsiteY153" fmla="*/ 8483 h 10000"/>
                <a:gd name="connsiteX154" fmla="*/ 6223 w 10000"/>
                <a:gd name="connsiteY154" fmla="*/ 8581 h 10000"/>
                <a:gd name="connsiteX155" fmla="*/ 6536 w 10000"/>
                <a:gd name="connsiteY155" fmla="*/ 8710 h 10000"/>
                <a:gd name="connsiteX156" fmla="*/ 6912 w 10000"/>
                <a:gd name="connsiteY156" fmla="*/ 8759 h 10000"/>
                <a:gd name="connsiteX157" fmla="*/ 6928 w 10000"/>
                <a:gd name="connsiteY157" fmla="*/ 8889 h 10000"/>
                <a:gd name="connsiteX158" fmla="*/ 7367 w 10000"/>
                <a:gd name="connsiteY158" fmla="*/ 8856 h 10000"/>
                <a:gd name="connsiteX159" fmla="*/ 7696 w 10000"/>
                <a:gd name="connsiteY159" fmla="*/ 9027 h 10000"/>
                <a:gd name="connsiteX160" fmla="*/ 7586 w 10000"/>
                <a:gd name="connsiteY160" fmla="*/ 9238 h 10000"/>
                <a:gd name="connsiteX161" fmla="*/ 6912 w 10000"/>
                <a:gd name="connsiteY161" fmla="*/ 9238 h 10000"/>
                <a:gd name="connsiteX162" fmla="*/ 6803 w 10000"/>
                <a:gd name="connsiteY162" fmla="*/ 9343 h 10000"/>
                <a:gd name="connsiteX163" fmla="*/ 7132 w 10000"/>
                <a:gd name="connsiteY163" fmla="*/ 9424 h 10000"/>
                <a:gd name="connsiteX164" fmla="*/ 7179 w 10000"/>
                <a:gd name="connsiteY164" fmla="*/ 9594 h 10000"/>
                <a:gd name="connsiteX165" fmla="*/ 7461 w 10000"/>
                <a:gd name="connsiteY165" fmla="*/ 9805 h 10000"/>
                <a:gd name="connsiteX166" fmla="*/ 7837 w 10000"/>
                <a:gd name="connsiteY166" fmla="*/ 9813 h 10000"/>
                <a:gd name="connsiteX167" fmla="*/ 7853 w 10000"/>
                <a:gd name="connsiteY167" fmla="*/ 9659 h 10000"/>
                <a:gd name="connsiteX168" fmla="*/ 8464 w 10000"/>
                <a:gd name="connsiteY168" fmla="*/ 9521 h 10000"/>
                <a:gd name="connsiteX169" fmla="*/ 9060 w 10000"/>
                <a:gd name="connsiteY169" fmla="*/ 9521 h 10000"/>
                <a:gd name="connsiteX170" fmla="*/ 9545 w 10000"/>
                <a:gd name="connsiteY170" fmla="*/ 9659 h 10000"/>
                <a:gd name="connsiteX171" fmla="*/ 9279 w 10000"/>
                <a:gd name="connsiteY171" fmla="*/ 9789 h 10000"/>
                <a:gd name="connsiteX172" fmla="*/ 9624 w 10000"/>
                <a:gd name="connsiteY172" fmla="*/ 10000 h 10000"/>
                <a:gd name="connsiteX173" fmla="*/ 10000 w 10000"/>
                <a:gd name="connsiteY173" fmla="*/ 9951 h 10000"/>
                <a:gd name="connsiteX174" fmla="*/ 10000 w 10000"/>
                <a:gd name="connsiteY174" fmla="*/ 0 h 10000"/>
                <a:gd name="connsiteX175" fmla="*/ 8433 w 10000"/>
                <a:gd name="connsiteY175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67 w 10000"/>
                <a:gd name="connsiteY84" fmla="*/ 916 h 10000"/>
                <a:gd name="connsiteX85" fmla="*/ 1524 w 10000"/>
                <a:gd name="connsiteY85" fmla="*/ 709 h 10000"/>
                <a:gd name="connsiteX86" fmla="*/ 1295 w 10000"/>
                <a:gd name="connsiteY86" fmla="*/ 865 h 10000"/>
                <a:gd name="connsiteX87" fmla="*/ 940 w 10000"/>
                <a:gd name="connsiteY87" fmla="*/ 1054 h 10000"/>
                <a:gd name="connsiteX88" fmla="*/ 737 w 10000"/>
                <a:gd name="connsiteY88" fmla="*/ 1273 h 10000"/>
                <a:gd name="connsiteX89" fmla="*/ 298 w 10000"/>
                <a:gd name="connsiteY89" fmla="*/ 1265 h 10000"/>
                <a:gd name="connsiteX90" fmla="*/ 361 w 10000"/>
                <a:gd name="connsiteY90" fmla="*/ 1419 h 10000"/>
                <a:gd name="connsiteX91" fmla="*/ 219 w 10000"/>
                <a:gd name="connsiteY91" fmla="*/ 1525 h 10000"/>
                <a:gd name="connsiteX92" fmla="*/ 0 w 10000"/>
                <a:gd name="connsiteY92" fmla="*/ 1679 h 10000"/>
                <a:gd name="connsiteX93" fmla="*/ 31 w 10000"/>
                <a:gd name="connsiteY93" fmla="*/ 1687 h 10000"/>
                <a:gd name="connsiteX94" fmla="*/ 31 w 10000"/>
                <a:gd name="connsiteY94" fmla="*/ 1695 h 10000"/>
                <a:gd name="connsiteX95" fmla="*/ 376 w 10000"/>
                <a:gd name="connsiteY95" fmla="*/ 1727 h 10000"/>
                <a:gd name="connsiteX96" fmla="*/ 517 w 10000"/>
                <a:gd name="connsiteY96" fmla="*/ 1800 h 10000"/>
                <a:gd name="connsiteX97" fmla="*/ 799 w 10000"/>
                <a:gd name="connsiteY97" fmla="*/ 1833 h 10000"/>
                <a:gd name="connsiteX98" fmla="*/ 893 w 10000"/>
                <a:gd name="connsiteY98" fmla="*/ 1971 h 10000"/>
                <a:gd name="connsiteX99" fmla="*/ 690 w 10000"/>
                <a:gd name="connsiteY99" fmla="*/ 2376 h 10000"/>
                <a:gd name="connsiteX100" fmla="*/ 893 w 10000"/>
                <a:gd name="connsiteY100" fmla="*/ 2457 h 10000"/>
                <a:gd name="connsiteX101" fmla="*/ 1677 w 10000"/>
                <a:gd name="connsiteY101" fmla="*/ 2879 h 10000"/>
                <a:gd name="connsiteX102" fmla="*/ 1458 w 10000"/>
                <a:gd name="connsiteY102" fmla="*/ 2976 h 10000"/>
                <a:gd name="connsiteX103" fmla="*/ 1458 w 10000"/>
                <a:gd name="connsiteY103" fmla="*/ 3179 h 10000"/>
                <a:gd name="connsiteX104" fmla="*/ 1677 w 10000"/>
                <a:gd name="connsiteY104" fmla="*/ 3220 h 10000"/>
                <a:gd name="connsiteX105" fmla="*/ 1614 w 10000"/>
                <a:gd name="connsiteY105" fmla="*/ 3333 h 10000"/>
                <a:gd name="connsiteX106" fmla="*/ 1787 w 10000"/>
                <a:gd name="connsiteY106" fmla="*/ 3398 h 10000"/>
                <a:gd name="connsiteX107" fmla="*/ 1959 w 10000"/>
                <a:gd name="connsiteY107" fmla="*/ 3366 h 10000"/>
                <a:gd name="connsiteX108" fmla="*/ 1991 w 10000"/>
                <a:gd name="connsiteY108" fmla="*/ 3528 h 10000"/>
                <a:gd name="connsiteX109" fmla="*/ 2132 w 10000"/>
                <a:gd name="connsiteY109" fmla="*/ 3609 h 10000"/>
                <a:gd name="connsiteX110" fmla="*/ 2320 w 10000"/>
                <a:gd name="connsiteY110" fmla="*/ 3577 h 10000"/>
                <a:gd name="connsiteX111" fmla="*/ 2461 w 10000"/>
                <a:gd name="connsiteY111" fmla="*/ 3715 h 10000"/>
                <a:gd name="connsiteX112" fmla="*/ 2335 w 10000"/>
                <a:gd name="connsiteY112" fmla="*/ 3950 h 10000"/>
                <a:gd name="connsiteX113" fmla="*/ 3276 w 10000"/>
                <a:gd name="connsiteY113" fmla="*/ 4193 h 10000"/>
                <a:gd name="connsiteX114" fmla="*/ 3292 w 10000"/>
                <a:gd name="connsiteY114" fmla="*/ 4599 h 10000"/>
                <a:gd name="connsiteX115" fmla="*/ 2806 w 10000"/>
                <a:gd name="connsiteY115" fmla="*/ 5239 h 10000"/>
                <a:gd name="connsiteX116" fmla="*/ 2288 w 10000"/>
                <a:gd name="connsiteY116" fmla="*/ 5677 h 10000"/>
                <a:gd name="connsiteX117" fmla="*/ 2555 w 10000"/>
                <a:gd name="connsiteY117" fmla="*/ 5612 h 10000"/>
                <a:gd name="connsiteX118" fmla="*/ 2618 w 10000"/>
                <a:gd name="connsiteY118" fmla="*/ 5766 h 10000"/>
                <a:gd name="connsiteX119" fmla="*/ 2931 w 10000"/>
                <a:gd name="connsiteY119" fmla="*/ 5839 h 10000"/>
                <a:gd name="connsiteX120" fmla="*/ 3370 w 10000"/>
                <a:gd name="connsiteY120" fmla="*/ 5775 h 10000"/>
                <a:gd name="connsiteX121" fmla="*/ 3793 w 10000"/>
                <a:gd name="connsiteY121" fmla="*/ 5864 h 10000"/>
                <a:gd name="connsiteX122" fmla="*/ 3793 w 10000"/>
                <a:gd name="connsiteY122" fmla="*/ 5994 h 10000"/>
                <a:gd name="connsiteX123" fmla="*/ 3056 w 10000"/>
                <a:gd name="connsiteY123" fmla="*/ 5969 h 10000"/>
                <a:gd name="connsiteX124" fmla="*/ 2931 w 10000"/>
                <a:gd name="connsiteY124" fmla="*/ 6091 h 10000"/>
                <a:gd name="connsiteX125" fmla="*/ 2555 w 10000"/>
                <a:gd name="connsiteY125" fmla="*/ 6172 h 10000"/>
                <a:gd name="connsiteX126" fmla="*/ 2633 w 10000"/>
                <a:gd name="connsiteY126" fmla="*/ 6269 h 10000"/>
                <a:gd name="connsiteX127" fmla="*/ 2712 w 10000"/>
                <a:gd name="connsiteY127" fmla="*/ 6326 h 10000"/>
                <a:gd name="connsiteX128" fmla="*/ 2539 w 10000"/>
                <a:gd name="connsiteY128" fmla="*/ 6415 h 10000"/>
                <a:gd name="connsiteX129" fmla="*/ 2586 w 10000"/>
                <a:gd name="connsiteY129" fmla="*/ 6537 h 10000"/>
                <a:gd name="connsiteX130" fmla="*/ 2398 w 10000"/>
                <a:gd name="connsiteY130" fmla="*/ 6642 h 10000"/>
                <a:gd name="connsiteX131" fmla="*/ 2492 w 10000"/>
                <a:gd name="connsiteY131" fmla="*/ 6788 h 10000"/>
                <a:gd name="connsiteX132" fmla="*/ 2680 w 10000"/>
                <a:gd name="connsiteY132" fmla="*/ 6821 h 10000"/>
                <a:gd name="connsiteX133" fmla="*/ 2602 w 10000"/>
                <a:gd name="connsiteY133" fmla="*/ 6983 h 10000"/>
                <a:gd name="connsiteX134" fmla="*/ 2821 w 10000"/>
                <a:gd name="connsiteY134" fmla="*/ 7015 h 10000"/>
                <a:gd name="connsiteX135" fmla="*/ 2931 w 10000"/>
                <a:gd name="connsiteY135" fmla="*/ 7145 h 10000"/>
                <a:gd name="connsiteX136" fmla="*/ 2806 w 10000"/>
                <a:gd name="connsiteY136" fmla="*/ 7202 h 10000"/>
                <a:gd name="connsiteX137" fmla="*/ 2821 w 10000"/>
                <a:gd name="connsiteY137" fmla="*/ 7299 h 10000"/>
                <a:gd name="connsiteX138" fmla="*/ 2931 w 10000"/>
                <a:gd name="connsiteY138" fmla="*/ 7388 h 10000"/>
                <a:gd name="connsiteX139" fmla="*/ 3292 w 10000"/>
                <a:gd name="connsiteY139" fmla="*/ 7486 h 10000"/>
                <a:gd name="connsiteX140" fmla="*/ 3166 w 10000"/>
                <a:gd name="connsiteY140" fmla="*/ 7575 h 10000"/>
                <a:gd name="connsiteX141" fmla="*/ 3292 w 10000"/>
                <a:gd name="connsiteY141" fmla="*/ 7737 h 10000"/>
                <a:gd name="connsiteX142" fmla="*/ 3417 w 10000"/>
                <a:gd name="connsiteY142" fmla="*/ 7737 h 10000"/>
                <a:gd name="connsiteX143" fmla="*/ 3511 w 10000"/>
                <a:gd name="connsiteY143" fmla="*/ 7810 h 10000"/>
                <a:gd name="connsiteX144" fmla="*/ 3793 w 10000"/>
                <a:gd name="connsiteY144" fmla="*/ 7908 h 10000"/>
                <a:gd name="connsiteX145" fmla="*/ 3793 w 10000"/>
                <a:gd name="connsiteY145" fmla="*/ 7997 h 10000"/>
                <a:gd name="connsiteX146" fmla="*/ 4075 w 10000"/>
                <a:gd name="connsiteY146" fmla="*/ 7972 h 10000"/>
                <a:gd name="connsiteX147" fmla="*/ 4577 w 10000"/>
                <a:gd name="connsiteY147" fmla="*/ 7972 h 10000"/>
                <a:gd name="connsiteX148" fmla="*/ 4718 w 10000"/>
                <a:gd name="connsiteY148" fmla="*/ 8167 h 10000"/>
                <a:gd name="connsiteX149" fmla="*/ 5141 w 10000"/>
                <a:gd name="connsiteY149" fmla="*/ 7972 h 10000"/>
                <a:gd name="connsiteX150" fmla="*/ 5721 w 10000"/>
                <a:gd name="connsiteY150" fmla="*/ 8078 h 10000"/>
                <a:gd name="connsiteX151" fmla="*/ 5846 w 10000"/>
                <a:gd name="connsiteY151" fmla="*/ 8289 h 10000"/>
                <a:gd name="connsiteX152" fmla="*/ 5846 w 10000"/>
                <a:gd name="connsiteY152" fmla="*/ 8467 h 10000"/>
                <a:gd name="connsiteX153" fmla="*/ 6113 w 10000"/>
                <a:gd name="connsiteY153" fmla="*/ 8483 h 10000"/>
                <a:gd name="connsiteX154" fmla="*/ 6223 w 10000"/>
                <a:gd name="connsiteY154" fmla="*/ 8581 h 10000"/>
                <a:gd name="connsiteX155" fmla="*/ 6536 w 10000"/>
                <a:gd name="connsiteY155" fmla="*/ 8710 h 10000"/>
                <a:gd name="connsiteX156" fmla="*/ 6912 w 10000"/>
                <a:gd name="connsiteY156" fmla="*/ 8759 h 10000"/>
                <a:gd name="connsiteX157" fmla="*/ 6928 w 10000"/>
                <a:gd name="connsiteY157" fmla="*/ 8889 h 10000"/>
                <a:gd name="connsiteX158" fmla="*/ 7367 w 10000"/>
                <a:gd name="connsiteY158" fmla="*/ 8856 h 10000"/>
                <a:gd name="connsiteX159" fmla="*/ 7696 w 10000"/>
                <a:gd name="connsiteY159" fmla="*/ 9027 h 10000"/>
                <a:gd name="connsiteX160" fmla="*/ 7586 w 10000"/>
                <a:gd name="connsiteY160" fmla="*/ 9238 h 10000"/>
                <a:gd name="connsiteX161" fmla="*/ 6912 w 10000"/>
                <a:gd name="connsiteY161" fmla="*/ 9238 h 10000"/>
                <a:gd name="connsiteX162" fmla="*/ 6803 w 10000"/>
                <a:gd name="connsiteY162" fmla="*/ 9343 h 10000"/>
                <a:gd name="connsiteX163" fmla="*/ 7132 w 10000"/>
                <a:gd name="connsiteY163" fmla="*/ 9424 h 10000"/>
                <a:gd name="connsiteX164" fmla="*/ 7179 w 10000"/>
                <a:gd name="connsiteY164" fmla="*/ 9594 h 10000"/>
                <a:gd name="connsiteX165" fmla="*/ 7461 w 10000"/>
                <a:gd name="connsiteY165" fmla="*/ 9805 h 10000"/>
                <a:gd name="connsiteX166" fmla="*/ 7837 w 10000"/>
                <a:gd name="connsiteY166" fmla="*/ 9813 h 10000"/>
                <a:gd name="connsiteX167" fmla="*/ 7853 w 10000"/>
                <a:gd name="connsiteY167" fmla="*/ 9659 h 10000"/>
                <a:gd name="connsiteX168" fmla="*/ 8464 w 10000"/>
                <a:gd name="connsiteY168" fmla="*/ 9521 h 10000"/>
                <a:gd name="connsiteX169" fmla="*/ 9060 w 10000"/>
                <a:gd name="connsiteY169" fmla="*/ 9521 h 10000"/>
                <a:gd name="connsiteX170" fmla="*/ 9545 w 10000"/>
                <a:gd name="connsiteY170" fmla="*/ 9659 h 10000"/>
                <a:gd name="connsiteX171" fmla="*/ 9279 w 10000"/>
                <a:gd name="connsiteY171" fmla="*/ 9789 h 10000"/>
                <a:gd name="connsiteX172" fmla="*/ 9624 w 10000"/>
                <a:gd name="connsiteY172" fmla="*/ 10000 h 10000"/>
                <a:gd name="connsiteX173" fmla="*/ 10000 w 10000"/>
                <a:gd name="connsiteY173" fmla="*/ 9951 h 10000"/>
                <a:gd name="connsiteX174" fmla="*/ 10000 w 10000"/>
                <a:gd name="connsiteY174" fmla="*/ 0 h 10000"/>
                <a:gd name="connsiteX175" fmla="*/ 8433 w 10000"/>
                <a:gd name="connsiteY175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67 w 10000"/>
                <a:gd name="connsiteY84" fmla="*/ 916 h 10000"/>
                <a:gd name="connsiteX85" fmla="*/ 1524 w 10000"/>
                <a:gd name="connsiteY85" fmla="*/ 709 h 10000"/>
                <a:gd name="connsiteX86" fmla="*/ 1295 w 10000"/>
                <a:gd name="connsiteY86" fmla="*/ 865 h 10000"/>
                <a:gd name="connsiteX87" fmla="*/ 940 w 10000"/>
                <a:gd name="connsiteY87" fmla="*/ 1054 h 10000"/>
                <a:gd name="connsiteX88" fmla="*/ 737 w 10000"/>
                <a:gd name="connsiteY88" fmla="*/ 1273 h 10000"/>
                <a:gd name="connsiteX89" fmla="*/ 298 w 10000"/>
                <a:gd name="connsiteY89" fmla="*/ 1265 h 10000"/>
                <a:gd name="connsiteX90" fmla="*/ 361 w 10000"/>
                <a:gd name="connsiteY90" fmla="*/ 1419 h 10000"/>
                <a:gd name="connsiteX91" fmla="*/ 219 w 10000"/>
                <a:gd name="connsiteY91" fmla="*/ 1525 h 10000"/>
                <a:gd name="connsiteX92" fmla="*/ 0 w 10000"/>
                <a:gd name="connsiteY92" fmla="*/ 1679 h 10000"/>
                <a:gd name="connsiteX93" fmla="*/ 31 w 10000"/>
                <a:gd name="connsiteY93" fmla="*/ 1687 h 10000"/>
                <a:gd name="connsiteX94" fmla="*/ 31 w 10000"/>
                <a:gd name="connsiteY94" fmla="*/ 1695 h 10000"/>
                <a:gd name="connsiteX95" fmla="*/ 376 w 10000"/>
                <a:gd name="connsiteY95" fmla="*/ 1727 h 10000"/>
                <a:gd name="connsiteX96" fmla="*/ 517 w 10000"/>
                <a:gd name="connsiteY96" fmla="*/ 1800 h 10000"/>
                <a:gd name="connsiteX97" fmla="*/ 799 w 10000"/>
                <a:gd name="connsiteY97" fmla="*/ 1833 h 10000"/>
                <a:gd name="connsiteX98" fmla="*/ 893 w 10000"/>
                <a:gd name="connsiteY98" fmla="*/ 1971 h 10000"/>
                <a:gd name="connsiteX99" fmla="*/ 690 w 10000"/>
                <a:gd name="connsiteY99" fmla="*/ 2376 h 10000"/>
                <a:gd name="connsiteX100" fmla="*/ 893 w 10000"/>
                <a:gd name="connsiteY100" fmla="*/ 2457 h 10000"/>
                <a:gd name="connsiteX101" fmla="*/ 1677 w 10000"/>
                <a:gd name="connsiteY101" fmla="*/ 2879 h 10000"/>
                <a:gd name="connsiteX102" fmla="*/ 1458 w 10000"/>
                <a:gd name="connsiteY102" fmla="*/ 2976 h 10000"/>
                <a:gd name="connsiteX103" fmla="*/ 1458 w 10000"/>
                <a:gd name="connsiteY103" fmla="*/ 3179 h 10000"/>
                <a:gd name="connsiteX104" fmla="*/ 1677 w 10000"/>
                <a:gd name="connsiteY104" fmla="*/ 3220 h 10000"/>
                <a:gd name="connsiteX105" fmla="*/ 1614 w 10000"/>
                <a:gd name="connsiteY105" fmla="*/ 3333 h 10000"/>
                <a:gd name="connsiteX106" fmla="*/ 1787 w 10000"/>
                <a:gd name="connsiteY106" fmla="*/ 3398 h 10000"/>
                <a:gd name="connsiteX107" fmla="*/ 1959 w 10000"/>
                <a:gd name="connsiteY107" fmla="*/ 3366 h 10000"/>
                <a:gd name="connsiteX108" fmla="*/ 1991 w 10000"/>
                <a:gd name="connsiteY108" fmla="*/ 3528 h 10000"/>
                <a:gd name="connsiteX109" fmla="*/ 2132 w 10000"/>
                <a:gd name="connsiteY109" fmla="*/ 3609 h 10000"/>
                <a:gd name="connsiteX110" fmla="*/ 2320 w 10000"/>
                <a:gd name="connsiteY110" fmla="*/ 3577 h 10000"/>
                <a:gd name="connsiteX111" fmla="*/ 2461 w 10000"/>
                <a:gd name="connsiteY111" fmla="*/ 3715 h 10000"/>
                <a:gd name="connsiteX112" fmla="*/ 2335 w 10000"/>
                <a:gd name="connsiteY112" fmla="*/ 3950 h 10000"/>
                <a:gd name="connsiteX113" fmla="*/ 3276 w 10000"/>
                <a:gd name="connsiteY113" fmla="*/ 4193 h 10000"/>
                <a:gd name="connsiteX114" fmla="*/ 3292 w 10000"/>
                <a:gd name="connsiteY114" fmla="*/ 4599 h 10000"/>
                <a:gd name="connsiteX115" fmla="*/ 2806 w 10000"/>
                <a:gd name="connsiteY115" fmla="*/ 5239 h 10000"/>
                <a:gd name="connsiteX116" fmla="*/ 2288 w 10000"/>
                <a:gd name="connsiteY116" fmla="*/ 5677 h 10000"/>
                <a:gd name="connsiteX117" fmla="*/ 2555 w 10000"/>
                <a:gd name="connsiteY117" fmla="*/ 5612 h 10000"/>
                <a:gd name="connsiteX118" fmla="*/ 2618 w 10000"/>
                <a:gd name="connsiteY118" fmla="*/ 5766 h 10000"/>
                <a:gd name="connsiteX119" fmla="*/ 2931 w 10000"/>
                <a:gd name="connsiteY119" fmla="*/ 5839 h 10000"/>
                <a:gd name="connsiteX120" fmla="*/ 3370 w 10000"/>
                <a:gd name="connsiteY120" fmla="*/ 5775 h 10000"/>
                <a:gd name="connsiteX121" fmla="*/ 3793 w 10000"/>
                <a:gd name="connsiteY121" fmla="*/ 5864 h 10000"/>
                <a:gd name="connsiteX122" fmla="*/ 3793 w 10000"/>
                <a:gd name="connsiteY122" fmla="*/ 5994 h 10000"/>
                <a:gd name="connsiteX123" fmla="*/ 3056 w 10000"/>
                <a:gd name="connsiteY123" fmla="*/ 5969 h 10000"/>
                <a:gd name="connsiteX124" fmla="*/ 2931 w 10000"/>
                <a:gd name="connsiteY124" fmla="*/ 6091 h 10000"/>
                <a:gd name="connsiteX125" fmla="*/ 2555 w 10000"/>
                <a:gd name="connsiteY125" fmla="*/ 6172 h 10000"/>
                <a:gd name="connsiteX126" fmla="*/ 2633 w 10000"/>
                <a:gd name="connsiteY126" fmla="*/ 6269 h 10000"/>
                <a:gd name="connsiteX127" fmla="*/ 2712 w 10000"/>
                <a:gd name="connsiteY127" fmla="*/ 6326 h 10000"/>
                <a:gd name="connsiteX128" fmla="*/ 2539 w 10000"/>
                <a:gd name="connsiteY128" fmla="*/ 6415 h 10000"/>
                <a:gd name="connsiteX129" fmla="*/ 2586 w 10000"/>
                <a:gd name="connsiteY129" fmla="*/ 6537 h 10000"/>
                <a:gd name="connsiteX130" fmla="*/ 2398 w 10000"/>
                <a:gd name="connsiteY130" fmla="*/ 6642 h 10000"/>
                <a:gd name="connsiteX131" fmla="*/ 2492 w 10000"/>
                <a:gd name="connsiteY131" fmla="*/ 6788 h 10000"/>
                <a:gd name="connsiteX132" fmla="*/ 2680 w 10000"/>
                <a:gd name="connsiteY132" fmla="*/ 6821 h 10000"/>
                <a:gd name="connsiteX133" fmla="*/ 2602 w 10000"/>
                <a:gd name="connsiteY133" fmla="*/ 6983 h 10000"/>
                <a:gd name="connsiteX134" fmla="*/ 2821 w 10000"/>
                <a:gd name="connsiteY134" fmla="*/ 7015 h 10000"/>
                <a:gd name="connsiteX135" fmla="*/ 2931 w 10000"/>
                <a:gd name="connsiteY135" fmla="*/ 7145 h 10000"/>
                <a:gd name="connsiteX136" fmla="*/ 2806 w 10000"/>
                <a:gd name="connsiteY136" fmla="*/ 7202 h 10000"/>
                <a:gd name="connsiteX137" fmla="*/ 2821 w 10000"/>
                <a:gd name="connsiteY137" fmla="*/ 7299 h 10000"/>
                <a:gd name="connsiteX138" fmla="*/ 2931 w 10000"/>
                <a:gd name="connsiteY138" fmla="*/ 7388 h 10000"/>
                <a:gd name="connsiteX139" fmla="*/ 3292 w 10000"/>
                <a:gd name="connsiteY139" fmla="*/ 7486 h 10000"/>
                <a:gd name="connsiteX140" fmla="*/ 3166 w 10000"/>
                <a:gd name="connsiteY140" fmla="*/ 7575 h 10000"/>
                <a:gd name="connsiteX141" fmla="*/ 3292 w 10000"/>
                <a:gd name="connsiteY141" fmla="*/ 7737 h 10000"/>
                <a:gd name="connsiteX142" fmla="*/ 3417 w 10000"/>
                <a:gd name="connsiteY142" fmla="*/ 7737 h 10000"/>
                <a:gd name="connsiteX143" fmla="*/ 3511 w 10000"/>
                <a:gd name="connsiteY143" fmla="*/ 7810 h 10000"/>
                <a:gd name="connsiteX144" fmla="*/ 3793 w 10000"/>
                <a:gd name="connsiteY144" fmla="*/ 7908 h 10000"/>
                <a:gd name="connsiteX145" fmla="*/ 3793 w 10000"/>
                <a:gd name="connsiteY145" fmla="*/ 7997 h 10000"/>
                <a:gd name="connsiteX146" fmla="*/ 4075 w 10000"/>
                <a:gd name="connsiteY146" fmla="*/ 7972 h 10000"/>
                <a:gd name="connsiteX147" fmla="*/ 4577 w 10000"/>
                <a:gd name="connsiteY147" fmla="*/ 7972 h 10000"/>
                <a:gd name="connsiteX148" fmla="*/ 4718 w 10000"/>
                <a:gd name="connsiteY148" fmla="*/ 8167 h 10000"/>
                <a:gd name="connsiteX149" fmla="*/ 5141 w 10000"/>
                <a:gd name="connsiteY149" fmla="*/ 7972 h 10000"/>
                <a:gd name="connsiteX150" fmla="*/ 5721 w 10000"/>
                <a:gd name="connsiteY150" fmla="*/ 8078 h 10000"/>
                <a:gd name="connsiteX151" fmla="*/ 5846 w 10000"/>
                <a:gd name="connsiteY151" fmla="*/ 8289 h 10000"/>
                <a:gd name="connsiteX152" fmla="*/ 5846 w 10000"/>
                <a:gd name="connsiteY152" fmla="*/ 8467 h 10000"/>
                <a:gd name="connsiteX153" fmla="*/ 6113 w 10000"/>
                <a:gd name="connsiteY153" fmla="*/ 8483 h 10000"/>
                <a:gd name="connsiteX154" fmla="*/ 6223 w 10000"/>
                <a:gd name="connsiteY154" fmla="*/ 8581 h 10000"/>
                <a:gd name="connsiteX155" fmla="*/ 6536 w 10000"/>
                <a:gd name="connsiteY155" fmla="*/ 8710 h 10000"/>
                <a:gd name="connsiteX156" fmla="*/ 6912 w 10000"/>
                <a:gd name="connsiteY156" fmla="*/ 8759 h 10000"/>
                <a:gd name="connsiteX157" fmla="*/ 6928 w 10000"/>
                <a:gd name="connsiteY157" fmla="*/ 8889 h 10000"/>
                <a:gd name="connsiteX158" fmla="*/ 7367 w 10000"/>
                <a:gd name="connsiteY158" fmla="*/ 8856 h 10000"/>
                <a:gd name="connsiteX159" fmla="*/ 7696 w 10000"/>
                <a:gd name="connsiteY159" fmla="*/ 9027 h 10000"/>
                <a:gd name="connsiteX160" fmla="*/ 7586 w 10000"/>
                <a:gd name="connsiteY160" fmla="*/ 9238 h 10000"/>
                <a:gd name="connsiteX161" fmla="*/ 6912 w 10000"/>
                <a:gd name="connsiteY161" fmla="*/ 9238 h 10000"/>
                <a:gd name="connsiteX162" fmla="*/ 6803 w 10000"/>
                <a:gd name="connsiteY162" fmla="*/ 9343 h 10000"/>
                <a:gd name="connsiteX163" fmla="*/ 7132 w 10000"/>
                <a:gd name="connsiteY163" fmla="*/ 9424 h 10000"/>
                <a:gd name="connsiteX164" fmla="*/ 7179 w 10000"/>
                <a:gd name="connsiteY164" fmla="*/ 9594 h 10000"/>
                <a:gd name="connsiteX165" fmla="*/ 7461 w 10000"/>
                <a:gd name="connsiteY165" fmla="*/ 9805 h 10000"/>
                <a:gd name="connsiteX166" fmla="*/ 7837 w 10000"/>
                <a:gd name="connsiteY166" fmla="*/ 9813 h 10000"/>
                <a:gd name="connsiteX167" fmla="*/ 7853 w 10000"/>
                <a:gd name="connsiteY167" fmla="*/ 9659 h 10000"/>
                <a:gd name="connsiteX168" fmla="*/ 8464 w 10000"/>
                <a:gd name="connsiteY168" fmla="*/ 9521 h 10000"/>
                <a:gd name="connsiteX169" fmla="*/ 9060 w 10000"/>
                <a:gd name="connsiteY169" fmla="*/ 9521 h 10000"/>
                <a:gd name="connsiteX170" fmla="*/ 9545 w 10000"/>
                <a:gd name="connsiteY170" fmla="*/ 9659 h 10000"/>
                <a:gd name="connsiteX171" fmla="*/ 9279 w 10000"/>
                <a:gd name="connsiteY171" fmla="*/ 9789 h 10000"/>
                <a:gd name="connsiteX172" fmla="*/ 9624 w 10000"/>
                <a:gd name="connsiteY172" fmla="*/ 10000 h 10000"/>
                <a:gd name="connsiteX173" fmla="*/ 10000 w 10000"/>
                <a:gd name="connsiteY173" fmla="*/ 9951 h 10000"/>
                <a:gd name="connsiteX174" fmla="*/ 10000 w 10000"/>
                <a:gd name="connsiteY174" fmla="*/ 0 h 10000"/>
                <a:gd name="connsiteX175" fmla="*/ 8433 w 10000"/>
                <a:gd name="connsiteY175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24 w 10000"/>
                <a:gd name="connsiteY84" fmla="*/ 709 h 10000"/>
                <a:gd name="connsiteX85" fmla="*/ 1295 w 10000"/>
                <a:gd name="connsiteY85" fmla="*/ 865 h 10000"/>
                <a:gd name="connsiteX86" fmla="*/ 940 w 10000"/>
                <a:gd name="connsiteY86" fmla="*/ 1054 h 10000"/>
                <a:gd name="connsiteX87" fmla="*/ 737 w 10000"/>
                <a:gd name="connsiteY87" fmla="*/ 1273 h 10000"/>
                <a:gd name="connsiteX88" fmla="*/ 298 w 10000"/>
                <a:gd name="connsiteY88" fmla="*/ 1265 h 10000"/>
                <a:gd name="connsiteX89" fmla="*/ 361 w 10000"/>
                <a:gd name="connsiteY89" fmla="*/ 1419 h 10000"/>
                <a:gd name="connsiteX90" fmla="*/ 219 w 10000"/>
                <a:gd name="connsiteY90" fmla="*/ 1525 h 10000"/>
                <a:gd name="connsiteX91" fmla="*/ 0 w 10000"/>
                <a:gd name="connsiteY91" fmla="*/ 1679 h 10000"/>
                <a:gd name="connsiteX92" fmla="*/ 31 w 10000"/>
                <a:gd name="connsiteY92" fmla="*/ 1687 h 10000"/>
                <a:gd name="connsiteX93" fmla="*/ 31 w 10000"/>
                <a:gd name="connsiteY93" fmla="*/ 1695 h 10000"/>
                <a:gd name="connsiteX94" fmla="*/ 376 w 10000"/>
                <a:gd name="connsiteY94" fmla="*/ 1727 h 10000"/>
                <a:gd name="connsiteX95" fmla="*/ 517 w 10000"/>
                <a:gd name="connsiteY95" fmla="*/ 1800 h 10000"/>
                <a:gd name="connsiteX96" fmla="*/ 799 w 10000"/>
                <a:gd name="connsiteY96" fmla="*/ 1833 h 10000"/>
                <a:gd name="connsiteX97" fmla="*/ 893 w 10000"/>
                <a:gd name="connsiteY97" fmla="*/ 1971 h 10000"/>
                <a:gd name="connsiteX98" fmla="*/ 690 w 10000"/>
                <a:gd name="connsiteY98" fmla="*/ 2376 h 10000"/>
                <a:gd name="connsiteX99" fmla="*/ 893 w 10000"/>
                <a:gd name="connsiteY99" fmla="*/ 2457 h 10000"/>
                <a:gd name="connsiteX100" fmla="*/ 1677 w 10000"/>
                <a:gd name="connsiteY100" fmla="*/ 2879 h 10000"/>
                <a:gd name="connsiteX101" fmla="*/ 1458 w 10000"/>
                <a:gd name="connsiteY101" fmla="*/ 2976 h 10000"/>
                <a:gd name="connsiteX102" fmla="*/ 1458 w 10000"/>
                <a:gd name="connsiteY102" fmla="*/ 3179 h 10000"/>
                <a:gd name="connsiteX103" fmla="*/ 1677 w 10000"/>
                <a:gd name="connsiteY103" fmla="*/ 3220 h 10000"/>
                <a:gd name="connsiteX104" fmla="*/ 1614 w 10000"/>
                <a:gd name="connsiteY104" fmla="*/ 3333 h 10000"/>
                <a:gd name="connsiteX105" fmla="*/ 1787 w 10000"/>
                <a:gd name="connsiteY105" fmla="*/ 3398 h 10000"/>
                <a:gd name="connsiteX106" fmla="*/ 1959 w 10000"/>
                <a:gd name="connsiteY106" fmla="*/ 3366 h 10000"/>
                <a:gd name="connsiteX107" fmla="*/ 1991 w 10000"/>
                <a:gd name="connsiteY107" fmla="*/ 3528 h 10000"/>
                <a:gd name="connsiteX108" fmla="*/ 2132 w 10000"/>
                <a:gd name="connsiteY108" fmla="*/ 3609 h 10000"/>
                <a:gd name="connsiteX109" fmla="*/ 2320 w 10000"/>
                <a:gd name="connsiteY109" fmla="*/ 3577 h 10000"/>
                <a:gd name="connsiteX110" fmla="*/ 2461 w 10000"/>
                <a:gd name="connsiteY110" fmla="*/ 3715 h 10000"/>
                <a:gd name="connsiteX111" fmla="*/ 2335 w 10000"/>
                <a:gd name="connsiteY111" fmla="*/ 3950 h 10000"/>
                <a:gd name="connsiteX112" fmla="*/ 3276 w 10000"/>
                <a:gd name="connsiteY112" fmla="*/ 4193 h 10000"/>
                <a:gd name="connsiteX113" fmla="*/ 3292 w 10000"/>
                <a:gd name="connsiteY113" fmla="*/ 4599 h 10000"/>
                <a:gd name="connsiteX114" fmla="*/ 2806 w 10000"/>
                <a:gd name="connsiteY114" fmla="*/ 5239 h 10000"/>
                <a:gd name="connsiteX115" fmla="*/ 2288 w 10000"/>
                <a:gd name="connsiteY115" fmla="*/ 5677 h 10000"/>
                <a:gd name="connsiteX116" fmla="*/ 2555 w 10000"/>
                <a:gd name="connsiteY116" fmla="*/ 5612 h 10000"/>
                <a:gd name="connsiteX117" fmla="*/ 2618 w 10000"/>
                <a:gd name="connsiteY117" fmla="*/ 5766 h 10000"/>
                <a:gd name="connsiteX118" fmla="*/ 2931 w 10000"/>
                <a:gd name="connsiteY118" fmla="*/ 5839 h 10000"/>
                <a:gd name="connsiteX119" fmla="*/ 3370 w 10000"/>
                <a:gd name="connsiteY119" fmla="*/ 5775 h 10000"/>
                <a:gd name="connsiteX120" fmla="*/ 3793 w 10000"/>
                <a:gd name="connsiteY120" fmla="*/ 5864 h 10000"/>
                <a:gd name="connsiteX121" fmla="*/ 3793 w 10000"/>
                <a:gd name="connsiteY121" fmla="*/ 5994 h 10000"/>
                <a:gd name="connsiteX122" fmla="*/ 3056 w 10000"/>
                <a:gd name="connsiteY122" fmla="*/ 5969 h 10000"/>
                <a:gd name="connsiteX123" fmla="*/ 2931 w 10000"/>
                <a:gd name="connsiteY123" fmla="*/ 6091 h 10000"/>
                <a:gd name="connsiteX124" fmla="*/ 2555 w 10000"/>
                <a:gd name="connsiteY124" fmla="*/ 6172 h 10000"/>
                <a:gd name="connsiteX125" fmla="*/ 2633 w 10000"/>
                <a:gd name="connsiteY125" fmla="*/ 6269 h 10000"/>
                <a:gd name="connsiteX126" fmla="*/ 2712 w 10000"/>
                <a:gd name="connsiteY126" fmla="*/ 6326 h 10000"/>
                <a:gd name="connsiteX127" fmla="*/ 2539 w 10000"/>
                <a:gd name="connsiteY127" fmla="*/ 6415 h 10000"/>
                <a:gd name="connsiteX128" fmla="*/ 2586 w 10000"/>
                <a:gd name="connsiteY128" fmla="*/ 6537 h 10000"/>
                <a:gd name="connsiteX129" fmla="*/ 2398 w 10000"/>
                <a:gd name="connsiteY129" fmla="*/ 6642 h 10000"/>
                <a:gd name="connsiteX130" fmla="*/ 2492 w 10000"/>
                <a:gd name="connsiteY130" fmla="*/ 6788 h 10000"/>
                <a:gd name="connsiteX131" fmla="*/ 2680 w 10000"/>
                <a:gd name="connsiteY131" fmla="*/ 6821 h 10000"/>
                <a:gd name="connsiteX132" fmla="*/ 2602 w 10000"/>
                <a:gd name="connsiteY132" fmla="*/ 6983 h 10000"/>
                <a:gd name="connsiteX133" fmla="*/ 2821 w 10000"/>
                <a:gd name="connsiteY133" fmla="*/ 7015 h 10000"/>
                <a:gd name="connsiteX134" fmla="*/ 2931 w 10000"/>
                <a:gd name="connsiteY134" fmla="*/ 7145 h 10000"/>
                <a:gd name="connsiteX135" fmla="*/ 2806 w 10000"/>
                <a:gd name="connsiteY135" fmla="*/ 7202 h 10000"/>
                <a:gd name="connsiteX136" fmla="*/ 2821 w 10000"/>
                <a:gd name="connsiteY136" fmla="*/ 7299 h 10000"/>
                <a:gd name="connsiteX137" fmla="*/ 2931 w 10000"/>
                <a:gd name="connsiteY137" fmla="*/ 7388 h 10000"/>
                <a:gd name="connsiteX138" fmla="*/ 3292 w 10000"/>
                <a:gd name="connsiteY138" fmla="*/ 7486 h 10000"/>
                <a:gd name="connsiteX139" fmla="*/ 3166 w 10000"/>
                <a:gd name="connsiteY139" fmla="*/ 7575 h 10000"/>
                <a:gd name="connsiteX140" fmla="*/ 3292 w 10000"/>
                <a:gd name="connsiteY140" fmla="*/ 7737 h 10000"/>
                <a:gd name="connsiteX141" fmla="*/ 3417 w 10000"/>
                <a:gd name="connsiteY141" fmla="*/ 7737 h 10000"/>
                <a:gd name="connsiteX142" fmla="*/ 3511 w 10000"/>
                <a:gd name="connsiteY142" fmla="*/ 7810 h 10000"/>
                <a:gd name="connsiteX143" fmla="*/ 3793 w 10000"/>
                <a:gd name="connsiteY143" fmla="*/ 7908 h 10000"/>
                <a:gd name="connsiteX144" fmla="*/ 3793 w 10000"/>
                <a:gd name="connsiteY144" fmla="*/ 7997 h 10000"/>
                <a:gd name="connsiteX145" fmla="*/ 4075 w 10000"/>
                <a:gd name="connsiteY145" fmla="*/ 7972 h 10000"/>
                <a:gd name="connsiteX146" fmla="*/ 4577 w 10000"/>
                <a:gd name="connsiteY146" fmla="*/ 7972 h 10000"/>
                <a:gd name="connsiteX147" fmla="*/ 4718 w 10000"/>
                <a:gd name="connsiteY147" fmla="*/ 8167 h 10000"/>
                <a:gd name="connsiteX148" fmla="*/ 5141 w 10000"/>
                <a:gd name="connsiteY148" fmla="*/ 7972 h 10000"/>
                <a:gd name="connsiteX149" fmla="*/ 5721 w 10000"/>
                <a:gd name="connsiteY149" fmla="*/ 8078 h 10000"/>
                <a:gd name="connsiteX150" fmla="*/ 5846 w 10000"/>
                <a:gd name="connsiteY150" fmla="*/ 8289 h 10000"/>
                <a:gd name="connsiteX151" fmla="*/ 5846 w 10000"/>
                <a:gd name="connsiteY151" fmla="*/ 8467 h 10000"/>
                <a:gd name="connsiteX152" fmla="*/ 6113 w 10000"/>
                <a:gd name="connsiteY152" fmla="*/ 8483 h 10000"/>
                <a:gd name="connsiteX153" fmla="*/ 6223 w 10000"/>
                <a:gd name="connsiteY153" fmla="*/ 8581 h 10000"/>
                <a:gd name="connsiteX154" fmla="*/ 6536 w 10000"/>
                <a:gd name="connsiteY154" fmla="*/ 8710 h 10000"/>
                <a:gd name="connsiteX155" fmla="*/ 6912 w 10000"/>
                <a:gd name="connsiteY155" fmla="*/ 8759 h 10000"/>
                <a:gd name="connsiteX156" fmla="*/ 6928 w 10000"/>
                <a:gd name="connsiteY156" fmla="*/ 8889 h 10000"/>
                <a:gd name="connsiteX157" fmla="*/ 7367 w 10000"/>
                <a:gd name="connsiteY157" fmla="*/ 8856 h 10000"/>
                <a:gd name="connsiteX158" fmla="*/ 7696 w 10000"/>
                <a:gd name="connsiteY158" fmla="*/ 9027 h 10000"/>
                <a:gd name="connsiteX159" fmla="*/ 7586 w 10000"/>
                <a:gd name="connsiteY159" fmla="*/ 9238 h 10000"/>
                <a:gd name="connsiteX160" fmla="*/ 6912 w 10000"/>
                <a:gd name="connsiteY160" fmla="*/ 9238 h 10000"/>
                <a:gd name="connsiteX161" fmla="*/ 6803 w 10000"/>
                <a:gd name="connsiteY161" fmla="*/ 9343 h 10000"/>
                <a:gd name="connsiteX162" fmla="*/ 7132 w 10000"/>
                <a:gd name="connsiteY162" fmla="*/ 9424 h 10000"/>
                <a:gd name="connsiteX163" fmla="*/ 7179 w 10000"/>
                <a:gd name="connsiteY163" fmla="*/ 9594 h 10000"/>
                <a:gd name="connsiteX164" fmla="*/ 7461 w 10000"/>
                <a:gd name="connsiteY164" fmla="*/ 9805 h 10000"/>
                <a:gd name="connsiteX165" fmla="*/ 7837 w 10000"/>
                <a:gd name="connsiteY165" fmla="*/ 9813 h 10000"/>
                <a:gd name="connsiteX166" fmla="*/ 7853 w 10000"/>
                <a:gd name="connsiteY166" fmla="*/ 9659 h 10000"/>
                <a:gd name="connsiteX167" fmla="*/ 8464 w 10000"/>
                <a:gd name="connsiteY167" fmla="*/ 9521 h 10000"/>
                <a:gd name="connsiteX168" fmla="*/ 9060 w 10000"/>
                <a:gd name="connsiteY168" fmla="*/ 9521 h 10000"/>
                <a:gd name="connsiteX169" fmla="*/ 9545 w 10000"/>
                <a:gd name="connsiteY169" fmla="*/ 9659 h 10000"/>
                <a:gd name="connsiteX170" fmla="*/ 9279 w 10000"/>
                <a:gd name="connsiteY170" fmla="*/ 9789 h 10000"/>
                <a:gd name="connsiteX171" fmla="*/ 9624 w 10000"/>
                <a:gd name="connsiteY171" fmla="*/ 10000 h 10000"/>
                <a:gd name="connsiteX172" fmla="*/ 10000 w 10000"/>
                <a:gd name="connsiteY172" fmla="*/ 9951 h 10000"/>
                <a:gd name="connsiteX173" fmla="*/ 10000 w 10000"/>
                <a:gd name="connsiteY173" fmla="*/ 0 h 10000"/>
                <a:gd name="connsiteX174" fmla="*/ 8433 w 10000"/>
                <a:gd name="connsiteY174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24 w 10000"/>
                <a:gd name="connsiteY83" fmla="*/ 709 h 10000"/>
                <a:gd name="connsiteX84" fmla="*/ 1295 w 10000"/>
                <a:gd name="connsiteY84" fmla="*/ 865 h 10000"/>
                <a:gd name="connsiteX85" fmla="*/ 940 w 10000"/>
                <a:gd name="connsiteY85" fmla="*/ 1054 h 10000"/>
                <a:gd name="connsiteX86" fmla="*/ 737 w 10000"/>
                <a:gd name="connsiteY86" fmla="*/ 1273 h 10000"/>
                <a:gd name="connsiteX87" fmla="*/ 298 w 10000"/>
                <a:gd name="connsiteY87" fmla="*/ 1265 h 10000"/>
                <a:gd name="connsiteX88" fmla="*/ 361 w 10000"/>
                <a:gd name="connsiteY88" fmla="*/ 1419 h 10000"/>
                <a:gd name="connsiteX89" fmla="*/ 219 w 10000"/>
                <a:gd name="connsiteY89" fmla="*/ 1525 h 10000"/>
                <a:gd name="connsiteX90" fmla="*/ 0 w 10000"/>
                <a:gd name="connsiteY90" fmla="*/ 1679 h 10000"/>
                <a:gd name="connsiteX91" fmla="*/ 31 w 10000"/>
                <a:gd name="connsiteY91" fmla="*/ 1687 h 10000"/>
                <a:gd name="connsiteX92" fmla="*/ 31 w 10000"/>
                <a:gd name="connsiteY92" fmla="*/ 1695 h 10000"/>
                <a:gd name="connsiteX93" fmla="*/ 376 w 10000"/>
                <a:gd name="connsiteY93" fmla="*/ 1727 h 10000"/>
                <a:gd name="connsiteX94" fmla="*/ 517 w 10000"/>
                <a:gd name="connsiteY94" fmla="*/ 1800 h 10000"/>
                <a:gd name="connsiteX95" fmla="*/ 799 w 10000"/>
                <a:gd name="connsiteY95" fmla="*/ 1833 h 10000"/>
                <a:gd name="connsiteX96" fmla="*/ 893 w 10000"/>
                <a:gd name="connsiteY96" fmla="*/ 1971 h 10000"/>
                <a:gd name="connsiteX97" fmla="*/ 690 w 10000"/>
                <a:gd name="connsiteY97" fmla="*/ 2376 h 10000"/>
                <a:gd name="connsiteX98" fmla="*/ 893 w 10000"/>
                <a:gd name="connsiteY98" fmla="*/ 2457 h 10000"/>
                <a:gd name="connsiteX99" fmla="*/ 1677 w 10000"/>
                <a:gd name="connsiteY99" fmla="*/ 2879 h 10000"/>
                <a:gd name="connsiteX100" fmla="*/ 1458 w 10000"/>
                <a:gd name="connsiteY100" fmla="*/ 2976 h 10000"/>
                <a:gd name="connsiteX101" fmla="*/ 1458 w 10000"/>
                <a:gd name="connsiteY101" fmla="*/ 3179 h 10000"/>
                <a:gd name="connsiteX102" fmla="*/ 1677 w 10000"/>
                <a:gd name="connsiteY102" fmla="*/ 3220 h 10000"/>
                <a:gd name="connsiteX103" fmla="*/ 1614 w 10000"/>
                <a:gd name="connsiteY103" fmla="*/ 3333 h 10000"/>
                <a:gd name="connsiteX104" fmla="*/ 1787 w 10000"/>
                <a:gd name="connsiteY104" fmla="*/ 3398 h 10000"/>
                <a:gd name="connsiteX105" fmla="*/ 1959 w 10000"/>
                <a:gd name="connsiteY105" fmla="*/ 3366 h 10000"/>
                <a:gd name="connsiteX106" fmla="*/ 1991 w 10000"/>
                <a:gd name="connsiteY106" fmla="*/ 3528 h 10000"/>
                <a:gd name="connsiteX107" fmla="*/ 2132 w 10000"/>
                <a:gd name="connsiteY107" fmla="*/ 3609 h 10000"/>
                <a:gd name="connsiteX108" fmla="*/ 2320 w 10000"/>
                <a:gd name="connsiteY108" fmla="*/ 3577 h 10000"/>
                <a:gd name="connsiteX109" fmla="*/ 2461 w 10000"/>
                <a:gd name="connsiteY109" fmla="*/ 3715 h 10000"/>
                <a:gd name="connsiteX110" fmla="*/ 2335 w 10000"/>
                <a:gd name="connsiteY110" fmla="*/ 3950 h 10000"/>
                <a:gd name="connsiteX111" fmla="*/ 3276 w 10000"/>
                <a:gd name="connsiteY111" fmla="*/ 4193 h 10000"/>
                <a:gd name="connsiteX112" fmla="*/ 3292 w 10000"/>
                <a:gd name="connsiteY112" fmla="*/ 4599 h 10000"/>
                <a:gd name="connsiteX113" fmla="*/ 2806 w 10000"/>
                <a:gd name="connsiteY113" fmla="*/ 5239 h 10000"/>
                <a:gd name="connsiteX114" fmla="*/ 2288 w 10000"/>
                <a:gd name="connsiteY114" fmla="*/ 5677 h 10000"/>
                <a:gd name="connsiteX115" fmla="*/ 2555 w 10000"/>
                <a:gd name="connsiteY115" fmla="*/ 5612 h 10000"/>
                <a:gd name="connsiteX116" fmla="*/ 2618 w 10000"/>
                <a:gd name="connsiteY116" fmla="*/ 5766 h 10000"/>
                <a:gd name="connsiteX117" fmla="*/ 2931 w 10000"/>
                <a:gd name="connsiteY117" fmla="*/ 5839 h 10000"/>
                <a:gd name="connsiteX118" fmla="*/ 3370 w 10000"/>
                <a:gd name="connsiteY118" fmla="*/ 5775 h 10000"/>
                <a:gd name="connsiteX119" fmla="*/ 3793 w 10000"/>
                <a:gd name="connsiteY119" fmla="*/ 5864 h 10000"/>
                <a:gd name="connsiteX120" fmla="*/ 3793 w 10000"/>
                <a:gd name="connsiteY120" fmla="*/ 5994 h 10000"/>
                <a:gd name="connsiteX121" fmla="*/ 3056 w 10000"/>
                <a:gd name="connsiteY121" fmla="*/ 5969 h 10000"/>
                <a:gd name="connsiteX122" fmla="*/ 2931 w 10000"/>
                <a:gd name="connsiteY122" fmla="*/ 6091 h 10000"/>
                <a:gd name="connsiteX123" fmla="*/ 2555 w 10000"/>
                <a:gd name="connsiteY123" fmla="*/ 6172 h 10000"/>
                <a:gd name="connsiteX124" fmla="*/ 2633 w 10000"/>
                <a:gd name="connsiteY124" fmla="*/ 6269 h 10000"/>
                <a:gd name="connsiteX125" fmla="*/ 2712 w 10000"/>
                <a:gd name="connsiteY125" fmla="*/ 6326 h 10000"/>
                <a:gd name="connsiteX126" fmla="*/ 2539 w 10000"/>
                <a:gd name="connsiteY126" fmla="*/ 6415 h 10000"/>
                <a:gd name="connsiteX127" fmla="*/ 2586 w 10000"/>
                <a:gd name="connsiteY127" fmla="*/ 6537 h 10000"/>
                <a:gd name="connsiteX128" fmla="*/ 2398 w 10000"/>
                <a:gd name="connsiteY128" fmla="*/ 6642 h 10000"/>
                <a:gd name="connsiteX129" fmla="*/ 2492 w 10000"/>
                <a:gd name="connsiteY129" fmla="*/ 6788 h 10000"/>
                <a:gd name="connsiteX130" fmla="*/ 2680 w 10000"/>
                <a:gd name="connsiteY130" fmla="*/ 6821 h 10000"/>
                <a:gd name="connsiteX131" fmla="*/ 2602 w 10000"/>
                <a:gd name="connsiteY131" fmla="*/ 6983 h 10000"/>
                <a:gd name="connsiteX132" fmla="*/ 2821 w 10000"/>
                <a:gd name="connsiteY132" fmla="*/ 7015 h 10000"/>
                <a:gd name="connsiteX133" fmla="*/ 2931 w 10000"/>
                <a:gd name="connsiteY133" fmla="*/ 7145 h 10000"/>
                <a:gd name="connsiteX134" fmla="*/ 2806 w 10000"/>
                <a:gd name="connsiteY134" fmla="*/ 7202 h 10000"/>
                <a:gd name="connsiteX135" fmla="*/ 2821 w 10000"/>
                <a:gd name="connsiteY135" fmla="*/ 7299 h 10000"/>
                <a:gd name="connsiteX136" fmla="*/ 2931 w 10000"/>
                <a:gd name="connsiteY136" fmla="*/ 7388 h 10000"/>
                <a:gd name="connsiteX137" fmla="*/ 3292 w 10000"/>
                <a:gd name="connsiteY137" fmla="*/ 7486 h 10000"/>
                <a:gd name="connsiteX138" fmla="*/ 3166 w 10000"/>
                <a:gd name="connsiteY138" fmla="*/ 7575 h 10000"/>
                <a:gd name="connsiteX139" fmla="*/ 3292 w 10000"/>
                <a:gd name="connsiteY139" fmla="*/ 7737 h 10000"/>
                <a:gd name="connsiteX140" fmla="*/ 3417 w 10000"/>
                <a:gd name="connsiteY140" fmla="*/ 7737 h 10000"/>
                <a:gd name="connsiteX141" fmla="*/ 3511 w 10000"/>
                <a:gd name="connsiteY141" fmla="*/ 7810 h 10000"/>
                <a:gd name="connsiteX142" fmla="*/ 3793 w 10000"/>
                <a:gd name="connsiteY142" fmla="*/ 7908 h 10000"/>
                <a:gd name="connsiteX143" fmla="*/ 3793 w 10000"/>
                <a:gd name="connsiteY143" fmla="*/ 7997 h 10000"/>
                <a:gd name="connsiteX144" fmla="*/ 4075 w 10000"/>
                <a:gd name="connsiteY144" fmla="*/ 7972 h 10000"/>
                <a:gd name="connsiteX145" fmla="*/ 4577 w 10000"/>
                <a:gd name="connsiteY145" fmla="*/ 7972 h 10000"/>
                <a:gd name="connsiteX146" fmla="*/ 4718 w 10000"/>
                <a:gd name="connsiteY146" fmla="*/ 8167 h 10000"/>
                <a:gd name="connsiteX147" fmla="*/ 5141 w 10000"/>
                <a:gd name="connsiteY147" fmla="*/ 7972 h 10000"/>
                <a:gd name="connsiteX148" fmla="*/ 5721 w 10000"/>
                <a:gd name="connsiteY148" fmla="*/ 8078 h 10000"/>
                <a:gd name="connsiteX149" fmla="*/ 5846 w 10000"/>
                <a:gd name="connsiteY149" fmla="*/ 8289 h 10000"/>
                <a:gd name="connsiteX150" fmla="*/ 5846 w 10000"/>
                <a:gd name="connsiteY150" fmla="*/ 8467 h 10000"/>
                <a:gd name="connsiteX151" fmla="*/ 6113 w 10000"/>
                <a:gd name="connsiteY151" fmla="*/ 8483 h 10000"/>
                <a:gd name="connsiteX152" fmla="*/ 6223 w 10000"/>
                <a:gd name="connsiteY152" fmla="*/ 8581 h 10000"/>
                <a:gd name="connsiteX153" fmla="*/ 6536 w 10000"/>
                <a:gd name="connsiteY153" fmla="*/ 8710 h 10000"/>
                <a:gd name="connsiteX154" fmla="*/ 6912 w 10000"/>
                <a:gd name="connsiteY154" fmla="*/ 8759 h 10000"/>
                <a:gd name="connsiteX155" fmla="*/ 6928 w 10000"/>
                <a:gd name="connsiteY155" fmla="*/ 8889 h 10000"/>
                <a:gd name="connsiteX156" fmla="*/ 7367 w 10000"/>
                <a:gd name="connsiteY156" fmla="*/ 8856 h 10000"/>
                <a:gd name="connsiteX157" fmla="*/ 7696 w 10000"/>
                <a:gd name="connsiteY157" fmla="*/ 9027 h 10000"/>
                <a:gd name="connsiteX158" fmla="*/ 7586 w 10000"/>
                <a:gd name="connsiteY158" fmla="*/ 9238 h 10000"/>
                <a:gd name="connsiteX159" fmla="*/ 6912 w 10000"/>
                <a:gd name="connsiteY159" fmla="*/ 9238 h 10000"/>
                <a:gd name="connsiteX160" fmla="*/ 6803 w 10000"/>
                <a:gd name="connsiteY160" fmla="*/ 9343 h 10000"/>
                <a:gd name="connsiteX161" fmla="*/ 7132 w 10000"/>
                <a:gd name="connsiteY161" fmla="*/ 9424 h 10000"/>
                <a:gd name="connsiteX162" fmla="*/ 7179 w 10000"/>
                <a:gd name="connsiteY162" fmla="*/ 9594 h 10000"/>
                <a:gd name="connsiteX163" fmla="*/ 7461 w 10000"/>
                <a:gd name="connsiteY163" fmla="*/ 9805 h 10000"/>
                <a:gd name="connsiteX164" fmla="*/ 7837 w 10000"/>
                <a:gd name="connsiteY164" fmla="*/ 9813 h 10000"/>
                <a:gd name="connsiteX165" fmla="*/ 7853 w 10000"/>
                <a:gd name="connsiteY165" fmla="*/ 9659 h 10000"/>
                <a:gd name="connsiteX166" fmla="*/ 8464 w 10000"/>
                <a:gd name="connsiteY166" fmla="*/ 9521 h 10000"/>
                <a:gd name="connsiteX167" fmla="*/ 9060 w 10000"/>
                <a:gd name="connsiteY167" fmla="*/ 9521 h 10000"/>
                <a:gd name="connsiteX168" fmla="*/ 9545 w 10000"/>
                <a:gd name="connsiteY168" fmla="*/ 9659 h 10000"/>
                <a:gd name="connsiteX169" fmla="*/ 9279 w 10000"/>
                <a:gd name="connsiteY169" fmla="*/ 9789 h 10000"/>
                <a:gd name="connsiteX170" fmla="*/ 9624 w 10000"/>
                <a:gd name="connsiteY170" fmla="*/ 10000 h 10000"/>
                <a:gd name="connsiteX171" fmla="*/ 10000 w 10000"/>
                <a:gd name="connsiteY171" fmla="*/ 9951 h 10000"/>
                <a:gd name="connsiteX172" fmla="*/ 10000 w 10000"/>
                <a:gd name="connsiteY172" fmla="*/ 0 h 10000"/>
                <a:gd name="connsiteX173" fmla="*/ 8433 w 10000"/>
                <a:gd name="connsiteY173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865 h 10000"/>
                <a:gd name="connsiteX84" fmla="*/ 940 w 10000"/>
                <a:gd name="connsiteY84" fmla="*/ 1054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940 w 10000"/>
                <a:gd name="connsiteY84" fmla="*/ 1054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940 w 10000"/>
                <a:gd name="connsiteY84" fmla="*/ 1054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680 w 10000"/>
                <a:gd name="connsiteY85" fmla="*/ 10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52 w 10000"/>
                <a:gd name="connsiteY85" fmla="*/ 932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52 w 10000"/>
                <a:gd name="connsiteY85" fmla="*/ 932 h 10000"/>
                <a:gd name="connsiteX86" fmla="*/ 585 w 10000"/>
                <a:gd name="connsiteY86" fmla="*/ 1169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52 w 10000"/>
                <a:gd name="connsiteY85" fmla="*/ 932 h 10000"/>
                <a:gd name="connsiteX86" fmla="*/ 571 w 10000"/>
                <a:gd name="connsiteY86" fmla="*/ 1154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38 w 10000"/>
                <a:gd name="connsiteY85" fmla="*/ 910 h 10000"/>
                <a:gd name="connsiteX86" fmla="*/ 571 w 10000"/>
                <a:gd name="connsiteY86" fmla="*/ 1154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38 w 10000"/>
                <a:gd name="connsiteY85" fmla="*/ 910 h 10000"/>
                <a:gd name="connsiteX86" fmla="*/ 571 w 10000"/>
                <a:gd name="connsiteY86" fmla="*/ 1154 h 10000"/>
                <a:gd name="connsiteX87" fmla="*/ 519 w 10000"/>
                <a:gd name="connsiteY87" fmla="*/ 138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67 w 10034"/>
                <a:gd name="connsiteY0" fmla="*/ 0 h 10000"/>
                <a:gd name="connsiteX1" fmla="*/ 8467 w 10034"/>
                <a:gd name="connsiteY1" fmla="*/ 97 h 10000"/>
                <a:gd name="connsiteX2" fmla="*/ 8137 w 10034"/>
                <a:gd name="connsiteY2" fmla="*/ 357 h 10000"/>
                <a:gd name="connsiteX3" fmla="*/ 8467 w 10034"/>
                <a:gd name="connsiteY3" fmla="*/ 697 h 10000"/>
                <a:gd name="connsiteX4" fmla="*/ 7855 w 10034"/>
                <a:gd name="connsiteY4" fmla="*/ 981 h 10000"/>
                <a:gd name="connsiteX5" fmla="*/ 7761 w 10034"/>
                <a:gd name="connsiteY5" fmla="*/ 803 h 10000"/>
                <a:gd name="connsiteX6" fmla="*/ 7228 w 10034"/>
                <a:gd name="connsiteY6" fmla="*/ 803 h 10000"/>
                <a:gd name="connsiteX7" fmla="*/ 7072 w 10034"/>
                <a:gd name="connsiteY7" fmla="*/ 584 h 10000"/>
                <a:gd name="connsiteX8" fmla="*/ 7526 w 10034"/>
                <a:gd name="connsiteY8" fmla="*/ 397 h 10000"/>
                <a:gd name="connsiteX9" fmla="*/ 7087 w 10034"/>
                <a:gd name="connsiteY9" fmla="*/ 276 h 10000"/>
                <a:gd name="connsiteX10" fmla="*/ 6915 w 10034"/>
                <a:gd name="connsiteY10" fmla="*/ 187 h 10000"/>
                <a:gd name="connsiteX11" fmla="*/ 6601 w 10034"/>
                <a:gd name="connsiteY11" fmla="*/ 187 h 10000"/>
                <a:gd name="connsiteX12" fmla="*/ 6304 w 10034"/>
                <a:gd name="connsiteY12" fmla="*/ 341 h 10000"/>
                <a:gd name="connsiteX13" fmla="*/ 5833 w 10034"/>
                <a:gd name="connsiteY13" fmla="*/ 397 h 10000"/>
                <a:gd name="connsiteX14" fmla="*/ 6398 w 10034"/>
                <a:gd name="connsiteY14" fmla="*/ 479 h 10000"/>
                <a:gd name="connsiteX15" fmla="*/ 6617 w 10034"/>
                <a:gd name="connsiteY15" fmla="*/ 738 h 10000"/>
                <a:gd name="connsiteX16" fmla="*/ 6711 w 10034"/>
                <a:gd name="connsiteY16" fmla="*/ 981 h 10000"/>
                <a:gd name="connsiteX17" fmla="*/ 6868 w 10034"/>
                <a:gd name="connsiteY17" fmla="*/ 981 h 10000"/>
                <a:gd name="connsiteX18" fmla="*/ 7275 w 10034"/>
                <a:gd name="connsiteY18" fmla="*/ 981 h 10000"/>
                <a:gd name="connsiteX19" fmla="*/ 7307 w 10034"/>
                <a:gd name="connsiteY19" fmla="*/ 1103 h 10000"/>
                <a:gd name="connsiteX20" fmla="*/ 7510 w 10034"/>
                <a:gd name="connsiteY20" fmla="*/ 1160 h 10000"/>
                <a:gd name="connsiteX21" fmla="*/ 7526 w 10034"/>
                <a:gd name="connsiteY21" fmla="*/ 1371 h 10000"/>
                <a:gd name="connsiteX22" fmla="*/ 7683 w 10034"/>
                <a:gd name="connsiteY22" fmla="*/ 1590 h 10000"/>
                <a:gd name="connsiteX23" fmla="*/ 7213 w 10034"/>
                <a:gd name="connsiteY23" fmla="*/ 1444 h 10000"/>
                <a:gd name="connsiteX24" fmla="*/ 6884 w 10034"/>
                <a:gd name="connsiteY24" fmla="*/ 1484 h 10000"/>
                <a:gd name="connsiteX25" fmla="*/ 6601 w 10034"/>
                <a:gd name="connsiteY25" fmla="*/ 1484 h 10000"/>
                <a:gd name="connsiteX26" fmla="*/ 6398 w 10034"/>
                <a:gd name="connsiteY26" fmla="*/ 1825 h 10000"/>
                <a:gd name="connsiteX27" fmla="*/ 6272 w 10034"/>
                <a:gd name="connsiteY27" fmla="*/ 2028 h 10000"/>
                <a:gd name="connsiteX28" fmla="*/ 6210 w 10034"/>
                <a:gd name="connsiteY28" fmla="*/ 2271 h 10000"/>
                <a:gd name="connsiteX29" fmla="*/ 6601 w 10034"/>
                <a:gd name="connsiteY29" fmla="*/ 2401 h 10000"/>
                <a:gd name="connsiteX30" fmla="*/ 6978 w 10034"/>
                <a:gd name="connsiteY30" fmla="*/ 2595 h 10000"/>
                <a:gd name="connsiteX31" fmla="*/ 6570 w 10034"/>
                <a:gd name="connsiteY31" fmla="*/ 2798 h 10000"/>
                <a:gd name="connsiteX32" fmla="*/ 6382 w 10034"/>
                <a:gd name="connsiteY32" fmla="*/ 2701 h 10000"/>
                <a:gd name="connsiteX33" fmla="*/ 6147 w 10034"/>
                <a:gd name="connsiteY33" fmla="*/ 2660 h 10000"/>
                <a:gd name="connsiteX34" fmla="*/ 5661 w 10034"/>
                <a:gd name="connsiteY34" fmla="*/ 2749 h 10000"/>
                <a:gd name="connsiteX35" fmla="*/ 5175 w 10034"/>
                <a:gd name="connsiteY35" fmla="*/ 2595 h 10000"/>
                <a:gd name="connsiteX36" fmla="*/ 4924 w 10034"/>
                <a:gd name="connsiteY36" fmla="*/ 2603 h 10000"/>
                <a:gd name="connsiteX37" fmla="*/ 5065 w 10034"/>
                <a:gd name="connsiteY37" fmla="*/ 2733 h 10000"/>
                <a:gd name="connsiteX38" fmla="*/ 5018 w 10034"/>
                <a:gd name="connsiteY38" fmla="*/ 2822 h 10000"/>
                <a:gd name="connsiteX39" fmla="*/ 5520 w 10034"/>
                <a:gd name="connsiteY39" fmla="*/ 3025 h 10000"/>
                <a:gd name="connsiteX40" fmla="*/ 5786 w 10034"/>
                <a:gd name="connsiteY40" fmla="*/ 2928 h 10000"/>
                <a:gd name="connsiteX41" fmla="*/ 6147 w 10034"/>
                <a:gd name="connsiteY41" fmla="*/ 3114 h 10000"/>
                <a:gd name="connsiteX42" fmla="*/ 5943 w 10034"/>
                <a:gd name="connsiteY42" fmla="*/ 3317 h 10000"/>
                <a:gd name="connsiteX43" fmla="*/ 5645 w 10034"/>
                <a:gd name="connsiteY43" fmla="*/ 3317 h 10000"/>
                <a:gd name="connsiteX44" fmla="*/ 5081 w 10034"/>
                <a:gd name="connsiteY44" fmla="*/ 3268 h 10000"/>
                <a:gd name="connsiteX45" fmla="*/ 5034 w 10034"/>
                <a:gd name="connsiteY45" fmla="*/ 3139 h 10000"/>
                <a:gd name="connsiteX46" fmla="*/ 4736 w 10034"/>
                <a:gd name="connsiteY46" fmla="*/ 3147 h 10000"/>
                <a:gd name="connsiteX47" fmla="*/ 4564 w 10034"/>
                <a:gd name="connsiteY47" fmla="*/ 3268 h 10000"/>
                <a:gd name="connsiteX48" fmla="*/ 4266 w 10034"/>
                <a:gd name="connsiteY48" fmla="*/ 3187 h 10000"/>
                <a:gd name="connsiteX49" fmla="*/ 4329 w 10034"/>
                <a:gd name="connsiteY49" fmla="*/ 3017 h 10000"/>
                <a:gd name="connsiteX50" fmla="*/ 3905 w 10034"/>
                <a:gd name="connsiteY50" fmla="*/ 2863 h 10000"/>
                <a:gd name="connsiteX51" fmla="*/ 3827 w 10034"/>
                <a:gd name="connsiteY51" fmla="*/ 2863 h 10000"/>
                <a:gd name="connsiteX52" fmla="*/ 3670 w 10034"/>
                <a:gd name="connsiteY52" fmla="*/ 2741 h 10000"/>
                <a:gd name="connsiteX53" fmla="*/ 3827 w 10034"/>
                <a:gd name="connsiteY53" fmla="*/ 2636 h 10000"/>
                <a:gd name="connsiteX54" fmla="*/ 3561 w 10034"/>
                <a:gd name="connsiteY54" fmla="*/ 2433 h 10000"/>
                <a:gd name="connsiteX55" fmla="*/ 3231 w 10034"/>
                <a:gd name="connsiteY55" fmla="*/ 2384 h 10000"/>
                <a:gd name="connsiteX56" fmla="*/ 2965 w 10034"/>
                <a:gd name="connsiteY56" fmla="*/ 2336 h 10000"/>
                <a:gd name="connsiteX57" fmla="*/ 2855 w 10034"/>
                <a:gd name="connsiteY57" fmla="*/ 2247 h 10000"/>
                <a:gd name="connsiteX58" fmla="*/ 2275 w 10034"/>
                <a:gd name="connsiteY58" fmla="*/ 2190 h 10000"/>
                <a:gd name="connsiteX59" fmla="*/ 2134 w 10034"/>
                <a:gd name="connsiteY59" fmla="*/ 2117 h 10000"/>
                <a:gd name="connsiteX60" fmla="*/ 1884 w 10034"/>
                <a:gd name="connsiteY60" fmla="*/ 2060 h 10000"/>
                <a:gd name="connsiteX61" fmla="*/ 2040 w 10034"/>
                <a:gd name="connsiteY61" fmla="*/ 1979 h 10000"/>
                <a:gd name="connsiteX62" fmla="*/ 2354 w 10034"/>
                <a:gd name="connsiteY62" fmla="*/ 2003 h 10000"/>
                <a:gd name="connsiteX63" fmla="*/ 2510 w 10034"/>
                <a:gd name="connsiteY63" fmla="*/ 2117 h 10000"/>
                <a:gd name="connsiteX64" fmla="*/ 2777 w 10034"/>
                <a:gd name="connsiteY64" fmla="*/ 2117 h 10000"/>
                <a:gd name="connsiteX65" fmla="*/ 3247 w 10034"/>
                <a:gd name="connsiteY65" fmla="*/ 2117 h 10000"/>
                <a:gd name="connsiteX66" fmla="*/ 3420 w 10034"/>
                <a:gd name="connsiteY66" fmla="*/ 2068 h 10000"/>
                <a:gd name="connsiteX67" fmla="*/ 3827 w 10034"/>
                <a:gd name="connsiteY67" fmla="*/ 2117 h 10000"/>
                <a:gd name="connsiteX68" fmla="*/ 4360 w 10034"/>
                <a:gd name="connsiteY68" fmla="*/ 2117 h 10000"/>
                <a:gd name="connsiteX69" fmla="*/ 5144 w 10034"/>
                <a:gd name="connsiteY69" fmla="*/ 2084 h 10000"/>
                <a:gd name="connsiteX70" fmla="*/ 5943 w 10034"/>
                <a:gd name="connsiteY70" fmla="*/ 1784 h 10000"/>
                <a:gd name="connsiteX71" fmla="*/ 5943 w 10034"/>
                <a:gd name="connsiteY71" fmla="*/ 1387 h 10000"/>
                <a:gd name="connsiteX72" fmla="*/ 5630 w 10034"/>
                <a:gd name="connsiteY72" fmla="*/ 1176 h 10000"/>
                <a:gd name="connsiteX73" fmla="*/ 5285 w 10034"/>
                <a:gd name="connsiteY73" fmla="*/ 1030 h 10000"/>
                <a:gd name="connsiteX74" fmla="*/ 4736 w 10034"/>
                <a:gd name="connsiteY74" fmla="*/ 981 h 10000"/>
                <a:gd name="connsiteX75" fmla="*/ 4344 w 10034"/>
                <a:gd name="connsiteY75" fmla="*/ 981 h 10000"/>
                <a:gd name="connsiteX76" fmla="*/ 3952 w 10034"/>
                <a:gd name="connsiteY76" fmla="*/ 981 h 10000"/>
                <a:gd name="connsiteX77" fmla="*/ 3435 w 10034"/>
                <a:gd name="connsiteY77" fmla="*/ 803 h 10000"/>
                <a:gd name="connsiteX78" fmla="*/ 2777 w 10034"/>
                <a:gd name="connsiteY78" fmla="*/ 738 h 10000"/>
                <a:gd name="connsiteX79" fmla="*/ 2338 w 10034"/>
                <a:gd name="connsiteY79" fmla="*/ 762 h 10000"/>
                <a:gd name="connsiteX80" fmla="*/ 1774 w 10034"/>
                <a:gd name="connsiteY80" fmla="*/ 787 h 10000"/>
                <a:gd name="connsiteX81" fmla="*/ 1664 w 10034"/>
                <a:gd name="connsiteY81" fmla="*/ 860 h 10000"/>
                <a:gd name="connsiteX82" fmla="*/ 1558 w 10034"/>
                <a:gd name="connsiteY82" fmla="*/ 709 h 10000"/>
                <a:gd name="connsiteX83" fmla="*/ 1329 w 10034"/>
                <a:gd name="connsiteY83" fmla="*/ 784 h 10000"/>
                <a:gd name="connsiteX84" fmla="*/ 1089 w 10034"/>
                <a:gd name="connsiteY84" fmla="*/ 706 h 10000"/>
                <a:gd name="connsiteX85" fmla="*/ 972 w 10034"/>
                <a:gd name="connsiteY85" fmla="*/ 910 h 10000"/>
                <a:gd name="connsiteX86" fmla="*/ 605 w 10034"/>
                <a:gd name="connsiteY86" fmla="*/ 1154 h 10000"/>
                <a:gd name="connsiteX87" fmla="*/ 553 w 10034"/>
                <a:gd name="connsiteY87" fmla="*/ 1389 h 10000"/>
                <a:gd name="connsiteX88" fmla="*/ 597 w 10034"/>
                <a:gd name="connsiteY88" fmla="*/ 1540 h 10000"/>
                <a:gd name="connsiteX89" fmla="*/ 34 w 10034"/>
                <a:gd name="connsiteY89" fmla="*/ 1679 h 10000"/>
                <a:gd name="connsiteX90" fmla="*/ 65 w 10034"/>
                <a:gd name="connsiteY90" fmla="*/ 1687 h 10000"/>
                <a:gd name="connsiteX91" fmla="*/ 65 w 10034"/>
                <a:gd name="connsiteY91" fmla="*/ 1695 h 10000"/>
                <a:gd name="connsiteX92" fmla="*/ 410 w 10034"/>
                <a:gd name="connsiteY92" fmla="*/ 1727 h 10000"/>
                <a:gd name="connsiteX93" fmla="*/ 551 w 10034"/>
                <a:gd name="connsiteY93" fmla="*/ 1800 h 10000"/>
                <a:gd name="connsiteX94" fmla="*/ 833 w 10034"/>
                <a:gd name="connsiteY94" fmla="*/ 1833 h 10000"/>
                <a:gd name="connsiteX95" fmla="*/ 927 w 10034"/>
                <a:gd name="connsiteY95" fmla="*/ 1971 h 10000"/>
                <a:gd name="connsiteX96" fmla="*/ 724 w 10034"/>
                <a:gd name="connsiteY96" fmla="*/ 2376 h 10000"/>
                <a:gd name="connsiteX97" fmla="*/ 927 w 10034"/>
                <a:gd name="connsiteY97" fmla="*/ 2457 h 10000"/>
                <a:gd name="connsiteX98" fmla="*/ 1711 w 10034"/>
                <a:gd name="connsiteY98" fmla="*/ 2879 h 10000"/>
                <a:gd name="connsiteX99" fmla="*/ 1492 w 10034"/>
                <a:gd name="connsiteY99" fmla="*/ 2976 h 10000"/>
                <a:gd name="connsiteX100" fmla="*/ 1492 w 10034"/>
                <a:gd name="connsiteY100" fmla="*/ 3179 h 10000"/>
                <a:gd name="connsiteX101" fmla="*/ 1711 w 10034"/>
                <a:gd name="connsiteY101" fmla="*/ 3220 h 10000"/>
                <a:gd name="connsiteX102" fmla="*/ 1648 w 10034"/>
                <a:gd name="connsiteY102" fmla="*/ 3333 h 10000"/>
                <a:gd name="connsiteX103" fmla="*/ 1821 w 10034"/>
                <a:gd name="connsiteY103" fmla="*/ 3398 h 10000"/>
                <a:gd name="connsiteX104" fmla="*/ 1993 w 10034"/>
                <a:gd name="connsiteY104" fmla="*/ 3366 h 10000"/>
                <a:gd name="connsiteX105" fmla="*/ 2025 w 10034"/>
                <a:gd name="connsiteY105" fmla="*/ 3528 h 10000"/>
                <a:gd name="connsiteX106" fmla="*/ 2166 w 10034"/>
                <a:gd name="connsiteY106" fmla="*/ 3609 h 10000"/>
                <a:gd name="connsiteX107" fmla="*/ 2354 w 10034"/>
                <a:gd name="connsiteY107" fmla="*/ 3577 h 10000"/>
                <a:gd name="connsiteX108" fmla="*/ 2495 w 10034"/>
                <a:gd name="connsiteY108" fmla="*/ 3715 h 10000"/>
                <a:gd name="connsiteX109" fmla="*/ 2369 w 10034"/>
                <a:gd name="connsiteY109" fmla="*/ 3950 h 10000"/>
                <a:gd name="connsiteX110" fmla="*/ 3310 w 10034"/>
                <a:gd name="connsiteY110" fmla="*/ 4193 h 10000"/>
                <a:gd name="connsiteX111" fmla="*/ 3326 w 10034"/>
                <a:gd name="connsiteY111" fmla="*/ 4599 h 10000"/>
                <a:gd name="connsiteX112" fmla="*/ 2840 w 10034"/>
                <a:gd name="connsiteY112" fmla="*/ 5239 h 10000"/>
                <a:gd name="connsiteX113" fmla="*/ 2322 w 10034"/>
                <a:gd name="connsiteY113" fmla="*/ 5677 h 10000"/>
                <a:gd name="connsiteX114" fmla="*/ 2589 w 10034"/>
                <a:gd name="connsiteY114" fmla="*/ 5612 h 10000"/>
                <a:gd name="connsiteX115" fmla="*/ 2652 w 10034"/>
                <a:gd name="connsiteY115" fmla="*/ 5766 h 10000"/>
                <a:gd name="connsiteX116" fmla="*/ 2965 w 10034"/>
                <a:gd name="connsiteY116" fmla="*/ 5839 h 10000"/>
                <a:gd name="connsiteX117" fmla="*/ 3404 w 10034"/>
                <a:gd name="connsiteY117" fmla="*/ 5775 h 10000"/>
                <a:gd name="connsiteX118" fmla="*/ 3827 w 10034"/>
                <a:gd name="connsiteY118" fmla="*/ 5864 h 10000"/>
                <a:gd name="connsiteX119" fmla="*/ 3827 w 10034"/>
                <a:gd name="connsiteY119" fmla="*/ 5994 h 10000"/>
                <a:gd name="connsiteX120" fmla="*/ 3090 w 10034"/>
                <a:gd name="connsiteY120" fmla="*/ 5969 h 10000"/>
                <a:gd name="connsiteX121" fmla="*/ 2965 w 10034"/>
                <a:gd name="connsiteY121" fmla="*/ 6091 h 10000"/>
                <a:gd name="connsiteX122" fmla="*/ 2589 w 10034"/>
                <a:gd name="connsiteY122" fmla="*/ 6172 h 10000"/>
                <a:gd name="connsiteX123" fmla="*/ 2667 w 10034"/>
                <a:gd name="connsiteY123" fmla="*/ 6269 h 10000"/>
                <a:gd name="connsiteX124" fmla="*/ 2746 w 10034"/>
                <a:gd name="connsiteY124" fmla="*/ 6326 h 10000"/>
                <a:gd name="connsiteX125" fmla="*/ 2573 w 10034"/>
                <a:gd name="connsiteY125" fmla="*/ 6415 h 10000"/>
                <a:gd name="connsiteX126" fmla="*/ 2620 w 10034"/>
                <a:gd name="connsiteY126" fmla="*/ 6537 h 10000"/>
                <a:gd name="connsiteX127" fmla="*/ 2432 w 10034"/>
                <a:gd name="connsiteY127" fmla="*/ 6642 h 10000"/>
                <a:gd name="connsiteX128" fmla="*/ 2526 w 10034"/>
                <a:gd name="connsiteY128" fmla="*/ 6788 h 10000"/>
                <a:gd name="connsiteX129" fmla="*/ 2714 w 10034"/>
                <a:gd name="connsiteY129" fmla="*/ 6821 h 10000"/>
                <a:gd name="connsiteX130" fmla="*/ 2636 w 10034"/>
                <a:gd name="connsiteY130" fmla="*/ 6983 h 10000"/>
                <a:gd name="connsiteX131" fmla="*/ 2855 w 10034"/>
                <a:gd name="connsiteY131" fmla="*/ 7015 h 10000"/>
                <a:gd name="connsiteX132" fmla="*/ 2965 w 10034"/>
                <a:gd name="connsiteY132" fmla="*/ 7145 h 10000"/>
                <a:gd name="connsiteX133" fmla="*/ 2840 w 10034"/>
                <a:gd name="connsiteY133" fmla="*/ 7202 h 10000"/>
                <a:gd name="connsiteX134" fmla="*/ 2855 w 10034"/>
                <a:gd name="connsiteY134" fmla="*/ 7299 h 10000"/>
                <a:gd name="connsiteX135" fmla="*/ 2965 w 10034"/>
                <a:gd name="connsiteY135" fmla="*/ 7388 h 10000"/>
                <a:gd name="connsiteX136" fmla="*/ 3326 w 10034"/>
                <a:gd name="connsiteY136" fmla="*/ 7486 h 10000"/>
                <a:gd name="connsiteX137" fmla="*/ 3200 w 10034"/>
                <a:gd name="connsiteY137" fmla="*/ 7575 h 10000"/>
                <a:gd name="connsiteX138" fmla="*/ 3326 w 10034"/>
                <a:gd name="connsiteY138" fmla="*/ 7737 h 10000"/>
                <a:gd name="connsiteX139" fmla="*/ 3451 w 10034"/>
                <a:gd name="connsiteY139" fmla="*/ 7737 h 10000"/>
                <a:gd name="connsiteX140" fmla="*/ 3545 w 10034"/>
                <a:gd name="connsiteY140" fmla="*/ 7810 h 10000"/>
                <a:gd name="connsiteX141" fmla="*/ 3827 w 10034"/>
                <a:gd name="connsiteY141" fmla="*/ 7908 h 10000"/>
                <a:gd name="connsiteX142" fmla="*/ 3827 w 10034"/>
                <a:gd name="connsiteY142" fmla="*/ 7997 h 10000"/>
                <a:gd name="connsiteX143" fmla="*/ 4109 w 10034"/>
                <a:gd name="connsiteY143" fmla="*/ 7972 h 10000"/>
                <a:gd name="connsiteX144" fmla="*/ 4611 w 10034"/>
                <a:gd name="connsiteY144" fmla="*/ 7972 h 10000"/>
                <a:gd name="connsiteX145" fmla="*/ 4752 w 10034"/>
                <a:gd name="connsiteY145" fmla="*/ 8167 h 10000"/>
                <a:gd name="connsiteX146" fmla="*/ 5175 w 10034"/>
                <a:gd name="connsiteY146" fmla="*/ 7972 h 10000"/>
                <a:gd name="connsiteX147" fmla="*/ 5755 w 10034"/>
                <a:gd name="connsiteY147" fmla="*/ 8078 h 10000"/>
                <a:gd name="connsiteX148" fmla="*/ 5880 w 10034"/>
                <a:gd name="connsiteY148" fmla="*/ 8289 h 10000"/>
                <a:gd name="connsiteX149" fmla="*/ 5880 w 10034"/>
                <a:gd name="connsiteY149" fmla="*/ 8467 h 10000"/>
                <a:gd name="connsiteX150" fmla="*/ 6147 w 10034"/>
                <a:gd name="connsiteY150" fmla="*/ 8483 h 10000"/>
                <a:gd name="connsiteX151" fmla="*/ 6257 w 10034"/>
                <a:gd name="connsiteY151" fmla="*/ 8581 h 10000"/>
                <a:gd name="connsiteX152" fmla="*/ 6570 w 10034"/>
                <a:gd name="connsiteY152" fmla="*/ 8710 h 10000"/>
                <a:gd name="connsiteX153" fmla="*/ 6946 w 10034"/>
                <a:gd name="connsiteY153" fmla="*/ 8759 h 10000"/>
                <a:gd name="connsiteX154" fmla="*/ 6962 w 10034"/>
                <a:gd name="connsiteY154" fmla="*/ 8889 h 10000"/>
                <a:gd name="connsiteX155" fmla="*/ 7401 w 10034"/>
                <a:gd name="connsiteY155" fmla="*/ 8856 h 10000"/>
                <a:gd name="connsiteX156" fmla="*/ 7730 w 10034"/>
                <a:gd name="connsiteY156" fmla="*/ 9027 h 10000"/>
                <a:gd name="connsiteX157" fmla="*/ 7620 w 10034"/>
                <a:gd name="connsiteY157" fmla="*/ 9238 h 10000"/>
                <a:gd name="connsiteX158" fmla="*/ 6946 w 10034"/>
                <a:gd name="connsiteY158" fmla="*/ 9238 h 10000"/>
                <a:gd name="connsiteX159" fmla="*/ 6837 w 10034"/>
                <a:gd name="connsiteY159" fmla="*/ 9343 h 10000"/>
                <a:gd name="connsiteX160" fmla="*/ 7166 w 10034"/>
                <a:gd name="connsiteY160" fmla="*/ 9424 h 10000"/>
                <a:gd name="connsiteX161" fmla="*/ 7213 w 10034"/>
                <a:gd name="connsiteY161" fmla="*/ 9594 h 10000"/>
                <a:gd name="connsiteX162" fmla="*/ 7495 w 10034"/>
                <a:gd name="connsiteY162" fmla="*/ 9805 h 10000"/>
                <a:gd name="connsiteX163" fmla="*/ 7871 w 10034"/>
                <a:gd name="connsiteY163" fmla="*/ 9813 h 10000"/>
                <a:gd name="connsiteX164" fmla="*/ 7887 w 10034"/>
                <a:gd name="connsiteY164" fmla="*/ 9659 h 10000"/>
                <a:gd name="connsiteX165" fmla="*/ 8498 w 10034"/>
                <a:gd name="connsiteY165" fmla="*/ 9521 h 10000"/>
                <a:gd name="connsiteX166" fmla="*/ 9094 w 10034"/>
                <a:gd name="connsiteY166" fmla="*/ 9521 h 10000"/>
                <a:gd name="connsiteX167" fmla="*/ 9579 w 10034"/>
                <a:gd name="connsiteY167" fmla="*/ 9659 h 10000"/>
                <a:gd name="connsiteX168" fmla="*/ 9313 w 10034"/>
                <a:gd name="connsiteY168" fmla="*/ 9789 h 10000"/>
                <a:gd name="connsiteX169" fmla="*/ 9658 w 10034"/>
                <a:gd name="connsiteY169" fmla="*/ 10000 h 10000"/>
                <a:gd name="connsiteX170" fmla="*/ 10034 w 10034"/>
                <a:gd name="connsiteY170" fmla="*/ 9951 h 10000"/>
                <a:gd name="connsiteX171" fmla="*/ 10034 w 10034"/>
                <a:gd name="connsiteY171" fmla="*/ 0 h 10000"/>
                <a:gd name="connsiteX172" fmla="*/ 8467 w 10034"/>
                <a:gd name="connsiteY172" fmla="*/ 0 h 10000"/>
                <a:gd name="connsiteX0" fmla="*/ 8482 w 10049"/>
                <a:gd name="connsiteY0" fmla="*/ 0 h 10000"/>
                <a:gd name="connsiteX1" fmla="*/ 8482 w 10049"/>
                <a:gd name="connsiteY1" fmla="*/ 97 h 10000"/>
                <a:gd name="connsiteX2" fmla="*/ 8152 w 10049"/>
                <a:gd name="connsiteY2" fmla="*/ 357 h 10000"/>
                <a:gd name="connsiteX3" fmla="*/ 8482 w 10049"/>
                <a:gd name="connsiteY3" fmla="*/ 697 h 10000"/>
                <a:gd name="connsiteX4" fmla="*/ 7870 w 10049"/>
                <a:gd name="connsiteY4" fmla="*/ 981 h 10000"/>
                <a:gd name="connsiteX5" fmla="*/ 7776 w 10049"/>
                <a:gd name="connsiteY5" fmla="*/ 803 h 10000"/>
                <a:gd name="connsiteX6" fmla="*/ 7243 w 10049"/>
                <a:gd name="connsiteY6" fmla="*/ 803 h 10000"/>
                <a:gd name="connsiteX7" fmla="*/ 7087 w 10049"/>
                <a:gd name="connsiteY7" fmla="*/ 584 h 10000"/>
                <a:gd name="connsiteX8" fmla="*/ 7541 w 10049"/>
                <a:gd name="connsiteY8" fmla="*/ 397 h 10000"/>
                <a:gd name="connsiteX9" fmla="*/ 7102 w 10049"/>
                <a:gd name="connsiteY9" fmla="*/ 276 h 10000"/>
                <a:gd name="connsiteX10" fmla="*/ 6930 w 10049"/>
                <a:gd name="connsiteY10" fmla="*/ 187 h 10000"/>
                <a:gd name="connsiteX11" fmla="*/ 6616 w 10049"/>
                <a:gd name="connsiteY11" fmla="*/ 187 h 10000"/>
                <a:gd name="connsiteX12" fmla="*/ 6319 w 10049"/>
                <a:gd name="connsiteY12" fmla="*/ 341 h 10000"/>
                <a:gd name="connsiteX13" fmla="*/ 5848 w 10049"/>
                <a:gd name="connsiteY13" fmla="*/ 397 h 10000"/>
                <a:gd name="connsiteX14" fmla="*/ 6413 w 10049"/>
                <a:gd name="connsiteY14" fmla="*/ 479 h 10000"/>
                <a:gd name="connsiteX15" fmla="*/ 6632 w 10049"/>
                <a:gd name="connsiteY15" fmla="*/ 738 h 10000"/>
                <a:gd name="connsiteX16" fmla="*/ 6726 w 10049"/>
                <a:gd name="connsiteY16" fmla="*/ 981 h 10000"/>
                <a:gd name="connsiteX17" fmla="*/ 6883 w 10049"/>
                <a:gd name="connsiteY17" fmla="*/ 981 h 10000"/>
                <a:gd name="connsiteX18" fmla="*/ 7290 w 10049"/>
                <a:gd name="connsiteY18" fmla="*/ 981 h 10000"/>
                <a:gd name="connsiteX19" fmla="*/ 7322 w 10049"/>
                <a:gd name="connsiteY19" fmla="*/ 1103 h 10000"/>
                <a:gd name="connsiteX20" fmla="*/ 7525 w 10049"/>
                <a:gd name="connsiteY20" fmla="*/ 1160 h 10000"/>
                <a:gd name="connsiteX21" fmla="*/ 7541 w 10049"/>
                <a:gd name="connsiteY21" fmla="*/ 1371 h 10000"/>
                <a:gd name="connsiteX22" fmla="*/ 7698 w 10049"/>
                <a:gd name="connsiteY22" fmla="*/ 1590 h 10000"/>
                <a:gd name="connsiteX23" fmla="*/ 7228 w 10049"/>
                <a:gd name="connsiteY23" fmla="*/ 1444 h 10000"/>
                <a:gd name="connsiteX24" fmla="*/ 6899 w 10049"/>
                <a:gd name="connsiteY24" fmla="*/ 1484 h 10000"/>
                <a:gd name="connsiteX25" fmla="*/ 6616 w 10049"/>
                <a:gd name="connsiteY25" fmla="*/ 1484 h 10000"/>
                <a:gd name="connsiteX26" fmla="*/ 6413 w 10049"/>
                <a:gd name="connsiteY26" fmla="*/ 1825 h 10000"/>
                <a:gd name="connsiteX27" fmla="*/ 6287 w 10049"/>
                <a:gd name="connsiteY27" fmla="*/ 2028 h 10000"/>
                <a:gd name="connsiteX28" fmla="*/ 6225 w 10049"/>
                <a:gd name="connsiteY28" fmla="*/ 2271 h 10000"/>
                <a:gd name="connsiteX29" fmla="*/ 6616 w 10049"/>
                <a:gd name="connsiteY29" fmla="*/ 2401 h 10000"/>
                <a:gd name="connsiteX30" fmla="*/ 6993 w 10049"/>
                <a:gd name="connsiteY30" fmla="*/ 2595 h 10000"/>
                <a:gd name="connsiteX31" fmla="*/ 6585 w 10049"/>
                <a:gd name="connsiteY31" fmla="*/ 2798 h 10000"/>
                <a:gd name="connsiteX32" fmla="*/ 6397 w 10049"/>
                <a:gd name="connsiteY32" fmla="*/ 2701 h 10000"/>
                <a:gd name="connsiteX33" fmla="*/ 6162 w 10049"/>
                <a:gd name="connsiteY33" fmla="*/ 2660 h 10000"/>
                <a:gd name="connsiteX34" fmla="*/ 5676 w 10049"/>
                <a:gd name="connsiteY34" fmla="*/ 2749 h 10000"/>
                <a:gd name="connsiteX35" fmla="*/ 5190 w 10049"/>
                <a:gd name="connsiteY35" fmla="*/ 2595 h 10000"/>
                <a:gd name="connsiteX36" fmla="*/ 4939 w 10049"/>
                <a:gd name="connsiteY36" fmla="*/ 2603 h 10000"/>
                <a:gd name="connsiteX37" fmla="*/ 5080 w 10049"/>
                <a:gd name="connsiteY37" fmla="*/ 2733 h 10000"/>
                <a:gd name="connsiteX38" fmla="*/ 5033 w 10049"/>
                <a:gd name="connsiteY38" fmla="*/ 2822 h 10000"/>
                <a:gd name="connsiteX39" fmla="*/ 5535 w 10049"/>
                <a:gd name="connsiteY39" fmla="*/ 3025 h 10000"/>
                <a:gd name="connsiteX40" fmla="*/ 5801 w 10049"/>
                <a:gd name="connsiteY40" fmla="*/ 2928 h 10000"/>
                <a:gd name="connsiteX41" fmla="*/ 6162 w 10049"/>
                <a:gd name="connsiteY41" fmla="*/ 3114 h 10000"/>
                <a:gd name="connsiteX42" fmla="*/ 5958 w 10049"/>
                <a:gd name="connsiteY42" fmla="*/ 3317 h 10000"/>
                <a:gd name="connsiteX43" fmla="*/ 5660 w 10049"/>
                <a:gd name="connsiteY43" fmla="*/ 3317 h 10000"/>
                <a:gd name="connsiteX44" fmla="*/ 5096 w 10049"/>
                <a:gd name="connsiteY44" fmla="*/ 3268 h 10000"/>
                <a:gd name="connsiteX45" fmla="*/ 5049 w 10049"/>
                <a:gd name="connsiteY45" fmla="*/ 3139 h 10000"/>
                <a:gd name="connsiteX46" fmla="*/ 4751 w 10049"/>
                <a:gd name="connsiteY46" fmla="*/ 3147 h 10000"/>
                <a:gd name="connsiteX47" fmla="*/ 4579 w 10049"/>
                <a:gd name="connsiteY47" fmla="*/ 3268 h 10000"/>
                <a:gd name="connsiteX48" fmla="*/ 4281 w 10049"/>
                <a:gd name="connsiteY48" fmla="*/ 3187 h 10000"/>
                <a:gd name="connsiteX49" fmla="*/ 4344 w 10049"/>
                <a:gd name="connsiteY49" fmla="*/ 3017 h 10000"/>
                <a:gd name="connsiteX50" fmla="*/ 3920 w 10049"/>
                <a:gd name="connsiteY50" fmla="*/ 2863 h 10000"/>
                <a:gd name="connsiteX51" fmla="*/ 3842 w 10049"/>
                <a:gd name="connsiteY51" fmla="*/ 2863 h 10000"/>
                <a:gd name="connsiteX52" fmla="*/ 3685 w 10049"/>
                <a:gd name="connsiteY52" fmla="*/ 2741 h 10000"/>
                <a:gd name="connsiteX53" fmla="*/ 3842 w 10049"/>
                <a:gd name="connsiteY53" fmla="*/ 2636 h 10000"/>
                <a:gd name="connsiteX54" fmla="*/ 3576 w 10049"/>
                <a:gd name="connsiteY54" fmla="*/ 2433 h 10000"/>
                <a:gd name="connsiteX55" fmla="*/ 3246 w 10049"/>
                <a:gd name="connsiteY55" fmla="*/ 2384 h 10000"/>
                <a:gd name="connsiteX56" fmla="*/ 2980 w 10049"/>
                <a:gd name="connsiteY56" fmla="*/ 2336 h 10000"/>
                <a:gd name="connsiteX57" fmla="*/ 2870 w 10049"/>
                <a:gd name="connsiteY57" fmla="*/ 2247 h 10000"/>
                <a:gd name="connsiteX58" fmla="*/ 2290 w 10049"/>
                <a:gd name="connsiteY58" fmla="*/ 2190 h 10000"/>
                <a:gd name="connsiteX59" fmla="*/ 2149 w 10049"/>
                <a:gd name="connsiteY59" fmla="*/ 2117 h 10000"/>
                <a:gd name="connsiteX60" fmla="*/ 1899 w 10049"/>
                <a:gd name="connsiteY60" fmla="*/ 2060 h 10000"/>
                <a:gd name="connsiteX61" fmla="*/ 2055 w 10049"/>
                <a:gd name="connsiteY61" fmla="*/ 1979 h 10000"/>
                <a:gd name="connsiteX62" fmla="*/ 2369 w 10049"/>
                <a:gd name="connsiteY62" fmla="*/ 2003 h 10000"/>
                <a:gd name="connsiteX63" fmla="*/ 2525 w 10049"/>
                <a:gd name="connsiteY63" fmla="*/ 2117 h 10000"/>
                <a:gd name="connsiteX64" fmla="*/ 2792 w 10049"/>
                <a:gd name="connsiteY64" fmla="*/ 2117 h 10000"/>
                <a:gd name="connsiteX65" fmla="*/ 3262 w 10049"/>
                <a:gd name="connsiteY65" fmla="*/ 2117 h 10000"/>
                <a:gd name="connsiteX66" fmla="*/ 3435 w 10049"/>
                <a:gd name="connsiteY66" fmla="*/ 2068 h 10000"/>
                <a:gd name="connsiteX67" fmla="*/ 3842 w 10049"/>
                <a:gd name="connsiteY67" fmla="*/ 2117 h 10000"/>
                <a:gd name="connsiteX68" fmla="*/ 4375 w 10049"/>
                <a:gd name="connsiteY68" fmla="*/ 2117 h 10000"/>
                <a:gd name="connsiteX69" fmla="*/ 5159 w 10049"/>
                <a:gd name="connsiteY69" fmla="*/ 2084 h 10000"/>
                <a:gd name="connsiteX70" fmla="*/ 5958 w 10049"/>
                <a:gd name="connsiteY70" fmla="*/ 1784 h 10000"/>
                <a:gd name="connsiteX71" fmla="*/ 5958 w 10049"/>
                <a:gd name="connsiteY71" fmla="*/ 1387 h 10000"/>
                <a:gd name="connsiteX72" fmla="*/ 5645 w 10049"/>
                <a:gd name="connsiteY72" fmla="*/ 1176 h 10000"/>
                <a:gd name="connsiteX73" fmla="*/ 5300 w 10049"/>
                <a:gd name="connsiteY73" fmla="*/ 1030 h 10000"/>
                <a:gd name="connsiteX74" fmla="*/ 4751 w 10049"/>
                <a:gd name="connsiteY74" fmla="*/ 981 h 10000"/>
                <a:gd name="connsiteX75" fmla="*/ 4359 w 10049"/>
                <a:gd name="connsiteY75" fmla="*/ 981 h 10000"/>
                <a:gd name="connsiteX76" fmla="*/ 3967 w 10049"/>
                <a:gd name="connsiteY76" fmla="*/ 981 h 10000"/>
                <a:gd name="connsiteX77" fmla="*/ 3450 w 10049"/>
                <a:gd name="connsiteY77" fmla="*/ 803 h 10000"/>
                <a:gd name="connsiteX78" fmla="*/ 2792 w 10049"/>
                <a:gd name="connsiteY78" fmla="*/ 738 h 10000"/>
                <a:gd name="connsiteX79" fmla="*/ 2353 w 10049"/>
                <a:gd name="connsiteY79" fmla="*/ 762 h 10000"/>
                <a:gd name="connsiteX80" fmla="*/ 1789 w 10049"/>
                <a:gd name="connsiteY80" fmla="*/ 787 h 10000"/>
                <a:gd name="connsiteX81" fmla="*/ 1679 w 10049"/>
                <a:gd name="connsiteY81" fmla="*/ 860 h 10000"/>
                <a:gd name="connsiteX82" fmla="*/ 1573 w 10049"/>
                <a:gd name="connsiteY82" fmla="*/ 709 h 10000"/>
                <a:gd name="connsiteX83" fmla="*/ 1344 w 10049"/>
                <a:gd name="connsiteY83" fmla="*/ 784 h 10000"/>
                <a:gd name="connsiteX84" fmla="*/ 1104 w 10049"/>
                <a:gd name="connsiteY84" fmla="*/ 706 h 10000"/>
                <a:gd name="connsiteX85" fmla="*/ 987 w 10049"/>
                <a:gd name="connsiteY85" fmla="*/ 910 h 10000"/>
                <a:gd name="connsiteX86" fmla="*/ 620 w 10049"/>
                <a:gd name="connsiteY86" fmla="*/ 1154 h 10000"/>
                <a:gd name="connsiteX87" fmla="*/ 568 w 10049"/>
                <a:gd name="connsiteY87" fmla="*/ 1389 h 10000"/>
                <a:gd name="connsiteX88" fmla="*/ 612 w 10049"/>
                <a:gd name="connsiteY88" fmla="*/ 1540 h 10000"/>
                <a:gd name="connsiteX89" fmla="*/ 49 w 10049"/>
                <a:gd name="connsiteY89" fmla="*/ 1679 h 10000"/>
                <a:gd name="connsiteX90" fmla="*/ 80 w 10049"/>
                <a:gd name="connsiteY90" fmla="*/ 1687 h 10000"/>
                <a:gd name="connsiteX91" fmla="*/ 510 w 10049"/>
                <a:gd name="connsiteY91" fmla="*/ 1628 h 10000"/>
                <a:gd name="connsiteX92" fmla="*/ 425 w 10049"/>
                <a:gd name="connsiteY92" fmla="*/ 1727 h 10000"/>
                <a:gd name="connsiteX93" fmla="*/ 566 w 10049"/>
                <a:gd name="connsiteY93" fmla="*/ 1800 h 10000"/>
                <a:gd name="connsiteX94" fmla="*/ 848 w 10049"/>
                <a:gd name="connsiteY94" fmla="*/ 1833 h 10000"/>
                <a:gd name="connsiteX95" fmla="*/ 942 w 10049"/>
                <a:gd name="connsiteY95" fmla="*/ 1971 h 10000"/>
                <a:gd name="connsiteX96" fmla="*/ 739 w 10049"/>
                <a:gd name="connsiteY96" fmla="*/ 2376 h 10000"/>
                <a:gd name="connsiteX97" fmla="*/ 942 w 10049"/>
                <a:gd name="connsiteY97" fmla="*/ 2457 h 10000"/>
                <a:gd name="connsiteX98" fmla="*/ 1726 w 10049"/>
                <a:gd name="connsiteY98" fmla="*/ 2879 h 10000"/>
                <a:gd name="connsiteX99" fmla="*/ 1507 w 10049"/>
                <a:gd name="connsiteY99" fmla="*/ 2976 h 10000"/>
                <a:gd name="connsiteX100" fmla="*/ 1507 w 10049"/>
                <a:gd name="connsiteY100" fmla="*/ 3179 h 10000"/>
                <a:gd name="connsiteX101" fmla="*/ 1726 w 10049"/>
                <a:gd name="connsiteY101" fmla="*/ 3220 h 10000"/>
                <a:gd name="connsiteX102" fmla="*/ 1663 w 10049"/>
                <a:gd name="connsiteY102" fmla="*/ 3333 h 10000"/>
                <a:gd name="connsiteX103" fmla="*/ 1836 w 10049"/>
                <a:gd name="connsiteY103" fmla="*/ 3398 h 10000"/>
                <a:gd name="connsiteX104" fmla="*/ 2008 w 10049"/>
                <a:gd name="connsiteY104" fmla="*/ 3366 h 10000"/>
                <a:gd name="connsiteX105" fmla="*/ 2040 w 10049"/>
                <a:gd name="connsiteY105" fmla="*/ 3528 h 10000"/>
                <a:gd name="connsiteX106" fmla="*/ 2181 w 10049"/>
                <a:gd name="connsiteY106" fmla="*/ 3609 h 10000"/>
                <a:gd name="connsiteX107" fmla="*/ 2369 w 10049"/>
                <a:gd name="connsiteY107" fmla="*/ 3577 h 10000"/>
                <a:gd name="connsiteX108" fmla="*/ 2510 w 10049"/>
                <a:gd name="connsiteY108" fmla="*/ 3715 h 10000"/>
                <a:gd name="connsiteX109" fmla="*/ 2384 w 10049"/>
                <a:gd name="connsiteY109" fmla="*/ 3950 h 10000"/>
                <a:gd name="connsiteX110" fmla="*/ 3325 w 10049"/>
                <a:gd name="connsiteY110" fmla="*/ 4193 h 10000"/>
                <a:gd name="connsiteX111" fmla="*/ 3341 w 10049"/>
                <a:gd name="connsiteY111" fmla="*/ 4599 h 10000"/>
                <a:gd name="connsiteX112" fmla="*/ 2855 w 10049"/>
                <a:gd name="connsiteY112" fmla="*/ 5239 h 10000"/>
                <a:gd name="connsiteX113" fmla="*/ 2337 w 10049"/>
                <a:gd name="connsiteY113" fmla="*/ 5677 h 10000"/>
                <a:gd name="connsiteX114" fmla="*/ 2604 w 10049"/>
                <a:gd name="connsiteY114" fmla="*/ 5612 h 10000"/>
                <a:gd name="connsiteX115" fmla="*/ 2667 w 10049"/>
                <a:gd name="connsiteY115" fmla="*/ 5766 h 10000"/>
                <a:gd name="connsiteX116" fmla="*/ 2980 w 10049"/>
                <a:gd name="connsiteY116" fmla="*/ 5839 h 10000"/>
                <a:gd name="connsiteX117" fmla="*/ 3419 w 10049"/>
                <a:gd name="connsiteY117" fmla="*/ 5775 h 10000"/>
                <a:gd name="connsiteX118" fmla="*/ 3842 w 10049"/>
                <a:gd name="connsiteY118" fmla="*/ 5864 h 10000"/>
                <a:gd name="connsiteX119" fmla="*/ 3842 w 10049"/>
                <a:gd name="connsiteY119" fmla="*/ 5994 h 10000"/>
                <a:gd name="connsiteX120" fmla="*/ 3105 w 10049"/>
                <a:gd name="connsiteY120" fmla="*/ 5969 h 10000"/>
                <a:gd name="connsiteX121" fmla="*/ 2980 w 10049"/>
                <a:gd name="connsiteY121" fmla="*/ 6091 h 10000"/>
                <a:gd name="connsiteX122" fmla="*/ 2604 w 10049"/>
                <a:gd name="connsiteY122" fmla="*/ 6172 h 10000"/>
                <a:gd name="connsiteX123" fmla="*/ 2682 w 10049"/>
                <a:gd name="connsiteY123" fmla="*/ 6269 h 10000"/>
                <a:gd name="connsiteX124" fmla="*/ 2761 w 10049"/>
                <a:gd name="connsiteY124" fmla="*/ 6326 h 10000"/>
                <a:gd name="connsiteX125" fmla="*/ 2588 w 10049"/>
                <a:gd name="connsiteY125" fmla="*/ 6415 h 10000"/>
                <a:gd name="connsiteX126" fmla="*/ 2635 w 10049"/>
                <a:gd name="connsiteY126" fmla="*/ 6537 h 10000"/>
                <a:gd name="connsiteX127" fmla="*/ 2447 w 10049"/>
                <a:gd name="connsiteY127" fmla="*/ 6642 h 10000"/>
                <a:gd name="connsiteX128" fmla="*/ 2541 w 10049"/>
                <a:gd name="connsiteY128" fmla="*/ 6788 h 10000"/>
                <a:gd name="connsiteX129" fmla="*/ 2729 w 10049"/>
                <a:gd name="connsiteY129" fmla="*/ 6821 h 10000"/>
                <a:gd name="connsiteX130" fmla="*/ 2651 w 10049"/>
                <a:gd name="connsiteY130" fmla="*/ 6983 h 10000"/>
                <a:gd name="connsiteX131" fmla="*/ 2870 w 10049"/>
                <a:gd name="connsiteY131" fmla="*/ 7015 h 10000"/>
                <a:gd name="connsiteX132" fmla="*/ 2980 w 10049"/>
                <a:gd name="connsiteY132" fmla="*/ 7145 h 10000"/>
                <a:gd name="connsiteX133" fmla="*/ 2855 w 10049"/>
                <a:gd name="connsiteY133" fmla="*/ 7202 h 10000"/>
                <a:gd name="connsiteX134" fmla="*/ 2870 w 10049"/>
                <a:gd name="connsiteY134" fmla="*/ 7299 h 10000"/>
                <a:gd name="connsiteX135" fmla="*/ 2980 w 10049"/>
                <a:gd name="connsiteY135" fmla="*/ 7388 h 10000"/>
                <a:gd name="connsiteX136" fmla="*/ 3341 w 10049"/>
                <a:gd name="connsiteY136" fmla="*/ 7486 h 10000"/>
                <a:gd name="connsiteX137" fmla="*/ 3215 w 10049"/>
                <a:gd name="connsiteY137" fmla="*/ 7575 h 10000"/>
                <a:gd name="connsiteX138" fmla="*/ 3341 w 10049"/>
                <a:gd name="connsiteY138" fmla="*/ 7737 h 10000"/>
                <a:gd name="connsiteX139" fmla="*/ 3466 w 10049"/>
                <a:gd name="connsiteY139" fmla="*/ 7737 h 10000"/>
                <a:gd name="connsiteX140" fmla="*/ 3560 w 10049"/>
                <a:gd name="connsiteY140" fmla="*/ 7810 h 10000"/>
                <a:gd name="connsiteX141" fmla="*/ 3842 w 10049"/>
                <a:gd name="connsiteY141" fmla="*/ 7908 h 10000"/>
                <a:gd name="connsiteX142" fmla="*/ 3842 w 10049"/>
                <a:gd name="connsiteY142" fmla="*/ 7997 h 10000"/>
                <a:gd name="connsiteX143" fmla="*/ 4124 w 10049"/>
                <a:gd name="connsiteY143" fmla="*/ 7972 h 10000"/>
                <a:gd name="connsiteX144" fmla="*/ 4626 w 10049"/>
                <a:gd name="connsiteY144" fmla="*/ 7972 h 10000"/>
                <a:gd name="connsiteX145" fmla="*/ 4767 w 10049"/>
                <a:gd name="connsiteY145" fmla="*/ 8167 h 10000"/>
                <a:gd name="connsiteX146" fmla="*/ 5190 w 10049"/>
                <a:gd name="connsiteY146" fmla="*/ 7972 h 10000"/>
                <a:gd name="connsiteX147" fmla="*/ 5770 w 10049"/>
                <a:gd name="connsiteY147" fmla="*/ 8078 h 10000"/>
                <a:gd name="connsiteX148" fmla="*/ 5895 w 10049"/>
                <a:gd name="connsiteY148" fmla="*/ 8289 h 10000"/>
                <a:gd name="connsiteX149" fmla="*/ 5895 w 10049"/>
                <a:gd name="connsiteY149" fmla="*/ 8467 h 10000"/>
                <a:gd name="connsiteX150" fmla="*/ 6162 w 10049"/>
                <a:gd name="connsiteY150" fmla="*/ 8483 h 10000"/>
                <a:gd name="connsiteX151" fmla="*/ 6272 w 10049"/>
                <a:gd name="connsiteY151" fmla="*/ 8581 h 10000"/>
                <a:gd name="connsiteX152" fmla="*/ 6585 w 10049"/>
                <a:gd name="connsiteY152" fmla="*/ 8710 h 10000"/>
                <a:gd name="connsiteX153" fmla="*/ 6961 w 10049"/>
                <a:gd name="connsiteY153" fmla="*/ 8759 h 10000"/>
                <a:gd name="connsiteX154" fmla="*/ 6977 w 10049"/>
                <a:gd name="connsiteY154" fmla="*/ 8889 h 10000"/>
                <a:gd name="connsiteX155" fmla="*/ 7416 w 10049"/>
                <a:gd name="connsiteY155" fmla="*/ 8856 h 10000"/>
                <a:gd name="connsiteX156" fmla="*/ 7745 w 10049"/>
                <a:gd name="connsiteY156" fmla="*/ 9027 h 10000"/>
                <a:gd name="connsiteX157" fmla="*/ 7635 w 10049"/>
                <a:gd name="connsiteY157" fmla="*/ 9238 h 10000"/>
                <a:gd name="connsiteX158" fmla="*/ 6961 w 10049"/>
                <a:gd name="connsiteY158" fmla="*/ 9238 h 10000"/>
                <a:gd name="connsiteX159" fmla="*/ 6852 w 10049"/>
                <a:gd name="connsiteY159" fmla="*/ 9343 h 10000"/>
                <a:gd name="connsiteX160" fmla="*/ 7181 w 10049"/>
                <a:gd name="connsiteY160" fmla="*/ 9424 h 10000"/>
                <a:gd name="connsiteX161" fmla="*/ 7228 w 10049"/>
                <a:gd name="connsiteY161" fmla="*/ 9594 h 10000"/>
                <a:gd name="connsiteX162" fmla="*/ 7510 w 10049"/>
                <a:gd name="connsiteY162" fmla="*/ 9805 h 10000"/>
                <a:gd name="connsiteX163" fmla="*/ 7886 w 10049"/>
                <a:gd name="connsiteY163" fmla="*/ 9813 h 10000"/>
                <a:gd name="connsiteX164" fmla="*/ 7902 w 10049"/>
                <a:gd name="connsiteY164" fmla="*/ 9659 h 10000"/>
                <a:gd name="connsiteX165" fmla="*/ 8513 w 10049"/>
                <a:gd name="connsiteY165" fmla="*/ 9521 h 10000"/>
                <a:gd name="connsiteX166" fmla="*/ 9109 w 10049"/>
                <a:gd name="connsiteY166" fmla="*/ 9521 h 10000"/>
                <a:gd name="connsiteX167" fmla="*/ 9594 w 10049"/>
                <a:gd name="connsiteY167" fmla="*/ 9659 h 10000"/>
                <a:gd name="connsiteX168" fmla="*/ 9328 w 10049"/>
                <a:gd name="connsiteY168" fmla="*/ 9789 h 10000"/>
                <a:gd name="connsiteX169" fmla="*/ 9673 w 10049"/>
                <a:gd name="connsiteY169" fmla="*/ 10000 h 10000"/>
                <a:gd name="connsiteX170" fmla="*/ 10049 w 10049"/>
                <a:gd name="connsiteY170" fmla="*/ 9951 h 10000"/>
                <a:gd name="connsiteX171" fmla="*/ 10049 w 10049"/>
                <a:gd name="connsiteY171" fmla="*/ 0 h 10000"/>
                <a:gd name="connsiteX172" fmla="*/ 8482 w 10049"/>
                <a:gd name="connsiteY172" fmla="*/ 0 h 10000"/>
                <a:gd name="connsiteX0" fmla="*/ 8482 w 10049"/>
                <a:gd name="connsiteY0" fmla="*/ 0 h 10000"/>
                <a:gd name="connsiteX1" fmla="*/ 8482 w 10049"/>
                <a:gd name="connsiteY1" fmla="*/ 97 h 10000"/>
                <a:gd name="connsiteX2" fmla="*/ 8152 w 10049"/>
                <a:gd name="connsiteY2" fmla="*/ 357 h 10000"/>
                <a:gd name="connsiteX3" fmla="*/ 8482 w 10049"/>
                <a:gd name="connsiteY3" fmla="*/ 697 h 10000"/>
                <a:gd name="connsiteX4" fmla="*/ 7870 w 10049"/>
                <a:gd name="connsiteY4" fmla="*/ 981 h 10000"/>
                <a:gd name="connsiteX5" fmla="*/ 7776 w 10049"/>
                <a:gd name="connsiteY5" fmla="*/ 803 h 10000"/>
                <a:gd name="connsiteX6" fmla="*/ 7243 w 10049"/>
                <a:gd name="connsiteY6" fmla="*/ 803 h 10000"/>
                <a:gd name="connsiteX7" fmla="*/ 7087 w 10049"/>
                <a:gd name="connsiteY7" fmla="*/ 584 h 10000"/>
                <a:gd name="connsiteX8" fmla="*/ 7541 w 10049"/>
                <a:gd name="connsiteY8" fmla="*/ 397 h 10000"/>
                <a:gd name="connsiteX9" fmla="*/ 7102 w 10049"/>
                <a:gd name="connsiteY9" fmla="*/ 276 h 10000"/>
                <a:gd name="connsiteX10" fmla="*/ 6930 w 10049"/>
                <a:gd name="connsiteY10" fmla="*/ 187 h 10000"/>
                <a:gd name="connsiteX11" fmla="*/ 6616 w 10049"/>
                <a:gd name="connsiteY11" fmla="*/ 187 h 10000"/>
                <a:gd name="connsiteX12" fmla="*/ 6319 w 10049"/>
                <a:gd name="connsiteY12" fmla="*/ 341 h 10000"/>
                <a:gd name="connsiteX13" fmla="*/ 5848 w 10049"/>
                <a:gd name="connsiteY13" fmla="*/ 397 h 10000"/>
                <a:gd name="connsiteX14" fmla="*/ 6413 w 10049"/>
                <a:gd name="connsiteY14" fmla="*/ 479 h 10000"/>
                <a:gd name="connsiteX15" fmla="*/ 6632 w 10049"/>
                <a:gd name="connsiteY15" fmla="*/ 738 h 10000"/>
                <a:gd name="connsiteX16" fmla="*/ 6726 w 10049"/>
                <a:gd name="connsiteY16" fmla="*/ 981 h 10000"/>
                <a:gd name="connsiteX17" fmla="*/ 6883 w 10049"/>
                <a:gd name="connsiteY17" fmla="*/ 981 h 10000"/>
                <a:gd name="connsiteX18" fmla="*/ 7290 w 10049"/>
                <a:gd name="connsiteY18" fmla="*/ 981 h 10000"/>
                <a:gd name="connsiteX19" fmla="*/ 7322 w 10049"/>
                <a:gd name="connsiteY19" fmla="*/ 1103 h 10000"/>
                <a:gd name="connsiteX20" fmla="*/ 7525 w 10049"/>
                <a:gd name="connsiteY20" fmla="*/ 1160 h 10000"/>
                <a:gd name="connsiteX21" fmla="*/ 7541 w 10049"/>
                <a:gd name="connsiteY21" fmla="*/ 1371 h 10000"/>
                <a:gd name="connsiteX22" fmla="*/ 7698 w 10049"/>
                <a:gd name="connsiteY22" fmla="*/ 1590 h 10000"/>
                <a:gd name="connsiteX23" fmla="*/ 7228 w 10049"/>
                <a:gd name="connsiteY23" fmla="*/ 1444 h 10000"/>
                <a:gd name="connsiteX24" fmla="*/ 6899 w 10049"/>
                <a:gd name="connsiteY24" fmla="*/ 1484 h 10000"/>
                <a:gd name="connsiteX25" fmla="*/ 6616 w 10049"/>
                <a:gd name="connsiteY25" fmla="*/ 1484 h 10000"/>
                <a:gd name="connsiteX26" fmla="*/ 6413 w 10049"/>
                <a:gd name="connsiteY26" fmla="*/ 1825 h 10000"/>
                <a:gd name="connsiteX27" fmla="*/ 6287 w 10049"/>
                <a:gd name="connsiteY27" fmla="*/ 2028 h 10000"/>
                <a:gd name="connsiteX28" fmla="*/ 6225 w 10049"/>
                <a:gd name="connsiteY28" fmla="*/ 2271 h 10000"/>
                <a:gd name="connsiteX29" fmla="*/ 6616 w 10049"/>
                <a:gd name="connsiteY29" fmla="*/ 2401 h 10000"/>
                <a:gd name="connsiteX30" fmla="*/ 6993 w 10049"/>
                <a:gd name="connsiteY30" fmla="*/ 2595 h 10000"/>
                <a:gd name="connsiteX31" fmla="*/ 6585 w 10049"/>
                <a:gd name="connsiteY31" fmla="*/ 2798 h 10000"/>
                <a:gd name="connsiteX32" fmla="*/ 6397 w 10049"/>
                <a:gd name="connsiteY32" fmla="*/ 2701 h 10000"/>
                <a:gd name="connsiteX33" fmla="*/ 6162 w 10049"/>
                <a:gd name="connsiteY33" fmla="*/ 2660 h 10000"/>
                <a:gd name="connsiteX34" fmla="*/ 5676 w 10049"/>
                <a:gd name="connsiteY34" fmla="*/ 2749 h 10000"/>
                <a:gd name="connsiteX35" fmla="*/ 5190 w 10049"/>
                <a:gd name="connsiteY35" fmla="*/ 2595 h 10000"/>
                <a:gd name="connsiteX36" fmla="*/ 4939 w 10049"/>
                <a:gd name="connsiteY36" fmla="*/ 2603 h 10000"/>
                <a:gd name="connsiteX37" fmla="*/ 5080 w 10049"/>
                <a:gd name="connsiteY37" fmla="*/ 2733 h 10000"/>
                <a:gd name="connsiteX38" fmla="*/ 5033 w 10049"/>
                <a:gd name="connsiteY38" fmla="*/ 2822 h 10000"/>
                <a:gd name="connsiteX39" fmla="*/ 5535 w 10049"/>
                <a:gd name="connsiteY39" fmla="*/ 3025 h 10000"/>
                <a:gd name="connsiteX40" fmla="*/ 5801 w 10049"/>
                <a:gd name="connsiteY40" fmla="*/ 2928 h 10000"/>
                <a:gd name="connsiteX41" fmla="*/ 6162 w 10049"/>
                <a:gd name="connsiteY41" fmla="*/ 3114 h 10000"/>
                <a:gd name="connsiteX42" fmla="*/ 5958 w 10049"/>
                <a:gd name="connsiteY42" fmla="*/ 3317 h 10000"/>
                <a:gd name="connsiteX43" fmla="*/ 5660 w 10049"/>
                <a:gd name="connsiteY43" fmla="*/ 3317 h 10000"/>
                <a:gd name="connsiteX44" fmla="*/ 5096 w 10049"/>
                <a:gd name="connsiteY44" fmla="*/ 3268 h 10000"/>
                <a:gd name="connsiteX45" fmla="*/ 5049 w 10049"/>
                <a:gd name="connsiteY45" fmla="*/ 3139 h 10000"/>
                <a:gd name="connsiteX46" fmla="*/ 4751 w 10049"/>
                <a:gd name="connsiteY46" fmla="*/ 3147 h 10000"/>
                <a:gd name="connsiteX47" fmla="*/ 4579 w 10049"/>
                <a:gd name="connsiteY47" fmla="*/ 3268 h 10000"/>
                <a:gd name="connsiteX48" fmla="*/ 4281 w 10049"/>
                <a:gd name="connsiteY48" fmla="*/ 3187 h 10000"/>
                <a:gd name="connsiteX49" fmla="*/ 4344 w 10049"/>
                <a:gd name="connsiteY49" fmla="*/ 3017 h 10000"/>
                <a:gd name="connsiteX50" fmla="*/ 3920 w 10049"/>
                <a:gd name="connsiteY50" fmla="*/ 2863 h 10000"/>
                <a:gd name="connsiteX51" fmla="*/ 3842 w 10049"/>
                <a:gd name="connsiteY51" fmla="*/ 2863 h 10000"/>
                <a:gd name="connsiteX52" fmla="*/ 3685 w 10049"/>
                <a:gd name="connsiteY52" fmla="*/ 2741 h 10000"/>
                <a:gd name="connsiteX53" fmla="*/ 3842 w 10049"/>
                <a:gd name="connsiteY53" fmla="*/ 2636 h 10000"/>
                <a:gd name="connsiteX54" fmla="*/ 3576 w 10049"/>
                <a:gd name="connsiteY54" fmla="*/ 2433 h 10000"/>
                <a:gd name="connsiteX55" fmla="*/ 3246 w 10049"/>
                <a:gd name="connsiteY55" fmla="*/ 2384 h 10000"/>
                <a:gd name="connsiteX56" fmla="*/ 2980 w 10049"/>
                <a:gd name="connsiteY56" fmla="*/ 2336 h 10000"/>
                <a:gd name="connsiteX57" fmla="*/ 2870 w 10049"/>
                <a:gd name="connsiteY57" fmla="*/ 2247 h 10000"/>
                <a:gd name="connsiteX58" fmla="*/ 2290 w 10049"/>
                <a:gd name="connsiteY58" fmla="*/ 2190 h 10000"/>
                <a:gd name="connsiteX59" fmla="*/ 2149 w 10049"/>
                <a:gd name="connsiteY59" fmla="*/ 2117 h 10000"/>
                <a:gd name="connsiteX60" fmla="*/ 1899 w 10049"/>
                <a:gd name="connsiteY60" fmla="*/ 2060 h 10000"/>
                <a:gd name="connsiteX61" fmla="*/ 2055 w 10049"/>
                <a:gd name="connsiteY61" fmla="*/ 1979 h 10000"/>
                <a:gd name="connsiteX62" fmla="*/ 2369 w 10049"/>
                <a:gd name="connsiteY62" fmla="*/ 2003 h 10000"/>
                <a:gd name="connsiteX63" fmla="*/ 2525 w 10049"/>
                <a:gd name="connsiteY63" fmla="*/ 2117 h 10000"/>
                <a:gd name="connsiteX64" fmla="*/ 2792 w 10049"/>
                <a:gd name="connsiteY64" fmla="*/ 2117 h 10000"/>
                <a:gd name="connsiteX65" fmla="*/ 3262 w 10049"/>
                <a:gd name="connsiteY65" fmla="*/ 2117 h 10000"/>
                <a:gd name="connsiteX66" fmla="*/ 3435 w 10049"/>
                <a:gd name="connsiteY66" fmla="*/ 2068 h 10000"/>
                <a:gd name="connsiteX67" fmla="*/ 3842 w 10049"/>
                <a:gd name="connsiteY67" fmla="*/ 2117 h 10000"/>
                <a:gd name="connsiteX68" fmla="*/ 4375 w 10049"/>
                <a:gd name="connsiteY68" fmla="*/ 2117 h 10000"/>
                <a:gd name="connsiteX69" fmla="*/ 5159 w 10049"/>
                <a:gd name="connsiteY69" fmla="*/ 2084 h 10000"/>
                <a:gd name="connsiteX70" fmla="*/ 5958 w 10049"/>
                <a:gd name="connsiteY70" fmla="*/ 1784 h 10000"/>
                <a:gd name="connsiteX71" fmla="*/ 5958 w 10049"/>
                <a:gd name="connsiteY71" fmla="*/ 1387 h 10000"/>
                <a:gd name="connsiteX72" fmla="*/ 5645 w 10049"/>
                <a:gd name="connsiteY72" fmla="*/ 1176 h 10000"/>
                <a:gd name="connsiteX73" fmla="*/ 5300 w 10049"/>
                <a:gd name="connsiteY73" fmla="*/ 1030 h 10000"/>
                <a:gd name="connsiteX74" fmla="*/ 4751 w 10049"/>
                <a:gd name="connsiteY74" fmla="*/ 981 h 10000"/>
                <a:gd name="connsiteX75" fmla="*/ 4359 w 10049"/>
                <a:gd name="connsiteY75" fmla="*/ 981 h 10000"/>
                <a:gd name="connsiteX76" fmla="*/ 3967 w 10049"/>
                <a:gd name="connsiteY76" fmla="*/ 981 h 10000"/>
                <a:gd name="connsiteX77" fmla="*/ 3450 w 10049"/>
                <a:gd name="connsiteY77" fmla="*/ 803 h 10000"/>
                <a:gd name="connsiteX78" fmla="*/ 2792 w 10049"/>
                <a:gd name="connsiteY78" fmla="*/ 738 h 10000"/>
                <a:gd name="connsiteX79" fmla="*/ 2353 w 10049"/>
                <a:gd name="connsiteY79" fmla="*/ 762 h 10000"/>
                <a:gd name="connsiteX80" fmla="*/ 1789 w 10049"/>
                <a:gd name="connsiteY80" fmla="*/ 787 h 10000"/>
                <a:gd name="connsiteX81" fmla="*/ 1679 w 10049"/>
                <a:gd name="connsiteY81" fmla="*/ 860 h 10000"/>
                <a:gd name="connsiteX82" fmla="*/ 1573 w 10049"/>
                <a:gd name="connsiteY82" fmla="*/ 709 h 10000"/>
                <a:gd name="connsiteX83" fmla="*/ 1344 w 10049"/>
                <a:gd name="connsiteY83" fmla="*/ 784 h 10000"/>
                <a:gd name="connsiteX84" fmla="*/ 1104 w 10049"/>
                <a:gd name="connsiteY84" fmla="*/ 706 h 10000"/>
                <a:gd name="connsiteX85" fmla="*/ 987 w 10049"/>
                <a:gd name="connsiteY85" fmla="*/ 910 h 10000"/>
                <a:gd name="connsiteX86" fmla="*/ 620 w 10049"/>
                <a:gd name="connsiteY86" fmla="*/ 1154 h 10000"/>
                <a:gd name="connsiteX87" fmla="*/ 568 w 10049"/>
                <a:gd name="connsiteY87" fmla="*/ 1389 h 10000"/>
                <a:gd name="connsiteX88" fmla="*/ 612 w 10049"/>
                <a:gd name="connsiteY88" fmla="*/ 1540 h 10000"/>
                <a:gd name="connsiteX89" fmla="*/ 49 w 10049"/>
                <a:gd name="connsiteY89" fmla="*/ 1679 h 10000"/>
                <a:gd name="connsiteX90" fmla="*/ 80 w 10049"/>
                <a:gd name="connsiteY90" fmla="*/ 1687 h 10000"/>
                <a:gd name="connsiteX91" fmla="*/ 510 w 10049"/>
                <a:gd name="connsiteY91" fmla="*/ 1628 h 10000"/>
                <a:gd name="connsiteX92" fmla="*/ 425 w 10049"/>
                <a:gd name="connsiteY92" fmla="*/ 1727 h 10000"/>
                <a:gd name="connsiteX93" fmla="*/ 566 w 10049"/>
                <a:gd name="connsiteY93" fmla="*/ 1800 h 10000"/>
                <a:gd name="connsiteX94" fmla="*/ 848 w 10049"/>
                <a:gd name="connsiteY94" fmla="*/ 1833 h 10000"/>
                <a:gd name="connsiteX95" fmla="*/ 942 w 10049"/>
                <a:gd name="connsiteY95" fmla="*/ 1971 h 10000"/>
                <a:gd name="connsiteX96" fmla="*/ 739 w 10049"/>
                <a:gd name="connsiteY96" fmla="*/ 2376 h 10000"/>
                <a:gd name="connsiteX97" fmla="*/ 942 w 10049"/>
                <a:gd name="connsiteY97" fmla="*/ 2457 h 10000"/>
                <a:gd name="connsiteX98" fmla="*/ 1726 w 10049"/>
                <a:gd name="connsiteY98" fmla="*/ 2879 h 10000"/>
                <a:gd name="connsiteX99" fmla="*/ 1507 w 10049"/>
                <a:gd name="connsiteY99" fmla="*/ 2976 h 10000"/>
                <a:gd name="connsiteX100" fmla="*/ 1507 w 10049"/>
                <a:gd name="connsiteY100" fmla="*/ 3179 h 10000"/>
                <a:gd name="connsiteX101" fmla="*/ 1726 w 10049"/>
                <a:gd name="connsiteY101" fmla="*/ 3220 h 10000"/>
                <a:gd name="connsiteX102" fmla="*/ 1663 w 10049"/>
                <a:gd name="connsiteY102" fmla="*/ 3333 h 10000"/>
                <a:gd name="connsiteX103" fmla="*/ 1836 w 10049"/>
                <a:gd name="connsiteY103" fmla="*/ 3398 h 10000"/>
                <a:gd name="connsiteX104" fmla="*/ 2008 w 10049"/>
                <a:gd name="connsiteY104" fmla="*/ 3366 h 10000"/>
                <a:gd name="connsiteX105" fmla="*/ 2040 w 10049"/>
                <a:gd name="connsiteY105" fmla="*/ 3528 h 10000"/>
                <a:gd name="connsiteX106" fmla="*/ 2181 w 10049"/>
                <a:gd name="connsiteY106" fmla="*/ 3609 h 10000"/>
                <a:gd name="connsiteX107" fmla="*/ 2369 w 10049"/>
                <a:gd name="connsiteY107" fmla="*/ 3577 h 10000"/>
                <a:gd name="connsiteX108" fmla="*/ 2510 w 10049"/>
                <a:gd name="connsiteY108" fmla="*/ 3715 h 10000"/>
                <a:gd name="connsiteX109" fmla="*/ 2384 w 10049"/>
                <a:gd name="connsiteY109" fmla="*/ 3950 h 10000"/>
                <a:gd name="connsiteX110" fmla="*/ 3325 w 10049"/>
                <a:gd name="connsiteY110" fmla="*/ 4193 h 10000"/>
                <a:gd name="connsiteX111" fmla="*/ 3341 w 10049"/>
                <a:gd name="connsiteY111" fmla="*/ 4599 h 10000"/>
                <a:gd name="connsiteX112" fmla="*/ 2855 w 10049"/>
                <a:gd name="connsiteY112" fmla="*/ 5239 h 10000"/>
                <a:gd name="connsiteX113" fmla="*/ 2337 w 10049"/>
                <a:gd name="connsiteY113" fmla="*/ 5677 h 10000"/>
                <a:gd name="connsiteX114" fmla="*/ 2604 w 10049"/>
                <a:gd name="connsiteY114" fmla="*/ 5612 h 10000"/>
                <a:gd name="connsiteX115" fmla="*/ 2667 w 10049"/>
                <a:gd name="connsiteY115" fmla="*/ 5766 h 10000"/>
                <a:gd name="connsiteX116" fmla="*/ 2980 w 10049"/>
                <a:gd name="connsiteY116" fmla="*/ 5839 h 10000"/>
                <a:gd name="connsiteX117" fmla="*/ 3419 w 10049"/>
                <a:gd name="connsiteY117" fmla="*/ 5775 h 10000"/>
                <a:gd name="connsiteX118" fmla="*/ 3842 w 10049"/>
                <a:gd name="connsiteY118" fmla="*/ 5864 h 10000"/>
                <a:gd name="connsiteX119" fmla="*/ 3842 w 10049"/>
                <a:gd name="connsiteY119" fmla="*/ 5994 h 10000"/>
                <a:gd name="connsiteX120" fmla="*/ 3105 w 10049"/>
                <a:gd name="connsiteY120" fmla="*/ 5969 h 10000"/>
                <a:gd name="connsiteX121" fmla="*/ 2980 w 10049"/>
                <a:gd name="connsiteY121" fmla="*/ 6091 h 10000"/>
                <a:gd name="connsiteX122" fmla="*/ 2604 w 10049"/>
                <a:gd name="connsiteY122" fmla="*/ 6172 h 10000"/>
                <a:gd name="connsiteX123" fmla="*/ 2682 w 10049"/>
                <a:gd name="connsiteY123" fmla="*/ 6269 h 10000"/>
                <a:gd name="connsiteX124" fmla="*/ 2761 w 10049"/>
                <a:gd name="connsiteY124" fmla="*/ 6326 h 10000"/>
                <a:gd name="connsiteX125" fmla="*/ 2588 w 10049"/>
                <a:gd name="connsiteY125" fmla="*/ 6415 h 10000"/>
                <a:gd name="connsiteX126" fmla="*/ 2635 w 10049"/>
                <a:gd name="connsiteY126" fmla="*/ 6537 h 10000"/>
                <a:gd name="connsiteX127" fmla="*/ 2447 w 10049"/>
                <a:gd name="connsiteY127" fmla="*/ 6642 h 10000"/>
                <a:gd name="connsiteX128" fmla="*/ 2541 w 10049"/>
                <a:gd name="connsiteY128" fmla="*/ 6788 h 10000"/>
                <a:gd name="connsiteX129" fmla="*/ 2729 w 10049"/>
                <a:gd name="connsiteY129" fmla="*/ 6821 h 10000"/>
                <a:gd name="connsiteX130" fmla="*/ 2651 w 10049"/>
                <a:gd name="connsiteY130" fmla="*/ 6983 h 10000"/>
                <a:gd name="connsiteX131" fmla="*/ 2870 w 10049"/>
                <a:gd name="connsiteY131" fmla="*/ 7015 h 10000"/>
                <a:gd name="connsiteX132" fmla="*/ 2980 w 10049"/>
                <a:gd name="connsiteY132" fmla="*/ 7145 h 10000"/>
                <a:gd name="connsiteX133" fmla="*/ 2855 w 10049"/>
                <a:gd name="connsiteY133" fmla="*/ 7202 h 10000"/>
                <a:gd name="connsiteX134" fmla="*/ 2870 w 10049"/>
                <a:gd name="connsiteY134" fmla="*/ 7299 h 10000"/>
                <a:gd name="connsiteX135" fmla="*/ 2980 w 10049"/>
                <a:gd name="connsiteY135" fmla="*/ 7388 h 10000"/>
                <a:gd name="connsiteX136" fmla="*/ 3341 w 10049"/>
                <a:gd name="connsiteY136" fmla="*/ 7486 h 10000"/>
                <a:gd name="connsiteX137" fmla="*/ 3215 w 10049"/>
                <a:gd name="connsiteY137" fmla="*/ 7575 h 10000"/>
                <a:gd name="connsiteX138" fmla="*/ 3341 w 10049"/>
                <a:gd name="connsiteY138" fmla="*/ 7737 h 10000"/>
                <a:gd name="connsiteX139" fmla="*/ 3466 w 10049"/>
                <a:gd name="connsiteY139" fmla="*/ 7737 h 10000"/>
                <a:gd name="connsiteX140" fmla="*/ 3560 w 10049"/>
                <a:gd name="connsiteY140" fmla="*/ 7810 h 10000"/>
                <a:gd name="connsiteX141" fmla="*/ 3842 w 10049"/>
                <a:gd name="connsiteY141" fmla="*/ 7908 h 10000"/>
                <a:gd name="connsiteX142" fmla="*/ 3842 w 10049"/>
                <a:gd name="connsiteY142" fmla="*/ 7997 h 10000"/>
                <a:gd name="connsiteX143" fmla="*/ 4124 w 10049"/>
                <a:gd name="connsiteY143" fmla="*/ 7972 h 10000"/>
                <a:gd name="connsiteX144" fmla="*/ 4626 w 10049"/>
                <a:gd name="connsiteY144" fmla="*/ 7972 h 10000"/>
                <a:gd name="connsiteX145" fmla="*/ 4767 w 10049"/>
                <a:gd name="connsiteY145" fmla="*/ 8167 h 10000"/>
                <a:gd name="connsiteX146" fmla="*/ 5190 w 10049"/>
                <a:gd name="connsiteY146" fmla="*/ 7972 h 10000"/>
                <a:gd name="connsiteX147" fmla="*/ 5770 w 10049"/>
                <a:gd name="connsiteY147" fmla="*/ 8078 h 10000"/>
                <a:gd name="connsiteX148" fmla="*/ 5895 w 10049"/>
                <a:gd name="connsiteY148" fmla="*/ 8289 h 10000"/>
                <a:gd name="connsiteX149" fmla="*/ 5895 w 10049"/>
                <a:gd name="connsiteY149" fmla="*/ 8467 h 10000"/>
                <a:gd name="connsiteX150" fmla="*/ 6162 w 10049"/>
                <a:gd name="connsiteY150" fmla="*/ 8483 h 10000"/>
                <a:gd name="connsiteX151" fmla="*/ 6272 w 10049"/>
                <a:gd name="connsiteY151" fmla="*/ 8581 h 10000"/>
                <a:gd name="connsiteX152" fmla="*/ 6585 w 10049"/>
                <a:gd name="connsiteY152" fmla="*/ 8710 h 10000"/>
                <a:gd name="connsiteX153" fmla="*/ 6961 w 10049"/>
                <a:gd name="connsiteY153" fmla="*/ 8759 h 10000"/>
                <a:gd name="connsiteX154" fmla="*/ 6977 w 10049"/>
                <a:gd name="connsiteY154" fmla="*/ 8889 h 10000"/>
                <a:gd name="connsiteX155" fmla="*/ 7416 w 10049"/>
                <a:gd name="connsiteY155" fmla="*/ 8856 h 10000"/>
                <a:gd name="connsiteX156" fmla="*/ 7745 w 10049"/>
                <a:gd name="connsiteY156" fmla="*/ 9027 h 10000"/>
                <a:gd name="connsiteX157" fmla="*/ 7635 w 10049"/>
                <a:gd name="connsiteY157" fmla="*/ 9238 h 10000"/>
                <a:gd name="connsiteX158" fmla="*/ 6961 w 10049"/>
                <a:gd name="connsiteY158" fmla="*/ 9238 h 10000"/>
                <a:gd name="connsiteX159" fmla="*/ 6852 w 10049"/>
                <a:gd name="connsiteY159" fmla="*/ 9343 h 10000"/>
                <a:gd name="connsiteX160" fmla="*/ 7181 w 10049"/>
                <a:gd name="connsiteY160" fmla="*/ 9424 h 10000"/>
                <a:gd name="connsiteX161" fmla="*/ 7228 w 10049"/>
                <a:gd name="connsiteY161" fmla="*/ 9594 h 10000"/>
                <a:gd name="connsiteX162" fmla="*/ 7510 w 10049"/>
                <a:gd name="connsiteY162" fmla="*/ 9805 h 10000"/>
                <a:gd name="connsiteX163" fmla="*/ 7886 w 10049"/>
                <a:gd name="connsiteY163" fmla="*/ 9813 h 10000"/>
                <a:gd name="connsiteX164" fmla="*/ 7902 w 10049"/>
                <a:gd name="connsiteY164" fmla="*/ 9659 h 10000"/>
                <a:gd name="connsiteX165" fmla="*/ 8513 w 10049"/>
                <a:gd name="connsiteY165" fmla="*/ 9521 h 10000"/>
                <a:gd name="connsiteX166" fmla="*/ 9109 w 10049"/>
                <a:gd name="connsiteY166" fmla="*/ 9521 h 10000"/>
                <a:gd name="connsiteX167" fmla="*/ 9594 w 10049"/>
                <a:gd name="connsiteY167" fmla="*/ 9659 h 10000"/>
                <a:gd name="connsiteX168" fmla="*/ 9328 w 10049"/>
                <a:gd name="connsiteY168" fmla="*/ 9789 h 10000"/>
                <a:gd name="connsiteX169" fmla="*/ 9673 w 10049"/>
                <a:gd name="connsiteY169" fmla="*/ 10000 h 10000"/>
                <a:gd name="connsiteX170" fmla="*/ 10049 w 10049"/>
                <a:gd name="connsiteY170" fmla="*/ 9951 h 10000"/>
                <a:gd name="connsiteX171" fmla="*/ 10049 w 10049"/>
                <a:gd name="connsiteY171" fmla="*/ 0 h 10000"/>
                <a:gd name="connsiteX172" fmla="*/ 8482 w 10049"/>
                <a:gd name="connsiteY172" fmla="*/ 0 h 10000"/>
                <a:gd name="connsiteX0" fmla="*/ 8434 w 10001"/>
                <a:gd name="connsiteY0" fmla="*/ 0 h 10000"/>
                <a:gd name="connsiteX1" fmla="*/ 8434 w 10001"/>
                <a:gd name="connsiteY1" fmla="*/ 97 h 10000"/>
                <a:gd name="connsiteX2" fmla="*/ 8104 w 10001"/>
                <a:gd name="connsiteY2" fmla="*/ 357 h 10000"/>
                <a:gd name="connsiteX3" fmla="*/ 8434 w 10001"/>
                <a:gd name="connsiteY3" fmla="*/ 697 h 10000"/>
                <a:gd name="connsiteX4" fmla="*/ 7822 w 10001"/>
                <a:gd name="connsiteY4" fmla="*/ 981 h 10000"/>
                <a:gd name="connsiteX5" fmla="*/ 7728 w 10001"/>
                <a:gd name="connsiteY5" fmla="*/ 803 h 10000"/>
                <a:gd name="connsiteX6" fmla="*/ 7195 w 10001"/>
                <a:gd name="connsiteY6" fmla="*/ 803 h 10000"/>
                <a:gd name="connsiteX7" fmla="*/ 7039 w 10001"/>
                <a:gd name="connsiteY7" fmla="*/ 584 h 10000"/>
                <a:gd name="connsiteX8" fmla="*/ 7493 w 10001"/>
                <a:gd name="connsiteY8" fmla="*/ 397 h 10000"/>
                <a:gd name="connsiteX9" fmla="*/ 7054 w 10001"/>
                <a:gd name="connsiteY9" fmla="*/ 276 h 10000"/>
                <a:gd name="connsiteX10" fmla="*/ 6882 w 10001"/>
                <a:gd name="connsiteY10" fmla="*/ 187 h 10000"/>
                <a:gd name="connsiteX11" fmla="*/ 6568 w 10001"/>
                <a:gd name="connsiteY11" fmla="*/ 187 h 10000"/>
                <a:gd name="connsiteX12" fmla="*/ 6271 w 10001"/>
                <a:gd name="connsiteY12" fmla="*/ 341 h 10000"/>
                <a:gd name="connsiteX13" fmla="*/ 5800 w 10001"/>
                <a:gd name="connsiteY13" fmla="*/ 397 h 10000"/>
                <a:gd name="connsiteX14" fmla="*/ 6365 w 10001"/>
                <a:gd name="connsiteY14" fmla="*/ 479 h 10000"/>
                <a:gd name="connsiteX15" fmla="*/ 6584 w 10001"/>
                <a:gd name="connsiteY15" fmla="*/ 738 h 10000"/>
                <a:gd name="connsiteX16" fmla="*/ 6678 w 10001"/>
                <a:gd name="connsiteY16" fmla="*/ 981 h 10000"/>
                <a:gd name="connsiteX17" fmla="*/ 6835 w 10001"/>
                <a:gd name="connsiteY17" fmla="*/ 981 h 10000"/>
                <a:gd name="connsiteX18" fmla="*/ 7242 w 10001"/>
                <a:gd name="connsiteY18" fmla="*/ 981 h 10000"/>
                <a:gd name="connsiteX19" fmla="*/ 7274 w 10001"/>
                <a:gd name="connsiteY19" fmla="*/ 1103 h 10000"/>
                <a:gd name="connsiteX20" fmla="*/ 7477 w 10001"/>
                <a:gd name="connsiteY20" fmla="*/ 1160 h 10000"/>
                <a:gd name="connsiteX21" fmla="*/ 7493 w 10001"/>
                <a:gd name="connsiteY21" fmla="*/ 1371 h 10000"/>
                <a:gd name="connsiteX22" fmla="*/ 7650 w 10001"/>
                <a:gd name="connsiteY22" fmla="*/ 1590 h 10000"/>
                <a:gd name="connsiteX23" fmla="*/ 7180 w 10001"/>
                <a:gd name="connsiteY23" fmla="*/ 1444 h 10000"/>
                <a:gd name="connsiteX24" fmla="*/ 6851 w 10001"/>
                <a:gd name="connsiteY24" fmla="*/ 1484 h 10000"/>
                <a:gd name="connsiteX25" fmla="*/ 6568 w 10001"/>
                <a:gd name="connsiteY25" fmla="*/ 1484 h 10000"/>
                <a:gd name="connsiteX26" fmla="*/ 6365 w 10001"/>
                <a:gd name="connsiteY26" fmla="*/ 1825 h 10000"/>
                <a:gd name="connsiteX27" fmla="*/ 6239 w 10001"/>
                <a:gd name="connsiteY27" fmla="*/ 2028 h 10000"/>
                <a:gd name="connsiteX28" fmla="*/ 6177 w 10001"/>
                <a:gd name="connsiteY28" fmla="*/ 2271 h 10000"/>
                <a:gd name="connsiteX29" fmla="*/ 6568 w 10001"/>
                <a:gd name="connsiteY29" fmla="*/ 2401 h 10000"/>
                <a:gd name="connsiteX30" fmla="*/ 6945 w 10001"/>
                <a:gd name="connsiteY30" fmla="*/ 2595 h 10000"/>
                <a:gd name="connsiteX31" fmla="*/ 6537 w 10001"/>
                <a:gd name="connsiteY31" fmla="*/ 2798 h 10000"/>
                <a:gd name="connsiteX32" fmla="*/ 6349 w 10001"/>
                <a:gd name="connsiteY32" fmla="*/ 2701 h 10000"/>
                <a:gd name="connsiteX33" fmla="*/ 6114 w 10001"/>
                <a:gd name="connsiteY33" fmla="*/ 2660 h 10000"/>
                <a:gd name="connsiteX34" fmla="*/ 5628 w 10001"/>
                <a:gd name="connsiteY34" fmla="*/ 2749 h 10000"/>
                <a:gd name="connsiteX35" fmla="*/ 5142 w 10001"/>
                <a:gd name="connsiteY35" fmla="*/ 2595 h 10000"/>
                <a:gd name="connsiteX36" fmla="*/ 4891 w 10001"/>
                <a:gd name="connsiteY36" fmla="*/ 2603 h 10000"/>
                <a:gd name="connsiteX37" fmla="*/ 5032 w 10001"/>
                <a:gd name="connsiteY37" fmla="*/ 2733 h 10000"/>
                <a:gd name="connsiteX38" fmla="*/ 4985 w 10001"/>
                <a:gd name="connsiteY38" fmla="*/ 2822 h 10000"/>
                <a:gd name="connsiteX39" fmla="*/ 5487 w 10001"/>
                <a:gd name="connsiteY39" fmla="*/ 3025 h 10000"/>
                <a:gd name="connsiteX40" fmla="*/ 5753 w 10001"/>
                <a:gd name="connsiteY40" fmla="*/ 2928 h 10000"/>
                <a:gd name="connsiteX41" fmla="*/ 6114 w 10001"/>
                <a:gd name="connsiteY41" fmla="*/ 3114 h 10000"/>
                <a:gd name="connsiteX42" fmla="*/ 5910 w 10001"/>
                <a:gd name="connsiteY42" fmla="*/ 3317 h 10000"/>
                <a:gd name="connsiteX43" fmla="*/ 5612 w 10001"/>
                <a:gd name="connsiteY43" fmla="*/ 3317 h 10000"/>
                <a:gd name="connsiteX44" fmla="*/ 5048 w 10001"/>
                <a:gd name="connsiteY44" fmla="*/ 3268 h 10000"/>
                <a:gd name="connsiteX45" fmla="*/ 5001 w 10001"/>
                <a:gd name="connsiteY45" fmla="*/ 3139 h 10000"/>
                <a:gd name="connsiteX46" fmla="*/ 4703 w 10001"/>
                <a:gd name="connsiteY46" fmla="*/ 3147 h 10000"/>
                <a:gd name="connsiteX47" fmla="*/ 4531 w 10001"/>
                <a:gd name="connsiteY47" fmla="*/ 3268 h 10000"/>
                <a:gd name="connsiteX48" fmla="*/ 4233 w 10001"/>
                <a:gd name="connsiteY48" fmla="*/ 3187 h 10000"/>
                <a:gd name="connsiteX49" fmla="*/ 4296 w 10001"/>
                <a:gd name="connsiteY49" fmla="*/ 3017 h 10000"/>
                <a:gd name="connsiteX50" fmla="*/ 3872 w 10001"/>
                <a:gd name="connsiteY50" fmla="*/ 2863 h 10000"/>
                <a:gd name="connsiteX51" fmla="*/ 3794 w 10001"/>
                <a:gd name="connsiteY51" fmla="*/ 2863 h 10000"/>
                <a:gd name="connsiteX52" fmla="*/ 3637 w 10001"/>
                <a:gd name="connsiteY52" fmla="*/ 2741 h 10000"/>
                <a:gd name="connsiteX53" fmla="*/ 3794 w 10001"/>
                <a:gd name="connsiteY53" fmla="*/ 2636 h 10000"/>
                <a:gd name="connsiteX54" fmla="*/ 3528 w 10001"/>
                <a:gd name="connsiteY54" fmla="*/ 2433 h 10000"/>
                <a:gd name="connsiteX55" fmla="*/ 3198 w 10001"/>
                <a:gd name="connsiteY55" fmla="*/ 2384 h 10000"/>
                <a:gd name="connsiteX56" fmla="*/ 2932 w 10001"/>
                <a:gd name="connsiteY56" fmla="*/ 2336 h 10000"/>
                <a:gd name="connsiteX57" fmla="*/ 2822 w 10001"/>
                <a:gd name="connsiteY57" fmla="*/ 2247 h 10000"/>
                <a:gd name="connsiteX58" fmla="*/ 2242 w 10001"/>
                <a:gd name="connsiteY58" fmla="*/ 2190 h 10000"/>
                <a:gd name="connsiteX59" fmla="*/ 2101 w 10001"/>
                <a:gd name="connsiteY59" fmla="*/ 2117 h 10000"/>
                <a:gd name="connsiteX60" fmla="*/ 1851 w 10001"/>
                <a:gd name="connsiteY60" fmla="*/ 2060 h 10000"/>
                <a:gd name="connsiteX61" fmla="*/ 2007 w 10001"/>
                <a:gd name="connsiteY61" fmla="*/ 1979 h 10000"/>
                <a:gd name="connsiteX62" fmla="*/ 2321 w 10001"/>
                <a:gd name="connsiteY62" fmla="*/ 2003 h 10000"/>
                <a:gd name="connsiteX63" fmla="*/ 2477 w 10001"/>
                <a:gd name="connsiteY63" fmla="*/ 2117 h 10000"/>
                <a:gd name="connsiteX64" fmla="*/ 2744 w 10001"/>
                <a:gd name="connsiteY64" fmla="*/ 2117 h 10000"/>
                <a:gd name="connsiteX65" fmla="*/ 3214 w 10001"/>
                <a:gd name="connsiteY65" fmla="*/ 2117 h 10000"/>
                <a:gd name="connsiteX66" fmla="*/ 3387 w 10001"/>
                <a:gd name="connsiteY66" fmla="*/ 2068 h 10000"/>
                <a:gd name="connsiteX67" fmla="*/ 3794 w 10001"/>
                <a:gd name="connsiteY67" fmla="*/ 2117 h 10000"/>
                <a:gd name="connsiteX68" fmla="*/ 4327 w 10001"/>
                <a:gd name="connsiteY68" fmla="*/ 2117 h 10000"/>
                <a:gd name="connsiteX69" fmla="*/ 5111 w 10001"/>
                <a:gd name="connsiteY69" fmla="*/ 2084 h 10000"/>
                <a:gd name="connsiteX70" fmla="*/ 5910 w 10001"/>
                <a:gd name="connsiteY70" fmla="*/ 1784 h 10000"/>
                <a:gd name="connsiteX71" fmla="*/ 5910 w 10001"/>
                <a:gd name="connsiteY71" fmla="*/ 1387 h 10000"/>
                <a:gd name="connsiteX72" fmla="*/ 5597 w 10001"/>
                <a:gd name="connsiteY72" fmla="*/ 1176 h 10000"/>
                <a:gd name="connsiteX73" fmla="*/ 5252 w 10001"/>
                <a:gd name="connsiteY73" fmla="*/ 1030 h 10000"/>
                <a:gd name="connsiteX74" fmla="*/ 4703 w 10001"/>
                <a:gd name="connsiteY74" fmla="*/ 981 h 10000"/>
                <a:gd name="connsiteX75" fmla="*/ 4311 w 10001"/>
                <a:gd name="connsiteY75" fmla="*/ 981 h 10000"/>
                <a:gd name="connsiteX76" fmla="*/ 3919 w 10001"/>
                <a:gd name="connsiteY76" fmla="*/ 981 h 10000"/>
                <a:gd name="connsiteX77" fmla="*/ 3402 w 10001"/>
                <a:gd name="connsiteY77" fmla="*/ 803 h 10000"/>
                <a:gd name="connsiteX78" fmla="*/ 2744 w 10001"/>
                <a:gd name="connsiteY78" fmla="*/ 738 h 10000"/>
                <a:gd name="connsiteX79" fmla="*/ 2305 w 10001"/>
                <a:gd name="connsiteY79" fmla="*/ 762 h 10000"/>
                <a:gd name="connsiteX80" fmla="*/ 1741 w 10001"/>
                <a:gd name="connsiteY80" fmla="*/ 787 h 10000"/>
                <a:gd name="connsiteX81" fmla="*/ 1631 w 10001"/>
                <a:gd name="connsiteY81" fmla="*/ 860 h 10000"/>
                <a:gd name="connsiteX82" fmla="*/ 1525 w 10001"/>
                <a:gd name="connsiteY82" fmla="*/ 709 h 10000"/>
                <a:gd name="connsiteX83" fmla="*/ 1296 w 10001"/>
                <a:gd name="connsiteY83" fmla="*/ 784 h 10000"/>
                <a:gd name="connsiteX84" fmla="*/ 1056 w 10001"/>
                <a:gd name="connsiteY84" fmla="*/ 706 h 10000"/>
                <a:gd name="connsiteX85" fmla="*/ 939 w 10001"/>
                <a:gd name="connsiteY85" fmla="*/ 910 h 10000"/>
                <a:gd name="connsiteX86" fmla="*/ 572 w 10001"/>
                <a:gd name="connsiteY86" fmla="*/ 1154 h 10000"/>
                <a:gd name="connsiteX87" fmla="*/ 520 w 10001"/>
                <a:gd name="connsiteY87" fmla="*/ 1389 h 10000"/>
                <a:gd name="connsiteX88" fmla="*/ 564 w 10001"/>
                <a:gd name="connsiteY88" fmla="*/ 1540 h 10000"/>
                <a:gd name="connsiteX89" fmla="*/ 1 w 10001"/>
                <a:gd name="connsiteY89" fmla="*/ 1679 h 10000"/>
                <a:gd name="connsiteX90" fmla="*/ 462 w 10001"/>
                <a:gd name="connsiteY90" fmla="*/ 1628 h 10000"/>
                <a:gd name="connsiteX91" fmla="*/ 377 w 10001"/>
                <a:gd name="connsiteY91" fmla="*/ 1727 h 10000"/>
                <a:gd name="connsiteX92" fmla="*/ 518 w 10001"/>
                <a:gd name="connsiteY92" fmla="*/ 1800 h 10000"/>
                <a:gd name="connsiteX93" fmla="*/ 800 w 10001"/>
                <a:gd name="connsiteY93" fmla="*/ 1833 h 10000"/>
                <a:gd name="connsiteX94" fmla="*/ 894 w 10001"/>
                <a:gd name="connsiteY94" fmla="*/ 1971 h 10000"/>
                <a:gd name="connsiteX95" fmla="*/ 691 w 10001"/>
                <a:gd name="connsiteY95" fmla="*/ 2376 h 10000"/>
                <a:gd name="connsiteX96" fmla="*/ 894 w 10001"/>
                <a:gd name="connsiteY96" fmla="*/ 2457 h 10000"/>
                <a:gd name="connsiteX97" fmla="*/ 1678 w 10001"/>
                <a:gd name="connsiteY97" fmla="*/ 2879 h 10000"/>
                <a:gd name="connsiteX98" fmla="*/ 1459 w 10001"/>
                <a:gd name="connsiteY98" fmla="*/ 2976 h 10000"/>
                <a:gd name="connsiteX99" fmla="*/ 1459 w 10001"/>
                <a:gd name="connsiteY99" fmla="*/ 3179 h 10000"/>
                <a:gd name="connsiteX100" fmla="*/ 1678 w 10001"/>
                <a:gd name="connsiteY100" fmla="*/ 3220 h 10000"/>
                <a:gd name="connsiteX101" fmla="*/ 1615 w 10001"/>
                <a:gd name="connsiteY101" fmla="*/ 3333 h 10000"/>
                <a:gd name="connsiteX102" fmla="*/ 1788 w 10001"/>
                <a:gd name="connsiteY102" fmla="*/ 3398 h 10000"/>
                <a:gd name="connsiteX103" fmla="*/ 1960 w 10001"/>
                <a:gd name="connsiteY103" fmla="*/ 3366 h 10000"/>
                <a:gd name="connsiteX104" fmla="*/ 1992 w 10001"/>
                <a:gd name="connsiteY104" fmla="*/ 3528 h 10000"/>
                <a:gd name="connsiteX105" fmla="*/ 2133 w 10001"/>
                <a:gd name="connsiteY105" fmla="*/ 3609 h 10000"/>
                <a:gd name="connsiteX106" fmla="*/ 2321 w 10001"/>
                <a:gd name="connsiteY106" fmla="*/ 3577 h 10000"/>
                <a:gd name="connsiteX107" fmla="*/ 2462 w 10001"/>
                <a:gd name="connsiteY107" fmla="*/ 3715 h 10000"/>
                <a:gd name="connsiteX108" fmla="*/ 2336 w 10001"/>
                <a:gd name="connsiteY108" fmla="*/ 3950 h 10000"/>
                <a:gd name="connsiteX109" fmla="*/ 3277 w 10001"/>
                <a:gd name="connsiteY109" fmla="*/ 4193 h 10000"/>
                <a:gd name="connsiteX110" fmla="*/ 3293 w 10001"/>
                <a:gd name="connsiteY110" fmla="*/ 4599 h 10000"/>
                <a:gd name="connsiteX111" fmla="*/ 2807 w 10001"/>
                <a:gd name="connsiteY111" fmla="*/ 5239 h 10000"/>
                <a:gd name="connsiteX112" fmla="*/ 2289 w 10001"/>
                <a:gd name="connsiteY112" fmla="*/ 5677 h 10000"/>
                <a:gd name="connsiteX113" fmla="*/ 2556 w 10001"/>
                <a:gd name="connsiteY113" fmla="*/ 5612 h 10000"/>
                <a:gd name="connsiteX114" fmla="*/ 2619 w 10001"/>
                <a:gd name="connsiteY114" fmla="*/ 5766 h 10000"/>
                <a:gd name="connsiteX115" fmla="*/ 2932 w 10001"/>
                <a:gd name="connsiteY115" fmla="*/ 5839 h 10000"/>
                <a:gd name="connsiteX116" fmla="*/ 3371 w 10001"/>
                <a:gd name="connsiteY116" fmla="*/ 5775 h 10000"/>
                <a:gd name="connsiteX117" fmla="*/ 3794 w 10001"/>
                <a:gd name="connsiteY117" fmla="*/ 5864 h 10000"/>
                <a:gd name="connsiteX118" fmla="*/ 3794 w 10001"/>
                <a:gd name="connsiteY118" fmla="*/ 5994 h 10000"/>
                <a:gd name="connsiteX119" fmla="*/ 3057 w 10001"/>
                <a:gd name="connsiteY119" fmla="*/ 5969 h 10000"/>
                <a:gd name="connsiteX120" fmla="*/ 2932 w 10001"/>
                <a:gd name="connsiteY120" fmla="*/ 6091 h 10000"/>
                <a:gd name="connsiteX121" fmla="*/ 2556 w 10001"/>
                <a:gd name="connsiteY121" fmla="*/ 6172 h 10000"/>
                <a:gd name="connsiteX122" fmla="*/ 2634 w 10001"/>
                <a:gd name="connsiteY122" fmla="*/ 6269 h 10000"/>
                <a:gd name="connsiteX123" fmla="*/ 2713 w 10001"/>
                <a:gd name="connsiteY123" fmla="*/ 6326 h 10000"/>
                <a:gd name="connsiteX124" fmla="*/ 2540 w 10001"/>
                <a:gd name="connsiteY124" fmla="*/ 6415 h 10000"/>
                <a:gd name="connsiteX125" fmla="*/ 2587 w 10001"/>
                <a:gd name="connsiteY125" fmla="*/ 6537 h 10000"/>
                <a:gd name="connsiteX126" fmla="*/ 2399 w 10001"/>
                <a:gd name="connsiteY126" fmla="*/ 6642 h 10000"/>
                <a:gd name="connsiteX127" fmla="*/ 2493 w 10001"/>
                <a:gd name="connsiteY127" fmla="*/ 6788 h 10000"/>
                <a:gd name="connsiteX128" fmla="*/ 2681 w 10001"/>
                <a:gd name="connsiteY128" fmla="*/ 6821 h 10000"/>
                <a:gd name="connsiteX129" fmla="*/ 2603 w 10001"/>
                <a:gd name="connsiteY129" fmla="*/ 6983 h 10000"/>
                <a:gd name="connsiteX130" fmla="*/ 2822 w 10001"/>
                <a:gd name="connsiteY130" fmla="*/ 7015 h 10000"/>
                <a:gd name="connsiteX131" fmla="*/ 2932 w 10001"/>
                <a:gd name="connsiteY131" fmla="*/ 7145 h 10000"/>
                <a:gd name="connsiteX132" fmla="*/ 2807 w 10001"/>
                <a:gd name="connsiteY132" fmla="*/ 7202 h 10000"/>
                <a:gd name="connsiteX133" fmla="*/ 2822 w 10001"/>
                <a:gd name="connsiteY133" fmla="*/ 7299 h 10000"/>
                <a:gd name="connsiteX134" fmla="*/ 2932 w 10001"/>
                <a:gd name="connsiteY134" fmla="*/ 7388 h 10000"/>
                <a:gd name="connsiteX135" fmla="*/ 3293 w 10001"/>
                <a:gd name="connsiteY135" fmla="*/ 7486 h 10000"/>
                <a:gd name="connsiteX136" fmla="*/ 3167 w 10001"/>
                <a:gd name="connsiteY136" fmla="*/ 7575 h 10000"/>
                <a:gd name="connsiteX137" fmla="*/ 3293 w 10001"/>
                <a:gd name="connsiteY137" fmla="*/ 7737 h 10000"/>
                <a:gd name="connsiteX138" fmla="*/ 3418 w 10001"/>
                <a:gd name="connsiteY138" fmla="*/ 7737 h 10000"/>
                <a:gd name="connsiteX139" fmla="*/ 3512 w 10001"/>
                <a:gd name="connsiteY139" fmla="*/ 7810 h 10000"/>
                <a:gd name="connsiteX140" fmla="*/ 3794 w 10001"/>
                <a:gd name="connsiteY140" fmla="*/ 7908 h 10000"/>
                <a:gd name="connsiteX141" fmla="*/ 3794 w 10001"/>
                <a:gd name="connsiteY141" fmla="*/ 7997 h 10000"/>
                <a:gd name="connsiteX142" fmla="*/ 4076 w 10001"/>
                <a:gd name="connsiteY142" fmla="*/ 7972 h 10000"/>
                <a:gd name="connsiteX143" fmla="*/ 4578 w 10001"/>
                <a:gd name="connsiteY143" fmla="*/ 7972 h 10000"/>
                <a:gd name="connsiteX144" fmla="*/ 4719 w 10001"/>
                <a:gd name="connsiteY144" fmla="*/ 8167 h 10000"/>
                <a:gd name="connsiteX145" fmla="*/ 5142 w 10001"/>
                <a:gd name="connsiteY145" fmla="*/ 7972 h 10000"/>
                <a:gd name="connsiteX146" fmla="*/ 5722 w 10001"/>
                <a:gd name="connsiteY146" fmla="*/ 8078 h 10000"/>
                <a:gd name="connsiteX147" fmla="*/ 5847 w 10001"/>
                <a:gd name="connsiteY147" fmla="*/ 8289 h 10000"/>
                <a:gd name="connsiteX148" fmla="*/ 5847 w 10001"/>
                <a:gd name="connsiteY148" fmla="*/ 8467 h 10000"/>
                <a:gd name="connsiteX149" fmla="*/ 6114 w 10001"/>
                <a:gd name="connsiteY149" fmla="*/ 8483 h 10000"/>
                <a:gd name="connsiteX150" fmla="*/ 6224 w 10001"/>
                <a:gd name="connsiteY150" fmla="*/ 8581 h 10000"/>
                <a:gd name="connsiteX151" fmla="*/ 6537 w 10001"/>
                <a:gd name="connsiteY151" fmla="*/ 8710 h 10000"/>
                <a:gd name="connsiteX152" fmla="*/ 6913 w 10001"/>
                <a:gd name="connsiteY152" fmla="*/ 8759 h 10000"/>
                <a:gd name="connsiteX153" fmla="*/ 6929 w 10001"/>
                <a:gd name="connsiteY153" fmla="*/ 8889 h 10000"/>
                <a:gd name="connsiteX154" fmla="*/ 7368 w 10001"/>
                <a:gd name="connsiteY154" fmla="*/ 8856 h 10000"/>
                <a:gd name="connsiteX155" fmla="*/ 7697 w 10001"/>
                <a:gd name="connsiteY155" fmla="*/ 9027 h 10000"/>
                <a:gd name="connsiteX156" fmla="*/ 7587 w 10001"/>
                <a:gd name="connsiteY156" fmla="*/ 9238 h 10000"/>
                <a:gd name="connsiteX157" fmla="*/ 6913 w 10001"/>
                <a:gd name="connsiteY157" fmla="*/ 9238 h 10000"/>
                <a:gd name="connsiteX158" fmla="*/ 6804 w 10001"/>
                <a:gd name="connsiteY158" fmla="*/ 9343 h 10000"/>
                <a:gd name="connsiteX159" fmla="*/ 7133 w 10001"/>
                <a:gd name="connsiteY159" fmla="*/ 9424 h 10000"/>
                <a:gd name="connsiteX160" fmla="*/ 7180 w 10001"/>
                <a:gd name="connsiteY160" fmla="*/ 9594 h 10000"/>
                <a:gd name="connsiteX161" fmla="*/ 7462 w 10001"/>
                <a:gd name="connsiteY161" fmla="*/ 9805 h 10000"/>
                <a:gd name="connsiteX162" fmla="*/ 7838 w 10001"/>
                <a:gd name="connsiteY162" fmla="*/ 9813 h 10000"/>
                <a:gd name="connsiteX163" fmla="*/ 7854 w 10001"/>
                <a:gd name="connsiteY163" fmla="*/ 9659 h 10000"/>
                <a:gd name="connsiteX164" fmla="*/ 8465 w 10001"/>
                <a:gd name="connsiteY164" fmla="*/ 9521 h 10000"/>
                <a:gd name="connsiteX165" fmla="*/ 9061 w 10001"/>
                <a:gd name="connsiteY165" fmla="*/ 9521 h 10000"/>
                <a:gd name="connsiteX166" fmla="*/ 9546 w 10001"/>
                <a:gd name="connsiteY166" fmla="*/ 9659 h 10000"/>
                <a:gd name="connsiteX167" fmla="*/ 9280 w 10001"/>
                <a:gd name="connsiteY167" fmla="*/ 9789 h 10000"/>
                <a:gd name="connsiteX168" fmla="*/ 9625 w 10001"/>
                <a:gd name="connsiteY168" fmla="*/ 10000 h 10000"/>
                <a:gd name="connsiteX169" fmla="*/ 10001 w 10001"/>
                <a:gd name="connsiteY169" fmla="*/ 9951 h 10000"/>
                <a:gd name="connsiteX170" fmla="*/ 10001 w 10001"/>
                <a:gd name="connsiteY170" fmla="*/ 0 h 10000"/>
                <a:gd name="connsiteX171" fmla="*/ 8434 w 10001"/>
                <a:gd name="connsiteY171" fmla="*/ 0 h 10000"/>
                <a:gd name="connsiteX0" fmla="*/ 8434 w 10001"/>
                <a:gd name="connsiteY0" fmla="*/ 0 h 10000"/>
                <a:gd name="connsiteX1" fmla="*/ 8434 w 10001"/>
                <a:gd name="connsiteY1" fmla="*/ 97 h 10000"/>
                <a:gd name="connsiteX2" fmla="*/ 8104 w 10001"/>
                <a:gd name="connsiteY2" fmla="*/ 357 h 10000"/>
                <a:gd name="connsiteX3" fmla="*/ 8434 w 10001"/>
                <a:gd name="connsiteY3" fmla="*/ 697 h 10000"/>
                <a:gd name="connsiteX4" fmla="*/ 7822 w 10001"/>
                <a:gd name="connsiteY4" fmla="*/ 981 h 10000"/>
                <a:gd name="connsiteX5" fmla="*/ 7728 w 10001"/>
                <a:gd name="connsiteY5" fmla="*/ 803 h 10000"/>
                <a:gd name="connsiteX6" fmla="*/ 7195 w 10001"/>
                <a:gd name="connsiteY6" fmla="*/ 803 h 10000"/>
                <a:gd name="connsiteX7" fmla="*/ 7039 w 10001"/>
                <a:gd name="connsiteY7" fmla="*/ 584 h 10000"/>
                <a:gd name="connsiteX8" fmla="*/ 7493 w 10001"/>
                <a:gd name="connsiteY8" fmla="*/ 397 h 10000"/>
                <a:gd name="connsiteX9" fmla="*/ 7054 w 10001"/>
                <a:gd name="connsiteY9" fmla="*/ 276 h 10000"/>
                <a:gd name="connsiteX10" fmla="*/ 6882 w 10001"/>
                <a:gd name="connsiteY10" fmla="*/ 187 h 10000"/>
                <a:gd name="connsiteX11" fmla="*/ 6568 w 10001"/>
                <a:gd name="connsiteY11" fmla="*/ 187 h 10000"/>
                <a:gd name="connsiteX12" fmla="*/ 6271 w 10001"/>
                <a:gd name="connsiteY12" fmla="*/ 341 h 10000"/>
                <a:gd name="connsiteX13" fmla="*/ 5800 w 10001"/>
                <a:gd name="connsiteY13" fmla="*/ 397 h 10000"/>
                <a:gd name="connsiteX14" fmla="*/ 6365 w 10001"/>
                <a:gd name="connsiteY14" fmla="*/ 479 h 10000"/>
                <a:gd name="connsiteX15" fmla="*/ 6584 w 10001"/>
                <a:gd name="connsiteY15" fmla="*/ 738 h 10000"/>
                <a:gd name="connsiteX16" fmla="*/ 6678 w 10001"/>
                <a:gd name="connsiteY16" fmla="*/ 981 h 10000"/>
                <a:gd name="connsiteX17" fmla="*/ 6835 w 10001"/>
                <a:gd name="connsiteY17" fmla="*/ 981 h 10000"/>
                <a:gd name="connsiteX18" fmla="*/ 7242 w 10001"/>
                <a:gd name="connsiteY18" fmla="*/ 981 h 10000"/>
                <a:gd name="connsiteX19" fmla="*/ 7274 w 10001"/>
                <a:gd name="connsiteY19" fmla="*/ 1103 h 10000"/>
                <a:gd name="connsiteX20" fmla="*/ 7477 w 10001"/>
                <a:gd name="connsiteY20" fmla="*/ 1160 h 10000"/>
                <a:gd name="connsiteX21" fmla="*/ 7493 w 10001"/>
                <a:gd name="connsiteY21" fmla="*/ 1371 h 10000"/>
                <a:gd name="connsiteX22" fmla="*/ 7650 w 10001"/>
                <a:gd name="connsiteY22" fmla="*/ 1590 h 10000"/>
                <a:gd name="connsiteX23" fmla="*/ 7180 w 10001"/>
                <a:gd name="connsiteY23" fmla="*/ 1444 h 10000"/>
                <a:gd name="connsiteX24" fmla="*/ 6851 w 10001"/>
                <a:gd name="connsiteY24" fmla="*/ 1484 h 10000"/>
                <a:gd name="connsiteX25" fmla="*/ 6568 w 10001"/>
                <a:gd name="connsiteY25" fmla="*/ 1484 h 10000"/>
                <a:gd name="connsiteX26" fmla="*/ 6365 w 10001"/>
                <a:gd name="connsiteY26" fmla="*/ 1825 h 10000"/>
                <a:gd name="connsiteX27" fmla="*/ 6239 w 10001"/>
                <a:gd name="connsiteY27" fmla="*/ 2028 h 10000"/>
                <a:gd name="connsiteX28" fmla="*/ 6177 w 10001"/>
                <a:gd name="connsiteY28" fmla="*/ 2271 h 10000"/>
                <a:gd name="connsiteX29" fmla="*/ 6568 w 10001"/>
                <a:gd name="connsiteY29" fmla="*/ 2401 h 10000"/>
                <a:gd name="connsiteX30" fmla="*/ 6945 w 10001"/>
                <a:gd name="connsiteY30" fmla="*/ 2595 h 10000"/>
                <a:gd name="connsiteX31" fmla="*/ 6537 w 10001"/>
                <a:gd name="connsiteY31" fmla="*/ 2798 h 10000"/>
                <a:gd name="connsiteX32" fmla="*/ 6349 w 10001"/>
                <a:gd name="connsiteY32" fmla="*/ 2701 h 10000"/>
                <a:gd name="connsiteX33" fmla="*/ 6114 w 10001"/>
                <a:gd name="connsiteY33" fmla="*/ 2660 h 10000"/>
                <a:gd name="connsiteX34" fmla="*/ 5628 w 10001"/>
                <a:gd name="connsiteY34" fmla="*/ 2749 h 10000"/>
                <a:gd name="connsiteX35" fmla="*/ 5142 w 10001"/>
                <a:gd name="connsiteY35" fmla="*/ 2595 h 10000"/>
                <a:gd name="connsiteX36" fmla="*/ 4891 w 10001"/>
                <a:gd name="connsiteY36" fmla="*/ 2603 h 10000"/>
                <a:gd name="connsiteX37" fmla="*/ 5032 w 10001"/>
                <a:gd name="connsiteY37" fmla="*/ 2733 h 10000"/>
                <a:gd name="connsiteX38" fmla="*/ 4985 w 10001"/>
                <a:gd name="connsiteY38" fmla="*/ 2822 h 10000"/>
                <a:gd name="connsiteX39" fmla="*/ 5487 w 10001"/>
                <a:gd name="connsiteY39" fmla="*/ 3025 h 10000"/>
                <a:gd name="connsiteX40" fmla="*/ 5753 w 10001"/>
                <a:gd name="connsiteY40" fmla="*/ 2928 h 10000"/>
                <a:gd name="connsiteX41" fmla="*/ 6114 w 10001"/>
                <a:gd name="connsiteY41" fmla="*/ 3114 h 10000"/>
                <a:gd name="connsiteX42" fmla="*/ 5910 w 10001"/>
                <a:gd name="connsiteY42" fmla="*/ 3317 h 10000"/>
                <a:gd name="connsiteX43" fmla="*/ 5612 w 10001"/>
                <a:gd name="connsiteY43" fmla="*/ 3317 h 10000"/>
                <a:gd name="connsiteX44" fmla="*/ 5048 w 10001"/>
                <a:gd name="connsiteY44" fmla="*/ 3268 h 10000"/>
                <a:gd name="connsiteX45" fmla="*/ 5001 w 10001"/>
                <a:gd name="connsiteY45" fmla="*/ 3139 h 10000"/>
                <a:gd name="connsiteX46" fmla="*/ 4703 w 10001"/>
                <a:gd name="connsiteY46" fmla="*/ 3147 h 10000"/>
                <a:gd name="connsiteX47" fmla="*/ 4531 w 10001"/>
                <a:gd name="connsiteY47" fmla="*/ 3268 h 10000"/>
                <a:gd name="connsiteX48" fmla="*/ 4233 w 10001"/>
                <a:gd name="connsiteY48" fmla="*/ 3187 h 10000"/>
                <a:gd name="connsiteX49" fmla="*/ 4296 w 10001"/>
                <a:gd name="connsiteY49" fmla="*/ 3017 h 10000"/>
                <a:gd name="connsiteX50" fmla="*/ 3872 w 10001"/>
                <a:gd name="connsiteY50" fmla="*/ 2863 h 10000"/>
                <a:gd name="connsiteX51" fmla="*/ 3794 w 10001"/>
                <a:gd name="connsiteY51" fmla="*/ 2863 h 10000"/>
                <a:gd name="connsiteX52" fmla="*/ 3637 w 10001"/>
                <a:gd name="connsiteY52" fmla="*/ 2741 h 10000"/>
                <a:gd name="connsiteX53" fmla="*/ 3794 w 10001"/>
                <a:gd name="connsiteY53" fmla="*/ 2636 h 10000"/>
                <a:gd name="connsiteX54" fmla="*/ 3528 w 10001"/>
                <a:gd name="connsiteY54" fmla="*/ 2433 h 10000"/>
                <a:gd name="connsiteX55" fmla="*/ 3198 w 10001"/>
                <a:gd name="connsiteY55" fmla="*/ 2384 h 10000"/>
                <a:gd name="connsiteX56" fmla="*/ 2932 w 10001"/>
                <a:gd name="connsiteY56" fmla="*/ 2336 h 10000"/>
                <a:gd name="connsiteX57" fmla="*/ 2822 w 10001"/>
                <a:gd name="connsiteY57" fmla="*/ 2247 h 10000"/>
                <a:gd name="connsiteX58" fmla="*/ 2242 w 10001"/>
                <a:gd name="connsiteY58" fmla="*/ 2190 h 10000"/>
                <a:gd name="connsiteX59" fmla="*/ 2101 w 10001"/>
                <a:gd name="connsiteY59" fmla="*/ 2117 h 10000"/>
                <a:gd name="connsiteX60" fmla="*/ 1851 w 10001"/>
                <a:gd name="connsiteY60" fmla="*/ 2060 h 10000"/>
                <a:gd name="connsiteX61" fmla="*/ 2007 w 10001"/>
                <a:gd name="connsiteY61" fmla="*/ 1979 h 10000"/>
                <a:gd name="connsiteX62" fmla="*/ 2321 w 10001"/>
                <a:gd name="connsiteY62" fmla="*/ 2003 h 10000"/>
                <a:gd name="connsiteX63" fmla="*/ 2477 w 10001"/>
                <a:gd name="connsiteY63" fmla="*/ 2117 h 10000"/>
                <a:gd name="connsiteX64" fmla="*/ 2744 w 10001"/>
                <a:gd name="connsiteY64" fmla="*/ 2117 h 10000"/>
                <a:gd name="connsiteX65" fmla="*/ 3214 w 10001"/>
                <a:gd name="connsiteY65" fmla="*/ 2117 h 10000"/>
                <a:gd name="connsiteX66" fmla="*/ 3387 w 10001"/>
                <a:gd name="connsiteY66" fmla="*/ 2068 h 10000"/>
                <a:gd name="connsiteX67" fmla="*/ 3794 w 10001"/>
                <a:gd name="connsiteY67" fmla="*/ 2117 h 10000"/>
                <a:gd name="connsiteX68" fmla="*/ 4327 w 10001"/>
                <a:gd name="connsiteY68" fmla="*/ 2117 h 10000"/>
                <a:gd name="connsiteX69" fmla="*/ 5111 w 10001"/>
                <a:gd name="connsiteY69" fmla="*/ 2084 h 10000"/>
                <a:gd name="connsiteX70" fmla="*/ 5910 w 10001"/>
                <a:gd name="connsiteY70" fmla="*/ 1784 h 10000"/>
                <a:gd name="connsiteX71" fmla="*/ 5910 w 10001"/>
                <a:gd name="connsiteY71" fmla="*/ 1387 h 10000"/>
                <a:gd name="connsiteX72" fmla="*/ 5597 w 10001"/>
                <a:gd name="connsiteY72" fmla="*/ 1176 h 10000"/>
                <a:gd name="connsiteX73" fmla="*/ 5252 w 10001"/>
                <a:gd name="connsiteY73" fmla="*/ 1030 h 10000"/>
                <a:gd name="connsiteX74" fmla="*/ 4703 w 10001"/>
                <a:gd name="connsiteY74" fmla="*/ 981 h 10000"/>
                <a:gd name="connsiteX75" fmla="*/ 4311 w 10001"/>
                <a:gd name="connsiteY75" fmla="*/ 981 h 10000"/>
                <a:gd name="connsiteX76" fmla="*/ 3919 w 10001"/>
                <a:gd name="connsiteY76" fmla="*/ 981 h 10000"/>
                <a:gd name="connsiteX77" fmla="*/ 3402 w 10001"/>
                <a:gd name="connsiteY77" fmla="*/ 803 h 10000"/>
                <a:gd name="connsiteX78" fmla="*/ 2744 w 10001"/>
                <a:gd name="connsiteY78" fmla="*/ 738 h 10000"/>
                <a:gd name="connsiteX79" fmla="*/ 2305 w 10001"/>
                <a:gd name="connsiteY79" fmla="*/ 762 h 10000"/>
                <a:gd name="connsiteX80" fmla="*/ 1741 w 10001"/>
                <a:gd name="connsiteY80" fmla="*/ 787 h 10000"/>
                <a:gd name="connsiteX81" fmla="*/ 1631 w 10001"/>
                <a:gd name="connsiteY81" fmla="*/ 860 h 10000"/>
                <a:gd name="connsiteX82" fmla="*/ 1525 w 10001"/>
                <a:gd name="connsiteY82" fmla="*/ 709 h 10000"/>
                <a:gd name="connsiteX83" fmla="*/ 1296 w 10001"/>
                <a:gd name="connsiteY83" fmla="*/ 784 h 10000"/>
                <a:gd name="connsiteX84" fmla="*/ 1056 w 10001"/>
                <a:gd name="connsiteY84" fmla="*/ 706 h 10000"/>
                <a:gd name="connsiteX85" fmla="*/ 939 w 10001"/>
                <a:gd name="connsiteY85" fmla="*/ 910 h 10000"/>
                <a:gd name="connsiteX86" fmla="*/ 572 w 10001"/>
                <a:gd name="connsiteY86" fmla="*/ 1154 h 10000"/>
                <a:gd name="connsiteX87" fmla="*/ 520 w 10001"/>
                <a:gd name="connsiteY87" fmla="*/ 1389 h 10000"/>
                <a:gd name="connsiteX88" fmla="*/ 564 w 10001"/>
                <a:gd name="connsiteY88" fmla="*/ 1540 h 10000"/>
                <a:gd name="connsiteX89" fmla="*/ 1 w 10001"/>
                <a:gd name="connsiteY89" fmla="*/ 1679 h 10000"/>
                <a:gd name="connsiteX90" fmla="*/ 462 w 10001"/>
                <a:gd name="connsiteY90" fmla="*/ 1628 h 10000"/>
                <a:gd name="connsiteX91" fmla="*/ 377 w 10001"/>
                <a:gd name="connsiteY91" fmla="*/ 1727 h 10000"/>
                <a:gd name="connsiteX92" fmla="*/ 518 w 10001"/>
                <a:gd name="connsiteY92" fmla="*/ 1800 h 10000"/>
                <a:gd name="connsiteX93" fmla="*/ 800 w 10001"/>
                <a:gd name="connsiteY93" fmla="*/ 1833 h 10000"/>
                <a:gd name="connsiteX94" fmla="*/ 894 w 10001"/>
                <a:gd name="connsiteY94" fmla="*/ 1971 h 10000"/>
                <a:gd name="connsiteX95" fmla="*/ 691 w 10001"/>
                <a:gd name="connsiteY95" fmla="*/ 2376 h 10000"/>
                <a:gd name="connsiteX96" fmla="*/ 894 w 10001"/>
                <a:gd name="connsiteY96" fmla="*/ 2457 h 10000"/>
                <a:gd name="connsiteX97" fmla="*/ 1678 w 10001"/>
                <a:gd name="connsiteY97" fmla="*/ 2879 h 10000"/>
                <a:gd name="connsiteX98" fmla="*/ 1459 w 10001"/>
                <a:gd name="connsiteY98" fmla="*/ 2976 h 10000"/>
                <a:gd name="connsiteX99" fmla="*/ 1459 w 10001"/>
                <a:gd name="connsiteY99" fmla="*/ 3179 h 10000"/>
                <a:gd name="connsiteX100" fmla="*/ 1678 w 10001"/>
                <a:gd name="connsiteY100" fmla="*/ 3220 h 10000"/>
                <a:gd name="connsiteX101" fmla="*/ 1615 w 10001"/>
                <a:gd name="connsiteY101" fmla="*/ 3333 h 10000"/>
                <a:gd name="connsiteX102" fmla="*/ 1788 w 10001"/>
                <a:gd name="connsiteY102" fmla="*/ 3398 h 10000"/>
                <a:gd name="connsiteX103" fmla="*/ 1960 w 10001"/>
                <a:gd name="connsiteY103" fmla="*/ 3366 h 10000"/>
                <a:gd name="connsiteX104" fmla="*/ 1992 w 10001"/>
                <a:gd name="connsiteY104" fmla="*/ 3528 h 10000"/>
                <a:gd name="connsiteX105" fmla="*/ 2133 w 10001"/>
                <a:gd name="connsiteY105" fmla="*/ 3609 h 10000"/>
                <a:gd name="connsiteX106" fmla="*/ 2321 w 10001"/>
                <a:gd name="connsiteY106" fmla="*/ 3577 h 10000"/>
                <a:gd name="connsiteX107" fmla="*/ 2462 w 10001"/>
                <a:gd name="connsiteY107" fmla="*/ 3715 h 10000"/>
                <a:gd name="connsiteX108" fmla="*/ 2336 w 10001"/>
                <a:gd name="connsiteY108" fmla="*/ 3950 h 10000"/>
                <a:gd name="connsiteX109" fmla="*/ 3277 w 10001"/>
                <a:gd name="connsiteY109" fmla="*/ 4193 h 10000"/>
                <a:gd name="connsiteX110" fmla="*/ 3293 w 10001"/>
                <a:gd name="connsiteY110" fmla="*/ 4599 h 10000"/>
                <a:gd name="connsiteX111" fmla="*/ 2807 w 10001"/>
                <a:gd name="connsiteY111" fmla="*/ 5239 h 10000"/>
                <a:gd name="connsiteX112" fmla="*/ 2289 w 10001"/>
                <a:gd name="connsiteY112" fmla="*/ 5677 h 10000"/>
                <a:gd name="connsiteX113" fmla="*/ 2556 w 10001"/>
                <a:gd name="connsiteY113" fmla="*/ 5612 h 10000"/>
                <a:gd name="connsiteX114" fmla="*/ 2619 w 10001"/>
                <a:gd name="connsiteY114" fmla="*/ 5766 h 10000"/>
                <a:gd name="connsiteX115" fmla="*/ 2932 w 10001"/>
                <a:gd name="connsiteY115" fmla="*/ 5839 h 10000"/>
                <a:gd name="connsiteX116" fmla="*/ 3371 w 10001"/>
                <a:gd name="connsiteY116" fmla="*/ 5775 h 10000"/>
                <a:gd name="connsiteX117" fmla="*/ 3794 w 10001"/>
                <a:gd name="connsiteY117" fmla="*/ 5864 h 10000"/>
                <a:gd name="connsiteX118" fmla="*/ 3794 w 10001"/>
                <a:gd name="connsiteY118" fmla="*/ 5994 h 10000"/>
                <a:gd name="connsiteX119" fmla="*/ 3057 w 10001"/>
                <a:gd name="connsiteY119" fmla="*/ 5969 h 10000"/>
                <a:gd name="connsiteX120" fmla="*/ 2932 w 10001"/>
                <a:gd name="connsiteY120" fmla="*/ 6091 h 10000"/>
                <a:gd name="connsiteX121" fmla="*/ 2556 w 10001"/>
                <a:gd name="connsiteY121" fmla="*/ 6172 h 10000"/>
                <a:gd name="connsiteX122" fmla="*/ 2634 w 10001"/>
                <a:gd name="connsiteY122" fmla="*/ 6269 h 10000"/>
                <a:gd name="connsiteX123" fmla="*/ 2713 w 10001"/>
                <a:gd name="connsiteY123" fmla="*/ 6326 h 10000"/>
                <a:gd name="connsiteX124" fmla="*/ 2540 w 10001"/>
                <a:gd name="connsiteY124" fmla="*/ 6415 h 10000"/>
                <a:gd name="connsiteX125" fmla="*/ 2587 w 10001"/>
                <a:gd name="connsiteY125" fmla="*/ 6537 h 10000"/>
                <a:gd name="connsiteX126" fmla="*/ 2399 w 10001"/>
                <a:gd name="connsiteY126" fmla="*/ 6642 h 10000"/>
                <a:gd name="connsiteX127" fmla="*/ 2493 w 10001"/>
                <a:gd name="connsiteY127" fmla="*/ 6788 h 10000"/>
                <a:gd name="connsiteX128" fmla="*/ 2681 w 10001"/>
                <a:gd name="connsiteY128" fmla="*/ 6821 h 10000"/>
                <a:gd name="connsiteX129" fmla="*/ 2603 w 10001"/>
                <a:gd name="connsiteY129" fmla="*/ 6983 h 10000"/>
                <a:gd name="connsiteX130" fmla="*/ 2822 w 10001"/>
                <a:gd name="connsiteY130" fmla="*/ 7015 h 10000"/>
                <a:gd name="connsiteX131" fmla="*/ 2932 w 10001"/>
                <a:gd name="connsiteY131" fmla="*/ 7145 h 10000"/>
                <a:gd name="connsiteX132" fmla="*/ 2807 w 10001"/>
                <a:gd name="connsiteY132" fmla="*/ 7202 h 10000"/>
                <a:gd name="connsiteX133" fmla="*/ 2822 w 10001"/>
                <a:gd name="connsiteY133" fmla="*/ 7299 h 10000"/>
                <a:gd name="connsiteX134" fmla="*/ 2932 w 10001"/>
                <a:gd name="connsiteY134" fmla="*/ 7388 h 10000"/>
                <a:gd name="connsiteX135" fmla="*/ 3293 w 10001"/>
                <a:gd name="connsiteY135" fmla="*/ 7486 h 10000"/>
                <a:gd name="connsiteX136" fmla="*/ 3167 w 10001"/>
                <a:gd name="connsiteY136" fmla="*/ 7575 h 10000"/>
                <a:gd name="connsiteX137" fmla="*/ 3293 w 10001"/>
                <a:gd name="connsiteY137" fmla="*/ 7737 h 10000"/>
                <a:gd name="connsiteX138" fmla="*/ 3418 w 10001"/>
                <a:gd name="connsiteY138" fmla="*/ 7737 h 10000"/>
                <a:gd name="connsiteX139" fmla="*/ 3512 w 10001"/>
                <a:gd name="connsiteY139" fmla="*/ 7810 h 10000"/>
                <a:gd name="connsiteX140" fmla="*/ 3794 w 10001"/>
                <a:gd name="connsiteY140" fmla="*/ 7908 h 10000"/>
                <a:gd name="connsiteX141" fmla="*/ 3794 w 10001"/>
                <a:gd name="connsiteY141" fmla="*/ 7997 h 10000"/>
                <a:gd name="connsiteX142" fmla="*/ 4076 w 10001"/>
                <a:gd name="connsiteY142" fmla="*/ 7972 h 10000"/>
                <a:gd name="connsiteX143" fmla="*/ 4578 w 10001"/>
                <a:gd name="connsiteY143" fmla="*/ 7972 h 10000"/>
                <a:gd name="connsiteX144" fmla="*/ 4719 w 10001"/>
                <a:gd name="connsiteY144" fmla="*/ 8167 h 10000"/>
                <a:gd name="connsiteX145" fmla="*/ 5142 w 10001"/>
                <a:gd name="connsiteY145" fmla="*/ 7972 h 10000"/>
                <a:gd name="connsiteX146" fmla="*/ 5722 w 10001"/>
                <a:gd name="connsiteY146" fmla="*/ 8078 h 10000"/>
                <a:gd name="connsiteX147" fmla="*/ 5847 w 10001"/>
                <a:gd name="connsiteY147" fmla="*/ 8289 h 10000"/>
                <a:gd name="connsiteX148" fmla="*/ 5847 w 10001"/>
                <a:gd name="connsiteY148" fmla="*/ 8467 h 10000"/>
                <a:gd name="connsiteX149" fmla="*/ 6114 w 10001"/>
                <a:gd name="connsiteY149" fmla="*/ 8483 h 10000"/>
                <a:gd name="connsiteX150" fmla="*/ 6224 w 10001"/>
                <a:gd name="connsiteY150" fmla="*/ 8581 h 10000"/>
                <a:gd name="connsiteX151" fmla="*/ 6537 w 10001"/>
                <a:gd name="connsiteY151" fmla="*/ 8710 h 10000"/>
                <a:gd name="connsiteX152" fmla="*/ 6913 w 10001"/>
                <a:gd name="connsiteY152" fmla="*/ 8759 h 10000"/>
                <a:gd name="connsiteX153" fmla="*/ 6929 w 10001"/>
                <a:gd name="connsiteY153" fmla="*/ 8889 h 10000"/>
                <a:gd name="connsiteX154" fmla="*/ 7368 w 10001"/>
                <a:gd name="connsiteY154" fmla="*/ 8856 h 10000"/>
                <a:gd name="connsiteX155" fmla="*/ 7697 w 10001"/>
                <a:gd name="connsiteY155" fmla="*/ 9027 h 10000"/>
                <a:gd name="connsiteX156" fmla="*/ 7587 w 10001"/>
                <a:gd name="connsiteY156" fmla="*/ 9238 h 10000"/>
                <a:gd name="connsiteX157" fmla="*/ 6913 w 10001"/>
                <a:gd name="connsiteY157" fmla="*/ 9238 h 10000"/>
                <a:gd name="connsiteX158" fmla="*/ 6804 w 10001"/>
                <a:gd name="connsiteY158" fmla="*/ 9343 h 10000"/>
                <a:gd name="connsiteX159" fmla="*/ 7133 w 10001"/>
                <a:gd name="connsiteY159" fmla="*/ 9424 h 10000"/>
                <a:gd name="connsiteX160" fmla="*/ 7180 w 10001"/>
                <a:gd name="connsiteY160" fmla="*/ 9594 h 10000"/>
                <a:gd name="connsiteX161" fmla="*/ 7462 w 10001"/>
                <a:gd name="connsiteY161" fmla="*/ 9805 h 10000"/>
                <a:gd name="connsiteX162" fmla="*/ 7838 w 10001"/>
                <a:gd name="connsiteY162" fmla="*/ 9813 h 10000"/>
                <a:gd name="connsiteX163" fmla="*/ 7854 w 10001"/>
                <a:gd name="connsiteY163" fmla="*/ 9659 h 10000"/>
                <a:gd name="connsiteX164" fmla="*/ 8465 w 10001"/>
                <a:gd name="connsiteY164" fmla="*/ 9521 h 10000"/>
                <a:gd name="connsiteX165" fmla="*/ 9061 w 10001"/>
                <a:gd name="connsiteY165" fmla="*/ 9521 h 10000"/>
                <a:gd name="connsiteX166" fmla="*/ 9546 w 10001"/>
                <a:gd name="connsiteY166" fmla="*/ 9659 h 10000"/>
                <a:gd name="connsiteX167" fmla="*/ 9280 w 10001"/>
                <a:gd name="connsiteY167" fmla="*/ 9789 h 10000"/>
                <a:gd name="connsiteX168" fmla="*/ 9625 w 10001"/>
                <a:gd name="connsiteY168" fmla="*/ 10000 h 10000"/>
                <a:gd name="connsiteX169" fmla="*/ 10001 w 10001"/>
                <a:gd name="connsiteY169" fmla="*/ 9951 h 10000"/>
                <a:gd name="connsiteX170" fmla="*/ 10001 w 10001"/>
                <a:gd name="connsiteY170" fmla="*/ 0 h 10000"/>
                <a:gd name="connsiteX171" fmla="*/ 8434 w 10001"/>
                <a:gd name="connsiteY171" fmla="*/ 0 h 10000"/>
                <a:gd name="connsiteX0" fmla="*/ 8058 w 9625"/>
                <a:gd name="connsiteY0" fmla="*/ 0 h 10000"/>
                <a:gd name="connsiteX1" fmla="*/ 8058 w 9625"/>
                <a:gd name="connsiteY1" fmla="*/ 97 h 10000"/>
                <a:gd name="connsiteX2" fmla="*/ 7728 w 9625"/>
                <a:gd name="connsiteY2" fmla="*/ 357 h 10000"/>
                <a:gd name="connsiteX3" fmla="*/ 8058 w 9625"/>
                <a:gd name="connsiteY3" fmla="*/ 697 h 10000"/>
                <a:gd name="connsiteX4" fmla="*/ 7446 w 9625"/>
                <a:gd name="connsiteY4" fmla="*/ 981 h 10000"/>
                <a:gd name="connsiteX5" fmla="*/ 7352 w 9625"/>
                <a:gd name="connsiteY5" fmla="*/ 803 h 10000"/>
                <a:gd name="connsiteX6" fmla="*/ 6819 w 9625"/>
                <a:gd name="connsiteY6" fmla="*/ 803 h 10000"/>
                <a:gd name="connsiteX7" fmla="*/ 6663 w 9625"/>
                <a:gd name="connsiteY7" fmla="*/ 584 h 10000"/>
                <a:gd name="connsiteX8" fmla="*/ 7117 w 9625"/>
                <a:gd name="connsiteY8" fmla="*/ 397 h 10000"/>
                <a:gd name="connsiteX9" fmla="*/ 6678 w 9625"/>
                <a:gd name="connsiteY9" fmla="*/ 276 h 10000"/>
                <a:gd name="connsiteX10" fmla="*/ 6506 w 9625"/>
                <a:gd name="connsiteY10" fmla="*/ 187 h 10000"/>
                <a:gd name="connsiteX11" fmla="*/ 6192 w 9625"/>
                <a:gd name="connsiteY11" fmla="*/ 187 h 10000"/>
                <a:gd name="connsiteX12" fmla="*/ 5895 w 9625"/>
                <a:gd name="connsiteY12" fmla="*/ 341 h 10000"/>
                <a:gd name="connsiteX13" fmla="*/ 5424 w 9625"/>
                <a:gd name="connsiteY13" fmla="*/ 397 h 10000"/>
                <a:gd name="connsiteX14" fmla="*/ 5989 w 9625"/>
                <a:gd name="connsiteY14" fmla="*/ 479 h 10000"/>
                <a:gd name="connsiteX15" fmla="*/ 6208 w 9625"/>
                <a:gd name="connsiteY15" fmla="*/ 738 h 10000"/>
                <a:gd name="connsiteX16" fmla="*/ 6302 w 9625"/>
                <a:gd name="connsiteY16" fmla="*/ 981 h 10000"/>
                <a:gd name="connsiteX17" fmla="*/ 6459 w 9625"/>
                <a:gd name="connsiteY17" fmla="*/ 981 h 10000"/>
                <a:gd name="connsiteX18" fmla="*/ 6866 w 9625"/>
                <a:gd name="connsiteY18" fmla="*/ 981 h 10000"/>
                <a:gd name="connsiteX19" fmla="*/ 6898 w 9625"/>
                <a:gd name="connsiteY19" fmla="*/ 1103 h 10000"/>
                <a:gd name="connsiteX20" fmla="*/ 7101 w 9625"/>
                <a:gd name="connsiteY20" fmla="*/ 1160 h 10000"/>
                <a:gd name="connsiteX21" fmla="*/ 7117 w 9625"/>
                <a:gd name="connsiteY21" fmla="*/ 1371 h 10000"/>
                <a:gd name="connsiteX22" fmla="*/ 7274 w 9625"/>
                <a:gd name="connsiteY22" fmla="*/ 1590 h 10000"/>
                <a:gd name="connsiteX23" fmla="*/ 6804 w 9625"/>
                <a:gd name="connsiteY23" fmla="*/ 1444 h 10000"/>
                <a:gd name="connsiteX24" fmla="*/ 6475 w 9625"/>
                <a:gd name="connsiteY24" fmla="*/ 1484 h 10000"/>
                <a:gd name="connsiteX25" fmla="*/ 6192 w 9625"/>
                <a:gd name="connsiteY25" fmla="*/ 1484 h 10000"/>
                <a:gd name="connsiteX26" fmla="*/ 5989 w 9625"/>
                <a:gd name="connsiteY26" fmla="*/ 1825 h 10000"/>
                <a:gd name="connsiteX27" fmla="*/ 5863 w 9625"/>
                <a:gd name="connsiteY27" fmla="*/ 2028 h 10000"/>
                <a:gd name="connsiteX28" fmla="*/ 5801 w 9625"/>
                <a:gd name="connsiteY28" fmla="*/ 2271 h 10000"/>
                <a:gd name="connsiteX29" fmla="*/ 6192 w 9625"/>
                <a:gd name="connsiteY29" fmla="*/ 2401 h 10000"/>
                <a:gd name="connsiteX30" fmla="*/ 6569 w 9625"/>
                <a:gd name="connsiteY30" fmla="*/ 2595 h 10000"/>
                <a:gd name="connsiteX31" fmla="*/ 6161 w 9625"/>
                <a:gd name="connsiteY31" fmla="*/ 2798 h 10000"/>
                <a:gd name="connsiteX32" fmla="*/ 5973 w 9625"/>
                <a:gd name="connsiteY32" fmla="*/ 2701 h 10000"/>
                <a:gd name="connsiteX33" fmla="*/ 5738 w 9625"/>
                <a:gd name="connsiteY33" fmla="*/ 2660 h 10000"/>
                <a:gd name="connsiteX34" fmla="*/ 5252 w 9625"/>
                <a:gd name="connsiteY34" fmla="*/ 2749 h 10000"/>
                <a:gd name="connsiteX35" fmla="*/ 4766 w 9625"/>
                <a:gd name="connsiteY35" fmla="*/ 2595 h 10000"/>
                <a:gd name="connsiteX36" fmla="*/ 4515 w 9625"/>
                <a:gd name="connsiteY36" fmla="*/ 2603 h 10000"/>
                <a:gd name="connsiteX37" fmla="*/ 4656 w 9625"/>
                <a:gd name="connsiteY37" fmla="*/ 2733 h 10000"/>
                <a:gd name="connsiteX38" fmla="*/ 4609 w 9625"/>
                <a:gd name="connsiteY38" fmla="*/ 2822 h 10000"/>
                <a:gd name="connsiteX39" fmla="*/ 5111 w 9625"/>
                <a:gd name="connsiteY39" fmla="*/ 3025 h 10000"/>
                <a:gd name="connsiteX40" fmla="*/ 5377 w 9625"/>
                <a:gd name="connsiteY40" fmla="*/ 2928 h 10000"/>
                <a:gd name="connsiteX41" fmla="*/ 5738 w 9625"/>
                <a:gd name="connsiteY41" fmla="*/ 3114 h 10000"/>
                <a:gd name="connsiteX42" fmla="*/ 5534 w 9625"/>
                <a:gd name="connsiteY42" fmla="*/ 3317 h 10000"/>
                <a:gd name="connsiteX43" fmla="*/ 5236 w 9625"/>
                <a:gd name="connsiteY43" fmla="*/ 3317 h 10000"/>
                <a:gd name="connsiteX44" fmla="*/ 4672 w 9625"/>
                <a:gd name="connsiteY44" fmla="*/ 3268 h 10000"/>
                <a:gd name="connsiteX45" fmla="*/ 4625 w 9625"/>
                <a:gd name="connsiteY45" fmla="*/ 3139 h 10000"/>
                <a:gd name="connsiteX46" fmla="*/ 4327 w 9625"/>
                <a:gd name="connsiteY46" fmla="*/ 3147 h 10000"/>
                <a:gd name="connsiteX47" fmla="*/ 4155 w 9625"/>
                <a:gd name="connsiteY47" fmla="*/ 3268 h 10000"/>
                <a:gd name="connsiteX48" fmla="*/ 3857 w 9625"/>
                <a:gd name="connsiteY48" fmla="*/ 3187 h 10000"/>
                <a:gd name="connsiteX49" fmla="*/ 3920 w 9625"/>
                <a:gd name="connsiteY49" fmla="*/ 3017 h 10000"/>
                <a:gd name="connsiteX50" fmla="*/ 3496 w 9625"/>
                <a:gd name="connsiteY50" fmla="*/ 2863 h 10000"/>
                <a:gd name="connsiteX51" fmla="*/ 3418 w 9625"/>
                <a:gd name="connsiteY51" fmla="*/ 2863 h 10000"/>
                <a:gd name="connsiteX52" fmla="*/ 3261 w 9625"/>
                <a:gd name="connsiteY52" fmla="*/ 2741 h 10000"/>
                <a:gd name="connsiteX53" fmla="*/ 3418 w 9625"/>
                <a:gd name="connsiteY53" fmla="*/ 2636 h 10000"/>
                <a:gd name="connsiteX54" fmla="*/ 3152 w 9625"/>
                <a:gd name="connsiteY54" fmla="*/ 2433 h 10000"/>
                <a:gd name="connsiteX55" fmla="*/ 2822 w 9625"/>
                <a:gd name="connsiteY55" fmla="*/ 2384 h 10000"/>
                <a:gd name="connsiteX56" fmla="*/ 2556 w 9625"/>
                <a:gd name="connsiteY56" fmla="*/ 2336 h 10000"/>
                <a:gd name="connsiteX57" fmla="*/ 2446 w 9625"/>
                <a:gd name="connsiteY57" fmla="*/ 2247 h 10000"/>
                <a:gd name="connsiteX58" fmla="*/ 1866 w 9625"/>
                <a:gd name="connsiteY58" fmla="*/ 2190 h 10000"/>
                <a:gd name="connsiteX59" fmla="*/ 1725 w 9625"/>
                <a:gd name="connsiteY59" fmla="*/ 2117 h 10000"/>
                <a:gd name="connsiteX60" fmla="*/ 1475 w 9625"/>
                <a:gd name="connsiteY60" fmla="*/ 2060 h 10000"/>
                <a:gd name="connsiteX61" fmla="*/ 1631 w 9625"/>
                <a:gd name="connsiteY61" fmla="*/ 1979 h 10000"/>
                <a:gd name="connsiteX62" fmla="*/ 1945 w 9625"/>
                <a:gd name="connsiteY62" fmla="*/ 2003 h 10000"/>
                <a:gd name="connsiteX63" fmla="*/ 2101 w 9625"/>
                <a:gd name="connsiteY63" fmla="*/ 2117 h 10000"/>
                <a:gd name="connsiteX64" fmla="*/ 2368 w 9625"/>
                <a:gd name="connsiteY64" fmla="*/ 2117 h 10000"/>
                <a:gd name="connsiteX65" fmla="*/ 2838 w 9625"/>
                <a:gd name="connsiteY65" fmla="*/ 2117 h 10000"/>
                <a:gd name="connsiteX66" fmla="*/ 3011 w 9625"/>
                <a:gd name="connsiteY66" fmla="*/ 2068 h 10000"/>
                <a:gd name="connsiteX67" fmla="*/ 3418 w 9625"/>
                <a:gd name="connsiteY67" fmla="*/ 2117 h 10000"/>
                <a:gd name="connsiteX68" fmla="*/ 3951 w 9625"/>
                <a:gd name="connsiteY68" fmla="*/ 2117 h 10000"/>
                <a:gd name="connsiteX69" fmla="*/ 4735 w 9625"/>
                <a:gd name="connsiteY69" fmla="*/ 2084 h 10000"/>
                <a:gd name="connsiteX70" fmla="*/ 5534 w 9625"/>
                <a:gd name="connsiteY70" fmla="*/ 1784 h 10000"/>
                <a:gd name="connsiteX71" fmla="*/ 5534 w 9625"/>
                <a:gd name="connsiteY71" fmla="*/ 1387 h 10000"/>
                <a:gd name="connsiteX72" fmla="*/ 5221 w 9625"/>
                <a:gd name="connsiteY72" fmla="*/ 1176 h 10000"/>
                <a:gd name="connsiteX73" fmla="*/ 4876 w 9625"/>
                <a:gd name="connsiteY73" fmla="*/ 1030 h 10000"/>
                <a:gd name="connsiteX74" fmla="*/ 4327 w 9625"/>
                <a:gd name="connsiteY74" fmla="*/ 981 h 10000"/>
                <a:gd name="connsiteX75" fmla="*/ 3935 w 9625"/>
                <a:gd name="connsiteY75" fmla="*/ 981 h 10000"/>
                <a:gd name="connsiteX76" fmla="*/ 3543 w 9625"/>
                <a:gd name="connsiteY76" fmla="*/ 981 h 10000"/>
                <a:gd name="connsiteX77" fmla="*/ 3026 w 9625"/>
                <a:gd name="connsiteY77" fmla="*/ 803 h 10000"/>
                <a:gd name="connsiteX78" fmla="*/ 2368 w 9625"/>
                <a:gd name="connsiteY78" fmla="*/ 738 h 10000"/>
                <a:gd name="connsiteX79" fmla="*/ 1929 w 9625"/>
                <a:gd name="connsiteY79" fmla="*/ 762 h 10000"/>
                <a:gd name="connsiteX80" fmla="*/ 1365 w 9625"/>
                <a:gd name="connsiteY80" fmla="*/ 787 h 10000"/>
                <a:gd name="connsiteX81" fmla="*/ 1255 w 9625"/>
                <a:gd name="connsiteY81" fmla="*/ 860 h 10000"/>
                <a:gd name="connsiteX82" fmla="*/ 1149 w 9625"/>
                <a:gd name="connsiteY82" fmla="*/ 709 h 10000"/>
                <a:gd name="connsiteX83" fmla="*/ 920 w 9625"/>
                <a:gd name="connsiteY83" fmla="*/ 784 h 10000"/>
                <a:gd name="connsiteX84" fmla="*/ 680 w 9625"/>
                <a:gd name="connsiteY84" fmla="*/ 706 h 10000"/>
                <a:gd name="connsiteX85" fmla="*/ 563 w 9625"/>
                <a:gd name="connsiteY85" fmla="*/ 910 h 10000"/>
                <a:gd name="connsiteX86" fmla="*/ 196 w 9625"/>
                <a:gd name="connsiteY86" fmla="*/ 1154 h 10000"/>
                <a:gd name="connsiteX87" fmla="*/ 144 w 9625"/>
                <a:gd name="connsiteY87" fmla="*/ 1389 h 10000"/>
                <a:gd name="connsiteX88" fmla="*/ 188 w 9625"/>
                <a:gd name="connsiteY88" fmla="*/ 1540 h 10000"/>
                <a:gd name="connsiteX89" fmla="*/ 86 w 9625"/>
                <a:gd name="connsiteY89" fmla="*/ 1628 h 10000"/>
                <a:gd name="connsiteX90" fmla="*/ 1 w 9625"/>
                <a:gd name="connsiteY90" fmla="*/ 1727 h 10000"/>
                <a:gd name="connsiteX91" fmla="*/ 142 w 9625"/>
                <a:gd name="connsiteY91" fmla="*/ 1800 h 10000"/>
                <a:gd name="connsiteX92" fmla="*/ 424 w 9625"/>
                <a:gd name="connsiteY92" fmla="*/ 1833 h 10000"/>
                <a:gd name="connsiteX93" fmla="*/ 518 w 9625"/>
                <a:gd name="connsiteY93" fmla="*/ 1971 h 10000"/>
                <a:gd name="connsiteX94" fmla="*/ 315 w 9625"/>
                <a:gd name="connsiteY94" fmla="*/ 2376 h 10000"/>
                <a:gd name="connsiteX95" fmla="*/ 518 w 9625"/>
                <a:gd name="connsiteY95" fmla="*/ 2457 h 10000"/>
                <a:gd name="connsiteX96" fmla="*/ 1302 w 9625"/>
                <a:gd name="connsiteY96" fmla="*/ 2879 h 10000"/>
                <a:gd name="connsiteX97" fmla="*/ 1083 w 9625"/>
                <a:gd name="connsiteY97" fmla="*/ 2976 h 10000"/>
                <a:gd name="connsiteX98" fmla="*/ 1083 w 9625"/>
                <a:gd name="connsiteY98" fmla="*/ 3179 h 10000"/>
                <a:gd name="connsiteX99" fmla="*/ 1302 w 9625"/>
                <a:gd name="connsiteY99" fmla="*/ 3220 h 10000"/>
                <a:gd name="connsiteX100" fmla="*/ 1239 w 9625"/>
                <a:gd name="connsiteY100" fmla="*/ 3333 h 10000"/>
                <a:gd name="connsiteX101" fmla="*/ 1412 w 9625"/>
                <a:gd name="connsiteY101" fmla="*/ 3398 h 10000"/>
                <a:gd name="connsiteX102" fmla="*/ 1584 w 9625"/>
                <a:gd name="connsiteY102" fmla="*/ 3366 h 10000"/>
                <a:gd name="connsiteX103" fmla="*/ 1616 w 9625"/>
                <a:gd name="connsiteY103" fmla="*/ 3528 h 10000"/>
                <a:gd name="connsiteX104" fmla="*/ 1757 w 9625"/>
                <a:gd name="connsiteY104" fmla="*/ 3609 h 10000"/>
                <a:gd name="connsiteX105" fmla="*/ 1945 w 9625"/>
                <a:gd name="connsiteY105" fmla="*/ 3577 h 10000"/>
                <a:gd name="connsiteX106" fmla="*/ 2086 w 9625"/>
                <a:gd name="connsiteY106" fmla="*/ 3715 h 10000"/>
                <a:gd name="connsiteX107" fmla="*/ 1960 w 9625"/>
                <a:gd name="connsiteY107" fmla="*/ 3950 h 10000"/>
                <a:gd name="connsiteX108" fmla="*/ 2901 w 9625"/>
                <a:gd name="connsiteY108" fmla="*/ 4193 h 10000"/>
                <a:gd name="connsiteX109" fmla="*/ 2917 w 9625"/>
                <a:gd name="connsiteY109" fmla="*/ 4599 h 10000"/>
                <a:gd name="connsiteX110" fmla="*/ 2431 w 9625"/>
                <a:gd name="connsiteY110" fmla="*/ 5239 h 10000"/>
                <a:gd name="connsiteX111" fmla="*/ 1913 w 9625"/>
                <a:gd name="connsiteY111" fmla="*/ 5677 h 10000"/>
                <a:gd name="connsiteX112" fmla="*/ 2180 w 9625"/>
                <a:gd name="connsiteY112" fmla="*/ 5612 h 10000"/>
                <a:gd name="connsiteX113" fmla="*/ 2243 w 9625"/>
                <a:gd name="connsiteY113" fmla="*/ 5766 h 10000"/>
                <a:gd name="connsiteX114" fmla="*/ 2556 w 9625"/>
                <a:gd name="connsiteY114" fmla="*/ 5839 h 10000"/>
                <a:gd name="connsiteX115" fmla="*/ 2995 w 9625"/>
                <a:gd name="connsiteY115" fmla="*/ 5775 h 10000"/>
                <a:gd name="connsiteX116" fmla="*/ 3418 w 9625"/>
                <a:gd name="connsiteY116" fmla="*/ 5864 h 10000"/>
                <a:gd name="connsiteX117" fmla="*/ 3418 w 9625"/>
                <a:gd name="connsiteY117" fmla="*/ 5994 h 10000"/>
                <a:gd name="connsiteX118" fmla="*/ 2681 w 9625"/>
                <a:gd name="connsiteY118" fmla="*/ 5969 h 10000"/>
                <a:gd name="connsiteX119" fmla="*/ 2556 w 9625"/>
                <a:gd name="connsiteY119" fmla="*/ 6091 h 10000"/>
                <a:gd name="connsiteX120" fmla="*/ 2180 w 9625"/>
                <a:gd name="connsiteY120" fmla="*/ 6172 h 10000"/>
                <a:gd name="connsiteX121" fmla="*/ 2258 w 9625"/>
                <a:gd name="connsiteY121" fmla="*/ 6269 h 10000"/>
                <a:gd name="connsiteX122" fmla="*/ 2337 w 9625"/>
                <a:gd name="connsiteY122" fmla="*/ 6326 h 10000"/>
                <a:gd name="connsiteX123" fmla="*/ 2164 w 9625"/>
                <a:gd name="connsiteY123" fmla="*/ 6415 h 10000"/>
                <a:gd name="connsiteX124" fmla="*/ 2211 w 9625"/>
                <a:gd name="connsiteY124" fmla="*/ 6537 h 10000"/>
                <a:gd name="connsiteX125" fmla="*/ 2023 w 9625"/>
                <a:gd name="connsiteY125" fmla="*/ 6642 h 10000"/>
                <a:gd name="connsiteX126" fmla="*/ 2117 w 9625"/>
                <a:gd name="connsiteY126" fmla="*/ 6788 h 10000"/>
                <a:gd name="connsiteX127" fmla="*/ 2305 w 9625"/>
                <a:gd name="connsiteY127" fmla="*/ 6821 h 10000"/>
                <a:gd name="connsiteX128" fmla="*/ 2227 w 9625"/>
                <a:gd name="connsiteY128" fmla="*/ 6983 h 10000"/>
                <a:gd name="connsiteX129" fmla="*/ 2446 w 9625"/>
                <a:gd name="connsiteY129" fmla="*/ 7015 h 10000"/>
                <a:gd name="connsiteX130" fmla="*/ 2556 w 9625"/>
                <a:gd name="connsiteY130" fmla="*/ 7145 h 10000"/>
                <a:gd name="connsiteX131" fmla="*/ 2431 w 9625"/>
                <a:gd name="connsiteY131" fmla="*/ 7202 h 10000"/>
                <a:gd name="connsiteX132" fmla="*/ 2446 w 9625"/>
                <a:gd name="connsiteY132" fmla="*/ 7299 h 10000"/>
                <a:gd name="connsiteX133" fmla="*/ 2556 w 9625"/>
                <a:gd name="connsiteY133" fmla="*/ 7388 h 10000"/>
                <a:gd name="connsiteX134" fmla="*/ 2917 w 9625"/>
                <a:gd name="connsiteY134" fmla="*/ 7486 h 10000"/>
                <a:gd name="connsiteX135" fmla="*/ 2791 w 9625"/>
                <a:gd name="connsiteY135" fmla="*/ 7575 h 10000"/>
                <a:gd name="connsiteX136" fmla="*/ 2917 w 9625"/>
                <a:gd name="connsiteY136" fmla="*/ 7737 h 10000"/>
                <a:gd name="connsiteX137" fmla="*/ 3042 w 9625"/>
                <a:gd name="connsiteY137" fmla="*/ 7737 h 10000"/>
                <a:gd name="connsiteX138" fmla="*/ 3136 w 9625"/>
                <a:gd name="connsiteY138" fmla="*/ 7810 h 10000"/>
                <a:gd name="connsiteX139" fmla="*/ 3418 w 9625"/>
                <a:gd name="connsiteY139" fmla="*/ 7908 h 10000"/>
                <a:gd name="connsiteX140" fmla="*/ 3418 w 9625"/>
                <a:gd name="connsiteY140" fmla="*/ 7997 h 10000"/>
                <a:gd name="connsiteX141" fmla="*/ 3700 w 9625"/>
                <a:gd name="connsiteY141" fmla="*/ 7972 h 10000"/>
                <a:gd name="connsiteX142" fmla="*/ 4202 w 9625"/>
                <a:gd name="connsiteY142" fmla="*/ 7972 h 10000"/>
                <a:gd name="connsiteX143" fmla="*/ 4343 w 9625"/>
                <a:gd name="connsiteY143" fmla="*/ 8167 h 10000"/>
                <a:gd name="connsiteX144" fmla="*/ 4766 w 9625"/>
                <a:gd name="connsiteY144" fmla="*/ 7972 h 10000"/>
                <a:gd name="connsiteX145" fmla="*/ 5346 w 9625"/>
                <a:gd name="connsiteY145" fmla="*/ 8078 h 10000"/>
                <a:gd name="connsiteX146" fmla="*/ 5471 w 9625"/>
                <a:gd name="connsiteY146" fmla="*/ 8289 h 10000"/>
                <a:gd name="connsiteX147" fmla="*/ 5471 w 9625"/>
                <a:gd name="connsiteY147" fmla="*/ 8467 h 10000"/>
                <a:gd name="connsiteX148" fmla="*/ 5738 w 9625"/>
                <a:gd name="connsiteY148" fmla="*/ 8483 h 10000"/>
                <a:gd name="connsiteX149" fmla="*/ 5848 w 9625"/>
                <a:gd name="connsiteY149" fmla="*/ 8581 h 10000"/>
                <a:gd name="connsiteX150" fmla="*/ 6161 w 9625"/>
                <a:gd name="connsiteY150" fmla="*/ 8710 h 10000"/>
                <a:gd name="connsiteX151" fmla="*/ 6537 w 9625"/>
                <a:gd name="connsiteY151" fmla="*/ 8759 h 10000"/>
                <a:gd name="connsiteX152" fmla="*/ 6553 w 9625"/>
                <a:gd name="connsiteY152" fmla="*/ 8889 h 10000"/>
                <a:gd name="connsiteX153" fmla="*/ 6992 w 9625"/>
                <a:gd name="connsiteY153" fmla="*/ 8856 h 10000"/>
                <a:gd name="connsiteX154" fmla="*/ 7321 w 9625"/>
                <a:gd name="connsiteY154" fmla="*/ 9027 h 10000"/>
                <a:gd name="connsiteX155" fmla="*/ 7211 w 9625"/>
                <a:gd name="connsiteY155" fmla="*/ 9238 h 10000"/>
                <a:gd name="connsiteX156" fmla="*/ 6537 w 9625"/>
                <a:gd name="connsiteY156" fmla="*/ 9238 h 10000"/>
                <a:gd name="connsiteX157" fmla="*/ 6428 w 9625"/>
                <a:gd name="connsiteY157" fmla="*/ 9343 h 10000"/>
                <a:gd name="connsiteX158" fmla="*/ 6757 w 9625"/>
                <a:gd name="connsiteY158" fmla="*/ 9424 h 10000"/>
                <a:gd name="connsiteX159" fmla="*/ 6804 w 9625"/>
                <a:gd name="connsiteY159" fmla="*/ 9594 h 10000"/>
                <a:gd name="connsiteX160" fmla="*/ 7086 w 9625"/>
                <a:gd name="connsiteY160" fmla="*/ 9805 h 10000"/>
                <a:gd name="connsiteX161" fmla="*/ 7462 w 9625"/>
                <a:gd name="connsiteY161" fmla="*/ 9813 h 10000"/>
                <a:gd name="connsiteX162" fmla="*/ 7478 w 9625"/>
                <a:gd name="connsiteY162" fmla="*/ 9659 h 10000"/>
                <a:gd name="connsiteX163" fmla="*/ 8089 w 9625"/>
                <a:gd name="connsiteY163" fmla="*/ 9521 h 10000"/>
                <a:gd name="connsiteX164" fmla="*/ 8685 w 9625"/>
                <a:gd name="connsiteY164" fmla="*/ 9521 h 10000"/>
                <a:gd name="connsiteX165" fmla="*/ 9170 w 9625"/>
                <a:gd name="connsiteY165" fmla="*/ 9659 h 10000"/>
                <a:gd name="connsiteX166" fmla="*/ 8904 w 9625"/>
                <a:gd name="connsiteY166" fmla="*/ 9789 h 10000"/>
                <a:gd name="connsiteX167" fmla="*/ 9249 w 9625"/>
                <a:gd name="connsiteY167" fmla="*/ 10000 h 10000"/>
                <a:gd name="connsiteX168" fmla="*/ 9625 w 9625"/>
                <a:gd name="connsiteY168" fmla="*/ 9951 h 10000"/>
                <a:gd name="connsiteX169" fmla="*/ 9625 w 9625"/>
                <a:gd name="connsiteY169" fmla="*/ 0 h 10000"/>
                <a:gd name="connsiteX170" fmla="*/ 8058 w 9625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99 w 10000"/>
                <a:gd name="connsiteY83" fmla="*/ 770 h 10000"/>
                <a:gd name="connsiteX84" fmla="*/ 706 w 10000"/>
                <a:gd name="connsiteY84" fmla="*/ 706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99 w 10000"/>
                <a:gd name="connsiteY83" fmla="*/ 770 h 10000"/>
                <a:gd name="connsiteX84" fmla="*/ 706 w 10000"/>
                <a:gd name="connsiteY84" fmla="*/ 692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56 w 10000"/>
                <a:gd name="connsiteY83" fmla="*/ 770 h 10000"/>
                <a:gd name="connsiteX84" fmla="*/ 706 w 10000"/>
                <a:gd name="connsiteY84" fmla="*/ 692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56 w 10000"/>
                <a:gd name="connsiteY83" fmla="*/ 770 h 10000"/>
                <a:gd name="connsiteX84" fmla="*/ 720 w 10000"/>
                <a:gd name="connsiteY84" fmla="*/ 678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42 w 10000"/>
                <a:gd name="connsiteY83" fmla="*/ 763 h 10000"/>
                <a:gd name="connsiteX84" fmla="*/ 720 w 10000"/>
                <a:gd name="connsiteY84" fmla="*/ 678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</a:cxnLst>
              <a:rect l="l" t="t" r="r" b="b"/>
              <a:pathLst>
                <a:path w="10000" h="10000">
                  <a:moveTo>
                    <a:pt x="8372" y="0"/>
                  </a:moveTo>
                  <a:lnTo>
                    <a:pt x="8372" y="97"/>
                  </a:lnTo>
                  <a:lnTo>
                    <a:pt x="8029" y="357"/>
                  </a:lnTo>
                  <a:lnTo>
                    <a:pt x="8372" y="697"/>
                  </a:lnTo>
                  <a:lnTo>
                    <a:pt x="7736" y="981"/>
                  </a:lnTo>
                  <a:cubicBezTo>
                    <a:pt x="7703" y="922"/>
                    <a:pt x="7671" y="862"/>
                    <a:pt x="7638" y="803"/>
                  </a:cubicBezTo>
                  <a:lnTo>
                    <a:pt x="7085" y="803"/>
                  </a:lnTo>
                  <a:lnTo>
                    <a:pt x="6923" y="584"/>
                  </a:lnTo>
                  <a:lnTo>
                    <a:pt x="7394" y="397"/>
                  </a:lnTo>
                  <a:lnTo>
                    <a:pt x="6938" y="276"/>
                  </a:lnTo>
                  <a:lnTo>
                    <a:pt x="6759" y="187"/>
                  </a:lnTo>
                  <a:lnTo>
                    <a:pt x="6433" y="187"/>
                  </a:lnTo>
                  <a:lnTo>
                    <a:pt x="6125" y="341"/>
                  </a:lnTo>
                  <a:lnTo>
                    <a:pt x="5635" y="397"/>
                  </a:lnTo>
                  <a:lnTo>
                    <a:pt x="6222" y="479"/>
                  </a:lnTo>
                  <a:lnTo>
                    <a:pt x="6450" y="738"/>
                  </a:lnTo>
                  <a:cubicBezTo>
                    <a:pt x="6482" y="819"/>
                    <a:pt x="6515" y="900"/>
                    <a:pt x="6548" y="981"/>
                  </a:cubicBezTo>
                  <a:lnTo>
                    <a:pt x="6711" y="981"/>
                  </a:lnTo>
                  <a:lnTo>
                    <a:pt x="7134" y="981"/>
                  </a:lnTo>
                  <a:cubicBezTo>
                    <a:pt x="7145" y="1022"/>
                    <a:pt x="7155" y="1062"/>
                    <a:pt x="7167" y="1103"/>
                  </a:cubicBezTo>
                  <a:lnTo>
                    <a:pt x="7378" y="1160"/>
                  </a:lnTo>
                  <a:cubicBezTo>
                    <a:pt x="7383" y="1230"/>
                    <a:pt x="7389" y="1301"/>
                    <a:pt x="7394" y="1371"/>
                  </a:cubicBezTo>
                  <a:lnTo>
                    <a:pt x="7557" y="1590"/>
                  </a:lnTo>
                  <a:lnTo>
                    <a:pt x="7069" y="1444"/>
                  </a:lnTo>
                  <a:lnTo>
                    <a:pt x="6727" y="1484"/>
                  </a:lnTo>
                  <a:lnTo>
                    <a:pt x="6433" y="1484"/>
                  </a:lnTo>
                  <a:cubicBezTo>
                    <a:pt x="6363" y="1598"/>
                    <a:pt x="6292" y="1711"/>
                    <a:pt x="6222" y="1825"/>
                  </a:cubicBezTo>
                  <a:lnTo>
                    <a:pt x="6091" y="2028"/>
                  </a:lnTo>
                  <a:cubicBezTo>
                    <a:pt x="6070" y="2109"/>
                    <a:pt x="6049" y="2190"/>
                    <a:pt x="6027" y="2271"/>
                  </a:cubicBezTo>
                  <a:lnTo>
                    <a:pt x="6433" y="2401"/>
                  </a:lnTo>
                  <a:lnTo>
                    <a:pt x="6825" y="2595"/>
                  </a:lnTo>
                  <a:lnTo>
                    <a:pt x="6401" y="2798"/>
                  </a:lnTo>
                  <a:lnTo>
                    <a:pt x="6206" y="2701"/>
                  </a:lnTo>
                  <a:lnTo>
                    <a:pt x="5962" y="2660"/>
                  </a:lnTo>
                  <a:lnTo>
                    <a:pt x="5457" y="2749"/>
                  </a:lnTo>
                  <a:lnTo>
                    <a:pt x="4952" y="2595"/>
                  </a:lnTo>
                  <a:lnTo>
                    <a:pt x="4691" y="2603"/>
                  </a:lnTo>
                  <a:cubicBezTo>
                    <a:pt x="4740" y="2646"/>
                    <a:pt x="4788" y="2690"/>
                    <a:pt x="4837" y="2733"/>
                  </a:cubicBezTo>
                  <a:cubicBezTo>
                    <a:pt x="4821" y="2763"/>
                    <a:pt x="4805" y="2792"/>
                    <a:pt x="4789" y="2822"/>
                  </a:cubicBezTo>
                  <a:lnTo>
                    <a:pt x="5310" y="3025"/>
                  </a:lnTo>
                  <a:lnTo>
                    <a:pt x="5586" y="2928"/>
                  </a:lnTo>
                  <a:lnTo>
                    <a:pt x="5962" y="3114"/>
                  </a:lnTo>
                  <a:lnTo>
                    <a:pt x="5750" y="3317"/>
                  </a:lnTo>
                  <a:lnTo>
                    <a:pt x="5440" y="3317"/>
                  </a:lnTo>
                  <a:lnTo>
                    <a:pt x="4854" y="3268"/>
                  </a:lnTo>
                  <a:cubicBezTo>
                    <a:pt x="4837" y="3225"/>
                    <a:pt x="4822" y="3182"/>
                    <a:pt x="4805" y="3139"/>
                  </a:cubicBezTo>
                  <a:lnTo>
                    <a:pt x="4496" y="3147"/>
                  </a:lnTo>
                  <a:lnTo>
                    <a:pt x="4317" y="3268"/>
                  </a:lnTo>
                  <a:lnTo>
                    <a:pt x="4007" y="3187"/>
                  </a:lnTo>
                  <a:cubicBezTo>
                    <a:pt x="4029" y="3130"/>
                    <a:pt x="4051" y="3074"/>
                    <a:pt x="4073" y="3017"/>
                  </a:cubicBezTo>
                  <a:lnTo>
                    <a:pt x="3632" y="2863"/>
                  </a:lnTo>
                  <a:lnTo>
                    <a:pt x="3551" y="2863"/>
                  </a:lnTo>
                  <a:cubicBezTo>
                    <a:pt x="3497" y="2822"/>
                    <a:pt x="3442" y="2782"/>
                    <a:pt x="3388" y="2741"/>
                  </a:cubicBezTo>
                  <a:lnTo>
                    <a:pt x="3551" y="2636"/>
                  </a:lnTo>
                  <a:lnTo>
                    <a:pt x="3275" y="2433"/>
                  </a:lnTo>
                  <a:lnTo>
                    <a:pt x="2932" y="2384"/>
                  </a:lnTo>
                  <a:lnTo>
                    <a:pt x="2656" y="2336"/>
                  </a:lnTo>
                  <a:cubicBezTo>
                    <a:pt x="2618" y="2306"/>
                    <a:pt x="2579" y="2277"/>
                    <a:pt x="2541" y="2247"/>
                  </a:cubicBezTo>
                  <a:lnTo>
                    <a:pt x="1939" y="2190"/>
                  </a:lnTo>
                  <a:lnTo>
                    <a:pt x="1792" y="2117"/>
                  </a:lnTo>
                  <a:lnTo>
                    <a:pt x="1532" y="2060"/>
                  </a:lnTo>
                  <a:lnTo>
                    <a:pt x="1695" y="1979"/>
                  </a:lnTo>
                  <a:lnTo>
                    <a:pt x="2021" y="2003"/>
                  </a:lnTo>
                  <a:lnTo>
                    <a:pt x="2183" y="2117"/>
                  </a:lnTo>
                  <a:lnTo>
                    <a:pt x="2460" y="2117"/>
                  </a:lnTo>
                  <a:lnTo>
                    <a:pt x="2949" y="2117"/>
                  </a:lnTo>
                  <a:lnTo>
                    <a:pt x="3128" y="2068"/>
                  </a:lnTo>
                  <a:lnTo>
                    <a:pt x="3551" y="2117"/>
                  </a:lnTo>
                  <a:lnTo>
                    <a:pt x="4105" y="2117"/>
                  </a:lnTo>
                  <a:cubicBezTo>
                    <a:pt x="4137" y="2117"/>
                    <a:pt x="4919" y="2084"/>
                    <a:pt x="4919" y="2084"/>
                  </a:cubicBezTo>
                  <a:lnTo>
                    <a:pt x="5750" y="1784"/>
                  </a:lnTo>
                  <a:lnTo>
                    <a:pt x="5750" y="1387"/>
                  </a:lnTo>
                  <a:lnTo>
                    <a:pt x="5424" y="1176"/>
                  </a:lnTo>
                  <a:lnTo>
                    <a:pt x="5066" y="1030"/>
                  </a:lnTo>
                  <a:lnTo>
                    <a:pt x="4496" y="981"/>
                  </a:lnTo>
                  <a:lnTo>
                    <a:pt x="4088" y="981"/>
                  </a:lnTo>
                  <a:lnTo>
                    <a:pt x="3681" y="981"/>
                  </a:lnTo>
                  <a:lnTo>
                    <a:pt x="3144" y="803"/>
                  </a:lnTo>
                  <a:lnTo>
                    <a:pt x="2460" y="738"/>
                  </a:lnTo>
                  <a:lnTo>
                    <a:pt x="2004" y="762"/>
                  </a:lnTo>
                  <a:lnTo>
                    <a:pt x="1418" y="787"/>
                  </a:lnTo>
                  <a:lnTo>
                    <a:pt x="1304" y="860"/>
                  </a:lnTo>
                  <a:cubicBezTo>
                    <a:pt x="1266" y="847"/>
                    <a:pt x="1254" y="725"/>
                    <a:pt x="1194" y="709"/>
                  </a:cubicBezTo>
                  <a:cubicBezTo>
                    <a:pt x="1134" y="693"/>
                    <a:pt x="1021" y="768"/>
                    <a:pt x="942" y="763"/>
                  </a:cubicBezTo>
                  <a:cubicBezTo>
                    <a:pt x="863" y="758"/>
                    <a:pt x="780" y="654"/>
                    <a:pt x="720" y="678"/>
                  </a:cubicBezTo>
                  <a:cubicBezTo>
                    <a:pt x="661" y="703"/>
                    <a:pt x="671" y="831"/>
                    <a:pt x="585" y="910"/>
                  </a:cubicBezTo>
                  <a:cubicBezTo>
                    <a:pt x="499" y="989"/>
                    <a:pt x="276" y="1074"/>
                    <a:pt x="204" y="1154"/>
                  </a:cubicBezTo>
                  <a:cubicBezTo>
                    <a:pt x="131" y="1234"/>
                    <a:pt x="151" y="1325"/>
                    <a:pt x="150" y="1389"/>
                  </a:cubicBezTo>
                  <a:cubicBezTo>
                    <a:pt x="149" y="1453"/>
                    <a:pt x="206" y="1500"/>
                    <a:pt x="195" y="1540"/>
                  </a:cubicBezTo>
                  <a:cubicBezTo>
                    <a:pt x="185" y="1580"/>
                    <a:pt x="122" y="1597"/>
                    <a:pt x="89" y="1628"/>
                  </a:cubicBezTo>
                  <a:cubicBezTo>
                    <a:pt x="57" y="1659"/>
                    <a:pt x="-8" y="1699"/>
                    <a:pt x="1" y="1727"/>
                  </a:cubicBezTo>
                  <a:cubicBezTo>
                    <a:pt x="10" y="1755"/>
                    <a:pt x="99" y="1776"/>
                    <a:pt x="148" y="1800"/>
                  </a:cubicBezTo>
                  <a:lnTo>
                    <a:pt x="441" y="1833"/>
                  </a:lnTo>
                  <a:cubicBezTo>
                    <a:pt x="473" y="1879"/>
                    <a:pt x="506" y="1925"/>
                    <a:pt x="538" y="1971"/>
                  </a:cubicBezTo>
                  <a:lnTo>
                    <a:pt x="327" y="2376"/>
                  </a:lnTo>
                  <a:lnTo>
                    <a:pt x="538" y="2457"/>
                  </a:lnTo>
                  <a:lnTo>
                    <a:pt x="1353" y="2879"/>
                  </a:lnTo>
                  <a:lnTo>
                    <a:pt x="1125" y="2976"/>
                  </a:lnTo>
                  <a:lnTo>
                    <a:pt x="1125" y="3179"/>
                  </a:lnTo>
                  <a:lnTo>
                    <a:pt x="1353" y="3220"/>
                  </a:lnTo>
                  <a:cubicBezTo>
                    <a:pt x="1331" y="3258"/>
                    <a:pt x="1309" y="3295"/>
                    <a:pt x="1287" y="3333"/>
                  </a:cubicBezTo>
                  <a:lnTo>
                    <a:pt x="1467" y="3398"/>
                  </a:lnTo>
                  <a:lnTo>
                    <a:pt x="1646" y="3366"/>
                  </a:lnTo>
                  <a:lnTo>
                    <a:pt x="1679" y="3528"/>
                  </a:lnTo>
                  <a:lnTo>
                    <a:pt x="1825" y="3609"/>
                  </a:lnTo>
                  <a:lnTo>
                    <a:pt x="2021" y="3577"/>
                  </a:lnTo>
                  <a:lnTo>
                    <a:pt x="2167" y="3715"/>
                  </a:lnTo>
                  <a:cubicBezTo>
                    <a:pt x="2123" y="3793"/>
                    <a:pt x="2080" y="3872"/>
                    <a:pt x="2036" y="3950"/>
                  </a:cubicBezTo>
                  <a:lnTo>
                    <a:pt x="3014" y="4193"/>
                  </a:lnTo>
                  <a:cubicBezTo>
                    <a:pt x="3019" y="4328"/>
                    <a:pt x="3025" y="4464"/>
                    <a:pt x="3031" y="4599"/>
                  </a:cubicBezTo>
                  <a:lnTo>
                    <a:pt x="2526" y="5239"/>
                  </a:lnTo>
                  <a:lnTo>
                    <a:pt x="1988" y="5677"/>
                  </a:lnTo>
                  <a:lnTo>
                    <a:pt x="2265" y="5612"/>
                  </a:lnTo>
                  <a:cubicBezTo>
                    <a:pt x="2287" y="5663"/>
                    <a:pt x="2309" y="5715"/>
                    <a:pt x="2330" y="5766"/>
                  </a:cubicBezTo>
                  <a:lnTo>
                    <a:pt x="2656" y="5839"/>
                  </a:lnTo>
                  <a:lnTo>
                    <a:pt x="3112" y="5775"/>
                  </a:lnTo>
                  <a:cubicBezTo>
                    <a:pt x="3112" y="5775"/>
                    <a:pt x="3519" y="5864"/>
                    <a:pt x="3551" y="5864"/>
                  </a:cubicBezTo>
                  <a:cubicBezTo>
                    <a:pt x="3568" y="5872"/>
                    <a:pt x="3551" y="5994"/>
                    <a:pt x="3551" y="5994"/>
                  </a:cubicBezTo>
                  <a:lnTo>
                    <a:pt x="2785" y="5969"/>
                  </a:lnTo>
                  <a:lnTo>
                    <a:pt x="2656" y="6091"/>
                  </a:lnTo>
                  <a:lnTo>
                    <a:pt x="2265" y="6172"/>
                  </a:lnTo>
                  <a:cubicBezTo>
                    <a:pt x="2292" y="6204"/>
                    <a:pt x="2319" y="6237"/>
                    <a:pt x="2346" y="6269"/>
                  </a:cubicBezTo>
                  <a:lnTo>
                    <a:pt x="2428" y="6326"/>
                  </a:lnTo>
                  <a:lnTo>
                    <a:pt x="2248" y="6415"/>
                  </a:lnTo>
                  <a:cubicBezTo>
                    <a:pt x="2265" y="6456"/>
                    <a:pt x="2281" y="6496"/>
                    <a:pt x="2297" y="6537"/>
                  </a:cubicBezTo>
                  <a:lnTo>
                    <a:pt x="2102" y="6642"/>
                  </a:lnTo>
                  <a:cubicBezTo>
                    <a:pt x="2134" y="6691"/>
                    <a:pt x="2167" y="6739"/>
                    <a:pt x="2199" y="6788"/>
                  </a:cubicBezTo>
                  <a:lnTo>
                    <a:pt x="2395" y="6821"/>
                  </a:lnTo>
                  <a:lnTo>
                    <a:pt x="2314" y="6983"/>
                  </a:lnTo>
                  <a:lnTo>
                    <a:pt x="2541" y="7015"/>
                  </a:lnTo>
                  <a:cubicBezTo>
                    <a:pt x="2580" y="7058"/>
                    <a:pt x="2617" y="7102"/>
                    <a:pt x="2656" y="7145"/>
                  </a:cubicBezTo>
                  <a:lnTo>
                    <a:pt x="2526" y="7202"/>
                  </a:lnTo>
                  <a:cubicBezTo>
                    <a:pt x="2531" y="7234"/>
                    <a:pt x="2536" y="7267"/>
                    <a:pt x="2541" y="7299"/>
                  </a:cubicBezTo>
                  <a:cubicBezTo>
                    <a:pt x="2579" y="7329"/>
                    <a:pt x="2618" y="7358"/>
                    <a:pt x="2656" y="7388"/>
                  </a:cubicBezTo>
                  <a:lnTo>
                    <a:pt x="3031" y="7486"/>
                  </a:lnTo>
                  <a:lnTo>
                    <a:pt x="2900" y="7575"/>
                  </a:lnTo>
                  <a:lnTo>
                    <a:pt x="3031" y="7737"/>
                  </a:lnTo>
                  <a:lnTo>
                    <a:pt x="3161" y="7737"/>
                  </a:lnTo>
                  <a:lnTo>
                    <a:pt x="3258" y="7810"/>
                  </a:lnTo>
                  <a:lnTo>
                    <a:pt x="3551" y="7908"/>
                  </a:lnTo>
                  <a:lnTo>
                    <a:pt x="3551" y="7997"/>
                  </a:lnTo>
                  <a:lnTo>
                    <a:pt x="3844" y="7972"/>
                  </a:lnTo>
                  <a:lnTo>
                    <a:pt x="4366" y="7972"/>
                  </a:lnTo>
                  <a:lnTo>
                    <a:pt x="4512" y="8167"/>
                  </a:lnTo>
                  <a:lnTo>
                    <a:pt x="4952" y="7972"/>
                  </a:lnTo>
                  <a:lnTo>
                    <a:pt x="5554" y="8078"/>
                  </a:lnTo>
                  <a:cubicBezTo>
                    <a:pt x="5598" y="8148"/>
                    <a:pt x="5641" y="8219"/>
                    <a:pt x="5684" y="8289"/>
                  </a:cubicBezTo>
                  <a:lnTo>
                    <a:pt x="5684" y="8467"/>
                  </a:lnTo>
                  <a:cubicBezTo>
                    <a:pt x="5684" y="8491"/>
                    <a:pt x="5962" y="8483"/>
                    <a:pt x="5962" y="8483"/>
                  </a:cubicBezTo>
                  <a:lnTo>
                    <a:pt x="6076" y="8581"/>
                  </a:lnTo>
                  <a:lnTo>
                    <a:pt x="6401" y="8710"/>
                  </a:lnTo>
                  <a:lnTo>
                    <a:pt x="6792" y="8759"/>
                  </a:lnTo>
                  <a:cubicBezTo>
                    <a:pt x="6797" y="8802"/>
                    <a:pt x="6803" y="8846"/>
                    <a:pt x="6808" y="8889"/>
                  </a:cubicBezTo>
                  <a:lnTo>
                    <a:pt x="7264" y="8856"/>
                  </a:lnTo>
                  <a:lnTo>
                    <a:pt x="7606" y="9027"/>
                  </a:lnTo>
                  <a:lnTo>
                    <a:pt x="7492" y="9238"/>
                  </a:lnTo>
                  <a:lnTo>
                    <a:pt x="6792" y="9238"/>
                  </a:lnTo>
                  <a:lnTo>
                    <a:pt x="6678" y="9343"/>
                  </a:lnTo>
                  <a:lnTo>
                    <a:pt x="7020" y="9424"/>
                  </a:lnTo>
                  <a:cubicBezTo>
                    <a:pt x="7037" y="9481"/>
                    <a:pt x="7052" y="9537"/>
                    <a:pt x="7069" y="9594"/>
                  </a:cubicBezTo>
                  <a:lnTo>
                    <a:pt x="7362" y="9805"/>
                  </a:lnTo>
                  <a:lnTo>
                    <a:pt x="7753" y="9813"/>
                  </a:lnTo>
                  <a:cubicBezTo>
                    <a:pt x="7758" y="9762"/>
                    <a:pt x="7764" y="9710"/>
                    <a:pt x="7769" y="9659"/>
                  </a:cubicBezTo>
                  <a:lnTo>
                    <a:pt x="8404" y="9521"/>
                  </a:lnTo>
                  <a:cubicBezTo>
                    <a:pt x="8404" y="9521"/>
                    <a:pt x="8941" y="9497"/>
                    <a:pt x="9023" y="9521"/>
                  </a:cubicBezTo>
                  <a:cubicBezTo>
                    <a:pt x="9104" y="9554"/>
                    <a:pt x="9527" y="9659"/>
                    <a:pt x="9527" y="9659"/>
                  </a:cubicBezTo>
                  <a:lnTo>
                    <a:pt x="9251" y="9789"/>
                  </a:lnTo>
                  <a:lnTo>
                    <a:pt x="9609" y="10000"/>
                  </a:lnTo>
                  <a:lnTo>
                    <a:pt x="10000" y="9951"/>
                  </a:lnTo>
                  <a:lnTo>
                    <a:pt x="10000" y="0"/>
                  </a:lnTo>
                  <a:lnTo>
                    <a:pt x="837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22955252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693684" y="550407"/>
            <a:ext cx="11280710" cy="6030276"/>
            <a:chOff x="376238" y="1816693"/>
            <a:chExt cx="8281393" cy="4426945"/>
          </a:xfrm>
          <a:solidFill>
            <a:srgbClr val="E1E0DC"/>
          </a:solidFill>
        </p:grpSpPr>
        <p:sp>
          <p:nvSpPr>
            <p:cNvPr id="4" name="Freeform 217"/>
            <p:cNvSpPr>
              <a:spLocks noEditPoints="1"/>
            </p:cNvSpPr>
            <p:nvPr>
              <p:custDataLst>
                <p:tags r:id="rId196"/>
              </p:custDataLst>
            </p:nvPr>
          </p:nvSpPr>
          <p:spPr bwMode="gray">
            <a:xfrm>
              <a:off x="4816496" y="1901993"/>
              <a:ext cx="3841135" cy="1521623"/>
            </a:xfrm>
            <a:custGeom>
              <a:avLst/>
              <a:gdLst/>
              <a:ahLst/>
              <a:cxnLst>
                <a:cxn ang="0">
                  <a:pos x="2516" y="430"/>
                </a:cxn>
                <a:cxn ang="0">
                  <a:pos x="1988" y="308"/>
                </a:cxn>
                <a:cxn ang="0">
                  <a:pos x="1640" y="284"/>
                </a:cxn>
                <a:cxn ang="0">
                  <a:pos x="1402" y="186"/>
                </a:cxn>
                <a:cxn ang="0">
                  <a:pos x="934" y="250"/>
                </a:cxn>
                <a:cxn ang="0">
                  <a:pos x="822" y="336"/>
                </a:cxn>
                <a:cxn ang="0">
                  <a:pos x="724" y="312"/>
                </a:cxn>
                <a:cxn ang="0">
                  <a:pos x="382" y="424"/>
                </a:cxn>
                <a:cxn ang="0">
                  <a:pos x="238" y="446"/>
                </a:cxn>
                <a:cxn ang="0">
                  <a:pos x="180" y="528"/>
                </a:cxn>
                <a:cxn ang="0">
                  <a:pos x="272" y="830"/>
                </a:cxn>
                <a:cxn ang="0">
                  <a:pos x="418" y="888"/>
                </a:cxn>
                <a:cxn ang="0">
                  <a:pos x="702" y="730"/>
                </a:cxn>
                <a:cxn ang="0">
                  <a:pos x="1112" y="818"/>
                </a:cxn>
                <a:cxn ang="0">
                  <a:pos x="1628" y="830"/>
                </a:cxn>
                <a:cxn ang="0">
                  <a:pos x="1844" y="800"/>
                </a:cxn>
                <a:cxn ang="0">
                  <a:pos x="1988" y="614"/>
                </a:cxn>
                <a:cxn ang="0">
                  <a:pos x="2104" y="650"/>
                </a:cxn>
                <a:cxn ang="0">
                  <a:pos x="2198" y="604"/>
                </a:cxn>
                <a:cxn ang="0">
                  <a:pos x="2470" y="470"/>
                </a:cxn>
                <a:cxn ang="0">
                  <a:pos x="2412" y="312"/>
                </a:cxn>
                <a:cxn ang="0">
                  <a:pos x="1570" y="266"/>
                </a:cxn>
                <a:cxn ang="0">
                  <a:pos x="1664" y="290"/>
                </a:cxn>
                <a:cxn ang="0">
                  <a:pos x="0" y="736"/>
                </a:cxn>
                <a:cxn ang="0">
                  <a:pos x="1078" y="18"/>
                </a:cxn>
                <a:cxn ang="0">
                  <a:pos x="580" y="28"/>
                </a:cxn>
                <a:cxn ang="0">
                  <a:pos x="574" y="40"/>
                </a:cxn>
                <a:cxn ang="0">
                  <a:pos x="452" y="52"/>
                </a:cxn>
                <a:cxn ang="0">
                  <a:pos x="1154" y="156"/>
                </a:cxn>
                <a:cxn ang="0">
                  <a:pos x="1624" y="254"/>
                </a:cxn>
                <a:cxn ang="0">
                  <a:pos x="1624" y="290"/>
                </a:cxn>
                <a:cxn ang="0">
                  <a:pos x="306" y="488"/>
                </a:cxn>
                <a:cxn ang="0">
                  <a:pos x="574" y="18"/>
                </a:cxn>
                <a:cxn ang="0">
                  <a:pos x="1142" y="22"/>
                </a:cxn>
                <a:cxn ang="0">
                  <a:pos x="568" y="40"/>
                </a:cxn>
                <a:cxn ang="0">
                  <a:pos x="440" y="46"/>
                </a:cxn>
                <a:cxn ang="0">
                  <a:pos x="422" y="28"/>
                </a:cxn>
                <a:cxn ang="0">
                  <a:pos x="1112" y="70"/>
                </a:cxn>
                <a:cxn ang="0">
                  <a:pos x="1160" y="92"/>
                </a:cxn>
                <a:cxn ang="0">
                  <a:pos x="1096" y="76"/>
                </a:cxn>
                <a:cxn ang="0">
                  <a:pos x="1282" y="86"/>
                </a:cxn>
                <a:cxn ang="0">
                  <a:pos x="1166" y="144"/>
                </a:cxn>
                <a:cxn ang="0">
                  <a:pos x="718" y="180"/>
                </a:cxn>
                <a:cxn ang="0">
                  <a:pos x="574" y="238"/>
                </a:cxn>
                <a:cxn ang="0">
                  <a:pos x="550" y="220"/>
                </a:cxn>
                <a:cxn ang="0">
                  <a:pos x="1182" y="156"/>
                </a:cxn>
                <a:cxn ang="0">
                  <a:pos x="1166" y="180"/>
                </a:cxn>
                <a:cxn ang="0">
                  <a:pos x="1820" y="186"/>
                </a:cxn>
                <a:cxn ang="0">
                  <a:pos x="1860" y="214"/>
                </a:cxn>
                <a:cxn ang="0">
                  <a:pos x="1982" y="202"/>
                </a:cxn>
                <a:cxn ang="0">
                  <a:pos x="910" y="220"/>
                </a:cxn>
                <a:cxn ang="0">
                  <a:pos x="950" y="232"/>
                </a:cxn>
                <a:cxn ang="0">
                  <a:pos x="1634" y="250"/>
                </a:cxn>
                <a:cxn ang="0">
                  <a:pos x="510" y="266"/>
                </a:cxn>
                <a:cxn ang="0">
                  <a:pos x="562" y="330"/>
                </a:cxn>
                <a:cxn ang="0">
                  <a:pos x="880" y="284"/>
                </a:cxn>
                <a:cxn ang="0">
                  <a:pos x="2266" y="360"/>
                </a:cxn>
                <a:cxn ang="0">
                  <a:pos x="434" y="372"/>
                </a:cxn>
                <a:cxn ang="0">
                  <a:pos x="2186" y="638"/>
                </a:cxn>
                <a:cxn ang="0">
                  <a:pos x="1856" y="858"/>
                </a:cxn>
                <a:cxn ang="0">
                  <a:pos x="1878" y="818"/>
                </a:cxn>
                <a:cxn ang="0">
                  <a:pos x="2046" y="852"/>
                </a:cxn>
                <a:cxn ang="0">
                  <a:pos x="1908" y="968"/>
                </a:cxn>
              </a:cxnLst>
              <a:rect l="0" t="0" r="r" b="b"/>
              <a:pathLst>
                <a:path w="2590" h="1026">
                  <a:moveTo>
                    <a:pt x="812" y="760"/>
                  </a:moveTo>
                  <a:lnTo>
                    <a:pt x="818" y="760"/>
                  </a:lnTo>
                  <a:lnTo>
                    <a:pt x="822" y="754"/>
                  </a:lnTo>
                  <a:lnTo>
                    <a:pt x="812" y="754"/>
                  </a:lnTo>
                  <a:lnTo>
                    <a:pt x="812" y="760"/>
                  </a:lnTo>
                  <a:close/>
                  <a:moveTo>
                    <a:pt x="1802" y="748"/>
                  </a:moveTo>
                  <a:lnTo>
                    <a:pt x="1798" y="754"/>
                  </a:lnTo>
                  <a:lnTo>
                    <a:pt x="1802" y="754"/>
                  </a:lnTo>
                  <a:lnTo>
                    <a:pt x="1802" y="748"/>
                  </a:lnTo>
                  <a:close/>
                  <a:moveTo>
                    <a:pt x="260" y="940"/>
                  </a:moveTo>
                  <a:lnTo>
                    <a:pt x="260" y="946"/>
                  </a:lnTo>
                  <a:lnTo>
                    <a:pt x="266" y="946"/>
                  </a:lnTo>
                  <a:lnTo>
                    <a:pt x="266" y="940"/>
                  </a:lnTo>
                  <a:lnTo>
                    <a:pt x="260" y="940"/>
                  </a:lnTo>
                  <a:close/>
                  <a:moveTo>
                    <a:pt x="132" y="586"/>
                  </a:moveTo>
                  <a:lnTo>
                    <a:pt x="128" y="586"/>
                  </a:lnTo>
                  <a:lnTo>
                    <a:pt x="128" y="592"/>
                  </a:lnTo>
                  <a:lnTo>
                    <a:pt x="132" y="592"/>
                  </a:lnTo>
                  <a:lnTo>
                    <a:pt x="132" y="586"/>
                  </a:lnTo>
                  <a:close/>
                  <a:moveTo>
                    <a:pt x="528" y="830"/>
                  </a:moveTo>
                  <a:lnTo>
                    <a:pt x="532" y="824"/>
                  </a:lnTo>
                  <a:lnTo>
                    <a:pt x="528" y="824"/>
                  </a:lnTo>
                  <a:lnTo>
                    <a:pt x="528" y="830"/>
                  </a:lnTo>
                  <a:close/>
                  <a:moveTo>
                    <a:pt x="1664" y="296"/>
                  </a:moveTo>
                  <a:lnTo>
                    <a:pt x="1658" y="296"/>
                  </a:lnTo>
                  <a:lnTo>
                    <a:pt x="1658" y="302"/>
                  </a:lnTo>
                  <a:lnTo>
                    <a:pt x="1664" y="302"/>
                  </a:lnTo>
                  <a:lnTo>
                    <a:pt x="1664" y="296"/>
                  </a:lnTo>
                  <a:close/>
                  <a:moveTo>
                    <a:pt x="190" y="348"/>
                  </a:moveTo>
                  <a:lnTo>
                    <a:pt x="186" y="348"/>
                  </a:lnTo>
                  <a:lnTo>
                    <a:pt x="186" y="354"/>
                  </a:lnTo>
                  <a:lnTo>
                    <a:pt x="190" y="354"/>
                  </a:lnTo>
                  <a:lnTo>
                    <a:pt x="190" y="348"/>
                  </a:lnTo>
                  <a:close/>
                  <a:moveTo>
                    <a:pt x="2122" y="580"/>
                  </a:moveTo>
                  <a:lnTo>
                    <a:pt x="2122" y="586"/>
                  </a:lnTo>
                  <a:lnTo>
                    <a:pt x="2128" y="586"/>
                  </a:lnTo>
                  <a:lnTo>
                    <a:pt x="2128" y="580"/>
                  </a:lnTo>
                  <a:lnTo>
                    <a:pt x="2122" y="580"/>
                  </a:lnTo>
                  <a:close/>
                  <a:moveTo>
                    <a:pt x="1792" y="748"/>
                  </a:moveTo>
                  <a:lnTo>
                    <a:pt x="1780" y="748"/>
                  </a:lnTo>
                  <a:lnTo>
                    <a:pt x="1780" y="754"/>
                  </a:lnTo>
                  <a:lnTo>
                    <a:pt x="1792" y="754"/>
                  </a:lnTo>
                  <a:lnTo>
                    <a:pt x="1792" y="748"/>
                  </a:lnTo>
                  <a:close/>
                  <a:moveTo>
                    <a:pt x="638" y="760"/>
                  </a:moveTo>
                  <a:lnTo>
                    <a:pt x="638" y="754"/>
                  </a:lnTo>
                  <a:lnTo>
                    <a:pt x="632" y="754"/>
                  </a:lnTo>
                  <a:lnTo>
                    <a:pt x="632" y="760"/>
                  </a:lnTo>
                  <a:lnTo>
                    <a:pt x="638" y="760"/>
                  </a:lnTo>
                  <a:close/>
                  <a:moveTo>
                    <a:pt x="1002" y="232"/>
                  </a:moveTo>
                  <a:lnTo>
                    <a:pt x="1008" y="232"/>
                  </a:lnTo>
                  <a:lnTo>
                    <a:pt x="1008" y="226"/>
                  </a:lnTo>
                  <a:lnTo>
                    <a:pt x="1002" y="226"/>
                  </a:lnTo>
                  <a:lnTo>
                    <a:pt x="1002" y="232"/>
                  </a:lnTo>
                  <a:close/>
                  <a:moveTo>
                    <a:pt x="360" y="382"/>
                  </a:moveTo>
                  <a:lnTo>
                    <a:pt x="360" y="388"/>
                  </a:lnTo>
                  <a:lnTo>
                    <a:pt x="364" y="388"/>
                  </a:lnTo>
                  <a:lnTo>
                    <a:pt x="364" y="382"/>
                  </a:lnTo>
                  <a:lnTo>
                    <a:pt x="360" y="382"/>
                  </a:lnTo>
                  <a:close/>
                  <a:moveTo>
                    <a:pt x="1008" y="214"/>
                  </a:moveTo>
                  <a:lnTo>
                    <a:pt x="1008" y="220"/>
                  </a:lnTo>
                  <a:lnTo>
                    <a:pt x="1014" y="220"/>
                  </a:lnTo>
                  <a:lnTo>
                    <a:pt x="1014" y="214"/>
                  </a:lnTo>
                  <a:lnTo>
                    <a:pt x="1008" y="214"/>
                  </a:lnTo>
                  <a:close/>
                  <a:moveTo>
                    <a:pt x="2504" y="418"/>
                  </a:moveTo>
                  <a:lnTo>
                    <a:pt x="2504" y="424"/>
                  </a:lnTo>
                  <a:lnTo>
                    <a:pt x="2510" y="424"/>
                  </a:lnTo>
                  <a:lnTo>
                    <a:pt x="2504" y="418"/>
                  </a:lnTo>
                  <a:close/>
                  <a:moveTo>
                    <a:pt x="2568" y="440"/>
                  </a:moveTo>
                  <a:lnTo>
                    <a:pt x="2562" y="440"/>
                  </a:lnTo>
                  <a:lnTo>
                    <a:pt x="2562" y="434"/>
                  </a:lnTo>
                  <a:lnTo>
                    <a:pt x="2550" y="434"/>
                  </a:lnTo>
                  <a:lnTo>
                    <a:pt x="2550" y="430"/>
                  </a:lnTo>
                  <a:lnTo>
                    <a:pt x="2546" y="430"/>
                  </a:lnTo>
                  <a:lnTo>
                    <a:pt x="2540" y="434"/>
                  </a:lnTo>
                  <a:lnTo>
                    <a:pt x="2528" y="434"/>
                  </a:lnTo>
                  <a:lnTo>
                    <a:pt x="2528" y="424"/>
                  </a:lnTo>
                  <a:lnTo>
                    <a:pt x="2510" y="424"/>
                  </a:lnTo>
                  <a:lnTo>
                    <a:pt x="2510" y="430"/>
                  </a:lnTo>
                  <a:lnTo>
                    <a:pt x="2516" y="430"/>
                  </a:lnTo>
                  <a:lnTo>
                    <a:pt x="2522" y="434"/>
                  </a:lnTo>
                  <a:lnTo>
                    <a:pt x="2516" y="434"/>
                  </a:lnTo>
                  <a:lnTo>
                    <a:pt x="2516" y="446"/>
                  </a:lnTo>
                  <a:lnTo>
                    <a:pt x="2510" y="446"/>
                  </a:lnTo>
                  <a:lnTo>
                    <a:pt x="2510" y="440"/>
                  </a:lnTo>
                  <a:lnTo>
                    <a:pt x="2504" y="440"/>
                  </a:lnTo>
                  <a:lnTo>
                    <a:pt x="2504" y="434"/>
                  </a:lnTo>
                  <a:lnTo>
                    <a:pt x="2510" y="434"/>
                  </a:lnTo>
                  <a:lnTo>
                    <a:pt x="2510" y="430"/>
                  </a:lnTo>
                  <a:lnTo>
                    <a:pt x="2504" y="430"/>
                  </a:lnTo>
                  <a:lnTo>
                    <a:pt x="2504" y="424"/>
                  </a:lnTo>
                  <a:lnTo>
                    <a:pt x="2498" y="424"/>
                  </a:lnTo>
                  <a:lnTo>
                    <a:pt x="2498" y="412"/>
                  </a:lnTo>
                  <a:lnTo>
                    <a:pt x="2488" y="406"/>
                  </a:lnTo>
                  <a:lnTo>
                    <a:pt x="2482" y="406"/>
                  </a:lnTo>
                  <a:lnTo>
                    <a:pt x="2482" y="400"/>
                  </a:lnTo>
                  <a:lnTo>
                    <a:pt x="2470" y="400"/>
                  </a:lnTo>
                  <a:lnTo>
                    <a:pt x="2470" y="394"/>
                  </a:lnTo>
                  <a:lnTo>
                    <a:pt x="2458" y="394"/>
                  </a:lnTo>
                  <a:lnTo>
                    <a:pt x="2458" y="388"/>
                  </a:lnTo>
                  <a:lnTo>
                    <a:pt x="2446" y="388"/>
                  </a:lnTo>
                  <a:lnTo>
                    <a:pt x="2446" y="382"/>
                  </a:lnTo>
                  <a:lnTo>
                    <a:pt x="2434" y="382"/>
                  </a:lnTo>
                  <a:lnTo>
                    <a:pt x="2434" y="376"/>
                  </a:lnTo>
                  <a:lnTo>
                    <a:pt x="2430" y="376"/>
                  </a:lnTo>
                  <a:lnTo>
                    <a:pt x="2424" y="372"/>
                  </a:lnTo>
                  <a:lnTo>
                    <a:pt x="2418" y="372"/>
                  </a:lnTo>
                  <a:lnTo>
                    <a:pt x="2412" y="366"/>
                  </a:lnTo>
                  <a:lnTo>
                    <a:pt x="2412" y="372"/>
                  </a:lnTo>
                  <a:lnTo>
                    <a:pt x="2406" y="372"/>
                  </a:lnTo>
                  <a:lnTo>
                    <a:pt x="2406" y="366"/>
                  </a:lnTo>
                  <a:lnTo>
                    <a:pt x="2400" y="366"/>
                  </a:lnTo>
                  <a:lnTo>
                    <a:pt x="2394" y="360"/>
                  </a:lnTo>
                  <a:lnTo>
                    <a:pt x="2372" y="360"/>
                  </a:lnTo>
                  <a:lnTo>
                    <a:pt x="2372" y="354"/>
                  </a:lnTo>
                  <a:lnTo>
                    <a:pt x="2330" y="354"/>
                  </a:lnTo>
                  <a:lnTo>
                    <a:pt x="2330" y="348"/>
                  </a:lnTo>
                  <a:lnTo>
                    <a:pt x="2324" y="348"/>
                  </a:lnTo>
                  <a:lnTo>
                    <a:pt x="2324" y="354"/>
                  </a:lnTo>
                  <a:lnTo>
                    <a:pt x="2318" y="354"/>
                  </a:lnTo>
                  <a:lnTo>
                    <a:pt x="2318" y="348"/>
                  </a:lnTo>
                  <a:lnTo>
                    <a:pt x="2296" y="348"/>
                  </a:lnTo>
                  <a:lnTo>
                    <a:pt x="2296" y="342"/>
                  </a:lnTo>
                  <a:lnTo>
                    <a:pt x="2284" y="342"/>
                  </a:lnTo>
                  <a:lnTo>
                    <a:pt x="2284" y="360"/>
                  </a:lnTo>
                  <a:lnTo>
                    <a:pt x="2290" y="360"/>
                  </a:lnTo>
                  <a:lnTo>
                    <a:pt x="2290" y="376"/>
                  </a:lnTo>
                  <a:lnTo>
                    <a:pt x="2284" y="376"/>
                  </a:lnTo>
                  <a:lnTo>
                    <a:pt x="2284" y="382"/>
                  </a:lnTo>
                  <a:lnTo>
                    <a:pt x="2266" y="382"/>
                  </a:lnTo>
                  <a:lnTo>
                    <a:pt x="2266" y="372"/>
                  </a:lnTo>
                  <a:lnTo>
                    <a:pt x="2250" y="372"/>
                  </a:lnTo>
                  <a:lnTo>
                    <a:pt x="2250" y="360"/>
                  </a:lnTo>
                  <a:lnTo>
                    <a:pt x="2150" y="360"/>
                  </a:lnTo>
                  <a:lnTo>
                    <a:pt x="2150" y="382"/>
                  </a:lnTo>
                  <a:lnTo>
                    <a:pt x="2146" y="382"/>
                  </a:lnTo>
                  <a:lnTo>
                    <a:pt x="2146" y="388"/>
                  </a:lnTo>
                  <a:lnTo>
                    <a:pt x="2140" y="388"/>
                  </a:lnTo>
                  <a:lnTo>
                    <a:pt x="2146" y="382"/>
                  </a:lnTo>
                  <a:lnTo>
                    <a:pt x="2146" y="372"/>
                  </a:lnTo>
                  <a:lnTo>
                    <a:pt x="2140" y="372"/>
                  </a:lnTo>
                  <a:lnTo>
                    <a:pt x="2140" y="360"/>
                  </a:lnTo>
                  <a:lnTo>
                    <a:pt x="2128" y="360"/>
                  </a:lnTo>
                  <a:lnTo>
                    <a:pt x="2122" y="354"/>
                  </a:lnTo>
                  <a:lnTo>
                    <a:pt x="2122" y="348"/>
                  </a:lnTo>
                  <a:lnTo>
                    <a:pt x="2128" y="342"/>
                  </a:lnTo>
                  <a:lnTo>
                    <a:pt x="2128" y="330"/>
                  </a:lnTo>
                  <a:lnTo>
                    <a:pt x="2116" y="330"/>
                  </a:lnTo>
                  <a:lnTo>
                    <a:pt x="2110" y="324"/>
                  </a:lnTo>
                  <a:lnTo>
                    <a:pt x="2104" y="324"/>
                  </a:lnTo>
                  <a:lnTo>
                    <a:pt x="2098" y="318"/>
                  </a:lnTo>
                  <a:lnTo>
                    <a:pt x="2034" y="318"/>
                  </a:lnTo>
                  <a:lnTo>
                    <a:pt x="2034" y="324"/>
                  </a:lnTo>
                  <a:lnTo>
                    <a:pt x="2006" y="324"/>
                  </a:lnTo>
                  <a:lnTo>
                    <a:pt x="2006" y="318"/>
                  </a:lnTo>
                  <a:lnTo>
                    <a:pt x="2000" y="318"/>
                  </a:lnTo>
                  <a:lnTo>
                    <a:pt x="2000" y="312"/>
                  </a:lnTo>
                  <a:lnTo>
                    <a:pt x="1994" y="312"/>
                  </a:lnTo>
                  <a:lnTo>
                    <a:pt x="1988" y="308"/>
                  </a:lnTo>
                  <a:lnTo>
                    <a:pt x="1982" y="312"/>
                  </a:lnTo>
                  <a:lnTo>
                    <a:pt x="1982" y="308"/>
                  </a:lnTo>
                  <a:lnTo>
                    <a:pt x="1966" y="308"/>
                  </a:lnTo>
                  <a:lnTo>
                    <a:pt x="1966" y="302"/>
                  </a:lnTo>
                  <a:lnTo>
                    <a:pt x="1960" y="302"/>
                  </a:lnTo>
                  <a:lnTo>
                    <a:pt x="1960" y="296"/>
                  </a:lnTo>
                  <a:lnTo>
                    <a:pt x="1966" y="296"/>
                  </a:lnTo>
                  <a:lnTo>
                    <a:pt x="1972" y="302"/>
                  </a:lnTo>
                  <a:lnTo>
                    <a:pt x="1972" y="290"/>
                  </a:lnTo>
                  <a:lnTo>
                    <a:pt x="1960" y="290"/>
                  </a:lnTo>
                  <a:lnTo>
                    <a:pt x="1960" y="284"/>
                  </a:lnTo>
                  <a:lnTo>
                    <a:pt x="1930" y="284"/>
                  </a:lnTo>
                  <a:lnTo>
                    <a:pt x="1924" y="290"/>
                  </a:lnTo>
                  <a:lnTo>
                    <a:pt x="1914" y="302"/>
                  </a:lnTo>
                  <a:lnTo>
                    <a:pt x="1908" y="302"/>
                  </a:lnTo>
                  <a:lnTo>
                    <a:pt x="1902" y="308"/>
                  </a:lnTo>
                  <a:lnTo>
                    <a:pt x="1902" y="302"/>
                  </a:lnTo>
                  <a:lnTo>
                    <a:pt x="1896" y="302"/>
                  </a:lnTo>
                  <a:lnTo>
                    <a:pt x="1902" y="296"/>
                  </a:lnTo>
                  <a:lnTo>
                    <a:pt x="1908" y="296"/>
                  </a:lnTo>
                  <a:lnTo>
                    <a:pt x="1908" y="290"/>
                  </a:lnTo>
                  <a:lnTo>
                    <a:pt x="1924" y="290"/>
                  </a:lnTo>
                  <a:lnTo>
                    <a:pt x="1924" y="284"/>
                  </a:lnTo>
                  <a:lnTo>
                    <a:pt x="1918" y="278"/>
                  </a:lnTo>
                  <a:lnTo>
                    <a:pt x="1902" y="278"/>
                  </a:lnTo>
                  <a:lnTo>
                    <a:pt x="1902" y="284"/>
                  </a:lnTo>
                  <a:lnTo>
                    <a:pt x="1896" y="284"/>
                  </a:lnTo>
                  <a:lnTo>
                    <a:pt x="1896" y="290"/>
                  </a:lnTo>
                  <a:lnTo>
                    <a:pt x="1890" y="290"/>
                  </a:lnTo>
                  <a:lnTo>
                    <a:pt x="1884" y="290"/>
                  </a:lnTo>
                  <a:lnTo>
                    <a:pt x="1884" y="284"/>
                  </a:lnTo>
                  <a:lnTo>
                    <a:pt x="1890" y="284"/>
                  </a:lnTo>
                  <a:lnTo>
                    <a:pt x="1890" y="290"/>
                  </a:lnTo>
                  <a:lnTo>
                    <a:pt x="1896" y="284"/>
                  </a:lnTo>
                  <a:lnTo>
                    <a:pt x="1896" y="278"/>
                  </a:lnTo>
                  <a:lnTo>
                    <a:pt x="1884" y="278"/>
                  </a:lnTo>
                  <a:lnTo>
                    <a:pt x="1878" y="272"/>
                  </a:lnTo>
                  <a:lnTo>
                    <a:pt x="1844" y="272"/>
                  </a:lnTo>
                  <a:lnTo>
                    <a:pt x="1844" y="266"/>
                  </a:lnTo>
                  <a:lnTo>
                    <a:pt x="1832" y="266"/>
                  </a:lnTo>
                  <a:lnTo>
                    <a:pt x="1832" y="272"/>
                  </a:lnTo>
                  <a:lnTo>
                    <a:pt x="1838" y="272"/>
                  </a:lnTo>
                  <a:lnTo>
                    <a:pt x="1838" y="278"/>
                  </a:lnTo>
                  <a:lnTo>
                    <a:pt x="1814" y="278"/>
                  </a:lnTo>
                  <a:lnTo>
                    <a:pt x="1808" y="284"/>
                  </a:lnTo>
                  <a:lnTo>
                    <a:pt x="1808" y="290"/>
                  </a:lnTo>
                  <a:lnTo>
                    <a:pt x="1814" y="290"/>
                  </a:lnTo>
                  <a:lnTo>
                    <a:pt x="1820" y="284"/>
                  </a:lnTo>
                  <a:lnTo>
                    <a:pt x="1826" y="290"/>
                  </a:lnTo>
                  <a:lnTo>
                    <a:pt x="1820" y="290"/>
                  </a:lnTo>
                  <a:lnTo>
                    <a:pt x="1820" y="308"/>
                  </a:lnTo>
                  <a:lnTo>
                    <a:pt x="1792" y="308"/>
                  </a:lnTo>
                  <a:lnTo>
                    <a:pt x="1792" y="318"/>
                  </a:lnTo>
                  <a:lnTo>
                    <a:pt x="1786" y="312"/>
                  </a:lnTo>
                  <a:lnTo>
                    <a:pt x="1780" y="308"/>
                  </a:lnTo>
                  <a:lnTo>
                    <a:pt x="1740" y="308"/>
                  </a:lnTo>
                  <a:lnTo>
                    <a:pt x="1740" y="312"/>
                  </a:lnTo>
                  <a:lnTo>
                    <a:pt x="1734" y="308"/>
                  </a:lnTo>
                  <a:lnTo>
                    <a:pt x="1716" y="308"/>
                  </a:lnTo>
                  <a:lnTo>
                    <a:pt x="1716" y="296"/>
                  </a:lnTo>
                  <a:lnTo>
                    <a:pt x="1710" y="296"/>
                  </a:lnTo>
                  <a:lnTo>
                    <a:pt x="1704" y="302"/>
                  </a:lnTo>
                  <a:lnTo>
                    <a:pt x="1704" y="318"/>
                  </a:lnTo>
                  <a:lnTo>
                    <a:pt x="1698" y="318"/>
                  </a:lnTo>
                  <a:lnTo>
                    <a:pt x="1692" y="324"/>
                  </a:lnTo>
                  <a:lnTo>
                    <a:pt x="1686" y="330"/>
                  </a:lnTo>
                  <a:lnTo>
                    <a:pt x="1686" y="324"/>
                  </a:lnTo>
                  <a:lnTo>
                    <a:pt x="1682" y="318"/>
                  </a:lnTo>
                  <a:lnTo>
                    <a:pt x="1682" y="324"/>
                  </a:lnTo>
                  <a:lnTo>
                    <a:pt x="1676" y="324"/>
                  </a:lnTo>
                  <a:lnTo>
                    <a:pt x="1676" y="318"/>
                  </a:lnTo>
                  <a:lnTo>
                    <a:pt x="1664" y="318"/>
                  </a:lnTo>
                  <a:lnTo>
                    <a:pt x="1664" y="308"/>
                  </a:lnTo>
                  <a:lnTo>
                    <a:pt x="1652" y="308"/>
                  </a:lnTo>
                  <a:lnTo>
                    <a:pt x="1652" y="296"/>
                  </a:lnTo>
                  <a:lnTo>
                    <a:pt x="1646" y="296"/>
                  </a:lnTo>
                  <a:lnTo>
                    <a:pt x="1646" y="290"/>
                  </a:lnTo>
                  <a:lnTo>
                    <a:pt x="1640" y="290"/>
                  </a:lnTo>
                  <a:lnTo>
                    <a:pt x="1640" y="284"/>
                  </a:lnTo>
                  <a:lnTo>
                    <a:pt x="1628" y="284"/>
                  </a:lnTo>
                  <a:lnTo>
                    <a:pt x="1628" y="278"/>
                  </a:lnTo>
                  <a:lnTo>
                    <a:pt x="1624" y="278"/>
                  </a:lnTo>
                  <a:lnTo>
                    <a:pt x="1624" y="290"/>
                  </a:lnTo>
                  <a:lnTo>
                    <a:pt x="1618" y="284"/>
                  </a:lnTo>
                  <a:lnTo>
                    <a:pt x="1600" y="284"/>
                  </a:lnTo>
                  <a:lnTo>
                    <a:pt x="1600" y="278"/>
                  </a:lnTo>
                  <a:lnTo>
                    <a:pt x="1588" y="278"/>
                  </a:lnTo>
                  <a:lnTo>
                    <a:pt x="1582" y="272"/>
                  </a:lnTo>
                  <a:lnTo>
                    <a:pt x="1560" y="272"/>
                  </a:lnTo>
                  <a:lnTo>
                    <a:pt x="1560" y="266"/>
                  </a:lnTo>
                  <a:lnTo>
                    <a:pt x="1512" y="266"/>
                  </a:lnTo>
                  <a:lnTo>
                    <a:pt x="1508" y="260"/>
                  </a:lnTo>
                  <a:lnTo>
                    <a:pt x="1502" y="260"/>
                  </a:lnTo>
                  <a:lnTo>
                    <a:pt x="1496" y="254"/>
                  </a:lnTo>
                  <a:lnTo>
                    <a:pt x="1508" y="254"/>
                  </a:lnTo>
                  <a:lnTo>
                    <a:pt x="1502" y="250"/>
                  </a:lnTo>
                  <a:lnTo>
                    <a:pt x="1472" y="250"/>
                  </a:lnTo>
                  <a:lnTo>
                    <a:pt x="1472" y="244"/>
                  </a:lnTo>
                  <a:lnTo>
                    <a:pt x="1444" y="244"/>
                  </a:lnTo>
                  <a:lnTo>
                    <a:pt x="1444" y="250"/>
                  </a:lnTo>
                  <a:lnTo>
                    <a:pt x="1420" y="250"/>
                  </a:lnTo>
                  <a:lnTo>
                    <a:pt x="1420" y="254"/>
                  </a:lnTo>
                  <a:lnTo>
                    <a:pt x="1414" y="254"/>
                  </a:lnTo>
                  <a:lnTo>
                    <a:pt x="1420" y="250"/>
                  </a:lnTo>
                  <a:lnTo>
                    <a:pt x="1420" y="244"/>
                  </a:lnTo>
                  <a:lnTo>
                    <a:pt x="1386" y="244"/>
                  </a:lnTo>
                  <a:lnTo>
                    <a:pt x="1380" y="238"/>
                  </a:lnTo>
                  <a:lnTo>
                    <a:pt x="1368" y="238"/>
                  </a:lnTo>
                  <a:lnTo>
                    <a:pt x="1368" y="244"/>
                  </a:lnTo>
                  <a:lnTo>
                    <a:pt x="1374" y="244"/>
                  </a:lnTo>
                  <a:lnTo>
                    <a:pt x="1374" y="250"/>
                  </a:lnTo>
                  <a:lnTo>
                    <a:pt x="1368" y="250"/>
                  </a:lnTo>
                  <a:lnTo>
                    <a:pt x="1368" y="254"/>
                  </a:lnTo>
                  <a:lnTo>
                    <a:pt x="1340" y="254"/>
                  </a:lnTo>
                  <a:lnTo>
                    <a:pt x="1340" y="260"/>
                  </a:lnTo>
                  <a:lnTo>
                    <a:pt x="1310" y="260"/>
                  </a:lnTo>
                  <a:lnTo>
                    <a:pt x="1310" y="266"/>
                  </a:lnTo>
                  <a:lnTo>
                    <a:pt x="1304" y="266"/>
                  </a:lnTo>
                  <a:lnTo>
                    <a:pt x="1298" y="272"/>
                  </a:lnTo>
                  <a:lnTo>
                    <a:pt x="1292" y="272"/>
                  </a:lnTo>
                  <a:lnTo>
                    <a:pt x="1298" y="266"/>
                  </a:lnTo>
                  <a:lnTo>
                    <a:pt x="1304" y="266"/>
                  </a:lnTo>
                  <a:lnTo>
                    <a:pt x="1304" y="254"/>
                  </a:lnTo>
                  <a:lnTo>
                    <a:pt x="1322" y="254"/>
                  </a:lnTo>
                  <a:lnTo>
                    <a:pt x="1328" y="250"/>
                  </a:lnTo>
                  <a:lnTo>
                    <a:pt x="1334" y="250"/>
                  </a:lnTo>
                  <a:lnTo>
                    <a:pt x="1340" y="244"/>
                  </a:lnTo>
                  <a:lnTo>
                    <a:pt x="1350" y="244"/>
                  </a:lnTo>
                  <a:lnTo>
                    <a:pt x="1350" y="238"/>
                  </a:lnTo>
                  <a:lnTo>
                    <a:pt x="1356" y="238"/>
                  </a:lnTo>
                  <a:lnTo>
                    <a:pt x="1356" y="232"/>
                  </a:lnTo>
                  <a:lnTo>
                    <a:pt x="1368" y="232"/>
                  </a:lnTo>
                  <a:lnTo>
                    <a:pt x="1368" y="226"/>
                  </a:lnTo>
                  <a:lnTo>
                    <a:pt x="1380" y="226"/>
                  </a:lnTo>
                  <a:lnTo>
                    <a:pt x="1380" y="220"/>
                  </a:lnTo>
                  <a:lnTo>
                    <a:pt x="1386" y="220"/>
                  </a:lnTo>
                  <a:lnTo>
                    <a:pt x="1386" y="214"/>
                  </a:lnTo>
                  <a:lnTo>
                    <a:pt x="1402" y="214"/>
                  </a:lnTo>
                  <a:lnTo>
                    <a:pt x="1402" y="208"/>
                  </a:lnTo>
                  <a:lnTo>
                    <a:pt x="1408" y="208"/>
                  </a:lnTo>
                  <a:lnTo>
                    <a:pt x="1414" y="202"/>
                  </a:lnTo>
                  <a:lnTo>
                    <a:pt x="1420" y="202"/>
                  </a:lnTo>
                  <a:lnTo>
                    <a:pt x="1420" y="196"/>
                  </a:lnTo>
                  <a:lnTo>
                    <a:pt x="1426" y="196"/>
                  </a:lnTo>
                  <a:lnTo>
                    <a:pt x="1420" y="192"/>
                  </a:lnTo>
                  <a:lnTo>
                    <a:pt x="1426" y="192"/>
                  </a:lnTo>
                  <a:lnTo>
                    <a:pt x="1426" y="180"/>
                  </a:lnTo>
                  <a:lnTo>
                    <a:pt x="1420" y="180"/>
                  </a:lnTo>
                  <a:lnTo>
                    <a:pt x="1420" y="168"/>
                  </a:lnTo>
                  <a:lnTo>
                    <a:pt x="1414" y="174"/>
                  </a:lnTo>
                  <a:lnTo>
                    <a:pt x="1414" y="180"/>
                  </a:lnTo>
                  <a:lnTo>
                    <a:pt x="1408" y="180"/>
                  </a:lnTo>
                  <a:lnTo>
                    <a:pt x="1408" y="186"/>
                  </a:lnTo>
                  <a:lnTo>
                    <a:pt x="1414" y="186"/>
                  </a:lnTo>
                  <a:lnTo>
                    <a:pt x="1414" y="192"/>
                  </a:lnTo>
                  <a:lnTo>
                    <a:pt x="1408" y="192"/>
                  </a:lnTo>
                  <a:lnTo>
                    <a:pt x="1408" y="186"/>
                  </a:lnTo>
                  <a:lnTo>
                    <a:pt x="1402" y="186"/>
                  </a:lnTo>
                  <a:lnTo>
                    <a:pt x="1402" y="180"/>
                  </a:lnTo>
                  <a:lnTo>
                    <a:pt x="1408" y="180"/>
                  </a:lnTo>
                  <a:lnTo>
                    <a:pt x="1408" y="168"/>
                  </a:lnTo>
                  <a:lnTo>
                    <a:pt x="1402" y="162"/>
                  </a:lnTo>
                  <a:lnTo>
                    <a:pt x="1392" y="162"/>
                  </a:lnTo>
                  <a:lnTo>
                    <a:pt x="1392" y="156"/>
                  </a:lnTo>
                  <a:lnTo>
                    <a:pt x="1340" y="156"/>
                  </a:lnTo>
                  <a:lnTo>
                    <a:pt x="1340" y="162"/>
                  </a:lnTo>
                  <a:lnTo>
                    <a:pt x="1322" y="162"/>
                  </a:lnTo>
                  <a:lnTo>
                    <a:pt x="1322" y="150"/>
                  </a:lnTo>
                  <a:lnTo>
                    <a:pt x="1304" y="150"/>
                  </a:lnTo>
                  <a:lnTo>
                    <a:pt x="1304" y="144"/>
                  </a:lnTo>
                  <a:lnTo>
                    <a:pt x="1292" y="144"/>
                  </a:lnTo>
                  <a:lnTo>
                    <a:pt x="1292" y="138"/>
                  </a:lnTo>
                  <a:lnTo>
                    <a:pt x="1304" y="138"/>
                  </a:lnTo>
                  <a:lnTo>
                    <a:pt x="1304" y="134"/>
                  </a:lnTo>
                  <a:lnTo>
                    <a:pt x="1292" y="134"/>
                  </a:lnTo>
                  <a:lnTo>
                    <a:pt x="1292" y="128"/>
                  </a:lnTo>
                  <a:lnTo>
                    <a:pt x="1264" y="128"/>
                  </a:lnTo>
                  <a:lnTo>
                    <a:pt x="1264" y="134"/>
                  </a:lnTo>
                  <a:lnTo>
                    <a:pt x="1252" y="134"/>
                  </a:lnTo>
                  <a:lnTo>
                    <a:pt x="1252" y="138"/>
                  </a:lnTo>
                  <a:lnTo>
                    <a:pt x="1246" y="138"/>
                  </a:lnTo>
                  <a:lnTo>
                    <a:pt x="1240" y="144"/>
                  </a:lnTo>
                  <a:lnTo>
                    <a:pt x="1234" y="144"/>
                  </a:lnTo>
                  <a:lnTo>
                    <a:pt x="1234" y="150"/>
                  </a:lnTo>
                  <a:lnTo>
                    <a:pt x="1228" y="150"/>
                  </a:lnTo>
                  <a:lnTo>
                    <a:pt x="1228" y="156"/>
                  </a:lnTo>
                  <a:lnTo>
                    <a:pt x="1234" y="156"/>
                  </a:lnTo>
                  <a:lnTo>
                    <a:pt x="1234" y="162"/>
                  </a:lnTo>
                  <a:lnTo>
                    <a:pt x="1200" y="162"/>
                  </a:lnTo>
                  <a:lnTo>
                    <a:pt x="1200" y="168"/>
                  </a:lnTo>
                  <a:lnTo>
                    <a:pt x="1212" y="168"/>
                  </a:lnTo>
                  <a:lnTo>
                    <a:pt x="1212" y="174"/>
                  </a:lnTo>
                  <a:lnTo>
                    <a:pt x="1218" y="174"/>
                  </a:lnTo>
                  <a:lnTo>
                    <a:pt x="1218" y="180"/>
                  </a:lnTo>
                  <a:lnTo>
                    <a:pt x="1212" y="186"/>
                  </a:lnTo>
                  <a:lnTo>
                    <a:pt x="1212" y="174"/>
                  </a:lnTo>
                  <a:lnTo>
                    <a:pt x="1200" y="174"/>
                  </a:lnTo>
                  <a:lnTo>
                    <a:pt x="1200" y="168"/>
                  </a:lnTo>
                  <a:lnTo>
                    <a:pt x="1194" y="174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60" y="180"/>
                  </a:lnTo>
                  <a:lnTo>
                    <a:pt x="1154" y="174"/>
                  </a:lnTo>
                  <a:lnTo>
                    <a:pt x="1136" y="174"/>
                  </a:lnTo>
                  <a:lnTo>
                    <a:pt x="1142" y="180"/>
                  </a:lnTo>
                  <a:lnTo>
                    <a:pt x="1130" y="180"/>
                  </a:lnTo>
                  <a:lnTo>
                    <a:pt x="1124" y="174"/>
                  </a:lnTo>
                  <a:lnTo>
                    <a:pt x="1118" y="174"/>
                  </a:lnTo>
                  <a:lnTo>
                    <a:pt x="1118" y="186"/>
                  </a:lnTo>
                  <a:lnTo>
                    <a:pt x="1090" y="186"/>
                  </a:lnTo>
                  <a:lnTo>
                    <a:pt x="1090" y="192"/>
                  </a:lnTo>
                  <a:lnTo>
                    <a:pt x="1060" y="192"/>
                  </a:lnTo>
                  <a:lnTo>
                    <a:pt x="1054" y="196"/>
                  </a:lnTo>
                  <a:lnTo>
                    <a:pt x="1054" y="192"/>
                  </a:lnTo>
                  <a:lnTo>
                    <a:pt x="1050" y="192"/>
                  </a:lnTo>
                  <a:lnTo>
                    <a:pt x="1050" y="196"/>
                  </a:lnTo>
                  <a:lnTo>
                    <a:pt x="1044" y="196"/>
                  </a:lnTo>
                  <a:lnTo>
                    <a:pt x="1038" y="202"/>
                  </a:lnTo>
                  <a:lnTo>
                    <a:pt x="1032" y="202"/>
                  </a:lnTo>
                  <a:lnTo>
                    <a:pt x="1032" y="208"/>
                  </a:lnTo>
                  <a:lnTo>
                    <a:pt x="1026" y="208"/>
                  </a:lnTo>
                  <a:lnTo>
                    <a:pt x="1026" y="214"/>
                  </a:lnTo>
                  <a:lnTo>
                    <a:pt x="1020" y="214"/>
                  </a:lnTo>
                  <a:lnTo>
                    <a:pt x="1020" y="220"/>
                  </a:lnTo>
                  <a:lnTo>
                    <a:pt x="1014" y="220"/>
                  </a:lnTo>
                  <a:lnTo>
                    <a:pt x="1014" y="226"/>
                  </a:lnTo>
                  <a:lnTo>
                    <a:pt x="1008" y="226"/>
                  </a:lnTo>
                  <a:lnTo>
                    <a:pt x="1014" y="232"/>
                  </a:lnTo>
                  <a:lnTo>
                    <a:pt x="1020" y="226"/>
                  </a:lnTo>
                  <a:lnTo>
                    <a:pt x="1026" y="226"/>
                  </a:lnTo>
                  <a:lnTo>
                    <a:pt x="1020" y="232"/>
                  </a:lnTo>
                  <a:lnTo>
                    <a:pt x="1026" y="232"/>
                  </a:lnTo>
                  <a:lnTo>
                    <a:pt x="1026" y="250"/>
                  </a:lnTo>
                  <a:lnTo>
                    <a:pt x="1014" y="250"/>
                  </a:lnTo>
                  <a:lnTo>
                    <a:pt x="1014" y="244"/>
                  </a:lnTo>
                  <a:lnTo>
                    <a:pt x="938" y="244"/>
                  </a:lnTo>
                  <a:lnTo>
                    <a:pt x="934" y="250"/>
                  </a:lnTo>
                  <a:lnTo>
                    <a:pt x="922" y="250"/>
                  </a:lnTo>
                  <a:lnTo>
                    <a:pt x="922" y="266"/>
                  </a:lnTo>
                  <a:lnTo>
                    <a:pt x="928" y="266"/>
                  </a:lnTo>
                  <a:lnTo>
                    <a:pt x="922" y="272"/>
                  </a:lnTo>
                  <a:lnTo>
                    <a:pt x="922" y="278"/>
                  </a:lnTo>
                  <a:lnTo>
                    <a:pt x="934" y="278"/>
                  </a:lnTo>
                  <a:lnTo>
                    <a:pt x="934" y="284"/>
                  </a:lnTo>
                  <a:lnTo>
                    <a:pt x="944" y="284"/>
                  </a:lnTo>
                  <a:lnTo>
                    <a:pt x="944" y="296"/>
                  </a:lnTo>
                  <a:lnTo>
                    <a:pt x="968" y="296"/>
                  </a:lnTo>
                  <a:lnTo>
                    <a:pt x="968" y="308"/>
                  </a:lnTo>
                  <a:lnTo>
                    <a:pt x="962" y="308"/>
                  </a:lnTo>
                  <a:lnTo>
                    <a:pt x="962" y="318"/>
                  </a:lnTo>
                  <a:lnTo>
                    <a:pt x="968" y="324"/>
                  </a:lnTo>
                  <a:lnTo>
                    <a:pt x="968" y="330"/>
                  </a:lnTo>
                  <a:lnTo>
                    <a:pt x="974" y="330"/>
                  </a:lnTo>
                  <a:lnTo>
                    <a:pt x="974" y="336"/>
                  </a:lnTo>
                  <a:lnTo>
                    <a:pt x="968" y="336"/>
                  </a:lnTo>
                  <a:lnTo>
                    <a:pt x="968" y="342"/>
                  </a:lnTo>
                  <a:lnTo>
                    <a:pt x="956" y="342"/>
                  </a:lnTo>
                  <a:lnTo>
                    <a:pt x="962" y="336"/>
                  </a:lnTo>
                  <a:lnTo>
                    <a:pt x="962" y="318"/>
                  </a:lnTo>
                  <a:lnTo>
                    <a:pt x="956" y="318"/>
                  </a:lnTo>
                  <a:lnTo>
                    <a:pt x="950" y="324"/>
                  </a:lnTo>
                  <a:lnTo>
                    <a:pt x="950" y="330"/>
                  </a:lnTo>
                  <a:lnTo>
                    <a:pt x="944" y="324"/>
                  </a:lnTo>
                  <a:lnTo>
                    <a:pt x="944" y="312"/>
                  </a:lnTo>
                  <a:lnTo>
                    <a:pt x="956" y="312"/>
                  </a:lnTo>
                  <a:lnTo>
                    <a:pt x="956" y="308"/>
                  </a:lnTo>
                  <a:lnTo>
                    <a:pt x="962" y="308"/>
                  </a:lnTo>
                  <a:lnTo>
                    <a:pt x="962" y="302"/>
                  </a:lnTo>
                  <a:lnTo>
                    <a:pt x="934" y="302"/>
                  </a:lnTo>
                  <a:lnTo>
                    <a:pt x="934" y="296"/>
                  </a:lnTo>
                  <a:lnTo>
                    <a:pt x="928" y="296"/>
                  </a:lnTo>
                  <a:lnTo>
                    <a:pt x="928" y="290"/>
                  </a:lnTo>
                  <a:lnTo>
                    <a:pt x="916" y="290"/>
                  </a:lnTo>
                  <a:lnTo>
                    <a:pt x="910" y="284"/>
                  </a:lnTo>
                  <a:lnTo>
                    <a:pt x="904" y="278"/>
                  </a:lnTo>
                  <a:lnTo>
                    <a:pt x="886" y="278"/>
                  </a:lnTo>
                  <a:lnTo>
                    <a:pt x="886" y="284"/>
                  </a:lnTo>
                  <a:lnTo>
                    <a:pt x="880" y="284"/>
                  </a:lnTo>
                  <a:lnTo>
                    <a:pt x="880" y="290"/>
                  </a:lnTo>
                  <a:lnTo>
                    <a:pt x="876" y="290"/>
                  </a:lnTo>
                  <a:lnTo>
                    <a:pt x="876" y="296"/>
                  </a:lnTo>
                  <a:lnTo>
                    <a:pt x="858" y="296"/>
                  </a:lnTo>
                  <a:lnTo>
                    <a:pt x="858" y="308"/>
                  </a:lnTo>
                  <a:lnTo>
                    <a:pt x="870" y="308"/>
                  </a:lnTo>
                  <a:lnTo>
                    <a:pt x="870" y="312"/>
                  </a:lnTo>
                  <a:lnTo>
                    <a:pt x="886" y="312"/>
                  </a:lnTo>
                  <a:lnTo>
                    <a:pt x="886" y="318"/>
                  </a:lnTo>
                  <a:lnTo>
                    <a:pt x="892" y="318"/>
                  </a:lnTo>
                  <a:lnTo>
                    <a:pt x="898" y="324"/>
                  </a:lnTo>
                  <a:lnTo>
                    <a:pt x="886" y="324"/>
                  </a:lnTo>
                  <a:lnTo>
                    <a:pt x="880" y="318"/>
                  </a:lnTo>
                  <a:lnTo>
                    <a:pt x="858" y="318"/>
                  </a:lnTo>
                  <a:lnTo>
                    <a:pt x="852" y="312"/>
                  </a:lnTo>
                  <a:lnTo>
                    <a:pt x="846" y="312"/>
                  </a:lnTo>
                  <a:lnTo>
                    <a:pt x="846" y="302"/>
                  </a:lnTo>
                  <a:lnTo>
                    <a:pt x="840" y="302"/>
                  </a:lnTo>
                  <a:lnTo>
                    <a:pt x="840" y="296"/>
                  </a:lnTo>
                  <a:lnTo>
                    <a:pt x="846" y="296"/>
                  </a:lnTo>
                  <a:lnTo>
                    <a:pt x="846" y="266"/>
                  </a:lnTo>
                  <a:lnTo>
                    <a:pt x="834" y="266"/>
                  </a:lnTo>
                  <a:lnTo>
                    <a:pt x="834" y="272"/>
                  </a:lnTo>
                  <a:lnTo>
                    <a:pt x="840" y="272"/>
                  </a:lnTo>
                  <a:lnTo>
                    <a:pt x="840" y="290"/>
                  </a:lnTo>
                  <a:lnTo>
                    <a:pt x="834" y="290"/>
                  </a:lnTo>
                  <a:lnTo>
                    <a:pt x="834" y="296"/>
                  </a:lnTo>
                  <a:lnTo>
                    <a:pt x="818" y="296"/>
                  </a:lnTo>
                  <a:lnTo>
                    <a:pt x="818" y="308"/>
                  </a:lnTo>
                  <a:lnTo>
                    <a:pt x="812" y="308"/>
                  </a:lnTo>
                  <a:lnTo>
                    <a:pt x="812" y="312"/>
                  </a:lnTo>
                  <a:lnTo>
                    <a:pt x="818" y="312"/>
                  </a:lnTo>
                  <a:lnTo>
                    <a:pt x="818" y="318"/>
                  </a:lnTo>
                  <a:lnTo>
                    <a:pt x="822" y="318"/>
                  </a:lnTo>
                  <a:lnTo>
                    <a:pt x="822" y="330"/>
                  </a:lnTo>
                  <a:lnTo>
                    <a:pt x="828" y="330"/>
                  </a:lnTo>
                  <a:lnTo>
                    <a:pt x="828" y="336"/>
                  </a:lnTo>
                  <a:lnTo>
                    <a:pt x="822" y="336"/>
                  </a:lnTo>
                  <a:lnTo>
                    <a:pt x="822" y="342"/>
                  </a:lnTo>
                  <a:lnTo>
                    <a:pt x="818" y="354"/>
                  </a:lnTo>
                  <a:lnTo>
                    <a:pt x="818" y="360"/>
                  </a:lnTo>
                  <a:lnTo>
                    <a:pt x="822" y="360"/>
                  </a:lnTo>
                  <a:lnTo>
                    <a:pt x="822" y="372"/>
                  </a:lnTo>
                  <a:lnTo>
                    <a:pt x="870" y="372"/>
                  </a:lnTo>
                  <a:lnTo>
                    <a:pt x="870" y="376"/>
                  </a:lnTo>
                  <a:lnTo>
                    <a:pt x="880" y="376"/>
                  </a:lnTo>
                  <a:lnTo>
                    <a:pt x="880" y="394"/>
                  </a:lnTo>
                  <a:lnTo>
                    <a:pt x="876" y="394"/>
                  </a:lnTo>
                  <a:lnTo>
                    <a:pt x="876" y="412"/>
                  </a:lnTo>
                  <a:lnTo>
                    <a:pt x="870" y="412"/>
                  </a:lnTo>
                  <a:lnTo>
                    <a:pt x="870" y="382"/>
                  </a:lnTo>
                  <a:lnTo>
                    <a:pt x="864" y="382"/>
                  </a:lnTo>
                  <a:lnTo>
                    <a:pt x="864" y="376"/>
                  </a:lnTo>
                  <a:lnTo>
                    <a:pt x="846" y="376"/>
                  </a:lnTo>
                  <a:lnTo>
                    <a:pt x="840" y="382"/>
                  </a:lnTo>
                  <a:lnTo>
                    <a:pt x="828" y="382"/>
                  </a:lnTo>
                  <a:lnTo>
                    <a:pt x="828" y="394"/>
                  </a:lnTo>
                  <a:lnTo>
                    <a:pt x="834" y="394"/>
                  </a:lnTo>
                  <a:lnTo>
                    <a:pt x="834" y="412"/>
                  </a:lnTo>
                  <a:lnTo>
                    <a:pt x="828" y="412"/>
                  </a:lnTo>
                  <a:lnTo>
                    <a:pt x="828" y="418"/>
                  </a:lnTo>
                  <a:lnTo>
                    <a:pt x="822" y="418"/>
                  </a:lnTo>
                  <a:lnTo>
                    <a:pt x="822" y="430"/>
                  </a:lnTo>
                  <a:lnTo>
                    <a:pt x="818" y="434"/>
                  </a:lnTo>
                  <a:lnTo>
                    <a:pt x="806" y="434"/>
                  </a:lnTo>
                  <a:lnTo>
                    <a:pt x="806" y="440"/>
                  </a:lnTo>
                  <a:lnTo>
                    <a:pt x="800" y="440"/>
                  </a:lnTo>
                  <a:lnTo>
                    <a:pt x="800" y="446"/>
                  </a:lnTo>
                  <a:lnTo>
                    <a:pt x="760" y="446"/>
                  </a:lnTo>
                  <a:lnTo>
                    <a:pt x="760" y="440"/>
                  </a:lnTo>
                  <a:lnTo>
                    <a:pt x="748" y="440"/>
                  </a:lnTo>
                  <a:lnTo>
                    <a:pt x="748" y="434"/>
                  </a:lnTo>
                  <a:lnTo>
                    <a:pt x="770" y="434"/>
                  </a:lnTo>
                  <a:lnTo>
                    <a:pt x="770" y="440"/>
                  </a:lnTo>
                  <a:lnTo>
                    <a:pt x="782" y="440"/>
                  </a:lnTo>
                  <a:lnTo>
                    <a:pt x="782" y="430"/>
                  </a:lnTo>
                  <a:lnTo>
                    <a:pt x="788" y="434"/>
                  </a:lnTo>
                  <a:lnTo>
                    <a:pt x="788" y="430"/>
                  </a:lnTo>
                  <a:lnTo>
                    <a:pt x="794" y="430"/>
                  </a:lnTo>
                  <a:lnTo>
                    <a:pt x="794" y="424"/>
                  </a:lnTo>
                  <a:lnTo>
                    <a:pt x="800" y="424"/>
                  </a:lnTo>
                  <a:lnTo>
                    <a:pt x="800" y="412"/>
                  </a:lnTo>
                  <a:lnTo>
                    <a:pt x="812" y="412"/>
                  </a:lnTo>
                  <a:lnTo>
                    <a:pt x="812" y="394"/>
                  </a:lnTo>
                  <a:lnTo>
                    <a:pt x="818" y="394"/>
                  </a:lnTo>
                  <a:lnTo>
                    <a:pt x="818" y="382"/>
                  </a:lnTo>
                  <a:lnTo>
                    <a:pt x="806" y="382"/>
                  </a:lnTo>
                  <a:lnTo>
                    <a:pt x="806" y="376"/>
                  </a:lnTo>
                  <a:lnTo>
                    <a:pt x="800" y="376"/>
                  </a:lnTo>
                  <a:lnTo>
                    <a:pt x="800" y="372"/>
                  </a:lnTo>
                  <a:lnTo>
                    <a:pt x="806" y="366"/>
                  </a:lnTo>
                  <a:lnTo>
                    <a:pt x="806" y="354"/>
                  </a:lnTo>
                  <a:lnTo>
                    <a:pt x="800" y="348"/>
                  </a:lnTo>
                  <a:lnTo>
                    <a:pt x="800" y="336"/>
                  </a:lnTo>
                  <a:lnTo>
                    <a:pt x="806" y="336"/>
                  </a:lnTo>
                  <a:lnTo>
                    <a:pt x="806" y="318"/>
                  </a:lnTo>
                  <a:lnTo>
                    <a:pt x="800" y="318"/>
                  </a:lnTo>
                  <a:lnTo>
                    <a:pt x="794" y="312"/>
                  </a:lnTo>
                  <a:lnTo>
                    <a:pt x="794" y="308"/>
                  </a:lnTo>
                  <a:lnTo>
                    <a:pt x="800" y="302"/>
                  </a:lnTo>
                  <a:lnTo>
                    <a:pt x="794" y="302"/>
                  </a:lnTo>
                  <a:lnTo>
                    <a:pt x="794" y="296"/>
                  </a:lnTo>
                  <a:lnTo>
                    <a:pt x="800" y="296"/>
                  </a:lnTo>
                  <a:lnTo>
                    <a:pt x="806" y="290"/>
                  </a:lnTo>
                  <a:lnTo>
                    <a:pt x="806" y="272"/>
                  </a:lnTo>
                  <a:lnTo>
                    <a:pt x="800" y="272"/>
                  </a:lnTo>
                  <a:lnTo>
                    <a:pt x="794" y="266"/>
                  </a:lnTo>
                  <a:lnTo>
                    <a:pt x="754" y="266"/>
                  </a:lnTo>
                  <a:lnTo>
                    <a:pt x="754" y="272"/>
                  </a:lnTo>
                  <a:lnTo>
                    <a:pt x="748" y="272"/>
                  </a:lnTo>
                  <a:lnTo>
                    <a:pt x="748" y="278"/>
                  </a:lnTo>
                  <a:lnTo>
                    <a:pt x="742" y="284"/>
                  </a:lnTo>
                  <a:lnTo>
                    <a:pt x="742" y="296"/>
                  </a:lnTo>
                  <a:lnTo>
                    <a:pt x="736" y="302"/>
                  </a:lnTo>
                  <a:lnTo>
                    <a:pt x="736" y="308"/>
                  </a:lnTo>
                  <a:lnTo>
                    <a:pt x="724" y="308"/>
                  </a:lnTo>
                  <a:lnTo>
                    <a:pt x="724" y="312"/>
                  </a:lnTo>
                  <a:lnTo>
                    <a:pt x="718" y="312"/>
                  </a:lnTo>
                  <a:lnTo>
                    <a:pt x="718" y="318"/>
                  </a:lnTo>
                  <a:lnTo>
                    <a:pt x="712" y="318"/>
                  </a:lnTo>
                  <a:lnTo>
                    <a:pt x="712" y="330"/>
                  </a:lnTo>
                  <a:lnTo>
                    <a:pt x="718" y="324"/>
                  </a:lnTo>
                  <a:lnTo>
                    <a:pt x="718" y="348"/>
                  </a:lnTo>
                  <a:lnTo>
                    <a:pt x="712" y="360"/>
                  </a:lnTo>
                  <a:lnTo>
                    <a:pt x="730" y="360"/>
                  </a:lnTo>
                  <a:lnTo>
                    <a:pt x="730" y="372"/>
                  </a:lnTo>
                  <a:lnTo>
                    <a:pt x="742" y="372"/>
                  </a:lnTo>
                  <a:lnTo>
                    <a:pt x="742" y="376"/>
                  </a:lnTo>
                  <a:lnTo>
                    <a:pt x="748" y="376"/>
                  </a:lnTo>
                  <a:lnTo>
                    <a:pt x="748" y="382"/>
                  </a:lnTo>
                  <a:lnTo>
                    <a:pt x="742" y="382"/>
                  </a:lnTo>
                  <a:lnTo>
                    <a:pt x="742" y="394"/>
                  </a:lnTo>
                  <a:lnTo>
                    <a:pt x="730" y="394"/>
                  </a:lnTo>
                  <a:lnTo>
                    <a:pt x="730" y="388"/>
                  </a:lnTo>
                  <a:lnTo>
                    <a:pt x="724" y="382"/>
                  </a:lnTo>
                  <a:lnTo>
                    <a:pt x="718" y="382"/>
                  </a:lnTo>
                  <a:lnTo>
                    <a:pt x="718" y="376"/>
                  </a:lnTo>
                  <a:lnTo>
                    <a:pt x="706" y="376"/>
                  </a:lnTo>
                  <a:lnTo>
                    <a:pt x="706" y="372"/>
                  </a:lnTo>
                  <a:lnTo>
                    <a:pt x="690" y="372"/>
                  </a:lnTo>
                  <a:lnTo>
                    <a:pt x="684" y="366"/>
                  </a:lnTo>
                  <a:lnTo>
                    <a:pt x="678" y="366"/>
                  </a:lnTo>
                  <a:lnTo>
                    <a:pt x="678" y="360"/>
                  </a:lnTo>
                  <a:lnTo>
                    <a:pt x="638" y="360"/>
                  </a:lnTo>
                  <a:lnTo>
                    <a:pt x="638" y="354"/>
                  </a:lnTo>
                  <a:lnTo>
                    <a:pt x="620" y="354"/>
                  </a:lnTo>
                  <a:lnTo>
                    <a:pt x="620" y="360"/>
                  </a:lnTo>
                  <a:lnTo>
                    <a:pt x="614" y="360"/>
                  </a:lnTo>
                  <a:lnTo>
                    <a:pt x="614" y="366"/>
                  </a:lnTo>
                  <a:lnTo>
                    <a:pt x="620" y="372"/>
                  </a:lnTo>
                  <a:lnTo>
                    <a:pt x="626" y="372"/>
                  </a:lnTo>
                  <a:lnTo>
                    <a:pt x="626" y="382"/>
                  </a:lnTo>
                  <a:lnTo>
                    <a:pt x="608" y="382"/>
                  </a:lnTo>
                  <a:lnTo>
                    <a:pt x="608" y="388"/>
                  </a:lnTo>
                  <a:lnTo>
                    <a:pt x="614" y="388"/>
                  </a:lnTo>
                  <a:lnTo>
                    <a:pt x="608" y="394"/>
                  </a:lnTo>
                  <a:lnTo>
                    <a:pt x="596" y="394"/>
                  </a:lnTo>
                  <a:lnTo>
                    <a:pt x="596" y="382"/>
                  </a:lnTo>
                  <a:lnTo>
                    <a:pt x="602" y="382"/>
                  </a:lnTo>
                  <a:lnTo>
                    <a:pt x="596" y="376"/>
                  </a:lnTo>
                  <a:lnTo>
                    <a:pt x="586" y="376"/>
                  </a:lnTo>
                  <a:lnTo>
                    <a:pt x="586" y="382"/>
                  </a:lnTo>
                  <a:lnTo>
                    <a:pt x="574" y="382"/>
                  </a:lnTo>
                  <a:lnTo>
                    <a:pt x="574" y="388"/>
                  </a:lnTo>
                  <a:lnTo>
                    <a:pt x="562" y="388"/>
                  </a:lnTo>
                  <a:lnTo>
                    <a:pt x="562" y="382"/>
                  </a:lnTo>
                  <a:lnTo>
                    <a:pt x="550" y="382"/>
                  </a:lnTo>
                  <a:lnTo>
                    <a:pt x="544" y="388"/>
                  </a:lnTo>
                  <a:lnTo>
                    <a:pt x="538" y="388"/>
                  </a:lnTo>
                  <a:lnTo>
                    <a:pt x="538" y="394"/>
                  </a:lnTo>
                  <a:lnTo>
                    <a:pt x="522" y="394"/>
                  </a:lnTo>
                  <a:lnTo>
                    <a:pt x="522" y="388"/>
                  </a:lnTo>
                  <a:lnTo>
                    <a:pt x="516" y="388"/>
                  </a:lnTo>
                  <a:lnTo>
                    <a:pt x="516" y="382"/>
                  </a:lnTo>
                  <a:lnTo>
                    <a:pt x="492" y="382"/>
                  </a:lnTo>
                  <a:lnTo>
                    <a:pt x="498" y="388"/>
                  </a:lnTo>
                  <a:lnTo>
                    <a:pt x="498" y="394"/>
                  </a:lnTo>
                  <a:lnTo>
                    <a:pt x="492" y="394"/>
                  </a:lnTo>
                  <a:lnTo>
                    <a:pt x="498" y="388"/>
                  </a:lnTo>
                  <a:lnTo>
                    <a:pt x="486" y="388"/>
                  </a:lnTo>
                  <a:lnTo>
                    <a:pt x="486" y="394"/>
                  </a:lnTo>
                  <a:lnTo>
                    <a:pt x="464" y="394"/>
                  </a:lnTo>
                  <a:lnTo>
                    <a:pt x="464" y="400"/>
                  </a:lnTo>
                  <a:lnTo>
                    <a:pt x="458" y="400"/>
                  </a:lnTo>
                  <a:lnTo>
                    <a:pt x="452" y="406"/>
                  </a:lnTo>
                  <a:lnTo>
                    <a:pt x="440" y="406"/>
                  </a:lnTo>
                  <a:lnTo>
                    <a:pt x="440" y="412"/>
                  </a:lnTo>
                  <a:lnTo>
                    <a:pt x="422" y="412"/>
                  </a:lnTo>
                  <a:lnTo>
                    <a:pt x="428" y="418"/>
                  </a:lnTo>
                  <a:lnTo>
                    <a:pt x="428" y="424"/>
                  </a:lnTo>
                  <a:lnTo>
                    <a:pt x="422" y="424"/>
                  </a:lnTo>
                  <a:lnTo>
                    <a:pt x="422" y="434"/>
                  </a:lnTo>
                  <a:lnTo>
                    <a:pt x="400" y="434"/>
                  </a:lnTo>
                  <a:lnTo>
                    <a:pt x="394" y="430"/>
                  </a:lnTo>
                  <a:lnTo>
                    <a:pt x="394" y="424"/>
                  </a:lnTo>
                  <a:lnTo>
                    <a:pt x="382" y="424"/>
                  </a:lnTo>
                  <a:lnTo>
                    <a:pt x="382" y="418"/>
                  </a:lnTo>
                  <a:lnTo>
                    <a:pt x="388" y="418"/>
                  </a:lnTo>
                  <a:lnTo>
                    <a:pt x="388" y="412"/>
                  </a:lnTo>
                  <a:lnTo>
                    <a:pt x="412" y="412"/>
                  </a:lnTo>
                  <a:lnTo>
                    <a:pt x="412" y="400"/>
                  </a:lnTo>
                  <a:lnTo>
                    <a:pt x="406" y="394"/>
                  </a:lnTo>
                  <a:lnTo>
                    <a:pt x="400" y="394"/>
                  </a:lnTo>
                  <a:lnTo>
                    <a:pt x="400" y="388"/>
                  </a:lnTo>
                  <a:lnTo>
                    <a:pt x="364" y="388"/>
                  </a:lnTo>
                  <a:lnTo>
                    <a:pt x="364" y="394"/>
                  </a:lnTo>
                  <a:lnTo>
                    <a:pt x="370" y="394"/>
                  </a:lnTo>
                  <a:lnTo>
                    <a:pt x="370" y="412"/>
                  </a:lnTo>
                  <a:lnTo>
                    <a:pt x="364" y="418"/>
                  </a:lnTo>
                  <a:lnTo>
                    <a:pt x="364" y="424"/>
                  </a:lnTo>
                  <a:lnTo>
                    <a:pt x="370" y="424"/>
                  </a:lnTo>
                  <a:lnTo>
                    <a:pt x="370" y="430"/>
                  </a:lnTo>
                  <a:lnTo>
                    <a:pt x="376" y="430"/>
                  </a:lnTo>
                  <a:lnTo>
                    <a:pt x="376" y="434"/>
                  </a:lnTo>
                  <a:lnTo>
                    <a:pt x="370" y="440"/>
                  </a:lnTo>
                  <a:lnTo>
                    <a:pt x="370" y="452"/>
                  </a:lnTo>
                  <a:lnTo>
                    <a:pt x="364" y="446"/>
                  </a:lnTo>
                  <a:lnTo>
                    <a:pt x="360" y="452"/>
                  </a:lnTo>
                  <a:lnTo>
                    <a:pt x="360" y="446"/>
                  </a:lnTo>
                  <a:lnTo>
                    <a:pt x="348" y="446"/>
                  </a:lnTo>
                  <a:lnTo>
                    <a:pt x="348" y="440"/>
                  </a:lnTo>
                  <a:lnTo>
                    <a:pt x="342" y="440"/>
                  </a:lnTo>
                  <a:lnTo>
                    <a:pt x="342" y="446"/>
                  </a:lnTo>
                  <a:lnTo>
                    <a:pt x="336" y="446"/>
                  </a:lnTo>
                  <a:lnTo>
                    <a:pt x="330" y="452"/>
                  </a:lnTo>
                  <a:lnTo>
                    <a:pt x="324" y="452"/>
                  </a:lnTo>
                  <a:lnTo>
                    <a:pt x="324" y="458"/>
                  </a:lnTo>
                  <a:lnTo>
                    <a:pt x="318" y="458"/>
                  </a:lnTo>
                  <a:lnTo>
                    <a:pt x="318" y="464"/>
                  </a:lnTo>
                  <a:lnTo>
                    <a:pt x="306" y="464"/>
                  </a:lnTo>
                  <a:lnTo>
                    <a:pt x="306" y="482"/>
                  </a:lnTo>
                  <a:lnTo>
                    <a:pt x="312" y="482"/>
                  </a:lnTo>
                  <a:lnTo>
                    <a:pt x="312" y="488"/>
                  </a:lnTo>
                  <a:lnTo>
                    <a:pt x="318" y="488"/>
                  </a:lnTo>
                  <a:lnTo>
                    <a:pt x="318" y="492"/>
                  </a:lnTo>
                  <a:lnTo>
                    <a:pt x="296" y="492"/>
                  </a:lnTo>
                  <a:lnTo>
                    <a:pt x="296" y="488"/>
                  </a:lnTo>
                  <a:lnTo>
                    <a:pt x="278" y="488"/>
                  </a:lnTo>
                  <a:lnTo>
                    <a:pt x="272" y="482"/>
                  </a:lnTo>
                  <a:lnTo>
                    <a:pt x="272" y="476"/>
                  </a:lnTo>
                  <a:lnTo>
                    <a:pt x="260" y="476"/>
                  </a:lnTo>
                  <a:lnTo>
                    <a:pt x="260" y="482"/>
                  </a:lnTo>
                  <a:lnTo>
                    <a:pt x="254" y="488"/>
                  </a:lnTo>
                  <a:lnTo>
                    <a:pt x="260" y="492"/>
                  </a:lnTo>
                  <a:lnTo>
                    <a:pt x="266" y="498"/>
                  </a:lnTo>
                  <a:lnTo>
                    <a:pt x="278" y="498"/>
                  </a:lnTo>
                  <a:lnTo>
                    <a:pt x="278" y="510"/>
                  </a:lnTo>
                  <a:lnTo>
                    <a:pt x="254" y="510"/>
                  </a:lnTo>
                  <a:lnTo>
                    <a:pt x="254" y="504"/>
                  </a:lnTo>
                  <a:lnTo>
                    <a:pt x="248" y="498"/>
                  </a:lnTo>
                  <a:lnTo>
                    <a:pt x="232" y="498"/>
                  </a:lnTo>
                  <a:lnTo>
                    <a:pt x="232" y="476"/>
                  </a:lnTo>
                  <a:lnTo>
                    <a:pt x="220" y="476"/>
                  </a:lnTo>
                  <a:lnTo>
                    <a:pt x="226" y="470"/>
                  </a:lnTo>
                  <a:lnTo>
                    <a:pt x="232" y="470"/>
                  </a:lnTo>
                  <a:lnTo>
                    <a:pt x="232" y="458"/>
                  </a:lnTo>
                  <a:lnTo>
                    <a:pt x="226" y="452"/>
                  </a:lnTo>
                  <a:lnTo>
                    <a:pt x="220" y="452"/>
                  </a:lnTo>
                  <a:lnTo>
                    <a:pt x="220" y="446"/>
                  </a:lnTo>
                  <a:lnTo>
                    <a:pt x="214" y="446"/>
                  </a:lnTo>
                  <a:lnTo>
                    <a:pt x="214" y="440"/>
                  </a:lnTo>
                  <a:lnTo>
                    <a:pt x="208" y="440"/>
                  </a:lnTo>
                  <a:lnTo>
                    <a:pt x="208" y="446"/>
                  </a:lnTo>
                  <a:lnTo>
                    <a:pt x="202" y="440"/>
                  </a:lnTo>
                  <a:lnTo>
                    <a:pt x="202" y="434"/>
                  </a:lnTo>
                  <a:lnTo>
                    <a:pt x="190" y="434"/>
                  </a:lnTo>
                  <a:lnTo>
                    <a:pt x="190" y="424"/>
                  </a:lnTo>
                  <a:lnTo>
                    <a:pt x="196" y="424"/>
                  </a:lnTo>
                  <a:lnTo>
                    <a:pt x="196" y="430"/>
                  </a:lnTo>
                  <a:lnTo>
                    <a:pt x="202" y="430"/>
                  </a:lnTo>
                  <a:lnTo>
                    <a:pt x="202" y="434"/>
                  </a:lnTo>
                  <a:lnTo>
                    <a:pt x="220" y="434"/>
                  </a:lnTo>
                  <a:lnTo>
                    <a:pt x="220" y="440"/>
                  </a:lnTo>
                  <a:lnTo>
                    <a:pt x="232" y="440"/>
                  </a:lnTo>
                  <a:lnTo>
                    <a:pt x="238" y="446"/>
                  </a:lnTo>
                  <a:lnTo>
                    <a:pt x="272" y="446"/>
                  </a:lnTo>
                  <a:lnTo>
                    <a:pt x="272" y="452"/>
                  </a:lnTo>
                  <a:lnTo>
                    <a:pt x="296" y="452"/>
                  </a:lnTo>
                  <a:lnTo>
                    <a:pt x="302" y="446"/>
                  </a:lnTo>
                  <a:lnTo>
                    <a:pt x="318" y="446"/>
                  </a:lnTo>
                  <a:lnTo>
                    <a:pt x="324" y="440"/>
                  </a:lnTo>
                  <a:lnTo>
                    <a:pt x="324" y="434"/>
                  </a:lnTo>
                  <a:lnTo>
                    <a:pt x="330" y="434"/>
                  </a:lnTo>
                  <a:lnTo>
                    <a:pt x="330" y="424"/>
                  </a:lnTo>
                  <a:lnTo>
                    <a:pt x="324" y="424"/>
                  </a:lnTo>
                  <a:lnTo>
                    <a:pt x="324" y="412"/>
                  </a:lnTo>
                  <a:lnTo>
                    <a:pt x="312" y="412"/>
                  </a:lnTo>
                  <a:lnTo>
                    <a:pt x="312" y="406"/>
                  </a:lnTo>
                  <a:lnTo>
                    <a:pt x="306" y="406"/>
                  </a:lnTo>
                  <a:lnTo>
                    <a:pt x="306" y="400"/>
                  </a:lnTo>
                  <a:lnTo>
                    <a:pt x="302" y="400"/>
                  </a:lnTo>
                  <a:lnTo>
                    <a:pt x="296" y="394"/>
                  </a:lnTo>
                  <a:lnTo>
                    <a:pt x="284" y="394"/>
                  </a:lnTo>
                  <a:lnTo>
                    <a:pt x="278" y="388"/>
                  </a:lnTo>
                  <a:lnTo>
                    <a:pt x="278" y="382"/>
                  </a:lnTo>
                  <a:lnTo>
                    <a:pt x="266" y="382"/>
                  </a:lnTo>
                  <a:lnTo>
                    <a:pt x="260" y="376"/>
                  </a:lnTo>
                  <a:lnTo>
                    <a:pt x="254" y="376"/>
                  </a:lnTo>
                  <a:lnTo>
                    <a:pt x="254" y="372"/>
                  </a:lnTo>
                  <a:lnTo>
                    <a:pt x="220" y="372"/>
                  </a:lnTo>
                  <a:lnTo>
                    <a:pt x="220" y="366"/>
                  </a:lnTo>
                  <a:lnTo>
                    <a:pt x="214" y="366"/>
                  </a:lnTo>
                  <a:lnTo>
                    <a:pt x="214" y="372"/>
                  </a:lnTo>
                  <a:lnTo>
                    <a:pt x="208" y="372"/>
                  </a:lnTo>
                  <a:lnTo>
                    <a:pt x="208" y="366"/>
                  </a:lnTo>
                  <a:lnTo>
                    <a:pt x="202" y="366"/>
                  </a:lnTo>
                  <a:lnTo>
                    <a:pt x="202" y="372"/>
                  </a:lnTo>
                  <a:lnTo>
                    <a:pt x="196" y="372"/>
                  </a:lnTo>
                  <a:lnTo>
                    <a:pt x="202" y="366"/>
                  </a:lnTo>
                  <a:lnTo>
                    <a:pt x="202" y="354"/>
                  </a:lnTo>
                  <a:lnTo>
                    <a:pt x="190" y="354"/>
                  </a:lnTo>
                  <a:lnTo>
                    <a:pt x="190" y="360"/>
                  </a:lnTo>
                  <a:lnTo>
                    <a:pt x="186" y="354"/>
                  </a:lnTo>
                  <a:lnTo>
                    <a:pt x="180" y="354"/>
                  </a:lnTo>
                  <a:lnTo>
                    <a:pt x="180" y="360"/>
                  </a:lnTo>
                  <a:lnTo>
                    <a:pt x="168" y="354"/>
                  </a:lnTo>
                  <a:lnTo>
                    <a:pt x="168" y="360"/>
                  </a:lnTo>
                  <a:lnTo>
                    <a:pt x="156" y="360"/>
                  </a:lnTo>
                  <a:lnTo>
                    <a:pt x="156" y="366"/>
                  </a:lnTo>
                  <a:lnTo>
                    <a:pt x="150" y="366"/>
                  </a:lnTo>
                  <a:lnTo>
                    <a:pt x="144" y="372"/>
                  </a:lnTo>
                  <a:lnTo>
                    <a:pt x="138" y="372"/>
                  </a:lnTo>
                  <a:lnTo>
                    <a:pt x="138" y="376"/>
                  </a:lnTo>
                  <a:lnTo>
                    <a:pt x="132" y="376"/>
                  </a:lnTo>
                  <a:lnTo>
                    <a:pt x="132" y="382"/>
                  </a:lnTo>
                  <a:lnTo>
                    <a:pt x="138" y="382"/>
                  </a:lnTo>
                  <a:lnTo>
                    <a:pt x="132" y="388"/>
                  </a:lnTo>
                  <a:lnTo>
                    <a:pt x="132" y="394"/>
                  </a:lnTo>
                  <a:lnTo>
                    <a:pt x="138" y="394"/>
                  </a:lnTo>
                  <a:lnTo>
                    <a:pt x="144" y="400"/>
                  </a:lnTo>
                  <a:lnTo>
                    <a:pt x="150" y="400"/>
                  </a:lnTo>
                  <a:lnTo>
                    <a:pt x="150" y="406"/>
                  </a:lnTo>
                  <a:lnTo>
                    <a:pt x="156" y="412"/>
                  </a:lnTo>
                  <a:lnTo>
                    <a:pt x="156" y="418"/>
                  </a:lnTo>
                  <a:lnTo>
                    <a:pt x="150" y="424"/>
                  </a:lnTo>
                  <a:lnTo>
                    <a:pt x="144" y="430"/>
                  </a:lnTo>
                  <a:lnTo>
                    <a:pt x="138" y="430"/>
                  </a:lnTo>
                  <a:lnTo>
                    <a:pt x="138" y="434"/>
                  </a:lnTo>
                  <a:lnTo>
                    <a:pt x="144" y="434"/>
                  </a:lnTo>
                  <a:lnTo>
                    <a:pt x="150" y="440"/>
                  </a:lnTo>
                  <a:lnTo>
                    <a:pt x="150" y="446"/>
                  </a:lnTo>
                  <a:lnTo>
                    <a:pt x="156" y="446"/>
                  </a:lnTo>
                  <a:lnTo>
                    <a:pt x="156" y="482"/>
                  </a:lnTo>
                  <a:lnTo>
                    <a:pt x="150" y="482"/>
                  </a:lnTo>
                  <a:lnTo>
                    <a:pt x="150" y="488"/>
                  </a:lnTo>
                  <a:lnTo>
                    <a:pt x="162" y="488"/>
                  </a:lnTo>
                  <a:lnTo>
                    <a:pt x="156" y="492"/>
                  </a:lnTo>
                  <a:lnTo>
                    <a:pt x="156" y="498"/>
                  </a:lnTo>
                  <a:lnTo>
                    <a:pt x="168" y="498"/>
                  </a:lnTo>
                  <a:lnTo>
                    <a:pt x="168" y="510"/>
                  </a:lnTo>
                  <a:lnTo>
                    <a:pt x="156" y="510"/>
                  </a:lnTo>
                  <a:lnTo>
                    <a:pt x="168" y="522"/>
                  </a:lnTo>
                  <a:lnTo>
                    <a:pt x="168" y="528"/>
                  </a:lnTo>
                  <a:lnTo>
                    <a:pt x="180" y="528"/>
                  </a:lnTo>
                  <a:lnTo>
                    <a:pt x="180" y="546"/>
                  </a:lnTo>
                  <a:lnTo>
                    <a:pt x="174" y="550"/>
                  </a:lnTo>
                  <a:lnTo>
                    <a:pt x="168" y="550"/>
                  </a:lnTo>
                  <a:lnTo>
                    <a:pt x="162" y="556"/>
                  </a:lnTo>
                  <a:lnTo>
                    <a:pt x="162" y="562"/>
                  </a:lnTo>
                  <a:lnTo>
                    <a:pt x="156" y="562"/>
                  </a:lnTo>
                  <a:lnTo>
                    <a:pt x="156" y="568"/>
                  </a:lnTo>
                  <a:lnTo>
                    <a:pt x="150" y="574"/>
                  </a:lnTo>
                  <a:lnTo>
                    <a:pt x="138" y="574"/>
                  </a:lnTo>
                  <a:lnTo>
                    <a:pt x="138" y="598"/>
                  </a:lnTo>
                  <a:lnTo>
                    <a:pt x="156" y="598"/>
                  </a:lnTo>
                  <a:lnTo>
                    <a:pt x="156" y="604"/>
                  </a:lnTo>
                  <a:lnTo>
                    <a:pt x="162" y="608"/>
                  </a:lnTo>
                  <a:lnTo>
                    <a:pt x="150" y="608"/>
                  </a:lnTo>
                  <a:lnTo>
                    <a:pt x="144" y="604"/>
                  </a:lnTo>
                  <a:lnTo>
                    <a:pt x="138" y="608"/>
                  </a:lnTo>
                  <a:lnTo>
                    <a:pt x="138" y="614"/>
                  </a:lnTo>
                  <a:lnTo>
                    <a:pt x="132" y="608"/>
                  </a:lnTo>
                  <a:lnTo>
                    <a:pt x="132" y="614"/>
                  </a:lnTo>
                  <a:lnTo>
                    <a:pt x="128" y="614"/>
                  </a:lnTo>
                  <a:lnTo>
                    <a:pt x="128" y="626"/>
                  </a:lnTo>
                  <a:lnTo>
                    <a:pt x="122" y="626"/>
                  </a:lnTo>
                  <a:lnTo>
                    <a:pt x="122" y="632"/>
                  </a:lnTo>
                  <a:lnTo>
                    <a:pt x="116" y="632"/>
                  </a:lnTo>
                  <a:lnTo>
                    <a:pt x="116" y="650"/>
                  </a:lnTo>
                  <a:lnTo>
                    <a:pt x="122" y="650"/>
                  </a:lnTo>
                  <a:lnTo>
                    <a:pt x="122" y="662"/>
                  </a:lnTo>
                  <a:lnTo>
                    <a:pt x="116" y="662"/>
                  </a:lnTo>
                  <a:lnTo>
                    <a:pt x="116" y="666"/>
                  </a:lnTo>
                  <a:lnTo>
                    <a:pt x="122" y="666"/>
                  </a:lnTo>
                  <a:lnTo>
                    <a:pt x="128" y="672"/>
                  </a:lnTo>
                  <a:lnTo>
                    <a:pt x="122" y="678"/>
                  </a:lnTo>
                  <a:lnTo>
                    <a:pt x="128" y="678"/>
                  </a:lnTo>
                  <a:lnTo>
                    <a:pt x="128" y="702"/>
                  </a:lnTo>
                  <a:lnTo>
                    <a:pt x="150" y="702"/>
                  </a:lnTo>
                  <a:lnTo>
                    <a:pt x="144" y="708"/>
                  </a:lnTo>
                  <a:lnTo>
                    <a:pt x="156" y="708"/>
                  </a:lnTo>
                  <a:lnTo>
                    <a:pt x="156" y="702"/>
                  </a:lnTo>
                  <a:lnTo>
                    <a:pt x="162" y="702"/>
                  </a:lnTo>
                  <a:lnTo>
                    <a:pt x="168" y="708"/>
                  </a:lnTo>
                  <a:lnTo>
                    <a:pt x="168" y="720"/>
                  </a:lnTo>
                  <a:lnTo>
                    <a:pt x="174" y="720"/>
                  </a:lnTo>
                  <a:lnTo>
                    <a:pt x="174" y="724"/>
                  </a:lnTo>
                  <a:lnTo>
                    <a:pt x="168" y="724"/>
                  </a:lnTo>
                  <a:lnTo>
                    <a:pt x="168" y="730"/>
                  </a:lnTo>
                  <a:lnTo>
                    <a:pt x="174" y="730"/>
                  </a:lnTo>
                  <a:lnTo>
                    <a:pt x="174" y="736"/>
                  </a:lnTo>
                  <a:lnTo>
                    <a:pt x="180" y="736"/>
                  </a:lnTo>
                  <a:lnTo>
                    <a:pt x="180" y="742"/>
                  </a:lnTo>
                  <a:lnTo>
                    <a:pt x="186" y="742"/>
                  </a:lnTo>
                  <a:lnTo>
                    <a:pt x="186" y="754"/>
                  </a:lnTo>
                  <a:lnTo>
                    <a:pt x="190" y="754"/>
                  </a:lnTo>
                  <a:lnTo>
                    <a:pt x="190" y="760"/>
                  </a:lnTo>
                  <a:lnTo>
                    <a:pt x="196" y="760"/>
                  </a:lnTo>
                  <a:lnTo>
                    <a:pt x="196" y="766"/>
                  </a:lnTo>
                  <a:lnTo>
                    <a:pt x="180" y="766"/>
                  </a:lnTo>
                  <a:lnTo>
                    <a:pt x="180" y="788"/>
                  </a:lnTo>
                  <a:lnTo>
                    <a:pt x="186" y="788"/>
                  </a:lnTo>
                  <a:lnTo>
                    <a:pt x="186" y="794"/>
                  </a:lnTo>
                  <a:lnTo>
                    <a:pt x="190" y="794"/>
                  </a:lnTo>
                  <a:lnTo>
                    <a:pt x="190" y="788"/>
                  </a:lnTo>
                  <a:lnTo>
                    <a:pt x="202" y="788"/>
                  </a:lnTo>
                  <a:lnTo>
                    <a:pt x="202" y="782"/>
                  </a:lnTo>
                  <a:lnTo>
                    <a:pt x="208" y="782"/>
                  </a:lnTo>
                  <a:lnTo>
                    <a:pt x="208" y="788"/>
                  </a:lnTo>
                  <a:lnTo>
                    <a:pt x="214" y="788"/>
                  </a:lnTo>
                  <a:lnTo>
                    <a:pt x="214" y="782"/>
                  </a:lnTo>
                  <a:lnTo>
                    <a:pt x="220" y="788"/>
                  </a:lnTo>
                  <a:lnTo>
                    <a:pt x="220" y="794"/>
                  </a:lnTo>
                  <a:lnTo>
                    <a:pt x="226" y="800"/>
                  </a:lnTo>
                  <a:lnTo>
                    <a:pt x="220" y="800"/>
                  </a:lnTo>
                  <a:lnTo>
                    <a:pt x="220" y="812"/>
                  </a:lnTo>
                  <a:lnTo>
                    <a:pt x="232" y="812"/>
                  </a:lnTo>
                  <a:lnTo>
                    <a:pt x="232" y="818"/>
                  </a:lnTo>
                  <a:lnTo>
                    <a:pt x="244" y="818"/>
                  </a:lnTo>
                  <a:lnTo>
                    <a:pt x="244" y="824"/>
                  </a:lnTo>
                  <a:lnTo>
                    <a:pt x="238" y="824"/>
                  </a:lnTo>
                  <a:lnTo>
                    <a:pt x="238" y="830"/>
                  </a:lnTo>
                  <a:lnTo>
                    <a:pt x="272" y="830"/>
                  </a:lnTo>
                  <a:lnTo>
                    <a:pt x="272" y="836"/>
                  </a:lnTo>
                  <a:lnTo>
                    <a:pt x="278" y="836"/>
                  </a:lnTo>
                  <a:lnTo>
                    <a:pt x="278" y="840"/>
                  </a:lnTo>
                  <a:lnTo>
                    <a:pt x="296" y="840"/>
                  </a:lnTo>
                  <a:lnTo>
                    <a:pt x="296" y="846"/>
                  </a:lnTo>
                  <a:lnTo>
                    <a:pt x="306" y="846"/>
                  </a:lnTo>
                  <a:lnTo>
                    <a:pt x="306" y="888"/>
                  </a:lnTo>
                  <a:lnTo>
                    <a:pt x="290" y="888"/>
                  </a:lnTo>
                  <a:lnTo>
                    <a:pt x="290" y="894"/>
                  </a:lnTo>
                  <a:lnTo>
                    <a:pt x="284" y="894"/>
                  </a:lnTo>
                  <a:lnTo>
                    <a:pt x="284" y="904"/>
                  </a:lnTo>
                  <a:lnTo>
                    <a:pt x="290" y="904"/>
                  </a:lnTo>
                  <a:lnTo>
                    <a:pt x="290" y="898"/>
                  </a:lnTo>
                  <a:lnTo>
                    <a:pt x="296" y="898"/>
                  </a:lnTo>
                  <a:lnTo>
                    <a:pt x="296" y="910"/>
                  </a:lnTo>
                  <a:lnTo>
                    <a:pt x="272" y="910"/>
                  </a:lnTo>
                  <a:lnTo>
                    <a:pt x="278" y="916"/>
                  </a:lnTo>
                  <a:lnTo>
                    <a:pt x="278" y="928"/>
                  </a:lnTo>
                  <a:lnTo>
                    <a:pt x="284" y="922"/>
                  </a:lnTo>
                  <a:lnTo>
                    <a:pt x="284" y="928"/>
                  </a:lnTo>
                  <a:lnTo>
                    <a:pt x="278" y="928"/>
                  </a:lnTo>
                  <a:lnTo>
                    <a:pt x="278" y="934"/>
                  </a:lnTo>
                  <a:lnTo>
                    <a:pt x="272" y="934"/>
                  </a:lnTo>
                  <a:lnTo>
                    <a:pt x="272" y="940"/>
                  </a:lnTo>
                  <a:lnTo>
                    <a:pt x="266" y="940"/>
                  </a:lnTo>
                  <a:lnTo>
                    <a:pt x="272" y="946"/>
                  </a:lnTo>
                  <a:lnTo>
                    <a:pt x="266" y="946"/>
                  </a:lnTo>
                  <a:lnTo>
                    <a:pt x="272" y="952"/>
                  </a:lnTo>
                  <a:lnTo>
                    <a:pt x="272" y="956"/>
                  </a:lnTo>
                  <a:lnTo>
                    <a:pt x="278" y="956"/>
                  </a:lnTo>
                  <a:lnTo>
                    <a:pt x="284" y="962"/>
                  </a:lnTo>
                  <a:lnTo>
                    <a:pt x="290" y="962"/>
                  </a:lnTo>
                  <a:lnTo>
                    <a:pt x="296" y="968"/>
                  </a:lnTo>
                  <a:lnTo>
                    <a:pt x="296" y="974"/>
                  </a:lnTo>
                  <a:lnTo>
                    <a:pt x="302" y="974"/>
                  </a:lnTo>
                  <a:lnTo>
                    <a:pt x="306" y="980"/>
                  </a:lnTo>
                  <a:lnTo>
                    <a:pt x="324" y="980"/>
                  </a:lnTo>
                  <a:lnTo>
                    <a:pt x="324" y="986"/>
                  </a:lnTo>
                  <a:lnTo>
                    <a:pt x="354" y="986"/>
                  </a:lnTo>
                  <a:lnTo>
                    <a:pt x="360" y="992"/>
                  </a:lnTo>
                  <a:lnTo>
                    <a:pt x="360" y="998"/>
                  </a:lnTo>
                  <a:lnTo>
                    <a:pt x="400" y="998"/>
                  </a:lnTo>
                  <a:lnTo>
                    <a:pt x="400" y="1004"/>
                  </a:lnTo>
                  <a:lnTo>
                    <a:pt x="394" y="1004"/>
                  </a:lnTo>
                  <a:lnTo>
                    <a:pt x="394" y="1010"/>
                  </a:lnTo>
                  <a:lnTo>
                    <a:pt x="406" y="1010"/>
                  </a:lnTo>
                  <a:lnTo>
                    <a:pt x="406" y="1014"/>
                  </a:lnTo>
                  <a:lnTo>
                    <a:pt x="412" y="1014"/>
                  </a:lnTo>
                  <a:lnTo>
                    <a:pt x="412" y="1020"/>
                  </a:lnTo>
                  <a:lnTo>
                    <a:pt x="418" y="1020"/>
                  </a:lnTo>
                  <a:lnTo>
                    <a:pt x="418" y="1026"/>
                  </a:lnTo>
                  <a:lnTo>
                    <a:pt x="428" y="1026"/>
                  </a:lnTo>
                  <a:lnTo>
                    <a:pt x="428" y="1020"/>
                  </a:lnTo>
                  <a:lnTo>
                    <a:pt x="440" y="1020"/>
                  </a:lnTo>
                  <a:lnTo>
                    <a:pt x="440" y="1010"/>
                  </a:lnTo>
                  <a:lnTo>
                    <a:pt x="446" y="1010"/>
                  </a:lnTo>
                  <a:lnTo>
                    <a:pt x="452" y="1004"/>
                  </a:lnTo>
                  <a:lnTo>
                    <a:pt x="458" y="998"/>
                  </a:lnTo>
                  <a:lnTo>
                    <a:pt x="452" y="992"/>
                  </a:lnTo>
                  <a:lnTo>
                    <a:pt x="452" y="980"/>
                  </a:lnTo>
                  <a:lnTo>
                    <a:pt x="446" y="974"/>
                  </a:lnTo>
                  <a:lnTo>
                    <a:pt x="446" y="962"/>
                  </a:lnTo>
                  <a:lnTo>
                    <a:pt x="440" y="956"/>
                  </a:lnTo>
                  <a:lnTo>
                    <a:pt x="440" y="946"/>
                  </a:lnTo>
                  <a:lnTo>
                    <a:pt x="446" y="946"/>
                  </a:lnTo>
                  <a:lnTo>
                    <a:pt x="452" y="940"/>
                  </a:lnTo>
                  <a:lnTo>
                    <a:pt x="452" y="934"/>
                  </a:lnTo>
                  <a:lnTo>
                    <a:pt x="464" y="934"/>
                  </a:lnTo>
                  <a:lnTo>
                    <a:pt x="464" y="928"/>
                  </a:lnTo>
                  <a:lnTo>
                    <a:pt x="458" y="928"/>
                  </a:lnTo>
                  <a:lnTo>
                    <a:pt x="446" y="916"/>
                  </a:lnTo>
                  <a:lnTo>
                    <a:pt x="440" y="916"/>
                  </a:lnTo>
                  <a:lnTo>
                    <a:pt x="440" y="910"/>
                  </a:lnTo>
                  <a:lnTo>
                    <a:pt x="446" y="910"/>
                  </a:lnTo>
                  <a:lnTo>
                    <a:pt x="440" y="904"/>
                  </a:lnTo>
                  <a:lnTo>
                    <a:pt x="440" y="898"/>
                  </a:lnTo>
                  <a:lnTo>
                    <a:pt x="434" y="894"/>
                  </a:lnTo>
                  <a:lnTo>
                    <a:pt x="434" y="888"/>
                  </a:lnTo>
                  <a:lnTo>
                    <a:pt x="418" y="888"/>
                  </a:lnTo>
                  <a:lnTo>
                    <a:pt x="418" y="876"/>
                  </a:lnTo>
                  <a:lnTo>
                    <a:pt x="412" y="876"/>
                  </a:lnTo>
                  <a:lnTo>
                    <a:pt x="406" y="870"/>
                  </a:lnTo>
                  <a:lnTo>
                    <a:pt x="412" y="870"/>
                  </a:lnTo>
                  <a:lnTo>
                    <a:pt x="412" y="840"/>
                  </a:lnTo>
                  <a:lnTo>
                    <a:pt x="422" y="840"/>
                  </a:lnTo>
                  <a:lnTo>
                    <a:pt x="422" y="836"/>
                  </a:lnTo>
                  <a:lnTo>
                    <a:pt x="418" y="836"/>
                  </a:lnTo>
                  <a:lnTo>
                    <a:pt x="422" y="830"/>
                  </a:lnTo>
                  <a:lnTo>
                    <a:pt x="428" y="830"/>
                  </a:lnTo>
                  <a:lnTo>
                    <a:pt x="428" y="836"/>
                  </a:lnTo>
                  <a:lnTo>
                    <a:pt x="434" y="836"/>
                  </a:lnTo>
                  <a:lnTo>
                    <a:pt x="434" y="840"/>
                  </a:lnTo>
                  <a:lnTo>
                    <a:pt x="440" y="846"/>
                  </a:lnTo>
                  <a:lnTo>
                    <a:pt x="440" y="840"/>
                  </a:lnTo>
                  <a:lnTo>
                    <a:pt x="446" y="840"/>
                  </a:lnTo>
                  <a:lnTo>
                    <a:pt x="446" y="836"/>
                  </a:lnTo>
                  <a:lnTo>
                    <a:pt x="440" y="836"/>
                  </a:lnTo>
                  <a:lnTo>
                    <a:pt x="440" y="824"/>
                  </a:lnTo>
                  <a:lnTo>
                    <a:pt x="446" y="824"/>
                  </a:lnTo>
                  <a:lnTo>
                    <a:pt x="446" y="818"/>
                  </a:lnTo>
                  <a:lnTo>
                    <a:pt x="452" y="818"/>
                  </a:lnTo>
                  <a:lnTo>
                    <a:pt x="458" y="812"/>
                  </a:lnTo>
                  <a:lnTo>
                    <a:pt x="464" y="812"/>
                  </a:lnTo>
                  <a:lnTo>
                    <a:pt x="464" y="806"/>
                  </a:lnTo>
                  <a:lnTo>
                    <a:pt x="474" y="806"/>
                  </a:lnTo>
                  <a:lnTo>
                    <a:pt x="474" y="800"/>
                  </a:lnTo>
                  <a:lnTo>
                    <a:pt x="480" y="800"/>
                  </a:lnTo>
                  <a:lnTo>
                    <a:pt x="480" y="806"/>
                  </a:lnTo>
                  <a:lnTo>
                    <a:pt x="486" y="806"/>
                  </a:lnTo>
                  <a:lnTo>
                    <a:pt x="486" y="800"/>
                  </a:lnTo>
                  <a:lnTo>
                    <a:pt x="498" y="800"/>
                  </a:lnTo>
                  <a:lnTo>
                    <a:pt x="498" y="806"/>
                  </a:lnTo>
                  <a:lnTo>
                    <a:pt x="510" y="806"/>
                  </a:lnTo>
                  <a:lnTo>
                    <a:pt x="516" y="812"/>
                  </a:lnTo>
                  <a:lnTo>
                    <a:pt x="522" y="812"/>
                  </a:lnTo>
                  <a:lnTo>
                    <a:pt x="522" y="818"/>
                  </a:lnTo>
                  <a:lnTo>
                    <a:pt x="538" y="818"/>
                  </a:lnTo>
                  <a:lnTo>
                    <a:pt x="538" y="824"/>
                  </a:lnTo>
                  <a:lnTo>
                    <a:pt x="544" y="824"/>
                  </a:lnTo>
                  <a:lnTo>
                    <a:pt x="544" y="830"/>
                  </a:lnTo>
                  <a:lnTo>
                    <a:pt x="550" y="824"/>
                  </a:lnTo>
                  <a:lnTo>
                    <a:pt x="550" y="818"/>
                  </a:lnTo>
                  <a:lnTo>
                    <a:pt x="574" y="818"/>
                  </a:lnTo>
                  <a:lnTo>
                    <a:pt x="574" y="812"/>
                  </a:lnTo>
                  <a:lnTo>
                    <a:pt x="580" y="818"/>
                  </a:lnTo>
                  <a:lnTo>
                    <a:pt x="586" y="818"/>
                  </a:lnTo>
                  <a:lnTo>
                    <a:pt x="586" y="812"/>
                  </a:lnTo>
                  <a:lnTo>
                    <a:pt x="590" y="812"/>
                  </a:lnTo>
                  <a:lnTo>
                    <a:pt x="590" y="818"/>
                  </a:lnTo>
                  <a:lnTo>
                    <a:pt x="596" y="824"/>
                  </a:lnTo>
                  <a:lnTo>
                    <a:pt x="602" y="824"/>
                  </a:lnTo>
                  <a:lnTo>
                    <a:pt x="602" y="830"/>
                  </a:lnTo>
                  <a:lnTo>
                    <a:pt x="608" y="830"/>
                  </a:lnTo>
                  <a:lnTo>
                    <a:pt x="608" y="818"/>
                  </a:lnTo>
                  <a:lnTo>
                    <a:pt x="614" y="818"/>
                  </a:lnTo>
                  <a:lnTo>
                    <a:pt x="614" y="824"/>
                  </a:lnTo>
                  <a:lnTo>
                    <a:pt x="626" y="824"/>
                  </a:lnTo>
                  <a:lnTo>
                    <a:pt x="632" y="818"/>
                  </a:lnTo>
                  <a:lnTo>
                    <a:pt x="638" y="812"/>
                  </a:lnTo>
                  <a:lnTo>
                    <a:pt x="638" y="806"/>
                  </a:lnTo>
                  <a:lnTo>
                    <a:pt x="620" y="806"/>
                  </a:lnTo>
                  <a:lnTo>
                    <a:pt x="614" y="800"/>
                  </a:lnTo>
                  <a:lnTo>
                    <a:pt x="614" y="794"/>
                  </a:lnTo>
                  <a:lnTo>
                    <a:pt x="620" y="794"/>
                  </a:lnTo>
                  <a:lnTo>
                    <a:pt x="626" y="788"/>
                  </a:lnTo>
                  <a:lnTo>
                    <a:pt x="626" y="772"/>
                  </a:lnTo>
                  <a:lnTo>
                    <a:pt x="644" y="772"/>
                  </a:lnTo>
                  <a:lnTo>
                    <a:pt x="644" y="766"/>
                  </a:lnTo>
                  <a:lnTo>
                    <a:pt x="626" y="766"/>
                  </a:lnTo>
                  <a:lnTo>
                    <a:pt x="626" y="748"/>
                  </a:lnTo>
                  <a:lnTo>
                    <a:pt x="654" y="748"/>
                  </a:lnTo>
                  <a:lnTo>
                    <a:pt x="654" y="742"/>
                  </a:lnTo>
                  <a:lnTo>
                    <a:pt x="690" y="742"/>
                  </a:lnTo>
                  <a:lnTo>
                    <a:pt x="690" y="730"/>
                  </a:lnTo>
                  <a:lnTo>
                    <a:pt x="696" y="730"/>
                  </a:lnTo>
                  <a:lnTo>
                    <a:pt x="696" y="736"/>
                  </a:lnTo>
                  <a:lnTo>
                    <a:pt x="702" y="736"/>
                  </a:lnTo>
                  <a:lnTo>
                    <a:pt x="702" y="730"/>
                  </a:lnTo>
                  <a:lnTo>
                    <a:pt x="730" y="730"/>
                  </a:lnTo>
                  <a:lnTo>
                    <a:pt x="736" y="724"/>
                  </a:lnTo>
                  <a:lnTo>
                    <a:pt x="736" y="720"/>
                  </a:lnTo>
                  <a:lnTo>
                    <a:pt x="742" y="720"/>
                  </a:lnTo>
                  <a:lnTo>
                    <a:pt x="742" y="714"/>
                  </a:lnTo>
                  <a:lnTo>
                    <a:pt x="748" y="720"/>
                  </a:lnTo>
                  <a:lnTo>
                    <a:pt x="748" y="714"/>
                  </a:lnTo>
                  <a:lnTo>
                    <a:pt x="760" y="714"/>
                  </a:lnTo>
                  <a:lnTo>
                    <a:pt x="760" y="720"/>
                  </a:lnTo>
                  <a:lnTo>
                    <a:pt x="770" y="720"/>
                  </a:lnTo>
                  <a:lnTo>
                    <a:pt x="770" y="714"/>
                  </a:lnTo>
                  <a:lnTo>
                    <a:pt x="776" y="714"/>
                  </a:lnTo>
                  <a:lnTo>
                    <a:pt x="776" y="730"/>
                  </a:lnTo>
                  <a:lnTo>
                    <a:pt x="782" y="730"/>
                  </a:lnTo>
                  <a:lnTo>
                    <a:pt x="782" y="742"/>
                  </a:lnTo>
                  <a:lnTo>
                    <a:pt x="812" y="742"/>
                  </a:lnTo>
                  <a:lnTo>
                    <a:pt x="812" y="748"/>
                  </a:lnTo>
                  <a:lnTo>
                    <a:pt x="822" y="748"/>
                  </a:lnTo>
                  <a:lnTo>
                    <a:pt x="822" y="754"/>
                  </a:lnTo>
                  <a:lnTo>
                    <a:pt x="828" y="754"/>
                  </a:lnTo>
                  <a:lnTo>
                    <a:pt x="828" y="760"/>
                  </a:lnTo>
                  <a:lnTo>
                    <a:pt x="834" y="754"/>
                  </a:lnTo>
                  <a:lnTo>
                    <a:pt x="840" y="754"/>
                  </a:lnTo>
                  <a:lnTo>
                    <a:pt x="846" y="748"/>
                  </a:lnTo>
                  <a:lnTo>
                    <a:pt x="846" y="742"/>
                  </a:lnTo>
                  <a:lnTo>
                    <a:pt x="858" y="742"/>
                  </a:lnTo>
                  <a:lnTo>
                    <a:pt x="858" y="748"/>
                  </a:lnTo>
                  <a:lnTo>
                    <a:pt x="864" y="754"/>
                  </a:lnTo>
                  <a:lnTo>
                    <a:pt x="870" y="754"/>
                  </a:lnTo>
                  <a:lnTo>
                    <a:pt x="876" y="760"/>
                  </a:lnTo>
                  <a:lnTo>
                    <a:pt x="880" y="766"/>
                  </a:lnTo>
                  <a:lnTo>
                    <a:pt x="886" y="778"/>
                  </a:lnTo>
                  <a:lnTo>
                    <a:pt x="892" y="778"/>
                  </a:lnTo>
                  <a:lnTo>
                    <a:pt x="892" y="782"/>
                  </a:lnTo>
                  <a:lnTo>
                    <a:pt x="898" y="782"/>
                  </a:lnTo>
                  <a:lnTo>
                    <a:pt x="898" y="788"/>
                  </a:lnTo>
                  <a:lnTo>
                    <a:pt x="904" y="800"/>
                  </a:lnTo>
                  <a:lnTo>
                    <a:pt x="910" y="806"/>
                  </a:lnTo>
                  <a:lnTo>
                    <a:pt x="910" y="818"/>
                  </a:lnTo>
                  <a:lnTo>
                    <a:pt x="922" y="818"/>
                  </a:lnTo>
                  <a:lnTo>
                    <a:pt x="922" y="806"/>
                  </a:lnTo>
                  <a:lnTo>
                    <a:pt x="928" y="812"/>
                  </a:lnTo>
                  <a:lnTo>
                    <a:pt x="934" y="812"/>
                  </a:lnTo>
                  <a:lnTo>
                    <a:pt x="934" y="824"/>
                  </a:lnTo>
                  <a:lnTo>
                    <a:pt x="938" y="824"/>
                  </a:lnTo>
                  <a:lnTo>
                    <a:pt x="938" y="818"/>
                  </a:lnTo>
                  <a:lnTo>
                    <a:pt x="944" y="818"/>
                  </a:lnTo>
                  <a:lnTo>
                    <a:pt x="944" y="824"/>
                  </a:lnTo>
                  <a:lnTo>
                    <a:pt x="950" y="818"/>
                  </a:lnTo>
                  <a:lnTo>
                    <a:pt x="950" y="824"/>
                  </a:lnTo>
                  <a:lnTo>
                    <a:pt x="956" y="818"/>
                  </a:lnTo>
                  <a:lnTo>
                    <a:pt x="974" y="818"/>
                  </a:lnTo>
                  <a:lnTo>
                    <a:pt x="974" y="824"/>
                  </a:lnTo>
                  <a:lnTo>
                    <a:pt x="980" y="830"/>
                  </a:lnTo>
                  <a:lnTo>
                    <a:pt x="980" y="836"/>
                  </a:lnTo>
                  <a:lnTo>
                    <a:pt x="992" y="836"/>
                  </a:lnTo>
                  <a:lnTo>
                    <a:pt x="992" y="846"/>
                  </a:lnTo>
                  <a:lnTo>
                    <a:pt x="1002" y="846"/>
                  </a:lnTo>
                  <a:lnTo>
                    <a:pt x="1008" y="852"/>
                  </a:lnTo>
                  <a:lnTo>
                    <a:pt x="1008" y="846"/>
                  </a:lnTo>
                  <a:lnTo>
                    <a:pt x="1020" y="846"/>
                  </a:lnTo>
                  <a:lnTo>
                    <a:pt x="1020" y="858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50" y="852"/>
                  </a:lnTo>
                  <a:lnTo>
                    <a:pt x="1050" y="846"/>
                  </a:lnTo>
                  <a:lnTo>
                    <a:pt x="1060" y="846"/>
                  </a:lnTo>
                  <a:lnTo>
                    <a:pt x="1060" y="840"/>
                  </a:lnTo>
                  <a:lnTo>
                    <a:pt x="1066" y="840"/>
                  </a:lnTo>
                  <a:lnTo>
                    <a:pt x="1066" y="836"/>
                  </a:lnTo>
                  <a:lnTo>
                    <a:pt x="1072" y="836"/>
                  </a:lnTo>
                  <a:lnTo>
                    <a:pt x="1072" y="830"/>
                  </a:lnTo>
                  <a:lnTo>
                    <a:pt x="1090" y="830"/>
                  </a:lnTo>
                  <a:lnTo>
                    <a:pt x="1090" y="824"/>
                  </a:lnTo>
                  <a:lnTo>
                    <a:pt x="1102" y="824"/>
                  </a:lnTo>
                  <a:lnTo>
                    <a:pt x="1102" y="818"/>
                  </a:lnTo>
                  <a:lnTo>
                    <a:pt x="1108" y="824"/>
                  </a:lnTo>
                  <a:lnTo>
                    <a:pt x="1108" y="818"/>
                  </a:lnTo>
                  <a:lnTo>
                    <a:pt x="1112" y="818"/>
                  </a:lnTo>
                  <a:lnTo>
                    <a:pt x="1112" y="824"/>
                  </a:lnTo>
                  <a:lnTo>
                    <a:pt x="1130" y="824"/>
                  </a:lnTo>
                  <a:lnTo>
                    <a:pt x="1130" y="836"/>
                  </a:lnTo>
                  <a:lnTo>
                    <a:pt x="1136" y="836"/>
                  </a:lnTo>
                  <a:lnTo>
                    <a:pt x="1136" y="840"/>
                  </a:lnTo>
                  <a:lnTo>
                    <a:pt x="1142" y="836"/>
                  </a:lnTo>
                  <a:lnTo>
                    <a:pt x="1142" y="840"/>
                  </a:lnTo>
                  <a:lnTo>
                    <a:pt x="1170" y="840"/>
                  </a:lnTo>
                  <a:lnTo>
                    <a:pt x="1176" y="846"/>
                  </a:lnTo>
                  <a:lnTo>
                    <a:pt x="1182" y="846"/>
                  </a:lnTo>
                  <a:lnTo>
                    <a:pt x="1182" y="840"/>
                  </a:lnTo>
                  <a:lnTo>
                    <a:pt x="1188" y="840"/>
                  </a:lnTo>
                  <a:lnTo>
                    <a:pt x="1188" y="818"/>
                  </a:lnTo>
                  <a:lnTo>
                    <a:pt x="1182" y="818"/>
                  </a:lnTo>
                  <a:lnTo>
                    <a:pt x="1188" y="812"/>
                  </a:lnTo>
                  <a:lnTo>
                    <a:pt x="1188" y="800"/>
                  </a:lnTo>
                  <a:lnTo>
                    <a:pt x="1200" y="800"/>
                  </a:lnTo>
                  <a:lnTo>
                    <a:pt x="1200" y="794"/>
                  </a:lnTo>
                  <a:lnTo>
                    <a:pt x="1218" y="794"/>
                  </a:lnTo>
                  <a:lnTo>
                    <a:pt x="1218" y="800"/>
                  </a:lnTo>
                  <a:lnTo>
                    <a:pt x="1228" y="800"/>
                  </a:lnTo>
                  <a:lnTo>
                    <a:pt x="1228" y="806"/>
                  </a:lnTo>
                  <a:lnTo>
                    <a:pt x="1252" y="806"/>
                  </a:lnTo>
                  <a:lnTo>
                    <a:pt x="1252" y="830"/>
                  </a:lnTo>
                  <a:lnTo>
                    <a:pt x="1270" y="830"/>
                  </a:lnTo>
                  <a:lnTo>
                    <a:pt x="1270" y="836"/>
                  </a:lnTo>
                  <a:lnTo>
                    <a:pt x="1282" y="836"/>
                  </a:lnTo>
                  <a:lnTo>
                    <a:pt x="1282" y="830"/>
                  </a:lnTo>
                  <a:lnTo>
                    <a:pt x="1322" y="830"/>
                  </a:lnTo>
                  <a:lnTo>
                    <a:pt x="1322" y="836"/>
                  </a:lnTo>
                  <a:lnTo>
                    <a:pt x="1328" y="840"/>
                  </a:lnTo>
                  <a:lnTo>
                    <a:pt x="1340" y="840"/>
                  </a:lnTo>
                  <a:lnTo>
                    <a:pt x="1340" y="846"/>
                  </a:lnTo>
                  <a:lnTo>
                    <a:pt x="1344" y="852"/>
                  </a:lnTo>
                  <a:lnTo>
                    <a:pt x="1356" y="852"/>
                  </a:lnTo>
                  <a:lnTo>
                    <a:pt x="1362" y="858"/>
                  </a:lnTo>
                  <a:lnTo>
                    <a:pt x="1386" y="858"/>
                  </a:lnTo>
                  <a:lnTo>
                    <a:pt x="1386" y="852"/>
                  </a:lnTo>
                  <a:lnTo>
                    <a:pt x="1402" y="852"/>
                  </a:lnTo>
                  <a:lnTo>
                    <a:pt x="1408" y="846"/>
                  </a:lnTo>
                  <a:lnTo>
                    <a:pt x="1420" y="846"/>
                  </a:lnTo>
                  <a:lnTo>
                    <a:pt x="1420" y="840"/>
                  </a:lnTo>
                  <a:lnTo>
                    <a:pt x="1426" y="836"/>
                  </a:lnTo>
                  <a:lnTo>
                    <a:pt x="1432" y="836"/>
                  </a:lnTo>
                  <a:lnTo>
                    <a:pt x="1432" y="830"/>
                  </a:lnTo>
                  <a:lnTo>
                    <a:pt x="1444" y="830"/>
                  </a:lnTo>
                  <a:lnTo>
                    <a:pt x="1444" y="836"/>
                  </a:lnTo>
                  <a:lnTo>
                    <a:pt x="1450" y="836"/>
                  </a:lnTo>
                  <a:lnTo>
                    <a:pt x="1450" y="840"/>
                  </a:lnTo>
                  <a:lnTo>
                    <a:pt x="1472" y="840"/>
                  </a:lnTo>
                  <a:lnTo>
                    <a:pt x="1472" y="846"/>
                  </a:lnTo>
                  <a:lnTo>
                    <a:pt x="1502" y="846"/>
                  </a:lnTo>
                  <a:lnTo>
                    <a:pt x="1502" y="840"/>
                  </a:lnTo>
                  <a:lnTo>
                    <a:pt x="1508" y="840"/>
                  </a:lnTo>
                  <a:lnTo>
                    <a:pt x="1512" y="836"/>
                  </a:lnTo>
                  <a:lnTo>
                    <a:pt x="1512" y="818"/>
                  </a:lnTo>
                  <a:lnTo>
                    <a:pt x="1518" y="812"/>
                  </a:lnTo>
                  <a:lnTo>
                    <a:pt x="1518" y="806"/>
                  </a:lnTo>
                  <a:lnTo>
                    <a:pt x="1524" y="806"/>
                  </a:lnTo>
                  <a:lnTo>
                    <a:pt x="1524" y="794"/>
                  </a:lnTo>
                  <a:lnTo>
                    <a:pt x="1530" y="794"/>
                  </a:lnTo>
                  <a:lnTo>
                    <a:pt x="1530" y="778"/>
                  </a:lnTo>
                  <a:lnTo>
                    <a:pt x="1524" y="778"/>
                  </a:lnTo>
                  <a:lnTo>
                    <a:pt x="1524" y="772"/>
                  </a:lnTo>
                  <a:lnTo>
                    <a:pt x="1530" y="766"/>
                  </a:lnTo>
                  <a:lnTo>
                    <a:pt x="1548" y="766"/>
                  </a:lnTo>
                  <a:lnTo>
                    <a:pt x="1548" y="760"/>
                  </a:lnTo>
                  <a:lnTo>
                    <a:pt x="1582" y="760"/>
                  </a:lnTo>
                  <a:lnTo>
                    <a:pt x="1582" y="766"/>
                  </a:lnTo>
                  <a:lnTo>
                    <a:pt x="1606" y="766"/>
                  </a:lnTo>
                  <a:lnTo>
                    <a:pt x="1606" y="772"/>
                  </a:lnTo>
                  <a:lnTo>
                    <a:pt x="1612" y="778"/>
                  </a:lnTo>
                  <a:lnTo>
                    <a:pt x="1612" y="788"/>
                  </a:lnTo>
                  <a:lnTo>
                    <a:pt x="1618" y="788"/>
                  </a:lnTo>
                  <a:lnTo>
                    <a:pt x="1618" y="800"/>
                  </a:lnTo>
                  <a:lnTo>
                    <a:pt x="1624" y="800"/>
                  </a:lnTo>
                  <a:lnTo>
                    <a:pt x="1624" y="818"/>
                  </a:lnTo>
                  <a:lnTo>
                    <a:pt x="1628" y="818"/>
                  </a:lnTo>
                  <a:lnTo>
                    <a:pt x="1628" y="830"/>
                  </a:lnTo>
                  <a:lnTo>
                    <a:pt x="1634" y="830"/>
                  </a:lnTo>
                  <a:lnTo>
                    <a:pt x="1634" y="846"/>
                  </a:lnTo>
                  <a:lnTo>
                    <a:pt x="1652" y="846"/>
                  </a:lnTo>
                  <a:lnTo>
                    <a:pt x="1652" y="852"/>
                  </a:lnTo>
                  <a:lnTo>
                    <a:pt x="1664" y="852"/>
                  </a:lnTo>
                  <a:lnTo>
                    <a:pt x="1664" y="858"/>
                  </a:lnTo>
                  <a:lnTo>
                    <a:pt x="1670" y="858"/>
                  </a:lnTo>
                  <a:lnTo>
                    <a:pt x="1676" y="864"/>
                  </a:lnTo>
                  <a:lnTo>
                    <a:pt x="1682" y="864"/>
                  </a:lnTo>
                  <a:lnTo>
                    <a:pt x="1682" y="882"/>
                  </a:lnTo>
                  <a:lnTo>
                    <a:pt x="1686" y="882"/>
                  </a:lnTo>
                  <a:lnTo>
                    <a:pt x="1686" y="888"/>
                  </a:lnTo>
                  <a:lnTo>
                    <a:pt x="1692" y="888"/>
                  </a:lnTo>
                  <a:lnTo>
                    <a:pt x="1692" y="894"/>
                  </a:lnTo>
                  <a:lnTo>
                    <a:pt x="1704" y="894"/>
                  </a:lnTo>
                  <a:lnTo>
                    <a:pt x="1704" y="888"/>
                  </a:lnTo>
                  <a:lnTo>
                    <a:pt x="1710" y="888"/>
                  </a:lnTo>
                  <a:lnTo>
                    <a:pt x="1710" y="882"/>
                  </a:lnTo>
                  <a:lnTo>
                    <a:pt x="1728" y="882"/>
                  </a:lnTo>
                  <a:lnTo>
                    <a:pt x="1728" y="876"/>
                  </a:lnTo>
                  <a:lnTo>
                    <a:pt x="1740" y="876"/>
                  </a:lnTo>
                  <a:lnTo>
                    <a:pt x="1740" y="898"/>
                  </a:lnTo>
                  <a:lnTo>
                    <a:pt x="1734" y="898"/>
                  </a:lnTo>
                  <a:lnTo>
                    <a:pt x="1734" y="910"/>
                  </a:lnTo>
                  <a:lnTo>
                    <a:pt x="1728" y="910"/>
                  </a:lnTo>
                  <a:lnTo>
                    <a:pt x="1728" y="934"/>
                  </a:lnTo>
                  <a:lnTo>
                    <a:pt x="1716" y="934"/>
                  </a:lnTo>
                  <a:lnTo>
                    <a:pt x="1716" y="946"/>
                  </a:lnTo>
                  <a:lnTo>
                    <a:pt x="1704" y="946"/>
                  </a:lnTo>
                  <a:lnTo>
                    <a:pt x="1704" y="940"/>
                  </a:lnTo>
                  <a:lnTo>
                    <a:pt x="1698" y="940"/>
                  </a:lnTo>
                  <a:lnTo>
                    <a:pt x="1698" y="946"/>
                  </a:lnTo>
                  <a:lnTo>
                    <a:pt x="1686" y="946"/>
                  </a:lnTo>
                  <a:lnTo>
                    <a:pt x="1686" y="992"/>
                  </a:lnTo>
                  <a:lnTo>
                    <a:pt x="1682" y="992"/>
                  </a:lnTo>
                  <a:lnTo>
                    <a:pt x="1682" y="1004"/>
                  </a:lnTo>
                  <a:lnTo>
                    <a:pt x="1686" y="998"/>
                  </a:lnTo>
                  <a:lnTo>
                    <a:pt x="1692" y="992"/>
                  </a:lnTo>
                  <a:lnTo>
                    <a:pt x="1692" y="986"/>
                  </a:lnTo>
                  <a:lnTo>
                    <a:pt x="1704" y="986"/>
                  </a:lnTo>
                  <a:lnTo>
                    <a:pt x="1704" y="992"/>
                  </a:lnTo>
                  <a:lnTo>
                    <a:pt x="1710" y="992"/>
                  </a:lnTo>
                  <a:lnTo>
                    <a:pt x="1710" y="998"/>
                  </a:lnTo>
                  <a:lnTo>
                    <a:pt x="1716" y="992"/>
                  </a:lnTo>
                  <a:lnTo>
                    <a:pt x="1716" y="998"/>
                  </a:lnTo>
                  <a:lnTo>
                    <a:pt x="1728" y="998"/>
                  </a:lnTo>
                  <a:lnTo>
                    <a:pt x="1728" y="992"/>
                  </a:lnTo>
                  <a:lnTo>
                    <a:pt x="1734" y="992"/>
                  </a:lnTo>
                  <a:lnTo>
                    <a:pt x="1734" y="986"/>
                  </a:lnTo>
                  <a:lnTo>
                    <a:pt x="1744" y="986"/>
                  </a:lnTo>
                  <a:lnTo>
                    <a:pt x="1744" y="980"/>
                  </a:lnTo>
                  <a:lnTo>
                    <a:pt x="1750" y="980"/>
                  </a:lnTo>
                  <a:lnTo>
                    <a:pt x="1750" y="974"/>
                  </a:lnTo>
                  <a:lnTo>
                    <a:pt x="1756" y="974"/>
                  </a:lnTo>
                  <a:lnTo>
                    <a:pt x="1756" y="962"/>
                  </a:lnTo>
                  <a:lnTo>
                    <a:pt x="1768" y="962"/>
                  </a:lnTo>
                  <a:lnTo>
                    <a:pt x="1768" y="946"/>
                  </a:lnTo>
                  <a:lnTo>
                    <a:pt x="1774" y="946"/>
                  </a:lnTo>
                  <a:lnTo>
                    <a:pt x="1780" y="940"/>
                  </a:lnTo>
                  <a:lnTo>
                    <a:pt x="1780" y="934"/>
                  </a:lnTo>
                  <a:lnTo>
                    <a:pt x="1792" y="934"/>
                  </a:lnTo>
                  <a:lnTo>
                    <a:pt x="1792" y="916"/>
                  </a:lnTo>
                  <a:lnTo>
                    <a:pt x="1798" y="916"/>
                  </a:lnTo>
                  <a:lnTo>
                    <a:pt x="1798" y="910"/>
                  </a:lnTo>
                  <a:lnTo>
                    <a:pt x="1802" y="904"/>
                  </a:lnTo>
                  <a:lnTo>
                    <a:pt x="1802" y="898"/>
                  </a:lnTo>
                  <a:lnTo>
                    <a:pt x="1808" y="898"/>
                  </a:lnTo>
                  <a:lnTo>
                    <a:pt x="1808" y="888"/>
                  </a:lnTo>
                  <a:lnTo>
                    <a:pt x="1814" y="888"/>
                  </a:lnTo>
                  <a:lnTo>
                    <a:pt x="1814" y="882"/>
                  </a:lnTo>
                  <a:lnTo>
                    <a:pt x="1820" y="882"/>
                  </a:lnTo>
                  <a:lnTo>
                    <a:pt x="1820" y="876"/>
                  </a:lnTo>
                  <a:lnTo>
                    <a:pt x="1826" y="870"/>
                  </a:lnTo>
                  <a:lnTo>
                    <a:pt x="1826" y="864"/>
                  </a:lnTo>
                  <a:lnTo>
                    <a:pt x="1832" y="864"/>
                  </a:lnTo>
                  <a:lnTo>
                    <a:pt x="1832" y="806"/>
                  </a:lnTo>
                  <a:lnTo>
                    <a:pt x="1838" y="806"/>
                  </a:lnTo>
                  <a:lnTo>
                    <a:pt x="1838" y="800"/>
                  </a:lnTo>
                  <a:lnTo>
                    <a:pt x="1844" y="800"/>
                  </a:lnTo>
                  <a:lnTo>
                    <a:pt x="1844" y="778"/>
                  </a:lnTo>
                  <a:lnTo>
                    <a:pt x="1838" y="772"/>
                  </a:lnTo>
                  <a:lnTo>
                    <a:pt x="1832" y="766"/>
                  </a:lnTo>
                  <a:lnTo>
                    <a:pt x="1838" y="766"/>
                  </a:lnTo>
                  <a:lnTo>
                    <a:pt x="1844" y="772"/>
                  </a:lnTo>
                  <a:lnTo>
                    <a:pt x="1844" y="766"/>
                  </a:lnTo>
                  <a:lnTo>
                    <a:pt x="1838" y="760"/>
                  </a:lnTo>
                  <a:lnTo>
                    <a:pt x="1832" y="760"/>
                  </a:lnTo>
                  <a:lnTo>
                    <a:pt x="1832" y="754"/>
                  </a:lnTo>
                  <a:lnTo>
                    <a:pt x="1826" y="754"/>
                  </a:lnTo>
                  <a:lnTo>
                    <a:pt x="1826" y="742"/>
                  </a:lnTo>
                  <a:lnTo>
                    <a:pt x="1808" y="742"/>
                  </a:lnTo>
                  <a:lnTo>
                    <a:pt x="1808" y="748"/>
                  </a:lnTo>
                  <a:lnTo>
                    <a:pt x="1802" y="754"/>
                  </a:lnTo>
                  <a:lnTo>
                    <a:pt x="1802" y="760"/>
                  </a:lnTo>
                  <a:lnTo>
                    <a:pt x="1798" y="760"/>
                  </a:lnTo>
                  <a:lnTo>
                    <a:pt x="1798" y="754"/>
                  </a:lnTo>
                  <a:lnTo>
                    <a:pt x="1792" y="754"/>
                  </a:lnTo>
                  <a:lnTo>
                    <a:pt x="1792" y="760"/>
                  </a:lnTo>
                  <a:lnTo>
                    <a:pt x="1780" y="760"/>
                  </a:lnTo>
                  <a:lnTo>
                    <a:pt x="1780" y="754"/>
                  </a:lnTo>
                  <a:lnTo>
                    <a:pt x="1774" y="754"/>
                  </a:lnTo>
                  <a:lnTo>
                    <a:pt x="1774" y="730"/>
                  </a:lnTo>
                  <a:lnTo>
                    <a:pt x="1768" y="736"/>
                  </a:lnTo>
                  <a:lnTo>
                    <a:pt x="1768" y="730"/>
                  </a:lnTo>
                  <a:lnTo>
                    <a:pt x="1762" y="736"/>
                  </a:lnTo>
                  <a:lnTo>
                    <a:pt x="1756" y="736"/>
                  </a:lnTo>
                  <a:lnTo>
                    <a:pt x="1756" y="730"/>
                  </a:lnTo>
                  <a:lnTo>
                    <a:pt x="1750" y="730"/>
                  </a:lnTo>
                  <a:lnTo>
                    <a:pt x="1750" y="724"/>
                  </a:lnTo>
                  <a:lnTo>
                    <a:pt x="1756" y="724"/>
                  </a:lnTo>
                  <a:lnTo>
                    <a:pt x="1756" y="720"/>
                  </a:lnTo>
                  <a:lnTo>
                    <a:pt x="1762" y="720"/>
                  </a:lnTo>
                  <a:lnTo>
                    <a:pt x="1762" y="714"/>
                  </a:lnTo>
                  <a:lnTo>
                    <a:pt x="1768" y="714"/>
                  </a:lnTo>
                  <a:lnTo>
                    <a:pt x="1774" y="708"/>
                  </a:lnTo>
                  <a:lnTo>
                    <a:pt x="1780" y="708"/>
                  </a:lnTo>
                  <a:lnTo>
                    <a:pt x="1780" y="702"/>
                  </a:lnTo>
                  <a:lnTo>
                    <a:pt x="1786" y="702"/>
                  </a:lnTo>
                  <a:lnTo>
                    <a:pt x="1792" y="696"/>
                  </a:lnTo>
                  <a:lnTo>
                    <a:pt x="1792" y="690"/>
                  </a:lnTo>
                  <a:lnTo>
                    <a:pt x="1798" y="690"/>
                  </a:lnTo>
                  <a:lnTo>
                    <a:pt x="1798" y="684"/>
                  </a:lnTo>
                  <a:lnTo>
                    <a:pt x="1802" y="678"/>
                  </a:lnTo>
                  <a:lnTo>
                    <a:pt x="1808" y="678"/>
                  </a:lnTo>
                  <a:lnTo>
                    <a:pt x="1808" y="672"/>
                  </a:lnTo>
                  <a:lnTo>
                    <a:pt x="1814" y="672"/>
                  </a:lnTo>
                  <a:lnTo>
                    <a:pt x="1814" y="666"/>
                  </a:lnTo>
                  <a:lnTo>
                    <a:pt x="1820" y="666"/>
                  </a:lnTo>
                  <a:lnTo>
                    <a:pt x="1820" y="662"/>
                  </a:lnTo>
                  <a:lnTo>
                    <a:pt x="1832" y="662"/>
                  </a:lnTo>
                  <a:lnTo>
                    <a:pt x="1832" y="650"/>
                  </a:lnTo>
                  <a:lnTo>
                    <a:pt x="1838" y="644"/>
                  </a:lnTo>
                  <a:lnTo>
                    <a:pt x="1844" y="644"/>
                  </a:lnTo>
                  <a:lnTo>
                    <a:pt x="1844" y="638"/>
                  </a:lnTo>
                  <a:lnTo>
                    <a:pt x="1850" y="638"/>
                  </a:lnTo>
                  <a:lnTo>
                    <a:pt x="1850" y="632"/>
                  </a:lnTo>
                  <a:lnTo>
                    <a:pt x="1856" y="632"/>
                  </a:lnTo>
                  <a:lnTo>
                    <a:pt x="1856" y="626"/>
                  </a:lnTo>
                  <a:lnTo>
                    <a:pt x="1872" y="626"/>
                  </a:lnTo>
                  <a:lnTo>
                    <a:pt x="1872" y="620"/>
                  </a:lnTo>
                  <a:lnTo>
                    <a:pt x="1914" y="620"/>
                  </a:lnTo>
                  <a:lnTo>
                    <a:pt x="1908" y="626"/>
                  </a:lnTo>
                  <a:lnTo>
                    <a:pt x="1918" y="626"/>
                  </a:lnTo>
                  <a:lnTo>
                    <a:pt x="1918" y="620"/>
                  </a:lnTo>
                  <a:lnTo>
                    <a:pt x="1930" y="620"/>
                  </a:lnTo>
                  <a:lnTo>
                    <a:pt x="1930" y="626"/>
                  </a:lnTo>
                  <a:lnTo>
                    <a:pt x="1942" y="626"/>
                  </a:lnTo>
                  <a:lnTo>
                    <a:pt x="1942" y="620"/>
                  </a:lnTo>
                  <a:lnTo>
                    <a:pt x="1948" y="620"/>
                  </a:lnTo>
                  <a:lnTo>
                    <a:pt x="1948" y="626"/>
                  </a:lnTo>
                  <a:lnTo>
                    <a:pt x="1960" y="626"/>
                  </a:lnTo>
                  <a:lnTo>
                    <a:pt x="1960" y="620"/>
                  </a:lnTo>
                  <a:lnTo>
                    <a:pt x="1954" y="620"/>
                  </a:lnTo>
                  <a:lnTo>
                    <a:pt x="1960" y="614"/>
                  </a:lnTo>
                  <a:lnTo>
                    <a:pt x="1982" y="614"/>
                  </a:lnTo>
                  <a:lnTo>
                    <a:pt x="1982" y="620"/>
                  </a:lnTo>
                  <a:lnTo>
                    <a:pt x="1988" y="620"/>
                  </a:lnTo>
                  <a:lnTo>
                    <a:pt x="1988" y="614"/>
                  </a:lnTo>
                  <a:lnTo>
                    <a:pt x="1994" y="614"/>
                  </a:lnTo>
                  <a:lnTo>
                    <a:pt x="1994" y="620"/>
                  </a:lnTo>
                  <a:lnTo>
                    <a:pt x="2000" y="620"/>
                  </a:lnTo>
                  <a:lnTo>
                    <a:pt x="2000" y="626"/>
                  </a:lnTo>
                  <a:lnTo>
                    <a:pt x="1994" y="626"/>
                  </a:lnTo>
                  <a:lnTo>
                    <a:pt x="1994" y="632"/>
                  </a:lnTo>
                  <a:lnTo>
                    <a:pt x="2006" y="632"/>
                  </a:lnTo>
                  <a:lnTo>
                    <a:pt x="2012" y="626"/>
                  </a:lnTo>
                  <a:lnTo>
                    <a:pt x="2012" y="632"/>
                  </a:lnTo>
                  <a:lnTo>
                    <a:pt x="2018" y="632"/>
                  </a:lnTo>
                  <a:lnTo>
                    <a:pt x="2024" y="626"/>
                  </a:lnTo>
                  <a:lnTo>
                    <a:pt x="2052" y="626"/>
                  </a:lnTo>
                  <a:lnTo>
                    <a:pt x="2052" y="620"/>
                  </a:lnTo>
                  <a:lnTo>
                    <a:pt x="2046" y="620"/>
                  </a:lnTo>
                  <a:lnTo>
                    <a:pt x="2046" y="614"/>
                  </a:lnTo>
                  <a:lnTo>
                    <a:pt x="2040" y="614"/>
                  </a:lnTo>
                  <a:lnTo>
                    <a:pt x="2040" y="620"/>
                  </a:lnTo>
                  <a:lnTo>
                    <a:pt x="2034" y="620"/>
                  </a:lnTo>
                  <a:lnTo>
                    <a:pt x="2034" y="608"/>
                  </a:lnTo>
                  <a:lnTo>
                    <a:pt x="2040" y="608"/>
                  </a:lnTo>
                  <a:lnTo>
                    <a:pt x="2040" y="604"/>
                  </a:lnTo>
                  <a:lnTo>
                    <a:pt x="2046" y="604"/>
                  </a:lnTo>
                  <a:lnTo>
                    <a:pt x="2046" y="598"/>
                  </a:lnTo>
                  <a:lnTo>
                    <a:pt x="2052" y="598"/>
                  </a:lnTo>
                  <a:lnTo>
                    <a:pt x="2058" y="592"/>
                  </a:lnTo>
                  <a:lnTo>
                    <a:pt x="2058" y="586"/>
                  </a:lnTo>
                  <a:lnTo>
                    <a:pt x="2064" y="586"/>
                  </a:lnTo>
                  <a:lnTo>
                    <a:pt x="2064" y="580"/>
                  </a:lnTo>
                  <a:lnTo>
                    <a:pt x="2070" y="574"/>
                  </a:lnTo>
                  <a:lnTo>
                    <a:pt x="2076" y="574"/>
                  </a:lnTo>
                  <a:lnTo>
                    <a:pt x="2076" y="568"/>
                  </a:lnTo>
                  <a:lnTo>
                    <a:pt x="2082" y="568"/>
                  </a:lnTo>
                  <a:lnTo>
                    <a:pt x="2082" y="562"/>
                  </a:lnTo>
                  <a:lnTo>
                    <a:pt x="2128" y="562"/>
                  </a:lnTo>
                  <a:lnTo>
                    <a:pt x="2128" y="556"/>
                  </a:lnTo>
                  <a:lnTo>
                    <a:pt x="2134" y="556"/>
                  </a:lnTo>
                  <a:lnTo>
                    <a:pt x="2134" y="562"/>
                  </a:lnTo>
                  <a:lnTo>
                    <a:pt x="2128" y="568"/>
                  </a:lnTo>
                  <a:lnTo>
                    <a:pt x="2128" y="580"/>
                  </a:lnTo>
                  <a:lnTo>
                    <a:pt x="2134" y="580"/>
                  </a:lnTo>
                  <a:lnTo>
                    <a:pt x="2128" y="586"/>
                  </a:lnTo>
                  <a:lnTo>
                    <a:pt x="2140" y="586"/>
                  </a:lnTo>
                  <a:lnTo>
                    <a:pt x="2140" y="580"/>
                  </a:lnTo>
                  <a:lnTo>
                    <a:pt x="2146" y="580"/>
                  </a:lnTo>
                  <a:lnTo>
                    <a:pt x="2150" y="574"/>
                  </a:lnTo>
                  <a:lnTo>
                    <a:pt x="2156" y="574"/>
                  </a:lnTo>
                  <a:lnTo>
                    <a:pt x="2162" y="568"/>
                  </a:lnTo>
                  <a:lnTo>
                    <a:pt x="2174" y="568"/>
                  </a:lnTo>
                  <a:lnTo>
                    <a:pt x="2174" y="562"/>
                  </a:lnTo>
                  <a:lnTo>
                    <a:pt x="2168" y="562"/>
                  </a:lnTo>
                  <a:lnTo>
                    <a:pt x="2174" y="556"/>
                  </a:lnTo>
                  <a:lnTo>
                    <a:pt x="2174" y="546"/>
                  </a:lnTo>
                  <a:lnTo>
                    <a:pt x="2180" y="546"/>
                  </a:lnTo>
                  <a:lnTo>
                    <a:pt x="2180" y="540"/>
                  </a:lnTo>
                  <a:lnTo>
                    <a:pt x="2198" y="540"/>
                  </a:lnTo>
                  <a:lnTo>
                    <a:pt x="2198" y="546"/>
                  </a:lnTo>
                  <a:lnTo>
                    <a:pt x="2192" y="546"/>
                  </a:lnTo>
                  <a:lnTo>
                    <a:pt x="2192" y="562"/>
                  </a:lnTo>
                  <a:lnTo>
                    <a:pt x="2186" y="562"/>
                  </a:lnTo>
                  <a:lnTo>
                    <a:pt x="2180" y="574"/>
                  </a:lnTo>
                  <a:lnTo>
                    <a:pt x="2180" y="586"/>
                  </a:lnTo>
                  <a:lnTo>
                    <a:pt x="2168" y="586"/>
                  </a:lnTo>
                  <a:lnTo>
                    <a:pt x="2162" y="592"/>
                  </a:lnTo>
                  <a:lnTo>
                    <a:pt x="2156" y="592"/>
                  </a:lnTo>
                  <a:lnTo>
                    <a:pt x="2156" y="598"/>
                  </a:lnTo>
                  <a:lnTo>
                    <a:pt x="2150" y="598"/>
                  </a:lnTo>
                  <a:lnTo>
                    <a:pt x="2150" y="604"/>
                  </a:lnTo>
                  <a:lnTo>
                    <a:pt x="2146" y="608"/>
                  </a:lnTo>
                  <a:lnTo>
                    <a:pt x="2140" y="614"/>
                  </a:lnTo>
                  <a:lnTo>
                    <a:pt x="2134" y="614"/>
                  </a:lnTo>
                  <a:lnTo>
                    <a:pt x="2134" y="620"/>
                  </a:lnTo>
                  <a:lnTo>
                    <a:pt x="2128" y="620"/>
                  </a:lnTo>
                  <a:lnTo>
                    <a:pt x="2128" y="626"/>
                  </a:lnTo>
                  <a:lnTo>
                    <a:pt x="2122" y="626"/>
                  </a:lnTo>
                  <a:lnTo>
                    <a:pt x="2122" y="632"/>
                  </a:lnTo>
                  <a:lnTo>
                    <a:pt x="2116" y="638"/>
                  </a:lnTo>
                  <a:lnTo>
                    <a:pt x="2110" y="638"/>
                  </a:lnTo>
                  <a:lnTo>
                    <a:pt x="2110" y="644"/>
                  </a:lnTo>
                  <a:lnTo>
                    <a:pt x="2104" y="650"/>
                  </a:lnTo>
                  <a:lnTo>
                    <a:pt x="2098" y="650"/>
                  </a:lnTo>
                  <a:lnTo>
                    <a:pt x="2098" y="656"/>
                  </a:lnTo>
                  <a:lnTo>
                    <a:pt x="2088" y="656"/>
                  </a:lnTo>
                  <a:lnTo>
                    <a:pt x="2088" y="662"/>
                  </a:lnTo>
                  <a:lnTo>
                    <a:pt x="2082" y="662"/>
                  </a:lnTo>
                  <a:lnTo>
                    <a:pt x="2082" y="656"/>
                  </a:lnTo>
                  <a:lnTo>
                    <a:pt x="2076" y="662"/>
                  </a:lnTo>
                  <a:lnTo>
                    <a:pt x="2076" y="666"/>
                  </a:lnTo>
                  <a:lnTo>
                    <a:pt x="2082" y="666"/>
                  </a:lnTo>
                  <a:lnTo>
                    <a:pt x="2076" y="672"/>
                  </a:lnTo>
                  <a:lnTo>
                    <a:pt x="2076" y="678"/>
                  </a:lnTo>
                  <a:lnTo>
                    <a:pt x="2070" y="678"/>
                  </a:lnTo>
                  <a:lnTo>
                    <a:pt x="2070" y="684"/>
                  </a:lnTo>
                  <a:lnTo>
                    <a:pt x="2064" y="684"/>
                  </a:lnTo>
                  <a:lnTo>
                    <a:pt x="2064" y="690"/>
                  </a:lnTo>
                  <a:lnTo>
                    <a:pt x="2058" y="690"/>
                  </a:lnTo>
                  <a:lnTo>
                    <a:pt x="2058" y="748"/>
                  </a:lnTo>
                  <a:lnTo>
                    <a:pt x="2064" y="748"/>
                  </a:lnTo>
                  <a:lnTo>
                    <a:pt x="2064" y="778"/>
                  </a:lnTo>
                  <a:lnTo>
                    <a:pt x="2070" y="778"/>
                  </a:lnTo>
                  <a:lnTo>
                    <a:pt x="2070" y="782"/>
                  </a:lnTo>
                  <a:lnTo>
                    <a:pt x="2076" y="778"/>
                  </a:lnTo>
                  <a:lnTo>
                    <a:pt x="2076" y="782"/>
                  </a:lnTo>
                  <a:lnTo>
                    <a:pt x="2070" y="782"/>
                  </a:lnTo>
                  <a:lnTo>
                    <a:pt x="2076" y="788"/>
                  </a:lnTo>
                  <a:lnTo>
                    <a:pt x="2076" y="818"/>
                  </a:lnTo>
                  <a:lnTo>
                    <a:pt x="2082" y="812"/>
                  </a:lnTo>
                  <a:lnTo>
                    <a:pt x="2088" y="812"/>
                  </a:lnTo>
                  <a:lnTo>
                    <a:pt x="2088" y="806"/>
                  </a:lnTo>
                  <a:lnTo>
                    <a:pt x="2092" y="806"/>
                  </a:lnTo>
                  <a:lnTo>
                    <a:pt x="2092" y="800"/>
                  </a:lnTo>
                  <a:lnTo>
                    <a:pt x="2098" y="794"/>
                  </a:lnTo>
                  <a:lnTo>
                    <a:pt x="2098" y="788"/>
                  </a:lnTo>
                  <a:lnTo>
                    <a:pt x="2104" y="788"/>
                  </a:lnTo>
                  <a:lnTo>
                    <a:pt x="2104" y="772"/>
                  </a:lnTo>
                  <a:lnTo>
                    <a:pt x="2098" y="772"/>
                  </a:lnTo>
                  <a:lnTo>
                    <a:pt x="2104" y="766"/>
                  </a:lnTo>
                  <a:lnTo>
                    <a:pt x="2104" y="772"/>
                  </a:lnTo>
                  <a:lnTo>
                    <a:pt x="2110" y="772"/>
                  </a:lnTo>
                  <a:lnTo>
                    <a:pt x="2110" y="766"/>
                  </a:lnTo>
                  <a:lnTo>
                    <a:pt x="2128" y="766"/>
                  </a:lnTo>
                  <a:lnTo>
                    <a:pt x="2128" y="742"/>
                  </a:lnTo>
                  <a:lnTo>
                    <a:pt x="2134" y="742"/>
                  </a:lnTo>
                  <a:lnTo>
                    <a:pt x="2134" y="736"/>
                  </a:lnTo>
                  <a:lnTo>
                    <a:pt x="2150" y="736"/>
                  </a:lnTo>
                  <a:lnTo>
                    <a:pt x="2150" y="730"/>
                  </a:lnTo>
                  <a:lnTo>
                    <a:pt x="2156" y="730"/>
                  </a:lnTo>
                  <a:lnTo>
                    <a:pt x="2156" y="724"/>
                  </a:lnTo>
                  <a:lnTo>
                    <a:pt x="2150" y="724"/>
                  </a:lnTo>
                  <a:lnTo>
                    <a:pt x="2150" y="702"/>
                  </a:lnTo>
                  <a:lnTo>
                    <a:pt x="2156" y="702"/>
                  </a:lnTo>
                  <a:lnTo>
                    <a:pt x="2162" y="696"/>
                  </a:lnTo>
                  <a:lnTo>
                    <a:pt x="2168" y="702"/>
                  </a:lnTo>
                  <a:lnTo>
                    <a:pt x="2174" y="702"/>
                  </a:lnTo>
                  <a:lnTo>
                    <a:pt x="2180" y="696"/>
                  </a:lnTo>
                  <a:lnTo>
                    <a:pt x="2180" y="690"/>
                  </a:lnTo>
                  <a:lnTo>
                    <a:pt x="2174" y="690"/>
                  </a:lnTo>
                  <a:lnTo>
                    <a:pt x="2180" y="684"/>
                  </a:lnTo>
                  <a:lnTo>
                    <a:pt x="2168" y="684"/>
                  </a:lnTo>
                  <a:lnTo>
                    <a:pt x="2168" y="666"/>
                  </a:lnTo>
                  <a:lnTo>
                    <a:pt x="2174" y="666"/>
                  </a:lnTo>
                  <a:lnTo>
                    <a:pt x="2180" y="662"/>
                  </a:lnTo>
                  <a:lnTo>
                    <a:pt x="2174" y="656"/>
                  </a:lnTo>
                  <a:lnTo>
                    <a:pt x="2162" y="656"/>
                  </a:lnTo>
                  <a:lnTo>
                    <a:pt x="2162" y="662"/>
                  </a:lnTo>
                  <a:lnTo>
                    <a:pt x="2156" y="656"/>
                  </a:lnTo>
                  <a:lnTo>
                    <a:pt x="2156" y="644"/>
                  </a:lnTo>
                  <a:lnTo>
                    <a:pt x="2162" y="638"/>
                  </a:lnTo>
                  <a:lnTo>
                    <a:pt x="2168" y="638"/>
                  </a:lnTo>
                  <a:lnTo>
                    <a:pt x="2168" y="632"/>
                  </a:lnTo>
                  <a:lnTo>
                    <a:pt x="2174" y="632"/>
                  </a:lnTo>
                  <a:lnTo>
                    <a:pt x="2174" y="626"/>
                  </a:lnTo>
                  <a:lnTo>
                    <a:pt x="2180" y="626"/>
                  </a:lnTo>
                  <a:lnTo>
                    <a:pt x="2180" y="620"/>
                  </a:lnTo>
                  <a:lnTo>
                    <a:pt x="2174" y="620"/>
                  </a:lnTo>
                  <a:lnTo>
                    <a:pt x="2174" y="614"/>
                  </a:lnTo>
                  <a:lnTo>
                    <a:pt x="2180" y="614"/>
                  </a:lnTo>
                  <a:lnTo>
                    <a:pt x="2180" y="604"/>
                  </a:lnTo>
                  <a:lnTo>
                    <a:pt x="2198" y="604"/>
                  </a:lnTo>
                  <a:lnTo>
                    <a:pt x="2198" y="614"/>
                  </a:lnTo>
                  <a:lnTo>
                    <a:pt x="2204" y="608"/>
                  </a:lnTo>
                  <a:lnTo>
                    <a:pt x="2204" y="604"/>
                  </a:lnTo>
                  <a:lnTo>
                    <a:pt x="2208" y="598"/>
                  </a:lnTo>
                  <a:lnTo>
                    <a:pt x="2214" y="598"/>
                  </a:lnTo>
                  <a:lnTo>
                    <a:pt x="2220" y="592"/>
                  </a:lnTo>
                  <a:lnTo>
                    <a:pt x="2220" y="604"/>
                  </a:lnTo>
                  <a:lnTo>
                    <a:pt x="2214" y="604"/>
                  </a:lnTo>
                  <a:lnTo>
                    <a:pt x="2214" y="614"/>
                  </a:lnTo>
                  <a:lnTo>
                    <a:pt x="2220" y="614"/>
                  </a:lnTo>
                  <a:lnTo>
                    <a:pt x="2220" y="608"/>
                  </a:lnTo>
                  <a:lnTo>
                    <a:pt x="2226" y="608"/>
                  </a:lnTo>
                  <a:lnTo>
                    <a:pt x="2226" y="598"/>
                  </a:lnTo>
                  <a:lnTo>
                    <a:pt x="2244" y="598"/>
                  </a:lnTo>
                  <a:lnTo>
                    <a:pt x="2244" y="592"/>
                  </a:lnTo>
                  <a:lnTo>
                    <a:pt x="2266" y="592"/>
                  </a:lnTo>
                  <a:lnTo>
                    <a:pt x="2266" y="598"/>
                  </a:lnTo>
                  <a:lnTo>
                    <a:pt x="2272" y="598"/>
                  </a:lnTo>
                  <a:lnTo>
                    <a:pt x="2278" y="604"/>
                  </a:lnTo>
                  <a:lnTo>
                    <a:pt x="2278" y="608"/>
                  </a:lnTo>
                  <a:lnTo>
                    <a:pt x="2284" y="608"/>
                  </a:lnTo>
                  <a:lnTo>
                    <a:pt x="2284" y="598"/>
                  </a:lnTo>
                  <a:lnTo>
                    <a:pt x="2290" y="598"/>
                  </a:lnTo>
                  <a:lnTo>
                    <a:pt x="2290" y="592"/>
                  </a:lnTo>
                  <a:lnTo>
                    <a:pt x="2296" y="592"/>
                  </a:lnTo>
                  <a:lnTo>
                    <a:pt x="2296" y="586"/>
                  </a:lnTo>
                  <a:lnTo>
                    <a:pt x="2308" y="586"/>
                  </a:lnTo>
                  <a:lnTo>
                    <a:pt x="2308" y="580"/>
                  </a:lnTo>
                  <a:lnTo>
                    <a:pt x="2314" y="580"/>
                  </a:lnTo>
                  <a:lnTo>
                    <a:pt x="2314" y="574"/>
                  </a:lnTo>
                  <a:lnTo>
                    <a:pt x="2318" y="568"/>
                  </a:lnTo>
                  <a:lnTo>
                    <a:pt x="2318" y="574"/>
                  </a:lnTo>
                  <a:lnTo>
                    <a:pt x="2324" y="574"/>
                  </a:lnTo>
                  <a:lnTo>
                    <a:pt x="2330" y="568"/>
                  </a:lnTo>
                  <a:lnTo>
                    <a:pt x="2330" y="562"/>
                  </a:lnTo>
                  <a:lnTo>
                    <a:pt x="2348" y="562"/>
                  </a:lnTo>
                  <a:lnTo>
                    <a:pt x="2348" y="556"/>
                  </a:lnTo>
                  <a:lnTo>
                    <a:pt x="2354" y="556"/>
                  </a:lnTo>
                  <a:lnTo>
                    <a:pt x="2354" y="550"/>
                  </a:lnTo>
                  <a:lnTo>
                    <a:pt x="2372" y="550"/>
                  </a:lnTo>
                  <a:lnTo>
                    <a:pt x="2376" y="546"/>
                  </a:lnTo>
                  <a:lnTo>
                    <a:pt x="2406" y="546"/>
                  </a:lnTo>
                  <a:lnTo>
                    <a:pt x="2406" y="550"/>
                  </a:lnTo>
                  <a:lnTo>
                    <a:pt x="2418" y="550"/>
                  </a:lnTo>
                  <a:lnTo>
                    <a:pt x="2418" y="528"/>
                  </a:lnTo>
                  <a:lnTo>
                    <a:pt x="2412" y="528"/>
                  </a:lnTo>
                  <a:lnTo>
                    <a:pt x="2412" y="522"/>
                  </a:lnTo>
                  <a:lnTo>
                    <a:pt x="2406" y="516"/>
                  </a:lnTo>
                  <a:lnTo>
                    <a:pt x="2406" y="522"/>
                  </a:lnTo>
                  <a:lnTo>
                    <a:pt x="2400" y="516"/>
                  </a:lnTo>
                  <a:lnTo>
                    <a:pt x="2406" y="516"/>
                  </a:lnTo>
                  <a:lnTo>
                    <a:pt x="2406" y="498"/>
                  </a:lnTo>
                  <a:lnTo>
                    <a:pt x="2388" y="498"/>
                  </a:lnTo>
                  <a:lnTo>
                    <a:pt x="2388" y="488"/>
                  </a:lnTo>
                  <a:lnTo>
                    <a:pt x="2382" y="482"/>
                  </a:lnTo>
                  <a:lnTo>
                    <a:pt x="2388" y="482"/>
                  </a:lnTo>
                  <a:lnTo>
                    <a:pt x="2388" y="488"/>
                  </a:lnTo>
                  <a:lnTo>
                    <a:pt x="2406" y="488"/>
                  </a:lnTo>
                  <a:lnTo>
                    <a:pt x="2406" y="492"/>
                  </a:lnTo>
                  <a:lnTo>
                    <a:pt x="2412" y="488"/>
                  </a:lnTo>
                  <a:lnTo>
                    <a:pt x="2424" y="488"/>
                  </a:lnTo>
                  <a:lnTo>
                    <a:pt x="2424" y="482"/>
                  </a:lnTo>
                  <a:lnTo>
                    <a:pt x="2430" y="482"/>
                  </a:lnTo>
                  <a:lnTo>
                    <a:pt x="2430" y="476"/>
                  </a:lnTo>
                  <a:lnTo>
                    <a:pt x="2434" y="476"/>
                  </a:lnTo>
                  <a:lnTo>
                    <a:pt x="2434" y="470"/>
                  </a:lnTo>
                  <a:lnTo>
                    <a:pt x="2440" y="470"/>
                  </a:lnTo>
                  <a:lnTo>
                    <a:pt x="2434" y="464"/>
                  </a:lnTo>
                  <a:lnTo>
                    <a:pt x="2430" y="464"/>
                  </a:lnTo>
                  <a:lnTo>
                    <a:pt x="2430" y="446"/>
                  </a:lnTo>
                  <a:lnTo>
                    <a:pt x="2434" y="452"/>
                  </a:lnTo>
                  <a:lnTo>
                    <a:pt x="2440" y="452"/>
                  </a:lnTo>
                  <a:lnTo>
                    <a:pt x="2440" y="446"/>
                  </a:lnTo>
                  <a:lnTo>
                    <a:pt x="2452" y="446"/>
                  </a:lnTo>
                  <a:lnTo>
                    <a:pt x="2446" y="452"/>
                  </a:lnTo>
                  <a:lnTo>
                    <a:pt x="2446" y="464"/>
                  </a:lnTo>
                  <a:lnTo>
                    <a:pt x="2452" y="464"/>
                  </a:lnTo>
                  <a:lnTo>
                    <a:pt x="2446" y="470"/>
                  </a:lnTo>
                  <a:lnTo>
                    <a:pt x="2470" y="470"/>
                  </a:lnTo>
                  <a:lnTo>
                    <a:pt x="2470" y="464"/>
                  </a:lnTo>
                  <a:lnTo>
                    <a:pt x="2482" y="464"/>
                  </a:lnTo>
                  <a:lnTo>
                    <a:pt x="2482" y="470"/>
                  </a:lnTo>
                  <a:lnTo>
                    <a:pt x="2488" y="470"/>
                  </a:lnTo>
                  <a:lnTo>
                    <a:pt x="2488" y="476"/>
                  </a:lnTo>
                  <a:lnTo>
                    <a:pt x="2492" y="476"/>
                  </a:lnTo>
                  <a:lnTo>
                    <a:pt x="2492" y="488"/>
                  </a:lnTo>
                  <a:lnTo>
                    <a:pt x="2510" y="488"/>
                  </a:lnTo>
                  <a:lnTo>
                    <a:pt x="2516" y="492"/>
                  </a:lnTo>
                  <a:lnTo>
                    <a:pt x="2516" y="498"/>
                  </a:lnTo>
                  <a:lnTo>
                    <a:pt x="2546" y="498"/>
                  </a:lnTo>
                  <a:lnTo>
                    <a:pt x="2546" y="492"/>
                  </a:lnTo>
                  <a:lnTo>
                    <a:pt x="2534" y="492"/>
                  </a:lnTo>
                  <a:lnTo>
                    <a:pt x="2534" y="488"/>
                  </a:lnTo>
                  <a:lnTo>
                    <a:pt x="2546" y="488"/>
                  </a:lnTo>
                  <a:lnTo>
                    <a:pt x="2546" y="470"/>
                  </a:lnTo>
                  <a:lnTo>
                    <a:pt x="2562" y="470"/>
                  </a:lnTo>
                  <a:lnTo>
                    <a:pt x="2562" y="464"/>
                  </a:lnTo>
                  <a:lnTo>
                    <a:pt x="2574" y="464"/>
                  </a:lnTo>
                  <a:lnTo>
                    <a:pt x="2574" y="446"/>
                  </a:lnTo>
                  <a:lnTo>
                    <a:pt x="2568" y="446"/>
                  </a:lnTo>
                  <a:lnTo>
                    <a:pt x="2568" y="440"/>
                  </a:lnTo>
                  <a:close/>
                  <a:moveTo>
                    <a:pt x="864" y="742"/>
                  </a:moveTo>
                  <a:lnTo>
                    <a:pt x="864" y="736"/>
                  </a:lnTo>
                  <a:lnTo>
                    <a:pt x="870" y="742"/>
                  </a:lnTo>
                  <a:lnTo>
                    <a:pt x="864" y="742"/>
                  </a:lnTo>
                  <a:close/>
                  <a:moveTo>
                    <a:pt x="1002" y="254"/>
                  </a:moveTo>
                  <a:lnTo>
                    <a:pt x="1002" y="250"/>
                  </a:lnTo>
                  <a:lnTo>
                    <a:pt x="1008" y="250"/>
                  </a:lnTo>
                  <a:lnTo>
                    <a:pt x="1002" y="254"/>
                  </a:lnTo>
                  <a:close/>
                  <a:moveTo>
                    <a:pt x="1014" y="260"/>
                  </a:moveTo>
                  <a:lnTo>
                    <a:pt x="1008" y="260"/>
                  </a:lnTo>
                  <a:lnTo>
                    <a:pt x="1008" y="254"/>
                  </a:lnTo>
                  <a:lnTo>
                    <a:pt x="1014" y="254"/>
                  </a:lnTo>
                  <a:lnTo>
                    <a:pt x="1014" y="260"/>
                  </a:lnTo>
                  <a:close/>
                  <a:moveTo>
                    <a:pt x="1206" y="192"/>
                  </a:moveTo>
                  <a:lnTo>
                    <a:pt x="1200" y="192"/>
                  </a:lnTo>
                  <a:lnTo>
                    <a:pt x="1206" y="186"/>
                  </a:lnTo>
                  <a:lnTo>
                    <a:pt x="1206" y="192"/>
                  </a:lnTo>
                  <a:close/>
                  <a:moveTo>
                    <a:pt x="1218" y="196"/>
                  </a:moveTo>
                  <a:lnTo>
                    <a:pt x="1212" y="196"/>
                  </a:lnTo>
                  <a:lnTo>
                    <a:pt x="1212" y="192"/>
                  </a:lnTo>
                  <a:lnTo>
                    <a:pt x="1218" y="192"/>
                  </a:lnTo>
                  <a:lnTo>
                    <a:pt x="1218" y="196"/>
                  </a:lnTo>
                  <a:close/>
                  <a:moveTo>
                    <a:pt x="1252" y="168"/>
                  </a:moveTo>
                  <a:lnTo>
                    <a:pt x="1246" y="162"/>
                  </a:lnTo>
                  <a:lnTo>
                    <a:pt x="1252" y="162"/>
                  </a:lnTo>
                  <a:lnTo>
                    <a:pt x="1252" y="168"/>
                  </a:lnTo>
                  <a:close/>
                  <a:moveTo>
                    <a:pt x="1628" y="308"/>
                  </a:moveTo>
                  <a:lnTo>
                    <a:pt x="1624" y="302"/>
                  </a:lnTo>
                  <a:lnTo>
                    <a:pt x="1624" y="296"/>
                  </a:lnTo>
                  <a:lnTo>
                    <a:pt x="1628" y="296"/>
                  </a:lnTo>
                  <a:lnTo>
                    <a:pt x="1628" y="308"/>
                  </a:lnTo>
                  <a:close/>
                  <a:moveTo>
                    <a:pt x="1976" y="318"/>
                  </a:moveTo>
                  <a:lnTo>
                    <a:pt x="1972" y="318"/>
                  </a:lnTo>
                  <a:lnTo>
                    <a:pt x="1976" y="312"/>
                  </a:lnTo>
                  <a:lnTo>
                    <a:pt x="1976" y="318"/>
                  </a:lnTo>
                  <a:close/>
                  <a:moveTo>
                    <a:pt x="2372" y="492"/>
                  </a:moveTo>
                  <a:lnTo>
                    <a:pt x="2366" y="492"/>
                  </a:lnTo>
                  <a:lnTo>
                    <a:pt x="2366" y="482"/>
                  </a:lnTo>
                  <a:lnTo>
                    <a:pt x="2372" y="488"/>
                  </a:lnTo>
                  <a:lnTo>
                    <a:pt x="2372" y="492"/>
                  </a:lnTo>
                  <a:close/>
                  <a:moveTo>
                    <a:pt x="2580" y="446"/>
                  </a:moveTo>
                  <a:lnTo>
                    <a:pt x="2580" y="458"/>
                  </a:lnTo>
                  <a:lnTo>
                    <a:pt x="2586" y="458"/>
                  </a:lnTo>
                  <a:lnTo>
                    <a:pt x="2586" y="452"/>
                  </a:lnTo>
                  <a:lnTo>
                    <a:pt x="2580" y="446"/>
                  </a:lnTo>
                  <a:close/>
                  <a:moveTo>
                    <a:pt x="2470" y="312"/>
                  </a:moveTo>
                  <a:lnTo>
                    <a:pt x="2464" y="318"/>
                  </a:lnTo>
                  <a:lnTo>
                    <a:pt x="2446" y="318"/>
                  </a:lnTo>
                  <a:lnTo>
                    <a:pt x="2440" y="324"/>
                  </a:lnTo>
                  <a:lnTo>
                    <a:pt x="2434" y="324"/>
                  </a:lnTo>
                  <a:lnTo>
                    <a:pt x="2430" y="318"/>
                  </a:lnTo>
                  <a:lnTo>
                    <a:pt x="2424" y="318"/>
                  </a:lnTo>
                  <a:lnTo>
                    <a:pt x="2424" y="324"/>
                  </a:lnTo>
                  <a:lnTo>
                    <a:pt x="2406" y="324"/>
                  </a:lnTo>
                  <a:lnTo>
                    <a:pt x="2406" y="318"/>
                  </a:lnTo>
                  <a:lnTo>
                    <a:pt x="2412" y="318"/>
                  </a:lnTo>
                  <a:lnTo>
                    <a:pt x="2412" y="312"/>
                  </a:lnTo>
                  <a:lnTo>
                    <a:pt x="2418" y="312"/>
                  </a:lnTo>
                  <a:lnTo>
                    <a:pt x="2418" y="308"/>
                  </a:lnTo>
                  <a:lnTo>
                    <a:pt x="2458" y="308"/>
                  </a:lnTo>
                  <a:lnTo>
                    <a:pt x="2458" y="312"/>
                  </a:lnTo>
                  <a:lnTo>
                    <a:pt x="2470" y="312"/>
                  </a:lnTo>
                  <a:close/>
                  <a:moveTo>
                    <a:pt x="1408" y="162"/>
                  </a:moveTo>
                  <a:lnTo>
                    <a:pt x="1402" y="162"/>
                  </a:lnTo>
                  <a:lnTo>
                    <a:pt x="1402" y="162"/>
                  </a:lnTo>
                  <a:lnTo>
                    <a:pt x="1396" y="162"/>
                  </a:lnTo>
                  <a:lnTo>
                    <a:pt x="1402" y="162"/>
                  </a:lnTo>
                  <a:lnTo>
                    <a:pt x="1408" y="162"/>
                  </a:lnTo>
                  <a:lnTo>
                    <a:pt x="1408" y="162"/>
                  </a:lnTo>
                  <a:lnTo>
                    <a:pt x="1408" y="162"/>
                  </a:lnTo>
                  <a:lnTo>
                    <a:pt x="1408" y="162"/>
                  </a:lnTo>
                  <a:lnTo>
                    <a:pt x="1408" y="162"/>
                  </a:lnTo>
                  <a:close/>
                  <a:moveTo>
                    <a:pt x="1570" y="260"/>
                  </a:moveTo>
                  <a:lnTo>
                    <a:pt x="1570" y="254"/>
                  </a:lnTo>
                  <a:lnTo>
                    <a:pt x="1570" y="254"/>
                  </a:lnTo>
                  <a:lnTo>
                    <a:pt x="1570" y="250"/>
                  </a:lnTo>
                  <a:lnTo>
                    <a:pt x="1570" y="244"/>
                  </a:lnTo>
                  <a:lnTo>
                    <a:pt x="1570" y="244"/>
                  </a:lnTo>
                  <a:lnTo>
                    <a:pt x="1570" y="250"/>
                  </a:lnTo>
                  <a:lnTo>
                    <a:pt x="1576" y="250"/>
                  </a:lnTo>
                  <a:lnTo>
                    <a:pt x="1582" y="250"/>
                  </a:lnTo>
                  <a:lnTo>
                    <a:pt x="1576" y="244"/>
                  </a:lnTo>
                  <a:lnTo>
                    <a:pt x="1582" y="244"/>
                  </a:lnTo>
                  <a:lnTo>
                    <a:pt x="1588" y="244"/>
                  </a:lnTo>
                  <a:lnTo>
                    <a:pt x="1588" y="244"/>
                  </a:lnTo>
                  <a:lnTo>
                    <a:pt x="1588" y="244"/>
                  </a:lnTo>
                  <a:lnTo>
                    <a:pt x="1594" y="244"/>
                  </a:lnTo>
                  <a:lnTo>
                    <a:pt x="1594" y="250"/>
                  </a:lnTo>
                  <a:lnTo>
                    <a:pt x="1600" y="244"/>
                  </a:lnTo>
                  <a:lnTo>
                    <a:pt x="1600" y="250"/>
                  </a:lnTo>
                  <a:lnTo>
                    <a:pt x="1600" y="250"/>
                  </a:lnTo>
                  <a:lnTo>
                    <a:pt x="1606" y="250"/>
                  </a:lnTo>
                  <a:lnTo>
                    <a:pt x="1606" y="254"/>
                  </a:lnTo>
                  <a:lnTo>
                    <a:pt x="1600" y="254"/>
                  </a:lnTo>
                  <a:lnTo>
                    <a:pt x="1606" y="254"/>
                  </a:lnTo>
                  <a:lnTo>
                    <a:pt x="1612" y="254"/>
                  </a:lnTo>
                  <a:lnTo>
                    <a:pt x="1612" y="250"/>
                  </a:lnTo>
                  <a:lnTo>
                    <a:pt x="1612" y="250"/>
                  </a:lnTo>
                  <a:lnTo>
                    <a:pt x="1618" y="250"/>
                  </a:lnTo>
                  <a:lnTo>
                    <a:pt x="1612" y="254"/>
                  </a:lnTo>
                  <a:lnTo>
                    <a:pt x="1618" y="254"/>
                  </a:lnTo>
                  <a:lnTo>
                    <a:pt x="1618" y="254"/>
                  </a:lnTo>
                  <a:lnTo>
                    <a:pt x="1618" y="260"/>
                  </a:lnTo>
                  <a:lnTo>
                    <a:pt x="1624" y="260"/>
                  </a:lnTo>
                  <a:lnTo>
                    <a:pt x="1624" y="266"/>
                  </a:lnTo>
                  <a:lnTo>
                    <a:pt x="1618" y="266"/>
                  </a:lnTo>
                  <a:lnTo>
                    <a:pt x="1618" y="266"/>
                  </a:lnTo>
                  <a:lnTo>
                    <a:pt x="1612" y="266"/>
                  </a:lnTo>
                  <a:lnTo>
                    <a:pt x="1618" y="266"/>
                  </a:lnTo>
                  <a:lnTo>
                    <a:pt x="1618" y="272"/>
                  </a:lnTo>
                  <a:lnTo>
                    <a:pt x="1612" y="272"/>
                  </a:lnTo>
                  <a:lnTo>
                    <a:pt x="1612" y="278"/>
                  </a:lnTo>
                  <a:lnTo>
                    <a:pt x="1612" y="278"/>
                  </a:lnTo>
                  <a:lnTo>
                    <a:pt x="1612" y="284"/>
                  </a:lnTo>
                  <a:lnTo>
                    <a:pt x="1612" y="284"/>
                  </a:lnTo>
                  <a:lnTo>
                    <a:pt x="1606" y="284"/>
                  </a:lnTo>
                  <a:lnTo>
                    <a:pt x="1606" y="278"/>
                  </a:lnTo>
                  <a:lnTo>
                    <a:pt x="1600" y="278"/>
                  </a:lnTo>
                  <a:lnTo>
                    <a:pt x="1600" y="278"/>
                  </a:lnTo>
                  <a:lnTo>
                    <a:pt x="1600" y="278"/>
                  </a:lnTo>
                  <a:lnTo>
                    <a:pt x="1594" y="278"/>
                  </a:lnTo>
                  <a:lnTo>
                    <a:pt x="1594" y="272"/>
                  </a:lnTo>
                  <a:lnTo>
                    <a:pt x="1588" y="272"/>
                  </a:lnTo>
                  <a:lnTo>
                    <a:pt x="1588" y="272"/>
                  </a:lnTo>
                  <a:lnTo>
                    <a:pt x="1582" y="272"/>
                  </a:lnTo>
                  <a:lnTo>
                    <a:pt x="1576" y="272"/>
                  </a:lnTo>
                  <a:lnTo>
                    <a:pt x="1570" y="272"/>
                  </a:lnTo>
                  <a:lnTo>
                    <a:pt x="1570" y="266"/>
                  </a:lnTo>
                  <a:lnTo>
                    <a:pt x="1570" y="266"/>
                  </a:lnTo>
                  <a:lnTo>
                    <a:pt x="1566" y="266"/>
                  </a:lnTo>
                  <a:lnTo>
                    <a:pt x="1560" y="266"/>
                  </a:lnTo>
                  <a:lnTo>
                    <a:pt x="1560" y="266"/>
                  </a:lnTo>
                  <a:lnTo>
                    <a:pt x="1560" y="266"/>
                  </a:lnTo>
                  <a:lnTo>
                    <a:pt x="1560" y="266"/>
                  </a:lnTo>
                  <a:lnTo>
                    <a:pt x="1566" y="266"/>
                  </a:lnTo>
                  <a:lnTo>
                    <a:pt x="1570" y="266"/>
                  </a:lnTo>
                  <a:lnTo>
                    <a:pt x="1570" y="266"/>
                  </a:lnTo>
                  <a:lnTo>
                    <a:pt x="1570" y="260"/>
                  </a:lnTo>
                  <a:lnTo>
                    <a:pt x="1570" y="260"/>
                  </a:lnTo>
                  <a:lnTo>
                    <a:pt x="1570" y="260"/>
                  </a:lnTo>
                  <a:close/>
                  <a:moveTo>
                    <a:pt x="1624" y="266"/>
                  </a:moveTo>
                  <a:lnTo>
                    <a:pt x="1624" y="260"/>
                  </a:lnTo>
                  <a:lnTo>
                    <a:pt x="1618" y="254"/>
                  </a:lnTo>
                  <a:lnTo>
                    <a:pt x="1624" y="254"/>
                  </a:lnTo>
                  <a:lnTo>
                    <a:pt x="1624" y="254"/>
                  </a:lnTo>
                  <a:lnTo>
                    <a:pt x="1624" y="250"/>
                  </a:lnTo>
                  <a:lnTo>
                    <a:pt x="1624" y="250"/>
                  </a:lnTo>
                  <a:lnTo>
                    <a:pt x="1624" y="250"/>
                  </a:lnTo>
                  <a:lnTo>
                    <a:pt x="1628" y="250"/>
                  </a:lnTo>
                  <a:lnTo>
                    <a:pt x="1634" y="254"/>
                  </a:lnTo>
                  <a:lnTo>
                    <a:pt x="1640" y="254"/>
                  </a:lnTo>
                  <a:lnTo>
                    <a:pt x="1640" y="254"/>
                  </a:lnTo>
                  <a:lnTo>
                    <a:pt x="1640" y="254"/>
                  </a:lnTo>
                  <a:lnTo>
                    <a:pt x="1646" y="254"/>
                  </a:lnTo>
                  <a:lnTo>
                    <a:pt x="1652" y="254"/>
                  </a:lnTo>
                  <a:lnTo>
                    <a:pt x="1652" y="254"/>
                  </a:lnTo>
                  <a:lnTo>
                    <a:pt x="1652" y="260"/>
                  </a:lnTo>
                  <a:lnTo>
                    <a:pt x="1652" y="266"/>
                  </a:lnTo>
                  <a:lnTo>
                    <a:pt x="1652" y="260"/>
                  </a:lnTo>
                  <a:lnTo>
                    <a:pt x="1658" y="260"/>
                  </a:lnTo>
                  <a:lnTo>
                    <a:pt x="1658" y="266"/>
                  </a:lnTo>
                  <a:lnTo>
                    <a:pt x="1652" y="266"/>
                  </a:lnTo>
                  <a:lnTo>
                    <a:pt x="1652" y="266"/>
                  </a:lnTo>
                  <a:lnTo>
                    <a:pt x="1646" y="266"/>
                  </a:lnTo>
                  <a:lnTo>
                    <a:pt x="1640" y="266"/>
                  </a:lnTo>
                  <a:lnTo>
                    <a:pt x="1640" y="272"/>
                  </a:lnTo>
                  <a:lnTo>
                    <a:pt x="1640" y="272"/>
                  </a:lnTo>
                  <a:lnTo>
                    <a:pt x="1634" y="272"/>
                  </a:lnTo>
                  <a:lnTo>
                    <a:pt x="1628" y="272"/>
                  </a:lnTo>
                  <a:lnTo>
                    <a:pt x="1624" y="278"/>
                  </a:lnTo>
                  <a:lnTo>
                    <a:pt x="1624" y="278"/>
                  </a:lnTo>
                  <a:lnTo>
                    <a:pt x="1618" y="278"/>
                  </a:lnTo>
                  <a:lnTo>
                    <a:pt x="1618" y="278"/>
                  </a:lnTo>
                  <a:lnTo>
                    <a:pt x="1612" y="278"/>
                  </a:lnTo>
                  <a:lnTo>
                    <a:pt x="1612" y="272"/>
                  </a:lnTo>
                  <a:lnTo>
                    <a:pt x="1618" y="272"/>
                  </a:lnTo>
                  <a:lnTo>
                    <a:pt x="1618" y="266"/>
                  </a:lnTo>
                  <a:lnTo>
                    <a:pt x="1612" y="266"/>
                  </a:lnTo>
                  <a:lnTo>
                    <a:pt x="1618" y="266"/>
                  </a:lnTo>
                  <a:lnTo>
                    <a:pt x="1618" y="266"/>
                  </a:lnTo>
                  <a:lnTo>
                    <a:pt x="1624" y="266"/>
                  </a:lnTo>
                  <a:lnTo>
                    <a:pt x="1624" y="266"/>
                  </a:lnTo>
                  <a:close/>
                  <a:moveTo>
                    <a:pt x="1628" y="278"/>
                  </a:moveTo>
                  <a:lnTo>
                    <a:pt x="1628" y="272"/>
                  </a:lnTo>
                  <a:lnTo>
                    <a:pt x="1634" y="272"/>
                  </a:lnTo>
                  <a:lnTo>
                    <a:pt x="1640" y="272"/>
                  </a:lnTo>
                  <a:lnTo>
                    <a:pt x="1640" y="272"/>
                  </a:lnTo>
                  <a:lnTo>
                    <a:pt x="1646" y="272"/>
                  </a:lnTo>
                  <a:lnTo>
                    <a:pt x="1652" y="272"/>
                  </a:lnTo>
                  <a:lnTo>
                    <a:pt x="1652" y="272"/>
                  </a:lnTo>
                  <a:lnTo>
                    <a:pt x="1658" y="272"/>
                  </a:lnTo>
                  <a:lnTo>
                    <a:pt x="1664" y="272"/>
                  </a:lnTo>
                  <a:lnTo>
                    <a:pt x="1658" y="278"/>
                  </a:lnTo>
                  <a:lnTo>
                    <a:pt x="1652" y="272"/>
                  </a:lnTo>
                  <a:lnTo>
                    <a:pt x="1652" y="272"/>
                  </a:lnTo>
                  <a:lnTo>
                    <a:pt x="1646" y="272"/>
                  </a:lnTo>
                  <a:lnTo>
                    <a:pt x="1640" y="278"/>
                  </a:lnTo>
                  <a:lnTo>
                    <a:pt x="1640" y="272"/>
                  </a:lnTo>
                  <a:lnTo>
                    <a:pt x="1634" y="278"/>
                  </a:lnTo>
                  <a:lnTo>
                    <a:pt x="1628" y="278"/>
                  </a:lnTo>
                  <a:lnTo>
                    <a:pt x="1628" y="278"/>
                  </a:lnTo>
                  <a:close/>
                  <a:moveTo>
                    <a:pt x="1624" y="278"/>
                  </a:moveTo>
                  <a:lnTo>
                    <a:pt x="1624" y="278"/>
                  </a:lnTo>
                  <a:lnTo>
                    <a:pt x="1624" y="278"/>
                  </a:lnTo>
                  <a:lnTo>
                    <a:pt x="1628" y="278"/>
                  </a:lnTo>
                  <a:lnTo>
                    <a:pt x="1634" y="278"/>
                  </a:lnTo>
                  <a:lnTo>
                    <a:pt x="1640" y="278"/>
                  </a:lnTo>
                  <a:lnTo>
                    <a:pt x="1640" y="278"/>
                  </a:lnTo>
                  <a:lnTo>
                    <a:pt x="1652" y="278"/>
                  </a:lnTo>
                  <a:lnTo>
                    <a:pt x="1652" y="278"/>
                  </a:lnTo>
                  <a:lnTo>
                    <a:pt x="1658" y="278"/>
                  </a:lnTo>
                  <a:lnTo>
                    <a:pt x="1664" y="278"/>
                  </a:lnTo>
                  <a:lnTo>
                    <a:pt x="1664" y="284"/>
                  </a:lnTo>
                  <a:lnTo>
                    <a:pt x="1664" y="284"/>
                  </a:lnTo>
                  <a:lnTo>
                    <a:pt x="1664" y="290"/>
                  </a:lnTo>
                  <a:lnTo>
                    <a:pt x="1664" y="290"/>
                  </a:lnTo>
                  <a:lnTo>
                    <a:pt x="1658" y="290"/>
                  </a:lnTo>
                  <a:lnTo>
                    <a:pt x="1664" y="290"/>
                  </a:lnTo>
                  <a:lnTo>
                    <a:pt x="1658" y="296"/>
                  </a:lnTo>
                  <a:lnTo>
                    <a:pt x="1652" y="296"/>
                  </a:lnTo>
                  <a:lnTo>
                    <a:pt x="1652" y="296"/>
                  </a:lnTo>
                  <a:lnTo>
                    <a:pt x="1652" y="290"/>
                  </a:lnTo>
                  <a:lnTo>
                    <a:pt x="1646" y="290"/>
                  </a:lnTo>
                  <a:lnTo>
                    <a:pt x="1646" y="284"/>
                  </a:lnTo>
                  <a:lnTo>
                    <a:pt x="1640" y="284"/>
                  </a:lnTo>
                  <a:lnTo>
                    <a:pt x="1640" y="284"/>
                  </a:lnTo>
                  <a:lnTo>
                    <a:pt x="1640" y="278"/>
                  </a:lnTo>
                  <a:lnTo>
                    <a:pt x="1634" y="278"/>
                  </a:lnTo>
                  <a:lnTo>
                    <a:pt x="1628" y="278"/>
                  </a:lnTo>
                  <a:lnTo>
                    <a:pt x="1624" y="278"/>
                  </a:lnTo>
                  <a:lnTo>
                    <a:pt x="1624" y="278"/>
                  </a:lnTo>
                  <a:lnTo>
                    <a:pt x="1624" y="278"/>
                  </a:lnTo>
                  <a:close/>
                  <a:moveTo>
                    <a:pt x="2140" y="324"/>
                  </a:moveTo>
                  <a:lnTo>
                    <a:pt x="2134" y="324"/>
                  </a:lnTo>
                  <a:lnTo>
                    <a:pt x="2140" y="324"/>
                  </a:lnTo>
                  <a:lnTo>
                    <a:pt x="2140" y="324"/>
                  </a:lnTo>
                  <a:close/>
                  <a:moveTo>
                    <a:pt x="602" y="372"/>
                  </a:moveTo>
                  <a:lnTo>
                    <a:pt x="596" y="372"/>
                  </a:lnTo>
                  <a:lnTo>
                    <a:pt x="590" y="372"/>
                  </a:lnTo>
                  <a:lnTo>
                    <a:pt x="590" y="366"/>
                  </a:lnTo>
                  <a:lnTo>
                    <a:pt x="590" y="372"/>
                  </a:lnTo>
                  <a:lnTo>
                    <a:pt x="596" y="372"/>
                  </a:lnTo>
                  <a:lnTo>
                    <a:pt x="602" y="372"/>
                  </a:lnTo>
                  <a:lnTo>
                    <a:pt x="602" y="372"/>
                  </a:lnTo>
                  <a:lnTo>
                    <a:pt x="602" y="372"/>
                  </a:lnTo>
                  <a:close/>
                  <a:moveTo>
                    <a:pt x="16" y="720"/>
                  </a:moveTo>
                  <a:lnTo>
                    <a:pt x="22" y="720"/>
                  </a:lnTo>
                  <a:lnTo>
                    <a:pt x="16" y="720"/>
                  </a:lnTo>
                  <a:lnTo>
                    <a:pt x="16" y="724"/>
                  </a:lnTo>
                  <a:lnTo>
                    <a:pt x="16" y="724"/>
                  </a:lnTo>
                  <a:lnTo>
                    <a:pt x="16" y="730"/>
                  </a:lnTo>
                  <a:lnTo>
                    <a:pt x="16" y="730"/>
                  </a:lnTo>
                  <a:lnTo>
                    <a:pt x="22" y="730"/>
                  </a:lnTo>
                  <a:lnTo>
                    <a:pt x="28" y="730"/>
                  </a:lnTo>
                  <a:lnTo>
                    <a:pt x="28" y="724"/>
                  </a:lnTo>
                  <a:lnTo>
                    <a:pt x="22" y="720"/>
                  </a:lnTo>
                  <a:lnTo>
                    <a:pt x="28" y="720"/>
                  </a:lnTo>
                  <a:lnTo>
                    <a:pt x="28" y="720"/>
                  </a:lnTo>
                  <a:lnTo>
                    <a:pt x="40" y="724"/>
                  </a:lnTo>
                  <a:lnTo>
                    <a:pt x="40" y="724"/>
                  </a:lnTo>
                  <a:lnTo>
                    <a:pt x="46" y="724"/>
                  </a:lnTo>
                  <a:lnTo>
                    <a:pt x="52" y="730"/>
                  </a:lnTo>
                  <a:lnTo>
                    <a:pt x="52" y="730"/>
                  </a:lnTo>
                  <a:lnTo>
                    <a:pt x="46" y="730"/>
                  </a:lnTo>
                  <a:lnTo>
                    <a:pt x="46" y="736"/>
                  </a:lnTo>
                  <a:lnTo>
                    <a:pt x="46" y="742"/>
                  </a:lnTo>
                  <a:lnTo>
                    <a:pt x="40" y="742"/>
                  </a:lnTo>
                  <a:lnTo>
                    <a:pt x="40" y="742"/>
                  </a:lnTo>
                  <a:lnTo>
                    <a:pt x="34" y="742"/>
                  </a:lnTo>
                  <a:lnTo>
                    <a:pt x="28" y="742"/>
                  </a:lnTo>
                  <a:lnTo>
                    <a:pt x="28" y="742"/>
                  </a:lnTo>
                  <a:lnTo>
                    <a:pt x="22" y="742"/>
                  </a:lnTo>
                  <a:lnTo>
                    <a:pt x="16" y="742"/>
                  </a:lnTo>
                  <a:lnTo>
                    <a:pt x="16" y="742"/>
                  </a:lnTo>
                  <a:lnTo>
                    <a:pt x="12" y="742"/>
                  </a:lnTo>
                  <a:lnTo>
                    <a:pt x="6" y="742"/>
                  </a:lnTo>
                  <a:lnTo>
                    <a:pt x="0" y="742"/>
                  </a:lnTo>
                  <a:lnTo>
                    <a:pt x="0" y="736"/>
                  </a:lnTo>
                  <a:lnTo>
                    <a:pt x="6" y="736"/>
                  </a:lnTo>
                  <a:lnTo>
                    <a:pt x="12" y="736"/>
                  </a:lnTo>
                  <a:lnTo>
                    <a:pt x="12" y="730"/>
                  </a:lnTo>
                  <a:lnTo>
                    <a:pt x="6" y="730"/>
                  </a:lnTo>
                  <a:lnTo>
                    <a:pt x="0" y="730"/>
                  </a:lnTo>
                  <a:lnTo>
                    <a:pt x="6" y="730"/>
                  </a:lnTo>
                  <a:lnTo>
                    <a:pt x="6" y="730"/>
                  </a:lnTo>
                  <a:lnTo>
                    <a:pt x="6" y="724"/>
                  </a:lnTo>
                  <a:lnTo>
                    <a:pt x="6" y="730"/>
                  </a:lnTo>
                  <a:lnTo>
                    <a:pt x="12" y="730"/>
                  </a:lnTo>
                  <a:lnTo>
                    <a:pt x="16" y="730"/>
                  </a:lnTo>
                  <a:lnTo>
                    <a:pt x="16" y="724"/>
                  </a:lnTo>
                  <a:lnTo>
                    <a:pt x="16" y="724"/>
                  </a:lnTo>
                  <a:lnTo>
                    <a:pt x="16" y="720"/>
                  </a:lnTo>
                  <a:lnTo>
                    <a:pt x="16" y="720"/>
                  </a:lnTo>
                  <a:close/>
                  <a:moveTo>
                    <a:pt x="0" y="736"/>
                  </a:moveTo>
                  <a:lnTo>
                    <a:pt x="0" y="736"/>
                  </a:lnTo>
                  <a:lnTo>
                    <a:pt x="0" y="736"/>
                  </a:lnTo>
                  <a:lnTo>
                    <a:pt x="0" y="736"/>
                  </a:lnTo>
                  <a:close/>
                  <a:moveTo>
                    <a:pt x="644" y="6"/>
                  </a:moveTo>
                  <a:lnTo>
                    <a:pt x="648" y="6"/>
                  </a:lnTo>
                  <a:lnTo>
                    <a:pt x="654" y="0"/>
                  </a:lnTo>
                  <a:lnTo>
                    <a:pt x="654" y="6"/>
                  </a:lnTo>
                  <a:lnTo>
                    <a:pt x="654" y="6"/>
                  </a:lnTo>
                  <a:lnTo>
                    <a:pt x="654" y="0"/>
                  </a:lnTo>
                  <a:lnTo>
                    <a:pt x="660" y="0"/>
                  </a:lnTo>
                  <a:lnTo>
                    <a:pt x="666" y="0"/>
                  </a:lnTo>
                  <a:lnTo>
                    <a:pt x="666" y="6"/>
                  </a:lnTo>
                  <a:lnTo>
                    <a:pt x="666" y="6"/>
                  </a:lnTo>
                  <a:lnTo>
                    <a:pt x="666" y="12"/>
                  </a:lnTo>
                  <a:lnTo>
                    <a:pt x="660" y="6"/>
                  </a:lnTo>
                  <a:lnTo>
                    <a:pt x="654" y="6"/>
                  </a:lnTo>
                  <a:lnTo>
                    <a:pt x="654" y="6"/>
                  </a:lnTo>
                  <a:lnTo>
                    <a:pt x="648" y="6"/>
                  </a:lnTo>
                  <a:lnTo>
                    <a:pt x="644" y="6"/>
                  </a:lnTo>
                  <a:lnTo>
                    <a:pt x="644" y="6"/>
                  </a:lnTo>
                  <a:close/>
                  <a:moveTo>
                    <a:pt x="586" y="6"/>
                  </a:moveTo>
                  <a:lnTo>
                    <a:pt x="590" y="6"/>
                  </a:lnTo>
                  <a:lnTo>
                    <a:pt x="590" y="6"/>
                  </a:lnTo>
                  <a:lnTo>
                    <a:pt x="590" y="12"/>
                  </a:lnTo>
                  <a:lnTo>
                    <a:pt x="590" y="12"/>
                  </a:lnTo>
                  <a:lnTo>
                    <a:pt x="586" y="12"/>
                  </a:lnTo>
                  <a:lnTo>
                    <a:pt x="586" y="6"/>
                  </a:lnTo>
                  <a:lnTo>
                    <a:pt x="586" y="6"/>
                  </a:lnTo>
                  <a:close/>
                  <a:moveTo>
                    <a:pt x="638" y="6"/>
                  </a:moveTo>
                  <a:lnTo>
                    <a:pt x="644" y="6"/>
                  </a:lnTo>
                  <a:lnTo>
                    <a:pt x="644" y="12"/>
                  </a:lnTo>
                  <a:lnTo>
                    <a:pt x="644" y="12"/>
                  </a:lnTo>
                  <a:lnTo>
                    <a:pt x="638" y="6"/>
                  </a:lnTo>
                  <a:lnTo>
                    <a:pt x="638" y="6"/>
                  </a:lnTo>
                  <a:close/>
                  <a:moveTo>
                    <a:pt x="590" y="12"/>
                  </a:moveTo>
                  <a:lnTo>
                    <a:pt x="590" y="12"/>
                  </a:lnTo>
                  <a:lnTo>
                    <a:pt x="596" y="12"/>
                  </a:lnTo>
                  <a:lnTo>
                    <a:pt x="602" y="12"/>
                  </a:lnTo>
                  <a:lnTo>
                    <a:pt x="602" y="18"/>
                  </a:lnTo>
                  <a:lnTo>
                    <a:pt x="596" y="18"/>
                  </a:lnTo>
                  <a:lnTo>
                    <a:pt x="590" y="18"/>
                  </a:lnTo>
                  <a:lnTo>
                    <a:pt x="590" y="18"/>
                  </a:lnTo>
                  <a:lnTo>
                    <a:pt x="590" y="12"/>
                  </a:lnTo>
                  <a:lnTo>
                    <a:pt x="590" y="12"/>
                  </a:lnTo>
                  <a:close/>
                  <a:moveTo>
                    <a:pt x="528" y="18"/>
                  </a:moveTo>
                  <a:lnTo>
                    <a:pt x="522" y="12"/>
                  </a:lnTo>
                  <a:lnTo>
                    <a:pt x="528" y="12"/>
                  </a:lnTo>
                  <a:lnTo>
                    <a:pt x="528" y="18"/>
                  </a:lnTo>
                  <a:lnTo>
                    <a:pt x="528" y="18"/>
                  </a:lnTo>
                  <a:lnTo>
                    <a:pt x="528" y="18"/>
                  </a:lnTo>
                  <a:lnTo>
                    <a:pt x="528" y="18"/>
                  </a:lnTo>
                  <a:close/>
                  <a:moveTo>
                    <a:pt x="608" y="18"/>
                  </a:moveTo>
                  <a:lnTo>
                    <a:pt x="614" y="18"/>
                  </a:lnTo>
                  <a:lnTo>
                    <a:pt x="614" y="18"/>
                  </a:lnTo>
                  <a:lnTo>
                    <a:pt x="620" y="18"/>
                  </a:lnTo>
                  <a:lnTo>
                    <a:pt x="614" y="18"/>
                  </a:lnTo>
                  <a:lnTo>
                    <a:pt x="614" y="18"/>
                  </a:lnTo>
                  <a:lnTo>
                    <a:pt x="608" y="18"/>
                  </a:lnTo>
                  <a:lnTo>
                    <a:pt x="608" y="18"/>
                  </a:lnTo>
                  <a:close/>
                  <a:moveTo>
                    <a:pt x="568" y="22"/>
                  </a:moveTo>
                  <a:lnTo>
                    <a:pt x="574" y="18"/>
                  </a:lnTo>
                  <a:lnTo>
                    <a:pt x="574" y="18"/>
                  </a:lnTo>
                  <a:lnTo>
                    <a:pt x="580" y="18"/>
                  </a:lnTo>
                  <a:lnTo>
                    <a:pt x="580" y="22"/>
                  </a:lnTo>
                  <a:lnTo>
                    <a:pt x="574" y="22"/>
                  </a:lnTo>
                  <a:lnTo>
                    <a:pt x="574" y="22"/>
                  </a:lnTo>
                  <a:lnTo>
                    <a:pt x="568" y="22"/>
                  </a:lnTo>
                  <a:lnTo>
                    <a:pt x="562" y="22"/>
                  </a:lnTo>
                  <a:lnTo>
                    <a:pt x="568" y="22"/>
                  </a:lnTo>
                  <a:lnTo>
                    <a:pt x="568" y="22"/>
                  </a:lnTo>
                  <a:close/>
                  <a:moveTo>
                    <a:pt x="1078" y="28"/>
                  </a:moveTo>
                  <a:lnTo>
                    <a:pt x="1078" y="28"/>
                  </a:lnTo>
                  <a:lnTo>
                    <a:pt x="1066" y="22"/>
                  </a:lnTo>
                  <a:lnTo>
                    <a:pt x="1060" y="22"/>
                  </a:lnTo>
                  <a:lnTo>
                    <a:pt x="1066" y="22"/>
                  </a:lnTo>
                  <a:lnTo>
                    <a:pt x="1066" y="18"/>
                  </a:lnTo>
                  <a:lnTo>
                    <a:pt x="1072" y="18"/>
                  </a:lnTo>
                  <a:lnTo>
                    <a:pt x="1078" y="18"/>
                  </a:lnTo>
                  <a:lnTo>
                    <a:pt x="1078" y="18"/>
                  </a:lnTo>
                  <a:lnTo>
                    <a:pt x="1084" y="18"/>
                  </a:lnTo>
                  <a:lnTo>
                    <a:pt x="1090" y="22"/>
                  </a:lnTo>
                  <a:lnTo>
                    <a:pt x="1090" y="22"/>
                  </a:lnTo>
                  <a:lnTo>
                    <a:pt x="1090" y="22"/>
                  </a:lnTo>
                  <a:lnTo>
                    <a:pt x="1090" y="28"/>
                  </a:lnTo>
                  <a:lnTo>
                    <a:pt x="1084" y="28"/>
                  </a:lnTo>
                  <a:lnTo>
                    <a:pt x="1078" y="28"/>
                  </a:lnTo>
                  <a:lnTo>
                    <a:pt x="1078" y="28"/>
                  </a:lnTo>
                  <a:close/>
                  <a:moveTo>
                    <a:pt x="596" y="18"/>
                  </a:moveTo>
                  <a:lnTo>
                    <a:pt x="602" y="18"/>
                  </a:lnTo>
                  <a:lnTo>
                    <a:pt x="602" y="18"/>
                  </a:lnTo>
                  <a:lnTo>
                    <a:pt x="602" y="22"/>
                  </a:lnTo>
                  <a:lnTo>
                    <a:pt x="608" y="22"/>
                  </a:lnTo>
                  <a:lnTo>
                    <a:pt x="602" y="22"/>
                  </a:lnTo>
                  <a:lnTo>
                    <a:pt x="596" y="22"/>
                  </a:lnTo>
                  <a:lnTo>
                    <a:pt x="596" y="18"/>
                  </a:lnTo>
                  <a:lnTo>
                    <a:pt x="596" y="18"/>
                  </a:lnTo>
                  <a:close/>
                  <a:moveTo>
                    <a:pt x="464" y="28"/>
                  </a:moveTo>
                  <a:lnTo>
                    <a:pt x="470" y="28"/>
                  </a:lnTo>
                  <a:lnTo>
                    <a:pt x="464" y="28"/>
                  </a:lnTo>
                  <a:lnTo>
                    <a:pt x="464" y="22"/>
                  </a:lnTo>
                  <a:lnTo>
                    <a:pt x="470" y="22"/>
                  </a:lnTo>
                  <a:lnTo>
                    <a:pt x="474" y="22"/>
                  </a:lnTo>
                  <a:lnTo>
                    <a:pt x="474" y="28"/>
                  </a:lnTo>
                  <a:lnTo>
                    <a:pt x="470" y="28"/>
                  </a:lnTo>
                  <a:lnTo>
                    <a:pt x="464" y="28"/>
                  </a:lnTo>
                  <a:lnTo>
                    <a:pt x="464" y="28"/>
                  </a:lnTo>
                  <a:close/>
                  <a:moveTo>
                    <a:pt x="586" y="22"/>
                  </a:moveTo>
                  <a:lnTo>
                    <a:pt x="590" y="22"/>
                  </a:lnTo>
                  <a:lnTo>
                    <a:pt x="590" y="22"/>
                  </a:lnTo>
                  <a:lnTo>
                    <a:pt x="590" y="22"/>
                  </a:lnTo>
                  <a:lnTo>
                    <a:pt x="586" y="22"/>
                  </a:lnTo>
                  <a:lnTo>
                    <a:pt x="586" y="22"/>
                  </a:lnTo>
                  <a:close/>
                  <a:moveTo>
                    <a:pt x="614" y="28"/>
                  </a:moveTo>
                  <a:lnTo>
                    <a:pt x="614" y="28"/>
                  </a:lnTo>
                  <a:lnTo>
                    <a:pt x="620" y="22"/>
                  </a:lnTo>
                  <a:lnTo>
                    <a:pt x="626" y="22"/>
                  </a:lnTo>
                  <a:lnTo>
                    <a:pt x="626" y="22"/>
                  </a:lnTo>
                  <a:lnTo>
                    <a:pt x="632" y="22"/>
                  </a:lnTo>
                  <a:lnTo>
                    <a:pt x="638" y="22"/>
                  </a:lnTo>
                  <a:lnTo>
                    <a:pt x="638" y="28"/>
                  </a:lnTo>
                  <a:lnTo>
                    <a:pt x="632" y="28"/>
                  </a:lnTo>
                  <a:lnTo>
                    <a:pt x="626" y="28"/>
                  </a:lnTo>
                  <a:lnTo>
                    <a:pt x="626" y="28"/>
                  </a:lnTo>
                  <a:lnTo>
                    <a:pt x="620" y="28"/>
                  </a:lnTo>
                  <a:lnTo>
                    <a:pt x="614" y="28"/>
                  </a:lnTo>
                  <a:lnTo>
                    <a:pt x="614" y="28"/>
                  </a:lnTo>
                  <a:lnTo>
                    <a:pt x="614" y="28"/>
                  </a:lnTo>
                  <a:close/>
                  <a:moveTo>
                    <a:pt x="550" y="22"/>
                  </a:moveTo>
                  <a:lnTo>
                    <a:pt x="556" y="22"/>
                  </a:lnTo>
                  <a:lnTo>
                    <a:pt x="562" y="22"/>
                  </a:lnTo>
                  <a:lnTo>
                    <a:pt x="562" y="22"/>
                  </a:lnTo>
                  <a:lnTo>
                    <a:pt x="562" y="28"/>
                  </a:lnTo>
                  <a:lnTo>
                    <a:pt x="568" y="28"/>
                  </a:lnTo>
                  <a:lnTo>
                    <a:pt x="574" y="28"/>
                  </a:lnTo>
                  <a:lnTo>
                    <a:pt x="574" y="28"/>
                  </a:lnTo>
                  <a:lnTo>
                    <a:pt x="580" y="28"/>
                  </a:lnTo>
                  <a:lnTo>
                    <a:pt x="586" y="28"/>
                  </a:lnTo>
                  <a:lnTo>
                    <a:pt x="580" y="28"/>
                  </a:lnTo>
                  <a:lnTo>
                    <a:pt x="574" y="28"/>
                  </a:lnTo>
                  <a:lnTo>
                    <a:pt x="574" y="28"/>
                  </a:lnTo>
                  <a:lnTo>
                    <a:pt x="568" y="28"/>
                  </a:lnTo>
                  <a:lnTo>
                    <a:pt x="562" y="28"/>
                  </a:lnTo>
                  <a:lnTo>
                    <a:pt x="562" y="28"/>
                  </a:lnTo>
                  <a:lnTo>
                    <a:pt x="556" y="28"/>
                  </a:lnTo>
                  <a:lnTo>
                    <a:pt x="550" y="28"/>
                  </a:lnTo>
                  <a:lnTo>
                    <a:pt x="550" y="22"/>
                  </a:lnTo>
                  <a:lnTo>
                    <a:pt x="550" y="22"/>
                  </a:lnTo>
                  <a:close/>
                  <a:moveTo>
                    <a:pt x="580" y="28"/>
                  </a:moveTo>
                  <a:lnTo>
                    <a:pt x="574" y="28"/>
                  </a:lnTo>
                  <a:lnTo>
                    <a:pt x="580" y="22"/>
                  </a:lnTo>
                  <a:lnTo>
                    <a:pt x="586" y="22"/>
                  </a:lnTo>
                  <a:lnTo>
                    <a:pt x="590" y="22"/>
                  </a:lnTo>
                  <a:lnTo>
                    <a:pt x="590" y="28"/>
                  </a:lnTo>
                  <a:lnTo>
                    <a:pt x="590" y="28"/>
                  </a:lnTo>
                  <a:lnTo>
                    <a:pt x="590" y="28"/>
                  </a:lnTo>
                  <a:lnTo>
                    <a:pt x="586" y="28"/>
                  </a:lnTo>
                  <a:lnTo>
                    <a:pt x="586" y="28"/>
                  </a:lnTo>
                  <a:lnTo>
                    <a:pt x="580" y="28"/>
                  </a:lnTo>
                  <a:lnTo>
                    <a:pt x="580" y="28"/>
                  </a:lnTo>
                  <a:close/>
                  <a:moveTo>
                    <a:pt x="904" y="28"/>
                  </a:moveTo>
                  <a:lnTo>
                    <a:pt x="910" y="28"/>
                  </a:lnTo>
                  <a:lnTo>
                    <a:pt x="910" y="28"/>
                  </a:lnTo>
                  <a:lnTo>
                    <a:pt x="910" y="28"/>
                  </a:lnTo>
                  <a:lnTo>
                    <a:pt x="910" y="28"/>
                  </a:lnTo>
                  <a:lnTo>
                    <a:pt x="916" y="28"/>
                  </a:lnTo>
                  <a:lnTo>
                    <a:pt x="922" y="28"/>
                  </a:lnTo>
                  <a:lnTo>
                    <a:pt x="916" y="34"/>
                  </a:lnTo>
                  <a:lnTo>
                    <a:pt x="910" y="34"/>
                  </a:lnTo>
                  <a:lnTo>
                    <a:pt x="904" y="34"/>
                  </a:lnTo>
                  <a:lnTo>
                    <a:pt x="898" y="34"/>
                  </a:lnTo>
                  <a:lnTo>
                    <a:pt x="898" y="28"/>
                  </a:lnTo>
                  <a:lnTo>
                    <a:pt x="904" y="28"/>
                  </a:lnTo>
                  <a:lnTo>
                    <a:pt x="904" y="28"/>
                  </a:lnTo>
                  <a:close/>
                  <a:moveTo>
                    <a:pt x="580" y="34"/>
                  </a:moveTo>
                  <a:lnTo>
                    <a:pt x="580" y="28"/>
                  </a:lnTo>
                  <a:lnTo>
                    <a:pt x="586" y="28"/>
                  </a:lnTo>
                  <a:lnTo>
                    <a:pt x="590" y="28"/>
                  </a:lnTo>
                  <a:lnTo>
                    <a:pt x="590" y="28"/>
                  </a:lnTo>
                  <a:lnTo>
                    <a:pt x="596" y="28"/>
                  </a:lnTo>
                  <a:lnTo>
                    <a:pt x="596" y="34"/>
                  </a:lnTo>
                  <a:lnTo>
                    <a:pt x="590" y="34"/>
                  </a:lnTo>
                  <a:lnTo>
                    <a:pt x="590" y="34"/>
                  </a:lnTo>
                  <a:lnTo>
                    <a:pt x="586" y="34"/>
                  </a:lnTo>
                  <a:lnTo>
                    <a:pt x="580" y="34"/>
                  </a:lnTo>
                  <a:lnTo>
                    <a:pt x="574" y="34"/>
                  </a:lnTo>
                  <a:lnTo>
                    <a:pt x="580" y="34"/>
                  </a:lnTo>
                  <a:lnTo>
                    <a:pt x="580" y="34"/>
                  </a:lnTo>
                  <a:close/>
                  <a:moveTo>
                    <a:pt x="522" y="34"/>
                  </a:moveTo>
                  <a:lnTo>
                    <a:pt x="522" y="28"/>
                  </a:lnTo>
                  <a:lnTo>
                    <a:pt x="528" y="28"/>
                  </a:lnTo>
                  <a:lnTo>
                    <a:pt x="528" y="28"/>
                  </a:lnTo>
                  <a:lnTo>
                    <a:pt x="532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44" y="34"/>
                  </a:lnTo>
                  <a:lnTo>
                    <a:pt x="550" y="34"/>
                  </a:lnTo>
                  <a:lnTo>
                    <a:pt x="544" y="34"/>
                  </a:lnTo>
                  <a:lnTo>
                    <a:pt x="538" y="34"/>
                  </a:lnTo>
                  <a:lnTo>
                    <a:pt x="538" y="34"/>
                  </a:lnTo>
                  <a:lnTo>
                    <a:pt x="532" y="34"/>
                  </a:lnTo>
                  <a:lnTo>
                    <a:pt x="528" y="34"/>
                  </a:lnTo>
                  <a:lnTo>
                    <a:pt x="532" y="34"/>
                  </a:lnTo>
                  <a:lnTo>
                    <a:pt x="528" y="34"/>
                  </a:lnTo>
                  <a:lnTo>
                    <a:pt x="528" y="34"/>
                  </a:lnTo>
                  <a:lnTo>
                    <a:pt x="522" y="34"/>
                  </a:lnTo>
                  <a:lnTo>
                    <a:pt x="522" y="34"/>
                  </a:lnTo>
                  <a:close/>
                  <a:moveTo>
                    <a:pt x="544" y="34"/>
                  </a:moveTo>
                  <a:lnTo>
                    <a:pt x="550" y="34"/>
                  </a:lnTo>
                  <a:lnTo>
                    <a:pt x="556" y="34"/>
                  </a:lnTo>
                  <a:lnTo>
                    <a:pt x="562" y="34"/>
                  </a:lnTo>
                  <a:lnTo>
                    <a:pt x="562" y="40"/>
                  </a:lnTo>
                  <a:lnTo>
                    <a:pt x="562" y="40"/>
                  </a:lnTo>
                  <a:lnTo>
                    <a:pt x="556" y="40"/>
                  </a:lnTo>
                  <a:lnTo>
                    <a:pt x="550" y="40"/>
                  </a:lnTo>
                  <a:lnTo>
                    <a:pt x="550" y="40"/>
                  </a:lnTo>
                  <a:lnTo>
                    <a:pt x="544" y="40"/>
                  </a:lnTo>
                  <a:lnTo>
                    <a:pt x="538" y="40"/>
                  </a:lnTo>
                  <a:lnTo>
                    <a:pt x="538" y="34"/>
                  </a:lnTo>
                  <a:lnTo>
                    <a:pt x="544" y="34"/>
                  </a:lnTo>
                  <a:lnTo>
                    <a:pt x="544" y="34"/>
                  </a:lnTo>
                  <a:close/>
                  <a:moveTo>
                    <a:pt x="510" y="40"/>
                  </a:moveTo>
                  <a:lnTo>
                    <a:pt x="510" y="40"/>
                  </a:lnTo>
                  <a:lnTo>
                    <a:pt x="510" y="40"/>
                  </a:lnTo>
                  <a:lnTo>
                    <a:pt x="510" y="40"/>
                  </a:lnTo>
                  <a:lnTo>
                    <a:pt x="510" y="40"/>
                  </a:lnTo>
                  <a:lnTo>
                    <a:pt x="510" y="40"/>
                  </a:lnTo>
                  <a:close/>
                  <a:moveTo>
                    <a:pt x="590" y="40"/>
                  </a:moveTo>
                  <a:lnTo>
                    <a:pt x="590" y="40"/>
                  </a:lnTo>
                  <a:lnTo>
                    <a:pt x="590" y="40"/>
                  </a:lnTo>
                  <a:lnTo>
                    <a:pt x="590" y="40"/>
                  </a:lnTo>
                  <a:close/>
                  <a:moveTo>
                    <a:pt x="568" y="40"/>
                  </a:moveTo>
                  <a:lnTo>
                    <a:pt x="574" y="40"/>
                  </a:lnTo>
                  <a:lnTo>
                    <a:pt x="574" y="40"/>
                  </a:lnTo>
                  <a:lnTo>
                    <a:pt x="580" y="40"/>
                  </a:lnTo>
                  <a:lnTo>
                    <a:pt x="580" y="40"/>
                  </a:lnTo>
                  <a:lnTo>
                    <a:pt x="574" y="40"/>
                  </a:lnTo>
                  <a:lnTo>
                    <a:pt x="574" y="40"/>
                  </a:lnTo>
                  <a:lnTo>
                    <a:pt x="568" y="40"/>
                  </a:lnTo>
                  <a:lnTo>
                    <a:pt x="568" y="40"/>
                  </a:lnTo>
                  <a:close/>
                  <a:moveTo>
                    <a:pt x="516" y="40"/>
                  </a:moveTo>
                  <a:lnTo>
                    <a:pt x="522" y="40"/>
                  </a:lnTo>
                  <a:lnTo>
                    <a:pt x="516" y="40"/>
                  </a:lnTo>
                  <a:lnTo>
                    <a:pt x="516" y="40"/>
                  </a:lnTo>
                  <a:lnTo>
                    <a:pt x="522" y="40"/>
                  </a:lnTo>
                  <a:lnTo>
                    <a:pt x="528" y="40"/>
                  </a:lnTo>
                  <a:lnTo>
                    <a:pt x="528" y="40"/>
                  </a:lnTo>
                  <a:lnTo>
                    <a:pt x="522" y="40"/>
                  </a:lnTo>
                  <a:lnTo>
                    <a:pt x="528" y="40"/>
                  </a:lnTo>
                  <a:lnTo>
                    <a:pt x="528" y="40"/>
                  </a:lnTo>
                  <a:lnTo>
                    <a:pt x="528" y="46"/>
                  </a:lnTo>
                  <a:lnTo>
                    <a:pt x="522" y="46"/>
                  </a:lnTo>
                  <a:lnTo>
                    <a:pt x="522" y="40"/>
                  </a:lnTo>
                  <a:lnTo>
                    <a:pt x="516" y="40"/>
                  </a:lnTo>
                  <a:lnTo>
                    <a:pt x="516" y="40"/>
                  </a:lnTo>
                  <a:close/>
                  <a:moveTo>
                    <a:pt x="528" y="40"/>
                  </a:moveTo>
                  <a:lnTo>
                    <a:pt x="532" y="40"/>
                  </a:lnTo>
                  <a:lnTo>
                    <a:pt x="538" y="40"/>
                  </a:lnTo>
                  <a:lnTo>
                    <a:pt x="532" y="40"/>
                  </a:lnTo>
                  <a:lnTo>
                    <a:pt x="528" y="40"/>
                  </a:lnTo>
                  <a:lnTo>
                    <a:pt x="528" y="40"/>
                  </a:lnTo>
                  <a:close/>
                  <a:moveTo>
                    <a:pt x="528" y="46"/>
                  </a:moveTo>
                  <a:lnTo>
                    <a:pt x="528" y="40"/>
                  </a:lnTo>
                  <a:lnTo>
                    <a:pt x="532" y="40"/>
                  </a:lnTo>
                  <a:lnTo>
                    <a:pt x="532" y="46"/>
                  </a:lnTo>
                  <a:lnTo>
                    <a:pt x="528" y="46"/>
                  </a:lnTo>
                  <a:lnTo>
                    <a:pt x="528" y="46"/>
                  </a:lnTo>
                  <a:lnTo>
                    <a:pt x="528" y="46"/>
                  </a:lnTo>
                  <a:lnTo>
                    <a:pt x="528" y="46"/>
                  </a:lnTo>
                  <a:close/>
                  <a:moveTo>
                    <a:pt x="538" y="46"/>
                  </a:moveTo>
                  <a:lnTo>
                    <a:pt x="538" y="46"/>
                  </a:lnTo>
                  <a:lnTo>
                    <a:pt x="538" y="46"/>
                  </a:lnTo>
                  <a:lnTo>
                    <a:pt x="538" y="46"/>
                  </a:lnTo>
                  <a:close/>
                  <a:moveTo>
                    <a:pt x="550" y="46"/>
                  </a:moveTo>
                  <a:lnTo>
                    <a:pt x="550" y="46"/>
                  </a:lnTo>
                  <a:lnTo>
                    <a:pt x="556" y="46"/>
                  </a:lnTo>
                  <a:lnTo>
                    <a:pt x="550" y="46"/>
                  </a:lnTo>
                  <a:lnTo>
                    <a:pt x="550" y="46"/>
                  </a:lnTo>
                  <a:lnTo>
                    <a:pt x="550" y="46"/>
                  </a:lnTo>
                  <a:close/>
                  <a:moveTo>
                    <a:pt x="498" y="52"/>
                  </a:moveTo>
                  <a:lnTo>
                    <a:pt x="492" y="52"/>
                  </a:lnTo>
                  <a:lnTo>
                    <a:pt x="498" y="52"/>
                  </a:lnTo>
                  <a:lnTo>
                    <a:pt x="498" y="52"/>
                  </a:lnTo>
                  <a:lnTo>
                    <a:pt x="498" y="46"/>
                  </a:lnTo>
                  <a:lnTo>
                    <a:pt x="504" y="46"/>
                  </a:lnTo>
                  <a:lnTo>
                    <a:pt x="510" y="46"/>
                  </a:lnTo>
                  <a:lnTo>
                    <a:pt x="510" y="46"/>
                  </a:lnTo>
                  <a:lnTo>
                    <a:pt x="510" y="52"/>
                  </a:lnTo>
                  <a:lnTo>
                    <a:pt x="516" y="52"/>
                  </a:lnTo>
                  <a:lnTo>
                    <a:pt x="510" y="52"/>
                  </a:lnTo>
                  <a:lnTo>
                    <a:pt x="510" y="52"/>
                  </a:lnTo>
                  <a:lnTo>
                    <a:pt x="510" y="52"/>
                  </a:lnTo>
                  <a:lnTo>
                    <a:pt x="504" y="52"/>
                  </a:lnTo>
                  <a:lnTo>
                    <a:pt x="498" y="52"/>
                  </a:lnTo>
                  <a:lnTo>
                    <a:pt x="498" y="52"/>
                  </a:lnTo>
                  <a:lnTo>
                    <a:pt x="498" y="52"/>
                  </a:lnTo>
                  <a:lnTo>
                    <a:pt x="498" y="52"/>
                  </a:lnTo>
                  <a:lnTo>
                    <a:pt x="498" y="52"/>
                  </a:lnTo>
                  <a:close/>
                  <a:moveTo>
                    <a:pt x="532" y="52"/>
                  </a:moveTo>
                  <a:lnTo>
                    <a:pt x="538" y="52"/>
                  </a:lnTo>
                  <a:lnTo>
                    <a:pt x="538" y="46"/>
                  </a:lnTo>
                  <a:lnTo>
                    <a:pt x="544" y="52"/>
                  </a:lnTo>
                  <a:lnTo>
                    <a:pt x="538" y="52"/>
                  </a:lnTo>
                  <a:lnTo>
                    <a:pt x="538" y="52"/>
                  </a:lnTo>
                  <a:lnTo>
                    <a:pt x="532" y="52"/>
                  </a:lnTo>
                  <a:lnTo>
                    <a:pt x="532" y="52"/>
                  </a:lnTo>
                  <a:close/>
                  <a:moveTo>
                    <a:pt x="528" y="52"/>
                  </a:moveTo>
                  <a:lnTo>
                    <a:pt x="522" y="52"/>
                  </a:lnTo>
                  <a:lnTo>
                    <a:pt x="528" y="52"/>
                  </a:lnTo>
                  <a:lnTo>
                    <a:pt x="528" y="46"/>
                  </a:lnTo>
                  <a:lnTo>
                    <a:pt x="528" y="52"/>
                  </a:lnTo>
                  <a:lnTo>
                    <a:pt x="528" y="52"/>
                  </a:lnTo>
                  <a:lnTo>
                    <a:pt x="528" y="52"/>
                  </a:lnTo>
                  <a:lnTo>
                    <a:pt x="528" y="52"/>
                  </a:lnTo>
                  <a:close/>
                  <a:moveTo>
                    <a:pt x="458" y="58"/>
                  </a:moveTo>
                  <a:lnTo>
                    <a:pt x="458" y="52"/>
                  </a:lnTo>
                  <a:lnTo>
                    <a:pt x="452" y="52"/>
                  </a:lnTo>
                  <a:lnTo>
                    <a:pt x="458" y="52"/>
                  </a:lnTo>
                  <a:lnTo>
                    <a:pt x="464" y="52"/>
                  </a:lnTo>
                  <a:lnTo>
                    <a:pt x="464" y="52"/>
                  </a:lnTo>
                  <a:lnTo>
                    <a:pt x="464" y="52"/>
                  </a:lnTo>
                  <a:lnTo>
                    <a:pt x="464" y="52"/>
                  </a:lnTo>
                  <a:lnTo>
                    <a:pt x="464" y="58"/>
                  </a:lnTo>
                  <a:lnTo>
                    <a:pt x="458" y="58"/>
                  </a:lnTo>
                  <a:lnTo>
                    <a:pt x="458" y="58"/>
                  </a:lnTo>
                  <a:close/>
                  <a:moveTo>
                    <a:pt x="608" y="52"/>
                  </a:moveTo>
                  <a:lnTo>
                    <a:pt x="608" y="52"/>
                  </a:lnTo>
                  <a:lnTo>
                    <a:pt x="614" y="52"/>
                  </a:lnTo>
                  <a:lnTo>
                    <a:pt x="614" y="52"/>
                  </a:lnTo>
                  <a:lnTo>
                    <a:pt x="614" y="52"/>
                  </a:lnTo>
                  <a:lnTo>
                    <a:pt x="614" y="52"/>
                  </a:lnTo>
                  <a:lnTo>
                    <a:pt x="608" y="52"/>
                  </a:lnTo>
                  <a:lnTo>
                    <a:pt x="608" y="52"/>
                  </a:lnTo>
                  <a:close/>
                  <a:moveTo>
                    <a:pt x="590" y="58"/>
                  </a:moveTo>
                  <a:lnTo>
                    <a:pt x="596" y="58"/>
                  </a:lnTo>
                  <a:lnTo>
                    <a:pt x="596" y="52"/>
                  </a:lnTo>
                  <a:lnTo>
                    <a:pt x="602" y="52"/>
                  </a:lnTo>
                  <a:lnTo>
                    <a:pt x="602" y="52"/>
                  </a:lnTo>
                  <a:lnTo>
                    <a:pt x="608" y="52"/>
                  </a:lnTo>
                  <a:lnTo>
                    <a:pt x="608" y="58"/>
                  </a:lnTo>
                  <a:lnTo>
                    <a:pt x="602" y="58"/>
                  </a:lnTo>
                  <a:lnTo>
                    <a:pt x="602" y="64"/>
                  </a:lnTo>
                  <a:lnTo>
                    <a:pt x="602" y="64"/>
                  </a:lnTo>
                  <a:lnTo>
                    <a:pt x="602" y="58"/>
                  </a:lnTo>
                  <a:lnTo>
                    <a:pt x="596" y="58"/>
                  </a:lnTo>
                  <a:lnTo>
                    <a:pt x="590" y="58"/>
                  </a:lnTo>
                  <a:lnTo>
                    <a:pt x="590" y="58"/>
                  </a:lnTo>
                  <a:close/>
                  <a:moveTo>
                    <a:pt x="464" y="58"/>
                  </a:moveTo>
                  <a:lnTo>
                    <a:pt x="464" y="58"/>
                  </a:lnTo>
                  <a:lnTo>
                    <a:pt x="470" y="58"/>
                  </a:lnTo>
                  <a:lnTo>
                    <a:pt x="474" y="58"/>
                  </a:lnTo>
                  <a:lnTo>
                    <a:pt x="474" y="52"/>
                  </a:lnTo>
                  <a:lnTo>
                    <a:pt x="474" y="52"/>
                  </a:lnTo>
                  <a:lnTo>
                    <a:pt x="474" y="58"/>
                  </a:lnTo>
                  <a:lnTo>
                    <a:pt x="480" y="58"/>
                  </a:lnTo>
                  <a:lnTo>
                    <a:pt x="480" y="64"/>
                  </a:lnTo>
                  <a:lnTo>
                    <a:pt x="474" y="64"/>
                  </a:lnTo>
                  <a:lnTo>
                    <a:pt x="474" y="64"/>
                  </a:lnTo>
                  <a:lnTo>
                    <a:pt x="474" y="58"/>
                  </a:lnTo>
                  <a:lnTo>
                    <a:pt x="470" y="58"/>
                  </a:lnTo>
                  <a:lnTo>
                    <a:pt x="470" y="64"/>
                  </a:lnTo>
                  <a:lnTo>
                    <a:pt x="464" y="58"/>
                  </a:lnTo>
                  <a:lnTo>
                    <a:pt x="464" y="58"/>
                  </a:lnTo>
                  <a:lnTo>
                    <a:pt x="464" y="58"/>
                  </a:lnTo>
                  <a:close/>
                  <a:moveTo>
                    <a:pt x="452" y="58"/>
                  </a:moveTo>
                  <a:lnTo>
                    <a:pt x="452" y="52"/>
                  </a:lnTo>
                  <a:lnTo>
                    <a:pt x="458" y="58"/>
                  </a:lnTo>
                  <a:lnTo>
                    <a:pt x="452" y="58"/>
                  </a:lnTo>
                  <a:lnTo>
                    <a:pt x="452" y="58"/>
                  </a:lnTo>
                  <a:lnTo>
                    <a:pt x="452" y="58"/>
                  </a:lnTo>
                  <a:close/>
                  <a:moveTo>
                    <a:pt x="1130" y="58"/>
                  </a:moveTo>
                  <a:lnTo>
                    <a:pt x="1130" y="58"/>
                  </a:lnTo>
                  <a:lnTo>
                    <a:pt x="1130" y="58"/>
                  </a:lnTo>
                  <a:lnTo>
                    <a:pt x="1124" y="58"/>
                  </a:lnTo>
                  <a:lnTo>
                    <a:pt x="1130" y="58"/>
                  </a:lnTo>
                  <a:lnTo>
                    <a:pt x="1130" y="58"/>
                  </a:lnTo>
                  <a:close/>
                  <a:moveTo>
                    <a:pt x="586" y="64"/>
                  </a:moveTo>
                  <a:lnTo>
                    <a:pt x="590" y="64"/>
                  </a:lnTo>
                  <a:lnTo>
                    <a:pt x="590" y="58"/>
                  </a:lnTo>
                  <a:lnTo>
                    <a:pt x="590" y="58"/>
                  </a:lnTo>
                  <a:lnTo>
                    <a:pt x="590" y="64"/>
                  </a:lnTo>
                  <a:lnTo>
                    <a:pt x="596" y="64"/>
                  </a:lnTo>
                  <a:lnTo>
                    <a:pt x="590" y="64"/>
                  </a:lnTo>
                  <a:lnTo>
                    <a:pt x="590" y="64"/>
                  </a:lnTo>
                  <a:lnTo>
                    <a:pt x="586" y="64"/>
                  </a:lnTo>
                  <a:lnTo>
                    <a:pt x="586" y="64"/>
                  </a:lnTo>
                  <a:close/>
                  <a:moveTo>
                    <a:pt x="1090" y="70"/>
                  </a:moveTo>
                  <a:lnTo>
                    <a:pt x="1090" y="70"/>
                  </a:lnTo>
                  <a:lnTo>
                    <a:pt x="1084" y="64"/>
                  </a:lnTo>
                  <a:lnTo>
                    <a:pt x="1090" y="64"/>
                  </a:lnTo>
                  <a:lnTo>
                    <a:pt x="1090" y="64"/>
                  </a:lnTo>
                  <a:lnTo>
                    <a:pt x="1096" y="70"/>
                  </a:lnTo>
                  <a:lnTo>
                    <a:pt x="1090" y="70"/>
                  </a:lnTo>
                  <a:lnTo>
                    <a:pt x="1090" y="70"/>
                  </a:lnTo>
                  <a:close/>
                  <a:moveTo>
                    <a:pt x="1154" y="156"/>
                  </a:moveTo>
                  <a:lnTo>
                    <a:pt x="1154" y="156"/>
                  </a:lnTo>
                  <a:lnTo>
                    <a:pt x="1154" y="162"/>
                  </a:lnTo>
                  <a:lnTo>
                    <a:pt x="1148" y="162"/>
                  </a:lnTo>
                  <a:lnTo>
                    <a:pt x="1148" y="156"/>
                  </a:lnTo>
                  <a:lnTo>
                    <a:pt x="1154" y="156"/>
                  </a:lnTo>
                  <a:lnTo>
                    <a:pt x="1154" y="156"/>
                  </a:lnTo>
                  <a:close/>
                  <a:moveTo>
                    <a:pt x="608" y="174"/>
                  </a:moveTo>
                  <a:lnTo>
                    <a:pt x="614" y="174"/>
                  </a:lnTo>
                  <a:lnTo>
                    <a:pt x="614" y="174"/>
                  </a:lnTo>
                  <a:lnTo>
                    <a:pt x="620" y="174"/>
                  </a:lnTo>
                  <a:lnTo>
                    <a:pt x="614" y="174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08" y="180"/>
                  </a:lnTo>
                  <a:lnTo>
                    <a:pt x="608" y="174"/>
                  </a:lnTo>
                  <a:lnTo>
                    <a:pt x="608" y="174"/>
                  </a:lnTo>
                  <a:close/>
                  <a:moveTo>
                    <a:pt x="590" y="180"/>
                  </a:moveTo>
                  <a:lnTo>
                    <a:pt x="602" y="180"/>
                  </a:lnTo>
                  <a:lnTo>
                    <a:pt x="602" y="180"/>
                  </a:lnTo>
                  <a:lnTo>
                    <a:pt x="602" y="180"/>
                  </a:lnTo>
                  <a:lnTo>
                    <a:pt x="590" y="180"/>
                  </a:lnTo>
                  <a:lnTo>
                    <a:pt x="590" y="180"/>
                  </a:lnTo>
                  <a:close/>
                  <a:moveTo>
                    <a:pt x="1832" y="192"/>
                  </a:moveTo>
                  <a:lnTo>
                    <a:pt x="1832" y="192"/>
                  </a:lnTo>
                  <a:lnTo>
                    <a:pt x="1832" y="186"/>
                  </a:lnTo>
                  <a:lnTo>
                    <a:pt x="1832" y="192"/>
                  </a:lnTo>
                  <a:lnTo>
                    <a:pt x="1832" y="192"/>
                  </a:lnTo>
                  <a:lnTo>
                    <a:pt x="1832" y="192"/>
                  </a:lnTo>
                  <a:close/>
                  <a:moveTo>
                    <a:pt x="1014" y="214"/>
                  </a:moveTo>
                  <a:lnTo>
                    <a:pt x="1014" y="214"/>
                  </a:lnTo>
                  <a:lnTo>
                    <a:pt x="1014" y="214"/>
                  </a:lnTo>
                  <a:lnTo>
                    <a:pt x="1014" y="214"/>
                  </a:lnTo>
                  <a:lnTo>
                    <a:pt x="1014" y="214"/>
                  </a:lnTo>
                  <a:close/>
                  <a:moveTo>
                    <a:pt x="1002" y="226"/>
                  </a:moveTo>
                  <a:lnTo>
                    <a:pt x="996" y="226"/>
                  </a:lnTo>
                  <a:lnTo>
                    <a:pt x="996" y="220"/>
                  </a:lnTo>
                  <a:lnTo>
                    <a:pt x="1002" y="220"/>
                  </a:lnTo>
                  <a:lnTo>
                    <a:pt x="1008" y="220"/>
                  </a:lnTo>
                  <a:lnTo>
                    <a:pt x="1002" y="220"/>
                  </a:lnTo>
                  <a:lnTo>
                    <a:pt x="1002" y="226"/>
                  </a:lnTo>
                  <a:lnTo>
                    <a:pt x="1002" y="226"/>
                  </a:lnTo>
                  <a:close/>
                  <a:moveTo>
                    <a:pt x="992" y="226"/>
                  </a:moveTo>
                  <a:lnTo>
                    <a:pt x="996" y="226"/>
                  </a:lnTo>
                  <a:lnTo>
                    <a:pt x="996" y="226"/>
                  </a:lnTo>
                  <a:lnTo>
                    <a:pt x="996" y="226"/>
                  </a:lnTo>
                  <a:lnTo>
                    <a:pt x="992" y="226"/>
                  </a:lnTo>
                  <a:lnTo>
                    <a:pt x="992" y="226"/>
                  </a:lnTo>
                  <a:close/>
                  <a:moveTo>
                    <a:pt x="1020" y="250"/>
                  </a:moveTo>
                  <a:lnTo>
                    <a:pt x="1020" y="244"/>
                  </a:lnTo>
                  <a:lnTo>
                    <a:pt x="1026" y="244"/>
                  </a:lnTo>
                  <a:lnTo>
                    <a:pt x="1026" y="244"/>
                  </a:lnTo>
                  <a:lnTo>
                    <a:pt x="1026" y="244"/>
                  </a:lnTo>
                  <a:lnTo>
                    <a:pt x="1020" y="244"/>
                  </a:lnTo>
                  <a:lnTo>
                    <a:pt x="1020" y="250"/>
                  </a:lnTo>
                  <a:lnTo>
                    <a:pt x="1020" y="250"/>
                  </a:lnTo>
                  <a:close/>
                  <a:moveTo>
                    <a:pt x="1020" y="244"/>
                  </a:moveTo>
                  <a:lnTo>
                    <a:pt x="1014" y="250"/>
                  </a:lnTo>
                  <a:lnTo>
                    <a:pt x="1014" y="250"/>
                  </a:lnTo>
                  <a:lnTo>
                    <a:pt x="1014" y="244"/>
                  </a:lnTo>
                  <a:lnTo>
                    <a:pt x="1014" y="244"/>
                  </a:lnTo>
                  <a:lnTo>
                    <a:pt x="1020" y="244"/>
                  </a:lnTo>
                  <a:lnTo>
                    <a:pt x="1020" y="244"/>
                  </a:lnTo>
                  <a:close/>
                  <a:moveTo>
                    <a:pt x="846" y="254"/>
                  </a:moveTo>
                  <a:lnTo>
                    <a:pt x="846" y="250"/>
                  </a:lnTo>
                  <a:lnTo>
                    <a:pt x="852" y="250"/>
                  </a:lnTo>
                  <a:lnTo>
                    <a:pt x="858" y="250"/>
                  </a:lnTo>
                  <a:lnTo>
                    <a:pt x="852" y="254"/>
                  </a:lnTo>
                  <a:lnTo>
                    <a:pt x="846" y="254"/>
                  </a:lnTo>
                  <a:lnTo>
                    <a:pt x="846" y="254"/>
                  </a:lnTo>
                  <a:lnTo>
                    <a:pt x="846" y="254"/>
                  </a:lnTo>
                  <a:close/>
                  <a:moveTo>
                    <a:pt x="858" y="250"/>
                  </a:moveTo>
                  <a:lnTo>
                    <a:pt x="858" y="250"/>
                  </a:lnTo>
                  <a:lnTo>
                    <a:pt x="858" y="254"/>
                  </a:lnTo>
                  <a:lnTo>
                    <a:pt x="864" y="254"/>
                  </a:lnTo>
                  <a:lnTo>
                    <a:pt x="858" y="254"/>
                  </a:lnTo>
                  <a:lnTo>
                    <a:pt x="858" y="250"/>
                  </a:lnTo>
                  <a:lnTo>
                    <a:pt x="858" y="250"/>
                  </a:lnTo>
                  <a:lnTo>
                    <a:pt x="858" y="250"/>
                  </a:lnTo>
                  <a:close/>
                  <a:moveTo>
                    <a:pt x="1618" y="254"/>
                  </a:moveTo>
                  <a:lnTo>
                    <a:pt x="1624" y="254"/>
                  </a:lnTo>
                  <a:lnTo>
                    <a:pt x="1618" y="254"/>
                  </a:lnTo>
                  <a:lnTo>
                    <a:pt x="1618" y="254"/>
                  </a:lnTo>
                  <a:close/>
                  <a:moveTo>
                    <a:pt x="782" y="254"/>
                  </a:moveTo>
                  <a:lnTo>
                    <a:pt x="782" y="254"/>
                  </a:lnTo>
                  <a:lnTo>
                    <a:pt x="782" y="254"/>
                  </a:lnTo>
                  <a:lnTo>
                    <a:pt x="782" y="254"/>
                  </a:lnTo>
                  <a:lnTo>
                    <a:pt x="782" y="254"/>
                  </a:lnTo>
                  <a:lnTo>
                    <a:pt x="782" y="254"/>
                  </a:lnTo>
                  <a:close/>
                  <a:moveTo>
                    <a:pt x="858" y="260"/>
                  </a:moveTo>
                  <a:lnTo>
                    <a:pt x="858" y="260"/>
                  </a:lnTo>
                  <a:lnTo>
                    <a:pt x="864" y="260"/>
                  </a:lnTo>
                  <a:lnTo>
                    <a:pt x="858" y="260"/>
                  </a:lnTo>
                  <a:lnTo>
                    <a:pt x="858" y="260"/>
                  </a:lnTo>
                  <a:lnTo>
                    <a:pt x="858" y="260"/>
                  </a:lnTo>
                  <a:close/>
                  <a:moveTo>
                    <a:pt x="822" y="266"/>
                  </a:moveTo>
                  <a:lnTo>
                    <a:pt x="822" y="260"/>
                  </a:lnTo>
                  <a:lnTo>
                    <a:pt x="828" y="260"/>
                  </a:lnTo>
                  <a:lnTo>
                    <a:pt x="834" y="260"/>
                  </a:lnTo>
                  <a:lnTo>
                    <a:pt x="834" y="260"/>
                  </a:lnTo>
                  <a:lnTo>
                    <a:pt x="834" y="266"/>
                  </a:lnTo>
                  <a:lnTo>
                    <a:pt x="834" y="260"/>
                  </a:lnTo>
                  <a:lnTo>
                    <a:pt x="834" y="266"/>
                  </a:lnTo>
                  <a:lnTo>
                    <a:pt x="834" y="266"/>
                  </a:lnTo>
                  <a:lnTo>
                    <a:pt x="834" y="266"/>
                  </a:lnTo>
                  <a:lnTo>
                    <a:pt x="834" y="266"/>
                  </a:lnTo>
                  <a:lnTo>
                    <a:pt x="834" y="266"/>
                  </a:lnTo>
                  <a:lnTo>
                    <a:pt x="828" y="266"/>
                  </a:lnTo>
                  <a:lnTo>
                    <a:pt x="828" y="266"/>
                  </a:lnTo>
                  <a:lnTo>
                    <a:pt x="822" y="266"/>
                  </a:lnTo>
                  <a:lnTo>
                    <a:pt x="822" y="266"/>
                  </a:lnTo>
                  <a:close/>
                  <a:moveTo>
                    <a:pt x="1548" y="266"/>
                  </a:moveTo>
                  <a:lnTo>
                    <a:pt x="1548" y="266"/>
                  </a:lnTo>
                  <a:lnTo>
                    <a:pt x="1554" y="266"/>
                  </a:lnTo>
                  <a:lnTo>
                    <a:pt x="1554" y="266"/>
                  </a:lnTo>
                  <a:lnTo>
                    <a:pt x="1548" y="266"/>
                  </a:lnTo>
                  <a:lnTo>
                    <a:pt x="1548" y="266"/>
                  </a:lnTo>
                  <a:close/>
                  <a:moveTo>
                    <a:pt x="1652" y="266"/>
                  </a:moveTo>
                  <a:lnTo>
                    <a:pt x="1652" y="266"/>
                  </a:lnTo>
                  <a:lnTo>
                    <a:pt x="1658" y="266"/>
                  </a:lnTo>
                  <a:lnTo>
                    <a:pt x="1658" y="266"/>
                  </a:lnTo>
                  <a:lnTo>
                    <a:pt x="1652" y="266"/>
                  </a:lnTo>
                  <a:lnTo>
                    <a:pt x="1652" y="266"/>
                  </a:lnTo>
                  <a:close/>
                  <a:moveTo>
                    <a:pt x="1554" y="266"/>
                  </a:moveTo>
                  <a:lnTo>
                    <a:pt x="1560" y="266"/>
                  </a:lnTo>
                  <a:lnTo>
                    <a:pt x="1560" y="266"/>
                  </a:lnTo>
                  <a:lnTo>
                    <a:pt x="1566" y="266"/>
                  </a:lnTo>
                  <a:lnTo>
                    <a:pt x="1570" y="266"/>
                  </a:lnTo>
                  <a:lnTo>
                    <a:pt x="1570" y="272"/>
                  </a:lnTo>
                  <a:lnTo>
                    <a:pt x="1570" y="272"/>
                  </a:lnTo>
                  <a:lnTo>
                    <a:pt x="1566" y="266"/>
                  </a:lnTo>
                  <a:lnTo>
                    <a:pt x="1560" y="266"/>
                  </a:lnTo>
                  <a:lnTo>
                    <a:pt x="1554" y="266"/>
                  </a:lnTo>
                  <a:lnTo>
                    <a:pt x="1554" y="266"/>
                  </a:lnTo>
                  <a:lnTo>
                    <a:pt x="1554" y="266"/>
                  </a:lnTo>
                  <a:close/>
                  <a:moveTo>
                    <a:pt x="1658" y="272"/>
                  </a:moveTo>
                  <a:lnTo>
                    <a:pt x="1652" y="272"/>
                  </a:lnTo>
                  <a:lnTo>
                    <a:pt x="1652" y="266"/>
                  </a:lnTo>
                  <a:lnTo>
                    <a:pt x="1646" y="266"/>
                  </a:lnTo>
                  <a:lnTo>
                    <a:pt x="1652" y="266"/>
                  </a:lnTo>
                  <a:lnTo>
                    <a:pt x="1652" y="266"/>
                  </a:lnTo>
                  <a:lnTo>
                    <a:pt x="1658" y="266"/>
                  </a:lnTo>
                  <a:lnTo>
                    <a:pt x="1664" y="266"/>
                  </a:lnTo>
                  <a:lnTo>
                    <a:pt x="1658" y="272"/>
                  </a:lnTo>
                  <a:lnTo>
                    <a:pt x="1658" y="272"/>
                  </a:lnTo>
                  <a:close/>
                  <a:moveTo>
                    <a:pt x="1640" y="278"/>
                  </a:moveTo>
                  <a:lnTo>
                    <a:pt x="1646" y="278"/>
                  </a:lnTo>
                  <a:lnTo>
                    <a:pt x="1646" y="272"/>
                  </a:lnTo>
                  <a:lnTo>
                    <a:pt x="1652" y="272"/>
                  </a:lnTo>
                  <a:lnTo>
                    <a:pt x="1652" y="272"/>
                  </a:lnTo>
                  <a:lnTo>
                    <a:pt x="1652" y="278"/>
                  </a:lnTo>
                  <a:lnTo>
                    <a:pt x="1652" y="278"/>
                  </a:lnTo>
                  <a:lnTo>
                    <a:pt x="1646" y="278"/>
                  </a:lnTo>
                  <a:lnTo>
                    <a:pt x="1640" y="278"/>
                  </a:lnTo>
                  <a:lnTo>
                    <a:pt x="1640" y="278"/>
                  </a:lnTo>
                  <a:close/>
                  <a:moveTo>
                    <a:pt x="1624" y="290"/>
                  </a:moveTo>
                  <a:lnTo>
                    <a:pt x="1624" y="284"/>
                  </a:lnTo>
                  <a:lnTo>
                    <a:pt x="1618" y="284"/>
                  </a:lnTo>
                  <a:lnTo>
                    <a:pt x="1624" y="284"/>
                  </a:lnTo>
                  <a:lnTo>
                    <a:pt x="1624" y="290"/>
                  </a:lnTo>
                  <a:lnTo>
                    <a:pt x="1624" y="290"/>
                  </a:lnTo>
                  <a:close/>
                  <a:moveTo>
                    <a:pt x="1624" y="296"/>
                  </a:moveTo>
                  <a:lnTo>
                    <a:pt x="1628" y="296"/>
                  </a:lnTo>
                  <a:lnTo>
                    <a:pt x="1628" y="296"/>
                  </a:lnTo>
                  <a:lnTo>
                    <a:pt x="1624" y="296"/>
                  </a:lnTo>
                  <a:lnTo>
                    <a:pt x="1624" y="296"/>
                  </a:lnTo>
                  <a:lnTo>
                    <a:pt x="1624" y="296"/>
                  </a:lnTo>
                  <a:close/>
                  <a:moveTo>
                    <a:pt x="950" y="324"/>
                  </a:moveTo>
                  <a:lnTo>
                    <a:pt x="944" y="324"/>
                  </a:lnTo>
                  <a:lnTo>
                    <a:pt x="944" y="318"/>
                  </a:lnTo>
                  <a:lnTo>
                    <a:pt x="950" y="318"/>
                  </a:lnTo>
                  <a:lnTo>
                    <a:pt x="950" y="324"/>
                  </a:lnTo>
                  <a:lnTo>
                    <a:pt x="950" y="324"/>
                  </a:lnTo>
                  <a:close/>
                  <a:moveTo>
                    <a:pt x="962" y="324"/>
                  </a:moveTo>
                  <a:lnTo>
                    <a:pt x="962" y="324"/>
                  </a:lnTo>
                  <a:lnTo>
                    <a:pt x="962" y="318"/>
                  </a:lnTo>
                  <a:lnTo>
                    <a:pt x="962" y="318"/>
                  </a:lnTo>
                  <a:lnTo>
                    <a:pt x="962" y="324"/>
                  </a:lnTo>
                  <a:lnTo>
                    <a:pt x="962" y="324"/>
                  </a:lnTo>
                  <a:close/>
                  <a:moveTo>
                    <a:pt x="962" y="336"/>
                  </a:moveTo>
                  <a:lnTo>
                    <a:pt x="962" y="330"/>
                  </a:lnTo>
                  <a:lnTo>
                    <a:pt x="962" y="330"/>
                  </a:lnTo>
                  <a:lnTo>
                    <a:pt x="962" y="330"/>
                  </a:lnTo>
                  <a:lnTo>
                    <a:pt x="962" y="324"/>
                  </a:lnTo>
                  <a:lnTo>
                    <a:pt x="968" y="330"/>
                  </a:lnTo>
                  <a:lnTo>
                    <a:pt x="962" y="330"/>
                  </a:lnTo>
                  <a:lnTo>
                    <a:pt x="962" y="330"/>
                  </a:lnTo>
                  <a:lnTo>
                    <a:pt x="962" y="336"/>
                  </a:lnTo>
                  <a:lnTo>
                    <a:pt x="962" y="336"/>
                  </a:lnTo>
                  <a:lnTo>
                    <a:pt x="962" y="336"/>
                  </a:lnTo>
                  <a:close/>
                  <a:moveTo>
                    <a:pt x="568" y="336"/>
                  </a:moveTo>
                  <a:lnTo>
                    <a:pt x="562" y="330"/>
                  </a:lnTo>
                  <a:lnTo>
                    <a:pt x="568" y="330"/>
                  </a:lnTo>
                  <a:lnTo>
                    <a:pt x="568" y="336"/>
                  </a:lnTo>
                  <a:lnTo>
                    <a:pt x="568" y="336"/>
                  </a:lnTo>
                  <a:close/>
                  <a:moveTo>
                    <a:pt x="968" y="330"/>
                  </a:moveTo>
                  <a:lnTo>
                    <a:pt x="962" y="330"/>
                  </a:lnTo>
                  <a:lnTo>
                    <a:pt x="968" y="330"/>
                  </a:lnTo>
                  <a:lnTo>
                    <a:pt x="968" y="336"/>
                  </a:lnTo>
                  <a:lnTo>
                    <a:pt x="968" y="330"/>
                  </a:lnTo>
                  <a:lnTo>
                    <a:pt x="968" y="330"/>
                  </a:lnTo>
                  <a:close/>
                  <a:moveTo>
                    <a:pt x="968" y="336"/>
                  </a:moveTo>
                  <a:lnTo>
                    <a:pt x="962" y="336"/>
                  </a:lnTo>
                  <a:lnTo>
                    <a:pt x="968" y="336"/>
                  </a:lnTo>
                  <a:lnTo>
                    <a:pt x="968" y="330"/>
                  </a:lnTo>
                  <a:lnTo>
                    <a:pt x="968" y="336"/>
                  </a:lnTo>
                  <a:lnTo>
                    <a:pt x="968" y="336"/>
                  </a:lnTo>
                  <a:close/>
                  <a:moveTo>
                    <a:pt x="956" y="342"/>
                  </a:moveTo>
                  <a:lnTo>
                    <a:pt x="956" y="342"/>
                  </a:lnTo>
                  <a:lnTo>
                    <a:pt x="962" y="342"/>
                  </a:lnTo>
                  <a:lnTo>
                    <a:pt x="962" y="342"/>
                  </a:lnTo>
                  <a:lnTo>
                    <a:pt x="956" y="342"/>
                  </a:lnTo>
                  <a:lnTo>
                    <a:pt x="956" y="342"/>
                  </a:lnTo>
                  <a:close/>
                  <a:moveTo>
                    <a:pt x="718" y="366"/>
                  </a:moveTo>
                  <a:lnTo>
                    <a:pt x="718" y="366"/>
                  </a:lnTo>
                  <a:lnTo>
                    <a:pt x="718" y="366"/>
                  </a:lnTo>
                  <a:lnTo>
                    <a:pt x="718" y="366"/>
                  </a:lnTo>
                  <a:close/>
                  <a:moveTo>
                    <a:pt x="760" y="440"/>
                  </a:moveTo>
                  <a:lnTo>
                    <a:pt x="760" y="440"/>
                  </a:lnTo>
                  <a:lnTo>
                    <a:pt x="760" y="434"/>
                  </a:lnTo>
                  <a:lnTo>
                    <a:pt x="754" y="434"/>
                  </a:lnTo>
                  <a:lnTo>
                    <a:pt x="748" y="434"/>
                  </a:lnTo>
                  <a:lnTo>
                    <a:pt x="748" y="434"/>
                  </a:lnTo>
                  <a:lnTo>
                    <a:pt x="754" y="434"/>
                  </a:lnTo>
                  <a:lnTo>
                    <a:pt x="760" y="434"/>
                  </a:lnTo>
                  <a:lnTo>
                    <a:pt x="760" y="434"/>
                  </a:lnTo>
                  <a:lnTo>
                    <a:pt x="760" y="434"/>
                  </a:lnTo>
                  <a:lnTo>
                    <a:pt x="764" y="434"/>
                  </a:lnTo>
                  <a:lnTo>
                    <a:pt x="764" y="440"/>
                  </a:lnTo>
                  <a:lnTo>
                    <a:pt x="760" y="446"/>
                  </a:lnTo>
                  <a:lnTo>
                    <a:pt x="760" y="440"/>
                  </a:lnTo>
                  <a:lnTo>
                    <a:pt x="760" y="440"/>
                  </a:lnTo>
                  <a:close/>
                  <a:moveTo>
                    <a:pt x="312" y="488"/>
                  </a:moveTo>
                  <a:lnTo>
                    <a:pt x="318" y="492"/>
                  </a:lnTo>
                  <a:lnTo>
                    <a:pt x="312" y="492"/>
                  </a:lnTo>
                  <a:lnTo>
                    <a:pt x="306" y="492"/>
                  </a:lnTo>
                  <a:lnTo>
                    <a:pt x="306" y="488"/>
                  </a:lnTo>
                  <a:lnTo>
                    <a:pt x="312" y="488"/>
                  </a:lnTo>
                  <a:lnTo>
                    <a:pt x="306" y="488"/>
                  </a:lnTo>
                  <a:lnTo>
                    <a:pt x="312" y="488"/>
                  </a:lnTo>
                  <a:lnTo>
                    <a:pt x="312" y="488"/>
                  </a:lnTo>
                  <a:close/>
                  <a:moveTo>
                    <a:pt x="1982" y="626"/>
                  </a:moveTo>
                  <a:lnTo>
                    <a:pt x="1982" y="626"/>
                  </a:lnTo>
                  <a:lnTo>
                    <a:pt x="1982" y="626"/>
                  </a:lnTo>
                  <a:lnTo>
                    <a:pt x="1982" y="632"/>
                  </a:lnTo>
                  <a:lnTo>
                    <a:pt x="1982" y="626"/>
                  </a:lnTo>
                  <a:lnTo>
                    <a:pt x="1982" y="626"/>
                  </a:lnTo>
                  <a:close/>
                  <a:moveTo>
                    <a:pt x="1774" y="730"/>
                  </a:moveTo>
                  <a:lnTo>
                    <a:pt x="1774" y="724"/>
                  </a:lnTo>
                  <a:lnTo>
                    <a:pt x="1780" y="724"/>
                  </a:lnTo>
                  <a:lnTo>
                    <a:pt x="1780" y="724"/>
                  </a:lnTo>
                  <a:lnTo>
                    <a:pt x="1780" y="730"/>
                  </a:lnTo>
                  <a:lnTo>
                    <a:pt x="1780" y="724"/>
                  </a:lnTo>
                  <a:lnTo>
                    <a:pt x="1774" y="724"/>
                  </a:lnTo>
                  <a:lnTo>
                    <a:pt x="1774" y="730"/>
                  </a:lnTo>
                  <a:lnTo>
                    <a:pt x="1774" y="730"/>
                  </a:lnTo>
                  <a:close/>
                  <a:moveTo>
                    <a:pt x="1786" y="742"/>
                  </a:moveTo>
                  <a:lnTo>
                    <a:pt x="1786" y="736"/>
                  </a:lnTo>
                  <a:lnTo>
                    <a:pt x="1786" y="742"/>
                  </a:lnTo>
                  <a:lnTo>
                    <a:pt x="1786" y="742"/>
                  </a:lnTo>
                  <a:close/>
                  <a:moveTo>
                    <a:pt x="1792" y="742"/>
                  </a:moveTo>
                  <a:lnTo>
                    <a:pt x="1792" y="736"/>
                  </a:lnTo>
                  <a:lnTo>
                    <a:pt x="1792" y="742"/>
                  </a:lnTo>
                  <a:lnTo>
                    <a:pt x="1792" y="742"/>
                  </a:lnTo>
                  <a:close/>
                  <a:moveTo>
                    <a:pt x="1704" y="992"/>
                  </a:moveTo>
                  <a:lnTo>
                    <a:pt x="1698" y="992"/>
                  </a:lnTo>
                  <a:lnTo>
                    <a:pt x="1698" y="986"/>
                  </a:lnTo>
                  <a:lnTo>
                    <a:pt x="1704" y="992"/>
                  </a:lnTo>
                  <a:lnTo>
                    <a:pt x="1704" y="992"/>
                  </a:lnTo>
                  <a:close/>
                  <a:moveTo>
                    <a:pt x="580" y="6"/>
                  </a:moveTo>
                  <a:lnTo>
                    <a:pt x="580" y="0"/>
                  </a:lnTo>
                  <a:lnTo>
                    <a:pt x="586" y="0"/>
                  </a:lnTo>
                  <a:lnTo>
                    <a:pt x="590" y="0"/>
                  </a:lnTo>
                  <a:lnTo>
                    <a:pt x="590" y="0"/>
                  </a:lnTo>
                  <a:lnTo>
                    <a:pt x="596" y="0"/>
                  </a:lnTo>
                  <a:lnTo>
                    <a:pt x="602" y="0"/>
                  </a:lnTo>
                  <a:lnTo>
                    <a:pt x="602" y="0"/>
                  </a:lnTo>
                  <a:lnTo>
                    <a:pt x="602" y="0"/>
                  </a:lnTo>
                  <a:lnTo>
                    <a:pt x="596" y="0"/>
                  </a:lnTo>
                  <a:lnTo>
                    <a:pt x="590" y="0"/>
                  </a:lnTo>
                  <a:lnTo>
                    <a:pt x="590" y="0"/>
                  </a:lnTo>
                  <a:lnTo>
                    <a:pt x="586" y="6"/>
                  </a:lnTo>
                  <a:lnTo>
                    <a:pt x="580" y="6"/>
                  </a:lnTo>
                  <a:lnTo>
                    <a:pt x="580" y="6"/>
                  </a:lnTo>
                  <a:close/>
                  <a:moveTo>
                    <a:pt x="580" y="12"/>
                  </a:moveTo>
                  <a:lnTo>
                    <a:pt x="574" y="12"/>
                  </a:lnTo>
                  <a:lnTo>
                    <a:pt x="574" y="12"/>
                  </a:lnTo>
                  <a:lnTo>
                    <a:pt x="568" y="12"/>
                  </a:lnTo>
                  <a:lnTo>
                    <a:pt x="562" y="12"/>
                  </a:lnTo>
                  <a:lnTo>
                    <a:pt x="562" y="12"/>
                  </a:lnTo>
                  <a:lnTo>
                    <a:pt x="562" y="12"/>
                  </a:lnTo>
                  <a:lnTo>
                    <a:pt x="568" y="12"/>
                  </a:lnTo>
                  <a:lnTo>
                    <a:pt x="574" y="12"/>
                  </a:lnTo>
                  <a:lnTo>
                    <a:pt x="574" y="12"/>
                  </a:lnTo>
                  <a:lnTo>
                    <a:pt x="580" y="12"/>
                  </a:lnTo>
                  <a:lnTo>
                    <a:pt x="586" y="12"/>
                  </a:lnTo>
                  <a:lnTo>
                    <a:pt x="590" y="12"/>
                  </a:lnTo>
                  <a:lnTo>
                    <a:pt x="590" y="12"/>
                  </a:lnTo>
                  <a:lnTo>
                    <a:pt x="586" y="12"/>
                  </a:lnTo>
                  <a:lnTo>
                    <a:pt x="580" y="12"/>
                  </a:lnTo>
                  <a:lnTo>
                    <a:pt x="580" y="12"/>
                  </a:lnTo>
                  <a:close/>
                  <a:moveTo>
                    <a:pt x="544" y="18"/>
                  </a:moveTo>
                  <a:lnTo>
                    <a:pt x="538" y="18"/>
                  </a:lnTo>
                  <a:lnTo>
                    <a:pt x="544" y="18"/>
                  </a:lnTo>
                  <a:lnTo>
                    <a:pt x="550" y="18"/>
                  </a:lnTo>
                  <a:lnTo>
                    <a:pt x="550" y="18"/>
                  </a:lnTo>
                  <a:lnTo>
                    <a:pt x="556" y="18"/>
                  </a:lnTo>
                  <a:lnTo>
                    <a:pt x="562" y="18"/>
                  </a:lnTo>
                  <a:lnTo>
                    <a:pt x="556" y="18"/>
                  </a:lnTo>
                  <a:lnTo>
                    <a:pt x="556" y="12"/>
                  </a:lnTo>
                  <a:lnTo>
                    <a:pt x="562" y="12"/>
                  </a:lnTo>
                  <a:lnTo>
                    <a:pt x="562" y="12"/>
                  </a:lnTo>
                  <a:lnTo>
                    <a:pt x="568" y="12"/>
                  </a:lnTo>
                  <a:lnTo>
                    <a:pt x="574" y="18"/>
                  </a:lnTo>
                  <a:lnTo>
                    <a:pt x="574" y="18"/>
                  </a:lnTo>
                  <a:lnTo>
                    <a:pt x="580" y="18"/>
                  </a:lnTo>
                  <a:lnTo>
                    <a:pt x="574" y="18"/>
                  </a:lnTo>
                  <a:lnTo>
                    <a:pt x="574" y="18"/>
                  </a:lnTo>
                  <a:lnTo>
                    <a:pt x="568" y="18"/>
                  </a:lnTo>
                  <a:lnTo>
                    <a:pt x="562" y="18"/>
                  </a:lnTo>
                  <a:lnTo>
                    <a:pt x="562" y="22"/>
                  </a:lnTo>
                  <a:lnTo>
                    <a:pt x="556" y="22"/>
                  </a:lnTo>
                  <a:lnTo>
                    <a:pt x="556" y="18"/>
                  </a:lnTo>
                  <a:lnTo>
                    <a:pt x="550" y="18"/>
                  </a:lnTo>
                  <a:lnTo>
                    <a:pt x="550" y="22"/>
                  </a:lnTo>
                  <a:lnTo>
                    <a:pt x="550" y="22"/>
                  </a:lnTo>
                  <a:lnTo>
                    <a:pt x="544" y="22"/>
                  </a:lnTo>
                  <a:lnTo>
                    <a:pt x="544" y="18"/>
                  </a:lnTo>
                  <a:lnTo>
                    <a:pt x="544" y="18"/>
                  </a:lnTo>
                  <a:close/>
                  <a:moveTo>
                    <a:pt x="1166" y="52"/>
                  </a:moveTo>
                  <a:lnTo>
                    <a:pt x="1166" y="52"/>
                  </a:lnTo>
                  <a:lnTo>
                    <a:pt x="1160" y="52"/>
                  </a:lnTo>
                  <a:lnTo>
                    <a:pt x="1154" y="52"/>
                  </a:lnTo>
                  <a:lnTo>
                    <a:pt x="1154" y="52"/>
                  </a:lnTo>
                  <a:lnTo>
                    <a:pt x="1148" y="52"/>
                  </a:lnTo>
                  <a:lnTo>
                    <a:pt x="1142" y="52"/>
                  </a:lnTo>
                  <a:lnTo>
                    <a:pt x="1142" y="52"/>
                  </a:lnTo>
                  <a:lnTo>
                    <a:pt x="1136" y="52"/>
                  </a:lnTo>
                  <a:lnTo>
                    <a:pt x="1130" y="52"/>
                  </a:lnTo>
                  <a:lnTo>
                    <a:pt x="1130" y="58"/>
                  </a:lnTo>
                  <a:lnTo>
                    <a:pt x="1130" y="58"/>
                  </a:lnTo>
                  <a:lnTo>
                    <a:pt x="1124" y="58"/>
                  </a:lnTo>
                  <a:lnTo>
                    <a:pt x="1118" y="58"/>
                  </a:lnTo>
                  <a:lnTo>
                    <a:pt x="1112" y="58"/>
                  </a:lnTo>
                  <a:lnTo>
                    <a:pt x="1112" y="58"/>
                  </a:lnTo>
                  <a:lnTo>
                    <a:pt x="1112" y="52"/>
                  </a:lnTo>
                  <a:lnTo>
                    <a:pt x="1108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096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108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108" y="52"/>
                  </a:lnTo>
                  <a:lnTo>
                    <a:pt x="1112" y="52"/>
                  </a:lnTo>
                  <a:lnTo>
                    <a:pt x="1112" y="52"/>
                  </a:lnTo>
                  <a:lnTo>
                    <a:pt x="1112" y="52"/>
                  </a:lnTo>
                  <a:lnTo>
                    <a:pt x="1108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096" y="52"/>
                  </a:lnTo>
                  <a:lnTo>
                    <a:pt x="1090" y="52"/>
                  </a:lnTo>
                  <a:lnTo>
                    <a:pt x="1090" y="52"/>
                  </a:lnTo>
                  <a:lnTo>
                    <a:pt x="1090" y="46"/>
                  </a:lnTo>
                  <a:lnTo>
                    <a:pt x="1090" y="46"/>
                  </a:lnTo>
                  <a:lnTo>
                    <a:pt x="1096" y="46"/>
                  </a:lnTo>
                  <a:lnTo>
                    <a:pt x="1102" y="46"/>
                  </a:lnTo>
                  <a:lnTo>
                    <a:pt x="1102" y="46"/>
                  </a:lnTo>
                  <a:lnTo>
                    <a:pt x="1102" y="46"/>
                  </a:lnTo>
                  <a:lnTo>
                    <a:pt x="1096" y="46"/>
                  </a:lnTo>
                  <a:lnTo>
                    <a:pt x="1096" y="40"/>
                  </a:lnTo>
                  <a:lnTo>
                    <a:pt x="1102" y="40"/>
                  </a:lnTo>
                  <a:lnTo>
                    <a:pt x="1102" y="40"/>
                  </a:lnTo>
                  <a:lnTo>
                    <a:pt x="1108" y="40"/>
                  </a:lnTo>
                  <a:lnTo>
                    <a:pt x="1108" y="40"/>
                  </a:lnTo>
                  <a:lnTo>
                    <a:pt x="1112" y="40"/>
                  </a:lnTo>
                  <a:lnTo>
                    <a:pt x="1112" y="34"/>
                  </a:lnTo>
                  <a:lnTo>
                    <a:pt x="1112" y="34"/>
                  </a:lnTo>
                  <a:lnTo>
                    <a:pt x="1112" y="34"/>
                  </a:lnTo>
                  <a:lnTo>
                    <a:pt x="1108" y="34"/>
                  </a:lnTo>
                  <a:lnTo>
                    <a:pt x="1102" y="34"/>
                  </a:lnTo>
                  <a:lnTo>
                    <a:pt x="1108" y="34"/>
                  </a:lnTo>
                  <a:lnTo>
                    <a:pt x="1108" y="28"/>
                  </a:lnTo>
                  <a:lnTo>
                    <a:pt x="1112" y="28"/>
                  </a:lnTo>
                  <a:lnTo>
                    <a:pt x="1112" y="28"/>
                  </a:lnTo>
                  <a:lnTo>
                    <a:pt x="1112" y="28"/>
                  </a:lnTo>
                  <a:lnTo>
                    <a:pt x="1112" y="28"/>
                  </a:lnTo>
                  <a:lnTo>
                    <a:pt x="1118" y="28"/>
                  </a:lnTo>
                  <a:lnTo>
                    <a:pt x="1124" y="28"/>
                  </a:lnTo>
                  <a:lnTo>
                    <a:pt x="1130" y="28"/>
                  </a:lnTo>
                  <a:lnTo>
                    <a:pt x="1130" y="22"/>
                  </a:lnTo>
                  <a:lnTo>
                    <a:pt x="1130" y="22"/>
                  </a:lnTo>
                  <a:lnTo>
                    <a:pt x="1136" y="22"/>
                  </a:lnTo>
                  <a:lnTo>
                    <a:pt x="1142" y="22"/>
                  </a:lnTo>
                  <a:lnTo>
                    <a:pt x="1142" y="22"/>
                  </a:lnTo>
                  <a:lnTo>
                    <a:pt x="1142" y="18"/>
                  </a:lnTo>
                  <a:lnTo>
                    <a:pt x="1148" y="18"/>
                  </a:lnTo>
                  <a:lnTo>
                    <a:pt x="1154" y="18"/>
                  </a:lnTo>
                  <a:lnTo>
                    <a:pt x="1148" y="18"/>
                  </a:lnTo>
                  <a:lnTo>
                    <a:pt x="1142" y="18"/>
                  </a:lnTo>
                  <a:lnTo>
                    <a:pt x="1148" y="18"/>
                  </a:lnTo>
                  <a:lnTo>
                    <a:pt x="1154" y="18"/>
                  </a:lnTo>
                  <a:lnTo>
                    <a:pt x="1154" y="18"/>
                  </a:lnTo>
                  <a:lnTo>
                    <a:pt x="1160" y="22"/>
                  </a:lnTo>
                  <a:lnTo>
                    <a:pt x="1166" y="28"/>
                  </a:lnTo>
                  <a:lnTo>
                    <a:pt x="1166" y="28"/>
                  </a:lnTo>
                  <a:lnTo>
                    <a:pt x="1166" y="28"/>
                  </a:lnTo>
                  <a:lnTo>
                    <a:pt x="1170" y="28"/>
                  </a:lnTo>
                  <a:lnTo>
                    <a:pt x="1182" y="28"/>
                  </a:lnTo>
                  <a:lnTo>
                    <a:pt x="1182" y="34"/>
                  </a:lnTo>
                  <a:lnTo>
                    <a:pt x="1188" y="34"/>
                  </a:lnTo>
                  <a:lnTo>
                    <a:pt x="1182" y="40"/>
                  </a:lnTo>
                  <a:lnTo>
                    <a:pt x="1182" y="40"/>
                  </a:lnTo>
                  <a:lnTo>
                    <a:pt x="1176" y="40"/>
                  </a:lnTo>
                  <a:lnTo>
                    <a:pt x="1170" y="40"/>
                  </a:lnTo>
                  <a:lnTo>
                    <a:pt x="1170" y="40"/>
                  </a:lnTo>
                  <a:lnTo>
                    <a:pt x="1176" y="40"/>
                  </a:lnTo>
                  <a:lnTo>
                    <a:pt x="1176" y="46"/>
                  </a:lnTo>
                  <a:lnTo>
                    <a:pt x="1182" y="52"/>
                  </a:lnTo>
                  <a:lnTo>
                    <a:pt x="1176" y="52"/>
                  </a:lnTo>
                  <a:lnTo>
                    <a:pt x="1170" y="52"/>
                  </a:lnTo>
                  <a:lnTo>
                    <a:pt x="1166" y="52"/>
                  </a:lnTo>
                  <a:lnTo>
                    <a:pt x="1166" y="52"/>
                  </a:lnTo>
                  <a:close/>
                  <a:moveTo>
                    <a:pt x="648" y="28"/>
                  </a:moveTo>
                  <a:lnTo>
                    <a:pt x="654" y="28"/>
                  </a:lnTo>
                  <a:lnTo>
                    <a:pt x="654" y="28"/>
                  </a:lnTo>
                  <a:lnTo>
                    <a:pt x="660" y="28"/>
                  </a:lnTo>
                  <a:lnTo>
                    <a:pt x="666" y="28"/>
                  </a:lnTo>
                  <a:lnTo>
                    <a:pt x="666" y="28"/>
                  </a:lnTo>
                  <a:lnTo>
                    <a:pt x="672" y="28"/>
                  </a:lnTo>
                  <a:lnTo>
                    <a:pt x="678" y="28"/>
                  </a:lnTo>
                  <a:lnTo>
                    <a:pt x="672" y="28"/>
                  </a:lnTo>
                  <a:lnTo>
                    <a:pt x="672" y="22"/>
                  </a:lnTo>
                  <a:lnTo>
                    <a:pt x="678" y="22"/>
                  </a:lnTo>
                  <a:lnTo>
                    <a:pt x="678" y="22"/>
                  </a:lnTo>
                  <a:lnTo>
                    <a:pt x="684" y="22"/>
                  </a:lnTo>
                  <a:lnTo>
                    <a:pt x="690" y="22"/>
                  </a:lnTo>
                  <a:lnTo>
                    <a:pt x="690" y="22"/>
                  </a:lnTo>
                  <a:lnTo>
                    <a:pt x="690" y="28"/>
                  </a:lnTo>
                  <a:lnTo>
                    <a:pt x="690" y="28"/>
                  </a:lnTo>
                  <a:lnTo>
                    <a:pt x="690" y="34"/>
                  </a:lnTo>
                  <a:lnTo>
                    <a:pt x="684" y="34"/>
                  </a:lnTo>
                  <a:lnTo>
                    <a:pt x="678" y="34"/>
                  </a:lnTo>
                  <a:lnTo>
                    <a:pt x="678" y="34"/>
                  </a:lnTo>
                  <a:lnTo>
                    <a:pt x="672" y="34"/>
                  </a:lnTo>
                  <a:lnTo>
                    <a:pt x="666" y="34"/>
                  </a:lnTo>
                  <a:lnTo>
                    <a:pt x="666" y="34"/>
                  </a:lnTo>
                  <a:lnTo>
                    <a:pt x="666" y="40"/>
                  </a:lnTo>
                  <a:lnTo>
                    <a:pt x="660" y="40"/>
                  </a:lnTo>
                  <a:lnTo>
                    <a:pt x="654" y="40"/>
                  </a:lnTo>
                  <a:lnTo>
                    <a:pt x="654" y="34"/>
                  </a:lnTo>
                  <a:lnTo>
                    <a:pt x="654" y="34"/>
                  </a:lnTo>
                  <a:lnTo>
                    <a:pt x="648" y="34"/>
                  </a:lnTo>
                  <a:lnTo>
                    <a:pt x="648" y="28"/>
                  </a:lnTo>
                  <a:lnTo>
                    <a:pt x="648" y="28"/>
                  </a:lnTo>
                  <a:close/>
                  <a:moveTo>
                    <a:pt x="528" y="28"/>
                  </a:moveTo>
                  <a:lnTo>
                    <a:pt x="528" y="22"/>
                  </a:lnTo>
                  <a:lnTo>
                    <a:pt x="532" y="22"/>
                  </a:lnTo>
                  <a:lnTo>
                    <a:pt x="532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44" y="28"/>
                  </a:lnTo>
                  <a:lnTo>
                    <a:pt x="550" y="28"/>
                  </a:lnTo>
                  <a:lnTo>
                    <a:pt x="550" y="28"/>
                  </a:lnTo>
                  <a:lnTo>
                    <a:pt x="556" y="28"/>
                  </a:lnTo>
                  <a:lnTo>
                    <a:pt x="562" y="28"/>
                  </a:lnTo>
                  <a:lnTo>
                    <a:pt x="562" y="28"/>
                  </a:lnTo>
                  <a:lnTo>
                    <a:pt x="562" y="28"/>
                  </a:lnTo>
                  <a:lnTo>
                    <a:pt x="568" y="28"/>
                  </a:lnTo>
                  <a:lnTo>
                    <a:pt x="574" y="28"/>
                  </a:lnTo>
                  <a:lnTo>
                    <a:pt x="574" y="34"/>
                  </a:lnTo>
                  <a:lnTo>
                    <a:pt x="574" y="34"/>
                  </a:lnTo>
                  <a:lnTo>
                    <a:pt x="568" y="40"/>
                  </a:lnTo>
                  <a:lnTo>
                    <a:pt x="562" y="40"/>
                  </a:lnTo>
                  <a:lnTo>
                    <a:pt x="562" y="34"/>
                  </a:lnTo>
                  <a:lnTo>
                    <a:pt x="562" y="34"/>
                  </a:lnTo>
                  <a:lnTo>
                    <a:pt x="556" y="34"/>
                  </a:lnTo>
                  <a:lnTo>
                    <a:pt x="550" y="34"/>
                  </a:lnTo>
                  <a:lnTo>
                    <a:pt x="550" y="28"/>
                  </a:lnTo>
                  <a:lnTo>
                    <a:pt x="550" y="28"/>
                  </a:lnTo>
                  <a:lnTo>
                    <a:pt x="544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32" y="28"/>
                  </a:lnTo>
                  <a:lnTo>
                    <a:pt x="528" y="28"/>
                  </a:lnTo>
                  <a:lnTo>
                    <a:pt x="528" y="28"/>
                  </a:lnTo>
                  <a:close/>
                  <a:moveTo>
                    <a:pt x="412" y="52"/>
                  </a:moveTo>
                  <a:lnTo>
                    <a:pt x="412" y="46"/>
                  </a:lnTo>
                  <a:lnTo>
                    <a:pt x="418" y="46"/>
                  </a:lnTo>
                  <a:lnTo>
                    <a:pt x="422" y="52"/>
                  </a:lnTo>
                  <a:lnTo>
                    <a:pt x="422" y="52"/>
                  </a:lnTo>
                  <a:lnTo>
                    <a:pt x="428" y="52"/>
                  </a:lnTo>
                  <a:lnTo>
                    <a:pt x="434" y="46"/>
                  </a:lnTo>
                  <a:lnTo>
                    <a:pt x="428" y="46"/>
                  </a:lnTo>
                  <a:lnTo>
                    <a:pt x="422" y="46"/>
                  </a:lnTo>
                  <a:lnTo>
                    <a:pt x="428" y="46"/>
                  </a:lnTo>
                  <a:lnTo>
                    <a:pt x="434" y="46"/>
                  </a:lnTo>
                  <a:lnTo>
                    <a:pt x="434" y="40"/>
                  </a:lnTo>
                  <a:lnTo>
                    <a:pt x="428" y="40"/>
                  </a:lnTo>
                  <a:lnTo>
                    <a:pt x="422" y="40"/>
                  </a:lnTo>
                  <a:lnTo>
                    <a:pt x="422" y="46"/>
                  </a:lnTo>
                  <a:lnTo>
                    <a:pt x="422" y="40"/>
                  </a:lnTo>
                  <a:lnTo>
                    <a:pt x="422" y="40"/>
                  </a:lnTo>
                  <a:lnTo>
                    <a:pt x="428" y="40"/>
                  </a:lnTo>
                  <a:lnTo>
                    <a:pt x="434" y="40"/>
                  </a:lnTo>
                  <a:lnTo>
                    <a:pt x="440" y="40"/>
                  </a:lnTo>
                  <a:lnTo>
                    <a:pt x="440" y="40"/>
                  </a:lnTo>
                  <a:lnTo>
                    <a:pt x="446" y="40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8" y="34"/>
                  </a:lnTo>
                  <a:lnTo>
                    <a:pt x="452" y="34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2" y="34"/>
                  </a:lnTo>
                  <a:lnTo>
                    <a:pt x="446" y="34"/>
                  </a:lnTo>
                  <a:lnTo>
                    <a:pt x="452" y="34"/>
                  </a:lnTo>
                  <a:lnTo>
                    <a:pt x="452" y="34"/>
                  </a:lnTo>
                  <a:lnTo>
                    <a:pt x="452" y="28"/>
                  </a:lnTo>
                  <a:lnTo>
                    <a:pt x="458" y="28"/>
                  </a:lnTo>
                  <a:lnTo>
                    <a:pt x="464" y="28"/>
                  </a:lnTo>
                  <a:lnTo>
                    <a:pt x="464" y="28"/>
                  </a:lnTo>
                  <a:lnTo>
                    <a:pt x="464" y="28"/>
                  </a:lnTo>
                  <a:lnTo>
                    <a:pt x="470" y="28"/>
                  </a:lnTo>
                  <a:lnTo>
                    <a:pt x="474" y="28"/>
                  </a:lnTo>
                  <a:lnTo>
                    <a:pt x="474" y="28"/>
                  </a:lnTo>
                  <a:lnTo>
                    <a:pt x="470" y="34"/>
                  </a:lnTo>
                  <a:lnTo>
                    <a:pt x="464" y="34"/>
                  </a:lnTo>
                  <a:lnTo>
                    <a:pt x="470" y="34"/>
                  </a:lnTo>
                  <a:lnTo>
                    <a:pt x="474" y="34"/>
                  </a:lnTo>
                  <a:lnTo>
                    <a:pt x="474" y="34"/>
                  </a:lnTo>
                  <a:lnTo>
                    <a:pt x="480" y="34"/>
                  </a:lnTo>
                  <a:lnTo>
                    <a:pt x="486" y="34"/>
                  </a:lnTo>
                  <a:lnTo>
                    <a:pt x="486" y="40"/>
                  </a:lnTo>
                  <a:lnTo>
                    <a:pt x="480" y="40"/>
                  </a:lnTo>
                  <a:lnTo>
                    <a:pt x="474" y="40"/>
                  </a:lnTo>
                  <a:lnTo>
                    <a:pt x="474" y="40"/>
                  </a:lnTo>
                  <a:lnTo>
                    <a:pt x="474" y="40"/>
                  </a:lnTo>
                  <a:lnTo>
                    <a:pt x="470" y="40"/>
                  </a:lnTo>
                  <a:lnTo>
                    <a:pt x="464" y="40"/>
                  </a:lnTo>
                  <a:lnTo>
                    <a:pt x="464" y="40"/>
                  </a:lnTo>
                  <a:lnTo>
                    <a:pt x="458" y="40"/>
                  </a:lnTo>
                  <a:lnTo>
                    <a:pt x="458" y="46"/>
                  </a:lnTo>
                  <a:lnTo>
                    <a:pt x="452" y="46"/>
                  </a:lnTo>
                  <a:lnTo>
                    <a:pt x="452" y="46"/>
                  </a:lnTo>
                  <a:lnTo>
                    <a:pt x="446" y="46"/>
                  </a:lnTo>
                  <a:lnTo>
                    <a:pt x="440" y="46"/>
                  </a:lnTo>
                  <a:lnTo>
                    <a:pt x="440" y="52"/>
                  </a:lnTo>
                  <a:lnTo>
                    <a:pt x="446" y="52"/>
                  </a:lnTo>
                  <a:lnTo>
                    <a:pt x="446" y="52"/>
                  </a:lnTo>
                  <a:lnTo>
                    <a:pt x="440" y="52"/>
                  </a:lnTo>
                  <a:lnTo>
                    <a:pt x="440" y="52"/>
                  </a:lnTo>
                  <a:lnTo>
                    <a:pt x="440" y="52"/>
                  </a:lnTo>
                  <a:lnTo>
                    <a:pt x="440" y="52"/>
                  </a:lnTo>
                  <a:lnTo>
                    <a:pt x="434" y="52"/>
                  </a:lnTo>
                  <a:lnTo>
                    <a:pt x="428" y="52"/>
                  </a:lnTo>
                  <a:lnTo>
                    <a:pt x="422" y="52"/>
                  </a:lnTo>
                  <a:lnTo>
                    <a:pt x="422" y="58"/>
                  </a:lnTo>
                  <a:lnTo>
                    <a:pt x="422" y="52"/>
                  </a:lnTo>
                  <a:lnTo>
                    <a:pt x="428" y="52"/>
                  </a:lnTo>
                  <a:lnTo>
                    <a:pt x="428" y="52"/>
                  </a:lnTo>
                  <a:lnTo>
                    <a:pt x="422" y="52"/>
                  </a:lnTo>
                  <a:lnTo>
                    <a:pt x="422" y="52"/>
                  </a:lnTo>
                  <a:lnTo>
                    <a:pt x="418" y="52"/>
                  </a:lnTo>
                  <a:lnTo>
                    <a:pt x="412" y="52"/>
                  </a:lnTo>
                  <a:lnTo>
                    <a:pt x="412" y="52"/>
                  </a:lnTo>
                  <a:lnTo>
                    <a:pt x="412" y="52"/>
                  </a:lnTo>
                  <a:lnTo>
                    <a:pt x="412" y="52"/>
                  </a:lnTo>
                  <a:close/>
                  <a:moveTo>
                    <a:pt x="602" y="40"/>
                  </a:moveTo>
                  <a:lnTo>
                    <a:pt x="602" y="40"/>
                  </a:lnTo>
                  <a:lnTo>
                    <a:pt x="602" y="34"/>
                  </a:lnTo>
                  <a:lnTo>
                    <a:pt x="602" y="34"/>
                  </a:lnTo>
                  <a:lnTo>
                    <a:pt x="608" y="34"/>
                  </a:lnTo>
                  <a:lnTo>
                    <a:pt x="608" y="28"/>
                  </a:lnTo>
                  <a:lnTo>
                    <a:pt x="614" y="28"/>
                  </a:lnTo>
                  <a:lnTo>
                    <a:pt x="614" y="28"/>
                  </a:lnTo>
                  <a:lnTo>
                    <a:pt x="614" y="34"/>
                  </a:lnTo>
                  <a:lnTo>
                    <a:pt x="614" y="34"/>
                  </a:lnTo>
                  <a:lnTo>
                    <a:pt x="614" y="34"/>
                  </a:lnTo>
                  <a:lnTo>
                    <a:pt x="620" y="34"/>
                  </a:lnTo>
                  <a:lnTo>
                    <a:pt x="626" y="34"/>
                  </a:lnTo>
                  <a:lnTo>
                    <a:pt x="626" y="28"/>
                  </a:lnTo>
                  <a:lnTo>
                    <a:pt x="632" y="28"/>
                  </a:lnTo>
                  <a:lnTo>
                    <a:pt x="638" y="28"/>
                  </a:lnTo>
                  <a:lnTo>
                    <a:pt x="644" y="28"/>
                  </a:lnTo>
                  <a:lnTo>
                    <a:pt x="644" y="28"/>
                  </a:lnTo>
                  <a:lnTo>
                    <a:pt x="644" y="34"/>
                  </a:lnTo>
                  <a:lnTo>
                    <a:pt x="644" y="40"/>
                  </a:lnTo>
                  <a:lnTo>
                    <a:pt x="644" y="40"/>
                  </a:lnTo>
                  <a:lnTo>
                    <a:pt x="644" y="40"/>
                  </a:lnTo>
                  <a:lnTo>
                    <a:pt x="644" y="40"/>
                  </a:lnTo>
                  <a:lnTo>
                    <a:pt x="638" y="40"/>
                  </a:lnTo>
                  <a:lnTo>
                    <a:pt x="638" y="40"/>
                  </a:lnTo>
                  <a:lnTo>
                    <a:pt x="632" y="40"/>
                  </a:lnTo>
                  <a:lnTo>
                    <a:pt x="626" y="46"/>
                  </a:lnTo>
                  <a:lnTo>
                    <a:pt x="626" y="46"/>
                  </a:lnTo>
                  <a:lnTo>
                    <a:pt x="620" y="46"/>
                  </a:lnTo>
                  <a:lnTo>
                    <a:pt x="620" y="40"/>
                  </a:lnTo>
                  <a:lnTo>
                    <a:pt x="614" y="40"/>
                  </a:lnTo>
                  <a:lnTo>
                    <a:pt x="614" y="40"/>
                  </a:lnTo>
                  <a:lnTo>
                    <a:pt x="608" y="46"/>
                  </a:lnTo>
                  <a:lnTo>
                    <a:pt x="602" y="46"/>
                  </a:lnTo>
                  <a:lnTo>
                    <a:pt x="602" y="40"/>
                  </a:lnTo>
                  <a:lnTo>
                    <a:pt x="602" y="40"/>
                  </a:lnTo>
                  <a:lnTo>
                    <a:pt x="602" y="40"/>
                  </a:lnTo>
                  <a:close/>
                  <a:moveTo>
                    <a:pt x="400" y="46"/>
                  </a:moveTo>
                  <a:lnTo>
                    <a:pt x="400" y="40"/>
                  </a:lnTo>
                  <a:lnTo>
                    <a:pt x="400" y="40"/>
                  </a:lnTo>
                  <a:lnTo>
                    <a:pt x="394" y="40"/>
                  </a:lnTo>
                  <a:lnTo>
                    <a:pt x="388" y="40"/>
                  </a:lnTo>
                  <a:lnTo>
                    <a:pt x="388" y="40"/>
                  </a:lnTo>
                  <a:lnTo>
                    <a:pt x="388" y="40"/>
                  </a:lnTo>
                  <a:lnTo>
                    <a:pt x="382" y="40"/>
                  </a:lnTo>
                  <a:lnTo>
                    <a:pt x="388" y="40"/>
                  </a:lnTo>
                  <a:lnTo>
                    <a:pt x="388" y="40"/>
                  </a:lnTo>
                  <a:lnTo>
                    <a:pt x="394" y="40"/>
                  </a:lnTo>
                  <a:lnTo>
                    <a:pt x="400" y="40"/>
                  </a:lnTo>
                  <a:lnTo>
                    <a:pt x="400" y="40"/>
                  </a:lnTo>
                  <a:lnTo>
                    <a:pt x="406" y="40"/>
                  </a:lnTo>
                  <a:lnTo>
                    <a:pt x="412" y="34"/>
                  </a:lnTo>
                  <a:lnTo>
                    <a:pt x="406" y="34"/>
                  </a:lnTo>
                  <a:lnTo>
                    <a:pt x="412" y="34"/>
                  </a:lnTo>
                  <a:lnTo>
                    <a:pt x="412" y="34"/>
                  </a:lnTo>
                  <a:lnTo>
                    <a:pt x="418" y="34"/>
                  </a:lnTo>
                  <a:lnTo>
                    <a:pt x="418" y="28"/>
                  </a:lnTo>
                  <a:lnTo>
                    <a:pt x="422" y="28"/>
                  </a:lnTo>
                  <a:lnTo>
                    <a:pt x="422" y="28"/>
                  </a:lnTo>
                  <a:lnTo>
                    <a:pt x="422" y="34"/>
                  </a:lnTo>
                  <a:lnTo>
                    <a:pt x="428" y="34"/>
                  </a:lnTo>
                  <a:lnTo>
                    <a:pt x="434" y="34"/>
                  </a:lnTo>
                  <a:lnTo>
                    <a:pt x="440" y="34"/>
                  </a:lnTo>
                  <a:lnTo>
                    <a:pt x="440" y="34"/>
                  </a:lnTo>
                  <a:lnTo>
                    <a:pt x="440" y="34"/>
                  </a:lnTo>
                  <a:lnTo>
                    <a:pt x="440" y="40"/>
                  </a:lnTo>
                  <a:lnTo>
                    <a:pt x="440" y="40"/>
                  </a:lnTo>
                  <a:lnTo>
                    <a:pt x="434" y="40"/>
                  </a:lnTo>
                  <a:lnTo>
                    <a:pt x="428" y="40"/>
                  </a:lnTo>
                  <a:lnTo>
                    <a:pt x="428" y="34"/>
                  </a:lnTo>
                  <a:lnTo>
                    <a:pt x="422" y="34"/>
                  </a:lnTo>
                  <a:lnTo>
                    <a:pt x="422" y="34"/>
                  </a:lnTo>
                  <a:lnTo>
                    <a:pt x="422" y="40"/>
                  </a:lnTo>
                  <a:lnTo>
                    <a:pt x="418" y="40"/>
                  </a:lnTo>
                  <a:lnTo>
                    <a:pt x="412" y="40"/>
                  </a:lnTo>
                  <a:lnTo>
                    <a:pt x="412" y="40"/>
                  </a:lnTo>
                  <a:lnTo>
                    <a:pt x="406" y="40"/>
                  </a:lnTo>
                  <a:lnTo>
                    <a:pt x="412" y="40"/>
                  </a:lnTo>
                  <a:lnTo>
                    <a:pt x="406" y="40"/>
                  </a:lnTo>
                  <a:lnTo>
                    <a:pt x="400" y="46"/>
                  </a:lnTo>
                  <a:lnTo>
                    <a:pt x="400" y="46"/>
                  </a:lnTo>
                  <a:close/>
                  <a:moveTo>
                    <a:pt x="574" y="52"/>
                  </a:moveTo>
                  <a:lnTo>
                    <a:pt x="574" y="52"/>
                  </a:lnTo>
                  <a:lnTo>
                    <a:pt x="568" y="52"/>
                  </a:lnTo>
                  <a:lnTo>
                    <a:pt x="568" y="46"/>
                  </a:lnTo>
                  <a:lnTo>
                    <a:pt x="568" y="40"/>
                  </a:lnTo>
                  <a:lnTo>
                    <a:pt x="562" y="40"/>
                  </a:lnTo>
                  <a:lnTo>
                    <a:pt x="568" y="40"/>
                  </a:lnTo>
                  <a:lnTo>
                    <a:pt x="574" y="40"/>
                  </a:lnTo>
                  <a:lnTo>
                    <a:pt x="574" y="40"/>
                  </a:lnTo>
                  <a:lnTo>
                    <a:pt x="580" y="40"/>
                  </a:lnTo>
                  <a:lnTo>
                    <a:pt x="590" y="40"/>
                  </a:lnTo>
                  <a:lnTo>
                    <a:pt x="590" y="46"/>
                  </a:lnTo>
                  <a:lnTo>
                    <a:pt x="596" y="46"/>
                  </a:lnTo>
                  <a:lnTo>
                    <a:pt x="602" y="46"/>
                  </a:lnTo>
                  <a:lnTo>
                    <a:pt x="602" y="52"/>
                  </a:lnTo>
                  <a:lnTo>
                    <a:pt x="590" y="46"/>
                  </a:lnTo>
                  <a:lnTo>
                    <a:pt x="590" y="46"/>
                  </a:lnTo>
                  <a:lnTo>
                    <a:pt x="590" y="52"/>
                  </a:lnTo>
                  <a:lnTo>
                    <a:pt x="586" y="52"/>
                  </a:lnTo>
                  <a:lnTo>
                    <a:pt x="580" y="52"/>
                  </a:lnTo>
                  <a:lnTo>
                    <a:pt x="586" y="52"/>
                  </a:lnTo>
                  <a:lnTo>
                    <a:pt x="590" y="52"/>
                  </a:lnTo>
                  <a:lnTo>
                    <a:pt x="590" y="52"/>
                  </a:lnTo>
                  <a:lnTo>
                    <a:pt x="586" y="52"/>
                  </a:lnTo>
                  <a:lnTo>
                    <a:pt x="580" y="52"/>
                  </a:lnTo>
                  <a:lnTo>
                    <a:pt x="580" y="52"/>
                  </a:lnTo>
                  <a:lnTo>
                    <a:pt x="580" y="52"/>
                  </a:lnTo>
                  <a:lnTo>
                    <a:pt x="574" y="52"/>
                  </a:lnTo>
                  <a:lnTo>
                    <a:pt x="574" y="52"/>
                  </a:lnTo>
                  <a:close/>
                  <a:moveTo>
                    <a:pt x="550" y="52"/>
                  </a:moveTo>
                  <a:lnTo>
                    <a:pt x="550" y="52"/>
                  </a:lnTo>
                  <a:lnTo>
                    <a:pt x="550" y="52"/>
                  </a:lnTo>
                  <a:lnTo>
                    <a:pt x="550" y="46"/>
                  </a:lnTo>
                  <a:lnTo>
                    <a:pt x="550" y="46"/>
                  </a:lnTo>
                  <a:lnTo>
                    <a:pt x="556" y="46"/>
                  </a:lnTo>
                  <a:lnTo>
                    <a:pt x="562" y="46"/>
                  </a:lnTo>
                  <a:lnTo>
                    <a:pt x="562" y="46"/>
                  </a:lnTo>
                  <a:lnTo>
                    <a:pt x="568" y="46"/>
                  </a:lnTo>
                  <a:lnTo>
                    <a:pt x="568" y="52"/>
                  </a:lnTo>
                  <a:lnTo>
                    <a:pt x="568" y="52"/>
                  </a:lnTo>
                  <a:lnTo>
                    <a:pt x="562" y="52"/>
                  </a:lnTo>
                  <a:lnTo>
                    <a:pt x="562" y="58"/>
                  </a:lnTo>
                  <a:lnTo>
                    <a:pt x="562" y="58"/>
                  </a:lnTo>
                  <a:lnTo>
                    <a:pt x="562" y="52"/>
                  </a:lnTo>
                  <a:lnTo>
                    <a:pt x="556" y="52"/>
                  </a:lnTo>
                  <a:lnTo>
                    <a:pt x="550" y="52"/>
                  </a:lnTo>
                  <a:lnTo>
                    <a:pt x="550" y="52"/>
                  </a:lnTo>
                  <a:lnTo>
                    <a:pt x="544" y="52"/>
                  </a:lnTo>
                  <a:lnTo>
                    <a:pt x="550" y="52"/>
                  </a:lnTo>
                  <a:lnTo>
                    <a:pt x="550" y="52"/>
                  </a:lnTo>
                  <a:close/>
                  <a:moveTo>
                    <a:pt x="1112" y="76"/>
                  </a:moveTo>
                  <a:lnTo>
                    <a:pt x="1112" y="76"/>
                  </a:lnTo>
                  <a:lnTo>
                    <a:pt x="1112" y="76"/>
                  </a:lnTo>
                  <a:lnTo>
                    <a:pt x="1112" y="76"/>
                  </a:lnTo>
                  <a:lnTo>
                    <a:pt x="1108" y="70"/>
                  </a:lnTo>
                  <a:lnTo>
                    <a:pt x="1112" y="70"/>
                  </a:lnTo>
                  <a:lnTo>
                    <a:pt x="1112" y="76"/>
                  </a:lnTo>
                  <a:lnTo>
                    <a:pt x="1112" y="76"/>
                  </a:lnTo>
                  <a:lnTo>
                    <a:pt x="1118" y="70"/>
                  </a:lnTo>
                  <a:lnTo>
                    <a:pt x="1124" y="70"/>
                  </a:lnTo>
                  <a:lnTo>
                    <a:pt x="1124" y="64"/>
                  </a:lnTo>
                  <a:lnTo>
                    <a:pt x="1130" y="64"/>
                  </a:lnTo>
                  <a:lnTo>
                    <a:pt x="1130" y="64"/>
                  </a:lnTo>
                  <a:lnTo>
                    <a:pt x="1136" y="64"/>
                  </a:lnTo>
                  <a:lnTo>
                    <a:pt x="1136" y="64"/>
                  </a:lnTo>
                  <a:lnTo>
                    <a:pt x="1130" y="64"/>
                  </a:lnTo>
                  <a:lnTo>
                    <a:pt x="1130" y="58"/>
                  </a:lnTo>
                  <a:lnTo>
                    <a:pt x="1136" y="58"/>
                  </a:lnTo>
                  <a:lnTo>
                    <a:pt x="1142" y="58"/>
                  </a:lnTo>
                  <a:lnTo>
                    <a:pt x="1142" y="52"/>
                  </a:lnTo>
                  <a:lnTo>
                    <a:pt x="1142" y="52"/>
                  </a:lnTo>
                  <a:lnTo>
                    <a:pt x="1142" y="58"/>
                  </a:lnTo>
                  <a:lnTo>
                    <a:pt x="1148" y="58"/>
                  </a:lnTo>
                  <a:lnTo>
                    <a:pt x="1148" y="52"/>
                  </a:lnTo>
                  <a:lnTo>
                    <a:pt x="1154" y="52"/>
                  </a:lnTo>
                  <a:lnTo>
                    <a:pt x="1154" y="52"/>
                  </a:lnTo>
                  <a:lnTo>
                    <a:pt x="1160" y="52"/>
                  </a:lnTo>
                  <a:lnTo>
                    <a:pt x="1166" y="52"/>
                  </a:lnTo>
                  <a:lnTo>
                    <a:pt x="1166" y="52"/>
                  </a:lnTo>
                  <a:lnTo>
                    <a:pt x="1170" y="52"/>
                  </a:lnTo>
                  <a:lnTo>
                    <a:pt x="1176" y="52"/>
                  </a:lnTo>
                  <a:lnTo>
                    <a:pt x="1182" y="52"/>
                  </a:lnTo>
                  <a:lnTo>
                    <a:pt x="1182" y="52"/>
                  </a:lnTo>
                  <a:lnTo>
                    <a:pt x="1188" y="58"/>
                  </a:lnTo>
                  <a:lnTo>
                    <a:pt x="1182" y="64"/>
                  </a:lnTo>
                  <a:lnTo>
                    <a:pt x="1182" y="64"/>
                  </a:lnTo>
                  <a:lnTo>
                    <a:pt x="1176" y="64"/>
                  </a:lnTo>
                  <a:lnTo>
                    <a:pt x="1182" y="64"/>
                  </a:lnTo>
                  <a:lnTo>
                    <a:pt x="1182" y="64"/>
                  </a:lnTo>
                  <a:lnTo>
                    <a:pt x="1182" y="64"/>
                  </a:lnTo>
                  <a:lnTo>
                    <a:pt x="1188" y="64"/>
                  </a:lnTo>
                  <a:lnTo>
                    <a:pt x="1188" y="64"/>
                  </a:lnTo>
                  <a:lnTo>
                    <a:pt x="1194" y="64"/>
                  </a:lnTo>
                  <a:lnTo>
                    <a:pt x="1194" y="58"/>
                  </a:lnTo>
                  <a:lnTo>
                    <a:pt x="1200" y="58"/>
                  </a:lnTo>
                  <a:lnTo>
                    <a:pt x="1200" y="58"/>
                  </a:lnTo>
                  <a:lnTo>
                    <a:pt x="1206" y="58"/>
                  </a:lnTo>
                  <a:lnTo>
                    <a:pt x="1212" y="58"/>
                  </a:lnTo>
                  <a:lnTo>
                    <a:pt x="1212" y="64"/>
                  </a:lnTo>
                  <a:lnTo>
                    <a:pt x="1218" y="64"/>
                  </a:lnTo>
                  <a:lnTo>
                    <a:pt x="1218" y="64"/>
                  </a:lnTo>
                  <a:lnTo>
                    <a:pt x="1218" y="64"/>
                  </a:lnTo>
                  <a:lnTo>
                    <a:pt x="1218" y="64"/>
                  </a:lnTo>
                  <a:lnTo>
                    <a:pt x="1218" y="70"/>
                  </a:lnTo>
                  <a:lnTo>
                    <a:pt x="1212" y="70"/>
                  </a:lnTo>
                  <a:lnTo>
                    <a:pt x="1212" y="76"/>
                  </a:lnTo>
                  <a:lnTo>
                    <a:pt x="1212" y="76"/>
                  </a:lnTo>
                  <a:lnTo>
                    <a:pt x="1218" y="76"/>
                  </a:lnTo>
                  <a:lnTo>
                    <a:pt x="1212" y="76"/>
                  </a:lnTo>
                  <a:lnTo>
                    <a:pt x="1212" y="80"/>
                  </a:lnTo>
                  <a:lnTo>
                    <a:pt x="1206" y="80"/>
                  </a:lnTo>
                  <a:lnTo>
                    <a:pt x="1206" y="76"/>
                  </a:lnTo>
                  <a:lnTo>
                    <a:pt x="1200" y="76"/>
                  </a:lnTo>
                  <a:lnTo>
                    <a:pt x="1200" y="80"/>
                  </a:lnTo>
                  <a:lnTo>
                    <a:pt x="1206" y="80"/>
                  </a:lnTo>
                  <a:lnTo>
                    <a:pt x="1212" y="80"/>
                  </a:lnTo>
                  <a:lnTo>
                    <a:pt x="1212" y="86"/>
                  </a:lnTo>
                  <a:lnTo>
                    <a:pt x="1218" y="86"/>
                  </a:lnTo>
                  <a:lnTo>
                    <a:pt x="1218" y="92"/>
                  </a:lnTo>
                  <a:lnTo>
                    <a:pt x="1212" y="92"/>
                  </a:lnTo>
                  <a:lnTo>
                    <a:pt x="1206" y="92"/>
                  </a:lnTo>
                  <a:lnTo>
                    <a:pt x="1200" y="92"/>
                  </a:lnTo>
                  <a:lnTo>
                    <a:pt x="1200" y="92"/>
                  </a:lnTo>
                  <a:lnTo>
                    <a:pt x="1194" y="92"/>
                  </a:lnTo>
                  <a:lnTo>
                    <a:pt x="1194" y="98"/>
                  </a:lnTo>
                  <a:lnTo>
                    <a:pt x="1188" y="92"/>
                  </a:lnTo>
                  <a:lnTo>
                    <a:pt x="1188" y="92"/>
                  </a:lnTo>
                  <a:lnTo>
                    <a:pt x="1182" y="92"/>
                  </a:lnTo>
                  <a:lnTo>
                    <a:pt x="1182" y="92"/>
                  </a:lnTo>
                  <a:lnTo>
                    <a:pt x="1176" y="92"/>
                  </a:lnTo>
                  <a:lnTo>
                    <a:pt x="1170" y="92"/>
                  </a:lnTo>
                  <a:lnTo>
                    <a:pt x="1170" y="92"/>
                  </a:lnTo>
                  <a:lnTo>
                    <a:pt x="1166" y="92"/>
                  </a:lnTo>
                  <a:lnTo>
                    <a:pt x="1166" y="92"/>
                  </a:lnTo>
                  <a:lnTo>
                    <a:pt x="1160" y="92"/>
                  </a:lnTo>
                  <a:lnTo>
                    <a:pt x="1166" y="92"/>
                  </a:lnTo>
                  <a:lnTo>
                    <a:pt x="1160" y="92"/>
                  </a:lnTo>
                  <a:lnTo>
                    <a:pt x="1154" y="92"/>
                  </a:lnTo>
                  <a:lnTo>
                    <a:pt x="1154" y="92"/>
                  </a:lnTo>
                  <a:lnTo>
                    <a:pt x="1154" y="86"/>
                  </a:lnTo>
                  <a:lnTo>
                    <a:pt x="1148" y="86"/>
                  </a:lnTo>
                  <a:lnTo>
                    <a:pt x="1142" y="86"/>
                  </a:lnTo>
                  <a:lnTo>
                    <a:pt x="1142" y="86"/>
                  </a:lnTo>
                  <a:lnTo>
                    <a:pt x="1136" y="86"/>
                  </a:lnTo>
                  <a:lnTo>
                    <a:pt x="1136" y="80"/>
                  </a:lnTo>
                  <a:lnTo>
                    <a:pt x="1130" y="80"/>
                  </a:lnTo>
                  <a:lnTo>
                    <a:pt x="1130" y="76"/>
                  </a:lnTo>
                  <a:lnTo>
                    <a:pt x="1130" y="76"/>
                  </a:lnTo>
                  <a:lnTo>
                    <a:pt x="1130" y="76"/>
                  </a:lnTo>
                  <a:lnTo>
                    <a:pt x="1124" y="76"/>
                  </a:lnTo>
                  <a:lnTo>
                    <a:pt x="1130" y="76"/>
                  </a:lnTo>
                  <a:lnTo>
                    <a:pt x="1124" y="76"/>
                  </a:lnTo>
                  <a:lnTo>
                    <a:pt x="1124" y="70"/>
                  </a:lnTo>
                  <a:lnTo>
                    <a:pt x="1118" y="76"/>
                  </a:lnTo>
                  <a:lnTo>
                    <a:pt x="1112" y="76"/>
                  </a:lnTo>
                  <a:lnTo>
                    <a:pt x="1112" y="76"/>
                  </a:lnTo>
                  <a:close/>
                  <a:moveTo>
                    <a:pt x="1084" y="58"/>
                  </a:moveTo>
                  <a:lnTo>
                    <a:pt x="1078" y="58"/>
                  </a:lnTo>
                  <a:lnTo>
                    <a:pt x="1084" y="58"/>
                  </a:lnTo>
                  <a:lnTo>
                    <a:pt x="1090" y="58"/>
                  </a:lnTo>
                  <a:lnTo>
                    <a:pt x="1090" y="58"/>
                  </a:lnTo>
                  <a:lnTo>
                    <a:pt x="1096" y="58"/>
                  </a:lnTo>
                  <a:lnTo>
                    <a:pt x="1102" y="58"/>
                  </a:lnTo>
                  <a:lnTo>
                    <a:pt x="1102" y="58"/>
                  </a:lnTo>
                  <a:lnTo>
                    <a:pt x="1108" y="58"/>
                  </a:lnTo>
                  <a:lnTo>
                    <a:pt x="1112" y="58"/>
                  </a:lnTo>
                  <a:lnTo>
                    <a:pt x="1112" y="58"/>
                  </a:lnTo>
                  <a:lnTo>
                    <a:pt x="1118" y="58"/>
                  </a:lnTo>
                  <a:lnTo>
                    <a:pt x="1124" y="64"/>
                  </a:lnTo>
                  <a:lnTo>
                    <a:pt x="1118" y="64"/>
                  </a:lnTo>
                  <a:lnTo>
                    <a:pt x="1118" y="64"/>
                  </a:lnTo>
                  <a:lnTo>
                    <a:pt x="1112" y="64"/>
                  </a:lnTo>
                  <a:lnTo>
                    <a:pt x="1112" y="64"/>
                  </a:lnTo>
                  <a:lnTo>
                    <a:pt x="1108" y="64"/>
                  </a:lnTo>
                  <a:lnTo>
                    <a:pt x="1108" y="70"/>
                  </a:lnTo>
                  <a:lnTo>
                    <a:pt x="1102" y="70"/>
                  </a:lnTo>
                  <a:lnTo>
                    <a:pt x="1102" y="70"/>
                  </a:lnTo>
                  <a:lnTo>
                    <a:pt x="1096" y="70"/>
                  </a:lnTo>
                  <a:lnTo>
                    <a:pt x="1096" y="64"/>
                  </a:lnTo>
                  <a:lnTo>
                    <a:pt x="1102" y="64"/>
                  </a:lnTo>
                  <a:lnTo>
                    <a:pt x="1096" y="64"/>
                  </a:lnTo>
                  <a:lnTo>
                    <a:pt x="1090" y="64"/>
                  </a:lnTo>
                  <a:lnTo>
                    <a:pt x="1084" y="64"/>
                  </a:lnTo>
                  <a:lnTo>
                    <a:pt x="1084" y="58"/>
                  </a:lnTo>
                  <a:lnTo>
                    <a:pt x="1084" y="58"/>
                  </a:lnTo>
                  <a:close/>
                  <a:moveTo>
                    <a:pt x="1218" y="70"/>
                  </a:moveTo>
                  <a:lnTo>
                    <a:pt x="1218" y="64"/>
                  </a:lnTo>
                  <a:lnTo>
                    <a:pt x="1218" y="64"/>
                  </a:lnTo>
                  <a:lnTo>
                    <a:pt x="1224" y="70"/>
                  </a:lnTo>
                  <a:lnTo>
                    <a:pt x="1218" y="70"/>
                  </a:lnTo>
                  <a:lnTo>
                    <a:pt x="1218" y="70"/>
                  </a:lnTo>
                  <a:lnTo>
                    <a:pt x="1218" y="70"/>
                  </a:lnTo>
                  <a:close/>
                  <a:moveTo>
                    <a:pt x="864" y="76"/>
                  </a:moveTo>
                  <a:lnTo>
                    <a:pt x="858" y="76"/>
                  </a:lnTo>
                  <a:lnTo>
                    <a:pt x="858" y="70"/>
                  </a:lnTo>
                  <a:lnTo>
                    <a:pt x="858" y="70"/>
                  </a:lnTo>
                  <a:lnTo>
                    <a:pt x="864" y="70"/>
                  </a:lnTo>
                  <a:lnTo>
                    <a:pt x="870" y="70"/>
                  </a:lnTo>
                  <a:lnTo>
                    <a:pt x="870" y="70"/>
                  </a:lnTo>
                  <a:lnTo>
                    <a:pt x="870" y="76"/>
                  </a:lnTo>
                  <a:lnTo>
                    <a:pt x="876" y="76"/>
                  </a:lnTo>
                  <a:lnTo>
                    <a:pt x="880" y="76"/>
                  </a:lnTo>
                  <a:lnTo>
                    <a:pt x="876" y="76"/>
                  </a:lnTo>
                  <a:lnTo>
                    <a:pt x="870" y="76"/>
                  </a:lnTo>
                  <a:lnTo>
                    <a:pt x="870" y="76"/>
                  </a:lnTo>
                  <a:lnTo>
                    <a:pt x="864" y="76"/>
                  </a:lnTo>
                  <a:lnTo>
                    <a:pt x="864" y="76"/>
                  </a:lnTo>
                  <a:close/>
                  <a:moveTo>
                    <a:pt x="1090" y="76"/>
                  </a:moveTo>
                  <a:lnTo>
                    <a:pt x="1096" y="76"/>
                  </a:lnTo>
                  <a:lnTo>
                    <a:pt x="1102" y="76"/>
                  </a:lnTo>
                  <a:lnTo>
                    <a:pt x="1102" y="76"/>
                  </a:lnTo>
                  <a:lnTo>
                    <a:pt x="1102" y="76"/>
                  </a:lnTo>
                  <a:lnTo>
                    <a:pt x="1102" y="76"/>
                  </a:lnTo>
                  <a:lnTo>
                    <a:pt x="1096" y="76"/>
                  </a:lnTo>
                  <a:lnTo>
                    <a:pt x="1090" y="76"/>
                  </a:lnTo>
                  <a:lnTo>
                    <a:pt x="1090" y="76"/>
                  </a:lnTo>
                  <a:close/>
                  <a:moveTo>
                    <a:pt x="1102" y="76"/>
                  </a:moveTo>
                  <a:lnTo>
                    <a:pt x="1108" y="76"/>
                  </a:lnTo>
                  <a:lnTo>
                    <a:pt x="1112" y="76"/>
                  </a:lnTo>
                  <a:lnTo>
                    <a:pt x="1112" y="76"/>
                  </a:lnTo>
                  <a:lnTo>
                    <a:pt x="1108" y="76"/>
                  </a:lnTo>
                  <a:lnTo>
                    <a:pt x="1102" y="76"/>
                  </a:lnTo>
                  <a:lnTo>
                    <a:pt x="1102" y="76"/>
                  </a:lnTo>
                  <a:close/>
                  <a:moveTo>
                    <a:pt x="1292" y="104"/>
                  </a:moveTo>
                  <a:lnTo>
                    <a:pt x="1292" y="104"/>
                  </a:lnTo>
                  <a:lnTo>
                    <a:pt x="1292" y="110"/>
                  </a:lnTo>
                  <a:lnTo>
                    <a:pt x="1286" y="110"/>
                  </a:lnTo>
                  <a:lnTo>
                    <a:pt x="1282" y="110"/>
                  </a:lnTo>
                  <a:lnTo>
                    <a:pt x="1282" y="110"/>
                  </a:lnTo>
                  <a:lnTo>
                    <a:pt x="1276" y="110"/>
                  </a:lnTo>
                  <a:lnTo>
                    <a:pt x="1270" y="110"/>
                  </a:lnTo>
                  <a:lnTo>
                    <a:pt x="1270" y="116"/>
                  </a:lnTo>
                  <a:lnTo>
                    <a:pt x="1264" y="116"/>
                  </a:lnTo>
                  <a:lnTo>
                    <a:pt x="1258" y="116"/>
                  </a:lnTo>
                  <a:lnTo>
                    <a:pt x="1252" y="116"/>
                  </a:lnTo>
                  <a:lnTo>
                    <a:pt x="1252" y="116"/>
                  </a:lnTo>
                  <a:lnTo>
                    <a:pt x="1246" y="116"/>
                  </a:lnTo>
                  <a:lnTo>
                    <a:pt x="1240" y="116"/>
                  </a:lnTo>
                  <a:lnTo>
                    <a:pt x="1240" y="116"/>
                  </a:lnTo>
                  <a:lnTo>
                    <a:pt x="1234" y="116"/>
                  </a:lnTo>
                  <a:lnTo>
                    <a:pt x="1228" y="116"/>
                  </a:lnTo>
                  <a:lnTo>
                    <a:pt x="1228" y="116"/>
                  </a:lnTo>
                  <a:lnTo>
                    <a:pt x="1228" y="116"/>
                  </a:lnTo>
                  <a:lnTo>
                    <a:pt x="1224" y="116"/>
                  </a:lnTo>
                  <a:lnTo>
                    <a:pt x="1218" y="122"/>
                  </a:lnTo>
                  <a:lnTo>
                    <a:pt x="1218" y="122"/>
                  </a:lnTo>
                  <a:lnTo>
                    <a:pt x="1212" y="122"/>
                  </a:lnTo>
                  <a:lnTo>
                    <a:pt x="1206" y="122"/>
                  </a:lnTo>
                  <a:lnTo>
                    <a:pt x="1206" y="116"/>
                  </a:lnTo>
                  <a:lnTo>
                    <a:pt x="1212" y="116"/>
                  </a:lnTo>
                  <a:lnTo>
                    <a:pt x="1218" y="110"/>
                  </a:lnTo>
                  <a:lnTo>
                    <a:pt x="1218" y="110"/>
                  </a:lnTo>
                  <a:lnTo>
                    <a:pt x="1218" y="104"/>
                  </a:lnTo>
                  <a:lnTo>
                    <a:pt x="1218" y="98"/>
                  </a:lnTo>
                  <a:lnTo>
                    <a:pt x="1224" y="98"/>
                  </a:lnTo>
                  <a:lnTo>
                    <a:pt x="1228" y="92"/>
                  </a:lnTo>
                  <a:lnTo>
                    <a:pt x="1228" y="98"/>
                  </a:lnTo>
                  <a:lnTo>
                    <a:pt x="1234" y="98"/>
                  </a:lnTo>
                  <a:lnTo>
                    <a:pt x="1228" y="92"/>
                  </a:lnTo>
                  <a:lnTo>
                    <a:pt x="1228" y="92"/>
                  </a:lnTo>
                  <a:lnTo>
                    <a:pt x="1228" y="92"/>
                  </a:lnTo>
                  <a:lnTo>
                    <a:pt x="1234" y="92"/>
                  </a:lnTo>
                  <a:lnTo>
                    <a:pt x="1240" y="92"/>
                  </a:lnTo>
                  <a:lnTo>
                    <a:pt x="1240" y="92"/>
                  </a:lnTo>
                  <a:lnTo>
                    <a:pt x="1240" y="92"/>
                  </a:lnTo>
                  <a:lnTo>
                    <a:pt x="1234" y="92"/>
                  </a:lnTo>
                  <a:lnTo>
                    <a:pt x="1234" y="86"/>
                  </a:lnTo>
                  <a:lnTo>
                    <a:pt x="1228" y="86"/>
                  </a:lnTo>
                  <a:lnTo>
                    <a:pt x="1234" y="80"/>
                  </a:lnTo>
                  <a:lnTo>
                    <a:pt x="1240" y="80"/>
                  </a:lnTo>
                  <a:lnTo>
                    <a:pt x="1240" y="76"/>
                  </a:lnTo>
                  <a:lnTo>
                    <a:pt x="1240" y="76"/>
                  </a:lnTo>
                  <a:lnTo>
                    <a:pt x="1246" y="76"/>
                  </a:lnTo>
                  <a:lnTo>
                    <a:pt x="1246" y="80"/>
                  </a:lnTo>
                  <a:lnTo>
                    <a:pt x="1252" y="80"/>
                  </a:lnTo>
                  <a:lnTo>
                    <a:pt x="1252" y="76"/>
                  </a:lnTo>
                  <a:lnTo>
                    <a:pt x="1252" y="76"/>
                  </a:lnTo>
                  <a:lnTo>
                    <a:pt x="1252" y="76"/>
                  </a:lnTo>
                  <a:lnTo>
                    <a:pt x="1252" y="76"/>
                  </a:lnTo>
                  <a:lnTo>
                    <a:pt x="1258" y="76"/>
                  </a:lnTo>
                  <a:lnTo>
                    <a:pt x="1264" y="76"/>
                  </a:lnTo>
                  <a:lnTo>
                    <a:pt x="1264" y="80"/>
                  </a:lnTo>
                  <a:lnTo>
                    <a:pt x="1258" y="80"/>
                  </a:lnTo>
                  <a:lnTo>
                    <a:pt x="1258" y="86"/>
                  </a:lnTo>
                  <a:lnTo>
                    <a:pt x="1252" y="92"/>
                  </a:lnTo>
                  <a:lnTo>
                    <a:pt x="1252" y="92"/>
                  </a:lnTo>
                  <a:lnTo>
                    <a:pt x="1258" y="92"/>
                  </a:lnTo>
                  <a:lnTo>
                    <a:pt x="1258" y="92"/>
                  </a:lnTo>
                  <a:lnTo>
                    <a:pt x="1264" y="86"/>
                  </a:lnTo>
                  <a:lnTo>
                    <a:pt x="1270" y="86"/>
                  </a:lnTo>
                  <a:lnTo>
                    <a:pt x="1270" y="86"/>
                  </a:lnTo>
                  <a:lnTo>
                    <a:pt x="1276" y="86"/>
                  </a:lnTo>
                  <a:lnTo>
                    <a:pt x="1282" y="86"/>
                  </a:lnTo>
                  <a:lnTo>
                    <a:pt x="1282" y="92"/>
                  </a:lnTo>
                  <a:lnTo>
                    <a:pt x="1282" y="92"/>
                  </a:lnTo>
                  <a:lnTo>
                    <a:pt x="1286" y="92"/>
                  </a:lnTo>
                  <a:lnTo>
                    <a:pt x="1286" y="92"/>
                  </a:lnTo>
                  <a:lnTo>
                    <a:pt x="1286" y="98"/>
                  </a:lnTo>
                  <a:lnTo>
                    <a:pt x="1286" y="92"/>
                  </a:lnTo>
                  <a:lnTo>
                    <a:pt x="1292" y="92"/>
                  </a:lnTo>
                  <a:lnTo>
                    <a:pt x="1286" y="92"/>
                  </a:lnTo>
                  <a:lnTo>
                    <a:pt x="1292" y="92"/>
                  </a:lnTo>
                  <a:lnTo>
                    <a:pt x="1292" y="92"/>
                  </a:lnTo>
                  <a:lnTo>
                    <a:pt x="1292" y="98"/>
                  </a:lnTo>
                  <a:lnTo>
                    <a:pt x="1298" y="104"/>
                  </a:lnTo>
                  <a:lnTo>
                    <a:pt x="1298" y="104"/>
                  </a:lnTo>
                  <a:lnTo>
                    <a:pt x="1292" y="104"/>
                  </a:lnTo>
                  <a:lnTo>
                    <a:pt x="1292" y="104"/>
                  </a:lnTo>
                  <a:close/>
                  <a:moveTo>
                    <a:pt x="1310" y="116"/>
                  </a:moveTo>
                  <a:lnTo>
                    <a:pt x="1304" y="116"/>
                  </a:lnTo>
                  <a:lnTo>
                    <a:pt x="1304" y="110"/>
                  </a:lnTo>
                  <a:lnTo>
                    <a:pt x="1310" y="110"/>
                  </a:lnTo>
                  <a:lnTo>
                    <a:pt x="1316" y="110"/>
                  </a:lnTo>
                  <a:lnTo>
                    <a:pt x="1322" y="110"/>
                  </a:lnTo>
                  <a:lnTo>
                    <a:pt x="1316" y="110"/>
                  </a:lnTo>
                  <a:lnTo>
                    <a:pt x="1316" y="116"/>
                  </a:lnTo>
                  <a:lnTo>
                    <a:pt x="1310" y="116"/>
                  </a:lnTo>
                  <a:lnTo>
                    <a:pt x="1310" y="116"/>
                  </a:lnTo>
                  <a:close/>
                  <a:moveTo>
                    <a:pt x="1124" y="116"/>
                  </a:moveTo>
                  <a:lnTo>
                    <a:pt x="1118" y="116"/>
                  </a:lnTo>
                  <a:lnTo>
                    <a:pt x="1124" y="116"/>
                  </a:lnTo>
                  <a:lnTo>
                    <a:pt x="1124" y="116"/>
                  </a:lnTo>
                  <a:close/>
                  <a:moveTo>
                    <a:pt x="1334" y="116"/>
                  </a:moveTo>
                  <a:lnTo>
                    <a:pt x="1328" y="116"/>
                  </a:lnTo>
                  <a:lnTo>
                    <a:pt x="1322" y="116"/>
                  </a:lnTo>
                  <a:lnTo>
                    <a:pt x="1322" y="116"/>
                  </a:lnTo>
                  <a:lnTo>
                    <a:pt x="1316" y="116"/>
                  </a:lnTo>
                  <a:lnTo>
                    <a:pt x="1316" y="116"/>
                  </a:lnTo>
                  <a:lnTo>
                    <a:pt x="1322" y="116"/>
                  </a:lnTo>
                  <a:lnTo>
                    <a:pt x="1322" y="116"/>
                  </a:lnTo>
                  <a:lnTo>
                    <a:pt x="1328" y="116"/>
                  </a:lnTo>
                  <a:lnTo>
                    <a:pt x="1334" y="116"/>
                  </a:lnTo>
                  <a:lnTo>
                    <a:pt x="1334" y="116"/>
                  </a:lnTo>
                  <a:lnTo>
                    <a:pt x="1334" y="116"/>
                  </a:lnTo>
                  <a:lnTo>
                    <a:pt x="1334" y="116"/>
                  </a:lnTo>
                  <a:lnTo>
                    <a:pt x="1334" y="116"/>
                  </a:lnTo>
                  <a:close/>
                  <a:moveTo>
                    <a:pt x="1096" y="128"/>
                  </a:moveTo>
                  <a:lnTo>
                    <a:pt x="1090" y="128"/>
                  </a:lnTo>
                  <a:lnTo>
                    <a:pt x="1096" y="128"/>
                  </a:lnTo>
                  <a:lnTo>
                    <a:pt x="1096" y="128"/>
                  </a:lnTo>
                  <a:close/>
                  <a:moveTo>
                    <a:pt x="944" y="134"/>
                  </a:moveTo>
                  <a:lnTo>
                    <a:pt x="950" y="134"/>
                  </a:lnTo>
                  <a:lnTo>
                    <a:pt x="950" y="138"/>
                  </a:lnTo>
                  <a:lnTo>
                    <a:pt x="944" y="134"/>
                  </a:lnTo>
                  <a:lnTo>
                    <a:pt x="944" y="134"/>
                  </a:lnTo>
                  <a:close/>
                  <a:moveTo>
                    <a:pt x="1316" y="138"/>
                  </a:moveTo>
                  <a:lnTo>
                    <a:pt x="1322" y="134"/>
                  </a:lnTo>
                  <a:lnTo>
                    <a:pt x="1322" y="138"/>
                  </a:lnTo>
                  <a:lnTo>
                    <a:pt x="1322" y="138"/>
                  </a:lnTo>
                  <a:lnTo>
                    <a:pt x="1316" y="138"/>
                  </a:lnTo>
                  <a:lnTo>
                    <a:pt x="1316" y="138"/>
                  </a:lnTo>
                  <a:close/>
                  <a:moveTo>
                    <a:pt x="1328" y="138"/>
                  </a:moveTo>
                  <a:lnTo>
                    <a:pt x="1328" y="138"/>
                  </a:lnTo>
                  <a:lnTo>
                    <a:pt x="1334" y="138"/>
                  </a:lnTo>
                  <a:lnTo>
                    <a:pt x="1334" y="138"/>
                  </a:lnTo>
                  <a:lnTo>
                    <a:pt x="1334" y="138"/>
                  </a:lnTo>
                  <a:lnTo>
                    <a:pt x="1334" y="138"/>
                  </a:lnTo>
                  <a:lnTo>
                    <a:pt x="1328" y="138"/>
                  </a:lnTo>
                  <a:lnTo>
                    <a:pt x="1328" y="138"/>
                  </a:lnTo>
                  <a:close/>
                  <a:moveTo>
                    <a:pt x="1050" y="144"/>
                  </a:moveTo>
                  <a:lnTo>
                    <a:pt x="1050" y="138"/>
                  </a:lnTo>
                  <a:lnTo>
                    <a:pt x="1054" y="138"/>
                  </a:lnTo>
                  <a:lnTo>
                    <a:pt x="1060" y="138"/>
                  </a:lnTo>
                  <a:lnTo>
                    <a:pt x="1060" y="144"/>
                  </a:lnTo>
                  <a:lnTo>
                    <a:pt x="1054" y="144"/>
                  </a:lnTo>
                  <a:lnTo>
                    <a:pt x="1050" y="138"/>
                  </a:lnTo>
                  <a:lnTo>
                    <a:pt x="1050" y="144"/>
                  </a:lnTo>
                  <a:lnTo>
                    <a:pt x="1050" y="144"/>
                  </a:lnTo>
                  <a:close/>
                  <a:moveTo>
                    <a:pt x="1166" y="138"/>
                  </a:moveTo>
                  <a:lnTo>
                    <a:pt x="1166" y="144"/>
                  </a:lnTo>
                  <a:lnTo>
                    <a:pt x="1166" y="144"/>
                  </a:lnTo>
                  <a:lnTo>
                    <a:pt x="1166" y="144"/>
                  </a:lnTo>
                  <a:lnTo>
                    <a:pt x="1160" y="150"/>
                  </a:lnTo>
                  <a:lnTo>
                    <a:pt x="1154" y="150"/>
                  </a:lnTo>
                  <a:lnTo>
                    <a:pt x="1154" y="150"/>
                  </a:lnTo>
                  <a:lnTo>
                    <a:pt x="1154" y="150"/>
                  </a:lnTo>
                  <a:lnTo>
                    <a:pt x="1154" y="150"/>
                  </a:lnTo>
                  <a:lnTo>
                    <a:pt x="1148" y="150"/>
                  </a:lnTo>
                  <a:lnTo>
                    <a:pt x="1142" y="150"/>
                  </a:lnTo>
                  <a:lnTo>
                    <a:pt x="1148" y="150"/>
                  </a:lnTo>
                  <a:lnTo>
                    <a:pt x="1154" y="144"/>
                  </a:lnTo>
                  <a:lnTo>
                    <a:pt x="1160" y="144"/>
                  </a:lnTo>
                  <a:lnTo>
                    <a:pt x="1166" y="144"/>
                  </a:lnTo>
                  <a:lnTo>
                    <a:pt x="1166" y="138"/>
                  </a:lnTo>
                  <a:lnTo>
                    <a:pt x="1166" y="138"/>
                  </a:lnTo>
                  <a:close/>
                  <a:moveTo>
                    <a:pt x="1050" y="144"/>
                  </a:moveTo>
                  <a:lnTo>
                    <a:pt x="1050" y="144"/>
                  </a:lnTo>
                  <a:lnTo>
                    <a:pt x="1050" y="144"/>
                  </a:lnTo>
                  <a:lnTo>
                    <a:pt x="1044" y="144"/>
                  </a:lnTo>
                  <a:lnTo>
                    <a:pt x="1050" y="144"/>
                  </a:lnTo>
                  <a:lnTo>
                    <a:pt x="1050" y="150"/>
                  </a:lnTo>
                  <a:lnTo>
                    <a:pt x="1044" y="150"/>
                  </a:lnTo>
                  <a:lnTo>
                    <a:pt x="1044" y="144"/>
                  </a:lnTo>
                  <a:lnTo>
                    <a:pt x="1050" y="144"/>
                  </a:lnTo>
                  <a:lnTo>
                    <a:pt x="1050" y="144"/>
                  </a:lnTo>
                  <a:close/>
                  <a:moveTo>
                    <a:pt x="2076" y="144"/>
                  </a:moveTo>
                  <a:lnTo>
                    <a:pt x="2076" y="144"/>
                  </a:lnTo>
                  <a:lnTo>
                    <a:pt x="2076" y="144"/>
                  </a:lnTo>
                  <a:lnTo>
                    <a:pt x="2076" y="144"/>
                  </a:lnTo>
                  <a:close/>
                  <a:moveTo>
                    <a:pt x="626" y="180"/>
                  </a:moveTo>
                  <a:lnTo>
                    <a:pt x="626" y="180"/>
                  </a:lnTo>
                  <a:lnTo>
                    <a:pt x="626" y="174"/>
                  </a:lnTo>
                  <a:lnTo>
                    <a:pt x="626" y="174"/>
                  </a:lnTo>
                  <a:lnTo>
                    <a:pt x="626" y="168"/>
                  </a:lnTo>
                  <a:lnTo>
                    <a:pt x="632" y="168"/>
                  </a:lnTo>
                  <a:lnTo>
                    <a:pt x="638" y="168"/>
                  </a:lnTo>
                  <a:lnTo>
                    <a:pt x="644" y="168"/>
                  </a:lnTo>
                  <a:lnTo>
                    <a:pt x="644" y="174"/>
                  </a:lnTo>
                  <a:lnTo>
                    <a:pt x="644" y="174"/>
                  </a:lnTo>
                  <a:lnTo>
                    <a:pt x="644" y="168"/>
                  </a:lnTo>
                  <a:lnTo>
                    <a:pt x="648" y="174"/>
                  </a:lnTo>
                  <a:lnTo>
                    <a:pt x="654" y="174"/>
                  </a:lnTo>
                  <a:lnTo>
                    <a:pt x="654" y="168"/>
                  </a:lnTo>
                  <a:lnTo>
                    <a:pt x="654" y="174"/>
                  </a:lnTo>
                  <a:lnTo>
                    <a:pt x="660" y="174"/>
                  </a:lnTo>
                  <a:lnTo>
                    <a:pt x="660" y="168"/>
                  </a:lnTo>
                  <a:lnTo>
                    <a:pt x="666" y="168"/>
                  </a:lnTo>
                  <a:lnTo>
                    <a:pt x="666" y="168"/>
                  </a:lnTo>
                  <a:lnTo>
                    <a:pt x="672" y="168"/>
                  </a:lnTo>
                  <a:lnTo>
                    <a:pt x="678" y="168"/>
                  </a:lnTo>
                  <a:lnTo>
                    <a:pt x="678" y="162"/>
                  </a:lnTo>
                  <a:lnTo>
                    <a:pt x="684" y="162"/>
                  </a:lnTo>
                  <a:lnTo>
                    <a:pt x="690" y="162"/>
                  </a:lnTo>
                  <a:lnTo>
                    <a:pt x="690" y="162"/>
                  </a:lnTo>
                  <a:lnTo>
                    <a:pt x="690" y="162"/>
                  </a:lnTo>
                  <a:lnTo>
                    <a:pt x="696" y="162"/>
                  </a:lnTo>
                  <a:lnTo>
                    <a:pt x="702" y="162"/>
                  </a:lnTo>
                  <a:lnTo>
                    <a:pt x="706" y="162"/>
                  </a:lnTo>
                  <a:lnTo>
                    <a:pt x="702" y="162"/>
                  </a:lnTo>
                  <a:lnTo>
                    <a:pt x="702" y="156"/>
                  </a:lnTo>
                  <a:lnTo>
                    <a:pt x="706" y="156"/>
                  </a:lnTo>
                  <a:lnTo>
                    <a:pt x="706" y="150"/>
                  </a:lnTo>
                  <a:lnTo>
                    <a:pt x="712" y="150"/>
                  </a:lnTo>
                  <a:lnTo>
                    <a:pt x="718" y="150"/>
                  </a:lnTo>
                  <a:lnTo>
                    <a:pt x="718" y="150"/>
                  </a:lnTo>
                  <a:lnTo>
                    <a:pt x="724" y="150"/>
                  </a:lnTo>
                  <a:lnTo>
                    <a:pt x="730" y="150"/>
                  </a:lnTo>
                  <a:lnTo>
                    <a:pt x="730" y="150"/>
                  </a:lnTo>
                  <a:lnTo>
                    <a:pt x="736" y="150"/>
                  </a:lnTo>
                  <a:lnTo>
                    <a:pt x="742" y="150"/>
                  </a:lnTo>
                  <a:lnTo>
                    <a:pt x="742" y="150"/>
                  </a:lnTo>
                  <a:lnTo>
                    <a:pt x="748" y="156"/>
                  </a:lnTo>
                  <a:lnTo>
                    <a:pt x="742" y="156"/>
                  </a:lnTo>
                  <a:lnTo>
                    <a:pt x="742" y="162"/>
                  </a:lnTo>
                  <a:lnTo>
                    <a:pt x="742" y="168"/>
                  </a:lnTo>
                  <a:lnTo>
                    <a:pt x="736" y="168"/>
                  </a:lnTo>
                  <a:lnTo>
                    <a:pt x="730" y="168"/>
                  </a:lnTo>
                  <a:lnTo>
                    <a:pt x="730" y="174"/>
                  </a:lnTo>
                  <a:lnTo>
                    <a:pt x="724" y="174"/>
                  </a:lnTo>
                  <a:lnTo>
                    <a:pt x="718" y="174"/>
                  </a:lnTo>
                  <a:lnTo>
                    <a:pt x="718" y="180"/>
                  </a:lnTo>
                  <a:lnTo>
                    <a:pt x="718" y="180"/>
                  </a:lnTo>
                  <a:lnTo>
                    <a:pt x="712" y="180"/>
                  </a:lnTo>
                  <a:lnTo>
                    <a:pt x="706" y="180"/>
                  </a:lnTo>
                  <a:lnTo>
                    <a:pt x="706" y="180"/>
                  </a:lnTo>
                  <a:lnTo>
                    <a:pt x="702" y="180"/>
                  </a:lnTo>
                  <a:lnTo>
                    <a:pt x="696" y="180"/>
                  </a:lnTo>
                  <a:lnTo>
                    <a:pt x="690" y="180"/>
                  </a:lnTo>
                  <a:lnTo>
                    <a:pt x="690" y="186"/>
                  </a:lnTo>
                  <a:lnTo>
                    <a:pt x="684" y="186"/>
                  </a:lnTo>
                  <a:lnTo>
                    <a:pt x="678" y="186"/>
                  </a:lnTo>
                  <a:lnTo>
                    <a:pt x="678" y="186"/>
                  </a:lnTo>
                  <a:lnTo>
                    <a:pt x="672" y="186"/>
                  </a:lnTo>
                  <a:lnTo>
                    <a:pt x="666" y="192"/>
                  </a:lnTo>
                  <a:lnTo>
                    <a:pt x="666" y="192"/>
                  </a:lnTo>
                  <a:lnTo>
                    <a:pt x="660" y="192"/>
                  </a:lnTo>
                  <a:lnTo>
                    <a:pt x="654" y="192"/>
                  </a:lnTo>
                  <a:lnTo>
                    <a:pt x="654" y="192"/>
                  </a:lnTo>
                  <a:lnTo>
                    <a:pt x="654" y="192"/>
                  </a:lnTo>
                  <a:lnTo>
                    <a:pt x="648" y="192"/>
                  </a:lnTo>
                  <a:lnTo>
                    <a:pt x="644" y="192"/>
                  </a:lnTo>
                  <a:lnTo>
                    <a:pt x="644" y="196"/>
                  </a:lnTo>
                  <a:lnTo>
                    <a:pt x="644" y="192"/>
                  </a:lnTo>
                  <a:lnTo>
                    <a:pt x="644" y="192"/>
                  </a:lnTo>
                  <a:lnTo>
                    <a:pt x="644" y="196"/>
                  </a:lnTo>
                  <a:lnTo>
                    <a:pt x="638" y="196"/>
                  </a:lnTo>
                  <a:lnTo>
                    <a:pt x="638" y="202"/>
                  </a:lnTo>
                  <a:lnTo>
                    <a:pt x="632" y="202"/>
                  </a:lnTo>
                  <a:lnTo>
                    <a:pt x="632" y="196"/>
                  </a:lnTo>
                  <a:lnTo>
                    <a:pt x="632" y="202"/>
                  </a:lnTo>
                  <a:lnTo>
                    <a:pt x="626" y="202"/>
                  </a:lnTo>
                  <a:lnTo>
                    <a:pt x="626" y="202"/>
                  </a:lnTo>
                  <a:lnTo>
                    <a:pt x="626" y="202"/>
                  </a:lnTo>
                  <a:lnTo>
                    <a:pt x="620" y="208"/>
                  </a:lnTo>
                  <a:lnTo>
                    <a:pt x="620" y="202"/>
                  </a:lnTo>
                  <a:lnTo>
                    <a:pt x="614" y="202"/>
                  </a:lnTo>
                  <a:lnTo>
                    <a:pt x="614" y="208"/>
                  </a:lnTo>
                  <a:lnTo>
                    <a:pt x="614" y="208"/>
                  </a:lnTo>
                  <a:lnTo>
                    <a:pt x="608" y="208"/>
                  </a:lnTo>
                  <a:lnTo>
                    <a:pt x="614" y="208"/>
                  </a:lnTo>
                  <a:lnTo>
                    <a:pt x="614" y="208"/>
                  </a:lnTo>
                  <a:lnTo>
                    <a:pt x="620" y="208"/>
                  </a:lnTo>
                  <a:lnTo>
                    <a:pt x="620" y="214"/>
                  </a:lnTo>
                  <a:lnTo>
                    <a:pt x="614" y="214"/>
                  </a:lnTo>
                  <a:lnTo>
                    <a:pt x="614" y="214"/>
                  </a:lnTo>
                  <a:lnTo>
                    <a:pt x="614" y="214"/>
                  </a:lnTo>
                  <a:lnTo>
                    <a:pt x="614" y="214"/>
                  </a:lnTo>
                  <a:lnTo>
                    <a:pt x="614" y="214"/>
                  </a:lnTo>
                  <a:lnTo>
                    <a:pt x="608" y="214"/>
                  </a:lnTo>
                  <a:lnTo>
                    <a:pt x="602" y="214"/>
                  </a:lnTo>
                  <a:lnTo>
                    <a:pt x="602" y="214"/>
                  </a:lnTo>
                  <a:lnTo>
                    <a:pt x="608" y="214"/>
                  </a:lnTo>
                  <a:lnTo>
                    <a:pt x="608" y="220"/>
                  </a:lnTo>
                  <a:lnTo>
                    <a:pt x="602" y="220"/>
                  </a:lnTo>
                  <a:lnTo>
                    <a:pt x="602" y="214"/>
                  </a:lnTo>
                  <a:lnTo>
                    <a:pt x="602" y="214"/>
                  </a:lnTo>
                  <a:lnTo>
                    <a:pt x="602" y="220"/>
                  </a:lnTo>
                  <a:lnTo>
                    <a:pt x="596" y="220"/>
                  </a:lnTo>
                  <a:lnTo>
                    <a:pt x="596" y="226"/>
                  </a:lnTo>
                  <a:lnTo>
                    <a:pt x="590" y="226"/>
                  </a:lnTo>
                  <a:lnTo>
                    <a:pt x="590" y="220"/>
                  </a:lnTo>
                  <a:lnTo>
                    <a:pt x="590" y="220"/>
                  </a:lnTo>
                  <a:lnTo>
                    <a:pt x="586" y="220"/>
                  </a:lnTo>
                  <a:lnTo>
                    <a:pt x="590" y="220"/>
                  </a:lnTo>
                  <a:lnTo>
                    <a:pt x="590" y="226"/>
                  </a:lnTo>
                  <a:lnTo>
                    <a:pt x="590" y="232"/>
                  </a:lnTo>
                  <a:lnTo>
                    <a:pt x="590" y="232"/>
                  </a:lnTo>
                  <a:lnTo>
                    <a:pt x="586" y="232"/>
                  </a:lnTo>
                  <a:lnTo>
                    <a:pt x="586" y="232"/>
                  </a:lnTo>
                  <a:lnTo>
                    <a:pt x="590" y="232"/>
                  </a:lnTo>
                  <a:lnTo>
                    <a:pt x="586" y="232"/>
                  </a:lnTo>
                  <a:lnTo>
                    <a:pt x="586" y="238"/>
                  </a:lnTo>
                  <a:lnTo>
                    <a:pt x="580" y="238"/>
                  </a:lnTo>
                  <a:lnTo>
                    <a:pt x="574" y="238"/>
                  </a:lnTo>
                  <a:lnTo>
                    <a:pt x="574" y="232"/>
                  </a:lnTo>
                  <a:lnTo>
                    <a:pt x="574" y="232"/>
                  </a:lnTo>
                  <a:lnTo>
                    <a:pt x="568" y="232"/>
                  </a:lnTo>
                  <a:lnTo>
                    <a:pt x="574" y="232"/>
                  </a:lnTo>
                  <a:lnTo>
                    <a:pt x="574" y="238"/>
                  </a:lnTo>
                  <a:lnTo>
                    <a:pt x="574" y="238"/>
                  </a:lnTo>
                  <a:lnTo>
                    <a:pt x="580" y="238"/>
                  </a:lnTo>
                  <a:lnTo>
                    <a:pt x="580" y="244"/>
                  </a:lnTo>
                  <a:lnTo>
                    <a:pt x="574" y="244"/>
                  </a:lnTo>
                  <a:lnTo>
                    <a:pt x="574" y="244"/>
                  </a:lnTo>
                  <a:lnTo>
                    <a:pt x="568" y="244"/>
                  </a:lnTo>
                  <a:lnTo>
                    <a:pt x="562" y="244"/>
                  </a:lnTo>
                  <a:lnTo>
                    <a:pt x="562" y="244"/>
                  </a:lnTo>
                  <a:lnTo>
                    <a:pt x="562" y="244"/>
                  </a:lnTo>
                  <a:lnTo>
                    <a:pt x="568" y="244"/>
                  </a:lnTo>
                  <a:lnTo>
                    <a:pt x="574" y="244"/>
                  </a:lnTo>
                  <a:lnTo>
                    <a:pt x="574" y="244"/>
                  </a:lnTo>
                  <a:lnTo>
                    <a:pt x="574" y="244"/>
                  </a:lnTo>
                  <a:lnTo>
                    <a:pt x="574" y="250"/>
                  </a:lnTo>
                  <a:lnTo>
                    <a:pt x="574" y="250"/>
                  </a:lnTo>
                  <a:lnTo>
                    <a:pt x="568" y="250"/>
                  </a:lnTo>
                  <a:lnTo>
                    <a:pt x="562" y="250"/>
                  </a:lnTo>
                  <a:lnTo>
                    <a:pt x="562" y="244"/>
                  </a:lnTo>
                  <a:lnTo>
                    <a:pt x="562" y="244"/>
                  </a:lnTo>
                  <a:lnTo>
                    <a:pt x="562" y="250"/>
                  </a:lnTo>
                  <a:lnTo>
                    <a:pt x="562" y="250"/>
                  </a:lnTo>
                  <a:lnTo>
                    <a:pt x="568" y="250"/>
                  </a:lnTo>
                  <a:lnTo>
                    <a:pt x="568" y="254"/>
                  </a:lnTo>
                  <a:lnTo>
                    <a:pt x="562" y="254"/>
                  </a:lnTo>
                  <a:lnTo>
                    <a:pt x="562" y="254"/>
                  </a:lnTo>
                  <a:lnTo>
                    <a:pt x="562" y="254"/>
                  </a:lnTo>
                  <a:lnTo>
                    <a:pt x="562" y="254"/>
                  </a:lnTo>
                  <a:lnTo>
                    <a:pt x="556" y="254"/>
                  </a:lnTo>
                  <a:lnTo>
                    <a:pt x="550" y="254"/>
                  </a:lnTo>
                  <a:lnTo>
                    <a:pt x="550" y="254"/>
                  </a:lnTo>
                  <a:lnTo>
                    <a:pt x="550" y="254"/>
                  </a:lnTo>
                  <a:lnTo>
                    <a:pt x="550" y="254"/>
                  </a:lnTo>
                  <a:lnTo>
                    <a:pt x="544" y="254"/>
                  </a:lnTo>
                  <a:lnTo>
                    <a:pt x="538" y="254"/>
                  </a:lnTo>
                  <a:lnTo>
                    <a:pt x="538" y="254"/>
                  </a:lnTo>
                  <a:lnTo>
                    <a:pt x="538" y="254"/>
                  </a:lnTo>
                  <a:lnTo>
                    <a:pt x="532" y="254"/>
                  </a:lnTo>
                  <a:lnTo>
                    <a:pt x="528" y="254"/>
                  </a:lnTo>
                  <a:lnTo>
                    <a:pt x="528" y="254"/>
                  </a:lnTo>
                  <a:lnTo>
                    <a:pt x="522" y="254"/>
                  </a:lnTo>
                  <a:lnTo>
                    <a:pt x="528" y="254"/>
                  </a:lnTo>
                  <a:lnTo>
                    <a:pt x="528" y="250"/>
                  </a:lnTo>
                  <a:lnTo>
                    <a:pt x="528" y="250"/>
                  </a:lnTo>
                  <a:lnTo>
                    <a:pt x="532" y="250"/>
                  </a:lnTo>
                  <a:lnTo>
                    <a:pt x="532" y="244"/>
                  </a:lnTo>
                  <a:lnTo>
                    <a:pt x="538" y="244"/>
                  </a:lnTo>
                  <a:lnTo>
                    <a:pt x="532" y="244"/>
                  </a:lnTo>
                  <a:lnTo>
                    <a:pt x="528" y="244"/>
                  </a:lnTo>
                  <a:lnTo>
                    <a:pt x="528" y="250"/>
                  </a:lnTo>
                  <a:lnTo>
                    <a:pt x="522" y="250"/>
                  </a:lnTo>
                  <a:lnTo>
                    <a:pt x="522" y="244"/>
                  </a:lnTo>
                  <a:lnTo>
                    <a:pt x="516" y="244"/>
                  </a:lnTo>
                  <a:lnTo>
                    <a:pt x="516" y="244"/>
                  </a:lnTo>
                  <a:lnTo>
                    <a:pt x="516" y="244"/>
                  </a:lnTo>
                  <a:lnTo>
                    <a:pt x="522" y="244"/>
                  </a:lnTo>
                  <a:lnTo>
                    <a:pt x="522" y="244"/>
                  </a:lnTo>
                  <a:lnTo>
                    <a:pt x="528" y="244"/>
                  </a:lnTo>
                  <a:lnTo>
                    <a:pt x="528" y="238"/>
                  </a:lnTo>
                  <a:lnTo>
                    <a:pt x="528" y="238"/>
                  </a:lnTo>
                  <a:lnTo>
                    <a:pt x="532" y="238"/>
                  </a:lnTo>
                  <a:lnTo>
                    <a:pt x="528" y="238"/>
                  </a:lnTo>
                  <a:lnTo>
                    <a:pt x="532" y="232"/>
                  </a:lnTo>
                  <a:lnTo>
                    <a:pt x="538" y="232"/>
                  </a:lnTo>
                  <a:lnTo>
                    <a:pt x="538" y="232"/>
                  </a:lnTo>
                  <a:lnTo>
                    <a:pt x="544" y="232"/>
                  </a:lnTo>
                  <a:lnTo>
                    <a:pt x="550" y="232"/>
                  </a:lnTo>
                  <a:lnTo>
                    <a:pt x="544" y="232"/>
                  </a:lnTo>
                  <a:lnTo>
                    <a:pt x="544" y="232"/>
                  </a:lnTo>
                  <a:lnTo>
                    <a:pt x="538" y="232"/>
                  </a:lnTo>
                  <a:lnTo>
                    <a:pt x="538" y="232"/>
                  </a:lnTo>
                  <a:lnTo>
                    <a:pt x="538" y="232"/>
                  </a:lnTo>
                  <a:lnTo>
                    <a:pt x="544" y="232"/>
                  </a:lnTo>
                  <a:lnTo>
                    <a:pt x="550" y="232"/>
                  </a:lnTo>
                  <a:lnTo>
                    <a:pt x="544" y="232"/>
                  </a:lnTo>
                  <a:lnTo>
                    <a:pt x="538" y="226"/>
                  </a:lnTo>
                  <a:lnTo>
                    <a:pt x="550" y="226"/>
                  </a:lnTo>
                  <a:lnTo>
                    <a:pt x="550" y="226"/>
                  </a:lnTo>
                  <a:lnTo>
                    <a:pt x="556" y="220"/>
                  </a:lnTo>
                  <a:lnTo>
                    <a:pt x="550" y="220"/>
                  </a:lnTo>
                  <a:lnTo>
                    <a:pt x="550" y="220"/>
                  </a:lnTo>
                  <a:lnTo>
                    <a:pt x="544" y="220"/>
                  </a:lnTo>
                  <a:lnTo>
                    <a:pt x="544" y="214"/>
                  </a:lnTo>
                  <a:lnTo>
                    <a:pt x="550" y="214"/>
                  </a:lnTo>
                  <a:lnTo>
                    <a:pt x="550" y="214"/>
                  </a:lnTo>
                  <a:lnTo>
                    <a:pt x="556" y="214"/>
                  </a:lnTo>
                  <a:lnTo>
                    <a:pt x="562" y="214"/>
                  </a:lnTo>
                  <a:lnTo>
                    <a:pt x="562" y="214"/>
                  </a:lnTo>
                  <a:lnTo>
                    <a:pt x="562" y="214"/>
                  </a:lnTo>
                  <a:lnTo>
                    <a:pt x="556" y="214"/>
                  </a:lnTo>
                  <a:lnTo>
                    <a:pt x="550" y="214"/>
                  </a:lnTo>
                  <a:lnTo>
                    <a:pt x="550" y="214"/>
                  </a:lnTo>
                  <a:lnTo>
                    <a:pt x="556" y="208"/>
                  </a:lnTo>
                  <a:lnTo>
                    <a:pt x="562" y="208"/>
                  </a:lnTo>
                  <a:lnTo>
                    <a:pt x="556" y="208"/>
                  </a:lnTo>
                  <a:lnTo>
                    <a:pt x="556" y="202"/>
                  </a:lnTo>
                  <a:lnTo>
                    <a:pt x="550" y="208"/>
                  </a:lnTo>
                  <a:lnTo>
                    <a:pt x="550" y="208"/>
                  </a:lnTo>
                  <a:lnTo>
                    <a:pt x="550" y="202"/>
                  </a:lnTo>
                  <a:lnTo>
                    <a:pt x="544" y="202"/>
                  </a:lnTo>
                  <a:lnTo>
                    <a:pt x="550" y="202"/>
                  </a:lnTo>
                  <a:lnTo>
                    <a:pt x="550" y="202"/>
                  </a:lnTo>
                  <a:lnTo>
                    <a:pt x="550" y="202"/>
                  </a:lnTo>
                  <a:lnTo>
                    <a:pt x="550" y="202"/>
                  </a:lnTo>
                  <a:lnTo>
                    <a:pt x="556" y="202"/>
                  </a:lnTo>
                  <a:lnTo>
                    <a:pt x="556" y="202"/>
                  </a:lnTo>
                  <a:lnTo>
                    <a:pt x="562" y="202"/>
                  </a:lnTo>
                  <a:lnTo>
                    <a:pt x="562" y="202"/>
                  </a:lnTo>
                  <a:lnTo>
                    <a:pt x="562" y="202"/>
                  </a:lnTo>
                  <a:lnTo>
                    <a:pt x="562" y="202"/>
                  </a:lnTo>
                  <a:lnTo>
                    <a:pt x="562" y="196"/>
                  </a:lnTo>
                  <a:lnTo>
                    <a:pt x="562" y="196"/>
                  </a:lnTo>
                  <a:lnTo>
                    <a:pt x="568" y="196"/>
                  </a:lnTo>
                  <a:lnTo>
                    <a:pt x="574" y="196"/>
                  </a:lnTo>
                  <a:lnTo>
                    <a:pt x="574" y="196"/>
                  </a:lnTo>
                  <a:lnTo>
                    <a:pt x="574" y="192"/>
                  </a:lnTo>
                  <a:lnTo>
                    <a:pt x="574" y="192"/>
                  </a:lnTo>
                  <a:lnTo>
                    <a:pt x="574" y="192"/>
                  </a:lnTo>
                  <a:lnTo>
                    <a:pt x="580" y="192"/>
                  </a:lnTo>
                  <a:lnTo>
                    <a:pt x="586" y="192"/>
                  </a:lnTo>
                  <a:lnTo>
                    <a:pt x="586" y="192"/>
                  </a:lnTo>
                  <a:lnTo>
                    <a:pt x="580" y="192"/>
                  </a:lnTo>
                  <a:lnTo>
                    <a:pt x="586" y="192"/>
                  </a:lnTo>
                  <a:lnTo>
                    <a:pt x="590" y="186"/>
                  </a:lnTo>
                  <a:lnTo>
                    <a:pt x="590" y="186"/>
                  </a:lnTo>
                  <a:lnTo>
                    <a:pt x="590" y="180"/>
                  </a:lnTo>
                  <a:lnTo>
                    <a:pt x="596" y="180"/>
                  </a:lnTo>
                  <a:lnTo>
                    <a:pt x="602" y="180"/>
                  </a:lnTo>
                  <a:lnTo>
                    <a:pt x="602" y="180"/>
                  </a:lnTo>
                  <a:lnTo>
                    <a:pt x="608" y="180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14" y="174"/>
                  </a:lnTo>
                  <a:lnTo>
                    <a:pt x="620" y="174"/>
                  </a:lnTo>
                  <a:lnTo>
                    <a:pt x="626" y="174"/>
                  </a:lnTo>
                  <a:lnTo>
                    <a:pt x="626" y="180"/>
                  </a:lnTo>
                  <a:lnTo>
                    <a:pt x="620" y="180"/>
                  </a:lnTo>
                  <a:lnTo>
                    <a:pt x="614" y="180"/>
                  </a:lnTo>
                  <a:lnTo>
                    <a:pt x="620" y="180"/>
                  </a:lnTo>
                  <a:lnTo>
                    <a:pt x="626" y="180"/>
                  </a:lnTo>
                  <a:lnTo>
                    <a:pt x="626" y="180"/>
                  </a:lnTo>
                  <a:close/>
                  <a:moveTo>
                    <a:pt x="1166" y="150"/>
                  </a:moveTo>
                  <a:lnTo>
                    <a:pt x="1160" y="150"/>
                  </a:lnTo>
                  <a:lnTo>
                    <a:pt x="1154" y="150"/>
                  </a:lnTo>
                  <a:lnTo>
                    <a:pt x="1154" y="150"/>
                  </a:lnTo>
                  <a:lnTo>
                    <a:pt x="1160" y="150"/>
                  </a:lnTo>
                  <a:lnTo>
                    <a:pt x="1166" y="150"/>
                  </a:lnTo>
                  <a:lnTo>
                    <a:pt x="1166" y="150"/>
                  </a:lnTo>
                  <a:close/>
                  <a:moveTo>
                    <a:pt x="1182" y="156"/>
                  </a:moveTo>
                  <a:lnTo>
                    <a:pt x="1182" y="150"/>
                  </a:lnTo>
                  <a:lnTo>
                    <a:pt x="1188" y="150"/>
                  </a:lnTo>
                  <a:lnTo>
                    <a:pt x="1188" y="156"/>
                  </a:lnTo>
                  <a:lnTo>
                    <a:pt x="1182" y="156"/>
                  </a:lnTo>
                  <a:lnTo>
                    <a:pt x="1182" y="156"/>
                  </a:lnTo>
                  <a:close/>
                  <a:moveTo>
                    <a:pt x="1182" y="156"/>
                  </a:moveTo>
                  <a:lnTo>
                    <a:pt x="1176" y="156"/>
                  </a:lnTo>
                  <a:lnTo>
                    <a:pt x="1182" y="156"/>
                  </a:lnTo>
                  <a:lnTo>
                    <a:pt x="1182" y="156"/>
                  </a:lnTo>
                  <a:close/>
                  <a:moveTo>
                    <a:pt x="1948" y="162"/>
                  </a:moveTo>
                  <a:lnTo>
                    <a:pt x="1948" y="156"/>
                  </a:lnTo>
                  <a:lnTo>
                    <a:pt x="1954" y="156"/>
                  </a:lnTo>
                  <a:lnTo>
                    <a:pt x="1960" y="156"/>
                  </a:lnTo>
                  <a:lnTo>
                    <a:pt x="1960" y="156"/>
                  </a:lnTo>
                  <a:lnTo>
                    <a:pt x="1966" y="156"/>
                  </a:lnTo>
                  <a:lnTo>
                    <a:pt x="1960" y="156"/>
                  </a:lnTo>
                  <a:lnTo>
                    <a:pt x="1960" y="162"/>
                  </a:lnTo>
                  <a:lnTo>
                    <a:pt x="1960" y="156"/>
                  </a:lnTo>
                  <a:lnTo>
                    <a:pt x="1960" y="156"/>
                  </a:lnTo>
                  <a:lnTo>
                    <a:pt x="1954" y="156"/>
                  </a:lnTo>
                  <a:lnTo>
                    <a:pt x="1954" y="162"/>
                  </a:lnTo>
                  <a:lnTo>
                    <a:pt x="1948" y="162"/>
                  </a:lnTo>
                  <a:lnTo>
                    <a:pt x="1948" y="162"/>
                  </a:lnTo>
                  <a:close/>
                  <a:moveTo>
                    <a:pt x="1182" y="162"/>
                  </a:moveTo>
                  <a:lnTo>
                    <a:pt x="1176" y="162"/>
                  </a:lnTo>
                  <a:lnTo>
                    <a:pt x="1176" y="156"/>
                  </a:lnTo>
                  <a:lnTo>
                    <a:pt x="1182" y="156"/>
                  </a:lnTo>
                  <a:lnTo>
                    <a:pt x="1182" y="162"/>
                  </a:lnTo>
                  <a:lnTo>
                    <a:pt x="1182" y="162"/>
                  </a:lnTo>
                  <a:close/>
                  <a:moveTo>
                    <a:pt x="1142" y="156"/>
                  </a:moveTo>
                  <a:lnTo>
                    <a:pt x="1148" y="162"/>
                  </a:lnTo>
                  <a:lnTo>
                    <a:pt x="1142" y="162"/>
                  </a:lnTo>
                  <a:lnTo>
                    <a:pt x="1142" y="162"/>
                  </a:lnTo>
                  <a:lnTo>
                    <a:pt x="1142" y="156"/>
                  </a:lnTo>
                  <a:lnTo>
                    <a:pt x="1142" y="156"/>
                  </a:lnTo>
                  <a:lnTo>
                    <a:pt x="1142" y="156"/>
                  </a:lnTo>
                  <a:close/>
                  <a:moveTo>
                    <a:pt x="1166" y="156"/>
                  </a:moveTo>
                  <a:lnTo>
                    <a:pt x="1166" y="162"/>
                  </a:lnTo>
                  <a:lnTo>
                    <a:pt x="1160" y="162"/>
                  </a:lnTo>
                  <a:lnTo>
                    <a:pt x="1154" y="162"/>
                  </a:lnTo>
                  <a:lnTo>
                    <a:pt x="1154" y="156"/>
                  </a:lnTo>
                  <a:lnTo>
                    <a:pt x="1160" y="156"/>
                  </a:lnTo>
                  <a:lnTo>
                    <a:pt x="1166" y="156"/>
                  </a:lnTo>
                  <a:lnTo>
                    <a:pt x="1166" y="156"/>
                  </a:lnTo>
                  <a:close/>
                  <a:moveTo>
                    <a:pt x="1130" y="162"/>
                  </a:moveTo>
                  <a:lnTo>
                    <a:pt x="1130" y="162"/>
                  </a:lnTo>
                  <a:lnTo>
                    <a:pt x="1130" y="162"/>
                  </a:lnTo>
                  <a:lnTo>
                    <a:pt x="1124" y="162"/>
                  </a:lnTo>
                  <a:lnTo>
                    <a:pt x="1130" y="162"/>
                  </a:lnTo>
                  <a:lnTo>
                    <a:pt x="1130" y="162"/>
                  </a:lnTo>
                  <a:close/>
                  <a:moveTo>
                    <a:pt x="1414" y="168"/>
                  </a:moveTo>
                  <a:lnTo>
                    <a:pt x="1414" y="162"/>
                  </a:lnTo>
                  <a:lnTo>
                    <a:pt x="1420" y="162"/>
                  </a:lnTo>
                  <a:lnTo>
                    <a:pt x="1420" y="168"/>
                  </a:lnTo>
                  <a:lnTo>
                    <a:pt x="1420" y="168"/>
                  </a:lnTo>
                  <a:lnTo>
                    <a:pt x="1420" y="168"/>
                  </a:lnTo>
                  <a:lnTo>
                    <a:pt x="1414" y="168"/>
                  </a:lnTo>
                  <a:lnTo>
                    <a:pt x="1414" y="168"/>
                  </a:lnTo>
                  <a:close/>
                  <a:moveTo>
                    <a:pt x="1166" y="174"/>
                  </a:moveTo>
                  <a:lnTo>
                    <a:pt x="1166" y="168"/>
                  </a:lnTo>
                  <a:lnTo>
                    <a:pt x="1170" y="168"/>
                  </a:lnTo>
                  <a:lnTo>
                    <a:pt x="1166" y="168"/>
                  </a:lnTo>
                  <a:lnTo>
                    <a:pt x="1166" y="174"/>
                  </a:lnTo>
                  <a:lnTo>
                    <a:pt x="1170" y="174"/>
                  </a:lnTo>
                  <a:lnTo>
                    <a:pt x="1170" y="168"/>
                  </a:lnTo>
                  <a:lnTo>
                    <a:pt x="1170" y="174"/>
                  </a:lnTo>
                  <a:lnTo>
                    <a:pt x="1166" y="174"/>
                  </a:lnTo>
                  <a:lnTo>
                    <a:pt x="1166" y="174"/>
                  </a:lnTo>
                  <a:close/>
                  <a:moveTo>
                    <a:pt x="1166" y="180"/>
                  </a:moveTo>
                  <a:lnTo>
                    <a:pt x="1160" y="174"/>
                  </a:lnTo>
                  <a:lnTo>
                    <a:pt x="1154" y="174"/>
                  </a:lnTo>
                  <a:lnTo>
                    <a:pt x="1154" y="174"/>
                  </a:lnTo>
                  <a:lnTo>
                    <a:pt x="1148" y="174"/>
                  </a:lnTo>
                  <a:lnTo>
                    <a:pt x="1148" y="168"/>
                  </a:lnTo>
                  <a:lnTo>
                    <a:pt x="1154" y="174"/>
                  </a:lnTo>
                  <a:lnTo>
                    <a:pt x="1154" y="168"/>
                  </a:lnTo>
                  <a:lnTo>
                    <a:pt x="1154" y="168"/>
                  </a:lnTo>
                  <a:lnTo>
                    <a:pt x="1160" y="168"/>
                  </a:lnTo>
                  <a:lnTo>
                    <a:pt x="1166" y="168"/>
                  </a:lnTo>
                  <a:lnTo>
                    <a:pt x="1166" y="168"/>
                  </a:lnTo>
                  <a:lnTo>
                    <a:pt x="1166" y="174"/>
                  </a:lnTo>
                  <a:lnTo>
                    <a:pt x="1166" y="174"/>
                  </a:lnTo>
                  <a:lnTo>
                    <a:pt x="1166" y="168"/>
                  </a:lnTo>
                  <a:lnTo>
                    <a:pt x="1160" y="174"/>
                  </a:lnTo>
                  <a:lnTo>
                    <a:pt x="1166" y="174"/>
                  </a:lnTo>
                  <a:lnTo>
                    <a:pt x="1166" y="180"/>
                  </a:lnTo>
                  <a:lnTo>
                    <a:pt x="1166" y="180"/>
                  </a:lnTo>
                  <a:close/>
                  <a:moveTo>
                    <a:pt x="1142" y="174"/>
                  </a:moveTo>
                  <a:lnTo>
                    <a:pt x="1142" y="168"/>
                  </a:lnTo>
                  <a:lnTo>
                    <a:pt x="1142" y="168"/>
                  </a:lnTo>
                  <a:lnTo>
                    <a:pt x="1142" y="174"/>
                  </a:lnTo>
                  <a:lnTo>
                    <a:pt x="1136" y="174"/>
                  </a:lnTo>
                  <a:lnTo>
                    <a:pt x="1130" y="174"/>
                  </a:lnTo>
                  <a:lnTo>
                    <a:pt x="1136" y="174"/>
                  </a:lnTo>
                  <a:lnTo>
                    <a:pt x="1142" y="174"/>
                  </a:lnTo>
                  <a:lnTo>
                    <a:pt x="1142" y="174"/>
                  </a:lnTo>
                  <a:close/>
                  <a:moveTo>
                    <a:pt x="1860" y="214"/>
                  </a:moveTo>
                  <a:lnTo>
                    <a:pt x="1856" y="214"/>
                  </a:lnTo>
                  <a:lnTo>
                    <a:pt x="1856" y="214"/>
                  </a:lnTo>
                  <a:lnTo>
                    <a:pt x="1856" y="208"/>
                  </a:lnTo>
                  <a:lnTo>
                    <a:pt x="1856" y="208"/>
                  </a:lnTo>
                  <a:lnTo>
                    <a:pt x="1856" y="208"/>
                  </a:lnTo>
                  <a:lnTo>
                    <a:pt x="1850" y="208"/>
                  </a:lnTo>
                  <a:lnTo>
                    <a:pt x="1844" y="208"/>
                  </a:lnTo>
                  <a:lnTo>
                    <a:pt x="1844" y="208"/>
                  </a:lnTo>
                  <a:lnTo>
                    <a:pt x="1838" y="208"/>
                  </a:lnTo>
                  <a:lnTo>
                    <a:pt x="1832" y="214"/>
                  </a:lnTo>
                  <a:lnTo>
                    <a:pt x="1832" y="214"/>
                  </a:lnTo>
                  <a:lnTo>
                    <a:pt x="1826" y="214"/>
                  </a:lnTo>
                  <a:lnTo>
                    <a:pt x="1820" y="208"/>
                  </a:lnTo>
                  <a:lnTo>
                    <a:pt x="1820" y="208"/>
                  </a:lnTo>
                  <a:lnTo>
                    <a:pt x="1814" y="208"/>
                  </a:lnTo>
                  <a:lnTo>
                    <a:pt x="1814" y="214"/>
                  </a:lnTo>
                  <a:lnTo>
                    <a:pt x="1820" y="214"/>
                  </a:lnTo>
                  <a:lnTo>
                    <a:pt x="1814" y="214"/>
                  </a:lnTo>
                  <a:lnTo>
                    <a:pt x="1814" y="214"/>
                  </a:lnTo>
                  <a:lnTo>
                    <a:pt x="1808" y="214"/>
                  </a:lnTo>
                  <a:lnTo>
                    <a:pt x="1808" y="214"/>
                  </a:lnTo>
                  <a:lnTo>
                    <a:pt x="1802" y="214"/>
                  </a:lnTo>
                  <a:lnTo>
                    <a:pt x="1798" y="214"/>
                  </a:lnTo>
                  <a:lnTo>
                    <a:pt x="1798" y="214"/>
                  </a:lnTo>
                  <a:lnTo>
                    <a:pt x="1792" y="214"/>
                  </a:lnTo>
                  <a:lnTo>
                    <a:pt x="1792" y="214"/>
                  </a:lnTo>
                  <a:lnTo>
                    <a:pt x="1792" y="208"/>
                  </a:lnTo>
                  <a:lnTo>
                    <a:pt x="1786" y="208"/>
                  </a:lnTo>
                  <a:lnTo>
                    <a:pt x="1786" y="202"/>
                  </a:lnTo>
                  <a:lnTo>
                    <a:pt x="1780" y="202"/>
                  </a:lnTo>
                  <a:lnTo>
                    <a:pt x="1780" y="202"/>
                  </a:lnTo>
                  <a:lnTo>
                    <a:pt x="1780" y="202"/>
                  </a:lnTo>
                  <a:lnTo>
                    <a:pt x="1774" y="196"/>
                  </a:lnTo>
                  <a:lnTo>
                    <a:pt x="1780" y="196"/>
                  </a:lnTo>
                  <a:lnTo>
                    <a:pt x="1780" y="196"/>
                  </a:lnTo>
                  <a:lnTo>
                    <a:pt x="1786" y="196"/>
                  </a:lnTo>
                  <a:lnTo>
                    <a:pt x="1780" y="196"/>
                  </a:lnTo>
                  <a:lnTo>
                    <a:pt x="1780" y="196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86"/>
                  </a:lnTo>
                  <a:lnTo>
                    <a:pt x="1780" y="186"/>
                  </a:lnTo>
                  <a:lnTo>
                    <a:pt x="1786" y="186"/>
                  </a:lnTo>
                  <a:lnTo>
                    <a:pt x="1792" y="186"/>
                  </a:lnTo>
                  <a:lnTo>
                    <a:pt x="1786" y="186"/>
                  </a:lnTo>
                  <a:lnTo>
                    <a:pt x="1786" y="180"/>
                  </a:lnTo>
                  <a:lnTo>
                    <a:pt x="1780" y="180"/>
                  </a:lnTo>
                  <a:lnTo>
                    <a:pt x="1786" y="180"/>
                  </a:lnTo>
                  <a:lnTo>
                    <a:pt x="1792" y="180"/>
                  </a:lnTo>
                  <a:lnTo>
                    <a:pt x="1792" y="180"/>
                  </a:lnTo>
                  <a:lnTo>
                    <a:pt x="1792" y="174"/>
                  </a:lnTo>
                  <a:lnTo>
                    <a:pt x="1798" y="174"/>
                  </a:lnTo>
                  <a:lnTo>
                    <a:pt x="1798" y="180"/>
                  </a:lnTo>
                  <a:lnTo>
                    <a:pt x="1798" y="174"/>
                  </a:lnTo>
                  <a:lnTo>
                    <a:pt x="1802" y="174"/>
                  </a:lnTo>
                  <a:lnTo>
                    <a:pt x="1808" y="174"/>
                  </a:lnTo>
                  <a:lnTo>
                    <a:pt x="1808" y="174"/>
                  </a:lnTo>
                  <a:lnTo>
                    <a:pt x="1808" y="180"/>
                  </a:lnTo>
                  <a:lnTo>
                    <a:pt x="1814" y="180"/>
                  </a:lnTo>
                  <a:lnTo>
                    <a:pt x="1820" y="180"/>
                  </a:lnTo>
                  <a:lnTo>
                    <a:pt x="1820" y="180"/>
                  </a:lnTo>
                  <a:lnTo>
                    <a:pt x="1820" y="180"/>
                  </a:lnTo>
                  <a:lnTo>
                    <a:pt x="1820" y="186"/>
                  </a:lnTo>
                  <a:lnTo>
                    <a:pt x="1826" y="186"/>
                  </a:lnTo>
                  <a:lnTo>
                    <a:pt x="1832" y="186"/>
                  </a:lnTo>
                  <a:lnTo>
                    <a:pt x="1832" y="192"/>
                  </a:lnTo>
                  <a:lnTo>
                    <a:pt x="1832" y="192"/>
                  </a:lnTo>
                  <a:lnTo>
                    <a:pt x="1838" y="192"/>
                  </a:lnTo>
                  <a:lnTo>
                    <a:pt x="1838" y="186"/>
                  </a:lnTo>
                  <a:lnTo>
                    <a:pt x="1838" y="180"/>
                  </a:lnTo>
                  <a:lnTo>
                    <a:pt x="1838" y="180"/>
                  </a:lnTo>
                  <a:lnTo>
                    <a:pt x="1844" y="180"/>
                  </a:lnTo>
                  <a:lnTo>
                    <a:pt x="1844" y="180"/>
                  </a:lnTo>
                  <a:lnTo>
                    <a:pt x="1844" y="174"/>
                  </a:lnTo>
                  <a:lnTo>
                    <a:pt x="1844" y="174"/>
                  </a:lnTo>
                  <a:lnTo>
                    <a:pt x="1844" y="174"/>
                  </a:lnTo>
                  <a:lnTo>
                    <a:pt x="1850" y="180"/>
                  </a:lnTo>
                  <a:lnTo>
                    <a:pt x="1856" y="180"/>
                  </a:lnTo>
                  <a:lnTo>
                    <a:pt x="1856" y="180"/>
                  </a:lnTo>
                  <a:lnTo>
                    <a:pt x="1860" y="180"/>
                  </a:lnTo>
                  <a:lnTo>
                    <a:pt x="1860" y="186"/>
                  </a:lnTo>
                  <a:lnTo>
                    <a:pt x="1866" y="186"/>
                  </a:lnTo>
                  <a:lnTo>
                    <a:pt x="1872" y="186"/>
                  </a:lnTo>
                  <a:lnTo>
                    <a:pt x="1872" y="186"/>
                  </a:lnTo>
                  <a:lnTo>
                    <a:pt x="1878" y="180"/>
                  </a:lnTo>
                  <a:lnTo>
                    <a:pt x="1884" y="186"/>
                  </a:lnTo>
                  <a:lnTo>
                    <a:pt x="1884" y="186"/>
                  </a:lnTo>
                  <a:lnTo>
                    <a:pt x="1890" y="192"/>
                  </a:lnTo>
                  <a:lnTo>
                    <a:pt x="1896" y="192"/>
                  </a:lnTo>
                  <a:lnTo>
                    <a:pt x="1896" y="192"/>
                  </a:lnTo>
                  <a:lnTo>
                    <a:pt x="1902" y="192"/>
                  </a:lnTo>
                  <a:lnTo>
                    <a:pt x="1902" y="192"/>
                  </a:lnTo>
                  <a:lnTo>
                    <a:pt x="1908" y="192"/>
                  </a:lnTo>
                  <a:lnTo>
                    <a:pt x="1902" y="192"/>
                  </a:lnTo>
                  <a:lnTo>
                    <a:pt x="1896" y="192"/>
                  </a:lnTo>
                  <a:lnTo>
                    <a:pt x="1896" y="192"/>
                  </a:lnTo>
                  <a:lnTo>
                    <a:pt x="1896" y="196"/>
                  </a:lnTo>
                  <a:lnTo>
                    <a:pt x="1896" y="202"/>
                  </a:lnTo>
                  <a:lnTo>
                    <a:pt x="1896" y="202"/>
                  </a:lnTo>
                  <a:lnTo>
                    <a:pt x="1896" y="202"/>
                  </a:lnTo>
                  <a:lnTo>
                    <a:pt x="1896" y="202"/>
                  </a:lnTo>
                  <a:lnTo>
                    <a:pt x="1890" y="202"/>
                  </a:lnTo>
                  <a:lnTo>
                    <a:pt x="1884" y="202"/>
                  </a:lnTo>
                  <a:lnTo>
                    <a:pt x="1884" y="208"/>
                  </a:lnTo>
                  <a:lnTo>
                    <a:pt x="1884" y="208"/>
                  </a:lnTo>
                  <a:lnTo>
                    <a:pt x="1884" y="202"/>
                  </a:lnTo>
                  <a:lnTo>
                    <a:pt x="1878" y="202"/>
                  </a:lnTo>
                  <a:lnTo>
                    <a:pt x="1872" y="202"/>
                  </a:lnTo>
                  <a:lnTo>
                    <a:pt x="1872" y="202"/>
                  </a:lnTo>
                  <a:lnTo>
                    <a:pt x="1866" y="202"/>
                  </a:lnTo>
                  <a:lnTo>
                    <a:pt x="1866" y="202"/>
                  </a:lnTo>
                  <a:lnTo>
                    <a:pt x="1860" y="202"/>
                  </a:lnTo>
                  <a:lnTo>
                    <a:pt x="1860" y="196"/>
                  </a:lnTo>
                  <a:lnTo>
                    <a:pt x="1860" y="192"/>
                  </a:lnTo>
                  <a:lnTo>
                    <a:pt x="1866" y="192"/>
                  </a:lnTo>
                  <a:lnTo>
                    <a:pt x="1872" y="192"/>
                  </a:lnTo>
                  <a:lnTo>
                    <a:pt x="1866" y="192"/>
                  </a:lnTo>
                  <a:lnTo>
                    <a:pt x="1866" y="186"/>
                  </a:lnTo>
                  <a:lnTo>
                    <a:pt x="1860" y="186"/>
                  </a:lnTo>
                  <a:lnTo>
                    <a:pt x="1860" y="192"/>
                  </a:lnTo>
                  <a:lnTo>
                    <a:pt x="1856" y="192"/>
                  </a:lnTo>
                  <a:lnTo>
                    <a:pt x="1856" y="192"/>
                  </a:lnTo>
                  <a:lnTo>
                    <a:pt x="1856" y="192"/>
                  </a:lnTo>
                  <a:lnTo>
                    <a:pt x="1856" y="196"/>
                  </a:lnTo>
                  <a:lnTo>
                    <a:pt x="1856" y="196"/>
                  </a:lnTo>
                  <a:lnTo>
                    <a:pt x="1856" y="202"/>
                  </a:lnTo>
                  <a:lnTo>
                    <a:pt x="1860" y="202"/>
                  </a:lnTo>
                  <a:lnTo>
                    <a:pt x="1866" y="202"/>
                  </a:lnTo>
                  <a:lnTo>
                    <a:pt x="1872" y="202"/>
                  </a:lnTo>
                  <a:lnTo>
                    <a:pt x="1872" y="208"/>
                  </a:lnTo>
                  <a:lnTo>
                    <a:pt x="1878" y="208"/>
                  </a:lnTo>
                  <a:lnTo>
                    <a:pt x="1872" y="214"/>
                  </a:lnTo>
                  <a:lnTo>
                    <a:pt x="1872" y="208"/>
                  </a:lnTo>
                  <a:lnTo>
                    <a:pt x="1872" y="208"/>
                  </a:lnTo>
                  <a:lnTo>
                    <a:pt x="1872" y="214"/>
                  </a:lnTo>
                  <a:lnTo>
                    <a:pt x="1866" y="214"/>
                  </a:lnTo>
                  <a:lnTo>
                    <a:pt x="1866" y="208"/>
                  </a:lnTo>
                  <a:lnTo>
                    <a:pt x="1860" y="208"/>
                  </a:lnTo>
                  <a:lnTo>
                    <a:pt x="1860" y="214"/>
                  </a:lnTo>
                  <a:lnTo>
                    <a:pt x="1866" y="214"/>
                  </a:lnTo>
                  <a:lnTo>
                    <a:pt x="1860" y="214"/>
                  </a:lnTo>
                  <a:lnTo>
                    <a:pt x="1860" y="214"/>
                  </a:lnTo>
                  <a:close/>
                  <a:moveTo>
                    <a:pt x="2012" y="180"/>
                  </a:moveTo>
                  <a:lnTo>
                    <a:pt x="2012" y="174"/>
                  </a:lnTo>
                  <a:lnTo>
                    <a:pt x="2018" y="174"/>
                  </a:lnTo>
                  <a:lnTo>
                    <a:pt x="2018" y="180"/>
                  </a:lnTo>
                  <a:lnTo>
                    <a:pt x="2012" y="180"/>
                  </a:lnTo>
                  <a:lnTo>
                    <a:pt x="2012" y="180"/>
                  </a:lnTo>
                  <a:close/>
                  <a:moveTo>
                    <a:pt x="1838" y="180"/>
                  </a:moveTo>
                  <a:lnTo>
                    <a:pt x="1838" y="174"/>
                  </a:lnTo>
                  <a:lnTo>
                    <a:pt x="1838" y="180"/>
                  </a:lnTo>
                  <a:lnTo>
                    <a:pt x="1838" y="180"/>
                  </a:lnTo>
                  <a:close/>
                  <a:moveTo>
                    <a:pt x="1176" y="180"/>
                  </a:moveTo>
                  <a:lnTo>
                    <a:pt x="1170" y="180"/>
                  </a:lnTo>
                  <a:lnTo>
                    <a:pt x="1170" y="180"/>
                  </a:lnTo>
                  <a:lnTo>
                    <a:pt x="1166" y="180"/>
                  </a:lnTo>
                  <a:lnTo>
                    <a:pt x="1166" y="180"/>
                  </a:lnTo>
                  <a:lnTo>
                    <a:pt x="1176" y="180"/>
                  </a:lnTo>
                  <a:lnTo>
                    <a:pt x="1176" y="180"/>
                  </a:lnTo>
                  <a:close/>
                  <a:moveTo>
                    <a:pt x="962" y="180"/>
                  </a:moveTo>
                  <a:lnTo>
                    <a:pt x="956" y="180"/>
                  </a:lnTo>
                  <a:lnTo>
                    <a:pt x="950" y="180"/>
                  </a:lnTo>
                  <a:lnTo>
                    <a:pt x="944" y="180"/>
                  </a:lnTo>
                  <a:lnTo>
                    <a:pt x="950" y="180"/>
                  </a:lnTo>
                  <a:lnTo>
                    <a:pt x="950" y="180"/>
                  </a:lnTo>
                  <a:lnTo>
                    <a:pt x="956" y="180"/>
                  </a:lnTo>
                  <a:lnTo>
                    <a:pt x="956" y="180"/>
                  </a:lnTo>
                  <a:lnTo>
                    <a:pt x="962" y="180"/>
                  </a:lnTo>
                  <a:lnTo>
                    <a:pt x="962" y="180"/>
                  </a:lnTo>
                  <a:lnTo>
                    <a:pt x="962" y="180"/>
                  </a:lnTo>
                  <a:lnTo>
                    <a:pt x="962" y="180"/>
                  </a:lnTo>
                  <a:close/>
                  <a:moveTo>
                    <a:pt x="938" y="180"/>
                  </a:moveTo>
                  <a:lnTo>
                    <a:pt x="944" y="180"/>
                  </a:lnTo>
                  <a:lnTo>
                    <a:pt x="944" y="180"/>
                  </a:lnTo>
                  <a:lnTo>
                    <a:pt x="944" y="180"/>
                  </a:lnTo>
                  <a:lnTo>
                    <a:pt x="938" y="180"/>
                  </a:lnTo>
                  <a:lnTo>
                    <a:pt x="934" y="180"/>
                  </a:lnTo>
                  <a:lnTo>
                    <a:pt x="938" y="180"/>
                  </a:lnTo>
                  <a:lnTo>
                    <a:pt x="938" y="180"/>
                  </a:lnTo>
                  <a:close/>
                  <a:moveTo>
                    <a:pt x="1756" y="196"/>
                  </a:moveTo>
                  <a:lnTo>
                    <a:pt x="1756" y="192"/>
                  </a:lnTo>
                  <a:lnTo>
                    <a:pt x="1756" y="192"/>
                  </a:lnTo>
                  <a:lnTo>
                    <a:pt x="1756" y="192"/>
                  </a:lnTo>
                  <a:lnTo>
                    <a:pt x="1756" y="192"/>
                  </a:lnTo>
                  <a:lnTo>
                    <a:pt x="1756" y="186"/>
                  </a:lnTo>
                  <a:lnTo>
                    <a:pt x="1756" y="180"/>
                  </a:lnTo>
                  <a:lnTo>
                    <a:pt x="1756" y="186"/>
                  </a:lnTo>
                  <a:lnTo>
                    <a:pt x="1762" y="192"/>
                  </a:lnTo>
                  <a:lnTo>
                    <a:pt x="1768" y="192"/>
                  </a:lnTo>
                  <a:lnTo>
                    <a:pt x="1762" y="192"/>
                  </a:lnTo>
                  <a:lnTo>
                    <a:pt x="1762" y="196"/>
                  </a:lnTo>
                  <a:lnTo>
                    <a:pt x="1756" y="196"/>
                  </a:lnTo>
                  <a:lnTo>
                    <a:pt x="1756" y="196"/>
                  </a:lnTo>
                  <a:lnTo>
                    <a:pt x="1756" y="196"/>
                  </a:lnTo>
                  <a:close/>
                  <a:moveTo>
                    <a:pt x="1918" y="192"/>
                  </a:moveTo>
                  <a:lnTo>
                    <a:pt x="1918" y="192"/>
                  </a:lnTo>
                  <a:lnTo>
                    <a:pt x="1924" y="192"/>
                  </a:lnTo>
                  <a:lnTo>
                    <a:pt x="1918" y="196"/>
                  </a:lnTo>
                  <a:lnTo>
                    <a:pt x="1924" y="196"/>
                  </a:lnTo>
                  <a:lnTo>
                    <a:pt x="1930" y="196"/>
                  </a:lnTo>
                  <a:lnTo>
                    <a:pt x="1930" y="196"/>
                  </a:lnTo>
                  <a:lnTo>
                    <a:pt x="1930" y="196"/>
                  </a:lnTo>
                  <a:lnTo>
                    <a:pt x="1930" y="196"/>
                  </a:lnTo>
                  <a:lnTo>
                    <a:pt x="1936" y="196"/>
                  </a:lnTo>
                  <a:lnTo>
                    <a:pt x="1936" y="192"/>
                  </a:lnTo>
                  <a:lnTo>
                    <a:pt x="1936" y="196"/>
                  </a:lnTo>
                  <a:lnTo>
                    <a:pt x="1942" y="196"/>
                  </a:lnTo>
                  <a:lnTo>
                    <a:pt x="1942" y="196"/>
                  </a:lnTo>
                  <a:lnTo>
                    <a:pt x="1948" y="196"/>
                  </a:lnTo>
                  <a:lnTo>
                    <a:pt x="1954" y="196"/>
                  </a:lnTo>
                  <a:lnTo>
                    <a:pt x="1948" y="196"/>
                  </a:lnTo>
                  <a:lnTo>
                    <a:pt x="1948" y="202"/>
                  </a:lnTo>
                  <a:lnTo>
                    <a:pt x="1954" y="202"/>
                  </a:lnTo>
                  <a:lnTo>
                    <a:pt x="1960" y="202"/>
                  </a:lnTo>
                  <a:lnTo>
                    <a:pt x="1960" y="202"/>
                  </a:lnTo>
                  <a:lnTo>
                    <a:pt x="1966" y="202"/>
                  </a:lnTo>
                  <a:lnTo>
                    <a:pt x="1972" y="202"/>
                  </a:lnTo>
                  <a:lnTo>
                    <a:pt x="1972" y="202"/>
                  </a:lnTo>
                  <a:lnTo>
                    <a:pt x="1976" y="202"/>
                  </a:lnTo>
                  <a:lnTo>
                    <a:pt x="1982" y="202"/>
                  </a:lnTo>
                  <a:lnTo>
                    <a:pt x="1982" y="202"/>
                  </a:lnTo>
                  <a:lnTo>
                    <a:pt x="1988" y="202"/>
                  </a:lnTo>
                  <a:lnTo>
                    <a:pt x="1982" y="202"/>
                  </a:lnTo>
                  <a:lnTo>
                    <a:pt x="1982" y="208"/>
                  </a:lnTo>
                  <a:lnTo>
                    <a:pt x="1982" y="214"/>
                  </a:lnTo>
                  <a:lnTo>
                    <a:pt x="1982" y="214"/>
                  </a:lnTo>
                  <a:lnTo>
                    <a:pt x="1976" y="214"/>
                  </a:lnTo>
                  <a:lnTo>
                    <a:pt x="1972" y="214"/>
                  </a:lnTo>
                  <a:lnTo>
                    <a:pt x="1972" y="214"/>
                  </a:lnTo>
                  <a:lnTo>
                    <a:pt x="1966" y="214"/>
                  </a:lnTo>
                  <a:lnTo>
                    <a:pt x="1960" y="214"/>
                  </a:lnTo>
                  <a:lnTo>
                    <a:pt x="1960" y="214"/>
                  </a:lnTo>
                  <a:lnTo>
                    <a:pt x="1954" y="214"/>
                  </a:lnTo>
                  <a:lnTo>
                    <a:pt x="1948" y="214"/>
                  </a:lnTo>
                  <a:lnTo>
                    <a:pt x="1942" y="214"/>
                  </a:lnTo>
                  <a:lnTo>
                    <a:pt x="1942" y="214"/>
                  </a:lnTo>
                  <a:lnTo>
                    <a:pt x="1942" y="208"/>
                  </a:lnTo>
                  <a:lnTo>
                    <a:pt x="1936" y="208"/>
                  </a:lnTo>
                  <a:lnTo>
                    <a:pt x="1930" y="208"/>
                  </a:lnTo>
                  <a:lnTo>
                    <a:pt x="1930" y="208"/>
                  </a:lnTo>
                  <a:lnTo>
                    <a:pt x="1930" y="202"/>
                  </a:lnTo>
                  <a:lnTo>
                    <a:pt x="1924" y="202"/>
                  </a:lnTo>
                  <a:lnTo>
                    <a:pt x="1918" y="202"/>
                  </a:lnTo>
                  <a:lnTo>
                    <a:pt x="1918" y="202"/>
                  </a:lnTo>
                  <a:lnTo>
                    <a:pt x="1918" y="202"/>
                  </a:lnTo>
                  <a:lnTo>
                    <a:pt x="1914" y="202"/>
                  </a:lnTo>
                  <a:lnTo>
                    <a:pt x="1918" y="202"/>
                  </a:lnTo>
                  <a:lnTo>
                    <a:pt x="1918" y="196"/>
                  </a:lnTo>
                  <a:lnTo>
                    <a:pt x="1918" y="192"/>
                  </a:lnTo>
                  <a:lnTo>
                    <a:pt x="1918" y="192"/>
                  </a:lnTo>
                  <a:lnTo>
                    <a:pt x="1918" y="192"/>
                  </a:lnTo>
                  <a:close/>
                  <a:moveTo>
                    <a:pt x="944" y="192"/>
                  </a:moveTo>
                  <a:lnTo>
                    <a:pt x="944" y="192"/>
                  </a:lnTo>
                  <a:lnTo>
                    <a:pt x="944" y="196"/>
                  </a:lnTo>
                  <a:lnTo>
                    <a:pt x="944" y="196"/>
                  </a:lnTo>
                  <a:lnTo>
                    <a:pt x="944" y="196"/>
                  </a:lnTo>
                  <a:lnTo>
                    <a:pt x="944" y="202"/>
                  </a:lnTo>
                  <a:lnTo>
                    <a:pt x="944" y="196"/>
                  </a:lnTo>
                  <a:lnTo>
                    <a:pt x="938" y="196"/>
                  </a:lnTo>
                  <a:lnTo>
                    <a:pt x="938" y="202"/>
                  </a:lnTo>
                  <a:lnTo>
                    <a:pt x="934" y="196"/>
                  </a:lnTo>
                  <a:lnTo>
                    <a:pt x="938" y="196"/>
                  </a:lnTo>
                  <a:lnTo>
                    <a:pt x="938" y="192"/>
                  </a:lnTo>
                  <a:lnTo>
                    <a:pt x="938" y="196"/>
                  </a:lnTo>
                  <a:lnTo>
                    <a:pt x="944" y="196"/>
                  </a:lnTo>
                  <a:lnTo>
                    <a:pt x="944" y="192"/>
                  </a:lnTo>
                  <a:lnTo>
                    <a:pt x="944" y="192"/>
                  </a:lnTo>
                  <a:lnTo>
                    <a:pt x="944" y="192"/>
                  </a:lnTo>
                  <a:close/>
                  <a:moveTo>
                    <a:pt x="1020" y="208"/>
                  </a:moveTo>
                  <a:lnTo>
                    <a:pt x="1026" y="208"/>
                  </a:lnTo>
                  <a:lnTo>
                    <a:pt x="1020" y="208"/>
                  </a:lnTo>
                  <a:lnTo>
                    <a:pt x="1020" y="214"/>
                  </a:lnTo>
                  <a:lnTo>
                    <a:pt x="1020" y="208"/>
                  </a:lnTo>
                  <a:lnTo>
                    <a:pt x="1014" y="208"/>
                  </a:lnTo>
                  <a:lnTo>
                    <a:pt x="1014" y="214"/>
                  </a:lnTo>
                  <a:lnTo>
                    <a:pt x="1020" y="214"/>
                  </a:lnTo>
                  <a:lnTo>
                    <a:pt x="1014" y="214"/>
                  </a:lnTo>
                  <a:lnTo>
                    <a:pt x="1014" y="214"/>
                  </a:lnTo>
                  <a:lnTo>
                    <a:pt x="1008" y="214"/>
                  </a:lnTo>
                  <a:lnTo>
                    <a:pt x="1008" y="208"/>
                  </a:lnTo>
                  <a:lnTo>
                    <a:pt x="1014" y="208"/>
                  </a:lnTo>
                  <a:lnTo>
                    <a:pt x="1014" y="214"/>
                  </a:lnTo>
                  <a:lnTo>
                    <a:pt x="1014" y="208"/>
                  </a:lnTo>
                  <a:lnTo>
                    <a:pt x="1014" y="208"/>
                  </a:lnTo>
                  <a:lnTo>
                    <a:pt x="1014" y="208"/>
                  </a:lnTo>
                  <a:lnTo>
                    <a:pt x="1020" y="208"/>
                  </a:lnTo>
                  <a:lnTo>
                    <a:pt x="1020" y="208"/>
                  </a:lnTo>
                  <a:close/>
                  <a:moveTo>
                    <a:pt x="996" y="214"/>
                  </a:moveTo>
                  <a:lnTo>
                    <a:pt x="996" y="214"/>
                  </a:lnTo>
                  <a:lnTo>
                    <a:pt x="996" y="214"/>
                  </a:lnTo>
                  <a:lnTo>
                    <a:pt x="996" y="214"/>
                  </a:lnTo>
                  <a:lnTo>
                    <a:pt x="992" y="214"/>
                  </a:lnTo>
                  <a:lnTo>
                    <a:pt x="992" y="214"/>
                  </a:lnTo>
                  <a:lnTo>
                    <a:pt x="996" y="214"/>
                  </a:lnTo>
                  <a:lnTo>
                    <a:pt x="996" y="214"/>
                  </a:lnTo>
                  <a:close/>
                  <a:moveTo>
                    <a:pt x="898" y="220"/>
                  </a:moveTo>
                  <a:lnTo>
                    <a:pt x="904" y="220"/>
                  </a:lnTo>
                  <a:lnTo>
                    <a:pt x="904" y="214"/>
                  </a:lnTo>
                  <a:lnTo>
                    <a:pt x="904" y="220"/>
                  </a:lnTo>
                  <a:lnTo>
                    <a:pt x="910" y="220"/>
                  </a:lnTo>
                  <a:lnTo>
                    <a:pt x="904" y="220"/>
                  </a:lnTo>
                  <a:lnTo>
                    <a:pt x="898" y="220"/>
                  </a:lnTo>
                  <a:lnTo>
                    <a:pt x="898" y="220"/>
                  </a:lnTo>
                  <a:close/>
                  <a:moveTo>
                    <a:pt x="996" y="220"/>
                  </a:moveTo>
                  <a:lnTo>
                    <a:pt x="996" y="226"/>
                  </a:lnTo>
                  <a:lnTo>
                    <a:pt x="992" y="226"/>
                  </a:lnTo>
                  <a:lnTo>
                    <a:pt x="992" y="220"/>
                  </a:lnTo>
                  <a:lnTo>
                    <a:pt x="996" y="220"/>
                  </a:lnTo>
                  <a:lnTo>
                    <a:pt x="996" y="220"/>
                  </a:lnTo>
                  <a:lnTo>
                    <a:pt x="996" y="220"/>
                  </a:lnTo>
                  <a:close/>
                  <a:moveTo>
                    <a:pt x="1408" y="232"/>
                  </a:moveTo>
                  <a:lnTo>
                    <a:pt x="1408" y="232"/>
                  </a:lnTo>
                  <a:lnTo>
                    <a:pt x="1402" y="232"/>
                  </a:lnTo>
                  <a:lnTo>
                    <a:pt x="1396" y="232"/>
                  </a:lnTo>
                  <a:lnTo>
                    <a:pt x="1396" y="232"/>
                  </a:lnTo>
                  <a:lnTo>
                    <a:pt x="1396" y="232"/>
                  </a:lnTo>
                  <a:lnTo>
                    <a:pt x="1392" y="232"/>
                  </a:lnTo>
                  <a:lnTo>
                    <a:pt x="1392" y="226"/>
                  </a:lnTo>
                  <a:lnTo>
                    <a:pt x="1396" y="226"/>
                  </a:lnTo>
                  <a:lnTo>
                    <a:pt x="1396" y="226"/>
                  </a:lnTo>
                  <a:lnTo>
                    <a:pt x="1396" y="220"/>
                  </a:lnTo>
                  <a:lnTo>
                    <a:pt x="1402" y="220"/>
                  </a:lnTo>
                  <a:lnTo>
                    <a:pt x="1408" y="220"/>
                  </a:lnTo>
                  <a:lnTo>
                    <a:pt x="1414" y="220"/>
                  </a:lnTo>
                  <a:lnTo>
                    <a:pt x="1420" y="220"/>
                  </a:lnTo>
                  <a:lnTo>
                    <a:pt x="1420" y="226"/>
                  </a:lnTo>
                  <a:lnTo>
                    <a:pt x="1420" y="232"/>
                  </a:lnTo>
                  <a:lnTo>
                    <a:pt x="1414" y="232"/>
                  </a:lnTo>
                  <a:lnTo>
                    <a:pt x="1414" y="232"/>
                  </a:lnTo>
                  <a:lnTo>
                    <a:pt x="1408" y="232"/>
                  </a:lnTo>
                  <a:lnTo>
                    <a:pt x="1408" y="232"/>
                  </a:lnTo>
                  <a:close/>
                  <a:moveTo>
                    <a:pt x="986" y="220"/>
                  </a:moveTo>
                  <a:lnTo>
                    <a:pt x="986" y="220"/>
                  </a:lnTo>
                  <a:lnTo>
                    <a:pt x="986" y="226"/>
                  </a:lnTo>
                  <a:lnTo>
                    <a:pt x="986" y="226"/>
                  </a:lnTo>
                  <a:lnTo>
                    <a:pt x="986" y="226"/>
                  </a:lnTo>
                  <a:lnTo>
                    <a:pt x="986" y="226"/>
                  </a:lnTo>
                  <a:lnTo>
                    <a:pt x="980" y="226"/>
                  </a:lnTo>
                  <a:lnTo>
                    <a:pt x="986" y="226"/>
                  </a:lnTo>
                  <a:lnTo>
                    <a:pt x="986" y="220"/>
                  </a:lnTo>
                  <a:lnTo>
                    <a:pt x="986" y="220"/>
                  </a:lnTo>
                  <a:close/>
                  <a:moveTo>
                    <a:pt x="1460" y="232"/>
                  </a:moveTo>
                  <a:lnTo>
                    <a:pt x="1460" y="226"/>
                  </a:lnTo>
                  <a:lnTo>
                    <a:pt x="1460" y="226"/>
                  </a:lnTo>
                  <a:lnTo>
                    <a:pt x="1460" y="232"/>
                  </a:lnTo>
                  <a:lnTo>
                    <a:pt x="1460" y="232"/>
                  </a:lnTo>
                  <a:lnTo>
                    <a:pt x="1460" y="232"/>
                  </a:lnTo>
                  <a:close/>
                  <a:moveTo>
                    <a:pt x="1832" y="244"/>
                  </a:moveTo>
                  <a:lnTo>
                    <a:pt x="1832" y="238"/>
                  </a:lnTo>
                  <a:lnTo>
                    <a:pt x="1826" y="238"/>
                  </a:lnTo>
                  <a:lnTo>
                    <a:pt x="1826" y="232"/>
                  </a:lnTo>
                  <a:lnTo>
                    <a:pt x="1826" y="232"/>
                  </a:lnTo>
                  <a:lnTo>
                    <a:pt x="1832" y="232"/>
                  </a:lnTo>
                  <a:lnTo>
                    <a:pt x="1832" y="232"/>
                  </a:lnTo>
                  <a:lnTo>
                    <a:pt x="1838" y="232"/>
                  </a:lnTo>
                  <a:lnTo>
                    <a:pt x="1844" y="232"/>
                  </a:lnTo>
                  <a:lnTo>
                    <a:pt x="1838" y="232"/>
                  </a:lnTo>
                  <a:lnTo>
                    <a:pt x="1838" y="238"/>
                  </a:lnTo>
                  <a:lnTo>
                    <a:pt x="1832" y="238"/>
                  </a:lnTo>
                  <a:lnTo>
                    <a:pt x="1832" y="238"/>
                  </a:lnTo>
                  <a:lnTo>
                    <a:pt x="1832" y="244"/>
                  </a:lnTo>
                  <a:lnTo>
                    <a:pt x="1832" y="244"/>
                  </a:lnTo>
                  <a:close/>
                  <a:moveTo>
                    <a:pt x="1756" y="232"/>
                  </a:moveTo>
                  <a:lnTo>
                    <a:pt x="1756" y="232"/>
                  </a:lnTo>
                  <a:lnTo>
                    <a:pt x="1762" y="232"/>
                  </a:lnTo>
                  <a:lnTo>
                    <a:pt x="1768" y="238"/>
                  </a:lnTo>
                  <a:lnTo>
                    <a:pt x="1768" y="244"/>
                  </a:lnTo>
                  <a:lnTo>
                    <a:pt x="1762" y="244"/>
                  </a:lnTo>
                  <a:lnTo>
                    <a:pt x="1762" y="238"/>
                  </a:lnTo>
                  <a:lnTo>
                    <a:pt x="1756" y="238"/>
                  </a:lnTo>
                  <a:lnTo>
                    <a:pt x="1756" y="232"/>
                  </a:lnTo>
                  <a:lnTo>
                    <a:pt x="1756" y="232"/>
                  </a:lnTo>
                  <a:lnTo>
                    <a:pt x="1756" y="232"/>
                  </a:lnTo>
                  <a:lnTo>
                    <a:pt x="1756" y="232"/>
                  </a:lnTo>
                  <a:close/>
                  <a:moveTo>
                    <a:pt x="950" y="232"/>
                  </a:moveTo>
                  <a:lnTo>
                    <a:pt x="956" y="232"/>
                  </a:lnTo>
                  <a:lnTo>
                    <a:pt x="956" y="238"/>
                  </a:lnTo>
                  <a:lnTo>
                    <a:pt x="950" y="238"/>
                  </a:lnTo>
                  <a:lnTo>
                    <a:pt x="950" y="232"/>
                  </a:lnTo>
                  <a:lnTo>
                    <a:pt x="944" y="232"/>
                  </a:lnTo>
                  <a:lnTo>
                    <a:pt x="950" y="232"/>
                  </a:lnTo>
                  <a:lnTo>
                    <a:pt x="950" y="232"/>
                  </a:lnTo>
                  <a:close/>
                  <a:moveTo>
                    <a:pt x="956" y="232"/>
                  </a:moveTo>
                  <a:lnTo>
                    <a:pt x="962" y="232"/>
                  </a:lnTo>
                  <a:lnTo>
                    <a:pt x="962" y="232"/>
                  </a:lnTo>
                  <a:lnTo>
                    <a:pt x="968" y="232"/>
                  </a:lnTo>
                  <a:lnTo>
                    <a:pt x="962" y="232"/>
                  </a:lnTo>
                  <a:lnTo>
                    <a:pt x="962" y="238"/>
                  </a:lnTo>
                  <a:lnTo>
                    <a:pt x="968" y="238"/>
                  </a:lnTo>
                  <a:lnTo>
                    <a:pt x="962" y="238"/>
                  </a:lnTo>
                  <a:lnTo>
                    <a:pt x="962" y="232"/>
                  </a:lnTo>
                  <a:lnTo>
                    <a:pt x="962" y="232"/>
                  </a:lnTo>
                  <a:lnTo>
                    <a:pt x="956" y="232"/>
                  </a:lnTo>
                  <a:lnTo>
                    <a:pt x="956" y="232"/>
                  </a:lnTo>
                  <a:close/>
                  <a:moveTo>
                    <a:pt x="974" y="238"/>
                  </a:moveTo>
                  <a:lnTo>
                    <a:pt x="980" y="238"/>
                  </a:lnTo>
                  <a:lnTo>
                    <a:pt x="974" y="238"/>
                  </a:lnTo>
                  <a:lnTo>
                    <a:pt x="974" y="238"/>
                  </a:lnTo>
                  <a:lnTo>
                    <a:pt x="974" y="238"/>
                  </a:lnTo>
                  <a:lnTo>
                    <a:pt x="974" y="238"/>
                  </a:lnTo>
                  <a:close/>
                  <a:moveTo>
                    <a:pt x="1588" y="244"/>
                  </a:moveTo>
                  <a:lnTo>
                    <a:pt x="1588" y="238"/>
                  </a:lnTo>
                  <a:lnTo>
                    <a:pt x="1588" y="238"/>
                  </a:lnTo>
                  <a:lnTo>
                    <a:pt x="1588" y="238"/>
                  </a:lnTo>
                  <a:lnTo>
                    <a:pt x="1588" y="244"/>
                  </a:lnTo>
                  <a:lnTo>
                    <a:pt x="1588" y="244"/>
                  </a:lnTo>
                  <a:lnTo>
                    <a:pt x="1588" y="244"/>
                  </a:lnTo>
                  <a:lnTo>
                    <a:pt x="1588" y="244"/>
                  </a:lnTo>
                  <a:close/>
                  <a:moveTo>
                    <a:pt x="1844" y="244"/>
                  </a:moveTo>
                  <a:lnTo>
                    <a:pt x="1844" y="244"/>
                  </a:lnTo>
                  <a:lnTo>
                    <a:pt x="1850" y="244"/>
                  </a:lnTo>
                  <a:lnTo>
                    <a:pt x="1856" y="244"/>
                  </a:lnTo>
                  <a:lnTo>
                    <a:pt x="1856" y="244"/>
                  </a:lnTo>
                  <a:lnTo>
                    <a:pt x="1860" y="244"/>
                  </a:lnTo>
                  <a:lnTo>
                    <a:pt x="1866" y="244"/>
                  </a:lnTo>
                  <a:lnTo>
                    <a:pt x="1872" y="244"/>
                  </a:lnTo>
                  <a:lnTo>
                    <a:pt x="1872" y="250"/>
                  </a:lnTo>
                  <a:lnTo>
                    <a:pt x="1872" y="250"/>
                  </a:lnTo>
                  <a:lnTo>
                    <a:pt x="1872" y="254"/>
                  </a:lnTo>
                  <a:lnTo>
                    <a:pt x="1878" y="254"/>
                  </a:lnTo>
                  <a:lnTo>
                    <a:pt x="1872" y="254"/>
                  </a:lnTo>
                  <a:lnTo>
                    <a:pt x="1872" y="254"/>
                  </a:lnTo>
                  <a:lnTo>
                    <a:pt x="1878" y="254"/>
                  </a:lnTo>
                  <a:lnTo>
                    <a:pt x="1872" y="260"/>
                  </a:lnTo>
                  <a:lnTo>
                    <a:pt x="1872" y="260"/>
                  </a:lnTo>
                  <a:lnTo>
                    <a:pt x="1866" y="254"/>
                  </a:lnTo>
                  <a:lnTo>
                    <a:pt x="1860" y="254"/>
                  </a:lnTo>
                  <a:lnTo>
                    <a:pt x="1856" y="254"/>
                  </a:lnTo>
                  <a:lnTo>
                    <a:pt x="1856" y="254"/>
                  </a:lnTo>
                  <a:lnTo>
                    <a:pt x="1850" y="254"/>
                  </a:lnTo>
                  <a:lnTo>
                    <a:pt x="1844" y="254"/>
                  </a:lnTo>
                  <a:lnTo>
                    <a:pt x="1844" y="254"/>
                  </a:lnTo>
                  <a:lnTo>
                    <a:pt x="1838" y="254"/>
                  </a:lnTo>
                  <a:lnTo>
                    <a:pt x="1832" y="254"/>
                  </a:lnTo>
                  <a:lnTo>
                    <a:pt x="1832" y="254"/>
                  </a:lnTo>
                  <a:lnTo>
                    <a:pt x="1826" y="254"/>
                  </a:lnTo>
                  <a:lnTo>
                    <a:pt x="1820" y="254"/>
                  </a:lnTo>
                  <a:lnTo>
                    <a:pt x="1820" y="254"/>
                  </a:lnTo>
                  <a:lnTo>
                    <a:pt x="1820" y="254"/>
                  </a:lnTo>
                  <a:lnTo>
                    <a:pt x="1826" y="254"/>
                  </a:lnTo>
                  <a:lnTo>
                    <a:pt x="1832" y="254"/>
                  </a:lnTo>
                  <a:lnTo>
                    <a:pt x="1832" y="250"/>
                  </a:lnTo>
                  <a:lnTo>
                    <a:pt x="1832" y="250"/>
                  </a:lnTo>
                  <a:lnTo>
                    <a:pt x="1832" y="244"/>
                  </a:lnTo>
                  <a:lnTo>
                    <a:pt x="1838" y="244"/>
                  </a:lnTo>
                  <a:lnTo>
                    <a:pt x="1844" y="244"/>
                  </a:lnTo>
                  <a:lnTo>
                    <a:pt x="1844" y="244"/>
                  </a:lnTo>
                  <a:close/>
                  <a:moveTo>
                    <a:pt x="1606" y="250"/>
                  </a:moveTo>
                  <a:lnTo>
                    <a:pt x="1612" y="250"/>
                  </a:lnTo>
                  <a:lnTo>
                    <a:pt x="1606" y="250"/>
                  </a:lnTo>
                  <a:lnTo>
                    <a:pt x="1606" y="250"/>
                  </a:lnTo>
                  <a:close/>
                  <a:moveTo>
                    <a:pt x="922" y="254"/>
                  </a:moveTo>
                  <a:lnTo>
                    <a:pt x="916" y="250"/>
                  </a:lnTo>
                  <a:lnTo>
                    <a:pt x="922" y="250"/>
                  </a:lnTo>
                  <a:lnTo>
                    <a:pt x="922" y="254"/>
                  </a:lnTo>
                  <a:lnTo>
                    <a:pt x="922" y="254"/>
                  </a:lnTo>
                  <a:close/>
                  <a:moveTo>
                    <a:pt x="1628" y="250"/>
                  </a:moveTo>
                  <a:lnTo>
                    <a:pt x="1634" y="250"/>
                  </a:lnTo>
                  <a:lnTo>
                    <a:pt x="1640" y="250"/>
                  </a:lnTo>
                  <a:lnTo>
                    <a:pt x="1640" y="254"/>
                  </a:lnTo>
                  <a:lnTo>
                    <a:pt x="1640" y="254"/>
                  </a:lnTo>
                  <a:lnTo>
                    <a:pt x="1634" y="250"/>
                  </a:lnTo>
                  <a:lnTo>
                    <a:pt x="1628" y="250"/>
                  </a:lnTo>
                  <a:lnTo>
                    <a:pt x="1628" y="250"/>
                  </a:lnTo>
                  <a:close/>
                  <a:moveTo>
                    <a:pt x="760" y="266"/>
                  </a:moveTo>
                  <a:lnTo>
                    <a:pt x="760" y="260"/>
                  </a:lnTo>
                  <a:lnTo>
                    <a:pt x="764" y="260"/>
                  </a:lnTo>
                  <a:lnTo>
                    <a:pt x="764" y="254"/>
                  </a:lnTo>
                  <a:lnTo>
                    <a:pt x="764" y="254"/>
                  </a:lnTo>
                  <a:lnTo>
                    <a:pt x="760" y="254"/>
                  </a:lnTo>
                  <a:lnTo>
                    <a:pt x="764" y="254"/>
                  </a:lnTo>
                  <a:lnTo>
                    <a:pt x="770" y="254"/>
                  </a:lnTo>
                  <a:lnTo>
                    <a:pt x="770" y="254"/>
                  </a:lnTo>
                  <a:lnTo>
                    <a:pt x="776" y="250"/>
                  </a:lnTo>
                  <a:lnTo>
                    <a:pt x="782" y="254"/>
                  </a:lnTo>
                  <a:lnTo>
                    <a:pt x="776" y="254"/>
                  </a:lnTo>
                  <a:lnTo>
                    <a:pt x="782" y="254"/>
                  </a:lnTo>
                  <a:lnTo>
                    <a:pt x="782" y="254"/>
                  </a:lnTo>
                  <a:lnTo>
                    <a:pt x="788" y="254"/>
                  </a:lnTo>
                  <a:lnTo>
                    <a:pt x="788" y="260"/>
                  </a:lnTo>
                  <a:lnTo>
                    <a:pt x="782" y="260"/>
                  </a:lnTo>
                  <a:lnTo>
                    <a:pt x="782" y="260"/>
                  </a:lnTo>
                  <a:lnTo>
                    <a:pt x="776" y="260"/>
                  </a:lnTo>
                  <a:lnTo>
                    <a:pt x="770" y="260"/>
                  </a:lnTo>
                  <a:lnTo>
                    <a:pt x="770" y="266"/>
                  </a:lnTo>
                  <a:lnTo>
                    <a:pt x="770" y="266"/>
                  </a:lnTo>
                  <a:lnTo>
                    <a:pt x="764" y="266"/>
                  </a:lnTo>
                  <a:lnTo>
                    <a:pt x="764" y="260"/>
                  </a:lnTo>
                  <a:lnTo>
                    <a:pt x="764" y="266"/>
                  </a:lnTo>
                  <a:lnTo>
                    <a:pt x="760" y="266"/>
                  </a:lnTo>
                  <a:lnTo>
                    <a:pt x="760" y="266"/>
                  </a:lnTo>
                  <a:close/>
                  <a:moveTo>
                    <a:pt x="510" y="312"/>
                  </a:moveTo>
                  <a:lnTo>
                    <a:pt x="516" y="308"/>
                  </a:lnTo>
                  <a:lnTo>
                    <a:pt x="522" y="308"/>
                  </a:lnTo>
                  <a:lnTo>
                    <a:pt x="516" y="308"/>
                  </a:lnTo>
                  <a:lnTo>
                    <a:pt x="510" y="308"/>
                  </a:lnTo>
                  <a:lnTo>
                    <a:pt x="510" y="312"/>
                  </a:lnTo>
                  <a:lnTo>
                    <a:pt x="510" y="308"/>
                  </a:lnTo>
                  <a:lnTo>
                    <a:pt x="510" y="308"/>
                  </a:lnTo>
                  <a:lnTo>
                    <a:pt x="510" y="308"/>
                  </a:lnTo>
                  <a:lnTo>
                    <a:pt x="510" y="308"/>
                  </a:lnTo>
                  <a:lnTo>
                    <a:pt x="504" y="308"/>
                  </a:lnTo>
                  <a:lnTo>
                    <a:pt x="498" y="308"/>
                  </a:lnTo>
                  <a:lnTo>
                    <a:pt x="498" y="308"/>
                  </a:lnTo>
                  <a:lnTo>
                    <a:pt x="498" y="308"/>
                  </a:lnTo>
                  <a:lnTo>
                    <a:pt x="498" y="308"/>
                  </a:lnTo>
                  <a:lnTo>
                    <a:pt x="492" y="308"/>
                  </a:lnTo>
                  <a:lnTo>
                    <a:pt x="492" y="308"/>
                  </a:lnTo>
                  <a:lnTo>
                    <a:pt x="492" y="308"/>
                  </a:lnTo>
                  <a:lnTo>
                    <a:pt x="486" y="308"/>
                  </a:lnTo>
                  <a:lnTo>
                    <a:pt x="486" y="308"/>
                  </a:lnTo>
                  <a:lnTo>
                    <a:pt x="480" y="302"/>
                  </a:lnTo>
                  <a:lnTo>
                    <a:pt x="480" y="296"/>
                  </a:lnTo>
                  <a:lnTo>
                    <a:pt x="480" y="296"/>
                  </a:lnTo>
                  <a:lnTo>
                    <a:pt x="486" y="296"/>
                  </a:lnTo>
                  <a:lnTo>
                    <a:pt x="486" y="290"/>
                  </a:lnTo>
                  <a:lnTo>
                    <a:pt x="486" y="290"/>
                  </a:lnTo>
                  <a:lnTo>
                    <a:pt x="492" y="290"/>
                  </a:lnTo>
                  <a:lnTo>
                    <a:pt x="492" y="296"/>
                  </a:lnTo>
                  <a:lnTo>
                    <a:pt x="498" y="296"/>
                  </a:lnTo>
                  <a:lnTo>
                    <a:pt x="498" y="290"/>
                  </a:lnTo>
                  <a:lnTo>
                    <a:pt x="498" y="284"/>
                  </a:lnTo>
                  <a:lnTo>
                    <a:pt x="498" y="284"/>
                  </a:lnTo>
                  <a:lnTo>
                    <a:pt x="498" y="278"/>
                  </a:lnTo>
                  <a:lnTo>
                    <a:pt x="504" y="278"/>
                  </a:lnTo>
                  <a:lnTo>
                    <a:pt x="504" y="278"/>
                  </a:lnTo>
                  <a:lnTo>
                    <a:pt x="498" y="278"/>
                  </a:lnTo>
                  <a:lnTo>
                    <a:pt x="504" y="272"/>
                  </a:lnTo>
                  <a:lnTo>
                    <a:pt x="504" y="278"/>
                  </a:lnTo>
                  <a:lnTo>
                    <a:pt x="510" y="278"/>
                  </a:lnTo>
                  <a:lnTo>
                    <a:pt x="504" y="272"/>
                  </a:lnTo>
                  <a:lnTo>
                    <a:pt x="498" y="272"/>
                  </a:lnTo>
                  <a:lnTo>
                    <a:pt x="498" y="272"/>
                  </a:lnTo>
                  <a:lnTo>
                    <a:pt x="498" y="266"/>
                  </a:lnTo>
                  <a:lnTo>
                    <a:pt x="504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0"/>
                  </a:lnTo>
                  <a:lnTo>
                    <a:pt x="510" y="254"/>
                  </a:lnTo>
                  <a:lnTo>
                    <a:pt x="516" y="254"/>
                  </a:lnTo>
                  <a:lnTo>
                    <a:pt x="522" y="254"/>
                  </a:lnTo>
                  <a:lnTo>
                    <a:pt x="528" y="254"/>
                  </a:lnTo>
                  <a:lnTo>
                    <a:pt x="528" y="254"/>
                  </a:lnTo>
                  <a:lnTo>
                    <a:pt x="528" y="254"/>
                  </a:lnTo>
                  <a:lnTo>
                    <a:pt x="532" y="254"/>
                  </a:lnTo>
                  <a:lnTo>
                    <a:pt x="538" y="254"/>
                  </a:lnTo>
                  <a:lnTo>
                    <a:pt x="538" y="254"/>
                  </a:lnTo>
                  <a:lnTo>
                    <a:pt x="544" y="254"/>
                  </a:lnTo>
                  <a:lnTo>
                    <a:pt x="550" y="254"/>
                  </a:lnTo>
                  <a:lnTo>
                    <a:pt x="550" y="254"/>
                  </a:lnTo>
                  <a:lnTo>
                    <a:pt x="556" y="254"/>
                  </a:lnTo>
                  <a:lnTo>
                    <a:pt x="556" y="260"/>
                  </a:lnTo>
                  <a:lnTo>
                    <a:pt x="562" y="260"/>
                  </a:lnTo>
                  <a:lnTo>
                    <a:pt x="556" y="260"/>
                  </a:lnTo>
                  <a:lnTo>
                    <a:pt x="550" y="260"/>
                  </a:lnTo>
                  <a:lnTo>
                    <a:pt x="550" y="266"/>
                  </a:lnTo>
                  <a:lnTo>
                    <a:pt x="550" y="266"/>
                  </a:lnTo>
                  <a:lnTo>
                    <a:pt x="556" y="266"/>
                  </a:lnTo>
                  <a:lnTo>
                    <a:pt x="550" y="266"/>
                  </a:lnTo>
                  <a:lnTo>
                    <a:pt x="550" y="266"/>
                  </a:lnTo>
                  <a:lnTo>
                    <a:pt x="544" y="266"/>
                  </a:lnTo>
                  <a:lnTo>
                    <a:pt x="550" y="266"/>
                  </a:lnTo>
                  <a:lnTo>
                    <a:pt x="550" y="266"/>
                  </a:lnTo>
                  <a:lnTo>
                    <a:pt x="550" y="266"/>
                  </a:lnTo>
                  <a:lnTo>
                    <a:pt x="550" y="272"/>
                  </a:lnTo>
                  <a:lnTo>
                    <a:pt x="550" y="272"/>
                  </a:lnTo>
                  <a:lnTo>
                    <a:pt x="550" y="266"/>
                  </a:lnTo>
                  <a:lnTo>
                    <a:pt x="550" y="272"/>
                  </a:lnTo>
                  <a:lnTo>
                    <a:pt x="544" y="272"/>
                  </a:lnTo>
                  <a:lnTo>
                    <a:pt x="544" y="266"/>
                  </a:lnTo>
                  <a:lnTo>
                    <a:pt x="538" y="272"/>
                  </a:lnTo>
                  <a:lnTo>
                    <a:pt x="544" y="272"/>
                  </a:lnTo>
                  <a:lnTo>
                    <a:pt x="550" y="272"/>
                  </a:lnTo>
                  <a:lnTo>
                    <a:pt x="544" y="278"/>
                  </a:lnTo>
                  <a:lnTo>
                    <a:pt x="538" y="278"/>
                  </a:lnTo>
                  <a:lnTo>
                    <a:pt x="544" y="278"/>
                  </a:lnTo>
                  <a:lnTo>
                    <a:pt x="544" y="278"/>
                  </a:lnTo>
                  <a:lnTo>
                    <a:pt x="538" y="278"/>
                  </a:lnTo>
                  <a:lnTo>
                    <a:pt x="538" y="278"/>
                  </a:lnTo>
                  <a:lnTo>
                    <a:pt x="538" y="278"/>
                  </a:lnTo>
                  <a:lnTo>
                    <a:pt x="544" y="278"/>
                  </a:lnTo>
                  <a:lnTo>
                    <a:pt x="538" y="284"/>
                  </a:lnTo>
                  <a:lnTo>
                    <a:pt x="544" y="284"/>
                  </a:lnTo>
                  <a:lnTo>
                    <a:pt x="544" y="290"/>
                  </a:lnTo>
                  <a:lnTo>
                    <a:pt x="538" y="290"/>
                  </a:lnTo>
                  <a:lnTo>
                    <a:pt x="538" y="296"/>
                  </a:lnTo>
                  <a:lnTo>
                    <a:pt x="538" y="296"/>
                  </a:lnTo>
                  <a:lnTo>
                    <a:pt x="544" y="296"/>
                  </a:lnTo>
                  <a:lnTo>
                    <a:pt x="544" y="302"/>
                  </a:lnTo>
                  <a:lnTo>
                    <a:pt x="544" y="308"/>
                  </a:lnTo>
                  <a:lnTo>
                    <a:pt x="550" y="308"/>
                  </a:lnTo>
                  <a:lnTo>
                    <a:pt x="550" y="308"/>
                  </a:lnTo>
                  <a:lnTo>
                    <a:pt x="550" y="312"/>
                  </a:lnTo>
                  <a:lnTo>
                    <a:pt x="550" y="318"/>
                  </a:lnTo>
                  <a:lnTo>
                    <a:pt x="556" y="318"/>
                  </a:lnTo>
                  <a:lnTo>
                    <a:pt x="562" y="318"/>
                  </a:lnTo>
                  <a:lnTo>
                    <a:pt x="562" y="324"/>
                  </a:lnTo>
                  <a:lnTo>
                    <a:pt x="568" y="324"/>
                  </a:lnTo>
                  <a:lnTo>
                    <a:pt x="574" y="324"/>
                  </a:lnTo>
                  <a:lnTo>
                    <a:pt x="574" y="330"/>
                  </a:lnTo>
                  <a:lnTo>
                    <a:pt x="574" y="330"/>
                  </a:lnTo>
                  <a:lnTo>
                    <a:pt x="574" y="330"/>
                  </a:lnTo>
                  <a:lnTo>
                    <a:pt x="568" y="330"/>
                  </a:lnTo>
                  <a:lnTo>
                    <a:pt x="568" y="330"/>
                  </a:lnTo>
                  <a:lnTo>
                    <a:pt x="562" y="330"/>
                  </a:lnTo>
                  <a:lnTo>
                    <a:pt x="562" y="330"/>
                  </a:lnTo>
                  <a:lnTo>
                    <a:pt x="562" y="330"/>
                  </a:lnTo>
                  <a:lnTo>
                    <a:pt x="568" y="330"/>
                  </a:lnTo>
                  <a:lnTo>
                    <a:pt x="574" y="330"/>
                  </a:lnTo>
                  <a:lnTo>
                    <a:pt x="568" y="330"/>
                  </a:lnTo>
                  <a:lnTo>
                    <a:pt x="562" y="330"/>
                  </a:lnTo>
                  <a:lnTo>
                    <a:pt x="562" y="330"/>
                  </a:lnTo>
                  <a:lnTo>
                    <a:pt x="556" y="330"/>
                  </a:lnTo>
                  <a:lnTo>
                    <a:pt x="562" y="330"/>
                  </a:lnTo>
                  <a:lnTo>
                    <a:pt x="556" y="330"/>
                  </a:lnTo>
                  <a:lnTo>
                    <a:pt x="550" y="330"/>
                  </a:lnTo>
                  <a:lnTo>
                    <a:pt x="556" y="330"/>
                  </a:lnTo>
                  <a:lnTo>
                    <a:pt x="556" y="330"/>
                  </a:lnTo>
                  <a:lnTo>
                    <a:pt x="562" y="330"/>
                  </a:lnTo>
                  <a:lnTo>
                    <a:pt x="556" y="330"/>
                  </a:lnTo>
                  <a:lnTo>
                    <a:pt x="562" y="330"/>
                  </a:lnTo>
                  <a:lnTo>
                    <a:pt x="556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44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44" y="330"/>
                  </a:lnTo>
                  <a:lnTo>
                    <a:pt x="538" y="330"/>
                  </a:lnTo>
                  <a:lnTo>
                    <a:pt x="538" y="330"/>
                  </a:lnTo>
                  <a:lnTo>
                    <a:pt x="538" y="330"/>
                  </a:lnTo>
                  <a:lnTo>
                    <a:pt x="532" y="330"/>
                  </a:lnTo>
                  <a:lnTo>
                    <a:pt x="528" y="330"/>
                  </a:lnTo>
                  <a:lnTo>
                    <a:pt x="532" y="330"/>
                  </a:lnTo>
                  <a:lnTo>
                    <a:pt x="528" y="330"/>
                  </a:lnTo>
                  <a:lnTo>
                    <a:pt x="528" y="330"/>
                  </a:lnTo>
                  <a:lnTo>
                    <a:pt x="522" y="330"/>
                  </a:lnTo>
                  <a:lnTo>
                    <a:pt x="516" y="324"/>
                  </a:lnTo>
                  <a:lnTo>
                    <a:pt x="516" y="330"/>
                  </a:lnTo>
                  <a:lnTo>
                    <a:pt x="516" y="324"/>
                  </a:lnTo>
                  <a:lnTo>
                    <a:pt x="510" y="324"/>
                  </a:lnTo>
                  <a:lnTo>
                    <a:pt x="516" y="324"/>
                  </a:lnTo>
                  <a:lnTo>
                    <a:pt x="516" y="318"/>
                  </a:lnTo>
                  <a:lnTo>
                    <a:pt x="510" y="318"/>
                  </a:lnTo>
                  <a:lnTo>
                    <a:pt x="510" y="318"/>
                  </a:lnTo>
                  <a:lnTo>
                    <a:pt x="516" y="318"/>
                  </a:lnTo>
                  <a:lnTo>
                    <a:pt x="522" y="318"/>
                  </a:lnTo>
                  <a:lnTo>
                    <a:pt x="528" y="318"/>
                  </a:lnTo>
                  <a:lnTo>
                    <a:pt x="522" y="318"/>
                  </a:lnTo>
                  <a:lnTo>
                    <a:pt x="516" y="318"/>
                  </a:lnTo>
                  <a:lnTo>
                    <a:pt x="510" y="318"/>
                  </a:lnTo>
                  <a:lnTo>
                    <a:pt x="510" y="312"/>
                  </a:lnTo>
                  <a:lnTo>
                    <a:pt x="510" y="312"/>
                  </a:lnTo>
                  <a:close/>
                  <a:moveTo>
                    <a:pt x="1518" y="266"/>
                  </a:moveTo>
                  <a:lnTo>
                    <a:pt x="1512" y="260"/>
                  </a:lnTo>
                  <a:lnTo>
                    <a:pt x="1518" y="260"/>
                  </a:lnTo>
                  <a:lnTo>
                    <a:pt x="1524" y="260"/>
                  </a:lnTo>
                  <a:lnTo>
                    <a:pt x="1524" y="266"/>
                  </a:lnTo>
                  <a:lnTo>
                    <a:pt x="1518" y="266"/>
                  </a:lnTo>
                  <a:lnTo>
                    <a:pt x="1518" y="266"/>
                  </a:lnTo>
                  <a:close/>
                  <a:moveTo>
                    <a:pt x="898" y="266"/>
                  </a:moveTo>
                  <a:lnTo>
                    <a:pt x="898" y="266"/>
                  </a:lnTo>
                  <a:lnTo>
                    <a:pt x="898" y="266"/>
                  </a:lnTo>
                  <a:lnTo>
                    <a:pt x="898" y="260"/>
                  </a:lnTo>
                  <a:lnTo>
                    <a:pt x="904" y="260"/>
                  </a:lnTo>
                  <a:lnTo>
                    <a:pt x="904" y="266"/>
                  </a:lnTo>
                  <a:lnTo>
                    <a:pt x="910" y="266"/>
                  </a:lnTo>
                  <a:lnTo>
                    <a:pt x="910" y="272"/>
                  </a:lnTo>
                  <a:lnTo>
                    <a:pt x="904" y="272"/>
                  </a:lnTo>
                  <a:lnTo>
                    <a:pt x="898" y="272"/>
                  </a:lnTo>
                  <a:lnTo>
                    <a:pt x="898" y="272"/>
                  </a:lnTo>
                  <a:lnTo>
                    <a:pt x="892" y="266"/>
                  </a:lnTo>
                  <a:lnTo>
                    <a:pt x="898" y="266"/>
                  </a:lnTo>
                  <a:lnTo>
                    <a:pt x="898" y="266"/>
                  </a:lnTo>
                  <a:close/>
                  <a:moveTo>
                    <a:pt x="870" y="284"/>
                  </a:moveTo>
                  <a:lnTo>
                    <a:pt x="870" y="278"/>
                  </a:lnTo>
                  <a:lnTo>
                    <a:pt x="870" y="278"/>
                  </a:lnTo>
                  <a:lnTo>
                    <a:pt x="870" y="278"/>
                  </a:lnTo>
                  <a:lnTo>
                    <a:pt x="876" y="278"/>
                  </a:lnTo>
                  <a:lnTo>
                    <a:pt x="880" y="278"/>
                  </a:lnTo>
                  <a:lnTo>
                    <a:pt x="880" y="278"/>
                  </a:lnTo>
                  <a:lnTo>
                    <a:pt x="886" y="278"/>
                  </a:lnTo>
                  <a:lnTo>
                    <a:pt x="886" y="278"/>
                  </a:lnTo>
                  <a:lnTo>
                    <a:pt x="880" y="278"/>
                  </a:lnTo>
                  <a:lnTo>
                    <a:pt x="880" y="284"/>
                  </a:lnTo>
                  <a:lnTo>
                    <a:pt x="880" y="284"/>
                  </a:lnTo>
                  <a:lnTo>
                    <a:pt x="876" y="284"/>
                  </a:lnTo>
                  <a:lnTo>
                    <a:pt x="870" y="284"/>
                  </a:lnTo>
                  <a:lnTo>
                    <a:pt x="870" y="284"/>
                  </a:lnTo>
                  <a:lnTo>
                    <a:pt x="870" y="284"/>
                  </a:lnTo>
                  <a:close/>
                  <a:moveTo>
                    <a:pt x="1798" y="308"/>
                  </a:moveTo>
                  <a:lnTo>
                    <a:pt x="1798" y="302"/>
                  </a:lnTo>
                  <a:lnTo>
                    <a:pt x="1802" y="302"/>
                  </a:lnTo>
                  <a:lnTo>
                    <a:pt x="1802" y="308"/>
                  </a:lnTo>
                  <a:lnTo>
                    <a:pt x="1798" y="308"/>
                  </a:lnTo>
                  <a:lnTo>
                    <a:pt x="1798" y="308"/>
                  </a:lnTo>
                  <a:close/>
                  <a:moveTo>
                    <a:pt x="1792" y="308"/>
                  </a:moveTo>
                  <a:lnTo>
                    <a:pt x="1792" y="308"/>
                  </a:lnTo>
                  <a:lnTo>
                    <a:pt x="1786" y="308"/>
                  </a:lnTo>
                  <a:lnTo>
                    <a:pt x="1780" y="308"/>
                  </a:lnTo>
                  <a:lnTo>
                    <a:pt x="1780" y="308"/>
                  </a:lnTo>
                  <a:lnTo>
                    <a:pt x="1780" y="308"/>
                  </a:lnTo>
                  <a:lnTo>
                    <a:pt x="1780" y="308"/>
                  </a:lnTo>
                  <a:lnTo>
                    <a:pt x="1786" y="308"/>
                  </a:lnTo>
                  <a:lnTo>
                    <a:pt x="1792" y="308"/>
                  </a:lnTo>
                  <a:lnTo>
                    <a:pt x="1792" y="308"/>
                  </a:lnTo>
                  <a:lnTo>
                    <a:pt x="1792" y="308"/>
                  </a:lnTo>
                  <a:close/>
                  <a:moveTo>
                    <a:pt x="504" y="318"/>
                  </a:moveTo>
                  <a:lnTo>
                    <a:pt x="498" y="318"/>
                  </a:lnTo>
                  <a:lnTo>
                    <a:pt x="498" y="312"/>
                  </a:lnTo>
                  <a:lnTo>
                    <a:pt x="498" y="312"/>
                  </a:lnTo>
                  <a:lnTo>
                    <a:pt x="492" y="312"/>
                  </a:lnTo>
                  <a:lnTo>
                    <a:pt x="498" y="312"/>
                  </a:lnTo>
                  <a:lnTo>
                    <a:pt x="498" y="308"/>
                  </a:lnTo>
                  <a:lnTo>
                    <a:pt x="498" y="308"/>
                  </a:lnTo>
                  <a:lnTo>
                    <a:pt x="504" y="308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8" y="308"/>
                  </a:lnTo>
                  <a:lnTo>
                    <a:pt x="498" y="312"/>
                  </a:lnTo>
                  <a:lnTo>
                    <a:pt x="504" y="312"/>
                  </a:lnTo>
                  <a:lnTo>
                    <a:pt x="510" y="312"/>
                  </a:lnTo>
                  <a:lnTo>
                    <a:pt x="504" y="312"/>
                  </a:lnTo>
                  <a:lnTo>
                    <a:pt x="510" y="312"/>
                  </a:lnTo>
                  <a:lnTo>
                    <a:pt x="510" y="318"/>
                  </a:lnTo>
                  <a:lnTo>
                    <a:pt x="510" y="318"/>
                  </a:lnTo>
                  <a:lnTo>
                    <a:pt x="504" y="318"/>
                  </a:lnTo>
                  <a:lnTo>
                    <a:pt x="504" y="318"/>
                  </a:lnTo>
                  <a:lnTo>
                    <a:pt x="510" y="318"/>
                  </a:lnTo>
                  <a:lnTo>
                    <a:pt x="504" y="318"/>
                  </a:lnTo>
                  <a:lnTo>
                    <a:pt x="504" y="318"/>
                  </a:lnTo>
                  <a:close/>
                  <a:moveTo>
                    <a:pt x="2150" y="330"/>
                  </a:moveTo>
                  <a:lnTo>
                    <a:pt x="2150" y="330"/>
                  </a:lnTo>
                  <a:lnTo>
                    <a:pt x="2150" y="324"/>
                  </a:lnTo>
                  <a:lnTo>
                    <a:pt x="2150" y="324"/>
                  </a:lnTo>
                  <a:lnTo>
                    <a:pt x="2150" y="330"/>
                  </a:lnTo>
                  <a:lnTo>
                    <a:pt x="2150" y="330"/>
                  </a:lnTo>
                  <a:close/>
                  <a:moveTo>
                    <a:pt x="608" y="360"/>
                  </a:moveTo>
                  <a:lnTo>
                    <a:pt x="602" y="360"/>
                  </a:lnTo>
                  <a:lnTo>
                    <a:pt x="602" y="354"/>
                  </a:lnTo>
                  <a:lnTo>
                    <a:pt x="602" y="354"/>
                  </a:lnTo>
                  <a:lnTo>
                    <a:pt x="596" y="354"/>
                  </a:lnTo>
                  <a:lnTo>
                    <a:pt x="596" y="348"/>
                  </a:lnTo>
                  <a:lnTo>
                    <a:pt x="596" y="354"/>
                  </a:lnTo>
                  <a:lnTo>
                    <a:pt x="590" y="348"/>
                  </a:lnTo>
                  <a:lnTo>
                    <a:pt x="590" y="348"/>
                  </a:lnTo>
                  <a:lnTo>
                    <a:pt x="590" y="342"/>
                  </a:lnTo>
                  <a:lnTo>
                    <a:pt x="590" y="342"/>
                  </a:lnTo>
                  <a:lnTo>
                    <a:pt x="590" y="342"/>
                  </a:lnTo>
                  <a:lnTo>
                    <a:pt x="590" y="336"/>
                  </a:lnTo>
                  <a:lnTo>
                    <a:pt x="596" y="336"/>
                  </a:lnTo>
                  <a:lnTo>
                    <a:pt x="602" y="336"/>
                  </a:lnTo>
                  <a:lnTo>
                    <a:pt x="602" y="342"/>
                  </a:lnTo>
                  <a:lnTo>
                    <a:pt x="602" y="342"/>
                  </a:lnTo>
                  <a:lnTo>
                    <a:pt x="602" y="342"/>
                  </a:lnTo>
                  <a:lnTo>
                    <a:pt x="608" y="342"/>
                  </a:lnTo>
                  <a:lnTo>
                    <a:pt x="614" y="348"/>
                  </a:lnTo>
                  <a:lnTo>
                    <a:pt x="614" y="348"/>
                  </a:lnTo>
                  <a:lnTo>
                    <a:pt x="620" y="354"/>
                  </a:lnTo>
                  <a:lnTo>
                    <a:pt x="614" y="360"/>
                  </a:lnTo>
                  <a:lnTo>
                    <a:pt x="614" y="360"/>
                  </a:lnTo>
                  <a:lnTo>
                    <a:pt x="608" y="360"/>
                  </a:lnTo>
                  <a:lnTo>
                    <a:pt x="608" y="360"/>
                  </a:lnTo>
                  <a:close/>
                  <a:moveTo>
                    <a:pt x="2266" y="360"/>
                  </a:moveTo>
                  <a:lnTo>
                    <a:pt x="2266" y="360"/>
                  </a:lnTo>
                  <a:lnTo>
                    <a:pt x="2266" y="360"/>
                  </a:lnTo>
                  <a:lnTo>
                    <a:pt x="2262" y="360"/>
                  </a:lnTo>
                  <a:lnTo>
                    <a:pt x="2256" y="360"/>
                  </a:lnTo>
                  <a:lnTo>
                    <a:pt x="2250" y="360"/>
                  </a:lnTo>
                  <a:lnTo>
                    <a:pt x="2250" y="360"/>
                  </a:lnTo>
                  <a:lnTo>
                    <a:pt x="2244" y="354"/>
                  </a:lnTo>
                  <a:lnTo>
                    <a:pt x="2244" y="348"/>
                  </a:lnTo>
                  <a:lnTo>
                    <a:pt x="2250" y="348"/>
                  </a:lnTo>
                  <a:lnTo>
                    <a:pt x="2250" y="348"/>
                  </a:lnTo>
                  <a:lnTo>
                    <a:pt x="2256" y="348"/>
                  </a:lnTo>
                  <a:lnTo>
                    <a:pt x="2262" y="348"/>
                  </a:lnTo>
                  <a:lnTo>
                    <a:pt x="2262" y="354"/>
                  </a:lnTo>
                  <a:lnTo>
                    <a:pt x="2266" y="354"/>
                  </a:lnTo>
                  <a:lnTo>
                    <a:pt x="2266" y="354"/>
                  </a:lnTo>
                  <a:lnTo>
                    <a:pt x="2266" y="360"/>
                  </a:lnTo>
                  <a:lnTo>
                    <a:pt x="2266" y="360"/>
                  </a:lnTo>
                  <a:close/>
                  <a:moveTo>
                    <a:pt x="2150" y="360"/>
                  </a:moveTo>
                  <a:lnTo>
                    <a:pt x="2150" y="360"/>
                  </a:lnTo>
                  <a:lnTo>
                    <a:pt x="2150" y="360"/>
                  </a:lnTo>
                  <a:lnTo>
                    <a:pt x="2150" y="360"/>
                  </a:lnTo>
                  <a:lnTo>
                    <a:pt x="2150" y="360"/>
                  </a:lnTo>
                  <a:lnTo>
                    <a:pt x="2150" y="360"/>
                  </a:lnTo>
                  <a:close/>
                  <a:moveTo>
                    <a:pt x="2146" y="366"/>
                  </a:moveTo>
                  <a:lnTo>
                    <a:pt x="2150" y="366"/>
                  </a:lnTo>
                  <a:lnTo>
                    <a:pt x="2150" y="360"/>
                  </a:lnTo>
                  <a:lnTo>
                    <a:pt x="2146" y="360"/>
                  </a:lnTo>
                  <a:lnTo>
                    <a:pt x="2150" y="360"/>
                  </a:lnTo>
                  <a:lnTo>
                    <a:pt x="2150" y="360"/>
                  </a:lnTo>
                  <a:lnTo>
                    <a:pt x="2150" y="366"/>
                  </a:lnTo>
                  <a:lnTo>
                    <a:pt x="2146" y="366"/>
                  </a:lnTo>
                  <a:lnTo>
                    <a:pt x="2146" y="366"/>
                  </a:lnTo>
                  <a:close/>
                  <a:moveTo>
                    <a:pt x="718" y="360"/>
                  </a:moveTo>
                  <a:lnTo>
                    <a:pt x="718" y="360"/>
                  </a:lnTo>
                  <a:lnTo>
                    <a:pt x="724" y="360"/>
                  </a:lnTo>
                  <a:lnTo>
                    <a:pt x="718" y="366"/>
                  </a:lnTo>
                  <a:lnTo>
                    <a:pt x="718" y="366"/>
                  </a:lnTo>
                  <a:lnTo>
                    <a:pt x="718" y="360"/>
                  </a:lnTo>
                  <a:lnTo>
                    <a:pt x="718" y="360"/>
                  </a:lnTo>
                  <a:close/>
                  <a:moveTo>
                    <a:pt x="2150" y="376"/>
                  </a:moveTo>
                  <a:lnTo>
                    <a:pt x="2146" y="376"/>
                  </a:lnTo>
                  <a:lnTo>
                    <a:pt x="2146" y="372"/>
                  </a:lnTo>
                  <a:lnTo>
                    <a:pt x="2140" y="372"/>
                  </a:lnTo>
                  <a:lnTo>
                    <a:pt x="2140" y="372"/>
                  </a:lnTo>
                  <a:lnTo>
                    <a:pt x="2146" y="372"/>
                  </a:lnTo>
                  <a:lnTo>
                    <a:pt x="2146" y="366"/>
                  </a:lnTo>
                  <a:lnTo>
                    <a:pt x="2140" y="366"/>
                  </a:lnTo>
                  <a:lnTo>
                    <a:pt x="2146" y="360"/>
                  </a:lnTo>
                  <a:lnTo>
                    <a:pt x="2146" y="366"/>
                  </a:lnTo>
                  <a:lnTo>
                    <a:pt x="2146" y="372"/>
                  </a:lnTo>
                  <a:lnTo>
                    <a:pt x="2146" y="372"/>
                  </a:lnTo>
                  <a:lnTo>
                    <a:pt x="2150" y="372"/>
                  </a:lnTo>
                  <a:lnTo>
                    <a:pt x="2150" y="376"/>
                  </a:lnTo>
                  <a:lnTo>
                    <a:pt x="2150" y="376"/>
                  </a:lnTo>
                  <a:close/>
                  <a:moveTo>
                    <a:pt x="434" y="372"/>
                  </a:moveTo>
                  <a:lnTo>
                    <a:pt x="434" y="372"/>
                  </a:lnTo>
                  <a:lnTo>
                    <a:pt x="440" y="372"/>
                  </a:lnTo>
                  <a:lnTo>
                    <a:pt x="440" y="366"/>
                  </a:lnTo>
                  <a:lnTo>
                    <a:pt x="440" y="366"/>
                  </a:lnTo>
                  <a:lnTo>
                    <a:pt x="440" y="360"/>
                  </a:lnTo>
                  <a:lnTo>
                    <a:pt x="446" y="360"/>
                  </a:lnTo>
                  <a:lnTo>
                    <a:pt x="452" y="360"/>
                  </a:lnTo>
                  <a:lnTo>
                    <a:pt x="452" y="366"/>
                  </a:lnTo>
                  <a:lnTo>
                    <a:pt x="458" y="366"/>
                  </a:lnTo>
                  <a:lnTo>
                    <a:pt x="464" y="372"/>
                  </a:lnTo>
                  <a:lnTo>
                    <a:pt x="464" y="372"/>
                  </a:lnTo>
                  <a:lnTo>
                    <a:pt x="464" y="376"/>
                  </a:lnTo>
                  <a:lnTo>
                    <a:pt x="464" y="372"/>
                  </a:lnTo>
                  <a:lnTo>
                    <a:pt x="464" y="372"/>
                  </a:lnTo>
                  <a:lnTo>
                    <a:pt x="464" y="372"/>
                  </a:lnTo>
                  <a:lnTo>
                    <a:pt x="458" y="376"/>
                  </a:lnTo>
                  <a:lnTo>
                    <a:pt x="458" y="382"/>
                  </a:lnTo>
                  <a:lnTo>
                    <a:pt x="452" y="382"/>
                  </a:lnTo>
                  <a:lnTo>
                    <a:pt x="452" y="382"/>
                  </a:lnTo>
                  <a:lnTo>
                    <a:pt x="446" y="382"/>
                  </a:lnTo>
                  <a:lnTo>
                    <a:pt x="440" y="382"/>
                  </a:lnTo>
                  <a:lnTo>
                    <a:pt x="440" y="382"/>
                  </a:lnTo>
                  <a:lnTo>
                    <a:pt x="434" y="376"/>
                  </a:lnTo>
                  <a:lnTo>
                    <a:pt x="434" y="372"/>
                  </a:lnTo>
                  <a:lnTo>
                    <a:pt x="434" y="372"/>
                  </a:lnTo>
                  <a:close/>
                  <a:moveTo>
                    <a:pt x="220" y="366"/>
                  </a:moveTo>
                  <a:lnTo>
                    <a:pt x="226" y="366"/>
                  </a:lnTo>
                  <a:lnTo>
                    <a:pt x="220" y="366"/>
                  </a:lnTo>
                  <a:lnTo>
                    <a:pt x="220" y="366"/>
                  </a:lnTo>
                  <a:lnTo>
                    <a:pt x="220" y="366"/>
                  </a:lnTo>
                  <a:lnTo>
                    <a:pt x="220" y="366"/>
                  </a:lnTo>
                  <a:close/>
                  <a:moveTo>
                    <a:pt x="702" y="372"/>
                  </a:moveTo>
                  <a:lnTo>
                    <a:pt x="706" y="372"/>
                  </a:lnTo>
                  <a:lnTo>
                    <a:pt x="706" y="372"/>
                  </a:lnTo>
                  <a:lnTo>
                    <a:pt x="706" y="376"/>
                  </a:lnTo>
                  <a:lnTo>
                    <a:pt x="712" y="376"/>
                  </a:lnTo>
                  <a:lnTo>
                    <a:pt x="706" y="376"/>
                  </a:lnTo>
                  <a:lnTo>
                    <a:pt x="706" y="372"/>
                  </a:lnTo>
                  <a:lnTo>
                    <a:pt x="702" y="372"/>
                  </a:lnTo>
                  <a:lnTo>
                    <a:pt x="702" y="372"/>
                  </a:lnTo>
                  <a:close/>
                  <a:moveTo>
                    <a:pt x="568" y="382"/>
                  </a:moveTo>
                  <a:lnTo>
                    <a:pt x="574" y="382"/>
                  </a:lnTo>
                  <a:lnTo>
                    <a:pt x="574" y="382"/>
                  </a:lnTo>
                  <a:lnTo>
                    <a:pt x="580" y="382"/>
                  </a:lnTo>
                  <a:lnTo>
                    <a:pt x="574" y="382"/>
                  </a:lnTo>
                  <a:lnTo>
                    <a:pt x="574" y="382"/>
                  </a:lnTo>
                  <a:lnTo>
                    <a:pt x="574" y="382"/>
                  </a:lnTo>
                  <a:lnTo>
                    <a:pt x="568" y="382"/>
                  </a:lnTo>
                  <a:lnTo>
                    <a:pt x="568" y="382"/>
                  </a:lnTo>
                  <a:lnTo>
                    <a:pt x="568" y="382"/>
                  </a:lnTo>
                  <a:close/>
                  <a:moveTo>
                    <a:pt x="474" y="394"/>
                  </a:moveTo>
                  <a:lnTo>
                    <a:pt x="474" y="388"/>
                  </a:lnTo>
                  <a:lnTo>
                    <a:pt x="474" y="388"/>
                  </a:lnTo>
                  <a:lnTo>
                    <a:pt x="480" y="388"/>
                  </a:lnTo>
                  <a:lnTo>
                    <a:pt x="474" y="388"/>
                  </a:lnTo>
                  <a:lnTo>
                    <a:pt x="474" y="394"/>
                  </a:lnTo>
                  <a:lnTo>
                    <a:pt x="474" y="394"/>
                  </a:lnTo>
                  <a:lnTo>
                    <a:pt x="474" y="394"/>
                  </a:lnTo>
                  <a:close/>
                  <a:moveTo>
                    <a:pt x="348" y="434"/>
                  </a:moveTo>
                  <a:lnTo>
                    <a:pt x="348" y="434"/>
                  </a:lnTo>
                  <a:lnTo>
                    <a:pt x="348" y="434"/>
                  </a:lnTo>
                  <a:lnTo>
                    <a:pt x="348" y="434"/>
                  </a:lnTo>
                  <a:lnTo>
                    <a:pt x="348" y="434"/>
                  </a:lnTo>
                  <a:lnTo>
                    <a:pt x="348" y="434"/>
                  </a:lnTo>
                  <a:close/>
                  <a:moveTo>
                    <a:pt x="244" y="476"/>
                  </a:moveTo>
                  <a:lnTo>
                    <a:pt x="244" y="482"/>
                  </a:lnTo>
                  <a:lnTo>
                    <a:pt x="244" y="482"/>
                  </a:lnTo>
                  <a:lnTo>
                    <a:pt x="244" y="476"/>
                  </a:lnTo>
                  <a:lnTo>
                    <a:pt x="244" y="476"/>
                  </a:lnTo>
                  <a:lnTo>
                    <a:pt x="244" y="476"/>
                  </a:lnTo>
                  <a:close/>
                  <a:moveTo>
                    <a:pt x="2584" y="488"/>
                  </a:moveTo>
                  <a:lnTo>
                    <a:pt x="2584" y="488"/>
                  </a:lnTo>
                  <a:lnTo>
                    <a:pt x="2590" y="488"/>
                  </a:lnTo>
                  <a:lnTo>
                    <a:pt x="2590" y="488"/>
                  </a:lnTo>
                  <a:lnTo>
                    <a:pt x="2590" y="488"/>
                  </a:lnTo>
                  <a:lnTo>
                    <a:pt x="2590" y="488"/>
                  </a:lnTo>
                  <a:lnTo>
                    <a:pt x="2584" y="488"/>
                  </a:lnTo>
                  <a:lnTo>
                    <a:pt x="2584" y="488"/>
                  </a:lnTo>
                  <a:close/>
                  <a:moveTo>
                    <a:pt x="2578" y="488"/>
                  </a:moveTo>
                  <a:lnTo>
                    <a:pt x="2584" y="488"/>
                  </a:lnTo>
                  <a:lnTo>
                    <a:pt x="2584" y="492"/>
                  </a:lnTo>
                  <a:lnTo>
                    <a:pt x="2584" y="488"/>
                  </a:lnTo>
                  <a:lnTo>
                    <a:pt x="2578" y="488"/>
                  </a:lnTo>
                  <a:lnTo>
                    <a:pt x="2578" y="488"/>
                  </a:lnTo>
                  <a:close/>
                  <a:moveTo>
                    <a:pt x="2180" y="638"/>
                  </a:moveTo>
                  <a:lnTo>
                    <a:pt x="2180" y="638"/>
                  </a:lnTo>
                  <a:lnTo>
                    <a:pt x="2180" y="638"/>
                  </a:lnTo>
                  <a:lnTo>
                    <a:pt x="2180" y="632"/>
                  </a:lnTo>
                  <a:lnTo>
                    <a:pt x="2186" y="632"/>
                  </a:lnTo>
                  <a:lnTo>
                    <a:pt x="2186" y="626"/>
                  </a:lnTo>
                  <a:lnTo>
                    <a:pt x="2180" y="626"/>
                  </a:lnTo>
                  <a:lnTo>
                    <a:pt x="2180" y="632"/>
                  </a:lnTo>
                  <a:lnTo>
                    <a:pt x="2180" y="626"/>
                  </a:lnTo>
                  <a:lnTo>
                    <a:pt x="2186" y="626"/>
                  </a:lnTo>
                  <a:lnTo>
                    <a:pt x="2192" y="626"/>
                  </a:lnTo>
                  <a:lnTo>
                    <a:pt x="2192" y="626"/>
                  </a:lnTo>
                  <a:lnTo>
                    <a:pt x="2192" y="626"/>
                  </a:lnTo>
                  <a:lnTo>
                    <a:pt x="2198" y="626"/>
                  </a:lnTo>
                  <a:lnTo>
                    <a:pt x="2198" y="626"/>
                  </a:lnTo>
                  <a:lnTo>
                    <a:pt x="2198" y="632"/>
                  </a:lnTo>
                  <a:lnTo>
                    <a:pt x="2192" y="632"/>
                  </a:lnTo>
                  <a:lnTo>
                    <a:pt x="2192" y="632"/>
                  </a:lnTo>
                  <a:lnTo>
                    <a:pt x="2192" y="638"/>
                  </a:lnTo>
                  <a:lnTo>
                    <a:pt x="2186" y="638"/>
                  </a:lnTo>
                  <a:lnTo>
                    <a:pt x="2180" y="638"/>
                  </a:lnTo>
                  <a:lnTo>
                    <a:pt x="2180" y="644"/>
                  </a:lnTo>
                  <a:lnTo>
                    <a:pt x="2180" y="638"/>
                  </a:lnTo>
                  <a:lnTo>
                    <a:pt x="2180" y="638"/>
                  </a:lnTo>
                  <a:close/>
                  <a:moveTo>
                    <a:pt x="2220" y="714"/>
                  </a:moveTo>
                  <a:lnTo>
                    <a:pt x="2220" y="720"/>
                  </a:lnTo>
                  <a:lnTo>
                    <a:pt x="2220" y="724"/>
                  </a:lnTo>
                  <a:lnTo>
                    <a:pt x="2226" y="730"/>
                  </a:lnTo>
                  <a:lnTo>
                    <a:pt x="2226" y="730"/>
                  </a:lnTo>
                  <a:lnTo>
                    <a:pt x="2226" y="730"/>
                  </a:lnTo>
                  <a:lnTo>
                    <a:pt x="2220" y="730"/>
                  </a:lnTo>
                  <a:lnTo>
                    <a:pt x="2220" y="724"/>
                  </a:lnTo>
                  <a:lnTo>
                    <a:pt x="2214" y="724"/>
                  </a:lnTo>
                  <a:lnTo>
                    <a:pt x="2214" y="720"/>
                  </a:lnTo>
                  <a:lnTo>
                    <a:pt x="2214" y="720"/>
                  </a:lnTo>
                  <a:lnTo>
                    <a:pt x="2214" y="714"/>
                  </a:lnTo>
                  <a:lnTo>
                    <a:pt x="2214" y="714"/>
                  </a:lnTo>
                  <a:lnTo>
                    <a:pt x="2220" y="714"/>
                  </a:lnTo>
                  <a:lnTo>
                    <a:pt x="2220" y="714"/>
                  </a:lnTo>
                  <a:close/>
                  <a:moveTo>
                    <a:pt x="1780" y="730"/>
                  </a:moveTo>
                  <a:lnTo>
                    <a:pt x="1780" y="730"/>
                  </a:lnTo>
                  <a:lnTo>
                    <a:pt x="1780" y="724"/>
                  </a:lnTo>
                  <a:lnTo>
                    <a:pt x="1786" y="724"/>
                  </a:lnTo>
                  <a:lnTo>
                    <a:pt x="1786" y="720"/>
                  </a:lnTo>
                  <a:lnTo>
                    <a:pt x="1792" y="720"/>
                  </a:lnTo>
                  <a:lnTo>
                    <a:pt x="1792" y="724"/>
                  </a:lnTo>
                  <a:lnTo>
                    <a:pt x="1792" y="724"/>
                  </a:lnTo>
                  <a:lnTo>
                    <a:pt x="1792" y="730"/>
                  </a:lnTo>
                  <a:lnTo>
                    <a:pt x="1792" y="730"/>
                  </a:lnTo>
                  <a:lnTo>
                    <a:pt x="1786" y="730"/>
                  </a:lnTo>
                  <a:lnTo>
                    <a:pt x="1786" y="730"/>
                  </a:lnTo>
                  <a:lnTo>
                    <a:pt x="1780" y="730"/>
                  </a:lnTo>
                  <a:lnTo>
                    <a:pt x="1780" y="730"/>
                  </a:lnTo>
                  <a:lnTo>
                    <a:pt x="1780" y="730"/>
                  </a:lnTo>
                  <a:close/>
                  <a:moveTo>
                    <a:pt x="2238" y="730"/>
                  </a:moveTo>
                  <a:lnTo>
                    <a:pt x="2244" y="730"/>
                  </a:lnTo>
                  <a:lnTo>
                    <a:pt x="2244" y="730"/>
                  </a:lnTo>
                  <a:lnTo>
                    <a:pt x="2250" y="736"/>
                  </a:lnTo>
                  <a:lnTo>
                    <a:pt x="2244" y="736"/>
                  </a:lnTo>
                  <a:lnTo>
                    <a:pt x="2244" y="730"/>
                  </a:lnTo>
                  <a:lnTo>
                    <a:pt x="2244" y="730"/>
                  </a:lnTo>
                  <a:lnTo>
                    <a:pt x="2238" y="730"/>
                  </a:lnTo>
                  <a:lnTo>
                    <a:pt x="2238" y="730"/>
                  </a:lnTo>
                  <a:close/>
                  <a:moveTo>
                    <a:pt x="1872" y="928"/>
                  </a:moveTo>
                  <a:lnTo>
                    <a:pt x="1872" y="922"/>
                  </a:lnTo>
                  <a:lnTo>
                    <a:pt x="1872" y="922"/>
                  </a:lnTo>
                  <a:lnTo>
                    <a:pt x="1872" y="916"/>
                  </a:lnTo>
                  <a:lnTo>
                    <a:pt x="1872" y="910"/>
                  </a:lnTo>
                  <a:lnTo>
                    <a:pt x="1872" y="916"/>
                  </a:lnTo>
                  <a:lnTo>
                    <a:pt x="1872" y="910"/>
                  </a:lnTo>
                  <a:lnTo>
                    <a:pt x="1866" y="910"/>
                  </a:lnTo>
                  <a:lnTo>
                    <a:pt x="1860" y="910"/>
                  </a:lnTo>
                  <a:lnTo>
                    <a:pt x="1856" y="916"/>
                  </a:lnTo>
                  <a:lnTo>
                    <a:pt x="1856" y="922"/>
                  </a:lnTo>
                  <a:lnTo>
                    <a:pt x="1856" y="922"/>
                  </a:lnTo>
                  <a:lnTo>
                    <a:pt x="1856" y="928"/>
                  </a:lnTo>
                  <a:lnTo>
                    <a:pt x="1856" y="928"/>
                  </a:lnTo>
                  <a:lnTo>
                    <a:pt x="1856" y="922"/>
                  </a:lnTo>
                  <a:lnTo>
                    <a:pt x="1850" y="922"/>
                  </a:lnTo>
                  <a:lnTo>
                    <a:pt x="1850" y="916"/>
                  </a:lnTo>
                  <a:lnTo>
                    <a:pt x="1850" y="910"/>
                  </a:lnTo>
                  <a:lnTo>
                    <a:pt x="1856" y="910"/>
                  </a:lnTo>
                  <a:lnTo>
                    <a:pt x="1856" y="904"/>
                  </a:lnTo>
                  <a:lnTo>
                    <a:pt x="1856" y="898"/>
                  </a:lnTo>
                  <a:lnTo>
                    <a:pt x="1856" y="898"/>
                  </a:lnTo>
                  <a:lnTo>
                    <a:pt x="1856" y="894"/>
                  </a:lnTo>
                  <a:lnTo>
                    <a:pt x="1856" y="888"/>
                  </a:lnTo>
                  <a:lnTo>
                    <a:pt x="1856" y="882"/>
                  </a:lnTo>
                  <a:lnTo>
                    <a:pt x="1856" y="882"/>
                  </a:lnTo>
                  <a:lnTo>
                    <a:pt x="1856" y="882"/>
                  </a:lnTo>
                  <a:lnTo>
                    <a:pt x="1856" y="882"/>
                  </a:lnTo>
                  <a:lnTo>
                    <a:pt x="1856" y="876"/>
                  </a:lnTo>
                  <a:lnTo>
                    <a:pt x="1856" y="870"/>
                  </a:lnTo>
                  <a:lnTo>
                    <a:pt x="1856" y="870"/>
                  </a:lnTo>
                  <a:lnTo>
                    <a:pt x="1850" y="870"/>
                  </a:lnTo>
                  <a:lnTo>
                    <a:pt x="1850" y="864"/>
                  </a:lnTo>
                  <a:lnTo>
                    <a:pt x="1856" y="864"/>
                  </a:lnTo>
                  <a:lnTo>
                    <a:pt x="1856" y="858"/>
                  </a:lnTo>
                  <a:lnTo>
                    <a:pt x="1856" y="858"/>
                  </a:lnTo>
                  <a:lnTo>
                    <a:pt x="1856" y="852"/>
                  </a:lnTo>
                  <a:lnTo>
                    <a:pt x="1856" y="846"/>
                  </a:lnTo>
                  <a:lnTo>
                    <a:pt x="1856" y="846"/>
                  </a:lnTo>
                  <a:lnTo>
                    <a:pt x="1856" y="840"/>
                  </a:lnTo>
                  <a:lnTo>
                    <a:pt x="1856" y="836"/>
                  </a:lnTo>
                  <a:lnTo>
                    <a:pt x="1856" y="830"/>
                  </a:lnTo>
                  <a:lnTo>
                    <a:pt x="1856" y="830"/>
                  </a:lnTo>
                  <a:lnTo>
                    <a:pt x="1856" y="824"/>
                  </a:lnTo>
                  <a:lnTo>
                    <a:pt x="1856" y="818"/>
                  </a:lnTo>
                  <a:lnTo>
                    <a:pt x="1856" y="818"/>
                  </a:lnTo>
                  <a:lnTo>
                    <a:pt x="1856" y="818"/>
                  </a:lnTo>
                  <a:lnTo>
                    <a:pt x="1856" y="812"/>
                  </a:lnTo>
                  <a:lnTo>
                    <a:pt x="1856" y="806"/>
                  </a:lnTo>
                  <a:lnTo>
                    <a:pt x="1856" y="806"/>
                  </a:lnTo>
                  <a:lnTo>
                    <a:pt x="1850" y="800"/>
                  </a:lnTo>
                  <a:lnTo>
                    <a:pt x="1850" y="794"/>
                  </a:lnTo>
                  <a:lnTo>
                    <a:pt x="1850" y="794"/>
                  </a:lnTo>
                  <a:lnTo>
                    <a:pt x="1850" y="788"/>
                  </a:lnTo>
                  <a:lnTo>
                    <a:pt x="1850" y="782"/>
                  </a:lnTo>
                  <a:lnTo>
                    <a:pt x="1850" y="778"/>
                  </a:lnTo>
                  <a:lnTo>
                    <a:pt x="1850" y="778"/>
                  </a:lnTo>
                  <a:lnTo>
                    <a:pt x="1850" y="772"/>
                  </a:lnTo>
                  <a:lnTo>
                    <a:pt x="1856" y="772"/>
                  </a:lnTo>
                  <a:lnTo>
                    <a:pt x="1856" y="766"/>
                  </a:lnTo>
                  <a:lnTo>
                    <a:pt x="1850" y="766"/>
                  </a:lnTo>
                  <a:lnTo>
                    <a:pt x="1850" y="766"/>
                  </a:lnTo>
                  <a:lnTo>
                    <a:pt x="1856" y="760"/>
                  </a:lnTo>
                  <a:lnTo>
                    <a:pt x="1856" y="760"/>
                  </a:lnTo>
                  <a:lnTo>
                    <a:pt x="1856" y="766"/>
                  </a:lnTo>
                  <a:lnTo>
                    <a:pt x="1860" y="766"/>
                  </a:lnTo>
                  <a:lnTo>
                    <a:pt x="1860" y="760"/>
                  </a:lnTo>
                  <a:lnTo>
                    <a:pt x="1860" y="754"/>
                  </a:lnTo>
                  <a:lnTo>
                    <a:pt x="1866" y="754"/>
                  </a:lnTo>
                  <a:lnTo>
                    <a:pt x="1866" y="754"/>
                  </a:lnTo>
                  <a:lnTo>
                    <a:pt x="1860" y="754"/>
                  </a:lnTo>
                  <a:lnTo>
                    <a:pt x="1860" y="754"/>
                  </a:lnTo>
                  <a:lnTo>
                    <a:pt x="1866" y="754"/>
                  </a:lnTo>
                  <a:lnTo>
                    <a:pt x="1866" y="748"/>
                  </a:lnTo>
                  <a:lnTo>
                    <a:pt x="1860" y="748"/>
                  </a:lnTo>
                  <a:lnTo>
                    <a:pt x="1860" y="742"/>
                  </a:lnTo>
                  <a:lnTo>
                    <a:pt x="1856" y="742"/>
                  </a:lnTo>
                  <a:lnTo>
                    <a:pt x="1860" y="742"/>
                  </a:lnTo>
                  <a:lnTo>
                    <a:pt x="1860" y="742"/>
                  </a:lnTo>
                  <a:lnTo>
                    <a:pt x="1860" y="742"/>
                  </a:lnTo>
                  <a:lnTo>
                    <a:pt x="1866" y="742"/>
                  </a:lnTo>
                  <a:lnTo>
                    <a:pt x="1866" y="742"/>
                  </a:lnTo>
                  <a:lnTo>
                    <a:pt x="1872" y="742"/>
                  </a:lnTo>
                  <a:lnTo>
                    <a:pt x="1872" y="748"/>
                  </a:lnTo>
                  <a:lnTo>
                    <a:pt x="1866" y="748"/>
                  </a:lnTo>
                  <a:lnTo>
                    <a:pt x="1866" y="754"/>
                  </a:lnTo>
                  <a:lnTo>
                    <a:pt x="1866" y="754"/>
                  </a:lnTo>
                  <a:lnTo>
                    <a:pt x="1872" y="754"/>
                  </a:lnTo>
                  <a:lnTo>
                    <a:pt x="1872" y="760"/>
                  </a:lnTo>
                  <a:lnTo>
                    <a:pt x="1872" y="766"/>
                  </a:lnTo>
                  <a:lnTo>
                    <a:pt x="1872" y="760"/>
                  </a:lnTo>
                  <a:lnTo>
                    <a:pt x="1872" y="766"/>
                  </a:lnTo>
                  <a:lnTo>
                    <a:pt x="1872" y="766"/>
                  </a:lnTo>
                  <a:lnTo>
                    <a:pt x="1872" y="766"/>
                  </a:lnTo>
                  <a:lnTo>
                    <a:pt x="1872" y="772"/>
                  </a:lnTo>
                  <a:lnTo>
                    <a:pt x="1872" y="778"/>
                  </a:lnTo>
                  <a:lnTo>
                    <a:pt x="1872" y="778"/>
                  </a:lnTo>
                  <a:lnTo>
                    <a:pt x="1872" y="782"/>
                  </a:lnTo>
                  <a:lnTo>
                    <a:pt x="1872" y="788"/>
                  </a:lnTo>
                  <a:lnTo>
                    <a:pt x="1872" y="782"/>
                  </a:lnTo>
                  <a:lnTo>
                    <a:pt x="1872" y="782"/>
                  </a:lnTo>
                  <a:lnTo>
                    <a:pt x="1872" y="778"/>
                  </a:lnTo>
                  <a:lnTo>
                    <a:pt x="1872" y="782"/>
                  </a:lnTo>
                  <a:lnTo>
                    <a:pt x="1872" y="788"/>
                  </a:lnTo>
                  <a:lnTo>
                    <a:pt x="1872" y="794"/>
                  </a:lnTo>
                  <a:lnTo>
                    <a:pt x="1872" y="794"/>
                  </a:lnTo>
                  <a:lnTo>
                    <a:pt x="1872" y="794"/>
                  </a:lnTo>
                  <a:lnTo>
                    <a:pt x="1872" y="800"/>
                  </a:lnTo>
                  <a:lnTo>
                    <a:pt x="1872" y="806"/>
                  </a:lnTo>
                  <a:lnTo>
                    <a:pt x="1872" y="806"/>
                  </a:lnTo>
                  <a:lnTo>
                    <a:pt x="1872" y="812"/>
                  </a:lnTo>
                  <a:lnTo>
                    <a:pt x="1878" y="806"/>
                  </a:lnTo>
                  <a:lnTo>
                    <a:pt x="1878" y="812"/>
                  </a:lnTo>
                  <a:lnTo>
                    <a:pt x="1878" y="818"/>
                  </a:lnTo>
                  <a:lnTo>
                    <a:pt x="1878" y="818"/>
                  </a:lnTo>
                  <a:lnTo>
                    <a:pt x="1878" y="824"/>
                  </a:lnTo>
                  <a:lnTo>
                    <a:pt x="1878" y="830"/>
                  </a:lnTo>
                  <a:lnTo>
                    <a:pt x="1884" y="830"/>
                  </a:lnTo>
                  <a:lnTo>
                    <a:pt x="1884" y="836"/>
                  </a:lnTo>
                  <a:lnTo>
                    <a:pt x="1884" y="840"/>
                  </a:lnTo>
                  <a:lnTo>
                    <a:pt x="1884" y="846"/>
                  </a:lnTo>
                  <a:lnTo>
                    <a:pt x="1884" y="852"/>
                  </a:lnTo>
                  <a:lnTo>
                    <a:pt x="1890" y="858"/>
                  </a:lnTo>
                  <a:lnTo>
                    <a:pt x="1890" y="858"/>
                  </a:lnTo>
                  <a:lnTo>
                    <a:pt x="1896" y="864"/>
                  </a:lnTo>
                  <a:lnTo>
                    <a:pt x="1896" y="870"/>
                  </a:lnTo>
                  <a:lnTo>
                    <a:pt x="1896" y="864"/>
                  </a:lnTo>
                  <a:lnTo>
                    <a:pt x="1890" y="858"/>
                  </a:lnTo>
                  <a:lnTo>
                    <a:pt x="1884" y="858"/>
                  </a:lnTo>
                  <a:lnTo>
                    <a:pt x="1884" y="858"/>
                  </a:lnTo>
                  <a:lnTo>
                    <a:pt x="1884" y="858"/>
                  </a:lnTo>
                  <a:lnTo>
                    <a:pt x="1878" y="858"/>
                  </a:lnTo>
                  <a:lnTo>
                    <a:pt x="1872" y="852"/>
                  </a:lnTo>
                  <a:lnTo>
                    <a:pt x="1872" y="858"/>
                  </a:lnTo>
                  <a:lnTo>
                    <a:pt x="1878" y="852"/>
                  </a:lnTo>
                  <a:lnTo>
                    <a:pt x="1878" y="858"/>
                  </a:lnTo>
                  <a:lnTo>
                    <a:pt x="1872" y="858"/>
                  </a:lnTo>
                  <a:lnTo>
                    <a:pt x="1872" y="858"/>
                  </a:lnTo>
                  <a:lnTo>
                    <a:pt x="1872" y="858"/>
                  </a:lnTo>
                  <a:lnTo>
                    <a:pt x="1872" y="864"/>
                  </a:lnTo>
                  <a:lnTo>
                    <a:pt x="1866" y="864"/>
                  </a:lnTo>
                  <a:lnTo>
                    <a:pt x="1866" y="870"/>
                  </a:lnTo>
                  <a:lnTo>
                    <a:pt x="1866" y="870"/>
                  </a:lnTo>
                  <a:lnTo>
                    <a:pt x="1860" y="876"/>
                  </a:lnTo>
                  <a:lnTo>
                    <a:pt x="1860" y="882"/>
                  </a:lnTo>
                  <a:lnTo>
                    <a:pt x="1860" y="882"/>
                  </a:lnTo>
                  <a:lnTo>
                    <a:pt x="1860" y="888"/>
                  </a:lnTo>
                  <a:lnTo>
                    <a:pt x="1860" y="894"/>
                  </a:lnTo>
                  <a:lnTo>
                    <a:pt x="1866" y="898"/>
                  </a:lnTo>
                  <a:lnTo>
                    <a:pt x="1872" y="898"/>
                  </a:lnTo>
                  <a:lnTo>
                    <a:pt x="1872" y="910"/>
                  </a:lnTo>
                  <a:lnTo>
                    <a:pt x="1872" y="910"/>
                  </a:lnTo>
                  <a:lnTo>
                    <a:pt x="1872" y="910"/>
                  </a:lnTo>
                  <a:lnTo>
                    <a:pt x="1872" y="910"/>
                  </a:lnTo>
                  <a:lnTo>
                    <a:pt x="1878" y="910"/>
                  </a:lnTo>
                  <a:lnTo>
                    <a:pt x="1878" y="910"/>
                  </a:lnTo>
                  <a:lnTo>
                    <a:pt x="1878" y="916"/>
                  </a:lnTo>
                  <a:lnTo>
                    <a:pt x="1878" y="922"/>
                  </a:lnTo>
                  <a:lnTo>
                    <a:pt x="1878" y="922"/>
                  </a:lnTo>
                  <a:lnTo>
                    <a:pt x="1872" y="922"/>
                  </a:lnTo>
                  <a:lnTo>
                    <a:pt x="1872" y="928"/>
                  </a:lnTo>
                  <a:lnTo>
                    <a:pt x="1872" y="928"/>
                  </a:lnTo>
                  <a:close/>
                  <a:moveTo>
                    <a:pt x="2058" y="818"/>
                  </a:moveTo>
                  <a:lnTo>
                    <a:pt x="2058" y="818"/>
                  </a:lnTo>
                  <a:lnTo>
                    <a:pt x="2058" y="818"/>
                  </a:lnTo>
                  <a:lnTo>
                    <a:pt x="2058" y="818"/>
                  </a:lnTo>
                  <a:lnTo>
                    <a:pt x="2058" y="818"/>
                  </a:lnTo>
                  <a:lnTo>
                    <a:pt x="2058" y="818"/>
                  </a:lnTo>
                  <a:close/>
                  <a:moveTo>
                    <a:pt x="2076" y="824"/>
                  </a:moveTo>
                  <a:lnTo>
                    <a:pt x="2070" y="824"/>
                  </a:lnTo>
                  <a:lnTo>
                    <a:pt x="2070" y="818"/>
                  </a:lnTo>
                  <a:lnTo>
                    <a:pt x="2076" y="818"/>
                  </a:lnTo>
                  <a:lnTo>
                    <a:pt x="2076" y="824"/>
                  </a:lnTo>
                  <a:lnTo>
                    <a:pt x="2076" y="824"/>
                  </a:lnTo>
                  <a:close/>
                  <a:moveTo>
                    <a:pt x="2052" y="836"/>
                  </a:moveTo>
                  <a:lnTo>
                    <a:pt x="2052" y="830"/>
                  </a:lnTo>
                  <a:lnTo>
                    <a:pt x="2058" y="830"/>
                  </a:lnTo>
                  <a:lnTo>
                    <a:pt x="2058" y="830"/>
                  </a:lnTo>
                  <a:lnTo>
                    <a:pt x="2058" y="830"/>
                  </a:lnTo>
                  <a:lnTo>
                    <a:pt x="2058" y="824"/>
                  </a:lnTo>
                  <a:lnTo>
                    <a:pt x="2064" y="824"/>
                  </a:lnTo>
                  <a:lnTo>
                    <a:pt x="2064" y="818"/>
                  </a:lnTo>
                  <a:lnTo>
                    <a:pt x="2064" y="824"/>
                  </a:lnTo>
                  <a:lnTo>
                    <a:pt x="2070" y="830"/>
                  </a:lnTo>
                  <a:lnTo>
                    <a:pt x="2064" y="830"/>
                  </a:lnTo>
                  <a:lnTo>
                    <a:pt x="2058" y="836"/>
                  </a:lnTo>
                  <a:lnTo>
                    <a:pt x="2058" y="836"/>
                  </a:lnTo>
                  <a:lnTo>
                    <a:pt x="2052" y="836"/>
                  </a:lnTo>
                  <a:lnTo>
                    <a:pt x="2052" y="836"/>
                  </a:lnTo>
                  <a:close/>
                  <a:moveTo>
                    <a:pt x="2046" y="858"/>
                  </a:moveTo>
                  <a:lnTo>
                    <a:pt x="2046" y="852"/>
                  </a:lnTo>
                  <a:lnTo>
                    <a:pt x="2046" y="846"/>
                  </a:lnTo>
                  <a:lnTo>
                    <a:pt x="2046" y="846"/>
                  </a:lnTo>
                  <a:lnTo>
                    <a:pt x="2046" y="852"/>
                  </a:lnTo>
                  <a:lnTo>
                    <a:pt x="2046" y="852"/>
                  </a:lnTo>
                  <a:lnTo>
                    <a:pt x="2046" y="858"/>
                  </a:lnTo>
                  <a:lnTo>
                    <a:pt x="2046" y="858"/>
                  </a:lnTo>
                  <a:lnTo>
                    <a:pt x="2046" y="858"/>
                  </a:lnTo>
                  <a:close/>
                  <a:moveTo>
                    <a:pt x="2040" y="858"/>
                  </a:moveTo>
                  <a:lnTo>
                    <a:pt x="2046" y="858"/>
                  </a:lnTo>
                  <a:lnTo>
                    <a:pt x="2046" y="858"/>
                  </a:lnTo>
                  <a:lnTo>
                    <a:pt x="2040" y="858"/>
                  </a:lnTo>
                  <a:lnTo>
                    <a:pt x="2040" y="858"/>
                  </a:lnTo>
                  <a:lnTo>
                    <a:pt x="2040" y="858"/>
                  </a:lnTo>
                  <a:close/>
                  <a:moveTo>
                    <a:pt x="2034" y="870"/>
                  </a:moveTo>
                  <a:lnTo>
                    <a:pt x="2034" y="864"/>
                  </a:lnTo>
                  <a:lnTo>
                    <a:pt x="2034" y="864"/>
                  </a:lnTo>
                  <a:lnTo>
                    <a:pt x="2034" y="870"/>
                  </a:lnTo>
                  <a:lnTo>
                    <a:pt x="2034" y="870"/>
                  </a:lnTo>
                  <a:lnTo>
                    <a:pt x="2034" y="870"/>
                  </a:lnTo>
                  <a:close/>
                  <a:moveTo>
                    <a:pt x="2012" y="904"/>
                  </a:moveTo>
                  <a:lnTo>
                    <a:pt x="2012" y="898"/>
                  </a:lnTo>
                  <a:lnTo>
                    <a:pt x="2012" y="904"/>
                  </a:lnTo>
                  <a:lnTo>
                    <a:pt x="2006" y="904"/>
                  </a:lnTo>
                  <a:lnTo>
                    <a:pt x="2006" y="910"/>
                  </a:lnTo>
                  <a:lnTo>
                    <a:pt x="2000" y="910"/>
                  </a:lnTo>
                  <a:lnTo>
                    <a:pt x="2000" y="910"/>
                  </a:lnTo>
                  <a:lnTo>
                    <a:pt x="2000" y="910"/>
                  </a:lnTo>
                  <a:lnTo>
                    <a:pt x="2006" y="904"/>
                  </a:lnTo>
                  <a:lnTo>
                    <a:pt x="2012" y="898"/>
                  </a:lnTo>
                  <a:lnTo>
                    <a:pt x="2012" y="904"/>
                  </a:lnTo>
                  <a:lnTo>
                    <a:pt x="2012" y="904"/>
                  </a:lnTo>
                  <a:close/>
                  <a:moveTo>
                    <a:pt x="1966" y="934"/>
                  </a:moveTo>
                  <a:lnTo>
                    <a:pt x="1972" y="934"/>
                  </a:lnTo>
                  <a:lnTo>
                    <a:pt x="1972" y="928"/>
                  </a:lnTo>
                  <a:lnTo>
                    <a:pt x="1972" y="928"/>
                  </a:lnTo>
                  <a:lnTo>
                    <a:pt x="1972" y="922"/>
                  </a:lnTo>
                  <a:lnTo>
                    <a:pt x="1976" y="922"/>
                  </a:lnTo>
                  <a:lnTo>
                    <a:pt x="1982" y="922"/>
                  </a:lnTo>
                  <a:lnTo>
                    <a:pt x="1976" y="922"/>
                  </a:lnTo>
                  <a:lnTo>
                    <a:pt x="1976" y="928"/>
                  </a:lnTo>
                  <a:lnTo>
                    <a:pt x="1972" y="934"/>
                  </a:lnTo>
                  <a:lnTo>
                    <a:pt x="1972" y="934"/>
                  </a:lnTo>
                  <a:lnTo>
                    <a:pt x="1972" y="934"/>
                  </a:lnTo>
                  <a:lnTo>
                    <a:pt x="1966" y="934"/>
                  </a:lnTo>
                  <a:lnTo>
                    <a:pt x="1966" y="934"/>
                  </a:lnTo>
                  <a:close/>
                  <a:moveTo>
                    <a:pt x="1924" y="962"/>
                  </a:moveTo>
                  <a:lnTo>
                    <a:pt x="1930" y="956"/>
                  </a:lnTo>
                  <a:lnTo>
                    <a:pt x="1930" y="952"/>
                  </a:lnTo>
                  <a:lnTo>
                    <a:pt x="1930" y="952"/>
                  </a:lnTo>
                  <a:lnTo>
                    <a:pt x="1930" y="946"/>
                  </a:lnTo>
                  <a:lnTo>
                    <a:pt x="1936" y="946"/>
                  </a:lnTo>
                  <a:lnTo>
                    <a:pt x="1936" y="946"/>
                  </a:lnTo>
                  <a:lnTo>
                    <a:pt x="1942" y="946"/>
                  </a:lnTo>
                  <a:lnTo>
                    <a:pt x="1942" y="940"/>
                  </a:lnTo>
                  <a:lnTo>
                    <a:pt x="1942" y="940"/>
                  </a:lnTo>
                  <a:lnTo>
                    <a:pt x="1942" y="946"/>
                  </a:lnTo>
                  <a:lnTo>
                    <a:pt x="1948" y="946"/>
                  </a:lnTo>
                  <a:lnTo>
                    <a:pt x="1948" y="940"/>
                  </a:lnTo>
                  <a:lnTo>
                    <a:pt x="1954" y="940"/>
                  </a:lnTo>
                  <a:lnTo>
                    <a:pt x="1954" y="934"/>
                  </a:lnTo>
                  <a:lnTo>
                    <a:pt x="1960" y="934"/>
                  </a:lnTo>
                  <a:lnTo>
                    <a:pt x="1960" y="940"/>
                  </a:lnTo>
                  <a:lnTo>
                    <a:pt x="1954" y="940"/>
                  </a:lnTo>
                  <a:lnTo>
                    <a:pt x="1954" y="946"/>
                  </a:lnTo>
                  <a:lnTo>
                    <a:pt x="1948" y="946"/>
                  </a:lnTo>
                  <a:lnTo>
                    <a:pt x="1942" y="946"/>
                  </a:lnTo>
                  <a:lnTo>
                    <a:pt x="1942" y="946"/>
                  </a:lnTo>
                  <a:lnTo>
                    <a:pt x="1942" y="946"/>
                  </a:lnTo>
                  <a:lnTo>
                    <a:pt x="1936" y="946"/>
                  </a:lnTo>
                  <a:lnTo>
                    <a:pt x="1936" y="952"/>
                  </a:lnTo>
                  <a:lnTo>
                    <a:pt x="1930" y="956"/>
                  </a:lnTo>
                  <a:lnTo>
                    <a:pt x="1930" y="962"/>
                  </a:lnTo>
                  <a:lnTo>
                    <a:pt x="1930" y="962"/>
                  </a:lnTo>
                  <a:lnTo>
                    <a:pt x="1924" y="962"/>
                  </a:lnTo>
                  <a:lnTo>
                    <a:pt x="1924" y="962"/>
                  </a:lnTo>
                  <a:close/>
                  <a:moveTo>
                    <a:pt x="1918" y="962"/>
                  </a:moveTo>
                  <a:lnTo>
                    <a:pt x="1918" y="962"/>
                  </a:lnTo>
                  <a:lnTo>
                    <a:pt x="1918" y="962"/>
                  </a:lnTo>
                  <a:lnTo>
                    <a:pt x="1918" y="962"/>
                  </a:lnTo>
                  <a:lnTo>
                    <a:pt x="1914" y="962"/>
                  </a:lnTo>
                  <a:lnTo>
                    <a:pt x="1914" y="968"/>
                  </a:lnTo>
                  <a:lnTo>
                    <a:pt x="1908" y="968"/>
                  </a:lnTo>
                  <a:lnTo>
                    <a:pt x="1908" y="974"/>
                  </a:lnTo>
                  <a:lnTo>
                    <a:pt x="1908" y="974"/>
                  </a:lnTo>
                  <a:lnTo>
                    <a:pt x="1908" y="974"/>
                  </a:lnTo>
                  <a:lnTo>
                    <a:pt x="1908" y="974"/>
                  </a:lnTo>
                  <a:lnTo>
                    <a:pt x="1908" y="974"/>
                  </a:lnTo>
                  <a:lnTo>
                    <a:pt x="1908" y="968"/>
                  </a:lnTo>
                  <a:lnTo>
                    <a:pt x="1914" y="962"/>
                  </a:lnTo>
                  <a:lnTo>
                    <a:pt x="1914" y="962"/>
                  </a:lnTo>
                  <a:lnTo>
                    <a:pt x="1918" y="962"/>
                  </a:lnTo>
                  <a:lnTo>
                    <a:pt x="1918" y="962"/>
                  </a:lnTo>
                  <a:close/>
                  <a:moveTo>
                    <a:pt x="1924" y="974"/>
                  </a:moveTo>
                  <a:lnTo>
                    <a:pt x="1924" y="974"/>
                  </a:lnTo>
                  <a:lnTo>
                    <a:pt x="1918" y="974"/>
                  </a:lnTo>
                  <a:lnTo>
                    <a:pt x="1918" y="974"/>
                  </a:lnTo>
                  <a:lnTo>
                    <a:pt x="1924" y="974"/>
                  </a:lnTo>
                  <a:lnTo>
                    <a:pt x="1924" y="97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ru-RU"/>
            </a:p>
          </p:txBody>
        </p:sp>
        <p:sp>
          <p:nvSpPr>
            <p:cNvPr id="5" name="Freeform 441"/>
            <p:cNvSpPr>
              <a:spLocks/>
            </p:cNvSpPr>
            <p:nvPr>
              <p:custDataLst>
                <p:tags r:id="rId197"/>
              </p:custDataLst>
            </p:nvPr>
          </p:nvSpPr>
          <p:spPr bwMode="gray">
            <a:xfrm>
              <a:off x="4904339" y="4278409"/>
              <a:ext cx="283257" cy="232416"/>
            </a:xfrm>
            <a:custGeom>
              <a:avLst/>
              <a:gdLst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385 w 10000"/>
                <a:gd name="connsiteY13" fmla="*/ 6638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2589 w 10000"/>
                <a:gd name="connsiteY12" fmla="*/ 6973 h 10000"/>
                <a:gd name="connsiteX13" fmla="*/ 2385 w 10000"/>
                <a:gd name="connsiteY13" fmla="*/ 6638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165 w 9880"/>
                <a:gd name="connsiteY0" fmla="*/ 1897 h 10000"/>
                <a:gd name="connsiteX1" fmla="*/ 1165 w 9880"/>
                <a:gd name="connsiteY1" fmla="*/ 2412 h 10000"/>
                <a:gd name="connsiteX2" fmla="*/ 1165 w 9880"/>
                <a:gd name="connsiteY2" fmla="*/ 2894 h 10000"/>
                <a:gd name="connsiteX3" fmla="*/ 1165 w 9880"/>
                <a:gd name="connsiteY3" fmla="*/ 3376 h 10000"/>
                <a:gd name="connsiteX4" fmla="*/ 1165 w 9880"/>
                <a:gd name="connsiteY4" fmla="*/ 3826 h 10000"/>
                <a:gd name="connsiteX5" fmla="*/ 523 w 9880"/>
                <a:gd name="connsiteY5" fmla="*/ 3923 h 10000"/>
                <a:gd name="connsiteX6" fmla="*/ 402 w 9880"/>
                <a:gd name="connsiteY6" fmla="*/ 4180 h 10000"/>
                <a:gd name="connsiteX7" fmla="*/ 121 w 9880"/>
                <a:gd name="connsiteY7" fmla="*/ 4502 h 10000"/>
                <a:gd name="connsiteX8" fmla="*/ 121 w 9880"/>
                <a:gd name="connsiteY8" fmla="*/ 4759 h 10000"/>
                <a:gd name="connsiteX9" fmla="*/ 0 w 9880"/>
                <a:gd name="connsiteY9" fmla="*/ 4823 h 10000"/>
                <a:gd name="connsiteX10" fmla="*/ 0 w 9880"/>
                <a:gd name="connsiteY10" fmla="*/ 5048 h 10000"/>
                <a:gd name="connsiteX11" fmla="*/ 2931 w 9880"/>
                <a:gd name="connsiteY11" fmla="*/ 7195 h 10000"/>
                <a:gd name="connsiteX12" fmla="*/ 2469 w 9880"/>
                <a:gd name="connsiteY12" fmla="*/ 6973 h 10000"/>
                <a:gd name="connsiteX13" fmla="*/ 2265 w 9880"/>
                <a:gd name="connsiteY13" fmla="*/ 6638 h 10000"/>
                <a:gd name="connsiteX14" fmla="*/ 1926 w 9880"/>
                <a:gd name="connsiteY14" fmla="*/ 6729 h 10000"/>
                <a:gd name="connsiteX15" fmla="*/ 1834 w 9880"/>
                <a:gd name="connsiteY15" fmla="*/ 6927 h 10000"/>
                <a:gd name="connsiteX16" fmla="*/ 1472 w 9880"/>
                <a:gd name="connsiteY16" fmla="*/ 7011 h 10000"/>
                <a:gd name="connsiteX17" fmla="*/ 1236 w 9880"/>
                <a:gd name="connsiteY17" fmla="*/ 7004 h 10000"/>
                <a:gd name="connsiteX18" fmla="*/ 1108 w 9880"/>
                <a:gd name="connsiteY18" fmla="*/ 7161 h 10000"/>
                <a:gd name="connsiteX19" fmla="*/ 884 w 9880"/>
                <a:gd name="connsiteY19" fmla="*/ 6913 h 10000"/>
                <a:gd name="connsiteX20" fmla="*/ 844 w 9880"/>
                <a:gd name="connsiteY20" fmla="*/ 7363 h 10000"/>
                <a:gd name="connsiteX21" fmla="*/ 924 w 9880"/>
                <a:gd name="connsiteY21" fmla="*/ 7428 h 10000"/>
                <a:gd name="connsiteX22" fmla="*/ 1245 w 9880"/>
                <a:gd name="connsiteY22" fmla="*/ 7460 h 10000"/>
                <a:gd name="connsiteX23" fmla="*/ 1286 w 9880"/>
                <a:gd name="connsiteY23" fmla="*/ 7588 h 10000"/>
                <a:gd name="connsiteX24" fmla="*/ 1647 w 9880"/>
                <a:gd name="connsiteY24" fmla="*/ 7621 h 10000"/>
                <a:gd name="connsiteX25" fmla="*/ 1848 w 9880"/>
                <a:gd name="connsiteY25" fmla="*/ 7749 h 10000"/>
                <a:gd name="connsiteX26" fmla="*/ 1888 w 9880"/>
                <a:gd name="connsiteY26" fmla="*/ 7974 h 10000"/>
                <a:gd name="connsiteX27" fmla="*/ 2531 w 9880"/>
                <a:gd name="connsiteY27" fmla="*/ 8360 h 10000"/>
                <a:gd name="connsiteX28" fmla="*/ 2691 w 9880"/>
                <a:gd name="connsiteY28" fmla="*/ 8746 h 10000"/>
                <a:gd name="connsiteX29" fmla="*/ 3133 w 9880"/>
                <a:gd name="connsiteY29" fmla="*/ 8939 h 10000"/>
                <a:gd name="connsiteX30" fmla="*/ 3294 w 9880"/>
                <a:gd name="connsiteY30" fmla="*/ 9196 h 10000"/>
                <a:gd name="connsiteX31" fmla="*/ 3615 w 9880"/>
                <a:gd name="connsiteY31" fmla="*/ 9518 h 10000"/>
                <a:gd name="connsiteX32" fmla="*/ 3856 w 9880"/>
                <a:gd name="connsiteY32" fmla="*/ 9614 h 10000"/>
                <a:gd name="connsiteX33" fmla="*/ 4017 w 9880"/>
                <a:gd name="connsiteY33" fmla="*/ 9518 h 10000"/>
                <a:gd name="connsiteX34" fmla="*/ 4418 w 9880"/>
                <a:gd name="connsiteY34" fmla="*/ 9550 h 10000"/>
                <a:gd name="connsiteX35" fmla="*/ 4579 w 9880"/>
                <a:gd name="connsiteY35" fmla="*/ 9486 h 10000"/>
                <a:gd name="connsiteX36" fmla="*/ 5302 w 9880"/>
                <a:gd name="connsiteY36" fmla="*/ 9968 h 10000"/>
                <a:gd name="connsiteX37" fmla="*/ 5342 w 9880"/>
                <a:gd name="connsiteY37" fmla="*/ 9968 h 10000"/>
                <a:gd name="connsiteX38" fmla="*/ 5422 w 9880"/>
                <a:gd name="connsiteY38" fmla="*/ 9904 h 10000"/>
                <a:gd name="connsiteX39" fmla="*/ 5944 w 9880"/>
                <a:gd name="connsiteY39" fmla="*/ 9904 h 10000"/>
                <a:gd name="connsiteX40" fmla="*/ 6025 w 9880"/>
                <a:gd name="connsiteY40" fmla="*/ 10000 h 10000"/>
                <a:gd name="connsiteX41" fmla="*/ 6466 w 9880"/>
                <a:gd name="connsiteY41" fmla="*/ 9871 h 10000"/>
                <a:gd name="connsiteX42" fmla="*/ 6868 w 9880"/>
                <a:gd name="connsiteY42" fmla="*/ 9871 h 10000"/>
                <a:gd name="connsiteX43" fmla="*/ 7149 w 9880"/>
                <a:gd name="connsiteY43" fmla="*/ 9743 h 10000"/>
                <a:gd name="connsiteX44" fmla="*/ 7470 w 9880"/>
                <a:gd name="connsiteY44" fmla="*/ 9486 h 10000"/>
                <a:gd name="connsiteX45" fmla="*/ 8314 w 9880"/>
                <a:gd name="connsiteY45" fmla="*/ 9486 h 10000"/>
                <a:gd name="connsiteX46" fmla="*/ 8314 w 9880"/>
                <a:gd name="connsiteY46" fmla="*/ 9132 h 10000"/>
                <a:gd name="connsiteX47" fmla="*/ 7872 w 9880"/>
                <a:gd name="connsiteY47" fmla="*/ 8971 h 10000"/>
                <a:gd name="connsiteX48" fmla="*/ 7631 w 9880"/>
                <a:gd name="connsiteY48" fmla="*/ 8457 h 10000"/>
                <a:gd name="connsiteX49" fmla="*/ 7310 w 9880"/>
                <a:gd name="connsiteY49" fmla="*/ 8264 h 10000"/>
                <a:gd name="connsiteX50" fmla="*/ 7109 w 9880"/>
                <a:gd name="connsiteY50" fmla="*/ 8006 h 10000"/>
                <a:gd name="connsiteX51" fmla="*/ 6587 w 9880"/>
                <a:gd name="connsiteY51" fmla="*/ 7814 h 10000"/>
                <a:gd name="connsiteX52" fmla="*/ 6707 w 9880"/>
                <a:gd name="connsiteY52" fmla="*/ 7749 h 10000"/>
                <a:gd name="connsiteX53" fmla="*/ 6707 w 9880"/>
                <a:gd name="connsiteY53" fmla="*/ 7588 h 10000"/>
                <a:gd name="connsiteX54" fmla="*/ 7069 w 9880"/>
                <a:gd name="connsiteY54" fmla="*/ 7588 h 10000"/>
                <a:gd name="connsiteX55" fmla="*/ 7270 w 9880"/>
                <a:gd name="connsiteY55" fmla="*/ 7460 h 10000"/>
                <a:gd name="connsiteX56" fmla="*/ 7310 w 9880"/>
                <a:gd name="connsiteY56" fmla="*/ 6527 h 10000"/>
                <a:gd name="connsiteX57" fmla="*/ 7350 w 9880"/>
                <a:gd name="connsiteY57" fmla="*/ 6559 h 10000"/>
                <a:gd name="connsiteX58" fmla="*/ 7470 w 9880"/>
                <a:gd name="connsiteY58" fmla="*/ 6367 h 10000"/>
                <a:gd name="connsiteX59" fmla="*/ 7711 w 9880"/>
                <a:gd name="connsiteY59" fmla="*/ 6270 h 10000"/>
                <a:gd name="connsiteX60" fmla="*/ 7832 w 9880"/>
                <a:gd name="connsiteY60" fmla="*/ 5916 h 10000"/>
                <a:gd name="connsiteX61" fmla="*/ 8193 w 9880"/>
                <a:gd name="connsiteY61" fmla="*/ 5498 h 10000"/>
                <a:gd name="connsiteX62" fmla="*/ 8474 w 9880"/>
                <a:gd name="connsiteY62" fmla="*/ 5305 h 10000"/>
                <a:gd name="connsiteX63" fmla="*/ 8675 w 9880"/>
                <a:gd name="connsiteY63" fmla="*/ 4759 h 10000"/>
                <a:gd name="connsiteX64" fmla="*/ 8675 w 9880"/>
                <a:gd name="connsiteY64" fmla="*/ 4630 h 10000"/>
                <a:gd name="connsiteX65" fmla="*/ 8635 w 9880"/>
                <a:gd name="connsiteY65" fmla="*/ 4309 h 10000"/>
                <a:gd name="connsiteX66" fmla="*/ 9037 w 9880"/>
                <a:gd name="connsiteY66" fmla="*/ 3151 h 10000"/>
                <a:gd name="connsiteX67" fmla="*/ 9157 w 9880"/>
                <a:gd name="connsiteY67" fmla="*/ 3151 h 10000"/>
                <a:gd name="connsiteX68" fmla="*/ 9318 w 9880"/>
                <a:gd name="connsiteY68" fmla="*/ 3055 h 10000"/>
                <a:gd name="connsiteX69" fmla="*/ 9800 w 9880"/>
                <a:gd name="connsiteY69" fmla="*/ 2894 h 10000"/>
                <a:gd name="connsiteX70" fmla="*/ 9880 w 9880"/>
                <a:gd name="connsiteY70" fmla="*/ 2637 h 10000"/>
                <a:gd name="connsiteX71" fmla="*/ 9840 w 9880"/>
                <a:gd name="connsiteY71" fmla="*/ 2572 h 10000"/>
                <a:gd name="connsiteX72" fmla="*/ 9679 w 9880"/>
                <a:gd name="connsiteY72" fmla="*/ 2572 h 10000"/>
                <a:gd name="connsiteX73" fmla="*/ 9559 w 9880"/>
                <a:gd name="connsiteY73" fmla="*/ 2412 h 10000"/>
                <a:gd name="connsiteX74" fmla="*/ 9318 w 9880"/>
                <a:gd name="connsiteY74" fmla="*/ 2347 h 10000"/>
                <a:gd name="connsiteX75" fmla="*/ 9197 w 9880"/>
                <a:gd name="connsiteY75" fmla="*/ 2219 h 10000"/>
                <a:gd name="connsiteX76" fmla="*/ 9117 w 9880"/>
                <a:gd name="connsiteY76" fmla="*/ 1736 h 10000"/>
                <a:gd name="connsiteX77" fmla="*/ 9117 w 9880"/>
                <a:gd name="connsiteY77" fmla="*/ 1061 h 10000"/>
                <a:gd name="connsiteX78" fmla="*/ 8916 w 9880"/>
                <a:gd name="connsiteY78" fmla="*/ 836 h 10000"/>
                <a:gd name="connsiteX79" fmla="*/ 8876 w 9880"/>
                <a:gd name="connsiteY79" fmla="*/ 611 h 10000"/>
                <a:gd name="connsiteX80" fmla="*/ 8555 w 9880"/>
                <a:gd name="connsiteY80" fmla="*/ 289 h 10000"/>
                <a:gd name="connsiteX81" fmla="*/ 8274 w 9880"/>
                <a:gd name="connsiteY81" fmla="*/ 161 h 10000"/>
                <a:gd name="connsiteX82" fmla="*/ 8113 w 9880"/>
                <a:gd name="connsiteY82" fmla="*/ 0 h 10000"/>
                <a:gd name="connsiteX83" fmla="*/ 7872 w 9880"/>
                <a:gd name="connsiteY83" fmla="*/ 161 h 10000"/>
                <a:gd name="connsiteX84" fmla="*/ 7711 w 9880"/>
                <a:gd name="connsiteY84" fmla="*/ 129 h 10000"/>
                <a:gd name="connsiteX85" fmla="*/ 7591 w 9880"/>
                <a:gd name="connsiteY85" fmla="*/ 418 h 10000"/>
                <a:gd name="connsiteX86" fmla="*/ 7270 w 9880"/>
                <a:gd name="connsiteY86" fmla="*/ 482 h 10000"/>
                <a:gd name="connsiteX87" fmla="*/ 7189 w 9880"/>
                <a:gd name="connsiteY87" fmla="*/ 707 h 10000"/>
                <a:gd name="connsiteX88" fmla="*/ 6908 w 9880"/>
                <a:gd name="connsiteY88" fmla="*/ 707 h 10000"/>
                <a:gd name="connsiteX89" fmla="*/ 6667 w 9880"/>
                <a:gd name="connsiteY89" fmla="*/ 611 h 10000"/>
                <a:gd name="connsiteX90" fmla="*/ 6145 w 9880"/>
                <a:gd name="connsiteY90" fmla="*/ 611 h 10000"/>
                <a:gd name="connsiteX91" fmla="*/ 5623 w 9880"/>
                <a:gd name="connsiteY91" fmla="*/ 611 h 10000"/>
                <a:gd name="connsiteX92" fmla="*/ 5663 w 9880"/>
                <a:gd name="connsiteY92" fmla="*/ 482 h 10000"/>
                <a:gd name="connsiteX93" fmla="*/ 5583 w 9880"/>
                <a:gd name="connsiteY93" fmla="*/ 482 h 10000"/>
                <a:gd name="connsiteX94" fmla="*/ 5543 w 9880"/>
                <a:gd name="connsiteY94" fmla="*/ 611 h 10000"/>
                <a:gd name="connsiteX95" fmla="*/ 5061 w 9880"/>
                <a:gd name="connsiteY95" fmla="*/ 611 h 10000"/>
                <a:gd name="connsiteX96" fmla="*/ 4579 w 9880"/>
                <a:gd name="connsiteY96" fmla="*/ 611 h 10000"/>
                <a:gd name="connsiteX97" fmla="*/ 4097 w 9880"/>
                <a:gd name="connsiteY97" fmla="*/ 611 h 10000"/>
                <a:gd name="connsiteX98" fmla="*/ 3615 w 9880"/>
                <a:gd name="connsiteY98" fmla="*/ 611 h 10000"/>
                <a:gd name="connsiteX99" fmla="*/ 3173 w 9880"/>
                <a:gd name="connsiteY99" fmla="*/ 611 h 10000"/>
                <a:gd name="connsiteX100" fmla="*/ 2691 w 9880"/>
                <a:gd name="connsiteY100" fmla="*/ 611 h 10000"/>
                <a:gd name="connsiteX101" fmla="*/ 2249 w 9880"/>
                <a:gd name="connsiteY101" fmla="*/ 611 h 10000"/>
                <a:gd name="connsiteX102" fmla="*/ 1768 w 9880"/>
                <a:gd name="connsiteY102" fmla="*/ 611 h 10000"/>
                <a:gd name="connsiteX103" fmla="*/ 1768 w 9880"/>
                <a:gd name="connsiteY103" fmla="*/ 1061 h 10000"/>
                <a:gd name="connsiteX104" fmla="*/ 1768 w 9880"/>
                <a:gd name="connsiteY104" fmla="*/ 1640 h 10000"/>
                <a:gd name="connsiteX105" fmla="*/ 1165 w 9880"/>
                <a:gd name="connsiteY105" fmla="*/ 1640 h 10000"/>
                <a:gd name="connsiteX106" fmla="*/ 1165 w 9880"/>
                <a:gd name="connsiteY106" fmla="*/ 1897 h 10000"/>
                <a:gd name="connsiteX0" fmla="*/ 1179 w 10000"/>
                <a:gd name="connsiteY0" fmla="*/ 1897 h 10000"/>
                <a:gd name="connsiteX1" fmla="*/ 1179 w 10000"/>
                <a:gd name="connsiteY1" fmla="*/ 2412 h 10000"/>
                <a:gd name="connsiteX2" fmla="*/ 1179 w 10000"/>
                <a:gd name="connsiteY2" fmla="*/ 2894 h 10000"/>
                <a:gd name="connsiteX3" fmla="*/ 1179 w 10000"/>
                <a:gd name="connsiteY3" fmla="*/ 3376 h 10000"/>
                <a:gd name="connsiteX4" fmla="*/ 1179 w 10000"/>
                <a:gd name="connsiteY4" fmla="*/ 3826 h 10000"/>
                <a:gd name="connsiteX5" fmla="*/ 529 w 10000"/>
                <a:gd name="connsiteY5" fmla="*/ 3923 h 10000"/>
                <a:gd name="connsiteX6" fmla="*/ 407 w 10000"/>
                <a:gd name="connsiteY6" fmla="*/ 4180 h 10000"/>
                <a:gd name="connsiteX7" fmla="*/ 122 w 10000"/>
                <a:gd name="connsiteY7" fmla="*/ 4502 h 10000"/>
                <a:gd name="connsiteX8" fmla="*/ 122 w 10000"/>
                <a:gd name="connsiteY8" fmla="*/ 4759 h 10000"/>
                <a:gd name="connsiteX9" fmla="*/ 0 w 10000"/>
                <a:gd name="connsiteY9" fmla="*/ 4823 h 10000"/>
                <a:gd name="connsiteX10" fmla="*/ 3155 w 10000"/>
                <a:gd name="connsiteY10" fmla="*/ 7095 h 10000"/>
                <a:gd name="connsiteX11" fmla="*/ 2967 w 10000"/>
                <a:gd name="connsiteY11" fmla="*/ 7195 h 10000"/>
                <a:gd name="connsiteX12" fmla="*/ 2499 w 10000"/>
                <a:gd name="connsiteY12" fmla="*/ 6973 h 10000"/>
                <a:gd name="connsiteX13" fmla="*/ 2293 w 10000"/>
                <a:gd name="connsiteY13" fmla="*/ 6638 h 10000"/>
                <a:gd name="connsiteX14" fmla="*/ 1949 w 10000"/>
                <a:gd name="connsiteY14" fmla="*/ 6729 h 10000"/>
                <a:gd name="connsiteX15" fmla="*/ 1856 w 10000"/>
                <a:gd name="connsiteY15" fmla="*/ 6927 h 10000"/>
                <a:gd name="connsiteX16" fmla="*/ 1490 w 10000"/>
                <a:gd name="connsiteY16" fmla="*/ 7011 h 10000"/>
                <a:gd name="connsiteX17" fmla="*/ 1251 w 10000"/>
                <a:gd name="connsiteY17" fmla="*/ 7004 h 10000"/>
                <a:gd name="connsiteX18" fmla="*/ 1121 w 10000"/>
                <a:gd name="connsiteY18" fmla="*/ 7161 h 10000"/>
                <a:gd name="connsiteX19" fmla="*/ 895 w 10000"/>
                <a:gd name="connsiteY19" fmla="*/ 6913 h 10000"/>
                <a:gd name="connsiteX20" fmla="*/ 854 w 10000"/>
                <a:gd name="connsiteY20" fmla="*/ 7363 h 10000"/>
                <a:gd name="connsiteX21" fmla="*/ 935 w 10000"/>
                <a:gd name="connsiteY21" fmla="*/ 7428 h 10000"/>
                <a:gd name="connsiteX22" fmla="*/ 1260 w 10000"/>
                <a:gd name="connsiteY22" fmla="*/ 7460 h 10000"/>
                <a:gd name="connsiteX23" fmla="*/ 1302 w 10000"/>
                <a:gd name="connsiteY23" fmla="*/ 7588 h 10000"/>
                <a:gd name="connsiteX24" fmla="*/ 1667 w 10000"/>
                <a:gd name="connsiteY24" fmla="*/ 7621 h 10000"/>
                <a:gd name="connsiteX25" fmla="*/ 1870 w 10000"/>
                <a:gd name="connsiteY25" fmla="*/ 7749 h 10000"/>
                <a:gd name="connsiteX26" fmla="*/ 1911 w 10000"/>
                <a:gd name="connsiteY26" fmla="*/ 7974 h 10000"/>
                <a:gd name="connsiteX27" fmla="*/ 2562 w 10000"/>
                <a:gd name="connsiteY27" fmla="*/ 8360 h 10000"/>
                <a:gd name="connsiteX28" fmla="*/ 2724 w 10000"/>
                <a:gd name="connsiteY28" fmla="*/ 8746 h 10000"/>
                <a:gd name="connsiteX29" fmla="*/ 3171 w 10000"/>
                <a:gd name="connsiteY29" fmla="*/ 8939 h 10000"/>
                <a:gd name="connsiteX30" fmla="*/ 3334 w 10000"/>
                <a:gd name="connsiteY30" fmla="*/ 9196 h 10000"/>
                <a:gd name="connsiteX31" fmla="*/ 3659 w 10000"/>
                <a:gd name="connsiteY31" fmla="*/ 9518 h 10000"/>
                <a:gd name="connsiteX32" fmla="*/ 3903 w 10000"/>
                <a:gd name="connsiteY32" fmla="*/ 9614 h 10000"/>
                <a:gd name="connsiteX33" fmla="*/ 4066 w 10000"/>
                <a:gd name="connsiteY33" fmla="*/ 9518 h 10000"/>
                <a:gd name="connsiteX34" fmla="*/ 4472 w 10000"/>
                <a:gd name="connsiteY34" fmla="*/ 9550 h 10000"/>
                <a:gd name="connsiteX35" fmla="*/ 4635 w 10000"/>
                <a:gd name="connsiteY35" fmla="*/ 9486 h 10000"/>
                <a:gd name="connsiteX36" fmla="*/ 5366 w 10000"/>
                <a:gd name="connsiteY36" fmla="*/ 9968 h 10000"/>
                <a:gd name="connsiteX37" fmla="*/ 5407 w 10000"/>
                <a:gd name="connsiteY37" fmla="*/ 9968 h 10000"/>
                <a:gd name="connsiteX38" fmla="*/ 5488 w 10000"/>
                <a:gd name="connsiteY38" fmla="*/ 9904 h 10000"/>
                <a:gd name="connsiteX39" fmla="*/ 6016 w 10000"/>
                <a:gd name="connsiteY39" fmla="*/ 9904 h 10000"/>
                <a:gd name="connsiteX40" fmla="*/ 6098 w 10000"/>
                <a:gd name="connsiteY40" fmla="*/ 10000 h 10000"/>
                <a:gd name="connsiteX41" fmla="*/ 6545 w 10000"/>
                <a:gd name="connsiteY41" fmla="*/ 9871 h 10000"/>
                <a:gd name="connsiteX42" fmla="*/ 6951 w 10000"/>
                <a:gd name="connsiteY42" fmla="*/ 9871 h 10000"/>
                <a:gd name="connsiteX43" fmla="*/ 7236 w 10000"/>
                <a:gd name="connsiteY43" fmla="*/ 9743 h 10000"/>
                <a:gd name="connsiteX44" fmla="*/ 7561 w 10000"/>
                <a:gd name="connsiteY44" fmla="*/ 9486 h 10000"/>
                <a:gd name="connsiteX45" fmla="*/ 8415 w 10000"/>
                <a:gd name="connsiteY45" fmla="*/ 9486 h 10000"/>
                <a:gd name="connsiteX46" fmla="*/ 8415 w 10000"/>
                <a:gd name="connsiteY46" fmla="*/ 9132 h 10000"/>
                <a:gd name="connsiteX47" fmla="*/ 7968 w 10000"/>
                <a:gd name="connsiteY47" fmla="*/ 8971 h 10000"/>
                <a:gd name="connsiteX48" fmla="*/ 7724 w 10000"/>
                <a:gd name="connsiteY48" fmla="*/ 8457 h 10000"/>
                <a:gd name="connsiteX49" fmla="*/ 7399 w 10000"/>
                <a:gd name="connsiteY49" fmla="*/ 8264 h 10000"/>
                <a:gd name="connsiteX50" fmla="*/ 7195 w 10000"/>
                <a:gd name="connsiteY50" fmla="*/ 8006 h 10000"/>
                <a:gd name="connsiteX51" fmla="*/ 6667 w 10000"/>
                <a:gd name="connsiteY51" fmla="*/ 7814 h 10000"/>
                <a:gd name="connsiteX52" fmla="*/ 6788 w 10000"/>
                <a:gd name="connsiteY52" fmla="*/ 7749 h 10000"/>
                <a:gd name="connsiteX53" fmla="*/ 6788 w 10000"/>
                <a:gd name="connsiteY53" fmla="*/ 7588 h 10000"/>
                <a:gd name="connsiteX54" fmla="*/ 7155 w 10000"/>
                <a:gd name="connsiteY54" fmla="*/ 7588 h 10000"/>
                <a:gd name="connsiteX55" fmla="*/ 7358 w 10000"/>
                <a:gd name="connsiteY55" fmla="*/ 7460 h 10000"/>
                <a:gd name="connsiteX56" fmla="*/ 7399 w 10000"/>
                <a:gd name="connsiteY56" fmla="*/ 6527 h 10000"/>
                <a:gd name="connsiteX57" fmla="*/ 7439 w 10000"/>
                <a:gd name="connsiteY57" fmla="*/ 6559 h 10000"/>
                <a:gd name="connsiteX58" fmla="*/ 7561 w 10000"/>
                <a:gd name="connsiteY58" fmla="*/ 6367 h 10000"/>
                <a:gd name="connsiteX59" fmla="*/ 7805 w 10000"/>
                <a:gd name="connsiteY59" fmla="*/ 6270 h 10000"/>
                <a:gd name="connsiteX60" fmla="*/ 7927 w 10000"/>
                <a:gd name="connsiteY60" fmla="*/ 5916 h 10000"/>
                <a:gd name="connsiteX61" fmla="*/ 8293 w 10000"/>
                <a:gd name="connsiteY61" fmla="*/ 5498 h 10000"/>
                <a:gd name="connsiteX62" fmla="*/ 8577 w 10000"/>
                <a:gd name="connsiteY62" fmla="*/ 5305 h 10000"/>
                <a:gd name="connsiteX63" fmla="*/ 8780 w 10000"/>
                <a:gd name="connsiteY63" fmla="*/ 4759 h 10000"/>
                <a:gd name="connsiteX64" fmla="*/ 8780 w 10000"/>
                <a:gd name="connsiteY64" fmla="*/ 4630 h 10000"/>
                <a:gd name="connsiteX65" fmla="*/ 8740 w 10000"/>
                <a:gd name="connsiteY65" fmla="*/ 4309 h 10000"/>
                <a:gd name="connsiteX66" fmla="*/ 9147 w 10000"/>
                <a:gd name="connsiteY66" fmla="*/ 3151 h 10000"/>
                <a:gd name="connsiteX67" fmla="*/ 9268 w 10000"/>
                <a:gd name="connsiteY67" fmla="*/ 3151 h 10000"/>
                <a:gd name="connsiteX68" fmla="*/ 9431 w 10000"/>
                <a:gd name="connsiteY68" fmla="*/ 3055 h 10000"/>
                <a:gd name="connsiteX69" fmla="*/ 9919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7 w 10000"/>
                <a:gd name="connsiteY72" fmla="*/ 2572 h 10000"/>
                <a:gd name="connsiteX73" fmla="*/ 9675 w 10000"/>
                <a:gd name="connsiteY73" fmla="*/ 2412 h 10000"/>
                <a:gd name="connsiteX74" fmla="*/ 9431 w 10000"/>
                <a:gd name="connsiteY74" fmla="*/ 2347 h 10000"/>
                <a:gd name="connsiteX75" fmla="*/ 9309 w 10000"/>
                <a:gd name="connsiteY75" fmla="*/ 2219 h 10000"/>
                <a:gd name="connsiteX76" fmla="*/ 9228 w 10000"/>
                <a:gd name="connsiteY76" fmla="*/ 1736 h 10000"/>
                <a:gd name="connsiteX77" fmla="*/ 9228 w 10000"/>
                <a:gd name="connsiteY77" fmla="*/ 1061 h 10000"/>
                <a:gd name="connsiteX78" fmla="*/ 9024 w 10000"/>
                <a:gd name="connsiteY78" fmla="*/ 836 h 10000"/>
                <a:gd name="connsiteX79" fmla="*/ 8984 w 10000"/>
                <a:gd name="connsiteY79" fmla="*/ 611 h 10000"/>
                <a:gd name="connsiteX80" fmla="*/ 8659 w 10000"/>
                <a:gd name="connsiteY80" fmla="*/ 289 h 10000"/>
                <a:gd name="connsiteX81" fmla="*/ 8374 w 10000"/>
                <a:gd name="connsiteY81" fmla="*/ 161 h 10000"/>
                <a:gd name="connsiteX82" fmla="*/ 8212 w 10000"/>
                <a:gd name="connsiteY82" fmla="*/ 0 h 10000"/>
                <a:gd name="connsiteX83" fmla="*/ 7968 w 10000"/>
                <a:gd name="connsiteY83" fmla="*/ 161 h 10000"/>
                <a:gd name="connsiteX84" fmla="*/ 7805 w 10000"/>
                <a:gd name="connsiteY84" fmla="*/ 129 h 10000"/>
                <a:gd name="connsiteX85" fmla="*/ 7683 w 10000"/>
                <a:gd name="connsiteY85" fmla="*/ 418 h 10000"/>
                <a:gd name="connsiteX86" fmla="*/ 7358 w 10000"/>
                <a:gd name="connsiteY86" fmla="*/ 482 h 10000"/>
                <a:gd name="connsiteX87" fmla="*/ 7276 w 10000"/>
                <a:gd name="connsiteY87" fmla="*/ 707 h 10000"/>
                <a:gd name="connsiteX88" fmla="*/ 6992 w 10000"/>
                <a:gd name="connsiteY88" fmla="*/ 707 h 10000"/>
                <a:gd name="connsiteX89" fmla="*/ 6748 w 10000"/>
                <a:gd name="connsiteY89" fmla="*/ 611 h 10000"/>
                <a:gd name="connsiteX90" fmla="*/ 6220 w 10000"/>
                <a:gd name="connsiteY90" fmla="*/ 611 h 10000"/>
                <a:gd name="connsiteX91" fmla="*/ 5691 w 10000"/>
                <a:gd name="connsiteY91" fmla="*/ 611 h 10000"/>
                <a:gd name="connsiteX92" fmla="*/ 5732 w 10000"/>
                <a:gd name="connsiteY92" fmla="*/ 482 h 10000"/>
                <a:gd name="connsiteX93" fmla="*/ 5651 w 10000"/>
                <a:gd name="connsiteY93" fmla="*/ 482 h 10000"/>
                <a:gd name="connsiteX94" fmla="*/ 5610 w 10000"/>
                <a:gd name="connsiteY94" fmla="*/ 611 h 10000"/>
                <a:gd name="connsiteX95" fmla="*/ 5122 w 10000"/>
                <a:gd name="connsiteY95" fmla="*/ 611 h 10000"/>
                <a:gd name="connsiteX96" fmla="*/ 4635 w 10000"/>
                <a:gd name="connsiteY96" fmla="*/ 611 h 10000"/>
                <a:gd name="connsiteX97" fmla="*/ 4147 w 10000"/>
                <a:gd name="connsiteY97" fmla="*/ 611 h 10000"/>
                <a:gd name="connsiteX98" fmla="*/ 3659 w 10000"/>
                <a:gd name="connsiteY98" fmla="*/ 611 h 10000"/>
                <a:gd name="connsiteX99" fmla="*/ 3212 w 10000"/>
                <a:gd name="connsiteY99" fmla="*/ 611 h 10000"/>
                <a:gd name="connsiteX100" fmla="*/ 2724 w 10000"/>
                <a:gd name="connsiteY100" fmla="*/ 611 h 10000"/>
                <a:gd name="connsiteX101" fmla="*/ 2276 w 10000"/>
                <a:gd name="connsiteY101" fmla="*/ 611 h 10000"/>
                <a:gd name="connsiteX102" fmla="*/ 1789 w 10000"/>
                <a:gd name="connsiteY102" fmla="*/ 611 h 10000"/>
                <a:gd name="connsiteX103" fmla="*/ 1789 w 10000"/>
                <a:gd name="connsiteY103" fmla="*/ 1061 h 10000"/>
                <a:gd name="connsiteX104" fmla="*/ 1789 w 10000"/>
                <a:gd name="connsiteY104" fmla="*/ 1640 h 10000"/>
                <a:gd name="connsiteX105" fmla="*/ 1179 w 10000"/>
                <a:gd name="connsiteY105" fmla="*/ 1640 h 10000"/>
                <a:gd name="connsiteX106" fmla="*/ 1179 w 10000"/>
                <a:gd name="connsiteY106" fmla="*/ 1897 h 10000"/>
                <a:gd name="connsiteX0" fmla="*/ 1098 w 9919"/>
                <a:gd name="connsiteY0" fmla="*/ 1897 h 10000"/>
                <a:gd name="connsiteX1" fmla="*/ 1098 w 9919"/>
                <a:gd name="connsiteY1" fmla="*/ 2412 h 10000"/>
                <a:gd name="connsiteX2" fmla="*/ 1098 w 9919"/>
                <a:gd name="connsiteY2" fmla="*/ 2894 h 10000"/>
                <a:gd name="connsiteX3" fmla="*/ 1098 w 9919"/>
                <a:gd name="connsiteY3" fmla="*/ 3376 h 10000"/>
                <a:gd name="connsiteX4" fmla="*/ 1098 w 9919"/>
                <a:gd name="connsiteY4" fmla="*/ 3826 h 10000"/>
                <a:gd name="connsiteX5" fmla="*/ 448 w 9919"/>
                <a:gd name="connsiteY5" fmla="*/ 3923 h 10000"/>
                <a:gd name="connsiteX6" fmla="*/ 326 w 9919"/>
                <a:gd name="connsiteY6" fmla="*/ 4180 h 10000"/>
                <a:gd name="connsiteX7" fmla="*/ 41 w 9919"/>
                <a:gd name="connsiteY7" fmla="*/ 4502 h 10000"/>
                <a:gd name="connsiteX8" fmla="*/ 41 w 9919"/>
                <a:gd name="connsiteY8" fmla="*/ 4759 h 10000"/>
                <a:gd name="connsiteX9" fmla="*/ 3775 w 9919"/>
                <a:gd name="connsiteY9" fmla="*/ 7279 h 10000"/>
                <a:gd name="connsiteX10" fmla="*/ 3074 w 9919"/>
                <a:gd name="connsiteY10" fmla="*/ 7095 h 10000"/>
                <a:gd name="connsiteX11" fmla="*/ 2886 w 9919"/>
                <a:gd name="connsiteY11" fmla="*/ 7195 h 10000"/>
                <a:gd name="connsiteX12" fmla="*/ 2418 w 9919"/>
                <a:gd name="connsiteY12" fmla="*/ 6973 h 10000"/>
                <a:gd name="connsiteX13" fmla="*/ 2212 w 9919"/>
                <a:gd name="connsiteY13" fmla="*/ 6638 h 10000"/>
                <a:gd name="connsiteX14" fmla="*/ 1868 w 9919"/>
                <a:gd name="connsiteY14" fmla="*/ 6729 h 10000"/>
                <a:gd name="connsiteX15" fmla="*/ 1775 w 9919"/>
                <a:gd name="connsiteY15" fmla="*/ 6927 h 10000"/>
                <a:gd name="connsiteX16" fmla="*/ 1409 w 9919"/>
                <a:gd name="connsiteY16" fmla="*/ 7011 h 10000"/>
                <a:gd name="connsiteX17" fmla="*/ 1170 w 9919"/>
                <a:gd name="connsiteY17" fmla="*/ 7004 h 10000"/>
                <a:gd name="connsiteX18" fmla="*/ 1040 w 9919"/>
                <a:gd name="connsiteY18" fmla="*/ 7161 h 10000"/>
                <a:gd name="connsiteX19" fmla="*/ 814 w 9919"/>
                <a:gd name="connsiteY19" fmla="*/ 6913 h 10000"/>
                <a:gd name="connsiteX20" fmla="*/ 773 w 9919"/>
                <a:gd name="connsiteY20" fmla="*/ 7363 h 10000"/>
                <a:gd name="connsiteX21" fmla="*/ 854 w 9919"/>
                <a:gd name="connsiteY21" fmla="*/ 7428 h 10000"/>
                <a:gd name="connsiteX22" fmla="*/ 1179 w 9919"/>
                <a:gd name="connsiteY22" fmla="*/ 7460 h 10000"/>
                <a:gd name="connsiteX23" fmla="*/ 1221 w 9919"/>
                <a:gd name="connsiteY23" fmla="*/ 7588 h 10000"/>
                <a:gd name="connsiteX24" fmla="*/ 1586 w 9919"/>
                <a:gd name="connsiteY24" fmla="*/ 7621 h 10000"/>
                <a:gd name="connsiteX25" fmla="*/ 1789 w 9919"/>
                <a:gd name="connsiteY25" fmla="*/ 7749 h 10000"/>
                <a:gd name="connsiteX26" fmla="*/ 1830 w 9919"/>
                <a:gd name="connsiteY26" fmla="*/ 7974 h 10000"/>
                <a:gd name="connsiteX27" fmla="*/ 2481 w 9919"/>
                <a:gd name="connsiteY27" fmla="*/ 8360 h 10000"/>
                <a:gd name="connsiteX28" fmla="*/ 2643 w 9919"/>
                <a:gd name="connsiteY28" fmla="*/ 8746 h 10000"/>
                <a:gd name="connsiteX29" fmla="*/ 3090 w 9919"/>
                <a:gd name="connsiteY29" fmla="*/ 8939 h 10000"/>
                <a:gd name="connsiteX30" fmla="*/ 3253 w 9919"/>
                <a:gd name="connsiteY30" fmla="*/ 9196 h 10000"/>
                <a:gd name="connsiteX31" fmla="*/ 3578 w 9919"/>
                <a:gd name="connsiteY31" fmla="*/ 9518 h 10000"/>
                <a:gd name="connsiteX32" fmla="*/ 3822 w 9919"/>
                <a:gd name="connsiteY32" fmla="*/ 9614 h 10000"/>
                <a:gd name="connsiteX33" fmla="*/ 3985 w 9919"/>
                <a:gd name="connsiteY33" fmla="*/ 9518 h 10000"/>
                <a:gd name="connsiteX34" fmla="*/ 4391 w 9919"/>
                <a:gd name="connsiteY34" fmla="*/ 9550 h 10000"/>
                <a:gd name="connsiteX35" fmla="*/ 4554 w 9919"/>
                <a:gd name="connsiteY35" fmla="*/ 9486 h 10000"/>
                <a:gd name="connsiteX36" fmla="*/ 5285 w 9919"/>
                <a:gd name="connsiteY36" fmla="*/ 9968 h 10000"/>
                <a:gd name="connsiteX37" fmla="*/ 5326 w 9919"/>
                <a:gd name="connsiteY37" fmla="*/ 9968 h 10000"/>
                <a:gd name="connsiteX38" fmla="*/ 5407 w 9919"/>
                <a:gd name="connsiteY38" fmla="*/ 9904 h 10000"/>
                <a:gd name="connsiteX39" fmla="*/ 5935 w 9919"/>
                <a:gd name="connsiteY39" fmla="*/ 9904 h 10000"/>
                <a:gd name="connsiteX40" fmla="*/ 6017 w 9919"/>
                <a:gd name="connsiteY40" fmla="*/ 10000 h 10000"/>
                <a:gd name="connsiteX41" fmla="*/ 6464 w 9919"/>
                <a:gd name="connsiteY41" fmla="*/ 9871 h 10000"/>
                <a:gd name="connsiteX42" fmla="*/ 6870 w 9919"/>
                <a:gd name="connsiteY42" fmla="*/ 9871 h 10000"/>
                <a:gd name="connsiteX43" fmla="*/ 7155 w 9919"/>
                <a:gd name="connsiteY43" fmla="*/ 9743 h 10000"/>
                <a:gd name="connsiteX44" fmla="*/ 7480 w 9919"/>
                <a:gd name="connsiteY44" fmla="*/ 9486 h 10000"/>
                <a:gd name="connsiteX45" fmla="*/ 8334 w 9919"/>
                <a:gd name="connsiteY45" fmla="*/ 9486 h 10000"/>
                <a:gd name="connsiteX46" fmla="*/ 8334 w 9919"/>
                <a:gd name="connsiteY46" fmla="*/ 9132 h 10000"/>
                <a:gd name="connsiteX47" fmla="*/ 7887 w 9919"/>
                <a:gd name="connsiteY47" fmla="*/ 8971 h 10000"/>
                <a:gd name="connsiteX48" fmla="*/ 7643 w 9919"/>
                <a:gd name="connsiteY48" fmla="*/ 8457 h 10000"/>
                <a:gd name="connsiteX49" fmla="*/ 7318 w 9919"/>
                <a:gd name="connsiteY49" fmla="*/ 8264 h 10000"/>
                <a:gd name="connsiteX50" fmla="*/ 7114 w 9919"/>
                <a:gd name="connsiteY50" fmla="*/ 8006 h 10000"/>
                <a:gd name="connsiteX51" fmla="*/ 6586 w 9919"/>
                <a:gd name="connsiteY51" fmla="*/ 7814 h 10000"/>
                <a:gd name="connsiteX52" fmla="*/ 6707 w 9919"/>
                <a:gd name="connsiteY52" fmla="*/ 7749 h 10000"/>
                <a:gd name="connsiteX53" fmla="*/ 6707 w 9919"/>
                <a:gd name="connsiteY53" fmla="*/ 7588 h 10000"/>
                <a:gd name="connsiteX54" fmla="*/ 7074 w 9919"/>
                <a:gd name="connsiteY54" fmla="*/ 7588 h 10000"/>
                <a:gd name="connsiteX55" fmla="*/ 7277 w 9919"/>
                <a:gd name="connsiteY55" fmla="*/ 7460 h 10000"/>
                <a:gd name="connsiteX56" fmla="*/ 7318 w 9919"/>
                <a:gd name="connsiteY56" fmla="*/ 6527 h 10000"/>
                <a:gd name="connsiteX57" fmla="*/ 7358 w 9919"/>
                <a:gd name="connsiteY57" fmla="*/ 6559 h 10000"/>
                <a:gd name="connsiteX58" fmla="*/ 7480 w 9919"/>
                <a:gd name="connsiteY58" fmla="*/ 6367 h 10000"/>
                <a:gd name="connsiteX59" fmla="*/ 7724 w 9919"/>
                <a:gd name="connsiteY59" fmla="*/ 6270 h 10000"/>
                <a:gd name="connsiteX60" fmla="*/ 7846 w 9919"/>
                <a:gd name="connsiteY60" fmla="*/ 5916 h 10000"/>
                <a:gd name="connsiteX61" fmla="*/ 8212 w 9919"/>
                <a:gd name="connsiteY61" fmla="*/ 5498 h 10000"/>
                <a:gd name="connsiteX62" fmla="*/ 8496 w 9919"/>
                <a:gd name="connsiteY62" fmla="*/ 5305 h 10000"/>
                <a:gd name="connsiteX63" fmla="*/ 8699 w 9919"/>
                <a:gd name="connsiteY63" fmla="*/ 4759 h 10000"/>
                <a:gd name="connsiteX64" fmla="*/ 8699 w 9919"/>
                <a:gd name="connsiteY64" fmla="*/ 4630 h 10000"/>
                <a:gd name="connsiteX65" fmla="*/ 8659 w 9919"/>
                <a:gd name="connsiteY65" fmla="*/ 4309 h 10000"/>
                <a:gd name="connsiteX66" fmla="*/ 9066 w 9919"/>
                <a:gd name="connsiteY66" fmla="*/ 3151 h 10000"/>
                <a:gd name="connsiteX67" fmla="*/ 9187 w 9919"/>
                <a:gd name="connsiteY67" fmla="*/ 3151 h 10000"/>
                <a:gd name="connsiteX68" fmla="*/ 9350 w 9919"/>
                <a:gd name="connsiteY68" fmla="*/ 3055 h 10000"/>
                <a:gd name="connsiteX69" fmla="*/ 9838 w 9919"/>
                <a:gd name="connsiteY69" fmla="*/ 2894 h 10000"/>
                <a:gd name="connsiteX70" fmla="*/ 9919 w 9919"/>
                <a:gd name="connsiteY70" fmla="*/ 2637 h 10000"/>
                <a:gd name="connsiteX71" fmla="*/ 9879 w 9919"/>
                <a:gd name="connsiteY71" fmla="*/ 2572 h 10000"/>
                <a:gd name="connsiteX72" fmla="*/ 9716 w 9919"/>
                <a:gd name="connsiteY72" fmla="*/ 2572 h 10000"/>
                <a:gd name="connsiteX73" fmla="*/ 9594 w 9919"/>
                <a:gd name="connsiteY73" fmla="*/ 2412 h 10000"/>
                <a:gd name="connsiteX74" fmla="*/ 9350 w 9919"/>
                <a:gd name="connsiteY74" fmla="*/ 2347 h 10000"/>
                <a:gd name="connsiteX75" fmla="*/ 9228 w 9919"/>
                <a:gd name="connsiteY75" fmla="*/ 2219 h 10000"/>
                <a:gd name="connsiteX76" fmla="*/ 9147 w 9919"/>
                <a:gd name="connsiteY76" fmla="*/ 1736 h 10000"/>
                <a:gd name="connsiteX77" fmla="*/ 9147 w 9919"/>
                <a:gd name="connsiteY77" fmla="*/ 1061 h 10000"/>
                <a:gd name="connsiteX78" fmla="*/ 8943 w 9919"/>
                <a:gd name="connsiteY78" fmla="*/ 836 h 10000"/>
                <a:gd name="connsiteX79" fmla="*/ 8903 w 9919"/>
                <a:gd name="connsiteY79" fmla="*/ 611 h 10000"/>
                <a:gd name="connsiteX80" fmla="*/ 8578 w 9919"/>
                <a:gd name="connsiteY80" fmla="*/ 289 h 10000"/>
                <a:gd name="connsiteX81" fmla="*/ 8293 w 9919"/>
                <a:gd name="connsiteY81" fmla="*/ 161 h 10000"/>
                <a:gd name="connsiteX82" fmla="*/ 8131 w 9919"/>
                <a:gd name="connsiteY82" fmla="*/ 0 h 10000"/>
                <a:gd name="connsiteX83" fmla="*/ 7887 w 9919"/>
                <a:gd name="connsiteY83" fmla="*/ 161 h 10000"/>
                <a:gd name="connsiteX84" fmla="*/ 7724 w 9919"/>
                <a:gd name="connsiteY84" fmla="*/ 129 h 10000"/>
                <a:gd name="connsiteX85" fmla="*/ 7602 w 9919"/>
                <a:gd name="connsiteY85" fmla="*/ 418 h 10000"/>
                <a:gd name="connsiteX86" fmla="*/ 7277 w 9919"/>
                <a:gd name="connsiteY86" fmla="*/ 482 h 10000"/>
                <a:gd name="connsiteX87" fmla="*/ 7195 w 9919"/>
                <a:gd name="connsiteY87" fmla="*/ 707 h 10000"/>
                <a:gd name="connsiteX88" fmla="*/ 6911 w 9919"/>
                <a:gd name="connsiteY88" fmla="*/ 707 h 10000"/>
                <a:gd name="connsiteX89" fmla="*/ 6667 w 9919"/>
                <a:gd name="connsiteY89" fmla="*/ 611 h 10000"/>
                <a:gd name="connsiteX90" fmla="*/ 6139 w 9919"/>
                <a:gd name="connsiteY90" fmla="*/ 611 h 10000"/>
                <a:gd name="connsiteX91" fmla="*/ 5610 w 9919"/>
                <a:gd name="connsiteY91" fmla="*/ 611 h 10000"/>
                <a:gd name="connsiteX92" fmla="*/ 5651 w 9919"/>
                <a:gd name="connsiteY92" fmla="*/ 482 h 10000"/>
                <a:gd name="connsiteX93" fmla="*/ 5570 w 9919"/>
                <a:gd name="connsiteY93" fmla="*/ 482 h 10000"/>
                <a:gd name="connsiteX94" fmla="*/ 5529 w 9919"/>
                <a:gd name="connsiteY94" fmla="*/ 611 h 10000"/>
                <a:gd name="connsiteX95" fmla="*/ 5041 w 9919"/>
                <a:gd name="connsiteY95" fmla="*/ 611 h 10000"/>
                <a:gd name="connsiteX96" fmla="*/ 4554 w 9919"/>
                <a:gd name="connsiteY96" fmla="*/ 611 h 10000"/>
                <a:gd name="connsiteX97" fmla="*/ 4066 w 9919"/>
                <a:gd name="connsiteY97" fmla="*/ 611 h 10000"/>
                <a:gd name="connsiteX98" fmla="*/ 3578 w 9919"/>
                <a:gd name="connsiteY98" fmla="*/ 611 h 10000"/>
                <a:gd name="connsiteX99" fmla="*/ 3131 w 9919"/>
                <a:gd name="connsiteY99" fmla="*/ 611 h 10000"/>
                <a:gd name="connsiteX100" fmla="*/ 2643 w 9919"/>
                <a:gd name="connsiteY100" fmla="*/ 611 h 10000"/>
                <a:gd name="connsiteX101" fmla="*/ 2195 w 9919"/>
                <a:gd name="connsiteY101" fmla="*/ 611 h 10000"/>
                <a:gd name="connsiteX102" fmla="*/ 1708 w 9919"/>
                <a:gd name="connsiteY102" fmla="*/ 611 h 10000"/>
                <a:gd name="connsiteX103" fmla="*/ 1708 w 9919"/>
                <a:gd name="connsiteY103" fmla="*/ 1061 h 10000"/>
                <a:gd name="connsiteX104" fmla="*/ 1708 w 9919"/>
                <a:gd name="connsiteY104" fmla="*/ 1640 h 10000"/>
                <a:gd name="connsiteX105" fmla="*/ 1098 w 9919"/>
                <a:gd name="connsiteY105" fmla="*/ 1640 h 10000"/>
                <a:gd name="connsiteX106" fmla="*/ 1098 w 9919"/>
                <a:gd name="connsiteY106" fmla="*/ 1897 h 10000"/>
                <a:gd name="connsiteX0" fmla="*/ 1066 w 9959"/>
                <a:gd name="connsiteY0" fmla="*/ 1897 h 10000"/>
                <a:gd name="connsiteX1" fmla="*/ 1066 w 9959"/>
                <a:gd name="connsiteY1" fmla="*/ 2412 h 10000"/>
                <a:gd name="connsiteX2" fmla="*/ 1066 w 9959"/>
                <a:gd name="connsiteY2" fmla="*/ 2894 h 10000"/>
                <a:gd name="connsiteX3" fmla="*/ 1066 w 9959"/>
                <a:gd name="connsiteY3" fmla="*/ 3376 h 10000"/>
                <a:gd name="connsiteX4" fmla="*/ 1066 w 9959"/>
                <a:gd name="connsiteY4" fmla="*/ 3826 h 10000"/>
                <a:gd name="connsiteX5" fmla="*/ 411 w 9959"/>
                <a:gd name="connsiteY5" fmla="*/ 3923 h 10000"/>
                <a:gd name="connsiteX6" fmla="*/ 288 w 9959"/>
                <a:gd name="connsiteY6" fmla="*/ 4180 h 10000"/>
                <a:gd name="connsiteX7" fmla="*/ 0 w 9959"/>
                <a:gd name="connsiteY7" fmla="*/ 4502 h 10000"/>
                <a:gd name="connsiteX8" fmla="*/ 4089 w 9959"/>
                <a:gd name="connsiteY8" fmla="*/ 7281 h 10000"/>
                <a:gd name="connsiteX9" fmla="*/ 3765 w 9959"/>
                <a:gd name="connsiteY9" fmla="*/ 7279 h 10000"/>
                <a:gd name="connsiteX10" fmla="*/ 3058 w 9959"/>
                <a:gd name="connsiteY10" fmla="*/ 7095 h 10000"/>
                <a:gd name="connsiteX11" fmla="*/ 2869 w 9959"/>
                <a:gd name="connsiteY11" fmla="*/ 7195 h 10000"/>
                <a:gd name="connsiteX12" fmla="*/ 2397 w 9959"/>
                <a:gd name="connsiteY12" fmla="*/ 6973 h 10000"/>
                <a:gd name="connsiteX13" fmla="*/ 2189 w 9959"/>
                <a:gd name="connsiteY13" fmla="*/ 6638 h 10000"/>
                <a:gd name="connsiteX14" fmla="*/ 1842 w 9959"/>
                <a:gd name="connsiteY14" fmla="*/ 6729 h 10000"/>
                <a:gd name="connsiteX15" fmla="*/ 1748 w 9959"/>
                <a:gd name="connsiteY15" fmla="*/ 6927 h 10000"/>
                <a:gd name="connsiteX16" fmla="*/ 1380 w 9959"/>
                <a:gd name="connsiteY16" fmla="*/ 7011 h 10000"/>
                <a:gd name="connsiteX17" fmla="*/ 1139 w 9959"/>
                <a:gd name="connsiteY17" fmla="*/ 7004 h 10000"/>
                <a:gd name="connsiteX18" fmla="*/ 1007 w 9959"/>
                <a:gd name="connsiteY18" fmla="*/ 7161 h 10000"/>
                <a:gd name="connsiteX19" fmla="*/ 780 w 9959"/>
                <a:gd name="connsiteY19" fmla="*/ 6913 h 10000"/>
                <a:gd name="connsiteX20" fmla="*/ 738 w 9959"/>
                <a:gd name="connsiteY20" fmla="*/ 7363 h 10000"/>
                <a:gd name="connsiteX21" fmla="*/ 820 w 9959"/>
                <a:gd name="connsiteY21" fmla="*/ 7428 h 10000"/>
                <a:gd name="connsiteX22" fmla="*/ 1148 w 9959"/>
                <a:gd name="connsiteY22" fmla="*/ 7460 h 10000"/>
                <a:gd name="connsiteX23" fmla="*/ 1190 w 9959"/>
                <a:gd name="connsiteY23" fmla="*/ 7588 h 10000"/>
                <a:gd name="connsiteX24" fmla="*/ 1558 w 9959"/>
                <a:gd name="connsiteY24" fmla="*/ 7621 h 10000"/>
                <a:gd name="connsiteX25" fmla="*/ 1763 w 9959"/>
                <a:gd name="connsiteY25" fmla="*/ 7749 h 10000"/>
                <a:gd name="connsiteX26" fmla="*/ 1804 w 9959"/>
                <a:gd name="connsiteY26" fmla="*/ 7974 h 10000"/>
                <a:gd name="connsiteX27" fmla="*/ 2460 w 9959"/>
                <a:gd name="connsiteY27" fmla="*/ 8360 h 10000"/>
                <a:gd name="connsiteX28" fmla="*/ 2624 w 9959"/>
                <a:gd name="connsiteY28" fmla="*/ 8746 h 10000"/>
                <a:gd name="connsiteX29" fmla="*/ 3074 w 9959"/>
                <a:gd name="connsiteY29" fmla="*/ 8939 h 10000"/>
                <a:gd name="connsiteX30" fmla="*/ 3239 w 9959"/>
                <a:gd name="connsiteY30" fmla="*/ 9196 h 10000"/>
                <a:gd name="connsiteX31" fmla="*/ 3566 w 9959"/>
                <a:gd name="connsiteY31" fmla="*/ 9518 h 10000"/>
                <a:gd name="connsiteX32" fmla="*/ 3812 w 9959"/>
                <a:gd name="connsiteY32" fmla="*/ 9614 h 10000"/>
                <a:gd name="connsiteX33" fmla="*/ 3977 w 9959"/>
                <a:gd name="connsiteY33" fmla="*/ 9518 h 10000"/>
                <a:gd name="connsiteX34" fmla="*/ 4386 w 9959"/>
                <a:gd name="connsiteY34" fmla="*/ 9550 h 10000"/>
                <a:gd name="connsiteX35" fmla="*/ 4550 w 9959"/>
                <a:gd name="connsiteY35" fmla="*/ 9486 h 10000"/>
                <a:gd name="connsiteX36" fmla="*/ 5287 w 9959"/>
                <a:gd name="connsiteY36" fmla="*/ 9968 h 10000"/>
                <a:gd name="connsiteX37" fmla="*/ 5328 w 9959"/>
                <a:gd name="connsiteY37" fmla="*/ 9968 h 10000"/>
                <a:gd name="connsiteX38" fmla="*/ 5410 w 9959"/>
                <a:gd name="connsiteY38" fmla="*/ 9904 h 10000"/>
                <a:gd name="connsiteX39" fmla="*/ 5942 w 9959"/>
                <a:gd name="connsiteY39" fmla="*/ 9904 h 10000"/>
                <a:gd name="connsiteX40" fmla="*/ 6025 w 9959"/>
                <a:gd name="connsiteY40" fmla="*/ 10000 h 10000"/>
                <a:gd name="connsiteX41" fmla="*/ 6476 w 9959"/>
                <a:gd name="connsiteY41" fmla="*/ 9871 h 10000"/>
                <a:gd name="connsiteX42" fmla="*/ 6885 w 9959"/>
                <a:gd name="connsiteY42" fmla="*/ 9871 h 10000"/>
                <a:gd name="connsiteX43" fmla="*/ 7172 w 9959"/>
                <a:gd name="connsiteY43" fmla="*/ 9743 h 10000"/>
                <a:gd name="connsiteX44" fmla="*/ 7500 w 9959"/>
                <a:gd name="connsiteY44" fmla="*/ 9486 h 10000"/>
                <a:gd name="connsiteX45" fmla="*/ 8361 w 9959"/>
                <a:gd name="connsiteY45" fmla="*/ 9486 h 10000"/>
                <a:gd name="connsiteX46" fmla="*/ 8361 w 9959"/>
                <a:gd name="connsiteY46" fmla="*/ 9132 h 10000"/>
                <a:gd name="connsiteX47" fmla="*/ 7910 w 9959"/>
                <a:gd name="connsiteY47" fmla="*/ 8971 h 10000"/>
                <a:gd name="connsiteX48" fmla="*/ 7664 w 9959"/>
                <a:gd name="connsiteY48" fmla="*/ 8457 h 10000"/>
                <a:gd name="connsiteX49" fmla="*/ 7337 w 9959"/>
                <a:gd name="connsiteY49" fmla="*/ 8264 h 10000"/>
                <a:gd name="connsiteX50" fmla="*/ 7131 w 9959"/>
                <a:gd name="connsiteY50" fmla="*/ 8006 h 10000"/>
                <a:gd name="connsiteX51" fmla="*/ 6599 w 9959"/>
                <a:gd name="connsiteY51" fmla="*/ 7814 h 10000"/>
                <a:gd name="connsiteX52" fmla="*/ 6721 w 9959"/>
                <a:gd name="connsiteY52" fmla="*/ 7749 h 10000"/>
                <a:gd name="connsiteX53" fmla="*/ 6721 w 9959"/>
                <a:gd name="connsiteY53" fmla="*/ 7588 h 10000"/>
                <a:gd name="connsiteX54" fmla="*/ 7091 w 9959"/>
                <a:gd name="connsiteY54" fmla="*/ 7588 h 10000"/>
                <a:gd name="connsiteX55" fmla="*/ 7295 w 9959"/>
                <a:gd name="connsiteY55" fmla="*/ 7460 h 10000"/>
                <a:gd name="connsiteX56" fmla="*/ 7337 w 9959"/>
                <a:gd name="connsiteY56" fmla="*/ 6527 h 10000"/>
                <a:gd name="connsiteX57" fmla="*/ 7377 w 9959"/>
                <a:gd name="connsiteY57" fmla="*/ 6559 h 10000"/>
                <a:gd name="connsiteX58" fmla="*/ 7500 w 9959"/>
                <a:gd name="connsiteY58" fmla="*/ 6367 h 10000"/>
                <a:gd name="connsiteX59" fmla="*/ 7746 w 9959"/>
                <a:gd name="connsiteY59" fmla="*/ 6270 h 10000"/>
                <a:gd name="connsiteX60" fmla="*/ 7869 w 9959"/>
                <a:gd name="connsiteY60" fmla="*/ 5916 h 10000"/>
                <a:gd name="connsiteX61" fmla="*/ 8238 w 9959"/>
                <a:gd name="connsiteY61" fmla="*/ 5498 h 10000"/>
                <a:gd name="connsiteX62" fmla="*/ 8524 w 9959"/>
                <a:gd name="connsiteY62" fmla="*/ 5305 h 10000"/>
                <a:gd name="connsiteX63" fmla="*/ 8729 w 9959"/>
                <a:gd name="connsiteY63" fmla="*/ 4759 h 10000"/>
                <a:gd name="connsiteX64" fmla="*/ 8729 w 9959"/>
                <a:gd name="connsiteY64" fmla="*/ 4630 h 10000"/>
                <a:gd name="connsiteX65" fmla="*/ 8689 w 9959"/>
                <a:gd name="connsiteY65" fmla="*/ 4309 h 10000"/>
                <a:gd name="connsiteX66" fmla="*/ 9099 w 9959"/>
                <a:gd name="connsiteY66" fmla="*/ 3151 h 10000"/>
                <a:gd name="connsiteX67" fmla="*/ 9221 w 9959"/>
                <a:gd name="connsiteY67" fmla="*/ 3151 h 10000"/>
                <a:gd name="connsiteX68" fmla="*/ 9385 w 9959"/>
                <a:gd name="connsiteY68" fmla="*/ 3055 h 10000"/>
                <a:gd name="connsiteX69" fmla="*/ 9877 w 9959"/>
                <a:gd name="connsiteY69" fmla="*/ 2894 h 10000"/>
                <a:gd name="connsiteX70" fmla="*/ 9959 w 9959"/>
                <a:gd name="connsiteY70" fmla="*/ 2637 h 10000"/>
                <a:gd name="connsiteX71" fmla="*/ 9919 w 9959"/>
                <a:gd name="connsiteY71" fmla="*/ 2572 h 10000"/>
                <a:gd name="connsiteX72" fmla="*/ 9754 w 9959"/>
                <a:gd name="connsiteY72" fmla="*/ 2572 h 10000"/>
                <a:gd name="connsiteX73" fmla="*/ 9631 w 9959"/>
                <a:gd name="connsiteY73" fmla="*/ 2412 h 10000"/>
                <a:gd name="connsiteX74" fmla="*/ 9385 w 9959"/>
                <a:gd name="connsiteY74" fmla="*/ 2347 h 10000"/>
                <a:gd name="connsiteX75" fmla="*/ 9262 w 9959"/>
                <a:gd name="connsiteY75" fmla="*/ 2219 h 10000"/>
                <a:gd name="connsiteX76" fmla="*/ 9181 w 9959"/>
                <a:gd name="connsiteY76" fmla="*/ 1736 h 10000"/>
                <a:gd name="connsiteX77" fmla="*/ 9181 w 9959"/>
                <a:gd name="connsiteY77" fmla="*/ 1061 h 10000"/>
                <a:gd name="connsiteX78" fmla="*/ 8975 w 9959"/>
                <a:gd name="connsiteY78" fmla="*/ 836 h 10000"/>
                <a:gd name="connsiteX79" fmla="*/ 8935 w 9959"/>
                <a:gd name="connsiteY79" fmla="*/ 611 h 10000"/>
                <a:gd name="connsiteX80" fmla="*/ 8607 w 9959"/>
                <a:gd name="connsiteY80" fmla="*/ 289 h 10000"/>
                <a:gd name="connsiteX81" fmla="*/ 8320 w 9959"/>
                <a:gd name="connsiteY81" fmla="*/ 161 h 10000"/>
                <a:gd name="connsiteX82" fmla="*/ 8156 w 9959"/>
                <a:gd name="connsiteY82" fmla="*/ 0 h 10000"/>
                <a:gd name="connsiteX83" fmla="*/ 7910 w 9959"/>
                <a:gd name="connsiteY83" fmla="*/ 161 h 10000"/>
                <a:gd name="connsiteX84" fmla="*/ 7746 w 9959"/>
                <a:gd name="connsiteY84" fmla="*/ 129 h 10000"/>
                <a:gd name="connsiteX85" fmla="*/ 7623 w 9959"/>
                <a:gd name="connsiteY85" fmla="*/ 418 h 10000"/>
                <a:gd name="connsiteX86" fmla="*/ 7295 w 9959"/>
                <a:gd name="connsiteY86" fmla="*/ 482 h 10000"/>
                <a:gd name="connsiteX87" fmla="*/ 7213 w 9959"/>
                <a:gd name="connsiteY87" fmla="*/ 707 h 10000"/>
                <a:gd name="connsiteX88" fmla="*/ 6926 w 9959"/>
                <a:gd name="connsiteY88" fmla="*/ 707 h 10000"/>
                <a:gd name="connsiteX89" fmla="*/ 6680 w 9959"/>
                <a:gd name="connsiteY89" fmla="*/ 611 h 10000"/>
                <a:gd name="connsiteX90" fmla="*/ 6148 w 9959"/>
                <a:gd name="connsiteY90" fmla="*/ 611 h 10000"/>
                <a:gd name="connsiteX91" fmla="*/ 5615 w 9959"/>
                <a:gd name="connsiteY91" fmla="*/ 611 h 10000"/>
                <a:gd name="connsiteX92" fmla="*/ 5656 w 9959"/>
                <a:gd name="connsiteY92" fmla="*/ 482 h 10000"/>
                <a:gd name="connsiteX93" fmla="*/ 5574 w 9959"/>
                <a:gd name="connsiteY93" fmla="*/ 482 h 10000"/>
                <a:gd name="connsiteX94" fmla="*/ 5533 w 9959"/>
                <a:gd name="connsiteY94" fmla="*/ 611 h 10000"/>
                <a:gd name="connsiteX95" fmla="*/ 5041 w 9959"/>
                <a:gd name="connsiteY95" fmla="*/ 611 h 10000"/>
                <a:gd name="connsiteX96" fmla="*/ 4550 w 9959"/>
                <a:gd name="connsiteY96" fmla="*/ 611 h 10000"/>
                <a:gd name="connsiteX97" fmla="*/ 4058 w 9959"/>
                <a:gd name="connsiteY97" fmla="*/ 611 h 10000"/>
                <a:gd name="connsiteX98" fmla="*/ 3566 w 9959"/>
                <a:gd name="connsiteY98" fmla="*/ 611 h 10000"/>
                <a:gd name="connsiteX99" fmla="*/ 3116 w 9959"/>
                <a:gd name="connsiteY99" fmla="*/ 611 h 10000"/>
                <a:gd name="connsiteX100" fmla="*/ 2624 w 9959"/>
                <a:gd name="connsiteY100" fmla="*/ 611 h 10000"/>
                <a:gd name="connsiteX101" fmla="*/ 2172 w 9959"/>
                <a:gd name="connsiteY101" fmla="*/ 611 h 10000"/>
                <a:gd name="connsiteX102" fmla="*/ 1681 w 9959"/>
                <a:gd name="connsiteY102" fmla="*/ 611 h 10000"/>
                <a:gd name="connsiteX103" fmla="*/ 1681 w 9959"/>
                <a:gd name="connsiteY103" fmla="*/ 1061 h 10000"/>
                <a:gd name="connsiteX104" fmla="*/ 1681 w 9959"/>
                <a:gd name="connsiteY104" fmla="*/ 1640 h 10000"/>
                <a:gd name="connsiteX105" fmla="*/ 1066 w 9959"/>
                <a:gd name="connsiteY105" fmla="*/ 1640 h 10000"/>
                <a:gd name="connsiteX106" fmla="*/ 1066 w 9959"/>
                <a:gd name="connsiteY106" fmla="*/ 1897 h 10000"/>
                <a:gd name="connsiteX0" fmla="*/ 781 w 9711"/>
                <a:gd name="connsiteY0" fmla="*/ 1897 h 10000"/>
                <a:gd name="connsiteX1" fmla="*/ 781 w 9711"/>
                <a:gd name="connsiteY1" fmla="*/ 2412 h 10000"/>
                <a:gd name="connsiteX2" fmla="*/ 781 w 9711"/>
                <a:gd name="connsiteY2" fmla="*/ 2894 h 10000"/>
                <a:gd name="connsiteX3" fmla="*/ 781 w 9711"/>
                <a:gd name="connsiteY3" fmla="*/ 3376 h 10000"/>
                <a:gd name="connsiteX4" fmla="*/ 781 w 9711"/>
                <a:gd name="connsiteY4" fmla="*/ 3826 h 10000"/>
                <a:gd name="connsiteX5" fmla="*/ 124 w 9711"/>
                <a:gd name="connsiteY5" fmla="*/ 3923 h 10000"/>
                <a:gd name="connsiteX6" fmla="*/ 0 w 9711"/>
                <a:gd name="connsiteY6" fmla="*/ 4180 h 10000"/>
                <a:gd name="connsiteX7" fmla="*/ 4324 w 9711"/>
                <a:gd name="connsiteY7" fmla="*/ 7064 h 10000"/>
                <a:gd name="connsiteX8" fmla="*/ 3817 w 9711"/>
                <a:gd name="connsiteY8" fmla="*/ 7281 h 10000"/>
                <a:gd name="connsiteX9" fmla="*/ 3492 w 9711"/>
                <a:gd name="connsiteY9" fmla="*/ 7279 h 10000"/>
                <a:gd name="connsiteX10" fmla="*/ 2782 w 9711"/>
                <a:gd name="connsiteY10" fmla="*/ 7095 h 10000"/>
                <a:gd name="connsiteX11" fmla="*/ 2592 w 9711"/>
                <a:gd name="connsiteY11" fmla="*/ 7195 h 10000"/>
                <a:gd name="connsiteX12" fmla="*/ 2118 w 9711"/>
                <a:gd name="connsiteY12" fmla="*/ 6973 h 10000"/>
                <a:gd name="connsiteX13" fmla="*/ 1909 w 9711"/>
                <a:gd name="connsiteY13" fmla="*/ 6638 h 10000"/>
                <a:gd name="connsiteX14" fmla="*/ 1561 w 9711"/>
                <a:gd name="connsiteY14" fmla="*/ 6729 h 10000"/>
                <a:gd name="connsiteX15" fmla="*/ 1466 w 9711"/>
                <a:gd name="connsiteY15" fmla="*/ 6927 h 10000"/>
                <a:gd name="connsiteX16" fmla="*/ 1097 w 9711"/>
                <a:gd name="connsiteY16" fmla="*/ 7011 h 10000"/>
                <a:gd name="connsiteX17" fmla="*/ 855 w 9711"/>
                <a:gd name="connsiteY17" fmla="*/ 7004 h 10000"/>
                <a:gd name="connsiteX18" fmla="*/ 722 w 9711"/>
                <a:gd name="connsiteY18" fmla="*/ 7161 h 10000"/>
                <a:gd name="connsiteX19" fmla="*/ 494 w 9711"/>
                <a:gd name="connsiteY19" fmla="*/ 6913 h 10000"/>
                <a:gd name="connsiteX20" fmla="*/ 452 w 9711"/>
                <a:gd name="connsiteY20" fmla="*/ 7363 h 10000"/>
                <a:gd name="connsiteX21" fmla="*/ 534 w 9711"/>
                <a:gd name="connsiteY21" fmla="*/ 7428 h 10000"/>
                <a:gd name="connsiteX22" fmla="*/ 864 w 9711"/>
                <a:gd name="connsiteY22" fmla="*/ 7460 h 10000"/>
                <a:gd name="connsiteX23" fmla="*/ 906 w 9711"/>
                <a:gd name="connsiteY23" fmla="*/ 7588 h 10000"/>
                <a:gd name="connsiteX24" fmla="*/ 1275 w 9711"/>
                <a:gd name="connsiteY24" fmla="*/ 7621 h 10000"/>
                <a:gd name="connsiteX25" fmla="*/ 1481 w 9711"/>
                <a:gd name="connsiteY25" fmla="*/ 7749 h 10000"/>
                <a:gd name="connsiteX26" fmla="*/ 1522 w 9711"/>
                <a:gd name="connsiteY26" fmla="*/ 7974 h 10000"/>
                <a:gd name="connsiteX27" fmla="*/ 2181 w 9711"/>
                <a:gd name="connsiteY27" fmla="*/ 8360 h 10000"/>
                <a:gd name="connsiteX28" fmla="*/ 2346 w 9711"/>
                <a:gd name="connsiteY28" fmla="*/ 8746 h 10000"/>
                <a:gd name="connsiteX29" fmla="*/ 2798 w 9711"/>
                <a:gd name="connsiteY29" fmla="*/ 8939 h 10000"/>
                <a:gd name="connsiteX30" fmla="*/ 2963 w 9711"/>
                <a:gd name="connsiteY30" fmla="*/ 9196 h 10000"/>
                <a:gd name="connsiteX31" fmla="*/ 3292 w 9711"/>
                <a:gd name="connsiteY31" fmla="*/ 9518 h 10000"/>
                <a:gd name="connsiteX32" fmla="*/ 3539 w 9711"/>
                <a:gd name="connsiteY32" fmla="*/ 9614 h 10000"/>
                <a:gd name="connsiteX33" fmla="*/ 3704 w 9711"/>
                <a:gd name="connsiteY33" fmla="*/ 9518 h 10000"/>
                <a:gd name="connsiteX34" fmla="*/ 4115 w 9711"/>
                <a:gd name="connsiteY34" fmla="*/ 9550 h 10000"/>
                <a:gd name="connsiteX35" fmla="*/ 4280 w 9711"/>
                <a:gd name="connsiteY35" fmla="*/ 9486 h 10000"/>
                <a:gd name="connsiteX36" fmla="*/ 5020 w 9711"/>
                <a:gd name="connsiteY36" fmla="*/ 9968 h 10000"/>
                <a:gd name="connsiteX37" fmla="*/ 5061 w 9711"/>
                <a:gd name="connsiteY37" fmla="*/ 9968 h 10000"/>
                <a:gd name="connsiteX38" fmla="*/ 5143 w 9711"/>
                <a:gd name="connsiteY38" fmla="*/ 9904 h 10000"/>
                <a:gd name="connsiteX39" fmla="*/ 5677 w 9711"/>
                <a:gd name="connsiteY39" fmla="*/ 9904 h 10000"/>
                <a:gd name="connsiteX40" fmla="*/ 5761 w 9711"/>
                <a:gd name="connsiteY40" fmla="*/ 10000 h 10000"/>
                <a:gd name="connsiteX41" fmla="*/ 6214 w 9711"/>
                <a:gd name="connsiteY41" fmla="*/ 9871 h 10000"/>
                <a:gd name="connsiteX42" fmla="*/ 6624 w 9711"/>
                <a:gd name="connsiteY42" fmla="*/ 9871 h 10000"/>
                <a:gd name="connsiteX43" fmla="*/ 6913 w 9711"/>
                <a:gd name="connsiteY43" fmla="*/ 9743 h 10000"/>
                <a:gd name="connsiteX44" fmla="*/ 7242 w 9711"/>
                <a:gd name="connsiteY44" fmla="*/ 9486 h 10000"/>
                <a:gd name="connsiteX45" fmla="*/ 8106 w 9711"/>
                <a:gd name="connsiteY45" fmla="*/ 9486 h 10000"/>
                <a:gd name="connsiteX46" fmla="*/ 8106 w 9711"/>
                <a:gd name="connsiteY46" fmla="*/ 9132 h 10000"/>
                <a:gd name="connsiteX47" fmla="*/ 7654 w 9711"/>
                <a:gd name="connsiteY47" fmla="*/ 8971 h 10000"/>
                <a:gd name="connsiteX48" fmla="*/ 7407 w 9711"/>
                <a:gd name="connsiteY48" fmla="*/ 8457 h 10000"/>
                <a:gd name="connsiteX49" fmla="*/ 7078 w 9711"/>
                <a:gd name="connsiteY49" fmla="*/ 8264 h 10000"/>
                <a:gd name="connsiteX50" fmla="*/ 6871 w 9711"/>
                <a:gd name="connsiteY50" fmla="*/ 8006 h 10000"/>
                <a:gd name="connsiteX51" fmla="*/ 6337 w 9711"/>
                <a:gd name="connsiteY51" fmla="*/ 7814 h 10000"/>
                <a:gd name="connsiteX52" fmla="*/ 6460 w 9711"/>
                <a:gd name="connsiteY52" fmla="*/ 7749 h 10000"/>
                <a:gd name="connsiteX53" fmla="*/ 6460 w 9711"/>
                <a:gd name="connsiteY53" fmla="*/ 7588 h 10000"/>
                <a:gd name="connsiteX54" fmla="*/ 6831 w 9711"/>
                <a:gd name="connsiteY54" fmla="*/ 7588 h 10000"/>
                <a:gd name="connsiteX55" fmla="*/ 7036 w 9711"/>
                <a:gd name="connsiteY55" fmla="*/ 7460 h 10000"/>
                <a:gd name="connsiteX56" fmla="*/ 7078 w 9711"/>
                <a:gd name="connsiteY56" fmla="*/ 6527 h 10000"/>
                <a:gd name="connsiteX57" fmla="*/ 7118 w 9711"/>
                <a:gd name="connsiteY57" fmla="*/ 6559 h 10000"/>
                <a:gd name="connsiteX58" fmla="*/ 7242 w 9711"/>
                <a:gd name="connsiteY58" fmla="*/ 6367 h 10000"/>
                <a:gd name="connsiteX59" fmla="*/ 7489 w 9711"/>
                <a:gd name="connsiteY59" fmla="*/ 6270 h 10000"/>
                <a:gd name="connsiteX60" fmla="*/ 7612 w 9711"/>
                <a:gd name="connsiteY60" fmla="*/ 5916 h 10000"/>
                <a:gd name="connsiteX61" fmla="*/ 7983 w 9711"/>
                <a:gd name="connsiteY61" fmla="*/ 5498 h 10000"/>
                <a:gd name="connsiteX62" fmla="*/ 8270 w 9711"/>
                <a:gd name="connsiteY62" fmla="*/ 5305 h 10000"/>
                <a:gd name="connsiteX63" fmla="*/ 8476 w 9711"/>
                <a:gd name="connsiteY63" fmla="*/ 4759 h 10000"/>
                <a:gd name="connsiteX64" fmla="*/ 8476 w 9711"/>
                <a:gd name="connsiteY64" fmla="*/ 4630 h 10000"/>
                <a:gd name="connsiteX65" fmla="*/ 8436 w 9711"/>
                <a:gd name="connsiteY65" fmla="*/ 4309 h 10000"/>
                <a:gd name="connsiteX66" fmla="*/ 8847 w 9711"/>
                <a:gd name="connsiteY66" fmla="*/ 3151 h 10000"/>
                <a:gd name="connsiteX67" fmla="*/ 8970 w 9711"/>
                <a:gd name="connsiteY67" fmla="*/ 3151 h 10000"/>
                <a:gd name="connsiteX68" fmla="*/ 9135 w 9711"/>
                <a:gd name="connsiteY68" fmla="*/ 3055 h 10000"/>
                <a:gd name="connsiteX69" fmla="*/ 9629 w 9711"/>
                <a:gd name="connsiteY69" fmla="*/ 2894 h 10000"/>
                <a:gd name="connsiteX70" fmla="*/ 9711 w 9711"/>
                <a:gd name="connsiteY70" fmla="*/ 2637 h 10000"/>
                <a:gd name="connsiteX71" fmla="*/ 9671 w 9711"/>
                <a:gd name="connsiteY71" fmla="*/ 2572 h 10000"/>
                <a:gd name="connsiteX72" fmla="*/ 9505 w 9711"/>
                <a:gd name="connsiteY72" fmla="*/ 2572 h 10000"/>
                <a:gd name="connsiteX73" fmla="*/ 9382 w 9711"/>
                <a:gd name="connsiteY73" fmla="*/ 2412 h 10000"/>
                <a:gd name="connsiteX74" fmla="*/ 9135 w 9711"/>
                <a:gd name="connsiteY74" fmla="*/ 2347 h 10000"/>
                <a:gd name="connsiteX75" fmla="*/ 9011 w 9711"/>
                <a:gd name="connsiteY75" fmla="*/ 2219 h 10000"/>
                <a:gd name="connsiteX76" fmla="*/ 8930 w 9711"/>
                <a:gd name="connsiteY76" fmla="*/ 1736 h 10000"/>
                <a:gd name="connsiteX77" fmla="*/ 8930 w 9711"/>
                <a:gd name="connsiteY77" fmla="*/ 1061 h 10000"/>
                <a:gd name="connsiteX78" fmla="*/ 8723 w 9711"/>
                <a:gd name="connsiteY78" fmla="*/ 836 h 10000"/>
                <a:gd name="connsiteX79" fmla="*/ 8683 w 9711"/>
                <a:gd name="connsiteY79" fmla="*/ 611 h 10000"/>
                <a:gd name="connsiteX80" fmla="*/ 8353 w 9711"/>
                <a:gd name="connsiteY80" fmla="*/ 289 h 10000"/>
                <a:gd name="connsiteX81" fmla="*/ 8065 w 9711"/>
                <a:gd name="connsiteY81" fmla="*/ 161 h 10000"/>
                <a:gd name="connsiteX82" fmla="*/ 7901 w 9711"/>
                <a:gd name="connsiteY82" fmla="*/ 0 h 10000"/>
                <a:gd name="connsiteX83" fmla="*/ 7654 w 9711"/>
                <a:gd name="connsiteY83" fmla="*/ 161 h 10000"/>
                <a:gd name="connsiteX84" fmla="*/ 7489 w 9711"/>
                <a:gd name="connsiteY84" fmla="*/ 129 h 10000"/>
                <a:gd name="connsiteX85" fmla="*/ 7365 w 9711"/>
                <a:gd name="connsiteY85" fmla="*/ 418 h 10000"/>
                <a:gd name="connsiteX86" fmla="*/ 7036 w 9711"/>
                <a:gd name="connsiteY86" fmla="*/ 482 h 10000"/>
                <a:gd name="connsiteX87" fmla="*/ 6954 w 9711"/>
                <a:gd name="connsiteY87" fmla="*/ 707 h 10000"/>
                <a:gd name="connsiteX88" fmla="*/ 6666 w 9711"/>
                <a:gd name="connsiteY88" fmla="*/ 707 h 10000"/>
                <a:gd name="connsiteX89" fmla="*/ 6419 w 9711"/>
                <a:gd name="connsiteY89" fmla="*/ 611 h 10000"/>
                <a:gd name="connsiteX90" fmla="*/ 5884 w 9711"/>
                <a:gd name="connsiteY90" fmla="*/ 611 h 10000"/>
                <a:gd name="connsiteX91" fmla="*/ 5349 w 9711"/>
                <a:gd name="connsiteY91" fmla="*/ 611 h 10000"/>
                <a:gd name="connsiteX92" fmla="*/ 5390 w 9711"/>
                <a:gd name="connsiteY92" fmla="*/ 482 h 10000"/>
                <a:gd name="connsiteX93" fmla="*/ 5308 w 9711"/>
                <a:gd name="connsiteY93" fmla="*/ 482 h 10000"/>
                <a:gd name="connsiteX94" fmla="*/ 5267 w 9711"/>
                <a:gd name="connsiteY94" fmla="*/ 611 h 10000"/>
                <a:gd name="connsiteX95" fmla="*/ 4773 w 9711"/>
                <a:gd name="connsiteY95" fmla="*/ 611 h 10000"/>
                <a:gd name="connsiteX96" fmla="*/ 4280 w 9711"/>
                <a:gd name="connsiteY96" fmla="*/ 611 h 10000"/>
                <a:gd name="connsiteX97" fmla="*/ 3786 w 9711"/>
                <a:gd name="connsiteY97" fmla="*/ 611 h 10000"/>
                <a:gd name="connsiteX98" fmla="*/ 3292 w 9711"/>
                <a:gd name="connsiteY98" fmla="*/ 611 h 10000"/>
                <a:gd name="connsiteX99" fmla="*/ 2840 w 9711"/>
                <a:gd name="connsiteY99" fmla="*/ 611 h 10000"/>
                <a:gd name="connsiteX100" fmla="*/ 2346 w 9711"/>
                <a:gd name="connsiteY100" fmla="*/ 611 h 10000"/>
                <a:gd name="connsiteX101" fmla="*/ 1892 w 9711"/>
                <a:gd name="connsiteY101" fmla="*/ 611 h 10000"/>
                <a:gd name="connsiteX102" fmla="*/ 1399 w 9711"/>
                <a:gd name="connsiteY102" fmla="*/ 611 h 10000"/>
                <a:gd name="connsiteX103" fmla="*/ 1399 w 9711"/>
                <a:gd name="connsiteY103" fmla="*/ 1061 h 10000"/>
                <a:gd name="connsiteX104" fmla="*/ 1399 w 9711"/>
                <a:gd name="connsiteY104" fmla="*/ 1640 h 10000"/>
                <a:gd name="connsiteX105" fmla="*/ 781 w 9711"/>
                <a:gd name="connsiteY105" fmla="*/ 1640 h 10000"/>
                <a:gd name="connsiteX106" fmla="*/ 781 w 9711"/>
                <a:gd name="connsiteY106" fmla="*/ 1897 h 10000"/>
                <a:gd name="connsiteX0" fmla="*/ 719 w 9915"/>
                <a:gd name="connsiteY0" fmla="*/ 1897 h 10000"/>
                <a:gd name="connsiteX1" fmla="*/ 719 w 9915"/>
                <a:gd name="connsiteY1" fmla="*/ 2412 h 10000"/>
                <a:gd name="connsiteX2" fmla="*/ 719 w 9915"/>
                <a:gd name="connsiteY2" fmla="*/ 2894 h 10000"/>
                <a:gd name="connsiteX3" fmla="*/ 719 w 9915"/>
                <a:gd name="connsiteY3" fmla="*/ 3376 h 10000"/>
                <a:gd name="connsiteX4" fmla="*/ 719 w 9915"/>
                <a:gd name="connsiteY4" fmla="*/ 3826 h 10000"/>
                <a:gd name="connsiteX5" fmla="*/ 43 w 9915"/>
                <a:gd name="connsiteY5" fmla="*/ 3923 h 10000"/>
                <a:gd name="connsiteX6" fmla="*/ 4578 w 9915"/>
                <a:gd name="connsiteY6" fmla="*/ 6781 h 10000"/>
                <a:gd name="connsiteX7" fmla="*/ 4368 w 9915"/>
                <a:gd name="connsiteY7" fmla="*/ 7064 h 10000"/>
                <a:gd name="connsiteX8" fmla="*/ 3846 w 9915"/>
                <a:gd name="connsiteY8" fmla="*/ 7281 h 10000"/>
                <a:gd name="connsiteX9" fmla="*/ 3511 w 9915"/>
                <a:gd name="connsiteY9" fmla="*/ 7279 h 10000"/>
                <a:gd name="connsiteX10" fmla="*/ 2780 w 9915"/>
                <a:gd name="connsiteY10" fmla="*/ 7095 h 10000"/>
                <a:gd name="connsiteX11" fmla="*/ 2584 w 9915"/>
                <a:gd name="connsiteY11" fmla="*/ 7195 h 10000"/>
                <a:gd name="connsiteX12" fmla="*/ 2096 w 9915"/>
                <a:gd name="connsiteY12" fmla="*/ 6973 h 10000"/>
                <a:gd name="connsiteX13" fmla="*/ 1881 w 9915"/>
                <a:gd name="connsiteY13" fmla="*/ 6638 h 10000"/>
                <a:gd name="connsiteX14" fmla="*/ 1522 w 9915"/>
                <a:gd name="connsiteY14" fmla="*/ 6729 h 10000"/>
                <a:gd name="connsiteX15" fmla="*/ 1425 w 9915"/>
                <a:gd name="connsiteY15" fmla="*/ 6927 h 10000"/>
                <a:gd name="connsiteX16" fmla="*/ 1045 w 9915"/>
                <a:gd name="connsiteY16" fmla="*/ 7011 h 10000"/>
                <a:gd name="connsiteX17" fmla="*/ 795 w 9915"/>
                <a:gd name="connsiteY17" fmla="*/ 7004 h 10000"/>
                <a:gd name="connsiteX18" fmla="*/ 658 w 9915"/>
                <a:gd name="connsiteY18" fmla="*/ 7161 h 10000"/>
                <a:gd name="connsiteX19" fmla="*/ 424 w 9915"/>
                <a:gd name="connsiteY19" fmla="*/ 6913 h 10000"/>
                <a:gd name="connsiteX20" fmla="*/ 380 w 9915"/>
                <a:gd name="connsiteY20" fmla="*/ 7363 h 10000"/>
                <a:gd name="connsiteX21" fmla="*/ 465 w 9915"/>
                <a:gd name="connsiteY21" fmla="*/ 7428 h 10000"/>
                <a:gd name="connsiteX22" fmla="*/ 805 w 9915"/>
                <a:gd name="connsiteY22" fmla="*/ 7460 h 10000"/>
                <a:gd name="connsiteX23" fmla="*/ 848 w 9915"/>
                <a:gd name="connsiteY23" fmla="*/ 7588 h 10000"/>
                <a:gd name="connsiteX24" fmla="*/ 1228 w 9915"/>
                <a:gd name="connsiteY24" fmla="*/ 7621 h 10000"/>
                <a:gd name="connsiteX25" fmla="*/ 1440 w 9915"/>
                <a:gd name="connsiteY25" fmla="*/ 7749 h 10000"/>
                <a:gd name="connsiteX26" fmla="*/ 1482 w 9915"/>
                <a:gd name="connsiteY26" fmla="*/ 7974 h 10000"/>
                <a:gd name="connsiteX27" fmla="*/ 2161 w 9915"/>
                <a:gd name="connsiteY27" fmla="*/ 8360 h 10000"/>
                <a:gd name="connsiteX28" fmla="*/ 2331 w 9915"/>
                <a:gd name="connsiteY28" fmla="*/ 8746 h 10000"/>
                <a:gd name="connsiteX29" fmla="*/ 2796 w 9915"/>
                <a:gd name="connsiteY29" fmla="*/ 8939 h 10000"/>
                <a:gd name="connsiteX30" fmla="*/ 2966 w 9915"/>
                <a:gd name="connsiteY30" fmla="*/ 9196 h 10000"/>
                <a:gd name="connsiteX31" fmla="*/ 3305 w 9915"/>
                <a:gd name="connsiteY31" fmla="*/ 9518 h 10000"/>
                <a:gd name="connsiteX32" fmla="*/ 3559 w 9915"/>
                <a:gd name="connsiteY32" fmla="*/ 9614 h 10000"/>
                <a:gd name="connsiteX33" fmla="*/ 3729 w 9915"/>
                <a:gd name="connsiteY33" fmla="*/ 9518 h 10000"/>
                <a:gd name="connsiteX34" fmla="*/ 4152 w 9915"/>
                <a:gd name="connsiteY34" fmla="*/ 9550 h 10000"/>
                <a:gd name="connsiteX35" fmla="*/ 4322 w 9915"/>
                <a:gd name="connsiteY35" fmla="*/ 9486 h 10000"/>
                <a:gd name="connsiteX36" fmla="*/ 5084 w 9915"/>
                <a:gd name="connsiteY36" fmla="*/ 9968 h 10000"/>
                <a:gd name="connsiteX37" fmla="*/ 5127 w 9915"/>
                <a:gd name="connsiteY37" fmla="*/ 9968 h 10000"/>
                <a:gd name="connsiteX38" fmla="*/ 5211 w 9915"/>
                <a:gd name="connsiteY38" fmla="*/ 9904 h 10000"/>
                <a:gd name="connsiteX39" fmla="*/ 5761 w 9915"/>
                <a:gd name="connsiteY39" fmla="*/ 9904 h 10000"/>
                <a:gd name="connsiteX40" fmla="*/ 5847 w 9915"/>
                <a:gd name="connsiteY40" fmla="*/ 10000 h 10000"/>
                <a:gd name="connsiteX41" fmla="*/ 6314 w 9915"/>
                <a:gd name="connsiteY41" fmla="*/ 9871 h 10000"/>
                <a:gd name="connsiteX42" fmla="*/ 6736 w 9915"/>
                <a:gd name="connsiteY42" fmla="*/ 9871 h 10000"/>
                <a:gd name="connsiteX43" fmla="*/ 7034 w 9915"/>
                <a:gd name="connsiteY43" fmla="*/ 9743 h 10000"/>
                <a:gd name="connsiteX44" fmla="*/ 7373 w 9915"/>
                <a:gd name="connsiteY44" fmla="*/ 9486 h 10000"/>
                <a:gd name="connsiteX45" fmla="*/ 8262 w 9915"/>
                <a:gd name="connsiteY45" fmla="*/ 9486 h 10000"/>
                <a:gd name="connsiteX46" fmla="*/ 8262 w 9915"/>
                <a:gd name="connsiteY46" fmla="*/ 9132 h 10000"/>
                <a:gd name="connsiteX47" fmla="*/ 7797 w 9915"/>
                <a:gd name="connsiteY47" fmla="*/ 8971 h 10000"/>
                <a:gd name="connsiteX48" fmla="*/ 7542 w 9915"/>
                <a:gd name="connsiteY48" fmla="*/ 8457 h 10000"/>
                <a:gd name="connsiteX49" fmla="*/ 7204 w 9915"/>
                <a:gd name="connsiteY49" fmla="*/ 8264 h 10000"/>
                <a:gd name="connsiteX50" fmla="*/ 6990 w 9915"/>
                <a:gd name="connsiteY50" fmla="*/ 8006 h 10000"/>
                <a:gd name="connsiteX51" fmla="*/ 6441 w 9915"/>
                <a:gd name="connsiteY51" fmla="*/ 7814 h 10000"/>
                <a:gd name="connsiteX52" fmla="*/ 6567 w 9915"/>
                <a:gd name="connsiteY52" fmla="*/ 7749 h 10000"/>
                <a:gd name="connsiteX53" fmla="*/ 6567 w 9915"/>
                <a:gd name="connsiteY53" fmla="*/ 7588 h 10000"/>
                <a:gd name="connsiteX54" fmla="*/ 6949 w 9915"/>
                <a:gd name="connsiteY54" fmla="*/ 7588 h 10000"/>
                <a:gd name="connsiteX55" fmla="*/ 7160 w 9915"/>
                <a:gd name="connsiteY55" fmla="*/ 7460 h 10000"/>
                <a:gd name="connsiteX56" fmla="*/ 7204 w 9915"/>
                <a:gd name="connsiteY56" fmla="*/ 6527 h 10000"/>
                <a:gd name="connsiteX57" fmla="*/ 7245 w 9915"/>
                <a:gd name="connsiteY57" fmla="*/ 6559 h 10000"/>
                <a:gd name="connsiteX58" fmla="*/ 7373 w 9915"/>
                <a:gd name="connsiteY58" fmla="*/ 6367 h 10000"/>
                <a:gd name="connsiteX59" fmla="*/ 7627 w 9915"/>
                <a:gd name="connsiteY59" fmla="*/ 6270 h 10000"/>
                <a:gd name="connsiteX60" fmla="*/ 7754 w 9915"/>
                <a:gd name="connsiteY60" fmla="*/ 5916 h 10000"/>
                <a:gd name="connsiteX61" fmla="*/ 8136 w 9915"/>
                <a:gd name="connsiteY61" fmla="*/ 5498 h 10000"/>
                <a:gd name="connsiteX62" fmla="*/ 8431 w 9915"/>
                <a:gd name="connsiteY62" fmla="*/ 5305 h 10000"/>
                <a:gd name="connsiteX63" fmla="*/ 8643 w 9915"/>
                <a:gd name="connsiteY63" fmla="*/ 4759 h 10000"/>
                <a:gd name="connsiteX64" fmla="*/ 8643 w 9915"/>
                <a:gd name="connsiteY64" fmla="*/ 4630 h 10000"/>
                <a:gd name="connsiteX65" fmla="*/ 8602 w 9915"/>
                <a:gd name="connsiteY65" fmla="*/ 4309 h 10000"/>
                <a:gd name="connsiteX66" fmla="*/ 9025 w 9915"/>
                <a:gd name="connsiteY66" fmla="*/ 3151 h 10000"/>
                <a:gd name="connsiteX67" fmla="*/ 9152 w 9915"/>
                <a:gd name="connsiteY67" fmla="*/ 3151 h 10000"/>
                <a:gd name="connsiteX68" fmla="*/ 9322 w 9915"/>
                <a:gd name="connsiteY68" fmla="*/ 3055 h 10000"/>
                <a:gd name="connsiteX69" fmla="*/ 9831 w 9915"/>
                <a:gd name="connsiteY69" fmla="*/ 2894 h 10000"/>
                <a:gd name="connsiteX70" fmla="*/ 9915 w 9915"/>
                <a:gd name="connsiteY70" fmla="*/ 2637 h 10000"/>
                <a:gd name="connsiteX71" fmla="*/ 9874 w 9915"/>
                <a:gd name="connsiteY71" fmla="*/ 2572 h 10000"/>
                <a:gd name="connsiteX72" fmla="*/ 9703 w 9915"/>
                <a:gd name="connsiteY72" fmla="*/ 2572 h 10000"/>
                <a:gd name="connsiteX73" fmla="*/ 9576 w 9915"/>
                <a:gd name="connsiteY73" fmla="*/ 2412 h 10000"/>
                <a:gd name="connsiteX74" fmla="*/ 9322 w 9915"/>
                <a:gd name="connsiteY74" fmla="*/ 2347 h 10000"/>
                <a:gd name="connsiteX75" fmla="*/ 9194 w 9915"/>
                <a:gd name="connsiteY75" fmla="*/ 2219 h 10000"/>
                <a:gd name="connsiteX76" fmla="*/ 9111 w 9915"/>
                <a:gd name="connsiteY76" fmla="*/ 1736 h 10000"/>
                <a:gd name="connsiteX77" fmla="*/ 9111 w 9915"/>
                <a:gd name="connsiteY77" fmla="*/ 1061 h 10000"/>
                <a:gd name="connsiteX78" fmla="*/ 8898 w 9915"/>
                <a:gd name="connsiteY78" fmla="*/ 836 h 10000"/>
                <a:gd name="connsiteX79" fmla="*/ 8856 w 9915"/>
                <a:gd name="connsiteY79" fmla="*/ 611 h 10000"/>
                <a:gd name="connsiteX80" fmla="*/ 8517 w 9915"/>
                <a:gd name="connsiteY80" fmla="*/ 289 h 10000"/>
                <a:gd name="connsiteX81" fmla="*/ 8220 w 9915"/>
                <a:gd name="connsiteY81" fmla="*/ 161 h 10000"/>
                <a:gd name="connsiteX82" fmla="*/ 8051 w 9915"/>
                <a:gd name="connsiteY82" fmla="*/ 0 h 10000"/>
                <a:gd name="connsiteX83" fmla="*/ 7797 w 9915"/>
                <a:gd name="connsiteY83" fmla="*/ 161 h 10000"/>
                <a:gd name="connsiteX84" fmla="*/ 7627 w 9915"/>
                <a:gd name="connsiteY84" fmla="*/ 129 h 10000"/>
                <a:gd name="connsiteX85" fmla="*/ 7499 w 9915"/>
                <a:gd name="connsiteY85" fmla="*/ 418 h 10000"/>
                <a:gd name="connsiteX86" fmla="*/ 7160 w 9915"/>
                <a:gd name="connsiteY86" fmla="*/ 482 h 10000"/>
                <a:gd name="connsiteX87" fmla="*/ 7076 w 9915"/>
                <a:gd name="connsiteY87" fmla="*/ 707 h 10000"/>
                <a:gd name="connsiteX88" fmla="*/ 6779 w 9915"/>
                <a:gd name="connsiteY88" fmla="*/ 707 h 10000"/>
                <a:gd name="connsiteX89" fmla="*/ 6525 w 9915"/>
                <a:gd name="connsiteY89" fmla="*/ 611 h 10000"/>
                <a:gd name="connsiteX90" fmla="*/ 5974 w 9915"/>
                <a:gd name="connsiteY90" fmla="*/ 611 h 10000"/>
                <a:gd name="connsiteX91" fmla="*/ 5423 w 9915"/>
                <a:gd name="connsiteY91" fmla="*/ 611 h 10000"/>
                <a:gd name="connsiteX92" fmla="*/ 5465 w 9915"/>
                <a:gd name="connsiteY92" fmla="*/ 482 h 10000"/>
                <a:gd name="connsiteX93" fmla="*/ 5381 w 9915"/>
                <a:gd name="connsiteY93" fmla="*/ 482 h 10000"/>
                <a:gd name="connsiteX94" fmla="*/ 5339 w 9915"/>
                <a:gd name="connsiteY94" fmla="*/ 611 h 10000"/>
                <a:gd name="connsiteX95" fmla="*/ 4830 w 9915"/>
                <a:gd name="connsiteY95" fmla="*/ 611 h 10000"/>
                <a:gd name="connsiteX96" fmla="*/ 4322 w 9915"/>
                <a:gd name="connsiteY96" fmla="*/ 611 h 10000"/>
                <a:gd name="connsiteX97" fmla="*/ 3814 w 9915"/>
                <a:gd name="connsiteY97" fmla="*/ 611 h 10000"/>
                <a:gd name="connsiteX98" fmla="*/ 3305 w 9915"/>
                <a:gd name="connsiteY98" fmla="*/ 611 h 10000"/>
                <a:gd name="connsiteX99" fmla="*/ 2840 w 9915"/>
                <a:gd name="connsiteY99" fmla="*/ 611 h 10000"/>
                <a:gd name="connsiteX100" fmla="*/ 2331 w 9915"/>
                <a:gd name="connsiteY100" fmla="*/ 611 h 10000"/>
                <a:gd name="connsiteX101" fmla="*/ 1863 w 9915"/>
                <a:gd name="connsiteY101" fmla="*/ 611 h 10000"/>
                <a:gd name="connsiteX102" fmla="*/ 1356 w 9915"/>
                <a:gd name="connsiteY102" fmla="*/ 611 h 10000"/>
                <a:gd name="connsiteX103" fmla="*/ 1356 w 9915"/>
                <a:gd name="connsiteY103" fmla="*/ 1061 h 10000"/>
                <a:gd name="connsiteX104" fmla="*/ 1356 w 9915"/>
                <a:gd name="connsiteY104" fmla="*/ 1640 h 10000"/>
                <a:gd name="connsiteX105" fmla="*/ 719 w 9915"/>
                <a:gd name="connsiteY105" fmla="*/ 1640 h 10000"/>
                <a:gd name="connsiteX106" fmla="*/ 719 w 9915"/>
                <a:gd name="connsiteY106" fmla="*/ 1897 h 10000"/>
                <a:gd name="connsiteX0" fmla="*/ 342 w 9617"/>
                <a:gd name="connsiteY0" fmla="*/ 1897 h 10000"/>
                <a:gd name="connsiteX1" fmla="*/ 342 w 9617"/>
                <a:gd name="connsiteY1" fmla="*/ 2412 h 10000"/>
                <a:gd name="connsiteX2" fmla="*/ 342 w 9617"/>
                <a:gd name="connsiteY2" fmla="*/ 2894 h 10000"/>
                <a:gd name="connsiteX3" fmla="*/ 342 w 9617"/>
                <a:gd name="connsiteY3" fmla="*/ 3376 h 10000"/>
                <a:gd name="connsiteX4" fmla="*/ 342 w 9617"/>
                <a:gd name="connsiteY4" fmla="*/ 3826 h 10000"/>
                <a:gd name="connsiteX5" fmla="*/ 4662 w 9617"/>
                <a:gd name="connsiteY5" fmla="*/ 6907 h 10000"/>
                <a:gd name="connsiteX6" fmla="*/ 4234 w 9617"/>
                <a:gd name="connsiteY6" fmla="*/ 6781 h 10000"/>
                <a:gd name="connsiteX7" fmla="*/ 4022 w 9617"/>
                <a:gd name="connsiteY7" fmla="*/ 7064 h 10000"/>
                <a:gd name="connsiteX8" fmla="*/ 3496 w 9617"/>
                <a:gd name="connsiteY8" fmla="*/ 7281 h 10000"/>
                <a:gd name="connsiteX9" fmla="*/ 3158 w 9617"/>
                <a:gd name="connsiteY9" fmla="*/ 7279 h 10000"/>
                <a:gd name="connsiteX10" fmla="*/ 2421 w 9617"/>
                <a:gd name="connsiteY10" fmla="*/ 7095 h 10000"/>
                <a:gd name="connsiteX11" fmla="*/ 2223 w 9617"/>
                <a:gd name="connsiteY11" fmla="*/ 7195 h 10000"/>
                <a:gd name="connsiteX12" fmla="*/ 1731 w 9617"/>
                <a:gd name="connsiteY12" fmla="*/ 6973 h 10000"/>
                <a:gd name="connsiteX13" fmla="*/ 1514 w 9617"/>
                <a:gd name="connsiteY13" fmla="*/ 6638 h 10000"/>
                <a:gd name="connsiteX14" fmla="*/ 1152 w 9617"/>
                <a:gd name="connsiteY14" fmla="*/ 6729 h 10000"/>
                <a:gd name="connsiteX15" fmla="*/ 1054 w 9617"/>
                <a:gd name="connsiteY15" fmla="*/ 6927 h 10000"/>
                <a:gd name="connsiteX16" fmla="*/ 671 w 9617"/>
                <a:gd name="connsiteY16" fmla="*/ 7011 h 10000"/>
                <a:gd name="connsiteX17" fmla="*/ 419 w 9617"/>
                <a:gd name="connsiteY17" fmla="*/ 7004 h 10000"/>
                <a:gd name="connsiteX18" fmla="*/ 281 w 9617"/>
                <a:gd name="connsiteY18" fmla="*/ 7161 h 10000"/>
                <a:gd name="connsiteX19" fmla="*/ 45 w 9617"/>
                <a:gd name="connsiteY19" fmla="*/ 6913 h 10000"/>
                <a:gd name="connsiteX20" fmla="*/ 0 w 9617"/>
                <a:gd name="connsiteY20" fmla="*/ 7363 h 10000"/>
                <a:gd name="connsiteX21" fmla="*/ 86 w 9617"/>
                <a:gd name="connsiteY21" fmla="*/ 7428 h 10000"/>
                <a:gd name="connsiteX22" fmla="*/ 429 w 9617"/>
                <a:gd name="connsiteY22" fmla="*/ 7460 h 10000"/>
                <a:gd name="connsiteX23" fmla="*/ 472 w 9617"/>
                <a:gd name="connsiteY23" fmla="*/ 7588 h 10000"/>
                <a:gd name="connsiteX24" fmla="*/ 856 w 9617"/>
                <a:gd name="connsiteY24" fmla="*/ 7621 h 10000"/>
                <a:gd name="connsiteX25" fmla="*/ 1069 w 9617"/>
                <a:gd name="connsiteY25" fmla="*/ 7749 h 10000"/>
                <a:gd name="connsiteX26" fmla="*/ 1112 w 9617"/>
                <a:gd name="connsiteY26" fmla="*/ 7974 h 10000"/>
                <a:gd name="connsiteX27" fmla="*/ 1797 w 9617"/>
                <a:gd name="connsiteY27" fmla="*/ 8360 h 10000"/>
                <a:gd name="connsiteX28" fmla="*/ 1968 w 9617"/>
                <a:gd name="connsiteY28" fmla="*/ 8746 h 10000"/>
                <a:gd name="connsiteX29" fmla="*/ 2437 w 9617"/>
                <a:gd name="connsiteY29" fmla="*/ 8939 h 10000"/>
                <a:gd name="connsiteX30" fmla="*/ 2608 w 9617"/>
                <a:gd name="connsiteY30" fmla="*/ 9196 h 10000"/>
                <a:gd name="connsiteX31" fmla="*/ 2950 w 9617"/>
                <a:gd name="connsiteY31" fmla="*/ 9518 h 10000"/>
                <a:gd name="connsiteX32" fmla="*/ 3207 w 9617"/>
                <a:gd name="connsiteY32" fmla="*/ 9614 h 10000"/>
                <a:gd name="connsiteX33" fmla="*/ 3378 w 9617"/>
                <a:gd name="connsiteY33" fmla="*/ 9518 h 10000"/>
                <a:gd name="connsiteX34" fmla="*/ 3805 w 9617"/>
                <a:gd name="connsiteY34" fmla="*/ 9550 h 10000"/>
                <a:gd name="connsiteX35" fmla="*/ 3976 w 9617"/>
                <a:gd name="connsiteY35" fmla="*/ 9486 h 10000"/>
                <a:gd name="connsiteX36" fmla="*/ 4745 w 9617"/>
                <a:gd name="connsiteY36" fmla="*/ 9968 h 10000"/>
                <a:gd name="connsiteX37" fmla="*/ 4788 w 9617"/>
                <a:gd name="connsiteY37" fmla="*/ 9968 h 10000"/>
                <a:gd name="connsiteX38" fmla="*/ 4873 w 9617"/>
                <a:gd name="connsiteY38" fmla="*/ 9904 h 10000"/>
                <a:gd name="connsiteX39" fmla="*/ 5427 w 9617"/>
                <a:gd name="connsiteY39" fmla="*/ 9904 h 10000"/>
                <a:gd name="connsiteX40" fmla="*/ 5514 w 9617"/>
                <a:gd name="connsiteY40" fmla="*/ 10000 h 10000"/>
                <a:gd name="connsiteX41" fmla="*/ 5985 w 9617"/>
                <a:gd name="connsiteY41" fmla="*/ 9871 h 10000"/>
                <a:gd name="connsiteX42" fmla="*/ 6411 w 9617"/>
                <a:gd name="connsiteY42" fmla="*/ 9871 h 10000"/>
                <a:gd name="connsiteX43" fmla="*/ 6711 w 9617"/>
                <a:gd name="connsiteY43" fmla="*/ 9743 h 10000"/>
                <a:gd name="connsiteX44" fmla="*/ 7053 w 9617"/>
                <a:gd name="connsiteY44" fmla="*/ 9486 h 10000"/>
                <a:gd name="connsiteX45" fmla="*/ 7950 w 9617"/>
                <a:gd name="connsiteY45" fmla="*/ 9486 h 10000"/>
                <a:gd name="connsiteX46" fmla="*/ 7950 w 9617"/>
                <a:gd name="connsiteY46" fmla="*/ 9132 h 10000"/>
                <a:gd name="connsiteX47" fmla="*/ 7481 w 9617"/>
                <a:gd name="connsiteY47" fmla="*/ 8971 h 10000"/>
                <a:gd name="connsiteX48" fmla="*/ 7224 w 9617"/>
                <a:gd name="connsiteY48" fmla="*/ 8457 h 10000"/>
                <a:gd name="connsiteX49" fmla="*/ 6883 w 9617"/>
                <a:gd name="connsiteY49" fmla="*/ 8264 h 10000"/>
                <a:gd name="connsiteX50" fmla="*/ 6667 w 9617"/>
                <a:gd name="connsiteY50" fmla="*/ 8006 h 10000"/>
                <a:gd name="connsiteX51" fmla="*/ 6113 w 9617"/>
                <a:gd name="connsiteY51" fmla="*/ 7814 h 10000"/>
                <a:gd name="connsiteX52" fmla="*/ 6240 w 9617"/>
                <a:gd name="connsiteY52" fmla="*/ 7749 h 10000"/>
                <a:gd name="connsiteX53" fmla="*/ 6240 w 9617"/>
                <a:gd name="connsiteY53" fmla="*/ 7588 h 10000"/>
                <a:gd name="connsiteX54" fmla="*/ 6626 w 9617"/>
                <a:gd name="connsiteY54" fmla="*/ 7588 h 10000"/>
                <a:gd name="connsiteX55" fmla="*/ 6838 w 9617"/>
                <a:gd name="connsiteY55" fmla="*/ 7460 h 10000"/>
                <a:gd name="connsiteX56" fmla="*/ 6883 w 9617"/>
                <a:gd name="connsiteY56" fmla="*/ 6527 h 10000"/>
                <a:gd name="connsiteX57" fmla="*/ 6924 w 9617"/>
                <a:gd name="connsiteY57" fmla="*/ 6559 h 10000"/>
                <a:gd name="connsiteX58" fmla="*/ 7053 w 9617"/>
                <a:gd name="connsiteY58" fmla="*/ 6367 h 10000"/>
                <a:gd name="connsiteX59" fmla="*/ 7309 w 9617"/>
                <a:gd name="connsiteY59" fmla="*/ 6270 h 10000"/>
                <a:gd name="connsiteX60" fmla="*/ 7437 w 9617"/>
                <a:gd name="connsiteY60" fmla="*/ 5916 h 10000"/>
                <a:gd name="connsiteX61" fmla="*/ 7823 w 9617"/>
                <a:gd name="connsiteY61" fmla="*/ 5498 h 10000"/>
                <a:gd name="connsiteX62" fmla="*/ 8120 w 9617"/>
                <a:gd name="connsiteY62" fmla="*/ 5305 h 10000"/>
                <a:gd name="connsiteX63" fmla="*/ 8334 w 9617"/>
                <a:gd name="connsiteY63" fmla="*/ 4759 h 10000"/>
                <a:gd name="connsiteX64" fmla="*/ 8334 w 9617"/>
                <a:gd name="connsiteY64" fmla="*/ 4630 h 10000"/>
                <a:gd name="connsiteX65" fmla="*/ 8293 w 9617"/>
                <a:gd name="connsiteY65" fmla="*/ 4309 h 10000"/>
                <a:gd name="connsiteX66" fmla="*/ 8719 w 9617"/>
                <a:gd name="connsiteY66" fmla="*/ 3151 h 10000"/>
                <a:gd name="connsiteX67" fmla="*/ 8847 w 9617"/>
                <a:gd name="connsiteY67" fmla="*/ 3151 h 10000"/>
                <a:gd name="connsiteX68" fmla="*/ 9019 w 9617"/>
                <a:gd name="connsiteY68" fmla="*/ 3055 h 10000"/>
                <a:gd name="connsiteX69" fmla="*/ 9532 w 9617"/>
                <a:gd name="connsiteY69" fmla="*/ 2894 h 10000"/>
                <a:gd name="connsiteX70" fmla="*/ 9617 w 9617"/>
                <a:gd name="connsiteY70" fmla="*/ 2637 h 10000"/>
                <a:gd name="connsiteX71" fmla="*/ 9576 w 9617"/>
                <a:gd name="connsiteY71" fmla="*/ 2572 h 10000"/>
                <a:gd name="connsiteX72" fmla="*/ 9403 w 9617"/>
                <a:gd name="connsiteY72" fmla="*/ 2572 h 10000"/>
                <a:gd name="connsiteX73" fmla="*/ 9275 w 9617"/>
                <a:gd name="connsiteY73" fmla="*/ 2412 h 10000"/>
                <a:gd name="connsiteX74" fmla="*/ 9019 w 9617"/>
                <a:gd name="connsiteY74" fmla="*/ 2347 h 10000"/>
                <a:gd name="connsiteX75" fmla="*/ 8890 w 9617"/>
                <a:gd name="connsiteY75" fmla="*/ 2219 h 10000"/>
                <a:gd name="connsiteX76" fmla="*/ 8806 w 9617"/>
                <a:gd name="connsiteY76" fmla="*/ 1736 h 10000"/>
                <a:gd name="connsiteX77" fmla="*/ 8806 w 9617"/>
                <a:gd name="connsiteY77" fmla="*/ 1061 h 10000"/>
                <a:gd name="connsiteX78" fmla="*/ 8591 w 9617"/>
                <a:gd name="connsiteY78" fmla="*/ 836 h 10000"/>
                <a:gd name="connsiteX79" fmla="*/ 8549 w 9617"/>
                <a:gd name="connsiteY79" fmla="*/ 611 h 10000"/>
                <a:gd name="connsiteX80" fmla="*/ 8207 w 9617"/>
                <a:gd name="connsiteY80" fmla="*/ 289 h 10000"/>
                <a:gd name="connsiteX81" fmla="*/ 7907 w 9617"/>
                <a:gd name="connsiteY81" fmla="*/ 161 h 10000"/>
                <a:gd name="connsiteX82" fmla="*/ 7737 w 9617"/>
                <a:gd name="connsiteY82" fmla="*/ 0 h 10000"/>
                <a:gd name="connsiteX83" fmla="*/ 7481 w 9617"/>
                <a:gd name="connsiteY83" fmla="*/ 161 h 10000"/>
                <a:gd name="connsiteX84" fmla="*/ 7309 w 9617"/>
                <a:gd name="connsiteY84" fmla="*/ 129 h 10000"/>
                <a:gd name="connsiteX85" fmla="*/ 7180 w 9617"/>
                <a:gd name="connsiteY85" fmla="*/ 418 h 10000"/>
                <a:gd name="connsiteX86" fmla="*/ 6838 w 9617"/>
                <a:gd name="connsiteY86" fmla="*/ 482 h 10000"/>
                <a:gd name="connsiteX87" fmla="*/ 6754 w 9617"/>
                <a:gd name="connsiteY87" fmla="*/ 707 h 10000"/>
                <a:gd name="connsiteX88" fmla="*/ 6454 w 9617"/>
                <a:gd name="connsiteY88" fmla="*/ 707 h 10000"/>
                <a:gd name="connsiteX89" fmla="*/ 6198 w 9617"/>
                <a:gd name="connsiteY89" fmla="*/ 611 h 10000"/>
                <a:gd name="connsiteX90" fmla="*/ 5642 w 9617"/>
                <a:gd name="connsiteY90" fmla="*/ 611 h 10000"/>
                <a:gd name="connsiteX91" fmla="*/ 5086 w 9617"/>
                <a:gd name="connsiteY91" fmla="*/ 611 h 10000"/>
                <a:gd name="connsiteX92" fmla="*/ 5129 w 9617"/>
                <a:gd name="connsiteY92" fmla="*/ 482 h 10000"/>
                <a:gd name="connsiteX93" fmla="*/ 5044 w 9617"/>
                <a:gd name="connsiteY93" fmla="*/ 482 h 10000"/>
                <a:gd name="connsiteX94" fmla="*/ 5002 w 9617"/>
                <a:gd name="connsiteY94" fmla="*/ 611 h 10000"/>
                <a:gd name="connsiteX95" fmla="*/ 4488 w 9617"/>
                <a:gd name="connsiteY95" fmla="*/ 611 h 10000"/>
                <a:gd name="connsiteX96" fmla="*/ 3976 w 9617"/>
                <a:gd name="connsiteY96" fmla="*/ 611 h 10000"/>
                <a:gd name="connsiteX97" fmla="*/ 3464 w 9617"/>
                <a:gd name="connsiteY97" fmla="*/ 611 h 10000"/>
                <a:gd name="connsiteX98" fmla="*/ 2950 w 9617"/>
                <a:gd name="connsiteY98" fmla="*/ 611 h 10000"/>
                <a:gd name="connsiteX99" fmla="*/ 2481 w 9617"/>
                <a:gd name="connsiteY99" fmla="*/ 611 h 10000"/>
                <a:gd name="connsiteX100" fmla="*/ 1968 w 9617"/>
                <a:gd name="connsiteY100" fmla="*/ 611 h 10000"/>
                <a:gd name="connsiteX101" fmla="*/ 1496 w 9617"/>
                <a:gd name="connsiteY101" fmla="*/ 611 h 10000"/>
                <a:gd name="connsiteX102" fmla="*/ 985 w 9617"/>
                <a:gd name="connsiteY102" fmla="*/ 611 h 10000"/>
                <a:gd name="connsiteX103" fmla="*/ 985 w 9617"/>
                <a:gd name="connsiteY103" fmla="*/ 1061 h 10000"/>
                <a:gd name="connsiteX104" fmla="*/ 985 w 9617"/>
                <a:gd name="connsiteY104" fmla="*/ 1640 h 10000"/>
                <a:gd name="connsiteX105" fmla="*/ 342 w 9617"/>
                <a:gd name="connsiteY105" fmla="*/ 1640 h 10000"/>
                <a:gd name="connsiteX106" fmla="*/ 342 w 9617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356 w 10000"/>
                <a:gd name="connsiteY2" fmla="*/ 2894 h 10000"/>
                <a:gd name="connsiteX3" fmla="*/ 356 w 10000"/>
                <a:gd name="connsiteY3" fmla="*/ 3376 h 10000"/>
                <a:gd name="connsiteX4" fmla="*/ 5155 w 10000"/>
                <a:gd name="connsiteY4" fmla="*/ 7114 h 10000"/>
                <a:gd name="connsiteX5" fmla="*/ 4848 w 10000"/>
                <a:gd name="connsiteY5" fmla="*/ 6907 h 10000"/>
                <a:gd name="connsiteX6" fmla="*/ 4403 w 10000"/>
                <a:gd name="connsiteY6" fmla="*/ 6781 h 10000"/>
                <a:gd name="connsiteX7" fmla="*/ 4182 w 10000"/>
                <a:gd name="connsiteY7" fmla="*/ 7064 h 10000"/>
                <a:gd name="connsiteX8" fmla="*/ 3635 w 10000"/>
                <a:gd name="connsiteY8" fmla="*/ 7281 h 10000"/>
                <a:gd name="connsiteX9" fmla="*/ 3284 w 10000"/>
                <a:gd name="connsiteY9" fmla="*/ 7279 h 10000"/>
                <a:gd name="connsiteX10" fmla="*/ 2517 w 10000"/>
                <a:gd name="connsiteY10" fmla="*/ 7095 h 10000"/>
                <a:gd name="connsiteX11" fmla="*/ 2312 w 10000"/>
                <a:gd name="connsiteY11" fmla="*/ 7195 h 10000"/>
                <a:gd name="connsiteX12" fmla="*/ 1800 w 10000"/>
                <a:gd name="connsiteY12" fmla="*/ 6973 h 10000"/>
                <a:gd name="connsiteX13" fmla="*/ 1574 w 10000"/>
                <a:gd name="connsiteY13" fmla="*/ 6638 h 10000"/>
                <a:gd name="connsiteX14" fmla="*/ 1198 w 10000"/>
                <a:gd name="connsiteY14" fmla="*/ 6729 h 10000"/>
                <a:gd name="connsiteX15" fmla="*/ 1096 w 10000"/>
                <a:gd name="connsiteY15" fmla="*/ 6927 h 10000"/>
                <a:gd name="connsiteX16" fmla="*/ 698 w 10000"/>
                <a:gd name="connsiteY16" fmla="*/ 7011 h 10000"/>
                <a:gd name="connsiteX17" fmla="*/ 436 w 10000"/>
                <a:gd name="connsiteY17" fmla="*/ 7004 h 10000"/>
                <a:gd name="connsiteX18" fmla="*/ 292 w 10000"/>
                <a:gd name="connsiteY18" fmla="*/ 7161 h 10000"/>
                <a:gd name="connsiteX19" fmla="*/ 47 w 10000"/>
                <a:gd name="connsiteY19" fmla="*/ 6913 h 10000"/>
                <a:gd name="connsiteX20" fmla="*/ 0 w 10000"/>
                <a:gd name="connsiteY20" fmla="*/ 7363 h 10000"/>
                <a:gd name="connsiteX21" fmla="*/ 89 w 10000"/>
                <a:gd name="connsiteY21" fmla="*/ 7428 h 10000"/>
                <a:gd name="connsiteX22" fmla="*/ 446 w 10000"/>
                <a:gd name="connsiteY22" fmla="*/ 7460 h 10000"/>
                <a:gd name="connsiteX23" fmla="*/ 491 w 10000"/>
                <a:gd name="connsiteY23" fmla="*/ 7588 h 10000"/>
                <a:gd name="connsiteX24" fmla="*/ 890 w 10000"/>
                <a:gd name="connsiteY24" fmla="*/ 7621 h 10000"/>
                <a:gd name="connsiteX25" fmla="*/ 1112 w 10000"/>
                <a:gd name="connsiteY25" fmla="*/ 7749 h 10000"/>
                <a:gd name="connsiteX26" fmla="*/ 1156 w 10000"/>
                <a:gd name="connsiteY26" fmla="*/ 7974 h 10000"/>
                <a:gd name="connsiteX27" fmla="*/ 1869 w 10000"/>
                <a:gd name="connsiteY27" fmla="*/ 8360 h 10000"/>
                <a:gd name="connsiteX28" fmla="*/ 2046 w 10000"/>
                <a:gd name="connsiteY28" fmla="*/ 8746 h 10000"/>
                <a:gd name="connsiteX29" fmla="*/ 2534 w 10000"/>
                <a:gd name="connsiteY29" fmla="*/ 8939 h 10000"/>
                <a:gd name="connsiteX30" fmla="*/ 2712 w 10000"/>
                <a:gd name="connsiteY30" fmla="*/ 9196 h 10000"/>
                <a:gd name="connsiteX31" fmla="*/ 3067 w 10000"/>
                <a:gd name="connsiteY31" fmla="*/ 9518 h 10000"/>
                <a:gd name="connsiteX32" fmla="*/ 3335 w 10000"/>
                <a:gd name="connsiteY32" fmla="*/ 9614 h 10000"/>
                <a:gd name="connsiteX33" fmla="*/ 3513 w 10000"/>
                <a:gd name="connsiteY33" fmla="*/ 9518 h 10000"/>
                <a:gd name="connsiteX34" fmla="*/ 3957 w 10000"/>
                <a:gd name="connsiteY34" fmla="*/ 9550 h 10000"/>
                <a:gd name="connsiteX35" fmla="*/ 4134 w 10000"/>
                <a:gd name="connsiteY35" fmla="*/ 9486 h 10000"/>
                <a:gd name="connsiteX36" fmla="*/ 4934 w 10000"/>
                <a:gd name="connsiteY36" fmla="*/ 9968 h 10000"/>
                <a:gd name="connsiteX37" fmla="*/ 4979 w 10000"/>
                <a:gd name="connsiteY37" fmla="*/ 9968 h 10000"/>
                <a:gd name="connsiteX38" fmla="*/ 5067 w 10000"/>
                <a:gd name="connsiteY38" fmla="*/ 9904 h 10000"/>
                <a:gd name="connsiteX39" fmla="*/ 5643 w 10000"/>
                <a:gd name="connsiteY39" fmla="*/ 9904 h 10000"/>
                <a:gd name="connsiteX40" fmla="*/ 5734 w 10000"/>
                <a:gd name="connsiteY40" fmla="*/ 10000 h 10000"/>
                <a:gd name="connsiteX41" fmla="*/ 6223 w 10000"/>
                <a:gd name="connsiteY41" fmla="*/ 9871 h 10000"/>
                <a:gd name="connsiteX42" fmla="*/ 6666 w 10000"/>
                <a:gd name="connsiteY42" fmla="*/ 9871 h 10000"/>
                <a:gd name="connsiteX43" fmla="*/ 6978 w 10000"/>
                <a:gd name="connsiteY43" fmla="*/ 9743 h 10000"/>
                <a:gd name="connsiteX44" fmla="*/ 7334 w 10000"/>
                <a:gd name="connsiteY44" fmla="*/ 9486 h 10000"/>
                <a:gd name="connsiteX45" fmla="*/ 8267 w 10000"/>
                <a:gd name="connsiteY45" fmla="*/ 9486 h 10000"/>
                <a:gd name="connsiteX46" fmla="*/ 8267 w 10000"/>
                <a:gd name="connsiteY46" fmla="*/ 9132 h 10000"/>
                <a:gd name="connsiteX47" fmla="*/ 7779 w 10000"/>
                <a:gd name="connsiteY47" fmla="*/ 8971 h 10000"/>
                <a:gd name="connsiteX48" fmla="*/ 7512 w 10000"/>
                <a:gd name="connsiteY48" fmla="*/ 8457 h 10000"/>
                <a:gd name="connsiteX49" fmla="*/ 7157 w 10000"/>
                <a:gd name="connsiteY49" fmla="*/ 8264 h 10000"/>
                <a:gd name="connsiteX50" fmla="*/ 6933 w 10000"/>
                <a:gd name="connsiteY50" fmla="*/ 8006 h 10000"/>
                <a:gd name="connsiteX51" fmla="*/ 6356 w 10000"/>
                <a:gd name="connsiteY51" fmla="*/ 7814 h 10000"/>
                <a:gd name="connsiteX52" fmla="*/ 6489 w 10000"/>
                <a:gd name="connsiteY52" fmla="*/ 7749 h 10000"/>
                <a:gd name="connsiteX53" fmla="*/ 6489 w 10000"/>
                <a:gd name="connsiteY53" fmla="*/ 7588 h 10000"/>
                <a:gd name="connsiteX54" fmla="*/ 6890 w 10000"/>
                <a:gd name="connsiteY54" fmla="*/ 7588 h 10000"/>
                <a:gd name="connsiteX55" fmla="*/ 7110 w 10000"/>
                <a:gd name="connsiteY55" fmla="*/ 7460 h 10000"/>
                <a:gd name="connsiteX56" fmla="*/ 7157 w 10000"/>
                <a:gd name="connsiteY56" fmla="*/ 6527 h 10000"/>
                <a:gd name="connsiteX57" fmla="*/ 7200 w 10000"/>
                <a:gd name="connsiteY57" fmla="*/ 6559 h 10000"/>
                <a:gd name="connsiteX58" fmla="*/ 7334 w 10000"/>
                <a:gd name="connsiteY58" fmla="*/ 6367 h 10000"/>
                <a:gd name="connsiteX59" fmla="*/ 7600 w 10000"/>
                <a:gd name="connsiteY59" fmla="*/ 6270 h 10000"/>
                <a:gd name="connsiteX60" fmla="*/ 7733 w 10000"/>
                <a:gd name="connsiteY60" fmla="*/ 5916 h 10000"/>
                <a:gd name="connsiteX61" fmla="*/ 8135 w 10000"/>
                <a:gd name="connsiteY61" fmla="*/ 5498 h 10000"/>
                <a:gd name="connsiteX62" fmla="*/ 8443 w 10000"/>
                <a:gd name="connsiteY62" fmla="*/ 5305 h 10000"/>
                <a:gd name="connsiteX63" fmla="*/ 8666 w 10000"/>
                <a:gd name="connsiteY63" fmla="*/ 4759 h 10000"/>
                <a:gd name="connsiteX64" fmla="*/ 8666 w 10000"/>
                <a:gd name="connsiteY64" fmla="*/ 4630 h 10000"/>
                <a:gd name="connsiteX65" fmla="*/ 8623 w 10000"/>
                <a:gd name="connsiteY65" fmla="*/ 4309 h 10000"/>
                <a:gd name="connsiteX66" fmla="*/ 9066 w 10000"/>
                <a:gd name="connsiteY66" fmla="*/ 3151 h 10000"/>
                <a:gd name="connsiteX67" fmla="*/ 9199 w 10000"/>
                <a:gd name="connsiteY67" fmla="*/ 3151 h 10000"/>
                <a:gd name="connsiteX68" fmla="*/ 9378 w 10000"/>
                <a:gd name="connsiteY68" fmla="*/ 3055 h 10000"/>
                <a:gd name="connsiteX69" fmla="*/ 9912 w 10000"/>
                <a:gd name="connsiteY69" fmla="*/ 2894 h 10000"/>
                <a:gd name="connsiteX70" fmla="*/ 10000 w 10000"/>
                <a:gd name="connsiteY70" fmla="*/ 2637 h 10000"/>
                <a:gd name="connsiteX71" fmla="*/ 9957 w 10000"/>
                <a:gd name="connsiteY71" fmla="*/ 2572 h 10000"/>
                <a:gd name="connsiteX72" fmla="*/ 9777 w 10000"/>
                <a:gd name="connsiteY72" fmla="*/ 2572 h 10000"/>
                <a:gd name="connsiteX73" fmla="*/ 9644 w 10000"/>
                <a:gd name="connsiteY73" fmla="*/ 2412 h 10000"/>
                <a:gd name="connsiteX74" fmla="*/ 9378 w 10000"/>
                <a:gd name="connsiteY74" fmla="*/ 2347 h 10000"/>
                <a:gd name="connsiteX75" fmla="*/ 9244 w 10000"/>
                <a:gd name="connsiteY75" fmla="*/ 2219 h 10000"/>
                <a:gd name="connsiteX76" fmla="*/ 9157 w 10000"/>
                <a:gd name="connsiteY76" fmla="*/ 1736 h 10000"/>
                <a:gd name="connsiteX77" fmla="*/ 9157 w 10000"/>
                <a:gd name="connsiteY77" fmla="*/ 1061 h 10000"/>
                <a:gd name="connsiteX78" fmla="*/ 8933 w 10000"/>
                <a:gd name="connsiteY78" fmla="*/ 836 h 10000"/>
                <a:gd name="connsiteX79" fmla="*/ 8889 w 10000"/>
                <a:gd name="connsiteY79" fmla="*/ 611 h 10000"/>
                <a:gd name="connsiteX80" fmla="*/ 8534 w 10000"/>
                <a:gd name="connsiteY80" fmla="*/ 289 h 10000"/>
                <a:gd name="connsiteX81" fmla="*/ 8222 w 10000"/>
                <a:gd name="connsiteY81" fmla="*/ 161 h 10000"/>
                <a:gd name="connsiteX82" fmla="*/ 8045 w 10000"/>
                <a:gd name="connsiteY82" fmla="*/ 0 h 10000"/>
                <a:gd name="connsiteX83" fmla="*/ 7779 w 10000"/>
                <a:gd name="connsiteY83" fmla="*/ 161 h 10000"/>
                <a:gd name="connsiteX84" fmla="*/ 7600 w 10000"/>
                <a:gd name="connsiteY84" fmla="*/ 129 h 10000"/>
                <a:gd name="connsiteX85" fmla="*/ 7466 w 10000"/>
                <a:gd name="connsiteY85" fmla="*/ 418 h 10000"/>
                <a:gd name="connsiteX86" fmla="*/ 7110 w 10000"/>
                <a:gd name="connsiteY86" fmla="*/ 482 h 10000"/>
                <a:gd name="connsiteX87" fmla="*/ 7023 w 10000"/>
                <a:gd name="connsiteY87" fmla="*/ 707 h 10000"/>
                <a:gd name="connsiteX88" fmla="*/ 6711 w 10000"/>
                <a:gd name="connsiteY88" fmla="*/ 707 h 10000"/>
                <a:gd name="connsiteX89" fmla="*/ 6445 w 10000"/>
                <a:gd name="connsiteY89" fmla="*/ 611 h 10000"/>
                <a:gd name="connsiteX90" fmla="*/ 5867 w 10000"/>
                <a:gd name="connsiteY90" fmla="*/ 611 h 10000"/>
                <a:gd name="connsiteX91" fmla="*/ 5289 w 10000"/>
                <a:gd name="connsiteY91" fmla="*/ 611 h 10000"/>
                <a:gd name="connsiteX92" fmla="*/ 5333 w 10000"/>
                <a:gd name="connsiteY92" fmla="*/ 482 h 10000"/>
                <a:gd name="connsiteX93" fmla="*/ 5245 w 10000"/>
                <a:gd name="connsiteY93" fmla="*/ 482 h 10000"/>
                <a:gd name="connsiteX94" fmla="*/ 5201 w 10000"/>
                <a:gd name="connsiteY94" fmla="*/ 611 h 10000"/>
                <a:gd name="connsiteX95" fmla="*/ 4667 w 10000"/>
                <a:gd name="connsiteY95" fmla="*/ 611 h 10000"/>
                <a:gd name="connsiteX96" fmla="*/ 4134 w 10000"/>
                <a:gd name="connsiteY96" fmla="*/ 611 h 10000"/>
                <a:gd name="connsiteX97" fmla="*/ 3602 w 10000"/>
                <a:gd name="connsiteY97" fmla="*/ 611 h 10000"/>
                <a:gd name="connsiteX98" fmla="*/ 3067 w 10000"/>
                <a:gd name="connsiteY98" fmla="*/ 611 h 10000"/>
                <a:gd name="connsiteX99" fmla="*/ 2580 w 10000"/>
                <a:gd name="connsiteY99" fmla="*/ 611 h 10000"/>
                <a:gd name="connsiteX100" fmla="*/ 2046 w 10000"/>
                <a:gd name="connsiteY100" fmla="*/ 611 h 10000"/>
                <a:gd name="connsiteX101" fmla="*/ 1556 w 10000"/>
                <a:gd name="connsiteY101" fmla="*/ 611 h 10000"/>
                <a:gd name="connsiteX102" fmla="*/ 1024 w 10000"/>
                <a:gd name="connsiteY102" fmla="*/ 611 h 10000"/>
                <a:gd name="connsiteX103" fmla="*/ 1024 w 10000"/>
                <a:gd name="connsiteY103" fmla="*/ 1061 h 10000"/>
                <a:gd name="connsiteX104" fmla="*/ 1024 w 10000"/>
                <a:gd name="connsiteY104" fmla="*/ 1640 h 10000"/>
                <a:gd name="connsiteX105" fmla="*/ 356 w 10000"/>
                <a:gd name="connsiteY105" fmla="*/ 1640 h 10000"/>
                <a:gd name="connsiteX106" fmla="*/ 356 w 10000"/>
                <a:gd name="connsiteY106" fmla="*/ 1897 h 10000"/>
                <a:gd name="connsiteX0" fmla="*/ 861 w 10505"/>
                <a:gd name="connsiteY0" fmla="*/ 1897 h 10000"/>
                <a:gd name="connsiteX1" fmla="*/ 861 w 10505"/>
                <a:gd name="connsiteY1" fmla="*/ 2412 h 10000"/>
                <a:gd name="connsiteX2" fmla="*/ 861 w 10505"/>
                <a:gd name="connsiteY2" fmla="*/ 2894 h 10000"/>
                <a:gd name="connsiteX3" fmla="*/ 6025 w 10505"/>
                <a:gd name="connsiteY3" fmla="*/ 6915 h 10000"/>
                <a:gd name="connsiteX4" fmla="*/ 5660 w 10505"/>
                <a:gd name="connsiteY4" fmla="*/ 7114 h 10000"/>
                <a:gd name="connsiteX5" fmla="*/ 5353 w 10505"/>
                <a:gd name="connsiteY5" fmla="*/ 6907 h 10000"/>
                <a:gd name="connsiteX6" fmla="*/ 4908 w 10505"/>
                <a:gd name="connsiteY6" fmla="*/ 6781 h 10000"/>
                <a:gd name="connsiteX7" fmla="*/ 4687 w 10505"/>
                <a:gd name="connsiteY7" fmla="*/ 7064 h 10000"/>
                <a:gd name="connsiteX8" fmla="*/ 4140 w 10505"/>
                <a:gd name="connsiteY8" fmla="*/ 7281 h 10000"/>
                <a:gd name="connsiteX9" fmla="*/ 3789 w 10505"/>
                <a:gd name="connsiteY9" fmla="*/ 7279 h 10000"/>
                <a:gd name="connsiteX10" fmla="*/ 3022 w 10505"/>
                <a:gd name="connsiteY10" fmla="*/ 7095 h 10000"/>
                <a:gd name="connsiteX11" fmla="*/ 2817 w 10505"/>
                <a:gd name="connsiteY11" fmla="*/ 7195 h 10000"/>
                <a:gd name="connsiteX12" fmla="*/ 2305 w 10505"/>
                <a:gd name="connsiteY12" fmla="*/ 6973 h 10000"/>
                <a:gd name="connsiteX13" fmla="*/ 2079 w 10505"/>
                <a:gd name="connsiteY13" fmla="*/ 6638 h 10000"/>
                <a:gd name="connsiteX14" fmla="*/ 1703 w 10505"/>
                <a:gd name="connsiteY14" fmla="*/ 6729 h 10000"/>
                <a:gd name="connsiteX15" fmla="*/ 1601 w 10505"/>
                <a:gd name="connsiteY15" fmla="*/ 6927 h 10000"/>
                <a:gd name="connsiteX16" fmla="*/ 1203 w 10505"/>
                <a:gd name="connsiteY16" fmla="*/ 7011 h 10000"/>
                <a:gd name="connsiteX17" fmla="*/ 941 w 10505"/>
                <a:gd name="connsiteY17" fmla="*/ 7004 h 10000"/>
                <a:gd name="connsiteX18" fmla="*/ 797 w 10505"/>
                <a:gd name="connsiteY18" fmla="*/ 7161 h 10000"/>
                <a:gd name="connsiteX19" fmla="*/ 552 w 10505"/>
                <a:gd name="connsiteY19" fmla="*/ 6913 h 10000"/>
                <a:gd name="connsiteX20" fmla="*/ 505 w 10505"/>
                <a:gd name="connsiteY20" fmla="*/ 7363 h 10000"/>
                <a:gd name="connsiteX21" fmla="*/ 594 w 10505"/>
                <a:gd name="connsiteY21" fmla="*/ 7428 h 10000"/>
                <a:gd name="connsiteX22" fmla="*/ 951 w 10505"/>
                <a:gd name="connsiteY22" fmla="*/ 7460 h 10000"/>
                <a:gd name="connsiteX23" fmla="*/ 996 w 10505"/>
                <a:gd name="connsiteY23" fmla="*/ 7588 h 10000"/>
                <a:gd name="connsiteX24" fmla="*/ 1395 w 10505"/>
                <a:gd name="connsiteY24" fmla="*/ 7621 h 10000"/>
                <a:gd name="connsiteX25" fmla="*/ 1617 w 10505"/>
                <a:gd name="connsiteY25" fmla="*/ 7749 h 10000"/>
                <a:gd name="connsiteX26" fmla="*/ 1661 w 10505"/>
                <a:gd name="connsiteY26" fmla="*/ 7974 h 10000"/>
                <a:gd name="connsiteX27" fmla="*/ 2374 w 10505"/>
                <a:gd name="connsiteY27" fmla="*/ 8360 h 10000"/>
                <a:gd name="connsiteX28" fmla="*/ 2551 w 10505"/>
                <a:gd name="connsiteY28" fmla="*/ 8746 h 10000"/>
                <a:gd name="connsiteX29" fmla="*/ 3039 w 10505"/>
                <a:gd name="connsiteY29" fmla="*/ 8939 h 10000"/>
                <a:gd name="connsiteX30" fmla="*/ 3217 w 10505"/>
                <a:gd name="connsiteY30" fmla="*/ 9196 h 10000"/>
                <a:gd name="connsiteX31" fmla="*/ 3572 w 10505"/>
                <a:gd name="connsiteY31" fmla="*/ 9518 h 10000"/>
                <a:gd name="connsiteX32" fmla="*/ 3840 w 10505"/>
                <a:gd name="connsiteY32" fmla="*/ 9614 h 10000"/>
                <a:gd name="connsiteX33" fmla="*/ 4018 w 10505"/>
                <a:gd name="connsiteY33" fmla="*/ 9518 h 10000"/>
                <a:gd name="connsiteX34" fmla="*/ 4462 w 10505"/>
                <a:gd name="connsiteY34" fmla="*/ 9550 h 10000"/>
                <a:gd name="connsiteX35" fmla="*/ 4639 w 10505"/>
                <a:gd name="connsiteY35" fmla="*/ 9486 h 10000"/>
                <a:gd name="connsiteX36" fmla="*/ 5439 w 10505"/>
                <a:gd name="connsiteY36" fmla="*/ 9968 h 10000"/>
                <a:gd name="connsiteX37" fmla="*/ 5484 w 10505"/>
                <a:gd name="connsiteY37" fmla="*/ 9968 h 10000"/>
                <a:gd name="connsiteX38" fmla="*/ 5572 w 10505"/>
                <a:gd name="connsiteY38" fmla="*/ 9904 h 10000"/>
                <a:gd name="connsiteX39" fmla="*/ 6148 w 10505"/>
                <a:gd name="connsiteY39" fmla="*/ 9904 h 10000"/>
                <a:gd name="connsiteX40" fmla="*/ 6239 w 10505"/>
                <a:gd name="connsiteY40" fmla="*/ 10000 h 10000"/>
                <a:gd name="connsiteX41" fmla="*/ 6728 w 10505"/>
                <a:gd name="connsiteY41" fmla="*/ 9871 h 10000"/>
                <a:gd name="connsiteX42" fmla="*/ 7171 w 10505"/>
                <a:gd name="connsiteY42" fmla="*/ 9871 h 10000"/>
                <a:gd name="connsiteX43" fmla="*/ 7483 w 10505"/>
                <a:gd name="connsiteY43" fmla="*/ 9743 h 10000"/>
                <a:gd name="connsiteX44" fmla="*/ 7839 w 10505"/>
                <a:gd name="connsiteY44" fmla="*/ 9486 h 10000"/>
                <a:gd name="connsiteX45" fmla="*/ 8772 w 10505"/>
                <a:gd name="connsiteY45" fmla="*/ 9486 h 10000"/>
                <a:gd name="connsiteX46" fmla="*/ 8772 w 10505"/>
                <a:gd name="connsiteY46" fmla="*/ 9132 h 10000"/>
                <a:gd name="connsiteX47" fmla="*/ 8284 w 10505"/>
                <a:gd name="connsiteY47" fmla="*/ 8971 h 10000"/>
                <a:gd name="connsiteX48" fmla="*/ 8017 w 10505"/>
                <a:gd name="connsiteY48" fmla="*/ 8457 h 10000"/>
                <a:gd name="connsiteX49" fmla="*/ 7662 w 10505"/>
                <a:gd name="connsiteY49" fmla="*/ 8264 h 10000"/>
                <a:gd name="connsiteX50" fmla="*/ 7438 w 10505"/>
                <a:gd name="connsiteY50" fmla="*/ 8006 h 10000"/>
                <a:gd name="connsiteX51" fmla="*/ 6861 w 10505"/>
                <a:gd name="connsiteY51" fmla="*/ 7814 h 10000"/>
                <a:gd name="connsiteX52" fmla="*/ 6994 w 10505"/>
                <a:gd name="connsiteY52" fmla="*/ 7749 h 10000"/>
                <a:gd name="connsiteX53" fmla="*/ 6994 w 10505"/>
                <a:gd name="connsiteY53" fmla="*/ 7588 h 10000"/>
                <a:gd name="connsiteX54" fmla="*/ 7395 w 10505"/>
                <a:gd name="connsiteY54" fmla="*/ 7588 h 10000"/>
                <a:gd name="connsiteX55" fmla="*/ 7615 w 10505"/>
                <a:gd name="connsiteY55" fmla="*/ 7460 h 10000"/>
                <a:gd name="connsiteX56" fmla="*/ 7662 w 10505"/>
                <a:gd name="connsiteY56" fmla="*/ 6527 h 10000"/>
                <a:gd name="connsiteX57" fmla="*/ 7705 w 10505"/>
                <a:gd name="connsiteY57" fmla="*/ 6559 h 10000"/>
                <a:gd name="connsiteX58" fmla="*/ 7839 w 10505"/>
                <a:gd name="connsiteY58" fmla="*/ 6367 h 10000"/>
                <a:gd name="connsiteX59" fmla="*/ 8105 w 10505"/>
                <a:gd name="connsiteY59" fmla="*/ 6270 h 10000"/>
                <a:gd name="connsiteX60" fmla="*/ 8238 w 10505"/>
                <a:gd name="connsiteY60" fmla="*/ 5916 h 10000"/>
                <a:gd name="connsiteX61" fmla="*/ 8640 w 10505"/>
                <a:gd name="connsiteY61" fmla="*/ 5498 h 10000"/>
                <a:gd name="connsiteX62" fmla="*/ 8948 w 10505"/>
                <a:gd name="connsiteY62" fmla="*/ 5305 h 10000"/>
                <a:gd name="connsiteX63" fmla="*/ 9171 w 10505"/>
                <a:gd name="connsiteY63" fmla="*/ 4759 h 10000"/>
                <a:gd name="connsiteX64" fmla="*/ 9171 w 10505"/>
                <a:gd name="connsiteY64" fmla="*/ 4630 h 10000"/>
                <a:gd name="connsiteX65" fmla="*/ 9128 w 10505"/>
                <a:gd name="connsiteY65" fmla="*/ 4309 h 10000"/>
                <a:gd name="connsiteX66" fmla="*/ 9571 w 10505"/>
                <a:gd name="connsiteY66" fmla="*/ 3151 h 10000"/>
                <a:gd name="connsiteX67" fmla="*/ 9704 w 10505"/>
                <a:gd name="connsiteY67" fmla="*/ 3151 h 10000"/>
                <a:gd name="connsiteX68" fmla="*/ 9883 w 10505"/>
                <a:gd name="connsiteY68" fmla="*/ 3055 h 10000"/>
                <a:gd name="connsiteX69" fmla="*/ 10417 w 10505"/>
                <a:gd name="connsiteY69" fmla="*/ 2894 h 10000"/>
                <a:gd name="connsiteX70" fmla="*/ 10505 w 10505"/>
                <a:gd name="connsiteY70" fmla="*/ 2637 h 10000"/>
                <a:gd name="connsiteX71" fmla="*/ 10462 w 10505"/>
                <a:gd name="connsiteY71" fmla="*/ 2572 h 10000"/>
                <a:gd name="connsiteX72" fmla="*/ 10282 w 10505"/>
                <a:gd name="connsiteY72" fmla="*/ 2572 h 10000"/>
                <a:gd name="connsiteX73" fmla="*/ 10149 w 10505"/>
                <a:gd name="connsiteY73" fmla="*/ 2412 h 10000"/>
                <a:gd name="connsiteX74" fmla="*/ 9883 w 10505"/>
                <a:gd name="connsiteY74" fmla="*/ 2347 h 10000"/>
                <a:gd name="connsiteX75" fmla="*/ 9749 w 10505"/>
                <a:gd name="connsiteY75" fmla="*/ 2219 h 10000"/>
                <a:gd name="connsiteX76" fmla="*/ 9662 w 10505"/>
                <a:gd name="connsiteY76" fmla="*/ 1736 h 10000"/>
                <a:gd name="connsiteX77" fmla="*/ 9662 w 10505"/>
                <a:gd name="connsiteY77" fmla="*/ 1061 h 10000"/>
                <a:gd name="connsiteX78" fmla="*/ 9438 w 10505"/>
                <a:gd name="connsiteY78" fmla="*/ 836 h 10000"/>
                <a:gd name="connsiteX79" fmla="*/ 9394 w 10505"/>
                <a:gd name="connsiteY79" fmla="*/ 611 h 10000"/>
                <a:gd name="connsiteX80" fmla="*/ 9039 w 10505"/>
                <a:gd name="connsiteY80" fmla="*/ 289 h 10000"/>
                <a:gd name="connsiteX81" fmla="*/ 8727 w 10505"/>
                <a:gd name="connsiteY81" fmla="*/ 161 h 10000"/>
                <a:gd name="connsiteX82" fmla="*/ 8550 w 10505"/>
                <a:gd name="connsiteY82" fmla="*/ 0 h 10000"/>
                <a:gd name="connsiteX83" fmla="*/ 8284 w 10505"/>
                <a:gd name="connsiteY83" fmla="*/ 161 h 10000"/>
                <a:gd name="connsiteX84" fmla="*/ 8105 w 10505"/>
                <a:gd name="connsiteY84" fmla="*/ 129 h 10000"/>
                <a:gd name="connsiteX85" fmla="*/ 7971 w 10505"/>
                <a:gd name="connsiteY85" fmla="*/ 418 h 10000"/>
                <a:gd name="connsiteX86" fmla="*/ 7615 w 10505"/>
                <a:gd name="connsiteY86" fmla="*/ 482 h 10000"/>
                <a:gd name="connsiteX87" fmla="*/ 7528 w 10505"/>
                <a:gd name="connsiteY87" fmla="*/ 707 h 10000"/>
                <a:gd name="connsiteX88" fmla="*/ 7216 w 10505"/>
                <a:gd name="connsiteY88" fmla="*/ 707 h 10000"/>
                <a:gd name="connsiteX89" fmla="*/ 6950 w 10505"/>
                <a:gd name="connsiteY89" fmla="*/ 611 h 10000"/>
                <a:gd name="connsiteX90" fmla="*/ 6372 w 10505"/>
                <a:gd name="connsiteY90" fmla="*/ 611 h 10000"/>
                <a:gd name="connsiteX91" fmla="*/ 5794 w 10505"/>
                <a:gd name="connsiteY91" fmla="*/ 611 h 10000"/>
                <a:gd name="connsiteX92" fmla="*/ 5838 w 10505"/>
                <a:gd name="connsiteY92" fmla="*/ 482 h 10000"/>
                <a:gd name="connsiteX93" fmla="*/ 5750 w 10505"/>
                <a:gd name="connsiteY93" fmla="*/ 482 h 10000"/>
                <a:gd name="connsiteX94" fmla="*/ 5706 w 10505"/>
                <a:gd name="connsiteY94" fmla="*/ 611 h 10000"/>
                <a:gd name="connsiteX95" fmla="*/ 5172 w 10505"/>
                <a:gd name="connsiteY95" fmla="*/ 611 h 10000"/>
                <a:gd name="connsiteX96" fmla="*/ 4639 w 10505"/>
                <a:gd name="connsiteY96" fmla="*/ 611 h 10000"/>
                <a:gd name="connsiteX97" fmla="*/ 4107 w 10505"/>
                <a:gd name="connsiteY97" fmla="*/ 611 h 10000"/>
                <a:gd name="connsiteX98" fmla="*/ 3572 w 10505"/>
                <a:gd name="connsiteY98" fmla="*/ 611 h 10000"/>
                <a:gd name="connsiteX99" fmla="*/ 3085 w 10505"/>
                <a:gd name="connsiteY99" fmla="*/ 611 h 10000"/>
                <a:gd name="connsiteX100" fmla="*/ 2551 w 10505"/>
                <a:gd name="connsiteY100" fmla="*/ 611 h 10000"/>
                <a:gd name="connsiteX101" fmla="*/ 2061 w 10505"/>
                <a:gd name="connsiteY101" fmla="*/ 611 h 10000"/>
                <a:gd name="connsiteX102" fmla="*/ 1529 w 10505"/>
                <a:gd name="connsiteY102" fmla="*/ 611 h 10000"/>
                <a:gd name="connsiteX103" fmla="*/ 1529 w 10505"/>
                <a:gd name="connsiteY103" fmla="*/ 1061 h 10000"/>
                <a:gd name="connsiteX104" fmla="*/ 1529 w 10505"/>
                <a:gd name="connsiteY104" fmla="*/ 1640 h 10000"/>
                <a:gd name="connsiteX105" fmla="*/ 861 w 10505"/>
                <a:gd name="connsiteY105" fmla="*/ 1640 h 10000"/>
                <a:gd name="connsiteX106" fmla="*/ 861 w 10505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4973 w 10000"/>
                <a:gd name="connsiteY2" fmla="*/ 5205 h 10000"/>
                <a:gd name="connsiteX3" fmla="*/ 5520 w 10000"/>
                <a:gd name="connsiteY3" fmla="*/ 6915 h 10000"/>
                <a:gd name="connsiteX4" fmla="*/ 5155 w 10000"/>
                <a:gd name="connsiteY4" fmla="*/ 7114 h 10000"/>
                <a:gd name="connsiteX5" fmla="*/ 4848 w 10000"/>
                <a:gd name="connsiteY5" fmla="*/ 6907 h 10000"/>
                <a:gd name="connsiteX6" fmla="*/ 4403 w 10000"/>
                <a:gd name="connsiteY6" fmla="*/ 6781 h 10000"/>
                <a:gd name="connsiteX7" fmla="*/ 4182 w 10000"/>
                <a:gd name="connsiteY7" fmla="*/ 7064 h 10000"/>
                <a:gd name="connsiteX8" fmla="*/ 3635 w 10000"/>
                <a:gd name="connsiteY8" fmla="*/ 7281 h 10000"/>
                <a:gd name="connsiteX9" fmla="*/ 3284 w 10000"/>
                <a:gd name="connsiteY9" fmla="*/ 7279 h 10000"/>
                <a:gd name="connsiteX10" fmla="*/ 2517 w 10000"/>
                <a:gd name="connsiteY10" fmla="*/ 7095 h 10000"/>
                <a:gd name="connsiteX11" fmla="*/ 2312 w 10000"/>
                <a:gd name="connsiteY11" fmla="*/ 7195 h 10000"/>
                <a:gd name="connsiteX12" fmla="*/ 1800 w 10000"/>
                <a:gd name="connsiteY12" fmla="*/ 6973 h 10000"/>
                <a:gd name="connsiteX13" fmla="*/ 1574 w 10000"/>
                <a:gd name="connsiteY13" fmla="*/ 6638 h 10000"/>
                <a:gd name="connsiteX14" fmla="*/ 1198 w 10000"/>
                <a:gd name="connsiteY14" fmla="*/ 6729 h 10000"/>
                <a:gd name="connsiteX15" fmla="*/ 1096 w 10000"/>
                <a:gd name="connsiteY15" fmla="*/ 6927 h 10000"/>
                <a:gd name="connsiteX16" fmla="*/ 698 w 10000"/>
                <a:gd name="connsiteY16" fmla="*/ 7011 h 10000"/>
                <a:gd name="connsiteX17" fmla="*/ 436 w 10000"/>
                <a:gd name="connsiteY17" fmla="*/ 7004 h 10000"/>
                <a:gd name="connsiteX18" fmla="*/ 292 w 10000"/>
                <a:gd name="connsiteY18" fmla="*/ 7161 h 10000"/>
                <a:gd name="connsiteX19" fmla="*/ 47 w 10000"/>
                <a:gd name="connsiteY19" fmla="*/ 6913 h 10000"/>
                <a:gd name="connsiteX20" fmla="*/ 0 w 10000"/>
                <a:gd name="connsiteY20" fmla="*/ 7363 h 10000"/>
                <a:gd name="connsiteX21" fmla="*/ 89 w 10000"/>
                <a:gd name="connsiteY21" fmla="*/ 7428 h 10000"/>
                <a:gd name="connsiteX22" fmla="*/ 446 w 10000"/>
                <a:gd name="connsiteY22" fmla="*/ 7460 h 10000"/>
                <a:gd name="connsiteX23" fmla="*/ 491 w 10000"/>
                <a:gd name="connsiteY23" fmla="*/ 7588 h 10000"/>
                <a:gd name="connsiteX24" fmla="*/ 890 w 10000"/>
                <a:gd name="connsiteY24" fmla="*/ 7621 h 10000"/>
                <a:gd name="connsiteX25" fmla="*/ 1112 w 10000"/>
                <a:gd name="connsiteY25" fmla="*/ 7749 h 10000"/>
                <a:gd name="connsiteX26" fmla="*/ 1156 w 10000"/>
                <a:gd name="connsiteY26" fmla="*/ 7974 h 10000"/>
                <a:gd name="connsiteX27" fmla="*/ 1869 w 10000"/>
                <a:gd name="connsiteY27" fmla="*/ 8360 h 10000"/>
                <a:gd name="connsiteX28" fmla="*/ 2046 w 10000"/>
                <a:gd name="connsiteY28" fmla="*/ 8746 h 10000"/>
                <a:gd name="connsiteX29" fmla="*/ 2534 w 10000"/>
                <a:gd name="connsiteY29" fmla="*/ 8939 h 10000"/>
                <a:gd name="connsiteX30" fmla="*/ 2712 w 10000"/>
                <a:gd name="connsiteY30" fmla="*/ 9196 h 10000"/>
                <a:gd name="connsiteX31" fmla="*/ 3067 w 10000"/>
                <a:gd name="connsiteY31" fmla="*/ 9518 h 10000"/>
                <a:gd name="connsiteX32" fmla="*/ 3335 w 10000"/>
                <a:gd name="connsiteY32" fmla="*/ 9614 h 10000"/>
                <a:gd name="connsiteX33" fmla="*/ 3513 w 10000"/>
                <a:gd name="connsiteY33" fmla="*/ 9518 h 10000"/>
                <a:gd name="connsiteX34" fmla="*/ 3957 w 10000"/>
                <a:gd name="connsiteY34" fmla="*/ 9550 h 10000"/>
                <a:gd name="connsiteX35" fmla="*/ 4134 w 10000"/>
                <a:gd name="connsiteY35" fmla="*/ 9486 h 10000"/>
                <a:gd name="connsiteX36" fmla="*/ 4934 w 10000"/>
                <a:gd name="connsiteY36" fmla="*/ 9968 h 10000"/>
                <a:gd name="connsiteX37" fmla="*/ 4979 w 10000"/>
                <a:gd name="connsiteY37" fmla="*/ 9968 h 10000"/>
                <a:gd name="connsiteX38" fmla="*/ 5067 w 10000"/>
                <a:gd name="connsiteY38" fmla="*/ 9904 h 10000"/>
                <a:gd name="connsiteX39" fmla="*/ 5643 w 10000"/>
                <a:gd name="connsiteY39" fmla="*/ 9904 h 10000"/>
                <a:gd name="connsiteX40" fmla="*/ 5734 w 10000"/>
                <a:gd name="connsiteY40" fmla="*/ 10000 h 10000"/>
                <a:gd name="connsiteX41" fmla="*/ 6223 w 10000"/>
                <a:gd name="connsiteY41" fmla="*/ 9871 h 10000"/>
                <a:gd name="connsiteX42" fmla="*/ 6666 w 10000"/>
                <a:gd name="connsiteY42" fmla="*/ 9871 h 10000"/>
                <a:gd name="connsiteX43" fmla="*/ 6978 w 10000"/>
                <a:gd name="connsiteY43" fmla="*/ 9743 h 10000"/>
                <a:gd name="connsiteX44" fmla="*/ 7334 w 10000"/>
                <a:gd name="connsiteY44" fmla="*/ 9486 h 10000"/>
                <a:gd name="connsiteX45" fmla="*/ 8267 w 10000"/>
                <a:gd name="connsiteY45" fmla="*/ 9486 h 10000"/>
                <a:gd name="connsiteX46" fmla="*/ 8267 w 10000"/>
                <a:gd name="connsiteY46" fmla="*/ 9132 h 10000"/>
                <a:gd name="connsiteX47" fmla="*/ 7779 w 10000"/>
                <a:gd name="connsiteY47" fmla="*/ 8971 h 10000"/>
                <a:gd name="connsiteX48" fmla="*/ 7512 w 10000"/>
                <a:gd name="connsiteY48" fmla="*/ 8457 h 10000"/>
                <a:gd name="connsiteX49" fmla="*/ 7157 w 10000"/>
                <a:gd name="connsiteY49" fmla="*/ 8264 h 10000"/>
                <a:gd name="connsiteX50" fmla="*/ 6933 w 10000"/>
                <a:gd name="connsiteY50" fmla="*/ 8006 h 10000"/>
                <a:gd name="connsiteX51" fmla="*/ 6356 w 10000"/>
                <a:gd name="connsiteY51" fmla="*/ 7814 h 10000"/>
                <a:gd name="connsiteX52" fmla="*/ 6489 w 10000"/>
                <a:gd name="connsiteY52" fmla="*/ 7749 h 10000"/>
                <a:gd name="connsiteX53" fmla="*/ 6489 w 10000"/>
                <a:gd name="connsiteY53" fmla="*/ 7588 h 10000"/>
                <a:gd name="connsiteX54" fmla="*/ 6890 w 10000"/>
                <a:gd name="connsiteY54" fmla="*/ 7588 h 10000"/>
                <a:gd name="connsiteX55" fmla="*/ 7110 w 10000"/>
                <a:gd name="connsiteY55" fmla="*/ 7460 h 10000"/>
                <a:gd name="connsiteX56" fmla="*/ 7157 w 10000"/>
                <a:gd name="connsiteY56" fmla="*/ 6527 h 10000"/>
                <a:gd name="connsiteX57" fmla="*/ 7200 w 10000"/>
                <a:gd name="connsiteY57" fmla="*/ 6559 h 10000"/>
                <a:gd name="connsiteX58" fmla="*/ 7334 w 10000"/>
                <a:gd name="connsiteY58" fmla="*/ 6367 h 10000"/>
                <a:gd name="connsiteX59" fmla="*/ 7600 w 10000"/>
                <a:gd name="connsiteY59" fmla="*/ 6270 h 10000"/>
                <a:gd name="connsiteX60" fmla="*/ 7733 w 10000"/>
                <a:gd name="connsiteY60" fmla="*/ 5916 h 10000"/>
                <a:gd name="connsiteX61" fmla="*/ 8135 w 10000"/>
                <a:gd name="connsiteY61" fmla="*/ 5498 h 10000"/>
                <a:gd name="connsiteX62" fmla="*/ 8443 w 10000"/>
                <a:gd name="connsiteY62" fmla="*/ 5305 h 10000"/>
                <a:gd name="connsiteX63" fmla="*/ 8666 w 10000"/>
                <a:gd name="connsiteY63" fmla="*/ 4759 h 10000"/>
                <a:gd name="connsiteX64" fmla="*/ 8666 w 10000"/>
                <a:gd name="connsiteY64" fmla="*/ 4630 h 10000"/>
                <a:gd name="connsiteX65" fmla="*/ 8623 w 10000"/>
                <a:gd name="connsiteY65" fmla="*/ 4309 h 10000"/>
                <a:gd name="connsiteX66" fmla="*/ 9066 w 10000"/>
                <a:gd name="connsiteY66" fmla="*/ 3151 h 10000"/>
                <a:gd name="connsiteX67" fmla="*/ 9199 w 10000"/>
                <a:gd name="connsiteY67" fmla="*/ 3151 h 10000"/>
                <a:gd name="connsiteX68" fmla="*/ 9378 w 10000"/>
                <a:gd name="connsiteY68" fmla="*/ 3055 h 10000"/>
                <a:gd name="connsiteX69" fmla="*/ 9912 w 10000"/>
                <a:gd name="connsiteY69" fmla="*/ 2894 h 10000"/>
                <a:gd name="connsiteX70" fmla="*/ 10000 w 10000"/>
                <a:gd name="connsiteY70" fmla="*/ 2637 h 10000"/>
                <a:gd name="connsiteX71" fmla="*/ 9957 w 10000"/>
                <a:gd name="connsiteY71" fmla="*/ 2572 h 10000"/>
                <a:gd name="connsiteX72" fmla="*/ 9777 w 10000"/>
                <a:gd name="connsiteY72" fmla="*/ 2572 h 10000"/>
                <a:gd name="connsiteX73" fmla="*/ 9644 w 10000"/>
                <a:gd name="connsiteY73" fmla="*/ 2412 h 10000"/>
                <a:gd name="connsiteX74" fmla="*/ 9378 w 10000"/>
                <a:gd name="connsiteY74" fmla="*/ 2347 h 10000"/>
                <a:gd name="connsiteX75" fmla="*/ 9244 w 10000"/>
                <a:gd name="connsiteY75" fmla="*/ 2219 h 10000"/>
                <a:gd name="connsiteX76" fmla="*/ 9157 w 10000"/>
                <a:gd name="connsiteY76" fmla="*/ 1736 h 10000"/>
                <a:gd name="connsiteX77" fmla="*/ 9157 w 10000"/>
                <a:gd name="connsiteY77" fmla="*/ 1061 h 10000"/>
                <a:gd name="connsiteX78" fmla="*/ 8933 w 10000"/>
                <a:gd name="connsiteY78" fmla="*/ 836 h 10000"/>
                <a:gd name="connsiteX79" fmla="*/ 8889 w 10000"/>
                <a:gd name="connsiteY79" fmla="*/ 611 h 10000"/>
                <a:gd name="connsiteX80" fmla="*/ 8534 w 10000"/>
                <a:gd name="connsiteY80" fmla="*/ 289 h 10000"/>
                <a:gd name="connsiteX81" fmla="*/ 8222 w 10000"/>
                <a:gd name="connsiteY81" fmla="*/ 161 h 10000"/>
                <a:gd name="connsiteX82" fmla="*/ 8045 w 10000"/>
                <a:gd name="connsiteY82" fmla="*/ 0 h 10000"/>
                <a:gd name="connsiteX83" fmla="*/ 7779 w 10000"/>
                <a:gd name="connsiteY83" fmla="*/ 161 h 10000"/>
                <a:gd name="connsiteX84" fmla="*/ 7600 w 10000"/>
                <a:gd name="connsiteY84" fmla="*/ 129 h 10000"/>
                <a:gd name="connsiteX85" fmla="*/ 7466 w 10000"/>
                <a:gd name="connsiteY85" fmla="*/ 418 h 10000"/>
                <a:gd name="connsiteX86" fmla="*/ 7110 w 10000"/>
                <a:gd name="connsiteY86" fmla="*/ 482 h 10000"/>
                <a:gd name="connsiteX87" fmla="*/ 7023 w 10000"/>
                <a:gd name="connsiteY87" fmla="*/ 707 h 10000"/>
                <a:gd name="connsiteX88" fmla="*/ 6711 w 10000"/>
                <a:gd name="connsiteY88" fmla="*/ 707 h 10000"/>
                <a:gd name="connsiteX89" fmla="*/ 6445 w 10000"/>
                <a:gd name="connsiteY89" fmla="*/ 611 h 10000"/>
                <a:gd name="connsiteX90" fmla="*/ 5867 w 10000"/>
                <a:gd name="connsiteY90" fmla="*/ 611 h 10000"/>
                <a:gd name="connsiteX91" fmla="*/ 5289 w 10000"/>
                <a:gd name="connsiteY91" fmla="*/ 611 h 10000"/>
                <a:gd name="connsiteX92" fmla="*/ 5333 w 10000"/>
                <a:gd name="connsiteY92" fmla="*/ 482 h 10000"/>
                <a:gd name="connsiteX93" fmla="*/ 5245 w 10000"/>
                <a:gd name="connsiteY93" fmla="*/ 482 h 10000"/>
                <a:gd name="connsiteX94" fmla="*/ 5201 w 10000"/>
                <a:gd name="connsiteY94" fmla="*/ 611 h 10000"/>
                <a:gd name="connsiteX95" fmla="*/ 4667 w 10000"/>
                <a:gd name="connsiteY95" fmla="*/ 611 h 10000"/>
                <a:gd name="connsiteX96" fmla="*/ 4134 w 10000"/>
                <a:gd name="connsiteY96" fmla="*/ 611 h 10000"/>
                <a:gd name="connsiteX97" fmla="*/ 3602 w 10000"/>
                <a:gd name="connsiteY97" fmla="*/ 611 h 10000"/>
                <a:gd name="connsiteX98" fmla="*/ 3067 w 10000"/>
                <a:gd name="connsiteY98" fmla="*/ 611 h 10000"/>
                <a:gd name="connsiteX99" fmla="*/ 2580 w 10000"/>
                <a:gd name="connsiteY99" fmla="*/ 611 h 10000"/>
                <a:gd name="connsiteX100" fmla="*/ 2046 w 10000"/>
                <a:gd name="connsiteY100" fmla="*/ 611 h 10000"/>
                <a:gd name="connsiteX101" fmla="*/ 1556 w 10000"/>
                <a:gd name="connsiteY101" fmla="*/ 611 h 10000"/>
                <a:gd name="connsiteX102" fmla="*/ 1024 w 10000"/>
                <a:gd name="connsiteY102" fmla="*/ 611 h 10000"/>
                <a:gd name="connsiteX103" fmla="*/ 1024 w 10000"/>
                <a:gd name="connsiteY103" fmla="*/ 1061 h 10000"/>
                <a:gd name="connsiteX104" fmla="*/ 1024 w 10000"/>
                <a:gd name="connsiteY104" fmla="*/ 1640 h 10000"/>
                <a:gd name="connsiteX105" fmla="*/ 356 w 10000"/>
                <a:gd name="connsiteY105" fmla="*/ 1640 h 10000"/>
                <a:gd name="connsiteX106" fmla="*/ 356 w 10000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5520 w 10000"/>
                <a:gd name="connsiteY2" fmla="*/ 6915 h 10000"/>
                <a:gd name="connsiteX3" fmla="*/ 5155 w 10000"/>
                <a:gd name="connsiteY3" fmla="*/ 7114 h 10000"/>
                <a:gd name="connsiteX4" fmla="*/ 4848 w 10000"/>
                <a:gd name="connsiteY4" fmla="*/ 6907 h 10000"/>
                <a:gd name="connsiteX5" fmla="*/ 4403 w 10000"/>
                <a:gd name="connsiteY5" fmla="*/ 6781 h 10000"/>
                <a:gd name="connsiteX6" fmla="*/ 4182 w 10000"/>
                <a:gd name="connsiteY6" fmla="*/ 7064 h 10000"/>
                <a:gd name="connsiteX7" fmla="*/ 3635 w 10000"/>
                <a:gd name="connsiteY7" fmla="*/ 7281 h 10000"/>
                <a:gd name="connsiteX8" fmla="*/ 3284 w 10000"/>
                <a:gd name="connsiteY8" fmla="*/ 7279 h 10000"/>
                <a:gd name="connsiteX9" fmla="*/ 2517 w 10000"/>
                <a:gd name="connsiteY9" fmla="*/ 7095 h 10000"/>
                <a:gd name="connsiteX10" fmla="*/ 2312 w 10000"/>
                <a:gd name="connsiteY10" fmla="*/ 7195 h 10000"/>
                <a:gd name="connsiteX11" fmla="*/ 1800 w 10000"/>
                <a:gd name="connsiteY11" fmla="*/ 6973 h 10000"/>
                <a:gd name="connsiteX12" fmla="*/ 1574 w 10000"/>
                <a:gd name="connsiteY12" fmla="*/ 6638 h 10000"/>
                <a:gd name="connsiteX13" fmla="*/ 1198 w 10000"/>
                <a:gd name="connsiteY13" fmla="*/ 6729 h 10000"/>
                <a:gd name="connsiteX14" fmla="*/ 1096 w 10000"/>
                <a:gd name="connsiteY14" fmla="*/ 6927 h 10000"/>
                <a:gd name="connsiteX15" fmla="*/ 698 w 10000"/>
                <a:gd name="connsiteY15" fmla="*/ 7011 h 10000"/>
                <a:gd name="connsiteX16" fmla="*/ 436 w 10000"/>
                <a:gd name="connsiteY16" fmla="*/ 7004 h 10000"/>
                <a:gd name="connsiteX17" fmla="*/ 292 w 10000"/>
                <a:gd name="connsiteY17" fmla="*/ 7161 h 10000"/>
                <a:gd name="connsiteX18" fmla="*/ 47 w 10000"/>
                <a:gd name="connsiteY18" fmla="*/ 6913 h 10000"/>
                <a:gd name="connsiteX19" fmla="*/ 0 w 10000"/>
                <a:gd name="connsiteY19" fmla="*/ 7363 h 10000"/>
                <a:gd name="connsiteX20" fmla="*/ 89 w 10000"/>
                <a:gd name="connsiteY20" fmla="*/ 7428 h 10000"/>
                <a:gd name="connsiteX21" fmla="*/ 446 w 10000"/>
                <a:gd name="connsiteY21" fmla="*/ 7460 h 10000"/>
                <a:gd name="connsiteX22" fmla="*/ 491 w 10000"/>
                <a:gd name="connsiteY22" fmla="*/ 7588 h 10000"/>
                <a:gd name="connsiteX23" fmla="*/ 890 w 10000"/>
                <a:gd name="connsiteY23" fmla="*/ 7621 h 10000"/>
                <a:gd name="connsiteX24" fmla="*/ 1112 w 10000"/>
                <a:gd name="connsiteY24" fmla="*/ 7749 h 10000"/>
                <a:gd name="connsiteX25" fmla="*/ 1156 w 10000"/>
                <a:gd name="connsiteY25" fmla="*/ 7974 h 10000"/>
                <a:gd name="connsiteX26" fmla="*/ 1869 w 10000"/>
                <a:gd name="connsiteY26" fmla="*/ 8360 h 10000"/>
                <a:gd name="connsiteX27" fmla="*/ 2046 w 10000"/>
                <a:gd name="connsiteY27" fmla="*/ 8746 h 10000"/>
                <a:gd name="connsiteX28" fmla="*/ 2534 w 10000"/>
                <a:gd name="connsiteY28" fmla="*/ 8939 h 10000"/>
                <a:gd name="connsiteX29" fmla="*/ 2712 w 10000"/>
                <a:gd name="connsiteY29" fmla="*/ 9196 h 10000"/>
                <a:gd name="connsiteX30" fmla="*/ 3067 w 10000"/>
                <a:gd name="connsiteY30" fmla="*/ 9518 h 10000"/>
                <a:gd name="connsiteX31" fmla="*/ 3335 w 10000"/>
                <a:gd name="connsiteY31" fmla="*/ 9614 h 10000"/>
                <a:gd name="connsiteX32" fmla="*/ 3513 w 10000"/>
                <a:gd name="connsiteY32" fmla="*/ 9518 h 10000"/>
                <a:gd name="connsiteX33" fmla="*/ 3957 w 10000"/>
                <a:gd name="connsiteY33" fmla="*/ 9550 h 10000"/>
                <a:gd name="connsiteX34" fmla="*/ 4134 w 10000"/>
                <a:gd name="connsiteY34" fmla="*/ 9486 h 10000"/>
                <a:gd name="connsiteX35" fmla="*/ 4934 w 10000"/>
                <a:gd name="connsiteY35" fmla="*/ 9968 h 10000"/>
                <a:gd name="connsiteX36" fmla="*/ 4979 w 10000"/>
                <a:gd name="connsiteY36" fmla="*/ 9968 h 10000"/>
                <a:gd name="connsiteX37" fmla="*/ 5067 w 10000"/>
                <a:gd name="connsiteY37" fmla="*/ 9904 h 10000"/>
                <a:gd name="connsiteX38" fmla="*/ 5643 w 10000"/>
                <a:gd name="connsiteY38" fmla="*/ 9904 h 10000"/>
                <a:gd name="connsiteX39" fmla="*/ 5734 w 10000"/>
                <a:gd name="connsiteY39" fmla="*/ 10000 h 10000"/>
                <a:gd name="connsiteX40" fmla="*/ 6223 w 10000"/>
                <a:gd name="connsiteY40" fmla="*/ 9871 h 10000"/>
                <a:gd name="connsiteX41" fmla="*/ 6666 w 10000"/>
                <a:gd name="connsiteY41" fmla="*/ 9871 h 10000"/>
                <a:gd name="connsiteX42" fmla="*/ 6978 w 10000"/>
                <a:gd name="connsiteY42" fmla="*/ 9743 h 10000"/>
                <a:gd name="connsiteX43" fmla="*/ 7334 w 10000"/>
                <a:gd name="connsiteY43" fmla="*/ 9486 h 10000"/>
                <a:gd name="connsiteX44" fmla="*/ 8267 w 10000"/>
                <a:gd name="connsiteY44" fmla="*/ 9486 h 10000"/>
                <a:gd name="connsiteX45" fmla="*/ 8267 w 10000"/>
                <a:gd name="connsiteY45" fmla="*/ 9132 h 10000"/>
                <a:gd name="connsiteX46" fmla="*/ 7779 w 10000"/>
                <a:gd name="connsiteY46" fmla="*/ 8971 h 10000"/>
                <a:gd name="connsiteX47" fmla="*/ 7512 w 10000"/>
                <a:gd name="connsiteY47" fmla="*/ 8457 h 10000"/>
                <a:gd name="connsiteX48" fmla="*/ 7157 w 10000"/>
                <a:gd name="connsiteY48" fmla="*/ 8264 h 10000"/>
                <a:gd name="connsiteX49" fmla="*/ 6933 w 10000"/>
                <a:gd name="connsiteY49" fmla="*/ 8006 h 10000"/>
                <a:gd name="connsiteX50" fmla="*/ 6356 w 10000"/>
                <a:gd name="connsiteY50" fmla="*/ 7814 h 10000"/>
                <a:gd name="connsiteX51" fmla="*/ 6489 w 10000"/>
                <a:gd name="connsiteY51" fmla="*/ 7749 h 10000"/>
                <a:gd name="connsiteX52" fmla="*/ 6489 w 10000"/>
                <a:gd name="connsiteY52" fmla="*/ 7588 h 10000"/>
                <a:gd name="connsiteX53" fmla="*/ 6890 w 10000"/>
                <a:gd name="connsiteY53" fmla="*/ 7588 h 10000"/>
                <a:gd name="connsiteX54" fmla="*/ 7110 w 10000"/>
                <a:gd name="connsiteY54" fmla="*/ 7460 h 10000"/>
                <a:gd name="connsiteX55" fmla="*/ 7157 w 10000"/>
                <a:gd name="connsiteY55" fmla="*/ 6527 h 10000"/>
                <a:gd name="connsiteX56" fmla="*/ 7200 w 10000"/>
                <a:gd name="connsiteY56" fmla="*/ 6559 h 10000"/>
                <a:gd name="connsiteX57" fmla="*/ 7334 w 10000"/>
                <a:gd name="connsiteY57" fmla="*/ 6367 h 10000"/>
                <a:gd name="connsiteX58" fmla="*/ 7600 w 10000"/>
                <a:gd name="connsiteY58" fmla="*/ 6270 h 10000"/>
                <a:gd name="connsiteX59" fmla="*/ 7733 w 10000"/>
                <a:gd name="connsiteY59" fmla="*/ 5916 h 10000"/>
                <a:gd name="connsiteX60" fmla="*/ 8135 w 10000"/>
                <a:gd name="connsiteY60" fmla="*/ 5498 h 10000"/>
                <a:gd name="connsiteX61" fmla="*/ 8443 w 10000"/>
                <a:gd name="connsiteY61" fmla="*/ 5305 h 10000"/>
                <a:gd name="connsiteX62" fmla="*/ 8666 w 10000"/>
                <a:gd name="connsiteY62" fmla="*/ 4759 h 10000"/>
                <a:gd name="connsiteX63" fmla="*/ 8666 w 10000"/>
                <a:gd name="connsiteY63" fmla="*/ 4630 h 10000"/>
                <a:gd name="connsiteX64" fmla="*/ 8623 w 10000"/>
                <a:gd name="connsiteY64" fmla="*/ 4309 h 10000"/>
                <a:gd name="connsiteX65" fmla="*/ 9066 w 10000"/>
                <a:gd name="connsiteY65" fmla="*/ 3151 h 10000"/>
                <a:gd name="connsiteX66" fmla="*/ 9199 w 10000"/>
                <a:gd name="connsiteY66" fmla="*/ 3151 h 10000"/>
                <a:gd name="connsiteX67" fmla="*/ 9378 w 10000"/>
                <a:gd name="connsiteY67" fmla="*/ 3055 h 10000"/>
                <a:gd name="connsiteX68" fmla="*/ 9912 w 10000"/>
                <a:gd name="connsiteY68" fmla="*/ 2894 h 10000"/>
                <a:gd name="connsiteX69" fmla="*/ 10000 w 10000"/>
                <a:gd name="connsiteY69" fmla="*/ 2637 h 10000"/>
                <a:gd name="connsiteX70" fmla="*/ 9957 w 10000"/>
                <a:gd name="connsiteY70" fmla="*/ 2572 h 10000"/>
                <a:gd name="connsiteX71" fmla="*/ 9777 w 10000"/>
                <a:gd name="connsiteY71" fmla="*/ 2572 h 10000"/>
                <a:gd name="connsiteX72" fmla="*/ 9644 w 10000"/>
                <a:gd name="connsiteY72" fmla="*/ 2412 h 10000"/>
                <a:gd name="connsiteX73" fmla="*/ 9378 w 10000"/>
                <a:gd name="connsiteY73" fmla="*/ 2347 h 10000"/>
                <a:gd name="connsiteX74" fmla="*/ 9244 w 10000"/>
                <a:gd name="connsiteY74" fmla="*/ 2219 h 10000"/>
                <a:gd name="connsiteX75" fmla="*/ 9157 w 10000"/>
                <a:gd name="connsiteY75" fmla="*/ 1736 h 10000"/>
                <a:gd name="connsiteX76" fmla="*/ 9157 w 10000"/>
                <a:gd name="connsiteY76" fmla="*/ 1061 h 10000"/>
                <a:gd name="connsiteX77" fmla="*/ 8933 w 10000"/>
                <a:gd name="connsiteY77" fmla="*/ 836 h 10000"/>
                <a:gd name="connsiteX78" fmla="*/ 8889 w 10000"/>
                <a:gd name="connsiteY78" fmla="*/ 611 h 10000"/>
                <a:gd name="connsiteX79" fmla="*/ 8534 w 10000"/>
                <a:gd name="connsiteY79" fmla="*/ 289 h 10000"/>
                <a:gd name="connsiteX80" fmla="*/ 8222 w 10000"/>
                <a:gd name="connsiteY80" fmla="*/ 161 h 10000"/>
                <a:gd name="connsiteX81" fmla="*/ 8045 w 10000"/>
                <a:gd name="connsiteY81" fmla="*/ 0 h 10000"/>
                <a:gd name="connsiteX82" fmla="*/ 7779 w 10000"/>
                <a:gd name="connsiteY82" fmla="*/ 161 h 10000"/>
                <a:gd name="connsiteX83" fmla="*/ 7600 w 10000"/>
                <a:gd name="connsiteY83" fmla="*/ 129 h 10000"/>
                <a:gd name="connsiteX84" fmla="*/ 7466 w 10000"/>
                <a:gd name="connsiteY84" fmla="*/ 418 h 10000"/>
                <a:gd name="connsiteX85" fmla="*/ 7110 w 10000"/>
                <a:gd name="connsiteY85" fmla="*/ 482 h 10000"/>
                <a:gd name="connsiteX86" fmla="*/ 7023 w 10000"/>
                <a:gd name="connsiteY86" fmla="*/ 707 h 10000"/>
                <a:gd name="connsiteX87" fmla="*/ 6711 w 10000"/>
                <a:gd name="connsiteY87" fmla="*/ 707 h 10000"/>
                <a:gd name="connsiteX88" fmla="*/ 6445 w 10000"/>
                <a:gd name="connsiteY88" fmla="*/ 611 h 10000"/>
                <a:gd name="connsiteX89" fmla="*/ 5867 w 10000"/>
                <a:gd name="connsiteY89" fmla="*/ 611 h 10000"/>
                <a:gd name="connsiteX90" fmla="*/ 5289 w 10000"/>
                <a:gd name="connsiteY90" fmla="*/ 611 h 10000"/>
                <a:gd name="connsiteX91" fmla="*/ 5333 w 10000"/>
                <a:gd name="connsiteY91" fmla="*/ 482 h 10000"/>
                <a:gd name="connsiteX92" fmla="*/ 5245 w 10000"/>
                <a:gd name="connsiteY92" fmla="*/ 482 h 10000"/>
                <a:gd name="connsiteX93" fmla="*/ 5201 w 10000"/>
                <a:gd name="connsiteY93" fmla="*/ 611 h 10000"/>
                <a:gd name="connsiteX94" fmla="*/ 4667 w 10000"/>
                <a:gd name="connsiteY94" fmla="*/ 611 h 10000"/>
                <a:gd name="connsiteX95" fmla="*/ 4134 w 10000"/>
                <a:gd name="connsiteY95" fmla="*/ 611 h 10000"/>
                <a:gd name="connsiteX96" fmla="*/ 3602 w 10000"/>
                <a:gd name="connsiteY96" fmla="*/ 611 h 10000"/>
                <a:gd name="connsiteX97" fmla="*/ 3067 w 10000"/>
                <a:gd name="connsiteY97" fmla="*/ 611 h 10000"/>
                <a:gd name="connsiteX98" fmla="*/ 2580 w 10000"/>
                <a:gd name="connsiteY98" fmla="*/ 611 h 10000"/>
                <a:gd name="connsiteX99" fmla="*/ 2046 w 10000"/>
                <a:gd name="connsiteY99" fmla="*/ 611 h 10000"/>
                <a:gd name="connsiteX100" fmla="*/ 1556 w 10000"/>
                <a:gd name="connsiteY100" fmla="*/ 611 h 10000"/>
                <a:gd name="connsiteX101" fmla="*/ 1024 w 10000"/>
                <a:gd name="connsiteY101" fmla="*/ 611 h 10000"/>
                <a:gd name="connsiteX102" fmla="*/ 1024 w 10000"/>
                <a:gd name="connsiteY102" fmla="*/ 1061 h 10000"/>
                <a:gd name="connsiteX103" fmla="*/ 1024 w 10000"/>
                <a:gd name="connsiteY103" fmla="*/ 1640 h 10000"/>
                <a:gd name="connsiteX104" fmla="*/ 356 w 10000"/>
                <a:gd name="connsiteY104" fmla="*/ 1640 h 10000"/>
                <a:gd name="connsiteX105" fmla="*/ 356 w 10000"/>
                <a:gd name="connsiteY105" fmla="*/ 1897 h 10000"/>
                <a:gd name="connsiteX0" fmla="*/ 356 w 10000"/>
                <a:gd name="connsiteY0" fmla="*/ 1897 h 10000"/>
                <a:gd name="connsiteX1" fmla="*/ 5484 w 10000"/>
                <a:gd name="connsiteY1" fmla="*/ 5713 h 10000"/>
                <a:gd name="connsiteX2" fmla="*/ 5520 w 10000"/>
                <a:gd name="connsiteY2" fmla="*/ 6915 h 10000"/>
                <a:gd name="connsiteX3" fmla="*/ 5155 w 10000"/>
                <a:gd name="connsiteY3" fmla="*/ 7114 h 10000"/>
                <a:gd name="connsiteX4" fmla="*/ 4848 w 10000"/>
                <a:gd name="connsiteY4" fmla="*/ 6907 h 10000"/>
                <a:gd name="connsiteX5" fmla="*/ 4403 w 10000"/>
                <a:gd name="connsiteY5" fmla="*/ 6781 h 10000"/>
                <a:gd name="connsiteX6" fmla="*/ 4182 w 10000"/>
                <a:gd name="connsiteY6" fmla="*/ 7064 h 10000"/>
                <a:gd name="connsiteX7" fmla="*/ 3635 w 10000"/>
                <a:gd name="connsiteY7" fmla="*/ 7281 h 10000"/>
                <a:gd name="connsiteX8" fmla="*/ 3284 w 10000"/>
                <a:gd name="connsiteY8" fmla="*/ 7279 h 10000"/>
                <a:gd name="connsiteX9" fmla="*/ 2517 w 10000"/>
                <a:gd name="connsiteY9" fmla="*/ 7095 h 10000"/>
                <a:gd name="connsiteX10" fmla="*/ 2312 w 10000"/>
                <a:gd name="connsiteY10" fmla="*/ 7195 h 10000"/>
                <a:gd name="connsiteX11" fmla="*/ 1800 w 10000"/>
                <a:gd name="connsiteY11" fmla="*/ 6973 h 10000"/>
                <a:gd name="connsiteX12" fmla="*/ 1574 w 10000"/>
                <a:gd name="connsiteY12" fmla="*/ 6638 h 10000"/>
                <a:gd name="connsiteX13" fmla="*/ 1198 w 10000"/>
                <a:gd name="connsiteY13" fmla="*/ 6729 h 10000"/>
                <a:gd name="connsiteX14" fmla="*/ 1096 w 10000"/>
                <a:gd name="connsiteY14" fmla="*/ 6927 h 10000"/>
                <a:gd name="connsiteX15" fmla="*/ 698 w 10000"/>
                <a:gd name="connsiteY15" fmla="*/ 7011 h 10000"/>
                <a:gd name="connsiteX16" fmla="*/ 436 w 10000"/>
                <a:gd name="connsiteY16" fmla="*/ 7004 h 10000"/>
                <a:gd name="connsiteX17" fmla="*/ 292 w 10000"/>
                <a:gd name="connsiteY17" fmla="*/ 7161 h 10000"/>
                <a:gd name="connsiteX18" fmla="*/ 47 w 10000"/>
                <a:gd name="connsiteY18" fmla="*/ 6913 h 10000"/>
                <a:gd name="connsiteX19" fmla="*/ 0 w 10000"/>
                <a:gd name="connsiteY19" fmla="*/ 7363 h 10000"/>
                <a:gd name="connsiteX20" fmla="*/ 89 w 10000"/>
                <a:gd name="connsiteY20" fmla="*/ 7428 h 10000"/>
                <a:gd name="connsiteX21" fmla="*/ 446 w 10000"/>
                <a:gd name="connsiteY21" fmla="*/ 7460 h 10000"/>
                <a:gd name="connsiteX22" fmla="*/ 491 w 10000"/>
                <a:gd name="connsiteY22" fmla="*/ 7588 h 10000"/>
                <a:gd name="connsiteX23" fmla="*/ 890 w 10000"/>
                <a:gd name="connsiteY23" fmla="*/ 7621 h 10000"/>
                <a:gd name="connsiteX24" fmla="*/ 1112 w 10000"/>
                <a:gd name="connsiteY24" fmla="*/ 7749 h 10000"/>
                <a:gd name="connsiteX25" fmla="*/ 1156 w 10000"/>
                <a:gd name="connsiteY25" fmla="*/ 7974 h 10000"/>
                <a:gd name="connsiteX26" fmla="*/ 1869 w 10000"/>
                <a:gd name="connsiteY26" fmla="*/ 8360 h 10000"/>
                <a:gd name="connsiteX27" fmla="*/ 2046 w 10000"/>
                <a:gd name="connsiteY27" fmla="*/ 8746 h 10000"/>
                <a:gd name="connsiteX28" fmla="*/ 2534 w 10000"/>
                <a:gd name="connsiteY28" fmla="*/ 8939 h 10000"/>
                <a:gd name="connsiteX29" fmla="*/ 2712 w 10000"/>
                <a:gd name="connsiteY29" fmla="*/ 9196 h 10000"/>
                <a:gd name="connsiteX30" fmla="*/ 3067 w 10000"/>
                <a:gd name="connsiteY30" fmla="*/ 9518 h 10000"/>
                <a:gd name="connsiteX31" fmla="*/ 3335 w 10000"/>
                <a:gd name="connsiteY31" fmla="*/ 9614 h 10000"/>
                <a:gd name="connsiteX32" fmla="*/ 3513 w 10000"/>
                <a:gd name="connsiteY32" fmla="*/ 9518 h 10000"/>
                <a:gd name="connsiteX33" fmla="*/ 3957 w 10000"/>
                <a:gd name="connsiteY33" fmla="*/ 9550 h 10000"/>
                <a:gd name="connsiteX34" fmla="*/ 4134 w 10000"/>
                <a:gd name="connsiteY34" fmla="*/ 9486 h 10000"/>
                <a:gd name="connsiteX35" fmla="*/ 4934 w 10000"/>
                <a:gd name="connsiteY35" fmla="*/ 9968 h 10000"/>
                <a:gd name="connsiteX36" fmla="*/ 4979 w 10000"/>
                <a:gd name="connsiteY36" fmla="*/ 9968 h 10000"/>
                <a:gd name="connsiteX37" fmla="*/ 5067 w 10000"/>
                <a:gd name="connsiteY37" fmla="*/ 9904 h 10000"/>
                <a:gd name="connsiteX38" fmla="*/ 5643 w 10000"/>
                <a:gd name="connsiteY38" fmla="*/ 9904 h 10000"/>
                <a:gd name="connsiteX39" fmla="*/ 5734 w 10000"/>
                <a:gd name="connsiteY39" fmla="*/ 10000 h 10000"/>
                <a:gd name="connsiteX40" fmla="*/ 6223 w 10000"/>
                <a:gd name="connsiteY40" fmla="*/ 9871 h 10000"/>
                <a:gd name="connsiteX41" fmla="*/ 6666 w 10000"/>
                <a:gd name="connsiteY41" fmla="*/ 9871 h 10000"/>
                <a:gd name="connsiteX42" fmla="*/ 6978 w 10000"/>
                <a:gd name="connsiteY42" fmla="*/ 9743 h 10000"/>
                <a:gd name="connsiteX43" fmla="*/ 7334 w 10000"/>
                <a:gd name="connsiteY43" fmla="*/ 9486 h 10000"/>
                <a:gd name="connsiteX44" fmla="*/ 8267 w 10000"/>
                <a:gd name="connsiteY44" fmla="*/ 9486 h 10000"/>
                <a:gd name="connsiteX45" fmla="*/ 8267 w 10000"/>
                <a:gd name="connsiteY45" fmla="*/ 9132 h 10000"/>
                <a:gd name="connsiteX46" fmla="*/ 7779 w 10000"/>
                <a:gd name="connsiteY46" fmla="*/ 8971 h 10000"/>
                <a:gd name="connsiteX47" fmla="*/ 7512 w 10000"/>
                <a:gd name="connsiteY47" fmla="*/ 8457 h 10000"/>
                <a:gd name="connsiteX48" fmla="*/ 7157 w 10000"/>
                <a:gd name="connsiteY48" fmla="*/ 8264 h 10000"/>
                <a:gd name="connsiteX49" fmla="*/ 6933 w 10000"/>
                <a:gd name="connsiteY49" fmla="*/ 8006 h 10000"/>
                <a:gd name="connsiteX50" fmla="*/ 6356 w 10000"/>
                <a:gd name="connsiteY50" fmla="*/ 7814 h 10000"/>
                <a:gd name="connsiteX51" fmla="*/ 6489 w 10000"/>
                <a:gd name="connsiteY51" fmla="*/ 7749 h 10000"/>
                <a:gd name="connsiteX52" fmla="*/ 6489 w 10000"/>
                <a:gd name="connsiteY52" fmla="*/ 7588 h 10000"/>
                <a:gd name="connsiteX53" fmla="*/ 6890 w 10000"/>
                <a:gd name="connsiteY53" fmla="*/ 7588 h 10000"/>
                <a:gd name="connsiteX54" fmla="*/ 7110 w 10000"/>
                <a:gd name="connsiteY54" fmla="*/ 7460 h 10000"/>
                <a:gd name="connsiteX55" fmla="*/ 7157 w 10000"/>
                <a:gd name="connsiteY55" fmla="*/ 6527 h 10000"/>
                <a:gd name="connsiteX56" fmla="*/ 7200 w 10000"/>
                <a:gd name="connsiteY56" fmla="*/ 6559 h 10000"/>
                <a:gd name="connsiteX57" fmla="*/ 7334 w 10000"/>
                <a:gd name="connsiteY57" fmla="*/ 6367 h 10000"/>
                <a:gd name="connsiteX58" fmla="*/ 7600 w 10000"/>
                <a:gd name="connsiteY58" fmla="*/ 6270 h 10000"/>
                <a:gd name="connsiteX59" fmla="*/ 7733 w 10000"/>
                <a:gd name="connsiteY59" fmla="*/ 5916 h 10000"/>
                <a:gd name="connsiteX60" fmla="*/ 8135 w 10000"/>
                <a:gd name="connsiteY60" fmla="*/ 5498 h 10000"/>
                <a:gd name="connsiteX61" fmla="*/ 8443 w 10000"/>
                <a:gd name="connsiteY61" fmla="*/ 5305 h 10000"/>
                <a:gd name="connsiteX62" fmla="*/ 8666 w 10000"/>
                <a:gd name="connsiteY62" fmla="*/ 4759 h 10000"/>
                <a:gd name="connsiteX63" fmla="*/ 8666 w 10000"/>
                <a:gd name="connsiteY63" fmla="*/ 4630 h 10000"/>
                <a:gd name="connsiteX64" fmla="*/ 8623 w 10000"/>
                <a:gd name="connsiteY64" fmla="*/ 4309 h 10000"/>
                <a:gd name="connsiteX65" fmla="*/ 9066 w 10000"/>
                <a:gd name="connsiteY65" fmla="*/ 3151 h 10000"/>
                <a:gd name="connsiteX66" fmla="*/ 9199 w 10000"/>
                <a:gd name="connsiteY66" fmla="*/ 3151 h 10000"/>
                <a:gd name="connsiteX67" fmla="*/ 9378 w 10000"/>
                <a:gd name="connsiteY67" fmla="*/ 3055 h 10000"/>
                <a:gd name="connsiteX68" fmla="*/ 9912 w 10000"/>
                <a:gd name="connsiteY68" fmla="*/ 2894 h 10000"/>
                <a:gd name="connsiteX69" fmla="*/ 10000 w 10000"/>
                <a:gd name="connsiteY69" fmla="*/ 2637 h 10000"/>
                <a:gd name="connsiteX70" fmla="*/ 9957 w 10000"/>
                <a:gd name="connsiteY70" fmla="*/ 2572 h 10000"/>
                <a:gd name="connsiteX71" fmla="*/ 9777 w 10000"/>
                <a:gd name="connsiteY71" fmla="*/ 2572 h 10000"/>
                <a:gd name="connsiteX72" fmla="*/ 9644 w 10000"/>
                <a:gd name="connsiteY72" fmla="*/ 2412 h 10000"/>
                <a:gd name="connsiteX73" fmla="*/ 9378 w 10000"/>
                <a:gd name="connsiteY73" fmla="*/ 2347 h 10000"/>
                <a:gd name="connsiteX74" fmla="*/ 9244 w 10000"/>
                <a:gd name="connsiteY74" fmla="*/ 2219 h 10000"/>
                <a:gd name="connsiteX75" fmla="*/ 9157 w 10000"/>
                <a:gd name="connsiteY75" fmla="*/ 1736 h 10000"/>
                <a:gd name="connsiteX76" fmla="*/ 9157 w 10000"/>
                <a:gd name="connsiteY76" fmla="*/ 1061 h 10000"/>
                <a:gd name="connsiteX77" fmla="*/ 8933 w 10000"/>
                <a:gd name="connsiteY77" fmla="*/ 836 h 10000"/>
                <a:gd name="connsiteX78" fmla="*/ 8889 w 10000"/>
                <a:gd name="connsiteY78" fmla="*/ 611 h 10000"/>
                <a:gd name="connsiteX79" fmla="*/ 8534 w 10000"/>
                <a:gd name="connsiteY79" fmla="*/ 289 h 10000"/>
                <a:gd name="connsiteX80" fmla="*/ 8222 w 10000"/>
                <a:gd name="connsiteY80" fmla="*/ 161 h 10000"/>
                <a:gd name="connsiteX81" fmla="*/ 8045 w 10000"/>
                <a:gd name="connsiteY81" fmla="*/ 0 h 10000"/>
                <a:gd name="connsiteX82" fmla="*/ 7779 w 10000"/>
                <a:gd name="connsiteY82" fmla="*/ 161 h 10000"/>
                <a:gd name="connsiteX83" fmla="*/ 7600 w 10000"/>
                <a:gd name="connsiteY83" fmla="*/ 129 h 10000"/>
                <a:gd name="connsiteX84" fmla="*/ 7466 w 10000"/>
                <a:gd name="connsiteY84" fmla="*/ 418 h 10000"/>
                <a:gd name="connsiteX85" fmla="*/ 7110 w 10000"/>
                <a:gd name="connsiteY85" fmla="*/ 482 h 10000"/>
                <a:gd name="connsiteX86" fmla="*/ 7023 w 10000"/>
                <a:gd name="connsiteY86" fmla="*/ 707 h 10000"/>
                <a:gd name="connsiteX87" fmla="*/ 6711 w 10000"/>
                <a:gd name="connsiteY87" fmla="*/ 707 h 10000"/>
                <a:gd name="connsiteX88" fmla="*/ 6445 w 10000"/>
                <a:gd name="connsiteY88" fmla="*/ 611 h 10000"/>
                <a:gd name="connsiteX89" fmla="*/ 5867 w 10000"/>
                <a:gd name="connsiteY89" fmla="*/ 611 h 10000"/>
                <a:gd name="connsiteX90" fmla="*/ 5289 w 10000"/>
                <a:gd name="connsiteY90" fmla="*/ 611 h 10000"/>
                <a:gd name="connsiteX91" fmla="*/ 5333 w 10000"/>
                <a:gd name="connsiteY91" fmla="*/ 482 h 10000"/>
                <a:gd name="connsiteX92" fmla="*/ 5245 w 10000"/>
                <a:gd name="connsiteY92" fmla="*/ 482 h 10000"/>
                <a:gd name="connsiteX93" fmla="*/ 5201 w 10000"/>
                <a:gd name="connsiteY93" fmla="*/ 611 h 10000"/>
                <a:gd name="connsiteX94" fmla="*/ 4667 w 10000"/>
                <a:gd name="connsiteY94" fmla="*/ 611 h 10000"/>
                <a:gd name="connsiteX95" fmla="*/ 4134 w 10000"/>
                <a:gd name="connsiteY95" fmla="*/ 611 h 10000"/>
                <a:gd name="connsiteX96" fmla="*/ 3602 w 10000"/>
                <a:gd name="connsiteY96" fmla="*/ 611 h 10000"/>
                <a:gd name="connsiteX97" fmla="*/ 3067 w 10000"/>
                <a:gd name="connsiteY97" fmla="*/ 611 h 10000"/>
                <a:gd name="connsiteX98" fmla="*/ 2580 w 10000"/>
                <a:gd name="connsiteY98" fmla="*/ 611 h 10000"/>
                <a:gd name="connsiteX99" fmla="*/ 2046 w 10000"/>
                <a:gd name="connsiteY99" fmla="*/ 611 h 10000"/>
                <a:gd name="connsiteX100" fmla="*/ 1556 w 10000"/>
                <a:gd name="connsiteY100" fmla="*/ 611 h 10000"/>
                <a:gd name="connsiteX101" fmla="*/ 1024 w 10000"/>
                <a:gd name="connsiteY101" fmla="*/ 611 h 10000"/>
                <a:gd name="connsiteX102" fmla="*/ 1024 w 10000"/>
                <a:gd name="connsiteY102" fmla="*/ 1061 h 10000"/>
                <a:gd name="connsiteX103" fmla="*/ 1024 w 10000"/>
                <a:gd name="connsiteY103" fmla="*/ 1640 h 10000"/>
                <a:gd name="connsiteX104" fmla="*/ 356 w 10000"/>
                <a:gd name="connsiteY104" fmla="*/ 1640 h 10000"/>
                <a:gd name="connsiteX105" fmla="*/ 356 w 10000"/>
                <a:gd name="connsiteY105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334 w 10000"/>
                <a:gd name="connsiteY56" fmla="*/ 6367 h 10000"/>
                <a:gd name="connsiteX57" fmla="*/ 7600 w 10000"/>
                <a:gd name="connsiteY57" fmla="*/ 6270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7600 w 10000"/>
                <a:gd name="connsiteY57" fmla="*/ 6270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66 w 10000"/>
                <a:gd name="connsiteY60" fmla="*/ 4759 h 10000"/>
                <a:gd name="connsiteX61" fmla="*/ 8666 w 10000"/>
                <a:gd name="connsiteY61" fmla="*/ 4630 h 10000"/>
                <a:gd name="connsiteX62" fmla="*/ 8623 w 10000"/>
                <a:gd name="connsiteY62" fmla="*/ 4309 h 10000"/>
                <a:gd name="connsiteX63" fmla="*/ 9066 w 10000"/>
                <a:gd name="connsiteY63" fmla="*/ 3151 h 10000"/>
                <a:gd name="connsiteX64" fmla="*/ 9199 w 10000"/>
                <a:gd name="connsiteY64" fmla="*/ 3151 h 10000"/>
                <a:gd name="connsiteX65" fmla="*/ 9378 w 10000"/>
                <a:gd name="connsiteY65" fmla="*/ 3055 h 10000"/>
                <a:gd name="connsiteX66" fmla="*/ 9912 w 10000"/>
                <a:gd name="connsiteY66" fmla="*/ 2894 h 10000"/>
                <a:gd name="connsiteX67" fmla="*/ 10000 w 10000"/>
                <a:gd name="connsiteY67" fmla="*/ 2637 h 10000"/>
                <a:gd name="connsiteX68" fmla="*/ 9957 w 10000"/>
                <a:gd name="connsiteY68" fmla="*/ 2572 h 10000"/>
                <a:gd name="connsiteX69" fmla="*/ 9777 w 10000"/>
                <a:gd name="connsiteY69" fmla="*/ 2572 h 10000"/>
                <a:gd name="connsiteX70" fmla="*/ 9644 w 10000"/>
                <a:gd name="connsiteY70" fmla="*/ 2412 h 10000"/>
                <a:gd name="connsiteX71" fmla="*/ 9378 w 10000"/>
                <a:gd name="connsiteY71" fmla="*/ 2347 h 10000"/>
                <a:gd name="connsiteX72" fmla="*/ 9244 w 10000"/>
                <a:gd name="connsiteY72" fmla="*/ 2219 h 10000"/>
                <a:gd name="connsiteX73" fmla="*/ 9157 w 10000"/>
                <a:gd name="connsiteY73" fmla="*/ 1736 h 10000"/>
                <a:gd name="connsiteX74" fmla="*/ 9157 w 10000"/>
                <a:gd name="connsiteY74" fmla="*/ 1061 h 10000"/>
                <a:gd name="connsiteX75" fmla="*/ 8933 w 10000"/>
                <a:gd name="connsiteY75" fmla="*/ 836 h 10000"/>
                <a:gd name="connsiteX76" fmla="*/ 8889 w 10000"/>
                <a:gd name="connsiteY76" fmla="*/ 611 h 10000"/>
                <a:gd name="connsiteX77" fmla="*/ 8534 w 10000"/>
                <a:gd name="connsiteY77" fmla="*/ 289 h 10000"/>
                <a:gd name="connsiteX78" fmla="*/ 8222 w 10000"/>
                <a:gd name="connsiteY78" fmla="*/ 161 h 10000"/>
                <a:gd name="connsiteX79" fmla="*/ 8045 w 10000"/>
                <a:gd name="connsiteY79" fmla="*/ 0 h 10000"/>
                <a:gd name="connsiteX80" fmla="*/ 7779 w 10000"/>
                <a:gd name="connsiteY80" fmla="*/ 161 h 10000"/>
                <a:gd name="connsiteX81" fmla="*/ 7600 w 10000"/>
                <a:gd name="connsiteY81" fmla="*/ 129 h 10000"/>
                <a:gd name="connsiteX82" fmla="*/ 7466 w 10000"/>
                <a:gd name="connsiteY82" fmla="*/ 418 h 10000"/>
                <a:gd name="connsiteX83" fmla="*/ 7110 w 10000"/>
                <a:gd name="connsiteY83" fmla="*/ 482 h 10000"/>
                <a:gd name="connsiteX84" fmla="*/ 7023 w 10000"/>
                <a:gd name="connsiteY84" fmla="*/ 707 h 10000"/>
                <a:gd name="connsiteX85" fmla="*/ 6711 w 10000"/>
                <a:gd name="connsiteY85" fmla="*/ 707 h 10000"/>
                <a:gd name="connsiteX86" fmla="*/ 6445 w 10000"/>
                <a:gd name="connsiteY86" fmla="*/ 611 h 10000"/>
                <a:gd name="connsiteX87" fmla="*/ 5867 w 10000"/>
                <a:gd name="connsiteY87" fmla="*/ 611 h 10000"/>
                <a:gd name="connsiteX88" fmla="*/ 5289 w 10000"/>
                <a:gd name="connsiteY88" fmla="*/ 611 h 10000"/>
                <a:gd name="connsiteX89" fmla="*/ 5333 w 10000"/>
                <a:gd name="connsiteY89" fmla="*/ 482 h 10000"/>
                <a:gd name="connsiteX90" fmla="*/ 5245 w 10000"/>
                <a:gd name="connsiteY90" fmla="*/ 482 h 10000"/>
                <a:gd name="connsiteX91" fmla="*/ 5201 w 10000"/>
                <a:gd name="connsiteY91" fmla="*/ 611 h 10000"/>
                <a:gd name="connsiteX92" fmla="*/ 4667 w 10000"/>
                <a:gd name="connsiteY92" fmla="*/ 611 h 10000"/>
                <a:gd name="connsiteX93" fmla="*/ 4134 w 10000"/>
                <a:gd name="connsiteY93" fmla="*/ 611 h 10000"/>
                <a:gd name="connsiteX94" fmla="*/ 3602 w 10000"/>
                <a:gd name="connsiteY94" fmla="*/ 611 h 10000"/>
                <a:gd name="connsiteX95" fmla="*/ 3067 w 10000"/>
                <a:gd name="connsiteY95" fmla="*/ 611 h 10000"/>
                <a:gd name="connsiteX96" fmla="*/ 2580 w 10000"/>
                <a:gd name="connsiteY96" fmla="*/ 611 h 10000"/>
                <a:gd name="connsiteX97" fmla="*/ 2046 w 10000"/>
                <a:gd name="connsiteY97" fmla="*/ 611 h 10000"/>
                <a:gd name="connsiteX98" fmla="*/ 1556 w 10000"/>
                <a:gd name="connsiteY98" fmla="*/ 611 h 10000"/>
                <a:gd name="connsiteX99" fmla="*/ 1024 w 10000"/>
                <a:gd name="connsiteY99" fmla="*/ 611 h 10000"/>
                <a:gd name="connsiteX100" fmla="*/ 1024 w 10000"/>
                <a:gd name="connsiteY100" fmla="*/ 1061 h 10000"/>
                <a:gd name="connsiteX101" fmla="*/ 1024 w 10000"/>
                <a:gd name="connsiteY101" fmla="*/ 1640 h 10000"/>
                <a:gd name="connsiteX102" fmla="*/ 356 w 10000"/>
                <a:gd name="connsiteY102" fmla="*/ 1640 h 10000"/>
                <a:gd name="connsiteX103" fmla="*/ 356 w 10000"/>
                <a:gd name="connsiteY103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66 w 10000"/>
                <a:gd name="connsiteY60" fmla="*/ 4630 h 10000"/>
                <a:gd name="connsiteX61" fmla="*/ 8623 w 10000"/>
                <a:gd name="connsiteY61" fmla="*/ 4309 h 10000"/>
                <a:gd name="connsiteX62" fmla="*/ 9066 w 10000"/>
                <a:gd name="connsiteY62" fmla="*/ 3151 h 10000"/>
                <a:gd name="connsiteX63" fmla="*/ 9199 w 10000"/>
                <a:gd name="connsiteY63" fmla="*/ 3151 h 10000"/>
                <a:gd name="connsiteX64" fmla="*/ 9378 w 10000"/>
                <a:gd name="connsiteY64" fmla="*/ 3055 h 10000"/>
                <a:gd name="connsiteX65" fmla="*/ 9912 w 10000"/>
                <a:gd name="connsiteY65" fmla="*/ 2894 h 10000"/>
                <a:gd name="connsiteX66" fmla="*/ 10000 w 10000"/>
                <a:gd name="connsiteY66" fmla="*/ 2637 h 10000"/>
                <a:gd name="connsiteX67" fmla="*/ 9957 w 10000"/>
                <a:gd name="connsiteY67" fmla="*/ 2572 h 10000"/>
                <a:gd name="connsiteX68" fmla="*/ 9777 w 10000"/>
                <a:gd name="connsiteY68" fmla="*/ 2572 h 10000"/>
                <a:gd name="connsiteX69" fmla="*/ 9644 w 10000"/>
                <a:gd name="connsiteY69" fmla="*/ 2412 h 10000"/>
                <a:gd name="connsiteX70" fmla="*/ 9378 w 10000"/>
                <a:gd name="connsiteY70" fmla="*/ 2347 h 10000"/>
                <a:gd name="connsiteX71" fmla="*/ 9244 w 10000"/>
                <a:gd name="connsiteY71" fmla="*/ 2219 h 10000"/>
                <a:gd name="connsiteX72" fmla="*/ 9157 w 10000"/>
                <a:gd name="connsiteY72" fmla="*/ 1736 h 10000"/>
                <a:gd name="connsiteX73" fmla="*/ 9157 w 10000"/>
                <a:gd name="connsiteY73" fmla="*/ 1061 h 10000"/>
                <a:gd name="connsiteX74" fmla="*/ 8933 w 10000"/>
                <a:gd name="connsiteY74" fmla="*/ 836 h 10000"/>
                <a:gd name="connsiteX75" fmla="*/ 8889 w 10000"/>
                <a:gd name="connsiteY75" fmla="*/ 611 h 10000"/>
                <a:gd name="connsiteX76" fmla="*/ 8534 w 10000"/>
                <a:gd name="connsiteY76" fmla="*/ 289 h 10000"/>
                <a:gd name="connsiteX77" fmla="*/ 8222 w 10000"/>
                <a:gd name="connsiteY77" fmla="*/ 161 h 10000"/>
                <a:gd name="connsiteX78" fmla="*/ 8045 w 10000"/>
                <a:gd name="connsiteY78" fmla="*/ 0 h 10000"/>
                <a:gd name="connsiteX79" fmla="*/ 7779 w 10000"/>
                <a:gd name="connsiteY79" fmla="*/ 161 h 10000"/>
                <a:gd name="connsiteX80" fmla="*/ 7600 w 10000"/>
                <a:gd name="connsiteY80" fmla="*/ 129 h 10000"/>
                <a:gd name="connsiteX81" fmla="*/ 7466 w 10000"/>
                <a:gd name="connsiteY81" fmla="*/ 418 h 10000"/>
                <a:gd name="connsiteX82" fmla="*/ 7110 w 10000"/>
                <a:gd name="connsiteY82" fmla="*/ 482 h 10000"/>
                <a:gd name="connsiteX83" fmla="*/ 7023 w 10000"/>
                <a:gd name="connsiteY83" fmla="*/ 707 h 10000"/>
                <a:gd name="connsiteX84" fmla="*/ 6711 w 10000"/>
                <a:gd name="connsiteY84" fmla="*/ 707 h 10000"/>
                <a:gd name="connsiteX85" fmla="*/ 6445 w 10000"/>
                <a:gd name="connsiteY85" fmla="*/ 611 h 10000"/>
                <a:gd name="connsiteX86" fmla="*/ 5867 w 10000"/>
                <a:gd name="connsiteY86" fmla="*/ 611 h 10000"/>
                <a:gd name="connsiteX87" fmla="*/ 5289 w 10000"/>
                <a:gd name="connsiteY87" fmla="*/ 611 h 10000"/>
                <a:gd name="connsiteX88" fmla="*/ 5333 w 10000"/>
                <a:gd name="connsiteY88" fmla="*/ 482 h 10000"/>
                <a:gd name="connsiteX89" fmla="*/ 5245 w 10000"/>
                <a:gd name="connsiteY89" fmla="*/ 482 h 10000"/>
                <a:gd name="connsiteX90" fmla="*/ 5201 w 10000"/>
                <a:gd name="connsiteY90" fmla="*/ 611 h 10000"/>
                <a:gd name="connsiteX91" fmla="*/ 4667 w 10000"/>
                <a:gd name="connsiteY91" fmla="*/ 611 h 10000"/>
                <a:gd name="connsiteX92" fmla="*/ 4134 w 10000"/>
                <a:gd name="connsiteY92" fmla="*/ 611 h 10000"/>
                <a:gd name="connsiteX93" fmla="*/ 3602 w 10000"/>
                <a:gd name="connsiteY93" fmla="*/ 611 h 10000"/>
                <a:gd name="connsiteX94" fmla="*/ 3067 w 10000"/>
                <a:gd name="connsiteY94" fmla="*/ 611 h 10000"/>
                <a:gd name="connsiteX95" fmla="*/ 2580 w 10000"/>
                <a:gd name="connsiteY95" fmla="*/ 611 h 10000"/>
                <a:gd name="connsiteX96" fmla="*/ 2046 w 10000"/>
                <a:gd name="connsiteY96" fmla="*/ 611 h 10000"/>
                <a:gd name="connsiteX97" fmla="*/ 1556 w 10000"/>
                <a:gd name="connsiteY97" fmla="*/ 611 h 10000"/>
                <a:gd name="connsiteX98" fmla="*/ 1024 w 10000"/>
                <a:gd name="connsiteY98" fmla="*/ 611 h 10000"/>
                <a:gd name="connsiteX99" fmla="*/ 1024 w 10000"/>
                <a:gd name="connsiteY99" fmla="*/ 1061 h 10000"/>
                <a:gd name="connsiteX100" fmla="*/ 1024 w 10000"/>
                <a:gd name="connsiteY100" fmla="*/ 1640 h 10000"/>
                <a:gd name="connsiteX101" fmla="*/ 356 w 10000"/>
                <a:gd name="connsiteY101" fmla="*/ 1640 h 10000"/>
                <a:gd name="connsiteX102" fmla="*/ 356 w 10000"/>
                <a:gd name="connsiteY102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23 w 10000"/>
                <a:gd name="connsiteY60" fmla="*/ 4309 h 10000"/>
                <a:gd name="connsiteX61" fmla="*/ 9066 w 10000"/>
                <a:gd name="connsiteY61" fmla="*/ 3151 h 10000"/>
                <a:gd name="connsiteX62" fmla="*/ 9199 w 10000"/>
                <a:gd name="connsiteY62" fmla="*/ 3151 h 10000"/>
                <a:gd name="connsiteX63" fmla="*/ 9378 w 10000"/>
                <a:gd name="connsiteY63" fmla="*/ 3055 h 10000"/>
                <a:gd name="connsiteX64" fmla="*/ 9912 w 10000"/>
                <a:gd name="connsiteY64" fmla="*/ 2894 h 10000"/>
                <a:gd name="connsiteX65" fmla="*/ 10000 w 10000"/>
                <a:gd name="connsiteY65" fmla="*/ 2637 h 10000"/>
                <a:gd name="connsiteX66" fmla="*/ 9957 w 10000"/>
                <a:gd name="connsiteY66" fmla="*/ 2572 h 10000"/>
                <a:gd name="connsiteX67" fmla="*/ 9777 w 10000"/>
                <a:gd name="connsiteY67" fmla="*/ 2572 h 10000"/>
                <a:gd name="connsiteX68" fmla="*/ 9644 w 10000"/>
                <a:gd name="connsiteY68" fmla="*/ 2412 h 10000"/>
                <a:gd name="connsiteX69" fmla="*/ 9378 w 10000"/>
                <a:gd name="connsiteY69" fmla="*/ 2347 h 10000"/>
                <a:gd name="connsiteX70" fmla="*/ 9244 w 10000"/>
                <a:gd name="connsiteY70" fmla="*/ 2219 h 10000"/>
                <a:gd name="connsiteX71" fmla="*/ 9157 w 10000"/>
                <a:gd name="connsiteY71" fmla="*/ 1736 h 10000"/>
                <a:gd name="connsiteX72" fmla="*/ 9157 w 10000"/>
                <a:gd name="connsiteY72" fmla="*/ 1061 h 10000"/>
                <a:gd name="connsiteX73" fmla="*/ 8933 w 10000"/>
                <a:gd name="connsiteY73" fmla="*/ 836 h 10000"/>
                <a:gd name="connsiteX74" fmla="*/ 8889 w 10000"/>
                <a:gd name="connsiteY74" fmla="*/ 611 h 10000"/>
                <a:gd name="connsiteX75" fmla="*/ 8534 w 10000"/>
                <a:gd name="connsiteY75" fmla="*/ 289 h 10000"/>
                <a:gd name="connsiteX76" fmla="*/ 8222 w 10000"/>
                <a:gd name="connsiteY76" fmla="*/ 161 h 10000"/>
                <a:gd name="connsiteX77" fmla="*/ 8045 w 10000"/>
                <a:gd name="connsiteY77" fmla="*/ 0 h 10000"/>
                <a:gd name="connsiteX78" fmla="*/ 7779 w 10000"/>
                <a:gd name="connsiteY78" fmla="*/ 161 h 10000"/>
                <a:gd name="connsiteX79" fmla="*/ 7600 w 10000"/>
                <a:gd name="connsiteY79" fmla="*/ 129 h 10000"/>
                <a:gd name="connsiteX80" fmla="*/ 7466 w 10000"/>
                <a:gd name="connsiteY80" fmla="*/ 418 h 10000"/>
                <a:gd name="connsiteX81" fmla="*/ 7110 w 10000"/>
                <a:gd name="connsiteY81" fmla="*/ 482 h 10000"/>
                <a:gd name="connsiteX82" fmla="*/ 7023 w 10000"/>
                <a:gd name="connsiteY82" fmla="*/ 707 h 10000"/>
                <a:gd name="connsiteX83" fmla="*/ 6711 w 10000"/>
                <a:gd name="connsiteY83" fmla="*/ 707 h 10000"/>
                <a:gd name="connsiteX84" fmla="*/ 6445 w 10000"/>
                <a:gd name="connsiteY84" fmla="*/ 611 h 10000"/>
                <a:gd name="connsiteX85" fmla="*/ 5867 w 10000"/>
                <a:gd name="connsiteY85" fmla="*/ 611 h 10000"/>
                <a:gd name="connsiteX86" fmla="*/ 5289 w 10000"/>
                <a:gd name="connsiteY86" fmla="*/ 611 h 10000"/>
                <a:gd name="connsiteX87" fmla="*/ 5333 w 10000"/>
                <a:gd name="connsiteY87" fmla="*/ 482 h 10000"/>
                <a:gd name="connsiteX88" fmla="*/ 5245 w 10000"/>
                <a:gd name="connsiteY88" fmla="*/ 482 h 10000"/>
                <a:gd name="connsiteX89" fmla="*/ 5201 w 10000"/>
                <a:gd name="connsiteY89" fmla="*/ 611 h 10000"/>
                <a:gd name="connsiteX90" fmla="*/ 4667 w 10000"/>
                <a:gd name="connsiteY90" fmla="*/ 611 h 10000"/>
                <a:gd name="connsiteX91" fmla="*/ 4134 w 10000"/>
                <a:gd name="connsiteY91" fmla="*/ 611 h 10000"/>
                <a:gd name="connsiteX92" fmla="*/ 3602 w 10000"/>
                <a:gd name="connsiteY92" fmla="*/ 611 h 10000"/>
                <a:gd name="connsiteX93" fmla="*/ 3067 w 10000"/>
                <a:gd name="connsiteY93" fmla="*/ 611 h 10000"/>
                <a:gd name="connsiteX94" fmla="*/ 2580 w 10000"/>
                <a:gd name="connsiteY94" fmla="*/ 611 h 10000"/>
                <a:gd name="connsiteX95" fmla="*/ 2046 w 10000"/>
                <a:gd name="connsiteY95" fmla="*/ 611 h 10000"/>
                <a:gd name="connsiteX96" fmla="*/ 1556 w 10000"/>
                <a:gd name="connsiteY96" fmla="*/ 611 h 10000"/>
                <a:gd name="connsiteX97" fmla="*/ 1024 w 10000"/>
                <a:gd name="connsiteY97" fmla="*/ 611 h 10000"/>
                <a:gd name="connsiteX98" fmla="*/ 1024 w 10000"/>
                <a:gd name="connsiteY98" fmla="*/ 1061 h 10000"/>
                <a:gd name="connsiteX99" fmla="*/ 1024 w 10000"/>
                <a:gd name="connsiteY99" fmla="*/ 1640 h 10000"/>
                <a:gd name="connsiteX100" fmla="*/ 356 w 10000"/>
                <a:gd name="connsiteY100" fmla="*/ 1640 h 10000"/>
                <a:gd name="connsiteX101" fmla="*/ 356 w 10000"/>
                <a:gd name="connsiteY101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066 w 10000"/>
                <a:gd name="connsiteY61" fmla="*/ 3151 h 10000"/>
                <a:gd name="connsiteX62" fmla="*/ 9199 w 10000"/>
                <a:gd name="connsiteY62" fmla="*/ 3151 h 10000"/>
                <a:gd name="connsiteX63" fmla="*/ 9378 w 10000"/>
                <a:gd name="connsiteY63" fmla="*/ 3055 h 10000"/>
                <a:gd name="connsiteX64" fmla="*/ 9912 w 10000"/>
                <a:gd name="connsiteY64" fmla="*/ 2894 h 10000"/>
                <a:gd name="connsiteX65" fmla="*/ 10000 w 10000"/>
                <a:gd name="connsiteY65" fmla="*/ 2637 h 10000"/>
                <a:gd name="connsiteX66" fmla="*/ 9957 w 10000"/>
                <a:gd name="connsiteY66" fmla="*/ 2572 h 10000"/>
                <a:gd name="connsiteX67" fmla="*/ 9777 w 10000"/>
                <a:gd name="connsiteY67" fmla="*/ 2572 h 10000"/>
                <a:gd name="connsiteX68" fmla="*/ 9644 w 10000"/>
                <a:gd name="connsiteY68" fmla="*/ 2412 h 10000"/>
                <a:gd name="connsiteX69" fmla="*/ 9378 w 10000"/>
                <a:gd name="connsiteY69" fmla="*/ 2347 h 10000"/>
                <a:gd name="connsiteX70" fmla="*/ 9244 w 10000"/>
                <a:gd name="connsiteY70" fmla="*/ 2219 h 10000"/>
                <a:gd name="connsiteX71" fmla="*/ 9157 w 10000"/>
                <a:gd name="connsiteY71" fmla="*/ 1736 h 10000"/>
                <a:gd name="connsiteX72" fmla="*/ 9157 w 10000"/>
                <a:gd name="connsiteY72" fmla="*/ 1061 h 10000"/>
                <a:gd name="connsiteX73" fmla="*/ 8933 w 10000"/>
                <a:gd name="connsiteY73" fmla="*/ 836 h 10000"/>
                <a:gd name="connsiteX74" fmla="*/ 8889 w 10000"/>
                <a:gd name="connsiteY74" fmla="*/ 611 h 10000"/>
                <a:gd name="connsiteX75" fmla="*/ 8534 w 10000"/>
                <a:gd name="connsiteY75" fmla="*/ 289 h 10000"/>
                <a:gd name="connsiteX76" fmla="*/ 8222 w 10000"/>
                <a:gd name="connsiteY76" fmla="*/ 161 h 10000"/>
                <a:gd name="connsiteX77" fmla="*/ 8045 w 10000"/>
                <a:gd name="connsiteY77" fmla="*/ 0 h 10000"/>
                <a:gd name="connsiteX78" fmla="*/ 7779 w 10000"/>
                <a:gd name="connsiteY78" fmla="*/ 161 h 10000"/>
                <a:gd name="connsiteX79" fmla="*/ 7600 w 10000"/>
                <a:gd name="connsiteY79" fmla="*/ 129 h 10000"/>
                <a:gd name="connsiteX80" fmla="*/ 7466 w 10000"/>
                <a:gd name="connsiteY80" fmla="*/ 418 h 10000"/>
                <a:gd name="connsiteX81" fmla="*/ 7110 w 10000"/>
                <a:gd name="connsiteY81" fmla="*/ 482 h 10000"/>
                <a:gd name="connsiteX82" fmla="*/ 7023 w 10000"/>
                <a:gd name="connsiteY82" fmla="*/ 707 h 10000"/>
                <a:gd name="connsiteX83" fmla="*/ 6711 w 10000"/>
                <a:gd name="connsiteY83" fmla="*/ 707 h 10000"/>
                <a:gd name="connsiteX84" fmla="*/ 6445 w 10000"/>
                <a:gd name="connsiteY84" fmla="*/ 611 h 10000"/>
                <a:gd name="connsiteX85" fmla="*/ 5867 w 10000"/>
                <a:gd name="connsiteY85" fmla="*/ 611 h 10000"/>
                <a:gd name="connsiteX86" fmla="*/ 5289 w 10000"/>
                <a:gd name="connsiteY86" fmla="*/ 611 h 10000"/>
                <a:gd name="connsiteX87" fmla="*/ 5333 w 10000"/>
                <a:gd name="connsiteY87" fmla="*/ 482 h 10000"/>
                <a:gd name="connsiteX88" fmla="*/ 5245 w 10000"/>
                <a:gd name="connsiteY88" fmla="*/ 482 h 10000"/>
                <a:gd name="connsiteX89" fmla="*/ 5201 w 10000"/>
                <a:gd name="connsiteY89" fmla="*/ 611 h 10000"/>
                <a:gd name="connsiteX90" fmla="*/ 4667 w 10000"/>
                <a:gd name="connsiteY90" fmla="*/ 611 h 10000"/>
                <a:gd name="connsiteX91" fmla="*/ 4134 w 10000"/>
                <a:gd name="connsiteY91" fmla="*/ 611 h 10000"/>
                <a:gd name="connsiteX92" fmla="*/ 3602 w 10000"/>
                <a:gd name="connsiteY92" fmla="*/ 611 h 10000"/>
                <a:gd name="connsiteX93" fmla="*/ 3067 w 10000"/>
                <a:gd name="connsiteY93" fmla="*/ 611 h 10000"/>
                <a:gd name="connsiteX94" fmla="*/ 2580 w 10000"/>
                <a:gd name="connsiteY94" fmla="*/ 611 h 10000"/>
                <a:gd name="connsiteX95" fmla="*/ 2046 w 10000"/>
                <a:gd name="connsiteY95" fmla="*/ 611 h 10000"/>
                <a:gd name="connsiteX96" fmla="*/ 1556 w 10000"/>
                <a:gd name="connsiteY96" fmla="*/ 611 h 10000"/>
                <a:gd name="connsiteX97" fmla="*/ 1024 w 10000"/>
                <a:gd name="connsiteY97" fmla="*/ 611 h 10000"/>
                <a:gd name="connsiteX98" fmla="*/ 1024 w 10000"/>
                <a:gd name="connsiteY98" fmla="*/ 1061 h 10000"/>
                <a:gd name="connsiteX99" fmla="*/ 1024 w 10000"/>
                <a:gd name="connsiteY99" fmla="*/ 1640 h 10000"/>
                <a:gd name="connsiteX100" fmla="*/ 356 w 10000"/>
                <a:gd name="connsiteY100" fmla="*/ 1640 h 10000"/>
                <a:gd name="connsiteX101" fmla="*/ 356 w 10000"/>
                <a:gd name="connsiteY101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199 w 10000"/>
                <a:gd name="connsiteY61" fmla="*/ 3151 h 10000"/>
                <a:gd name="connsiteX62" fmla="*/ 9378 w 10000"/>
                <a:gd name="connsiteY62" fmla="*/ 3055 h 10000"/>
                <a:gd name="connsiteX63" fmla="*/ 9912 w 10000"/>
                <a:gd name="connsiteY63" fmla="*/ 2894 h 10000"/>
                <a:gd name="connsiteX64" fmla="*/ 10000 w 10000"/>
                <a:gd name="connsiteY64" fmla="*/ 2637 h 10000"/>
                <a:gd name="connsiteX65" fmla="*/ 9957 w 10000"/>
                <a:gd name="connsiteY65" fmla="*/ 2572 h 10000"/>
                <a:gd name="connsiteX66" fmla="*/ 9777 w 10000"/>
                <a:gd name="connsiteY66" fmla="*/ 2572 h 10000"/>
                <a:gd name="connsiteX67" fmla="*/ 9644 w 10000"/>
                <a:gd name="connsiteY67" fmla="*/ 2412 h 10000"/>
                <a:gd name="connsiteX68" fmla="*/ 9378 w 10000"/>
                <a:gd name="connsiteY68" fmla="*/ 2347 h 10000"/>
                <a:gd name="connsiteX69" fmla="*/ 9244 w 10000"/>
                <a:gd name="connsiteY69" fmla="*/ 2219 h 10000"/>
                <a:gd name="connsiteX70" fmla="*/ 9157 w 10000"/>
                <a:gd name="connsiteY70" fmla="*/ 1736 h 10000"/>
                <a:gd name="connsiteX71" fmla="*/ 9157 w 10000"/>
                <a:gd name="connsiteY71" fmla="*/ 1061 h 10000"/>
                <a:gd name="connsiteX72" fmla="*/ 8933 w 10000"/>
                <a:gd name="connsiteY72" fmla="*/ 836 h 10000"/>
                <a:gd name="connsiteX73" fmla="*/ 8889 w 10000"/>
                <a:gd name="connsiteY73" fmla="*/ 611 h 10000"/>
                <a:gd name="connsiteX74" fmla="*/ 8534 w 10000"/>
                <a:gd name="connsiteY74" fmla="*/ 289 h 10000"/>
                <a:gd name="connsiteX75" fmla="*/ 8222 w 10000"/>
                <a:gd name="connsiteY75" fmla="*/ 161 h 10000"/>
                <a:gd name="connsiteX76" fmla="*/ 8045 w 10000"/>
                <a:gd name="connsiteY76" fmla="*/ 0 h 10000"/>
                <a:gd name="connsiteX77" fmla="*/ 7779 w 10000"/>
                <a:gd name="connsiteY77" fmla="*/ 161 h 10000"/>
                <a:gd name="connsiteX78" fmla="*/ 7600 w 10000"/>
                <a:gd name="connsiteY78" fmla="*/ 129 h 10000"/>
                <a:gd name="connsiteX79" fmla="*/ 7466 w 10000"/>
                <a:gd name="connsiteY79" fmla="*/ 418 h 10000"/>
                <a:gd name="connsiteX80" fmla="*/ 7110 w 10000"/>
                <a:gd name="connsiteY80" fmla="*/ 482 h 10000"/>
                <a:gd name="connsiteX81" fmla="*/ 7023 w 10000"/>
                <a:gd name="connsiteY81" fmla="*/ 707 h 10000"/>
                <a:gd name="connsiteX82" fmla="*/ 6711 w 10000"/>
                <a:gd name="connsiteY82" fmla="*/ 707 h 10000"/>
                <a:gd name="connsiteX83" fmla="*/ 6445 w 10000"/>
                <a:gd name="connsiteY83" fmla="*/ 611 h 10000"/>
                <a:gd name="connsiteX84" fmla="*/ 5867 w 10000"/>
                <a:gd name="connsiteY84" fmla="*/ 611 h 10000"/>
                <a:gd name="connsiteX85" fmla="*/ 5289 w 10000"/>
                <a:gd name="connsiteY85" fmla="*/ 611 h 10000"/>
                <a:gd name="connsiteX86" fmla="*/ 5333 w 10000"/>
                <a:gd name="connsiteY86" fmla="*/ 482 h 10000"/>
                <a:gd name="connsiteX87" fmla="*/ 5245 w 10000"/>
                <a:gd name="connsiteY87" fmla="*/ 482 h 10000"/>
                <a:gd name="connsiteX88" fmla="*/ 5201 w 10000"/>
                <a:gd name="connsiteY88" fmla="*/ 611 h 10000"/>
                <a:gd name="connsiteX89" fmla="*/ 4667 w 10000"/>
                <a:gd name="connsiteY89" fmla="*/ 611 h 10000"/>
                <a:gd name="connsiteX90" fmla="*/ 4134 w 10000"/>
                <a:gd name="connsiteY90" fmla="*/ 611 h 10000"/>
                <a:gd name="connsiteX91" fmla="*/ 3602 w 10000"/>
                <a:gd name="connsiteY91" fmla="*/ 611 h 10000"/>
                <a:gd name="connsiteX92" fmla="*/ 3067 w 10000"/>
                <a:gd name="connsiteY92" fmla="*/ 611 h 10000"/>
                <a:gd name="connsiteX93" fmla="*/ 2580 w 10000"/>
                <a:gd name="connsiteY93" fmla="*/ 611 h 10000"/>
                <a:gd name="connsiteX94" fmla="*/ 2046 w 10000"/>
                <a:gd name="connsiteY94" fmla="*/ 611 h 10000"/>
                <a:gd name="connsiteX95" fmla="*/ 1556 w 10000"/>
                <a:gd name="connsiteY95" fmla="*/ 611 h 10000"/>
                <a:gd name="connsiteX96" fmla="*/ 1024 w 10000"/>
                <a:gd name="connsiteY96" fmla="*/ 611 h 10000"/>
                <a:gd name="connsiteX97" fmla="*/ 1024 w 10000"/>
                <a:gd name="connsiteY97" fmla="*/ 1061 h 10000"/>
                <a:gd name="connsiteX98" fmla="*/ 1024 w 10000"/>
                <a:gd name="connsiteY98" fmla="*/ 1640 h 10000"/>
                <a:gd name="connsiteX99" fmla="*/ 356 w 10000"/>
                <a:gd name="connsiteY99" fmla="*/ 1640 h 10000"/>
                <a:gd name="connsiteX100" fmla="*/ 356 w 10000"/>
                <a:gd name="connsiteY100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378 w 10000"/>
                <a:gd name="connsiteY61" fmla="*/ 3055 h 10000"/>
                <a:gd name="connsiteX62" fmla="*/ 9912 w 10000"/>
                <a:gd name="connsiteY62" fmla="*/ 2894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6093 w 10000"/>
                <a:gd name="connsiteY61" fmla="*/ 6462 h 10000"/>
                <a:gd name="connsiteX62" fmla="*/ 9912 w 10000"/>
                <a:gd name="connsiteY62" fmla="*/ 2894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6093 w 10000"/>
                <a:gd name="connsiteY61" fmla="*/ 6462 h 10000"/>
                <a:gd name="connsiteX62" fmla="*/ 5751 w 10000"/>
                <a:gd name="connsiteY62" fmla="*/ 6670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9957"/>
                <a:gd name="connsiteY0" fmla="*/ 1897 h 10000"/>
                <a:gd name="connsiteX1" fmla="*/ 5520 w 9957"/>
                <a:gd name="connsiteY1" fmla="*/ 6915 h 10000"/>
                <a:gd name="connsiteX2" fmla="*/ 5155 w 9957"/>
                <a:gd name="connsiteY2" fmla="*/ 7114 h 10000"/>
                <a:gd name="connsiteX3" fmla="*/ 4848 w 9957"/>
                <a:gd name="connsiteY3" fmla="*/ 6907 h 10000"/>
                <a:gd name="connsiteX4" fmla="*/ 4403 w 9957"/>
                <a:gd name="connsiteY4" fmla="*/ 6781 h 10000"/>
                <a:gd name="connsiteX5" fmla="*/ 4182 w 9957"/>
                <a:gd name="connsiteY5" fmla="*/ 7064 h 10000"/>
                <a:gd name="connsiteX6" fmla="*/ 3635 w 9957"/>
                <a:gd name="connsiteY6" fmla="*/ 7281 h 10000"/>
                <a:gd name="connsiteX7" fmla="*/ 3284 w 9957"/>
                <a:gd name="connsiteY7" fmla="*/ 7279 h 10000"/>
                <a:gd name="connsiteX8" fmla="*/ 2517 w 9957"/>
                <a:gd name="connsiteY8" fmla="*/ 7095 h 10000"/>
                <a:gd name="connsiteX9" fmla="*/ 2312 w 9957"/>
                <a:gd name="connsiteY9" fmla="*/ 7195 h 10000"/>
                <a:gd name="connsiteX10" fmla="*/ 1800 w 9957"/>
                <a:gd name="connsiteY10" fmla="*/ 6973 h 10000"/>
                <a:gd name="connsiteX11" fmla="*/ 1574 w 9957"/>
                <a:gd name="connsiteY11" fmla="*/ 6638 h 10000"/>
                <a:gd name="connsiteX12" fmla="*/ 1198 w 9957"/>
                <a:gd name="connsiteY12" fmla="*/ 6729 h 10000"/>
                <a:gd name="connsiteX13" fmla="*/ 1096 w 9957"/>
                <a:gd name="connsiteY13" fmla="*/ 6927 h 10000"/>
                <a:gd name="connsiteX14" fmla="*/ 698 w 9957"/>
                <a:gd name="connsiteY14" fmla="*/ 7011 h 10000"/>
                <a:gd name="connsiteX15" fmla="*/ 436 w 9957"/>
                <a:gd name="connsiteY15" fmla="*/ 7004 h 10000"/>
                <a:gd name="connsiteX16" fmla="*/ 292 w 9957"/>
                <a:gd name="connsiteY16" fmla="*/ 7161 h 10000"/>
                <a:gd name="connsiteX17" fmla="*/ 47 w 9957"/>
                <a:gd name="connsiteY17" fmla="*/ 6913 h 10000"/>
                <a:gd name="connsiteX18" fmla="*/ 0 w 9957"/>
                <a:gd name="connsiteY18" fmla="*/ 7363 h 10000"/>
                <a:gd name="connsiteX19" fmla="*/ 89 w 9957"/>
                <a:gd name="connsiteY19" fmla="*/ 7428 h 10000"/>
                <a:gd name="connsiteX20" fmla="*/ 446 w 9957"/>
                <a:gd name="connsiteY20" fmla="*/ 7460 h 10000"/>
                <a:gd name="connsiteX21" fmla="*/ 491 w 9957"/>
                <a:gd name="connsiteY21" fmla="*/ 7588 h 10000"/>
                <a:gd name="connsiteX22" fmla="*/ 890 w 9957"/>
                <a:gd name="connsiteY22" fmla="*/ 7621 h 10000"/>
                <a:gd name="connsiteX23" fmla="*/ 1112 w 9957"/>
                <a:gd name="connsiteY23" fmla="*/ 7749 h 10000"/>
                <a:gd name="connsiteX24" fmla="*/ 1156 w 9957"/>
                <a:gd name="connsiteY24" fmla="*/ 7974 h 10000"/>
                <a:gd name="connsiteX25" fmla="*/ 1869 w 9957"/>
                <a:gd name="connsiteY25" fmla="*/ 8360 h 10000"/>
                <a:gd name="connsiteX26" fmla="*/ 2046 w 9957"/>
                <a:gd name="connsiteY26" fmla="*/ 8746 h 10000"/>
                <a:gd name="connsiteX27" fmla="*/ 2534 w 9957"/>
                <a:gd name="connsiteY27" fmla="*/ 8939 h 10000"/>
                <a:gd name="connsiteX28" fmla="*/ 2712 w 9957"/>
                <a:gd name="connsiteY28" fmla="*/ 9196 h 10000"/>
                <a:gd name="connsiteX29" fmla="*/ 3067 w 9957"/>
                <a:gd name="connsiteY29" fmla="*/ 9518 h 10000"/>
                <a:gd name="connsiteX30" fmla="*/ 3335 w 9957"/>
                <a:gd name="connsiteY30" fmla="*/ 9614 h 10000"/>
                <a:gd name="connsiteX31" fmla="*/ 3513 w 9957"/>
                <a:gd name="connsiteY31" fmla="*/ 9518 h 10000"/>
                <a:gd name="connsiteX32" fmla="*/ 3957 w 9957"/>
                <a:gd name="connsiteY32" fmla="*/ 9550 h 10000"/>
                <a:gd name="connsiteX33" fmla="*/ 4134 w 9957"/>
                <a:gd name="connsiteY33" fmla="*/ 9486 h 10000"/>
                <a:gd name="connsiteX34" fmla="*/ 4934 w 9957"/>
                <a:gd name="connsiteY34" fmla="*/ 9968 h 10000"/>
                <a:gd name="connsiteX35" fmla="*/ 4979 w 9957"/>
                <a:gd name="connsiteY35" fmla="*/ 9968 h 10000"/>
                <a:gd name="connsiteX36" fmla="*/ 5067 w 9957"/>
                <a:gd name="connsiteY36" fmla="*/ 9904 h 10000"/>
                <a:gd name="connsiteX37" fmla="*/ 5643 w 9957"/>
                <a:gd name="connsiteY37" fmla="*/ 9904 h 10000"/>
                <a:gd name="connsiteX38" fmla="*/ 5734 w 9957"/>
                <a:gd name="connsiteY38" fmla="*/ 10000 h 10000"/>
                <a:gd name="connsiteX39" fmla="*/ 6223 w 9957"/>
                <a:gd name="connsiteY39" fmla="*/ 9871 h 10000"/>
                <a:gd name="connsiteX40" fmla="*/ 6666 w 9957"/>
                <a:gd name="connsiteY40" fmla="*/ 9871 h 10000"/>
                <a:gd name="connsiteX41" fmla="*/ 6978 w 9957"/>
                <a:gd name="connsiteY41" fmla="*/ 9743 h 10000"/>
                <a:gd name="connsiteX42" fmla="*/ 7334 w 9957"/>
                <a:gd name="connsiteY42" fmla="*/ 9486 h 10000"/>
                <a:gd name="connsiteX43" fmla="*/ 8267 w 9957"/>
                <a:gd name="connsiteY43" fmla="*/ 9486 h 10000"/>
                <a:gd name="connsiteX44" fmla="*/ 8267 w 9957"/>
                <a:gd name="connsiteY44" fmla="*/ 9132 h 10000"/>
                <a:gd name="connsiteX45" fmla="*/ 7779 w 9957"/>
                <a:gd name="connsiteY45" fmla="*/ 8971 h 10000"/>
                <a:gd name="connsiteX46" fmla="*/ 7512 w 9957"/>
                <a:gd name="connsiteY46" fmla="*/ 8457 h 10000"/>
                <a:gd name="connsiteX47" fmla="*/ 7157 w 9957"/>
                <a:gd name="connsiteY47" fmla="*/ 8264 h 10000"/>
                <a:gd name="connsiteX48" fmla="*/ 6933 w 9957"/>
                <a:gd name="connsiteY48" fmla="*/ 8006 h 10000"/>
                <a:gd name="connsiteX49" fmla="*/ 6356 w 9957"/>
                <a:gd name="connsiteY49" fmla="*/ 7814 h 10000"/>
                <a:gd name="connsiteX50" fmla="*/ 6489 w 9957"/>
                <a:gd name="connsiteY50" fmla="*/ 7749 h 10000"/>
                <a:gd name="connsiteX51" fmla="*/ 6489 w 9957"/>
                <a:gd name="connsiteY51" fmla="*/ 7588 h 10000"/>
                <a:gd name="connsiteX52" fmla="*/ 6890 w 9957"/>
                <a:gd name="connsiteY52" fmla="*/ 7588 h 10000"/>
                <a:gd name="connsiteX53" fmla="*/ 7110 w 9957"/>
                <a:gd name="connsiteY53" fmla="*/ 7460 h 10000"/>
                <a:gd name="connsiteX54" fmla="*/ 7157 w 9957"/>
                <a:gd name="connsiteY54" fmla="*/ 6527 h 10000"/>
                <a:gd name="connsiteX55" fmla="*/ 7200 w 9957"/>
                <a:gd name="connsiteY55" fmla="*/ 6559 h 10000"/>
                <a:gd name="connsiteX56" fmla="*/ 7042 w 9957"/>
                <a:gd name="connsiteY56" fmla="*/ 6618 h 10000"/>
                <a:gd name="connsiteX57" fmla="*/ 6980 w 9957"/>
                <a:gd name="connsiteY57" fmla="*/ 6745 h 10000"/>
                <a:gd name="connsiteX58" fmla="*/ 6583 w 9957"/>
                <a:gd name="connsiteY58" fmla="*/ 6497 h 10000"/>
                <a:gd name="connsiteX59" fmla="*/ 6511 w 9957"/>
                <a:gd name="connsiteY59" fmla="*/ 5828 h 10000"/>
                <a:gd name="connsiteX60" fmla="*/ 6086 w 9957"/>
                <a:gd name="connsiteY60" fmla="*/ 6118 h 10000"/>
                <a:gd name="connsiteX61" fmla="*/ 6093 w 9957"/>
                <a:gd name="connsiteY61" fmla="*/ 6462 h 10000"/>
                <a:gd name="connsiteX62" fmla="*/ 5751 w 9957"/>
                <a:gd name="connsiteY62" fmla="*/ 6670 h 10000"/>
                <a:gd name="connsiteX63" fmla="*/ 9957 w 9957"/>
                <a:gd name="connsiteY63" fmla="*/ 2572 h 10000"/>
                <a:gd name="connsiteX64" fmla="*/ 9777 w 9957"/>
                <a:gd name="connsiteY64" fmla="*/ 2572 h 10000"/>
                <a:gd name="connsiteX65" fmla="*/ 9644 w 9957"/>
                <a:gd name="connsiteY65" fmla="*/ 2412 h 10000"/>
                <a:gd name="connsiteX66" fmla="*/ 9378 w 9957"/>
                <a:gd name="connsiteY66" fmla="*/ 2347 h 10000"/>
                <a:gd name="connsiteX67" fmla="*/ 9244 w 9957"/>
                <a:gd name="connsiteY67" fmla="*/ 2219 h 10000"/>
                <a:gd name="connsiteX68" fmla="*/ 9157 w 9957"/>
                <a:gd name="connsiteY68" fmla="*/ 1736 h 10000"/>
                <a:gd name="connsiteX69" fmla="*/ 9157 w 9957"/>
                <a:gd name="connsiteY69" fmla="*/ 1061 h 10000"/>
                <a:gd name="connsiteX70" fmla="*/ 8933 w 9957"/>
                <a:gd name="connsiteY70" fmla="*/ 836 h 10000"/>
                <a:gd name="connsiteX71" fmla="*/ 8889 w 9957"/>
                <a:gd name="connsiteY71" fmla="*/ 611 h 10000"/>
                <a:gd name="connsiteX72" fmla="*/ 8534 w 9957"/>
                <a:gd name="connsiteY72" fmla="*/ 289 h 10000"/>
                <a:gd name="connsiteX73" fmla="*/ 8222 w 9957"/>
                <a:gd name="connsiteY73" fmla="*/ 161 h 10000"/>
                <a:gd name="connsiteX74" fmla="*/ 8045 w 9957"/>
                <a:gd name="connsiteY74" fmla="*/ 0 h 10000"/>
                <a:gd name="connsiteX75" fmla="*/ 7779 w 9957"/>
                <a:gd name="connsiteY75" fmla="*/ 161 h 10000"/>
                <a:gd name="connsiteX76" fmla="*/ 7600 w 9957"/>
                <a:gd name="connsiteY76" fmla="*/ 129 h 10000"/>
                <a:gd name="connsiteX77" fmla="*/ 7466 w 9957"/>
                <a:gd name="connsiteY77" fmla="*/ 418 h 10000"/>
                <a:gd name="connsiteX78" fmla="*/ 7110 w 9957"/>
                <a:gd name="connsiteY78" fmla="*/ 482 h 10000"/>
                <a:gd name="connsiteX79" fmla="*/ 7023 w 9957"/>
                <a:gd name="connsiteY79" fmla="*/ 707 h 10000"/>
                <a:gd name="connsiteX80" fmla="*/ 6711 w 9957"/>
                <a:gd name="connsiteY80" fmla="*/ 707 h 10000"/>
                <a:gd name="connsiteX81" fmla="*/ 6445 w 9957"/>
                <a:gd name="connsiteY81" fmla="*/ 611 h 10000"/>
                <a:gd name="connsiteX82" fmla="*/ 5867 w 9957"/>
                <a:gd name="connsiteY82" fmla="*/ 611 h 10000"/>
                <a:gd name="connsiteX83" fmla="*/ 5289 w 9957"/>
                <a:gd name="connsiteY83" fmla="*/ 611 h 10000"/>
                <a:gd name="connsiteX84" fmla="*/ 5333 w 9957"/>
                <a:gd name="connsiteY84" fmla="*/ 482 h 10000"/>
                <a:gd name="connsiteX85" fmla="*/ 5245 w 9957"/>
                <a:gd name="connsiteY85" fmla="*/ 482 h 10000"/>
                <a:gd name="connsiteX86" fmla="*/ 5201 w 9957"/>
                <a:gd name="connsiteY86" fmla="*/ 611 h 10000"/>
                <a:gd name="connsiteX87" fmla="*/ 4667 w 9957"/>
                <a:gd name="connsiteY87" fmla="*/ 611 h 10000"/>
                <a:gd name="connsiteX88" fmla="*/ 4134 w 9957"/>
                <a:gd name="connsiteY88" fmla="*/ 611 h 10000"/>
                <a:gd name="connsiteX89" fmla="*/ 3602 w 9957"/>
                <a:gd name="connsiteY89" fmla="*/ 611 h 10000"/>
                <a:gd name="connsiteX90" fmla="*/ 3067 w 9957"/>
                <a:gd name="connsiteY90" fmla="*/ 611 h 10000"/>
                <a:gd name="connsiteX91" fmla="*/ 2580 w 9957"/>
                <a:gd name="connsiteY91" fmla="*/ 611 h 10000"/>
                <a:gd name="connsiteX92" fmla="*/ 2046 w 9957"/>
                <a:gd name="connsiteY92" fmla="*/ 611 h 10000"/>
                <a:gd name="connsiteX93" fmla="*/ 1556 w 9957"/>
                <a:gd name="connsiteY93" fmla="*/ 611 h 10000"/>
                <a:gd name="connsiteX94" fmla="*/ 1024 w 9957"/>
                <a:gd name="connsiteY94" fmla="*/ 611 h 10000"/>
                <a:gd name="connsiteX95" fmla="*/ 1024 w 9957"/>
                <a:gd name="connsiteY95" fmla="*/ 1061 h 10000"/>
                <a:gd name="connsiteX96" fmla="*/ 1024 w 9957"/>
                <a:gd name="connsiteY96" fmla="*/ 1640 h 10000"/>
                <a:gd name="connsiteX97" fmla="*/ 356 w 9957"/>
                <a:gd name="connsiteY97" fmla="*/ 1640 h 10000"/>
                <a:gd name="connsiteX98" fmla="*/ 356 w 9957"/>
                <a:gd name="connsiteY98" fmla="*/ 1897 h 10000"/>
                <a:gd name="connsiteX0" fmla="*/ 358 w 9819"/>
                <a:gd name="connsiteY0" fmla="*/ 1897 h 10000"/>
                <a:gd name="connsiteX1" fmla="*/ 5544 w 9819"/>
                <a:gd name="connsiteY1" fmla="*/ 6915 h 10000"/>
                <a:gd name="connsiteX2" fmla="*/ 5177 w 9819"/>
                <a:gd name="connsiteY2" fmla="*/ 7114 h 10000"/>
                <a:gd name="connsiteX3" fmla="*/ 4869 w 9819"/>
                <a:gd name="connsiteY3" fmla="*/ 6907 h 10000"/>
                <a:gd name="connsiteX4" fmla="*/ 4422 w 9819"/>
                <a:gd name="connsiteY4" fmla="*/ 6781 h 10000"/>
                <a:gd name="connsiteX5" fmla="*/ 4200 w 9819"/>
                <a:gd name="connsiteY5" fmla="*/ 7064 h 10000"/>
                <a:gd name="connsiteX6" fmla="*/ 3651 w 9819"/>
                <a:gd name="connsiteY6" fmla="*/ 7281 h 10000"/>
                <a:gd name="connsiteX7" fmla="*/ 3298 w 9819"/>
                <a:gd name="connsiteY7" fmla="*/ 7279 h 10000"/>
                <a:gd name="connsiteX8" fmla="*/ 2528 w 9819"/>
                <a:gd name="connsiteY8" fmla="*/ 7095 h 10000"/>
                <a:gd name="connsiteX9" fmla="*/ 2322 w 9819"/>
                <a:gd name="connsiteY9" fmla="*/ 7195 h 10000"/>
                <a:gd name="connsiteX10" fmla="*/ 1808 w 9819"/>
                <a:gd name="connsiteY10" fmla="*/ 6973 h 10000"/>
                <a:gd name="connsiteX11" fmla="*/ 1581 w 9819"/>
                <a:gd name="connsiteY11" fmla="*/ 6638 h 10000"/>
                <a:gd name="connsiteX12" fmla="*/ 1203 w 9819"/>
                <a:gd name="connsiteY12" fmla="*/ 6729 h 10000"/>
                <a:gd name="connsiteX13" fmla="*/ 1101 w 9819"/>
                <a:gd name="connsiteY13" fmla="*/ 6927 h 10000"/>
                <a:gd name="connsiteX14" fmla="*/ 701 w 9819"/>
                <a:gd name="connsiteY14" fmla="*/ 7011 h 10000"/>
                <a:gd name="connsiteX15" fmla="*/ 438 w 9819"/>
                <a:gd name="connsiteY15" fmla="*/ 7004 h 10000"/>
                <a:gd name="connsiteX16" fmla="*/ 293 w 9819"/>
                <a:gd name="connsiteY16" fmla="*/ 7161 h 10000"/>
                <a:gd name="connsiteX17" fmla="*/ 47 w 9819"/>
                <a:gd name="connsiteY17" fmla="*/ 6913 h 10000"/>
                <a:gd name="connsiteX18" fmla="*/ 0 w 9819"/>
                <a:gd name="connsiteY18" fmla="*/ 7363 h 10000"/>
                <a:gd name="connsiteX19" fmla="*/ 89 w 9819"/>
                <a:gd name="connsiteY19" fmla="*/ 7428 h 10000"/>
                <a:gd name="connsiteX20" fmla="*/ 448 w 9819"/>
                <a:gd name="connsiteY20" fmla="*/ 7460 h 10000"/>
                <a:gd name="connsiteX21" fmla="*/ 493 w 9819"/>
                <a:gd name="connsiteY21" fmla="*/ 7588 h 10000"/>
                <a:gd name="connsiteX22" fmla="*/ 894 w 9819"/>
                <a:gd name="connsiteY22" fmla="*/ 7621 h 10000"/>
                <a:gd name="connsiteX23" fmla="*/ 1117 w 9819"/>
                <a:gd name="connsiteY23" fmla="*/ 7749 h 10000"/>
                <a:gd name="connsiteX24" fmla="*/ 1161 w 9819"/>
                <a:gd name="connsiteY24" fmla="*/ 7974 h 10000"/>
                <a:gd name="connsiteX25" fmla="*/ 1877 w 9819"/>
                <a:gd name="connsiteY25" fmla="*/ 8360 h 10000"/>
                <a:gd name="connsiteX26" fmla="*/ 2055 w 9819"/>
                <a:gd name="connsiteY26" fmla="*/ 8746 h 10000"/>
                <a:gd name="connsiteX27" fmla="*/ 2545 w 9819"/>
                <a:gd name="connsiteY27" fmla="*/ 8939 h 10000"/>
                <a:gd name="connsiteX28" fmla="*/ 2724 w 9819"/>
                <a:gd name="connsiteY28" fmla="*/ 9196 h 10000"/>
                <a:gd name="connsiteX29" fmla="*/ 3080 w 9819"/>
                <a:gd name="connsiteY29" fmla="*/ 9518 h 10000"/>
                <a:gd name="connsiteX30" fmla="*/ 3349 w 9819"/>
                <a:gd name="connsiteY30" fmla="*/ 9614 h 10000"/>
                <a:gd name="connsiteX31" fmla="*/ 3528 w 9819"/>
                <a:gd name="connsiteY31" fmla="*/ 9518 h 10000"/>
                <a:gd name="connsiteX32" fmla="*/ 3974 w 9819"/>
                <a:gd name="connsiteY32" fmla="*/ 9550 h 10000"/>
                <a:gd name="connsiteX33" fmla="*/ 4152 w 9819"/>
                <a:gd name="connsiteY33" fmla="*/ 9486 h 10000"/>
                <a:gd name="connsiteX34" fmla="*/ 4955 w 9819"/>
                <a:gd name="connsiteY34" fmla="*/ 9968 h 10000"/>
                <a:gd name="connsiteX35" fmla="*/ 5001 w 9819"/>
                <a:gd name="connsiteY35" fmla="*/ 9968 h 10000"/>
                <a:gd name="connsiteX36" fmla="*/ 5089 w 9819"/>
                <a:gd name="connsiteY36" fmla="*/ 9904 h 10000"/>
                <a:gd name="connsiteX37" fmla="*/ 5667 w 9819"/>
                <a:gd name="connsiteY37" fmla="*/ 9904 h 10000"/>
                <a:gd name="connsiteX38" fmla="*/ 5759 w 9819"/>
                <a:gd name="connsiteY38" fmla="*/ 10000 h 10000"/>
                <a:gd name="connsiteX39" fmla="*/ 6250 w 9819"/>
                <a:gd name="connsiteY39" fmla="*/ 9871 h 10000"/>
                <a:gd name="connsiteX40" fmla="*/ 6695 w 9819"/>
                <a:gd name="connsiteY40" fmla="*/ 9871 h 10000"/>
                <a:gd name="connsiteX41" fmla="*/ 7008 w 9819"/>
                <a:gd name="connsiteY41" fmla="*/ 9743 h 10000"/>
                <a:gd name="connsiteX42" fmla="*/ 7366 w 9819"/>
                <a:gd name="connsiteY42" fmla="*/ 9486 h 10000"/>
                <a:gd name="connsiteX43" fmla="*/ 8303 w 9819"/>
                <a:gd name="connsiteY43" fmla="*/ 9486 h 10000"/>
                <a:gd name="connsiteX44" fmla="*/ 8303 w 9819"/>
                <a:gd name="connsiteY44" fmla="*/ 9132 h 10000"/>
                <a:gd name="connsiteX45" fmla="*/ 7813 w 9819"/>
                <a:gd name="connsiteY45" fmla="*/ 8971 h 10000"/>
                <a:gd name="connsiteX46" fmla="*/ 7544 w 9819"/>
                <a:gd name="connsiteY46" fmla="*/ 8457 h 10000"/>
                <a:gd name="connsiteX47" fmla="*/ 7188 w 9819"/>
                <a:gd name="connsiteY47" fmla="*/ 8264 h 10000"/>
                <a:gd name="connsiteX48" fmla="*/ 6963 w 9819"/>
                <a:gd name="connsiteY48" fmla="*/ 8006 h 10000"/>
                <a:gd name="connsiteX49" fmla="*/ 6383 w 9819"/>
                <a:gd name="connsiteY49" fmla="*/ 7814 h 10000"/>
                <a:gd name="connsiteX50" fmla="*/ 6517 w 9819"/>
                <a:gd name="connsiteY50" fmla="*/ 7749 h 10000"/>
                <a:gd name="connsiteX51" fmla="*/ 6517 w 9819"/>
                <a:gd name="connsiteY51" fmla="*/ 7588 h 10000"/>
                <a:gd name="connsiteX52" fmla="*/ 6920 w 9819"/>
                <a:gd name="connsiteY52" fmla="*/ 7588 h 10000"/>
                <a:gd name="connsiteX53" fmla="*/ 7141 w 9819"/>
                <a:gd name="connsiteY53" fmla="*/ 7460 h 10000"/>
                <a:gd name="connsiteX54" fmla="*/ 7188 w 9819"/>
                <a:gd name="connsiteY54" fmla="*/ 6527 h 10000"/>
                <a:gd name="connsiteX55" fmla="*/ 7231 w 9819"/>
                <a:gd name="connsiteY55" fmla="*/ 6559 h 10000"/>
                <a:gd name="connsiteX56" fmla="*/ 7072 w 9819"/>
                <a:gd name="connsiteY56" fmla="*/ 6618 h 10000"/>
                <a:gd name="connsiteX57" fmla="*/ 7010 w 9819"/>
                <a:gd name="connsiteY57" fmla="*/ 6745 h 10000"/>
                <a:gd name="connsiteX58" fmla="*/ 6611 w 9819"/>
                <a:gd name="connsiteY58" fmla="*/ 6497 h 10000"/>
                <a:gd name="connsiteX59" fmla="*/ 6539 w 9819"/>
                <a:gd name="connsiteY59" fmla="*/ 5828 h 10000"/>
                <a:gd name="connsiteX60" fmla="*/ 6112 w 9819"/>
                <a:gd name="connsiteY60" fmla="*/ 6118 h 10000"/>
                <a:gd name="connsiteX61" fmla="*/ 6119 w 9819"/>
                <a:gd name="connsiteY61" fmla="*/ 6462 h 10000"/>
                <a:gd name="connsiteX62" fmla="*/ 5776 w 9819"/>
                <a:gd name="connsiteY62" fmla="*/ 6670 h 10000"/>
                <a:gd name="connsiteX63" fmla="*/ 9819 w 9819"/>
                <a:gd name="connsiteY63" fmla="*/ 2572 h 10000"/>
                <a:gd name="connsiteX64" fmla="*/ 9686 w 9819"/>
                <a:gd name="connsiteY64" fmla="*/ 2412 h 10000"/>
                <a:gd name="connsiteX65" fmla="*/ 9418 w 9819"/>
                <a:gd name="connsiteY65" fmla="*/ 2347 h 10000"/>
                <a:gd name="connsiteX66" fmla="*/ 9284 w 9819"/>
                <a:gd name="connsiteY66" fmla="*/ 2219 h 10000"/>
                <a:gd name="connsiteX67" fmla="*/ 9197 w 9819"/>
                <a:gd name="connsiteY67" fmla="*/ 1736 h 10000"/>
                <a:gd name="connsiteX68" fmla="*/ 9197 w 9819"/>
                <a:gd name="connsiteY68" fmla="*/ 1061 h 10000"/>
                <a:gd name="connsiteX69" fmla="*/ 8972 w 9819"/>
                <a:gd name="connsiteY69" fmla="*/ 836 h 10000"/>
                <a:gd name="connsiteX70" fmla="*/ 8927 w 9819"/>
                <a:gd name="connsiteY70" fmla="*/ 611 h 10000"/>
                <a:gd name="connsiteX71" fmla="*/ 8571 w 9819"/>
                <a:gd name="connsiteY71" fmla="*/ 289 h 10000"/>
                <a:gd name="connsiteX72" fmla="*/ 8258 w 9819"/>
                <a:gd name="connsiteY72" fmla="*/ 161 h 10000"/>
                <a:gd name="connsiteX73" fmla="*/ 8080 w 9819"/>
                <a:gd name="connsiteY73" fmla="*/ 0 h 10000"/>
                <a:gd name="connsiteX74" fmla="*/ 7813 w 9819"/>
                <a:gd name="connsiteY74" fmla="*/ 161 h 10000"/>
                <a:gd name="connsiteX75" fmla="*/ 7633 w 9819"/>
                <a:gd name="connsiteY75" fmla="*/ 129 h 10000"/>
                <a:gd name="connsiteX76" fmla="*/ 7498 w 9819"/>
                <a:gd name="connsiteY76" fmla="*/ 418 h 10000"/>
                <a:gd name="connsiteX77" fmla="*/ 7141 w 9819"/>
                <a:gd name="connsiteY77" fmla="*/ 482 h 10000"/>
                <a:gd name="connsiteX78" fmla="*/ 7053 w 9819"/>
                <a:gd name="connsiteY78" fmla="*/ 707 h 10000"/>
                <a:gd name="connsiteX79" fmla="*/ 6740 w 9819"/>
                <a:gd name="connsiteY79" fmla="*/ 707 h 10000"/>
                <a:gd name="connsiteX80" fmla="*/ 6473 w 9819"/>
                <a:gd name="connsiteY80" fmla="*/ 611 h 10000"/>
                <a:gd name="connsiteX81" fmla="*/ 5892 w 9819"/>
                <a:gd name="connsiteY81" fmla="*/ 611 h 10000"/>
                <a:gd name="connsiteX82" fmla="*/ 5312 w 9819"/>
                <a:gd name="connsiteY82" fmla="*/ 611 h 10000"/>
                <a:gd name="connsiteX83" fmla="*/ 5356 w 9819"/>
                <a:gd name="connsiteY83" fmla="*/ 482 h 10000"/>
                <a:gd name="connsiteX84" fmla="*/ 5268 w 9819"/>
                <a:gd name="connsiteY84" fmla="*/ 482 h 10000"/>
                <a:gd name="connsiteX85" fmla="*/ 5223 w 9819"/>
                <a:gd name="connsiteY85" fmla="*/ 611 h 10000"/>
                <a:gd name="connsiteX86" fmla="*/ 4687 w 9819"/>
                <a:gd name="connsiteY86" fmla="*/ 611 h 10000"/>
                <a:gd name="connsiteX87" fmla="*/ 4152 w 9819"/>
                <a:gd name="connsiteY87" fmla="*/ 611 h 10000"/>
                <a:gd name="connsiteX88" fmla="*/ 3618 w 9819"/>
                <a:gd name="connsiteY88" fmla="*/ 611 h 10000"/>
                <a:gd name="connsiteX89" fmla="*/ 3080 w 9819"/>
                <a:gd name="connsiteY89" fmla="*/ 611 h 10000"/>
                <a:gd name="connsiteX90" fmla="*/ 2591 w 9819"/>
                <a:gd name="connsiteY90" fmla="*/ 611 h 10000"/>
                <a:gd name="connsiteX91" fmla="*/ 2055 w 9819"/>
                <a:gd name="connsiteY91" fmla="*/ 611 h 10000"/>
                <a:gd name="connsiteX92" fmla="*/ 1563 w 9819"/>
                <a:gd name="connsiteY92" fmla="*/ 611 h 10000"/>
                <a:gd name="connsiteX93" fmla="*/ 1028 w 9819"/>
                <a:gd name="connsiteY93" fmla="*/ 611 h 10000"/>
                <a:gd name="connsiteX94" fmla="*/ 1028 w 9819"/>
                <a:gd name="connsiteY94" fmla="*/ 1061 h 10000"/>
                <a:gd name="connsiteX95" fmla="*/ 1028 w 9819"/>
                <a:gd name="connsiteY95" fmla="*/ 1640 h 10000"/>
                <a:gd name="connsiteX96" fmla="*/ 358 w 9819"/>
                <a:gd name="connsiteY96" fmla="*/ 1640 h 10000"/>
                <a:gd name="connsiteX97" fmla="*/ 358 w 9819"/>
                <a:gd name="connsiteY97" fmla="*/ 1897 h 10000"/>
                <a:gd name="connsiteX0" fmla="*/ 365 w 9865"/>
                <a:gd name="connsiteY0" fmla="*/ 1897 h 10000"/>
                <a:gd name="connsiteX1" fmla="*/ 5646 w 9865"/>
                <a:gd name="connsiteY1" fmla="*/ 6915 h 10000"/>
                <a:gd name="connsiteX2" fmla="*/ 5272 w 9865"/>
                <a:gd name="connsiteY2" fmla="*/ 7114 h 10000"/>
                <a:gd name="connsiteX3" fmla="*/ 4959 w 9865"/>
                <a:gd name="connsiteY3" fmla="*/ 6907 h 10000"/>
                <a:gd name="connsiteX4" fmla="*/ 4504 w 9865"/>
                <a:gd name="connsiteY4" fmla="*/ 6781 h 10000"/>
                <a:gd name="connsiteX5" fmla="*/ 4277 w 9865"/>
                <a:gd name="connsiteY5" fmla="*/ 7064 h 10000"/>
                <a:gd name="connsiteX6" fmla="*/ 3718 w 9865"/>
                <a:gd name="connsiteY6" fmla="*/ 7281 h 10000"/>
                <a:gd name="connsiteX7" fmla="*/ 3359 w 9865"/>
                <a:gd name="connsiteY7" fmla="*/ 7279 h 10000"/>
                <a:gd name="connsiteX8" fmla="*/ 2575 w 9865"/>
                <a:gd name="connsiteY8" fmla="*/ 7095 h 10000"/>
                <a:gd name="connsiteX9" fmla="*/ 2365 w 9865"/>
                <a:gd name="connsiteY9" fmla="*/ 7195 h 10000"/>
                <a:gd name="connsiteX10" fmla="*/ 1841 w 9865"/>
                <a:gd name="connsiteY10" fmla="*/ 6973 h 10000"/>
                <a:gd name="connsiteX11" fmla="*/ 1610 w 9865"/>
                <a:gd name="connsiteY11" fmla="*/ 6638 h 10000"/>
                <a:gd name="connsiteX12" fmla="*/ 1225 w 9865"/>
                <a:gd name="connsiteY12" fmla="*/ 6729 h 10000"/>
                <a:gd name="connsiteX13" fmla="*/ 1121 w 9865"/>
                <a:gd name="connsiteY13" fmla="*/ 6927 h 10000"/>
                <a:gd name="connsiteX14" fmla="*/ 714 w 9865"/>
                <a:gd name="connsiteY14" fmla="*/ 7011 h 10000"/>
                <a:gd name="connsiteX15" fmla="*/ 446 w 9865"/>
                <a:gd name="connsiteY15" fmla="*/ 7004 h 10000"/>
                <a:gd name="connsiteX16" fmla="*/ 298 w 9865"/>
                <a:gd name="connsiteY16" fmla="*/ 7161 h 10000"/>
                <a:gd name="connsiteX17" fmla="*/ 48 w 9865"/>
                <a:gd name="connsiteY17" fmla="*/ 6913 h 10000"/>
                <a:gd name="connsiteX18" fmla="*/ 0 w 9865"/>
                <a:gd name="connsiteY18" fmla="*/ 7363 h 10000"/>
                <a:gd name="connsiteX19" fmla="*/ 91 w 9865"/>
                <a:gd name="connsiteY19" fmla="*/ 7428 h 10000"/>
                <a:gd name="connsiteX20" fmla="*/ 456 w 9865"/>
                <a:gd name="connsiteY20" fmla="*/ 7460 h 10000"/>
                <a:gd name="connsiteX21" fmla="*/ 502 w 9865"/>
                <a:gd name="connsiteY21" fmla="*/ 7588 h 10000"/>
                <a:gd name="connsiteX22" fmla="*/ 910 w 9865"/>
                <a:gd name="connsiteY22" fmla="*/ 7621 h 10000"/>
                <a:gd name="connsiteX23" fmla="*/ 1138 w 9865"/>
                <a:gd name="connsiteY23" fmla="*/ 7749 h 10000"/>
                <a:gd name="connsiteX24" fmla="*/ 1182 w 9865"/>
                <a:gd name="connsiteY24" fmla="*/ 7974 h 10000"/>
                <a:gd name="connsiteX25" fmla="*/ 1912 w 9865"/>
                <a:gd name="connsiteY25" fmla="*/ 8360 h 10000"/>
                <a:gd name="connsiteX26" fmla="*/ 2093 w 9865"/>
                <a:gd name="connsiteY26" fmla="*/ 8746 h 10000"/>
                <a:gd name="connsiteX27" fmla="*/ 2592 w 9865"/>
                <a:gd name="connsiteY27" fmla="*/ 8939 h 10000"/>
                <a:gd name="connsiteX28" fmla="*/ 2774 w 9865"/>
                <a:gd name="connsiteY28" fmla="*/ 9196 h 10000"/>
                <a:gd name="connsiteX29" fmla="*/ 3137 w 9865"/>
                <a:gd name="connsiteY29" fmla="*/ 9518 h 10000"/>
                <a:gd name="connsiteX30" fmla="*/ 3411 w 9865"/>
                <a:gd name="connsiteY30" fmla="*/ 9614 h 10000"/>
                <a:gd name="connsiteX31" fmla="*/ 3593 w 9865"/>
                <a:gd name="connsiteY31" fmla="*/ 9518 h 10000"/>
                <a:gd name="connsiteX32" fmla="*/ 4047 w 9865"/>
                <a:gd name="connsiteY32" fmla="*/ 9550 h 10000"/>
                <a:gd name="connsiteX33" fmla="*/ 4229 w 9865"/>
                <a:gd name="connsiteY33" fmla="*/ 9486 h 10000"/>
                <a:gd name="connsiteX34" fmla="*/ 5046 w 9865"/>
                <a:gd name="connsiteY34" fmla="*/ 9968 h 10000"/>
                <a:gd name="connsiteX35" fmla="*/ 5093 w 9865"/>
                <a:gd name="connsiteY35" fmla="*/ 9968 h 10000"/>
                <a:gd name="connsiteX36" fmla="*/ 5183 w 9865"/>
                <a:gd name="connsiteY36" fmla="*/ 9904 h 10000"/>
                <a:gd name="connsiteX37" fmla="*/ 5771 w 9865"/>
                <a:gd name="connsiteY37" fmla="*/ 9904 h 10000"/>
                <a:gd name="connsiteX38" fmla="*/ 5865 w 9865"/>
                <a:gd name="connsiteY38" fmla="*/ 10000 h 10000"/>
                <a:gd name="connsiteX39" fmla="*/ 6365 w 9865"/>
                <a:gd name="connsiteY39" fmla="*/ 9871 h 10000"/>
                <a:gd name="connsiteX40" fmla="*/ 6818 w 9865"/>
                <a:gd name="connsiteY40" fmla="*/ 9871 h 10000"/>
                <a:gd name="connsiteX41" fmla="*/ 7137 w 9865"/>
                <a:gd name="connsiteY41" fmla="*/ 9743 h 10000"/>
                <a:gd name="connsiteX42" fmla="*/ 7502 w 9865"/>
                <a:gd name="connsiteY42" fmla="*/ 9486 h 10000"/>
                <a:gd name="connsiteX43" fmla="*/ 8456 w 9865"/>
                <a:gd name="connsiteY43" fmla="*/ 9486 h 10000"/>
                <a:gd name="connsiteX44" fmla="*/ 8456 w 9865"/>
                <a:gd name="connsiteY44" fmla="*/ 9132 h 10000"/>
                <a:gd name="connsiteX45" fmla="*/ 7957 w 9865"/>
                <a:gd name="connsiteY45" fmla="*/ 8971 h 10000"/>
                <a:gd name="connsiteX46" fmla="*/ 7683 w 9865"/>
                <a:gd name="connsiteY46" fmla="*/ 8457 h 10000"/>
                <a:gd name="connsiteX47" fmla="*/ 7321 w 9865"/>
                <a:gd name="connsiteY47" fmla="*/ 8264 h 10000"/>
                <a:gd name="connsiteX48" fmla="*/ 7091 w 9865"/>
                <a:gd name="connsiteY48" fmla="*/ 8006 h 10000"/>
                <a:gd name="connsiteX49" fmla="*/ 6501 w 9865"/>
                <a:gd name="connsiteY49" fmla="*/ 7814 h 10000"/>
                <a:gd name="connsiteX50" fmla="*/ 6637 w 9865"/>
                <a:gd name="connsiteY50" fmla="*/ 7749 h 10000"/>
                <a:gd name="connsiteX51" fmla="*/ 6637 w 9865"/>
                <a:gd name="connsiteY51" fmla="*/ 7588 h 10000"/>
                <a:gd name="connsiteX52" fmla="*/ 7048 w 9865"/>
                <a:gd name="connsiteY52" fmla="*/ 7588 h 10000"/>
                <a:gd name="connsiteX53" fmla="*/ 7273 w 9865"/>
                <a:gd name="connsiteY53" fmla="*/ 7460 h 10000"/>
                <a:gd name="connsiteX54" fmla="*/ 7321 w 9865"/>
                <a:gd name="connsiteY54" fmla="*/ 6527 h 10000"/>
                <a:gd name="connsiteX55" fmla="*/ 7364 w 9865"/>
                <a:gd name="connsiteY55" fmla="*/ 6559 h 10000"/>
                <a:gd name="connsiteX56" fmla="*/ 7202 w 9865"/>
                <a:gd name="connsiteY56" fmla="*/ 6618 h 10000"/>
                <a:gd name="connsiteX57" fmla="*/ 7139 w 9865"/>
                <a:gd name="connsiteY57" fmla="*/ 6745 h 10000"/>
                <a:gd name="connsiteX58" fmla="*/ 6733 w 9865"/>
                <a:gd name="connsiteY58" fmla="*/ 6497 h 10000"/>
                <a:gd name="connsiteX59" fmla="*/ 6660 w 9865"/>
                <a:gd name="connsiteY59" fmla="*/ 5828 h 10000"/>
                <a:gd name="connsiteX60" fmla="*/ 6225 w 9865"/>
                <a:gd name="connsiteY60" fmla="*/ 6118 h 10000"/>
                <a:gd name="connsiteX61" fmla="*/ 6232 w 9865"/>
                <a:gd name="connsiteY61" fmla="*/ 6462 h 10000"/>
                <a:gd name="connsiteX62" fmla="*/ 5882 w 9865"/>
                <a:gd name="connsiteY62" fmla="*/ 6670 h 10000"/>
                <a:gd name="connsiteX63" fmla="*/ 9865 w 9865"/>
                <a:gd name="connsiteY63" fmla="*/ 2412 h 10000"/>
                <a:gd name="connsiteX64" fmla="*/ 9592 w 9865"/>
                <a:gd name="connsiteY64" fmla="*/ 2347 h 10000"/>
                <a:gd name="connsiteX65" fmla="*/ 9455 w 9865"/>
                <a:gd name="connsiteY65" fmla="*/ 2219 h 10000"/>
                <a:gd name="connsiteX66" fmla="*/ 9367 w 9865"/>
                <a:gd name="connsiteY66" fmla="*/ 1736 h 10000"/>
                <a:gd name="connsiteX67" fmla="*/ 9367 w 9865"/>
                <a:gd name="connsiteY67" fmla="*/ 1061 h 10000"/>
                <a:gd name="connsiteX68" fmla="*/ 9137 w 9865"/>
                <a:gd name="connsiteY68" fmla="*/ 836 h 10000"/>
                <a:gd name="connsiteX69" fmla="*/ 9092 w 9865"/>
                <a:gd name="connsiteY69" fmla="*/ 611 h 10000"/>
                <a:gd name="connsiteX70" fmla="*/ 8729 w 9865"/>
                <a:gd name="connsiteY70" fmla="*/ 289 h 10000"/>
                <a:gd name="connsiteX71" fmla="*/ 8410 w 9865"/>
                <a:gd name="connsiteY71" fmla="*/ 161 h 10000"/>
                <a:gd name="connsiteX72" fmla="*/ 8229 w 9865"/>
                <a:gd name="connsiteY72" fmla="*/ 0 h 10000"/>
                <a:gd name="connsiteX73" fmla="*/ 7957 w 9865"/>
                <a:gd name="connsiteY73" fmla="*/ 161 h 10000"/>
                <a:gd name="connsiteX74" fmla="*/ 7774 w 9865"/>
                <a:gd name="connsiteY74" fmla="*/ 129 h 10000"/>
                <a:gd name="connsiteX75" fmla="*/ 7636 w 9865"/>
                <a:gd name="connsiteY75" fmla="*/ 418 h 10000"/>
                <a:gd name="connsiteX76" fmla="*/ 7273 w 9865"/>
                <a:gd name="connsiteY76" fmla="*/ 482 h 10000"/>
                <a:gd name="connsiteX77" fmla="*/ 7183 w 9865"/>
                <a:gd name="connsiteY77" fmla="*/ 707 h 10000"/>
                <a:gd name="connsiteX78" fmla="*/ 6864 w 9865"/>
                <a:gd name="connsiteY78" fmla="*/ 707 h 10000"/>
                <a:gd name="connsiteX79" fmla="*/ 6592 w 9865"/>
                <a:gd name="connsiteY79" fmla="*/ 611 h 10000"/>
                <a:gd name="connsiteX80" fmla="*/ 6001 w 9865"/>
                <a:gd name="connsiteY80" fmla="*/ 611 h 10000"/>
                <a:gd name="connsiteX81" fmla="*/ 5410 w 9865"/>
                <a:gd name="connsiteY81" fmla="*/ 611 h 10000"/>
                <a:gd name="connsiteX82" fmla="*/ 5455 w 9865"/>
                <a:gd name="connsiteY82" fmla="*/ 482 h 10000"/>
                <a:gd name="connsiteX83" fmla="*/ 5365 w 9865"/>
                <a:gd name="connsiteY83" fmla="*/ 482 h 10000"/>
                <a:gd name="connsiteX84" fmla="*/ 5319 w 9865"/>
                <a:gd name="connsiteY84" fmla="*/ 611 h 10000"/>
                <a:gd name="connsiteX85" fmla="*/ 4773 w 9865"/>
                <a:gd name="connsiteY85" fmla="*/ 611 h 10000"/>
                <a:gd name="connsiteX86" fmla="*/ 4229 w 9865"/>
                <a:gd name="connsiteY86" fmla="*/ 611 h 10000"/>
                <a:gd name="connsiteX87" fmla="*/ 3685 w 9865"/>
                <a:gd name="connsiteY87" fmla="*/ 611 h 10000"/>
                <a:gd name="connsiteX88" fmla="*/ 3137 w 9865"/>
                <a:gd name="connsiteY88" fmla="*/ 611 h 10000"/>
                <a:gd name="connsiteX89" fmla="*/ 2639 w 9865"/>
                <a:gd name="connsiteY89" fmla="*/ 611 h 10000"/>
                <a:gd name="connsiteX90" fmla="*/ 2093 w 9865"/>
                <a:gd name="connsiteY90" fmla="*/ 611 h 10000"/>
                <a:gd name="connsiteX91" fmla="*/ 1592 w 9865"/>
                <a:gd name="connsiteY91" fmla="*/ 611 h 10000"/>
                <a:gd name="connsiteX92" fmla="*/ 1047 w 9865"/>
                <a:gd name="connsiteY92" fmla="*/ 611 h 10000"/>
                <a:gd name="connsiteX93" fmla="*/ 1047 w 9865"/>
                <a:gd name="connsiteY93" fmla="*/ 1061 h 10000"/>
                <a:gd name="connsiteX94" fmla="*/ 1047 w 9865"/>
                <a:gd name="connsiteY94" fmla="*/ 1640 h 10000"/>
                <a:gd name="connsiteX95" fmla="*/ 365 w 9865"/>
                <a:gd name="connsiteY95" fmla="*/ 1640 h 10000"/>
                <a:gd name="connsiteX96" fmla="*/ 365 w 9865"/>
                <a:gd name="connsiteY96" fmla="*/ 1897 h 10000"/>
                <a:gd name="connsiteX0" fmla="*/ 370 w 9723"/>
                <a:gd name="connsiteY0" fmla="*/ 1897 h 10000"/>
                <a:gd name="connsiteX1" fmla="*/ 5723 w 9723"/>
                <a:gd name="connsiteY1" fmla="*/ 6915 h 10000"/>
                <a:gd name="connsiteX2" fmla="*/ 5344 w 9723"/>
                <a:gd name="connsiteY2" fmla="*/ 7114 h 10000"/>
                <a:gd name="connsiteX3" fmla="*/ 5027 w 9723"/>
                <a:gd name="connsiteY3" fmla="*/ 6907 h 10000"/>
                <a:gd name="connsiteX4" fmla="*/ 4566 w 9723"/>
                <a:gd name="connsiteY4" fmla="*/ 6781 h 10000"/>
                <a:gd name="connsiteX5" fmla="*/ 4336 w 9723"/>
                <a:gd name="connsiteY5" fmla="*/ 7064 h 10000"/>
                <a:gd name="connsiteX6" fmla="*/ 3769 w 9723"/>
                <a:gd name="connsiteY6" fmla="*/ 7281 h 10000"/>
                <a:gd name="connsiteX7" fmla="*/ 3405 w 9723"/>
                <a:gd name="connsiteY7" fmla="*/ 7279 h 10000"/>
                <a:gd name="connsiteX8" fmla="*/ 2610 w 9723"/>
                <a:gd name="connsiteY8" fmla="*/ 7095 h 10000"/>
                <a:gd name="connsiteX9" fmla="*/ 2397 w 9723"/>
                <a:gd name="connsiteY9" fmla="*/ 7195 h 10000"/>
                <a:gd name="connsiteX10" fmla="*/ 1866 w 9723"/>
                <a:gd name="connsiteY10" fmla="*/ 6973 h 10000"/>
                <a:gd name="connsiteX11" fmla="*/ 1632 w 9723"/>
                <a:gd name="connsiteY11" fmla="*/ 6638 h 10000"/>
                <a:gd name="connsiteX12" fmla="*/ 1242 w 9723"/>
                <a:gd name="connsiteY12" fmla="*/ 6729 h 10000"/>
                <a:gd name="connsiteX13" fmla="*/ 1136 w 9723"/>
                <a:gd name="connsiteY13" fmla="*/ 6927 h 10000"/>
                <a:gd name="connsiteX14" fmla="*/ 724 w 9723"/>
                <a:gd name="connsiteY14" fmla="*/ 7011 h 10000"/>
                <a:gd name="connsiteX15" fmla="*/ 452 w 9723"/>
                <a:gd name="connsiteY15" fmla="*/ 7004 h 10000"/>
                <a:gd name="connsiteX16" fmla="*/ 302 w 9723"/>
                <a:gd name="connsiteY16" fmla="*/ 7161 h 10000"/>
                <a:gd name="connsiteX17" fmla="*/ 49 w 9723"/>
                <a:gd name="connsiteY17" fmla="*/ 6913 h 10000"/>
                <a:gd name="connsiteX18" fmla="*/ 0 w 9723"/>
                <a:gd name="connsiteY18" fmla="*/ 7363 h 10000"/>
                <a:gd name="connsiteX19" fmla="*/ 92 w 9723"/>
                <a:gd name="connsiteY19" fmla="*/ 7428 h 10000"/>
                <a:gd name="connsiteX20" fmla="*/ 462 w 9723"/>
                <a:gd name="connsiteY20" fmla="*/ 7460 h 10000"/>
                <a:gd name="connsiteX21" fmla="*/ 509 w 9723"/>
                <a:gd name="connsiteY21" fmla="*/ 7588 h 10000"/>
                <a:gd name="connsiteX22" fmla="*/ 922 w 9723"/>
                <a:gd name="connsiteY22" fmla="*/ 7621 h 10000"/>
                <a:gd name="connsiteX23" fmla="*/ 1154 w 9723"/>
                <a:gd name="connsiteY23" fmla="*/ 7749 h 10000"/>
                <a:gd name="connsiteX24" fmla="*/ 1198 w 9723"/>
                <a:gd name="connsiteY24" fmla="*/ 7974 h 10000"/>
                <a:gd name="connsiteX25" fmla="*/ 1938 w 9723"/>
                <a:gd name="connsiteY25" fmla="*/ 8360 h 10000"/>
                <a:gd name="connsiteX26" fmla="*/ 2122 w 9723"/>
                <a:gd name="connsiteY26" fmla="*/ 8746 h 10000"/>
                <a:gd name="connsiteX27" fmla="*/ 2627 w 9723"/>
                <a:gd name="connsiteY27" fmla="*/ 8939 h 10000"/>
                <a:gd name="connsiteX28" fmla="*/ 2812 w 9723"/>
                <a:gd name="connsiteY28" fmla="*/ 9196 h 10000"/>
                <a:gd name="connsiteX29" fmla="*/ 3180 w 9723"/>
                <a:gd name="connsiteY29" fmla="*/ 9518 h 10000"/>
                <a:gd name="connsiteX30" fmla="*/ 3458 w 9723"/>
                <a:gd name="connsiteY30" fmla="*/ 9614 h 10000"/>
                <a:gd name="connsiteX31" fmla="*/ 3642 w 9723"/>
                <a:gd name="connsiteY31" fmla="*/ 9518 h 10000"/>
                <a:gd name="connsiteX32" fmla="*/ 4102 w 9723"/>
                <a:gd name="connsiteY32" fmla="*/ 9550 h 10000"/>
                <a:gd name="connsiteX33" fmla="*/ 4287 w 9723"/>
                <a:gd name="connsiteY33" fmla="*/ 9486 h 10000"/>
                <a:gd name="connsiteX34" fmla="*/ 5115 w 9723"/>
                <a:gd name="connsiteY34" fmla="*/ 9968 h 10000"/>
                <a:gd name="connsiteX35" fmla="*/ 5163 w 9723"/>
                <a:gd name="connsiteY35" fmla="*/ 9968 h 10000"/>
                <a:gd name="connsiteX36" fmla="*/ 5254 w 9723"/>
                <a:gd name="connsiteY36" fmla="*/ 9904 h 10000"/>
                <a:gd name="connsiteX37" fmla="*/ 5850 w 9723"/>
                <a:gd name="connsiteY37" fmla="*/ 9904 h 10000"/>
                <a:gd name="connsiteX38" fmla="*/ 5945 w 9723"/>
                <a:gd name="connsiteY38" fmla="*/ 10000 h 10000"/>
                <a:gd name="connsiteX39" fmla="*/ 6452 w 9723"/>
                <a:gd name="connsiteY39" fmla="*/ 9871 h 10000"/>
                <a:gd name="connsiteX40" fmla="*/ 6911 w 9723"/>
                <a:gd name="connsiteY40" fmla="*/ 9871 h 10000"/>
                <a:gd name="connsiteX41" fmla="*/ 7235 w 9723"/>
                <a:gd name="connsiteY41" fmla="*/ 9743 h 10000"/>
                <a:gd name="connsiteX42" fmla="*/ 7605 w 9723"/>
                <a:gd name="connsiteY42" fmla="*/ 9486 h 10000"/>
                <a:gd name="connsiteX43" fmla="*/ 8572 w 9723"/>
                <a:gd name="connsiteY43" fmla="*/ 9486 h 10000"/>
                <a:gd name="connsiteX44" fmla="*/ 8572 w 9723"/>
                <a:gd name="connsiteY44" fmla="*/ 9132 h 10000"/>
                <a:gd name="connsiteX45" fmla="*/ 8066 w 9723"/>
                <a:gd name="connsiteY45" fmla="*/ 8971 h 10000"/>
                <a:gd name="connsiteX46" fmla="*/ 7788 w 9723"/>
                <a:gd name="connsiteY46" fmla="*/ 8457 h 10000"/>
                <a:gd name="connsiteX47" fmla="*/ 7421 w 9723"/>
                <a:gd name="connsiteY47" fmla="*/ 8264 h 10000"/>
                <a:gd name="connsiteX48" fmla="*/ 7188 w 9723"/>
                <a:gd name="connsiteY48" fmla="*/ 8006 h 10000"/>
                <a:gd name="connsiteX49" fmla="*/ 6590 w 9723"/>
                <a:gd name="connsiteY49" fmla="*/ 7814 h 10000"/>
                <a:gd name="connsiteX50" fmla="*/ 6728 w 9723"/>
                <a:gd name="connsiteY50" fmla="*/ 7749 h 10000"/>
                <a:gd name="connsiteX51" fmla="*/ 6728 w 9723"/>
                <a:gd name="connsiteY51" fmla="*/ 7588 h 10000"/>
                <a:gd name="connsiteX52" fmla="*/ 7144 w 9723"/>
                <a:gd name="connsiteY52" fmla="*/ 7588 h 10000"/>
                <a:gd name="connsiteX53" fmla="*/ 7373 w 9723"/>
                <a:gd name="connsiteY53" fmla="*/ 7460 h 10000"/>
                <a:gd name="connsiteX54" fmla="*/ 7421 w 9723"/>
                <a:gd name="connsiteY54" fmla="*/ 6527 h 10000"/>
                <a:gd name="connsiteX55" fmla="*/ 7465 w 9723"/>
                <a:gd name="connsiteY55" fmla="*/ 6559 h 10000"/>
                <a:gd name="connsiteX56" fmla="*/ 7301 w 9723"/>
                <a:gd name="connsiteY56" fmla="*/ 6618 h 10000"/>
                <a:gd name="connsiteX57" fmla="*/ 7237 w 9723"/>
                <a:gd name="connsiteY57" fmla="*/ 6745 h 10000"/>
                <a:gd name="connsiteX58" fmla="*/ 6825 w 9723"/>
                <a:gd name="connsiteY58" fmla="*/ 6497 h 10000"/>
                <a:gd name="connsiteX59" fmla="*/ 6751 w 9723"/>
                <a:gd name="connsiteY59" fmla="*/ 5828 h 10000"/>
                <a:gd name="connsiteX60" fmla="*/ 6310 w 9723"/>
                <a:gd name="connsiteY60" fmla="*/ 6118 h 10000"/>
                <a:gd name="connsiteX61" fmla="*/ 6317 w 9723"/>
                <a:gd name="connsiteY61" fmla="*/ 6462 h 10000"/>
                <a:gd name="connsiteX62" fmla="*/ 5962 w 9723"/>
                <a:gd name="connsiteY62" fmla="*/ 6670 h 10000"/>
                <a:gd name="connsiteX63" fmla="*/ 9723 w 9723"/>
                <a:gd name="connsiteY63" fmla="*/ 2347 h 10000"/>
                <a:gd name="connsiteX64" fmla="*/ 9584 w 9723"/>
                <a:gd name="connsiteY64" fmla="*/ 2219 h 10000"/>
                <a:gd name="connsiteX65" fmla="*/ 9495 w 9723"/>
                <a:gd name="connsiteY65" fmla="*/ 1736 h 10000"/>
                <a:gd name="connsiteX66" fmla="*/ 9495 w 9723"/>
                <a:gd name="connsiteY66" fmla="*/ 1061 h 10000"/>
                <a:gd name="connsiteX67" fmla="*/ 9262 w 9723"/>
                <a:gd name="connsiteY67" fmla="*/ 836 h 10000"/>
                <a:gd name="connsiteX68" fmla="*/ 9216 w 9723"/>
                <a:gd name="connsiteY68" fmla="*/ 611 h 10000"/>
                <a:gd name="connsiteX69" fmla="*/ 8848 w 9723"/>
                <a:gd name="connsiteY69" fmla="*/ 289 h 10000"/>
                <a:gd name="connsiteX70" fmla="*/ 8525 w 9723"/>
                <a:gd name="connsiteY70" fmla="*/ 161 h 10000"/>
                <a:gd name="connsiteX71" fmla="*/ 8342 w 9723"/>
                <a:gd name="connsiteY71" fmla="*/ 0 h 10000"/>
                <a:gd name="connsiteX72" fmla="*/ 8066 w 9723"/>
                <a:gd name="connsiteY72" fmla="*/ 161 h 10000"/>
                <a:gd name="connsiteX73" fmla="*/ 7880 w 9723"/>
                <a:gd name="connsiteY73" fmla="*/ 129 h 10000"/>
                <a:gd name="connsiteX74" fmla="*/ 7740 w 9723"/>
                <a:gd name="connsiteY74" fmla="*/ 418 h 10000"/>
                <a:gd name="connsiteX75" fmla="*/ 7373 w 9723"/>
                <a:gd name="connsiteY75" fmla="*/ 482 h 10000"/>
                <a:gd name="connsiteX76" fmla="*/ 7281 w 9723"/>
                <a:gd name="connsiteY76" fmla="*/ 707 h 10000"/>
                <a:gd name="connsiteX77" fmla="*/ 6958 w 9723"/>
                <a:gd name="connsiteY77" fmla="*/ 707 h 10000"/>
                <a:gd name="connsiteX78" fmla="*/ 6682 w 9723"/>
                <a:gd name="connsiteY78" fmla="*/ 611 h 10000"/>
                <a:gd name="connsiteX79" fmla="*/ 6083 w 9723"/>
                <a:gd name="connsiteY79" fmla="*/ 611 h 10000"/>
                <a:gd name="connsiteX80" fmla="*/ 5484 w 9723"/>
                <a:gd name="connsiteY80" fmla="*/ 611 h 10000"/>
                <a:gd name="connsiteX81" fmla="*/ 5530 w 9723"/>
                <a:gd name="connsiteY81" fmla="*/ 482 h 10000"/>
                <a:gd name="connsiteX82" fmla="*/ 5438 w 9723"/>
                <a:gd name="connsiteY82" fmla="*/ 482 h 10000"/>
                <a:gd name="connsiteX83" fmla="*/ 5392 w 9723"/>
                <a:gd name="connsiteY83" fmla="*/ 611 h 10000"/>
                <a:gd name="connsiteX84" fmla="*/ 4838 w 9723"/>
                <a:gd name="connsiteY84" fmla="*/ 611 h 10000"/>
                <a:gd name="connsiteX85" fmla="*/ 4287 w 9723"/>
                <a:gd name="connsiteY85" fmla="*/ 611 h 10000"/>
                <a:gd name="connsiteX86" fmla="*/ 3735 w 9723"/>
                <a:gd name="connsiteY86" fmla="*/ 611 h 10000"/>
                <a:gd name="connsiteX87" fmla="*/ 3180 w 9723"/>
                <a:gd name="connsiteY87" fmla="*/ 611 h 10000"/>
                <a:gd name="connsiteX88" fmla="*/ 2675 w 9723"/>
                <a:gd name="connsiteY88" fmla="*/ 611 h 10000"/>
                <a:gd name="connsiteX89" fmla="*/ 2122 w 9723"/>
                <a:gd name="connsiteY89" fmla="*/ 611 h 10000"/>
                <a:gd name="connsiteX90" fmla="*/ 1614 w 9723"/>
                <a:gd name="connsiteY90" fmla="*/ 611 h 10000"/>
                <a:gd name="connsiteX91" fmla="*/ 1061 w 9723"/>
                <a:gd name="connsiteY91" fmla="*/ 611 h 10000"/>
                <a:gd name="connsiteX92" fmla="*/ 1061 w 9723"/>
                <a:gd name="connsiteY92" fmla="*/ 1061 h 10000"/>
                <a:gd name="connsiteX93" fmla="*/ 1061 w 9723"/>
                <a:gd name="connsiteY93" fmla="*/ 1640 h 10000"/>
                <a:gd name="connsiteX94" fmla="*/ 370 w 9723"/>
                <a:gd name="connsiteY94" fmla="*/ 1640 h 10000"/>
                <a:gd name="connsiteX95" fmla="*/ 370 w 9723"/>
                <a:gd name="connsiteY95" fmla="*/ 1897 h 10000"/>
                <a:gd name="connsiteX0" fmla="*/ 381 w 9857"/>
                <a:gd name="connsiteY0" fmla="*/ 1897 h 10000"/>
                <a:gd name="connsiteX1" fmla="*/ 5886 w 9857"/>
                <a:gd name="connsiteY1" fmla="*/ 6915 h 10000"/>
                <a:gd name="connsiteX2" fmla="*/ 5496 w 9857"/>
                <a:gd name="connsiteY2" fmla="*/ 7114 h 10000"/>
                <a:gd name="connsiteX3" fmla="*/ 5170 w 9857"/>
                <a:gd name="connsiteY3" fmla="*/ 6907 h 10000"/>
                <a:gd name="connsiteX4" fmla="*/ 4696 w 9857"/>
                <a:gd name="connsiteY4" fmla="*/ 6781 h 10000"/>
                <a:gd name="connsiteX5" fmla="*/ 4460 w 9857"/>
                <a:gd name="connsiteY5" fmla="*/ 7064 h 10000"/>
                <a:gd name="connsiteX6" fmla="*/ 3876 w 9857"/>
                <a:gd name="connsiteY6" fmla="*/ 7281 h 10000"/>
                <a:gd name="connsiteX7" fmla="*/ 3502 w 9857"/>
                <a:gd name="connsiteY7" fmla="*/ 7279 h 10000"/>
                <a:gd name="connsiteX8" fmla="*/ 2684 w 9857"/>
                <a:gd name="connsiteY8" fmla="*/ 7095 h 10000"/>
                <a:gd name="connsiteX9" fmla="*/ 2465 w 9857"/>
                <a:gd name="connsiteY9" fmla="*/ 7195 h 10000"/>
                <a:gd name="connsiteX10" fmla="*/ 1919 w 9857"/>
                <a:gd name="connsiteY10" fmla="*/ 6973 h 10000"/>
                <a:gd name="connsiteX11" fmla="*/ 1678 w 9857"/>
                <a:gd name="connsiteY11" fmla="*/ 6638 h 10000"/>
                <a:gd name="connsiteX12" fmla="*/ 1277 w 9857"/>
                <a:gd name="connsiteY12" fmla="*/ 6729 h 10000"/>
                <a:gd name="connsiteX13" fmla="*/ 1168 w 9857"/>
                <a:gd name="connsiteY13" fmla="*/ 6927 h 10000"/>
                <a:gd name="connsiteX14" fmla="*/ 745 w 9857"/>
                <a:gd name="connsiteY14" fmla="*/ 7011 h 10000"/>
                <a:gd name="connsiteX15" fmla="*/ 465 w 9857"/>
                <a:gd name="connsiteY15" fmla="*/ 7004 h 10000"/>
                <a:gd name="connsiteX16" fmla="*/ 311 w 9857"/>
                <a:gd name="connsiteY16" fmla="*/ 7161 h 10000"/>
                <a:gd name="connsiteX17" fmla="*/ 50 w 9857"/>
                <a:gd name="connsiteY17" fmla="*/ 6913 h 10000"/>
                <a:gd name="connsiteX18" fmla="*/ 0 w 9857"/>
                <a:gd name="connsiteY18" fmla="*/ 7363 h 10000"/>
                <a:gd name="connsiteX19" fmla="*/ 95 w 9857"/>
                <a:gd name="connsiteY19" fmla="*/ 7428 h 10000"/>
                <a:gd name="connsiteX20" fmla="*/ 475 w 9857"/>
                <a:gd name="connsiteY20" fmla="*/ 7460 h 10000"/>
                <a:gd name="connsiteX21" fmla="*/ 524 w 9857"/>
                <a:gd name="connsiteY21" fmla="*/ 7588 h 10000"/>
                <a:gd name="connsiteX22" fmla="*/ 948 w 9857"/>
                <a:gd name="connsiteY22" fmla="*/ 7621 h 10000"/>
                <a:gd name="connsiteX23" fmla="*/ 1187 w 9857"/>
                <a:gd name="connsiteY23" fmla="*/ 7749 h 10000"/>
                <a:gd name="connsiteX24" fmla="*/ 1232 w 9857"/>
                <a:gd name="connsiteY24" fmla="*/ 7974 h 10000"/>
                <a:gd name="connsiteX25" fmla="*/ 1993 w 9857"/>
                <a:gd name="connsiteY25" fmla="*/ 8360 h 10000"/>
                <a:gd name="connsiteX26" fmla="*/ 2182 w 9857"/>
                <a:gd name="connsiteY26" fmla="*/ 8746 h 10000"/>
                <a:gd name="connsiteX27" fmla="*/ 2702 w 9857"/>
                <a:gd name="connsiteY27" fmla="*/ 8939 h 10000"/>
                <a:gd name="connsiteX28" fmla="*/ 2892 w 9857"/>
                <a:gd name="connsiteY28" fmla="*/ 9196 h 10000"/>
                <a:gd name="connsiteX29" fmla="*/ 3271 w 9857"/>
                <a:gd name="connsiteY29" fmla="*/ 9518 h 10000"/>
                <a:gd name="connsiteX30" fmla="*/ 3557 w 9857"/>
                <a:gd name="connsiteY30" fmla="*/ 9614 h 10000"/>
                <a:gd name="connsiteX31" fmla="*/ 3746 w 9857"/>
                <a:gd name="connsiteY31" fmla="*/ 9518 h 10000"/>
                <a:gd name="connsiteX32" fmla="*/ 4219 w 9857"/>
                <a:gd name="connsiteY32" fmla="*/ 9550 h 10000"/>
                <a:gd name="connsiteX33" fmla="*/ 4409 w 9857"/>
                <a:gd name="connsiteY33" fmla="*/ 9486 h 10000"/>
                <a:gd name="connsiteX34" fmla="*/ 5261 w 9857"/>
                <a:gd name="connsiteY34" fmla="*/ 9968 h 10000"/>
                <a:gd name="connsiteX35" fmla="*/ 5310 w 9857"/>
                <a:gd name="connsiteY35" fmla="*/ 9968 h 10000"/>
                <a:gd name="connsiteX36" fmla="*/ 5404 w 9857"/>
                <a:gd name="connsiteY36" fmla="*/ 9904 h 10000"/>
                <a:gd name="connsiteX37" fmla="*/ 6017 w 9857"/>
                <a:gd name="connsiteY37" fmla="*/ 9904 h 10000"/>
                <a:gd name="connsiteX38" fmla="*/ 6114 w 9857"/>
                <a:gd name="connsiteY38" fmla="*/ 10000 h 10000"/>
                <a:gd name="connsiteX39" fmla="*/ 6636 w 9857"/>
                <a:gd name="connsiteY39" fmla="*/ 9871 h 10000"/>
                <a:gd name="connsiteX40" fmla="*/ 7108 w 9857"/>
                <a:gd name="connsiteY40" fmla="*/ 9871 h 10000"/>
                <a:gd name="connsiteX41" fmla="*/ 7441 w 9857"/>
                <a:gd name="connsiteY41" fmla="*/ 9743 h 10000"/>
                <a:gd name="connsiteX42" fmla="*/ 7822 w 9857"/>
                <a:gd name="connsiteY42" fmla="*/ 9486 h 10000"/>
                <a:gd name="connsiteX43" fmla="*/ 8816 w 9857"/>
                <a:gd name="connsiteY43" fmla="*/ 9486 h 10000"/>
                <a:gd name="connsiteX44" fmla="*/ 8816 w 9857"/>
                <a:gd name="connsiteY44" fmla="*/ 9132 h 10000"/>
                <a:gd name="connsiteX45" fmla="*/ 8296 w 9857"/>
                <a:gd name="connsiteY45" fmla="*/ 8971 h 10000"/>
                <a:gd name="connsiteX46" fmla="*/ 8010 w 9857"/>
                <a:gd name="connsiteY46" fmla="*/ 8457 h 10000"/>
                <a:gd name="connsiteX47" fmla="*/ 7632 w 9857"/>
                <a:gd name="connsiteY47" fmla="*/ 8264 h 10000"/>
                <a:gd name="connsiteX48" fmla="*/ 7393 w 9857"/>
                <a:gd name="connsiteY48" fmla="*/ 8006 h 10000"/>
                <a:gd name="connsiteX49" fmla="*/ 6778 w 9857"/>
                <a:gd name="connsiteY49" fmla="*/ 7814 h 10000"/>
                <a:gd name="connsiteX50" fmla="*/ 6920 w 9857"/>
                <a:gd name="connsiteY50" fmla="*/ 7749 h 10000"/>
                <a:gd name="connsiteX51" fmla="*/ 6920 w 9857"/>
                <a:gd name="connsiteY51" fmla="*/ 7588 h 10000"/>
                <a:gd name="connsiteX52" fmla="*/ 7348 w 9857"/>
                <a:gd name="connsiteY52" fmla="*/ 7588 h 10000"/>
                <a:gd name="connsiteX53" fmla="*/ 7583 w 9857"/>
                <a:gd name="connsiteY53" fmla="*/ 7460 h 10000"/>
                <a:gd name="connsiteX54" fmla="*/ 7632 w 9857"/>
                <a:gd name="connsiteY54" fmla="*/ 6527 h 10000"/>
                <a:gd name="connsiteX55" fmla="*/ 7678 w 9857"/>
                <a:gd name="connsiteY55" fmla="*/ 6559 h 10000"/>
                <a:gd name="connsiteX56" fmla="*/ 7509 w 9857"/>
                <a:gd name="connsiteY56" fmla="*/ 6618 h 10000"/>
                <a:gd name="connsiteX57" fmla="*/ 7443 w 9857"/>
                <a:gd name="connsiteY57" fmla="*/ 6745 h 10000"/>
                <a:gd name="connsiteX58" fmla="*/ 7019 w 9857"/>
                <a:gd name="connsiteY58" fmla="*/ 6497 h 10000"/>
                <a:gd name="connsiteX59" fmla="*/ 6943 w 9857"/>
                <a:gd name="connsiteY59" fmla="*/ 5828 h 10000"/>
                <a:gd name="connsiteX60" fmla="*/ 6490 w 9857"/>
                <a:gd name="connsiteY60" fmla="*/ 6118 h 10000"/>
                <a:gd name="connsiteX61" fmla="*/ 6497 w 9857"/>
                <a:gd name="connsiteY61" fmla="*/ 6462 h 10000"/>
                <a:gd name="connsiteX62" fmla="*/ 6132 w 9857"/>
                <a:gd name="connsiteY62" fmla="*/ 6670 h 10000"/>
                <a:gd name="connsiteX63" fmla="*/ 9857 w 9857"/>
                <a:gd name="connsiteY63" fmla="*/ 2219 h 10000"/>
                <a:gd name="connsiteX64" fmla="*/ 9766 w 9857"/>
                <a:gd name="connsiteY64" fmla="*/ 1736 h 10000"/>
                <a:gd name="connsiteX65" fmla="*/ 9766 w 9857"/>
                <a:gd name="connsiteY65" fmla="*/ 1061 h 10000"/>
                <a:gd name="connsiteX66" fmla="*/ 9526 w 9857"/>
                <a:gd name="connsiteY66" fmla="*/ 836 h 10000"/>
                <a:gd name="connsiteX67" fmla="*/ 9479 w 9857"/>
                <a:gd name="connsiteY67" fmla="*/ 611 h 10000"/>
                <a:gd name="connsiteX68" fmla="*/ 9100 w 9857"/>
                <a:gd name="connsiteY68" fmla="*/ 289 h 10000"/>
                <a:gd name="connsiteX69" fmla="*/ 8768 w 9857"/>
                <a:gd name="connsiteY69" fmla="*/ 161 h 10000"/>
                <a:gd name="connsiteX70" fmla="*/ 8580 w 9857"/>
                <a:gd name="connsiteY70" fmla="*/ 0 h 10000"/>
                <a:gd name="connsiteX71" fmla="*/ 8296 w 9857"/>
                <a:gd name="connsiteY71" fmla="*/ 161 h 10000"/>
                <a:gd name="connsiteX72" fmla="*/ 8104 w 9857"/>
                <a:gd name="connsiteY72" fmla="*/ 129 h 10000"/>
                <a:gd name="connsiteX73" fmla="*/ 7961 w 9857"/>
                <a:gd name="connsiteY73" fmla="*/ 418 h 10000"/>
                <a:gd name="connsiteX74" fmla="*/ 7583 w 9857"/>
                <a:gd name="connsiteY74" fmla="*/ 482 h 10000"/>
                <a:gd name="connsiteX75" fmla="*/ 7488 w 9857"/>
                <a:gd name="connsiteY75" fmla="*/ 707 h 10000"/>
                <a:gd name="connsiteX76" fmla="*/ 7156 w 9857"/>
                <a:gd name="connsiteY76" fmla="*/ 707 h 10000"/>
                <a:gd name="connsiteX77" fmla="*/ 6872 w 9857"/>
                <a:gd name="connsiteY77" fmla="*/ 611 h 10000"/>
                <a:gd name="connsiteX78" fmla="*/ 6256 w 9857"/>
                <a:gd name="connsiteY78" fmla="*/ 611 h 10000"/>
                <a:gd name="connsiteX79" fmla="*/ 5640 w 9857"/>
                <a:gd name="connsiteY79" fmla="*/ 611 h 10000"/>
                <a:gd name="connsiteX80" fmla="*/ 5688 w 9857"/>
                <a:gd name="connsiteY80" fmla="*/ 482 h 10000"/>
                <a:gd name="connsiteX81" fmla="*/ 5593 w 9857"/>
                <a:gd name="connsiteY81" fmla="*/ 482 h 10000"/>
                <a:gd name="connsiteX82" fmla="*/ 5546 w 9857"/>
                <a:gd name="connsiteY82" fmla="*/ 611 h 10000"/>
                <a:gd name="connsiteX83" fmla="*/ 4976 w 9857"/>
                <a:gd name="connsiteY83" fmla="*/ 611 h 10000"/>
                <a:gd name="connsiteX84" fmla="*/ 4409 w 9857"/>
                <a:gd name="connsiteY84" fmla="*/ 611 h 10000"/>
                <a:gd name="connsiteX85" fmla="*/ 3841 w 9857"/>
                <a:gd name="connsiteY85" fmla="*/ 611 h 10000"/>
                <a:gd name="connsiteX86" fmla="*/ 3271 w 9857"/>
                <a:gd name="connsiteY86" fmla="*/ 611 h 10000"/>
                <a:gd name="connsiteX87" fmla="*/ 2751 w 9857"/>
                <a:gd name="connsiteY87" fmla="*/ 611 h 10000"/>
                <a:gd name="connsiteX88" fmla="*/ 2182 w 9857"/>
                <a:gd name="connsiteY88" fmla="*/ 611 h 10000"/>
                <a:gd name="connsiteX89" fmla="*/ 1660 w 9857"/>
                <a:gd name="connsiteY89" fmla="*/ 611 h 10000"/>
                <a:gd name="connsiteX90" fmla="*/ 1091 w 9857"/>
                <a:gd name="connsiteY90" fmla="*/ 611 h 10000"/>
                <a:gd name="connsiteX91" fmla="*/ 1091 w 9857"/>
                <a:gd name="connsiteY91" fmla="*/ 1061 h 10000"/>
                <a:gd name="connsiteX92" fmla="*/ 1091 w 9857"/>
                <a:gd name="connsiteY92" fmla="*/ 1640 h 10000"/>
                <a:gd name="connsiteX93" fmla="*/ 381 w 9857"/>
                <a:gd name="connsiteY93" fmla="*/ 1640 h 10000"/>
                <a:gd name="connsiteX94" fmla="*/ 381 w 9857"/>
                <a:gd name="connsiteY94" fmla="*/ 1897 h 10000"/>
                <a:gd name="connsiteX0" fmla="*/ 387 w 9908"/>
                <a:gd name="connsiteY0" fmla="*/ 1897 h 10000"/>
                <a:gd name="connsiteX1" fmla="*/ 5971 w 9908"/>
                <a:gd name="connsiteY1" fmla="*/ 6915 h 10000"/>
                <a:gd name="connsiteX2" fmla="*/ 5576 w 9908"/>
                <a:gd name="connsiteY2" fmla="*/ 7114 h 10000"/>
                <a:gd name="connsiteX3" fmla="*/ 5245 w 9908"/>
                <a:gd name="connsiteY3" fmla="*/ 6907 h 10000"/>
                <a:gd name="connsiteX4" fmla="*/ 4764 w 9908"/>
                <a:gd name="connsiteY4" fmla="*/ 6781 h 10000"/>
                <a:gd name="connsiteX5" fmla="*/ 4525 w 9908"/>
                <a:gd name="connsiteY5" fmla="*/ 7064 h 10000"/>
                <a:gd name="connsiteX6" fmla="*/ 3932 w 9908"/>
                <a:gd name="connsiteY6" fmla="*/ 7281 h 10000"/>
                <a:gd name="connsiteX7" fmla="*/ 3553 w 9908"/>
                <a:gd name="connsiteY7" fmla="*/ 7279 h 10000"/>
                <a:gd name="connsiteX8" fmla="*/ 2723 w 9908"/>
                <a:gd name="connsiteY8" fmla="*/ 7095 h 10000"/>
                <a:gd name="connsiteX9" fmla="*/ 2501 w 9908"/>
                <a:gd name="connsiteY9" fmla="*/ 7195 h 10000"/>
                <a:gd name="connsiteX10" fmla="*/ 1947 w 9908"/>
                <a:gd name="connsiteY10" fmla="*/ 6973 h 10000"/>
                <a:gd name="connsiteX11" fmla="*/ 1702 w 9908"/>
                <a:gd name="connsiteY11" fmla="*/ 6638 h 10000"/>
                <a:gd name="connsiteX12" fmla="*/ 1296 w 9908"/>
                <a:gd name="connsiteY12" fmla="*/ 6729 h 10000"/>
                <a:gd name="connsiteX13" fmla="*/ 1185 w 9908"/>
                <a:gd name="connsiteY13" fmla="*/ 6927 h 10000"/>
                <a:gd name="connsiteX14" fmla="*/ 756 w 9908"/>
                <a:gd name="connsiteY14" fmla="*/ 7011 h 10000"/>
                <a:gd name="connsiteX15" fmla="*/ 472 w 9908"/>
                <a:gd name="connsiteY15" fmla="*/ 7004 h 10000"/>
                <a:gd name="connsiteX16" fmla="*/ 316 w 9908"/>
                <a:gd name="connsiteY16" fmla="*/ 7161 h 10000"/>
                <a:gd name="connsiteX17" fmla="*/ 51 w 9908"/>
                <a:gd name="connsiteY17" fmla="*/ 6913 h 10000"/>
                <a:gd name="connsiteX18" fmla="*/ 0 w 9908"/>
                <a:gd name="connsiteY18" fmla="*/ 7363 h 10000"/>
                <a:gd name="connsiteX19" fmla="*/ 96 w 9908"/>
                <a:gd name="connsiteY19" fmla="*/ 7428 h 10000"/>
                <a:gd name="connsiteX20" fmla="*/ 482 w 9908"/>
                <a:gd name="connsiteY20" fmla="*/ 7460 h 10000"/>
                <a:gd name="connsiteX21" fmla="*/ 532 w 9908"/>
                <a:gd name="connsiteY21" fmla="*/ 7588 h 10000"/>
                <a:gd name="connsiteX22" fmla="*/ 962 w 9908"/>
                <a:gd name="connsiteY22" fmla="*/ 7621 h 10000"/>
                <a:gd name="connsiteX23" fmla="*/ 1204 w 9908"/>
                <a:gd name="connsiteY23" fmla="*/ 7749 h 10000"/>
                <a:gd name="connsiteX24" fmla="*/ 1250 w 9908"/>
                <a:gd name="connsiteY24" fmla="*/ 7974 h 10000"/>
                <a:gd name="connsiteX25" fmla="*/ 2022 w 9908"/>
                <a:gd name="connsiteY25" fmla="*/ 8360 h 10000"/>
                <a:gd name="connsiteX26" fmla="*/ 2214 w 9908"/>
                <a:gd name="connsiteY26" fmla="*/ 8746 h 10000"/>
                <a:gd name="connsiteX27" fmla="*/ 2741 w 9908"/>
                <a:gd name="connsiteY27" fmla="*/ 8939 h 10000"/>
                <a:gd name="connsiteX28" fmla="*/ 2934 w 9908"/>
                <a:gd name="connsiteY28" fmla="*/ 9196 h 10000"/>
                <a:gd name="connsiteX29" fmla="*/ 3318 w 9908"/>
                <a:gd name="connsiteY29" fmla="*/ 9518 h 10000"/>
                <a:gd name="connsiteX30" fmla="*/ 3609 w 9908"/>
                <a:gd name="connsiteY30" fmla="*/ 9614 h 10000"/>
                <a:gd name="connsiteX31" fmla="*/ 3800 w 9908"/>
                <a:gd name="connsiteY31" fmla="*/ 9518 h 10000"/>
                <a:gd name="connsiteX32" fmla="*/ 4280 w 9908"/>
                <a:gd name="connsiteY32" fmla="*/ 9550 h 10000"/>
                <a:gd name="connsiteX33" fmla="*/ 4473 w 9908"/>
                <a:gd name="connsiteY33" fmla="*/ 9486 h 10000"/>
                <a:gd name="connsiteX34" fmla="*/ 5337 w 9908"/>
                <a:gd name="connsiteY34" fmla="*/ 9968 h 10000"/>
                <a:gd name="connsiteX35" fmla="*/ 5387 w 9908"/>
                <a:gd name="connsiteY35" fmla="*/ 9968 h 10000"/>
                <a:gd name="connsiteX36" fmla="*/ 5482 w 9908"/>
                <a:gd name="connsiteY36" fmla="*/ 9904 h 10000"/>
                <a:gd name="connsiteX37" fmla="*/ 6104 w 9908"/>
                <a:gd name="connsiteY37" fmla="*/ 9904 h 10000"/>
                <a:gd name="connsiteX38" fmla="*/ 6203 w 9908"/>
                <a:gd name="connsiteY38" fmla="*/ 10000 h 10000"/>
                <a:gd name="connsiteX39" fmla="*/ 6732 w 9908"/>
                <a:gd name="connsiteY39" fmla="*/ 9871 h 10000"/>
                <a:gd name="connsiteX40" fmla="*/ 7211 w 9908"/>
                <a:gd name="connsiteY40" fmla="*/ 9871 h 10000"/>
                <a:gd name="connsiteX41" fmla="*/ 7549 w 9908"/>
                <a:gd name="connsiteY41" fmla="*/ 9743 h 10000"/>
                <a:gd name="connsiteX42" fmla="*/ 7935 w 9908"/>
                <a:gd name="connsiteY42" fmla="*/ 9486 h 10000"/>
                <a:gd name="connsiteX43" fmla="*/ 8944 w 9908"/>
                <a:gd name="connsiteY43" fmla="*/ 9486 h 10000"/>
                <a:gd name="connsiteX44" fmla="*/ 8944 w 9908"/>
                <a:gd name="connsiteY44" fmla="*/ 9132 h 10000"/>
                <a:gd name="connsiteX45" fmla="*/ 8416 w 9908"/>
                <a:gd name="connsiteY45" fmla="*/ 8971 h 10000"/>
                <a:gd name="connsiteX46" fmla="*/ 8126 w 9908"/>
                <a:gd name="connsiteY46" fmla="*/ 8457 h 10000"/>
                <a:gd name="connsiteX47" fmla="*/ 7743 w 9908"/>
                <a:gd name="connsiteY47" fmla="*/ 8264 h 10000"/>
                <a:gd name="connsiteX48" fmla="*/ 7500 w 9908"/>
                <a:gd name="connsiteY48" fmla="*/ 8006 h 10000"/>
                <a:gd name="connsiteX49" fmla="*/ 6876 w 9908"/>
                <a:gd name="connsiteY49" fmla="*/ 7814 h 10000"/>
                <a:gd name="connsiteX50" fmla="*/ 7020 w 9908"/>
                <a:gd name="connsiteY50" fmla="*/ 7749 h 10000"/>
                <a:gd name="connsiteX51" fmla="*/ 7020 w 9908"/>
                <a:gd name="connsiteY51" fmla="*/ 7588 h 10000"/>
                <a:gd name="connsiteX52" fmla="*/ 7455 w 9908"/>
                <a:gd name="connsiteY52" fmla="*/ 7588 h 10000"/>
                <a:gd name="connsiteX53" fmla="*/ 7693 w 9908"/>
                <a:gd name="connsiteY53" fmla="*/ 7460 h 10000"/>
                <a:gd name="connsiteX54" fmla="*/ 7743 w 9908"/>
                <a:gd name="connsiteY54" fmla="*/ 6527 h 10000"/>
                <a:gd name="connsiteX55" fmla="*/ 7789 w 9908"/>
                <a:gd name="connsiteY55" fmla="*/ 6559 h 10000"/>
                <a:gd name="connsiteX56" fmla="*/ 7618 w 9908"/>
                <a:gd name="connsiteY56" fmla="*/ 6618 h 10000"/>
                <a:gd name="connsiteX57" fmla="*/ 7551 w 9908"/>
                <a:gd name="connsiteY57" fmla="*/ 6745 h 10000"/>
                <a:gd name="connsiteX58" fmla="*/ 7121 w 9908"/>
                <a:gd name="connsiteY58" fmla="*/ 6497 h 10000"/>
                <a:gd name="connsiteX59" fmla="*/ 7044 w 9908"/>
                <a:gd name="connsiteY59" fmla="*/ 5828 h 10000"/>
                <a:gd name="connsiteX60" fmla="*/ 6584 w 9908"/>
                <a:gd name="connsiteY60" fmla="*/ 6118 h 10000"/>
                <a:gd name="connsiteX61" fmla="*/ 6591 w 9908"/>
                <a:gd name="connsiteY61" fmla="*/ 6462 h 10000"/>
                <a:gd name="connsiteX62" fmla="*/ 6221 w 9908"/>
                <a:gd name="connsiteY62" fmla="*/ 6670 h 10000"/>
                <a:gd name="connsiteX63" fmla="*/ 9908 w 9908"/>
                <a:gd name="connsiteY63" fmla="*/ 1736 h 10000"/>
                <a:gd name="connsiteX64" fmla="*/ 9908 w 9908"/>
                <a:gd name="connsiteY64" fmla="*/ 1061 h 10000"/>
                <a:gd name="connsiteX65" fmla="*/ 9664 w 9908"/>
                <a:gd name="connsiteY65" fmla="*/ 836 h 10000"/>
                <a:gd name="connsiteX66" fmla="*/ 9617 w 9908"/>
                <a:gd name="connsiteY66" fmla="*/ 611 h 10000"/>
                <a:gd name="connsiteX67" fmla="*/ 9232 w 9908"/>
                <a:gd name="connsiteY67" fmla="*/ 289 h 10000"/>
                <a:gd name="connsiteX68" fmla="*/ 8895 w 9908"/>
                <a:gd name="connsiteY68" fmla="*/ 161 h 10000"/>
                <a:gd name="connsiteX69" fmla="*/ 8704 w 9908"/>
                <a:gd name="connsiteY69" fmla="*/ 0 h 10000"/>
                <a:gd name="connsiteX70" fmla="*/ 8416 w 9908"/>
                <a:gd name="connsiteY70" fmla="*/ 161 h 10000"/>
                <a:gd name="connsiteX71" fmla="*/ 8222 w 9908"/>
                <a:gd name="connsiteY71" fmla="*/ 129 h 10000"/>
                <a:gd name="connsiteX72" fmla="*/ 8076 w 9908"/>
                <a:gd name="connsiteY72" fmla="*/ 418 h 10000"/>
                <a:gd name="connsiteX73" fmla="*/ 7693 w 9908"/>
                <a:gd name="connsiteY73" fmla="*/ 482 h 10000"/>
                <a:gd name="connsiteX74" fmla="*/ 7597 w 9908"/>
                <a:gd name="connsiteY74" fmla="*/ 707 h 10000"/>
                <a:gd name="connsiteX75" fmla="*/ 7260 w 9908"/>
                <a:gd name="connsiteY75" fmla="*/ 707 h 10000"/>
                <a:gd name="connsiteX76" fmla="*/ 6972 w 9908"/>
                <a:gd name="connsiteY76" fmla="*/ 611 h 10000"/>
                <a:gd name="connsiteX77" fmla="*/ 6347 w 9908"/>
                <a:gd name="connsiteY77" fmla="*/ 611 h 10000"/>
                <a:gd name="connsiteX78" fmla="*/ 5722 w 9908"/>
                <a:gd name="connsiteY78" fmla="*/ 611 h 10000"/>
                <a:gd name="connsiteX79" fmla="*/ 5771 w 9908"/>
                <a:gd name="connsiteY79" fmla="*/ 482 h 10000"/>
                <a:gd name="connsiteX80" fmla="*/ 5674 w 9908"/>
                <a:gd name="connsiteY80" fmla="*/ 482 h 10000"/>
                <a:gd name="connsiteX81" fmla="*/ 5626 w 9908"/>
                <a:gd name="connsiteY81" fmla="*/ 611 h 10000"/>
                <a:gd name="connsiteX82" fmla="*/ 5048 w 9908"/>
                <a:gd name="connsiteY82" fmla="*/ 611 h 10000"/>
                <a:gd name="connsiteX83" fmla="*/ 4473 w 9908"/>
                <a:gd name="connsiteY83" fmla="*/ 611 h 10000"/>
                <a:gd name="connsiteX84" fmla="*/ 3897 w 9908"/>
                <a:gd name="connsiteY84" fmla="*/ 611 h 10000"/>
                <a:gd name="connsiteX85" fmla="*/ 3318 w 9908"/>
                <a:gd name="connsiteY85" fmla="*/ 611 h 10000"/>
                <a:gd name="connsiteX86" fmla="*/ 2791 w 9908"/>
                <a:gd name="connsiteY86" fmla="*/ 611 h 10000"/>
                <a:gd name="connsiteX87" fmla="*/ 2214 w 9908"/>
                <a:gd name="connsiteY87" fmla="*/ 611 h 10000"/>
                <a:gd name="connsiteX88" fmla="*/ 1684 w 9908"/>
                <a:gd name="connsiteY88" fmla="*/ 611 h 10000"/>
                <a:gd name="connsiteX89" fmla="*/ 1107 w 9908"/>
                <a:gd name="connsiteY89" fmla="*/ 611 h 10000"/>
                <a:gd name="connsiteX90" fmla="*/ 1107 w 9908"/>
                <a:gd name="connsiteY90" fmla="*/ 1061 h 10000"/>
                <a:gd name="connsiteX91" fmla="*/ 1107 w 9908"/>
                <a:gd name="connsiteY91" fmla="*/ 1640 h 10000"/>
                <a:gd name="connsiteX92" fmla="*/ 387 w 9908"/>
                <a:gd name="connsiteY92" fmla="*/ 1640 h 10000"/>
                <a:gd name="connsiteX93" fmla="*/ 387 w 9908"/>
                <a:gd name="connsiteY93" fmla="*/ 1897 h 10000"/>
                <a:gd name="connsiteX0" fmla="*/ 391 w 10000"/>
                <a:gd name="connsiteY0" fmla="*/ 1897 h 10000"/>
                <a:gd name="connsiteX1" fmla="*/ 6026 w 10000"/>
                <a:gd name="connsiteY1" fmla="*/ 6915 h 10000"/>
                <a:gd name="connsiteX2" fmla="*/ 5628 w 10000"/>
                <a:gd name="connsiteY2" fmla="*/ 7114 h 10000"/>
                <a:gd name="connsiteX3" fmla="*/ 5294 w 10000"/>
                <a:gd name="connsiteY3" fmla="*/ 6907 h 10000"/>
                <a:gd name="connsiteX4" fmla="*/ 4808 w 10000"/>
                <a:gd name="connsiteY4" fmla="*/ 6781 h 10000"/>
                <a:gd name="connsiteX5" fmla="*/ 4567 w 10000"/>
                <a:gd name="connsiteY5" fmla="*/ 7064 h 10000"/>
                <a:gd name="connsiteX6" fmla="*/ 3969 w 10000"/>
                <a:gd name="connsiteY6" fmla="*/ 7281 h 10000"/>
                <a:gd name="connsiteX7" fmla="*/ 3586 w 10000"/>
                <a:gd name="connsiteY7" fmla="*/ 7279 h 10000"/>
                <a:gd name="connsiteX8" fmla="*/ 2748 w 10000"/>
                <a:gd name="connsiteY8" fmla="*/ 7095 h 10000"/>
                <a:gd name="connsiteX9" fmla="*/ 2524 w 10000"/>
                <a:gd name="connsiteY9" fmla="*/ 7195 h 10000"/>
                <a:gd name="connsiteX10" fmla="*/ 1965 w 10000"/>
                <a:gd name="connsiteY10" fmla="*/ 6973 h 10000"/>
                <a:gd name="connsiteX11" fmla="*/ 1718 w 10000"/>
                <a:gd name="connsiteY11" fmla="*/ 6638 h 10000"/>
                <a:gd name="connsiteX12" fmla="*/ 1308 w 10000"/>
                <a:gd name="connsiteY12" fmla="*/ 6729 h 10000"/>
                <a:gd name="connsiteX13" fmla="*/ 1196 w 10000"/>
                <a:gd name="connsiteY13" fmla="*/ 6927 h 10000"/>
                <a:gd name="connsiteX14" fmla="*/ 763 w 10000"/>
                <a:gd name="connsiteY14" fmla="*/ 7011 h 10000"/>
                <a:gd name="connsiteX15" fmla="*/ 476 w 10000"/>
                <a:gd name="connsiteY15" fmla="*/ 7004 h 10000"/>
                <a:gd name="connsiteX16" fmla="*/ 319 w 10000"/>
                <a:gd name="connsiteY16" fmla="*/ 7161 h 10000"/>
                <a:gd name="connsiteX17" fmla="*/ 51 w 10000"/>
                <a:gd name="connsiteY17" fmla="*/ 6913 h 10000"/>
                <a:gd name="connsiteX18" fmla="*/ 0 w 10000"/>
                <a:gd name="connsiteY18" fmla="*/ 7363 h 10000"/>
                <a:gd name="connsiteX19" fmla="*/ 97 w 10000"/>
                <a:gd name="connsiteY19" fmla="*/ 7428 h 10000"/>
                <a:gd name="connsiteX20" fmla="*/ 486 w 10000"/>
                <a:gd name="connsiteY20" fmla="*/ 7460 h 10000"/>
                <a:gd name="connsiteX21" fmla="*/ 537 w 10000"/>
                <a:gd name="connsiteY21" fmla="*/ 7588 h 10000"/>
                <a:gd name="connsiteX22" fmla="*/ 971 w 10000"/>
                <a:gd name="connsiteY22" fmla="*/ 7621 h 10000"/>
                <a:gd name="connsiteX23" fmla="*/ 1215 w 10000"/>
                <a:gd name="connsiteY23" fmla="*/ 7749 h 10000"/>
                <a:gd name="connsiteX24" fmla="*/ 1262 w 10000"/>
                <a:gd name="connsiteY24" fmla="*/ 7974 h 10000"/>
                <a:gd name="connsiteX25" fmla="*/ 2041 w 10000"/>
                <a:gd name="connsiteY25" fmla="*/ 8360 h 10000"/>
                <a:gd name="connsiteX26" fmla="*/ 2235 w 10000"/>
                <a:gd name="connsiteY26" fmla="*/ 8746 h 10000"/>
                <a:gd name="connsiteX27" fmla="*/ 2766 w 10000"/>
                <a:gd name="connsiteY27" fmla="*/ 8939 h 10000"/>
                <a:gd name="connsiteX28" fmla="*/ 2961 w 10000"/>
                <a:gd name="connsiteY28" fmla="*/ 9196 h 10000"/>
                <a:gd name="connsiteX29" fmla="*/ 3349 w 10000"/>
                <a:gd name="connsiteY29" fmla="*/ 9518 h 10000"/>
                <a:gd name="connsiteX30" fmla="*/ 3643 w 10000"/>
                <a:gd name="connsiteY30" fmla="*/ 9614 h 10000"/>
                <a:gd name="connsiteX31" fmla="*/ 3835 w 10000"/>
                <a:gd name="connsiteY31" fmla="*/ 9518 h 10000"/>
                <a:gd name="connsiteX32" fmla="*/ 4320 w 10000"/>
                <a:gd name="connsiteY32" fmla="*/ 9550 h 10000"/>
                <a:gd name="connsiteX33" fmla="*/ 4515 w 10000"/>
                <a:gd name="connsiteY33" fmla="*/ 9486 h 10000"/>
                <a:gd name="connsiteX34" fmla="*/ 5387 w 10000"/>
                <a:gd name="connsiteY34" fmla="*/ 9968 h 10000"/>
                <a:gd name="connsiteX35" fmla="*/ 5437 w 10000"/>
                <a:gd name="connsiteY35" fmla="*/ 9968 h 10000"/>
                <a:gd name="connsiteX36" fmla="*/ 5533 w 10000"/>
                <a:gd name="connsiteY36" fmla="*/ 9904 h 10000"/>
                <a:gd name="connsiteX37" fmla="*/ 6161 w 10000"/>
                <a:gd name="connsiteY37" fmla="*/ 9904 h 10000"/>
                <a:gd name="connsiteX38" fmla="*/ 6261 w 10000"/>
                <a:gd name="connsiteY38" fmla="*/ 10000 h 10000"/>
                <a:gd name="connsiteX39" fmla="*/ 6795 w 10000"/>
                <a:gd name="connsiteY39" fmla="*/ 9871 h 10000"/>
                <a:gd name="connsiteX40" fmla="*/ 7278 w 10000"/>
                <a:gd name="connsiteY40" fmla="*/ 9871 h 10000"/>
                <a:gd name="connsiteX41" fmla="*/ 7619 w 10000"/>
                <a:gd name="connsiteY41" fmla="*/ 9743 h 10000"/>
                <a:gd name="connsiteX42" fmla="*/ 8009 w 10000"/>
                <a:gd name="connsiteY42" fmla="*/ 9486 h 10000"/>
                <a:gd name="connsiteX43" fmla="*/ 9027 w 10000"/>
                <a:gd name="connsiteY43" fmla="*/ 9486 h 10000"/>
                <a:gd name="connsiteX44" fmla="*/ 9027 w 10000"/>
                <a:gd name="connsiteY44" fmla="*/ 9132 h 10000"/>
                <a:gd name="connsiteX45" fmla="*/ 8494 w 10000"/>
                <a:gd name="connsiteY45" fmla="*/ 8971 h 10000"/>
                <a:gd name="connsiteX46" fmla="*/ 8201 w 10000"/>
                <a:gd name="connsiteY46" fmla="*/ 8457 h 10000"/>
                <a:gd name="connsiteX47" fmla="*/ 7815 w 10000"/>
                <a:gd name="connsiteY47" fmla="*/ 8264 h 10000"/>
                <a:gd name="connsiteX48" fmla="*/ 7570 w 10000"/>
                <a:gd name="connsiteY48" fmla="*/ 8006 h 10000"/>
                <a:gd name="connsiteX49" fmla="*/ 6940 w 10000"/>
                <a:gd name="connsiteY49" fmla="*/ 7814 h 10000"/>
                <a:gd name="connsiteX50" fmla="*/ 7085 w 10000"/>
                <a:gd name="connsiteY50" fmla="*/ 7749 h 10000"/>
                <a:gd name="connsiteX51" fmla="*/ 7085 w 10000"/>
                <a:gd name="connsiteY51" fmla="*/ 7588 h 10000"/>
                <a:gd name="connsiteX52" fmla="*/ 7524 w 10000"/>
                <a:gd name="connsiteY52" fmla="*/ 7588 h 10000"/>
                <a:gd name="connsiteX53" fmla="*/ 7764 w 10000"/>
                <a:gd name="connsiteY53" fmla="*/ 7460 h 10000"/>
                <a:gd name="connsiteX54" fmla="*/ 7815 w 10000"/>
                <a:gd name="connsiteY54" fmla="*/ 6527 h 10000"/>
                <a:gd name="connsiteX55" fmla="*/ 7861 w 10000"/>
                <a:gd name="connsiteY55" fmla="*/ 6559 h 10000"/>
                <a:gd name="connsiteX56" fmla="*/ 7689 w 10000"/>
                <a:gd name="connsiteY56" fmla="*/ 6618 h 10000"/>
                <a:gd name="connsiteX57" fmla="*/ 7621 w 10000"/>
                <a:gd name="connsiteY57" fmla="*/ 6745 h 10000"/>
                <a:gd name="connsiteX58" fmla="*/ 7187 w 10000"/>
                <a:gd name="connsiteY58" fmla="*/ 6497 h 10000"/>
                <a:gd name="connsiteX59" fmla="*/ 7109 w 10000"/>
                <a:gd name="connsiteY59" fmla="*/ 5828 h 10000"/>
                <a:gd name="connsiteX60" fmla="*/ 6645 w 10000"/>
                <a:gd name="connsiteY60" fmla="*/ 6118 h 10000"/>
                <a:gd name="connsiteX61" fmla="*/ 6652 w 10000"/>
                <a:gd name="connsiteY61" fmla="*/ 6462 h 10000"/>
                <a:gd name="connsiteX62" fmla="*/ 6279 w 10000"/>
                <a:gd name="connsiteY62" fmla="*/ 6670 h 10000"/>
                <a:gd name="connsiteX63" fmla="*/ 10000 w 10000"/>
                <a:gd name="connsiteY63" fmla="*/ 1061 h 10000"/>
                <a:gd name="connsiteX64" fmla="*/ 9754 w 10000"/>
                <a:gd name="connsiteY64" fmla="*/ 836 h 10000"/>
                <a:gd name="connsiteX65" fmla="*/ 9706 w 10000"/>
                <a:gd name="connsiteY65" fmla="*/ 611 h 10000"/>
                <a:gd name="connsiteX66" fmla="*/ 9318 w 10000"/>
                <a:gd name="connsiteY66" fmla="*/ 289 h 10000"/>
                <a:gd name="connsiteX67" fmla="*/ 8978 w 10000"/>
                <a:gd name="connsiteY67" fmla="*/ 161 h 10000"/>
                <a:gd name="connsiteX68" fmla="*/ 8785 w 10000"/>
                <a:gd name="connsiteY68" fmla="*/ 0 h 10000"/>
                <a:gd name="connsiteX69" fmla="*/ 8494 w 10000"/>
                <a:gd name="connsiteY69" fmla="*/ 161 h 10000"/>
                <a:gd name="connsiteX70" fmla="*/ 8298 w 10000"/>
                <a:gd name="connsiteY70" fmla="*/ 129 h 10000"/>
                <a:gd name="connsiteX71" fmla="*/ 8151 w 10000"/>
                <a:gd name="connsiteY71" fmla="*/ 418 h 10000"/>
                <a:gd name="connsiteX72" fmla="*/ 7764 w 10000"/>
                <a:gd name="connsiteY72" fmla="*/ 482 h 10000"/>
                <a:gd name="connsiteX73" fmla="*/ 7668 w 10000"/>
                <a:gd name="connsiteY73" fmla="*/ 707 h 10000"/>
                <a:gd name="connsiteX74" fmla="*/ 7327 w 10000"/>
                <a:gd name="connsiteY74" fmla="*/ 707 h 10000"/>
                <a:gd name="connsiteX75" fmla="*/ 7037 w 10000"/>
                <a:gd name="connsiteY75" fmla="*/ 611 h 10000"/>
                <a:gd name="connsiteX76" fmla="*/ 6406 w 10000"/>
                <a:gd name="connsiteY76" fmla="*/ 611 h 10000"/>
                <a:gd name="connsiteX77" fmla="*/ 5775 w 10000"/>
                <a:gd name="connsiteY77" fmla="*/ 611 h 10000"/>
                <a:gd name="connsiteX78" fmla="*/ 5825 w 10000"/>
                <a:gd name="connsiteY78" fmla="*/ 482 h 10000"/>
                <a:gd name="connsiteX79" fmla="*/ 5727 w 10000"/>
                <a:gd name="connsiteY79" fmla="*/ 482 h 10000"/>
                <a:gd name="connsiteX80" fmla="*/ 5678 w 10000"/>
                <a:gd name="connsiteY80" fmla="*/ 611 h 10000"/>
                <a:gd name="connsiteX81" fmla="*/ 5095 w 10000"/>
                <a:gd name="connsiteY81" fmla="*/ 611 h 10000"/>
                <a:gd name="connsiteX82" fmla="*/ 4515 w 10000"/>
                <a:gd name="connsiteY82" fmla="*/ 611 h 10000"/>
                <a:gd name="connsiteX83" fmla="*/ 3933 w 10000"/>
                <a:gd name="connsiteY83" fmla="*/ 611 h 10000"/>
                <a:gd name="connsiteX84" fmla="*/ 3349 w 10000"/>
                <a:gd name="connsiteY84" fmla="*/ 611 h 10000"/>
                <a:gd name="connsiteX85" fmla="*/ 2817 w 10000"/>
                <a:gd name="connsiteY85" fmla="*/ 611 h 10000"/>
                <a:gd name="connsiteX86" fmla="*/ 2235 w 10000"/>
                <a:gd name="connsiteY86" fmla="*/ 611 h 10000"/>
                <a:gd name="connsiteX87" fmla="*/ 1700 w 10000"/>
                <a:gd name="connsiteY87" fmla="*/ 611 h 10000"/>
                <a:gd name="connsiteX88" fmla="*/ 1117 w 10000"/>
                <a:gd name="connsiteY88" fmla="*/ 611 h 10000"/>
                <a:gd name="connsiteX89" fmla="*/ 1117 w 10000"/>
                <a:gd name="connsiteY89" fmla="*/ 1061 h 10000"/>
                <a:gd name="connsiteX90" fmla="*/ 1117 w 10000"/>
                <a:gd name="connsiteY90" fmla="*/ 1640 h 10000"/>
                <a:gd name="connsiteX91" fmla="*/ 391 w 10000"/>
                <a:gd name="connsiteY91" fmla="*/ 1640 h 10000"/>
                <a:gd name="connsiteX92" fmla="*/ 391 w 10000"/>
                <a:gd name="connsiteY92" fmla="*/ 1897 h 10000"/>
                <a:gd name="connsiteX0" fmla="*/ 391 w 9754"/>
                <a:gd name="connsiteY0" fmla="*/ 1897 h 10000"/>
                <a:gd name="connsiteX1" fmla="*/ 6026 w 9754"/>
                <a:gd name="connsiteY1" fmla="*/ 6915 h 10000"/>
                <a:gd name="connsiteX2" fmla="*/ 5628 w 9754"/>
                <a:gd name="connsiteY2" fmla="*/ 7114 h 10000"/>
                <a:gd name="connsiteX3" fmla="*/ 5294 w 9754"/>
                <a:gd name="connsiteY3" fmla="*/ 6907 h 10000"/>
                <a:gd name="connsiteX4" fmla="*/ 4808 w 9754"/>
                <a:gd name="connsiteY4" fmla="*/ 6781 h 10000"/>
                <a:gd name="connsiteX5" fmla="*/ 4567 w 9754"/>
                <a:gd name="connsiteY5" fmla="*/ 7064 h 10000"/>
                <a:gd name="connsiteX6" fmla="*/ 3969 w 9754"/>
                <a:gd name="connsiteY6" fmla="*/ 7281 h 10000"/>
                <a:gd name="connsiteX7" fmla="*/ 3586 w 9754"/>
                <a:gd name="connsiteY7" fmla="*/ 7279 h 10000"/>
                <a:gd name="connsiteX8" fmla="*/ 2748 w 9754"/>
                <a:gd name="connsiteY8" fmla="*/ 7095 h 10000"/>
                <a:gd name="connsiteX9" fmla="*/ 2524 w 9754"/>
                <a:gd name="connsiteY9" fmla="*/ 7195 h 10000"/>
                <a:gd name="connsiteX10" fmla="*/ 1965 w 9754"/>
                <a:gd name="connsiteY10" fmla="*/ 6973 h 10000"/>
                <a:gd name="connsiteX11" fmla="*/ 1718 w 9754"/>
                <a:gd name="connsiteY11" fmla="*/ 6638 h 10000"/>
                <a:gd name="connsiteX12" fmla="*/ 1308 w 9754"/>
                <a:gd name="connsiteY12" fmla="*/ 6729 h 10000"/>
                <a:gd name="connsiteX13" fmla="*/ 1196 w 9754"/>
                <a:gd name="connsiteY13" fmla="*/ 6927 h 10000"/>
                <a:gd name="connsiteX14" fmla="*/ 763 w 9754"/>
                <a:gd name="connsiteY14" fmla="*/ 7011 h 10000"/>
                <a:gd name="connsiteX15" fmla="*/ 476 w 9754"/>
                <a:gd name="connsiteY15" fmla="*/ 7004 h 10000"/>
                <a:gd name="connsiteX16" fmla="*/ 319 w 9754"/>
                <a:gd name="connsiteY16" fmla="*/ 7161 h 10000"/>
                <a:gd name="connsiteX17" fmla="*/ 51 w 9754"/>
                <a:gd name="connsiteY17" fmla="*/ 6913 h 10000"/>
                <a:gd name="connsiteX18" fmla="*/ 0 w 9754"/>
                <a:gd name="connsiteY18" fmla="*/ 7363 h 10000"/>
                <a:gd name="connsiteX19" fmla="*/ 97 w 9754"/>
                <a:gd name="connsiteY19" fmla="*/ 7428 h 10000"/>
                <a:gd name="connsiteX20" fmla="*/ 486 w 9754"/>
                <a:gd name="connsiteY20" fmla="*/ 7460 h 10000"/>
                <a:gd name="connsiteX21" fmla="*/ 537 w 9754"/>
                <a:gd name="connsiteY21" fmla="*/ 7588 h 10000"/>
                <a:gd name="connsiteX22" fmla="*/ 971 w 9754"/>
                <a:gd name="connsiteY22" fmla="*/ 7621 h 10000"/>
                <a:gd name="connsiteX23" fmla="*/ 1215 w 9754"/>
                <a:gd name="connsiteY23" fmla="*/ 7749 h 10000"/>
                <a:gd name="connsiteX24" fmla="*/ 1262 w 9754"/>
                <a:gd name="connsiteY24" fmla="*/ 7974 h 10000"/>
                <a:gd name="connsiteX25" fmla="*/ 2041 w 9754"/>
                <a:gd name="connsiteY25" fmla="*/ 8360 h 10000"/>
                <a:gd name="connsiteX26" fmla="*/ 2235 w 9754"/>
                <a:gd name="connsiteY26" fmla="*/ 8746 h 10000"/>
                <a:gd name="connsiteX27" fmla="*/ 2766 w 9754"/>
                <a:gd name="connsiteY27" fmla="*/ 8939 h 10000"/>
                <a:gd name="connsiteX28" fmla="*/ 2961 w 9754"/>
                <a:gd name="connsiteY28" fmla="*/ 9196 h 10000"/>
                <a:gd name="connsiteX29" fmla="*/ 3349 w 9754"/>
                <a:gd name="connsiteY29" fmla="*/ 9518 h 10000"/>
                <a:gd name="connsiteX30" fmla="*/ 3643 w 9754"/>
                <a:gd name="connsiteY30" fmla="*/ 9614 h 10000"/>
                <a:gd name="connsiteX31" fmla="*/ 3835 w 9754"/>
                <a:gd name="connsiteY31" fmla="*/ 9518 h 10000"/>
                <a:gd name="connsiteX32" fmla="*/ 4320 w 9754"/>
                <a:gd name="connsiteY32" fmla="*/ 9550 h 10000"/>
                <a:gd name="connsiteX33" fmla="*/ 4515 w 9754"/>
                <a:gd name="connsiteY33" fmla="*/ 9486 h 10000"/>
                <a:gd name="connsiteX34" fmla="*/ 5387 w 9754"/>
                <a:gd name="connsiteY34" fmla="*/ 9968 h 10000"/>
                <a:gd name="connsiteX35" fmla="*/ 5437 w 9754"/>
                <a:gd name="connsiteY35" fmla="*/ 9968 h 10000"/>
                <a:gd name="connsiteX36" fmla="*/ 5533 w 9754"/>
                <a:gd name="connsiteY36" fmla="*/ 9904 h 10000"/>
                <a:gd name="connsiteX37" fmla="*/ 6161 w 9754"/>
                <a:gd name="connsiteY37" fmla="*/ 9904 h 10000"/>
                <a:gd name="connsiteX38" fmla="*/ 6261 w 9754"/>
                <a:gd name="connsiteY38" fmla="*/ 10000 h 10000"/>
                <a:gd name="connsiteX39" fmla="*/ 6795 w 9754"/>
                <a:gd name="connsiteY39" fmla="*/ 9871 h 10000"/>
                <a:gd name="connsiteX40" fmla="*/ 7278 w 9754"/>
                <a:gd name="connsiteY40" fmla="*/ 9871 h 10000"/>
                <a:gd name="connsiteX41" fmla="*/ 7619 w 9754"/>
                <a:gd name="connsiteY41" fmla="*/ 9743 h 10000"/>
                <a:gd name="connsiteX42" fmla="*/ 8009 w 9754"/>
                <a:gd name="connsiteY42" fmla="*/ 9486 h 10000"/>
                <a:gd name="connsiteX43" fmla="*/ 9027 w 9754"/>
                <a:gd name="connsiteY43" fmla="*/ 9486 h 10000"/>
                <a:gd name="connsiteX44" fmla="*/ 9027 w 9754"/>
                <a:gd name="connsiteY44" fmla="*/ 9132 h 10000"/>
                <a:gd name="connsiteX45" fmla="*/ 8494 w 9754"/>
                <a:gd name="connsiteY45" fmla="*/ 8971 h 10000"/>
                <a:gd name="connsiteX46" fmla="*/ 8201 w 9754"/>
                <a:gd name="connsiteY46" fmla="*/ 8457 h 10000"/>
                <a:gd name="connsiteX47" fmla="*/ 7815 w 9754"/>
                <a:gd name="connsiteY47" fmla="*/ 8264 h 10000"/>
                <a:gd name="connsiteX48" fmla="*/ 7570 w 9754"/>
                <a:gd name="connsiteY48" fmla="*/ 8006 h 10000"/>
                <a:gd name="connsiteX49" fmla="*/ 6940 w 9754"/>
                <a:gd name="connsiteY49" fmla="*/ 7814 h 10000"/>
                <a:gd name="connsiteX50" fmla="*/ 7085 w 9754"/>
                <a:gd name="connsiteY50" fmla="*/ 7749 h 10000"/>
                <a:gd name="connsiteX51" fmla="*/ 7085 w 9754"/>
                <a:gd name="connsiteY51" fmla="*/ 7588 h 10000"/>
                <a:gd name="connsiteX52" fmla="*/ 7524 w 9754"/>
                <a:gd name="connsiteY52" fmla="*/ 7588 h 10000"/>
                <a:gd name="connsiteX53" fmla="*/ 7764 w 9754"/>
                <a:gd name="connsiteY53" fmla="*/ 7460 h 10000"/>
                <a:gd name="connsiteX54" fmla="*/ 7815 w 9754"/>
                <a:gd name="connsiteY54" fmla="*/ 6527 h 10000"/>
                <a:gd name="connsiteX55" fmla="*/ 7861 w 9754"/>
                <a:gd name="connsiteY55" fmla="*/ 6559 h 10000"/>
                <a:gd name="connsiteX56" fmla="*/ 7689 w 9754"/>
                <a:gd name="connsiteY56" fmla="*/ 6618 h 10000"/>
                <a:gd name="connsiteX57" fmla="*/ 7621 w 9754"/>
                <a:gd name="connsiteY57" fmla="*/ 6745 h 10000"/>
                <a:gd name="connsiteX58" fmla="*/ 7187 w 9754"/>
                <a:gd name="connsiteY58" fmla="*/ 6497 h 10000"/>
                <a:gd name="connsiteX59" fmla="*/ 7109 w 9754"/>
                <a:gd name="connsiteY59" fmla="*/ 5828 h 10000"/>
                <a:gd name="connsiteX60" fmla="*/ 6645 w 9754"/>
                <a:gd name="connsiteY60" fmla="*/ 6118 h 10000"/>
                <a:gd name="connsiteX61" fmla="*/ 6652 w 9754"/>
                <a:gd name="connsiteY61" fmla="*/ 6462 h 10000"/>
                <a:gd name="connsiteX62" fmla="*/ 6279 w 9754"/>
                <a:gd name="connsiteY62" fmla="*/ 6670 h 10000"/>
                <a:gd name="connsiteX63" fmla="*/ 9754 w 9754"/>
                <a:gd name="connsiteY63" fmla="*/ 836 h 10000"/>
                <a:gd name="connsiteX64" fmla="*/ 9706 w 9754"/>
                <a:gd name="connsiteY64" fmla="*/ 611 h 10000"/>
                <a:gd name="connsiteX65" fmla="*/ 9318 w 9754"/>
                <a:gd name="connsiteY65" fmla="*/ 289 h 10000"/>
                <a:gd name="connsiteX66" fmla="*/ 8978 w 9754"/>
                <a:gd name="connsiteY66" fmla="*/ 161 h 10000"/>
                <a:gd name="connsiteX67" fmla="*/ 8785 w 9754"/>
                <a:gd name="connsiteY67" fmla="*/ 0 h 10000"/>
                <a:gd name="connsiteX68" fmla="*/ 8494 w 9754"/>
                <a:gd name="connsiteY68" fmla="*/ 161 h 10000"/>
                <a:gd name="connsiteX69" fmla="*/ 8298 w 9754"/>
                <a:gd name="connsiteY69" fmla="*/ 129 h 10000"/>
                <a:gd name="connsiteX70" fmla="*/ 8151 w 9754"/>
                <a:gd name="connsiteY70" fmla="*/ 418 h 10000"/>
                <a:gd name="connsiteX71" fmla="*/ 7764 w 9754"/>
                <a:gd name="connsiteY71" fmla="*/ 482 h 10000"/>
                <a:gd name="connsiteX72" fmla="*/ 7668 w 9754"/>
                <a:gd name="connsiteY72" fmla="*/ 707 h 10000"/>
                <a:gd name="connsiteX73" fmla="*/ 7327 w 9754"/>
                <a:gd name="connsiteY73" fmla="*/ 707 h 10000"/>
                <a:gd name="connsiteX74" fmla="*/ 7037 w 9754"/>
                <a:gd name="connsiteY74" fmla="*/ 611 h 10000"/>
                <a:gd name="connsiteX75" fmla="*/ 6406 w 9754"/>
                <a:gd name="connsiteY75" fmla="*/ 611 h 10000"/>
                <a:gd name="connsiteX76" fmla="*/ 5775 w 9754"/>
                <a:gd name="connsiteY76" fmla="*/ 611 h 10000"/>
                <a:gd name="connsiteX77" fmla="*/ 5825 w 9754"/>
                <a:gd name="connsiteY77" fmla="*/ 482 h 10000"/>
                <a:gd name="connsiteX78" fmla="*/ 5727 w 9754"/>
                <a:gd name="connsiteY78" fmla="*/ 482 h 10000"/>
                <a:gd name="connsiteX79" fmla="*/ 5678 w 9754"/>
                <a:gd name="connsiteY79" fmla="*/ 611 h 10000"/>
                <a:gd name="connsiteX80" fmla="*/ 5095 w 9754"/>
                <a:gd name="connsiteY80" fmla="*/ 611 h 10000"/>
                <a:gd name="connsiteX81" fmla="*/ 4515 w 9754"/>
                <a:gd name="connsiteY81" fmla="*/ 611 h 10000"/>
                <a:gd name="connsiteX82" fmla="*/ 3933 w 9754"/>
                <a:gd name="connsiteY82" fmla="*/ 611 h 10000"/>
                <a:gd name="connsiteX83" fmla="*/ 3349 w 9754"/>
                <a:gd name="connsiteY83" fmla="*/ 611 h 10000"/>
                <a:gd name="connsiteX84" fmla="*/ 2817 w 9754"/>
                <a:gd name="connsiteY84" fmla="*/ 611 h 10000"/>
                <a:gd name="connsiteX85" fmla="*/ 2235 w 9754"/>
                <a:gd name="connsiteY85" fmla="*/ 611 h 10000"/>
                <a:gd name="connsiteX86" fmla="*/ 1700 w 9754"/>
                <a:gd name="connsiteY86" fmla="*/ 611 h 10000"/>
                <a:gd name="connsiteX87" fmla="*/ 1117 w 9754"/>
                <a:gd name="connsiteY87" fmla="*/ 611 h 10000"/>
                <a:gd name="connsiteX88" fmla="*/ 1117 w 9754"/>
                <a:gd name="connsiteY88" fmla="*/ 1061 h 10000"/>
                <a:gd name="connsiteX89" fmla="*/ 1117 w 9754"/>
                <a:gd name="connsiteY89" fmla="*/ 1640 h 10000"/>
                <a:gd name="connsiteX90" fmla="*/ 391 w 9754"/>
                <a:gd name="connsiteY90" fmla="*/ 1640 h 10000"/>
                <a:gd name="connsiteX91" fmla="*/ 391 w 9754"/>
                <a:gd name="connsiteY91" fmla="*/ 1897 h 10000"/>
                <a:gd name="connsiteX0" fmla="*/ 401 w 9951"/>
                <a:gd name="connsiteY0" fmla="*/ 1897 h 10000"/>
                <a:gd name="connsiteX1" fmla="*/ 6178 w 9951"/>
                <a:gd name="connsiteY1" fmla="*/ 6915 h 10000"/>
                <a:gd name="connsiteX2" fmla="*/ 5770 w 9951"/>
                <a:gd name="connsiteY2" fmla="*/ 7114 h 10000"/>
                <a:gd name="connsiteX3" fmla="*/ 5428 w 9951"/>
                <a:gd name="connsiteY3" fmla="*/ 6907 h 10000"/>
                <a:gd name="connsiteX4" fmla="*/ 4929 w 9951"/>
                <a:gd name="connsiteY4" fmla="*/ 6781 h 10000"/>
                <a:gd name="connsiteX5" fmla="*/ 4682 w 9951"/>
                <a:gd name="connsiteY5" fmla="*/ 7064 h 10000"/>
                <a:gd name="connsiteX6" fmla="*/ 4069 w 9951"/>
                <a:gd name="connsiteY6" fmla="*/ 7281 h 10000"/>
                <a:gd name="connsiteX7" fmla="*/ 3676 w 9951"/>
                <a:gd name="connsiteY7" fmla="*/ 7279 h 10000"/>
                <a:gd name="connsiteX8" fmla="*/ 2817 w 9951"/>
                <a:gd name="connsiteY8" fmla="*/ 7095 h 10000"/>
                <a:gd name="connsiteX9" fmla="*/ 2588 w 9951"/>
                <a:gd name="connsiteY9" fmla="*/ 7195 h 10000"/>
                <a:gd name="connsiteX10" fmla="*/ 2015 w 9951"/>
                <a:gd name="connsiteY10" fmla="*/ 6973 h 10000"/>
                <a:gd name="connsiteX11" fmla="*/ 1761 w 9951"/>
                <a:gd name="connsiteY11" fmla="*/ 6638 h 10000"/>
                <a:gd name="connsiteX12" fmla="*/ 1341 w 9951"/>
                <a:gd name="connsiteY12" fmla="*/ 6729 h 10000"/>
                <a:gd name="connsiteX13" fmla="*/ 1226 w 9951"/>
                <a:gd name="connsiteY13" fmla="*/ 6927 h 10000"/>
                <a:gd name="connsiteX14" fmla="*/ 782 w 9951"/>
                <a:gd name="connsiteY14" fmla="*/ 7011 h 10000"/>
                <a:gd name="connsiteX15" fmla="*/ 488 w 9951"/>
                <a:gd name="connsiteY15" fmla="*/ 7004 h 10000"/>
                <a:gd name="connsiteX16" fmla="*/ 327 w 9951"/>
                <a:gd name="connsiteY16" fmla="*/ 7161 h 10000"/>
                <a:gd name="connsiteX17" fmla="*/ 52 w 9951"/>
                <a:gd name="connsiteY17" fmla="*/ 6913 h 10000"/>
                <a:gd name="connsiteX18" fmla="*/ 0 w 9951"/>
                <a:gd name="connsiteY18" fmla="*/ 7363 h 10000"/>
                <a:gd name="connsiteX19" fmla="*/ 99 w 9951"/>
                <a:gd name="connsiteY19" fmla="*/ 7428 h 10000"/>
                <a:gd name="connsiteX20" fmla="*/ 498 w 9951"/>
                <a:gd name="connsiteY20" fmla="*/ 7460 h 10000"/>
                <a:gd name="connsiteX21" fmla="*/ 551 w 9951"/>
                <a:gd name="connsiteY21" fmla="*/ 7588 h 10000"/>
                <a:gd name="connsiteX22" fmla="*/ 995 w 9951"/>
                <a:gd name="connsiteY22" fmla="*/ 7621 h 10000"/>
                <a:gd name="connsiteX23" fmla="*/ 1246 w 9951"/>
                <a:gd name="connsiteY23" fmla="*/ 7749 h 10000"/>
                <a:gd name="connsiteX24" fmla="*/ 1294 w 9951"/>
                <a:gd name="connsiteY24" fmla="*/ 7974 h 10000"/>
                <a:gd name="connsiteX25" fmla="*/ 2092 w 9951"/>
                <a:gd name="connsiteY25" fmla="*/ 8360 h 10000"/>
                <a:gd name="connsiteX26" fmla="*/ 2291 w 9951"/>
                <a:gd name="connsiteY26" fmla="*/ 8746 h 10000"/>
                <a:gd name="connsiteX27" fmla="*/ 2836 w 9951"/>
                <a:gd name="connsiteY27" fmla="*/ 8939 h 10000"/>
                <a:gd name="connsiteX28" fmla="*/ 3036 w 9951"/>
                <a:gd name="connsiteY28" fmla="*/ 9196 h 10000"/>
                <a:gd name="connsiteX29" fmla="*/ 3433 w 9951"/>
                <a:gd name="connsiteY29" fmla="*/ 9518 h 10000"/>
                <a:gd name="connsiteX30" fmla="*/ 3735 w 9951"/>
                <a:gd name="connsiteY30" fmla="*/ 9614 h 10000"/>
                <a:gd name="connsiteX31" fmla="*/ 3932 w 9951"/>
                <a:gd name="connsiteY31" fmla="*/ 9518 h 10000"/>
                <a:gd name="connsiteX32" fmla="*/ 4429 w 9951"/>
                <a:gd name="connsiteY32" fmla="*/ 9550 h 10000"/>
                <a:gd name="connsiteX33" fmla="*/ 4629 w 9951"/>
                <a:gd name="connsiteY33" fmla="*/ 9486 h 10000"/>
                <a:gd name="connsiteX34" fmla="*/ 5523 w 9951"/>
                <a:gd name="connsiteY34" fmla="*/ 9968 h 10000"/>
                <a:gd name="connsiteX35" fmla="*/ 5574 w 9951"/>
                <a:gd name="connsiteY35" fmla="*/ 9968 h 10000"/>
                <a:gd name="connsiteX36" fmla="*/ 5673 w 9951"/>
                <a:gd name="connsiteY36" fmla="*/ 9904 h 10000"/>
                <a:gd name="connsiteX37" fmla="*/ 6316 w 9951"/>
                <a:gd name="connsiteY37" fmla="*/ 9904 h 10000"/>
                <a:gd name="connsiteX38" fmla="*/ 6419 w 9951"/>
                <a:gd name="connsiteY38" fmla="*/ 10000 h 10000"/>
                <a:gd name="connsiteX39" fmla="*/ 6966 w 9951"/>
                <a:gd name="connsiteY39" fmla="*/ 9871 h 10000"/>
                <a:gd name="connsiteX40" fmla="*/ 7462 w 9951"/>
                <a:gd name="connsiteY40" fmla="*/ 9871 h 10000"/>
                <a:gd name="connsiteX41" fmla="*/ 7811 w 9951"/>
                <a:gd name="connsiteY41" fmla="*/ 9743 h 10000"/>
                <a:gd name="connsiteX42" fmla="*/ 8211 w 9951"/>
                <a:gd name="connsiteY42" fmla="*/ 9486 h 10000"/>
                <a:gd name="connsiteX43" fmla="*/ 9255 w 9951"/>
                <a:gd name="connsiteY43" fmla="*/ 9486 h 10000"/>
                <a:gd name="connsiteX44" fmla="*/ 9255 w 9951"/>
                <a:gd name="connsiteY44" fmla="*/ 9132 h 10000"/>
                <a:gd name="connsiteX45" fmla="*/ 8708 w 9951"/>
                <a:gd name="connsiteY45" fmla="*/ 8971 h 10000"/>
                <a:gd name="connsiteX46" fmla="*/ 8408 w 9951"/>
                <a:gd name="connsiteY46" fmla="*/ 8457 h 10000"/>
                <a:gd name="connsiteX47" fmla="*/ 8012 w 9951"/>
                <a:gd name="connsiteY47" fmla="*/ 8264 h 10000"/>
                <a:gd name="connsiteX48" fmla="*/ 7761 w 9951"/>
                <a:gd name="connsiteY48" fmla="*/ 8006 h 10000"/>
                <a:gd name="connsiteX49" fmla="*/ 7115 w 9951"/>
                <a:gd name="connsiteY49" fmla="*/ 7814 h 10000"/>
                <a:gd name="connsiteX50" fmla="*/ 7264 w 9951"/>
                <a:gd name="connsiteY50" fmla="*/ 7749 h 10000"/>
                <a:gd name="connsiteX51" fmla="*/ 7264 w 9951"/>
                <a:gd name="connsiteY51" fmla="*/ 7588 h 10000"/>
                <a:gd name="connsiteX52" fmla="*/ 7714 w 9951"/>
                <a:gd name="connsiteY52" fmla="*/ 7588 h 10000"/>
                <a:gd name="connsiteX53" fmla="*/ 7960 w 9951"/>
                <a:gd name="connsiteY53" fmla="*/ 7460 h 10000"/>
                <a:gd name="connsiteX54" fmla="*/ 8012 w 9951"/>
                <a:gd name="connsiteY54" fmla="*/ 6527 h 10000"/>
                <a:gd name="connsiteX55" fmla="*/ 8059 w 9951"/>
                <a:gd name="connsiteY55" fmla="*/ 6559 h 10000"/>
                <a:gd name="connsiteX56" fmla="*/ 7883 w 9951"/>
                <a:gd name="connsiteY56" fmla="*/ 6618 h 10000"/>
                <a:gd name="connsiteX57" fmla="*/ 7813 w 9951"/>
                <a:gd name="connsiteY57" fmla="*/ 6745 h 10000"/>
                <a:gd name="connsiteX58" fmla="*/ 7368 w 9951"/>
                <a:gd name="connsiteY58" fmla="*/ 6497 h 10000"/>
                <a:gd name="connsiteX59" fmla="*/ 7288 w 9951"/>
                <a:gd name="connsiteY59" fmla="*/ 5828 h 10000"/>
                <a:gd name="connsiteX60" fmla="*/ 6813 w 9951"/>
                <a:gd name="connsiteY60" fmla="*/ 6118 h 10000"/>
                <a:gd name="connsiteX61" fmla="*/ 6820 w 9951"/>
                <a:gd name="connsiteY61" fmla="*/ 6462 h 10000"/>
                <a:gd name="connsiteX62" fmla="*/ 6437 w 9951"/>
                <a:gd name="connsiteY62" fmla="*/ 6670 h 10000"/>
                <a:gd name="connsiteX63" fmla="*/ 9951 w 9951"/>
                <a:gd name="connsiteY63" fmla="*/ 611 h 10000"/>
                <a:gd name="connsiteX64" fmla="*/ 9553 w 9951"/>
                <a:gd name="connsiteY64" fmla="*/ 289 h 10000"/>
                <a:gd name="connsiteX65" fmla="*/ 9204 w 9951"/>
                <a:gd name="connsiteY65" fmla="*/ 161 h 10000"/>
                <a:gd name="connsiteX66" fmla="*/ 9007 w 9951"/>
                <a:gd name="connsiteY66" fmla="*/ 0 h 10000"/>
                <a:gd name="connsiteX67" fmla="*/ 8708 w 9951"/>
                <a:gd name="connsiteY67" fmla="*/ 161 h 10000"/>
                <a:gd name="connsiteX68" fmla="*/ 8507 w 9951"/>
                <a:gd name="connsiteY68" fmla="*/ 129 h 10000"/>
                <a:gd name="connsiteX69" fmla="*/ 8357 w 9951"/>
                <a:gd name="connsiteY69" fmla="*/ 418 h 10000"/>
                <a:gd name="connsiteX70" fmla="*/ 7960 w 9951"/>
                <a:gd name="connsiteY70" fmla="*/ 482 h 10000"/>
                <a:gd name="connsiteX71" fmla="*/ 7861 w 9951"/>
                <a:gd name="connsiteY71" fmla="*/ 707 h 10000"/>
                <a:gd name="connsiteX72" fmla="*/ 7512 w 9951"/>
                <a:gd name="connsiteY72" fmla="*/ 707 h 10000"/>
                <a:gd name="connsiteX73" fmla="*/ 7214 w 9951"/>
                <a:gd name="connsiteY73" fmla="*/ 611 h 10000"/>
                <a:gd name="connsiteX74" fmla="*/ 6568 w 9951"/>
                <a:gd name="connsiteY74" fmla="*/ 611 h 10000"/>
                <a:gd name="connsiteX75" fmla="*/ 5921 w 9951"/>
                <a:gd name="connsiteY75" fmla="*/ 611 h 10000"/>
                <a:gd name="connsiteX76" fmla="*/ 5972 w 9951"/>
                <a:gd name="connsiteY76" fmla="*/ 482 h 10000"/>
                <a:gd name="connsiteX77" fmla="*/ 5871 w 9951"/>
                <a:gd name="connsiteY77" fmla="*/ 482 h 10000"/>
                <a:gd name="connsiteX78" fmla="*/ 5821 w 9951"/>
                <a:gd name="connsiteY78" fmla="*/ 611 h 10000"/>
                <a:gd name="connsiteX79" fmla="*/ 5223 w 9951"/>
                <a:gd name="connsiteY79" fmla="*/ 611 h 10000"/>
                <a:gd name="connsiteX80" fmla="*/ 4629 w 9951"/>
                <a:gd name="connsiteY80" fmla="*/ 611 h 10000"/>
                <a:gd name="connsiteX81" fmla="*/ 4032 w 9951"/>
                <a:gd name="connsiteY81" fmla="*/ 611 h 10000"/>
                <a:gd name="connsiteX82" fmla="*/ 3433 w 9951"/>
                <a:gd name="connsiteY82" fmla="*/ 611 h 10000"/>
                <a:gd name="connsiteX83" fmla="*/ 2888 w 9951"/>
                <a:gd name="connsiteY83" fmla="*/ 611 h 10000"/>
                <a:gd name="connsiteX84" fmla="*/ 2291 w 9951"/>
                <a:gd name="connsiteY84" fmla="*/ 611 h 10000"/>
                <a:gd name="connsiteX85" fmla="*/ 1743 w 9951"/>
                <a:gd name="connsiteY85" fmla="*/ 611 h 10000"/>
                <a:gd name="connsiteX86" fmla="*/ 1145 w 9951"/>
                <a:gd name="connsiteY86" fmla="*/ 611 h 10000"/>
                <a:gd name="connsiteX87" fmla="*/ 1145 w 9951"/>
                <a:gd name="connsiteY87" fmla="*/ 1061 h 10000"/>
                <a:gd name="connsiteX88" fmla="*/ 1145 w 9951"/>
                <a:gd name="connsiteY88" fmla="*/ 1640 h 10000"/>
                <a:gd name="connsiteX89" fmla="*/ 401 w 9951"/>
                <a:gd name="connsiteY89" fmla="*/ 1640 h 10000"/>
                <a:gd name="connsiteX90" fmla="*/ 401 w 9951"/>
                <a:gd name="connsiteY90" fmla="*/ 1897 h 10000"/>
                <a:gd name="connsiteX0" fmla="*/ 403 w 9600"/>
                <a:gd name="connsiteY0" fmla="*/ 1897 h 10000"/>
                <a:gd name="connsiteX1" fmla="*/ 6208 w 9600"/>
                <a:gd name="connsiteY1" fmla="*/ 6915 h 10000"/>
                <a:gd name="connsiteX2" fmla="*/ 5798 w 9600"/>
                <a:gd name="connsiteY2" fmla="*/ 7114 h 10000"/>
                <a:gd name="connsiteX3" fmla="*/ 5455 w 9600"/>
                <a:gd name="connsiteY3" fmla="*/ 6907 h 10000"/>
                <a:gd name="connsiteX4" fmla="*/ 4953 w 9600"/>
                <a:gd name="connsiteY4" fmla="*/ 6781 h 10000"/>
                <a:gd name="connsiteX5" fmla="*/ 4705 w 9600"/>
                <a:gd name="connsiteY5" fmla="*/ 7064 h 10000"/>
                <a:gd name="connsiteX6" fmla="*/ 4089 w 9600"/>
                <a:gd name="connsiteY6" fmla="*/ 7281 h 10000"/>
                <a:gd name="connsiteX7" fmla="*/ 3694 w 9600"/>
                <a:gd name="connsiteY7" fmla="*/ 7279 h 10000"/>
                <a:gd name="connsiteX8" fmla="*/ 2831 w 9600"/>
                <a:gd name="connsiteY8" fmla="*/ 7095 h 10000"/>
                <a:gd name="connsiteX9" fmla="*/ 2601 w 9600"/>
                <a:gd name="connsiteY9" fmla="*/ 7195 h 10000"/>
                <a:gd name="connsiteX10" fmla="*/ 2025 w 9600"/>
                <a:gd name="connsiteY10" fmla="*/ 6973 h 10000"/>
                <a:gd name="connsiteX11" fmla="*/ 1770 w 9600"/>
                <a:gd name="connsiteY11" fmla="*/ 6638 h 10000"/>
                <a:gd name="connsiteX12" fmla="*/ 1348 w 9600"/>
                <a:gd name="connsiteY12" fmla="*/ 6729 h 10000"/>
                <a:gd name="connsiteX13" fmla="*/ 1232 w 9600"/>
                <a:gd name="connsiteY13" fmla="*/ 6927 h 10000"/>
                <a:gd name="connsiteX14" fmla="*/ 786 w 9600"/>
                <a:gd name="connsiteY14" fmla="*/ 7011 h 10000"/>
                <a:gd name="connsiteX15" fmla="*/ 490 w 9600"/>
                <a:gd name="connsiteY15" fmla="*/ 7004 h 10000"/>
                <a:gd name="connsiteX16" fmla="*/ 329 w 9600"/>
                <a:gd name="connsiteY16" fmla="*/ 7161 h 10000"/>
                <a:gd name="connsiteX17" fmla="*/ 52 w 9600"/>
                <a:gd name="connsiteY17" fmla="*/ 6913 h 10000"/>
                <a:gd name="connsiteX18" fmla="*/ 0 w 9600"/>
                <a:gd name="connsiteY18" fmla="*/ 7363 h 10000"/>
                <a:gd name="connsiteX19" fmla="*/ 99 w 9600"/>
                <a:gd name="connsiteY19" fmla="*/ 7428 h 10000"/>
                <a:gd name="connsiteX20" fmla="*/ 500 w 9600"/>
                <a:gd name="connsiteY20" fmla="*/ 7460 h 10000"/>
                <a:gd name="connsiteX21" fmla="*/ 554 w 9600"/>
                <a:gd name="connsiteY21" fmla="*/ 7588 h 10000"/>
                <a:gd name="connsiteX22" fmla="*/ 1000 w 9600"/>
                <a:gd name="connsiteY22" fmla="*/ 7621 h 10000"/>
                <a:gd name="connsiteX23" fmla="*/ 1252 w 9600"/>
                <a:gd name="connsiteY23" fmla="*/ 7749 h 10000"/>
                <a:gd name="connsiteX24" fmla="*/ 1300 w 9600"/>
                <a:gd name="connsiteY24" fmla="*/ 7974 h 10000"/>
                <a:gd name="connsiteX25" fmla="*/ 2102 w 9600"/>
                <a:gd name="connsiteY25" fmla="*/ 8360 h 10000"/>
                <a:gd name="connsiteX26" fmla="*/ 2302 w 9600"/>
                <a:gd name="connsiteY26" fmla="*/ 8746 h 10000"/>
                <a:gd name="connsiteX27" fmla="*/ 2850 w 9600"/>
                <a:gd name="connsiteY27" fmla="*/ 8939 h 10000"/>
                <a:gd name="connsiteX28" fmla="*/ 3051 w 9600"/>
                <a:gd name="connsiteY28" fmla="*/ 9196 h 10000"/>
                <a:gd name="connsiteX29" fmla="*/ 3450 w 9600"/>
                <a:gd name="connsiteY29" fmla="*/ 9518 h 10000"/>
                <a:gd name="connsiteX30" fmla="*/ 3753 w 9600"/>
                <a:gd name="connsiteY30" fmla="*/ 9614 h 10000"/>
                <a:gd name="connsiteX31" fmla="*/ 3951 w 9600"/>
                <a:gd name="connsiteY31" fmla="*/ 9518 h 10000"/>
                <a:gd name="connsiteX32" fmla="*/ 4451 w 9600"/>
                <a:gd name="connsiteY32" fmla="*/ 9550 h 10000"/>
                <a:gd name="connsiteX33" fmla="*/ 4652 w 9600"/>
                <a:gd name="connsiteY33" fmla="*/ 9486 h 10000"/>
                <a:gd name="connsiteX34" fmla="*/ 5550 w 9600"/>
                <a:gd name="connsiteY34" fmla="*/ 9968 h 10000"/>
                <a:gd name="connsiteX35" fmla="*/ 5601 w 9600"/>
                <a:gd name="connsiteY35" fmla="*/ 9968 h 10000"/>
                <a:gd name="connsiteX36" fmla="*/ 5701 w 9600"/>
                <a:gd name="connsiteY36" fmla="*/ 9904 h 10000"/>
                <a:gd name="connsiteX37" fmla="*/ 6347 w 9600"/>
                <a:gd name="connsiteY37" fmla="*/ 9904 h 10000"/>
                <a:gd name="connsiteX38" fmla="*/ 6451 w 9600"/>
                <a:gd name="connsiteY38" fmla="*/ 10000 h 10000"/>
                <a:gd name="connsiteX39" fmla="*/ 7000 w 9600"/>
                <a:gd name="connsiteY39" fmla="*/ 9871 h 10000"/>
                <a:gd name="connsiteX40" fmla="*/ 7499 w 9600"/>
                <a:gd name="connsiteY40" fmla="*/ 9871 h 10000"/>
                <a:gd name="connsiteX41" fmla="*/ 7849 w 9600"/>
                <a:gd name="connsiteY41" fmla="*/ 9743 h 10000"/>
                <a:gd name="connsiteX42" fmla="*/ 8251 w 9600"/>
                <a:gd name="connsiteY42" fmla="*/ 9486 h 10000"/>
                <a:gd name="connsiteX43" fmla="*/ 9301 w 9600"/>
                <a:gd name="connsiteY43" fmla="*/ 9486 h 10000"/>
                <a:gd name="connsiteX44" fmla="*/ 9301 w 9600"/>
                <a:gd name="connsiteY44" fmla="*/ 9132 h 10000"/>
                <a:gd name="connsiteX45" fmla="*/ 8751 w 9600"/>
                <a:gd name="connsiteY45" fmla="*/ 8971 h 10000"/>
                <a:gd name="connsiteX46" fmla="*/ 8449 w 9600"/>
                <a:gd name="connsiteY46" fmla="*/ 8457 h 10000"/>
                <a:gd name="connsiteX47" fmla="*/ 8051 w 9600"/>
                <a:gd name="connsiteY47" fmla="*/ 8264 h 10000"/>
                <a:gd name="connsiteX48" fmla="*/ 7799 w 9600"/>
                <a:gd name="connsiteY48" fmla="*/ 8006 h 10000"/>
                <a:gd name="connsiteX49" fmla="*/ 7150 w 9600"/>
                <a:gd name="connsiteY49" fmla="*/ 7814 h 10000"/>
                <a:gd name="connsiteX50" fmla="*/ 7300 w 9600"/>
                <a:gd name="connsiteY50" fmla="*/ 7749 h 10000"/>
                <a:gd name="connsiteX51" fmla="*/ 7300 w 9600"/>
                <a:gd name="connsiteY51" fmla="*/ 7588 h 10000"/>
                <a:gd name="connsiteX52" fmla="*/ 7752 w 9600"/>
                <a:gd name="connsiteY52" fmla="*/ 7588 h 10000"/>
                <a:gd name="connsiteX53" fmla="*/ 7999 w 9600"/>
                <a:gd name="connsiteY53" fmla="*/ 7460 h 10000"/>
                <a:gd name="connsiteX54" fmla="*/ 8051 w 9600"/>
                <a:gd name="connsiteY54" fmla="*/ 6527 h 10000"/>
                <a:gd name="connsiteX55" fmla="*/ 8099 w 9600"/>
                <a:gd name="connsiteY55" fmla="*/ 6559 h 10000"/>
                <a:gd name="connsiteX56" fmla="*/ 7922 w 9600"/>
                <a:gd name="connsiteY56" fmla="*/ 6618 h 10000"/>
                <a:gd name="connsiteX57" fmla="*/ 7851 w 9600"/>
                <a:gd name="connsiteY57" fmla="*/ 6745 h 10000"/>
                <a:gd name="connsiteX58" fmla="*/ 7404 w 9600"/>
                <a:gd name="connsiteY58" fmla="*/ 6497 h 10000"/>
                <a:gd name="connsiteX59" fmla="*/ 7324 w 9600"/>
                <a:gd name="connsiteY59" fmla="*/ 5828 h 10000"/>
                <a:gd name="connsiteX60" fmla="*/ 6847 w 9600"/>
                <a:gd name="connsiteY60" fmla="*/ 6118 h 10000"/>
                <a:gd name="connsiteX61" fmla="*/ 6854 w 9600"/>
                <a:gd name="connsiteY61" fmla="*/ 6462 h 10000"/>
                <a:gd name="connsiteX62" fmla="*/ 6469 w 9600"/>
                <a:gd name="connsiteY62" fmla="*/ 6670 h 10000"/>
                <a:gd name="connsiteX63" fmla="*/ 9600 w 9600"/>
                <a:gd name="connsiteY63" fmla="*/ 289 h 10000"/>
                <a:gd name="connsiteX64" fmla="*/ 9249 w 9600"/>
                <a:gd name="connsiteY64" fmla="*/ 161 h 10000"/>
                <a:gd name="connsiteX65" fmla="*/ 9051 w 9600"/>
                <a:gd name="connsiteY65" fmla="*/ 0 h 10000"/>
                <a:gd name="connsiteX66" fmla="*/ 8751 w 9600"/>
                <a:gd name="connsiteY66" fmla="*/ 161 h 10000"/>
                <a:gd name="connsiteX67" fmla="*/ 8549 w 9600"/>
                <a:gd name="connsiteY67" fmla="*/ 129 h 10000"/>
                <a:gd name="connsiteX68" fmla="*/ 8398 w 9600"/>
                <a:gd name="connsiteY68" fmla="*/ 418 h 10000"/>
                <a:gd name="connsiteX69" fmla="*/ 7999 w 9600"/>
                <a:gd name="connsiteY69" fmla="*/ 482 h 10000"/>
                <a:gd name="connsiteX70" fmla="*/ 7900 w 9600"/>
                <a:gd name="connsiteY70" fmla="*/ 707 h 10000"/>
                <a:gd name="connsiteX71" fmla="*/ 7549 w 9600"/>
                <a:gd name="connsiteY71" fmla="*/ 707 h 10000"/>
                <a:gd name="connsiteX72" fmla="*/ 7250 w 9600"/>
                <a:gd name="connsiteY72" fmla="*/ 611 h 10000"/>
                <a:gd name="connsiteX73" fmla="*/ 6600 w 9600"/>
                <a:gd name="connsiteY73" fmla="*/ 611 h 10000"/>
                <a:gd name="connsiteX74" fmla="*/ 5950 w 9600"/>
                <a:gd name="connsiteY74" fmla="*/ 611 h 10000"/>
                <a:gd name="connsiteX75" fmla="*/ 6001 w 9600"/>
                <a:gd name="connsiteY75" fmla="*/ 482 h 10000"/>
                <a:gd name="connsiteX76" fmla="*/ 5900 w 9600"/>
                <a:gd name="connsiteY76" fmla="*/ 482 h 10000"/>
                <a:gd name="connsiteX77" fmla="*/ 5850 w 9600"/>
                <a:gd name="connsiteY77" fmla="*/ 611 h 10000"/>
                <a:gd name="connsiteX78" fmla="*/ 5249 w 9600"/>
                <a:gd name="connsiteY78" fmla="*/ 611 h 10000"/>
                <a:gd name="connsiteX79" fmla="*/ 4652 w 9600"/>
                <a:gd name="connsiteY79" fmla="*/ 611 h 10000"/>
                <a:gd name="connsiteX80" fmla="*/ 4052 w 9600"/>
                <a:gd name="connsiteY80" fmla="*/ 611 h 10000"/>
                <a:gd name="connsiteX81" fmla="*/ 3450 w 9600"/>
                <a:gd name="connsiteY81" fmla="*/ 611 h 10000"/>
                <a:gd name="connsiteX82" fmla="*/ 2902 w 9600"/>
                <a:gd name="connsiteY82" fmla="*/ 611 h 10000"/>
                <a:gd name="connsiteX83" fmla="*/ 2302 w 9600"/>
                <a:gd name="connsiteY83" fmla="*/ 611 h 10000"/>
                <a:gd name="connsiteX84" fmla="*/ 1752 w 9600"/>
                <a:gd name="connsiteY84" fmla="*/ 611 h 10000"/>
                <a:gd name="connsiteX85" fmla="*/ 1151 w 9600"/>
                <a:gd name="connsiteY85" fmla="*/ 611 h 10000"/>
                <a:gd name="connsiteX86" fmla="*/ 1151 w 9600"/>
                <a:gd name="connsiteY86" fmla="*/ 1061 h 10000"/>
                <a:gd name="connsiteX87" fmla="*/ 1151 w 9600"/>
                <a:gd name="connsiteY87" fmla="*/ 1640 h 10000"/>
                <a:gd name="connsiteX88" fmla="*/ 403 w 9600"/>
                <a:gd name="connsiteY88" fmla="*/ 1640 h 10000"/>
                <a:gd name="connsiteX89" fmla="*/ 403 w 9600"/>
                <a:gd name="connsiteY89" fmla="*/ 1897 h 10000"/>
                <a:gd name="connsiteX0" fmla="*/ 420 w 9689"/>
                <a:gd name="connsiteY0" fmla="*/ 1897 h 10000"/>
                <a:gd name="connsiteX1" fmla="*/ 6467 w 9689"/>
                <a:gd name="connsiteY1" fmla="*/ 6915 h 10000"/>
                <a:gd name="connsiteX2" fmla="*/ 6040 w 9689"/>
                <a:gd name="connsiteY2" fmla="*/ 7114 h 10000"/>
                <a:gd name="connsiteX3" fmla="*/ 5682 w 9689"/>
                <a:gd name="connsiteY3" fmla="*/ 6907 h 10000"/>
                <a:gd name="connsiteX4" fmla="*/ 5159 w 9689"/>
                <a:gd name="connsiteY4" fmla="*/ 6781 h 10000"/>
                <a:gd name="connsiteX5" fmla="*/ 4901 w 9689"/>
                <a:gd name="connsiteY5" fmla="*/ 7064 h 10000"/>
                <a:gd name="connsiteX6" fmla="*/ 4259 w 9689"/>
                <a:gd name="connsiteY6" fmla="*/ 7281 h 10000"/>
                <a:gd name="connsiteX7" fmla="*/ 3848 w 9689"/>
                <a:gd name="connsiteY7" fmla="*/ 7279 h 10000"/>
                <a:gd name="connsiteX8" fmla="*/ 2949 w 9689"/>
                <a:gd name="connsiteY8" fmla="*/ 7095 h 10000"/>
                <a:gd name="connsiteX9" fmla="*/ 2709 w 9689"/>
                <a:gd name="connsiteY9" fmla="*/ 7195 h 10000"/>
                <a:gd name="connsiteX10" fmla="*/ 2109 w 9689"/>
                <a:gd name="connsiteY10" fmla="*/ 6973 h 10000"/>
                <a:gd name="connsiteX11" fmla="*/ 1844 w 9689"/>
                <a:gd name="connsiteY11" fmla="*/ 6638 h 10000"/>
                <a:gd name="connsiteX12" fmla="*/ 1404 w 9689"/>
                <a:gd name="connsiteY12" fmla="*/ 6729 h 10000"/>
                <a:gd name="connsiteX13" fmla="*/ 1283 w 9689"/>
                <a:gd name="connsiteY13" fmla="*/ 6927 h 10000"/>
                <a:gd name="connsiteX14" fmla="*/ 819 w 9689"/>
                <a:gd name="connsiteY14" fmla="*/ 7011 h 10000"/>
                <a:gd name="connsiteX15" fmla="*/ 510 w 9689"/>
                <a:gd name="connsiteY15" fmla="*/ 7004 h 10000"/>
                <a:gd name="connsiteX16" fmla="*/ 343 w 9689"/>
                <a:gd name="connsiteY16" fmla="*/ 7161 h 10000"/>
                <a:gd name="connsiteX17" fmla="*/ 54 w 9689"/>
                <a:gd name="connsiteY17" fmla="*/ 6913 h 10000"/>
                <a:gd name="connsiteX18" fmla="*/ 0 w 9689"/>
                <a:gd name="connsiteY18" fmla="*/ 7363 h 10000"/>
                <a:gd name="connsiteX19" fmla="*/ 103 w 9689"/>
                <a:gd name="connsiteY19" fmla="*/ 7428 h 10000"/>
                <a:gd name="connsiteX20" fmla="*/ 521 w 9689"/>
                <a:gd name="connsiteY20" fmla="*/ 7460 h 10000"/>
                <a:gd name="connsiteX21" fmla="*/ 577 w 9689"/>
                <a:gd name="connsiteY21" fmla="*/ 7588 h 10000"/>
                <a:gd name="connsiteX22" fmla="*/ 1042 w 9689"/>
                <a:gd name="connsiteY22" fmla="*/ 7621 h 10000"/>
                <a:gd name="connsiteX23" fmla="*/ 1304 w 9689"/>
                <a:gd name="connsiteY23" fmla="*/ 7749 h 10000"/>
                <a:gd name="connsiteX24" fmla="*/ 1354 w 9689"/>
                <a:gd name="connsiteY24" fmla="*/ 7974 h 10000"/>
                <a:gd name="connsiteX25" fmla="*/ 2190 w 9689"/>
                <a:gd name="connsiteY25" fmla="*/ 8360 h 10000"/>
                <a:gd name="connsiteX26" fmla="*/ 2398 w 9689"/>
                <a:gd name="connsiteY26" fmla="*/ 8746 h 10000"/>
                <a:gd name="connsiteX27" fmla="*/ 2969 w 9689"/>
                <a:gd name="connsiteY27" fmla="*/ 8939 h 10000"/>
                <a:gd name="connsiteX28" fmla="*/ 3178 w 9689"/>
                <a:gd name="connsiteY28" fmla="*/ 9196 h 10000"/>
                <a:gd name="connsiteX29" fmla="*/ 3594 w 9689"/>
                <a:gd name="connsiteY29" fmla="*/ 9518 h 10000"/>
                <a:gd name="connsiteX30" fmla="*/ 3909 w 9689"/>
                <a:gd name="connsiteY30" fmla="*/ 9614 h 10000"/>
                <a:gd name="connsiteX31" fmla="*/ 4116 w 9689"/>
                <a:gd name="connsiteY31" fmla="*/ 9518 h 10000"/>
                <a:gd name="connsiteX32" fmla="*/ 4636 w 9689"/>
                <a:gd name="connsiteY32" fmla="*/ 9550 h 10000"/>
                <a:gd name="connsiteX33" fmla="*/ 4846 w 9689"/>
                <a:gd name="connsiteY33" fmla="*/ 9486 h 10000"/>
                <a:gd name="connsiteX34" fmla="*/ 5781 w 9689"/>
                <a:gd name="connsiteY34" fmla="*/ 9968 h 10000"/>
                <a:gd name="connsiteX35" fmla="*/ 5834 w 9689"/>
                <a:gd name="connsiteY35" fmla="*/ 9968 h 10000"/>
                <a:gd name="connsiteX36" fmla="*/ 5939 w 9689"/>
                <a:gd name="connsiteY36" fmla="*/ 9904 h 10000"/>
                <a:gd name="connsiteX37" fmla="*/ 6611 w 9689"/>
                <a:gd name="connsiteY37" fmla="*/ 9904 h 10000"/>
                <a:gd name="connsiteX38" fmla="*/ 6720 w 9689"/>
                <a:gd name="connsiteY38" fmla="*/ 10000 h 10000"/>
                <a:gd name="connsiteX39" fmla="*/ 7292 w 9689"/>
                <a:gd name="connsiteY39" fmla="*/ 9871 h 10000"/>
                <a:gd name="connsiteX40" fmla="*/ 7811 w 9689"/>
                <a:gd name="connsiteY40" fmla="*/ 9871 h 10000"/>
                <a:gd name="connsiteX41" fmla="*/ 8176 w 9689"/>
                <a:gd name="connsiteY41" fmla="*/ 9743 h 10000"/>
                <a:gd name="connsiteX42" fmla="*/ 8595 w 9689"/>
                <a:gd name="connsiteY42" fmla="*/ 9486 h 10000"/>
                <a:gd name="connsiteX43" fmla="*/ 9689 w 9689"/>
                <a:gd name="connsiteY43" fmla="*/ 9486 h 10000"/>
                <a:gd name="connsiteX44" fmla="*/ 9689 w 9689"/>
                <a:gd name="connsiteY44" fmla="*/ 9132 h 10000"/>
                <a:gd name="connsiteX45" fmla="*/ 9116 w 9689"/>
                <a:gd name="connsiteY45" fmla="*/ 8971 h 10000"/>
                <a:gd name="connsiteX46" fmla="*/ 8801 w 9689"/>
                <a:gd name="connsiteY46" fmla="*/ 8457 h 10000"/>
                <a:gd name="connsiteX47" fmla="*/ 8386 w 9689"/>
                <a:gd name="connsiteY47" fmla="*/ 8264 h 10000"/>
                <a:gd name="connsiteX48" fmla="*/ 8124 w 9689"/>
                <a:gd name="connsiteY48" fmla="*/ 8006 h 10000"/>
                <a:gd name="connsiteX49" fmla="*/ 7448 w 9689"/>
                <a:gd name="connsiteY49" fmla="*/ 7814 h 10000"/>
                <a:gd name="connsiteX50" fmla="*/ 7604 w 9689"/>
                <a:gd name="connsiteY50" fmla="*/ 7749 h 10000"/>
                <a:gd name="connsiteX51" fmla="*/ 7604 w 9689"/>
                <a:gd name="connsiteY51" fmla="*/ 7588 h 10000"/>
                <a:gd name="connsiteX52" fmla="*/ 8075 w 9689"/>
                <a:gd name="connsiteY52" fmla="*/ 7588 h 10000"/>
                <a:gd name="connsiteX53" fmla="*/ 8332 w 9689"/>
                <a:gd name="connsiteY53" fmla="*/ 7460 h 10000"/>
                <a:gd name="connsiteX54" fmla="*/ 8386 w 9689"/>
                <a:gd name="connsiteY54" fmla="*/ 6527 h 10000"/>
                <a:gd name="connsiteX55" fmla="*/ 8436 w 9689"/>
                <a:gd name="connsiteY55" fmla="*/ 6559 h 10000"/>
                <a:gd name="connsiteX56" fmla="*/ 8252 w 9689"/>
                <a:gd name="connsiteY56" fmla="*/ 6618 h 10000"/>
                <a:gd name="connsiteX57" fmla="*/ 8178 w 9689"/>
                <a:gd name="connsiteY57" fmla="*/ 6745 h 10000"/>
                <a:gd name="connsiteX58" fmla="*/ 7713 w 9689"/>
                <a:gd name="connsiteY58" fmla="*/ 6497 h 10000"/>
                <a:gd name="connsiteX59" fmla="*/ 7629 w 9689"/>
                <a:gd name="connsiteY59" fmla="*/ 5828 h 10000"/>
                <a:gd name="connsiteX60" fmla="*/ 7132 w 9689"/>
                <a:gd name="connsiteY60" fmla="*/ 6118 h 10000"/>
                <a:gd name="connsiteX61" fmla="*/ 7140 w 9689"/>
                <a:gd name="connsiteY61" fmla="*/ 6462 h 10000"/>
                <a:gd name="connsiteX62" fmla="*/ 6739 w 9689"/>
                <a:gd name="connsiteY62" fmla="*/ 6670 h 10000"/>
                <a:gd name="connsiteX63" fmla="*/ 9634 w 9689"/>
                <a:gd name="connsiteY63" fmla="*/ 161 h 10000"/>
                <a:gd name="connsiteX64" fmla="*/ 9428 w 9689"/>
                <a:gd name="connsiteY64" fmla="*/ 0 h 10000"/>
                <a:gd name="connsiteX65" fmla="*/ 9116 w 9689"/>
                <a:gd name="connsiteY65" fmla="*/ 161 h 10000"/>
                <a:gd name="connsiteX66" fmla="*/ 8905 w 9689"/>
                <a:gd name="connsiteY66" fmla="*/ 129 h 10000"/>
                <a:gd name="connsiteX67" fmla="*/ 8748 w 9689"/>
                <a:gd name="connsiteY67" fmla="*/ 418 h 10000"/>
                <a:gd name="connsiteX68" fmla="*/ 8332 w 9689"/>
                <a:gd name="connsiteY68" fmla="*/ 482 h 10000"/>
                <a:gd name="connsiteX69" fmla="*/ 8229 w 9689"/>
                <a:gd name="connsiteY69" fmla="*/ 707 h 10000"/>
                <a:gd name="connsiteX70" fmla="*/ 7864 w 9689"/>
                <a:gd name="connsiteY70" fmla="*/ 707 h 10000"/>
                <a:gd name="connsiteX71" fmla="*/ 7552 w 9689"/>
                <a:gd name="connsiteY71" fmla="*/ 611 h 10000"/>
                <a:gd name="connsiteX72" fmla="*/ 6875 w 9689"/>
                <a:gd name="connsiteY72" fmla="*/ 611 h 10000"/>
                <a:gd name="connsiteX73" fmla="*/ 6198 w 9689"/>
                <a:gd name="connsiteY73" fmla="*/ 611 h 10000"/>
                <a:gd name="connsiteX74" fmla="*/ 6251 w 9689"/>
                <a:gd name="connsiteY74" fmla="*/ 482 h 10000"/>
                <a:gd name="connsiteX75" fmla="*/ 6146 w 9689"/>
                <a:gd name="connsiteY75" fmla="*/ 482 h 10000"/>
                <a:gd name="connsiteX76" fmla="*/ 6094 w 9689"/>
                <a:gd name="connsiteY76" fmla="*/ 611 h 10000"/>
                <a:gd name="connsiteX77" fmla="*/ 5468 w 9689"/>
                <a:gd name="connsiteY77" fmla="*/ 611 h 10000"/>
                <a:gd name="connsiteX78" fmla="*/ 4846 w 9689"/>
                <a:gd name="connsiteY78" fmla="*/ 611 h 10000"/>
                <a:gd name="connsiteX79" fmla="*/ 4221 w 9689"/>
                <a:gd name="connsiteY79" fmla="*/ 611 h 10000"/>
                <a:gd name="connsiteX80" fmla="*/ 3594 w 9689"/>
                <a:gd name="connsiteY80" fmla="*/ 611 h 10000"/>
                <a:gd name="connsiteX81" fmla="*/ 3023 w 9689"/>
                <a:gd name="connsiteY81" fmla="*/ 611 h 10000"/>
                <a:gd name="connsiteX82" fmla="*/ 2398 w 9689"/>
                <a:gd name="connsiteY82" fmla="*/ 611 h 10000"/>
                <a:gd name="connsiteX83" fmla="*/ 1825 w 9689"/>
                <a:gd name="connsiteY83" fmla="*/ 611 h 10000"/>
                <a:gd name="connsiteX84" fmla="*/ 1199 w 9689"/>
                <a:gd name="connsiteY84" fmla="*/ 611 h 10000"/>
                <a:gd name="connsiteX85" fmla="*/ 1199 w 9689"/>
                <a:gd name="connsiteY85" fmla="*/ 1061 h 10000"/>
                <a:gd name="connsiteX86" fmla="*/ 1199 w 9689"/>
                <a:gd name="connsiteY86" fmla="*/ 1640 h 10000"/>
                <a:gd name="connsiteX87" fmla="*/ 420 w 9689"/>
                <a:gd name="connsiteY87" fmla="*/ 1640 h 10000"/>
                <a:gd name="connsiteX88" fmla="*/ 420 w 9689"/>
                <a:gd name="connsiteY88" fmla="*/ 1897 h 10000"/>
                <a:gd name="connsiteX0" fmla="*/ 433 w 10000"/>
                <a:gd name="connsiteY0" fmla="*/ 1897 h 10000"/>
                <a:gd name="connsiteX1" fmla="*/ 6675 w 10000"/>
                <a:gd name="connsiteY1" fmla="*/ 6915 h 10000"/>
                <a:gd name="connsiteX2" fmla="*/ 6234 w 10000"/>
                <a:gd name="connsiteY2" fmla="*/ 7114 h 10000"/>
                <a:gd name="connsiteX3" fmla="*/ 5864 w 10000"/>
                <a:gd name="connsiteY3" fmla="*/ 6907 h 10000"/>
                <a:gd name="connsiteX4" fmla="*/ 5325 w 10000"/>
                <a:gd name="connsiteY4" fmla="*/ 6781 h 10000"/>
                <a:gd name="connsiteX5" fmla="*/ 5058 w 10000"/>
                <a:gd name="connsiteY5" fmla="*/ 7064 h 10000"/>
                <a:gd name="connsiteX6" fmla="*/ 4396 w 10000"/>
                <a:gd name="connsiteY6" fmla="*/ 7281 h 10000"/>
                <a:gd name="connsiteX7" fmla="*/ 3972 w 10000"/>
                <a:gd name="connsiteY7" fmla="*/ 7279 h 10000"/>
                <a:gd name="connsiteX8" fmla="*/ 3044 w 10000"/>
                <a:gd name="connsiteY8" fmla="*/ 7095 h 10000"/>
                <a:gd name="connsiteX9" fmla="*/ 2796 w 10000"/>
                <a:gd name="connsiteY9" fmla="*/ 7195 h 10000"/>
                <a:gd name="connsiteX10" fmla="*/ 2177 w 10000"/>
                <a:gd name="connsiteY10" fmla="*/ 6973 h 10000"/>
                <a:gd name="connsiteX11" fmla="*/ 1903 w 10000"/>
                <a:gd name="connsiteY11" fmla="*/ 6638 h 10000"/>
                <a:gd name="connsiteX12" fmla="*/ 1449 w 10000"/>
                <a:gd name="connsiteY12" fmla="*/ 6729 h 10000"/>
                <a:gd name="connsiteX13" fmla="*/ 1324 w 10000"/>
                <a:gd name="connsiteY13" fmla="*/ 6927 h 10000"/>
                <a:gd name="connsiteX14" fmla="*/ 845 w 10000"/>
                <a:gd name="connsiteY14" fmla="*/ 7011 h 10000"/>
                <a:gd name="connsiteX15" fmla="*/ 526 w 10000"/>
                <a:gd name="connsiteY15" fmla="*/ 7004 h 10000"/>
                <a:gd name="connsiteX16" fmla="*/ 354 w 10000"/>
                <a:gd name="connsiteY16" fmla="*/ 7161 h 10000"/>
                <a:gd name="connsiteX17" fmla="*/ 56 w 10000"/>
                <a:gd name="connsiteY17" fmla="*/ 6913 h 10000"/>
                <a:gd name="connsiteX18" fmla="*/ 0 w 10000"/>
                <a:gd name="connsiteY18" fmla="*/ 7363 h 10000"/>
                <a:gd name="connsiteX19" fmla="*/ 106 w 10000"/>
                <a:gd name="connsiteY19" fmla="*/ 7428 h 10000"/>
                <a:gd name="connsiteX20" fmla="*/ 538 w 10000"/>
                <a:gd name="connsiteY20" fmla="*/ 7460 h 10000"/>
                <a:gd name="connsiteX21" fmla="*/ 596 w 10000"/>
                <a:gd name="connsiteY21" fmla="*/ 7588 h 10000"/>
                <a:gd name="connsiteX22" fmla="*/ 1075 w 10000"/>
                <a:gd name="connsiteY22" fmla="*/ 7621 h 10000"/>
                <a:gd name="connsiteX23" fmla="*/ 1346 w 10000"/>
                <a:gd name="connsiteY23" fmla="*/ 7749 h 10000"/>
                <a:gd name="connsiteX24" fmla="*/ 1397 w 10000"/>
                <a:gd name="connsiteY24" fmla="*/ 7974 h 10000"/>
                <a:gd name="connsiteX25" fmla="*/ 2260 w 10000"/>
                <a:gd name="connsiteY25" fmla="*/ 8360 h 10000"/>
                <a:gd name="connsiteX26" fmla="*/ 2475 w 10000"/>
                <a:gd name="connsiteY26" fmla="*/ 8746 h 10000"/>
                <a:gd name="connsiteX27" fmla="*/ 3064 w 10000"/>
                <a:gd name="connsiteY27" fmla="*/ 8939 h 10000"/>
                <a:gd name="connsiteX28" fmla="*/ 3280 w 10000"/>
                <a:gd name="connsiteY28" fmla="*/ 9196 h 10000"/>
                <a:gd name="connsiteX29" fmla="*/ 3709 w 10000"/>
                <a:gd name="connsiteY29" fmla="*/ 9518 h 10000"/>
                <a:gd name="connsiteX30" fmla="*/ 4034 w 10000"/>
                <a:gd name="connsiteY30" fmla="*/ 9614 h 10000"/>
                <a:gd name="connsiteX31" fmla="*/ 4248 w 10000"/>
                <a:gd name="connsiteY31" fmla="*/ 9518 h 10000"/>
                <a:gd name="connsiteX32" fmla="*/ 4785 w 10000"/>
                <a:gd name="connsiteY32" fmla="*/ 9550 h 10000"/>
                <a:gd name="connsiteX33" fmla="*/ 5002 w 10000"/>
                <a:gd name="connsiteY33" fmla="*/ 9486 h 10000"/>
                <a:gd name="connsiteX34" fmla="*/ 5967 w 10000"/>
                <a:gd name="connsiteY34" fmla="*/ 9968 h 10000"/>
                <a:gd name="connsiteX35" fmla="*/ 6021 w 10000"/>
                <a:gd name="connsiteY35" fmla="*/ 9968 h 10000"/>
                <a:gd name="connsiteX36" fmla="*/ 6130 w 10000"/>
                <a:gd name="connsiteY36" fmla="*/ 9904 h 10000"/>
                <a:gd name="connsiteX37" fmla="*/ 6823 w 10000"/>
                <a:gd name="connsiteY37" fmla="*/ 9904 h 10000"/>
                <a:gd name="connsiteX38" fmla="*/ 6936 w 10000"/>
                <a:gd name="connsiteY38" fmla="*/ 10000 h 10000"/>
                <a:gd name="connsiteX39" fmla="*/ 7526 w 10000"/>
                <a:gd name="connsiteY39" fmla="*/ 9871 h 10000"/>
                <a:gd name="connsiteX40" fmla="*/ 8062 w 10000"/>
                <a:gd name="connsiteY40" fmla="*/ 9871 h 10000"/>
                <a:gd name="connsiteX41" fmla="*/ 8438 w 10000"/>
                <a:gd name="connsiteY41" fmla="*/ 9743 h 10000"/>
                <a:gd name="connsiteX42" fmla="*/ 8871 w 10000"/>
                <a:gd name="connsiteY42" fmla="*/ 9486 h 10000"/>
                <a:gd name="connsiteX43" fmla="*/ 10000 w 10000"/>
                <a:gd name="connsiteY43" fmla="*/ 9486 h 10000"/>
                <a:gd name="connsiteX44" fmla="*/ 10000 w 10000"/>
                <a:gd name="connsiteY44" fmla="*/ 9132 h 10000"/>
                <a:gd name="connsiteX45" fmla="*/ 9409 w 10000"/>
                <a:gd name="connsiteY45" fmla="*/ 8971 h 10000"/>
                <a:gd name="connsiteX46" fmla="*/ 9083 w 10000"/>
                <a:gd name="connsiteY46" fmla="*/ 8457 h 10000"/>
                <a:gd name="connsiteX47" fmla="*/ 8655 w 10000"/>
                <a:gd name="connsiteY47" fmla="*/ 8264 h 10000"/>
                <a:gd name="connsiteX48" fmla="*/ 8385 w 10000"/>
                <a:gd name="connsiteY48" fmla="*/ 8006 h 10000"/>
                <a:gd name="connsiteX49" fmla="*/ 7687 w 10000"/>
                <a:gd name="connsiteY49" fmla="*/ 7814 h 10000"/>
                <a:gd name="connsiteX50" fmla="*/ 7848 w 10000"/>
                <a:gd name="connsiteY50" fmla="*/ 7749 h 10000"/>
                <a:gd name="connsiteX51" fmla="*/ 7848 w 10000"/>
                <a:gd name="connsiteY51" fmla="*/ 7588 h 10000"/>
                <a:gd name="connsiteX52" fmla="*/ 8334 w 10000"/>
                <a:gd name="connsiteY52" fmla="*/ 7588 h 10000"/>
                <a:gd name="connsiteX53" fmla="*/ 8599 w 10000"/>
                <a:gd name="connsiteY53" fmla="*/ 7460 h 10000"/>
                <a:gd name="connsiteX54" fmla="*/ 8655 w 10000"/>
                <a:gd name="connsiteY54" fmla="*/ 6527 h 10000"/>
                <a:gd name="connsiteX55" fmla="*/ 8707 w 10000"/>
                <a:gd name="connsiteY55" fmla="*/ 6559 h 10000"/>
                <a:gd name="connsiteX56" fmla="*/ 8517 w 10000"/>
                <a:gd name="connsiteY56" fmla="*/ 6618 h 10000"/>
                <a:gd name="connsiteX57" fmla="*/ 8440 w 10000"/>
                <a:gd name="connsiteY57" fmla="*/ 6745 h 10000"/>
                <a:gd name="connsiteX58" fmla="*/ 7961 w 10000"/>
                <a:gd name="connsiteY58" fmla="*/ 6497 h 10000"/>
                <a:gd name="connsiteX59" fmla="*/ 7874 w 10000"/>
                <a:gd name="connsiteY59" fmla="*/ 5828 h 10000"/>
                <a:gd name="connsiteX60" fmla="*/ 7361 w 10000"/>
                <a:gd name="connsiteY60" fmla="*/ 6118 h 10000"/>
                <a:gd name="connsiteX61" fmla="*/ 7369 w 10000"/>
                <a:gd name="connsiteY61" fmla="*/ 6462 h 10000"/>
                <a:gd name="connsiteX62" fmla="*/ 6955 w 10000"/>
                <a:gd name="connsiteY62" fmla="*/ 6670 h 10000"/>
                <a:gd name="connsiteX63" fmla="*/ 9731 w 10000"/>
                <a:gd name="connsiteY63" fmla="*/ 0 h 10000"/>
                <a:gd name="connsiteX64" fmla="*/ 9409 w 10000"/>
                <a:gd name="connsiteY64" fmla="*/ 161 h 10000"/>
                <a:gd name="connsiteX65" fmla="*/ 9191 w 10000"/>
                <a:gd name="connsiteY65" fmla="*/ 129 h 10000"/>
                <a:gd name="connsiteX66" fmla="*/ 9029 w 10000"/>
                <a:gd name="connsiteY66" fmla="*/ 418 h 10000"/>
                <a:gd name="connsiteX67" fmla="*/ 8599 w 10000"/>
                <a:gd name="connsiteY67" fmla="*/ 482 h 10000"/>
                <a:gd name="connsiteX68" fmla="*/ 8493 w 10000"/>
                <a:gd name="connsiteY68" fmla="*/ 707 h 10000"/>
                <a:gd name="connsiteX69" fmla="*/ 8116 w 10000"/>
                <a:gd name="connsiteY69" fmla="*/ 707 h 10000"/>
                <a:gd name="connsiteX70" fmla="*/ 7794 w 10000"/>
                <a:gd name="connsiteY70" fmla="*/ 611 h 10000"/>
                <a:gd name="connsiteX71" fmla="*/ 7096 w 10000"/>
                <a:gd name="connsiteY71" fmla="*/ 611 h 10000"/>
                <a:gd name="connsiteX72" fmla="*/ 6397 w 10000"/>
                <a:gd name="connsiteY72" fmla="*/ 611 h 10000"/>
                <a:gd name="connsiteX73" fmla="*/ 6452 w 10000"/>
                <a:gd name="connsiteY73" fmla="*/ 482 h 10000"/>
                <a:gd name="connsiteX74" fmla="*/ 6343 w 10000"/>
                <a:gd name="connsiteY74" fmla="*/ 482 h 10000"/>
                <a:gd name="connsiteX75" fmla="*/ 6290 w 10000"/>
                <a:gd name="connsiteY75" fmla="*/ 611 h 10000"/>
                <a:gd name="connsiteX76" fmla="*/ 5644 w 10000"/>
                <a:gd name="connsiteY76" fmla="*/ 611 h 10000"/>
                <a:gd name="connsiteX77" fmla="*/ 5002 w 10000"/>
                <a:gd name="connsiteY77" fmla="*/ 611 h 10000"/>
                <a:gd name="connsiteX78" fmla="*/ 4356 w 10000"/>
                <a:gd name="connsiteY78" fmla="*/ 611 h 10000"/>
                <a:gd name="connsiteX79" fmla="*/ 3709 w 10000"/>
                <a:gd name="connsiteY79" fmla="*/ 611 h 10000"/>
                <a:gd name="connsiteX80" fmla="*/ 3120 w 10000"/>
                <a:gd name="connsiteY80" fmla="*/ 611 h 10000"/>
                <a:gd name="connsiteX81" fmla="*/ 2475 w 10000"/>
                <a:gd name="connsiteY81" fmla="*/ 611 h 10000"/>
                <a:gd name="connsiteX82" fmla="*/ 1884 w 10000"/>
                <a:gd name="connsiteY82" fmla="*/ 611 h 10000"/>
                <a:gd name="connsiteX83" fmla="*/ 1237 w 10000"/>
                <a:gd name="connsiteY83" fmla="*/ 611 h 10000"/>
                <a:gd name="connsiteX84" fmla="*/ 1237 w 10000"/>
                <a:gd name="connsiteY84" fmla="*/ 1061 h 10000"/>
                <a:gd name="connsiteX85" fmla="*/ 1237 w 10000"/>
                <a:gd name="connsiteY85" fmla="*/ 1640 h 10000"/>
                <a:gd name="connsiteX86" fmla="*/ 433 w 10000"/>
                <a:gd name="connsiteY86" fmla="*/ 1640 h 10000"/>
                <a:gd name="connsiteX87" fmla="*/ 433 w 10000"/>
                <a:gd name="connsiteY87" fmla="*/ 1897 h 10000"/>
                <a:gd name="connsiteX0" fmla="*/ 433 w 10000"/>
                <a:gd name="connsiteY0" fmla="*/ 1768 h 9871"/>
                <a:gd name="connsiteX1" fmla="*/ 6675 w 10000"/>
                <a:gd name="connsiteY1" fmla="*/ 6786 h 9871"/>
                <a:gd name="connsiteX2" fmla="*/ 6234 w 10000"/>
                <a:gd name="connsiteY2" fmla="*/ 6985 h 9871"/>
                <a:gd name="connsiteX3" fmla="*/ 5864 w 10000"/>
                <a:gd name="connsiteY3" fmla="*/ 6778 h 9871"/>
                <a:gd name="connsiteX4" fmla="*/ 5325 w 10000"/>
                <a:gd name="connsiteY4" fmla="*/ 6652 h 9871"/>
                <a:gd name="connsiteX5" fmla="*/ 5058 w 10000"/>
                <a:gd name="connsiteY5" fmla="*/ 6935 h 9871"/>
                <a:gd name="connsiteX6" fmla="*/ 4396 w 10000"/>
                <a:gd name="connsiteY6" fmla="*/ 7152 h 9871"/>
                <a:gd name="connsiteX7" fmla="*/ 3972 w 10000"/>
                <a:gd name="connsiteY7" fmla="*/ 7150 h 9871"/>
                <a:gd name="connsiteX8" fmla="*/ 3044 w 10000"/>
                <a:gd name="connsiteY8" fmla="*/ 6966 h 9871"/>
                <a:gd name="connsiteX9" fmla="*/ 2796 w 10000"/>
                <a:gd name="connsiteY9" fmla="*/ 7066 h 9871"/>
                <a:gd name="connsiteX10" fmla="*/ 2177 w 10000"/>
                <a:gd name="connsiteY10" fmla="*/ 6844 h 9871"/>
                <a:gd name="connsiteX11" fmla="*/ 1903 w 10000"/>
                <a:gd name="connsiteY11" fmla="*/ 6509 h 9871"/>
                <a:gd name="connsiteX12" fmla="*/ 1449 w 10000"/>
                <a:gd name="connsiteY12" fmla="*/ 6600 h 9871"/>
                <a:gd name="connsiteX13" fmla="*/ 1324 w 10000"/>
                <a:gd name="connsiteY13" fmla="*/ 6798 h 9871"/>
                <a:gd name="connsiteX14" fmla="*/ 845 w 10000"/>
                <a:gd name="connsiteY14" fmla="*/ 6882 h 9871"/>
                <a:gd name="connsiteX15" fmla="*/ 526 w 10000"/>
                <a:gd name="connsiteY15" fmla="*/ 6875 h 9871"/>
                <a:gd name="connsiteX16" fmla="*/ 354 w 10000"/>
                <a:gd name="connsiteY16" fmla="*/ 7032 h 9871"/>
                <a:gd name="connsiteX17" fmla="*/ 56 w 10000"/>
                <a:gd name="connsiteY17" fmla="*/ 6784 h 9871"/>
                <a:gd name="connsiteX18" fmla="*/ 0 w 10000"/>
                <a:gd name="connsiteY18" fmla="*/ 7234 h 9871"/>
                <a:gd name="connsiteX19" fmla="*/ 106 w 10000"/>
                <a:gd name="connsiteY19" fmla="*/ 7299 h 9871"/>
                <a:gd name="connsiteX20" fmla="*/ 538 w 10000"/>
                <a:gd name="connsiteY20" fmla="*/ 7331 h 9871"/>
                <a:gd name="connsiteX21" fmla="*/ 596 w 10000"/>
                <a:gd name="connsiteY21" fmla="*/ 7459 h 9871"/>
                <a:gd name="connsiteX22" fmla="*/ 1075 w 10000"/>
                <a:gd name="connsiteY22" fmla="*/ 7492 h 9871"/>
                <a:gd name="connsiteX23" fmla="*/ 1346 w 10000"/>
                <a:gd name="connsiteY23" fmla="*/ 7620 h 9871"/>
                <a:gd name="connsiteX24" fmla="*/ 1397 w 10000"/>
                <a:gd name="connsiteY24" fmla="*/ 7845 h 9871"/>
                <a:gd name="connsiteX25" fmla="*/ 2260 w 10000"/>
                <a:gd name="connsiteY25" fmla="*/ 8231 h 9871"/>
                <a:gd name="connsiteX26" fmla="*/ 2475 w 10000"/>
                <a:gd name="connsiteY26" fmla="*/ 8617 h 9871"/>
                <a:gd name="connsiteX27" fmla="*/ 3064 w 10000"/>
                <a:gd name="connsiteY27" fmla="*/ 8810 h 9871"/>
                <a:gd name="connsiteX28" fmla="*/ 3280 w 10000"/>
                <a:gd name="connsiteY28" fmla="*/ 9067 h 9871"/>
                <a:gd name="connsiteX29" fmla="*/ 3709 w 10000"/>
                <a:gd name="connsiteY29" fmla="*/ 9389 h 9871"/>
                <a:gd name="connsiteX30" fmla="*/ 4034 w 10000"/>
                <a:gd name="connsiteY30" fmla="*/ 9485 h 9871"/>
                <a:gd name="connsiteX31" fmla="*/ 4248 w 10000"/>
                <a:gd name="connsiteY31" fmla="*/ 9389 h 9871"/>
                <a:gd name="connsiteX32" fmla="*/ 4785 w 10000"/>
                <a:gd name="connsiteY32" fmla="*/ 9421 h 9871"/>
                <a:gd name="connsiteX33" fmla="*/ 5002 w 10000"/>
                <a:gd name="connsiteY33" fmla="*/ 9357 h 9871"/>
                <a:gd name="connsiteX34" fmla="*/ 5967 w 10000"/>
                <a:gd name="connsiteY34" fmla="*/ 9839 h 9871"/>
                <a:gd name="connsiteX35" fmla="*/ 6021 w 10000"/>
                <a:gd name="connsiteY35" fmla="*/ 9839 h 9871"/>
                <a:gd name="connsiteX36" fmla="*/ 6130 w 10000"/>
                <a:gd name="connsiteY36" fmla="*/ 9775 h 9871"/>
                <a:gd name="connsiteX37" fmla="*/ 6823 w 10000"/>
                <a:gd name="connsiteY37" fmla="*/ 9775 h 9871"/>
                <a:gd name="connsiteX38" fmla="*/ 6936 w 10000"/>
                <a:gd name="connsiteY38" fmla="*/ 9871 h 9871"/>
                <a:gd name="connsiteX39" fmla="*/ 7526 w 10000"/>
                <a:gd name="connsiteY39" fmla="*/ 9742 h 9871"/>
                <a:gd name="connsiteX40" fmla="*/ 8062 w 10000"/>
                <a:gd name="connsiteY40" fmla="*/ 9742 h 9871"/>
                <a:gd name="connsiteX41" fmla="*/ 8438 w 10000"/>
                <a:gd name="connsiteY41" fmla="*/ 9614 h 9871"/>
                <a:gd name="connsiteX42" fmla="*/ 8871 w 10000"/>
                <a:gd name="connsiteY42" fmla="*/ 9357 h 9871"/>
                <a:gd name="connsiteX43" fmla="*/ 10000 w 10000"/>
                <a:gd name="connsiteY43" fmla="*/ 9357 h 9871"/>
                <a:gd name="connsiteX44" fmla="*/ 10000 w 10000"/>
                <a:gd name="connsiteY44" fmla="*/ 9003 h 9871"/>
                <a:gd name="connsiteX45" fmla="*/ 9409 w 10000"/>
                <a:gd name="connsiteY45" fmla="*/ 8842 h 9871"/>
                <a:gd name="connsiteX46" fmla="*/ 9083 w 10000"/>
                <a:gd name="connsiteY46" fmla="*/ 8328 h 9871"/>
                <a:gd name="connsiteX47" fmla="*/ 8655 w 10000"/>
                <a:gd name="connsiteY47" fmla="*/ 8135 h 9871"/>
                <a:gd name="connsiteX48" fmla="*/ 8385 w 10000"/>
                <a:gd name="connsiteY48" fmla="*/ 7877 h 9871"/>
                <a:gd name="connsiteX49" fmla="*/ 7687 w 10000"/>
                <a:gd name="connsiteY49" fmla="*/ 7685 h 9871"/>
                <a:gd name="connsiteX50" fmla="*/ 7848 w 10000"/>
                <a:gd name="connsiteY50" fmla="*/ 7620 h 9871"/>
                <a:gd name="connsiteX51" fmla="*/ 7848 w 10000"/>
                <a:gd name="connsiteY51" fmla="*/ 7459 h 9871"/>
                <a:gd name="connsiteX52" fmla="*/ 8334 w 10000"/>
                <a:gd name="connsiteY52" fmla="*/ 7459 h 9871"/>
                <a:gd name="connsiteX53" fmla="*/ 8599 w 10000"/>
                <a:gd name="connsiteY53" fmla="*/ 7331 h 9871"/>
                <a:gd name="connsiteX54" fmla="*/ 8655 w 10000"/>
                <a:gd name="connsiteY54" fmla="*/ 6398 h 9871"/>
                <a:gd name="connsiteX55" fmla="*/ 8707 w 10000"/>
                <a:gd name="connsiteY55" fmla="*/ 6430 h 9871"/>
                <a:gd name="connsiteX56" fmla="*/ 8517 w 10000"/>
                <a:gd name="connsiteY56" fmla="*/ 6489 h 9871"/>
                <a:gd name="connsiteX57" fmla="*/ 8440 w 10000"/>
                <a:gd name="connsiteY57" fmla="*/ 6616 h 9871"/>
                <a:gd name="connsiteX58" fmla="*/ 7961 w 10000"/>
                <a:gd name="connsiteY58" fmla="*/ 6368 h 9871"/>
                <a:gd name="connsiteX59" fmla="*/ 7874 w 10000"/>
                <a:gd name="connsiteY59" fmla="*/ 5699 h 9871"/>
                <a:gd name="connsiteX60" fmla="*/ 7361 w 10000"/>
                <a:gd name="connsiteY60" fmla="*/ 5989 h 9871"/>
                <a:gd name="connsiteX61" fmla="*/ 7369 w 10000"/>
                <a:gd name="connsiteY61" fmla="*/ 6333 h 9871"/>
                <a:gd name="connsiteX62" fmla="*/ 6955 w 10000"/>
                <a:gd name="connsiteY62" fmla="*/ 6541 h 9871"/>
                <a:gd name="connsiteX63" fmla="*/ 9409 w 10000"/>
                <a:gd name="connsiteY63" fmla="*/ 32 h 9871"/>
                <a:gd name="connsiteX64" fmla="*/ 9191 w 10000"/>
                <a:gd name="connsiteY64" fmla="*/ 0 h 9871"/>
                <a:gd name="connsiteX65" fmla="*/ 9029 w 10000"/>
                <a:gd name="connsiteY65" fmla="*/ 289 h 9871"/>
                <a:gd name="connsiteX66" fmla="*/ 8599 w 10000"/>
                <a:gd name="connsiteY66" fmla="*/ 353 h 9871"/>
                <a:gd name="connsiteX67" fmla="*/ 8493 w 10000"/>
                <a:gd name="connsiteY67" fmla="*/ 578 h 9871"/>
                <a:gd name="connsiteX68" fmla="*/ 8116 w 10000"/>
                <a:gd name="connsiteY68" fmla="*/ 578 h 9871"/>
                <a:gd name="connsiteX69" fmla="*/ 7794 w 10000"/>
                <a:gd name="connsiteY69" fmla="*/ 482 h 9871"/>
                <a:gd name="connsiteX70" fmla="*/ 7096 w 10000"/>
                <a:gd name="connsiteY70" fmla="*/ 482 h 9871"/>
                <a:gd name="connsiteX71" fmla="*/ 6397 w 10000"/>
                <a:gd name="connsiteY71" fmla="*/ 482 h 9871"/>
                <a:gd name="connsiteX72" fmla="*/ 6452 w 10000"/>
                <a:gd name="connsiteY72" fmla="*/ 353 h 9871"/>
                <a:gd name="connsiteX73" fmla="*/ 6343 w 10000"/>
                <a:gd name="connsiteY73" fmla="*/ 353 h 9871"/>
                <a:gd name="connsiteX74" fmla="*/ 6290 w 10000"/>
                <a:gd name="connsiteY74" fmla="*/ 482 h 9871"/>
                <a:gd name="connsiteX75" fmla="*/ 5644 w 10000"/>
                <a:gd name="connsiteY75" fmla="*/ 482 h 9871"/>
                <a:gd name="connsiteX76" fmla="*/ 5002 w 10000"/>
                <a:gd name="connsiteY76" fmla="*/ 482 h 9871"/>
                <a:gd name="connsiteX77" fmla="*/ 4356 w 10000"/>
                <a:gd name="connsiteY77" fmla="*/ 482 h 9871"/>
                <a:gd name="connsiteX78" fmla="*/ 3709 w 10000"/>
                <a:gd name="connsiteY78" fmla="*/ 482 h 9871"/>
                <a:gd name="connsiteX79" fmla="*/ 3120 w 10000"/>
                <a:gd name="connsiteY79" fmla="*/ 482 h 9871"/>
                <a:gd name="connsiteX80" fmla="*/ 2475 w 10000"/>
                <a:gd name="connsiteY80" fmla="*/ 482 h 9871"/>
                <a:gd name="connsiteX81" fmla="*/ 1884 w 10000"/>
                <a:gd name="connsiteY81" fmla="*/ 482 h 9871"/>
                <a:gd name="connsiteX82" fmla="*/ 1237 w 10000"/>
                <a:gd name="connsiteY82" fmla="*/ 482 h 9871"/>
                <a:gd name="connsiteX83" fmla="*/ 1237 w 10000"/>
                <a:gd name="connsiteY83" fmla="*/ 932 h 9871"/>
                <a:gd name="connsiteX84" fmla="*/ 1237 w 10000"/>
                <a:gd name="connsiteY84" fmla="*/ 1511 h 9871"/>
                <a:gd name="connsiteX85" fmla="*/ 433 w 10000"/>
                <a:gd name="connsiteY85" fmla="*/ 1511 h 9871"/>
                <a:gd name="connsiteX86" fmla="*/ 433 w 10000"/>
                <a:gd name="connsiteY86" fmla="*/ 1768 h 9871"/>
                <a:gd name="connsiteX0" fmla="*/ 433 w 10000"/>
                <a:gd name="connsiteY0" fmla="*/ 1791 h 10000"/>
                <a:gd name="connsiteX1" fmla="*/ 6675 w 10000"/>
                <a:gd name="connsiteY1" fmla="*/ 6875 h 10000"/>
                <a:gd name="connsiteX2" fmla="*/ 6234 w 10000"/>
                <a:gd name="connsiteY2" fmla="*/ 7076 h 10000"/>
                <a:gd name="connsiteX3" fmla="*/ 5864 w 10000"/>
                <a:gd name="connsiteY3" fmla="*/ 6867 h 10000"/>
                <a:gd name="connsiteX4" fmla="*/ 5325 w 10000"/>
                <a:gd name="connsiteY4" fmla="*/ 6739 h 10000"/>
                <a:gd name="connsiteX5" fmla="*/ 5058 w 10000"/>
                <a:gd name="connsiteY5" fmla="*/ 7026 h 10000"/>
                <a:gd name="connsiteX6" fmla="*/ 4396 w 10000"/>
                <a:gd name="connsiteY6" fmla="*/ 7245 h 10000"/>
                <a:gd name="connsiteX7" fmla="*/ 3972 w 10000"/>
                <a:gd name="connsiteY7" fmla="*/ 7243 h 10000"/>
                <a:gd name="connsiteX8" fmla="*/ 3044 w 10000"/>
                <a:gd name="connsiteY8" fmla="*/ 7057 h 10000"/>
                <a:gd name="connsiteX9" fmla="*/ 2796 w 10000"/>
                <a:gd name="connsiteY9" fmla="*/ 7158 h 10000"/>
                <a:gd name="connsiteX10" fmla="*/ 2177 w 10000"/>
                <a:gd name="connsiteY10" fmla="*/ 6933 h 10000"/>
                <a:gd name="connsiteX11" fmla="*/ 1903 w 10000"/>
                <a:gd name="connsiteY11" fmla="*/ 6594 h 10000"/>
                <a:gd name="connsiteX12" fmla="*/ 1449 w 10000"/>
                <a:gd name="connsiteY12" fmla="*/ 6686 h 10000"/>
                <a:gd name="connsiteX13" fmla="*/ 1324 w 10000"/>
                <a:gd name="connsiteY13" fmla="*/ 6887 h 10000"/>
                <a:gd name="connsiteX14" fmla="*/ 845 w 10000"/>
                <a:gd name="connsiteY14" fmla="*/ 6972 h 10000"/>
                <a:gd name="connsiteX15" fmla="*/ 526 w 10000"/>
                <a:gd name="connsiteY15" fmla="*/ 6965 h 10000"/>
                <a:gd name="connsiteX16" fmla="*/ 354 w 10000"/>
                <a:gd name="connsiteY16" fmla="*/ 7124 h 10000"/>
                <a:gd name="connsiteX17" fmla="*/ 56 w 10000"/>
                <a:gd name="connsiteY17" fmla="*/ 6873 h 10000"/>
                <a:gd name="connsiteX18" fmla="*/ 0 w 10000"/>
                <a:gd name="connsiteY18" fmla="*/ 7329 h 10000"/>
                <a:gd name="connsiteX19" fmla="*/ 106 w 10000"/>
                <a:gd name="connsiteY19" fmla="*/ 7394 h 10000"/>
                <a:gd name="connsiteX20" fmla="*/ 538 w 10000"/>
                <a:gd name="connsiteY20" fmla="*/ 7427 h 10000"/>
                <a:gd name="connsiteX21" fmla="*/ 596 w 10000"/>
                <a:gd name="connsiteY21" fmla="*/ 7556 h 10000"/>
                <a:gd name="connsiteX22" fmla="*/ 1075 w 10000"/>
                <a:gd name="connsiteY22" fmla="*/ 7590 h 10000"/>
                <a:gd name="connsiteX23" fmla="*/ 1346 w 10000"/>
                <a:gd name="connsiteY23" fmla="*/ 7720 h 10000"/>
                <a:gd name="connsiteX24" fmla="*/ 1397 w 10000"/>
                <a:gd name="connsiteY24" fmla="*/ 7948 h 10000"/>
                <a:gd name="connsiteX25" fmla="*/ 2260 w 10000"/>
                <a:gd name="connsiteY25" fmla="*/ 8339 h 10000"/>
                <a:gd name="connsiteX26" fmla="*/ 2475 w 10000"/>
                <a:gd name="connsiteY26" fmla="*/ 8730 h 10000"/>
                <a:gd name="connsiteX27" fmla="*/ 3064 w 10000"/>
                <a:gd name="connsiteY27" fmla="*/ 8925 h 10000"/>
                <a:gd name="connsiteX28" fmla="*/ 3280 w 10000"/>
                <a:gd name="connsiteY28" fmla="*/ 9185 h 10000"/>
                <a:gd name="connsiteX29" fmla="*/ 3709 w 10000"/>
                <a:gd name="connsiteY29" fmla="*/ 9512 h 10000"/>
                <a:gd name="connsiteX30" fmla="*/ 4034 w 10000"/>
                <a:gd name="connsiteY30" fmla="*/ 9609 h 10000"/>
                <a:gd name="connsiteX31" fmla="*/ 4248 w 10000"/>
                <a:gd name="connsiteY31" fmla="*/ 9512 h 10000"/>
                <a:gd name="connsiteX32" fmla="*/ 4785 w 10000"/>
                <a:gd name="connsiteY32" fmla="*/ 9544 h 10000"/>
                <a:gd name="connsiteX33" fmla="*/ 5002 w 10000"/>
                <a:gd name="connsiteY33" fmla="*/ 9479 h 10000"/>
                <a:gd name="connsiteX34" fmla="*/ 5967 w 10000"/>
                <a:gd name="connsiteY34" fmla="*/ 9968 h 10000"/>
                <a:gd name="connsiteX35" fmla="*/ 6021 w 10000"/>
                <a:gd name="connsiteY35" fmla="*/ 9968 h 10000"/>
                <a:gd name="connsiteX36" fmla="*/ 6130 w 10000"/>
                <a:gd name="connsiteY36" fmla="*/ 9903 h 10000"/>
                <a:gd name="connsiteX37" fmla="*/ 6823 w 10000"/>
                <a:gd name="connsiteY37" fmla="*/ 9903 h 10000"/>
                <a:gd name="connsiteX38" fmla="*/ 6936 w 10000"/>
                <a:gd name="connsiteY38" fmla="*/ 10000 h 10000"/>
                <a:gd name="connsiteX39" fmla="*/ 7526 w 10000"/>
                <a:gd name="connsiteY39" fmla="*/ 9869 h 10000"/>
                <a:gd name="connsiteX40" fmla="*/ 8062 w 10000"/>
                <a:gd name="connsiteY40" fmla="*/ 9869 h 10000"/>
                <a:gd name="connsiteX41" fmla="*/ 8438 w 10000"/>
                <a:gd name="connsiteY41" fmla="*/ 9740 h 10000"/>
                <a:gd name="connsiteX42" fmla="*/ 8871 w 10000"/>
                <a:gd name="connsiteY42" fmla="*/ 9479 h 10000"/>
                <a:gd name="connsiteX43" fmla="*/ 10000 w 10000"/>
                <a:gd name="connsiteY43" fmla="*/ 9479 h 10000"/>
                <a:gd name="connsiteX44" fmla="*/ 10000 w 10000"/>
                <a:gd name="connsiteY44" fmla="*/ 9121 h 10000"/>
                <a:gd name="connsiteX45" fmla="*/ 9409 w 10000"/>
                <a:gd name="connsiteY45" fmla="*/ 8958 h 10000"/>
                <a:gd name="connsiteX46" fmla="*/ 9083 w 10000"/>
                <a:gd name="connsiteY46" fmla="*/ 8437 h 10000"/>
                <a:gd name="connsiteX47" fmla="*/ 8655 w 10000"/>
                <a:gd name="connsiteY47" fmla="*/ 8241 h 10000"/>
                <a:gd name="connsiteX48" fmla="*/ 8385 w 10000"/>
                <a:gd name="connsiteY48" fmla="*/ 7980 h 10000"/>
                <a:gd name="connsiteX49" fmla="*/ 7687 w 10000"/>
                <a:gd name="connsiteY49" fmla="*/ 7785 h 10000"/>
                <a:gd name="connsiteX50" fmla="*/ 7848 w 10000"/>
                <a:gd name="connsiteY50" fmla="*/ 7720 h 10000"/>
                <a:gd name="connsiteX51" fmla="*/ 7848 w 10000"/>
                <a:gd name="connsiteY51" fmla="*/ 7556 h 10000"/>
                <a:gd name="connsiteX52" fmla="*/ 8334 w 10000"/>
                <a:gd name="connsiteY52" fmla="*/ 7556 h 10000"/>
                <a:gd name="connsiteX53" fmla="*/ 8599 w 10000"/>
                <a:gd name="connsiteY53" fmla="*/ 7427 h 10000"/>
                <a:gd name="connsiteX54" fmla="*/ 8655 w 10000"/>
                <a:gd name="connsiteY54" fmla="*/ 6482 h 10000"/>
                <a:gd name="connsiteX55" fmla="*/ 8707 w 10000"/>
                <a:gd name="connsiteY55" fmla="*/ 6514 h 10000"/>
                <a:gd name="connsiteX56" fmla="*/ 8517 w 10000"/>
                <a:gd name="connsiteY56" fmla="*/ 6574 h 10000"/>
                <a:gd name="connsiteX57" fmla="*/ 8440 w 10000"/>
                <a:gd name="connsiteY57" fmla="*/ 6702 h 10000"/>
                <a:gd name="connsiteX58" fmla="*/ 7961 w 10000"/>
                <a:gd name="connsiteY58" fmla="*/ 6451 h 10000"/>
                <a:gd name="connsiteX59" fmla="*/ 7874 w 10000"/>
                <a:gd name="connsiteY59" fmla="*/ 5773 h 10000"/>
                <a:gd name="connsiteX60" fmla="*/ 7361 w 10000"/>
                <a:gd name="connsiteY60" fmla="*/ 6067 h 10000"/>
                <a:gd name="connsiteX61" fmla="*/ 7369 w 10000"/>
                <a:gd name="connsiteY61" fmla="*/ 6416 h 10000"/>
                <a:gd name="connsiteX62" fmla="*/ 6955 w 10000"/>
                <a:gd name="connsiteY62" fmla="*/ 6626 h 10000"/>
                <a:gd name="connsiteX63" fmla="*/ 9191 w 10000"/>
                <a:gd name="connsiteY63" fmla="*/ 0 h 10000"/>
                <a:gd name="connsiteX64" fmla="*/ 9029 w 10000"/>
                <a:gd name="connsiteY64" fmla="*/ 293 h 10000"/>
                <a:gd name="connsiteX65" fmla="*/ 8599 w 10000"/>
                <a:gd name="connsiteY65" fmla="*/ 358 h 10000"/>
                <a:gd name="connsiteX66" fmla="*/ 8493 w 10000"/>
                <a:gd name="connsiteY66" fmla="*/ 586 h 10000"/>
                <a:gd name="connsiteX67" fmla="*/ 8116 w 10000"/>
                <a:gd name="connsiteY67" fmla="*/ 586 h 10000"/>
                <a:gd name="connsiteX68" fmla="*/ 7794 w 10000"/>
                <a:gd name="connsiteY68" fmla="*/ 488 h 10000"/>
                <a:gd name="connsiteX69" fmla="*/ 7096 w 10000"/>
                <a:gd name="connsiteY69" fmla="*/ 488 h 10000"/>
                <a:gd name="connsiteX70" fmla="*/ 6397 w 10000"/>
                <a:gd name="connsiteY70" fmla="*/ 488 h 10000"/>
                <a:gd name="connsiteX71" fmla="*/ 6452 w 10000"/>
                <a:gd name="connsiteY71" fmla="*/ 358 h 10000"/>
                <a:gd name="connsiteX72" fmla="*/ 6343 w 10000"/>
                <a:gd name="connsiteY72" fmla="*/ 358 h 10000"/>
                <a:gd name="connsiteX73" fmla="*/ 6290 w 10000"/>
                <a:gd name="connsiteY73" fmla="*/ 488 h 10000"/>
                <a:gd name="connsiteX74" fmla="*/ 5644 w 10000"/>
                <a:gd name="connsiteY74" fmla="*/ 488 h 10000"/>
                <a:gd name="connsiteX75" fmla="*/ 5002 w 10000"/>
                <a:gd name="connsiteY75" fmla="*/ 488 h 10000"/>
                <a:gd name="connsiteX76" fmla="*/ 4356 w 10000"/>
                <a:gd name="connsiteY76" fmla="*/ 488 h 10000"/>
                <a:gd name="connsiteX77" fmla="*/ 3709 w 10000"/>
                <a:gd name="connsiteY77" fmla="*/ 488 h 10000"/>
                <a:gd name="connsiteX78" fmla="*/ 3120 w 10000"/>
                <a:gd name="connsiteY78" fmla="*/ 488 h 10000"/>
                <a:gd name="connsiteX79" fmla="*/ 2475 w 10000"/>
                <a:gd name="connsiteY79" fmla="*/ 488 h 10000"/>
                <a:gd name="connsiteX80" fmla="*/ 1884 w 10000"/>
                <a:gd name="connsiteY80" fmla="*/ 488 h 10000"/>
                <a:gd name="connsiteX81" fmla="*/ 1237 w 10000"/>
                <a:gd name="connsiteY81" fmla="*/ 488 h 10000"/>
                <a:gd name="connsiteX82" fmla="*/ 1237 w 10000"/>
                <a:gd name="connsiteY82" fmla="*/ 944 h 10000"/>
                <a:gd name="connsiteX83" fmla="*/ 1237 w 10000"/>
                <a:gd name="connsiteY83" fmla="*/ 1531 h 10000"/>
                <a:gd name="connsiteX84" fmla="*/ 433 w 10000"/>
                <a:gd name="connsiteY84" fmla="*/ 1531 h 10000"/>
                <a:gd name="connsiteX85" fmla="*/ 433 w 10000"/>
                <a:gd name="connsiteY85" fmla="*/ 1791 h 10000"/>
                <a:gd name="connsiteX0" fmla="*/ 433 w 10000"/>
                <a:gd name="connsiteY0" fmla="*/ 1498 h 9707"/>
                <a:gd name="connsiteX1" fmla="*/ 6675 w 10000"/>
                <a:gd name="connsiteY1" fmla="*/ 6582 h 9707"/>
                <a:gd name="connsiteX2" fmla="*/ 6234 w 10000"/>
                <a:gd name="connsiteY2" fmla="*/ 6783 h 9707"/>
                <a:gd name="connsiteX3" fmla="*/ 5864 w 10000"/>
                <a:gd name="connsiteY3" fmla="*/ 6574 h 9707"/>
                <a:gd name="connsiteX4" fmla="*/ 5325 w 10000"/>
                <a:gd name="connsiteY4" fmla="*/ 6446 h 9707"/>
                <a:gd name="connsiteX5" fmla="*/ 5058 w 10000"/>
                <a:gd name="connsiteY5" fmla="*/ 6733 h 9707"/>
                <a:gd name="connsiteX6" fmla="*/ 4396 w 10000"/>
                <a:gd name="connsiteY6" fmla="*/ 6952 h 9707"/>
                <a:gd name="connsiteX7" fmla="*/ 3972 w 10000"/>
                <a:gd name="connsiteY7" fmla="*/ 6950 h 9707"/>
                <a:gd name="connsiteX8" fmla="*/ 3044 w 10000"/>
                <a:gd name="connsiteY8" fmla="*/ 6764 h 9707"/>
                <a:gd name="connsiteX9" fmla="*/ 2796 w 10000"/>
                <a:gd name="connsiteY9" fmla="*/ 6865 h 9707"/>
                <a:gd name="connsiteX10" fmla="*/ 2177 w 10000"/>
                <a:gd name="connsiteY10" fmla="*/ 6640 h 9707"/>
                <a:gd name="connsiteX11" fmla="*/ 1903 w 10000"/>
                <a:gd name="connsiteY11" fmla="*/ 6301 h 9707"/>
                <a:gd name="connsiteX12" fmla="*/ 1449 w 10000"/>
                <a:gd name="connsiteY12" fmla="*/ 6393 h 9707"/>
                <a:gd name="connsiteX13" fmla="*/ 1324 w 10000"/>
                <a:gd name="connsiteY13" fmla="*/ 6594 h 9707"/>
                <a:gd name="connsiteX14" fmla="*/ 845 w 10000"/>
                <a:gd name="connsiteY14" fmla="*/ 6679 h 9707"/>
                <a:gd name="connsiteX15" fmla="*/ 526 w 10000"/>
                <a:gd name="connsiteY15" fmla="*/ 6672 h 9707"/>
                <a:gd name="connsiteX16" fmla="*/ 354 w 10000"/>
                <a:gd name="connsiteY16" fmla="*/ 6831 h 9707"/>
                <a:gd name="connsiteX17" fmla="*/ 56 w 10000"/>
                <a:gd name="connsiteY17" fmla="*/ 6580 h 9707"/>
                <a:gd name="connsiteX18" fmla="*/ 0 w 10000"/>
                <a:gd name="connsiteY18" fmla="*/ 7036 h 9707"/>
                <a:gd name="connsiteX19" fmla="*/ 106 w 10000"/>
                <a:gd name="connsiteY19" fmla="*/ 7101 h 9707"/>
                <a:gd name="connsiteX20" fmla="*/ 538 w 10000"/>
                <a:gd name="connsiteY20" fmla="*/ 7134 h 9707"/>
                <a:gd name="connsiteX21" fmla="*/ 596 w 10000"/>
                <a:gd name="connsiteY21" fmla="*/ 7263 h 9707"/>
                <a:gd name="connsiteX22" fmla="*/ 1075 w 10000"/>
                <a:gd name="connsiteY22" fmla="*/ 7297 h 9707"/>
                <a:gd name="connsiteX23" fmla="*/ 1346 w 10000"/>
                <a:gd name="connsiteY23" fmla="*/ 7427 h 9707"/>
                <a:gd name="connsiteX24" fmla="*/ 1397 w 10000"/>
                <a:gd name="connsiteY24" fmla="*/ 7655 h 9707"/>
                <a:gd name="connsiteX25" fmla="*/ 2260 w 10000"/>
                <a:gd name="connsiteY25" fmla="*/ 8046 h 9707"/>
                <a:gd name="connsiteX26" fmla="*/ 2475 w 10000"/>
                <a:gd name="connsiteY26" fmla="*/ 8437 h 9707"/>
                <a:gd name="connsiteX27" fmla="*/ 3064 w 10000"/>
                <a:gd name="connsiteY27" fmla="*/ 8632 h 9707"/>
                <a:gd name="connsiteX28" fmla="*/ 3280 w 10000"/>
                <a:gd name="connsiteY28" fmla="*/ 8892 h 9707"/>
                <a:gd name="connsiteX29" fmla="*/ 3709 w 10000"/>
                <a:gd name="connsiteY29" fmla="*/ 9219 h 9707"/>
                <a:gd name="connsiteX30" fmla="*/ 4034 w 10000"/>
                <a:gd name="connsiteY30" fmla="*/ 9316 h 9707"/>
                <a:gd name="connsiteX31" fmla="*/ 4248 w 10000"/>
                <a:gd name="connsiteY31" fmla="*/ 9219 h 9707"/>
                <a:gd name="connsiteX32" fmla="*/ 4785 w 10000"/>
                <a:gd name="connsiteY32" fmla="*/ 9251 h 9707"/>
                <a:gd name="connsiteX33" fmla="*/ 5002 w 10000"/>
                <a:gd name="connsiteY33" fmla="*/ 9186 h 9707"/>
                <a:gd name="connsiteX34" fmla="*/ 5967 w 10000"/>
                <a:gd name="connsiteY34" fmla="*/ 9675 h 9707"/>
                <a:gd name="connsiteX35" fmla="*/ 6021 w 10000"/>
                <a:gd name="connsiteY35" fmla="*/ 9675 h 9707"/>
                <a:gd name="connsiteX36" fmla="*/ 6130 w 10000"/>
                <a:gd name="connsiteY36" fmla="*/ 9610 h 9707"/>
                <a:gd name="connsiteX37" fmla="*/ 6823 w 10000"/>
                <a:gd name="connsiteY37" fmla="*/ 9610 h 9707"/>
                <a:gd name="connsiteX38" fmla="*/ 6936 w 10000"/>
                <a:gd name="connsiteY38" fmla="*/ 9707 h 9707"/>
                <a:gd name="connsiteX39" fmla="*/ 7526 w 10000"/>
                <a:gd name="connsiteY39" fmla="*/ 9576 h 9707"/>
                <a:gd name="connsiteX40" fmla="*/ 8062 w 10000"/>
                <a:gd name="connsiteY40" fmla="*/ 9576 h 9707"/>
                <a:gd name="connsiteX41" fmla="*/ 8438 w 10000"/>
                <a:gd name="connsiteY41" fmla="*/ 9447 h 9707"/>
                <a:gd name="connsiteX42" fmla="*/ 8871 w 10000"/>
                <a:gd name="connsiteY42" fmla="*/ 9186 h 9707"/>
                <a:gd name="connsiteX43" fmla="*/ 10000 w 10000"/>
                <a:gd name="connsiteY43" fmla="*/ 9186 h 9707"/>
                <a:gd name="connsiteX44" fmla="*/ 10000 w 10000"/>
                <a:gd name="connsiteY44" fmla="*/ 8828 h 9707"/>
                <a:gd name="connsiteX45" fmla="*/ 9409 w 10000"/>
                <a:gd name="connsiteY45" fmla="*/ 8665 h 9707"/>
                <a:gd name="connsiteX46" fmla="*/ 9083 w 10000"/>
                <a:gd name="connsiteY46" fmla="*/ 8144 h 9707"/>
                <a:gd name="connsiteX47" fmla="*/ 8655 w 10000"/>
                <a:gd name="connsiteY47" fmla="*/ 7948 h 9707"/>
                <a:gd name="connsiteX48" fmla="*/ 8385 w 10000"/>
                <a:gd name="connsiteY48" fmla="*/ 7687 h 9707"/>
                <a:gd name="connsiteX49" fmla="*/ 7687 w 10000"/>
                <a:gd name="connsiteY49" fmla="*/ 7492 h 9707"/>
                <a:gd name="connsiteX50" fmla="*/ 7848 w 10000"/>
                <a:gd name="connsiteY50" fmla="*/ 7427 h 9707"/>
                <a:gd name="connsiteX51" fmla="*/ 7848 w 10000"/>
                <a:gd name="connsiteY51" fmla="*/ 7263 h 9707"/>
                <a:gd name="connsiteX52" fmla="*/ 8334 w 10000"/>
                <a:gd name="connsiteY52" fmla="*/ 7263 h 9707"/>
                <a:gd name="connsiteX53" fmla="*/ 8599 w 10000"/>
                <a:gd name="connsiteY53" fmla="*/ 7134 h 9707"/>
                <a:gd name="connsiteX54" fmla="*/ 8655 w 10000"/>
                <a:gd name="connsiteY54" fmla="*/ 6189 h 9707"/>
                <a:gd name="connsiteX55" fmla="*/ 8707 w 10000"/>
                <a:gd name="connsiteY55" fmla="*/ 6221 h 9707"/>
                <a:gd name="connsiteX56" fmla="*/ 8517 w 10000"/>
                <a:gd name="connsiteY56" fmla="*/ 6281 h 9707"/>
                <a:gd name="connsiteX57" fmla="*/ 8440 w 10000"/>
                <a:gd name="connsiteY57" fmla="*/ 6409 h 9707"/>
                <a:gd name="connsiteX58" fmla="*/ 7961 w 10000"/>
                <a:gd name="connsiteY58" fmla="*/ 6158 h 9707"/>
                <a:gd name="connsiteX59" fmla="*/ 7874 w 10000"/>
                <a:gd name="connsiteY59" fmla="*/ 5480 h 9707"/>
                <a:gd name="connsiteX60" fmla="*/ 7361 w 10000"/>
                <a:gd name="connsiteY60" fmla="*/ 5774 h 9707"/>
                <a:gd name="connsiteX61" fmla="*/ 7369 w 10000"/>
                <a:gd name="connsiteY61" fmla="*/ 6123 h 9707"/>
                <a:gd name="connsiteX62" fmla="*/ 6955 w 10000"/>
                <a:gd name="connsiteY62" fmla="*/ 6333 h 9707"/>
                <a:gd name="connsiteX63" fmla="*/ 9029 w 10000"/>
                <a:gd name="connsiteY63" fmla="*/ 0 h 9707"/>
                <a:gd name="connsiteX64" fmla="*/ 8599 w 10000"/>
                <a:gd name="connsiteY64" fmla="*/ 65 h 9707"/>
                <a:gd name="connsiteX65" fmla="*/ 8493 w 10000"/>
                <a:gd name="connsiteY65" fmla="*/ 293 h 9707"/>
                <a:gd name="connsiteX66" fmla="*/ 8116 w 10000"/>
                <a:gd name="connsiteY66" fmla="*/ 293 h 9707"/>
                <a:gd name="connsiteX67" fmla="*/ 7794 w 10000"/>
                <a:gd name="connsiteY67" fmla="*/ 195 h 9707"/>
                <a:gd name="connsiteX68" fmla="*/ 7096 w 10000"/>
                <a:gd name="connsiteY68" fmla="*/ 195 h 9707"/>
                <a:gd name="connsiteX69" fmla="*/ 6397 w 10000"/>
                <a:gd name="connsiteY69" fmla="*/ 195 h 9707"/>
                <a:gd name="connsiteX70" fmla="*/ 6452 w 10000"/>
                <a:gd name="connsiteY70" fmla="*/ 65 h 9707"/>
                <a:gd name="connsiteX71" fmla="*/ 6343 w 10000"/>
                <a:gd name="connsiteY71" fmla="*/ 65 h 9707"/>
                <a:gd name="connsiteX72" fmla="*/ 6290 w 10000"/>
                <a:gd name="connsiteY72" fmla="*/ 195 h 9707"/>
                <a:gd name="connsiteX73" fmla="*/ 5644 w 10000"/>
                <a:gd name="connsiteY73" fmla="*/ 195 h 9707"/>
                <a:gd name="connsiteX74" fmla="*/ 5002 w 10000"/>
                <a:gd name="connsiteY74" fmla="*/ 195 h 9707"/>
                <a:gd name="connsiteX75" fmla="*/ 4356 w 10000"/>
                <a:gd name="connsiteY75" fmla="*/ 195 h 9707"/>
                <a:gd name="connsiteX76" fmla="*/ 3709 w 10000"/>
                <a:gd name="connsiteY76" fmla="*/ 195 h 9707"/>
                <a:gd name="connsiteX77" fmla="*/ 3120 w 10000"/>
                <a:gd name="connsiteY77" fmla="*/ 195 h 9707"/>
                <a:gd name="connsiteX78" fmla="*/ 2475 w 10000"/>
                <a:gd name="connsiteY78" fmla="*/ 195 h 9707"/>
                <a:gd name="connsiteX79" fmla="*/ 1884 w 10000"/>
                <a:gd name="connsiteY79" fmla="*/ 195 h 9707"/>
                <a:gd name="connsiteX80" fmla="*/ 1237 w 10000"/>
                <a:gd name="connsiteY80" fmla="*/ 195 h 9707"/>
                <a:gd name="connsiteX81" fmla="*/ 1237 w 10000"/>
                <a:gd name="connsiteY81" fmla="*/ 651 h 9707"/>
                <a:gd name="connsiteX82" fmla="*/ 1237 w 10000"/>
                <a:gd name="connsiteY82" fmla="*/ 1238 h 9707"/>
                <a:gd name="connsiteX83" fmla="*/ 433 w 10000"/>
                <a:gd name="connsiteY83" fmla="*/ 1238 h 9707"/>
                <a:gd name="connsiteX84" fmla="*/ 433 w 10000"/>
                <a:gd name="connsiteY84" fmla="*/ 1498 h 9707"/>
                <a:gd name="connsiteX0" fmla="*/ 433 w 10000"/>
                <a:gd name="connsiteY0" fmla="*/ 1476 h 9933"/>
                <a:gd name="connsiteX1" fmla="*/ 6675 w 10000"/>
                <a:gd name="connsiteY1" fmla="*/ 6714 h 9933"/>
                <a:gd name="connsiteX2" fmla="*/ 6234 w 10000"/>
                <a:gd name="connsiteY2" fmla="*/ 6921 h 9933"/>
                <a:gd name="connsiteX3" fmla="*/ 5864 w 10000"/>
                <a:gd name="connsiteY3" fmla="*/ 6705 h 9933"/>
                <a:gd name="connsiteX4" fmla="*/ 5325 w 10000"/>
                <a:gd name="connsiteY4" fmla="*/ 6574 h 9933"/>
                <a:gd name="connsiteX5" fmla="*/ 5058 w 10000"/>
                <a:gd name="connsiteY5" fmla="*/ 6869 h 9933"/>
                <a:gd name="connsiteX6" fmla="*/ 4396 w 10000"/>
                <a:gd name="connsiteY6" fmla="*/ 7095 h 9933"/>
                <a:gd name="connsiteX7" fmla="*/ 3972 w 10000"/>
                <a:gd name="connsiteY7" fmla="*/ 7093 h 9933"/>
                <a:gd name="connsiteX8" fmla="*/ 3044 w 10000"/>
                <a:gd name="connsiteY8" fmla="*/ 6901 h 9933"/>
                <a:gd name="connsiteX9" fmla="*/ 2796 w 10000"/>
                <a:gd name="connsiteY9" fmla="*/ 7005 h 9933"/>
                <a:gd name="connsiteX10" fmla="*/ 2177 w 10000"/>
                <a:gd name="connsiteY10" fmla="*/ 6773 h 9933"/>
                <a:gd name="connsiteX11" fmla="*/ 1903 w 10000"/>
                <a:gd name="connsiteY11" fmla="*/ 6424 h 9933"/>
                <a:gd name="connsiteX12" fmla="*/ 1449 w 10000"/>
                <a:gd name="connsiteY12" fmla="*/ 6519 h 9933"/>
                <a:gd name="connsiteX13" fmla="*/ 1324 w 10000"/>
                <a:gd name="connsiteY13" fmla="*/ 6726 h 9933"/>
                <a:gd name="connsiteX14" fmla="*/ 845 w 10000"/>
                <a:gd name="connsiteY14" fmla="*/ 6814 h 9933"/>
                <a:gd name="connsiteX15" fmla="*/ 526 w 10000"/>
                <a:gd name="connsiteY15" fmla="*/ 6806 h 9933"/>
                <a:gd name="connsiteX16" fmla="*/ 354 w 10000"/>
                <a:gd name="connsiteY16" fmla="*/ 6970 h 9933"/>
                <a:gd name="connsiteX17" fmla="*/ 56 w 10000"/>
                <a:gd name="connsiteY17" fmla="*/ 6712 h 9933"/>
                <a:gd name="connsiteX18" fmla="*/ 0 w 10000"/>
                <a:gd name="connsiteY18" fmla="*/ 7181 h 9933"/>
                <a:gd name="connsiteX19" fmla="*/ 106 w 10000"/>
                <a:gd name="connsiteY19" fmla="*/ 7248 h 9933"/>
                <a:gd name="connsiteX20" fmla="*/ 538 w 10000"/>
                <a:gd name="connsiteY20" fmla="*/ 7282 h 9933"/>
                <a:gd name="connsiteX21" fmla="*/ 596 w 10000"/>
                <a:gd name="connsiteY21" fmla="*/ 7415 h 9933"/>
                <a:gd name="connsiteX22" fmla="*/ 1075 w 10000"/>
                <a:gd name="connsiteY22" fmla="*/ 7450 h 9933"/>
                <a:gd name="connsiteX23" fmla="*/ 1346 w 10000"/>
                <a:gd name="connsiteY23" fmla="*/ 7584 h 9933"/>
                <a:gd name="connsiteX24" fmla="*/ 1397 w 10000"/>
                <a:gd name="connsiteY24" fmla="*/ 7819 h 9933"/>
                <a:gd name="connsiteX25" fmla="*/ 2260 w 10000"/>
                <a:gd name="connsiteY25" fmla="*/ 8222 h 9933"/>
                <a:gd name="connsiteX26" fmla="*/ 2475 w 10000"/>
                <a:gd name="connsiteY26" fmla="*/ 8625 h 9933"/>
                <a:gd name="connsiteX27" fmla="*/ 3064 w 10000"/>
                <a:gd name="connsiteY27" fmla="*/ 8826 h 9933"/>
                <a:gd name="connsiteX28" fmla="*/ 3280 w 10000"/>
                <a:gd name="connsiteY28" fmla="*/ 9093 h 9933"/>
                <a:gd name="connsiteX29" fmla="*/ 3709 w 10000"/>
                <a:gd name="connsiteY29" fmla="*/ 9430 h 9933"/>
                <a:gd name="connsiteX30" fmla="*/ 4034 w 10000"/>
                <a:gd name="connsiteY30" fmla="*/ 9530 h 9933"/>
                <a:gd name="connsiteX31" fmla="*/ 4248 w 10000"/>
                <a:gd name="connsiteY31" fmla="*/ 9430 h 9933"/>
                <a:gd name="connsiteX32" fmla="*/ 4785 w 10000"/>
                <a:gd name="connsiteY32" fmla="*/ 9463 h 9933"/>
                <a:gd name="connsiteX33" fmla="*/ 5002 w 10000"/>
                <a:gd name="connsiteY33" fmla="*/ 9396 h 9933"/>
                <a:gd name="connsiteX34" fmla="*/ 5967 w 10000"/>
                <a:gd name="connsiteY34" fmla="*/ 9900 h 9933"/>
                <a:gd name="connsiteX35" fmla="*/ 6021 w 10000"/>
                <a:gd name="connsiteY35" fmla="*/ 9900 h 9933"/>
                <a:gd name="connsiteX36" fmla="*/ 6130 w 10000"/>
                <a:gd name="connsiteY36" fmla="*/ 9833 h 9933"/>
                <a:gd name="connsiteX37" fmla="*/ 6823 w 10000"/>
                <a:gd name="connsiteY37" fmla="*/ 9833 h 9933"/>
                <a:gd name="connsiteX38" fmla="*/ 6936 w 10000"/>
                <a:gd name="connsiteY38" fmla="*/ 9933 h 9933"/>
                <a:gd name="connsiteX39" fmla="*/ 7526 w 10000"/>
                <a:gd name="connsiteY39" fmla="*/ 9798 h 9933"/>
                <a:gd name="connsiteX40" fmla="*/ 8062 w 10000"/>
                <a:gd name="connsiteY40" fmla="*/ 9798 h 9933"/>
                <a:gd name="connsiteX41" fmla="*/ 8438 w 10000"/>
                <a:gd name="connsiteY41" fmla="*/ 9665 h 9933"/>
                <a:gd name="connsiteX42" fmla="*/ 8871 w 10000"/>
                <a:gd name="connsiteY42" fmla="*/ 9396 h 9933"/>
                <a:gd name="connsiteX43" fmla="*/ 10000 w 10000"/>
                <a:gd name="connsiteY43" fmla="*/ 9396 h 9933"/>
                <a:gd name="connsiteX44" fmla="*/ 10000 w 10000"/>
                <a:gd name="connsiteY44" fmla="*/ 9027 h 9933"/>
                <a:gd name="connsiteX45" fmla="*/ 9409 w 10000"/>
                <a:gd name="connsiteY45" fmla="*/ 8860 h 9933"/>
                <a:gd name="connsiteX46" fmla="*/ 9083 w 10000"/>
                <a:gd name="connsiteY46" fmla="*/ 8323 h 9933"/>
                <a:gd name="connsiteX47" fmla="*/ 8655 w 10000"/>
                <a:gd name="connsiteY47" fmla="*/ 8121 h 9933"/>
                <a:gd name="connsiteX48" fmla="*/ 8385 w 10000"/>
                <a:gd name="connsiteY48" fmla="*/ 7852 h 9933"/>
                <a:gd name="connsiteX49" fmla="*/ 7687 w 10000"/>
                <a:gd name="connsiteY49" fmla="*/ 7651 h 9933"/>
                <a:gd name="connsiteX50" fmla="*/ 7848 w 10000"/>
                <a:gd name="connsiteY50" fmla="*/ 7584 h 9933"/>
                <a:gd name="connsiteX51" fmla="*/ 7848 w 10000"/>
                <a:gd name="connsiteY51" fmla="*/ 7415 h 9933"/>
                <a:gd name="connsiteX52" fmla="*/ 8334 w 10000"/>
                <a:gd name="connsiteY52" fmla="*/ 7415 h 9933"/>
                <a:gd name="connsiteX53" fmla="*/ 8599 w 10000"/>
                <a:gd name="connsiteY53" fmla="*/ 7282 h 9933"/>
                <a:gd name="connsiteX54" fmla="*/ 8655 w 10000"/>
                <a:gd name="connsiteY54" fmla="*/ 6309 h 9933"/>
                <a:gd name="connsiteX55" fmla="*/ 8707 w 10000"/>
                <a:gd name="connsiteY55" fmla="*/ 6342 h 9933"/>
                <a:gd name="connsiteX56" fmla="*/ 8517 w 10000"/>
                <a:gd name="connsiteY56" fmla="*/ 6404 h 9933"/>
                <a:gd name="connsiteX57" fmla="*/ 8440 w 10000"/>
                <a:gd name="connsiteY57" fmla="*/ 6535 h 9933"/>
                <a:gd name="connsiteX58" fmla="*/ 7961 w 10000"/>
                <a:gd name="connsiteY58" fmla="*/ 6277 h 9933"/>
                <a:gd name="connsiteX59" fmla="*/ 7874 w 10000"/>
                <a:gd name="connsiteY59" fmla="*/ 5578 h 9933"/>
                <a:gd name="connsiteX60" fmla="*/ 7361 w 10000"/>
                <a:gd name="connsiteY60" fmla="*/ 5881 h 9933"/>
                <a:gd name="connsiteX61" fmla="*/ 7369 w 10000"/>
                <a:gd name="connsiteY61" fmla="*/ 6241 h 9933"/>
                <a:gd name="connsiteX62" fmla="*/ 6955 w 10000"/>
                <a:gd name="connsiteY62" fmla="*/ 6457 h 9933"/>
                <a:gd name="connsiteX63" fmla="*/ 8599 w 10000"/>
                <a:gd name="connsiteY63" fmla="*/ 0 h 9933"/>
                <a:gd name="connsiteX64" fmla="*/ 8493 w 10000"/>
                <a:gd name="connsiteY64" fmla="*/ 235 h 9933"/>
                <a:gd name="connsiteX65" fmla="*/ 8116 w 10000"/>
                <a:gd name="connsiteY65" fmla="*/ 235 h 9933"/>
                <a:gd name="connsiteX66" fmla="*/ 7794 w 10000"/>
                <a:gd name="connsiteY66" fmla="*/ 134 h 9933"/>
                <a:gd name="connsiteX67" fmla="*/ 7096 w 10000"/>
                <a:gd name="connsiteY67" fmla="*/ 134 h 9933"/>
                <a:gd name="connsiteX68" fmla="*/ 6397 w 10000"/>
                <a:gd name="connsiteY68" fmla="*/ 134 h 9933"/>
                <a:gd name="connsiteX69" fmla="*/ 6452 w 10000"/>
                <a:gd name="connsiteY69" fmla="*/ 0 h 9933"/>
                <a:gd name="connsiteX70" fmla="*/ 6343 w 10000"/>
                <a:gd name="connsiteY70" fmla="*/ 0 h 9933"/>
                <a:gd name="connsiteX71" fmla="*/ 6290 w 10000"/>
                <a:gd name="connsiteY71" fmla="*/ 134 h 9933"/>
                <a:gd name="connsiteX72" fmla="*/ 5644 w 10000"/>
                <a:gd name="connsiteY72" fmla="*/ 134 h 9933"/>
                <a:gd name="connsiteX73" fmla="*/ 5002 w 10000"/>
                <a:gd name="connsiteY73" fmla="*/ 134 h 9933"/>
                <a:gd name="connsiteX74" fmla="*/ 4356 w 10000"/>
                <a:gd name="connsiteY74" fmla="*/ 134 h 9933"/>
                <a:gd name="connsiteX75" fmla="*/ 3709 w 10000"/>
                <a:gd name="connsiteY75" fmla="*/ 134 h 9933"/>
                <a:gd name="connsiteX76" fmla="*/ 3120 w 10000"/>
                <a:gd name="connsiteY76" fmla="*/ 134 h 9933"/>
                <a:gd name="connsiteX77" fmla="*/ 2475 w 10000"/>
                <a:gd name="connsiteY77" fmla="*/ 134 h 9933"/>
                <a:gd name="connsiteX78" fmla="*/ 1884 w 10000"/>
                <a:gd name="connsiteY78" fmla="*/ 134 h 9933"/>
                <a:gd name="connsiteX79" fmla="*/ 1237 w 10000"/>
                <a:gd name="connsiteY79" fmla="*/ 134 h 9933"/>
                <a:gd name="connsiteX80" fmla="*/ 1237 w 10000"/>
                <a:gd name="connsiteY80" fmla="*/ 604 h 9933"/>
                <a:gd name="connsiteX81" fmla="*/ 1237 w 10000"/>
                <a:gd name="connsiteY81" fmla="*/ 1208 h 9933"/>
                <a:gd name="connsiteX82" fmla="*/ 433 w 10000"/>
                <a:gd name="connsiteY82" fmla="*/ 1208 h 9933"/>
                <a:gd name="connsiteX83" fmla="*/ 433 w 10000"/>
                <a:gd name="connsiteY83" fmla="*/ 1476 h 9933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8493 w 10000"/>
                <a:gd name="connsiteY63" fmla="*/ 237 h 10000"/>
                <a:gd name="connsiteX64" fmla="*/ 8116 w 10000"/>
                <a:gd name="connsiteY64" fmla="*/ 237 h 10000"/>
                <a:gd name="connsiteX65" fmla="*/ 7794 w 10000"/>
                <a:gd name="connsiteY65" fmla="*/ 135 h 10000"/>
                <a:gd name="connsiteX66" fmla="*/ 7096 w 10000"/>
                <a:gd name="connsiteY66" fmla="*/ 135 h 10000"/>
                <a:gd name="connsiteX67" fmla="*/ 6397 w 10000"/>
                <a:gd name="connsiteY67" fmla="*/ 135 h 10000"/>
                <a:gd name="connsiteX68" fmla="*/ 6452 w 10000"/>
                <a:gd name="connsiteY68" fmla="*/ 0 h 10000"/>
                <a:gd name="connsiteX69" fmla="*/ 6343 w 10000"/>
                <a:gd name="connsiteY69" fmla="*/ 0 h 10000"/>
                <a:gd name="connsiteX70" fmla="*/ 6290 w 10000"/>
                <a:gd name="connsiteY70" fmla="*/ 135 h 10000"/>
                <a:gd name="connsiteX71" fmla="*/ 5644 w 10000"/>
                <a:gd name="connsiteY71" fmla="*/ 135 h 10000"/>
                <a:gd name="connsiteX72" fmla="*/ 5002 w 10000"/>
                <a:gd name="connsiteY72" fmla="*/ 135 h 10000"/>
                <a:gd name="connsiteX73" fmla="*/ 4356 w 10000"/>
                <a:gd name="connsiteY73" fmla="*/ 135 h 10000"/>
                <a:gd name="connsiteX74" fmla="*/ 3709 w 10000"/>
                <a:gd name="connsiteY74" fmla="*/ 135 h 10000"/>
                <a:gd name="connsiteX75" fmla="*/ 3120 w 10000"/>
                <a:gd name="connsiteY75" fmla="*/ 135 h 10000"/>
                <a:gd name="connsiteX76" fmla="*/ 2475 w 10000"/>
                <a:gd name="connsiteY76" fmla="*/ 135 h 10000"/>
                <a:gd name="connsiteX77" fmla="*/ 1884 w 10000"/>
                <a:gd name="connsiteY77" fmla="*/ 135 h 10000"/>
                <a:gd name="connsiteX78" fmla="*/ 1237 w 10000"/>
                <a:gd name="connsiteY78" fmla="*/ 135 h 10000"/>
                <a:gd name="connsiteX79" fmla="*/ 1237 w 10000"/>
                <a:gd name="connsiteY79" fmla="*/ 608 h 10000"/>
                <a:gd name="connsiteX80" fmla="*/ 1237 w 10000"/>
                <a:gd name="connsiteY80" fmla="*/ 1216 h 10000"/>
                <a:gd name="connsiteX81" fmla="*/ 433 w 10000"/>
                <a:gd name="connsiteY81" fmla="*/ 1216 h 10000"/>
                <a:gd name="connsiteX82" fmla="*/ 433 w 10000"/>
                <a:gd name="connsiteY82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8116 w 10000"/>
                <a:gd name="connsiteY63" fmla="*/ 237 h 10000"/>
                <a:gd name="connsiteX64" fmla="*/ 7794 w 10000"/>
                <a:gd name="connsiteY64" fmla="*/ 135 h 10000"/>
                <a:gd name="connsiteX65" fmla="*/ 7096 w 10000"/>
                <a:gd name="connsiteY65" fmla="*/ 135 h 10000"/>
                <a:gd name="connsiteX66" fmla="*/ 6397 w 10000"/>
                <a:gd name="connsiteY66" fmla="*/ 135 h 10000"/>
                <a:gd name="connsiteX67" fmla="*/ 6452 w 10000"/>
                <a:gd name="connsiteY67" fmla="*/ 0 h 10000"/>
                <a:gd name="connsiteX68" fmla="*/ 6343 w 10000"/>
                <a:gd name="connsiteY68" fmla="*/ 0 h 10000"/>
                <a:gd name="connsiteX69" fmla="*/ 6290 w 10000"/>
                <a:gd name="connsiteY69" fmla="*/ 135 h 10000"/>
                <a:gd name="connsiteX70" fmla="*/ 5644 w 10000"/>
                <a:gd name="connsiteY70" fmla="*/ 135 h 10000"/>
                <a:gd name="connsiteX71" fmla="*/ 5002 w 10000"/>
                <a:gd name="connsiteY71" fmla="*/ 135 h 10000"/>
                <a:gd name="connsiteX72" fmla="*/ 4356 w 10000"/>
                <a:gd name="connsiteY72" fmla="*/ 135 h 10000"/>
                <a:gd name="connsiteX73" fmla="*/ 3709 w 10000"/>
                <a:gd name="connsiteY73" fmla="*/ 135 h 10000"/>
                <a:gd name="connsiteX74" fmla="*/ 3120 w 10000"/>
                <a:gd name="connsiteY74" fmla="*/ 135 h 10000"/>
                <a:gd name="connsiteX75" fmla="*/ 2475 w 10000"/>
                <a:gd name="connsiteY75" fmla="*/ 135 h 10000"/>
                <a:gd name="connsiteX76" fmla="*/ 1884 w 10000"/>
                <a:gd name="connsiteY76" fmla="*/ 135 h 10000"/>
                <a:gd name="connsiteX77" fmla="*/ 1237 w 10000"/>
                <a:gd name="connsiteY77" fmla="*/ 135 h 10000"/>
                <a:gd name="connsiteX78" fmla="*/ 1237 w 10000"/>
                <a:gd name="connsiteY78" fmla="*/ 608 h 10000"/>
                <a:gd name="connsiteX79" fmla="*/ 1237 w 10000"/>
                <a:gd name="connsiteY79" fmla="*/ 1216 h 10000"/>
                <a:gd name="connsiteX80" fmla="*/ 433 w 10000"/>
                <a:gd name="connsiteY80" fmla="*/ 1216 h 10000"/>
                <a:gd name="connsiteX81" fmla="*/ 433 w 10000"/>
                <a:gd name="connsiteY81" fmla="*/ 1486 h 10000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7794 w 10000"/>
                <a:gd name="connsiteY63" fmla="*/ 1061 h 10926"/>
                <a:gd name="connsiteX64" fmla="*/ 7096 w 10000"/>
                <a:gd name="connsiteY64" fmla="*/ 1061 h 10926"/>
                <a:gd name="connsiteX65" fmla="*/ 6397 w 10000"/>
                <a:gd name="connsiteY65" fmla="*/ 1061 h 10926"/>
                <a:gd name="connsiteX66" fmla="*/ 6452 w 10000"/>
                <a:gd name="connsiteY66" fmla="*/ 926 h 10926"/>
                <a:gd name="connsiteX67" fmla="*/ 6343 w 10000"/>
                <a:gd name="connsiteY67" fmla="*/ 926 h 10926"/>
                <a:gd name="connsiteX68" fmla="*/ 6290 w 10000"/>
                <a:gd name="connsiteY68" fmla="*/ 1061 h 10926"/>
                <a:gd name="connsiteX69" fmla="*/ 5644 w 10000"/>
                <a:gd name="connsiteY69" fmla="*/ 1061 h 10926"/>
                <a:gd name="connsiteX70" fmla="*/ 5002 w 10000"/>
                <a:gd name="connsiteY70" fmla="*/ 1061 h 10926"/>
                <a:gd name="connsiteX71" fmla="*/ 4356 w 10000"/>
                <a:gd name="connsiteY71" fmla="*/ 1061 h 10926"/>
                <a:gd name="connsiteX72" fmla="*/ 3709 w 10000"/>
                <a:gd name="connsiteY72" fmla="*/ 1061 h 10926"/>
                <a:gd name="connsiteX73" fmla="*/ 3120 w 10000"/>
                <a:gd name="connsiteY73" fmla="*/ 1061 h 10926"/>
                <a:gd name="connsiteX74" fmla="*/ 2475 w 10000"/>
                <a:gd name="connsiteY74" fmla="*/ 1061 h 10926"/>
                <a:gd name="connsiteX75" fmla="*/ 1884 w 10000"/>
                <a:gd name="connsiteY75" fmla="*/ 1061 h 10926"/>
                <a:gd name="connsiteX76" fmla="*/ 1237 w 10000"/>
                <a:gd name="connsiteY76" fmla="*/ 1061 h 10926"/>
                <a:gd name="connsiteX77" fmla="*/ 1237 w 10000"/>
                <a:gd name="connsiteY77" fmla="*/ 1534 h 10926"/>
                <a:gd name="connsiteX78" fmla="*/ 1237 w 10000"/>
                <a:gd name="connsiteY78" fmla="*/ 2142 h 10926"/>
                <a:gd name="connsiteX79" fmla="*/ 433 w 10000"/>
                <a:gd name="connsiteY79" fmla="*/ 2142 h 10926"/>
                <a:gd name="connsiteX80" fmla="*/ 433 w 10000"/>
                <a:gd name="connsiteY80" fmla="*/ 2412 h 10926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7096 w 10000"/>
                <a:gd name="connsiteY63" fmla="*/ 135 h 10000"/>
                <a:gd name="connsiteX64" fmla="*/ 6397 w 10000"/>
                <a:gd name="connsiteY64" fmla="*/ 135 h 10000"/>
                <a:gd name="connsiteX65" fmla="*/ 6452 w 10000"/>
                <a:gd name="connsiteY65" fmla="*/ 0 h 10000"/>
                <a:gd name="connsiteX66" fmla="*/ 6343 w 10000"/>
                <a:gd name="connsiteY66" fmla="*/ 0 h 10000"/>
                <a:gd name="connsiteX67" fmla="*/ 6290 w 10000"/>
                <a:gd name="connsiteY67" fmla="*/ 135 h 10000"/>
                <a:gd name="connsiteX68" fmla="*/ 5644 w 10000"/>
                <a:gd name="connsiteY68" fmla="*/ 135 h 10000"/>
                <a:gd name="connsiteX69" fmla="*/ 5002 w 10000"/>
                <a:gd name="connsiteY69" fmla="*/ 135 h 10000"/>
                <a:gd name="connsiteX70" fmla="*/ 4356 w 10000"/>
                <a:gd name="connsiteY70" fmla="*/ 135 h 10000"/>
                <a:gd name="connsiteX71" fmla="*/ 3709 w 10000"/>
                <a:gd name="connsiteY71" fmla="*/ 135 h 10000"/>
                <a:gd name="connsiteX72" fmla="*/ 3120 w 10000"/>
                <a:gd name="connsiteY72" fmla="*/ 135 h 10000"/>
                <a:gd name="connsiteX73" fmla="*/ 2475 w 10000"/>
                <a:gd name="connsiteY73" fmla="*/ 135 h 10000"/>
                <a:gd name="connsiteX74" fmla="*/ 1884 w 10000"/>
                <a:gd name="connsiteY74" fmla="*/ 135 h 10000"/>
                <a:gd name="connsiteX75" fmla="*/ 1237 w 10000"/>
                <a:gd name="connsiteY75" fmla="*/ 135 h 10000"/>
                <a:gd name="connsiteX76" fmla="*/ 1237 w 10000"/>
                <a:gd name="connsiteY76" fmla="*/ 608 h 10000"/>
                <a:gd name="connsiteX77" fmla="*/ 1237 w 10000"/>
                <a:gd name="connsiteY77" fmla="*/ 1216 h 10000"/>
                <a:gd name="connsiteX78" fmla="*/ 433 w 10000"/>
                <a:gd name="connsiteY78" fmla="*/ 1216 h 10000"/>
                <a:gd name="connsiteX79" fmla="*/ 433 w 10000"/>
                <a:gd name="connsiteY79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397 w 10000"/>
                <a:gd name="connsiteY63" fmla="*/ 135 h 10000"/>
                <a:gd name="connsiteX64" fmla="*/ 6452 w 10000"/>
                <a:gd name="connsiteY64" fmla="*/ 0 h 10000"/>
                <a:gd name="connsiteX65" fmla="*/ 6343 w 10000"/>
                <a:gd name="connsiteY65" fmla="*/ 0 h 10000"/>
                <a:gd name="connsiteX66" fmla="*/ 6290 w 10000"/>
                <a:gd name="connsiteY66" fmla="*/ 135 h 10000"/>
                <a:gd name="connsiteX67" fmla="*/ 5644 w 10000"/>
                <a:gd name="connsiteY67" fmla="*/ 135 h 10000"/>
                <a:gd name="connsiteX68" fmla="*/ 5002 w 10000"/>
                <a:gd name="connsiteY68" fmla="*/ 135 h 10000"/>
                <a:gd name="connsiteX69" fmla="*/ 4356 w 10000"/>
                <a:gd name="connsiteY69" fmla="*/ 135 h 10000"/>
                <a:gd name="connsiteX70" fmla="*/ 3709 w 10000"/>
                <a:gd name="connsiteY70" fmla="*/ 135 h 10000"/>
                <a:gd name="connsiteX71" fmla="*/ 3120 w 10000"/>
                <a:gd name="connsiteY71" fmla="*/ 135 h 10000"/>
                <a:gd name="connsiteX72" fmla="*/ 2475 w 10000"/>
                <a:gd name="connsiteY72" fmla="*/ 135 h 10000"/>
                <a:gd name="connsiteX73" fmla="*/ 1884 w 10000"/>
                <a:gd name="connsiteY73" fmla="*/ 135 h 10000"/>
                <a:gd name="connsiteX74" fmla="*/ 1237 w 10000"/>
                <a:gd name="connsiteY74" fmla="*/ 135 h 10000"/>
                <a:gd name="connsiteX75" fmla="*/ 1237 w 10000"/>
                <a:gd name="connsiteY75" fmla="*/ 608 h 10000"/>
                <a:gd name="connsiteX76" fmla="*/ 1237 w 10000"/>
                <a:gd name="connsiteY76" fmla="*/ 1216 h 10000"/>
                <a:gd name="connsiteX77" fmla="*/ 433 w 10000"/>
                <a:gd name="connsiteY77" fmla="*/ 1216 h 10000"/>
                <a:gd name="connsiteX78" fmla="*/ 433 w 10000"/>
                <a:gd name="connsiteY78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6343 w 10000"/>
                <a:gd name="connsiteY64" fmla="*/ 0 h 10000"/>
                <a:gd name="connsiteX65" fmla="*/ 6290 w 10000"/>
                <a:gd name="connsiteY65" fmla="*/ 135 h 10000"/>
                <a:gd name="connsiteX66" fmla="*/ 5644 w 10000"/>
                <a:gd name="connsiteY66" fmla="*/ 135 h 10000"/>
                <a:gd name="connsiteX67" fmla="*/ 5002 w 10000"/>
                <a:gd name="connsiteY67" fmla="*/ 135 h 10000"/>
                <a:gd name="connsiteX68" fmla="*/ 4356 w 10000"/>
                <a:gd name="connsiteY68" fmla="*/ 135 h 10000"/>
                <a:gd name="connsiteX69" fmla="*/ 3709 w 10000"/>
                <a:gd name="connsiteY69" fmla="*/ 135 h 10000"/>
                <a:gd name="connsiteX70" fmla="*/ 3120 w 10000"/>
                <a:gd name="connsiteY70" fmla="*/ 135 h 10000"/>
                <a:gd name="connsiteX71" fmla="*/ 2475 w 10000"/>
                <a:gd name="connsiteY71" fmla="*/ 135 h 10000"/>
                <a:gd name="connsiteX72" fmla="*/ 1884 w 10000"/>
                <a:gd name="connsiteY72" fmla="*/ 135 h 10000"/>
                <a:gd name="connsiteX73" fmla="*/ 1237 w 10000"/>
                <a:gd name="connsiteY73" fmla="*/ 135 h 10000"/>
                <a:gd name="connsiteX74" fmla="*/ 1237 w 10000"/>
                <a:gd name="connsiteY74" fmla="*/ 608 h 10000"/>
                <a:gd name="connsiteX75" fmla="*/ 1237 w 10000"/>
                <a:gd name="connsiteY75" fmla="*/ 1216 h 10000"/>
                <a:gd name="connsiteX76" fmla="*/ 433 w 10000"/>
                <a:gd name="connsiteY76" fmla="*/ 1216 h 10000"/>
                <a:gd name="connsiteX77" fmla="*/ 433 w 10000"/>
                <a:gd name="connsiteY77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6343 w 10000"/>
                <a:gd name="connsiteY64" fmla="*/ 0 h 10000"/>
                <a:gd name="connsiteX65" fmla="*/ 5644 w 10000"/>
                <a:gd name="connsiteY65" fmla="*/ 135 h 10000"/>
                <a:gd name="connsiteX66" fmla="*/ 5002 w 10000"/>
                <a:gd name="connsiteY66" fmla="*/ 135 h 10000"/>
                <a:gd name="connsiteX67" fmla="*/ 4356 w 10000"/>
                <a:gd name="connsiteY67" fmla="*/ 135 h 10000"/>
                <a:gd name="connsiteX68" fmla="*/ 3709 w 10000"/>
                <a:gd name="connsiteY68" fmla="*/ 135 h 10000"/>
                <a:gd name="connsiteX69" fmla="*/ 3120 w 10000"/>
                <a:gd name="connsiteY69" fmla="*/ 135 h 10000"/>
                <a:gd name="connsiteX70" fmla="*/ 2475 w 10000"/>
                <a:gd name="connsiteY70" fmla="*/ 135 h 10000"/>
                <a:gd name="connsiteX71" fmla="*/ 1884 w 10000"/>
                <a:gd name="connsiteY71" fmla="*/ 135 h 10000"/>
                <a:gd name="connsiteX72" fmla="*/ 1237 w 10000"/>
                <a:gd name="connsiteY72" fmla="*/ 135 h 10000"/>
                <a:gd name="connsiteX73" fmla="*/ 1237 w 10000"/>
                <a:gd name="connsiteY73" fmla="*/ 608 h 10000"/>
                <a:gd name="connsiteX74" fmla="*/ 1237 w 10000"/>
                <a:gd name="connsiteY74" fmla="*/ 1216 h 10000"/>
                <a:gd name="connsiteX75" fmla="*/ 433 w 10000"/>
                <a:gd name="connsiteY75" fmla="*/ 1216 h 10000"/>
                <a:gd name="connsiteX76" fmla="*/ 433 w 10000"/>
                <a:gd name="connsiteY76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5644 w 10000"/>
                <a:gd name="connsiteY64" fmla="*/ 135 h 10000"/>
                <a:gd name="connsiteX65" fmla="*/ 5002 w 10000"/>
                <a:gd name="connsiteY65" fmla="*/ 135 h 10000"/>
                <a:gd name="connsiteX66" fmla="*/ 4356 w 10000"/>
                <a:gd name="connsiteY66" fmla="*/ 135 h 10000"/>
                <a:gd name="connsiteX67" fmla="*/ 3709 w 10000"/>
                <a:gd name="connsiteY67" fmla="*/ 135 h 10000"/>
                <a:gd name="connsiteX68" fmla="*/ 3120 w 10000"/>
                <a:gd name="connsiteY68" fmla="*/ 135 h 10000"/>
                <a:gd name="connsiteX69" fmla="*/ 2475 w 10000"/>
                <a:gd name="connsiteY69" fmla="*/ 135 h 10000"/>
                <a:gd name="connsiteX70" fmla="*/ 1884 w 10000"/>
                <a:gd name="connsiteY70" fmla="*/ 135 h 10000"/>
                <a:gd name="connsiteX71" fmla="*/ 1237 w 10000"/>
                <a:gd name="connsiteY71" fmla="*/ 135 h 10000"/>
                <a:gd name="connsiteX72" fmla="*/ 1237 w 10000"/>
                <a:gd name="connsiteY72" fmla="*/ 608 h 10000"/>
                <a:gd name="connsiteX73" fmla="*/ 1237 w 10000"/>
                <a:gd name="connsiteY73" fmla="*/ 1216 h 10000"/>
                <a:gd name="connsiteX74" fmla="*/ 433 w 10000"/>
                <a:gd name="connsiteY74" fmla="*/ 1216 h 10000"/>
                <a:gd name="connsiteX75" fmla="*/ 433 w 10000"/>
                <a:gd name="connsiteY75" fmla="*/ 1486 h 10000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5644 w 10000"/>
                <a:gd name="connsiteY63" fmla="*/ 1061 h 10926"/>
                <a:gd name="connsiteX64" fmla="*/ 5002 w 10000"/>
                <a:gd name="connsiteY64" fmla="*/ 1061 h 10926"/>
                <a:gd name="connsiteX65" fmla="*/ 4356 w 10000"/>
                <a:gd name="connsiteY65" fmla="*/ 1061 h 10926"/>
                <a:gd name="connsiteX66" fmla="*/ 3709 w 10000"/>
                <a:gd name="connsiteY66" fmla="*/ 1061 h 10926"/>
                <a:gd name="connsiteX67" fmla="*/ 3120 w 10000"/>
                <a:gd name="connsiteY67" fmla="*/ 1061 h 10926"/>
                <a:gd name="connsiteX68" fmla="*/ 2475 w 10000"/>
                <a:gd name="connsiteY68" fmla="*/ 1061 h 10926"/>
                <a:gd name="connsiteX69" fmla="*/ 1884 w 10000"/>
                <a:gd name="connsiteY69" fmla="*/ 1061 h 10926"/>
                <a:gd name="connsiteX70" fmla="*/ 1237 w 10000"/>
                <a:gd name="connsiteY70" fmla="*/ 1061 h 10926"/>
                <a:gd name="connsiteX71" fmla="*/ 1237 w 10000"/>
                <a:gd name="connsiteY71" fmla="*/ 1534 h 10926"/>
                <a:gd name="connsiteX72" fmla="*/ 1237 w 10000"/>
                <a:gd name="connsiteY72" fmla="*/ 2142 h 10926"/>
                <a:gd name="connsiteX73" fmla="*/ 433 w 10000"/>
                <a:gd name="connsiteY73" fmla="*/ 2142 h 10926"/>
                <a:gd name="connsiteX74" fmla="*/ 433 w 10000"/>
                <a:gd name="connsiteY74" fmla="*/ 2412 h 10926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5002 w 10000"/>
                <a:gd name="connsiteY63" fmla="*/ 1061 h 10926"/>
                <a:gd name="connsiteX64" fmla="*/ 4356 w 10000"/>
                <a:gd name="connsiteY64" fmla="*/ 1061 h 10926"/>
                <a:gd name="connsiteX65" fmla="*/ 3709 w 10000"/>
                <a:gd name="connsiteY65" fmla="*/ 1061 h 10926"/>
                <a:gd name="connsiteX66" fmla="*/ 3120 w 10000"/>
                <a:gd name="connsiteY66" fmla="*/ 1061 h 10926"/>
                <a:gd name="connsiteX67" fmla="*/ 2475 w 10000"/>
                <a:gd name="connsiteY67" fmla="*/ 1061 h 10926"/>
                <a:gd name="connsiteX68" fmla="*/ 1884 w 10000"/>
                <a:gd name="connsiteY68" fmla="*/ 1061 h 10926"/>
                <a:gd name="connsiteX69" fmla="*/ 1237 w 10000"/>
                <a:gd name="connsiteY69" fmla="*/ 1061 h 10926"/>
                <a:gd name="connsiteX70" fmla="*/ 1237 w 10000"/>
                <a:gd name="connsiteY70" fmla="*/ 1534 h 10926"/>
                <a:gd name="connsiteX71" fmla="*/ 1237 w 10000"/>
                <a:gd name="connsiteY71" fmla="*/ 2142 h 10926"/>
                <a:gd name="connsiteX72" fmla="*/ 433 w 10000"/>
                <a:gd name="connsiteY72" fmla="*/ 2142 h 10926"/>
                <a:gd name="connsiteX73" fmla="*/ 433 w 10000"/>
                <a:gd name="connsiteY73" fmla="*/ 2412 h 10926"/>
                <a:gd name="connsiteX0" fmla="*/ 433 w 10000"/>
                <a:gd name="connsiteY0" fmla="*/ 1351 h 9865"/>
                <a:gd name="connsiteX1" fmla="*/ 6675 w 10000"/>
                <a:gd name="connsiteY1" fmla="*/ 6624 h 9865"/>
                <a:gd name="connsiteX2" fmla="*/ 6234 w 10000"/>
                <a:gd name="connsiteY2" fmla="*/ 6833 h 9865"/>
                <a:gd name="connsiteX3" fmla="*/ 5864 w 10000"/>
                <a:gd name="connsiteY3" fmla="*/ 6615 h 9865"/>
                <a:gd name="connsiteX4" fmla="*/ 5325 w 10000"/>
                <a:gd name="connsiteY4" fmla="*/ 6483 h 9865"/>
                <a:gd name="connsiteX5" fmla="*/ 5058 w 10000"/>
                <a:gd name="connsiteY5" fmla="*/ 6780 h 9865"/>
                <a:gd name="connsiteX6" fmla="*/ 4396 w 10000"/>
                <a:gd name="connsiteY6" fmla="*/ 7008 h 9865"/>
                <a:gd name="connsiteX7" fmla="*/ 3972 w 10000"/>
                <a:gd name="connsiteY7" fmla="*/ 7006 h 9865"/>
                <a:gd name="connsiteX8" fmla="*/ 3044 w 10000"/>
                <a:gd name="connsiteY8" fmla="*/ 6813 h 9865"/>
                <a:gd name="connsiteX9" fmla="*/ 2796 w 10000"/>
                <a:gd name="connsiteY9" fmla="*/ 6917 h 9865"/>
                <a:gd name="connsiteX10" fmla="*/ 2177 w 10000"/>
                <a:gd name="connsiteY10" fmla="*/ 6684 h 9865"/>
                <a:gd name="connsiteX11" fmla="*/ 1903 w 10000"/>
                <a:gd name="connsiteY11" fmla="*/ 6332 h 9865"/>
                <a:gd name="connsiteX12" fmla="*/ 1449 w 10000"/>
                <a:gd name="connsiteY12" fmla="*/ 6428 h 9865"/>
                <a:gd name="connsiteX13" fmla="*/ 1324 w 10000"/>
                <a:gd name="connsiteY13" fmla="*/ 6636 h 9865"/>
                <a:gd name="connsiteX14" fmla="*/ 845 w 10000"/>
                <a:gd name="connsiteY14" fmla="*/ 6725 h 9865"/>
                <a:gd name="connsiteX15" fmla="*/ 526 w 10000"/>
                <a:gd name="connsiteY15" fmla="*/ 6717 h 9865"/>
                <a:gd name="connsiteX16" fmla="*/ 354 w 10000"/>
                <a:gd name="connsiteY16" fmla="*/ 6882 h 9865"/>
                <a:gd name="connsiteX17" fmla="*/ 56 w 10000"/>
                <a:gd name="connsiteY17" fmla="*/ 6622 h 9865"/>
                <a:gd name="connsiteX18" fmla="*/ 0 w 10000"/>
                <a:gd name="connsiteY18" fmla="*/ 7094 h 9865"/>
                <a:gd name="connsiteX19" fmla="*/ 106 w 10000"/>
                <a:gd name="connsiteY19" fmla="*/ 7162 h 9865"/>
                <a:gd name="connsiteX20" fmla="*/ 538 w 10000"/>
                <a:gd name="connsiteY20" fmla="*/ 7196 h 9865"/>
                <a:gd name="connsiteX21" fmla="*/ 596 w 10000"/>
                <a:gd name="connsiteY21" fmla="*/ 7330 h 9865"/>
                <a:gd name="connsiteX22" fmla="*/ 1075 w 10000"/>
                <a:gd name="connsiteY22" fmla="*/ 7365 h 9865"/>
                <a:gd name="connsiteX23" fmla="*/ 1346 w 10000"/>
                <a:gd name="connsiteY23" fmla="*/ 7500 h 9865"/>
                <a:gd name="connsiteX24" fmla="*/ 1397 w 10000"/>
                <a:gd name="connsiteY24" fmla="*/ 7737 h 9865"/>
                <a:gd name="connsiteX25" fmla="*/ 2260 w 10000"/>
                <a:gd name="connsiteY25" fmla="*/ 8142 h 9865"/>
                <a:gd name="connsiteX26" fmla="*/ 2475 w 10000"/>
                <a:gd name="connsiteY26" fmla="*/ 8548 h 9865"/>
                <a:gd name="connsiteX27" fmla="*/ 3064 w 10000"/>
                <a:gd name="connsiteY27" fmla="*/ 8751 h 9865"/>
                <a:gd name="connsiteX28" fmla="*/ 3280 w 10000"/>
                <a:gd name="connsiteY28" fmla="*/ 9019 h 9865"/>
                <a:gd name="connsiteX29" fmla="*/ 3709 w 10000"/>
                <a:gd name="connsiteY29" fmla="*/ 9359 h 9865"/>
                <a:gd name="connsiteX30" fmla="*/ 4034 w 10000"/>
                <a:gd name="connsiteY30" fmla="*/ 9459 h 9865"/>
                <a:gd name="connsiteX31" fmla="*/ 4248 w 10000"/>
                <a:gd name="connsiteY31" fmla="*/ 9359 h 9865"/>
                <a:gd name="connsiteX32" fmla="*/ 4785 w 10000"/>
                <a:gd name="connsiteY32" fmla="*/ 9392 h 9865"/>
                <a:gd name="connsiteX33" fmla="*/ 5002 w 10000"/>
                <a:gd name="connsiteY33" fmla="*/ 9324 h 9865"/>
                <a:gd name="connsiteX34" fmla="*/ 5967 w 10000"/>
                <a:gd name="connsiteY34" fmla="*/ 9832 h 9865"/>
                <a:gd name="connsiteX35" fmla="*/ 6021 w 10000"/>
                <a:gd name="connsiteY35" fmla="*/ 9832 h 9865"/>
                <a:gd name="connsiteX36" fmla="*/ 6130 w 10000"/>
                <a:gd name="connsiteY36" fmla="*/ 9764 h 9865"/>
                <a:gd name="connsiteX37" fmla="*/ 6823 w 10000"/>
                <a:gd name="connsiteY37" fmla="*/ 9764 h 9865"/>
                <a:gd name="connsiteX38" fmla="*/ 6936 w 10000"/>
                <a:gd name="connsiteY38" fmla="*/ 9865 h 9865"/>
                <a:gd name="connsiteX39" fmla="*/ 7526 w 10000"/>
                <a:gd name="connsiteY39" fmla="*/ 9729 h 9865"/>
                <a:gd name="connsiteX40" fmla="*/ 8062 w 10000"/>
                <a:gd name="connsiteY40" fmla="*/ 9729 h 9865"/>
                <a:gd name="connsiteX41" fmla="*/ 8438 w 10000"/>
                <a:gd name="connsiteY41" fmla="*/ 9595 h 9865"/>
                <a:gd name="connsiteX42" fmla="*/ 8871 w 10000"/>
                <a:gd name="connsiteY42" fmla="*/ 9324 h 9865"/>
                <a:gd name="connsiteX43" fmla="*/ 10000 w 10000"/>
                <a:gd name="connsiteY43" fmla="*/ 9324 h 9865"/>
                <a:gd name="connsiteX44" fmla="*/ 10000 w 10000"/>
                <a:gd name="connsiteY44" fmla="*/ 8953 h 9865"/>
                <a:gd name="connsiteX45" fmla="*/ 9409 w 10000"/>
                <a:gd name="connsiteY45" fmla="*/ 8785 h 9865"/>
                <a:gd name="connsiteX46" fmla="*/ 9083 w 10000"/>
                <a:gd name="connsiteY46" fmla="*/ 8244 h 9865"/>
                <a:gd name="connsiteX47" fmla="*/ 8655 w 10000"/>
                <a:gd name="connsiteY47" fmla="*/ 8041 h 9865"/>
                <a:gd name="connsiteX48" fmla="*/ 8385 w 10000"/>
                <a:gd name="connsiteY48" fmla="*/ 7770 h 9865"/>
                <a:gd name="connsiteX49" fmla="*/ 7687 w 10000"/>
                <a:gd name="connsiteY49" fmla="*/ 7568 h 9865"/>
                <a:gd name="connsiteX50" fmla="*/ 7848 w 10000"/>
                <a:gd name="connsiteY50" fmla="*/ 7500 h 9865"/>
                <a:gd name="connsiteX51" fmla="*/ 7848 w 10000"/>
                <a:gd name="connsiteY51" fmla="*/ 7330 h 9865"/>
                <a:gd name="connsiteX52" fmla="*/ 8334 w 10000"/>
                <a:gd name="connsiteY52" fmla="*/ 7330 h 9865"/>
                <a:gd name="connsiteX53" fmla="*/ 8599 w 10000"/>
                <a:gd name="connsiteY53" fmla="*/ 7196 h 9865"/>
                <a:gd name="connsiteX54" fmla="*/ 8655 w 10000"/>
                <a:gd name="connsiteY54" fmla="*/ 6217 h 9865"/>
                <a:gd name="connsiteX55" fmla="*/ 8707 w 10000"/>
                <a:gd name="connsiteY55" fmla="*/ 6250 h 9865"/>
                <a:gd name="connsiteX56" fmla="*/ 8517 w 10000"/>
                <a:gd name="connsiteY56" fmla="*/ 6312 h 9865"/>
                <a:gd name="connsiteX57" fmla="*/ 8440 w 10000"/>
                <a:gd name="connsiteY57" fmla="*/ 6444 h 9865"/>
                <a:gd name="connsiteX58" fmla="*/ 7961 w 10000"/>
                <a:gd name="connsiteY58" fmla="*/ 6184 h 9865"/>
                <a:gd name="connsiteX59" fmla="*/ 7874 w 10000"/>
                <a:gd name="connsiteY59" fmla="*/ 5481 h 9865"/>
                <a:gd name="connsiteX60" fmla="*/ 7361 w 10000"/>
                <a:gd name="connsiteY60" fmla="*/ 5786 h 9865"/>
                <a:gd name="connsiteX61" fmla="*/ 7369 w 10000"/>
                <a:gd name="connsiteY61" fmla="*/ 6148 h 9865"/>
                <a:gd name="connsiteX62" fmla="*/ 6955 w 10000"/>
                <a:gd name="connsiteY62" fmla="*/ 6366 h 9865"/>
                <a:gd name="connsiteX63" fmla="*/ 4356 w 10000"/>
                <a:gd name="connsiteY63" fmla="*/ 0 h 9865"/>
                <a:gd name="connsiteX64" fmla="*/ 3709 w 10000"/>
                <a:gd name="connsiteY64" fmla="*/ 0 h 9865"/>
                <a:gd name="connsiteX65" fmla="*/ 3120 w 10000"/>
                <a:gd name="connsiteY65" fmla="*/ 0 h 9865"/>
                <a:gd name="connsiteX66" fmla="*/ 2475 w 10000"/>
                <a:gd name="connsiteY66" fmla="*/ 0 h 9865"/>
                <a:gd name="connsiteX67" fmla="*/ 1884 w 10000"/>
                <a:gd name="connsiteY67" fmla="*/ 0 h 9865"/>
                <a:gd name="connsiteX68" fmla="*/ 1237 w 10000"/>
                <a:gd name="connsiteY68" fmla="*/ 0 h 9865"/>
                <a:gd name="connsiteX69" fmla="*/ 1237 w 10000"/>
                <a:gd name="connsiteY69" fmla="*/ 473 h 9865"/>
                <a:gd name="connsiteX70" fmla="*/ 1237 w 10000"/>
                <a:gd name="connsiteY70" fmla="*/ 1081 h 9865"/>
                <a:gd name="connsiteX71" fmla="*/ 433 w 10000"/>
                <a:gd name="connsiteY71" fmla="*/ 1081 h 9865"/>
                <a:gd name="connsiteX72" fmla="*/ 433 w 10000"/>
                <a:gd name="connsiteY72" fmla="*/ 1351 h 9865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3709 w 10000"/>
                <a:gd name="connsiteY63" fmla="*/ 0 h 10000"/>
                <a:gd name="connsiteX64" fmla="*/ 3120 w 10000"/>
                <a:gd name="connsiteY64" fmla="*/ 0 h 10000"/>
                <a:gd name="connsiteX65" fmla="*/ 2475 w 10000"/>
                <a:gd name="connsiteY65" fmla="*/ 0 h 10000"/>
                <a:gd name="connsiteX66" fmla="*/ 1884 w 10000"/>
                <a:gd name="connsiteY66" fmla="*/ 0 h 10000"/>
                <a:gd name="connsiteX67" fmla="*/ 1237 w 10000"/>
                <a:gd name="connsiteY67" fmla="*/ 0 h 10000"/>
                <a:gd name="connsiteX68" fmla="*/ 1237 w 10000"/>
                <a:gd name="connsiteY68" fmla="*/ 479 h 10000"/>
                <a:gd name="connsiteX69" fmla="*/ 1237 w 10000"/>
                <a:gd name="connsiteY69" fmla="*/ 1096 h 10000"/>
                <a:gd name="connsiteX70" fmla="*/ 433 w 10000"/>
                <a:gd name="connsiteY70" fmla="*/ 1096 h 10000"/>
                <a:gd name="connsiteX71" fmla="*/ 433 w 10000"/>
                <a:gd name="connsiteY71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3120 w 10000"/>
                <a:gd name="connsiteY63" fmla="*/ 0 h 10000"/>
                <a:gd name="connsiteX64" fmla="*/ 2475 w 10000"/>
                <a:gd name="connsiteY64" fmla="*/ 0 h 10000"/>
                <a:gd name="connsiteX65" fmla="*/ 1884 w 10000"/>
                <a:gd name="connsiteY65" fmla="*/ 0 h 10000"/>
                <a:gd name="connsiteX66" fmla="*/ 1237 w 10000"/>
                <a:gd name="connsiteY66" fmla="*/ 0 h 10000"/>
                <a:gd name="connsiteX67" fmla="*/ 1237 w 10000"/>
                <a:gd name="connsiteY67" fmla="*/ 479 h 10000"/>
                <a:gd name="connsiteX68" fmla="*/ 1237 w 10000"/>
                <a:gd name="connsiteY68" fmla="*/ 1096 h 10000"/>
                <a:gd name="connsiteX69" fmla="*/ 433 w 10000"/>
                <a:gd name="connsiteY69" fmla="*/ 1096 h 10000"/>
                <a:gd name="connsiteX70" fmla="*/ 433 w 10000"/>
                <a:gd name="connsiteY70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2475 w 10000"/>
                <a:gd name="connsiteY63" fmla="*/ 0 h 10000"/>
                <a:gd name="connsiteX64" fmla="*/ 1884 w 10000"/>
                <a:gd name="connsiteY64" fmla="*/ 0 h 10000"/>
                <a:gd name="connsiteX65" fmla="*/ 1237 w 10000"/>
                <a:gd name="connsiteY65" fmla="*/ 0 h 10000"/>
                <a:gd name="connsiteX66" fmla="*/ 1237 w 10000"/>
                <a:gd name="connsiteY66" fmla="*/ 479 h 10000"/>
                <a:gd name="connsiteX67" fmla="*/ 1237 w 10000"/>
                <a:gd name="connsiteY67" fmla="*/ 1096 h 10000"/>
                <a:gd name="connsiteX68" fmla="*/ 433 w 10000"/>
                <a:gd name="connsiteY68" fmla="*/ 1096 h 10000"/>
                <a:gd name="connsiteX69" fmla="*/ 433 w 10000"/>
                <a:gd name="connsiteY69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1884 w 10000"/>
                <a:gd name="connsiteY63" fmla="*/ 0 h 10000"/>
                <a:gd name="connsiteX64" fmla="*/ 1237 w 10000"/>
                <a:gd name="connsiteY64" fmla="*/ 0 h 10000"/>
                <a:gd name="connsiteX65" fmla="*/ 1237 w 10000"/>
                <a:gd name="connsiteY65" fmla="*/ 479 h 10000"/>
                <a:gd name="connsiteX66" fmla="*/ 1237 w 10000"/>
                <a:gd name="connsiteY66" fmla="*/ 1096 h 10000"/>
                <a:gd name="connsiteX67" fmla="*/ 433 w 10000"/>
                <a:gd name="connsiteY67" fmla="*/ 1096 h 10000"/>
                <a:gd name="connsiteX68" fmla="*/ 433 w 10000"/>
                <a:gd name="connsiteY68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1237 w 10000"/>
                <a:gd name="connsiteY63" fmla="*/ 0 h 10000"/>
                <a:gd name="connsiteX64" fmla="*/ 1237 w 10000"/>
                <a:gd name="connsiteY64" fmla="*/ 479 h 10000"/>
                <a:gd name="connsiteX65" fmla="*/ 1237 w 10000"/>
                <a:gd name="connsiteY65" fmla="*/ 1096 h 10000"/>
                <a:gd name="connsiteX66" fmla="*/ 433 w 10000"/>
                <a:gd name="connsiteY66" fmla="*/ 1096 h 10000"/>
                <a:gd name="connsiteX67" fmla="*/ 433 w 10000"/>
                <a:gd name="connsiteY67" fmla="*/ 1369 h 10000"/>
                <a:gd name="connsiteX0" fmla="*/ 433 w 10000"/>
                <a:gd name="connsiteY0" fmla="*/ 890 h 9521"/>
                <a:gd name="connsiteX1" fmla="*/ 6675 w 10000"/>
                <a:gd name="connsiteY1" fmla="*/ 6236 h 9521"/>
                <a:gd name="connsiteX2" fmla="*/ 6234 w 10000"/>
                <a:gd name="connsiteY2" fmla="*/ 6448 h 9521"/>
                <a:gd name="connsiteX3" fmla="*/ 5864 w 10000"/>
                <a:gd name="connsiteY3" fmla="*/ 6227 h 9521"/>
                <a:gd name="connsiteX4" fmla="*/ 5325 w 10000"/>
                <a:gd name="connsiteY4" fmla="*/ 6093 h 9521"/>
                <a:gd name="connsiteX5" fmla="*/ 5058 w 10000"/>
                <a:gd name="connsiteY5" fmla="*/ 6394 h 9521"/>
                <a:gd name="connsiteX6" fmla="*/ 4396 w 10000"/>
                <a:gd name="connsiteY6" fmla="*/ 6625 h 9521"/>
                <a:gd name="connsiteX7" fmla="*/ 3972 w 10000"/>
                <a:gd name="connsiteY7" fmla="*/ 6623 h 9521"/>
                <a:gd name="connsiteX8" fmla="*/ 3044 w 10000"/>
                <a:gd name="connsiteY8" fmla="*/ 6427 h 9521"/>
                <a:gd name="connsiteX9" fmla="*/ 2796 w 10000"/>
                <a:gd name="connsiteY9" fmla="*/ 6533 h 9521"/>
                <a:gd name="connsiteX10" fmla="*/ 2177 w 10000"/>
                <a:gd name="connsiteY10" fmla="*/ 6296 h 9521"/>
                <a:gd name="connsiteX11" fmla="*/ 1903 w 10000"/>
                <a:gd name="connsiteY11" fmla="*/ 5940 h 9521"/>
                <a:gd name="connsiteX12" fmla="*/ 1449 w 10000"/>
                <a:gd name="connsiteY12" fmla="*/ 6037 h 9521"/>
                <a:gd name="connsiteX13" fmla="*/ 1324 w 10000"/>
                <a:gd name="connsiteY13" fmla="*/ 6248 h 9521"/>
                <a:gd name="connsiteX14" fmla="*/ 845 w 10000"/>
                <a:gd name="connsiteY14" fmla="*/ 6338 h 9521"/>
                <a:gd name="connsiteX15" fmla="*/ 526 w 10000"/>
                <a:gd name="connsiteY15" fmla="*/ 6330 h 9521"/>
                <a:gd name="connsiteX16" fmla="*/ 354 w 10000"/>
                <a:gd name="connsiteY16" fmla="*/ 6497 h 9521"/>
                <a:gd name="connsiteX17" fmla="*/ 56 w 10000"/>
                <a:gd name="connsiteY17" fmla="*/ 6234 h 9521"/>
                <a:gd name="connsiteX18" fmla="*/ 0 w 10000"/>
                <a:gd name="connsiteY18" fmla="*/ 6712 h 9521"/>
                <a:gd name="connsiteX19" fmla="*/ 106 w 10000"/>
                <a:gd name="connsiteY19" fmla="*/ 6781 h 9521"/>
                <a:gd name="connsiteX20" fmla="*/ 538 w 10000"/>
                <a:gd name="connsiteY20" fmla="*/ 6815 h 9521"/>
                <a:gd name="connsiteX21" fmla="*/ 596 w 10000"/>
                <a:gd name="connsiteY21" fmla="*/ 6951 h 9521"/>
                <a:gd name="connsiteX22" fmla="*/ 1075 w 10000"/>
                <a:gd name="connsiteY22" fmla="*/ 6987 h 9521"/>
                <a:gd name="connsiteX23" fmla="*/ 1346 w 10000"/>
                <a:gd name="connsiteY23" fmla="*/ 7124 h 9521"/>
                <a:gd name="connsiteX24" fmla="*/ 1397 w 10000"/>
                <a:gd name="connsiteY24" fmla="*/ 7364 h 9521"/>
                <a:gd name="connsiteX25" fmla="*/ 2260 w 10000"/>
                <a:gd name="connsiteY25" fmla="*/ 7774 h 9521"/>
                <a:gd name="connsiteX26" fmla="*/ 2475 w 10000"/>
                <a:gd name="connsiteY26" fmla="*/ 8186 h 9521"/>
                <a:gd name="connsiteX27" fmla="*/ 3064 w 10000"/>
                <a:gd name="connsiteY27" fmla="*/ 8392 h 9521"/>
                <a:gd name="connsiteX28" fmla="*/ 3280 w 10000"/>
                <a:gd name="connsiteY28" fmla="*/ 8663 h 9521"/>
                <a:gd name="connsiteX29" fmla="*/ 3709 w 10000"/>
                <a:gd name="connsiteY29" fmla="*/ 9008 h 9521"/>
                <a:gd name="connsiteX30" fmla="*/ 4034 w 10000"/>
                <a:gd name="connsiteY30" fmla="*/ 9109 h 9521"/>
                <a:gd name="connsiteX31" fmla="*/ 4248 w 10000"/>
                <a:gd name="connsiteY31" fmla="*/ 9008 h 9521"/>
                <a:gd name="connsiteX32" fmla="*/ 4785 w 10000"/>
                <a:gd name="connsiteY32" fmla="*/ 9042 h 9521"/>
                <a:gd name="connsiteX33" fmla="*/ 5002 w 10000"/>
                <a:gd name="connsiteY33" fmla="*/ 8973 h 9521"/>
                <a:gd name="connsiteX34" fmla="*/ 5967 w 10000"/>
                <a:gd name="connsiteY34" fmla="*/ 9488 h 9521"/>
                <a:gd name="connsiteX35" fmla="*/ 6021 w 10000"/>
                <a:gd name="connsiteY35" fmla="*/ 9488 h 9521"/>
                <a:gd name="connsiteX36" fmla="*/ 6130 w 10000"/>
                <a:gd name="connsiteY36" fmla="*/ 9419 h 9521"/>
                <a:gd name="connsiteX37" fmla="*/ 6823 w 10000"/>
                <a:gd name="connsiteY37" fmla="*/ 9419 h 9521"/>
                <a:gd name="connsiteX38" fmla="*/ 6936 w 10000"/>
                <a:gd name="connsiteY38" fmla="*/ 9521 h 9521"/>
                <a:gd name="connsiteX39" fmla="*/ 7526 w 10000"/>
                <a:gd name="connsiteY39" fmla="*/ 9383 h 9521"/>
                <a:gd name="connsiteX40" fmla="*/ 8062 w 10000"/>
                <a:gd name="connsiteY40" fmla="*/ 9383 h 9521"/>
                <a:gd name="connsiteX41" fmla="*/ 8438 w 10000"/>
                <a:gd name="connsiteY41" fmla="*/ 9247 h 9521"/>
                <a:gd name="connsiteX42" fmla="*/ 8871 w 10000"/>
                <a:gd name="connsiteY42" fmla="*/ 8973 h 9521"/>
                <a:gd name="connsiteX43" fmla="*/ 10000 w 10000"/>
                <a:gd name="connsiteY43" fmla="*/ 8973 h 9521"/>
                <a:gd name="connsiteX44" fmla="*/ 10000 w 10000"/>
                <a:gd name="connsiteY44" fmla="*/ 8597 h 9521"/>
                <a:gd name="connsiteX45" fmla="*/ 9409 w 10000"/>
                <a:gd name="connsiteY45" fmla="*/ 8426 h 9521"/>
                <a:gd name="connsiteX46" fmla="*/ 9083 w 10000"/>
                <a:gd name="connsiteY46" fmla="*/ 7878 h 9521"/>
                <a:gd name="connsiteX47" fmla="*/ 8655 w 10000"/>
                <a:gd name="connsiteY47" fmla="*/ 7672 h 9521"/>
                <a:gd name="connsiteX48" fmla="*/ 8385 w 10000"/>
                <a:gd name="connsiteY48" fmla="*/ 7397 h 9521"/>
                <a:gd name="connsiteX49" fmla="*/ 7687 w 10000"/>
                <a:gd name="connsiteY49" fmla="*/ 7193 h 9521"/>
                <a:gd name="connsiteX50" fmla="*/ 7848 w 10000"/>
                <a:gd name="connsiteY50" fmla="*/ 7124 h 9521"/>
                <a:gd name="connsiteX51" fmla="*/ 7848 w 10000"/>
                <a:gd name="connsiteY51" fmla="*/ 6951 h 9521"/>
                <a:gd name="connsiteX52" fmla="*/ 8334 w 10000"/>
                <a:gd name="connsiteY52" fmla="*/ 6951 h 9521"/>
                <a:gd name="connsiteX53" fmla="*/ 8599 w 10000"/>
                <a:gd name="connsiteY53" fmla="*/ 6815 h 9521"/>
                <a:gd name="connsiteX54" fmla="*/ 8655 w 10000"/>
                <a:gd name="connsiteY54" fmla="*/ 5823 h 9521"/>
                <a:gd name="connsiteX55" fmla="*/ 8707 w 10000"/>
                <a:gd name="connsiteY55" fmla="*/ 5857 h 9521"/>
                <a:gd name="connsiteX56" fmla="*/ 8517 w 10000"/>
                <a:gd name="connsiteY56" fmla="*/ 5919 h 9521"/>
                <a:gd name="connsiteX57" fmla="*/ 8440 w 10000"/>
                <a:gd name="connsiteY57" fmla="*/ 6053 h 9521"/>
                <a:gd name="connsiteX58" fmla="*/ 7961 w 10000"/>
                <a:gd name="connsiteY58" fmla="*/ 5790 h 9521"/>
                <a:gd name="connsiteX59" fmla="*/ 7874 w 10000"/>
                <a:gd name="connsiteY59" fmla="*/ 5077 h 9521"/>
                <a:gd name="connsiteX60" fmla="*/ 7361 w 10000"/>
                <a:gd name="connsiteY60" fmla="*/ 5386 h 9521"/>
                <a:gd name="connsiteX61" fmla="*/ 7369 w 10000"/>
                <a:gd name="connsiteY61" fmla="*/ 5753 h 9521"/>
                <a:gd name="connsiteX62" fmla="*/ 6955 w 10000"/>
                <a:gd name="connsiteY62" fmla="*/ 5974 h 9521"/>
                <a:gd name="connsiteX63" fmla="*/ 1237 w 10000"/>
                <a:gd name="connsiteY63" fmla="*/ 0 h 9521"/>
                <a:gd name="connsiteX64" fmla="*/ 1237 w 10000"/>
                <a:gd name="connsiteY64" fmla="*/ 617 h 9521"/>
                <a:gd name="connsiteX65" fmla="*/ 433 w 10000"/>
                <a:gd name="connsiteY65" fmla="*/ 617 h 9521"/>
                <a:gd name="connsiteX66" fmla="*/ 433 w 10000"/>
                <a:gd name="connsiteY66" fmla="*/ 890 h 9521"/>
                <a:gd name="connsiteX0" fmla="*/ 433 w 10000"/>
                <a:gd name="connsiteY0" fmla="*/ 287 h 9352"/>
                <a:gd name="connsiteX1" fmla="*/ 6675 w 10000"/>
                <a:gd name="connsiteY1" fmla="*/ 5902 h 9352"/>
                <a:gd name="connsiteX2" fmla="*/ 6234 w 10000"/>
                <a:gd name="connsiteY2" fmla="*/ 6124 h 9352"/>
                <a:gd name="connsiteX3" fmla="*/ 5864 w 10000"/>
                <a:gd name="connsiteY3" fmla="*/ 5892 h 9352"/>
                <a:gd name="connsiteX4" fmla="*/ 5325 w 10000"/>
                <a:gd name="connsiteY4" fmla="*/ 5752 h 9352"/>
                <a:gd name="connsiteX5" fmla="*/ 5058 w 10000"/>
                <a:gd name="connsiteY5" fmla="*/ 6068 h 9352"/>
                <a:gd name="connsiteX6" fmla="*/ 4396 w 10000"/>
                <a:gd name="connsiteY6" fmla="*/ 6310 h 9352"/>
                <a:gd name="connsiteX7" fmla="*/ 3972 w 10000"/>
                <a:gd name="connsiteY7" fmla="*/ 6308 h 9352"/>
                <a:gd name="connsiteX8" fmla="*/ 3044 w 10000"/>
                <a:gd name="connsiteY8" fmla="*/ 6102 h 9352"/>
                <a:gd name="connsiteX9" fmla="*/ 2796 w 10000"/>
                <a:gd name="connsiteY9" fmla="*/ 6214 h 9352"/>
                <a:gd name="connsiteX10" fmla="*/ 2177 w 10000"/>
                <a:gd name="connsiteY10" fmla="*/ 5965 h 9352"/>
                <a:gd name="connsiteX11" fmla="*/ 1903 w 10000"/>
                <a:gd name="connsiteY11" fmla="*/ 5591 h 9352"/>
                <a:gd name="connsiteX12" fmla="*/ 1449 w 10000"/>
                <a:gd name="connsiteY12" fmla="*/ 5693 h 9352"/>
                <a:gd name="connsiteX13" fmla="*/ 1324 w 10000"/>
                <a:gd name="connsiteY13" fmla="*/ 5914 h 9352"/>
                <a:gd name="connsiteX14" fmla="*/ 845 w 10000"/>
                <a:gd name="connsiteY14" fmla="*/ 6009 h 9352"/>
                <a:gd name="connsiteX15" fmla="*/ 526 w 10000"/>
                <a:gd name="connsiteY15" fmla="*/ 6000 h 9352"/>
                <a:gd name="connsiteX16" fmla="*/ 354 w 10000"/>
                <a:gd name="connsiteY16" fmla="*/ 6176 h 9352"/>
                <a:gd name="connsiteX17" fmla="*/ 56 w 10000"/>
                <a:gd name="connsiteY17" fmla="*/ 5900 h 9352"/>
                <a:gd name="connsiteX18" fmla="*/ 0 w 10000"/>
                <a:gd name="connsiteY18" fmla="*/ 6402 h 9352"/>
                <a:gd name="connsiteX19" fmla="*/ 106 w 10000"/>
                <a:gd name="connsiteY19" fmla="*/ 6474 h 9352"/>
                <a:gd name="connsiteX20" fmla="*/ 538 w 10000"/>
                <a:gd name="connsiteY20" fmla="*/ 6510 h 9352"/>
                <a:gd name="connsiteX21" fmla="*/ 596 w 10000"/>
                <a:gd name="connsiteY21" fmla="*/ 6653 h 9352"/>
                <a:gd name="connsiteX22" fmla="*/ 1075 w 10000"/>
                <a:gd name="connsiteY22" fmla="*/ 6691 h 9352"/>
                <a:gd name="connsiteX23" fmla="*/ 1346 w 10000"/>
                <a:gd name="connsiteY23" fmla="*/ 6834 h 9352"/>
                <a:gd name="connsiteX24" fmla="*/ 1397 w 10000"/>
                <a:gd name="connsiteY24" fmla="*/ 7086 h 9352"/>
                <a:gd name="connsiteX25" fmla="*/ 2260 w 10000"/>
                <a:gd name="connsiteY25" fmla="*/ 7517 h 9352"/>
                <a:gd name="connsiteX26" fmla="*/ 2475 w 10000"/>
                <a:gd name="connsiteY26" fmla="*/ 7950 h 9352"/>
                <a:gd name="connsiteX27" fmla="*/ 3064 w 10000"/>
                <a:gd name="connsiteY27" fmla="*/ 8166 h 9352"/>
                <a:gd name="connsiteX28" fmla="*/ 3280 w 10000"/>
                <a:gd name="connsiteY28" fmla="*/ 8451 h 9352"/>
                <a:gd name="connsiteX29" fmla="*/ 3709 w 10000"/>
                <a:gd name="connsiteY29" fmla="*/ 8813 h 9352"/>
                <a:gd name="connsiteX30" fmla="*/ 4034 w 10000"/>
                <a:gd name="connsiteY30" fmla="*/ 8919 h 9352"/>
                <a:gd name="connsiteX31" fmla="*/ 4248 w 10000"/>
                <a:gd name="connsiteY31" fmla="*/ 8813 h 9352"/>
                <a:gd name="connsiteX32" fmla="*/ 4785 w 10000"/>
                <a:gd name="connsiteY32" fmla="*/ 8849 h 9352"/>
                <a:gd name="connsiteX33" fmla="*/ 5002 w 10000"/>
                <a:gd name="connsiteY33" fmla="*/ 8776 h 9352"/>
                <a:gd name="connsiteX34" fmla="*/ 5967 w 10000"/>
                <a:gd name="connsiteY34" fmla="*/ 9317 h 9352"/>
                <a:gd name="connsiteX35" fmla="*/ 6021 w 10000"/>
                <a:gd name="connsiteY35" fmla="*/ 9317 h 9352"/>
                <a:gd name="connsiteX36" fmla="*/ 6130 w 10000"/>
                <a:gd name="connsiteY36" fmla="*/ 9245 h 9352"/>
                <a:gd name="connsiteX37" fmla="*/ 6823 w 10000"/>
                <a:gd name="connsiteY37" fmla="*/ 9245 h 9352"/>
                <a:gd name="connsiteX38" fmla="*/ 6936 w 10000"/>
                <a:gd name="connsiteY38" fmla="*/ 9352 h 9352"/>
                <a:gd name="connsiteX39" fmla="*/ 7526 w 10000"/>
                <a:gd name="connsiteY39" fmla="*/ 9207 h 9352"/>
                <a:gd name="connsiteX40" fmla="*/ 8062 w 10000"/>
                <a:gd name="connsiteY40" fmla="*/ 9207 h 9352"/>
                <a:gd name="connsiteX41" fmla="*/ 8438 w 10000"/>
                <a:gd name="connsiteY41" fmla="*/ 9064 h 9352"/>
                <a:gd name="connsiteX42" fmla="*/ 8871 w 10000"/>
                <a:gd name="connsiteY42" fmla="*/ 8776 h 9352"/>
                <a:gd name="connsiteX43" fmla="*/ 10000 w 10000"/>
                <a:gd name="connsiteY43" fmla="*/ 8776 h 9352"/>
                <a:gd name="connsiteX44" fmla="*/ 10000 w 10000"/>
                <a:gd name="connsiteY44" fmla="*/ 8382 h 9352"/>
                <a:gd name="connsiteX45" fmla="*/ 9409 w 10000"/>
                <a:gd name="connsiteY45" fmla="*/ 8202 h 9352"/>
                <a:gd name="connsiteX46" fmla="*/ 9083 w 10000"/>
                <a:gd name="connsiteY46" fmla="*/ 7626 h 9352"/>
                <a:gd name="connsiteX47" fmla="*/ 8655 w 10000"/>
                <a:gd name="connsiteY47" fmla="*/ 7410 h 9352"/>
                <a:gd name="connsiteX48" fmla="*/ 8385 w 10000"/>
                <a:gd name="connsiteY48" fmla="*/ 7121 h 9352"/>
                <a:gd name="connsiteX49" fmla="*/ 7687 w 10000"/>
                <a:gd name="connsiteY49" fmla="*/ 6907 h 9352"/>
                <a:gd name="connsiteX50" fmla="*/ 7848 w 10000"/>
                <a:gd name="connsiteY50" fmla="*/ 6834 h 9352"/>
                <a:gd name="connsiteX51" fmla="*/ 7848 w 10000"/>
                <a:gd name="connsiteY51" fmla="*/ 6653 h 9352"/>
                <a:gd name="connsiteX52" fmla="*/ 8334 w 10000"/>
                <a:gd name="connsiteY52" fmla="*/ 6653 h 9352"/>
                <a:gd name="connsiteX53" fmla="*/ 8599 w 10000"/>
                <a:gd name="connsiteY53" fmla="*/ 6510 h 9352"/>
                <a:gd name="connsiteX54" fmla="*/ 8655 w 10000"/>
                <a:gd name="connsiteY54" fmla="*/ 5468 h 9352"/>
                <a:gd name="connsiteX55" fmla="*/ 8707 w 10000"/>
                <a:gd name="connsiteY55" fmla="*/ 5504 h 9352"/>
                <a:gd name="connsiteX56" fmla="*/ 8517 w 10000"/>
                <a:gd name="connsiteY56" fmla="*/ 5569 h 9352"/>
                <a:gd name="connsiteX57" fmla="*/ 8440 w 10000"/>
                <a:gd name="connsiteY57" fmla="*/ 5710 h 9352"/>
                <a:gd name="connsiteX58" fmla="*/ 7961 w 10000"/>
                <a:gd name="connsiteY58" fmla="*/ 5433 h 9352"/>
                <a:gd name="connsiteX59" fmla="*/ 7874 w 10000"/>
                <a:gd name="connsiteY59" fmla="*/ 4684 h 9352"/>
                <a:gd name="connsiteX60" fmla="*/ 7361 w 10000"/>
                <a:gd name="connsiteY60" fmla="*/ 5009 h 9352"/>
                <a:gd name="connsiteX61" fmla="*/ 7369 w 10000"/>
                <a:gd name="connsiteY61" fmla="*/ 5394 h 9352"/>
                <a:gd name="connsiteX62" fmla="*/ 6955 w 10000"/>
                <a:gd name="connsiteY62" fmla="*/ 5627 h 9352"/>
                <a:gd name="connsiteX63" fmla="*/ 1237 w 10000"/>
                <a:gd name="connsiteY63" fmla="*/ 0 h 9352"/>
                <a:gd name="connsiteX64" fmla="*/ 433 w 10000"/>
                <a:gd name="connsiteY64" fmla="*/ 0 h 9352"/>
                <a:gd name="connsiteX65" fmla="*/ 433 w 10000"/>
                <a:gd name="connsiteY65" fmla="*/ 287 h 9352"/>
                <a:gd name="connsiteX0" fmla="*/ 433 w 10000"/>
                <a:gd name="connsiteY0" fmla="*/ 307 h 10000"/>
                <a:gd name="connsiteX1" fmla="*/ 6675 w 10000"/>
                <a:gd name="connsiteY1" fmla="*/ 6311 h 10000"/>
                <a:gd name="connsiteX2" fmla="*/ 6234 w 10000"/>
                <a:gd name="connsiteY2" fmla="*/ 6548 h 10000"/>
                <a:gd name="connsiteX3" fmla="*/ 5864 w 10000"/>
                <a:gd name="connsiteY3" fmla="*/ 6300 h 10000"/>
                <a:gd name="connsiteX4" fmla="*/ 5325 w 10000"/>
                <a:gd name="connsiteY4" fmla="*/ 6151 h 10000"/>
                <a:gd name="connsiteX5" fmla="*/ 5058 w 10000"/>
                <a:gd name="connsiteY5" fmla="*/ 6488 h 10000"/>
                <a:gd name="connsiteX6" fmla="*/ 4396 w 10000"/>
                <a:gd name="connsiteY6" fmla="*/ 6747 h 10000"/>
                <a:gd name="connsiteX7" fmla="*/ 3972 w 10000"/>
                <a:gd name="connsiteY7" fmla="*/ 6745 h 10000"/>
                <a:gd name="connsiteX8" fmla="*/ 3044 w 10000"/>
                <a:gd name="connsiteY8" fmla="*/ 6525 h 10000"/>
                <a:gd name="connsiteX9" fmla="*/ 2796 w 10000"/>
                <a:gd name="connsiteY9" fmla="*/ 6645 h 10000"/>
                <a:gd name="connsiteX10" fmla="*/ 2177 w 10000"/>
                <a:gd name="connsiteY10" fmla="*/ 6378 h 10000"/>
                <a:gd name="connsiteX11" fmla="*/ 1903 w 10000"/>
                <a:gd name="connsiteY11" fmla="*/ 5978 h 10000"/>
                <a:gd name="connsiteX12" fmla="*/ 1449 w 10000"/>
                <a:gd name="connsiteY12" fmla="*/ 6087 h 10000"/>
                <a:gd name="connsiteX13" fmla="*/ 1324 w 10000"/>
                <a:gd name="connsiteY13" fmla="*/ 6324 h 10000"/>
                <a:gd name="connsiteX14" fmla="*/ 845 w 10000"/>
                <a:gd name="connsiteY14" fmla="*/ 6425 h 10000"/>
                <a:gd name="connsiteX15" fmla="*/ 526 w 10000"/>
                <a:gd name="connsiteY15" fmla="*/ 6416 h 10000"/>
                <a:gd name="connsiteX16" fmla="*/ 354 w 10000"/>
                <a:gd name="connsiteY16" fmla="*/ 6604 h 10000"/>
                <a:gd name="connsiteX17" fmla="*/ 56 w 10000"/>
                <a:gd name="connsiteY17" fmla="*/ 6309 h 10000"/>
                <a:gd name="connsiteX18" fmla="*/ 0 w 10000"/>
                <a:gd name="connsiteY18" fmla="*/ 6846 h 10000"/>
                <a:gd name="connsiteX19" fmla="*/ 106 w 10000"/>
                <a:gd name="connsiteY19" fmla="*/ 6923 h 10000"/>
                <a:gd name="connsiteX20" fmla="*/ 538 w 10000"/>
                <a:gd name="connsiteY20" fmla="*/ 6961 h 10000"/>
                <a:gd name="connsiteX21" fmla="*/ 596 w 10000"/>
                <a:gd name="connsiteY21" fmla="*/ 7114 h 10000"/>
                <a:gd name="connsiteX22" fmla="*/ 1075 w 10000"/>
                <a:gd name="connsiteY22" fmla="*/ 7155 h 10000"/>
                <a:gd name="connsiteX23" fmla="*/ 1346 w 10000"/>
                <a:gd name="connsiteY23" fmla="*/ 7308 h 10000"/>
                <a:gd name="connsiteX24" fmla="*/ 1397 w 10000"/>
                <a:gd name="connsiteY24" fmla="*/ 7577 h 10000"/>
                <a:gd name="connsiteX25" fmla="*/ 2260 w 10000"/>
                <a:gd name="connsiteY25" fmla="*/ 8038 h 10000"/>
                <a:gd name="connsiteX26" fmla="*/ 2475 w 10000"/>
                <a:gd name="connsiteY26" fmla="*/ 8501 h 10000"/>
                <a:gd name="connsiteX27" fmla="*/ 3064 w 10000"/>
                <a:gd name="connsiteY27" fmla="*/ 8732 h 10000"/>
                <a:gd name="connsiteX28" fmla="*/ 3280 w 10000"/>
                <a:gd name="connsiteY28" fmla="*/ 9037 h 10000"/>
                <a:gd name="connsiteX29" fmla="*/ 3709 w 10000"/>
                <a:gd name="connsiteY29" fmla="*/ 9424 h 10000"/>
                <a:gd name="connsiteX30" fmla="*/ 4034 w 10000"/>
                <a:gd name="connsiteY30" fmla="*/ 9537 h 10000"/>
                <a:gd name="connsiteX31" fmla="*/ 4248 w 10000"/>
                <a:gd name="connsiteY31" fmla="*/ 9424 h 10000"/>
                <a:gd name="connsiteX32" fmla="*/ 4785 w 10000"/>
                <a:gd name="connsiteY32" fmla="*/ 9462 h 10000"/>
                <a:gd name="connsiteX33" fmla="*/ 5002 w 10000"/>
                <a:gd name="connsiteY33" fmla="*/ 9384 h 10000"/>
                <a:gd name="connsiteX34" fmla="*/ 5967 w 10000"/>
                <a:gd name="connsiteY34" fmla="*/ 9963 h 10000"/>
                <a:gd name="connsiteX35" fmla="*/ 6021 w 10000"/>
                <a:gd name="connsiteY35" fmla="*/ 9963 h 10000"/>
                <a:gd name="connsiteX36" fmla="*/ 6130 w 10000"/>
                <a:gd name="connsiteY36" fmla="*/ 9886 h 10000"/>
                <a:gd name="connsiteX37" fmla="*/ 6823 w 10000"/>
                <a:gd name="connsiteY37" fmla="*/ 9886 h 10000"/>
                <a:gd name="connsiteX38" fmla="*/ 6936 w 10000"/>
                <a:gd name="connsiteY38" fmla="*/ 10000 h 10000"/>
                <a:gd name="connsiteX39" fmla="*/ 7526 w 10000"/>
                <a:gd name="connsiteY39" fmla="*/ 9845 h 10000"/>
                <a:gd name="connsiteX40" fmla="*/ 8062 w 10000"/>
                <a:gd name="connsiteY40" fmla="*/ 9845 h 10000"/>
                <a:gd name="connsiteX41" fmla="*/ 8438 w 10000"/>
                <a:gd name="connsiteY41" fmla="*/ 9692 h 10000"/>
                <a:gd name="connsiteX42" fmla="*/ 8871 w 10000"/>
                <a:gd name="connsiteY42" fmla="*/ 9384 h 10000"/>
                <a:gd name="connsiteX43" fmla="*/ 10000 w 10000"/>
                <a:gd name="connsiteY43" fmla="*/ 9384 h 10000"/>
                <a:gd name="connsiteX44" fmla="*/ 10000 w 10000"/>
                <a:gd name="connsiteY44" fmla="*/ 8963 h 10000"/>
                <a:gd name="connsiteX45" fmla="*/ 9409 w 10000"/>
                <a:gd name="connsiteY45" fmla="*/ 8770 h 10000"/>
                <a:gd name="connsiteX46" fmla="*/ 9083 w 10000"/>
                <a:gd name="connsiteY46" fmla="*/ 8154 h 10000"/>
                <a:gd name="connsiteX47" fmla="*/ 8655 w 10000"/>
                <a:gd name="connsiteY47" fmla="*/ 7923 h 10000"/>
                <a:gd name="connsiteX48" fmla="*/ 8385 w 10000"/>
                <a:gd name="connsiteY48" fmla="*/ 7614 h 10000"/>
                <a:gd name="connsiteX49" fmla="*/ 7687 w 10000"/>
                <a:gd name="connsiteY49" fmla="*/ 7386 h 10000"/>
                <a:gd name="connsiteX50" fmla="*/ 7848 w 10000"/>
                <a:gd name="connsiteY50" fmla="*/ 7308 h 10000"/>
                <a:gd name="connsiteX51" fmla="*/ 7848 w 10000"/>
                <a:gd name="connsiteY51" fmla="*/ 7114 h 10000"/>
                <a:gd name="connsiteX52" fmla="*/ 8334 w 10000"/>
                <a:gd name="connsiteY52" fmla="*/ 7114 h 10000"/>
                <a:gd name="connsiteX53" fmla="*/ 8599 w 10000"/>
                <a:gd name="connsiteY53" fmla="*/ 6961 h 10000"/>
                <a:gd name="connsiteX54" fmla="*/ 8655 w 10000"/>
                <a:gd name="connsiteY54" fmla="*/ 5847 h 10000"/>
                <a:gd name="connsiteX55" fmla="*/ 8707 w 10000"/>
                <a:gd name="connsiteY55" fmla="*/ 5885 h 10000"/>
                <a:gd name="connsiteX56" fmla="*/ 8517 w 10000"/>
                <a:gd name="connsiteY56" fmla="*/ 5955 h 10000"/>
                <a:gd name="connsiteX57" fmla="*/ 8440 w 10000"/>
                <a:gd name="connsiteY57" fmla="*/ 6106 h 10000"/>
                <a:gd name="connsiteX58" fmla="*/ 7961 w 10000"/>
                <a:gd name="connsiteY58" fmla="*/ 5809 h 10000"/>
                <a:gd name="connsiteX59" fmla="*/ 7874 w 10000"/>
                <a:gd name="connsiteY59" fmla="*/ 5009 h 10000"/>
                <a:gd name="connsiteX60" fmla="*/ 7361 w 10000"/>
                <a:gd name="connsiteY60" fmla="*/ 5356 h 10000"/>
                <a:gd name="connsiteX61" fmla="*/ 7369 w 10000"/>
                <a:gd name="connsiteY61" fmla="*/ 5768 h 10000"/>
                <a:gd name="connsiteX62" fmla="*/ 6955 w 10000"/>
                <a:gd name="connsiteY62" fmla="*/ 6017 h 10000"/>
                <a:gd name="connsiteX63" fmla="*/ 433 w 10000"/>
                <a:gd name="connsiteY63" fmla="*/ 0 h 10000"/>
                <a:gd name="connsiteX64" fmla="*/ 433 w 10000"/>
                <a:gd name="connsiteY64" fmla="*/ 307 h 10000"/>
                <a:gd name="connsiteX0" fmla="*/ 433 w 10000"/>
                <a:gd name="connsiteY0" fmla="*/ 49 h 9742"/>
                <a:gd name="connsiteX1" fmla="*/ 6675 w 10000"/>
                <a:gd name="connsiteY1" fmla="*/ 6053 h 9742"/>
                <a:gd name="connsiteX2" fmla="*/ 6234 w 10000"/>
                <a:gd name="connsiteY2" fmla="*/ 6290 h 9742"/>
                <a:gd name="connsiteX3" fmla="*/ 5864 w 10000"/>
                <a:gd name="connsiteY3" fmla="*/ 6042 h 9742"/>
                <a:gd name="connsiteX4" fmla="*/ 5325 w 10000"/>
                <a:gd name="connsiteY4" fmla="*/ 5893 h 9742"/>
                <a:gd name="connsiteX5" fmla="*/ 5058 w 10000"/>
                <a:gd name="connsiteY5" fmla="*/ 6230 h 9742"/>
                <a:gd name="connsiteX6" fmla="*/ 4396 w 10000"/>
                <a:gd name="connsiteY6" fmla="*/ 6489 h 9742"/>
                <a:gd name="connsiteX7" fmla="*/ 3972 w 10000"/>
                <a:gd name="connsiteY7" fmla="*/ 6487 h 9742"/>
                <a:gd name="connsiteX8" fmla="*/ 3044 w 10000"/>
                <a:gd name="connsiteY8" fmla="*/ 6267 h 9742"/>
                <a:gd name="connsiteX9" fmla="*/ 2796 w 10000"/>
                <a:gd name="connsiteY9" fmla="*/ 6387 h 9742"/>
                <a:gd name="connsiteX10" fmla="*/ 2177 w 10000"/>
                <a:gd name="connsiteY10" fmla="*/ 6120 h 9742"/>
                <a:gd name="connsiteX11" fmla="*/ 1903 w 10000"/>
                <a:gd name="connsiteY11" fmla="*/ 5720 h 9742"/>
                <a:gd name="connsiteX12" fmla="*/ 1449 w 10000"/>
                <a:gd name="connsiteY12" fmla="*/ 5829 h 9742"/>
                <a:gd name="connsiteX13" fmla="*/ 1324 w 10000"/>
                <a:gd name="connsiteY13" fmla="*/ 6066 h 9742"/>
                <a:gd name="connsiteX14" fmla="*/ 845 w 10000"/>
                <a:gd name="connsiteY14" fmla="*/ 6167 h 9742"/>
                <a:gd name="connsiteX15" fmla="*/ 526 w 10000"/>
                <a:gd name="connsiteY15" fmla="*/ 6158 h 9742"/>
                <a:gd name="connsiteX16" fmla="*/ 354 w 10000"/>
                <a:gd name="connsiteY16" fmla="*/ 6346 h 9742"/>
                <a:gd name="connsiteX17" fmla="*/ 56 w 10000"/>
                <a:gd name="connsiteY17" fmla="*/ 6051 h 9742"/>
                <a:gd name="connsiteX18" fmla="*/ 0 w 10000"/>
                <a:gd name="connsiteY18" fmla="*/ 6588 h 9742"/>
                <a:gd name="connsiteX19" fmla="*/ 106 w 10000"/>
                <a:gd name="connsiteY19" fmla="*/ 6665 h 9742"/>
                <a:gd name="connsiteX20" fmla="*/ 538 w 10000"/>
                <a:gd name="connsiteY20" fmla="*/ 6703 h 9742"/>
                <a:gd name="connsiteX21" fmla="*/ 596 w 10000"/>
                <a:gd name="connsiteY21" fmla="*/ 6856 h 9742"/>
                <a:gd name="connsiteX22" fmla="*/ 1075 w 10000"/>
                <a:gd name="connsiteY22" fmla="*/ 6897 h 9742"/>
                <a:gd name="connsiteX23" fmla="*/ 1346 w 10000"/>
                <a:gd name="connsiteY23" fmla="*/ 7050 h 9742"/>
                <a:gd name="connsiteX24" fmla="*/ 1397 w 10000"/>
                <a:gd name="connsiteY24" fmla="*/ 7319 h 9742"/>
                <a:gd name="connsiteX25" fmla="*/ 2260 w 10000"/>
                <a:gd name="connsiteY25" fmla="*/ 7780 h 9742"/>
                <a:gd name="connsiteX26" fmla="*/ 2475 w 10000"/>
                <a:gd name="connsiteY26" fmla="*/ 8243 h 9742"/>
                <a:gd name="connsiteX27" fmla="*/ 3064 w 10000"/>
                <a:gd name="connsiteY27" fmla="*/ 8474 h 9742"/>
                <a:gd name="connsiteX28" fmla="*/ 3280 w 10000"/>
                <a:gd name="connsiteY28" fmla="*/ 8779 h 9742"/>
                <a:gd name="connsiteX29" fmla="*/ 3709 w 10000"/>
                <a:gd name="connsiteY29" fmla="*/ 9166 h 9742"/>
                <a:gd name="connsiteX30" fmla="*/ 4034 w 10000"/>
                <a:gd name="connsiteY30" fmla="*/ 9279 h 9742"/>
                <a:gd name="connsiteX31" fmla="*/ 4248 w 10000"/>
                <a:gd name="connsiteY31" fmla="*/ 9166 h 9742"/>
                <a:gd name="connsiteX32" fmla="*/ 4785 w 10000"/>
                <a:gd name="connsiteY32" fmla="*/ 9204 h 9742"/>
                <a:gd name="connsiteX33" fmla="*/ 5002 w 10000"/>
                <a:gd name="connsiteY33" fmla="*/ 9126 h 9742"/>
                <a:gd name="connsiteX34" fmla="*/ 5967 w 10000"/>
                <a:gd name="connsiteY34" fmla="*/ 9705 h 9742"/>
                <a:gd name="connsiteX35" fmla="*/ 6021 w 10000"/>
                <a:gd name="connsiteY35" fmla="*/ 9705 h 9742"/>
                <a:gd name="connsiteX36" fmla="*/ 6130 w 10000"/>
                <a:gd name="connsiteY36" fmla="*/ 9628 h 9742"/>
                <a:gd name="connsiteX37" fmla="*/ 6823 w 10000"/>
                <a:gd name="connsiteY37" fmla="*/ 9628 h 9742"/>
                <a:gd name="connsiteX38" fmla="*/ 6936 w 10000"/>
                <a:gd name="connsiteY38" fmla="*/ 9742 h 9742"/>
                <a:gd name="connsiteX39" fmla="*/ 7526 w 10000"/>
                <a:gd name="connsiteY39" fmla="*/ 9587 h 9742"/>
                <a:gd name="connsiteX40" fmla="*/ 8062 w 10000"/>
                <a:gd name="connsiteY40" fmla="*/ 9587 h 9742"/>
                <a:gd name="connsiteX41" fmla="*/ 8438 w 10000"/>
                <a:gd name="connsiteY41" fmla="*/ 9434 h 9742"/>
                <a:gd name="connsiteX42" fmla="*/ 8871 w 10000"/>
                <a:gd name="connsiteY42" fmla="*/ 9126 h 9742"/>
                <a:gd name="connsiteX43" fmla="*/ 10000 w 10000"/>
                <a:gd name="connsiteY43" fmla="*/ 9126 h 9742"/>
                <a:gd name="connsiteX44" fmla="*/ 10000 w 10000"/>
                <a:gd name="connsiteY44" fmla="*/ 8705 h 9742"/>
                <a:gd name="connsiteX45" fmla="*/ 9409 w 10000"/>
                <a:gd name="connsiteY45" fmla="*/ 8512 h 9742"/>
                <a:gd name="connsiteX46" fmla="*/ 9083 w 10000"/>
                <a:gd name="connsiteY46" fmla="*/ 7896 h 9742"/>
                <a:gd name="connsiteX47" fmla="*/ 8655 w 10000"/>
                <a:gd name="connsiteY47" fmla="*/ 7665 h 9742"/>
                <a:gd name="connsiteX48" fmla="*/ 8385 w 10000"/>
                <a:gd name="connsiteY48" fmla="*/ 7356 h 9742"/>
                <a:gd name="connsiteX49" fmla="*/ 7687 w 10000"/>
                <a:gd name="connsiteY49" fmla="*/ 7128 h 9742"/>
                <a:gd name="connsiteX50" fmla="*/ 7848 w 10000"/>
                <a:gd name="connsiteY50" fmla="*/ 7050 h 9742"/>
                <a:gd name="connsiteX51" fmla="*/ 7848 w 10000"/>
                <a:gd name="connsiteY51" fmla="*/ 6856 h 9742"/>
                <a:gd name="connsiteX52" fmla="*/ 8334 w 10000"/>
                <a:gd name="connsiteY52" fmla="*/ 6856 h 9742"/>
                <a:gd name="connsiteX53" fmla="*/ 8599 w 10000"/>
                <a:gd name="connsiteY53" fmla="*/ 6703 h 9742"/>
                <a:gd name="connsiteX54" fmla="*/ 8655 w 10000"/>
                <a:gd name="connsiteY54" fmla="*/ 5589 h 9742"/>
                <a:gd name="connsiteX55" fmla="*/ 8707 w 10000"/>
                <a:gd name="connsiteY55" fmla="*/ 5627 h 9742"/>
                <a:gd name="connsiteX56" fmla="*/ 8517 w 10000"/>
                <a:gd name="connsiteY56" fmla="*/ 5697 h 9742"/>
                <a:gd name="connsiteX57" fmla="*/ 8440 w 10000"/>
                <a:gd name="connsiteY57" fmla="*/ 5848 h 9742"/>
                <a:gd name="connsiteX58" fmla="*/ 7961 w 10000"/>
                <a:gd name="connsiteY58" fmla="*/ 5551 h 9742"/>
                <a:gd name="connsiteX59" fmla="*/ 7874 w 10000"/>
                <a:gd name="connsiteY59" fmla="*/ 4751 h 9742"/>
                <a:gd name="connsiteX60" fmla="*/ 7361 w 10000"/>
                <a:gd name="connsiteY60" fmla="*/ 5098 h 9742"/>
                <a:gd name="connsiteX61" fmla="*/ 7369 w 10000"/>
                <a:gd name="connsiteY61" fmla="*/ 5510 h 9742"/>
                <a:gd name="connsiteX62" fmla="*/ 6955 w 10000"/>
                <a:gd name="connsiteY62" fmla="*/ 5759 h 9742"/>
                <a:gd name="connsiteX63" fmla="*/ 433 w 10000"/>
                <a:gd name="connsiteY63" fmla="*/ 49 h 9742"/>
                <a:gd name="connsiteX0" fmla="*/ 6955 w 10000"/>
                <a:gd name="connsiteY0" fmla="*/ 1035 h 5123"/>
                <a:gd name="connsiteX1" fmla="*/ 6675 w 10000"/>
                <a:gd name="connsiteY1" fmla="*/ 1336 h 5123"/>
                <a:gd name="connsiteX2" fmla="*/ 6234 w 10000"/>
                <a:gd name="connsiteY2" fmla="*/ 1580 h 5123"/>
                <a:gd name="connsiteX3" fmla="*/ 5864 w 10000"/>
                <a:gd name="connsiteY3" fmla="*/ 1325 h 5123"/>
                <a:gd name="connsiteX4" fmla="*/ 5325 w 10000"/>
                <a:gd name="connsiteY4" fmla="*/ 1172 h 5123"/>
                <a:gd name="connsiteX5" fmla="*/ 5058 w 10000"/>
                <a:gd name="connsiteY5" fmla="*/ 1518 h 5123"/>
                <a:gd name="connsiteX6" fmla="*/ 4396 w 10000"/>
                <a:gd name="connsiteY6" fmla="*/ 1784 h 5123"/>
                <a:gd name="connsiteX7" fmla="*/ 3972 w 10000"/>
                <a:gd name="connsiteY7" fmla="*/ 1782 h 5123"/>
                <a:gd name="connsiteX8" fmla="*/ 3044 w 10000"/>
                <a:gd name="connsiteY8" fmla="*/ 1556 h 5123"/>
                <a:gd name="connsiteX9" fmla="*/ 2796 w 10000"/>
                <a:gd name="connsiteY9" fmla="*/ 1679 h 5123"/>
                <a:gd name="connsiteX10" fmla="*/ 2177 w 10000"/>
                <a:gd name="connsiteY10" fmla="*/ 1405 h 5123"/>
                <a:gd name="connsiteX11" fmla="*/ 1903 w 10000"/>
                <a:gd name="connsiteY11" fmla="*/ 994 h 5123"/>
                <a:gd name="connsiteX12" fmla="*/ 1449 w 10000"/>
                <a:gd name="connsiteY12" fmla="*/ 1106 h 5123"/>
                <a:gd name="connsiteX13" fmla="*/ 1324 w 10000"/>
                <a:gd name="connsiteY13" fmla="*/ 1350 h 5123"/>
                <a:gd name="connsiteX14" fmla="*/ 845 w 10000"/>
                <a:gd name="connsiteY14" fmla="*/ 1453 h 5123"/>
                <a:gd name="connsiteX15" fmla="*/ 526 w 10000"/>
                <a:gd name="connsiteY15" fmla="*/ 1444 h 5123"/>
                <a:gd name="connsiteX16" fmla="*/ 354 w 10000"/>
                <a:gd name="connsiteY16" fmla="*/ 1637 h 5123"/>
                <a:gd name="connsiteX17" fmla="*/ 56 w 10000"/>
                <a:gd name="connsiteY17" fmla="*/ 1334 h 5123"/>
                <a:gd name="connsiteX18" fmla="*/ 0 w 10000"/>
                <a:gd name="connsiteY18" fmla="*/ 1885 h 5123"/>
                <a:gd name="connsiteX19" fmla="*/ 106 w 10000"/>
                <a:gd name="connsiteY19" fmla="*/ 1965 h 5123"/>
                <a:gd name="connsiteX20" fmla="*/ 538 w 10000"/>
                <a:gd name="connsiteY20" fmla="*/ 2004 h 5123"/>
                <a:gd name="connsiteX21" fmla="*/ 596 w 10000"/>
                <a:gd name="connsiteY21" fmla="*/ 2161 h 5123"/>
                <a:gd name="connsiteX22" fmla="*/ 1075 w 10000"/>
                <a:gd name="connsiteY22" fmla="*/ 2203 h 5123"/>
                <a:gd name="connsiteX23" fmla="*/ 1346 w 10000"/>
                <a:gd name="connsiteY23" fmla="*/ 2360 h 5123"/>
                <a:gd name="connsiteX24" fmla="*/ 1397 w 10000"/>
                <a:gd name="connsiteY24" fmla="*/ 2636 h 5123"/>
                <a:gd name="connsiteX25" fmla="*/ 2260 w 10000"/>
                <a:gd name="connsiteY25" fmla="*/ 3109 h 5123"/>
                <a:gd name="connsiteX26" fmla="*/ 2475 w 10000"/>
                <a:gd name="connsiteY26" fmla="*/ 3584 h 5123"/>
                <a:gd name="connsiteX27" fmla="*/ 3064 w 10000"/>
                <a:gd name="connsiteY27" fmla="*/ 3821 h 5123"/>
                <a:gd name="connsiteX28" fmla="*/ 3280 w 10000"/>
                <a:gd name="connsiteY28" fmla="*/ 4134 h 5123"/>
                <a:gd name="connsiteX29" fmla="*/ 3709 w 10000"/>
                <a:gd name="connsiteY29" fmla="*/ 4532 h 5123"/>
                <a:gd name="connsiteX30" fmla="*/ 4034 w 10000"/>
                <a:gd name="connsiteY30" fmla="*/ 4648 h 5123"/>
                <a:gd name="connsiteX31" fmla="*/ 4248 w 10000"/>
                <a:gd name="connsiteY31" fmla="*/ 4532 h 5123"/>
                <a:gd name="connsiteX32" fmla="*/ 4785 w 10000"/>
                <a:gd name="connsiteY32" fmla="*/ 4571 h 5123"/>
                <a:gd name="connsiteX33" fmla="*/ 5002 w 10000"/>
                <a:gd name="connsiteY33" fmla="*/ 4491 h 5123"/>
                <a:gd name="connsiteX34" fmla="*/ 5967 w 10000"/>
                <a:gd name="connsiteY34" fmla="*/ 5085 h 5123"/>
                <a:gd name="connsiteX35" fmla="*/ 6021 w 10000"/>
                <a:gd name="connsiteY35" fmla="*/ 5085 h 5123"/>
                <a:gd name="connsiteX36" fmla="*/ 6130 w 10000"/>
                <a:gd name="connsiteY36" fmla="*/ 5006 h 5123"/>
                <a:gd name="connsiteX37" fmla="*/ 6823 w 10000"/>
                <a:gd name="connsiteY37" fmla="*/ 5006 h 5123"/>
                <a:gd name="connsiteX38" fmla="*/ 6936 w 10000"/>
                <a:gd name="connsiteY38" fmla="*/ 5123 h 5123"/>
                <a:gd name="connsiteX39" fmla="*/ 7526 w 10000"/>
                <a:gd name="connsiteY39" fmla="*/ 4964 h 5123"/>
                <a:gd name="connsiteX40" fmla="*/ 8062 w 10000"/>
                <a:gd name="connsiteY40" fmla="*/ 4964 h 5123"/>
                <a:gd name="connsiteX41" fmla="*/ 8438 w 10000"/>
                <a:gd name="connsiteY41" fmla="*/ 4807 h 5123"/>
                <a:gd name="connsiteX42" fmla="*/ 8871 w 10000"/>
                <a:gd name="connsiteY42" fmla="*/ 4491 h 5123"/>
                <a:gd name="connsiteX43" fmla="*/ 10000 w 10000"/>
                <a:gd name="connsiteY43" fmla="*/ 4491 h 5123"/>
                <a:gd name="connsiteX44" fmla="*/ 10000 w 10000"/>
                <a:gd name="connsiteY44" fmla="*/ 4059 h 5123"/>
                <a:gd name="connsiteX45" fmla="*/ 9409 w 10000"/>
                <a:gd name="connsiteY45" fmla="*/ 3860 h 5123"/>
                <a:gd name="connsiteX46" fmla="*/ 9083 w 10000"/>
                <a:gd name="connsiteY46" fmla="*/ 3228 h 5123"/>
                <a:gd name="connsiteX47" fmla="*/ 8655 w 10000"/>
                <a:gd name="connsiteY47" fmla="*/ 2991 h 5123"/>
                <a:gd name="connsiteX48" fmla="*/ 8385 w 10000"/>
                <a:gd name="connsiteY48" fmla="*/ 2674 h 5123"/>
                <a:gd name="connsiteX49" fmla="*/ 7687 w 10000"/>
                <a:gd name="connsiteY49" fmla="*/ 2440 h 5123"/>
                <a:gd name="connsiteX50" fmla="*/ 7848 w 10000"/>
                <a:gd name="connsiteY50" fmla="*/ 2360 h 5123"/>
                <a:gd name="connsiteX51" fmla="*/ 7848 w 10000"/>
                <a:gd name="connsiteY51" fmla="*/ 2161 h 5123"/>
                <a:gd name="connsiteX52" fmla="*/ 8334 w 10000"/>
                <a:gd name="connsiteY52" fmla="*/ 2161 h 5123"/>
                <a:gd name="connsiteX53" fmla="*/ 8599 w 10000"/>
                <a:gd name="connsiteY53" fmla="*/ 2004 h 5123"/>
                <a:gd name="connsiteX54" fmla="*/ 8655 w 10000"/>
                <a:gd name="connsiteY54" fmla="*/ 860 h 5123"/>
                <a:gd name="connsiteX55" fmla="*/ 8707 w 10000"/>
                <a:gd name="connsiteY55" fmla="*/ 899 h 5123"/>
                <a:gd name="connsiteX56" fmla="*/ 8517 w 10000"/>
                <a:gd name="connsiteY56" fmla="*/ 971 h 5123"/>
                <a:gd name="connsiteX57" fmla="*/ 8440 w 10000"/>
                <a:gd name="connsiteY57" fmla="*/ 1126 h 5123"/>
                <a:gd name="connsiteX58" fmla="*/ 7961 w 10000"/>
                <a:gd name="connsiteY58" fmla="*/ 821 h 5123"/>
                <a:gd name="connsiteX59" fmla="*/ 7874 w 10000"/>
                <a:gd name="connsiteY59" fmla="*/ 0 h 5123"/>
                <a:gd name="connsiteX60" fmla="*/ 7361 w 10000"/>
                <a:gd name="connsiteY60" fmla="*/ 356 h 5123"/>
                <a:gd name="connsiteX61" fmla="*/ 7369 w 10000"/>
                <a:gd name="connsiteY61" fmla="*/ 779 h 5123"/>
                <a:gd name="connsiteX62" fmla="*/ 6955 w 10000"/>
                <a:gd name="connsiteY62" fmla="*/ 1035 h 5123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34 w 10000"/>
                <a:gd name="connsiteY2" fmla="*/ 3084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96 w 10000"/>
                <a:gd name="connsiteY9" fmla="*/ 3277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34 w 10000"/>
                <a:gd name="connsiteY2" fmla="*/ 3084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329 w 10000"/>
                <a:gd name="connsiteY61" fmla="*/ 1075 h 10000"/>
                <a:gd name="connsiteX62" fmla="*/ 7237 w 10000"/>
                <a:gd name="connsiteY62" fmla="*/ 1489 h 10000"/>
                <a:gd name="connsiteX63" fmla="*/ 6955 w 10000"/>
                <a:gd name="connsiteY63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237 w 10000"/>
                <a:gd name="connsiteY62" fmla="*/ 1489 h 10000"/>
                <a:gd name="connsiteX63" fmla="*/ 6955 w 10000"/>
                <a:gd name="connsiteY63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840 w 10000"/>
                <a:gd name="connsiteY7" fmla="*/ 3351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840 w 10000"/>
                <a:gd name="connsiteY7" fmla="*/ 3351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38 w 10000"/>
                <a:gd name="connsiteY60" fmla="*/ 316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0000" h="10000">
                  <a:moveTo>
                    <a:pt x="6955" y="2020"/>
                  </a:moveTo>
                  <a:cubicBezTo>
                    <a:pt x="6839" y="2202"/>
                    <a:pt x="6795" y="2430"/>
                    <a:pt x="6675" y="2608"/>
                  </a:cubicBezTo>
                  <a:lnTo>
                    <a:pt x="6212" y="2957"/>
                  </a:lnTo>
                  <a:lnTo>
                    <a:pt x="5864" y="2586"/>
                  </a:lnTo>
                  <a:cubicBezTo>
                    <a:pt x="5808" y="2795"/>
                    <a:pt x="5376" y="2079"/>
                    <a:pt x="5325" y="2288"/>
                  </a:cubicBezTo>
                  <a:lnTo>
                    <a:pt x="5058" y="2963"/>
                  </a:lnTo>
                  <a:lnTo>
                    <a:pt x="4396" y="3482"/>
                  </a:lnTo>
                  <a:cubicBezTo>
                    <a:pt x="4343" y="3535"/>
                    <a:pt x="3891" y="3301"/>
                    <a:pt x="3840" y="3351"/>
                  </a:cubicBezTo>
                  <a:lnTo>
                    <a:pt x="3044" y="3037"/>
                  </a:lnTo>
                  <a:lnTo>
                    <a:pt x="2774" y="3182"/>
                  </a:lnTo>
                  <a:lnTo>
                    <a:pt x="2177" y="2743"/>
                  </a:lnTo>
                  <a:cubicBezTo>
                    <a:pt x="2086" y="2475"/>
                    <a:pt x="1994" y="2208"/>
                    <a:pt x="1903" y="1940"/>
                  </a:cubicBezTo>
                  <a:cubicBezTo>
                    <a:pt x="1921" y="2173"/>
                    <a:pt x="1434" y="1931"/>
                    <a:pt x="1449" y="2159"/>
                  </a:cubicBezTo>
                  <a:cubicBezTo>
                    <a:pt x="1409" y="2317"/>
                    <a:pt x="1369" y="2479"/>
                    <a:pt x="1324" y="2635"/>
                  </a:cubicBezTo>
                  <a:lnTo>
                    <a:pt x="845" y="2836"/>
                  </a:lnTo>
                  <a:lnTo>
                    <a:pt x="526" y="2819"/>
                  </a:lnTo>
                  <a:cubicBezTo>
                    <a:pt x="469" y="2946"/>
                    <a:pt x="411" y="3069"/>
                    <a:pt x="354" y="3195"/>
                  </a:cubicBezTo>
                  <a:cubicBezTo>
                    <a:pt x="373" y="3326"/>
                    <a:pt x="37" y="2475"/>
                    <a:pt x="56" y="2604"/>
                  </a:cubicBezTo>
                  <a:cubicBezTo>
                    <a:pt x="37" y="2961"/>
                    <a:pt x="17" y="3322"/>
                    <a:pt x="0" y="3679"/>
                  </a:cubicBezTo>
                  <a:cubicBezTo>
                    <a:pt x="36" y="3732"/>
                    <a:pt x="73" y="3785"/>
                    <a:pt x="106" y="3836"/>
                  </a:cubicBezTo>
                  <a:lnTo>
                    <a:pt x="538" y="3912"/>
                  </a:lnTo>
                  <a:cubicBezTo>
                    <a:pt x="559" y="4013"/>
                    <a:pt x="575" y="4117"/>
                    <a:pt x="596" y="4218"/>
                  </a:cubicBezTo>
                  <a:lnTo>
                    <a:pt x="1075" y="4300"/>
                  </a:lnTo>
                  <a:lnTo>
                    <a:pt x="1346" y="4607"/>
                  </a:lnTo>
                  <a:cubicBezTo>
                    <a:pt x="1361" y="4784"/>
                    <a:pt x="1382" y="4964"/>
                    <a:pt x="1397" y="5145"/>
                  </a:cubicBezTo>
                  <a:lnTo>
                    <a:pt x="2260" y="6069"/>
                  </a:lnTo>
                  <a:cubicBezTo>
                    <a:pt x="2330" y="6377"/>
                    <a:pt x="2404" y="6686"/>
                    <a:pt x="2475" y="6996"/>
                  </a:cubicBezTo>
                  <a:lnTo>
                    <a:pt x="3064" y="7459"/>
                  </a:lnTo>
                  <a:lnTo>
                    <a:pt x="3280" y="8069"/>
                  </a:lnTo>
                  <a:lnTo>
                    <a:pt x="3709" y="8846"/>
                  </a:lnTo>
                  <a:lnTo>
                    <a:pt x="4034" y="9073"/>
                  </a:lnTo>
                  <a:lnTo>
                    <a:pt x="4248" y="8846"/>
                  </a:lnTo>
                  <a:lnTo>
                    <a:pt x="4785" y="8923"/>
                  </a:lnTo>
                  <a:lnTo>
                    <a:pt x="5002" y="8766"/>
                  </a:lnTo>
                  <a:lnTo>
                    <a:pt x="5967" y="9926"/>
                  </a:lnTo>
                  <a:lnTo>
                    <a:pt x="6021" y="9926"/>
                  </a:lnTo>
                  <a:cubicBezTo>
                    <a:pt x="6057" y="9871"/>
                    <a:pt x="6094" y="9822"/>
                    <a:pt x="6130" y="9772"/>
                  </a:cubicBezTo>
                  <a:lnTo>
                    <a:pt x="6823" y="9772"/>
                  </a:lnTo>
                  <a:cubicBezTo>
                    <a:pt x="6863" y="9848"/>
                    <a:pt x="6901" y="9926"/>
                    <a:pt x="6936" y="10000"/>
                  </a:cubicBezTo>
                  <a:lnTo>
                    <a:pt x="7526" y="9690"/>
                  </a:lnTo>
                  <a:lnTo>
                    <a:pt x="8062" y="9690"/>
                  </a:lnTo>
                  <a:lnTo>
                    <a:pt x="8438" y="9383"/>
                  </a:lnTo>
                  <a:lnTo>
                    <a:pt x="8871" y="8766"/>
                  </a:lnTo>
                  <a:lnTo>
                    <a:pt x="10000" y="8766"/>
                  </a:lnTo>
                  <a:lnTo>
                    <a:pt x="10000" y="7923"/>
                  </a:lnTo>
                  <a:lnTo>
                    <a:pt x="9409" y="7535"/>
                  </a:lnTo>
                  <a:cubicBezTo>
                    <a:pt x="9299" y="7125"/>
                    <a:pt x="9193" y="6711"/>
                    <a:pt x="9083" y="6301"/>
                  </a:cubicBezTo>
                  <a:lnTo>
                    <a:pt x="8655" y="5838"/>
                  </a:lnTo>
                  <a:lnTo>
                    <a:pt x="8385" y="5220"/>
                  </a:lnTo>
                  <a:lnTo>
                    <a:pt x="7687" y="4763"/>
                  </a:lnTo>
                  <a:cubicBezTo>
                    <a:pt x="7740" y="4706"/>
                    <a:pt x="7794" y="4657"/>
                    <a:pt x="7848" y="4607"/>
                  </a:cubicBezTo>
                  <a:lnTo>
                    <a:pt x="7848" y="4218"/>
                  </a:lnTo>
                  <a:lnTo>
                    <a:pt x="8334" y="4218"/>
                  </a:lnTo>
                  <a:lnTo>
                    <a:pt x="8599" y="3912"/>
                  </a:lnTo>
                  <a:cubicBezTo>
                    <a:pt x="8620" y="3168"/>
                    <a:pt x="8640" y="2424"/>
                    <a:pt x="8655" y="1679"/>
                  </a:cubicBezTo>
                  <a:cubicBezTo>
                    <a:pt x="8673" y="1704"/>
                    <a:pt x="8690" y="1726"/>
                    <a:pt x="8707" y="1755"/>
                  </a:cubicBezTo>
                  <a:cubicBezTo>
                    <a:pt x="8758" y="1599"/>
                    <a:pt x="8463" y="2050"/>
                    <a:pt x="8517" y="1895"/>
                  </a:cubicBezTo>
                  <a:cubicBezTo>
                    <a:pt x="8491" y="1993"/>
                    <a:pt x="8467" y="2098"/>
                    <a:pt x="8440" y="2198"/>
                  </a:cubicBezTo>
                  <a:cubicBezTo>
                    <a:pt x="8494" y="1917"/>
                    <a:pt x="7910" y="1888"/>
                    <a:pt x="7961" y="1603"/>
                  </a:cubicBezTo>
                  <a:cubicBezTo>
                    <a:pt x="7933" y="1068"/>
                    <a:pt x="7903" y="533"/>
                    <a:pt x="7874" y="0"/>
                  </a:cubicBezTo>
                  <a:lnTo>
                    <a:pt x="7538" y="316"/>
                  </a:lnTo>
                  <a:cubicBezTo>
                    <a:pt x="7447" y="495"/>
                    <a:pt x="7563" y="700"/>
                    <a:pt x="7506" y="885"/>
                  </a:cubicBezTo>
                  <a:cubicBezTo>
                    <a:pt x="7468" y="1038"/>
                    <a:pt x="7396" y="1196"/>
                    <a:pt x="7351" y="1297"/>
                  </a:cubicBezTo>
                  <a:cubicBezTo>
                    <a:pt x="7306" y="1398"/>
                    <a:pt x="7303" y="1368"/>
                    <a:pt x="7237" y="1489"/>
                  </a:cubicBezTo>
                  <a:lnTo>
                    <a:pt x="6955" y="202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4450" tIns="44450" rIns="44450" bIns="44450"/>
            <a:lstStyle/>
            <a:p>
              <a:pPr algn="ctr"/>
              <a:endParaRPr lang="en-US" sz="3200" dirty="0"/>
            </a:p>
          </p:txBody>
        </p:sp>
        <p:sp>
          <p:nvSpPr>
            <p:cNvPr id="6" name="Freeform 441"/>
            <p:cNvSpPr>
              <a:spLocks/>
            </p:cNvSpPr>
            <p:nvPr>
              <p:custDataLst>
                <p:tags r:id="rId198"/>
              </p:custDataLst>
            </p:nvPr>
          </p:nvSpPr>
          <p:spPr bwMode="gray">
            <a:xfrm>
              <a:off x="4867845" y="3953787"/>
              <a:ext cx="379071" cy="407680"/>
            </a:xfrm>
            <a:custGeom>
              <a:avLst/>
              <a:gdLst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5564 w 10000"/>
                <a:gd name="connsiteY41" fmla="*/ 7085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5272 w 10000"/>
                <a:gd name="connsiteY39" fmla="*/ 9204 h 10000"/>
                <a:gd name="connsiteX40" fmla="*/ 6145 w 10000"/>
                <a:gd name="connsiteY40" fmla="*/ 10000 h 10000"/>
                <a:gd name="connsiteX41" fmla="*/ 5564 w 10000"/>
                <a:gd name="connsiteY41" fmla="*/ 7085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9968"/>
                <a:gd name="connsiteX1" fmla="*/ 1285 w 10000"/>
                <a:gd name="connsiteY1" fmla="*/ 2412 h 9968"/>
                <a:gd name="connsiteX2" fmla="*/ 1285 w 10000"/>
                <a:gd name="connsiteY2" fmla="*/ 2894 h 9968"/>
                <a:gd name="connsiteX3" fmla="*/ 1285 w 10000"/>
                <a:gd name="connsiteY3" fmla="*/ 3376 h 9968"/>
                <a:gd name="connsiteX4" fmla="*/ 1285 w 10000"/>
                <a:gd name="connsiteY4" fmla="*/ 3826 h 9968"/>
                <a:gd name="connsiteX5" fmla="*/ 643 w 10000"/>
                <a:gd name="connsiteY5" fmla="*/ 3923 h 9968"/>
                <a:gd name="connsiteX6" fmla="*/ 522 w 10000"/>
                <a:gd name="connsiteY6" fmla="*/ 4180 h 9968"/>
                <a:gd name="connsiteX7" fmla="*/ 241 w 10000"/>
                <a:gd name="connsiteY7" fmla="*/ 4502 h 9968"/>
                <a:gd name="connsiteX8" fmla="*/ 241 w 10000"/>
                <a:gd name="connsiteY8" fmla="*/ 4759 h 9968"/>
                <a:gd name="connsiteX9" fmla="*/ 120 w 10000"/>
                <a:gd name="connsiteY9" fmla="*/ 4823 h 9968"/>
                <a:gd name="connsiteX10" fmla="*/ 120 w 10000"/>
                <a:gd name="connsiteY10" fmla="*/ 5048 h 9968"/>
                <a:gd name="connsiteX11" fmla="*/ 0 w 10000"/>
                <a:gd name="connsiteY11" fmla="*/ 5241 h 9968"/>
                <a:gd name="connsiteX12" fmla="*/ 0 w 10000"/>
                <a:gd name="connsiteY12" fmla="*/ 5402 h 9968"/>
                <a:gd name="connsiteX13" fmla="*/ 241 w 10000"/>
                <a:gd name="connsiteY13" fmla="*/ 5370 h 9968"/>
                <a:gd name="connsiteX14" fmla="*/ 281 w 10000"/>
                <a:gd name="connsiteY14" fmla="*/ 5659 h 9968"/>
                <a:gd name="connsiteX15" fmla="*/ 602 w 10000"/>
                <a:gd name="connsiteY15" fmla="*/ 6174 h 9968"/>
                <a:gd name="connsiteX16" fmla="*/ 602 w 10000"/>
                <a:gd name="connsiteY16" fmla="*/ 6206 h 9968"/>
                <a:gd name="connsiteX17" fmla="*/ 482 w 10000"/>
                <a:gd name="connsiteY17" fmla="*/ 6238 h 9968"/>
                <a:gd name="connsiteX18" fmla="*/ 964 w 10000"/>
                <a:gd name="connsiteY18" fmla="*/ 6752 h 9968"/>
                <a:gd name="connsiteX19" fmla="*/ 1004 w 10000"/>
                <a:gd name="connsiteY19" fmla="*/ 6913 h 9968"/>
                <a:gd name="connsiteX20" fmla="*/ 964 w 10000"/>
                <a:gd name="connsiteY20" fmla="*/ 7363 h 9968"/>
                <a:gd name="connsiteX21" fmla="*/ 1044 w 10000"/>
                <a:gd name="connsiteY21" fmla="*/ 7428 h 9968"/>
                <a:gd name="connsiteX22" fmla="*/ 1365 w 10000"/>
                <a:gd name="connsiteY22" fmla="*/ 7460 h 9968"/>
                <a:gd name="connsiteX23" fmla="*/ 1406 w 10000"/>
                <a:gd name="connsiteY23" fmla="*/ 7588 h 9968"/>
                <a:gd name="connsiteX24" fmla="*/ 1767 w 10000"/>
                <a:gd name="connsiteY24" fmla="*/ 7621 h 9968"/>
                <a:gd name="connsiteX25" fmla="*/ 1968 w 10000"/>
                <a:gd name="connsiteY25" fmla="*/ 7749 h 9968"/>
                <a:gd name="connsiteX26" fmla="*/ 2008 w 10000"/>
                <a:gd name="connsiteY26" fmla="*/ 7974 h 9968"/>
                <a:gd name="connsiteX27" fmla="*/ 2651 w 10000"/>
                <a:gd name="connsiteY27" fmla="*/ 8360 h 9968"/>
                <a:gd name="connsiteX28" fmla="*/ 2811 w 10000"/>
                <a:gd name="connsiteY28" fmla="*/ 8746 h 9968"/>
                <a:gd name="connsiteX29" fmla="*/ 3253 w 10000"/>
                <a:gd name="connsiteY29" fmla="*/ 8939 h 9968"/>
                <a:gd name="connsiteX30" fmla="*/ 3414 w 10000"/>
                <a:gd name="connsiteY30" fmla="*/ 9196 h 9968"/>
                <a:gd name="connsiteX31" fmla="*/ 3735 w 10000"/>
                <a:gd name="connsiteY31" fmla="*/ 9518 h 9968"/>
                <a:gd name="connsiteX32" fmla="*/ 3976 w 10000"/>
                <a:gd name="connsiteY32" fmla="*/ 9614 h 9968"/>
                <a:gd name="connsiteX33" fmla="*/ 4137 w 10000"/>
                <a:gd name="connsiteY33" fmla="*/ 9518 h 9968"/>
                <a:gd name="connsiteX34" fmla="*/ 4538 w 10000"/>
                <a:gd name="connsiteY34" fmla="*/ 9550 h 9968"/>
                <a:gd name="connsiteX35" fmla="*/ 4699 w 10000"/>
                <a:gd name="connsiteY35" fmla="*/ 9486 h 9968"/>
                <a:gd name="connsiteX36" fmla="*/ 5422 w 10000"/>
                <a:gd name="connsiteY36" fmla="*/ 9968 h 9968"/>
                <a:gd name="connsiteX37" fmla="*/ 5462 w 10000"/>
                <a:gd name="connsiteY37" fmla="*/ 9968 h 9968"/>
                <a:gd name="connsiteX38" fmla="*/ 5542 w 10000"/>
                <a:gd name="connsiteY38" fmla="*/ 9904 h 9968"/>
                <a:gd name="connsiteX39" fmla="*/ 5272 w 10000"/>
                <a:gd name="connsiteY39" fmla="*/ 9204 h 9968"/>
                <a:gd name="connsiteX40" fmla="*/ 5337 w 10000"/>
                <a:gd name="connsiteY40" fmla="*/ 6963 h 9968"/>
                <a:gd name="connsiteX41" fmla="*/ 5564 w 10000"/>
                <a:gd name="connsiteY41" fmla="*/ 7085 h 9968"/>
                <a:gd name="connsiteX42" fmla="*/ 5768 w 10000"/>
                <a:gd name="connsiteY42" fmla="*/ 7006 h 9968"/>
                <a:gd name="connsiteX43" fmla="*/ 5933 w 10000"/>
                <a:gd name="connsiteY43" fmla="*/ 6931 h 9968"/>
                <a:gd name="connsiteX44" fmla="*/ 6089 w 10000"/>
                <a:gd name="connsiteY44" fmla="*/ 6766 h 9968"/>
                <a:gd name="connsiteX45" fmla="*/ 6274 w 10000"/>
                <a:gd name="connsiteY45" fmla="*/ 6541 h 9968"/>
                <a:gd name="connsiteX46" fmla="*/ 6389 w 10000"/>
                <a:gd name="connsiteY46" fmla="*/ 6438 h 9968"/>
                <a:gd name="connsiteX47" fmla="*/ 6524 w 10000"/>
                <a:gd name="connsiteY47" fmla="*/ 6396 h 9968"/>
                <a:gd name="connsiteX48" fmla="*/ 6531 w 10000"/>
                <a:gd name="connsiteY48" fmla="*/ 6265 h 9968"/>
                <a:gd name="connsiteX49" fmla="*/ 6424 w 10000"/>
                <a:gd name="connsiteY49" fmla="*/ 5966 h 9968"/>
                <a:gd name="connsiteX50" fmla="*/ 6602 w 10000"/>
                <a:gd name="connsiteY50" fmla="*/ 5973 h 9968"/>
                <a:gd name="connsiteX51" fmla="*/ 6707 w 10000"/>
                <a:gd name="connsiteY51" fmla="*/ 5860 h 9968"/>
                <a:gd name="connsiteX52" fmla="*/ 6876 w 10000"/>
                <a:gd name="connsiteY52" fmla="*/ 5861 h 9968"/>
                <a:gd name="connsiteX53" fmla="*/ 6827 w 10000"/>
                <a:gd name="connsiteY53" fmla="*/ 6558 h 9968"/>
                <a:gd name="connsiteX54" fmla="*/ 6991 w 10000"/>
                <a:gd name="connsiteY54" fmla="*/ 6637 h 9968"/>
                <a:gd name="connsiteX55" fmla="*/ 7275 w 10000"/>
                <a:gd name="connsiteY55" fmla="*/ 6839 h 9968"/>
                <a:gd name="connsiteX56" fmla="*/ 7430 w 10000"/>
                <a:gd name="connsiteY56" fmla="*/ 6527 h 9968"/>
                <a:gd name="connsiteX57" fmla="*/ 7470 w 10000"/>
                <a:gd name="connsiteY57" fmla="*/ 6559 h 9968"/>
                <a:gd name="connsiteX58" fmla="*/ 7590 w 10000"/>
                <a:gd name="connsiteY58" fmla="*/ 6367 h 9968"/>
                <a:gd name="connsiteX59" fmla="*/ 7831 w 10000"/>
                <a:gd name="connsiteY59" fmla="*/ 6270 h 9968"/>
                <a:gd name="connsiteX60" fmla="*/ 7952 w 10000"/>
                <a:gd name="connsiteY60" fmla="*/ 5916 h 9968"/>
                <a:gd name="connsiteX61" fmla="*/ 8313 w 10000"/>
                <a:gd name="connsiteY61" fmla="*/ 5498 h 9968"/>
                <a:gd name="connsiteX62" fmla="*/ 8594 w 10000"/>
                <a:gd name="connsiteY62" fmla="*/ 5305 h 9968"/>
                <a:gd name="connsiteX63" fmla="*/ 8795 w 10000"/>
                <a:gd name="connsiteY63" fmla="*/ 4759 h 9968"/>
                <a:gd name="connsiteX64" fmla="*/ 8795 w 10000"/>
                <a:gd name="connsiteY64" fmla="*/ 4630 h 9968"/>
                <a:gd name="connsiteX65" fmla="*/ 8755 w 10000"/>
                <a:gd name="connsiteY65" fmla="*/ 4309 h 9968"/>
                <a:gd name="connsiteX66" fmla="*/ 9157 w 10000"/>
                <a:gd name="connsiteY66" fmla="*/ 3151 h 9968"/>
                <a:gd name="connsiteX67" fmla="*/ 9277 w 10000"/>
                <a:gd name="connsiteY67" fmla="*/ 3151 h 9968"/>
                <a:gd name="connsiteX68" fmla="*/ 9438 w 10000"/>
                <a:gd name="connsiteY68" fmla="*/ 3055 h 9968"/>
                <a:gd name="connsiteX69" fmla="*/ 9920 w 10000"/>
                <a:gd name="connsiteY69" fmla="*/ 2894 h 9968"/>
                <a:gd name="connsiteX70" fmla="*/ 10000 w 10000"/>
                <a:gd name="connsiteY70" fmla="*/ 2637 h 9968"/>
                <a:gd name="connsiteX71" fmla="*/ 9960 w 10000"/>
                <a:gd name="connsiteY71" fmla="*/ 2572 h 9968"/>
                <a:gd name="connsiteX72" fmla="*/ 9799 w 10000"/>
                <a:gd name="connsiteY72" fmla="*/ 2572 h 9968"/>
                <a:gd name="connsiteX73" fmla="*/ 9679 w 10000"/>
                <a:gd name="connsiteY73" fmla="*/ 2412 h 9968"/>
                <a:gd name="connsiteX74" fmla="*/ 9438 w 10000"/>
                <a:gd name="connsiteY74" fmla="*/ 2347 h 9968"/>
                <a:gd name="connsiteX75" fmla="*/ 9317 w 10000"/>
                <a:gd name="connsiteY75" fmla="*/ 2219 h 9968"/>
                <a:gd name="connsiteX76" fmla="*/ 9237 w 10000"/>
                <a:gd name="connsiteY76" fmla="*/ 1736 h 9968"/>
                <a:gd name="connsiteX77" fmla="*/ 9237 w 10000"/>
                <a:gd name="connsiteY77" fmla="*/ 1061 h 9968"/>
                <a:gd name="connsiteX78" fmla="*/ 9036 w 10000"/>
                <a:gd name="connsiteY78" fmla="*/ 836 h 9968"/>
                <a:gd name="connsiteX79" fmla="*/ 8996 w 10000"/>
                <a:gd name="connsiteY79" fmla="*/ 611 h 9968"/>
                <a:gd name="connsiteX80" fmla="*/ 8675 w 10000"/>
                <a:gd name="connsiteY80" fmla="*/ 289 h 9968"/>
                <a:gd name="connsiteX81" fmla="*/ 8394 w 10000"/>
                <a:gd name="connsiteY81" fmla="*/ 161 h 9968"/>
                <a:gd name="connsiteX82" fmla="*/ 8233 w 10000"/>
                <a:gd name="connsiteY82" fmla="*/ 0 h 9968"/>
                <a:gd name="connsiteX83" fmla="*/ 7992 w 10000"/>
                <a:gd name="connsiteY83" fmla="*/ 161 h 9968"/>
                <a:gd name="connsiteX84" fmla="*/ 7831 w 10000"/>
                <a:gd name="connsiteY84" fmla="*/ 129 h 9968"/>
                <a:gd name="connsiteX85" fmla="*/ 7711 w 10000"/>
                <a:gd name="connsiteY85" fmla="*/ 418 h 9968"/>
                <a:gd name="connsiteX86" fmla="*/ 7390 w 10000"/>
                <a:gd name="connsiteY86" fmla="*/ 482 h 9968"/>
                <a:gd name="connsiteX87" fmla="*/ 7309 w 10000"/>
                <a:gd name="connsiteY87" fmla="*/ 707 h 9968"/>
                <a:gd name="connsiteX88" fmla="*/ 7028 w 10000"/>
                <a:gd name="connsiteY88" fmla="*/ 707 h 9968"/>
                <a:gd name="connsiteX89" fmla="*/ 6787 w 10000"/>
                <a:gd name="connsiteY89" fmla="*/ 611 h 9968"/>
                <a:gd name="connsiteX90" fmla="*/ 6265 w 10000"/>
                <a:gd name="connsiteY90" fmla="*/ 611 h 9968"/>
                <a:gd name="connsiteX91" fmla="*/ 5743 w 10000"/>
                <a:gd name="connsiteY91" fmla="*/ 611 h 9968"/>
                <a:gd name="connsiteX92" fmla="*/ 5783 w 10000"/>
                <a:gd name="connsiteY92" fmla="*/ 482 h 9968"/>
                <a:gd name="connsiteX93" fmla="*/ 5703 w 10000"/>
                <a:gd name="connsiteY93" fmla="*/ 482 h 9968"/>
                <a:gd name="connsiteX94" fmla="*/ 5663 w 10000"/>
                <a:gd name="connsiteY94" fmla="*/ 611 h 9968"/>
                <a:gd name="connsiteX95" fmla="*/ 5181 w 10000"/>
                <a:gd name="connsiteY95" fmla="*/ 611 h 9968"/>
                <a:gd name="connsiteX96" fmla="*/ 4699 w 10000"/>
                <a:gd name="connsiteY96" fmla="*/ 611 h 9968"/>
                <a:gd name="connsiteX97" fmla="*/ 4217 w 10000"/>
                <a:gd name="connsiteY97" fmla="*/ 611 h 9968"/>
                <a:gd name="connsiteX98" fmla="*/ 3735 w 10000"/>
                <a:gd name="connsiteY98" fmla="*/ 611 h 9968"/>
                <a:gd name="connsiteX99" fmla="*/ 3293 w 10000"/>
                <a:gd name="connsiteY99" fmla="*/ 611 h 9968"/>
                <a:gd name="connsiteX100" fmla="*/ 2811 w 10000"/>
                <a:gd name="connsiteY100" fmla="*/ 611 h 9968"/>
                <a:gd name="connsiteX101" fmla="*/ 2369 w 10000"/>
                <a:gd name="connsiteY101" fmla="*/ 611 h 9968"/>
                <a:gd name="connsiteX102" fmla="*/ 1888 w 10000"/>
                <a:gd name="connsiteY102" fmla="*/ 611 h 9968"/>
                <a:gd name="connsiteX103" fmla="*/ 1888 w 10000"/>
                <a:gd name="connsiteY103" fmla="*/ 1061 h 9968"/>
                <a:gd name="connsiteX104" fmla="*/ 1888 w 10000"/>
                <a:gd name="connsiteY104" fmla="*/ 1640 h 9968"/>
                <a:gd name="connsiteX105" fmla="*/ 1285 w 10000"/>
                <a:gd name="connsiteY105" fmla="*/ 1640 h 9968"/>
                <a:gd name="connsiteX106" fmla="*/ 1285 w 10000"/>
                <a:gd name="connsiteY106" fmla="*/ 1897 h 9968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5140 w 10000"/>
                <a:gd name="connsiteY39" fmla="*/ 695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92 w 10000"/>
                <a:gd name="connsiteY39" fmla="*/ 6837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877 w 10000"/>
                <a:gd name="connsiteY39" fmla="*/ 7830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877 w 10000"/>
                <a:gd name="connsiteY39" fmla="*/ 7830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080 w 10000"/>
                <a:gd name="connsiteY38" fmla="*/ 6889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4901 w 10000"/>
                <a:gd name="connsiteY37" fmla="*/ 6794 h 10000"/>
                <a:gd name="connsiteX38" fmla="*/ 5080 w 10000"/>
                <a:gd name="connsiteY38" fmla="*/ 6889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9645"/>
                <a:gd name="connsiteX1" fmla="*/ 1285 w 10000"/>
                <a:gd name="connsiteY1" fmla="*/ 2420 h 9645"/>
                <a:gd name="connsiteX2" fmla="*/ 1285 w 10000"/>
                <a:gd name="connsiteY2" fmla="*/ 2903 h 9645"/>
                <a:gd name="connsiteX3" fmla="*/ 1285 w 10000"/>
                <a:gd name="connsiteY3" fmla="*/ 3387 h 9645"/>
                <a:gd name="connsiteX4" fmla="*/ 1285 w 10000"/>
                <a:gd name="connsiteY4" fmla="*/ 3838 h 9645"/>
                <a:gd name="connsiteX5" fmla="*/ 643 w 10000"/>
                <a:gd name="connsiteY5" fmla="*/ 3936 h 9645"/>
                <a:gd name="connsiteX6" fmla="*/ 522 w 10000"/>
                <a:gd name="connsiteY6" fmla="*/ 4193 h 9645"/>
                <a:gd name="connsiteX7" fmla="*/ 241 w 10000"/>
                <a:gd name="connsiteY7" fmla="*/ 4516 h 9645"/>
                <a:gd name="connsiteX8" fmla="*/ 241 w 10000"/>
                <a:gd name="connsiteY8" fmla="*/ 4774 h 9645"/>
                <a:gd name="connsiteX9" fmla="*/ 120 w 10000"/>
                <a:gd name="connsiteY9" fmla="*/ 4838 h 9645"/>
                <a:gd name="connsiteX10" fmla="*/ 120 w 10000"/>
                <a:gd name="connsiteY10" fmla="*/ 5064 h 9645"/>
                <a:gd name="connsiteX11" fmla="*/ 0 w 10000"/>
                <a:gd name="connsiteY11" fmla="*/ 5258 h 9645"/>
                <a:gd name="connsiteX12" fmla="*/ 0 w 10000"/>
                <a:gd name="connsiteY12" fmla="*/ 5419 h 9645"/>
                <a:gd name="connsiteX13" fmla="*/ 241 w 10000"/>
                <a:gd name="connsiteY13" fmla="*/ 5387 h 9645"/>
                <a:gd name="connsiteX14" fmla="*/ 281 w 10000"/>
                <a:gd name="connsiteY14" fmla="*/ 5677 h 9645"/>
                <a:gd name="connsiteX15" fmla="*/ 602 w 10000"/>
                <a:gd name="connsiteY15" fmla="*/ 6194 h 9645"/>
                <a:gd name="connsiteX16" fmla="*/ 602 w 10000"/>
                <a:gd name="connsiteY16" fmla="*/ 6226 h 9645"/>
                <a:gd name="connsiteX17" fmla="*/ 482 w 10000"/>
                <a:gd name="connsiteY17" fmla="*/ 6258 h 9645"/>
                <a:gd name="connsiteX18" fmla="*/ 964 w 10000"/>
                <a:gd name="connsiteY18" fmla="*/ 6774 h 9645"/>
                <a:gd name="connsiteX19" fmla="*/ 1004 w 10000"/>
                <a:gd name="connsiteY19" fmla="*/ 6935 h 9645"/>
                <a:gd name="connsiteX20" fmla="*/ 964 w 10000"/>
                <a:gd name="connsiteY20" fmla="*/ 7387 h 9645"/>
                <a:gd name="connsiteX21" fmla="*/ 1044 w 10000"/>
                <a:gd name="connsiteY21" fmla="*/ 7452 h 9645"/>
                <a:gd name="connsiteX22" fmla="*/ 1365 w 10000"/>
                <a:gd name="connsiteY22" fmla="*/ 7484 h 9645"/>
                <a:gd name="connsiteX23" fmla="*/ 1406 w 10000"/>
                <a:gd name="connsiteY23" fmla="*/ 7612 h 9645"/>
                <a:gd name="connsiteX24" fmla="*/ 1767 w 10000"/>
                <a:gd name="connsiteY24" fmla="*/ 7645 h 9645"/>
                <a:gd name="connsiteX25" fmla="*/ 1968 w 10000"/>
                <a:gd name="connsiteY25" fmla="*/ 7774 h 9645"/>
                <a:gd name="connsiteX26" fmla="*/ 2008 w 10000"/>
                <a:gd name="connsiteY26" fmla="*/ 8000 h 9645"/>
                <a:gd name="connsiteX27" fmla="*/ 2651 w 10000"/>
                <a:gd name="connsiteY27" fmla="*/ 8387 h 9645"/>
                <a:gd name="connsiteX28" fmla="*/ 2811 w 10000"/>
                <a:gd name="connsiteY28" fmla="*/ 8774 h 9645"/>
                <a:gd name="connsiteX29" fmla="*/ 3253 w 10000"/>
                <a:gd name="connsiteY29" fmla="*/ 8968 h 9645"/>
                <a:gd name="connsiteX30" fmla="*/ 3414 w 10000"/>
                <a:gd name="connsiteY30" fmla="*/ 9226 h 9645"/>
                <a:gd name="connsiteX31" fmla="*/ 3735 w 10000"/>
                <a:gd name="connsiteY31" fmla="*/ 9549 h 9645"/>
                <a:gd name="connsiteX32" fmla="*/ 3976 w 10000"/>
                <a:gd name="connsiteY32" fmla="*/ 9645 h 9645"/>
                <a:gd name="connsiteX33" fmla="*/ 4137 w 10000"/>
                <a:gd name="connsiteY33" fmla="*/ 9549 h 9645"/>
                <a:gd name="connsiteX34" fmla="*/ 4538 w 10000"/>
                <a:gd name="connsiteY34" fmla="*/ 9581 h 9645"/>
                <a:gd name="connsiteX35" fmla="*/ 4699 w 10000"/>
                <a:gd name="connsiteY35" fmla="*/ 9516 h 9645"/>
                <a:gd name="connsiteX36" fmla="*/ 4762 w 10000"/>
                <a:gd name="connsiteY36" fmla="*/ 6927 h 9645"/>
                <a:gd name="connsiteX37" fmla="*/ 4901 w 10000"/>
                <a:gd name="connsiteY37" fmla="*/ 6794 h 9645"/>
                <a:gd name="connsiteX38" fmla="*/ 5080 w 10000"/>
                <a:gd name="connsiteY38" fmla="*/ 6889 h 9645"/>
                <a:gd name="connsiteX39" fmla="*/ 5337 w 10000"/>
                <a:gd name="connsiteY39" fmla="*/ 6985 h 9645"/>
                <a:gd name="connsiteX40" fmla="*/ 5564 w 10000"/>
                <a:gd name="connsiteY40" fmla="*/ 7108 h 9645"/>
                <a:gd name="connsiteX41" fmla="*/ 5768 w 10000"/>
                <a:gd name="connsiteY41" fmla="*/ 7028 h 9645"/>
                <a:gd name="connsiteX42" fmla="*/ 5933 w 10000"/>
                <a:gd name="connsiteY42" fmla="*/ 6953 h 9645"/>
                <a:gd name="connsiteX43" fmla="*/ 6089 w 10000"/>
                <a:gd name="connsiteY43" fmla="*/ 6788 h 9645"/>
                <a:gd name="connsiteX44" fmla="*/ 6274 w 10000"/>
                <a:gd name="connsiteY44" fmla="*/ 6562 h 9645"/>
                <a:gd name="connsiteX45" fmla="*/ 6389 w 10000"/>
                <a:gd name="connsiteY45" fmla="*/ 6459 h 9645"/>
                <a:gd name="connsiteX46" fmla="*/ 6524 w 10000"/>
                <a:gd name="connsiteY46" fmla="*/ 6417 h 9645"/>
                <a:gd name="connsiteX47" fmla="*/ 6531 w 10000"/>
                <a:gd name="connsiteY47" fmla="*/ 6285 h 9645"/>
                <a:gd name="connsiteX48" fmla="*/ 6424 w 10000"/>
                <a:gd name="connsiteY48" fmla="*/ 5985 h 9645"/>
                <a:gd name="connsiteX49" fmla="*/ 6602 w 10000"/>
                <a:gd name="connsiteY49" fmla="*/ 5992 h 9645"/>
                <a:gd name="connsiteX50" fmla="*/ 6707 w 10000"/>
                <a:gd name="connsiteY50" fmla="*/ 5879 h 9645"/>
                <a:gd name="connsiteX51" fmla="*/ 6876 w 10000"/>
                <a:gd name="connsiteY51" fmla="*/ 5880 h 9645"/>
                <a:gd name="connsiteX52" fmla="*/ 6827 w 10000"/>
                <a:gd name="connsiteY52" fmla="*/ 6579 h 9645"/>
                <a:gd name="connsiteX53" fmla="*/ 6991 w 10000"/>
                <a:gd name="connsiteY53" fmla="*/ 6658 h 9645"/>
                <a:gd name="connsiteX54" fmla="*/ 7275 w 10000"/>
                <a:gd name="connsiteY54" fmla="*/ 6861 h 9645"/>
                <a:gd name="connsiteX55" fmla="*/ 7430 w 10000"/>
                <a:gd name="connsiteY55" fmla="*/ 6548 h 9645"/>
                <a:gd name="connsiteX56" fmla="*/ 7470 w 10000"/>
                <a:gd name="connsiteY56" fmla="*/ 6580 h 9645"/>
                <a:gd name="connsiteX57" fmla="*/ 7590 w 10000"/>
                <a:gd name="connsiteY57" fmla="*/ 6387 h 9645"/>
                <a:gd name="connsiteX58" fmla="*/ 7831 w 10000"/>
                <a:gd name="connsiteY58" fmla="*/ 6290 h 9645"/>
                <a:gd name="connsiteX59" fmla="*/ 7952 w 10000"/>
                <a:gd name="connsiteY59" fmla="*/ 5935 h 9645"/>
                <a:gd name="connsiteX60" fmla="*/ 8313 w 10000"/>
                <a:gd name="connsiteY60" fmla="*/ 5516 h 9645"/>
                <a:gd name="connsiteX61" fmla="*/ 8594 w 10000"/>
                <a:gd name="connsiteY61" fmla="*/ 5322 h 9645"/>
                <a:gd name="connsiteX62" fmla="*/ 8795 w 10000"/>
                <a:gd name="connsiteY62" fmla="*/ 4774 h 9645"/>
                <a:gd name="connsiteX63" fmla="*/ 8795 w 10000"/>
                <a:gd name="connsiteY63" fmla="*/ 4645 h 9645"/>
                <a:gd name="connsiteX64" fmla="*/ 8755 w 10000"/>
                <a:gd name="connsiteY64" fmla="*/ 4323 h 9645"/>
                <a:gd name="connsiteX65" fmla="*/ 9157 w 10000"/>
                <a:gd name="connsiteY65" fmla="*/ 3161 h 9645"/>
                <a:gd name="connsiteX66" fmla="*/ 9277 w 10000"/>
                <a:gd name="connsiteY66" fmla="*/ 3161 h 9645"/>
                <a:gd name="connsiteX67" fmla="*/ 9438 w 10000"/>
                <a:gd name="connsiteY67" fmla="*/ 3065 h 9645"/>
                <a:gd name="connsiteX68" fmla="*/ 9920 w 10000"/>
                <a:gd name="connsiteY68" fmla="*/ 2903 h 9645"/>
                <a:gd name="connsiteX69" fmla="*/ 10000 w 10000"/>
                <a:gd name="connsiteY69" fmla="*/ 2645 h 9645"/>
                <a:gd name="connsiteX70" fmla="*/ 9960 w 10000"/>
                <a:gd name="connsiteY70" fmla="*/ 2580 h 9645"/>
                <a:gd name="connsiteX71" fmla="*/ 9799 w 10000"/>
                <a:gd name="connsiteY71" fmla="*/ 2580 h 9645"/>
                <a:gd name="connsiteX72" fmla="*/ 9679 w 10000"/>
                <a:gd name="connsiteY72" fmla="*/ 2420 h 9645"/>
                <a:gd name="connsiteX73" fmla="*/ 9438 w 10000"/>
                <a:gd name="connsiteY73" fmla="*/ 2355 h 9645"/>
                <a:gd name="connsiteX74" fmla="*/ 9317 w 10000"/>
                <a:gd name="connsiteY74" fmla="*/ 2226 h 9645"/>
                <a:gd name="connsiteX75" fmla="*/ 9237 w 10000"/>
                <a:gd name="connsiteY75" fmla="*/ 1742 h 9645"/>
                <a:gd name="connsiteX76" fmla="*/ 9237 w 10000"/>
                <a:gd name="connsiteY76" fmla="*/ 1064 h 9645"/>
                <a:gd name="connsiteX77" fmla="*/ 9036 w 10000"/>
                <a:gd name="connsiteY77" fmla="*/ 839 h 9645"/>
                <a:gd name="connsiteX78" fmla="*/ 8996 w 10000"/>
                <a:gd name="connsiteY78" fmla="*/ 613 h 9645"/>
                <a:gd name="connsiteX79" fmla="*/ 8675 w 10000"/>
                <a:gd name="connsiteY79" fmla="*/ 290 h 9645"/>
                <a:gd name="connsiteX80" fmla="*/ 8394 w 10000"/>
                <a:gd name="connsiteY80" fmla="*/ 162 h 9645"/>
                <a:gd name="connsiteX81" fmla="*/ 8233 w 10000"/>
                <a:gd name="connsiteY81" fmla="*/ 0 h 9645"/>
                <a:gd name="connsiteX82" fmla="*/ 7992 w 10000"/>
                <a:gd name="connsiteY82" fmla="*/ 162 h 9645"/>
                <a:gd name="connsiteX83" fmla="*/ 7831 w 10000"/>
                <a:gd name="connsiteY83" fmla="*/ 129 h 9645"/>
                <a:gd name="connsiteX84" fmla="*/ 7711 w 10000"/>
                <a:gd name="connsiteY84" fmla="*/ 419 h 9645"/>
                <a:gd name="connsiteX85" fmla="*/ 7390 w 10000"/>
                <a:gd name="connsiteY85" fmla="*/ 484 h 9645"/>
                <a:gd name="connsiteX86" fmla="*/ 7309 w 10000"/>
                <a:gd name="connsiteY86" fmla="*/ 709 h 9645"/>
                <a:gd name="connsiteX87" fmla="*/ 7028 w 10000"/>
                <a:gd name="connsiteY87" fmla="*/ 709 h 9645"/>
                <a:gd name="connsiteX88" fmla="*/ 6787 w 10000"/>
                <a:gd name="connsiteY88" fmla="*/ 613 h 9645"/>
                <a:gd name="connsiteX89" fmla="*/ 6265 w 10000"/>
                <a:gd name="connsiteY89" fmla="*/ 613 h 9645"/>
                <a:gd name="connsiteX90" fmla="*/ 5743 w 10000"/>
                <a:gd name="connsiteY90" fmla="*/ 613 h 9645"/>
                <a:gd name="connsiteX91" fmla="*/ 5783 w 10000"/>
                <a:gd name="connsiteY91" fmla="*/ 484 h 9645"/>
                <a:gd name="connsiteX92" fmla="*/ 5703 w 10000"/>
                <a:gd name="connsiteY92" fmla="*/ 484 h 9645"/>
                <a:gd name="connsiteX93" fmla="*/ 5663 w 10000"/>
                <a:gd name="connsiteY93" fmla="*/ 613 h 9645"/>
                <a:gd name="connsiteX94" fmla="*/ 5181 w 10000"/>
                <a:gd name="connsiteY94" fmla="*/ 613 h 9645"/>
                <a:gd name="connsiteX95" fmla="*/ 4699 w 10000"/>
                <a:gd name="connsiteY95" fmla="*/ 613 h 9645"/>
                <a:gd name="connsiteX96" fmla="*/ 4217 w 10000"/>
                <a:gd name="connsiteY96" fmla="*/ 613 h 9645"/>
                <a:gd name="connsiteX97" fmla="*/ 3735 w 10000"/>
                <a:gd name="connsiteY97" fmla="*/ 613 h 9645"/>
                <a:gd name="connsiteX98" fmla="*/ 3293 w 10000"/>
                <a:gd name="connsiteY98" fmla="*/ 613 h 9645"/>
                <a:gd name="connsiteX99" fmla="*/ 2811 w 10000"/>
                <a:gd name="connsiteY99" fmla="*/ 613 h 9645"/>
                <a:gd name="connsiteX100" fmla="*/ 2369 w 10000"/>
                <a:gd name="connsiteY100" fmla="*/ 613 h 9645"/>
                <a:gd name="connsiteX101" fmla="*/ 1888 w 10000"/>
                <a:gd name="connsiteY101" fmla="*/ 613 h 9645"/>
                <a:gd name="connsiteX102" fmla="*/ 1888 w 10000"/>
                <a:gd name="connsiteY102" fmla="*/ 1064 h 9645"/>
                <a:gd name="connsiteX103" fmla="*/ 1888 w 10000"/>
                <a:gd name="connsiteY103" fmla="*/ 1645 h 9645"/>
                <a:gd name="connsiteX104" fmla="*/ 1285 w 10000"/>
                <a:gd name="connsiteY104" fmla="*/ 1645 h 9645"/>
                <a:gd name="connsiteX105" fmla="*/ 1285 w 10000"/>
                <a:gd name="connsiteY105" fmla="*/ 1903 h 9645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37 w 10000"/>
                <a:gd name="connsiteY33" fmla="*/ 9900 h 10000"/>
                <a:gd name="connsiteX34" fmla="*/ 4538 w 10000"/>
                <a:gd name="connsiteY34" fmla="*/ 9934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37 w 10000"/>
                <a:gd name="connsiteY33" fmla="*/ 9900 h 10000"/>
                <a:gd name="connsiteX34" fmla="*/ 4406 w 10000"/>
                <a:gd name="connsiteY34" fmla="*/ 7531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53 w 10000"/>
                <a:gd name="connsiteY33" fmla="*/ 7579 h 10000"/>
                <a:gd name="connsiteX34" fmla="*/ 4406 w 10000"/>
                <a:gd name="connsiteY34" fmla="*/ 7531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9900"/>
                <a:gd name="connsiteX1" fmla="*/ 1285 w 10000"/>
                <a:gd name="connsiteY1" fmla="*/ 2509 h 9900"/>
                <a:gd name="connsiteX2" fmla="*/ 1285 w 10000"/>
                <a:gd name="connsiteY2" fmla="*/ 3010 h 9900"/>
                <a:gd name="connsiteX3" fmla="*/ 1285 w 10000"/>
                <a:gd name="connsiteY3" fmla="*/ 3512 h 9900"/>
                <a:gd name="connsiteX4" fmla="*/ 1285 w 10000"/>
                <a:gd name="connsiteY4" fmla="*/ 3979 h 9900"/>
                <a:gd name="connsiteX5" fmla="*/ 643 w 10000"/>
                <a:gd name="connsiteY5" fmla="*/ 4081 h 9900"/>
                <a:gd name="connsiteX6" fmla="*/ 522 w 10000"/>
                <a:gd name="connsiteY6" fmla="*/ 4347 h 9900"/>
                <a:gd name="connsiteX7" fmla="*/ 241 w 10000"/>
                <a:gd name="connsiteY7" fmla="*/ 4682 h 9900"/>
                <a:gd name="connsiteX8" fmla="*/ 241 w 10000"/>
                <a:gd name="connsiteY8" fmla="*/ 4950 h 9900"/>
                <a:gd name="connsiteX9" fmla="*/ 120 w 10000"/>
                <a:gd name="connsiteY9" fmla="*/ 5016 h 9900"/>
                <a:gd name="connsiteX10" fmla="*/ 120 w 10000"/>
                <a:gd name="connsiteY10" fmla="*/ 5250 h 9900"/>
                <a:gd name="connsiteX11" fmla="*/ 0 w 10000"/>
                <a:gd name="connsiteY11" fmla="*/ 5452 h 9900"/>
                <a:gd name="connsiteX12" fmla="*/ 0 w 10000"/>
                <a:gd name="connsiteY12" fmla="*/ 5618 h 9900"/>
                <a:gd name="connsiteX13" fmla="*/ 241 w 10000"/>
                <a:gd name="connsiteY13" fmla="*/ 5585 h 9900"/>
                <a:gd name="connsiteX14" fmla="*/ 281 w 10000"/>
                <a:gd name="connsiteY14" fmla="*/ 5886 h 9900"/>
                <a:gd name="connsiteX15" fmla="*/ 602 w 10000"/>
                <a:gd name="connsiteY15" fmla="*/ 6422 h 9900"/>
                <a:gd name="connsiteX16" fmla="*/ 602 w 10000"/>
                <a:gd name="connsiteY16" fmla="*/ 6455 h 9900"/>
                <a:gd name="connsiteX17" fmla="*/ 482 w 10000"/>
                <a:gd name="connsiteY17" fmla="*/ 6488 h 9900"/>
                <a:gd name="connsiteX18" fmla="*/ 964 w 10000"/>
                <a:gd name="connsiteY18" fmla="*/ 7023 h 9900"/>
                <a:gd name="connsiteX19" fmla="*/ 1004 w 10000"/>
                <a:gd name="connsiteY19" fmla="*/ 7190 h 9900"/>
                <a:gd name="connsiteX20" fmla="*/ 964 w 10000"/>
                <a:gd name="connsiteY20" fmla="*/ 7659 h 9900"/>
                <a:gd name="connsiteX21" fmla="*/ 1044 w 10000"/>
                <a:gd name="connsiteY21" fmla="*/ 7726 h 9900"/>
                <a:gd name="connsiteX22" fmla="*/ 1365 w 10000"/>
                <a:gd name="connsiteY22" fmla="*/ 7759 h 9900"/>
                <a:gd name="connsiteX23" fmla="*/ 1406 w 10000"/>
                <a:gd name="connsiteY23" fmla="*/ 7892 h 9900"/>
                <a:gd name="connsiteX24" fmla="*/ 1767 w 10000"/>
                <a:gd name="connsiteY24" fmla="*/ 7926 h 9900"/>
                <a:gd name="connsiteX25" fmla="*/ 1968 w 10000"/>
                <a:gd name="connsiteY25" fmla="*/ 8060 h 9900"/>
                <a:gd name="connsiteX26" fmla="*/ 2008 w 10000"/>
                <a:gd name="connsiteY26" fmla="*/ 8294 h 9900"/>
                <a:gd name="connsiteX27" fmla="*/ 2651 w 10000"/>
                <a:gd name="connsiteY27" fmla="*/ 8696 h 9900"/>
                <a:gd name="connsiteX28" fmla="*/ 2811 w 10000"/>
                <a:gd name="connsiteY28" fmla="*/ 9097 h 9900"/>
                <a:gd name="connsiteX29" fmla="*/ 3253 w 10000"/>
                <a:gd name="connsiteY29" fmla="*/ 9298 h 9900"/>
                <a:gd name="connsiteX30" fmla="*/ 3414 w 10000"/>
                <a:gd name="connsiteY30" fmla="*/ 9566 h 9900"/>
                <a:gd name="connsiteX31" fmla="*/ 3735 w 10000"/>
                <a:gd name="connsiteY31" fmla="*/ 9900 h 9900"/>
                <a:gd name="connsiteX32" fmla="*/ 3795 w 10000"/>
                <a:gd name="connsiteY32" fmla="*/ 7514 h 9900"/>
                <a:gd name="connsiteX33" fmla="*/ 4153 w 10000"/>
                <a:gd name="connsiteY33" fmla="*/ 7579 h 9900"/>
                <a:gd name="connsiteX34" fmla="*/ 4406 w 10000"/>
                <a:gd name="connsiteY34" fmla="*/ 7531 h 9900"/>
                <a:gd name="connsiteX35" fmla="*/ 4600 w 10000"/>
                <a:gd name="connsiteY35" fmla="*/ 7408 h 9900"/>
                <a:gd name="connsiteX36" fmla="*/ 4762 w 10000"/>
                <a:gd name="connsiteY36" fmla="*/ 7182 h 9900"/>
                <a:gd name="connsiteX37" fmla="*/ 4901 w 10000"/>
                <a:gd name="connsiteY37" fmla="*/ 7044 h 9900"/>
                <a:gd name="connsiteX38" fmla="*/ 5080 w 10000"/>
                <a:gd name="connsiteY38" fmla="*/ 7143 h 9900"/>
                <a:gd name="connsiteX39" fmla="*/ 5337 w 10000"/>
                <a:gd name="connsiteY39" fmla="*/ 7242 h 9900"/>
                <a:gd name="connsiteX40" fmla="*/ 5564 w 10000"/>
                <a:gd name="connsiteY40" fmla="*/ 7370 h 9900"/>
                <a:gd name="connsiteX41" fmla="*/ 5768 w 10000"/>
                <a:gd name="connsiteY41" fmla="*/ 7287 h 9900"/>
                <a:gd name="connsiteX42" fmla="*/ 5933 w 10000"/>
                <a:gd name="connsiteY42" fmla="*/ 7209 h 9900"/>
                <a:gd name="connsiteX43" fmla="*/ 6089 w 10000"/>
                <a:gd name="connsiteY43" fmla="*/ 7038 h 9900"/>
                <a:gd name="connsiteX44" fmla="*/ 6274 w 10000"/>
                <a:gd name="connsiteY44" fmla="*/ 6804 h 9900"/>
                <a:gd name="connsiteX45" fmla="*/ 6389 w 10000"/>
                <a:gd name="connsiteY45" fmla="*/ 6697 h 9900"/>
                <a:gd name="connsiteX46" fmla="*/ 6524 w 10000"/>
                <a:gd name="connsiteY46" fmla="*/ 6653 h 9900"/>
                <a:gd name="connsiteX47" fmla="*/ 6531 w 10000"/>
                <a:gd name="connsiteY47" fmla="*/ 6516 h 9900"/>
                <a:gd name="connsiteX48" fmla="*/ 6424 w 10000"/>
                <a:gd name="connsiteY48" fmla="*/ 6205 h 9900"/>
                <a:gd name="connsiteX49" fmla="*/ 6602 w 10000"/>
                <a:gd name="connsiteY49" fmla="*/ 6213 h 9900"/>
                <a:gd name="connsiteX50" fmla="*/ 6707 w 10000"/>
                <a:gd name="connsiteY50" fmla="*/ 6095 h 9900"/>
                <a:gd name="connsiteX51" fmla="*/ 6876 w 10000"/>
                <a:gd name="connsiteY51" fmla="*/ 6096 h 9900"/>
                <a:gd name="connsiteX52" fmla="*/ 6827 w 10000"/>
                <a:gd name="connsiteY52" fmla="*/ 6821 h 9900"/>
                <a:gd name="connsiteX53" fmla="*/ 6991 w 10000"/>
                <a:gd name="connsiteY53" fmla="*/ 6903 h 9900"/>
                <a:gd name="connsiteX54" fmla="*/ 7275 w 10000"/>
                <a:gd name="connsiteY54" fmla="*/ 7114 h 9900"/>
                <a:gd name="connsiteX55" fmla="*/ 7430 w 10000"/>
                <a:gd name="connsiteY55" fmla="*/ 6789 h 9900"/>
                <a:gd name="connsiteX56" fmla="*/ 7470 w 10000"/>
                <a:gd name="connsiteY56" fmla="*/ 6822 h 9900"/>
                <a:gd name="connsiteX57" fmla="*/ 7590 w 10000"/>
                <a:gd name="connsiteY57" fmla="*/ 6622 h 9900"/>
                <a:gd name="connsiteX58" fmla="*/ 7831 w 10000"/>
                <a:gd name="connsiteY58" fmla="*/ 6522 h 9900"/>
                <a:gd name="connsiteX59" fmla="*/ 7952 w 10000"/>
                <a:gd name="connsiteY59" fmla="*/ 6153 h 9900"/>
                <a:gd name="connsiteX60" fmla="*/ 8313 w 10000"/>
                <a:gd name="connsiteY60" fmla="*/ 5719 h 9900"/>
                <a:gd name="connsiteX61" fmla="*/ 8594 w 10000"/>
                <a:gd name="connsiteY61" fmla="*/ 5518 h 9900"/>
                <a:gd name="connsiteX62" fmla="*/ 8795 w 10000"/>
                <a:gd name="connsiteY62" fmla="*/ 4950 h 9900"/>
                <a:gd name="connsiteX63" fmla="*/ 8795 w 10000"/>
                <a:gd name="connsiteY63" fmla="*/ 4816 h 9900"/>
                <a:gd name="connsiteX64" fmla="*/ 8755 w 10000"/>
                <a:gd name="connsiteY64" fmla="*/ 4482 h 9900"/>
                <a:gd name="connsiteX65" fmla="*/ 9157 w 10000"/>
                <a:gd name="connsiteY65" fmla="*/ 3277 h 9900"/>
                <a:gd name="connsiteX66" fmla="*/ 9277 w 10000"/>
                <a:gd name="connsiteY66" fmla="*/ 3277 h 9900"/>
                <a:gd name="connsiteX67" fmla="*/ 9438 w 10000"/>
                <a:gd name="connsiteY67" fmla="*/ 3178 h 9900"/>
                <a:gd name="connsiteX68" fmla="*/ 9920 w 10000"/>
                <a:gd name="connsiteY68" fmla="*/ 3010 h 9900"/>
                <a:gd name="connsiteX69" fmla="*/ 10000 w 10000"/>
                <a:gd name="connsiteY69" fmla="*/ 2742 h 9900"/>
                <a:gd name="connsiteX70" fmla="*/ 9960 w 10000"/>
                <a:gd name="connsiteY70" fmla="*/ 2675 h 9900"/>
                <a:gd name="connsiteX71" fmla="*/ 9799 w 10000"/>
                <a:gd name="connsiteY71" fmla="*/ 2675 h 9900"/>
                <a:gd name="connsiteX72" fmla="*/ 9679 w 10000"/>
                <a:gd name="connsiteY72" fmla="*/ 2509 h 9900"/>
                <a:gd name="connsiteX73" fmla="*/ 9438 w 10000"/>
                <a:gd name="connsiteY73" fmla="*/ 2442 h 9900"/>
                <a:gd name="connsiteX74" fmla="*/ 9317 w 10000"/>
                <a:gd name="connsiteY74" fmla="*/ 2308 h 9900"/>
                <a:gd name="connsiteX75" fmla="*/ 9237 w 10000"/>
                <a:gd name="connsiteY75" fmla="*/ 1806 h 9900"/>
                <a:gd name="connsiteX76" fmla="*/ 9237 w 10000"/>
                <a:gd name="connsiteY76" fmla="*/ 1103 h 9900"/>
                <a:gd name="connsiteX77" fmla="*/ 9036 w 10000"/>
                <a:gd name="connsiteY77" fmla="*/ 870 h 9900"/>
                <a:gd name="connsiteX78" fmla="*/ 8996 w 10000"/>
                <a:gd name="connsiteY78" fmla="*/ 636 h 9900"/>
                <a:gd name="connsiteX79" fmla="*/ 8675 w 10000"/>
                <a:gd name="connsiteY79" fmla="*/ 301 h 9900"/>
                <a:gd name="connsiteX80" fmla="*/ 8394 w 10000"/>
                <a:gd name="connsiteY80" fmla="*/ 168 h 9900"/>
                <a:gd name="connsiteX81" fmla="*/ 8233 w 10000"/>
                <a:gd name="connsiteY81" fmla="*/ 0 h 9900"/>
                <a:gd name="connsiteX82" fmla="*/ 7992 w 10000"/>
                <a:gd name="connsiteY82" fmla="*/ 168 h 9900"/>
                <a:gd name="connsiteX83" fmla="*/ 7831 w 10000"/>
                <a:gd name="connsiteY83" fmla="*/ 134 h 9900"/>
                <a:gd name="connsiteX84" fmla="*/ 7711 w 10000"/>
                <a:gd name="connsiteY84" fmla="*/ 434 h 9900"/>
                <a:gd name="connsiteX85" fmla="*/ 7390 w 10000"/>
                <a:gd name="connsiteY85" fmla="*/ 502 h 9900"/>
                <a:gd name="connsiteX86" fmla="*/ 7309 w 10000"/>
                <a:gd name="connsiteY86" fmla="*/ 735 h 9900"/>
                <a:gd name="connsiteX87" fmla="*/ 7028 w 10000"/>
                <a:gd name="connsiteY87" fmla="*/ 735 h 9900"/>
                <a:gd name="connsiteX88" fmla="*/ 6787 w 10000"/>
                <a:gd name="connsiteY88" fmla="*/ 636 h 9900"/>
                <a:gd name="connsiteX89" fmla="*/ 6265 w 10000"/>
                <a:gd name="connsiteY89" fmla="*/ 636 h 9900"/>
                <a:gd name="connsiteX90" fmla="*/ 5743 w 10000"/>
                <a:gd name="connsiteY90" fmla="*/ 636 h 9900"/>
                <a:gd name="connsiteX91" fmla="*/ 5783 w 10000"/>
                <a:gd name="connsiteY91" fmla="*/ 502 h 9900"/>
                <a:gd name="connsiteX92" fmla="*/ 5703 w 10000"/>
                <a:gd name="connsiteY92" fmla="*/ 502 h 9900"/>
                <a:gd name="connsiteX93" fmla="*/ 5663 w 10000"/>
                <a:gd name="connsiteY93" fmla="*/ 636 h 9900"/>
                <a:gd name="connsiteX94" fmla="*/ 5181 w 10000"/>
                <a:gd name="connsiteY94" fmla="*/ 636 h 9900"/>
                <a:gd name="connsiteX95" fmla="*/ 4699 w 10000"/>
                <a:gd name="connsiteY95" fmla="*/ 636 h 9900"/>
                <a:gd name="connsiteX96" fmla="*/ 4217 w 10000"/>
                <a:gd name="connsiteY96" fmla="*/ 636 h 9900"/>
                <a:gd name="connsiteX97" fmla="*/ 3735 w 10000"/>
                <a:gd name="connsiteY97" fmla="*/ 636 h 9900"/>
                <a:gd name="connsiteX98" fmla="*/ 3293 w 10000"/>
                <a:gd name="connsiteY98" fmla="*/ 636 h 9900"/>
                <a:gd name="connsiteX99" fmla="*/ 2811 w 10000"/>
                <a:gd name="connsiteY99" fmla="*/ 636 h 9900"/>
                <a:gd name="connsiteX100" fmla="*/ 2369 w 10000"/>
                <a:gd name="connsiteY100" fmla="*/ 636 h 9900"/>
                <a:gd name="connsiteX101" fmla="*/ 1888 w 10000"/>
                <a:gd name="connsiteY101" fmla="*/ 636 h 9900"/>
                <a:gd name="connsiteX102" fmla="*/ 1888 w 10000"/>
                <a:gd name="connsiteY102" fmla="*/ 1103 h 9900"/>
                <a:gd name="connsiteX103" fmla="*/ 1888 w 10000"/>
                <a:gd name="connsiteY103" fmla="*/ 1706 h 9900"/>
                <a:gd name="connsiteX104" fmla="*/ 1285 w 10000"/>
                <a:gd name="connsiteY104" fmla="*/ 1706 h 9900"/>
                <a:gd name="connsiteX105" fmla="*/ 1285 w 10000"/>
                <a:gd name="connsiteY105" fmla="*/ 1973 h 9900"/>
                <a:gd name="connsiteX0" fmla="*/ 1285 w 10000"/>
                <a:gd name="connsiteY0" fmla="*/ 1993 h 9663"/>
                <a:gd name="connsiteX1" fmla="*/ 1285 w 10000"/>
                <a:gd name="connsiteY1" fmla="*/ 2534 h 9663"/>
                <a:gd name="connsiteX2" fmla="*/ 1285 w 10000"/>
                <a:gd name="connsiteY2" fmla="*/ 3040 h 9663"/>
                <a:gd name="connsiteX3" fmla="*/ 1285 w 10000"/>
                <a:gd name="connsiteY3" fmla="*/ 3547 h 9663"/>
                <a:gd name="connsiteX4" fmla="*/ 1285 w 10000"/>
                <a:gd name="connsiteY4" fmla="*/ 4019 h 9663"/>
                <a:gd name="connsiteX5" fmla="*/ 643 w 10000"/>
                <a:gd name="connsiteY5" fmla="*/ 4122 h 9663"/>
                <a:gd name="connsiteX6" fmla="*/ 522 w 10000"/>
                <a:gd name="connsiteY6" fmla="*/ 4391 h 9663"/>
                <a:gd name="connsiteX7" fmla="*/ 241 w 10000"/>
                <a:gd name="connsiteY7" fmla="*/ 4729 h 9663"/>
                <a:gd name="connsiteX8" fmla="*/ 241 w 10000"/>
                <a:gd name="connsiteY8" fmla="*/ 5000 h 9663"/>
                <a:gd name="connsiteX9" fmla="*/ 120 w 10000"/>
                <a:gd name="connsiteY9" fmla="*/ 5067 h 9663"/>
                <a:gd name="connsiteX10" fmla="*/ 120 w 10000"/>
                <a:gd name="connsiteY10" fmla="*/ 5303 h 9663"/>
                <a:gd name="connsiteX11" fmla="*/ 0 w 10000"/>
                <a:gd name="connsiteY11" fmla="*/ 5507 h 9663"/>
                <a:gd name="connsiteX12" fmla="*/ 0 w 10000"/>
                <a:gd name="connsiteY12" fmla="*/ 5675 h 9663"/>
                <a:gd name="connsiteX13" fmla="*/ 241 w 10000"/>
                <a:gd name="connsiteY13" fmla="*/ 5641 h 9663"/>
                <a:gd name="connsiteX14" fmla="*/ 281 w 10000"/>
                <a:gd name="connsiteY14" fmla="*/ 5945 h 9663"/>
                <a:gd name="connsiteX15" fmla="*/ 602 w 10000"/>
                <a:gd name="connsiteY15" fmla="*/ 6487 h 9663"/>
                <a:gd name="connsiteX16" fmla="*/ 602 w 10000"/>
                <a:gd name="connsiteY16" fmla="*/ 6520 h 9663"/>
                <a:gd name="connsiteX17" fmla="*/ 482 w 10000"/>
                <a:gd name="connsiteY17" fmla="*/ 6554 h 9663"/>
                <a:gd name="connsiteX18" fmla="*/ 964 w 10000"/>
                <a:gd name="connsiteY18" fmla="*/ 7094 h 9663"/>
                <a:gd name="connsiteX19" fmla="*/ 1004 w 10000"/>
                <a:gd name="connsiteY19" fmla="*/ 7263 h 9663"/>
                <a:gd name="connsiteX20" fmla="*/ 964 w 10000"/>
                <a:gd name="connsiteY20" fmla="*/ 7736 h 9663"/>
                <a:gd name="connsiteX21" fmla="*/ 1044 w 10000"/>
                <a:gd name="connsiteY21" fmla="*/ 7804 h 9663"/>
                <a:gd name="connsiteX22" fmla="*/ 1365 w 10000"/>
                <a:gd name="connsiteY22" fmla="*/ 7837 h 9663"/>
                <a:gd name="connsiteX23" fmla="*/ 1406 w 10000"/>
                <a:gd name="connsiteY23" fmla="*/ 7972 h 9663"/>
                <a:gd name="connsiteX24" fmla="*/ 1767 w 10000"/>
                <a:gd name="connsiteY24" fmla="*/ 8006 h 9663"/>
                <a:gd name="connsiteX25" fmla="*/ 1968 w 10000"/>
                <a:gd name="connsiteY25" fmla="*/ 8141 h 9663"/>
                <a:gd name="connsiteX26" fmla="*/ 2008 w 10000"/>
                <a:gd name="connsiteY26" fmla="*/ 8378 h 9663"/>
                <a:gd name="connsiteX27" fmla="*/ 2651 w 10000"/>
                <a:gd name="connsiteY27" fmla="*/ 8784 h 9663"/>
                <a:gd name="connsiteX28" fmla="*/ 2811 w 10000"/>
                <a:gd name="connsiteY28" fmla="*/ 9189 h 9663"/>
                <a:gd name="connsiteX29" fmla="*/ 3253 w 10000"/>
                <a:gd name="connsiteY29" fmla="*/ 9392 h 9663"/>
                <a:gd name="connsiteX30" fmla="*/ 3414 w 10000"/>
                <a:gd name="connsiteY30" fmla="*/ 9663 h 9663"/>
                <a:gd name="connsiteX31" fmla="*/ 3537 w 10000"/>
                <a:gd name="connsiteY31" fmla="*/ 7420 h 9663"/>
                <a:gd name="connsiteX32" fmla="*/ 3795 w 10000"/>
                <a:gd name="connsiteY32" fmla="*/ 7590 h 9663"/>
                <a:gd name="connsiteX33" fmla="*/ 4153 w 10000"/>
                <a:gd name="connsiteY33" fmla="*/ 7656 h 9663"/>
                <a:gd name="connsiteX34" fmla="*/ 4406 w 10000"/>
                <a:gd name="connsiteY34" fmla="*/ 7607 h 9663"/>
                <a:gd name="connsiteX35" fmla="*/ 4600 w 10000"/>
                <a:gd name="connsiteY35" fmla="*/ 7483 h 9663"/>
                <a:gd name="connsiteX36" fmla="*/ 4762 w 10000"/>
                <a:gd name="connsiteY36" fmla="*/ 7255 h 9663"/>
                <a:gd name="connsiteX37" fmla="*/ 4901 w 10000"/>
                <a:gd name="connsiteY37" fmla="*/ 7115 h 9663"/>
                <a:gd name="connsiteX38" fmla="*/ 5080 w 10000"/>
                <a:gd name="connsiteY38" fmla="*/ 7215 h 9663"/>
                <a:gd name="connsiteX39" fmla="*/ 5337 w 10000"/>
                <a:gd name="connsiteY39" fmla="*/ 7315 h 9663"/>
                <a:gd name="connsiteX40" fmla="*/ 5564 w 10000"/>
                <a:gd name="connsiteY40" fmla="*/ 7444 h 9663"/>
                <a:gd name="connsiteX41" fmla="*/ 5768 w 10000"/>
                <a:gd name="connsiteY41" fmla="*/ 7361 h 9663"/>
                <a:gd name="connsiteX42" fmla="*/ 5933 w 10000"/>
                <a:gd name="connsiteY42" fmla="*/ 7282 h 9663"/>
                <a:gd name="connsiteX43" fmla="*/ 6089 w 10000"/>
                <a:gd name="connsiteY43" fmla="*/ 7109 h 9663"/>
                <a:gd name="connsiteX44" fmla="*/ 6274 w 10000"/>
                <a:gd name="connsiteY44" fmla="*/ 6873 h 9663"/>
                <a:gd name="connsiteX45" fmla="*/ 6389 w 10000"/>
                <a:gd name="connsiteY45" fmla="*/ 6765 h 9663"/>
                <a:gd name="connsiteX46" fmla="*/ 6524 w 10000"/>
                <a:gd name="connsiteY46" fmla="*/ 6720 h 9663"/>
                <a:gd name="connsiteX47" fmla="*/ 6531 w 10000"/>
                <a:gd name="connsiteY47" fmla="*/ 6582 h 9663"/>
                <a:gd name="connsiteX48" fmla="*/ 6424 w 10000"/>
                <a:gd name="connsiteY48" fmla="*/ 6268 h 9663"/>
                <a:gd name="connsiteX49" fmla="*/ 6602 w 10000"/>
                <a:gd name="connsiteY49" fmla="*/ 6276 h 9663"/>
                <a:gd name="connsiteX50" fmla="*/ 6707 w 10000"/>
                <a:gd name="connsiteY50" fmla="*/ 6157 h 9663"/>
                <a:gd name="connsiteX51" fmla="*/ 6876 w 10000"/>
                <a:gd name="connsiteY51" fmla="*/ 6158 h 9663"/>
                <a:gd name="connsiteX52" fmla="*/ 6827 w 10000"/>
                <a:gd name="connsiteY52" fmla="*/ 6890 h 9663"/>
                <a:gd name="connsiteX53" fmla="*/ 6991 w 10000"/>
                <a:gd name="connsiteY53" fmla="*/ 6973 h 9663"/>
                <a:gd name="connsiteX54" fmla="*/ 7275 w 10000"/>
                <a:gd name="connsiteY54" fmla="*/ 7186 h 9663"/>
                <a:gd name="connsiteX55" fmla="*/ 7430 w 10000"/>
                <a:gd name="connsiteY55" fmla="*/ 6858 h 9663"/>
                <a:gd name="connsiteX56" fmla="*/ 7470 w 10000"/>
                <a:gd name="connsiteY56" fmla="*/ 6891 h 9663"/>
                <a:gd name="connsiteX57" fmla="*/ 7590 w 10000"/>
                <a:gd name="connsiteY57" fmla="*/ 6689 h 9663"/>
                <a:gd name="connsiteX58" fmla="*/ 7831 w 10000"/>
                <a:gd name="connsiteY58" fmla="*/ 6588 h 9663"/>
                <a:gd name="connsiteX59" fmla="*/ 7952 w 10000"/>
                <a:gd name="connsiteY59" fmla="*/ 6215 h 9663"/>
                <a:gd name="connsiteX60" fmla="*/ 8313 w 10000"/>
                <a:gd name="connsiteY60" fmla="*/ 5777 h 9663"/>
                <a:gd name="connsiteX61" fmla="*/ 8594 w 10000"/>
                <a:gd name="connsiteY61" fmla="*/ 5574 h 9663"/>
                <a:gd name="connsiteX62" fmla="*/ 8795 w 10000"/>
                <a:gd name="connsiteY62" fmla="*/ 5000 h 9663"/>
                <a:gd name="connsiteX63" fmla="*/ 8795 w 10000"/>
                <a:gd name="connsiteY63" fmla="*/ 4865 h 9663"/>
                <a:gd name="connsiteX64" fmla="*/ 8755 w 10000"/>
                <a:gd name="connsiteY64" fmla="*/ 4527 h 9663"/>
                <a:gd name="connsiteX65" fmla="*/ 9157 w 10000"/>
                <a:gd name="connsiteY65" fmla="*/ 3310 h 9663"/>
                <a:gd name="connsiteX66" fmla="*/ 9277 w 10000"/>
                <a:gd name="connsiteY66" fmla="*/ 3310 h 9663"/>
                <a:gd name="connsiteX67" fmla="*/ 9438 w 10000"/>
                <a:gd name="connsiteY67" fmla="*/ 3210 h 9663"/>
                <a:gd name="connsiteX68" fmla="*/ 9920 w 10000"/>
                <a:gd name="connsiteY68" fmla="*/ 3040 h 9663"/>
                <a:gd name="connsiteX69" fmla="*/ 10000 w 10000"/>
                <a:gd name="connsiteY69" fmla="*/ 2770 h 9663"/>
                <a:gd name="connsiteX70" fmla="*/ 9960 w 10000"/>
                <a:gd name="connsiteY70" fmla="*/ 2702 h 9663"/>
                <a:gd name="connsiteX71" fmla="*/ 9799 w 10000"/>
                <a:gd name="connsiteY71" fmla="*/ 2702 h 9663"/>
                <a:gd name="connsiteX72" fmla="*/ 9679 w 10000"/>
                <a:gd name="connsiteY72" fmla="*/ 2534 h 9663"/>
                <a:gd name="connsiteX73" fmla="*/ 9438 w 10000"/>
                <a:gd name="connsiteY73" fmla="*/ 2467 h 9663"/>
                <a:gd name="connsiteX74" fmla="*/ 9317 w 10000"/>
                <a:gd name="connsiteY74" fmla="*/ 2331 h 9663"/>
                <a:gd name="connsiteX75" fmla="*/ 9237 w 10000"/>
                <a:gd name="connsiteY75" fmla="*/ 1824 h 9663"/>
                <a:gd name="connsiteX76" fmla="*/ 9237 w 10000"/>
                <a:gd name="connsiteY76" fmla="*/ 1114 h 9663"/>
                <a:gd name="connsiteX77" fmla="*/ 9036 w 10000"/>
                <a:gd name="connsiteY77" fmla="*/ 879 h 9663"/>
                <a:gd name="connsiteX78" fmla="*/ 8996 w 10000"/>
                <a:gd name="connsiteY78" fmla="*/ 642 h 9663"/>
                <a:gd name="connsiteX79" fmla="*/ 8675 w 10000"/>
                <a:gd name="connsiteY79" fmla="*/ 304 h 9663"/>
                <a:gd name="connsiteX80" fmla="*/ 8394 w 10000"/>
                <a:gd name="connsiteY80" fmla="*/ 170 h 9663"/>
                <a:gd name="connsiteX81" fmla="*/ 8233 w 10000"/>
                <a:gd name="connsiteY81" fmla="*/ 0 h 9663"/>
                <a:gd name="connsiteX82" fmla="*/ 7992 w 10000"/>
                <a:gd name="connsiteY82" fmla="*/ 170 h 9663"/>
                <a:gd name="connsiteX83" fmla="*/ 7831 w 10000"/>
                <a:gd name="connsiteY83" fmla="*/ 135 h 9663"/>
                <a:gd name="connsiteX84" fmla="*/ 7711 w 10000"/>
                <a:gd name="connsiteY84" fmla="*/ 438 h 9663"/>
                <a:gd name="connsiteX85" fmla="*/ 7390 w 10000"/>
                <a:gd name="connsiteY85" fmla="*/ 507 h 9663"/>
                <a:gd name="connsiteX86" fmla="*/ 7309 w 10000"/>
                <a:gd name="connsiteY86" fmla="*/ 742 h 9663"/>
                <a:gd name="connsiteX87" fmla="*/ 7028 w 10000"/>
                <a:gd name="connsiteY87" fmla="*/ 742 h 9663"/>
                <a:gd name="connsiteX88" fmla="*/ 6787 w 10000"/>
                <a:gd name="connsiteY88" fmla="*/ 642 h 9663"/>
                <a:gd name="connsiteX89" fmla="*/ 6265 w 10000"/>
                <a:gd name="connsiteY89" fmla="*/ 642 h 9663"/>
                <a:gd name="connsiteX90" fmla="*/ 5743 w 10000"/>
                <a:gd name="connsiteY90" fmla="*/ 642 h 9663"/>
                <a:gd name="connsiteX91" fmla="*/ 5783 w 10000"/>
                <a:gd name="connsiteY91" fmla="*/ 507 h 9663"/>
                <a:gd name="connsiteX92" fmla="*/ 5703 w 10000"/>
                <a:gd name="connsiteY92" fmla="*/ 507 h 9663"/>
                <a:gd name="connsiteX93" fmla="*/ 5663 w 10000"/>
                <a:gd name="connsiteY93" fmla="*/ 642 h 9663"/>
                <a:gd name="connsiteX94" fmla="*/ 5181 w 10000"/>
                <a:gd name="connsiteY94" fmla="*/ 642 h 9663"/>
                <a:gd name="connsiteX95" fmla="*/ 4699 w 10000"/>
                <a:gd name="connsiteY95" fmla="*/ 642 h 9663"/>
                <a:gd name="connsiteX96" fmla="*/ 4217 w 10000"/>
                <a:gd name="connsiteY96" fmla="*/ 642 h 9663"/>
                <a:gd name="connsiteX97" fmla="*/ 3735 w 10000"/>
                <a:gd name="connsiteY97" fmla="*/ 642 h 9663"/>
                <a:gd name="connsiteX98" fmla="*/ 3293 w 10000"/>
                <a:gd name="connsiteY98" fmla="*/ 642 h 9663"/>
                <a:gd name="connsiteX99" fmla="*/ 2811 w 10000"/>
                <a:gd name="connsiteY99" fmla="*/ 642 h 9663"/>
                <a:gd name="connsiteX100" fmla="*/ 2369 w 10000"/>
                <a:gd name="connsiteY100" fmla="*/ 642 h 9663"/>
                <a:gd name="connsiteX101" fmla="*/ 1888 w 10000"/>
                <a:gd name="connsiteY101" fmla="*/ 642 h 9663"/>
                <a:gd name="connsiteX102" fmla="*/ 1888 w 10000"/>
                <a:gd name="connsiteY102" fmla="*/ 1114 h 9663"/>
                <a:gd name="connsiteX103" fmla="*/ 1888 w 10000"/>
                <a:gd name="connsiteY103" fmla="*/ 1723 h 9663"/>
                <a:gd name="connsiteX104" fmla="*/ 1285 w 10000"/>
                <a:gd name="connsiteY104" fmla="*/ 1723 h 9663"/>
                <a:gd name="connsiteX105" fmla="*/ 1285 w 10000"/>
                <a:gd name="connsiteY105" fmla="*/ 1993 h 9663"/>
                <a:gd name="connsiteX0" fmla="*/ 1285 w 10000"/>
                <a:gd name="connsiteY0" fmla="*/ 2063 h 9813"/>
                <a:gd name="connsiteX1" fmla="*/ 1285 w 10000"/>
                <a:gd name="connsiteY1" fmla="*/ 2622 h 9813"/>
                <a:gd name="connsiteX2" fmla="*/ 1285 w 10000"/>
                <a:gd name="connsiteY2" fmla="*/ 3146 h 9813"/>
                <a:gd name="connsiteX3" fmla="*/ 1285 w 10000"/>
                <a:gd name="connsiteY3" fmla="*/ 3671 h 9813"/>
                <a:gd name="connsiteX4" fmla="*/ 1285 w 10000"/>
                <a:gd name="connsiteY4" fmla="*/ 4159 h 9813"/>
                <a:gd name="connsiteX5" fmla="*/ 643 w 10000"/>
                <a:gd name="connsiteY5" fmla="*/ 4266 h 9813"/>
                <a:gd name="connsiteX6" fmla="*/ 522 w 10000"/>
                <a:gd name="connsiteY6" fmla="*/ 4544 h 9813"/>
                <a:gd name="connsiteX7" fmla="*/ 241 w 10000"/>
                <a:gd name="connsiteY7" fmla="*/ 4894 h 9813"/>
                <a:gd name="connsiteX8" fmla="*/ 241 w 10000"/>
                <a:gd name="connsiteY8" fmla="*/ 5174 h 9813"/>
                <a:gd name="connsiteX9" fmla="*/ 120 w 10000"/>
                <a:gd name="connsiteY9" fmla="*/ 5244 h 9813"/>
                <a:gd name="connsiteX10" fmla="*/ 120 w 10000"/>
                <a:gd name="connsiteY10" fmla="*/ 5488 h 9813"/>
                <a:gd name="connsiteX11" fmla="*/ 0 w 10000"/>
                <a:gd name="connsiteY11" fmla="*/ 5699 h 9813"/>
                <a:gd name="connsiteX12" fmla="*/ 0 w 10000"/>
                <a:gd name="connsiteY12" fmla="*/ 5873 h 9813"/>
                <a:gd name="connsiteX13" fmla="*/ 241 w 10000"/>
                <a:gd name="connsiteY13" fmla="*/ 5838 h 9813"/>
                <a:gd name="connsiteX14" fmla="*/ 281 w 10000"/>
                <a:gd name="connsiteY14" fmla="*/ 6152 h 9813"/>
                <a:gd name="connsiteX15" fmla="*/ 602 w 10000"/>
                <a:gd name="connsiteY15" fmla="*/ 6713 h 9813"/>
                <a:gd name="connsiteX16" fmla="*/ 602 w 10000"/>
                <a:gd name="connsiteY16" fmla="*/ 6747 h 9813"/>
                <a:gd name="connsiteX17" fmla="*/ 482 w 10000"/>
                <a:gd name="connsiteY17" fmla="*/ 6783 h 9813"/>
                <a:gd name="connsiteX18" fmla="*/ 964 w 10000"/>
                <a:gd name="connsiteY18" fmla="*/ 7341 h 9813"/>
                <a:gd name="connsiteX19" fmla="*/ 1004 w 10000"/>
                <a:gd name="connsiteY19" fmla="*/ 7516 h 9813"/>
                <a:gd name="connsiteX20" fmla="*/ 964 w 10000"/>
                <a:gd name="connsiteY20" fmla="*/ 8006 h 9813"/>
                <a:gd name="connsiteX21" fmla="*/ 1044 w 10000"/>
                <a:gd name="connsiteY21" fmla="*/ 8076 h 9813"/>
                <a:gd name="connsiteX22" fmla="*/ 1365 w 10000"/>
                <a:gd name="connsiteY22" fmla="*/ 8110 h 9813"/>
                <a:gd name="connsiteX23" fmla="*/ 1406 w 10000"/>
                <a:gd name="connsiteY23" fmla="*/ 8250 h 9813"/>
                <a:gd name="connsiteX24" fmla="*/ 1767 w 10000"/>
                <a:gd name="connsiteY24" fmla="*/ 8285 h 9813"/>
                <a:gd name="connsiteX25" fmla="*/ 1968 w 10000"/>
                <a:gd name="connsiteY25" fmla="*/ 8425 h 9813"/>
                <a:gd name="connsiteX26" fmla="*/ 2008 w 10000"/>
                <a:gd name="connsiteY26" fmla="*/ 8670 h 9813"/>
                <a:gd name="connsiteX27" fmla="*/ 2651 w 10000"/>
                <a:gd name="connsiteY27" fmla="*/ 9090 h 9813"/>
                <a:gd name="connsiteX28" fmla="*/ 2811 w 10000"/>
                <a:gd name="connsiteY28" fmla="*/ 9509 h 9813"/>
                <a:gd name="connsiteX29" fmla="*/ 3253 w 10000"/>
                <a:gd name="connsiteY29" fmla="*/ 9720 h 9813"/>
                <a:gd name="connsiteX30" fmla="*/ 3167 w 10000"/>
                <a:gd name="connsiteY30" fmla="*/ 7732 h 9813"/>
                <a:gd name="connsiteX31" fmla="*/ 3537 w 10000"/>
                <a:gd name="connsiteY31" fmla="*/ 7679 h 9813"/>
                <a:gd name="connsiteX32" fmla="*/ 3795 w 10000"/>
                <a:gd name="connsiteY32" fmla="*/ 7855 h 9813"/>
                <a:gd name="connsiteX33" fmla="*/ 4153 w 10000"/>
                <a:gd name="connsiteY33" fmla="*/ 7923 h 9813"/>
                <a:gd name="connsiteX34" fmla="*/ 4406 w 10000"/>
                <a:gd name="connsiteY34" fmla="*/ 7872 h 9813"/>
                <a:gd name="connsiteX35" fmla="*/ 4600 w 10000"/>
                <a:gd name="connsiteY35" fmla="*/ 7744 h 9813"/>
                <a:gd name="connsiteX36" fmla="*/ 4762 w 10000"/>
                <a:gd name="connsiteY36" fmla="*/ 7508 h 9813"/>
                <a:gd name="connsiteX37" fmla="*/ 4901 w 10000"/>
                <a:gd name="connsiteY37" fmla="*/ 7363 h 9813"/>
                <a:gd name="connsiteX38" fmla="*/ 5080 w 10000"/>
                <a:gd name="connsiteY38" fmla="*/ 7467 h 9813"/>
                <a:gd name="connsiteX39" fmla="*/ 5337 w 10000"/>
                <a:gd name="connsiteY39" fmla="*/ 7570 h 9813"/>
                <a:gd name="connsiteX40" fmla="*/ 5564 w 10000"/>
                <a:gd name="connsiteY40" fmla="*/ 7704 h 9813"/>
                <a:gd name="connsiteX41" fmla="*/ 5768 w 10000"/>
                <a:gd name="connsiteY41" fmla="*/ 7618 h 9813"/>
                <a:gd name="connsiteX42" fmla="*/ 5933 w 10000"/>
                <a:gd name="connsiteY42" fmla="*/ 7536 h 9813"/>
                <a:gd name="connsiteX43" fmla="*/ 6089 w 10000"/>
                <a:gd name="connsiteY43" fmla="*/ 7357 h 9813"/>
                <a:gd name="connsiteX44" fmla="*/ 6274 w 10000"/>
                <a:gd name="connsiteY44" fmla="*/ 7113 h 9813"/>
                <a:gd name="connsiteX45" fmla="*/ 6389 w 10000"/>
                <a:gd name="connsiteY45" fmla="*/ 7001 h 9813"/>
                <a:gd name="connsiteX46" fmla="*/ 6524 w 10000"/>
                <a:gd name="connsiteY46" fmla="*/ 6954 h 9813"/>
                <a:gd name="connsiteX47" fmla="*/ 6531 w 10000"/>
                <a:gd name="connsiteY47" fmla="*/ 6812 h 9813"/>
                <a:gd name="connsiteX48" fmla="*/ 6424 w 10000"/>
                <a:gd name="connsiteY48" fmla="*/ 6487 h 9813"/>
                <a:gd name="connsiteX49" fmla="*/ 6602 w 10000"/>
                <a:gd name="connsiteY49" fmla="*/ 6495 h 9813"/>
                <a:gd name="connsiteX50" fmla="*/ 6707 w 10000"/>
                <a:gd name="connsiteY50" fmla="*/ 6372 h 9813"/>
                <a:gd name="connsiteX51" fmla="*/ 6876 w 10000"/>
                <a:gd name="connsiteY51" fmla="*/ 6373 h 9813"/>
                <a:gd name="connsiteX52" fmla="*/ 6827 w 10000"/>
                <a:gd name="connsiteY52" fmla="*/ 7130 h 9813"/>
                <a:gd name="connsiteX53" fmla="*/ 6991 w 10000"/>
                <a:gd name="connsiteY53" fmla="*/ 7216 h 9813"/>
                <a:gd name="connsiteX54" fmla="*/ 7275 w 10000"/>
                <a:gd name="connsiteY54" fmla="*/ 7437 h 9813"/>
                <a:gd name="connsiteX55" fmla="*/ 7430 w 10000"/>
                <a:gd name="connsiteY55" fmla="*/ 7097 h 9813"/>
                <a:gd name="connsiteX56" fmla="*/ 7470 w 10000"/>
                <a:gd name="connsiteY56" fmla="*/ 7131 h 9813"/>
                <a:gd name="connsiteX57" fmla="*/ 7590 w 10000"/>
                <a:gd name="connsiteY57" fmla="*/ 6922 h 9813"/>
                <a:gd name="connsiteX58" fmla="*/ 7831 w 10000"/>
                <a:gd name="connsiteY58" fmla="*/ 6818 h 9813"/>
                <a:gd name="connsiteX59" fmla="*/ 7952 w 10000"/>
                <a:gd name="connsiteY59" fmla="*/ 6432 h 9813"/>
                <a:gd name="connsiteX60" fmla="*/ 8313 w 10000"/>
                <a:gd name="connsiteY60" fmla="*/ 5978 h 9813"/>
                <a:gd name="connsiteX61" fmla="*/ 8594 w 10000"/>
                <a:gd name="connsiteY61" fmla="*/ 5768 h 9813"/>
                <a:gd name="connsiteX62" fmla="*/ 8795 w 10000"/>
                <a:gd name="connsiteY62" fmla="*/ 5174 h 9813"/>
                <a:gd name="connsiteX63" fmla="*/ 8795 w 10000"/>
                <a:gd name="connsiteY63" fmla="*/ 5035 h 9813"/>
                <a:gd name="connsiteX64" fmla="*/ 8755 w 10000"/>
                <a:gd name="connsiteY64" fmla="*/ 4685 h 9813"/>
                <a:gd name="connsiteX65" fmla="*/ 9157 w 10000"/>
                <a:gd name="connsiteY65" fmla="*/ 3425 h 9813"/>
                <a:gd name="connsiteX66" fmla="*/ 9277 w 10000"/>
                <a:gd name="connsiteY66" fmla="*/ 3425 h 9813"/>
                <a:gd name="connsiteX67" fmla="*/ 9438 w 10000"/>
                <a:gd name="connsiteY67" fmla="*/ 3322 h 9813"/>
                <a:gd name="connsiteX68" fmla="*/ 9920 w 10000"/>
                <a:gd name="connsiteY68" fmla="*/ 3146 h 9813"/>
                <a:gd name="connsiteX69" fmla="*/ 10000 w 10000"/>
                <a:gd name="connsiteY69" fmla="*/ 2867 h 9813"/>
                <a:gd name="connsiteX70" fmla="*/ 9960 w 10000"/>
                <a:gd name="connsiteY70" fmla="*/ 2796 h 9813"/>
                <a:gd name="connsiteX71" fmla="*/ 9799 w 10000"/>
                <a:gd name="connsiteY71" fmla="*/ 2796 h 9813"/>
                <a:gd name="connsiteX72" fmla="*/ 9679 w 10000"/>
                <a:gd name="connsiteY72" fmla="*/ 2622 h 9813"/>
                <a:gd name="connsiteX73" fmla="*/ 9438 w 10000"/>
                <a:gd name="connsiteY73" fmla="*/ 2553 h 9813"/>
                <a:gd name="connsiteX74" fmla="*/ 9317 w 10000"/>
                <a:gd name="connsiteY74" fmla="*/ 2412 h 9813"/>
                <a:gd name="connsiteX75" fmla="*/ 9237 w 10000"/>
                <a:gd name="connsiteY75" fmla="*/ 1888 h 9813"/>
                <a:gd name="connsiteX76" fmla="*/ 9237 w 10000"/>
                <a:gd name="connsiteY76" fmla="*/ 1153 h 9813"/>
                <a:gd name="connsiteX77" fmla="*/ 9036 w 10000"/>
                <a:gd name="connsiteY77" fmla="*/ 910 h 9813"/>
                <a:gd name="connsiteX78" fmla="*/ 8996 w 10000"/>
                <a:gd name="connsiteY78" fmla="*/ 664 h 9813"/>
                <a:gd name="connsiteX79" fmla="*/ 8675 w 10000"/>
                <a:gd name="connsiteY79" fmla="*/ 315 h 9813"/>
                <a:gd name="connsiteX80" fmla="*/ 8394 w 10000"/>
                <a:gd name="connsiteY80" fmla="*/ 176 h 9813"/>
                <a:gd name="connsiteX81" fmla="*/ 8233 w 10000"/>
                <a:gd name="connsiteY81" fmla="*/ 0 h 9813"/>
                <a:gd name="connsiteX82" fmla="*/ 7992 w 10000"/>
                <a:gd name="connsiteY82" fmla="*/ 176 h 9813"/>
                <a:gd name="connsiteX83" fmla="*/ 7831 w 10000"/>
                <a:gd name="connsiteY83" fmla="*/ 140 h 9813"/>
                <a:gd name="connsiteX84" fmla="*/ 7711 w 10000"/>
                <a:gd name="connsiteY84" fmla="*/ 453 h 9813"/>
                <a:gd name="connsiteX85" fmla="*/ 7390 w 10000"/>
                <a:gd name="connsiteY85" fmla="*/ 525 h 9813"/>
                <a:gd name="connsiteX86" fmla="*/ 7309 w 10000"/>
                <a:gd name="connsiteY86" fmla="*/ 768 h 9813"/>
                <a:gd name="connsiteX87" fmla="*/ 7028 w 10000"/>
                <a:gd name="connsiteY87" fmla="*/ 768 h 9813"/>
                <a:gd name="connsiteX88" fmla="*/ 6787 w 10000"/>
                <a:gd name="connsiteY88" fmla="*/ 664 h 9813"/>
                <a:gd name="connsiteX89" fmla="*/ 6265 w 10000"/>
                <a:gd name="connsiteY89" fmla="*/ 664 h 9813"/>
                <a:gd name="connsiteX90" fmla="*/ 5743 w 10000"/>
                <a:gd name="connsiteY90" fmla="*/ 664 h 9813"/>
                <a:gd name="connsiteX91" fmla="*/ 5783 w 10000"/>
                <a:gd name="connsiteY91" fmla="*/ 525 h 9813"/>
                <a:gd name="connsiteX92" fmla="*/ 5703 w 10000"/>
                <a:gd name="connsiteY92" fmla="*/ 525 h 9813"/>
                <a:gd name="connsiteX93" fmla="*/ 5663 w 10000"/>
                <a:gd name="connsiteY93" fmla="*/ 664 h 9813"/>
                <a:gd name="connsiteX94" fmla="*/ 5181 w 10000"/>
                <a:gd name="connsiteY94" fmla="*/ 664 h 9813"/>
                <a:gd name="connsiteX95" fmla="*/ 4699 w 10000"/>
                <a:gd name="connsiteY95" fmla="*/ 664 h 9813"/>
                <a:gd name="connsiteX96" fmla="*/ 4217 w 10000"/>
                <a:gd name="connsiteY96" fmla="*/ 664 h 9813"/>
                <a:gd name="connsiteX97" fmla="*/ 3735 w 10000"/>
                <a:gd name="connsiteY97" fmla="*/ 664 h 9813"/>
                <a:gd name="connsiteX98" fmla="*/ 3293 w 10000"/>
                <a:gd name="connsiteY98" fmla="*/ 664 h 9813"/>
                <a:gd name="connsiteX99" fmla="*/ 2811 w 10000"/>
                <a:gd name="connsiteY99" fmla="*/ 664 h 9813"/>
                <a:gd name="connsiteX100" fmla="*/ 2369 w 10000"/>
                <a:gd name="connsiteY100" fmla="*/ 664 h 9813"/>
                <a:gd name="connsiteX101" fmla="*/ 1888 w 10000"/>
                <a:gd name="connsiteY101" fmla="*/ 664 h 9813"/>
                <a:gd name="connsiteX102" fmla="*/ 1888 w 10000"/>
                <a:gd name="connsiteY102" fmla="*/ 1153 h 9813"/>
                <a:gd name="connsiteX103" fmla="*/ 1888 w 10000"/>
                <a:gd name="connsiteY103" fmla="*/ 1783 h 9813"/>
                <a:gd name="connsiteX104" fmla="*/ 1285 w 10000"/>
                <a:gd name="connsiteY104" fmla="*/ 1783 h 9813"/>
                <a:gd name="connsiteX105" fmla="*/ 1285 w 10000"/>
                <a:gd name="connsiteY105" fmla="*/ 2063 h 9813"/>
                <a:gd name="connsiteX0" fmla="*/ 1285 w 10000"/>
                <a:gd name="connsiteY0" fmla="*/ 2102 h 9690"/>
                <a:gd name="connsiteX1" fmla="*/ 1285 w 10000"/>
                <a:gd name="connsiteY1" fmla="*/ 2672 h 9690"/>
                <a:gd name="connsiteX2" fmla="*/ 1285 w 10000"/>
                <a:gd name="connsiteY2" fmla="*/ 3206 h 9690"/>
                <a:gd name="connsiteX3" fmla="*/ 1285 w 10000"/>
                <a:gd name="connsiteY3" fmla="*/ 3741 h 9690"/>
                <a:gd name="connsiteX4" fmla="*/ 1285 w 10000"/>
                <a:gd name="connsiteY4" fmla="*/ 4238 h 9690"/>
                <a:gd name="connsiteX5" fmla="*/ 643 w 10000"/>
                <a:gd name="connsiteY5" fmla="*/ 4347 h 9690"/>
                <a:gd name="connsiteX6" fmla="*/ 522 w 10000"/>
                <a:gd name="connsiteY6" fmla="*/ 4631 h 9690"/>
                <a:gd name="connsiteX7" fmla="*/ 241 w 10000"/>
                <a:gd name="connsiteY7" fmla="*/ 4987 h 9690"/>
                <a:gd name="connsiteX8" fmla="*/ 241 w 10000"/>
                <a:gd name="connsiteY8" fmla="*/ 5273 h 9690"/>
                <a:gd name="connsiteX9" fmla="*/ 120 w 10000"/>
                <a:gd name="connsiteY9" fmla="*/ 5344 h 9690"/>
                <a:gd name="connsiteX10" fmla="*/ 120 w 10000"/>
                <a:gd name="connsiteY10" fmla="*/ 5593 h 9690"/>
                <a:gd name="connsiteX11" fmla="*/ 0 w 10000"/>
                <a:gd name="connsiteY11" fmla="*/ 5808 h 9690"/>
                <a:gd name="connsiteX12" fmla="*/ 0 w 10000"/>
                <a:gd name="connsiteY12" fmla="*/ 5985 h 9690"/>
                <a:gd name="connsiteX13" fmla="*/ 241 w 10000"/>
                <a:gd name="connsiteY13" fmla="*/ 5949 h 9690"/>
                <a:gd name="connsiteX14" fmla="*/ 281 w 10000"/>
                <a:gd name="connsiteY14" fmla="*/ 6269 h 9690"/>
                <a:gd name="connsiteX15" fmla="*/ 602 w 10000"/>
                <a:gd name="connsiteY15" fmla="*/ 6841 h 9690"/>
                <a:gd name="connsiteX16" fmla="*/ 602 w 10000"/>
                <a:gd name="connsiteY16" fmla="*/ 6876 h 9690"/>
                <a:gd name="connsiteX17" fmla="*/ 482 w 10000"/>
                <a:gd name="connsiteY17" fmla="*/ 6912 h 9690"/>
                <a:gd name="connsiteX18" fmla="*/ 964 w 10000"/>
                <a:gd name="connsiteY18" fmla="*/ 7481 h 9690"/>
                <a:gd name="connsiteX19" fmla="*/ 1004 w 10000"/>
                <a:gd name="connsiteY19" fmla="*/ 7659 h 9690"/>
                <a:gd name="connsiteX20" fmla="*/ 964 w 10000"/>
                <a:gd name="connsiteY20" fmla="*/ 8159 h 9690"/>
                <a:gd name="connsiteX21" fmla="*/ 1044 w 10000"/>
                <a:gd name="connsiteY21" fmla="*/ 8230 h 9690"/>
                <a:gd name="connsiteX22" fmla="*/ 1365 w 10000"/>
                <a:gd name="connsiteY22" fmla="*/ 8265 h 9690"/>
                <a:gd name="connsiteX23" fmla="*/ 1406 w 10000"/>
                <a:gd name="connsiteY23" fmla="*/ 8407 h 9690"/>
                <a:gd name="connsiteX24" fmla="*/ 1767 w 10000"/>
                <a:gd name="connsiteY24" fmla="*/ 8443 h 9690"/>
                <a:gd name="connsiteX25" fmla="*/ 1968 w 10000"/>
                <a:gd name="connsiteY25" fmla="*/ 8586 h 9690"/>
                <a:gd name="connsiteX26" fmla="*/ 2008 w 10000"/>
                <a:gd name="connsiteY26" fmla="*/ 8835 h 9690"/>
                <a:gd name="connsiteX27" fmla="*/ 2651 w 10000"/>
                <a:gd name="connsiteY27" fmla="*/ 9263 h 9690"/>
                <a:gd name="connsiteX28" fmla="*/ 2811 w 10000"/>
                <a:gd name="connsiteY28" fmla="*/ 9690 h 9690"/>
                <a:gd name="connsiteX29" fmla="*/ 2890 w 10000"/>
                <a:gd name="connsiteY29" fmla="*/ 7871 h 9690"/>
                <a:gd name="connsiteX30" fmla="*/ 3167 w 10000"/>
                <a:gd name="connsiteY30" fmla="*/ 7879 h 9690"/>
                <a:gd name="connsiteX31" fmla="*/ 3537 w 10000"/>
                <a:gd name="connsiteY31" fmla="*/ 7825 h 9690"/>
                <a:gd name="connsiteX32" fmla="*/ 3795 w 10000"/>
                <a:gd name="connsiteY32" fmla="*/ 8005 h 9690"/>
                <a:gd name="connsiteX33" fmla="*/ 4153 w 10000"/>
                <a:gd name="connsiteY33" fmla="*/ 8074 h 9690"/>
                <a:gd name="connsiteX34" fmla="*/ 4406 w 10000"/>
                <a:gd name="connsiteY34" fmla="*/ 8022 h 9690"/>
                <a:gd name="connsiteX35" fmla="*/ 4600 w 10000"/>
                <a:gd name="connsiteY35" fmla="*/ 7892 h 9690"/>
                <a:gd name="connsiteX36" fmla="*/ 4762 w 10000"/>
                <a:gd name="connsiteY36" fmla="*/ 7651 h 9690"/>
                <a:gd name="connsiteX37" fmla="*/ 4901 w 10000"/>
                <a:gd name="connsiteY37" fmla="*/ 7503 h 9690"/>
                <a:gd name="connsiteX38" fmla="*/ 5080 w 10000"/>
                <a:gd name="connsiteY38" fmla="*/ 7609 h 9690"/>
                <a:gd name="connsiteX39" fmla="*/ 5337 w 10000"/>
                <a:gd name="connsiteY39" fmla="*/ 7714 h 9690"/>
                <a:gd name="connsiteX40" fmla="*/ 5564 w 10000"/>
                <a:gd name="connsiteY40" fmla="*/ 7851 h 9690"/>
                <a:gd name="connsiteX41" fmla="*/ 5768 w 10000"/>
                <a:gd name="connsiteY41" fmla="*/ 7763 h 9690"/>
                <a:gd name="connsiteX42" fmla="*/ 5933 w 10000"/>
                <a:gd name="connsiteY42" fmla="*/ 7680 h 9690"/>
                <a:gd name="connsiteX43" fmla="*/ 6089 w 10000"/>
                <a:gd name="connsiteY43" fmla="*/ 7497 h 9690"/>
                <a:gd name="connsiteX44" fmla="*/ 6274 w 10000"/>
                <a:gd name="connsiteY44" fmla="*/ 7249 h 9690"/>
                <a:gd name="connsiteX45" fmla="*/ 6389 w 10000"/>
                <a:gd name="connsiteY45" fmla="*/ 7134 h 9690"/>
                <a:gd name="connsiteX46" fmla="*/ 6524 w 10000"/>
                <a:gd name="connsiteY46" fmla="*/ 7087 h 9690"/>
                <a:gd name="connsiteX47" fmla="*/ 6531 w 10000"/>
                <a:gd name="connsiteY47" fmla="*/ 6942 h 9690"/>
                <a:gd name="connsiteX48" fmla="*/ 6424 w 10000"/>
                <a:gd name="connsiteY48" fmla="*/ 6611 h 9690"/>
                <a:gd name="connsiteX49" fmla="*/ 6602 w 10000"/>
                <a:gd name="connsiteY49" fmla="*/ 6619 h 9690"/>
                <a:gd name="connsiteX50" fmla="*/ 6707 w 10000"/>
                <a:gd name="connsiteY50" fmla="*/ 6493 h 9690"/>
                <a:gd name="connsiteX51" fmla="*/ 6876 w 10000"/>
                <a:gd name="connsiteY51" fmla="*/ 6494 h 9690"/>
                <a:gd name="connsiteX52" fmla="*/ 6827 w 10000"/>
                <a:gd name="connsiteY52" fmla="*/ 7266 h 9690"/>
                <a:gd name="connsiteX53" fmla="*/ 6991 w 10000"/>
                <a:gd name="connsiteY53" fmla="*/ 7354 h 9690"/>
                <a:gd name="connsiteX54" fmla="*/ 7275 w 10000"/>
                <a:gd name="connsiteY54" fmla="*/ 7579 h 9690"/>
                <a:gd name="connsiteX55" fmla="*/ 7430 w 10000"/>
                <a:gd name="connsiteY55" fmla="*/ 7232 h 9690"/>
                <a:gd name="connsiteX56" fmla="*/ 7470 w 10000"/>
                <a:gd name="connsiteY56" fmla="*/ 7267 h 9690"/>
                <a:gd name="connsiteX57" fmla="*/ 7590 w 10000"/>
                <a:gd name="connsiteY57" fmla="*/ 7054 h 9690"/>
                <a:gd name="connsiteX58" fmla="*/ 7831 w 10000"/>
                <a:gd name="connsiteY58" fmla="*/ 6948 h 9690"/>
                <a:gd name="connsiteX59" fmla="*/ 7952 w 10000"/>
                <a:gd name="connsiteY59" fmla="*/ 6555 h 9690"/>
                <a:gd name="connsiteX60" fmla="*/ 8313 w 10000"/>
                <a:gd name="connsiteY60" fmla="*/ 6092 h 9690"/>
                <a:gd name="connsiteX61" fmla="*/ 8594 w 10000"/>
                <a:gd name="connsiteY61" fmla="*/ 5878 h 9690"/>
                <a:gd name="connsiteX62" fmla="*/ 8795 w 10000"/>
                <a:gd name="connsiteY62" fmla="*/ 5273 h 9690"/>
                <a:gd name="connsiteX63" fmla="*/ 8795 w 10000"/>
                <a:gd name="connsiteY63" fmla="*/ 5131 h 9690"/>
                <a:gd name="connsiteX64" fmla="*/ 8755 w 10000"/>
                <a:gd name="connsiteY64" fmla="*/ 4774 h 9690"/>
                <a:gd name="connsiteX65" fmla="*/ 9157 w 10000"/>
                <a:gd name="connsiteY65" fmla="*/ 3490 h 9690"/>
                <a:gd name="connsiteX66" fmla="*/ 9277 w 10000"/>
                <a:gd name="connsiteY66" fmla="*/ 3490 h 9690"/>
                <a:gd name="connsiteX67" fmla="*/ 9438 w 10000"/>
                <a:gd name="connsiteY67" fmla="*/ 3385 h 9690"/>
                <a:gd name="connsiteX68" fmla="*/ 9920 w 10000"/>
                <a:gd name="connsiteY68" fmla="*/ 3206 h 9690"/>
                <a:gd name="connsiteX69" fmla="*/ 10000 w 10000"/>
                <a:gd name="connsiteY69" fmla="*/ 2922 h 9690"/>
                <a:gd name="connsiteX70" fmla="*/ 9960 w 10000"/>
                <a:gd name="connsiteY70" fmla="*/ 2849 h 9690"/>
                <a:gd name="connsiteX71" fmla="*/ 9799 w 10000"/>
                <a:gd name="connsiteY71" fmla="*/ 2849 h 9690"/>
                <a:gd name="connsiteX72" fmla="*/ 9679 w 10000"/>
                <a:gd name="connsiteY72" fmla="*/ 2672 h 9690"/>
                <a:gd name="connsiteX73" fmla="*/ 9438 w 10000"/>
                <a:gd name="connsiteY73" fmla="*/ 2602 h 9690"/>
                <a:gd name="connsiteX74" fmla="*/ 9317 w 10000"/>
                <a:gd name="connsiteY74" fmla="*/ 2458 h 9690"/>
                <a:gd name="connsiteX75" fmla="*/ 9237 w 10000"/>
                <a:gd name="connsiteY75" fmla="*/ 1924 h 9690"/>
                <a:gd name="connsiteX76" fmla="*/ 9237 w 10000"/>
                <a:gd name="connsiteY76" fmla="*/ 1175 h 9690"/>
                <a:gd name="connsiteX77" fmla="*/ 9036 w 10000"/>
                <a:gd name="connsiteY77" fmla="*/ 927 h 9690"/>
                <a:gd name="connsiteX78" fmla="*/ 8996 w 10000"/>
                <a:gd name="connsiteY78" fmla="*/ 677 h 9690"/>
                <a:gd name="connsiteX79" fmla="*/ 8675 w 10000"/>
                <a:gd name="connsiteY79" fmla="*/ 321 h 9690"/>
                <a:gd name="connsiteX80" fmla="*/ 8394 w 10000"/>
                <a:gd name="connsiteY80" fmla="*/ 179 h 9690"/>
                <a:gd name="connsiteX81" fmla="*/ 8233 w 10000"/>
                <a:gd name="connsiteY81" fmla="*/ 0 h 9690"/>
                <a:gd name="connsiteX82" fmla="*/ 7992 w 10000"/>
                <a:gd name="connsiteY82" fmla="*/ 179 h 9690"/>
                <a:gd name="connsiteX83" fmla="*/ 7831 w 10000"/>
                <a:gd name="connsiteY83" fmla="*/ 143 h 9690"/>
                <a:gd name="connsiteX84" fmla="*/ 7711 w 10000"/>
                <a:gd name="connsiteY84" fmla="*/ 462 h 9690"/>
                <a:gd name="connsiteX85" fmla="*/ 7390 w 10000"/>
                <a:gd name="connsiteY85" fmla="*/ 535 h 9690"/>
                <a:gd name="connsiteX86" fmla="*/ 7309 w 10000"/>
                <a:gd name="connsiteY86" fmla="*/ 783 h 9690"/>
                <a:gd name="connsiteX87" fmla="*/ 7028 w 10000"/>
                <a:gd name="connsiteY87" fmla="*/ 783 h 9690"/>
                <a:gd name="connsiteX88" fmla="*/ 6787 w 10000"/>
                <a:gd name="connsiteY88" fmla="*/ 677 h 9690"/>
                <a:gd name="connsiteX89" fmla="*/ 6265 w 10000"/>
                <a:gd name="connsiteY89" fmla="*/ 677 h 9690"/>
                <a:gd name="connsiteX90" fmla="*/ 5743 w 10000"/>
                <a:gd name="connsiteY90" fmla="*/ 677 h 9690"/>
                <a:gd name="connsiteX91" fmla="*/ 5783 w 10000"/>
                <a:gd name="connsiteY91" fmla="*/ 535 h 9690"/>
                <a:gd name="connsiteX92" fmla="*/ 5703 w 10000"/>
                <a:gd name="connsiteY92" fmla="*/ 535 h 9690"/>
                <a:gd name="connsiteX93" fmla="*/ 5663 w 10000"/>
                <a:gd name="connsiteY93" fmla="*/ 677 h 9690"/>
                <a:gd name="connsiteX94" fmla="*/ 5181 w 10000"/>
                <a:gd name="connsiteY94" fmla="*/ 677 h 9690"/>
                <a:gd name="connsiteX95" fmla="*/ 4699 w 10000"/>
                <a:gd name="connsiteY95" fmla="*/ 677 h 9690"/>
                <a:gd name="connsiteX96" fmla="*/ 4217 w 10000"/>
                <a:gd name="connsiteY96" fmla="*/ 677 h 9690"/>
                <a:gd name="connsiteX97" fmla="*/ 3735 w 10000"/>
                <a:gd name="connsiteY97" fmla="*/ 677 h 9690"/>
                <a:gd name="connsiteX98" fmla="*/ 3293 w 10000"/>
                <a:gd name="connsiteY98" fmla="*/ 677 h 9690"/>
                <a:gd name="connsiteX99" fmla="*/ 2811 w 10000"/>
                <a:gd name="connsiteY99" fmla="*/ 677 h 9690"/>
                <a:gd name="connsiteX100" fmla="*/ 2369 w 10000"/>
                <a:gd name="connsiteY100" fmla="*/ 677 h 9690"/>
                <a:gd name="connsiteX101" fmla="*/ 1888 w 10000"/>
                <a:gd name="connsiteY101" fmla="*/ 677 h 9690"/>
                <a:gd name="connsiteX102" fmla="*/ 1888 w 10000"/>
                <a:gd name="connsiteY102" fmla="*/ 1175 h 9690"/>
                <a:gd name="connsiteX103" fmla="*/ 1888 w 10000"/>
                <a:gd name="connsiteY103" fmla="*/ 1817 h 9690"/>
                <a:gd name="connsiteX104" fmla="*/ 1285 w 10000"/>
                <a:gd name="connsiteY104" fmla="*/ 1817 h 9690"/>
                <a:gd name="connsiteX105" fmla="*/ 1285 w 10000"/>
                <a:gd name="connsiteY105" fmla="*/ 2102 h 9690"/>
                <a:gd name="connsiteX0" fmla="*/ 1285 w 10000"/>
                <a:gd name="connsiteY0" fmla="*/ 2169 h 9707"/>
                <a:gd name="connsiteX1" fmla="*/ 1285 w 10000"/>
                <a:gd name="connsiteY1" fmla="*/ 2757 h 9707"/>
                <a:gd name="connsiteX2" fmla="*/ 1285 w 10000"/>
                <a:gd name="connsiteY2" fmla="*/ 3309 h 9707"/>
                <a:gd name="connsiteX3" fmla="*/ 1285 w 10000"/>
                <a:gd name="connsiteY3" fmla="*/ 3861 h 9707"/>
                <a:gd name="connsiteX4" fmla="*/ 1285 w 10000"/>
                <a:gd name="connsiteY4" fmla="*/ 4374 h 9707"/>
                <a:gd name="connsiteX5" fmla="*/ 643 w 10000"/>
                <a:gd name="connsiteY5" fmla="*/ 4486 h 9707"/>
                <a:gd name="connsiteX6" fmla="*/ 522 w 10000"/>
                <a:gd name="connsiteY6" fmla="*/ 4779 h 9707"/>
                <a:gd name="connsiteX7" fmla="*/ 241 w 10000"/>
                <a:gd name="connsiteY7" fmla="*/ 5147 h 9707"/>
                <a:gd name="connsiteX8" fmla="*/ 241 w 10000"/>
                <a:gd name="connsiteY8" fmla="*/ 5442 h 9707"/>
                <a:gd name="connsiteX9" fmla="*/ 120 w 10000"/>
                <a:gd name="connsiteY9" fmla="*/ 5515 h 9707"/>
                <a:gd name="connsiteX10" fmla="*/ 120 w 10000"/>
                <a:gd name="connsiteY10" fmla="*/ 5772 h 9707"/>
                <a:gd name="connsiteX11" fmla="*/ 0 w 10000"/>
                <a:gd name="connsiteY11" fmla="*/ 5994 h 9707"/>
                <a:gd name="connsiteX12" fmla="*/ 0 w 10000"/>
                <a:gd name="connsiteY12" fmla="*/ 6176 h 9707"/>
                <a:gd name="connsiteX13" fmla="*/ 241 w 10000"/>
                <a:gd name="connsiteY13" fmla="*/ 6139 h 9707"/>
                <a:gd name="connsiteX14" fmla="*/ 281 w 10000"/>
                <a:gd name="connsiteY14" fmla="*/ 6470 h 9707"/>
                <a:gd name="connsiteX15" fmla="*/ 602 w 10000"/>
                <a:gd name="connsiteY15" fmla="*/ 7060 h 9707"/>
                <a:gd name="connsiteX16" fmla="*/ 602 w 10000"/>
                <a:gd name="connsiteY16" fmla="*/ 7096 h 9707"/>
                <a:gd name="connsiteX17" fmla="*/ 482 w 10000"/>
                <a:gd name="connsiteY17" fmla="*/ 7133 h 9707"/>
                <a:gd name="connsiteX18" fmla="*/ 964 w 10000"/>
                <a:gd name="connsiteY18" fmla="*/ 7720 h 9707"/>
                <a:gd name="connsiteX19" fmla="*/ 1004 w 10000"/>
                <a:gd name="connsiteY19" fmla="*/ 7904 h 9707"/>
                <a:gd name="connsiteX20" fmla="*/ 964 w 10000"/>
                <a:gd name="connsiteY20" fmla="*/ 8420 h 9707"/>
                <a:gd name="connsiteX21" fmla="*/ 1044 w 10000"/>
                <a:gd name="connsiteY21" fmla="*/ 8493 h 9707"/>
                <a:gd name="connsiteX22" fmla="*/ 1365 w 10000"/>
                <a:gd name="connsiteY22" fmla="*/ 8529 h 9707"/>
                <a:gd name="connsiteX23" fmla="*/ 1406 w 10000"/>
                <a:gd name="connsiteY23" fmla="*/ 8676 h 9707"/>
                <a:gd name="connsiteX24" fmla="*/ 1767 w 10000"/>
                <a:gd name="connsiteY24" fmla="*/ 8713 h 9707"/>
                <a:gd name="connsiteX25" fmla="*/ 1968 w 10000"/>
                <a:gd name="connsiteY25" fmla="*/ 8861 h 9707"/>
                <a:gd name="connsiteX26" fmla="*/ 2008 w 10000"/>
                <a:gd name="connsiteY26" fmla="*/ 9118 h 9707"/>
                <a:gd name="connsiteX27" fmla="*/ 2651 w 10000"/>
                <a:gd name="connsiteY27" fmla="*/ 9559 h 9707"/>
                <a:gd name="connsiteX28" fmla="*/ 2679 w 10000"/>
                <a:gd name="connsiteY28" fmla="*/ 8143 h 9707"/>
                <a:gd name="connsiteX29" fmla="*/ 2890 w 10000"/>
                <a:gd name="connsiteY29" fmla="*/ 8123 h 9707"/>
                <a:gd name="connsiteX30" fmla="*/ 3167 w 10000"/>
                <a:gd name="connsiteY30" fmla="*/ 8131 h 9707"/>
                <a:gd name="connsiteX31" fmla="*/ 3537 w 10000"/>
                <a:gd name="connsiteY31" fmla="*/ 8075 h 9707"/>
                <a:gd name="connsiteX32" fmla="*/ 3795 w 10000"/>
                <a:gd name="connsiteY32" fmla="*/ 8261 h 9707"/>
                <a:gd name="connsiteX33" fmla="*/ 4153 w 10000"/>
                <a:gd name="connsiteY33" fmla="*/ 8332 h 9707"/>
                <a:gd name="connsiteX34" fmla="*/ 4406 w 10000"/>
                <a:gd name="connsiteY34" fmla="*/ 8279 h 9707"/>
                <a:gd name="connsiteX35" fmla="*/ 4600 w 10000"/>
                <a:gd name="connsiteY35" fmla="*/ 8144 h 9707"/>
                <a:gd name="connsiteX36" fmla="*/ 4762 w 10000"/>
                <a:gd name="connsiteY36" fmla="*/ 7896 h 9707"/>
                <a:gd name="connsiteX37" fmla="*/ 4901 w 10000"/>
                <a:gd name="connsiteY37" fmla="*/ 7743 h 9707"/>
                <a:gd name="connsiteX38" fmla="*/ 5080 w 10000"/>
                <a:gd name="connsiteY38" fmla="*/ 7852 h 9707"/>
                <a:gd name="connsiteX39" fmla="*/ 5337 w 10000"/>
                <a:gd name="connsiteY39" fmla="*/ 7961 h 9707"/>
                <a:gd name="connsiteX40" fmla="*/ 5564 w 10000"/>
                <a:gd name="connsiteY40" fmla="*/ 8102 h 9707"/>
                <a:gd name="connsiteX41" fmla="*/ 5768 w 10000"/>
                <a:gd name="connsiteY41" fmla="*/ 8011 h 9707"/>
                <a:gd name="connsiteX42" fmla="*/ 5933 w 10000"/>
                <a:gd name="connsiteY42" fmla="*/ 7926 h 9707"/>
                <a:gd name="connsiteX43" fmla="*/ 6089 w 10000"/>
                <a:gd name="connsiteY43" fmla="*/ 7737 h 9707"/>
                <a:gd name="connsiteX44" fmla="*/ 6274 w 10000"/>
                <a:gd name="connsiteY44" fmla="*/ 7481 h 9707"/>
                <a:gd name="connsiteX45" fmla="*/ 6389 w 10000"/>
                <a:gd name="connsiteY45" fmla="*/ 7362 h 9707"/>
                <a:gd name="connsiteX46" fmla="*/ 6524 w 10000"/>
                <a:gd name="connsiteY46" fmla="*/ 7314 h 9707"/>
                <a:gd name="connsiteX47" fmla="*/ 6531 w 10000"/>
                <a:gd name="connsiteY47" fmla="*/ 7164 h 9707"/>
                <a:gd name="connsiteX48" fmla="*/ 6424 w 10000"/>
                <a:gd name="connsiteY48" fmla="*/ 6822 h 9707"/>
                <a:gd name="connsiteX49" fmla="*/ 6602 w 10000"/>
                <a:gd name="connsiteY49" fmla="*/ 6831 h 9707"/>
                <a:gd name="connsiteX50" fmla="*/ 6707 w 10000"/>
                <a:gd name="connsiteY50" fmla="*/ 6701 h 9707"/>
                <a:gd name="connsiteX51" fmla="*/ 6876 w 10000"/>
                <a:gd name="connsiteY51" fmla="*/ 6702 h 9707"/>
                <a:gd name="connsiteX52" fmla="*/ 6827 w 10000"/>
                <a:gd name="connsiteY52" fmla="*/ 7498 h 9707"/>
                <a:gd name="connsiteX53" fmla="*/ 6991 w 10000"/>
                <a:gd name="connsiteY53" fmla="*/ 7589 h 9707"/>
                <a:gd name="connsiteX54" fmla="*/ 7275 w 10000"/>
                <a:gd name="connsiteY54" fmla="*/ 7821 h 9707"/>
                <a:gd name="connsiteX55" fmla="*/ 7430 w 10000"/>
                <a:gd name="connsiteY55" fmla="*/ 7463 h 9707"/>
                <a:gd name="connsiteX56" fmla="*/ 7470 w 10000"/>
                <a:gd name="connsiteY56" fmla="*/ 7499 h 9707"/>
                <a:gd name="connsiteX57" fmla="*/ 7590 w 10000"/>
                <a:gd name="connsiteY57" fmla="*/ 7280 h 9707"/>
                <a:gd name="connsiteX58" fmla="*/ 7831 w 10000"/>
                <a:gd name="connsiteY58" fmla="*/ 7170 h 9707"/>
                <a:gd name="connsiteX59" fmla="*/ 7952 w 10000"/>
                <a:gd name="connsiteY59" fmla="*/ 6765 h 9707"/>
                <a:gd name="connsiteX60" fmla="*/ 8313 w 10000"/>
                <a:gd name="connsiteY60" fmla="*/ 6287 h 9707"/>
                <a:gd name="connsiteX61" fmla="*/ 8594 w 10000"/>
                <a:gd name="connsiteY61" fmla="*/ 6066 h 9707"/>
                <a:gd name="connsiteX62" fmla="*/ 8795 w 10000"/>
                <a:gd name="connsiteY62" fmla="*/ 5442 h 9707"/>
                <a:gd name="connsiteX63" fmla="*/ 8795 w 10000"/>
                <a:gd name="connsiteY63" fmla="*/ 5295 h 9707"/>
                <a:gd name="connsiteX64" fmla="*/ 8755 w 10000"/>
                <a:gd name="connsiteY64" fmla="*/ 4927 h 9707"/>
                <a:gd name="connsiteX65" fmla="*/ 9157 w 10000"/>
                <a:gd name="connsiteY65" fmla="*/ 3602 h 9707"/>
                <a:gd name="connsiteX66" fmla="*/ 9277 w 10000"/>
                <a:gd name="connsiteY66" fmla="*/ 3602 h 9707"/>
                <a:gd name="connsiteX67" fmla="*/ 9438 w 10000"/>
                <a:gd name="connsiteY67" fmla="*/ 3493 h 9707"/>
                <a:gd name="connsiteX68" fmla="*/ 9920 w 10000"/>
                <a:gd name="connsiteY68" fmla="*/ 3309 h 9707"/>
                <a:gd name="connsiteX69" fmla="*/ 10000 w 10000"/>
                <a:gd name="connsiteY69" fmla="*/ 3015 h 9707"/>
                <a:gd name="connsiteX70" fmla="*/ 9960 w 10000"/>
                <a:gd name="connsiteY70" fmla="*/ 2940 h 9707"/>
                <a:gd name="connsiteX71" fmla="*/ 9799 w 10000"/>
                <a:gd name="connsiteY71" fmla="*/ 2940 h 9707"/>
                <a:gd name="connsiteX72" fmla="*/ 9679 w 10000"/>
                <a:gd name="connsiteY72" fmla="*/ 2757 h 9707"/>
                <a:gd name="connsiteX73" fmla="*/ 9438 w 10000"/>
                <a:gd name="connsiteY73" fmla="*/ 2685 h 9707"/>
                <a:gd name="connsiteX74" fmla="*/ 9317 w 10000"/>
                <a:gd name="connsiteY74" fmla="*/ 2537 h 9707"/>
                <a:gd name="connsiteX75" fmla="*/ 9237 w 10000"/>
                <a:gd name="connsiteY75" fmla="*/ 1986 h 9707"/>
                <a:gd name="connsiteX76" fmla="*/ 9237 w 10000"/>
                <a:gd name="connsiteY76" fmla="*/ 1213 h 9707"/>
                <a:gd name="connsiteX77" fmla="*/ 9036 w 10000"/>
                <a:gd name="connsiteY77" fmla="*/ 957 h 9707"/>
                <a:gd name="connsiteX78" fmla="*/ 8996 w 10000"/>
                <a:gd name="connsiteY78" fmla="*/ 699 h 9707"/>
                <a:gd name="connsiteX79" fmla="*/ 8675 w 10000"/>
                <a:gd name="connsiteY79" fmla="*/ 331 h 9707"/>
                <a:gd name="connsiteX80" fmla="*/ 8394 w 10000"/>
                <a:gd name="connsiteY80" fmla="*/ 185 h 9707"/>
                <a:gd name="connsiteX81" fmla="*/ 8233 w 10000"/>
                <a:gd name="connsiteY81" fmla="*/ 0 h 9707"/>
                <a:gd name="connsiteX82" fmla="*/ 7992 w 10000"/>
                <a:gd name="connsiteY82" fmla="*/ 185 h 9707"/>
                <a:gd name="connsiteX83" fmla="*/ 7831 w 10000"/>
                <a:gd name="connsiteY83" fmla="*/ 148 h 9707"/>
                <a:gd name="connsiteX84" fmla="*/ 7711 w 10000"/>
                <a:gd name="connsiteY84" fmla="*/ 477 h 9707"/>
                <a:gd name="connsiteX85" fmla="*/ 7390 w 10000"/>
                <a:gd name="connsiteY85" fmla="*/ 552 h 9707"/>
                <a:gd name="connsiteX86" fmla="*/ 7309 w 10000"/>
                <a:gd name="connsiteY86" fmla="*/ 808 h 9707"/>
                <a:gd name="connsiteX87" fmla="*/ 7028 w 10000"/>
                <a:gd name="connsiteY87" fmla="*/ 808 h 9707"/>
                <a:gd name="connsiteX88" fmla="*/ 6787 w 10000"/>
                <a:gd name="connsiteY88" fmla="*/ 699 h 9707"/>
                <a:gd name="connsiteX89" fmla="*/ 6265 w 10000"/>
                <a:gd name="connsiteY89" fmla="*/ 699 h 9707"/>
                <a:gd name="connsiteX90" fmla="*/ 5743 w 10000"/>
                <a:gd name="connsiteY90" fmla="*/ 699 h 9707"/>
                <a:gd name="connsiteX91" fmla="*/ 5783 w 10000"/>
                <a:gd name="connsiteY91" fmla="*/ 552 h 9707"/>
                <a:gd name="connsiteX92" fmla="*/ 5703 w 10000"/>
                <a:gd name="connsiteY92" fmla="*/ 552 h 9707"/>
                <a:gd name="connsiteX93" fmla="*/ 5663 w 10000"/>
                <a:gd name="connsiteY93" fmla="*/ 699 h 9707"/>
                <a:gd name="connsiteX94" fmla="*/ 5181 w 10000"/>
                <a:gd name="connsiteY94" fmla="*/ 699 h 9707"/>
                <a:gd name="connsiteX95" fmla="*/ 4699 w 10000"/>
                <a:gd name="connsiteY95" fmla="*/ 699 h 9707"/>
                <a:gd name="connsiteX96" fmla="*/ 4217 w 10000"/>
                <a:gd name="connsiteY96" fmla="*/ 699 h 9707"/>
                <a:gd name="connsiteX97" fmla="*/ 3735 w 10000"/>
                <a:gd name="connsiteY97" fmla="*/ 699 h 9707"/>
                <a:gd name="connsiteX98" fmla="*/ 3293 w 10000"/>
                <a:gd name="connsiteY98" fmla="*/ 699 h 9707"/>
                <a:gd name="connsiteX99" fmla="*/ 2811 w 10000"/>
                <a:gd name="connsiteY99" fmla="*/ 699 h 9707"/>
                <a:gd name="connsiteX100" fmla="*/ 2369 w 10000"/>
                <a:gd name="connsiteY100" fmla="*/ 699 h 9707"/>
                <a:gd name="connsiteX101" fmla="*/ 1888 w 10000"/>
                <a:gd name="connsiteY101" fmla="*/ 699 h 9707"/>
                <a:gd name="connsiteX102" fmla="*/ 1888 w 10000"/>
                <a:gd name="connsiteY102" fmla="*/ 1213 h 9707"/>
                <a:gd name="connsiteX103" fmla="*/ 1888 w 10000"/>
                <a:gd name="connsiteY103" fmla="*/ 1875 h 9707"/>
                <a:gd name="connsiteX104" fmla="*/ 1285 w 10000"/>
                <a:gd name="connsiteY104" fmla="*/ 1875 h 9707"/>
                <a:gd name="connsiteX105" fmla="*/ 1285 w 10000"/>
                <a:gd name="connsiteY105" fmla="*/ 2169 h 9707"/>
                <a:gd name="connsiteX0" fmla="*/ 1285 w 10000"/>
                <a:gd name="connsiteY0" fmla="*/ 2234 h 9424"/>
                <a:gd name="connsiteX1" fmla="*/ 1285 w 10000"/>
                <a:gd name="connsiteY1" fmla="*/ 2840 h 9424"/>
                <a:gd name="connsiteX2" fmla="*/ 1285 w 10000"/>
                <a:gd name="connsiteY2" fmla="*/ 3409 h 9424"/>
                <a:gd name="connsiteX3" fmla="*/ 1285 w 10000"/>
                <a:gd name="connsiteY3" fmla="*/ 3978 h 9424"/>
                <a:gd name="connsiteX4" fmla="*/ 1285 w 10000"/>
                <a:gd name="connsiteY4" fmla="*/ 4506 h 9424"/>
                <a:gd name="connsiteX5" fmla="*/ 643 w 10000"/>
                <a:gd name="connsiteY5" fmla="*/ 4621 h 9424"/>
                <a:gd name="connsiteX6" fmla="*/ 522 w 10000"/>
                <a:gd name="connsiteY6" fmla="*/ 4923 h 9424"/>
                <a:gd name="connsiteX7" fmla="*/ 241 w 10000"/>
                <a:gd name="connsiteY7" fmla="*/ 5302 h 9424"/>
                <a:gd name="connsiteX8" fmla="*/ 241 w 10000"/>
                <a:gd name="connsiteY8" fmla="*/ 5606 h 9424"/>
                <a:gd name="connsiteX9" fmla="*/ 120 w 10000"/>
                <a:gd name="connsiteY9" fmla="*/ 5681 h 9424"/>
                <a:gd name="connsiteX10" fmla="*/ 120 w 10000"/>
                <a:gd name="connsiteY10" fmla="*/ 5946 h 9424"/>
                <a:gd name="connsiteX11" fmla="*/ 0 w 10000"/>
                <a:gd name="connsiteY11" fmla="*/ 6175 h 9424"/>
                <a:gd name="connsiteX12" fmla="*/ 0 w 10000"/>
                <a:gd name="connsiteY12" fmla="*/ 6362 h 9424"/>
                <a:gd name="connsiteX13" fmla="*/ 241 w 10000"/>
                <a:gd name="connsiteY13" fmla="*/ 6324 h 9424"/>
                <a:gd name="connsiteX14" fmla="*/ 281 w 10000"/>
                <a:gd name="connsiteY14" fmla="*/ 6665 h 9424"/>
                <a:gd name="connsiteX15" fmla="*/ 602 w 10000"/>
                <a:gd name="connsiteY15" fmla="*/ 7273 h 9424"/>
                <a:gd name="connsiteX16" fmla="*/ 602 w 10000"/>
                <a:gd name="connsiteY16" fmla="*/ 7310 h 9424"/>
                <a:gd name="connsiteX17" fmla="*/ 482 w 10000"/>
                <a:gd name="connsiteY17" fmla="*/ 7348 h 9424"/>
                <a:gd name="connsiteX18" fmla="*/ 964 w 10000"/>
                <a:gd name="connsiteY18" fmla="*/ 7953 h 9424"/>
                <a:gd name="connsiteX19" fmla="*/ 1004 w 10000"/>
                <a:gd name="connsiteY19" fmla="*/ 8143 h 9424"/>
                <a:gd name="connsiteX20" fmla="*/ 964 w 10000"/>
                <a:gd name="connsiteY20" fmla="*/ 8674 h 9424"/>
                <a:gd name="connsiteX21" fmla="*/ 1044 w 10000"/>
                <a:gd name="connsiteY21" fmla="*/ 8749 h 9424"/>
                <a:gd name="connsiteX22" fmla="*/ 1365 w 10000"/>
                <a:gd name="connsiteY22" fmla="*/ 8786 h 9424"/>
                <a:gd name="connsiteX23" fmla="*/ 1406 w 10000"/>
                <a:gd name="connsiteY23" fmla="*/ 8938 h 9424"/>
                <a:gd name="connsiteX24" fmla="*/ 1767 w 10000"/>
                <a:gd name="connsiteY24" fmla="*/ 8976 h 9424"/>
                <a:gd name="connsiteX25" fmla="*/ 1968 w 10000"/>
                <a:gd name="connsiteY25" fmla="*/ 9128 h 9424"/>
                <a:gd name="connsiteX26" fmla="*/ 2008 w 10000"/>
                <a:gd name="connsiteY26" fmla="*/ 9393 h 9424"/>
                <a:gd name="connsiteX27" fmla="*/ 2519 w 10000"/>
                <a:gd name="connsiteY27" fmla="*/ 7935 h 9424"/>
                <a:gd name="connsiteX28" fmla="*/ 2679 w 10000"/>
                <a:gd name="connsiteY28" fmla="*/ 8389 h 9424"/>
                <a:gd name="connsiteX29" fmla="*/ 2890 w 10000"/>
                <a:gd name="connsiteY29" fmla="*/ 8368 h 9424"/>
                <a:gd name="connsiteX30" fmla="*/ 3167 w 10000"/>
                <a:gd name="connsiteY30" fmla="*/ 8376 h 9424"/>
                <a:gd name="connsiteX31" fmla="*/ 3537 w 10000"/>
                <a:gd name="connsiteY31" fmla="*/ 8319 h 9424"/>
                <a:gd name="connsiteX32" fmla="*/ 3795 w 10000"/>
                <a:gd name="connsiteY32" fmla="*/ 8510 h 9424"/>
                <a:gd name="connsiteX33" fmla="*/ 4153 w 10000"/>
                <a:gd name="connsiteY33" fmla="*/ 8583 h 9424"/>
                <a:gd name="connsiteX34" fmla="*/ 4406 w 10000"/>
                <a:gd name="connsiteY34" fmla="*/ 8529 h 9424"/>
                <a:gd name="connsiteX35" fmla="*/ 4600 w 10000"/>
                <a:gd name="connsiteY35" fmla="*/ 8390 h 9424"/>
                <a:gd name="connsiteX36" fmla="*/ 4762 w 10000"/>
                <a:gd name="connsiteY36" fmla="*/ 8134 h 9424"/>
                <a:gd name="connsiteX37" fmla="*/ 4901 w 10000"/>
                <a:gd name="connsiteY37" fmla="*/ 7977 h 9424"/>
                <a:gd name="connsiteX38" fmla="*/ 5080 w 10000"/>
                <a:gd name="connsiteY38" fmla="*/ 8089 h 9424"/>
                <a:gd name="connsiteX39" fmla="*/ 5337 w 10000"/>
                <a:gd name="connsiteY39" fmla="*/ 8201 h 9424"/>
                <a:gd name="connsiteX40" fmla="*/ 5564 w 10000"/>
                <a:gd name="connsiteY40" fmla="*/ 8347 h 9424"/>
                <a:gd name="connsiteX41" fmla="*/ 5768 w 10000"/>
                <a:gd name="connsiteY41" fmla="*/ 8253 h 9424"/>
                <a:gd name="connsiteX42" fmla="*/ 5933 w 10000"/>
                <a:gd name="connsiteY42" fmla="*/ 8165 h 9424"/>
                <a:gd name="connsiteX43" fmla="*/ 6089 w 10000"/>
                <a:gd name="connsiteY43" fmla="*/ 7971 h 9424"/>
                <a:gd name="connsiteX44" fmla="*/ 6274 w 10000"/>
                <a:gd name="connsiteY44" fmla="*/ 7707 h 9424"/>
                <a:gd name="connsiteX45" fmla="*/ 6389 w 10000"/>
                <a:gd name="connsiteY45" fmla="*/ 7584 h 9424"/>
                <a:gd name="connsiteX46" fmla="*/ 6524 w 10000"/>
                <a:gd name="connsiteY46" fmla="*/ 7535 h 9424"/>
                <a:gd name="connsiteX47" fmla="*/ 6531 w 10000"/>
                <a:gd name="connsiteY47" fmla="*/ 7380 h 9424"/>
                <a:gd name="connsiteX48" fmla="*/ 6424 w 10000"/>
                <a:gd name="connsiteY48" fmla="*/ 7028 h 9424"/>
                <a:gd name="connsiteX49" fmla="*/ 6602 w 10000"/>
                <a:gd name="connsiteY49" fmla="*/ 7037 h 9424"/>
                <a:gd name="connsiteX50" fmla="*/ 6707 w 10000"/>
                <a:gd name="connsiteY50" fmla="*/ 6903 h 9424"/>
                <a:gd name="connsiteX51" fmla="*/ 6876 w 10000"/>
                <a:gd name="connsiteY51" fmla="*/ 6904 h 9424"/>
                <a:gd name="connsiteX52" fmla="*/ 6827 w 10000"/>
                <a:gd name="connsiteY52" fmla="*/ 7724 h 9424"/>
                <a:gd name="connsiteX53" fmla="*/ 6991 w 10000"/>
                <a:gd name="connsiteY53" fmla="*/ 7818 h 9424"/>
                <a:gd name="connsiteX54" fmla="*/ 7275 w 10000"/>
                <a:gd name="connsiteY54" fmla="*/ 8057 h 9424"/>
                <a:gd name="connsiteX55" fmla="*/ 7430 w 10000"/>
                <a:gd name="connsiteY55" fmla="*/ 7688 h 9424"/>
                <a:gd name="connsiteX56" fmla="*/ 7470 w 10000"/>
                <a:gd name="connsiteY56" fmla="*/ 7725 h 9424"/>
                <a:gd name="connsiteX57" fmla="*/ 7590 w 10000"/>
                <a:gd name="connsiteY57" fmla="*/ 7500 h 9424"/>
                <a:gd name="connsiteX58" fmla="*/ 7831 w 10000"/>
                <a:gd name="connsiteY58" fmla="*/ 7386 h 9424"/>
                <a:gd name="connsiteX59" fmla="*/ 7952 w 10000"/>
                <a:gd name="connsiteY59" fmla="*/ 6969 h 9424"/>
                <a:gd name="connsiteX60" fmla="*/ 8313 w 10000"/>
                <a:gd name="connsiteY60" fmla="*/ 6477 h 9424"/>
                <a:gd name="connsiteX61" fmla="*/ 8594 w 10000"/>
                <a:gd name="connsiteY61" fmla="*/ 6249 h 9424"/>
                <a:gd name="connsiteX62" fmla="*/ 8795 w 10000"/>
                <a:gd name="connsiteY62" fmla="*/ 5606 h 9424"/>
                <a:gd name="connsiteX63" fmla="*/ 8795 w 10000"/>
                <a:gd name="connsiteY63" fmla="*/ 5455 h 9424"/>
                <a:gd name="connsiteX64" fmla="*/ 8755 w 10000"/>
                <a:gd name="connsiteY64" fmla="*/ 5076 h 9424"/>
                <a:gd name="connsiteX65" fmla="*/ 9157 w 10000"/>
                <a:gd name="connsiteY65" fmla="*/ 3711 h 9424"/>
                <a:gd name="connsiteX66" fmla="*/ 9277 w 10000"/>
                <a:gd name="connsiteY66" fmla="*/ 3711 h 9424"/>
                <a:gd name="connsiteX67" fmla="*/ 9438 w 10000"/>
                <a:gd name="connsiteY67" fmla="*/ 3598 h 9424"/>
                <a:gd name="connsiteX68" fmla="*/ 9920 w 10000"/>
                <a:gd name="connsiteY68" fmla="*/ 3409 h 9424"/>
                <a:gd name="connsiteX69" fmla="*/ 10000 w 10000"/>
                <a:gd name="connsiteY69" fmla="*/ 3106 h 9424"/>
                <a:gd name="connsiteX70" fmla="*/ 9960 w 10000"/>
                <a:gd name="connsiteY70" fmla="*/ 3029 h 9424"/>
                <a:gd name="connsiteX71" fmla="*/ 9799 w 10000"/>
                <a:gd name="connsiteY71" fmla="*/ 3029 h 9424"/>
                <a:gd name="connsiteX72" fmla="*/ 9679 w 10000"/>
                <a:gd name="connsiteY72" fmla="*/ 2840 h 9424"/>
                <a:gd name="connsiteX73" fmla="*/ 9438 w 10000"/>
                <a:gd name="connsiteY73" fmla="*/ 2766 h 9424"/>
                <a:gd name="connsiteX74" fmla="*/ 9317 w 10000"/>
                <a:gd name="connsiteY74" fmla="*/ 2614 h 9424"/>
                <a:gd name="connsiteX75" fmla="*/ 9237 w 10000"/>
                <a:gd name="connsiteY75" fmla="*/ 2046 h 9424"/>
                <a:gd name="connsiteX76" fmla="*/ 9237 w 10000"/>
                <a:gd name="connsiteY76" fmla="*/ 1250 h 9424"/>
                <a:gd name="connsiteX77" fmla="*/ 9036 w 10000"/>
                <a:gd name="connsiteY77" fmla="*/ 986 h 9424"/>
                <a:gd name="connsiteX78" fmla="*/ 8996 w 10000"/>
                <a:gd name="connsiteY78" fmla="*/ 720 h 9424"/>
                <a:gd name="connsiteX79" fmla="*/ 8675 w 10000"/>
                <a:gd name="connsiteY79" fmla="*/ 341 h 9424"/>
                <a:gd name="connsiteX80" fmla="*/ 8394 w 10000"/>
                <a:gd name="connsiteY80" fmla="*/ 191 h 9424"/>
                <a:gd name="connsiteX81" fmla="*/ 8233 w 10000"/>
                <a:gd name="connsiteY81" fmla="*/ 0 h 9424"/>
                <a:gd name="connsiteX82" fmla="*/ 7992 w 10000"/>
                <a:gd name="connsiteY82" fmla="*/ 191 h 9424"/>
                <a:gd name="connsiteX83" fmla="*/ 7831 w 10000"/>
                <a:gd name="connsiteY83" fmla="*/ 152 h 9424"/>
                <a:gd name="connsiteX84" fmla="*/ 7711 w 10000"/>
                <a:gd name="connsiteY84" fmla="*/ 491 h 9424"/>
                <a:gd name="connsiteX85" fmla="*/ 7390 w 10000"/>
                <a:gd name="connsiteY85" fmla="*/ 569 h 9424"/>
                <a:gd name="connsiteX86" fmla="*/ 7309 w 10000"/>
                <a:gd name="connsiteY86" fmla="*/ 832 h 9424"/>
                <a:gd name="connsiteX87" fmla="*/ 7028 w 10000"/>
                <a:gd name="connsiteY87" fmla="*/ 832 h 9424"/>
                <a:gd name="connsiteX88" fmla="*/ 6787 w 10000"/>
                <a:gd name="connsiteY88" fmla="*/ 720 h 9424"/>
                <a:gd name="connsiteX89" fmla="*/ 6265 w 10000"/>
                <a:gd name="connsiteY89" fmla="*/ 720 h 9424"/>
                <a:gd name="connsiteX90" fmla="*/ 5743 w 10000"/>
                <a:gd name="connsiteY90" fmla="*/ 720 h 9424"/>
                <a:gd name="connsiteX91" fmla="*/ 5783 w 10000"/>
                <a:gd name="connsiteY91" fmla="*/ 569 h 9424"/>
                <a:gd name="connsiteX92" fmla="*/ 5703 w 10000"/>
                <a:gd name="connsiteY92" fmla="*/ 569 h 9424"/>
                <a:gd name="connsiteX93" fmla="*/ 5663 w 10000"/>
                <a:gd name="connsiteY93" fmla="*/ 720 h 9424"/>
                <a:gd name="connsiteX94" fmla="*/ 5181 w 10000"/>
                <a:gd name="connsiteY94" fmla="*/ 720 h 9424"/>
                <a:gd name="connsiteX95" fmla="*/ 4699 w 10000"/>
                <a:gd name="connsiteY95" fmla="*/ 720 h 9424"/>
                <a:gd name="connsiteX96" fmla="*/ 4217 w 10000"/>
                <a:gd name="connsiteY96" fmla="*/ 720 h 9424"/>
                <a:gd name="connsiteX97" fmla="*/ 3735 w 10000"/>
                <a:gd name="connsiteY97" fmla="*/ 720 h 9424"/>
                <a:gd name="connsiteX98" fmla="*/ 3293 w 10000"/>
                <a:gd name="connsiteY98" fmla="*/ 720 h 9424"/>
                <a:gd name="connsiteX99" fmla="*/ 2811 w 10000"/>
                <a:gd name="connsiteY99" fmla="*/ 720 h 9424"/>
                <a:gd name="connsiteX100" fmla="*/ 2369 w 10000"/>
                <a:gd name="connsiteY100" fmla="*/ 720 h 9424"/>
                <a:gd name="connsiteX101" fmla="*/ 1888 w 10000"/>
                <a:gd name="connsiteY101" fmla="*/ 720 h 9424"/>
                <a:gd name="connsiteX102" fmla="*/ 1888 w 10000"/>
                <a:gd name="connsiteY102" fmla="*/ 1250 h 9424"/>
                <a:gd name="connsiteX103" fmla="*/ 1888 w 10000"/>
                <a:gd name="connsiteY103" fmla="*/ 1932 h 9424"/>
                <a:gd name="connsiteX104" fmla="*/ 1285 w 10000"/>
                <a:gd name="connsiteY104" fmla="*/ 1932 h 9424"/>
                <a:gd name="connsiteX105" fmla="*/ 1285 w 10000"/>
                <a:gd name="connsiteY105" fmla="*/ 2234 h 9424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9525 h 10000"/>
                <a:gd name="connsiteX25" fmla="*/ 1968 w 10000"/>
                <a:gd name="connsiteY25" fmla="*/ 9686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9525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13 w 10000"/>
                <a:gd name="connsiteY28" fmla="*/ 8588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13 w 10000"/>
                <a:gd name="connsiteY28" fmla="*/ 8588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890 w 10000"/>
                <a:gd name="connsiteY28" fmla="*/ 8879 h 10000"/>
                <a:gd name="connsiteX29" fmla="*/ 3167 w 10000"/>
                <a:gd name="connsiteY29" fmla="*/ 8888 h 10000"/>
                <a:gd name="connsiteX30" fmla="*/ 3537 w 10000"/>
                <a:gd name="connsiteY30" fmla="*/ 8827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424 w 10000"/>
                <a:gd name="connsiteY47" fmla="*/ 7458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3167 w 10000"/>
                <a:gd name="connsiteY29" fmla="*/ 8888 h 10000"/>
                <a:gd name="connsiteX30" fmla="*/ 3537 w 10000"/>
                <a:gd name="connsiteY30" fmla="*/ 8827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424 w 10000"/>
                <a:gd name="connsiteY47" fmla="*/ 7458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60 w 10000"/>
                <a:gd name="connsiteY29" fmla="*/ 8802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572 w 10000"/>
                <a:gd name="connsiteY48" fmla="*/ 7640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572 w 10000"/>
                <a:gd name="connsiteY47" fmla="*/ 7640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9707"/>
                <a:gd name="connsiteX1" fmla="*/ 1285 w 10000"/>
                <a:gd name="connsiteY1" fmla="*/ 3014 h 9707"/>
                <a:gd name="connsiteX2" fmla="*/ 1285 w 10000"/>
                <a:gd name="connsiteY2" fmla="*/ 3617 h 9707"/>
                <a:gd name="connsiteX3" fmla="*/ 1285 w 10000"/>
                <a:gd name="connsiteY3" fmla="*/ 4221 h 9707"/>
                <a:gd name="connsiteX4" fmla="*/ 1285 w 10000"/>
                <a:gd name="connsiteY4" fmla="*/ 4781 h 9707"/>
                <a:gd name="connsiteX5" fmla="*/ 643 w 10000"/>
                <a:gd name="connsiteY5" fmla="*/ 4903 h 9707"/>
                <a:gd name="connsiteX6" fmla="*/ 522 w 10000"/>
                <a:gd name="connsiteY6" fmla="*/ 5224 h 9707"/>
                <a:gd name="connsiteX7" fmla="*/ 241 w 10000"/>
                <a:gd name="connsiteY7" fmla="*/ 5626 h 9707"/>
                <a:gd name="connsiteX8" fmla="*/ 241 w 10000"/>
                <a:gd name="connsiteY8" fmla="*/ 5949 h 9707"/>
                <a:gd name="connsiteX9" fmla="*/ 120 w 10000"/>
                <a:gd name="connsiteY9" fmla="*/ 6028 h 9707"/>
                <a:gd name="connsiteX10" fmla="*/ 120 w 10000"/>
                <a:gd name="connsiteY10" fmla="*/ 6309 h 9707"/>
                <a:gd name="connsiteX11" fmla="*/ 0 w 10000"/>
                <a:gd name="connsiteY11" fmla="*/ 6552 h 9707"/>
                <a:gd name="connsiteX12" fmla="*/ 0 w 10000"/>
                <a:gd name="connsiteY12" fmla="*/ 6751 h 9707"/>
                <a:gd name="connsiteX13" fmla="*/ 241 w 10000"/>
                <a:gd name="connsiteY13" fmla="*/ 6711 h 9707"/>
                <a:gd name="connsiteX14" fmla="*/ 281 w 10000"/>
                <a:gd name="connsiteY14" fmla="*/ 7072 h 9707"/>
                <a:gd name="connsiteX15" fmla="*/ 602 w 10000"/>
                <a:gd name="connsiteY15" fmla="*/ 7718 h 9707"/>
                <a:gd name="connsiteX16" fmla="*/ 602 w 10000"/>
                <a:gd name="connsiteY16" fmla="*/ 7757 h 9707"/>
                <a:gd name="connsiteX17" fmla="*/ 482 w 10000"/>
                <a:gd name="connsiteY17" fmla="*/ 7797 h 9707"/>
                <a:gd name="connsiteX18" fmla="*/ 964 w 10000"/>
                <a:gd name="connsiteY18" fmla="*/ 8439 h 9707"/>
                <a:gd name="connsiteX19" fmla="*/ 1004 w 10000"/>
                <a:gd name="connsiteY19" fmla="*/ 8641 h 9707"/>
                <a:gd name="connsiteX20" fmla="*/ 964 w 10000"/>
                <a:gd name="connsiteY20" fmla="*/ 9204 h 9707"/>
                <a:gd name="connsiteX21" fmla="*/ 1192 w 10000"/>
                <a:gd name="connsiteY21" fmla="*/ 9317 h 9707"/>
                <a:gd name="connsiteX22" fmla="*/ 1332 w 10000"/>
                <a:gd name="connsiteY22" fmla="*/ 8762 h 9707"/>
                <a:gd name="connsiteX23" fmla="*/ 1439 w 10000"/>
                <a:gd name="connsiteY23" fmla="*/ 8857 h 9707"/>
                <a:gd name="connsiteX24" fmla="*/ 1767 w 10000"/>
                <a:gd name="connsiteY24" fmla="*/ 8782 h 9707"/>
                <a:gd name="connsiteX25" fmla="*/ 1951 w 10000"/>
                <a:gd name="connsiteY25" fmla="*/ 8680 h 9707"/>
                <a:gd name="connsiteX26" fmla="*/ 2025 w 10000"/>
                <a:gd name="connsiteY26" fmla="*/ 8433 h 9707"/>
                <a:gd name="connsiteX27" fmla="*/ 2338 w 10000"/>
                <a:gd name="connsiteY27" fmla="*/ 8354 h 9707"/>
                <a:gd name="connsiteX28" fmla="*/ 2643 w 10000"/>
                <a:gd name="connsiteY28" fmla="*/ 8747 h 9707"/>
                <a:gd name="connsiteX29" fmla="*/ 2911 w 10000"/>
                <a:gd name="connsiteY29" fmla="*/ 8918 h 9707"/>
                <a:gd name="connsiteX30" fmla="*/ 3167 w 10000"/>
                <a:gd name="connsiteY30" fmla="*/ 8888 h 9707"/>
                <a:gd name="connsiteX31" fmla="*/ 3795 w 10000"/>
                <a:gd name="connsiteY31" fmla="*/ 9030 h 9707"/>
                <a:gd name="connsiteX32" fmla="*/ 4153 w 10000"/>
                <a:gd name="connsiteY32" fmla="*/ 9108 h 9707"/>
                <a:gd name="connsiteX33" fmla="*/ 4600 w 10000"/>
                <a:gd name="connsiteY33" fmla="*/ 8903 h 9707"/>
                <a:gd name="connsiteX34" fmla="*/ 4762 w 10000"/>
                <a:gd name="connsiteY34" fmla="*/ 8631 h 9707"/>
                <a:gd name="connsiteX35" fmla="*/ 4901 w 10000"/>
                <a:gd name="connsiteY35" fmla="*/ 8465 h 9707"/>
                <a:gd name="connsiteX36" fmla="*/ 5080 w 10000"/>
                <a:gd name="connsiteY36" fmla="*/ 8583 h 9707"/>
                <a:gd name="connsiteX37" fmla="*/ 5337 w 10000"/>
                <a:gd name="connsiteY37" fmla="*/ 8702 h 9707"/>
                <a:gd name="connsiteX38" fmla="*/ 5564 w 10000"/>
                <a:gd name="connsiteY38" fmla="*/ 8857 h 9707"/>
                <a:gd name="connsiteX39" fmla="*/ 5768 w 10000"/>
                <a:gd name="connsiteY39" fmla="*/ 8757 h 9707"/>
                <a:gd name="connsiteX40" fmla="*/ 5933 w 10000"/>
                <a:gd name="connsiteY40" fmla="*/ 8664 h 9707"/>
                <a:gd name="connsiteX41" fmla="*/ 6089 w 10000"/>
                <a:gd name="connsiteY41" fmla="*/ 8458 h 9707"/>
                <a:gd name="connsiteX42" fmla="*/ 6274 w 10000"/>
                <a:gd name="connsiteY42" fmla="*/ 8178 h 9707"/>
                <a:gd name="connsiteX43" fmla="*/ 6389 w 10000"/>
                <a:gd name="connsiteY43" fmla="*/ 8048 h 9707"/>
                <a:gd name="connsiteX44" fmla="*/ 6524 w 10000"/>
                <a:gd name="connsiteY44" fmla="*/ 7996 h 9707"/>
                <a:gd name="connsiteX45" fmla="*/ 6531 w 10000"/>
                <a:gd name="connsiteY45" fmla="*/ 7831 h 9707"/>
                <a:gd name="connsiteX46" fmla="*/ 6572 w 10000"/>
                <a:gd name="connsiteY46" fmla="*/ 7640 h 9707"/>
                <a:gd name="connsiteX47" fmla="*/ 6602 w 10000"/>
                <a:gd name="connsiteY47" fmla="*/ 7467 h 9707"/>
                <a:gd name="connsiteX48" fmla="*/ 6707 w 10000"/>
                <a:gd name="connsiteY48" fmla="*/ 7325 h 9707"/>
                <a:gd name="connsiteX49" fmla="*/ 6876 w 10000"/>
                <a:gd name="connsiteY49" fmla="*/ 7326 h 9707"/>
                <a:gd name="connsiteX50" fmla="*/ 6827 w 10000"/>
                <a:gd name="connsiteY50" fmla="*/ 8196 h 9707"/>
                <a:gd name="connsiteX51" fmla="*/ 6991 w 10000"/>
                <a:gd name="connsiteY51" fmla="*/ 8296 h 9707"/>
                <a:gd name="connsiteX52" fmla="*/ 7275 w 10000"/>
                <a:gd name="connsiteY52" fmla="*/ 8549 h 9707"/>
                <a:gd name="connsiteX53" fmla="*/ 7430 w 10000"/>
                <a:gd name="connsiteY53" fmla="*/ 8158 h 9707"/>
                <a:gd name="connsiteX54" fmla="*/ 7470 w 10000"/>
                <a:gd name="connsiteY54" fmla="*/ 8197 h 9707"/>
                <a:gd name="connsiteX55" fmla="*/ 7590 w 10000"/>
                <a:gd name="connsiteY55" fmla="*/ 7958 h 9707"/>
                <a:gd name="connsiteX56" fmla="*/ 7831 w 10000"/>
                <a:gd name="connsiteY56" fmla="*/ 7837 h 9707"/>
                <a:gd name="connsiteX57" fmla="*/ 7952 w 10000"/>
                <a:gd name="connsiteY57" fmla="*/ 7395 h 9707"/>
                <a:gd name="connsiteX58" fmla="*/ 8313 w 10000"/>
                <a:gd name="connsiteY58" fmla="*/ 6873 h 9707"/>
                <a:gd name="connsiteX59" fmla="*/ 8594 w 10000"/>
                <a:gd name="connsiteY59" fmla="*/ 6631 h 9707"/>
                <a:gd name="connsiteX60" fmla="*/ 8795 w 10000"/>
                <a:gd name="connsiteY60" fmla="*/ 5949 h 9707"/>
                <a:gd name="connsiteX61" fmla="*/ 8795 w 10000"/>
                <a:gd name="connsiteY61" fmla="*/ 5788 h 9707"/>
                <a:gd name="connsiteX62" fmla="*/ 8755 w 10000"/>
                <a:gd name="connsiteY62" fmla="*/ 5386 h 9707"/>
                <a:gd name="connsiteX63" fmla="*/ 9157 w 10000"/>
                <a:gd name="connsiteY63" fmla="*/ 3938 h 9707"/>
                <a:gd name="connsiteX64" fmla="*/ 9277 w 10000"/>
                <a:gd name="connsiteY64" fmla="*/ 3938 h 9707"/>
                <a:gd name="connsiteX65" fmla="*/ 9438 w 10000"/>
                <a:gd name="connsiteY65" fmla="*/ 3818 h 9707"/>
                <a:gd name="connsiteX66" fmla="*/ 9920 w 10000"/>
                <a:gd name="connsiteY66" fmla="*/ 3617 h 9707"/>
                <a:gd name="connsiteX67" fmla="*/ 10000 w 10000"/>
                <a:gd name="connsiteY67" fmla="*/ 3296 h 9707"/>
                <a:gd name="connsiteX68" fmla="*/ 9960 w 10000"/>
                <a:gd name="connsiteY68" fmla="*/ 3214 h 9707"/>
                <a:gd name="connsiteX69" fmla="*/ 9799 w 10000"/>
                <a:gd name="connsiteY69" fmla="*/ 3214 h 9707"/>
                <a:gd name="connsiteX70" fmla="*/ 9679 w 10000"/>
                <a:gd name="connsiteY70" fmla="*/ 3014 h 9707"/>
                <a:gd name="connsiteX71" fmla="*/ 9438 w 10000"/>
                <a:gd name="connsiteY71" fmla="*/ 2935 h 9707"/>
                <a:gd name="connsiteX72" fmla="*/ 9317 w 10000"/>
                <a:gd name="connsiteY72" fmla="*/ 2774 h 9707"/>
                <a:gd name="connsiteX73" fmla="*/ 9237 w 10000"/>
                <a:gd name="connsiteY73" fmla="*/ 2171 h 9707"/>
                <a:gd name="connsiteX74" fmla="*/ 9237 w 10000"/>
                <a:gd name="connsiteY74" fmla="*/ 1326 h 9707"/>
                <a:gd name="connsiteX75" fmla="*/ 9036 w 10000"/>
                <a:gd name="connsiteY75" fmla="*/ 1046 h 9707"/>
                <a:gd name="connsiteX76" fmla="*/ 8996 w 10000"/>
                <a:gd name="connsiteY76" fmla="*/ 764 h 9707"/>
                <a:gd name="connsiteX77" fmla="*/ 8675 w 10000"/>
                <a:gd name="connsiteY77" fmla="*/ 362 h 9707"/>
                <a:gd name="connsiteX78" fmla="*/ 8394 w 10000"/>
                <a:gd name="connsiteY78" fmla="*/ 203 h 9707"/>
                <a:gd name="connsiteX79" fmla="*/ 8233 w 10000"/>
                <a:gd name="connsiteY79" fmla="*/ 0 h 9707"/>
                <a:gd name="connsiteX80" fmla="*/ 7992 w 10000"/>
                <a:gd name="connsiteY80" fmla="*/ 203 h 9707"/>
                <a:gd name="connsiteX81" fmla="*/ 7831 w 10000"/>
                <a:gd name="connsiteY81" fmla="*/ 161 h 9707"/>
                <a:gd name="connsiteX82" fmla="*/ 7711 w 10000"/>
                <a:gd name="connsiteY82" fmla="*/ 521 h 9707"/>
                <a:gd name="connsiteX83" fmla="*/ 7390 w 10000"/>
                <a:gd name="connsiteY83" fmla="*/ 604 h 9707"/>
                <a:gd name="connsiteX84" fmla="*/ 7309 w 10000"/>
                <a:gd name="connsiteY84" fmla="*/ 883 h 9707"/>
                <a:gd name="connsiteX85" fmla="*/ 7028 w 10000"/>
                <a:gd name="connsiteY85" fmla="*/ 883 h 9707"/>
                <a:gd name="connsiteX86" fmla="*/ 6787 w 10000"/>
                <a:gd name="connsiteY86" fmla="*/ 764 h 9707"/>
                <a:gd name="connsiteX87" fmla="*/ 6265 w 10000"/>
                <a:gd name="connsiteY87" fmla="*/ 764 h 9707"/>
                <a:gd name="connsiteX88" fmla="*/ 5743 w 10000"/>
                <a:gd name="connsiteY88" fmla="*/ 764 h 9707"/>
                <a:gd name="connsiteX89" fmla="*/ 5783 w 10000"/>
                <a:gd name="connsiteY89" fmla="*/ 604 h 9707"/>
                <a:gd name="connsiteX90" fmla="*/ 5703 w 10000"/>
                <a:gd name="connsiteY90" fmla="*/ 604 h 9707"/>
                <a:gd name="connsiteX91" fmla="*/ 5663 w 10000"/>
                <a:gd name="connsiteY91" fmla="*/ 764 h 9707"/>
                <a:gd name="connsiteX92" fmla="*/ 5181 w 10000"/>
                <a:gd name="connsiteY92" fmla="*/ 764 h 9707"/>
                <a:gd name="connsiteX93" fmla="*/ 4699 w 10000"/>
                <a:gd name="connsiteY93" fmla="*/ 764 h 9707"/>
                <a:gd name="connsiteX94" fmla="*/ 4217 w 10000"/>
                <a:gd name="connsiteY94" fmla="*/ 764 h 9707"/>
                <a:gd name="connsiteX95" fmla="*/ 3735 w 10000"/>
                <a:gd name="connsiteY95" fmla="*/ 764 h 9707"/>
                <a:gd name="connsiteX96" fmla="*/ 3293 w 10000"/>
                <a:gd name="connsiteY96" fmla="*/ 764 h 9707"/>
                <a:gd name="connsiteX97" fmla="*/ 2811 w 10000"/>
                <a:gd name="connsiteY97" fmla="*/ 764 h 9707"/>
                <a:gd name="connsiteX98" fmla="*/ 2369 w 10000"/>
                <a:gd name="connsiteY98" fmla="*/ 764 h 9707"/>
                <a:gd name="connsiteX99" fmla="*/ 1888 w 10000"/>
                <a:gd name="connsiteY99" fmla="*/ 764 h 9707"/>
                <a:gd name="connsiteX100" fmla="*/ 1888 w 10000"/>
                <a:gd name="connsiteY100" fmla="*/ 1326 h 9707"/>
                <a:gd name="connsiteX101" fmla="*/ 1888 w 10000"/>
                <a:gd name="connsiteY101" fmla="*/ 2050 h 9707"/>
                <a:gd name="connsiteX102" fmla="*/ 1285 w 10000"/>
                <a:gd name="connsiteY102" fmla="*/ 2050 h 9707"/>
                <a:gd name="connsiteX103" fmla="*/ 1285 w 10000"/>
                <a:gd name="connsiteY103" fmla="*/ 2371 h 9707"/>
                <a:gd name="connsiteX0" fmla="*/ 1285 w 10000"/>
                <a:gd name="connsiteY0" fmla="*/ 2443 h 9598"/>
                <a:gd name="connsiteX1" fmla="*/ 1285 w 10000"/>
                <a:gd name="connsiteY1" fmla="*/ 3105 h 9598"/>
                <a:gd name="connsiteX2" fmla="*/ 1285 w 10000"/>
                <a:gd name="connsiteY2" fmla="*/ 3726 h 9598"/>
                <a:gd name="connsiteX3" fmla="*/ 1285 w 10000"/>
                <a:gd name="connsiteY3" fmla="*/ 4348 h 9598"/>
                <a:gd name="connsiteX4" fmla="*/ 1285 w 10000"/>
                <a:gd name="connsiteY4" fmla="*/ 4925 h 9598"/>
                <a:gd name="connsiteX5" fmla="*/ 643 w 10000"/>
                <a:gd name="connsiteY5" fmla="*/ 5051 h 9598"/>
                <a:gd name="connsiteX6" fmla="*/ 522 w 10000"/>
                <a:gd name="connsiteY6" fmla="*/ 5382 h 9598"/>
                <a:gd name="connsiteX7" fmla="*/ 241 w 10000"/>
                <a:gd name="connsiteY7" fmla="*/ 5796 h 9598"/>
                <a:gd name="connsiteX8" fmla="*/ 241 w 10000"/>
                <a:gd name="connsiteY8" fmla="*/ 6129 h 9598"/>
                <a:gd name="connsiteX9" fmla="*/ 120 w 10000"/>
                <a:gd name="connsiteY9" fmla="*/ 6210 h 9598"/>
                <a:gd name="connsiteX10" fmla="*/ 120 w 10000"/>
                <a:gd name="connsiteY10" fmla="*/ 6499 h 9598"/>
                <a:gd name="connsiteX11" fmla="*/ 0 w 10000"/>
                <a:gd name="connsiteY11" fmla="*/ 6750 h 9598"/>
                <a:gd name="connsiteX12" fmla="*/ 0 w 10000"/>
                <a:gd name="connsiteY12" fmla="*/ 6955 h 9598"/>
                <a:gd name="connsiteX13" fmla="*/ 241 w 10000"/>
                <a:gd name="connsiteY13" fmla="*/ 6914 h 9598"/>
                <a:gd name="connsiteX14" fmla="*/ 281 w 10000"/>
                <a:gd name="connsiteY14" fmla="*/ 7285 h 9598"/>
                <a:gd name="connsiteX15" fmla="*/ 602 w 10000"/>
                <a:gd name="connsiteY15" fmla="*/ 7951 h 9598"/>
                <a:gd name="connsiteX16" fmla="*/ 602 w 10000"/>
                <a:gd name="connsiteY16" fmla="*/ 7991 h 9598"/>
                <a:gd name="connsiteX17" fmla="*/ 482 w 10000"/>
                <a:gd name="connsiteY17" fmla="*/ 8032 h 9598"/>
                <a:gd name="connsiteX18" fmla="*/ 964 w 10000"/>
                <a:gd name="connsiteY18" fmla="*/ 8694 h 9598"/>
                <a:gd name="connsiteX19" fmla="*/ 1004 w 10000"/>
                <a:gd name="connsiteY19" fmla="*/ 8902 h 9598"/>
                <a:gd name="connsiteX20" fmla="*/ 964 w 10000"/>
                <a:gd name="connsiteY20" fmla="*/ 9482 h 9598"/>
                <a:gd name="connsiteX21" fmla="*/ 1192 w 10000"/>
                <a:gd name="connsiteY21" fmla="*/ 9598 h 9598"/>
                <a:gd name="connsiteX22" fmla="*/ 1332 w 10000"/>
                <a:gd name="connsiteY22" fmla="*/ 9026 h 9598"/>
                <a:gd name="connsiteX23" fmla="*/ 1439 w 10000"/>
                <a:gd name="connsiteY23" fmla="*/ 9124 h 9598"/>
                <a:gd name="connsiteX24" fmla="*/ 1767 w 10000"/>
                <a:gd name="connsiteY24" fmla="*/ 9047 h 9598"/>
                <a:gd name="connsiteX25" fmla="*/ 1951 w 10000"/>
                <a:gd name="connsiteY25" fmla="*/ 8942 h 9598"/>
                <a:gd name="connsiteX26" fmla="*/ 2025 w 10000"/>
                <a:gd name="connsiteY26" fmla="*/ 8688 h 9598"/>
                <a:gd name="connsiteX27" fmla="*/ 2338 w 10000"/>
                <a:gd name="connsiteY27" fmla="*/ 8606 h 9598"/>
                <a:gd name="connsiteX28" fmla="*/ 2643 w 10000"/>
                <a:gd name="connsiteY28" fmla="*/ 9011 h 9598"/>
                <a:gd name="connsiteX29" fmla="*/ 2911 w 10000"/>
                <a:gd name="connsiteY29" fmla="*/ 9187 h 9598"/>
                <a:gd name="connsiteX30" fmla="*/ 3167 w 10000"/>
                <a:gd name="connsiteY30" fmla="*/ 9156 h 9598"/>
                <a:gd name="connsiteX31" fmla="*/ 3795 w 10000"/>
                <a:gd name="connsiteY31" fmla="*/ 9303 h 9598"/>
                <a:gd name="connsiteX32" fmla="*/ 4153 w 10000"/>
                <a:gd name="connsiteY32" fmla="*/ 9383 h 9598"/>
                <a:gd name="connsiteX33" fmla="*/ 4600 w 10000"/>
                <a:gd name="connsiteY33" fmla="*/ 9172 h 9598"/>
                <a:gd name="connsiteX34" fmla="*/ 4901 w 10000"/>
                <a:gd name="connsiteY34" fmla="*/ 8721 h 9598"/>
                <a:gd name="connsiteX35" fmla="*/ 5080 w 10000"/>
                <a:gd name="connsiteY35" fmla="*/ 8842 h 9598"/>
                <a:gd name="connsiteX36" fmla="*/ 5337 w 10000"/>
                <a:gd name="connsiteY36" fmla="*/ 8965 h 9598"/>
                <a:gd name="connsiteX37" fmla="*/ 5564 w 10000"/>
                <a:gd name="connsiteY37" fmla="*/ 9124 h 9598"/>
                <a:gd name="connsiteX38" fmla="*/ 5768 w 10000"/>
                <a:gd name="connsiteY38" fmla="*/ 9021 h 9598"/>
                <a:gd name="connsiteX39" fmla="*/ 5933 w 10000"/>
                <a:gd name="connsiteY39" fmla="*/ 8926 h 9598"/>
                <a:gd name="connsiteX40" fmla="*/ 6089 w 10000"/>
                <a:gd name="connsiteY40" fmla="*/ 8713 h 9598"/>
                <a:gd name="connsiteX41" fmla="*/ 6274 w 10000"/>
                <a:gd name="connsiteY41" fmla="*/ 8425 h 9598"/>
                <a:gd name="connsiteX42" fmla="*/ 6389 w 10000"/>
                <a:gd name="connsiteY42" fmla="*/ 8291 h 9598"/>
                <a:gd name="connsiteX43" fmla="*/ 6524 w 10000"/>
                <a:gd name="connsiteY43" fmla="*/ 8237 h 9598"/>
                <a:gd name="connsiteX44" fmla="*/ 6531 w 10000"/>
                <a:gd name="connsiteY44" fmla="*/ 8067 h 9598"/>
                <a:gd name="connsiteX45" fmla="*/ 6572 w 10000"/>
                <a:gd name="connsiteY45" fmla="*/ 7871 h 9598"/>
                <a:gd name="connsiteX46" fmla="*/ 6602 w 10000"/>
                <a:gd name="connsiteY46" fmla="*/ 7692 h 9598"/>
                <a:gd name="connsiteX47" fmla="*/ 6707 w 10000"/>
                <a:gd name="connsiteY47" fmla="*/ 7546 h 9598"/>
                <a:gd name="connsiteX48" fmla="*/ 6876 w 10000"/>
                <a:gd name="connsiteY48" fmla="*/ 7547 h 9598"/>
                <a:gd name="connsiteX49" fmla="*/ 6827 w 10000"/>
                <a:gd name="connsiteY49" fmla="*/ 8443 h 9598"/>
                <a:gd name="connsiteX50" fmla="*/ 6991 w 10000"/>
                <a:gd name="connsiteY50" fmla="*/ 8546 h 9598"/>
                <a:gd name="connsiteX51" fmla="*/ 7275 w 10000"/>
                <a:gd name="connsiteY51" fmla="*/ 8807 h 9598"/>
                <a:gd name="connsiteX52" fmla="*/ 7430 w 10000"/>
                <a:gd name="connsiteY52" fmla="*/ 8404 h 9598"/>
                <a:gd name="connsiteX53" fmla="*/ 7470 w 10000"/>
                <a:gd name="connsiteY53" fmla="*/ 8444 h 9598"/>
                <a:gd name="connsiteX54" fmla="*/ 7590 w 10000"/>
                <a:gd name="connsiteY54" fmla="*/ 8198 h 9598"/>
                <a:gd name="connsiteX55" fmla="*/ 7831 w 10000"/>
                <a:gd name="connsiteY55" fmla="*/ 8074 h 9598"/>
                <a:gd name="connsiteX56" fmla="*/ 7952 w 10000"/>
                <a:gd name="connsiteY56" fmla="*/ 7618 h 9598"/>
                <a:gd name="connsiteX57" fmla="*/ 8313 w 10000"/>
                <a:gd name="connsiteY57" fmla="*/ 7080 h 9598"/>
                <a:gd name="connsiteX58" fmla="*/ 8594 w 10000"/>
                <a:gd name="connsiteY58" fmla="*/ 6831 h 9598"/>
                <a:gd name="connsiteX59" fmla="*/ 8795 w 10000"/>
                <a:gd name="connsiteY59" fmla="*/ 6129 h 9598"/>
                <a:gd name="connsiteX60" fmla="*/ 8795 w 10000"/>
                <a:gd name="connsiteY60" fmla="*/ 5963 h 9598"/>
                <a:gd name="connsiteX61" fmla="*/ 8755 w 10000"/>
                <a:gd name="connsiteY61" fmla="*/ 5549 h 9598"/>
                <a:gd name="connsiteX62" fmla="*/ 9157 w 10000"/>
                <a:gd name="connsiteY62" fmla="*/ 4057 h 9598"/>
                <a:gd name="connsiteX63" fmla="*/ 9277 w 10000"/>
                <a:gd name="connsiteY63" fmla="*/ 4057 h 9598"/>
                <a:gd name="connsiteX64" fmla="*/ 9438 w 10000"/>
                <a:gd name="connsiteY64" fmla="*/ 3933 h 9598"/>
                <a:gd name="connsiteX65" fmla="*/ 9920 w 10000"/>
                <a:gd name="connsiteY65" fmla="*/ 3726 h 9598"/>
                <a:gd name="connsiteX66" fmla="*/ 10000 w 10000"/>
                <a:gd name="connsiteY66" fmla="*/ 3395 h 9598"/>
                <a:gd name="connsiteX67" fmla="*/ 9960 w 10000"/>
                <a:gd name="connsiteY67" fmla="*/ 3311 h 9598"/>
                <a:gd name="connsiteX68" fmla="*/ 9799 w 10000"/>
                <a:gd name="connsiteY68" fmla="*/ 3311 h 9598"/>
                <a:gd name="connsiteX69" fmla="*/ 9679 w 10000"/>
                <a:gd name="connsiteY69" fmla="*/ 3105 h 9598"/>
                <a:gd name="connsiteX70" fmla="*/ 9438 w 10000"/>
                <a:gd name="connsiteY70" fmla="*/ 3024 h 9598"/>
                <a:gd name="connsiteX71" fmla="*/ 9317 w 10000"/>
                <a:gd name="connsiteY71" fmla="*/ 2858 h 9598"/>
                <a:gd name="connsiteX72" fmla="*/ 9237 w 10000"/>
                <a:gd name="connsiteY72" fmla="*/ 2237 h 9598"/>
                <a:gd name="connsiteX73" fmla="*/ 9237 w 10000"/>
                <a:gd name="connsiteY73" fmla="*/ 1366 h 9598"/>
                <a:gd name="connsiteX74" fmla="*/ 9036 w 10000"/>
                <a:gd name="connsiteY74" fmla="*/ 1078 h 9598"/>
                <a:gd name="connsiteX75" fmla="*/ 8996 w 10000"/>
                <a:gd name="connsiteY75" fmla="*/ 787 h 9598"/>
                <a:gd name="connsiteX76" fmla="*/ 8675 w 10000"/>
                <a:gd name="connsiteY76" fmla="*/ 373 h 9598"/>
                <a:gd name="connsiteX77" fmla="*/ 8394 w 10000"/>
                <a:gd name="connsiteY77" fmla="*/ 209 h 9598"/>
                <a:gd name="connsiteX78" fmla="*/ 8233 w 10000"/>
                <a:gd name="connsiteY78" fmla="*/ 0 h 9598"/>
                <a:gd name="connsiteX79" fmla="*/ 7992 w 10000"/>
                <a:gd name="connsiteY79" fmla="*/ 209 h 9598"/>
                <a:gd name="connsiteX80" fmla="*/ 7831 w 10000"/>
                <a:gd name="connsiteY80" fmla="*/ 166 h 9598"/>
                <a:gd name="connsiteX81" fmla="*/ 7711 w 10000"/>
                <a:gd name="connsiteY81" fmla="*/ 537 h 9598"/>
                <a:gd name="connsiteX82" fmla="*/ 7390 w 10000"/>
                <a:gd name="connsiteY82" fmla="*/ 622 h 9598"/>
                <a:gd name="connsiteX83" fmla="*/ 7309 w 10000"/>
                <a:gd name="connsiteY83" fmla="*/ 910 h 9598"/>
                <a:gd name="connsiteX84" fmla="*/ 7028 w 10000"/>
                <a:gd name="connsiteY84" fmla="*/ 910 h 9598"/>
                <a:gd name="connsiteX85" fmla="*/ 6787 w 10000"/>
                <a:gd name="connsiteY85" fmla="*/ 787 h 9598"/>
                <a:gd name="connsiteX86" fmla="*/ 6265 w 10000"/>
                <a:gd name="connsiteY86" fmla="*/ 787 h 9598"/>
                <a:gd name="connsiteX87" fmla="*/ 5743 w 10000"/>
                <a:gd name="connsiteY87" fmla="*/ 787 h 9598"/>
                <a:gd name="connsiteX88" fmla="*/ 5783 w 10000"/>
                <a:gd name="connsiteY88" fmla="*/ 622 h 9598"/>
                <a:gd name="connsiteX89" fmla="*/ 5703 w 10000"/>
                <a:gd name="connsiteY89" fmla="*/ 622 h 9598"/>
                <a:gd name="connsiteX90" fmla="*/ 5663 w 10000"/>
                <a:gd name="connsiteY90" fmla="*/ 787 h 9598"/>
                <a:gd name="connsiteX91" fmla="*/ 5181 w 10000"/>
                <a:gd name="connsiteY91" fmla="*/ 787 h 9598"/>
                <a:gd name="connsiteX92" fmla="*/ 4699 w 10000"/>
                <a:gd name="connsiteY92" fmla="*/ 787 h 9598"/>
                <a:gd name="connsiteX93" fmla="*/ 4217 w 10000"/>
                <a:gd name="connsiteY93" fmla="*/ 787 h 9598"/>
                <a:gd name="connsiteX94" fmla="*/ 3735 w 10000"/>
                <a:gd name="connsiteY94" fmla="*/ 787 h 9598"/>
                <a:gd name="connsiteX95" fmla="*/ 3293 w 10000"/>
                <a:gd name="connsiteY95" fmla="*/ 787 h 9598"/>
                <a:gd name="connsiteX96" fmla="*/ 2811 w 10000"/>
                <a:gd name="connsiteY96" fmla="*/ 787 h 9598"/>
                <a:gd name="connsiteX97" fmla="*/ 2369 w 10000"/>
                <a:gd name="connsiteY97" fmla="*/ 787 h 9598"/>
                <a:gd name="connsiteX98" fmla="*/ 1888 w 10000"/>
                <a:gd name="connsiteY98" fmla="*/ 787 h 9598"/>
                <a:gd name="connsiteX99" fmla="*/ 1888 w 10000"/>
                <a:gd name="connsiteY99" fmla="*/ 1366 h 9598"/>
                <a:gd name="connsiteX100" fmla="*/ 1888 w 10000"/>
                <a:gd name="connsiteY100" fmla="*/ 2112 h 9598"/>
                <a:gd name="connsiteX101" fmla="*/ 1285 w 10000"/>
                <a:gd name="connsiteY101" fmla="*/ 2112 h 9598"/>
                <a:gd name="connsiteX102" fmla="*/ 1285 w 10000"/>
                <a:gd name="connsiteY102" fmla="*/ 2443 h 9598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76 w 10000"/>
                <a:gd name="connsiteY47" fmla="*/ 7863 h 10000"/>
                <a:gd name="connsiteX48" fmla="*/ 6827 w 10000"/>
                <a:gd name="connsiteY48" fmla="*/ 8797 h 10000"/>
                <a:gd name="connsiteX49" fmla="*/ 6991 w 10000"/>
                <a:gd name="connsiteY49" fmla="*/ 8904 h 10000"/>
                <a:gd name="connsiteX50" fmla="*/ 7275 w 10000"/>
                <a:gd name="connsiteY50" fmla="*/ 9176 h 10000"/>
                <a:gd name="connsiteX51" fmla="*/ 7430 w 10000"/>
                <a:gd name="connsiteY51" fmla="*/ 8756 h 10000"/>
                <a:gd name="connsiteX52" fmla="*/ 7470 w 10000"/>
                <a:gd name="connsiteY52" fmla="*/ 8798 h 10000"/>
                <a:gd name="connsiteX53" fmla="*/ 7590 w 10000"/>
                <a:gd name="connsiteY53" fmla="*/ 8541 h 10000"/>
                <a:gd name="connsiteX54" fmla="*/ 7831 w 10000"/>
                <a:gd name="connsiteY54" fmla="*/ 8412 h 10000"/>
                <a:gd name="connsiteX55" fmla="*/ 7952 w 10000"/>
                <a:gd name="connsiteY55" fmla="*/ 7937 h 10000"/>
                <a:gd name="connsiteX56" fmla="*/ 8313 w 10000"/>
                <a:gd name="connsiteY56" fmla="*/ 7377 h 10000"/>
                <a:gd name="connsiteX57" fmla="*/ 8594 w 10000"/>
                <a:gd name="connsiteY57" fmla="*/ 7117 h 10000"/>
                <a:gd name="connsiteX58" fmla="*/ 8795 w 10000"/>
                <a:gd name="connsiteY58" fmla="*/ 6386 h 10000"/>
                <a:gd name="connsiteX59" fmla="*/ 8795 w 10000"/>
                <a:gd name="connsiteY59" fmla="*/ 6213 h 10000"/>
                <a:gd name="connsiteX60" fmla="*/ 8755 w 10000"/>
                <a:gd name="connsiteY60" fmla="*/ 5781 h 10000"/>
                <a:gd name="connsiteX61" fmla="*/ 9157 w 10000"/>
                <a:gd name="connsiteY61" fmla="*/ 4227 h 10000"/>
                <a:gd name="connsiteX62" fmla="*/ 9277 w 10000"/>
                <a:gd name="connsiteY62" fmla="*/ 4227 h 10000"/>
                <a:gd name="connsiteX63" fmla="*/ 9438 w 10000"/>
                <a:gd name="connsiteY63" fmla="*/ 4098 h 10000"/>
                <a:gd name="connsiteX64" fmla="*/ 9920 w 10000"/>
                <a:gd name="connsiteY64" fmla="*/ 3882 h 10000"/>
                <a:gd name="connsiteX65" fmla="*/ 10000 w 10000"/>
                <a:gd name="connsiteY65" fmla="*/ 3537 h 10000"/>
                <a:gd name="connsiteX66" fmla="*/ 9960 w 10000"/>
                <a:gd name="connsiteY66" fmla="*/ 3450 h 10000"/>
                <a:gd name="connsiteX67" fmla="*/ 9799 w 10000"/>
                <a:gd name="connsiteY67" fmla="*/ 3450 h 10000"/>
                <a:gd name="connsiteX68" fmla="*/ 9679 w 10000"/>
                <a:gd name="connsiteY68" fmla="*/ 3235 h 10000"/>
                <a:gd name="connsiteX69" fmla="*/ 9438 w 10000"/>
                <a:gd name="connsiteY69" fmla="*/ 3151 h 10000"/>
                <a:gd name="connsiteX70" fmla="*/ 9317 w 10000"/>
                <a:gd name="connsiteY70" fmla="*/ 2978 h 10000"/>
                <a:gd name="connsiteX71" fmla="*/ 9237 w 10000"/>
                <a:gd name="connsiteY71" fmla="*/ 2331 h 10000"/>
                <a:gd name="connsiteX72" fmla="*/ 9237 w 10000"/>
                <a:gd name="connsiteY72" fmla="*/ 1423 h 10000"/>
                <a:gd name="connsiteX73" fmla="*/ 9036 w 10000"/>
                <a:gd name="connsiteY73" fmla="*/ 1123 h 10000"/>
                <a:gd name="connsiteX74" fmla="*/ 8996 w 10000"/>
                <a:gd name="connsiteY74" fmla="*/ 820 h 10000"/>
                <a:gd name="connsiteX75" fmla="*/ 8675 w 10000"/>
                <a:gd name="connsiteY75" fmla="*/ 389 h 10000"/>
                <a:gd name="connsiteX76" fmla="*/ 8394 w 10000"/>
                <a:gd name="connsiteY76" fmla="*/ 218 h 10000"/>
                <a:gd name="connsiteX77" fmla="*/ 8233 w 10000"/>
                <a:gd name="connsiteY77" fmla="*/ 0 h 10000"/>
                <a:gd name="connsiteX78" fmla="*/ 7992 w 10000"/>
                <a:gd name="connsiteY78" fmla="*/ 218 h 10000"/>
                <a:gd name="connsiteX79" fmla="*/ 7831 w 10000"/>
                <a:gd name="connsiteY79" fmla="*/ 173 h 10000"/>
                <a:gd name="connsiteX80" fmla="*/ 7711 w 10000"/>
                <a:gd name="connsiteY80" fmla="*/ 559 h 10000"/>
                <a:gd name="connsiteX81" fmla="*/ 7390 w 10000"/>
                <a:gd name="connsiteY81" fmla="*/ 648 h 10000"/>
                <a:gd name="connsiteX82" fmla="*/ 7309 w 10000"/>
                <a:gd name="connsiteY82" fmla="*/ 948 h 10000"/>
                <a:gd name="connsiteX83" fmla="*/ 7028 w 10000"/>
                <a:gd name="connsiteY83" fmla="*/ 948 h 10000"/>
                <a:gd name="connsiteX84" fmla="*/ 6787 w 10000"/>
                <a:gd name="connsiteY84" fmla="*/ 820 h 10000"/>
                <a:gd name="connsiteX85" fmla="*/ 6265 w 10000"/>
                <a:gd name="connsiteY85" fmla="*/ 820 h 10000"/>
                <a:gd name="connsiteX86" fmla="*/ 5743 w 10000"/>
                <a:gd name="connsiteY86" fmla="*/ 820 h 10000"/>
                <a:gd name="connsiteX87" fmla="*/ 5783 w 10000"/>
                <a:gd name="connsiteY87" fmla="*/ 648 h 10000"/>
                <a:gd name="connsiteX88" fmla="*/ 5703 w 10000"/>
                <a:gd name="connsiteY88" fmla="*/ 648 h 10000"/>
                <a:gd name="connsiteX89" fmla="*/ 5663 w 10000"/>
                <a:gd name="connsiteY89" fmla="*/ 820 h 10000"/>
                <a:gd name="connsiteX90" fmla="*/ 5181 w 10000"/>
                <a:gd name="connsiteY90" fmla="*/ 820 h 10000"/>
                <a:gd name="connsiteX91" fmla="*/ 4699 w 10000"/>
                <a:gd name="connsiteY91" fmla="*/ 820 h 10000"/>
                <a:gd name="connsiteX92" fmla="*/ 4217 w 10000"/>
                <a:gd name="connsiteY92" fmla="*/ 820 h 10000"/>
                <a:gd name="connsiteX93" fmla="*/ 3735 w 10000"/>
                <a:gd name="connsiteY93" fmla="*/ 820 h 10000"/>
                <a:gd name="connsiteX94" fmla="*/ 3293 w 10000"/>
                <a:gd name="connsiteY94" fmla="*/ 820 h 10000"/>
                <a:gd name="connsiteX95" fmla="*/ 2811 w 10000"/>
                <a:gd name="connsiteY95" fmla="*/ 820 h 10000"/>
                <a:gd name="connsiteX96" fmla="*/ 2369 w 10000"/>
                <a:gd name="connsiteY96" fmla="*/ 820 h 10000"/>
                <a:gd name="connsiteX97" fmla="*/ 1888 w 10000"/>
                <a:gd name="connsiteY97" fmla="*/ 820 h 10000"/>
                <a:gd name="connsiteX98" fmla="*/ 1888 w 10000"/>
                <a:gd name="connsiteY98" fmla="*/ 1423 h 10000"/>
                <a:gd name="connsiteX99" fmla="*/ 1888 w 10000"/>
                <a:gd name="connsiteY99" fmla="*/ 2200 h 10000"/>
                <a:gd name="connsiteX100" fmla="*/ 1285 w 10000"/>
                <a:gd name="connsiteY100" fmla="*/ 2200 h 10000"/>
                <a:gd name="connsiteX101" fmla="*/ 1285 w 10000"/>
                <a:gd name="connsiteY101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27 w 10000"/>
                <a:gd name="connsiteY47" fmla="*/ 8797 h 10000"/>
                <a:gd name="connsiteX48" fmla="*/ 6991 w 10000"/>
                <a:gd name="connsiteY48" fmla="*/ 8904 h 10000"/>
                <a:gd name="connsiteX49" fmla="*/ 7275 w 10000"/>
                <a:gd name="connsiteY49" fmla="*/ 9176 h 10000"/>
                <a:gd name="connsiteX50" fmla="*/ 7430 w 10000"/>
                <a:gd name="connsiteY50" fmla="*/ 8756 h 10000"/>
                <a:gd name="connsiteX51" fmla="*/ 7470 w 10000"/>
                <a:gd name="connsiteY51" fmla="*/ 8798 h 10000"/>
                <a:gd name="connsiteX52" fmla="*/ 7590 w 10000"/>
                <a:gd name="connsiteY52" fmla="*/ 8541 h 10000"/>
                <a:gd name="connsiteX53" fmla="*/ 7831 w 10000"/>
                <a:gd name="connsiteY53" fmla="*/ 8412 h 10000"/>
                <a:gd name="connsiteX54" fmla="*/ 7952 w 10000"/>
                <a:gd name="connsiteY54" fmla="*/ 7937 h 10000"/>
                <a:gd name="connsiteX55" fmla="*/ 8313 w 10000"/>
                <a:gd name="connsiteY55" fmla="*/ 7377 h 10000"/>
                <a:gd name="connsiteX56" fmla="*/ 8594 w 10000"/>
                <a:gd name="connsiteY56" fmla="*/ 7117 h 10000"/>
                <a:gd name="connsiteX57" fmla="*/ 8795 w 10000"/>
                <a:gd name="connsiteY57" fmla="*/ 6386 h 10000"/>
                <a:gd name="connsiteX58" fmla="*/ 8795 w 10000"/>
                <a:gd name="connsiteY58" fmla="*/ 6213 h 10000"/>
                <a:gd name="connsiteX59" fmla="*/ 8755 w 10000"/>
                <a:gd name="connsiteY59" fmla="*/ 5781 h 10000"/>
                <a:gd name="connsiteX60" fmla="*/ 9157 w 10000"/>
                <a:gd name="connsiteY60" fmla="*/ 4227 h 10000"/>
                <a:gd name="connsiteX61" fmla="*/ 9277 w 10000"/>
                <a:gd name="connsiteY61" fmla="*/ 4227 h 10000"/>
                <a:gd name="connsiteX62" fmla="*/ 9438 w 10000"/>
                <a:gd name="connsiteY62" fmla="*/ 4098 h 10000"/>
                <a:gd name="connsiteX63" fmla="*/ 9920 w 10000"/>
                <a:gd name="connsiteY63" fmla="*/ 3882 h 10000"/>
                <a:gd name="connsiteX64" fmla="*/ 10000 w 10000"/>
                <a:gd name="connsiteY64" fmla="*/ 3537 h 10000"/>
                <a:gd name="connsiteX65" fmla="*/ 9960 w 10000"/>
                <a:gd name="connsiteY65" fmla="*/ 3450 h 10000"/>
                <a:gd name="connsiteX66" fmla="*/ 9799 w 10000"/>
                <a:gd name="connsiteY66" fmla="*/ 3450 h 10000"/>
                <a:gd name="connsiteX67" fmla="*/ 9679 w 10000"/>
                <a:gd name="connsiteY67" fmla="*/ 3235 h 10000"/>
                <a:gd name="connsiteX68" fmla="*/ 9438 w 10000"/>
                <a:gd name="connsiteY68" fmla="*/ 3151 h 10000"/>
                <a:gd name="connsiteX69" fmla="*/ 9317 w 10000"/>
                <a:gd name="connsiteY69" fmla="*/ 2978 h 10000"/>
                <a:gd name="connsiteX70" fmla="*/ 9237 w 10000"/>
                <a:gd name="connsiteY70" fmla="*/ 2331 h 10000"/>
                <a:gd name="connsiteX71" fmla="*/ 9237 w 10000"/>
                <a:gd name="connsiteY71" fmla="*/ 1423 h 10000"/>
                <a:gd name="connsiteX72" fmla="*/ 9036 w 10000"/>
                <a:gd name="connsiteY72" fmla="*/ 1123 h 10000"/>
                <a:gd name="connsiteX73" fmla="*/ 8996 w 10000"/>
                <a:gd name="connsiteY73" fmla="*/ 820 h 10000"/>
                <a:gd name="connsiteX74" fmla="*/ 8675 w 10000"/>
                <a:gd name="connsiteY74" fmla="*/ 389 h 10000"/>
                <a:gd name="connsiteX75" fmla="*/ 8394 w 10000"/>
                <a:gd name="connsiteY75" fmla="*/ 218 h 10000"/>
                <a:gd name="connsiteX76" fmla="*/ 8233 w 10000"/>
                <a:gd name="connsiteY76" fmla="*/ 0 h 10000"/>
                <a:gd name="connsiteX77" fmla="*/ 7992 w 10000"/>
                <a:gd name="connsiteY77" fmla="*/ 218 h 10000"/>
                <a:gd name="connsiteX78" fmla="*/ 7831 w 10000"/>
                <a:gd name="connsiteY78" fmla="*/ 173 h 10000"/>
                <a:gd name="connsiteX79" fmla="*/ 7711 w 10000"/>
                <a:gd name="connsiteY79" fmla="*/ 559 h 10000"/>
                <a:gd name="connsiteX80" fmla="*/ 7390 w 10000"/>
                <a:gd name="connsiteY80" fmla="*/ 648 h 10000"/>
                <a:gd name="connsiteX81" fmla="*/ 7309 w 10000"/>
                <a:gd name="connsiteY81" fmla="*/ 948 h 10000"/>
                <a:gd name="connsiteX82" fmla="*/ 7028 w 10000"/>
                <a:gd name="connsiteY82" fmla="*/ 948 h 10000"/>
                <a:gd name="connsiteX83" fmla="*/ 6787 w 10000"/>
                <a:gd name="connsiteY83" fmla="*/ 820 h 10000"/>
                <a:gd name="connsiteX84" fmla="*/ 6265 w 10000"/>
                <a:gd name="connsiteY84" fmla="*/ 820 h 10000"/>
                <a:gd name="connsiteX85" fmla="*/ 5743 w 10000"/>
                <a:gd name="connsiteY85" fmla="*/ 820 h 10000"/>
                <a:gd name="connsiteX86" fmla="*/ 5783 w 10000"/>
                <a:gd name="connsiteY86" fmla="*/ 648 h 10000"/>
                <a:gd name="connsiteX87" fmla="*/ 5703 w 10000"/>
                <a:gd name="connsiteY87" fmla="*/ 648 h 10000"/>
                <a:gd name="connsiteX88" fmla="*/ 5663 w 10000"/>
                <a:gd name="connsiteY88" fmla="*/ 820 h 10000"/>
                <a:gd name="connsiteX89" fmla="*/ 5181 w 10000"/>
                <a:gd name="connsiteY89" fmla="*/ 820 h 10000"/>
                <a:gd name="connsiteX90" fmla="*/ 4699 w 10000"/>
                <a:gd name="connsiteY90" fmla="*/ 820 h 10000"/>
                <a:gd name="connsiteX91" fmla="*/ 4217 w 10000"/>
                <a:gd name="connsiteY91" fmla="*/ 820 h 10000"/>
                <a:gd name="connsiteX92" fmla="*/ 3735 w 10000"/>
                <a:gd name="connsiteY92" fmla="*/ 820 h 10000"/>
                <a:gd name="connsiteX93" fmla="*/ 3293 w 10000"/>
                <a:gd name="connsiteY93" fmla="*/ 820 h 10000"/>
                <a:gd name="connsiteX94" fmla="*/ 2811 w 10000"/>
                <a:gd name="connsiteY94" fmla="*/ 820 h 10000"/>
                <a:gd name="connsiteX95" fmla="*/ 2369 w 10000"/>
                <a:gd name="connsiteY95" fmla="*/ 820 h 10000"/>
                <a:gd name="connsiteX96" fmla="*/ 1888 w 10000"/>
                <a:gd name="connsiteY96" fmla="*/ 820 h 10000"/>
                <a:gd name="connsiteX97" fmla="*/ 1888 w 10000"/>
                <a:gd name="connsiteY97" fmla="*/ 1423 h 10000"/>
                <a:gd name="connsiteX98" fmla="*/ 1888 w 10000"/>
                <a:gd name="connsiteY98" fmla="*/ 2200 h 10000"/>
                <a:gd name="connsiteX99" fmla="*/ 1285 w 10000"/>
                <a:gd name="connsiteY99" fmla="*/ 2200 h 10000"/>
                <a:gd name="connsiteX100" fmla="*/ 1285 w 10000"/>
                <a:gd name="connsiteY100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27 w 10000"/>
                <a:gd name="connsiteY47" fmla="*/ 8797 h 10000"/>
                <a:gd name="connsiteX48" fmla="*/ 7275 w 10000"/>
                <a:gd name="connsiteY48" fmla="*/ 9176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93 w 10000"/>
                <a:gd name="connsiteY47" fmla="*/ 8708 h 10000"/>
                <a:gd name="connsiteX48" fmla="*/ 7275 w 10000"/>
                <a:gd name="connsiteY48" fmla="*/ 9176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93 w 10000"/>
                <a:gd name="connsiteY47" fmla="*/ 8708 h 10000"/>
                <a:gd name="connsiteX48" fmla="*/ 7308 w 10000"/>
                <a:gd name="connsiteY48" fmla="*/ 9034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855 w 10000"/>
                <a:gd name="connsiteY46" fmla="*/ 7773 h 10000"/>
                <a:gd name="connsiteX47" fmla="*/ 6893 w 10000"/>
                <a:gd name="connsiteY47" fmla="*/ 8708 h 10000"/>
                <a:gd name="connsiteX48" fmla="*/ 7308 w 10000"/>
                <a:gd name="connsiteY48" fmla="*/ 9034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439 w 10000"/>
                <a:gd name="connsiteY22" fmla="*/ 9506 h 10000"/>
                <a:gd name="connsiteX23" fmla="*/ 1767 w 10000"/>
                <a:gd name="connsiteY23" fmla="*/ 9426 h 10000"/>
                <a:gd name="connsiteX24" fmla="*/ 1951 w 10000"/>
                <a:gd name="connsiteY24" fmla="*/ 9317 h 10000"/>
                <a:gd name="connsiteX25" fmla="*/ 2025 w 10000"/>
                <a:gd name="connsiteY25" fmla="*/ 9052 h 10000"/>
                <a:gd name="connsiteX26" fmla="*/ 2338 w 10000"/>
                <a:gd name="connsiteY26" fmla="*/ 8966 h 10000"/>
                <a:gd name="connsiteX27" fmla="*/ 2643 w 10000"/>
                <a:gd name="connsiteY27" fmla="*/ 9388 h 10000"/>
                <a:gd name="connsiteX28" fmla="*/ 2911 w 10000"/>
                <a:gd name="connsiteY28" fmla="*/ 9572 h 10000"/>
                <a:gd name="connsiteX29" fmla="*/ 3167 w 10000"/>
                <a:gd name="connsiteY29" fmla="*/ 9539 h 10000"/>
                <a:gd name="connsiteX30" fmla="*/ 3795 w 10000"/>
                <a:gd name="connsiteY30" fmla="*/ 9693 h 10000"/>
                <a:gd name="connsiteX31" fmla="*/ 4153 w 10000"/>
                <a:gd name="connsiteY31" fmla="*/ 9776 h 10000"/>
                <a:gd name="connsiteX32" fmla="*/ 4600 w 10000"/>
                <a:gd name="connsiteY32" fmla="*/ 9556 h 10000"/>
                <a:gd name="connsiteX33" fmla="*/ 4901 w 10000"/>
                <a:gd name="connsiteY33" fmla="*/ 9086 h 10000"/>
                <a:gd name="connsiteX34" fmla="*/ 5337 w 10000"/>
                <a:gd name="connsiteY34" fmla="*/ 9340 h 10000"/>
                <a:gd name="connsiteX35" fmla="*/ 5564 w 10000"/>
                <a:gd name="connsiteY35" fmla="*/ 9506 h 10000"/>
                <a:gd name="connsiteX36" fmla="*/ 5768 w 10000"/>
                <a:gd name="connsiteY36" fmla="*/ 9399 h 10000"/>
                <a:gd name="connsiteX37" fmla="*/ 5933 w 10000"/>
                <a:gd name="connsiteY37" fmla="*/ 9300 h 10000"/>
                <a:gd name="connsiteX38" fmla="*/ 6089 w 10000"/>
                <a:gd name="connsiteY38" fmla="*/ 9078 h 10000"/>
                <a:gd name="connsiteX39" fmla="*/ 6274 w 10000"/>
                <a:gd name="connsiteY39" fmla="*/ 8778 h 10000"/>
                <a:gd name="connsiteX40" fmla="*/ 6389 w 10000"/>
                <a:gd name="connsiteY40" fmla="*/ 8638 h 10000"/>
                <a:gd name="connsiteX41" fmla="*/ 6524 w 10000"/>
                <a:gd name="connsiteY41" fmla="*/ 8582 h 10000"/>
                <a:gd name="connsiteX42" fmla="*/ 6531 w 10000"/>
                <a:gd name="connsiteY42" fmla="*/ 8405 h 10000"/>
                <a:gd name="connsiteX43" fmla="*/ 6572 w 10000"/>
                <a:gd name="connsiteY43" fmla="*/ 8201 h 10000"/>
                <a:gd name="connsiteX44" fmla="*/ 6602 w 10000"/>
                <a:gd name="connsiteY44" fmla="*/ 8014 h 10000"/>
                <a:gd name="connsiteX45" fmla="*/ 6855 w 10000"/>
                <a:gd name="connsiteY45" fmla="*/ 7773 h 10000"/>
                <a:gd name="connsiteX46" fmla="*/ 6893 w 10000"/>
                <a:gd name="connsiteY46" fmla="*/ 8708 h 10000"/>
                <a:gd name="connsiteX47" fmla="*/ 7308 w 10000"/>
                <a:gd name="connsiteY47" fmla="*/ 9034 h 10000"/>
                <a:gd name="connsiteX48" fmla="*/ 7430 w 10000"/>
                <a:gd name="connsiteY48" fmla="*/ 8756 h 10000"/>
                <a:gd name="connsiteX49" fmla="*/ 7470 w 10000"/>
                <a:gd name="connsiteY49" fmla="*/ 8798 h 10000"/>
                <a:gd name="connsiteX50" fmla="*/ 7590 w 10000"/>
                <a:gd name="connsiteY50" fmla="*/ 8541 h 10000"/>
                <a:gd name="connsiteX51" fmla="*/ 7831 w 10000"/>
                <a:gd name="connsiteY51" fmla="*/ 8412 h 10000"/>
                <a:gd name="connsiteX52" fmla="*/ 7952 w 10000"/>
                <a:gd name="connsiteY52" fmla="*/ 7937 h 10000"/>
                <a:gd name="connsiteX53" fmla="*/ 8313 w 10000"/>
                <a:gd name="connsiteY53" fmla="*/ 7377 h 10000"/>
                <a:gd name="connsiteX54" fmla="*/ 8594 w 10000"/>
                <a:gd name="connsiteY54" fmla="*/ 7117 h 10000"/>
                <a:gd name="connsiteX55" fmla="*/ 8795 w 10000"/>
                <a:gd name="connsiteY55" fmla="*/ 6386 h 10000"/>
                <a:gd name="connsiteX56" fmla="*/ 8795 w 10000"/>
                <a:gd name="connsiteY56" fmla="*/ 6213 h 10000"/>
                <a:gd name="connsiteX57" fmla="*/ 8755 w 10000"/>
                <a:gd name="connsiteY57" fmla="*/ 5781 h 10000"/>
                <a:gd name="connsiteX58" fmla="*/ 9157 w 10000"/>
                <a:gd name="connsiteY58" fmla="*/ 4227 h 10000"/>
                <a:gd name="connsiteX59" fmla="*/ 9277 w 10000"/>
                <a:gd name="connsiteY59" fmla="*/ 4227 h 10000"/>
                <a:gd name="connsiteX60" fmla="*/ 9438 w 10000"/>
                <a:gd name="connsiteY60" fmla="*/ 4098 h 10000"/>
                <a:gd name="connsiteX61" fmla="*/ 9920 w 10000"/>
                <a:gd name="connsiteY61" fmla="*/ 3882 h 10000"/>
                <a:gd name="connsiteX62" fmla="*/ 10000 w 10000"/>
                <a:gd name="connsiteY62" fmla="*/ 3537 h 10000"/>
                <a:gd name="connsiteX63" fmla="*/ 9960 w 10000"/>
                <a:gd name="connsiteY63" fmla="*/ 3450 h 10000"/>
                <a:gd name="connsiteX64" fmla="*/ 9799 w 10000"/>
                <a:gd name="connsiteY64" fmla="*/ 3450 h 10000"/>
                <a:gd name="connsiteX65" fmla="*/ 9679 w 10000"/>
                <a:gd name="connsiteY65" fmla="*/ 3235 h 10000"/>
                <a:gd name="connsiteX66" fmla="*/ 9438 w 10000"/>
                <a:gd name="connsiteY66" fmla="*/ 3151 h 10000"/>
                <a:gd name="connsiteX67" fmla="*/ 9317 w 10000"/>
                <a:gd name="connsiteY67" fmla="*/ 2978 h 10000"/>
                <a:gd name="connsiteX68" fmla="*/ 9237 w 10000"/>
                <a:gd name="connsiteY68" fmla="*/ 2331 h 10000"/>
                <a:gd name="connsiteX69" fmla="*/ 9237 w 10000"/>
                <a:gd name="connsiteY69" fmla="*/ 1423 h 10000"/>
                <a:gd name="connsiteX70" fmla="*/ 9036 w 10000"/>
                <a:gd name="connsiteY70" fmla="*/ 1123 h 10000"/>
                <a:gd name="connsiteX71" fmla="*/ 8996 w 10000"/>
                <a:gd name="connsiteY71" fmla="*/ 820 h 10000"/>
                <a:gd name="connsiteX72" fmla="*/ 8675 w 10000"/>
                <a:gd name="connsiteY72" fmla="*/ 389 h 10000"/>
                <a:gd name="connsiteX73" fmla="*/ 8394 w 10000"/>
                <a:gd name="connsiteY73" fmla="*/ 218 h 10000"/>
                <a:gd name="connsiteX74" fmla="*/ 8233 w 10000"/>
                <a:gd name="connsiteY74" fmla="*/ 0 h 10000"/>
                <a:gd name="connsiteX75" fmla="*/ 7992 w 10000"/>
                <a:gd name="connsiteY75" fmla="*/ 218 h 10000"/>
                <a:gd name="connsiteX76" fmla="*/ 7831 w 10000"/>
                <a:gd name="connsiteY76" fmla="*/ 173 h 10000"/>
                <a:gd name="connsiteX77" fmla="*/ 7711 w 10000"/>
                <a:gd name="connsiteY77" fmla="*/ 559 h 10000"/>
                <a:gd name="connsiteX78" fmla="*/ 7390 w 10000"/>
                <a:gd name="connsiteY78" fmla="*/ 648 h 10000"/>
                <a:gd name="connsiteX79" fmla="*/ 7309 w 10000"/>
                <a:gd name="connsiteY79" fmla="*/ 948 h 10000"/>
                <a:gd name="connsiteX80" fmla="*/ 7028 w 10000"/>
                <a:gd name="connsiteY80" fmla="*/ 948 h 10000"/>
                <a:gd name="connsiteX81" fmla="*/ 6787 w 10000"/>
                <a:gd name="connsiteY81" fmla="*/ 820 h 10000"/>
                <a:gd name="connsiteX82" fmla="*/ 6265 w 10000"/>
                <a:gd name="connsiteY82" fmla="*/ 820 h 10000"/>
                <a:gd name="connsiteX83" fmla="*/ 5743 w 10000"/>
                <a:gd name="connsiteY83" fmla="*/ 820 h 10000"/>
                <a:gd name="connsiteX84" fmla="*/ 5783 w 10000"/>
                <a:gd name="connsiteY84" fmla="*/ 648 h 10000"/>
                <a:gd name="connsiteX85" fmla="*/ 5703 w 10000"/>
                <a:gd name="connsiteY85" fmla="*/ 648 h 10000"/>
                <a:gd name="connsiteX86" fmla="*/ 5663 w 10000"/>
                <a:gd name="connsiteY86" fmla="*/ 820 h 10000"/>
                <a:gd name="connsiteX87" fmla="*/ 5181 w 10000"/>
                <a:gd name="connsiteY87" fmla="*/ 820 h 10000"/>
                <a:gd name="connsiteX88" fmla="*/ 4699 w 10000"/>
                <a:gd name="connsiteY88" fmla="*/ 820 h 10000"/>
                <a:gd name="connsiteX89" fmla="*/ 4217 w 10000"/>
                <a:gd name="connsiteY89" fmla="*/ 820 h 10000"/>
                <a:gd name="connsiteX90" fmla="*/ 3735 w 10000"/>
                <a:gd name="connsiteY90" fmla="*/ 820 h 10000"/>
                <a:gd name="connsiteX91" fmla="*/ 3293 w 10000"/>
                <a:gd name="connsiteY91" fmla="*/ 820 h 10000"/>
                <a:gd name="connsiteX92" fmla="*/ 2811 w 10000"/>
                <a:gd name="connsiteY92" fmla="*/ 820 h 10000"/>
                <a:gd name="connsiteX93" fmla="*/ 2369 w 10000"/>
                <a:gd name="connsiteY93" fmla="*/ 820 h 10000"/>
                <a:gd name="connsiteX94" fmla="*/ 1888 w 10000"/>
                <a:gd name="connsiteY94" fmla="*/ 820 h 10000"/>
                <a:gd name="connsiteX95" fmla="*/ 1888 w 10000"/>
                <a:gd name="connsiteY95" fmla="*/ 1423 h 10000"/>
                <a:gd name="connsiteX96" fmla="*/ 1888 w 10000"/>
                <a:gd name="connsiteY96" fmla="*/ 2200 h 10000"/>
                <a:gd name="connsiteX97" fmla="*/ 1285 w 10000"/>
                <a:gd name="connsiteY97" fmla="*/ 2200 h 10000"/>
                <a:gd name="connsiteX98" fmla="*/ 1285 w 10000"/>
                <a:gd name="connsiteY98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767 w 10000"/>
                <a:gd name="connsiteY22" fmla="*/ 9426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454 w 10000"/>
                <a:gd name="connsiteY22" fmla="*/ 9337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1178 w 10000"/>
                <a:gd name="connsiteY20" fmla="*/ 9631 h 10000"/>
                <a:gd name="connsiteX21" fmla="*/ 1192 w 10000"/>
                <a:gd name="connsiteY21" fmla="*/ 10000 h 10000"/>
                <a:gd name="connsiteX22" fmla="*/ 1454 w 10000"/>
                <a:gd name="connsiteY22" fmla="*/ 9337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1178 w 10000"/>
                <a:gd name="connsiteY20" fmla="*/ 9631 h 10000"/>
                <a:gd name="connsiteX21" fmla="*/ 1192 w 10000"/>
                <a:gd name="connsiteY21" fmla="*/ 10000 h 10000"/>
                <a:gd name="connsiteX22" fmla="*/ 1652 w 10000"/>
                <a:gd name="connsiteY22" fmla="*/ 9372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9819"/>
                <a:gd name="connsiteX1" fmla="*/ 1285 w 10000"/>
                <a:gd name="connsiteY1" fmla="*/ 3235 h 9819"/>
                <a:gd name="connsiteX2" fmla="*/ 1285 w 10000"/>
                <a:gd name="connsiteY2" fmla="*/ 3882 h 9819"/>
                <a:gd name="connsiteX3" fmla="*/ 1285 w 10000"/>
                <a:gd name="connsiteY3" fmla="*/ 4530 h 9819"/>
                <a:gd name="connsiteX4" fmla="*/ 1285 w 10000"/>
                <a:gd name="connsiteY4" fmla="*/ 5131 h 9819"/>
                <a:gd name="connsiteX5" fmla="*/ 643 w 10000"/>
                <a:gd name="connsiteY5" fmla="*/ 5263 h 9819"/>
                <a:gd name="connsiteX6" fmla="*/ 522 w 10000"/>
                <a:gd name="connsiteY6" fmla="*/ 5607 h 9819"/>
                <a:gd name="connsiteX7" fmla="*/ 241 w 10000"/>
                <a:gd name="connsiteY7" fmla="*/ 6039 h 9819"/>
                <a:gd name="connsiteX8" fmla="*/ 241 w 10000"/>
                <a:gd name="connsiteY8" fmla="*/ 6386 h 9819"/>
                <a:gd name="connsiteX9" fmla="*/ 120 w 10000"/>
                <a:gd name="connsiteY9" fmla="*/ 6470 h 9819"/>
                <a:gd name="connsiteX10" fmla="*/ 120 w 10000"/>
                <a:gd name="connsiteY10" fmla="*/ 6771 h 9819"/>
                <a:gd name="connsiteX11" fmla="*/ 0 w 10000"/>
                <a:gd name="connsiteY11" fmla="*/ 7033 h 9819"/>
                <a:gd name="connsiteX12" fmla="*/ 0 w 10000"/>
                <a:gd name="connsiteY12" fmla="*/ 7246 h 9819"/>
                <a:gd name="connsiteX13" fmla="*/ 241 w 10000"/>
                <a:gd name="connsiteY13" fmla="*/ 7204 h 9819"/>
                <a:gd name="connsiteX14" fmla="*/ 281 w 10000"/>
                <a:gd name="connsiteY14" fmla="*/ 7590 h 9819"/>
                <a:gd name="connsiteX15" fmla="*/ 602 w 10000"/>
                <a:gd name="connsiteY15" fmla="*/ 8284 h 9819"/>
                <a:gd name="connsiteX16" fmla="*/ 602 w 10000"/>
                <a:gd name="connsiteY16" fmla="*/ 8326 h 9819"/>
                <a:gd name="connsiteX17" fmla="*/ 482 w 10000"/>
                <a:gd name="connsiteY17" fmla="*/ 8368 h 9819"/>
                <a:gd name="connsiteX18" fmla="*/ 964 w 10000"/>
                <a:gd name="connsiteY18" fmla="*/ 9058 h 9819"/>
                <a:gd name="connsiteX19" fmla="*/ 1004 w 10000"/>
                <a:gd name="connsiteY19" fmla="*/ 9275 h 9819"/>
                <a:gd name="connsiteX20" fmla="*/ 1178 w 10000"/>
                <a:gd name="connsiteY20" fmla="*/ 9631 h 9819"/>
                <a:gd name="connsiteX21" fmla="*/ 1357 w 10000"/>
                <a:gd name="connsiteY21" fmla="*/ 9433 h 9819"/>
                <a:gd name="connsiteX22" fmla="*/ 1652 w 10000"/>
                <a:gd name="connsiteY22" fmla="*/ 9372 h 9819"/>
                <a:gd name="connsiteX23" fmla="*/ 1951 w 10000"/>
                <a:gd name="connsiteY23" fmla="*/ 9317 h 9819"/>
                <a:gd name="connsiteX24" fmla="*/ 2025 w 10000"/>
                <a:gd name="connsiteY24" fmla="*/ 9052 h 9819"/>
                <a:gd name="connsiteX25" fmla="*/ 2338 w 10000"/>
                <a:gd name="connsiteY25" fmla="*/ 8966 h 9819"/>
                <a:gd name="connsiteX26" fmla="*/ 2643 w 10000"/>
                <a:gd name="connsiteY26" fmla="*/ 9388 h 9819"/>
                <a:gd name="connsiteX27" fmla="*/ 2911 w 10000"/>
                <a:gd name="connsiteY27" fmla="*/ 9572 h 9819"/>
                <a:gd name="connsiteX28" fmla="*/ 3167 w 10000"/>
                <a:gd name="connsiteY28" fmla="*/ 9539 h 9819"/>
                <a:gd name="connsiteX29" fmla="*/ 3795 w 10000"/>
                <a:gd name="connsiteY29" fmla="*/ 9693 h 9819"/>
                <a:gd name="connsiteX30" fmla="*/ 4153 w 10000"/>
                <a:gd name="connsiteY30" fmla="*/ 9776 h 9819"/>
                <a:gd name="connsiteX31" fmla="*/ 4600 w 10000"/>
                <a:gd name="connsiteY31" fmla="*/ 9556 h 9819"/>
                <a:gd name="connsiteX32" fmla="*/ 4901 w 10000"/>
                <a:gd name="connsiteY32" fmla="*/ 9086 h 9819"/>
                <a:gd name="connsiteX33" fmla="*/ 5337 w 10000"/>
                <a:gd name="connsiteY33" fmla="*/ 9340 h 9819"/>
                <a:gd name="connsiteX34" fmla="*/ 5564 w 10000"/>
                <a:gd name="connsiteY34" fmla="*/ 9506 h 9819"/>
                <a:gd name="connsiteX35" fmla="*/ 5768 w 10000"/>
                <a:gd name="connsiteY35" fmla="*/ 9399 h 9819"/>
                <a:gd name="connsiteX36" fmla="*/ 5933 w 10000"/>
                <a:gd name="connsiteY36" fmla="*/ 9300 h 9819"/>
                <a:gd name="connsiteX37" fmla="*/ 6089 w 10000"/>
                <a:gd name="connsiteY37" fmla="*/ 9078 h 9819"/>
                <a:gd name="connsiteX38" fmla="*/ 6274 w 10000"/>
                <a:gd name="connsiteY38" fmla="*/ 8778 h 9819"/>
                <a:gd name="connsiteX39" fmla="*/ 6389 w 10000"/>
                <a:gd name="connsiteY39" fmla="*/ 8638 h 9819"/>
                <a:gd name="connsiteX40" fmla="*/ 6524 w 10000"/>
                <a:gd name="connsiteY40" fmla="*/ 8582 h 9819"/>
                <a:gd name="connsiteX41" fmla="*/ 6531 w 10000"/>
                <a:gd name="connsiteY41" fmla="*/ 8405 h 9819"/>
                <a:gd name="connsiteX42" fmla="*/ 6572 w 10000"/>
                <a:gd name="connsiteY42" fmla="*/ 8201 h 9819"/>
                <a:gd name="connsiteX43" fmla="*/ 6602 w 10000"/>
                <a:gd name="connsiteY43" fmla="*/ 8014 h 9819"/>
                <a:gd name="connsiteX44" fmla="*/ 6855 w 10000"/>
                <a:gd name="connsiteY44" fmla="*/ 7773 h 9819"/>
                <a:gd name="connsiteX45" fmla="*/ 6893 w 10000"/>
                <a:gd name="connsiteY45" fmla="*/ 8708 h 9819"/>
                <a:gd name="connsiteX46" fmla="*/ 7308 w 10000"/>
                <a:gd name="connsiteY46" fmla="*/ 9034 h 9819"/>
                <a:gd name="connsiteX47" fmla="*/ 7430 w 10000"/>
                <a:gd name="connsiteY47" fmla="*/ 8756 h 9819"/>
                <a:gd name="connsiteX48" fmla="*/ 7470 w 10000"/>
                <a:gd name="connsiteY48" fmla="*/ 8798 h 9819"/>
                <a:gd name="connsiteX49" fmla="*/ 7590 w 10000"/>
                <a:gd name="connsiteY49" fmla="*/ 8541 h 9819"/>
                <a:gd name="connsiteX50" fmla="*/ 7831 w 10000"/>
                <a:gd name="connsiteY50" fmla="*/ 8412 h 9819"/>
                <a:gd name="connsiteX51" fmla="*/ 7952 w 10000"/>
                <a:gd name="connsiteY51" fmla="*/ 7937 h 9819"/>
                <a:gd name="connsiteX52" fmla="*/ 8313 w 10000"/>
                <a:gd name="connsiteY52" fmla="*/ 7377 h 9819"/>
                <a:gd name="connsiteX53" fmla="*/ 8594 w 10000"/>
                <a:gd name="connsiteY53" fmla="*/ 7117 h 9819"/>
                <a:gd name="connsiteX54" fmla="*/ 8795 w 10000"/>
                <a:gd name="connsiteY54" fmla="*/ 6386 h 9819"/>
                <a:gd name="connsiteX55" fmla="*/ 8795 w 10000"/>
                <a:gd name="connsiteY55" fmla="*/ 6213 h 9819"/>
                <a:gd name="connsiteX56" fmla="*/ 8755 w 10000"/>
                <a:gd name="connsiteY56" fmla="*/ 5781 h 9819"/>
                <a:gd name="connsiteX57" fmla="*/ 9157 w 10000"/>
                <a:gd name="connsiteY57" fmla="*/ 4227 h 9819"/>
                <a:gd name="connsiteX58" fmla="*/ 9277 w 10000"/>
                <a:gd name="connsiteY58" fmla="*/ 4227 h 9819"/>
                <a:gd name="connsiteX59" fmla="*/ 9438 w 10000"/>
                <a:gd name="connsiteY59" fmla="*/ 4098 h 9819"/>
                <a:gd name="connsiteX60" fmla="*/ 9920 w 10000"/>
                <a:gd name="connsiteY60" fmla="*/ 3882 h 9819"/>
                <a:gd name="connsiteX61" fmla="*/ 10000 w 10000"/>
                <a:gd name="connsiteY61" fmla="*/ 3537 h 9819"/>
                <a:gd name="connsiteX62" fmla="*/ 9960 w 10000"/>
                <a:gd name="connsiteY62" fmla="*/ 3450 h 9819"/>
                <a:gd name="connsiteX63" fmla="*/ 9799 w 10000"/>
                <a:gd name="connsiteY63" fmla="*/ 3450 h 9819"/>
                <a:gd name="connsiteX64" fmla="*/ 9679 w 10000"/>
                <a:gd name="connsiteY64" fmla="*/ 3235 h 9819"/>
                <a:gd name="connsiteX65" fmla="*/ 9438 w 10000"/>
                <a:gd name="connsiteY65" fmla="*/ 3151 h 9819"/>
                <a:gd name="connsiteX66" fmla="*/ 9317 w 10000"/>
                <a:gd name="connsiteY66" fmla="*/ 2978 h 9819"/>
                <a:gd name="connsiteX67" fmla="*/ 9237 w 10000"/>
                <a:gd name="connsiteY67" fmla="*/ 2331 h 9819"/>
                <a:gd name="connsiteX68" fmla="*/ 9237 w 10000"/>
                <a:gd name="connsiteY68" fmla="*/ 1423 h 9819"/>
                <a:gd name="connsiteX69" fmla="*/ 9036 w 10000"/>
                <a:gd name="connsiteY69" fmla="*/ 1123 h 9819"/>
                <a:gd name="connsiteX70" fmla="*/ 8996 w 10000"/>
                <a:gd name="connsiteY70" fmla="*/ 820 h 9819"/>
                <a:gd name="connsiteX71" fmla="*/ 8675 w 10000"/>
                <a:gd name="connsiteY71" fmla="*/ 389 h 9819"/>
                <a:gd name="connsiteX72" fmla="*/ 8394 w 10000"/>
                <a:gd name="connsiteY72" fmla="*/ 218 h 9819"/>
                <a:gd name="connsiteX73" fmla="*/ 8233 w 10000"/>
                <a:gd name="connsiteY73" fmla="*/ 0 h 9819"/>
                <a:gd name="connsiteX74" fmla="*/ 7992 w 10000"/>
                <a:gd name="connsiteY74" fmla="*/ 218 h 9819"/>
                <a:gd name="connsiteX75" fmla="*/ 7831 w 10000"/>
                <a:gd name="connsiteY75" fmla="*/ 173 h 9819"/>
                <a:gd name="connsiteX76" fmla="*/ 7711 w 10000"/>
                <a:gd name="connsiteY76" fmla="*/ 559 h 9819"/>
                <a:gd name="connsiteX77" fmla="*/ 7390 w 10000"/>
                <a:gd name="connsiteY77" fmla="*/ 648 h 9819"/>
                <a:gd name="connsiteX78" fmla="*/ 7309 w 10000"/>
                <a:gd name="connsiteY78" fmla="*/ 948 h 9819"/>
                <a:gd name="connsiteX79" fmla="*/ 7028 w 10000"/>
                <a:gd name="connsiteY79" fmla="*/ 948 h 9819"/>
                <a:gd name="connsiteX80" fmla="*/ 6787 w 10000"/>
                <a:gd name="connsiteY80" fmla="*/ 820 h 9819"/>
                <a:gd name="connsiteX81" fmla="*/ 6265 w 10000"/>
                <a:gd name="connsiteY81" fmla="*/ 820 h 9819"/>
                <a:gd name="connsiteX82" fmla="*/ 5743 w 10000"/>
                <a:gd name="connsiteY82" fmla="*/ 820 h 9819"/>
                <a:gd name="connsiteX83" fmla="*/ 5783 w 10000"/>
                <a:gd name="connsiteY83" fmla="*/ 648 h 9819"/>
                <a:gd name="connsiteX84" fmla="*/ 5703 w 10000"/>
                <a:gd name="connsiteY84" fmla="*/ 648 h 9819"/>
                <a:gd name="connsiteX85" fmla="*/ 5663 w 10000"/>
                <a:gd name="connsiteY85" fmla="*/ 820 h 9819"/>
                <a:gd name="connsiteX86" fmla="*/ 5181 w 10000"/>
                <a:gd name="connsiteY86" fmla="*/ 820 h 9819"/>
                <a:gd name="connsiteX87" fmla="*/ 4699 w 10000"/>
                <a:gd name="connsiteY87" fmla="*/ 820 h 9819"/>
                <a:gd name="connsiteX88" fmla="*/ 4217 w 10000"/>
                <a:gd name="connsiteY88" fmla="*/ 820 h 9819"/>
                <a:gd name="connsiteX89" fmla="*/ 3735 w 10000"/>
                <a:gd name="connsiteY89" fmla="*/ 820 h 9819"/>
                <a:gd name="connsiteX90" fmla="*/ 3293 w 10000"/>
                <a:gd name="connsiteY90" fmla="*/ 820 h 9819"/>
                <a:gd name="connsiteX91" fmla="*/ 2811 w 10000"/>
                <a:gd name="connsiteY91" fmla="*/ 820 h 9819"/>
                <a:gd name="connsiteX92" fmla="*/ 2369 w 10000"/>
                <a:gd name="connsiteY92" fmla="*/ 820 h 9819"/>
                <a:gd name="connsiteX93" fmla="*/ 1888 w 10000"/>
                <a:gd name="connsiteY93" fmla="*/ 820 h 9819"/>
                <a:gd name="connsiteX94" fmla="*/ 1888 w 10000"/>
                <a:gd name="connsiteY94" fmla="*/ 1423 h 9819"/>
                <a:gd name="connsiteX95" fmla="*/ 1888 w 10000"/>
                <a:gd name="connsiteY95" fmla="*/ 2200 h 9819"/>
                <a:gd name="connsiteX96" fmla="*/ 1285 w 10000"/>
                <a:gd name="connsiteY96" fmla="*/ 2200 h 9819"/>
                <a:gd name="connsiteX97" fmla="*/ 1285 w 10000"/>
                <a:gd name="connsiteY97" fmla="*/ 2545 h 9819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11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01 w 10000"/>
                <a:gd name="connsiteY32" fmla="*/ 9253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11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83 w 10000"/>
                <a:gd name="connsiteY32" fmla="*/ 9289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77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83 w 10000"/>
                <a:gd name="connsiteY32" fmla="*/ 9289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10000" h="10000">
                  <a:moveTo>
                    <a:pt x="1285" y="2592"/>
                  </a:moveTo>
                  <a:lnTo>
                    <a:pt x="1285" y="3295"/>
                  </a:lnTo>
                  <a:lnTo>
                    <a:pt x="1285" y="3954"/>
                  </a:lnTo>
                  <a:lnTo>
                    <a:pt x="1285" y="4614"/>
                  </a:lnTo>
                  <a:lnTo>
                    <a:pt x="1285" y="5226"/>
                  </a:lnTo>
                  <a:lnTo>
                    <a:pt x="643" y="5360"/>
                  </a:lnTo>
                  <a:cubicBezTo>
                    <a:pt x="603" y="5477"/>
                    <a:pt x="562" y="5593"/>
                    <a:pt x="522" y="5710"/>
                  </a:cubicBezTo>
                  <a:lnTo>
                    <a:pt x="241" y="6150"/>
                  </a:lnTo>
                  <a:lnTo>
                    <a:pt x="241" y="6504"/>
                  </a:lnTo>
                  <a:lnTo>
                    <a:pt x="120" y="6589"/>
                  </a:lnTo>
                  <a:lnTo>
                    <a:pt x="120" y="6896"/>
                  </a:lnTo>
                  <a:lnTo>
                    <a:pt x="0" y="7163"/>
                  </a:lnTo>
                  <a:lnTo>
                    <a:pt x="0" y="7380"/>
                  </a:lnTo>
                  <a:lnTo>
                    <a:pt x="241" y="7337"/>
                  </a:lnTo>
                  <a:cubicBezTo>
                    <a:pt x="254" y="7469"/>
                    <a:pt x="268" y="7600"/>
                    <a:pt x="281" y="7730"/>
                  </a:cubicBezTo>
                  <a:lnTo>
                    <a:pt x="602" y="8437"/>
                  </a:lnTo>
                  <a:lnTo>
                    <a:pt x="602" y="8479"/>
                  </a:lnTo>
                  <a:lnTo>
                    <a:pt x="482" y="8522"/>
                  </a:lnTo>
                  <a:lnTo>
                    <a:pt x="964" y="9225"/>
                  </a:lnTo>
                  <a:cubicBezTo>
                    <a:pt x="977" y="9299"/>
                    <a:pt x="991" y="9372"/>
                    <a:pt x="1004" y="9446"/>
                  </a:cubicBezTo>
                  <a:cubicBezTo>
                    <a:pt x="991" y="9651"/>
                    <a:pt x="1191" y="9602"/>
                    <a:pt x="1178" y="9809"/>
                  </a:cubicBezTo>
                  <a:cubicBezTo>
                    <a:pt x="1205" y="9838"/>
                    <a:pt x="1330" y="9578"/>
                    <a:pt x="1357" y="9607"/>
                  </a:cubicBezTo>
                  <a:cubicBezTo>
                    <a:pt x="1491" y="9531"/>
                    <a:pt x="1526" y="9661"/>
                    <a:pt x="1652" y="9545"/>
                  </a:cubicBezTo>
                  <a:lnTo>
                    <a:pt x="1951" y="9489"/>
                  </a:lnTo>
                  <a:cubicBezTo>
                    <a:pt x="1964" y="9591"/>
                    <a:pt x="2012" y="9117"/>
                    <a:pt x="2025" y="9219"/>
                  </a:cubicBezTo>
                  <a:lnTo>
                    <a:pt x="2338" y="9131"/>
                  </a:lnTo>
                  <a:cubicBezTo>
                    <a:pt x="2482" y="9213"/>
                    <a:pt x="2505" y="9464"/>
                    <a:pt x="2643" y="9561"/>
                  </a:cubicBezTo>
                  <a:cubicBezTo>
                    <a:pt x="2747" y="9644"/>
                    <a:pt x="2890" y="9723"/>
                    <a:pt x="2977" y="9748"/>
                  </a:cubicBezTo>
                  <a:cubicBezTo>
                    <a:pt x="3064" y="9775"/>
                    <a:pt x="3071" y="9711"/>
                    <a:pt x="3167" y="9715"/>
                  </a:cubicBezTo>
                  <a:lnTo>
                    <a:pt x="3795" y="9872"/>
                  </a:lnTo>
                  <a:cubicBezTo>
                    <a:pt x="3849" y="9828"/>
                    <a:pt x="4099" y="10000"/>
                    <a:pt x="4153" y="9956"/>
                  </a:cubicBezTo>
                  <a:cubicBezTo>
                    <a:pt x="4287" y="9933"/>
                    <a:pt x="4581" y="9819"/>
                    <a:pt x="4682" y="9732"/>
                  </a:cubicBezTo>
                  <a:cubicBezTo>
                    <a:pt x="4806" y="9616"/>
                    <a:pt x="4903" y="9349"/>
                    <a:pt x="4983" y="9289"/>
                  </a:cubicBezTo>
                  <a:cubicBezTo>
                    <a:pt x="5106" y="9253"/>
                    <a:pt x="5227" y="9441"/>
                    <a:pt x="5337" y="9512"/>
                  </a:cubicBezTo>
                  <a:cubicBezTo>
                    <a:pt x="5340" y="9373"/>
                    <a:pt x="5492" y="9671"/>
                    <a:pt x="5564" y="9681"/>
                  </a:cubicBezTo>
                  <a:lnTo>
                    <a:pt x="5768" y="9572"/>
                  </a:lnTo>
                  <a:lnTo>
                    <a:pt x="5933" y="9471"/>
                  </a:lnTo>
                  <a:lnTo>
                    <a:pt x="6089" y="9245"/>
                  </a:lnTo>
                  <a:lnTo>
                    <a:pt x="6274" y="8940"/>
                  </a:lnTo>
                  <a:cubicBezTo>
                    <a:pt x="6312" y="8890"/>
                    <a:pt x="6351" y="8843"/>
                    <a:pt x="6389" y="8797"/>
                  </a:cubicBezTo>
                  <a:lnTo>
                    <a:pt x="6524" y="8740"/>
                  </a:lnTo>
                  <a:cubicBezTo>
                    <a:pt x="6526" y="8680"/>
                    <a:pt x="6529" y="8620"/>
                    <a:pt x="6531" y="8560"/>
                  </a:cubicBezTo>
                  <a:cubicBezTo>
                    <a:pt x="6495" y="8427"/>
                    <a:pt x="6608" y="8487"/>
                    <a:pt x="6572" y="8352"/>
                  </a:cubicBezTo>
                  <a:cubicBezTo>
                    <a:pt x="6582" y="8288"/>
                    <a:pt x="6592" y="8226"/>
                    <a:pt x="6602" y="8162"/>
                  </a:cubicBezTo>
                  <a:lnTo>
                    <a:pt x="6855" y="7916"/>
                  </a:lnTo>
                  <a:cubicBezTo>
                    <a:pt x="6892" y="8049"/>
                    <a:pt x="6846" y="8691"/>
                    <a:pt x="6893" y="8869"/>
                  </a:cubicBezTo>
                  <a:cubicBezTo>
                    <a:pt x="6988" y="9092"/>
                    <a:pt x="7208" y="9208"/>
                    <a:pt x="7308" y="9201"/>
                  </a:cubicBezTo>
                  <a:cubicBezTo>
                    <a:pt x="7321" y="8774"/>
                    <a:pt x="7417" y="9343"/>
                    <a:pt x="7430" y="8917"/>
                  </a:cubicBezTo>
                  <a:cubicBezTo>
                    <a:pt x="7443" y="8935"/>
                    <a:pt x="7457" y="8947"/>
                    <a:pt x="7470" y="8960"/>
                  </a:cubicBezTo>
                  <a:lnTo>
                    <a:pt x="7590" y="8698"/>
                  </a:lnTo>
                  <a:lnTo>
                    <a:pt x="7831" y="8567"/>
                  </a:lnTo>
                  <a:cubicBezTo>
                    <a:pt x="7871" y="8405"/>
                    <a:pt x="7912" y="8243"/>
                    <a:pt x="7952" y="8083"/>
                  </a:cubicBezTo>
                  <a:lnTo>
                    <a:pt x="8313" y="7513"/>
                  </a:lnTo>
                  <a:lnTo>
                    <a:pt x="8594" y="7248"/>
                  </a:lnTo>
                  <a:lnTo>
                    <a:pt x="8795" y="6504"/>
                  </a:lnTo>
                  <a:lnTo>
                    <a:pt x="8795" y="6328"/>
                  </a:lnTo>
                  <a:cubicBezTo>
                    <a:pt x="8782" y="6182"/>
                    <a:pt x="8768" y="6033"/>
                    <a:pt x="8755" y="5888"/>
                  </a:cubicBezTo>
                  <a:lnTo>
                    <a:pt x="9157" y="4305"/>
                  </a:lnTo>
                  <a:lnTo>
                    <a:pt x="9277" y="4305"/>
                  </a:lnTo>
                  <a:cubicBezTo>
                    <a:pt x="9331" y="4263"/>
                    <a:pt x="9384" y="4216"/>
                    <a:pt x="9438" y="4174"/>
                  </a:cubicBezTo>
                  <a:lnTo>
                    <a:pt x="9920" y="3954"/>
                  </a:lnTo>
                  <a:cubicBezTo>
                    <a:pt x="9947" y="3837"/>
                    <a:pt x="9973" y="3722"/>
                    <a:pt x="10000" y="3602"/>
                  </a:cubicBezTo>
                  <a:cubicBezTo>
                    <a:pt x="9987" y="3573"/>
                    <a:pt x="9973" y="3545"/>
                    <a:pt x="9960" y="3514"/>
                  </a:cubicBezTo>
                  <a:lnTo>
                    <a:pt x="9799" y="3514"/>
                  </a:lnTo>
                  <a:lnTo>
                    <a:pt x="9679" y="3295"/>
                  </a:lnTo>
                  <a:lnTo>
                    <a:pt x="9438" y="3209"/>
                  </a:lnTo>
                  <a:cubicBezTo>
                    <a:pt x="9398" y="3148"/>
                    <a:pt x="9357" y="3091"/>
                    <a:pt x="9317" y="3033"/>
                  </a:cubicBezTo>
                  <a:cubicBezTo>
                    <a:pt x="9290" y="2813"/>
                    <a:pt x="9264" y="2592"/>
                    <a:pt x="9237" y="2374"/>
                  </a:cubicBezTo>
                  <a:lnTo>
                    <a:pt x="9237" y="1449"/>
                  </a:lnTo>
                  <a:lnTo>
                    <a:pt x="9036" y="1144"/>
                  </a:lnTo>
                  <a:cubicBezTo>
                    <a:pt x="9023" y="1040"/>
                    <a:pt x="9009" y="936"/>
                    <a:pt x="8996" y="835"/>
                  </a:cubicBezTo>
                  <a:lnTo>
                    <a:pt x="8675" y="396"/>
                  </a:lnTo>
                  <a:lnTo>
                    <a:pt x="8394" y="222"/>
                  </a:lnTo>
                  <a:lnTo>
                    <a:pt x="8233" y="0"/>
                  </a:lnTo>
                  <a:lnTo>
                    <a:pt x="7992" y="222"/>
                  </a:lnTo>
                  <a:lnTo>
                    <a:pt x="7831" y="176"/>
                  </a:lnTo>
                  <a:lnTo>
                    <a:pt x="7711" y="569"/>
                  </a:lnTo>
                  <a:lnTo>
                    <a:pt x="7390" y="660"/>
                  </a:lnTo>
                  <a:cubicBezTo>
                    <a:pt x="7363" y="762"/>
                    <a:pt x="7336" y="863"/>
                    <a:pt x="7309" y="965"/>
                  </a:cubicBezTo>
                  <a:lnTo>
                    <a:pt x="7028" y="965"/>
                  </a:lnTo>
                  <a:lnTo>
                    <a:pt x="6787" y="835"/>
                  </a:lnTo>
                  <a:lnTo>
                    <a:pt x="6265" y="835"/>
                  </a:lnTo>
                  <a:lnTo>
                    <a:pt x="5743" y="835"/>
                  </a:lnTo>
                  <a:cubicBezTo>
                    <a:pt x="5756" y="777"/>
                    <a:pt x="5770" y="718"/>
                    <a:pt x="5783" y="660"/>
                  </a:cubicBezTo>
                  <a:lnTo>
                    <a:pt x="5703" y="660"/>
                  </a:lnTo>
                  <a:cubicBezTo>
                    <a:pt x="5690" y="718"/>
                    <a:pt x="5676" y="777"/>
                    <a:pt x="5663" y="835"/>
                  </a:cubicBezTo>
                  <a:lnTo>
                    <a:pt x="5181" y="835"/>
                  </a:lnTo>
                  <a:lnTo>
                    <a:pt x="4699" y="835"/>
                  </a:lnTo>
                  <a:lnTo>
                    <a:pt x="4217" y="835"/>
                  </a:lnTo>
                  <a:lnTo>
                    <a:pt x="3735" y="835"/>
                  </a:lnTo>
                  <a:lnTo>
                    <a:pt x="3293" y="835"/>
                  </a:lnTo>
                  <a:lnTo>
                    <a:pt x="2811" y="835"/>
                  </a:lnTo>
                  <a:lnTo>
                    <a:pt x="2369" y="835"/>
                  </a:lnTo>
                  <a:lnTo>
                    <a:pt x="1888" y="835"/>
                  </a:lnTo>
                  <a:lnTo>
                    <a:pt x="1888" y="1449"/>
                  </a:lnTo>
                  <a:lnTo>
                    <a:pt x="1888" y="2241"/>
                  </a:lnTo>
                  <a:lnTo>
                    <a:pt x="1285" y="2241"/>
                  </a:lnTo>
                  <a:lnTo>
                    <a:pt x="1285" y="259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4450" tIns="44450" rIns="44450" bIns="44450"/>
            <a:lstStyle/>
            <a:p>
              <a:pPr algn="ctr"/>
              <a:endParaRPr lang="en-US" sz="3200" dirty="0"/>
            </a:p>
          </p:txBody>
        </p:sp>
        <p:sp>
          <p:nvSpPr>
            <p:cNvPr id="7" name="Freeform 4"/>
            <p:cNvSpPr>
              <a:spLocks/>
            </p:cNvSpPr>
            <p:nvPr>
              <p:custDataLst>
                <p:tags r:id="rId199"/>
              </p:custDataLst>
            </p:nvPr>
          </p:nvSpPr>
          <p:spPr bwMode="gray">
            <a:xfrm>
              <a:off x="5736031" y="3508868"/>
              <a:ext cx="318858" cy="272884"/>
            </a:xfrm>
            <a:custGeom>
              <a:avLst/>
              <a:gdLst/>
              <a:ahLst/>
              <a:cxnLst>
                <a:cxn ang="0">
                  <a:pos x="20" y="64"/>
                </a:cxn>
                <a:cxn ang="0">
                  <a:pos x="32" y="68"/>
                </a:cxn>
                <a:cxn ang="0">
                  <a:pos x="36" y="60"/>
                </a:cxn>
                <a:cxn ang="0">
                  <a:pos x="40" y="56"/>
                </a:cxn>
                <a:cxn ang="0">
                  <a:pos x="52" y="48"/>
                </a:cxn>
                <a:cxn ang="0">
                  <a:pos x="60" y="40"/>
                </a:cxn>
                <a:cxn ang="0">
                  <a:pos x="64" y="28"/>
                </a:cxn>
                <a:cxn ang="0">
                  <a:pos x="76" y="24"/>
                </a:cxn>
                <a:cxn ang="0">
                  <a:pos x="84" y="24"/>
                </a:cxn>
                <a:cxn ang="0">
                  <a:pos x="100" y="24"/>
                </a:cxn>
                <a:cxn ang="0">
                  <a:pos x="108" y="28"/>
                </a:cxn>
                <a:cxn ang="0">
                  <a:pos x="120" y="28"/>
                </a:cxn>
                <a:cxn ang="0">
                  <a:pos x="132" y="28"/>
                </a:cxn>
                <a:cxn ang="0">
                  <a:pos x="144" y="20"/>
                </a:cxn>
                <a:cxn ang="0">
                  <a:pos x="144" y="12"/>
                </a:cxn>
                <a:cxn ang="0">
                  <a:pos x="156" y="0"/>
                </a:cxn>
                <a:cxn ang="0">
                  <a:pos x="160" y="12"/>
                </a:cxn>
                <a:cxn ang="0">
                  <a:pos x="164" y="16"/>
                </a:cxn>
                <a:cxn ang="0">
                  <a:pos x="164" y="32"/>
                </a:cxn>
                <a:cxn ang="0">
                  <a:pos x="176" y="32"/>
                </a:cxn>
                <a:cxn ang="0">
                  <a:pos x="188" y="28"/>
                </a:cxn>
                <a:cxn ang="0">
                  <a:pos x="196" y="24"/>
                </a:cxn>
                <a:cxn ang="0">
                  <a:pos x="200" y="28"/>
                </a:cxn>
                <a:cxn ang="0">
                  <a:pos x="215" y="24"/>
                </a:cxn>
                <a:cxn ang="0">
                  <a:pos x="208" y="28"/>
                </a:cxn>
                <a:cxn ang="0">
                  <a:pos x="200" y="32"/>
                </a:cxn>
                <a:cxn ang="0">
                  <a:pos x="184" y="36"/>
                </a:cxn>
                <a:cxn ang="0">
                  <a:pos x="172" y="40"/>
                </a:cxn>
                <a:cxn ang="0">
                  <a:pos x="160" y="52"/>
                </a:cxn>
                <a:cxn ang="0">
                  <a:pos x="164" y="60"/>
                </a:cxn>
                <a:cxn ang="0">
                  <a:pos x="164" y="72"/>
                </a:cxn>
                <a:cxn ang="0">
                  <a:pos x="156" y="80"/>
                </a:cxn>
                <a:cxn ang="0">
                  <a:pos x="160" y="92"/>
                </a:cxn>
                <a:cxn ang="0">
                  <a:pos x="144" y="92"/>
                </a:cxn>
                <a:cxn ang="0">
                  <a:pos x="144" y="100"/>
                </a:cxn>
                <a:cxn ang="0">
                  <a:pos x="144" y="108"/>
                </a:cxn>
                <a:cxn ang="0">
                  <a:pos x="132" y="116"/>
                </a:cxn>
                <a:cxn ang="0">
                  <a:pos x="132" y="124"/>
                </a:cxn>
                <a:cxn ang="0">
                  <a:pos x="128" y="136"/>
                </a:cxn>
                <a:cxn ang="0">
                  <a:pos x="120" y="136"/>
                </a:cxn>
                <a:cxn ang="0">
                  <a:pos x="104" y="140"/>
                </a:cxn>
                <a:cxn ang="0">
                  <a:pos x="100" y="148"/>
                </a:cxn>
                <a:cxn ang="0">
                  <a:pos x="92" y="148"/>
                </a:cxn>
                <a:cxn ang="0">
                  <a:pos x="88" y="164"/>
                </a:cxn>
                <a:cxn ang="0">
                  <a:pos x="88" y="172"/>
                </a:cxn>
                <a:cxn ang="0">
                  <a:pos x="72" y="180"/>
                </a:cxn>
                <a:cxn ang="0">
                  <a:pos x="56" y="180"/>
                </a:cxn>
                <a:cxn ang="0">
                  <a:pos x="40" y="180"/>
                </a:cxn>
                <a:cxn ang="0">
                  <a:pos x="16" y="180"/>
                </a:cxn>
                <a:cxn ang="0">
                  <a:pos x="8" y="172"/>
                </a:cxn>
                <a:cxn ang="0">
                  <a:pos x="20" y="152"/>
                </a:cxn>
                <a:cxn ang="0">
                  <a:pos x="12" y="144"/>
                </a:cxn>
                <a:cxn ang="0">
                  <a:pos x="4" y="132"/>
                </a:cxn>
                <a:cxn ang="0">
                  <a:pos x="0" y="116"/>
                </a:cxn>
                <a:cxn ang="0">
                  <a:pos x="4" y="104"/>
                </a:cxn>
                <a:cxn ang="0">
                  <a:pos x="0" y="92"/>
                </a:cxn>
                <a:cxn ang="0">
                  <a:pos x="0" y="80"/>
                </a:cxn>
                <a:cxn ang="0">
                  <a:pos x="8" y="68"/>
                </a:cxn>
              </a:cxnLst>
              <a:rect l="0" t="0" r="r" b="b"/>
              <a:pathLst>
                <a:path w="215" h="184">
                  <a:moveTo>
                    <a:pt x="12" y="60"/>
                  </a:moveTo>
                  <a:lnTo>
                    <a:pt x="12" y="64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6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36" y="56"/>
                  </a:lnTo>
                  <a:lnTo>
                    <a:pt x="40" y="56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60" y="48"/>
                  </a:lnTo>
                  <a:lnTo>
                    <a:pt x="60" y="44"/>
                  </a:lnTo>
                  <a:lnTo>
                    <a:pt x="60" y="40"/>
                  </a:lnTo>
                  <a:lnTo>
                    <a:pt x="60" y="36"/>
                  </a:lnTo>
                  <a:lnTo>
                    <a:pt x="64" y="36"/>
                  </a:lnTo>
                  <a:lnTo>
                    <a:pt x="64" y="32"/>
                  </a:lnTo>
                  <a:lnTo>
                    <a:pt x="64" y="28"/>
                  </a:lnTo>
                  <a:lnTo>
                    <a:pt x="68" y="28"/>
                  </a:lnTo>
                  <a:lnTo>
                    <a:pt x="72" y="28"/>
                  </a:lnTo>
                  <a:lnTo>
                    <a:pt x="76" y="28"/>
                  </a:lnTo>
                  <a:lnTo>
                    <a:pt x="76" y="24"/>
                  </a:lnTo>
                  <a:lnTo>
                    <a:pt x="76" y="20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4" y="24"/>
                  </a:lnTo>
                  <a:lnTo>
                    <a:pt x="108" y="28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16" y="28"/>
                  </a:lnTo>
                  <a:lnTo>
                    <a:pt x="120" y="28"/>
                  </a:lnTo>
                  <a:lnTo>
                    <a:pt x="124" y="24"/>
                  </a:lnTo>
                  <a:lnTo>
                    <a:pt x="128" y="24"/>
                  </a:lnTo>
                  <a:lnTo>
                    <a:pt x="128" y="28"/>
                  </a:lnTo>
                  <a:lnTo>
                    <a:pt x="132" y="28"/>
                  </a:lnTo>
                  <a:lnTo>
                    <a:pt x="132" y="24"/>
                  </a:lnTo>
                  <a:lnTo>
                    <a:pt x="136" y="20"/>
                  </a:lnTo>
                  <a:lnTo>
                    <a:pt x="140" y="20"/>
                  </a:lnTo>
                  <a:lnTo>
                    <a:pt x="144" y="20"/>
                  </a:lnTo>
                  <a:lnTo>
                    <a:pt x="148" y="20"/>
                  </a:lnTo>
                  <a:lnTo>
                    <a:pt x="148" y="16"/>
                  </a:lnTo>
                  <a:lnTo>
                    <a:pt x="144" y="16"/>
                  </a:lnTo>
                  <a:lnTo>
                    <a:pt x="144" y="12"/>
                  </a:lnTo>
                  <a:lnTo>
                    <a:pt x="148" y="12"/>
                  </a:lnTo>
                  <a:lnTo>
                    <a:pt x="152" y="8"/>
                  </a:lnTo>
                  <a:lnTo>
                    <a:pt x="152" y="4"/>
                  </a:lnTo>
                  <a:lnTo>
                    <a:pt x="156" y="0"/>
                  </a:lnTo>
                  <a:lnTo>
                    <a:pt x="160" y="4"/>
                  </a:lnTo>
                  <a:lnTo>
                    <a:pt x="164" y="4"/>
                  </a:lnTo>
                  <a:lnTo>
                    <a:pt x="164" y="8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8" y="12"/>
                  </a:lnTo>
                  <a:lnTo>
                    <a:pt x="168" y="16"/>
                  </a:lnTo>
                  <a:lnTo>
                    <a:pt x="164" y="16"/>
                  </a:lnTo>
                  <a:lnTo>
                    <a:pt x="164" y="20"/>
                  </a:lnTo>
                  <a:lnTo>
                    <a:pt x="164" y="24"/>
                  </a:lnTo>
                  <a:lnTo>
                    <a:pt x="164" y="28"/>
                  </a:lnTo>
                  <a:lnTo>
                    <a:pt x="164" y="32"/>
                  </a:lnTo>
                  <a:lnTo>
                    <a:pt x="168" y="36"/>
                  </a:lnTo>
                  <a:lnTo>
                    <a:pt x="168" y="40"/>
                  </a:lnTo>
                  <a:lnTo>
                    <a:pt x="172" y="36"/>
                  </a:lnTo>
                  <a:lnTo>
                    <a:pt x="176" y="32"/>
                  </a:lnTo>
                  <a:lnTo>
                    <a:pt x="180" y="32"/>
                  </a:lnTo>
                  <a:lnTo>
                    <a:pt x="184" y="32"/>
                  </a:lnTo>
                  <a:lnTo>
                    <a:pt x="184" y="28"/>
                  </a:lnTo>
                  <a:lnTo>
                    <a:pt x="188" y="28"/>
                  </a:lnTo>
                  <a:lnTo>
                    <a:pt x="188" y="24"/>
                  </a:lnTo>
                  <a:lnTo>
                    <a:pt x="192" y="24"/>
                  </a:lnTo>
                  <a:lnTo>
                    <a:pt x="196" y="20"/>
                  </a:lnTo>
                  <a:lnTo>
                    <a:pt x="196" y="24"/>
                  </a:lnTo>
                  <a:lnTo>
                    <a:pt x="200" y="24"/>
                  </a:lnTo>
                  <a:lnTo>
                    <a:pt x="196" y="24"/>
                  </a:lnTo>
                  <a:lnTo>
                    <a:pt x="196" y="28"/>
                  </a:lnTo>
                  <a:lnTo>
                    <a:pt x="200" y="28"/>
                  </a:lnTo>
                  <a:lnTo>
                    <a:pt x="204" y="24"/>
                  </a:lnTo>
                  <a:lnTo>
                    <a:pt x="208" y="24"/>
                  </a:lnTo>
                  <a:lnTo>
                    <a:pt x="212" y="24"/>
                  </a:lnTo>
                  <a:lnTo>
                    <a:pt x="215" y="24"/>
                  </a:lnTo>
                  <a:lnTo>
                    <a:pt x="215" y="28"/>
                  </a:lnTo>
                  <a:lnTo>
                    <a:pt x="215" y="24"/>
                  </a:lnTo>
                  <a:lnTo>
                    <a:pt x="212" y="28"/>
                  </a:lnTo>
                  <a:lnTo>
                    <a:pt x="208" y="28"/>
                  </a:lnTo>
                  <a:lnTo>
                    <a:pt x="212" y="32"/>
                  </a:lnTo>
                  <a:lnTo>
                    <a:pt x="208" y="32"/>
                  </a:lnTo>
                  <a:lnTo>
                    <a:pt x="204" y="36"/>
                  </a:lnTo>
                  <a:lnTo>
                    <a:pt x="200" y="32"/>
                  </a:lnTo>
                  <a:lnTo>
                    <a:pt x="196" y="32"/>
                  </a:lnTo>
                  <a:lnTo>
                    <a:pt x="192" y="32"/>
                  </a:lnTo>
                  <a:lnTo>
                    <a:pt x="188" y="36"/>
                  </a:lnTo>
                  <a:lnTo>
                    <a:pt x="184" y="36"/>
                  </a:lnTo>
                  <a:lnTo>
                    <a:pt x="180" y="36"/>
                  </a:lnTo>
                  <a:lnTo>
                    <a:pt x="176" y="36"/>
                  </a:lnTo>
                  <a:lnTo>
                    <a:pt x="176" y="40"/>
                  </a:lnTo>
                  <a:lnTo>
                    <a:pt x="172" y="40"/>
                  </a:lnTo>
                  <a:lnTo>
                    <a:pt x="168" y="44"/>
                  </a:lnTo>
                  <a:lnTo>
                    <a:pt x="164" y="48"/>
                  </a:lnTo>
                  <a:lnTo>
                    <a:pt x="160" y="48"/>
                  </a:lnTo>
                  <a:lnTo>
                    <a:pt x="160" y="52"/>
                  </a:lnTo>
                  <a:lnTo>
                    <a:pt x="164" y="52"/>
                  </a:lnTo>
                  <a:lnTo>
                    <a:pt x="164" y="56"/>
                  </a:lnTo>
                  <a:lnTo>
                    <a:pt x="168" y="56"/>
                  </a:lnTo>
                  <a:lnTo>
                    <a:pt x="164" y="60"/>
                  </a:lnTo>
                  <a:lnTo>
                    <a:pt x="168" y="60"/>
                  </a:lnTo>
                  <a:lnTo>
                    <a:pt x="168" y="64"/>
                  </a:lnTo>
                  <a:lnTo>
                    <a:pt x="168" y="68"/>
                  </a:lnTo>
                  <a:lnTo>
                    <a:pt x="164" y="72"/>
                  </a:lnTo>
                  <a:lnTo>
                    <a:pt x="164" y="76"/>
                  </a:lnTo>
                  <a:lnTo>
                    <a:pt x="160" y="76"/>
                  </a:lnTo>
                  <a:lnTo>
                    <a:pt x="160" y="80"/>
                  </a:lnTo>
                  <a:lnTo>
                    <a:pt x="156" y="80"/>
                  </a:lnTo>
                  <a:lnTo>
                    <a:pt x="156" y="84"/>
                  </a:lnTo>
                  <a:lnTo>
                    <a:pt x="160" y="84"/>
                  </a:lnTo>
                  <a:lnTo>
                    <a:pt x="160" y="88"/>
                  </a:lnTo>
                  <a:lnTo>
                    <a:pt x="160" y="92"/>
                  </a:lnTo>
                  <a:lnTo>
                    <a:pt x="156" y="92"/>
                  </a:lnTo>
                  <a:lnTo>
                    <a:pt x="152" y="92"/>
                  </a:lnTo>
                  <a:lnTo>
                    <a:pt x="148" y="92"/>
                  </a:lnTo>
                  <a:lnTo>
                    <a:pt x="144" y="92"/>
                  </a:lnTo>
                  <a:lnTo>
                    <a:pt x="140" y="92"/>
                  </a:lnTo>
                  <a:lnTo>
                    <a:pt x="140" y="96"/>
                  </a:lnTo>
                  <a:lnTo>
                    <a:pt x="144" y="96"/>
                  </a:lnTo>
                  <a:lnTo>
                    <a:pt x="144" y="100"/>
                  </a:lnTo>
                  <a:lnTo>
                    <a:pt x="144" y="104"/>
                  </a:lnTo>
                  <a:lnTo>
                    <a:pt x="148" y="104"/>
                  </a:lnTo>
                  <a:lnTo>
                    <a:pt x="148" y="108"/>
                  </a:lnTo>
                  <a:lnTo>
                    <a:pt x="144" y="108"/>
                  </a:lnTo>
                  <a:lnTo>
                    <a:pt x="140" y="112"/>
                  </a:lnTo>
                  <a:lnTo>
                    <a:pt x="136" y="112"/>
                  </a:lnTo>
                  <a:lnTo>
                    <a:pt x="136" y="116"/>
                  </a:lnTo>
                  <a:lnTo>
                    <a:pt x="132" y="116"/>
                  </a:lnTo>
                  <a:lnTo>
                    <a:pt x="136" y="116"/>
                  </a:lnTo>
                  <a:lnTo>
                    <a:pt x="136" y="120"/>
                  </a:lnTo>
                  <a:lnTo>
                    <a:pt x="132" y="120"/>
                  </a:lnTo>
                  <a:lnTo>
                    <a:pt x="132" y="124"/>
                  </a:lnTo>
                  <a:lnTo>
                    <a:pt x="132" y="128"/>
                  </a:lnTo>
                  <a:lnTo>
                    <a:pt x="132" y="132"/>
                  </a:lnTo>
                  <a:lnTo>
                    <a:pt x="132" y="136"/>
                  </a:lnTo>
                  <a:lnTo>
                    <a:pt x="128" y="136"/>
                  </a:lnTo>
                  <a:lnTo>
                    <a:pt x="128" y="140"/>
                  </a:lnTo>
                  <a:lnTo>
                    <a:pt x="124" y="140"/>
                  </a:lnTo>
                  <a:lnTo>
                    <a:pt x="124" y="136"/>
                  </a:lnTo>
                  <a:lnTo>
                    <a:pt x="120" y="136"/>
                  </a:lnTo>
                  <a:lnTo>
                    <a:pt x="116" y="136"/>
                  </a:lnTo>
                  <a:lnTo>
                    <a:pt x="112" y="140"/>
                  </a:lnTo>
                  <a:lnTo>
                    <a:pt x="108" y="140"/>
                  </a:lnTo>
                  <a:lnTo>
                    <a:pt x="104" y="140"/>
                  </a:lnTo>
                  <a:lnTo>
                    <a:pt x="108" y="144"/>
                  </a:lnTo>
                  <a:lnTo>
                    <a:pt x="108" y="148"/>
                  </a:lnTo>
                  <a:lnTo>
                    <a:pt x="104" y="148"/>
                  </a:lnTo>
                  <a:lnTo>
                    <a:pt x="100" y="148"/>
                  </a:lnTo>
                  <a:lnTo>
                    <a:pt x="96" y="148"/>
                  </a:lnTo>
                  <a:lnTo>
                    <a:pt x="96" y="144"/>
                  </a:lnTo>
                  <a:lnTo>
                    <a:pt x="96" y="148"/>
                  </a:lnTo>
                  <a:lnTo>
                    <a:pt x="92" y="148"/>
                  </a:lnTo>
                  <a:lnTo>
                    <a:pt x="92" y="152"/>
                  </a:lnTo>
                  <a:lnTo>
                    <a:pt x="88" y="152"/>
                  </a:lnTo>
                  <a:lnTo>
                    <a:pt x="88" y="160"/>
                  </a:lnTo>
                  <a:lnTo>
                    <a:pt x="88" y="164"/>
                  </a:lnTo>
                  <a:lnTo>
                    <a:pt x="88" y="168"/>
                  </a:lnTo>
                  <a:lnTo>
                    <a:pt x="84" y="168"/>
                  </a:lnTo>
                  <a:lnTo>
                    <a:pt x="84" y="172"/>
                  </a:lnTo>
                  <a:lnTo>
                    <a:pt x="88" y="172"/>
                  </a:lnTo>
                  <a:lnTo>
                    <a:pt x="84" y="176"/>
                  </a:lnTo>
                  <a:lnTo>
                    <a:pt x="80" y="176"/>
                  </a:lnTo>
                  <a:lnTo>
                    <a:pt x="76" y="176"/>
                  </a:lnTo>
                  <a:lnTo>
                    <a:pt x="72" y="180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0" y="180"/>
                  </a:lnTo>
                  <a:lnTo>
                    <a:pt x="56" y="180"/>
                  </a:lnTo>
                  <a:lnTo>
                    <a:pt x="52" y="184"/>
                  </a:lnTo>
                  <a:lnTo>
                    <a:pt x="48" y="180"/>
                  </a:lnTo>
                  <a:lnTo>
                    <a:pt x="44" y="180"/>
                  </a:lnTo>
                  <a:lnTo>
                    <a:pt x="40" y="180"/>
                  </a:lnTo>
                  <a:lnTo>
                    <a:pt x="28" y="184"/>
                  </a:lnTo>
                  <a:lnTo>
                    <a:pt x="24" y="180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8" y="176"/>
                  </a:lnTo>
                  <a:lnTo>
                    <a:pt x="4" y="176"/>
                  </a:lnTo>
                  <a:lnTo>
                    <a:pt x="4" y="172"/>
                  </a:lnTo>
                  <a:lnTo>
                    <a:pt x="8" y="172"/>
                  </a:lnTo>
                  <a:lnTo>
                    <a:pt x="8" y="168"/>
                  </a:lnTo>
                  <a:lnTo>
                    <a:pt x="12" y="164"/>
                  </a:lnTo>
                  <a:lnTo>
                    <a:pt x="16" y="156"/>
                  </a:lnTo>
                  <a:lnTo>
                    <a:pt x="20" y="152"/>
                  </a:lnTo>
                  <a:lnTo>
                    <a:pt x="20" y="148"/>
                  </a:lnTo>
                  <a:lnTo>
                    <a:pt x="16" y="148"/>
                  </a:lnTo>
                  <a:lnTo>
                    <a:pt x="16" y="144"/>
                  </a:lnTo>
                  <a:lnTo>
                    <a:pt x="12" y="144"/>
                  </a:lnTo>
                  <a:lnTo>
                    <a:pt x="8" y="144"/>
                  </a:lnTo>
                  <a:lnTo>
                    <a:pt x="4" y="140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4" y="128"/>
                  </a:lnTo>
                  <a:lnTo>
                    <a:pt x="4" y="124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4" y="104"/>
                  </a:lnTo>
                  <a:lnTo>
                    <a:pt x="4" y="100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4" y="84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12" y="6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" name="Freeform 5"/>
            <p:cNvSpPr>
              <a:spLocks noEditPoints="1"/>
            </p:cNvSpPr>
            <p:nvPr>
              <p:custDataLst>
                <p:tags r:id="rId200"/>
              </p:custDataLst>
            </p:nvPr>
          </p:nvSpPr>
          <p:spPr bwMode="gray">
            <a:xfrm>
              <a:off x="5351917" y="3425817"/>
              <a:ext cx="71187" cy="71187"/>
            </a:xfrm>
            <a:custGeom>
              <a:avLst/>
              <a:gdLst/>
              <a:ahLst/>
              <a:cxnLst>
                <a:cxn ang="0">
                  <a:pos x="44" y="48"/>
                </a:cxn>
                <a:cxn ang="0">
                  <a:pos x="40" y="48"/>
                </a:cxn>
                <a:cxn ang="0">
                  <a:pos x="40" y="48"/>
                </a:cxn>
                <a:cxn ang="0">
                  <a:pos x="40" y="40"/>
                </a:cxn>
                <a:cxn ang="0">
                  <a:pos x="36" y="36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24" y="32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16" y="28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32" y="8"/>
                </a:cxn>
                <a:cxn ang="0">
                  <a:pos x="28" y="12"/>
                </a:cxn>
                <a:cxn ang="0">
                  <a:pos x="32" y="16"/>
                </a:cxn>
                <a:cxn ang="0">
                  <a:pos x="36" y="20"/>
                </a:cxn>
                <a:cxn ang="0">
                  <a:pos x="36" y="24"/>
                </a:cxn>
                <a:cxn ang="0">
                  <a:pos x="36" y="24"/>
                </a:cxn>
                <a:cxn ang="0">
                  <a:pos x="32" y="24"/>
                </a:cxn>
                <a:cxn ang="0">
                  <a:pos x="36" y="28"/>
                </a:cxn>
                <a:cxn ang="0">
                  <a:pos x="36" y="28"/>
                </a:cxn>
                <a:cxn ang="0">
                  <a:pos x="36" y="32"/>
                </a:cxn>
                <a:cxn ang="0">
                  <a:pos x="40" y="32"/>
                </a:cxn>
                <a:cxn ang="0">
                  <a:pos x="40" y="36"/>
                </a:cxn>
                <a:cxn ang="0">
                  <a:pos x="44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8" y="40"/>
                </a:cxn>
                <a:cxn ang="0">
                  <a:pos x="44" y="44"/>
                </a:cxn>
                <a:cxn ang="0">
                  <a:pos x="44" y="44"/>
                </a:cxn>
                <a:cxn ang="0">
                  <a:pos x="44" y="48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2" y="12"/>
                </a:cxn>
                <a:cxn ang="0">
                  <a:pos x="32" y="12"/>
                </a:cxn>
              </a:cxnLst>
              <a:rect l="0" t="0" r="r" b="b"/>
              <a:pathLst>
                <a:path w="48" h="48">
                  <a:moveTo>
                    <a:pt x="48" y="48"/>
                  </a:moveTo>
                  <a:lnTo>
                    <a:pt x="48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0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8" y="48"/>
                  </a:lnTo>
                  <a:close/>
                  <a:moveTo>
                    <a:pt x="24" y="4"/>
                  </a:move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  <a:moveTo>
                    <a:pt x="28" y="4"/>
                  </a:move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close/>
                  <a:moveTo>
                    <a:pt x="32" y="12"/>
                  </a:move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" name="Freeform 6"/>
            <p:cNvSpPr>
              <a:spLocks noEditPoints="1"/>
            </p:cNvSpPr>
            <p:nvPr>
              <p:custDataLst>
                <p:tags r:id="rId201"/>
              </p:custDataLst>
            </p:nvPr>
          </p:nvSpPr>
          <p:spPr bwMode="gray">
            <a:xfrm>
              <a:off x="5381578" y="3379842"/>
              <a:ext cx="152755" cy="134958"/>
            </a:xfrm>
            <a:custGeom>
              <a:avLst/>
              <a:gdLst/>
              <a:ahLst/>
              <a:cxnLst>
                <a:cxn ang="0">
                  <a:pos x="84" y="91"/>
                </a:cxn>
                <a:cxn ang="0">
                  <a:pos x="60" y="87"/>
                </a:cxn>
                <a:cxn ang="0">
                  <a:pos x="56" y="87"/>
                </a:cxn>
                <a:cxn ang="0">
                  <a:pos x="52" y="83"/>
                </a:cxn>
                <a:cxn ang="0">
                  <a:pos x="48" y="79"/>
                </a:cxn>
                <a:cxn ang="0">
                  <a:pos x="52" y="79"/>
                </a:cxn>
                <a:cxn ang="0">
                  <a:pos x="52" y="75"/>
                </a:cxn>
                <a:cxn ang="0">
                  <a:pos x="52" y="71"/>
                </a:cxn>
                <a:cxn ang="0">
                  <a:pos x="52" y="67"/>
                </a:cxn>
                <a:cxn ang="0">
                  <a:pos x="48" y="63"/>
                </a:cxn>
                <a:cxn ang="0">
                  <a:pos x="40" y="67"/>
                </a:cxn>
                <a:cxn ang="0">
                  <a:pos x="36" y="71"/>
                </a:cxn>
                <a:cxn ang="0">
                  <a:pos x="32" y="75"/>
                </a:cxn>
                <a:cxn ang="0">
                  <a:pos x="28" y="79"/>
                </a:cxn>
                <a:cxn ang="0">
                  <a:pos x="24" y="75"/>
                </a:cxn>
                <a:cxn ang="0">
                  <a:pos x="24" y="75"/>
                </a:cxn>
                <a:cxn ang="0">
                  <a:pos x="24" y="71"/>
                </a:cxn>
                <a:cxn ang="0">
                  <a:pos x="28" y="67"/>
                </a:cxn>
                <a:cxn ang="0">
                  <a:pos x="20" y="67"/>
                </a:cxn>
                <a:cxn ang="0">
                  <a:pos x="20" y="63"/>
                </a:cxn>
                <a:cxn ang="0">
                  <a:pos x="16" y="59"/>
                </a:cxn>
                <a:cxn ang="0">
                  <a:pos x="12" y="59"/>
                </a:cxn>
                <a:cxn ang="0">
                  <a:pos x="16" y="55"/>
                </a:cxn>
                <a:cxn ang="0">
                  <a:pos x="20" y="51"/>
                </a:cxn>
                <a:cxn ang="0">
                  <a:pos x="12" y="47"/>
                </a:cxn>
                <a:cxn ang="0">
                  <a:pos x="12" y="39"/>
                </a:cxn>
                <a:cxn ang="0">
                  <a:pos x="4" y="35"/>
                </a:cxn>
                <a:cxn ang="0">
                  <a:pos x="8" y="35"/>
                </a:cxn>
                <a:cxn ang="0">
                  <a:pos x="4" y="31"/>
                </a:cxn>
                <a:cxn ang="0">
                  <a:pos x="8" y="27"/>
                </a:cxn>
                <a:cxn ang="0">
                  <a:pos x="16" y="31"/>
                </a:cxn>
                <a:cxn ang="0">
                  <a:pos x="20" y="31"/>
                </a:cxn>
                <a:cxn ang="0">
                  <a:pos x="24" y="31"/>
                </a:cxn>
                <a:cxn ang="0">
                  <a:pos x="28" y="35"/>
                </a:cxn>
                <a:cxn ang="0">
                  <a:pos x="28" y="27"/>
                </a:cxn>
                <a:cxn ang="0">
                  <a:pos x="20" y="23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32" y="19"/>
                </a:cxn>
                <a:cxn ang="0">
                  <a:pos x="36" y="23"/>
                </a:cxn>
                <a:cxn ang="0">
                  <a:pos x="44" y="31"/>
                </a:cxn>
                <a:cxn ang="0">
                  <a:pos x="44" y="31"/>
                </a:cxn>
                <a:cxn ang="0">
                  <a:pos x="48" y="27"/>
                </a:cxn>
                <a:cxn ang="0">
                  <a:pos x="56" y="23"/>
                </a:cxn>
                <a:cxn ang="0">
                  <a:pos x="60" y="15"/>
                </a:cxn>
                <a:cxn ang="0">
                  <a:pos x="88" y="15"/>
                </a:cxn>
                <a:cxn ang="0">
                  <a:pos x="103" y="39"/>
                </a:cxn>
                <a:cxn ang="0">
                  <a:pos x="103" y="63"/>
                </a:cxn>
                <a:cxn ang="0">
                  <a:pos x="100" y="79"/>
                </a:cxn>
                <a:cxn ang="0">
                  <a:pos x="12" y="43"/>
                </a:cxn>
                <a:cxn ang="0">
                  <a:pos x="4" y="35"/>
                </a:cxn>
                <a:cxn ang="0">
                  <a:pos x="8" y="35"/>
                </a:cxn>
                <a:cxn ang="0">
                  <a:pos x="0" y="63"/>
                </a:cxn>
                <a:cxn ang="0">
                  <a:pos x="0" y="63"/>
                </a:cxn>
                <a:cxn ang="0">
                  <a:pos x="8" y="63"/>
                </a:cxn>
                <a:cxn ang="0">
                  <a:pos x="12" y="67"/>
                </a:cxn>
                <a:cxn ang="0">
                  <a:pos x="16" y="71"/>
                </a:cxn>
                <a:cxn ang="0">
                  <a:pos x="20" y="79"/>
                </a:cxn>
                <a:cxn ang="0">
                  <a:pos x="12" y="79"/>
                </a:cxn>
                <a:cxn ang="0">
                  <a:pos x="8" y="75"/>
                </a:cxn>
                <a:cxn ang="0">
                  <a:pos x="4" y="71"/>
                </a:cxn>
                <a:cxn ang="0">
                  <a:pos x="4" y="67"/>
                </a:cxn>
                <a:cxn ang="0">
                  <a:pos x="0" y="63"/>
                </a:cxn>
              </a:cxnLst>
              <a:rect l="0" t="0" r="r" b="b"/>
              <a:pathLst>
                <a:path w="103" h="91">
                  <a:moveTo>
                    <a:pt x="100" y="83"/>
                  </a:moveTo>
                  <a:lnTo>
                    <a:pt x="96" y="87"/>
                  </a:lnTo>
                  <a:lnTo>
                    <a:pt x="92" y="87"/>
                  </a:lnTo>
                  <a:lnTo>
                    <a:pt x="88" y="87"/>
                  </a:lnTo>
                  <a:lnTo>
                    <a:pt x="88" y="87"/>
                  </a:lnTo>
                  <a:lnTo>
                    <a:pt x="84" y="91"/>
                  </a:lnTo>
                  <a:lnTo>
                    <a:pt x="84" y="91"/>
                  </a:lnTo>
                  <a:lnTo>
                    <a:pt x="80" y="91"/>
                  </a:lnTo>
                  <a:lnTo>
                    <a:pt x="76" y="91"/>
                  </a:lnTo>
                  <a:lnTo>
                    <a:pt x="64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56" y="91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2" y="87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6" y="71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1"/>
                  </a:lnTo>
                  <a:lnTo>
                    <a:pt x="24" y="75"/>
                  </a:lnTo>
                  <a:lnTo>
                    <a:pt x="28" y="75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4" y="71"/>
                  </a:lnTo>
                  <a:lnTo>
                    <a:pt x="24" y="71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0" y="67"/>
                  </a:lnTo>
                  <a:lnTo>
                    <a:pt x="20" y="67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20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12" y="43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8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23"/>
                  </a:lnTo>
                  <a:lnTo>
                    <a:pt x="32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31"/>
                  </a:lnTo>
                  <a:lnTo>
                    <a:pt x="40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60" y="15"/>
                  </a:lnTo>
                  <a:lnTo>
                    <a:pt x="64" y="11"/>
                  </a:lnTo>
                  <a:lnTo>
                    <a:pt x="68" y="7"/>
                  </a:lnTo>
                  <a:lnTo>
                    <a:pt x="76" y="0"/>
                  </a:lnTo>
                  <a:lnTo>
                    <a:pt x="80" y="7"/>
                  </a:lnTo>
                  <a:lnTo>
                    <a:pt x="84" y="11"/>
                  </a:lnTo>
                  <a:lnTo>
                    <a:pt x="88" y="15"/>
                  </a:lnTo>
                  <a:lnTo>
                    <a:pt x="88" y="19"/>
                  </a:lnTo>
                  <a:lnTo>
                    <a:pt x="92" y="23"/>
                  </a:lnTo>
                  <a:lnTo>
                    <a:pt x="96" y="27"/>
                  </a:lnTo>
                  <a:lnTo>
                    <a:pt x="96" y="31"/>
                  </a:lnTo>
                  <a:lnTo>
                    <a:pt x="100" y="35"/>
                  </a:lnTo>
                  <a:lnTo>
                    <a:pt x="103" y="39"/>
                  </a:lnTo>
                  <a:lnTo>
                    <a:pt x="103" y="39"/>
                  </a:lnTo>
                  <a:lnTo>
                    <a:pt x="103" y="43"/>
                  </a:lnTo>
                  <a:lnTo>
                    <a:pt x="103" y="47"/>
                  </a:lnTo>
                  <a:lnTo>
                    <a:pt x="103" y="51"/>
                  </a:lnTo>
                  <a:lnTo>
                    <a:pt x="103" y="59"/>
                  </a:lnTo>
                  <a:lnTo>
                    <a:pt x="103" y="63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71"/>
                  </a:lnTo>
                  <a:lnTo>
                    <a:pt x="100" y="75"/>
                  </a:lnTo>
                  <a:lnTo>
                    <a:pt x="100" y="79"/>
                  </a:lnTo>
                  <a:lnTo>
                    <a:pt x="100" y="83"/>
                  </a:lnTo>
                  <a:close/>
                  <a:moveTo>
                    <a:pt x="12" y="43"/>
                  </a:move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close/>
                  <a:moveTo>
                    <a:pt x="4" y="35"/>
                  </a:move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close/>
                  <a:moveTo>
                    <a:pt x="8" y="35"/>
                  </a:move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close/>
                  <a:moveTo>
                    <a:pt x="0" y="63"/>
                  </a:move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8" y="63"/>
                  </a:lnTo>
                  <a:lnTo>
                    <a:pt x="8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71"/>
                  </a:lnTo>
                  <a:lnTo>
                    <a:pt x="20" y="71"/>
                  </a:lnTo>
                  <a:lnTo>
                    <a:pt x="20" y="71"/>
                  </a:lnTo>
                  <a:lnTo>
                    <a:pt x="20" y="71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8" y="79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" name="Freeform 7"/>
            <p:cNvSpPr>
              <a:spLocks noEditPoints="1"/>
            </p:cNvSpPr>
            <p:nvPr>
              <p:custDataLst>
                <p:tags r:id="rId202"/>
              </p:custDataLst>
            </p:nvPr>
          </p:nvSpPr>
          <p:spPr bwMode="gray">
            <a:xfrm>
              <a:off x="5506155" y="3870736"/>
              <a:ext cx="11865" cy="17797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</a:cxnLst>
              <a:rect l="0" t="0" r="r" b="b"/>
              <a:pathLst>
                <a:path w="8" h="12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close/>
                  <a:moveTo>
                    <a:pt x="8" y="12"/>
                  </a:move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" name="Freeform 8"/>
            <p:cNvSpPr>
              <a:spLocks noEditPoints="1"/>
            </p:cNvSpPr>
            <p:nvPr>
              <p:custDataLst>
                <p:tags r:id="rId203"/>
              </p:custDataLst>
            </p:nvPr>
          </p:nvSpPr>
          <p:spPr bwMode="gray">
            <a:xfrm>
              <a:off x="6351502" y="3858871"/>
              <a:ext cx="106781" cy="166103"/>
            </a:xfrm>
            <a:custGeom>
              <a:avLst/>
              <a:gdLst/>
              <a:ahLst/>
              <a:cxnLst>
                <a:cxn ang="0">
                  <a:pos x="40" y="80"/>
                </a:cxn>
                <a:cxn ang="0">
                  <a:pos x="36" y="84"/>
                </a:cxn>
                <a:cxn ang="0">
                  <a:pos x="32" y="88"/>
                </a:cxn>
                <a:cxn ang="0">
                  <a:pos x="28" y="92"/>
                </a:cxn>
                <a:cxn ang="0">
                  <a:pos x="32" y="80"/>
                </a:cxn>
                <a:cxn ang="0">
                  <a:pos x="28" y="92"/>
                </a:cxn>
                <a:cxn ang="0">
                  <a:pos x="24" y="88"/>
                </a:cxn>
                <a:cxn ang="0">
                  <a:pos x="24" y="88"/>
                </a:cxn>
                <a:cxn ang="0">
                  <a:pos x="24" y="92"/>
                </a:cxn>
                <a:cxn ang="0">
                  <a:pos x="20" y="96"/>
                </a:cxn>
                <a:cxn ang="0">
                  <a:pos x="12" y="72"/>
                </a:cxn>
                <a:cxn ang="0">
                  <a:pos x="12" y="64"/>
                </a:cxn>
                <a:cxn ang="0">
                  <a:pos x="12" y="52"/>
                </a:cxn>
                <a:cxn ang="0">
                  <a:pos x="8" y="48"/>
                </a:cxn>
                <a:cxn ang="0">
                  <a:pos x="0" y="36"/>
                </a:cxn>
                <a:cxn ang="0">
                  <a:pos x="4" y="36"/>
                </a:cxn>
                <a:cxn ang="0">
                  <a:pos x="12" y="28"/>
                </a:cxn>
                <a:cxn ang="0">
                  <a:pos x="8" y="24"/>
                </a:cxn>
                <a:cxn ang="0">
                  <a:pos x="4" y="12"/>
                </a:cxn>
                <a:cxn ang="0">
                  <a:pos x="4" y="4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4" y="12"/>
                </a:cxn>
                <a:cxn ang="0">
                  <a:pos x="28" y="16"/>
                </a:cxn>
                <a:cxn ang="0">
                  <a:pos x="32" y="28"/>
                </a:cxn>
                <a:cxn ang="0">
                  <a:pos x="48" y="28"/>
                </a:cxn>
                <a:cxn ang="0">
                  <a:pos x="64" y="28"/>
                </a:cxn>
                <a:cxn ang="0">
                  <a:pos x="64" y="36"/>
                </a:cxn>
                <a:cxn ang="0">
                  <a:pos x="60" y="48"/>
                </a:cxn>
                <a:cxn ang="0">
                  <a:pos x="52" y="48"/>
                </a:cxn>
                <a:cxn ang="0">
                  <a:pos x="48" y="64"/>
                </a:cxn>
                <a:cxn ang="0">
                  <a:pos x="52" y="72"/>
                </a:cxn>
                <a:cxn ang="0">
                  <a:pos x="60" y="64"/>
                </a:cxn>
                <a:cxn ang="0">
                  <a:pos x="64" y="56"/>
                </a:cxn>
                <a:cxn ang="0">
                  <a:pos x="68" y="68"/>
                </a:cxn>
                <a:cxn ang="0">
                  <a:pos x="68" y="80"/>
                </a:cxn>
                <a:cxn ang="0">
                  <a:pos x="68" y="96"/>
                </a:cxn>
                <a:cxn ang="0">
                  <a:pos x="68" y="104"/>
                </a:cxn>
                <a:cxn ang="0">
                  <a:pos x="64" y="108"/>
                </a:cxn>
                <a:cxn ang="0">
                  <a:pos x="60" y="104"/>
                </a:cxn>
                <a:cxn ang="0">
                  <a:pos x="60" y="96"/>
                </a:cxn>
                <a:cxn ang="0">
                  <a:pos x="56" y="84"/>
                </a:cxn>
                <a:cxn ang="0">
                  <a:pos x="48" y="80"/>
                </a:cxn>
                <a:cxn ang="0">
                  <a:pos x="40" y="72"/>
                </a:cxn>
                <a:cxn ang="0">
                  <a:pos x="36" y="60"/>
                </a:cxn>
                <a:cxn ang="0">
                  <a:pos x="40" y="64"/>
                </a:cxn>
                <a:cxn ang="0">
                  <a:pos x="36" y="76"/>
                </a:cxn>
                <a:cxn ang="0">
                  <a:pos x="40" y="92"/>
                </a:cxn>
                <a:cxn ang="0">
                  <a:pos x="40" y="92"/>
                </a:cxn>
                <a:cxn ang="0">
                  <a:pos x="40" y="80"/>
                </a:cxn>
                <a:cxn ang="0">
                  <a:pos x="44" y="88"/>
                </a:cxn>
                <a:cxn ang="0">
                  <a:pos x="52" y="80"/>
                </a:cxn>
                <a:cxn ang="0">
                  <a:pos x="48" y="84"/>
                </a:cxn>
                <a:cxn ang="0">
                  <a:pos x="44" y="88"/>
                </a:cxn>
              </a:cxnLst>
              <a:rect l="0" t="0" r="r" b="b"/>
              <a:pathLst>
                <a:path w="72" h="112">
                  <a:moveTo>
                    <a:pt x="36" y="68"/>
                  </a:moveTo>
                  <a:lnTo>
                    <a:pt x="36" y="72"/>
                  </a:lnTo>
                  <a:lnTo>
                    <a:pt x="36" y="76"/>
                  </a:lnTo>
                  <a:lnTo>
                    <a:pt x="40" y="80"/>
                  </a:lnTo>
                  <a:lnTo>
                    <a:pt x="40" y="84"/>
                  </a:lnTo>
                  <a:lnTo>
                    <a:pt x="40" y="88"/>
                  </a:lnTo>
                  <a:lnTo>
                    <a:pt x="36" y="88"/>
                  </a:lnTo>
                  <a:lnTo>
                    <a:pt x="36" y="84"/>
                  </a:lnTo>
                  <a:lnTo>
                    <a:pt x="36" y="88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28" y="88"/>
                  </a:lnTo>
                  <a:lnTo>
                    <a:pt x="28" y="92"/>
                  </a:lnTo>
                  <a:lnTo>
                    <a:pt x="28" y="88"/>
                  </a:lnTo>
                  <a:lnTo>
                    <a:pt x="28" y="84"/>
                  </a:lnTo>
                  <a:lnTo>
                    <a:pt x="28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8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4" y="88"/>
                  </a:lnTo>
                  <a:lnTo>
                    <a:pt x="24" y="92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4" y="88"/>
                  </a:lnTo>
                  <a:lnTo>
                    <a:pt x="24" y="92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4" y="12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6" y="28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4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2" y="48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8" y="64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2" y="68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60" y="60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68" y="80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8" y="100"/>
                  </a:lnTo>
                  <a:lnTo>
                    <a:pt x="72" y="100"/>
                  </a:lnTo>
                  <a:lnTo>
                    <a:pt x="72" y="104"/>
                  </a:lnTo>
                  <a:lnTo>
                    <a:pt x="68" y="104"/>
                  </a:lnTo>
                  <a:lnTo>
                    <a:pt x="68" y="100"/>
                  </a:lnTo>
                  <a:lnTo>
                    <a:pt x="64" y="100"/>
                  </a:lnTo>
                  <a:lnTo>
                    <a:pt x="64" y="104"/>
                  </a:lnTo>
                  <a:lnTo>
                    <a:pt x="64" y="108"/>
                  </a:lnTo>
                  <a:lnTo>
                    <a:pt x="64" y="112"/>
                  </a:lnTo>
                  <a:lnTo>
                    <a:pt x="64" y="108"/>
                  </a:lnTo>
                  <a:lnTo>
                    <a:pt x="60" y="108"/>
                  </a:lnTo>
                  <a:lnTo>
                    <a:pt x="60" y="104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88"/>
                  </a:lnTo>
                  <a:lnTo>
                    <a:pt x="56" y="88"/>
                  </a:lnTo>
                  <a:lnTo>
                    <a:pt x="56" y="84"/>
                  </a:lnTo>
                  <a:lnTo>
                    <a:pt x="56" y="80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80"/>
                  </a:lnTo>
                  <a:lnTo>
                    <a:pt x="44" y="80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36" y="68"/>
                  </a:lnTo>
                  <a:close/>
                  <a:moveTo>
                    <a:pt x="40" y="76"/>
                  </a:moveTo>
                  <a:lnTo>
                    <a:pt x="36" y="76"/>
                  </a:lnTo>
                  <a:lnTo>
                    <a:pt x="36" y="72"/>
                  </a:lnTo>
                  <a:lnTo>
                    <a:pt x="40" y="72"/>
                  </a:lnTo>
                  <a:lnTo>
                    <a:pt x="40" y="76"/>
                  </a:lnTo>
                  <a:close/>
                  <a:moveTo>
                    <a:pt x="40" y="92"/>
                  </a:moveTo>
                  <a:lnTo>
                    <a:pt x="36" y="92"/>
                  </a:lnTo>
                  <a:lnTo>
                    <a:pt x="36" y="88"/>
                  </a:lnTo>
                  <a:lnTo>
                    <a:pt x="40" y="88"/>
                  </a:lnTo>
                  <a:lnTo>
                    <a:pt x="40" y="92"/>
                  </a:lnTo>
                  <a:close/>
                  <a:moveTo>
                    <a:pt x="40" y="92"/>
                  </a:moveTo>
                  <a:lnTo>
                    <a:pt x="40" y="88"/>
                  </a:lnTo>
                  <a:lnTo>
                    <a:pt x="40" y="84"/>
                  </a:lnTo>
                  <a:lnTo>
                    <a:pt x="40" y="80"/>
                  </a:lnTo>
                  <a:lnTo>
                    <a:pt x="40" y="76"/>
                  </a:lnTo>
                  <a:lnTo>
                    <a:pt x="44" y="80"/>
                  </a:lnTo>
                  <a:lnTo>
                    <a:pt x="44" y="84"/>
                  </a:lnTo>
                  <a:lnTo>
                    <a:pt x="44" y="88"/>
                  </a:lnTo>
                  <a:lnTo>
                    <a:pt x="40" y="88"/>
                  </a:lnTo>
                  <a:lnTo>
                    <a:pt x="40" y="92"/>
                  </a:lnTo>
                  <a:close/>
                  <a:moveTo>
                    <a:pt x="52" y="84"/>
                  </a:moveTo>
                  <a:lnTo>
                    <a:pt x="52" y="80"/>
                  </a:lnTo>
                  <a:lnTo>
                    <a:pt x="52" y="84"/>
                  </a:lnTo>
                  <a:close/>
                  <a:moveTo>
                    <a:pt x="44" y="88"/>
                  </a:moveTo>
                  <a:lnTo>
                    <a:pt x="48" y="88"/>
                  </a:lnTo>
                  <a:lnTo>
                    <a:pt x="48" y="84"/>
                  </a:lnTo>
                  <a:lnTo>
                    <a:pt x="48" y="80"/>
                  </a:lnTo>
                  <a:lnTo>
                    <a:pt x="48" y="84"/>
                  </a:lnTo>
                  <a:lnTo>
                    <a:pt x="48" y="88"/>
                  </a:lnTo>
                  <a:lnTo>
                    <a:pt x="44" y="88"/>
                  </a:lnTo>
                  <a:close/>
                  <a:moveTo>
                    <a:pt x="60" y="100"/>
                  </a:moveTo>
                  <a:lnTo>
                    <a:pt x="60" y="96"/>
                  </a:lnTo>
                  <a:lnTo>
                    <a:pt x="60" y="1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" name="Freeform 9"/>
            <p:cNvSpPr>
              <a:spLocks/>
            </p:cNvSpPr>
            <p:nvPr>
              <p:custDataLst>
                <p:tags r:id="rId204"/>
              </p:custDataLst>
            </p:nvPr>
          </p:nvSpPr>
          <p:spPr bwMode="gray">
            <a:xfrm>
              <a:off x="6369299" y="3811413"/>
              <a:ext cx="77119" cy="47458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40" y="28"/>
                </a:cxn>
                <a:cxn ang="0">
                  <a:pos x="40" y="28"/>
                </a:cxn>
                <a:cxn ang="0">
                  <a:pos x="40" y="32"/>
                </a:cxn>
                <a:cxn ang="0">
                  <a:pos x="36" y="28"/>
                </a:cxn>
                <a:cxn ang="0">
                  <a:pos x="32" y="32"/>
                </a:cxn>
                <a:cxn ang="0">
                  <a:pos x="28" y="32"/>
                </a:cxn>
                <a:cxn ang="0">
                  <a:pos x="24" y="28"/>
                </a:cxn>
                <a:cxn ang="0">
                  <a:pos x="20" y="28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2" y="8"/>
                </a:cxn>
                <a:cxn ang="0">
                  <a:pos x="36" y="8"/>
                </a:cxn>
                <a:cxn ang="0">
                  <a:pos x="40" y="4"/>
                </a:cxn>
                <a:cxn ang="0">
                  <a:pos x="40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52" y="20"/>
                </a:cxn>
                <a:cxn ang="0">
                  <a:pos x="48" y="24"/>
                </a:cxn>
                <a:cxn ang="0">
                  <a:pos x="52" y="28"/>
                </a:cxn>
                <a:cxn ang="0">
                  <a:pos x="48" y="28"/>
                </a:cxn>
              </a:cxnLst>
              <a:rect l="0" t="0" r="r" b="b"/>
              <a:pathLst>
                <a:path w="52" h="32">
                  <a:moveTo>
                    <a:pt x="48" y="28"/>
                  </a:move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8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" name="Freeform 10"/>
            <p:cNvSpPr>
              <a:spLocks noEditPoints="1"/>
            </p:cNvSpPr>
            <p:nvPr>
              <p:custDataLst>
                <p:tags r:id="rId205"/>
              </p:custDataLst>
            </p:nvPr>
          </p:nvSpPr>
          <p:spPr bwMode="gray">
            <a:xfrm>
              <a:off x="6937312" y="4456547"/>
              <a:ext cx="29661" cy="29661"/>
            </a:xfrm>
            <a:custGeom>
              <a:avLst/>
              <a:gdLst/>
              <a:ahLst/>
              <a:cxnLst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12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8"/>
                </a:cxn>
                <a:cxn ang="0">
                  <a:pos x="12" y="8"/>
                </a:cxn>
              </a:cxnLst>
              <a:rect l="0" t="0" r="r" b="b"/>
              <a:pathLst>
                <a:path w="20" h="20"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close/>
                  <a:moveTo>
                    <a:pt x="16" y="4"/>
                  </a:moveTo>
                  <a:lnTo>
                    <a:pt x="16" y="4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" name="Freeform 11"/>
            <p:cNvSpPr>
              <a:spLocks/>
            </p:cNvSpPr>
            <p:nvPr>
              <p:custDataLst>
                <p:tags r:id="rId206"/>
              </p:custDataLst>
            </p:nvPr>
          </p:nvSpPr>
          <p:spPr bwMode="gray">
            <a:xfrm>
              <a:off x="6670361" y="4195527"/>
              <a:ext cx="118645" cy="118645"/>
            </a:xfrm>
            <a:custGeom>
              <a:avLst/>
              <a:gdLst/>
              <a:ahLst/>
              <a:cxnLst>
                <a:cxn ang="0">
                  <a:pos x="44" y="72"/>
                </a:cxn>
                <a:cxn ang="0">
                  <a:pos x="40" y="76"/>
                </a:cxn>
                <a:cxn ang="0">
                  <a:pos x="40" y="76"/>
                </a:cxn>
                <a:cxn ang="0">
                  <a:pos x="36" y="76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20" y="72"/>
                </a:cxn>
                <a:cxn ang="0">
                  <a:pos x="24" y="68"/>
                </a:cxn>
                <a:cxn ang="0">
                  <a:pos x="20" y="68"/>
                </a:cxn>
                <a:cxn ang="0">
                  <a:pos x="12" y="68"/>
                </a:cxn>
                <a:cxn ang="0">
                  <a:pos x="12" y="60"/>
                </a:cxn>
                <a:cxn ang="0">
                  <a:pos x="12" y="56"/>
                </a:cxn>
                <a:cxn ang="0">
                  <a:pos x="12" y="56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2" y="56"/>
                </a:cxn>
                <a:cxn ang="0">
                  <a:pos x="8" y="52"/>
                </a:cxn>
                <a:cxn ang="0">
                  <a:pos x="8" y="40"/>
                </a:cxn>
                <a:cxn ang="0">
                  <a:pos x="4" y="36"/>
                </a:cxn>
                <a:cxn ang="0">
                  <a:pos x="4" y="28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8" y="4"/>
                </a:cxn>
                <a:cxn ang="0">
                  <a:pos x="36" y="4"/>
                </a:cxn>
                <a:cxn ang="0">
                  <a:pos x="40" y="4"/>
                </a:cxn>
                <a:cxn ang="0">
                  <a:pos x="44" y="8"/>
                </a:cxn>
                <a:cxn ang="0">
                  <a:pos x="44" y="4"/>
                </a:cxn>
                <a:cxn ang="0">
                  <a:pos x="52" y="8"/>
                </a:cxn>
                <a:cxn ang="0">
                  <a:pos x="56" y="12"/>
                </a:cxn>
                <a:cxn ang="0">
                  <a:pos x="60" y="8"/>
                </a:cxn>
                <a:cxn ang="0">
                  <a:pos x="60" y="4"/>
                </a:cxn>
                <a:cxn ang="0">
                  <a:pos x="60" y="4"/>
                </a:cxn>
                <a:cxn ang="0">
                  <a:pos x="64" y="0"/>
                </a:cxn>
                <a:cxn ang="0">
                  <a:pos x="68" y="4"/>
                </a:cxn>
                <a:cxn ang="0">
                  <a:pos x="76" y="0"/>
                </a:cxn>
                <a:cxn ang="0">
                  <a:pos x="80" y="4"/>
                </a:cxn>
                <a:cxn ang="0">
                  <a:pos x="80" y="8"/>
                </a:cxn>
                <a:cxn ang="0">
                  <a:pos x="80" y="12"/>
                </a:cxn>
                <a:cxn ang="0">
                  <a:pos x="80" y="24"/>
                </a:cxn>
                <a:cxn ang="0">
                  <a:pos x="80" y="40"/>
                </a:cxn>
                <a:cxn ang="0">
                  <a:pos x="80" y="44"/>
                </a:cxn>
                <a:cxn ang="0">
                  <a:pos x="76" y="44"/>
                </a:cxn>
                <a:cxn ang="0">
                  <a:pos x="72" y="48"/>
                </a:cxn>
                <a:cxn ang="0">
                  <a:pos x="68" y="48"/>
                </a:cxn>
                <a:cxn ang="0">
                  <a:pos x="64" y="52"/>
                </a:cxn>
                <a:cxn ang="0">
                  <a:pos x="60" y="52"/>
                </a:cxn>
                <a:cxn ang="0">
                  <a:pos x="56" y="56"/>
                </a:cxn>
                <a:cxn ang="0">
                  <a:pos x="56" y="60"/>
                </a:cxn>
                <a:cxn ang="0">
                  <a:pos x="60" y="68"/>
                </a:cxn>
                <a:cxn ang="0">
                  <a:pos x="60" y="68"/>
                </a:cxn>
                <a:cxn ang="0">
                  <a:pos x="52" y="68"/>
                </a:cxn>
                <a:cxn ang="0">
                  <a:pos x="52" y="68"/>
                </a:cxn>
                <a:cxn ang="0">
                  <a:pos x="48" y="72"/>
                </a:cxn>
              </a:cxnLst>
              <a:rect l="0" t="0" r="r" b="b"/>
              <a:pathLst>
                <a:path w="80" h="80">
                  <a:moveTo>
                    <a:pt x="44" y="68"/>
                  </a:move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76" y="4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2" y="44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8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" name="Freeform 12"/>
            <p:cNvSpPr>
              <a:spLocks noEditPoints="1"/>
            </p:cNvSpPr>
            <p:nvPr>
              <p:custDataLst>
                <p:tags r:id="rId207"/>
              </p:custDataLst>
            </p:nvPr>
          </p:nvSpPr>
          <p:spPr bwMode="gray">
            <a:xfrm>
              <a:off x="6026711" y="3029839"/>
              <a:ext cx="1371834" cy="1070772"/>
            </a:xfrm>
            <a:custGeom>
              <a:avLst/>
              <a:gdLst/>
              <a:ahLst/>
              <a:cxnLst>
                <a:cxn ang="0">
                  <a:pos x="382" y="555"/>
                </a:cxn>
                <a:cxn ang="0">
                  <a:pos x="351" y="519"/>
                </a:cxn>
                <a:cxn ang="0">
                  <a:pos x="303" y="519"/>
                </a:cxn>
                <a:cxn ang="0">
                  <a:pos x="243" y="531"/>
                </a:cxn>
                <a:cxn ang="0">
                  <a:pos x="195" y="535"/>
                </a:cxn>
                <a:cxn ang="0">
                  <a:pos x="147" y="503"/>
                </a:cxn>
                <a:cxn ang="0">
                  <a:pos x="91" y="475"/>
                </a:cxn>
                <a:cxn ang="0">
                  <a:pos x="83" y="431"/>
                </a:cxn>
                <a:cxn ang="0">
                  <a:pos x="47" y="379"/>
                </a:cxn>
                <a:cxn ang="0">
                  <a:pos x="23" y="339"/>
                </a:cxn>
                <a:cxn ang="0">
                  <a:pos x="19" y="287"/>
                </a:cxn>
                <a:cxn ang="0">
                  <a:pos x="79" y="259"/>
                </a:cxn>
                <a:cxn ang="0">
                  <a:pos x="103" y="208"/>
                </a:cxn>
                <a:cxn ang="0">
                  <a:pos x="131" y="176"/>
                </a:cxn>
                <a:cxn ang="0">
                  <a:pos x="183" y="128"/>
                </a:cxn>
                <a:cxn ang="0">
                  <a:pos x="235" y="120"/>
                </a:cxn>
                <a:cxn ang="0">
                  <a:pos x="259" y="180"/>
                </a:cxn>
                <a:cxn ang="0">
                  <a:pos x="335" y="212"/>
                </a:cxn>
                <a:cxn ang="0">
                  <a:pos x="414" y="236"/>
                </a:cxn>
                <a:cxn ang="0">
                  <a:pos x="510" y="243"/>
                </a:cxn>
                <a:cxn ang="0">
                  <a:pos x="582" y="212"/>
                </a:cxn>
                <a:cxn ang="0">
                  <a:pos x="642" y="176"/>
                </a:cxn>
                <a:cxn ang="0">
                  <a:pos x="702" y="148"/>
                </a:cxn>
                <a:cxn ang="0">
                  <a:pos x="642" y="116"/>
                </a:cxn>
                <a:cxn ang="0">
                  <a:pos x="694" y="68"/>
                </a:cxn>
                <a:cxn ang="0">
                  <a:pos x="725" y="4"/>
                </a:cxn>
                <a:cxn ang="0">
                  <a:pos x="797" y="20"/>
                </a:cxn>
                <a:cxn ang="0">
                  <a:pos x="817" y="84"/>
                </a:cxn>
                <a:cxn ang="0">
                  <a:pos x="873" y="128"/>
                </a:cxn>
                <a:cxn ang="0">
                  <a:pos x="917" y="148"/>
                </a:cxn>
                <a:cxn ang="0">
                  <a:pos x="873" y="192"/>
                </a:cxn>
                <a:cxn ang="0">
                  <a:pos x="853" y="236"/>
                </a:cxn>
                <a:cxn ang="0">
                  <a:pos x="801" y="259"/>
                </a:cxn>
                <a:cxn ang="0">
                  <a:pos x="745" y="303"/>
                </a:cxn>
                <a:cxn ang="0">
                  <a:pos x="737" y="287"/>
                </a:cxn>
                <a:cxn ang="0">
                  <a:pos x="674" y="307"/>
                </a:cxn>
                <a:cxn ang="0">
                  <a:pos x="710" y="343"/>
                </a:cxn>
                <a:cxn ang="0">
                  <a:pos x="714" y="363"/>
                </a:cxn>
                <a:cxn ang="0">
                  <a:pos x="710" y="411"/>
                </a:cxn>
                <a:cxn ang="0">
                  <a:pos x="710" y="455"/>
                </a:cxn>
                <a:cxn ang="0">
                  <a:pos x="725" y="479"/>
                </a:cxn>
                <a:cxn ang="0">
                  <a:pos x="729" y="503"/>
                </a:cxn>
                <a:cxn ang="0">
                  <a:pos x="718" y="531"/>
                </a:cxn>
                <a:cxn ang="0">
                  <a:pos x="706" y="559"/>
                </a:cxn>
                <a:cxn ang="0">
                  <a:pos x="694" y="579"/>
                </a:cxn>
                <a:cxn ang="0">
                  <a:pos x="670" y="603"/>
                </a:cxn>
                <a:cxn ang="0">
                  <a:pos x="630" y="635"/>
                </a:cxn>
                <a:cxn ang="0">
                  <a:pos x="602" y="635"/>
                </a:cxn>
                <a:cxn ang="0">
                  <a:pos x="574" y="659"/>
                </a:cxn>
                <a:cxn ang="0">
                  <a:pos x="550" y="663"/>
                </a:cxn>
                <a:cxn ang="0">
                  <a:pos x="522" y="659"/>
                </a:cxn>
                <a:cxn ang="0">
                  <a:pos x="462" y="635"/>
                </a:cxn>
                <a:cxn ang="0">
                  <a:pos x="430" y="663"/>
                </a:cxn>
                <a:cxn ang="0">
                  <a:pos x="390" y="627"/>
                </a:cxn>
                <a:cxn ang="0">
                  <a:pos x="722" y="591"/>
                </a:cxn>
                <a:cxn ang="0">
                  <a:pos x="718" y="651"/>
                </a:cxn>
                <a:cxn ang="0">
                  <a:pos x="530" y="698"/>
                </a:cxn>
                <a:cxn ang="0">
                  <a:pos x="554" y="714"/>
                </a:cxn>
                <a:cxn ang="0">
                  <a:pos x="698" y="583"/>
                </a:cxn>
                <a:cxn ang="0">
                  <a:pos x="698" y="451"/>
                </a:cxn>
                <a:cxn ang="0">
                  <a:pos x="558" y="663"/>
                </a:cxn>
              </a:cxnLst>
              <a:rect l="0" t="0" r="r" b="b"/>
              <a:pathLst>
                <a:path w="925" h="722">
                  <a:moveTo>
                    <a:pt x="367" y="615"/>
                  </a:moveTo>
                  <a:lnTo>
                    <a:pt x="367" y="611"/>
                  </a:lnTo>
                  <a:lnTo>
                    <a:pt x="363" y="611"/>
                  </a:lnTo>
                  <a:lnTo>
                    <a:pt x="367" y="611"/>
                  </a:lnTo>
                  <a:lnTo>
                    <a:pt x="367" y="607"/>
                  </a:lnTo>
                  <a:lnTo>
                    <a:pt x="367" y="603"/>
                  </a:lnTo>
                  <a:lnTo>
                    <a:pt x="363" y="603"/>
                  </a:lnTo>
                  <a:lnTo>
                    <a:pt x="363" y="599"/>
                  </a:lnTo>
                  <a:lnTo>
                    <a:pt x="363" y="595"/>
                  </a:lnTo>
                  <a:lnTo>
                    <a:pt x="367" y="595"/>
                  </a:lnTo>
                  <a:lnTo>
                    <a:pt x="367" y="591"/>
                  </a:lnTo>
                  <a:lnTo>
                    <a:pt x="367" y="587"/>
                  </a:lnTo>
                  <a:lnTo>
                    <a:pt x="371" y="587"/>
                  </a:lnTo>
                  <a:lnTo>
                    <a:pt x="371" y="583"/>
                  </a:lnTo>
                  <a:lnTo>
                    <a:pt x="374" y="579"/>
                  </a:lnTo>
                  <a:lnTo>
                    <a:pt x="378" y="579"/>
                  </a:lnTo>
                  <a:lnTo>
                    <a:pt x="378" y="575"/>
                  </a:lnTo>
                  <a:lnTo>
                    <a:pt x="382" y="575"/>
                  </a:lnTo>
                  <a:lnTo>
                    <a:pt x="378" y="575"/>
                  </a:lnTo>
                  <a:lnTo>
                    <a:pt x="378" y="571"/>
                  </a:lnTo>
                  <a:lnTo>
                    <a:pt x="382" y="571"/>
                  </a:lnTo>
                  <a:lnTo>
                    <a:pt x="382" y="567"/>
                  </a:lnTo>
                  <a:lnTo>
                    <a:pt x="382" y="563"/>
                  </a:lnTo>
                  <a:lnTo>
                    <a:pt x="382" y="559"/>
                  </a:lnTo>
                  <a:lnTo>
                    <a:pt x="382" y="555"/>
                  </a:lnTo>
                  <a:lnTo>
                    <a:pt x="382" y="551"/>
                  </a:lnTo>
                  <a:lnTo>
                    <a:pt x="382" y="547"/>
                  </a:lnTo>
                  <a:lnTo>
                    <a:pt x="382" y="543"/>
                  </a:lnTo>
                  <a:lnTo>
                    <a:pt x="378" y="543"/>
                  </a:lnTo>
                  <a:lnTo>
                    <a:pt x="378" y="539"/>
                  </a:lnTo>
                  <a:lnTo>
                    <a:pt x="378" y="543"/>
                  </a:lnTo>
                  <a:lnTo>
                    <a:pt x="374" y="543"/>
                  </a:lnTo>
                  <a:lnTo>
                    <a:pt x="374" y="539"/>
                  </a:lnTo>
                  <a:lnTo>
                    <a:pt x="374" y="535"/>
                  </a:lnTo>
                  <a:lnTo>
                    <a:pt x="371" y="535"/>
                  </a:lnTo>
                  <a:lnTo>
                    <a:pt x="371" y="531"/>
                  </a:lnTo>
                  <a:lnTo>
                    <a:pt x="371" y="527"/>
                  </a:lnTo>
                  <a:lnTo>
                    <a:pt x="367" y="527"/>
                  </a:lnTo>
                  <a:lnTo>
                    <a:pt x="367" y="523"/>
                  </a:lnTo>
                  <a:lnTo>
                    <a:pt x="363" y="523"/>
                  </a:lnTo>
                  <a:lnTo>
                    <a:pt x="363" y="527"/>
                  </a:lnTo>
                  <a:lnTo>
                    <a:pt x="359" y="527"/>
                  </a:lnTo>
                  <a:lnTo>
                    <a:pt x="359" y="531"/>
                  </a:lnTo>
                  <a:lnTo>
                    <a:pt x="359" y="527"/>
                  </a:lnTo>
                  <a:lnTo>
                    <a:pt x="355" y="527"/>
                  </a:lnTo>
                  <a:lnTo>
                    <a:pt x="351" y="527"/>
                  </a:lnTo>
                  <a:lnTo>
                    <a:pt x="351" y="523"/>
                  </a:lnTo>
                  <a:lnTo>
                    <a:pt x="347" y="527"/>
                  </a:lnTo>
                  <a:lnTo>
                    <a:pt x="347" y="523"/>
                  </a:lnTo>
                  <a:lnTo>
                    <a:pt x="351" y="519"/>
                  </a:lnTo>
                  <a:lnTo>
                    <a:pt x="347" y="515"/>
                  </a:lnTo>
                  <a:lnTo>
                    <a:pt x="347" y="511"/>
                  </a:lnTo>
                  <a:lnTo>
                    <a:pt x="347" y="515"/>
                  </a:lnTo>
                  <a:lnTo>
                    <a:pt x="343" y="515"/>
                  </a:lnTo>
                  <a:lnTo>
                    <a:pt x="343" y="511"/>
                  </a:lnTo>
                  <a:lnTo>
                    <a:pt x="347" y="511"/>
                  </a:lnTo>
                  <a:lnTo>
                    <a:pt x="347" y="507"/>
                  </a:lnTo>
                  <a:lnTo>
                    <a:pt x="343" y="511"/>
                  </a:lnTo>
                  <a:lnTo>
                    <a:pt x="343" y="507"/>
                  </a:lnTo>
                  <a:lnTo>
                    <a:pt x="343" y="503"/>
                  </a:lnTo>
                  <a:lnTo>
                    <a:pt x="339" y="507"/>
                  </a:lnTo>
                  <a:lnTo>
                    <a:pt x="335" y="507"/>
                  </a:lnTo>
                  <a:lnTo>
                    <a:pt x="335" y="511"/>
                  </a:lnTo>
                  <a:lnTo>
                    <a:pt x="331" y="511"/>
                  </a:lnTo>
                  <a:lnTo>
                    <a:pt x="331" y="515"/>
                  </a:lnTo>
                  <a:lnTo>
                    <a:pt x="327" y="511"/>
                  </a:lnTo>
                  <a:lnTo>
                    <a:pt x="323" y="511"/>
                  </a:lnTo>
                  <a:lnTo>
                    <a:pt x="323" y="507"/>
                  </a:lnTo>
                  <a:lnTo>
                    <a:pt x="319" y="507"/>
                  </a:lnTo>
                  <a:lnTo>
                    <a:pt x="319" y="511"/>
                  </a:lnTo>
                  <a:lnTo>
                    <a:pt x="315" y="511"/>
                  </a:lnTo>
                  <a:lnTo>
                    <a:pt x="311" y="515"/>
                  </a:lnTo>
                  <a:lnTo>
                    <a:pt x="311" y="519"/>
                  </a:lnTo>
                  <a:lnTo>
                    <a:pt x="307" y="519"/>
                  </a:lnTo>
                  <a:lnTo>
                    <a:pt x="303" y="519"/>
                  </a:lnTo>
                  <a:lnTo>
                    <a:pt x="299" y="523"/>
                  </a:lnTo>
                  <a:lnTo>
                    <a:pt x="299" y="527"/>
                  </a:lnTo>
                  <a:lnTo>
                    <a:pt x="295" y="527"/>
                  </a:lnTo>
                  <a:lnTo>
                    <a:pt x="291" y="531"/>
                  </a:lnTo>
                  <a:lnTo>
                    <a:pt x="291" y="535"/>
                  </a:lnTo>
                  <a:lnTo>
                    <a:pt x="287" y="535"/>
                  </a:lnTo>
                  <a:lnTo>
                    <a:pt x="283" y="539"/>
                  </a:lnTo>
                  <a:lnTo>
                    <a:pt x="283" y="535"/>
                  </a:lnTo>
                  <a:lnTo>
                    <a:pt x="283" y="539"/>
                  </a:lnTo>
                  <a:lnTo>
                    <a:pt x="279" y="539"/>
                  </a:lnTo>
                  <a:lnTo>
                    <a:pt x="275" y="539"/>
                  </a:lnTo>
                  <a:lnTo>
                    <a:pt x="275" y="535"/>
                  </a:lnTo>
                  <a:lnTo>
                    <a:pt x="271" y="535"/>
                  </a:lnTo>
                  <a:lnTo>
                    <a:pt x="271" y="531"/>
                  </a:lnTo>
                  <a:lnTo>
                    <a:pt x="267" y="531"/>
                  </a:lnTo>
                  <a:lnTo>
                    <a:pt x="267" y="535"/>
                  </a:lnTo>
                  <a:lnTo>
                    <a:pt x="263" y="535"/>
                  </a:lnTo>
                  <a:lnTo>
                    <a:pt x="263" y="531"/>
                  </a:lnTo>
                  <a:lnTo>
                    <a:pt x="259" y="531"/>
                  </a:lnTo>
                  <a:lnTo>
                    <a:pt x="255" y="531"/>
                  </a:lnTo>
                  <a:lnTo>
                    <a:pt x="255" y="527"/>
                  </a:lnTo>
                  <a:lnTo>
                    <a:pt x="251" y="527"/>
                  </a:lnTo>
                  <a:lnTo>
                    <a:pt x="247" y="527"/>
                  </a:lnTo>
                  <a:lnTo>
                    <a:pt x="247" y="531"/>
                  </a:lnTo>
                  <a:lnTo>
                    <a:pt x="243" y="531"/>
                  </a:lnTo>
                  <a:lnTo>
                    <a:pt x="239" y="535"/>
                  </a:lnTo>
                  <a:lnTo>
                    <a:pt x="239" y="539"/>
                  </a:lnTo>
                  <a:lnTo>
                    <a:pt x="235" y="539"/>
                  </a:lnTo>
                  <a:lnTo>
                    <a:pt x="235" y="543"/>
                  </a:lnTo>
                  <a:lnTo>
                    <a:pt x="235" y="547"/>
                  </a:lnTo>
                  <a:lnTo>
                    <a:pt x="231" y="547"/>
                  </a:lnTo>
                  <a:lnTo>
                    <a:pt x="231" y="543"/>
                  </a:lnTo>
                  <a:lnTo>
                    <a:pt x="231" y="539"/>
                  </a:lnTo>
                  <a:lnTo>
                    <a:pt x="231" y="535"/>
                  </a:lnTo>
                  <a:lnTo>
                    <a:pt x="231" y="531"/>
                  </a:lnTo>
                  <a:lnTo>
                    <a:pt x="227" y="531"/>
                  </a:lnTo>
                  <a:lnTo>
                    <a:pt x="223" y="535"/>
                  </a:lnTo>
                  <a:lnTo>
                    <a:pt x="219" y="535"/>
                  </a:lnTo>
                  <a:lnTo>
                    <a:pt x="215" y="535"/>
                  </a:lnTo>
                  <a:lnTo>
                    <a:pt x="215" y="539"/>
                  </a:lnTo>
                  <a:lnTo>
                    <a:pt x="215" y="535"/>
                  </a:lnTo>
                  <a:lnTo>
                    <a:pt x="215" y="539"/>
                  </a:lnTo>
                  <a:lnTo>
                    <a:pt x="211" y="539"/>
                  </a:lnTo>
                  <a:lnTo>
                    <a:pt x="211" y="535"/>
                  </a:lnTo>
                  <a:lnTo>
                    <a:pt x="207" y="535"/>
                  </a:lnTo>
                  <a:lnTo>
                    <a:pt x="207" y="539"/>
                  </a:lnTo>
                  <a:lnTo>
                    <a:pt x="207" y="535"/>
                  </a:lnTo>
                  <a:lnTo>
                    <a:pt x="203" y="535"/>
                  </a:lnTo>
                  <a:lnTo>
                    <a:pt x="199" y="531"/>
                  </a:lnTo>
                  <a:lnTo>
                    <a:pt x="195" y="535"/>
                  </a:lnTo>
                  <a:lnTo>
                    <a:pt x="191" y="535"/>
                  </a:lnTo>
                  <a:lnTo>
                    <a:pt x="191" y="531"/>
                  </a:lnTo>
                  <a:lnTo>
                    <a:pt x="191" y="535"/>
                  </a:lnTo>
                  <a:lnTo>
                    <a:pt x="187" y="535"/>
                  </a:lnTo>
                  <a:lnTo>
                    <a:pt x="187" y="531"/>
                  </a:lnTo>
                  <a:lnTo>
                    <a:pt x="183" y="527"/>
                  </a:lnTo>
                  <a:lnTo>
                    <a:pt x="179" y="527"/>
                  </a:lnTo>
                  <a:lnTo>
                    <a:pt x="175" y="527"/>
                  </a:lnTo>
                  <a:lnTo>
                    <a:pt x="175" y="523"/>
                  </a:lnTo>
                  <a:lnTo>
                    <a:pt x="175" y="519"/>
                  </a:lnTo>
                  <a:lnTo>
                    <a:pt x="175" y="523"/>
                  </a:lnTo>
                  <a:lnTo>
                    <a:pt x="171" y="523"/>
                  </a:lnTo>
                  <a:lnTo>
                    <a:pt x="167" y="523"/>
                  </a:lnTo>
                  <a:lnTo>
                    <a:pt x="167" y="519"/>
                  </a:lnTo>
                  <a:lnTo>
                    <a:pt x="163" y="519"/>
                  </a:lnTo>
                  <a:lnTo>
                    <a:pt x="163" y="515"/>
                  </a:lnTo>
                  <a:lnTo>
                    <a:pt x="163" y="511"/>
                  </a:lnTo>
                  <a:lnTo>
                    <a:pt x="159" y="511"/>
                  </a:lnTo>
                  <a:lnTo>
                    <a:pt x="159" y="507"/>
                  </a:lnTo>
                  <a:lnTo>
                    <a:pt x="155" y="507"/>
                  </a:lnTo>
                  <a:lnTo>
                    <a:pt x="155" y="511"/>
                  </a:lnTo>
                  <a:lnTo>
                    <a:pt x="151" y="511"/>
                  </a:lnTo>
                  <a:lnTo>
                    <a:pt x="151" y="507"/>
                  </a:lnTo>
                  <a:lnTo>
                    <a:pt x="147" y="507"/>
                  </a:lnTo>
                  <a:lnTo>
                    <a:pt x="147" y="503"/>
                  </a:lnTo>
                  <a:lnTo>
                    <a:pt x="143" y="503"/>
                  </a:lnTo>
                  <a:lnTo>
                    <a:pt x="143" y="499"/>
                  </a:lnTo>
                  <a:lnTo>
                    <a:pt x="139" y="499"/>
                  </a:lnTo>
                  <a:lnTo>
                    <a:pt x="135" y="495"/>
                  </a:lnTo>
                  <a:lnTo>
                    <a:pt x="131" y="491"/>
                  </a:lnTo>
                  <a:lnTo>
                    <a:pt x="131" y="495"/>
                  </a:lnTo>
                  <a:lnTo>
                    <a:pt x="131" y="491"/>
                  </a:lnTo>
                  <a:lnTo>
                    <a:pt x="131" y="487"/>
                  </a:lnTo>
                  <a:lnTo>
                    <a:pt x="127" y="487"/>
                  </a:lnTo>
                  <a:lnTo>
                    <a:pt x="123" y="487"/>
                  </a:lnTo>
                  <a:lnTo>
                    <a:pt x="119" y="487"/>
                  </a:lnTo>
                  <a:lnTo>
                    <a:pt x="119" y="491"/>
                  </a:lnTo>
                  <a:lnTo>
                    <a:pt x="115" y="495"/>
                  </a:lnTo>
                  <a:lnTo>
                    <a:pt x="115" y="491"/>
                  </a:lnTo>
                  <a:lnTo>
                    <a:pt x="111" y="491"/>
                  </a:lnTo>
                  <a:lnTo>
                    <a:pt x="115" y="491"/>
                  </a:lnTo>
                  <a:lnTo>
                    <a:pt x="111" y="491"/>
                  </a:lnTo>
                  <a:lnTo>
                    <a:pt x="111" y="487"/>
                  </a:lnTo>
                  <a:lnTo>
                    <a:pt x="107" y="487"/>
                  </a:lnTo>
                  <a:lnTo>
                    <a:pt x="103" y="483"/>
                  </a:lnTo>
                  <a:lnTo>
                    <a:pt x="99" y="483"/>
                  </a:lnTo>
                  <a:lnTo>
                    <a:pt x="103" y="479"/>
                  </a:lnTo>
                  <a:lnTo>
                    <a:pt x="99" y="479"/>
                  </a:lnTo>
                  <a:lnTo>
                    <a:pt x="95" y="475"/>
                  </a:lnTo>
                  <a:lnTo>
                    <a:pt x="91" y="475"/>
                  </a:lnTo>
                  <a:lnTo>
                    <a:pt x="87" y="475"/>
                  </a:lnTo>
                  <a:lnTo>
                    <a:pt x="87" y="471"/>
                  </a:lnTo>
                  <a:lnTo>
                    <a:pt x="87" y="467"/>
                  </a:lnTo>
                  <a:lnTo>
                    <a:pt x="83" y="467"/>
                  </a:lnTo>
                  <a:lnTo>
                    <a:pt x="79" y="467"/>
                  </a:lnTo>
                  <a:lnTo>
                    <a:pt x="79" y="471"/>
                  </a:lnTo>
                  <a:lnTo>
                    <a:pt x="79" y="467"/>
                  </a:lnTo>
                  <a:lnTo>
                    <a:pt x="79" y="463"/>
                  </a:lnTo>
                  <a:lnTo>
                    <a:pt x="79" y="459"/>
                  </a:lnTo>
                  <a:lnTo>
                    <a:pt x="79" y="455"/>
                  </a:lnTo>
                  <a:lnTo>
                    <a:pt x="75" y="455"/>
                  </a:lnTo>
                  <a:lnTo>
                    <a:pt x="75" y="451"/>
                  </a:lnTo>
                  <a:lnTo>
                    <a:pt x="75" y="447"/>
                  </a:lnTo>
                  <a:lnTo>
                    <a:pt x="75" y="443"/>
                  </a:lnTo>
                  <a:lnTo>
                    <a:pt x="79" y="443"/>
                  </a:lnTo>
                  <a:lnTo>
                    <a:pt x="79" y="447"/>
                  </a:lnTo>
                  <a:lnTo>
                    <a:pt x="83" y="447"/>
                  </a:lnTo>
                  <a:lnTo>
                    <a:pt x="87" y="443"/>
                  </a:lnTo>
                  <a:lnTo>
                    <a:pt x="87" y="447"/>
                  </a:lnTo>
                  <a:lnTo>
                    <a:pt x="91" y="443"/>
                  </a:lnTo>
                  <a:lnTo>
                    <a:pt x="91" y="439"/>
                  </a:lnTo>
                  <a:lnTo>
                    <a:pt x="87" y="439"/>
                  </a:lnTo>
                  <a:lnTo>
                    <a:pt x="87" y="435"/>
                  </a:lnTo>
                  <a:lnTo>
                    <a:pt x="87" y="431"/>
                  </a:lnTo>
                  <a:lnTo>
                    <a:pt x="83" y="431"/>
                  </a:lnTo>
                  <a:lnTo>
                    <a:pt x="83" y="427"/>
                  </a:lnTo>
                  <a:lnTo>
                    <a:pt x="79" y="427"/>
                  </a:lnTo>
                  <a:lnTo>
                    <a:pt x="79" y="423"/>
                  </a:lnTo>
                  <a:lnTo>
                    <a:pt x="79" y="419"/>
                  </a:lnTo>
                  <a:lnTo>
                    <a:pt x="79" y="415"/>
                  </a:lnTo>
                  <a:lnTo>
                    <a:pt x="79" y="411"/>
                  </a:lnTo>
                  <a:lnTo>
                    <a:pt x="83" y="411"/>
                  </a:lnTo>
                  <a:lnTo>
                    <a:pt x="83" y="407"/>
                  </a:lnTo>
                  <a:lnTo>
                    <a:pt x="79" y="403"/>
                  </a:lnTo>
                  <a:lnTo>
                    <a:pt x="75" y="403"/>
                  </a:lnTo>
                  <a:lnTo>
                    <a:pt x="71" y="403"/>
                  </a:lnTo>
                  <a:lnTo>
                    <a:pt x="71" y="399"/>
                  </a:lnTo>
                  <a:lnTo>
                    <a:pt x="71" y="395"/>
                  </a:lnTo>
                  <a:lnTo>
                    <a:pt x="67" y="391"/>
                  </a:lnTo>
                  <a:lnTo>
                    <a:pt x="67" y="387"/>
                  </a:lnTo>
                  <a:lnTo>
                    <a:pt x="67" y="383"/>
                  </a:lnTo>
                  <a:lnTo>
                    <a:pt x="67" y="387"/>
                  </a:lnTo>
                  <a:lnTo>
                    <a:pt x="63" y="387"/>
                  </a:lnTo>
                  <a:lnTo>
                    <a:pt x="63" y="383"/>
                  </a:lnTo>
                  <a:lnTo>
                    <a:pt x="63" y="387"/>
                  </a:lnTo>
                  <a:lnTo>
                    <a:pt x="59" y="387"/>
                  </a:lnTo>
                  <a:lnTo>
                    <a:pt x="55" y="383"/>
                  </a:lnTo>
                  <a:lnTo>
                    <a:pt x="51" y="383"/>
                  </a:lnTo>
                  <a:lnTo>
                    <a:pt x="47" y="383"/>
                  </a:lnTo>
                  <a:lnTo>
                    <a:pt x="47" y="379"/>
                  </a:lnTo>
                  <a:lnTo>
                    <a:pt x="47" y="375"/>
                  </a:lnTo>
                  <a:lnTo>
                    <a:pt x="43" y="379"/>
                  </a:lnTo>
                  <a:lnTo>
                    <a:pt x="39" y="379"/>
                  </a:lnTo>
                  <a:lnTo>
                    <a:pt x="39" y="375"/>
                  </a:lnTo>
                  <a:lnTo>
                    <a:pt x="35" y="375"/>
                  </a:lnTo>
                  <a:lnTo>
                    <a:pt x="35" y="371"/>
                  </a:lnTo>
                  <a:lnTo>
                    <a:pt x="39" y="371"/>
                  </a:lnTo>
                  <a:lnTo>
                    <a:pt x="35" y="367"/>
                  </a:lnTo>
                  <a:lnTo>
                    <a:pt x="35" y="363"/>
                  </a:lnTo>
                  <a:lnTo>
                    <a:pt x="35" y="359"/>
                  </a:lnTo>
                  <a:lnTo>
                    <a:pt x="31" y="359"/>
                  </a:lnTo>
                  <a:lnTo>
                    <a:pt x="27" y="359"/>
                  </a:lnTo>
                  <a:lnTo>
                    <a:pt x="27" y="355"/>
                  </a:lnTo>
                  <a:lnTo>
                    <a:pt x="23" y="355"/>
                  </a:lnTo>
                  <a:lnTo>
                    <a:pt x="19" y="355"/>
                  </a:lnTo>
                  <a:lnTo>
                    <a:pt x="16" y="355"/>
                  </a:lnTo>
                  <a:lnTo>
                    <a:pt x="12" y="351"/>
                  </a:lnTo>
                  <a:lnTo>
                    <a:pt x="16" y="351"/>
                  </a:lnTo>
                  <a:lnTo>
                    <a:pt x="19" y="347"/>
                  </a:lnTo>
                  <a:lnTo>
                    <a:pt x="19" y="351"/>
                  </a:lnTo>
                  <a:lnTo>
                    <a:pt x="23" y="347"/>
                  </a:lnTo>
                  <a:lnTo>
                    <a:pt x="23" y="343"/>
                  </a:lnTo>
                  <a:lnTo>
                    <a:pt x="19" y="343"/>
                  </a:lnTo>
                  <a:lnTo>
                    <a:pt x="19" y="339"/>
                  </a:lnTo>
                  <a:lnTo>
                    <a:pt x="23" y="339"/>
                  </a:lnTo>
                  <a:lnTo>
                    <a:pt x="19" y="339"/>
                  </a:lnTo>
                  <a:lnTo>
                    <a:pt x="19" y="335"/>
                  </a:lnTo>
                  <a:lnTo>
                    <a:pt x="19" y="331"/>
                  </a:lnTo>
                  <a:lnTo>
                    <a:pt x="19" y="327"/>
                  </a:lnTo>
                  <a:lnTo>
                    <a:pt x="19" y="323"/>
                  </a:lnTo>
                  <a:lnTo>
                    <a:pt x="16" y="323"/>
                  </a:lnTo>
                  <a:lnTo>
                    <a:pt x="12" y="319"/>
                  </a:lnTo>
                  <a:lnTo>
                    <a:pt x="8" y="319"/>
                  </a:lnTo>
                  <a:lnTo>
                    <a:pt x="8" y="323"/>
                  </a:lnTo>
                  <a:lnTo>
                    <a:pt x="4" y="323"/>
                  </a:lnTo>
                  <a:lnTo>
                    <a:pt x="4" y="319"/>
                  </a:lnTo>
                  <a:lnTo>
                    <a:pt x="4" y="315"/>
                  </a:lnTo>
                  <a:lnTo>
                    <a:pt x="4" y="311"/>
                  </a:lnTo>
                  <a:lnTo>
                    <a:pt x="0" y="307"/>
                  </a:lnTo>
                  <a:lnTo>
                    <a:pt x="4" y="307"/>
                  </a:lnTo>
                  <a:lnTo>
                    <a:pt x="4" y="303"/>
                  </a:lnTo>
                  <a:lnTo>
                    <a:pt x="8" y="303"/>
                  </a:lnTo>
                  <a:lnTo>
                    <a:pt x="8" y="299"/>
                  </a:lnTo>
                  <a:lnTo>
                    <a:pt x="4" y="299"/>
                  </a:lnTo>
                  <a:lnTo>
                    <a:pt x="4" y="295"/>
                  </a:lnTo>
                  <a:lnTo>
                    <a:pt x="8" y="291"/>
                  </a:lnTo>
                  <a:lnTo>
                    <a:pt x="12" y="291"/>
                  </a:lnTo>
                  <a:lnTo>
                    <a:pt x="16" y="291"/>
                  </a:lnTo>
                  <a:lnTo>
                    <a:pt x="16" y="287"/>
                  </a:lnTo>
                  <a:lnTo>
                    <a:pt x="19" y="287"/>
                  </a:lnTo>
                  <a:lnTo>
                    <a:pt x="19" y="283"/>
                  </a:lnTo>
                  <a:lnTo>
                    <a:pt x="23" y="283"/>
                  </a:lnTo>
                  <a:lnTo>
                    <a:pt x="27" y="283"/>
                  </a:lnTo>
                  <a:lnTo>
                    <a:pt x="27" y="279"/>
                  </a:lnTo>
                  <a:lnTo>
                    <a:pt x="31" y="279"/>
                  </a:lnTo>
                  <a:lnTo>
                    <a:pt x="31" y="283"/>
                  </a:lnTo>
                  <a:lnTo>
                    <a:pt x="31" y="287"/>
                  </a:lnTo>
                  <a:lnTo>
                    <a:pt x="35" y="287"/>
                  </a:lnTo>
                  <a:lnTo>
                    <a:pt x="39" y="283"/>
                  </a:lnTo>
                  <a:lnTo>
                    <a:pt x="43" y="283"/>
                  </a:lnTo>
                  <a:lnTo>
                    <a:pt x="43" y="287"/>
                  </a:lnTo>
                  <a:lnTo>
                    <a:pt x="43" y="283"/>
                  </a:lnTo>
                  <a:lnTo>
                    <a:pt x="47" y="283"/>
                  </a:lnTo>
                  <a:lnTo>
                    <a:pt x="47" y="279"/>
                  </a:lnTo>
                  <a:lnTo>
                    <a:pt x="47" y="271"/>
                  </a:lnTo>
                  <a:lnTo>
                    <a:pt x="51" y="271"/>
                  </a:lnTo>
                  <a:lnTo>
                    <a:pt x="55" y="271"/>
                  </a:lnTo>
                  <a:lnTo>
                    <a:pt x="59" y="271"/>
                  </a:lnTo>
                  <a:lnTo>
                    <a:pt x="63" y="271"/>
                  </a:lnTo>
                  <a:lnTo>
                    <a:pt x="67" y="271"/>
                  </a:lnTo>
                  <a:lnTo>
                    <a:pt x="71" y="271"/>
                  </a:lnTo>
                  <a:lnTo>
                    <a:pt x="71" y="267"/>
                  </a:lnTo>
                  <a:lnTo>
                    <a:pt x="71" y="263"/>
                  </a:lnTo>
                  <a:lnTo>
                    <a:pt x="75" y="263"/>
                  </a:lnTo>
                  <a:lnTo>
                    <a:pt x="79" y="259"/>
                  </a:lnTo>
                  <a:lnTo>
                    <a:pt x="83" y="259"/>
                  </a:lnTo>
                  <a:lnTo>
                    <a:pt x="83" y="255"/>
                  </a:lnTo>
                  <a:lnTo>
                    <a:pt x="87" y="255"/>
                  </a:lnTo>
                  <a:lnTo>
                    <a:pt x="91" y="255"/>
                  </a:lnTo>
                  <a:lnTo>
                    <a:pt x="95" y="255"/>
                  </a:lnTo>
                  <a:lnTo>
                    <a:pt x="95" y="251"/>
                  </a:lnTo>
                  <a:lnTo>
                    <a:pt x="99" y="251"/>
                  </a:lnTo>
                  <a:lnTo>
                    <a:pt x="103" y="251"/>
                  </a:lnTo>
                  <a:lnTo>
                    <a:pt x="103" y="247"/>
                  </a:lnTo>
                  <a:lnTo>
                    <a:pt x="99" y="247"/>
                  </a:lnTo>
                  <a:lnTo>
                    <a:pt x="103" y="247"/>
                  </a:lnTo>
                  <a:lnTo>
                    <a:pt x="103" y="243"/>
                  </a:lnTo>
                  <a:lnTo>
                    <a:pt x="99" y="243"/>
                  </a:lnTo>
                  <a:lnTo>
                    <a:pt x="99" y="240"/>
                  </a:lnTo>
                  <a:lnTo>
                    <a:pt x="103" y="236"/>
                  </a:lnTo>
                  <a:lnTo>
                    <a:pt x="107" y="232"/>
                  </a:lnTo>
                  <a:lnTo>
                    <a:pt x="103" y="232"/>
                  </a:lnTo>
                  <a:lnTo>
                    <a:pt x="107" y="228"/>
                  </a:lnTo>
                  <a:lnTo>
                    <a:pt x="111" y="228"/>
                  </a:lnTo>
                  <a:lnTo>
                    <a:pt x="111" y="224"/>
                  </a:lnTo>
                  <a:lnTo>
                    <a:pt x="107" y="220"/>
                  </a:lnTo>
                  <a:lnTo>
                    <a:pt x="107" y="216"/>
                  </a:lnTo>
                  <a:lnTo>
                    <a:pt x="107" y="212"/>
                  </a:lnTo>
                  <a:lnTo>
                    <a:pt x="103" y="212"/>
                  </a:lnTo>
                  <a:lnTo>
                    <a:pt x="103" y="208"/>
                  </a:lnTo>
                  <a:lnTo>
                    <a:pt x="103" y="204"/>
                  </a:lnTo>
                  <a:lnTo>
                    <a:pt x="103" y="200"/>
                  </a:lnTo>
                  <a:lnTo>
                    <a:pt x="103" y="196"/>
                  </a:lnTo>
                  <a:lnTo>
                    <a:pt x="107" y="196"/>
                  </a:lnTo>
                  <a:lnTo>
                    <a:pt x="107" y="192"/>
                  </a:lnTo>
                  <a:lnTo>
                    <a:pt x="103" y="192"/>
                  </a:lnTo>
                  <a:lnTo>
                    <a:pt x="99" y="192"/>
                  </a:lnTo>
                  <a:lnTo>
                    <a:pt x="95" y="192"/>
                  </a:lnTo>
                  <a:lnTo>
                    <a:pt x="99" y="188"/>
                  </a:lnTo>
                  <a:lnTo>
                    <a:pt x="103" y="188"/>
                  </a:lnTo>
                  <a:lnTo>
                    <a:pt x="107" y="184"/>
                  </a:lnTo>
                  <a:lnTo>
                    <a:pt x="111" y="184"/>
                  </a:lnTo>
                  <a:lnTo>
                    <a:pt x="115" y="184"/>
                  </a:lnTo>
                  <a:lnTo>
                    <a:pt x="119" y="184"/>
                  </a:lnTo>
                  <a:lnTo>
                    <a:pt x="119" y="180"/>
                  </a:lnTo>
                  <a:lnTo>
                    <a:pt x="123" y="180"/>
                  </a:lnTo>
                  <a:lnTo>
                    <a:pt x="123" y="184"/>
                  </a:lnTo>
                  <a:lnTo>
                    <a:pt x="127" y="184"/>
                  </a:lnTo>
                  <a:lnTo>
                    <a:pt x="131" y="184"/>
                  </a:lnTo>
                  <a:lnTo>
                    <a:pt x="135" y="184"/>
                  </a:lnTo>
                  <a:lnTo>
                    <a:pt x="139" y="184"/>
                  </a:lnTo>
                  <a:lnTo>
                    <a:pt x="139" y="180"/>
                  </a:lnTo>
                  <a:lnTo>
                    <a:pt x="135" y="180"/>
                  </a:lnTo>
                  <a:lnTo>
                    <a:pt x="135" y="176"/>
                  </a:lnTo>
                  <a:lnTo>
                    <a:pt x="131" y="176"/>
                  </a:lnTo>
                  <a:lnTo>
                    <a:pt x="135" y="172"/>
                  </a:lnTo>
                  <a:lnTo>
                    <a:pt x="135" y="168"/>
                  </a:lnTo>
                  <a:lnTo>
                    <a:pt x="135" y="164"/>
                  </a:lnTo>
                  <a:lnTo>
                    <a:pt x="135" y="160"/>
                  </a:lnTo>
                  <a:lnTo>
                    <a:pt x="139" y="160"/>
                  </a:lnTo>
                  <a:lnTo>
                    <a:pt x="139" y="156"/>
                  </a:lnTo>
                  <a:lnTo>
                    <a:pt x="139" y="152"/>
                  </a:lnTo>
                  <a:lnTo>
                    <a:pt x="143" y="148"/>
                  </a:lnTo>
                  <a:lnTo>
                    <a:pt x="143" y="144"/>
                  </a:lnTo>
                  <a:lnTo>
                    <a:pt x="143" y="140"/>
                  </a:lnTo>
                  <a:lnTo>
                    <a:pt x="147" y="140"/>
                  </a:lnTo>
                  <a:lnTo>
                    <a:pt x="151" y="144"/>
                  </a:lnTo>
                  <a:lnTo>
                    <a:pt x="155" y="144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67" y="144"/>
                  </a:lnTo>
                  <a:lnTo>
                    <a:pt x="171" y="148"/>
                  </a:lnTo>
                  <a:lnTo>
                    <a:pt x="175" y="148"/>
                  </a:lnTo>
                  <a:lnTo>
                    <a:pt x="175" y="144"/>
                  </a:lnTo>
                  <a:lnTo>
                    <a:pt x="179" y="144"/>
                  </a:lnTo>
                  <a:lnTo>
                    <a:pt x="183" y="144"/>
                  </a:lnTo>
                  <a:lnTo>
                    <a:pt x="183" y="140"/>
                  </a:lnTo>
                  <a:lnTo>
                    <a:pt x="183" y="136"/>
                  </a:lnTo>
                  <a:lnTo>
                    <a:pt x="183" y="132"/>
                  </a:lnTo>
                  <a:lnTo>
                    <a:pt x="183" y="128"/>
                  </a:lnTo>
                  <a:lnTo>
                    <a:pt x="183" y="124"/>
                  </a:lnTo>
                  <a:lnTo>
                    <a:pt x="183" y="120"/>
                  </a:lnTo>
                  <a:lnTo>
                    <a:pt x="183" y="116"/>
                  </a:lnTo>
                  <a:lnTo>
                    <a:pt x="187" y="116"/>
                  </a:lnTo>
                  <a:lnTo>
                    <a:pt x="187" y="112"/>
                  </a:lnTo>
                  <a:lnTo>
                    <a:pt x="191" y="112"/>
                  </a:lnTo>
                  <a:lnTo>
                    <a:pt x="195" y="112"/>
                  </a:lnTo>
                  <a:lnTo>
                    <a:pt x="199" y="112"/>
                  </a:lnTo>
                  <a:lnTo>
                    <a:pt x="199" y="108"/>
                  </a:lnTo>
                  <a:lnTo>
                    <a:pt x="199" y="104"/>
                  </a:lnTo>
                  <a:lnTo>
                    <a:pt x="199" y="100"/>
                  </a:lnTo>
                  <a:lnTo>
                    <a:pt x="203" y="100"/>
                  </a:lnTo>
                  <a:lnTo>
                    <a:pt x="207" y="100"/>
                  </a:lnTo>
                  <a:lnTo>
                    <a:pt x="211" y="100"/>
                  </a:lnTo>
                  <a:lnTo>
                    <a:pt x="215" y="96"/>
                  </a:lnTo>
                  <a:lnTo>
                    <a:pt x="215" y="100"/>
                  </a:lnTo>
                  <a:lnTo>
                    <a:pt x="219" y="100"/>
                  </a:lnTo>
                  <a:lnTo>
                    <a:pt x="215" y="104"/>
                  </a:lnTo>
                  <a:lnTo>
                    <a:pt x="219" y="108"/>
                  </a:lnTo>
                  <a:lnTo>
                    <a:pt x="219" y="112"/>
                  </a:lnTo>
                  <a:lnTo>
                    <a:pt x="223" y="112"/>
                  </a:lnTo>
                  <a:lnTo>
                    <a:pt x="227" y="116"/>
                  </a:lnTo>
                  <a:lnTo>
                    <a:pt x="227" y="120"/>
                  </a:lnTo>
                  <a:lnTo>
                    <a:pt x="231" y="120"/>
                  </a:lnTo>
                  <a:lnTo>
                    <a:pt x="235" y="120"/>
                  </a:lnTo>
                  <a:lnTo>
                    <a:pt x="235" y="124"/>
                  </a:lnTo>
                  <a:lnTo>
                    <a:pt x="239" y="124"/>
                  </a:lnTo>
                  <a:lnTo>
                    <a:pt x="243" y="124"/>
                  </a:lnTo>
                  <a:lnTo>
                    <a:pt x="247" y="128"/>
                  </a:lnTo>
                  <a:lnTo>
                    <a:pt x="247" y="124"/>
                  </a:lnTo>
                  <a:lnTo>
                    <a:pt x="251" y="124"/>
                  </a:lnTo>
                  <a:lnTo>
                    <a:pt x="251" y="128"/>
                  </a:lnTo>
                  <a:lnTo>
                    <a:pt x="255" y="128"/>
                  </a:lnTo>
                  <a:lnTo>
                    <a:pt x="255" y="132"/>
                  </a:lnTo>
                  <a:lnTo>
                    <a:pt x="255" y="136"/>
                  </a:lnTo>
                  <a:lnTo>
                    <a:pt x="255" y="140"/>
                  </a:lnTo>
                  <a:lnTo>
                    <a:pt x="259" y="140"/>
                  </a:lnTo>
                  <a:lnTo>
                    <a:pt x="259" y="144"/>
                  </a:lnTo>
                  <a:lnTo>
                    <a:pt x="263" y="144"/>
                  </a:lnTo>
                  <a:lnTo>
                    <a:pt x="263" y="148"/>
                  </a:lnTo>
                  <a:lnTo>
                    <a:pt x="263" y="152"/>
                  </a:lnTo>
                  <a:lnTo>
                    <a:pt x="267" y="152"/>
                  </a:lnTo>
                  <a:lnTo>
                    <a:pt x="263" y="152"/>
                  </a:lnTo>
                  <a:lnTo>
                    <a:pt x="267" y="156"/>
                  </a:lnTo>
                  <a:lnTo>
                    <a:pt x="263" y="160"/>
                  </a:lnTo>
                  <a:lnTo>
                    <a:pt x="263" y="164"/>
                  </a:lnTo>
                  <a:lnTo>
                    <a:pt x="263" y="168"/>
                  </a:lnTo>
                  <a:lnTo>
                    <a:pt x="259" y="172"/>
                  </a:lnTo>
                  <a:lnTo>
                    <a:pt x="259" y="176"/>
                  </a:lnTo>
                  <a:lnTo>
                    <a:pt x="259" y="180"/>
                  </a:lnTo>
                  <a:lnTo>
                    <a:pt x="263" y="180"/>
                  </a:lnTo>
                  <a:lnTo>
                    <a:pt x="263" y="184"/>
                  </a:lnTo>
                  <a:lnTo>
                    <a:pt x="267" y="184"/>
                  </a:lnTo>
                  <a:lnTo>
                    <a:pt x="271" y="184"/>
                  </a:lnTo>
                  <a:lnTo>
                    <a:pt x="271" y="188"/>
                  </a:lnTo>
                  <a:lnTo>
                    <a:pt x="279" y="188"/>
                  </a:lnTo>
                  <a:lnTo>
                    <a:pt x="283" y="188"/>
                  </a:lnTo>
                  <a:lnTo>
                    <a:pt x="287" y="188"/>
                  </a:lnTo>
                  <a:lnTo>
                    <a:pt x="291" y="188"/>
                  </a:lnTo>
                  <a:lnTo>
                    <a:pt x="295" y="188"/>
                  </a:lnTo>
                  <a:lnTo>
                    <a:pt x="299" y="188"/>
                  </a:lnTo>
                  <a:lnTo>
                    <a:pt x="303" y="188"/>
                  </a:lnTo>
                  <a:lnTo>
                    <a:pt x="303" y="192"/>
                  </a:lnTo>
                  <a:lnTo>
                    <a:pt x="307" y="192"/>
                  </a:lnTo>
                  <a:lnTo>
                    <a:pt x="311" y="192"/>
                  </a:lnTo>
                  <a:lnTo>
                    <a:pt x="311" y="196"/>
                  </a:lnTo>
                  <a:lnTo>
                    <a:pt x="315" y="196"/>
                  </a:lnTo>
                  <a:lnTo>
                    <a:pt x="315" y="200"/>
                  </a:lnTo>
                  <a:lnTo>
                    <a:pt x="319" y="200"/>
                  </a:lnTo>
                  <a:lnTo>
                    <a:pt x="319" y="204"/>
                  </a:lnTo>
                  <a:lnTo>
                    <a:pt x="327" y="204"/>
                  </a:lnTo>
                  <a:lnTo>
                    <a:pt x="331" y="204"/>
                  </a:lnTo>
                  <a:lnTo>
                    <a:pt x="331" y="208"/>
                  </a:lnTo>
                  <a:lnTo>
                    <a:pt x="335" y="208"/>
                  </a:lnTo>
                  <a:lnTo>
                    <a:pt x="335" y="212"/>
                  </a:lnTo>
                  <a:lnTo>
                    <a:pt x="335" y="216"/>
                  </a:lnTo>
                  <a:lnTo>
                    <a:pt x="335" y="220"/>
                  </a:lnTo>
                  <a:lnTo>
                    <a:pt x="339" y="220"/>
                  </a:lnTo>
                  <a:lnTo>
                    <a:pt x="339" y="224"/>
                  </a:lnTo>
                  <a:lnTo>
                    <a:pt x="339" y="228"/>
                  </a:lnTo>
                  <a:lnTo>
                    <a:pt x="343" y="228"/>
                  </a:lnTo>
                  <a:lnTo>
                    <a:pt x="347" y="232"/>
                  </a:lnTo>
                  <a:lnTo>
                    <a:pt x="347" y="236"/>
                  </a:lnTo>
                  <a:lnTo>
                    <a:pt x="351" y="236"/>
                  </a:lnTo>
                  <a:lnTo>
                    <a:pt x="355" y="236"/>
                  </a:lnTo>
                  <a:lnTo>
                    <a:pt x="359" y="236"/>
                  </a:lnTo>
                  <a:lnTo>
                    <a:pt x="363" y="236"/>
                  </a:lnTo>
                  <a:lnTo>
                    <a:pt x="367" y="236"/>
                  </a:lnTo>
                  <a:lnTo>
                    <a:pt x="371" y="236"/>
                  </a:lnTo>
                  <a:lnTo>
                    <a:pt x="374" y="240"/>
                  </a:lnTo>
                  <a:lnTo>
                    <a:pt x="378" y="240"/>
                  </a:lnTo>
                  <a:lnTo>
                    <a:pt x="382" y="240"/>
                  </a:lnTo>
                  <a:lnTo>
                    <a:pt x="386" y="240"/>
                  </a:lnTo>
                  <a:lnTo>
                    <a:pt x="390" y="240"/>
                  </a:lnTo>
                  <a:lnTo>
                    <a:pt x="394" y="240"/>
                  </a:lnTo>
                  <a:lnTo>
                    <a:pt x="398" y="240"/>
                  </a:lnTo>
                  <a:lnTo>
                    <a:pt x="402" y="240"/>
                  </a:lnTo>
                  <a:lnTo>
                    <a:pt x="406" y="236"/>
                  </a:lnTo>
                  <a:lnTo>
                    <a:pt x="410" y="236"/>
                  </a:lnTo>
                  <a:lnTo>
                    <a:pt x="414" y="236"/>
                  </a:lnTo>
                  <a:lnTo>
                    <a:pt x="414" y="240"/>
                  </a:lnTo>
                  <a:lnTo>
                    <a:pt x="418" y="240"/>
                  </a:lnTo>
                  <a:lnTo>
                    <a:pt x="422" y="240"/>
                  </a:lnTo>
                  <a:lnTo>
                    <a:pt x="426" y="240"/>
                  </a:lnTo>
                  <a:lnTo>
                    <a:pt x="430" y="243"/>
                  </a:lnTo>
                  <a:lnTo>
                    <a:pt x="430" y="247"/>
                  </a:lnTo>
                  <a:lnTo>
                    <a:pt x="438" y="247"/>
                  </a:lnTo>
                  <a:lnTo>
                    <a:pt x="442" y="247"/>
                  </a:lnTo>
                  <a:lnTo>
                    <a:pt x="446" y="251"/>
                  </a:lnTo>
                  <a:lnTo>
                    <a:pt x="450" y="251"/>
                  </a:lnTo>
                  <a:lnTo>
                    <a:pt x="450" y="255"/>
                  </a:lnTo>
                  <a:lnTo>
                    <a:pt x="458" y="255"/>
                  </a:lnTo>
                  <a:lnTo>
                    <a:pt x="462" y="255"/>
                  </a:lnTo>
                  <a:lnTo>
                    <a:pt x="470" y="255"/>
                  </a:lnTo>
                  <a:lnTo>
                    <a:pt x="470" y="259"/>
                  </a:lnTo>
                  <a:lnTo>
                    <a:pt x="474" y="259"/>
                  </a:lnTo>
                  <a:lnTo>
                    <a:pt x="478" y="255"/>
                  </a:lnTo>
                  <a:lnTo>
                    <a:pt x="482" y="255"/>
                  </a:lnTo>
                  <a:lnTo>
                    <a:pt x="486" y="255"/>
                  </a:lnTo>
                  <a:lnTo>
                    <a:pt x="490" y="251"/>
                  </a:lnTo>
                  <a:lnTo>
                    <a:pt x="494" y="251"/>
                  </a:lnTo>
                  <a:lnTo>
                    <a:pt x="498" y="247"/>
                  </a:lnTo>
                  <a:lnTo>
                    <a:pt x="502" y="243"/>
                  </a:lnTo>
                  <a:lnTo>
                    <a:pt x="506" y="243"/>
                  </a:lnTo>
                  <a:lnTo>
                    <a:pt x="510" y="243"/>
                  </a:lnTo>
                  <a:lnTo>
                    <a:pt x="514" y="243"/>
                  </a:lnTo>
                  <a:lnTo>
                    <a:pt x="518" y="243"/>
                  </a:lnTo>
                  <a:lnTo>
                    <a:pt x="526" y="243"/>
                  </a:lnTo>
                  <a:lnTo>
                    <a:pt x="530" y="243"/>
                  </a:lnTo>
                  <a:lnTo>
                    <a:pt x="534" y="243"/>
                  </a:lnTo>
                  <a:lnTo>
                    <a:pt x="538" y="243"/>
                  </a:lnTo>
                  <a:lnTo>
                    <a:pt x="542" y="243"/>
                  </a:lnTo>
                  <a:lnTo>
                    <a:pt x="546" y="243"/>
                  </a:lnTo>
                  <a:lnTo>
                    <a:pt x="546" y="240"/>
                  </a:lnTo>
                  <a:lnTo>
                    <a:pt x="550" y="240"/>
                  </a:lnTo>
                  <a:lnTo>
                    <a:pt x="554" y="240"/>
                  </a:lnTo>
                  <a:lnTo>
                    <a:pt x="554" y="236"/>
                  </a:lnTo>
                  <a:lnTo>
                    <a:pt x="558" y="236"/>
                  </a:lnTo>
                  <a:lnTo>
                    <a:pt x="558" y="232"/>
                  </a:lnTo>
                  <a:lnTo>
                    <a:pt x="562" y="232"/>
                  </a:lnTo>
                  <a:lnTo>
                    <a:pt x="562" y="228"/>
                  </a:lnTo>
                  <a:lnTo>
                    <a:pt x="566" y="228"/>
                  </a:lnTo>
                  <a:lnTo>
                    <a:pt x="566" y="224"/>
                  </a:lnTo>
                  <a:lnTo>
                    <a:pt x="570" y="224"/>
                  </a:lnTo>
                  <a:lnTo>
                    <a:pt x="570" y="220"/>
                  </a:lnTo>
                  <a:lnTo>
                    <a:pt x="574" y="220"/>
                  </a:lnTo>
                  <a:lnTo>
                    <a:pt x="578" y="220"/>
                  </a:lnTo>
                  <a:lnTo>
                    <a:pt x="578" y="216"/>
                  </a:lnTo>
                  <a:lnTo>
                    <a:pt x="582" y="216"/>
                  </a:lnTo>
                  <a:lnTo>
                    <a:pt x="582" y="212"/>
                  </a:lnTo>
                  <a:lnTo>
                    <a:pt x="578" y="208"/>
                  </a:lnTo>
                  <a:lnTo>
                    <a:pt x="574" y="204"/>
                  </a:lnTo>
                  <a:lnTo>
                    <a:pt x="574" y="200"/>
                  </a:lnTo>
                  <a:lnTo>
                    <a:pt x="574" y="196"/>
                  </a:lnTo>
                  <a:lnTo>
                    <a:pt x="578" y="192"/>
                  </a:lnTo>
                  <a:lnTo>
                    <a:pt x="578" y="188"/>
                  </a:lnTo>
                  <a:lnTo>
                    <a:pt x="582" y="188"/>
                  </a:lnTo>
                  <a:lnTo>
                    <a:pt x="586" y="188"/>
                  </a:lnTo>
                  <a:lnTo>
                    <a:pt x="590" y="188"/>
                  </a:lnTo>
                  <a:lnTo>
                    <a:pt x="594" y="192"/>
                  </a:lnTo>
                  <a:lnTo>
                    <a:pt x="598" y="192"/>
                  </a:lnTo>
                  <a:lnTo>
                    <a:pt x="602" y="192"/>
                  </a:lnTo>
                  <a:lnTo>
                    <a:pt x="606" y="192"/>
                  </a:lnTo>
                  <a:lnTo>
                    <a:pt x="610" y="192"/>
                  </a:lnTo>
                  <a:lnTo>
                    <a:pt x="610" y="188"/>
                  </a:lnTo>
                  <a:lnTo>
                    <a:pt x="614" y="188"/>
                  </a:lnTo>
                  <a:lnTo>
                    <a:pt x="618" y="188"/>
                  </a:lnTo>
                  <a:lnTo>
                    <a:pt x="618" y="184"/>
                  </a:lnTo>
                  <a:lnTo>
                    <a:pt x="622" y="180"/>
                  </a:lnTo>
                  <a:lnTo>
                    <a:pt x="626" y="180"/>
                  </a:lnTo>
                  <a:lnTo>
                    <a:pt x="630" y="180"/>
                  </a:lnTo>
                  <a:lnTo>
                    <a:pt x="634" y="180"/>
                  </a:lnTo>
                  <a:lnTo>
                    <a:pt x="638" y="180"/>
                  </a:lnTo>
                  <a:lnTo>
                    <a:pt x="638" y="176"/>
                  </a:lnTo>
                  <a:lnTo>
                    <a:pt x="642" y="176"/>
                  </a:lnTo>
                  <a:lnTo>
                    <a:pt x="642" y="172"/>
                  </a:lnTo>
                  <a:lnTo>
                    <a:pt x="646" y="172"/>
                  </a:lnTo>
                  <a:lnTo>
                    <a:pt x="646" y="168"/>
                  </a:lnTo>
                  <a:lnTo>
                    <a:pt x="650" y="164"/>
                  </a:lnTo>
                  <a:lnTo>
                    <a:pt x="650" y="160"/>
                  </a:lnTo>
                  <a:lnTo>
                    <a:pt x="654" y="160"/>
                  </a:lnTo>
                  <a:lnTo>
                    <a:pt x="658" y="160"/>
                  </a:lnTo>
                  <a:lnTo>
                    <a:pt x="662" y="160"/>
                  </a:lnTo>
                  <a:lnTo>
                    <a:pt x="662" y="156"/>
                  </a:lnTo>
                  <a:lnTo>
                    <a:pt x="666" y="156"/>
                  </a:lnTo>
                  <a:lnTo>
                    <a:pt x="666" y="152"/>
                  </a:lnTo>
                  <a:lnTo>
                    <a:pt x="666" y="156"/>
                  </a:lnTo>
                  <a:lnTo>
                    <a:pt x="670" y="156"/>
                  </a:lnTo>
                  <a:lnTo>
                    <a:pt x="670" y="152"/>
                  </a:lnTo>
                  <a:lnTo>
                    <a:pt x="674" y="152"/>
                  </a:lnTo>
                  <a:lnTo>
                    <a:pt x="678" y="152"/>
                  </a:lnTo>
                  <a:lnTo>
                    <a:pt x="682" y="152"/>
                  </a:lnTo>
                  <a:lnTo>
                    <a:pt x="686" y="152"/>
                  </a:lnTo>
                  <a:lnTo>
                    <a:pt x="686" y="148"/>
                  </a:lnTo>
                  <a:lnTo>
                    <a:pt x="686" y="152"/>
                  </a:lnTo>
                  <a:lnTo>
                    <a:pt x="690" y="152"/>
                  </a:lnTo>
                  <a:lnTo>
                    <a:pt x="694" y="152"/>
                  </a:lnTo>
                  <a:lnTo>
                    <a:pt x="698" y="152"/>
                  </a:lnTo>
                  <a:lnTo>
                    <a:pt x="702" y="152"/>
                  </a:lnTo>
                  <a:lnTo>
                    <a:pt x="702" y="148"/>
                  </a:lnTo>
                  <a:lnTo>
                    <a:pt x="702" y="144"/>
                  </a:lnTo>
                  <a:lnTo>
                    <a:pt x="698" y="140"/>
                  </a:lnTo>
                  <a:lnTo>
                    <a:pt x="694" y="140"/>
                  </a:lnTo>
                  <a:lnTo>
                    <a:pt x="694" y="136"/>
                  </a:lnTo>
                  <a:lnTo>
                    <a:pt x="694" y="132"/>
                  </a:lnTo>
                  <a:lnTo>
                    <a:pt x="690" y="132"/>
                  </a:lnTo>
                  <a:lnTo>
                    <a:pt x="686" y="128"/>
                  </a:lnTo>
                  <a:lnTo>
                    <a:pt x="682" y="124"/>
                  </a:lnTo>
                  <a:lnTo>
                    <a:pt x="678" y="124"/>
                  </a:lnTo>
                  <a:lnTo>
                    <a:pt x="674" y="124"/>
                  </a:lnTo>
                  <a:lnTo>
                    <a:pt x="670" y="124"/>
                  </a:lnTo>
                  <a:lnTo>
                    <a:pt x="666" y="124"/>
                  </a:lnTo>
                  <a:lnTo>
                    <a:pt x="666" y="128"/>
                  </a:lnTo>
                  <a:lnTo>
                    <a:pt x="662" y="132"/>
                  </a:lnTo>
                  <a:lnTo>
                    <a:pt x="658" y="128"/>
                  </a:lnTo>
                  <a:lnTo>
                    <a:pt x="658" y="124"/>
                  </a:lnTo>
                  <a:lnTo>
                    <a:pt x="654" y="124"/>
                  </a:lnTo>
                  <a:lnTo>
                    <a:pt x="650" y="128"/>
                  </a:lnTo>
                  <a:lnTo>
                    <a:pt x="646" y="124"/>
                  </a:lnTo>
                  <a:lnTo>
                    <a:pt x="646" y="128"/>
                  </a:lnTo>
                  <a:lnTo>
                    <a:pt x="642" y="128"/>
                  </a:lnTo>
                  <a:lnTo>
                    <a:pt x="638" y="124"/>
                  </a:lnTo>
                  <a:lnTo>
                    <a:pt x="634" y="120"/>
                  </a:lnTo>
                  <a:lnTo>
                    <a:pt x="638" y="120"/>
                  </a:lnTo>
                  <a:lnTo>
                    <a:pt x="642" y="116"/>
                  </a:lnTo>
                  <a:lnTo>
                    <a:pt x="638" y="112"/>
                  </a:lnTo>
                  <a:lnTo>
                    <a:pt x="642" y="108"/>
                  </a:lnTo>
                  <a:lnTo>
                    <a:pt x="646" y="104"/>
                  </a:lnTo>
                  <a:lnTo>
                    <a:pt x="642" y="104"/>
                  </a:lnTo>
                  <a:lnTo>
                    <a:pt x="646" y="100"/>
                  </a:lnTo>
                  <a:lnTo>
                    <a:pt x="646" y="96"/>
                  </a:lnTo>
                  <a:lnTo>
                    <a:pt x="650" y="96"/>
                  </a:lnTo>
                  <a:lnTo>
                    <a:pt x="650" y="92"/>
                  </a:lnTo>
                  <a:lnTo>
                    <a:pt x="650" y="88"/>
                  </a:lnTo>
                  <a:lnTo>
                    <a:pt x="654" y="84"/>
                  </a:lnTo>
                  <a:lnTo>
                    <a:pt x="658" y="84"/>
                  </a:lnTo>
                  <a:lnTo>
                    <a:pt x="662" y="88"/>
                  </a:lnTo>
                  <a:lnTo>
                    <a:pt x="666" y="88"/>
                  </a:lnTo>
                  <a:lnTo>
                    <a:pt x="670" y="88"/>
                  </a:lnTo>
                  <a:lnTo>
                    <a:pt x="674" y="88"/>
                  </a:lnTo>
                  <a:lnTo>
                    <a:pt x="678" y="84"/>
                  </a:lnTo>
                  <a:lnTo>
                    <a:pt x="682" y="84"/>
                  </a:lnTo>
                  <a:lnTo>
                    <a:pt x="682" y="80"/>
                  </a:lnTo>
                  <a:lnTo>
                    <a:pt x="686" y="80"/>
                  </a:lnTo>
                  <a:lnTo>
                    <a:pt x="690" y="80"/>
                  </a:lnTo>
                  <a:lnTo>
                    <a:pt x="694" y="76"/>
                  </a:lnTo>
                  <a:lnTo>
                    <a:pt x="694" y="72"/>
                  </a:lnTo>
                  <a:lnTo>
                    <a:pt x="690" y="72"/>
                  </a:lnTo>
                  <a:lnTo>
                    <a:pt x="690" y="68"/>
                  </a:lnTo>
                  <a:lnTo>
                    <a:pt x="694" y="68"/>
                  </a:lnTo>
                  <a:lnTo>
                    <a:pt x="694" y="64"/>
                  </a:lnTo>
                  <a:lnTo>
                    <a:pt x="698" y="64"/>
                  </a:lnTo>
                  <a:lnTo>
                    <a:pt x="698" y="60"/>
                  </a:lnTo>
                  <a:lnTo>
                    <a:pt x="698" y="56"/>
                  </a:lnTo>
                  <a:lnTo>
                    <a:pt x="702" y="52"/>
                  </a:lnTo>
                  <a:lnTo>
                    <a:pt x="702" y="48"/>
                  </a:lnTo>
                  <a:lnTo>
                    <a:pt x="702" y="44"/>
                  </a:lnTo>
                  <a:lnTo>
                    <a:pt x="706" y="44"/>
                  </a:lnTo>
                  <a:lnTo>
                    <a:pt x="706" y="40"/>
                  </a:lnTo>
                  <a:lnTo>
                    <a:pt x="710" y="40"/>
                  </a:lnTo>
                  <a:lnTo>
                    <a:pt x="710" y="36"/>
                  </a:lnTo>
                  <a:lnTo>
                    <a:pt x="714" y="36"/>
                  </a:lnTo>
                  <a:lnTo>
                    <a:pt x="714" y="32"/>
                  </a:lnTo>
                  <a:lnTo>
                    <a:pt x="714" y="28"/>
                  </a:lnTo>
                  <a:lnTo>
                    <a:pt x="714" y="24"/>
                  </a:lnTo>
                  <a:lnTo>
                    <a:pt x="714" y="20"/>
                  </a:lnTo>
                  <a:lnTo>
                    <a:pt x="710" y="20"/>
                  </a:lnTo>
                  <a:lnTo>
                    <a:pt x="706" y="20"/>
                  </a:lnTo>
                  <a:lnTo>
                    <a:pt x="702" y="20"/>
                  </a:lnTo>
                  <a:lnTo>
                    <a:pt x="706" y="16"/>
                  </a:lnTo>
                  <a:lnTo>
                    <a:pt x="710" y="12"/>
                  </a:lnTo>
                  <a:lnTo>
                    <a:pt x="714" y="8"/>
                  </a:lnTo>
                  <a:lnTo>
                    <a:pt x="718" y="4"/>
                  </a:lnTo>
                  <a:lnTo>
                    <a:pt x="722" y="4"/>
                  </a:lnTo>
                  <a:lnTo>
                    <a:pt x="725" y="4"/>
                  </a:lnTo>
                  <a:lnTo>
                    <a:pt x="729" y="4"/>
                  </a:lnTo>
                  <a:lnTo>
                    <a:pt x="729" y="0"/>
                  </a:lnTo>
                  <a:lnTo>
                    <a:pt x="733" y="0"/>
                  </a:lnTo>
                  <a:lnTo>
                    <a:pt x="737" y="0"/>
                  </a:lnTo>
                  <a:lnTo>
                    <a:pt x="741" y="0"/>
                  </a:lnTo>
                  <a:lnTo>
                    <a:pt x="745" y="0"/>
                  </a:lnTo>
                  <a:lnTo>
                    <a:pt x="749" y="0"/>
                  </a:lnTo>
                  <a:lnTo>
                    <a:pt x="753" y="0"/>
                  </a:lnTo>
                  <a:lnTo>
                    <a:pt x="757" y="0"/>
                  </a:lnTo>
                  <a:lnTo>
                    <a:pt x="761" y="0"/>
                  </a:lnTo>
                  <a:lnTo>
                    <a:pt x="765" y="0"/>
                  </a:lnTo>
                  <a:lnTo>
                    <a:pt x="765" y="4"/>
                  </a:lnTo>
                  <a:lnTo>
                    <a:pt x="769" y="4"/>
                  </a:lnTo>
                  <a:lnTo>
                    <a:pt x="769" y="8"/>
                  </a:lnTo>
                  <a:lnTo>
                    <a:pt x="773" y="8"/>
                  </a:lnTo>
                  <a:lnTo>
                    <a:pt x="777" y="8"/>
                  </a:lnTo>
                  <a:lnTo>
                    <a:pt x="781" y="8"/>
                  </a:lnTo>
                  <a:lnTo>
                    <a:pt x="785" y="8"/>
                  </a:lnTo>
                  <a:lnTo>
                    <a:pt x="789" y="8"/>
                  </a:lnTo>
                  <a:lnTo>
                    <a:pt x="789" y="12"/>
                  </a:lnTo>
                  <a:lnTo>
                    <a:pt x="793" y="16"/>
                  </a:lnTo>
                  <a:lnTo>
                    <a:pt x="797" y="16"/>
                  </a:lnTo>
                  <a:lnTo>
                    <a:pt x="793" y="16"/>
                  </a:lnTo>
                  <a:lnTo>
                    <a:pt x="793" y="20"/>
                  </a:lnTo>
                  <a:lnTo>
                    <a:pt x="797" y="20"/>
                  </a:lnTo>
                  <a:lnTo>
                    <a:pt x="797" y="24"/>
                  </a:lnTo>
                  <a:lnTo>
                    <a:pt x="797" y="28"/>
                  </a:lnTo>
                  <a:lnTo>
                    <a:pt x="801" y="28"/>
                  </a:lnTo>
                  <a:lnTo>
                    <a:pt x="801" y="32"/>
                  </a:lnTo>
                  <a:lnTo>
                    <a:pt x="801" y="36"/>
                  </a:lnTo>
                  <a:lnTo>
                    <a:pt x="801" y="40"/>
                  </a:lnTo>
                  <a:lnTo>
                    <a:pt x="805" y="40"/>
                  </a:lnTo>
                  <a:lnTo>
                    <a:pt x="805" y="44"/>
                  </a:lnTo>
                  <a:lnTo>
                    <a:pt x="805" y="48"/>
                  </a:lnTo>
                  <a:lnTo>
                    <a:pt x="809" y="48"/>
                  </a:lnTo>
                  <a:lnTo>
                    <a:pt x="805" y="48"/>
                  </a:lnTo>
                  <a:lnTo>
                    <a:pt x="805" y="52"/>
                  </a:lnTo>
                  <a:lnTo>
                    <a:pt x="809" y="52"/>
                  </a:lnTo>
                  <a:lnTo>
                    <a:pt x="809" y="48"/>
                  </a:lnTo>
                  <a:lnTo>
                    <a:pt x="809" y="52"/>
                  </a:lnTo>
                  <a:lnTo>
                    <a:pt x="809" y="56"/>
                  </a:lnTo>
                  <a:lnTo>
                    <a:pt x="809" y="60"/>
                  </a:lnTo>
                  <a:lnTo>
                    <a:pt x="813" y="60"/>
                  </a:lnTo>
                  <a:lnTo>
                    <a:pt x="813" y="64"/>
                  </a:lnTo>
                  <a:lnTo>
                    <a:pt x="813" y="68"/>
                  </a:lnTo>
                  <a:lnTo>
                    <a:pt x="813" y="72"/>
                  </a:lnTo>
                  <a:lnTo>
                    <a:pt x="817" y="72"/>
                  </a:lnTo>
                  <a:lnTo>
                    <a:pt x="817" y="76"/>
                  </a:lnTo>
                  <a:lnTo>
                    <a:pt x="817" y="80"/>
                  </a:lnTo>
                  <a:lnTo>
                    <a:pt x="817" y="84"/>
                  </a:lnTo>
                  <a:lnTo>
                    <a:pt x="821" y="84"/>
                  </a:lnTo>
                  <a:lnTo>
                    <a:pt x="821" y="88"/>
                  </a:lnTo>
                  <a:lnTo>
                    <a:pt x="825" y="88"/>
                  </a:lnTo>
                  <a:lnTo>
                    <a:pt x="829" y="88"/>
                  </a:lnTo>
                  <a:lnTo>
                    <a:pt x="833" y="88"/>
                  </a:lnTo>
                  <a:lnTo>
                    <a:pt x="837" y="88"/>
                  </a:lnTo>
                  <a:lnTo>
                    <a:pt x="837" y="92"/>
                  </a:lnTo>
                  <a:lnTo>
                    <a:pt x="841" y="92"/>
                  </a:lnTo>
                  <a:lnTo>
                    <a:pt x="845" y="92"/>
                  </a:lnTo>
                  <a:lnTo>
                    <a:pt x="849" y="92"/>
                  </a:lnTo>
                  <a:lnTo>
                    <a:pt x="849" y="96"/>
                  </a:lnTo>
                  <a:lnTo>
                    <a:pt x="853" y="100"/>
                  </a:lnTo>
                  <a:lnTo>
                    <a:pt x="857" y="104"/>
                  </a:lnTo>
                  <a:lnTo>
                    <a:pt x="861" y="104"/>
                  </a:lnTo>
                  <a:lnTo>
                    <a:pt x="865" y="104"/>
                  </a:lnTo>
                  <a:lnTo>
                    <a:pt x="865" y="108"/>
                  </a:lnTo>
                  <a:lnTo>
                    <a:pt x="861" y="108"/>
                  </a:lnTo>
                  <a:lnTo>
                    <a:pt x="865" y="112"/>
                  </a:lnTo>
                  <a:lnTo>
                    <a:pt x="865" y="116"/>
                  </a:lnTo>
                  <a:lnTo>
                    <a:pt x="865" y="120"/>
                  </a:lnTo>
                  <a:lnTo>
                    <a:pt x="865" y="124"/>
                  </a:lnTo>
                  <a:lnTo>
                    <a:pt x="869" y="124"/>
                  </a:lnTo>
                  <a:lnTo>
                    <a:pt x="869" y="128"/>
                  </a:lnTo>
                  <a:lnTo>
                    <a:pt x="869" y="132"/>
                  </a:lnTo>
                  <a:lnTo>
                    <a:pt x="873" y="128"/>
                  </a:lnTo>
                  <a:lnTo>
                    <a:pt x="877" y="128"/>
                  </a:lnTo>
                  <a:lnTo>
                    <a:pt x="877" y="132"/>
                  </a:lnTo>
                  <a:lnTo>
                    <a:pt x="881" y="132"/>
                  </a:lnTo>
                  <a:lnTo>
                    <a:pt x="885" y="132"/>
                  </a:lnTo>
                  <a:lnTo>
                    <a:pt x="885" y="128"/>
                  </a:lnTo>
                  <a:lnTo>
                    <a:pt x="889" y="128"/>
                  </a:lnTo>
                  <a:lnTo>
                    <a:pt x="893" y="128"/>
                  </a:lnTo>
                  <a:lnTo>
                    <a:pt x="893" y="124"/>
                  </a:lnTo>
                  <a:lnTo>
                    <a:pt x="897" y="124"/>
                  </a:lnTo>
                  <a:lnTo>
                    <a:pt x="901" y="120"/>
                  </a:lnTo>
                  <a:lnTo>
                    <a:pt x="905" y="120"/>
                  </a:lnTo>
                  <a:lnTo>
                    <a:pt x="909" y="120"/>
                  </a:lnTo>
                  <a:lnTo>
                    <a:pt x="913" y="116"/>
                  </a:lnTo>
                  <a:lnTo>
                    <a:pt x="917" y="116"/>
                  </a:lnTo>
                  <a:lnTo>
                    <a:pt x="921" y="116"/>
                  </a:lnTo>
                  <a:lnTo>
                    <a:pt x="925" y="116"/>
                  </a:lnTo>
                  <a:lnTo>
                    <a:pt x="925" y="120"/>
                  </a:lnTo>
                  <a:lnTo>
                    <a:pt x="925" y="124"/>
                  </a:lnTo>
                  <a:lnTo>
                    <a:pt x="925" y="128"/>
                  </a:lnTo>
                  <a:lnTo>
                    <a:pt x="925" y="136"/>
                  </a:lnTo>
                  <a:lnTo>
                    <a:pt x="921" y="136"/>
                  </a:lnTo>
                  <a:lnTo>
                    <a:pt x="917" y="136"/>
                  </a:lnTo>
                  <a:lnTo>
                    <a:pt x="917" y="140"/>
                  </a:lnTo>
                  <a:lnTo>
                    <a:pt x="917" y="144"/>
                  </a:lnTo>
                  <a:lnTo>
                    <a:pt x="917" y="148"/>
                  </a:lnTo>
                  <a:lnTo>
                    <a:pt x="917" y="152"/>
                  </a:lnTo>
                  <a:lnTo>
                    <a:pt x="913" y="152"/>
                  </a:lnTo>
                  <a:lnTo>
                    <a:pt x="913" y="156"/>
                  </a:lnTo>
                  <a:lnTo>
                    <a:pt x="913" y="160"/>
                  </a:lnTo>
                  <a:lnTo>
                    <a:pt x="913" y="164"/>
                  </a:lnTo>
                  <a:lnTo>
                    <a:pt x="909" y="164"/>
                  </a:lnTo>
                  <a:lnTo>
                    <a:pt x="909" y="168"/>
                  </a:lnTo>
                  <a:lnTo>
                    <a:pt x="909" y="172"/>
                  </a:lnTo>
                  <a:lnTo>
                    <a:pt x="909" y="176"/>
                  </a:lnTo>
                  <a:lnTo>
                    <a:pt x="905" y="176"/>
                  </a:lnTo>
                  <a:lnTo>
                    <a:pt x="901" y="176"/>
                  </a:lnTo>
                  <a:lnTo>
                    <a:pt x="901" y="180"/>
                  </a:lnTo>
                  <a:lnTo>
                    <a:pt x="901" y="184"/>
                  </a:lnTo>
                  <a:lnTo>
                    <a:pt x="901" y="188"/>
                  </a:lnTo>
                  <a:lnTo>
                    <a:pt x="897" y="188"/>
                  </a:lnTo>
                  <a:lnTo>
                    <a:pt x="893" y="184"/>
                  </a:lnTo>
                  <a:lnTo>
                    <a:pt x="889" y="184"/>
                  </a:lnTo>
                  <a:lnTo>
                    <a:pt x="885" y="184"/>
                  </a:lnTo>
                  <a:lnTo>
                    <a:pt x="885" y="180"/>
                  </a:lnTo>
                  <a:lnTo>
                    <a:pt x="881" y="180"/>
                  </a:lnTo>
                  <a:lnTo>
                    <a:pt x="881" y="184"/>
                  </a:lnTo>
                  <a:lnTo>
                    <a:pt x="881" y="188"/>
                  </a:lnTo>
                  <a:lnTo>
                    <a:pt x="877" y="188"/>
                  </a:lnTo>
                  <a:lnTo>
                    <a:pt x="873" y="188"/>
                  </a:lnTo>
                  <a:lnTo>
                    <a:pt x="873" y="192"/>
                  </a:lnTo>
                  <a:lnTo>
                    <a:pt x="873" y="188"/>
                  </a:lnTo>
                  <a:lnTo>
                    <a:pt x="869" y="192"/>
                  </a:lnTo>
                  <a:lnTo>
                    <a:pt x="869" y="196"/>
                  </a:lnTo>
                  <a:lnTo>
                    <a:pt x="873" y="196"/>
                  </a:lnTo>
                  <a:lnTo>
                    <a:pt x="873" y="204"/>
                  </a:lnTo>
                  <a:lnTo>
                    <a:pt x="873" y="208"/>
                  </a:lnTo>
                  <a:lnTo>
                    <a:pt x="873" y="212"/>
                  </a:lnTo>
                  <a:lnTo>
                    <a:pt x="873" y="220"/>
                  </a:lnTo>
                  <a:lnTo>
                    <a:pt x="873" y="224"/>
                  </a:lnTo>
                  <a:lnTo>
                    <a:pt x="873" y="228"/>
                  </a:lnTo>
                  <a:lnTo>
                    <a:pt x="873" y="232"/>
                  </a:lnTo>
                  <a:lnTo>
                    <a:pt x="869" y="232"/>
                  </a:lnTo>
                  <a:lnTo>
                    <a:pt x="869" y="236"/>
                  </a:lnTo>
                  <a:lnTo>
                    <a:pt x="869" y="232"/>
                  </a:lnTo>
                  <a:lnTo>
                    <a:pt x="865" y="232"/>
                  </a:lnTo>
                  <a:lnTo>
                    <a:pt x="865" y="236"/>
                  </a:lnTo>
                  <a:lnTo>
                    <a:pt x="861" y="236"/>
                  </a:lnTo>
                  <a:lnTo>
                    <a:pt x="865" y="240"/>
                  </a:lnTo>
                  <a:lnTo>
                    <a:pt x="865" y="243"/>
                  </a:lnTo>
                  <a:lnTo>
                    <a:pt x="861" y="243"/>
                  </a:lnTo>
                  <a:lnTo>
                    <a:pt x="861" y="240"/>
                  </a:lnTo>
                  <a:lnTo>
                    <a:pt x="857" y="236"/>
                  </a:lnTo>
                  <a:lnTo>
                    <a:pt x="857" y="232"/>
                  </a:lnTo>
                  <a:lnTo>
                    <a:pt x="853" y="232"/>
                  </a:lnTo>
                  <a:lnTo>
                    <a:pt x="853" y="236"/>
                  </a:lnTo>
                  <a:lnTo>
                    <a:pt x="849" y="236"/>
                  </a:lnTo>
                  <a:lnTo>
                    <a:pt x="849" y="240"/>
                  </a:lnTo>
                  <a:lnTo>
                    <a:pt x="849" y="243"/>
                  </a:lnTo>
                  <a:lnTo>
                    <a:pt x="845" y="243"/>
                  </a:lnTo>
                  <a:lnTo>
                    <a:pt x="841" y="243"/>
                  </a:lnTo>
                  <a:lnTo>
                    <a:pt x="841" y="247"/>
                  </a:lnTo>
                  <a:lnTo>
                    <a:pt x="841" y="251"/>
                  </a:lnTo>
                  <a:lnTo>
                    <a:pt x="837" y="251"/>
                  </a:lnTo>
                  <a:lnTo>
                    <a:pt x="833" y="251"/>
                  </a:lnTo>
                  <a:lnTo>
                    <a:pt x="829" y="251"/>
                  </a:lnTo>
                  <a:lnTo>
                    <a:pt x="825" y="251"/>
                  </a:lnTo>
                  <a:lnTo>
                    <a:pt x="825" y="255"/>
                  </a:lnTo>
                  <a:lnTo>
                    <a:pt x="825" y="259"/>
                  </a:lnTo>
                  <a:lnTo>
                    <a:pt x="829" y="259"/>
                  </a:lnTo>
                  <a:lnTo>
                    <a:pt x="829" y="263"/>
                  </a:lnTo>
                  <a:lnTo>
                    <a:pt x="825" y="263"/>
                  </a:lnTo>
                  <a:lnTo>
                    <a:pt x="821" y="263"/>
                  </a:lnTo>
                  <a:lnTo>
                    <a:pt x="817" y="263"/>
                  </a:lnTo>
                  <a:lnTo>
                    <a:pt x="813" y="263"/>
                  </a:lnTo>
                  <a:lnTo>
                    <a:pt x="813" y="259"/>
                  </a:lnTo>
                  <a:lnTo>
                    <a:pt x="809" y="259"/>
                  </a:lnTo>
                  <a:lnTo>
                    <a:pt x="809" y="255"/>
                  </a:lnTo>
                  <a:lnTo>
                    <a:pt x="805" y="255"/>
                  </a:lnTo>
                  <a:lnTo>
                    <a:pt x="805" y="259"/>
                  </a:lnTo>
                  <a:lnTo>
                    <a:pt x="801" y="259"/>
                  </a:lnTo>
                  <a:lnTo>
                    <a:pt x="801" y="263"/>
                  </a:lnTo>
                  <a:lnTo>
                    <a:pt x="801" y="267"/>
                  </a:lnTo>
                  <a:lnTo>
                    <a:pt x="797" y="267"/>
                  </a:lnTo>
                  <a:lnTo>
                    <a:pt x="797" y="271"/>
                  </a:lnTo>
                  <a:lnTo>
                    <a:pt x="793" y="275"/>
                  </a:lnTo>
                  <a:lnTo>
                    <a:pt x="789" y="275"/>
                  </a:lnTo>
                  <a:lnTo>
                    <a:pt x="789" y="279"/>
                  </a:lnTo>
                  <a:lnTo>
                    <a:pt x="785" y="279"/>
                  </a:lnTo>
                  <a:lnTo>
                    <a:pt x="781" y="279"/>
                  </a:lnTo>
                  <a:lnTo>
                    <a:pt x="781" y="283"/>
                  </a:lnTo>
                  <a:lnTo>
                    <a:pt x="777" y="283"/>
                  </a:lnTo>
                  <a:lnTo>
                    <a:pt x="781" y="283"/>
                  </a:lnTo>
                  <a:lnTo>
                    <a:pt x="777" y="283"/>
                  </a:lnTo>
                  <a:lnTo>
                    <a:pt x="773" y="287"/>
                  </a:lnTo>
                  <a:lnTo>
                    <a:pt x="769" y="291"/>
                  </a:lnTo>
                  <a:lnTo>
                    <a:pt x="769" y="295"/>
                  </a:lnTo>
                  <a:lnTo>
                    <a:pt x="765" y="295"/>
                  </a:lnTo>
                  <a:lnTo>
                    <a:pt x="761" y="295"/>
                  </a:lnTo>
                  <a:lnTo>
                    <a:pt x="757" y="295"/>
                  </a:lnTo>
                  <a:lnTo>
                    <a:pt x="757" y="299"/>
                  </a:lnTo>
                  <a:lnTo>
                    <a:pt x="753" y="299"/>
                  </a:lnTo>
                  <a:lnTo>
                    <a:pt x="753" y="295"/>
                  </a:lnTo>
                  <a:lnTo>
                    <a:pt x="753" y="299"/>
                  </a:lnTo>
                  <a:lnTo>
                    <a:pt x="749" y="299"/>
                  </a:lnTo>
                  <a:lnTo>
                    <a:pt x="745" y="303"/>
                  </a:lnTo>
                  <a:lnTo>
                    <a:pt x="741" y="303"/>
                  </a:lnTo>
                  <a:lnTo>
                    <a:pt x="741" y="307"/>
                  </a:lnTo>
                  <a:lnTo>
                    <a:pt x="737" y="303"/>
                  </a:lnTo>
                  <a:lnTo>
                    <a:pt x="737" y="307"/>
                  </a:lnTo>
                  <a:lnTo>
                    <a:pt x="733" y="311"/>
                  </a:lnTo>
                  <a:lnTo>
                    <a:pt x="729" y="311"/>
                  </a:lnTo>
                  <a:lnTo>
                    <a:pt x="729" y="315"/>
                  </a:lnTo>
                  <a:lnTo>
                    <a:pt x="725" y="319"/>
                  </a:lnTo>
                  <a:lnTo>
                    <a:pt x="722" y="319"/>
                  </a:lnTo>
                  <a:lnTo>
                    <a:pt x="722" y="315"/>
                  </a:lnTo>
                  <a:lnTo>
                    <a:pt x="725" y="315"/>
                  </a:lnTo>
                  <a:lnTo>
                    <a:pt x="725" y="311"/>
                  </a:lnTo>
                  <a:lnTo>
                    <a:pt x="729" y="311"/>
                  </a:lnTo>
                  <a:lnTo>
                    <a:pt x="725" y="311"/>
                  </a:lnTo>
                  <a:lnTo>
                    <a:pt x="725" y="307"/>
                  </a:lnTo>
                  <a:lnTo>
                    <a:pt x="729" y="307"/>
                  </a:lnTo>
                  <a:lnTo>
                    <a:pt x="725" y="307"/>
                  </a:lnTo>
                  <a:lnTo>
                    <a:pt x="725" y="303"/>
                  </a:lnTo>
                  <a:lnTo>
                    <a:pt x="722" y="303"/>
                  </a:lnTo>
                  <a:lnTo>
                    <a:pt x="725" y="299"/>
                  </a:lnTo>
                  <a:lnTo>
                    <a:pt x="725" y="295"/>
                  </a:lnTo>
                  <a:lnTo>
                    <a:pt x="729" y="295"/>
                  </a:lnTo>
                  <a:lnTo>
                    <a:pt x="733" y="291"/>
                  </a:lnTo>
                  <a:lnTo>
                    <a:pt x="733" y="287"/>
                  </a:lnTo>
                  <a:lnTo>
                    <a:pt x="737" y="287"/>
                  </a:lnTo>
                  <a:lnTo>
                    <a:pt x="737" y="283"/>
                  </a:lnTo>
                  <a:lnTo>
                    <a:pt x="733" y="279"/>
                  </a:lnTo>
                  <a:lnTo>
                    <a:pt x="733" y="275"/>
                  </a:lnTo>
                  <a:lnTo>
                    <a:pt x="729" y="275"/>
                  </a:lnTo>
                  <a:lnTo>
                    <a:pt x="725" y="275"/>
                  </a:lnTo>
                  <a:lnTo>
                    <a:pt x="722" y="275"/>
                  </a:lnTo>
                  <a:lnTo>
                    <a:pt x="718" y="275"/>
                  </a:lnTo>
                  <a:lnTo>
                    <a:pt x="718" y="279"/>
                  </a:lnTo>
                  <a:lnTo>
                    <a:pt x="714" y="283"/>
                  </a:lnTo>
                  <a:lnTo>
                    <a:pt x="710" y="283"/>
                  </a:lnTo>
                  <a:lnTo>
                    <a:pt x="710" y="287"/>
                  </a:lnTo>
                  <a:lnTo>
                    <a:pt x="706" y="291"/>
                  </a:lnTo>
                  <a:lnTo>
                    <a:pt x="702" y="291"/>
                  </a:lnTo>
                  <a:lnTo>
                    <a:pt x="702" y="295"/>
                  </a:lnTo>
                  <a:lnTo>
                    <a:pt x="698" y="295"/>
                  </a:lnTo>
                  <a:lnTo>
                    <a:pt x="694" y="299"/>
                  </a:lnTo>
                  <a:lnTo>
                    <a:pt x="694" y="303"/>
                  </a:lnTo>
                  <a:lnTo>
                    <a:pt x="694" y="307"/>
                  </a:lnTo>
                  <a:lnTo>
                    <a:pt x="690" y="307"/>
                  </a:lnTo>
                  <a:lnTo>
                    <a:pt x="690" y="311"/>
                  </a:lnTo>
                  <a:lnTo>
                    <a:pt x="686" y="311"/>
                  </a:lnTo>
                  <a:lnTo>
                    <a:pt x="682" y="311"/>
                  </a:lnTo>
                  <a:lnTo>
                    <a:pt x="678" y="311"/>
                  </a:lnTo>
                  <a:lnTo>
                    <a:pt x="674" y="311"/>
                  </a:lnTo>
                  <a:lnTo>
                    <a:pt x="674" y="307"/>
                  </a:lnTo>
                  <a:lnTo>
                    <a:pt x="670" y="311"/>
                  </a:lnTo>
                  <a:lnTo>
                    <a:pt x="666" y="315"/>
                  </a:lnTo>
                  <a:lnTo>
                    <a:pt x="666" y="319"/>
                  </a:lnTo>
                  <a:lnTo>
                    <a:pt x="666" y="323"/>
                  </a:lnTo>
                  <a:lnTo>
                    <a:pt x="666" y="327"/>
                  </a:lnTo>
                  <a:lnTo>
                    <a:pt x="670" y="327"/>
                  </a:lnTo>
                  <a:lnTo>
                    <a:pt x="670" y="331"/>
                  </a:lnTo>
                  <a:lnTo>
                    <a:pt x="674" y="331"/>
                  </a:lnTo>
                  <a:lnTo>
                    <a:pt x="678" y="331"/>
                  </a:lnTo>
                  <a:lnTo>
                    <a:pt x="682" y="331"/>
                  </a:lnTo>
                  <a:lnTo>
                    <a:pt x="686" y="331"/>
                  </a:lnTo>
                  <a:lnTo>
                    <a:pt x="686" y="335"/>
                  </a:lnTo>
                  <a:lnTo>
                    <a:pt x="690" y="335"/>
                  </a:lnTo>
                  <a:lnTo>
                    <a:pt x="690" y="339"/>
                  </a:lnTo>
                  <a:lnTo>
                    <a:pt x="690" y="343"/>
                  </a:lnTo>
                  <a:lnTo>
                    <a:pt x="686" y="343"/>
                  </a:lnTo>
                  <a:lnTo>
                    <a:pt x="686" y="347"/>
                  </a:lnTo>
                  <a:lnTo>
                    <a:pt x="690" y="351"/>
                  </a:lnTo>
                  <a:lnTo>
                    <a:pt x="694" y="351"/>
                  </a:lnTo>
                  <a:lnTo>
                    <a:pt x="698" y="351"/>
                  </a:lnTo>
                  <a:lnTo>
                    <a:pt x="702" y="351"/>
                  </a:lnTo>
                  <a:lnTo>
                    <a:pt x="702" y="347"/>
                  </a:lnTo>
                  <a:lnTo>
                    <a:pt x="706" y="347"/>
                  </a:lnTo>
                  <a:lnTo>
                    <a:pt x="706" y="343"/>
                  </a:lnTo>
                  <a:lnTo>
                    <a:pt x="710" y="343"/>
                  </a:lnTo>
                  <a:lnTo>
                    <a:pt x="710" y="339"/>
                  </a:lnTo>
                  <a:lnTo>
                    <a:pt x="714" y="339"/>
                  </a:lnTo>
                  <a:lnTo>
                    <a:pt x="718" y="339"/>
                  </a:lnTo>
                  <a:lnTo>
                    <a:pt x="722" y="343"/>
                  </a:lnTo>
                  <a:lnTo>
                    <a:pt x="725" y="343"/>
                  </a:lnTo>
                  <a:lnTo>
                    <a:pt x="725" y="347"/>
                  </a:lnTo>
                  <a:lnTo>
                    <a:pt x="729" y="347"/>
                  </a:lnTo>
                  <a:lnTo>
                    <a:pt x="733" y="347"/>
                  </a:lnTo>
                  <a:lnTo>
                    <a:pt x="733" y="343"/>
                  </a:lnTo>
                  <a:lnTo>
                    <a:pt x="737" y="343"/>
                  </a:lnTo>
                  <a:lnTo>
                    <a:pt x="733" y="343"/>
                  </a:lnTo>
                  <a:lnTo>
                    <a:pt x="737" y="347"/>
                  </a:lnTo>
                  <a:lnTo>
                    <a:pt x="741" y="347"/>
                  </a:lnTo>
                  <a:lnTo>
                    <a:pt x="741" y="351"/>
                  </a:lnTo>
                  <a:lnTo>
                    <a:pt x="737" y="355"/>
                  </a:lnTo>
                  <a:lnTo>
                    <a:pt x="741" y="355"/>
                  </a:lnTo>
                  <a:lnTo>
                    <a:pt x="737" y="359"/>
                  </a:lnTo>
                  <a:lnTo>
                    <a:pt x="737" y="355"/>
                  </a:lnTo>
                  <a:lnTo>
                    <a:pt x="733" y="355"/>
                  </a:lnTo>
                  <a:lnTo>
                    <a:pt x="729" y="359"/>
                  </a:lnTo>
                  <a:lnTo>
                    <a:pt x="725" y="359"/>
                  </a:lnTo>
                  <a:lnTo>
                    <a:pt x="722" y="359"/>
                  </a:lnTo>
                  <a:lnTo>
                    <a:pt x="722" y="363"/>
                  </a:lnTo>
                  <a:lnTo>
                    <a:pt x="718" y="363"/>
                  </a:lnTo>
                  <a:lnTo>
                    <a:pt x="714" y="363"/>
                  </a:lnTo>
                  <a:lnTo>
                    <a:pt x="718" y="363"/>
                  </a:lnTo>
                  <a:lnTo>
                    <a:pt x="718" y="367"/>
                  </a:lnTo>
                  <a:lnTo>
                    <a:pt x="714" y="367"/>
                  </a:lnTo>
                  <a:lnTo>
                    <a:pt x="714" y="371"/>
                  </a:lnTo>
                  <a:lnTo>
                    <a:pt x="710" y="375"/>
                  </a:lnTo>
                  <a:lnTo>
                    <a:pt x="706" y="375"/>
                  </a:lnTo>
                  <a:lnTo>
                    <a:pt x="710" y="371"/>
                  </a:lnTo>
                  <a:lnTo>
                    <a:pt x="706" y="371"/>
                  </a:lnTo>
                  <a:lnTo>
                    <a:pt x="706" y="375"/>
                  </a:lnTo>
                  <a:lnTo>
                    <a:pt x="706" y="379"/>
                  </a:lnTo>
                  <a:lnTo>
                    <a:pt x="702" y="379"/>
                  </a:lnTo>
                  <a:lnTo>
                    <a:pt x="702" y="383"/>
                  </a:lnTo>
                  <a:lnTo>
                    <a:pt x="698" y="383"/>
                  </a:lnTo>
                  <a:lnTo>
                    <a:pt x="698" y="387"/>
                  </a:lnTo>
                  <a:lnTo>
                    <a:pt x="694" y="387"/>
                  </a:lnTo>
                  <a:lnTo>
                    <a:pt x="694" y="391"/>
                  </a:lnTo>
                  <a:lnTo>
                    <a:pt x="694" y="395"/>
                  </a:lnTo>
                  <a:lnTo>
                    <a:pt x="690" y="395"/>
                  </a:lnTo>
                  <a:lnTo>
                    <a:pt x="690" y="399"/>
                  </a:lnTo>
                  <a:lnTo>
                    <a:pt x="694" y="399"/>
                  </a:lnTo>
                  <a:lnTo>
                    <a:pt x="694" y="403"/>
                  </a:lnTo>
                  <a:lnTo>
                    <a:pt x="698" y="403"/>
                  </a:lnTo>
                  <a:lnTo>
                    <a:pt x="702" y="407"/>
                  </a:lnTo>
                  <a:lnTo>
                    <a:pt x="706" y="407"/>
                  </a:lnTo>
                  <a:lnTo>
                    <a:pt x="710" y="411"/>
                  </a:lnTo>
                  <a:lnTo>
                    <a:pt x="710" y="415"/>
                  </a:lnTo>
                  <a:lnTo>
                    <a:pt x="710" y="419"/>
                  </a:lnTo>
                  <a:lnTo>
                    <a:pt x="710" y="423"/>
                  </a:lnTo>
                  <a:lnTo>
                    <a:pt x="714" y="427"/>
                  </a:lnTo>
                  <a:lnTo>
                    <a:pt x="714" y="431"/>
                  </a:lnTo>
                  <a:lnTo>
                    <a:pt x="718" y="435"/>
                  </a:lnTo>
                  <a:lnTo>
                    <a:pt x="718" y="439"/>
                  </a:lnTo>
                  <a:lnTo>
                    <a:pt x="718" y="443"/>
                  </a:lnTo>
                  <a:lnTo>
                    <a:pt x="722" y="443"/>
                  </a:lnTo>
                  <a:lnTo>
                    <a:pt x="722" y="447"/>
                  </a:lnTo>
                  <a:lnTo>
                    <a:pt x="725" y="447"/>
                  </a:lnTo>
                  <a:lnTo>
                    <a:pt x="725" y="451"/>
                  </a:lnTo>
                  <a:lnTo>
                    <a:pt x="729" y="455"/>
                  </a:lnTo>
                  <a:lnTo>
                    <a:pt x="729" y="459"/>
                  </a:lnTo>
                  <a:lnTo>
                    <a:pt x="733" y="459"/>
                  </a:lnTo>
                  <a:lnTo>
                    <a:pt x="733" y="463"/>
                  </a:lnTo>
                  <a:lnTo>
                    <a:pt x="729" y="463"/>
                  </a:lnTo>
                  <a:lnTo>
                    <a:pt x="729" y="459"/>
                  </a:lnTo>
                  <a:lnTo>
                    <a:pt x="725" y="459"/>
                  </a:lnTo>
                  <a:lnTo>
                    <a:pt x="722" y="459"/>
                  </a:lnTo>
                  <a:lnTo>
                    <a:pt x="718" y="459"/>
                  </a:lnTo>
                  <a:lnTo>
                    <a:pt x="718" y="455"/>
                  </a:lnTo>
                  <a:lnTo>
                    <a:pt x="714" y="455"/>
                  </a:lnTo>
                  <a:lnTo>
                    <a:pt x="710" y="451"/>
                  </a:lnTo>
                  <a:lnTo>
                    <a:pt x="710" y="455"/>
                  </a:lnTo>
                  <a:lnTo>
                    <a:pt x="706" y="455"/>
                  </a:lnTo>
                  <a:lnTo>
                    <a:pt x="702" y="455"/>
                  </a:lnTo>
                  <a:lnTo>
                    <a:pt x="702" y="451"/>
                  </a:lnTo>
                  <a:lnTo>
                    <a:pt x="702" y="447"/>
                  </a:lnTo>
                  <a:lnTo>
                    <a:pt x="698" y="447"/>
                  </a:lnTo>
                  <a:lnTo>
                    <a:pt x="698" y="451"/>
                  </a:lnTo>
                  <a:lnTo>
                    <a:pt x="702" y="451"/>
                  </a:lnTo>
                  <a:lnTo>
                    <a:pt x="698" y="451"/>
                  </a:lnTo>
                  <a:lnTo>
                    <a:pt x="702" y="451"/>
                  </a:lnTo>
                  <a:lnTo>
                    <a:pt x="702" y="455"/>
                  </a:lnTo>
                  <a:lnTo>
                    <a:pt x="706" y="455"/>
                  </a:lnTo>
                  <a:lnTo>
                    <a:pt x="710" y="455"/>
                  </a:lnTo>
                  <a:lnTo>
                    <a:pt x="714" y="455"/>
                  </a:lnTo>
                  <a:lnTo>
                    <a:pt x="714" y="459"/>
                  </a:lnTo>
                  <a:lnTo>
                    <a:pt x="718" y="459"/>
                  </a:lnTo>
                  <a:lnTo>
                    <a:pt x="722" y="459"/>
                  </a:lnTo>
                  <a:lnTo>
                    <a:pt x="722" y="463"/>
                  </a:lnTo>
                  <a:lnTo>
                    <a:pt x="725" y="467"/>
                  </a:lnTo>
                  <a:lnTo>
                    <a:pt x="729" y="467"/>
                  </a:lnTo>
                  <a:lnTo>
                    <a:pt x="729" y="471"/>
                  </a:lnTo>
                  <a:lnTo>
                    <a:pt x="729" y="475"/>
                  </a:lnTo>
                  <a:lnTo>
                    <a:pt x="733" y="475"/>
                  </a:lnTo>
                  <a:lnTo>
                    <a:pt x="733" y="479"/>
                  </a:lnTo>
                  <a:lnTo>
                    <a:pt x="729" y="479"/>
                  </a:lnTo>
                  <a:lnTo>
                    <a:pt x="725" y="479"/>
                  </a:lnTo>
                  <a:lnTo>
                    <a:pt x="722" y="479"/>
                  </a:lnTo>
                  <a:lnTo>
                    <a:pt x="722" y="483"/>
                  </a:lnTo>
                  <a:lnTo>
                    <a:pt x="718" y="483"/>
                  </a:lnTo>
                  <a:lnTo>
                    <a:pt x="718" y="487"/>
                  </a:lnTo>
                  <a:lnTo>
                    <a:pt x="714" y="487"/>
                  </a:lnTo>
                  <a:lnTo>
                    <a:pt x="710" y="487"/>
                  </a:lnTo>
                  <a:lnTo>
                    <a:pt x="706" y="491"/>
                  </a:lnTo>
                  <a:lnTo>
                    <a:pt x="710" y="491"/>
                  </a:lnTo>
                  <a:lnTo>
                    <a:pt x="710" y="487"/>
                  </a:lnTo>
                  <a:lnTo>
                    <a:pt x="714" y="491"/>
                  </a:lnTo>
                  <a:lnTo>
                    <a:pt x="714" y="495"/>
                  </a:lnTo>
                  <a:lnTo>
                    <a:pt x="714" y="491"/>
                  </a:lnTo>
                  <a:lnTo>
                    <a:pt x="718" y="491"/>
                  </a:lnTo>
                  <a:lnTo>
                    <a:pt x="722" y="487"/>
                  </a:lnTo>
                  <a:lnTo>
                    <a:pt x="725" y="487"/>
                  </a:lnTo>
                  <a:lnTo>
                    <a:pt x="725" y="491"/>
                  </a:lnTo>
                  <a:lnTo>
                    <a:pt x="729" y="495"/>
                  </a:lnTo>
                  <a:lnTo>
                    <a:pt x="733" y="495"/>
                  </a:lnTo>
                  <a:lnTo>
                    <a:pt x="733" y="499"/>
                  </a:lnTo>
                  <a:lnTo>
                    <a:pt x="729" y="499"/>
                  </a:lnTo>
                  <a:lnTo>
                    <a:pt x="729" y="503"/>
                  </a:lnTo>
                  <a:lnTo>
                    <a:pt x="725" y="503"/>
                  </a:lnTo>
                  <a:lnTo>
                    <a:pt x="725" y="507"/>
                  </a:lnTo>
                  <a:lnTo>
                    <a:pt x="725" y="503"/>
                  </a:lnTo>
                  <a:lnTo>
                    <a:pt x="729" y="503"/>
                  </a:lnTo>
                  <a:lnTo>
                    <a:pt x="733" y="503"/>
                  </a:lnTo>
                  <a:lnTo>
                    <a:pt x="733" y="507"/>
                  </a:lnTo>
                  <a:lnTo>
                    <a:pt x="733" y="511"/>
                  </a:lnTo>
                  <a:lnTo>
                    <a:pt x="729" y="511"/>
                  </a:lnTo>
                  <a:lnTo>
                    <a:pt x="729" y="507"/>
                  </a:lnTo>
                  <a:lnTo>
                    <a:pt x="729" y="511"/>
                  </a:lnTo>
                  <a:lnTo>
                    <a:pt x="725" y="511"/>
                  </a:lnTo>
                  <a:lnTo>
                    <a:pt x="725" y="507"/>
                  </a:lnTo>
                  <a:lnTo>
                    <a:pt x="725" y="511"/>
                  </a:lnTo>
                  <a:lnTo>
                    <a:pt x="729" y="511"/>
                  </a:lnTo>
                  <a:lnTo>
                    <a:pt x="729" y="515"/>
                  </a:lnTo>
                  <a:lnTo>
                    <a:pt x="725" y="515"/>
                  </a:lnTo>
                  <a:lnTo>
                    <a:pt x="729" y="519"/>
                  </a:lnTo>
                  <a:lnTo>
                    <a:pt x="725" y="519"/>
                  </a:lnTo>
                  <a:lnTo>
                    <a:pt x="722" y="519"/>
                  </a:lnTo>
                  <a:lnTo>
                    <a:pt x="725" y="519"/>
                  </a:lnTo>
                  <a:lnTo>
                    <a:pt x="725" y="523"/>
                  </a:lnTo>
                  <a:lnTo>
                    <a:pt x="725" y="527"/>
                  </a:lnTo>
                  <a:lnTo>
                    <a:pt x="729" y="527"/>
                  </a:lnTo>
                  <a:lnTo>
                    <a:pt x="725" y="527"/>
                  </a:lnTo>
                  <a:lnTo>
                    <a:pt x="725" y="531"/>
                  </a:lnTo>
                  <a:lnTo>
                    <a:pt x="722" y="531"/>
                  </a:lnTo>
                  <a:lnTo>
                    <a:pt x="722" y="527"/>
                  </a:lnTo>
                  <a:lnTo>
                    <a:pt x="722" y="531"/>
                  </a:lnTo>
                  <a:lnTo>
                    <a:pt x="718" y="531"/>
                  </a:lnTo>
                  <a:lnTo>
                    <a:pt x="718" y="535"/>
                  </a:lnTo>
                  <a:lnTo>
                    <a:pt x="714" y="531"/>
                  </a:lnTo>
                  <a:lnTo>
                    <a:pt x="714" y="535"/>
                  </a:lnTo>
                  <a:lnTo>
                    <a:pt x="718" y="535"/>
                  </a:lnTo>
                  <a:lnTo>
                    <a:pt x="714" y="535"/>
                  </a:lnTo>
                  <a:lnTo>
                    <a:pt x="714" y="539"/>
                  </a:lnTo>
                  <a:lnTo>
                    <a:pt x="714" y="543"/>
                  </a:lnTo>
                  <a:lnTo>
                    <a:pt x="714" y="547"/>
                  </a:lnTo>
                  <a:lnTo>
                    <a:pt x="710" y="547"/>
                  </a:lnTo>
                  <a:lnTo>
                    <a:pt x="710" y="551"/>
                  </a:lnTo>
                  <a:lnTo>
                    <a:pt x="710" y="547"/>
                  </a:lnTo>
                  <a:lnTo>
                    <a:pt x="710" y="551"/>
                  </a:lnTo>
                  <a:lnTo>
                    <a:pt x="710" y="547"/>
                  </a:lnTo>
                  <a:lnTo>
                    <a:pt x="706" y="547"/>
                  </a:lnTo>
                  <a:lnTo>
                    <a:pt x="710" y="547"/>
                  </a:lnTo>
                  <a:lnTo>
                    <a:pt x="710" y="551"/>
                  </a:lnTo>
                  <a:lnTo>
                    <a:pt x="706" y="551"/>
                  </a:lnTo>
                  <a:lnTo>
                    <a:pt x="706" y="555"/>
                  </a:lnTo>
                  <a:lnTo>
                    <a:pt x="702" y="555"/>
                  </a:lnTo>
                  <a:lnTo>
                    <a:pt x="706" y="555"/>
                  </a:lnTo>
                  <a:lnTo>
                    <a:pt x="706" y="559"/>
                  </a:lnTo>
                  <a:lnTo>
                    <a:pt x="702" y="559"/>
                  </a:lnTo>
                  <a:lnTo>
                    <a:pt x="702" y="563"/>
                  </a:lnTo>
                  <a:lnTo>
                    <a:pt x="702" y="559"/>
                  </a:lnTo>
                  <a:lnTo>
                    <a:pt x="706" y="559"/>
                  </a:lnTo>
                  <a:lnTo>
                    <a:pt x="702" y="555"/>
                  </a:lnTo>
                  <a:lnTo>
                    <a:pt x="702" y="559"/>
                  </a:lnTo>
                  <a:lnTo>
                    <a:pt x="702" y="555"/>
                  </a:lnTo>
                  <a:lnTo>
                    <a:pt x="698" y="555"/>
                  </a:lnTo>
                  <a:lnTo>
                    <a:pt x="698" y="559"/>
                  </a:lnTo>
                  <a:lnTo>
                    <a:pt x="698" y="555"/>
                  </a:lnTo>
                  <a:lnTo>
                    <a:pt x="698" y="559"/>
                  </a:lnTo>
                  <a:lnTo>
                    <a:pt x="698" y="563"/>
                  </a:lnTo>
                  <a:lnTo>
                    <a:pt x="698" y="559"/>
                  </a:lnTo>
                  <a:lnTo>
                    <a:pt x="702" y="563"/>
                  </a:lnTo>
                  <a:lnTo>
                    <a:pt x="698" y="563"/>
                  </a:lnTo>
                  <a:lnTo>
                    <a:pt x="698" y="567"/>
                  </a:lnTo>
                  <a:lnTo>
                    <a:pt x="702" y="563"/>
                  </a:lnTo>
                  <a:lnTo>
                    <a:pt x="702" y="567"/>
                  </a:lnTo>
                  <a:lnTo>
                    <a:pt x="698" y="567"/>
                  </a:lnTo>
                  <a:lnTo>
                    <a:pt x="698" y="571"/>
                  </a:lnTo>
                  <a:lnTo>
                    <a:pt x="694" y="571"/>
                  </a:lnTo>
                  <a:lnTo>
                    <a:pt x="690" y="571"/>
                  </a:lnTo>
                  <a:lnTo>
                    <a:pt x="694" y="571"/>
                  </a:lnTo>
                  <a:lnTo>
                    <a:pt x="694" y="575"/>
                  </a:lnTo>
                  <a:lnTo>
                    <a:pt x="694" y="571"/>
                  </a:lnTo>
                  <a:lnTo>
                    <a:pt x="698" y="571"/>
                  </a:lnTo>
                  <a:lnTo>
                    <a:pt x="698" y="575"/>
                  </a:lnTo>
                  <a:lnTo>
                    <a:pt x="698" y="579"/>
                  </a:lnTo>
                  <a:lnTo>
                    <a:pt x="694" y="579"/>
                  </a:lnTo>
                  <a:lnTo>
                    <a:pt x="698" y="579"/>
                  </a:lnTo>
                  <a:lnTo>
                    <a:pt x="698" y="583"/>
                  </a:lnTo>
                  <a:lnTo>
                    <a:pt x="698" y="587"/>
                  </a:lnTo>
                  <a:lnTo>
                    <a:pt x="698" y="583"/>
                  </a:lnTo>
                  <a:lnTo>
                    <a:pt x="694" y="583"/>
                  </a:lnTo>
                  <a:lnTo>
                    <a:pt x="694" y="579"/>
                  </a:lnTo>
                  <a:lnTo>
                    <a:pt x="694" y="583"/>
                  </a:lnTo>
                  <a:lnTo>
                    <a:pt x="690" y="583"/>
                  </a:lnTo>
                  <a:lnTo>
                    <a:pt x="694" y="587"/>
                  </a:lnTo>
                  <a:lnTo>
                    <a:pt x="690" y="591"/>
                  </a:lnTo>
                  <a:lnTo>
                    <a:pt x="690" y="587"/>
                  </a:lnTo>
                  <a:lnTo>
                    <a:pt x="686" y="587"/>
                  </a:lnTo>
                  <a:lnTo>
                    <a:pt x="686" y="591"/>
                  </a:lnTo>
                  <a:lnTo>
                    <a:pt x="690" y="591"/>
                  </a:lnTo>
                  <a:lnTo>
                    <a:pt x="686" y="595"/>
                  </a:lnTo>
                  <a:lnTo>
                    <a:pt x="682" y="595"/>
                  </a:lnTo>
                  <a:lnTo>
                    <a:pt x="686" y="595"/>
                  </a:lnTo>
                  <a:lnTo>
                    <a:pt x="682" y="591"/>
                  </a:lnTo>
                  <a:lnTo>
                    <a:pt x="682" y="595"/>
                  </a:lnTo>
                  <a:lnTo>
                    <a:pt x="686" y="595"/>
                  </a:lnTo>
                  <a:lnTo>
                    <a:pt x="682" y="599"/>
                  </a:lnTo>
                  <a:lnTo>
                    <a:pt x="678" y="599"/>
                  </a:lnTo>
                  <a:lnTo>
                    <a:pt x="674" y="599"/>
                  </a:lnTo>
                  <a:lnTo>
                    <a:pt x="674" y="603"/>
                  </a:lnTo>
                  <a:lnTo>
                    <a:pt x="670" y="603"/>
                  </a:lnTo>
                  <a:lnTo>
                    <a:pt x="674" y="603"/>
                  </a:lnTo>
                  <a:lnTo>
                    <a:pt x="674" y="607"/>
                  </a:lnTo>
                  <a:lnTo>
                    <a:pt x="670" y="611"/>
                  </a:lnTo>
                  <a:lnTo>
                    <a:pt x="666" y="611"/>
                  </a:lnTo>
                  <a:lnTo>
                    <a:pt x="666" y="615"/>
                  </a:lnTo>
                  <a:lnTo>
                    <a:pt x="662" y="615"/>
                  </a:lnTo>
                  <a:lnTo>
                    <a:pt x="662" y="619"/>
                  </a:lnTo>
                  <a:lnTo>
                    <a:pt x="658" y="619"/>
                  </a:lnTo>
                  <a:lnTo>
                    <a:pt x="654" y="619"/>
                  </a:lnTo>
                  <a:lnTo>
                    <a:pt x="654" y="623"/>
                  </a:lnTo>
                  <a:lnTo>
                    <a:pt x="650" y="623"/>
                  </a:lnTo>
                  <a:lnTo>
                    <a:pt x="654" y="623"/>
                  </a:lnTo>
                  <a:lnTo>
                    <a:pt x="654" y="627"/>
                  </a:lnTo>
                  <a:lnTo>
                    <a:pt x="650" y="627"/>
                  </a:lnTo>
                  <a:lnTo>
                    <a:pt x="650" y="631"/>
                  </a:lnTo>
                  <a:lnTo>
                    <a:pt x="646" y="631"/>
                  </a:lnTo>
                  <a:lnTo>
                    <a:pt x="646" y="635"/>
                  </a:lnTo>
                  <a:lnTo>
                    <a:pt x="642" y="631"/>
                  </a:lnTo>
                  <a:lnTo>
                    <a:pt x="642" y="635"/>
                  </a:lnTo>
                  <a:lnTo>
                    <a:pt x="638" y="635"/>
                  </a:lnTo>
                  <a:lnTo>
                    <a:pt x="638" y="631"/>
                  </a:lnTo>
                  <a:lnTo>
                    <a:pt x="634" y="635"/>
                  </a:lnTo>
                  <a:lnTo>
                    <a:pt x="638" y="635"/>
                  </a:lnTo>
                  <a:lnTo>
                    <a:pt x="634" y="635"/>
                  </a:lnTo>
                  <a:lnTo>
                    <a:pt x="630" y="635"/>
                  </a:lnTo>
                  <a:lnTo>
                    <a:pt x="626" y="635"/>
                  </a:lnTo>
                  <a:lnTo>
                    <a:pt x="626" y="639"/>
                  </a:lnTo>
                  <a:lnTo>
                    <a:pt x="622" y="639"/>
                  </a:lnTo>
                  <a:lnTo>
                    <a:pt x="622" y="635"/>
                  </a:lnTo>
                  <a:lnTo>
                    <a:pt x="626" y="635"/>
                  </a:lnTo>
                  <a:lnTo>
                    <a:pt x="622" y="635"/>
                  </a:lnTo>
                  <a:lnTo>
                    <a:pt x="622" y="639"/>
                  </a:lnTo>
                  <a:lnTo>
                    <a:pt x="618" y="639"/>
                  </a:lnTo>
                  <a:lnTo>
                    <a:pt x="614" y="639"/>
                  </a:lnTo>
                  <a:lnTo>
                    <a:pt x="618" y="639"/>
                  </a:lnTo>
                  <a:lnTo>
                    <a:pt x="618" y="643"/>
                  </a:lnTo>
                  <a:lnTo>
                    <a:pt x="614" y="643"/>
                  </a:lnTo>
                  <a:lnTo>
                    <a:pt x="610" y="643"/>
                  </a:lnTo>
                  <a:lnTo>
                    <a:pt x="610" y="639"/>
                  </a:lnTo>
                  <a:lnTo>
                    <a:pt x="614" y="639"/>
                  </a:lnTo>
                  <a:lnTo>
                    <a:pt x="610" y="639"/>
                  </a:lnTo>
                  <a:lnTo>
                    <a:pt x="610" y="635"/>
                  </a:lnTo>
                  <a:lnTo>
                    <a:pt x="606" y="631"/>
                  </a:lnTo>
                  <a:lnTo>
                    <a:pt x="606" y="627"/>
                  </a:lnTo>
                  <a:lnTo>
                    <a:pt x="610" y="627"/>
                  </a:lnTo>
                  <a:lnTo>
                    <a:pt x="606" y="627"/>
                  </a:lnTo>
                  <a:lnTo>
                    <a:pt x="606" y="631"/>
                  </a:lnTo>
                  <a:lnTo>
                    <a:pt x="602" y="631"/>
                  </a:lnTo>
                  <a:lnTo>
                    <a:pt x="606" y="635"/>
                  </a:lnTo>
                  <a:lnTo>
                    <a:pt x="602" y="635"/>
                  </a:lnTo>
                  <a:lnTo>
                    <a:pt x="606" y="635"/>
                  </a:lnTo>
                  <a:lnTo>
                    <a:pt x="606" y="639"/>
                  </a:lnTo>
                  <a:lnTo>
                    <a:pt x="606" y="643"/>
                  </a:lnTo>
                  <a:lnTo>
                    <a:pt x="606" y="647"/>
                  </a:lnTo>
                  <a:lnTo>
                    <a:pt x="602" y="647"/>
                  </a:lnTo>
                  <a:lnTo>
                    <a:pt x="602" y="643"/>
                  </a:lnTo>
                  <a:lnTo>
                    <a:pt x="602" y="639"/>
                  </a:lnTo>
                  <a:lnTo>
                    <a:pt x="598" y="639"/>
                  </a:lnTo>
                  <a:lnTo>
                    <a:pt x="602" y="639"/>
                  </a:lnTo>
                  <a:lnTo>
                    <a:pt x="602" y="643"/>
                  </a:lnTo>
                  <a:lnTo>
                    <a:pt x="602" y="647"/>
                  </a:lnTo>
                  <a:lnTo>
                    <a:pt x="598" y="647"/>
                  </a:lnTo>
                  <a:lnTo>
                    <a:pt x="598" y="643"/>
                  </a:lnTo>
                  <a:lnTo>
                    <a:pt x="598" y="647"/>
                  </a:lnTo>
                  <a:lnTo>
                    <a:pt x="598" y="651"/>
                  </a:lnTo>
                  <a:lnTo>
                    <a:pt x="594" y="651"/>
                  </a:lnTo>
                  <a:lnTo>
                    <a:pt x="590" y="651"/>
                  </a:lnTo>
                  <a:lnTo>
                    <a:pt x="590" y="655"/>
                  </a:lnTo>
                  <a:lnTo>
                    <a:pt x="590" y="651"/>
                  </a:lnTo>
                  <a:lnTo>
                    <a:pt x="586" y="655"/>
                  </a:lnTo>
                  <a:lnTo>
                    <a:pt x="582" y="651"/>
                  </a:lnTo>
                  <a:lnTo>
                    <a:pt x="582" y="655"/>
                  </a:lnTo>
                  <a:lnTo>
                    <a:pt x="578" y="655"/>
                  </a:lnTo>
                  <a:lnTo>
                    <a:pt x="578" y="659"/>
                  </a:lnTo>
                  <a:lnTo>
                    <a:pt x="574" y="659"/>
                  </a:lnTo>
                  <a:lnTo>
                    <a:pt x="570" y="659"/>
                  </a:lnTo>
                  <a:lnTo>
                    <a:pt x="566" y="659"/>
                  </a:lnTo>
                  <a:lnTo>
                    <a:pt x="562" y="659"/>
                  </a:lnTo>
                  <a:lnTo>
                    <a:pt x="562" y="663"/>
                  </a:lnTo>
                  <a:lnTo>
                    <a:pt x="562" y="659"/>
                  </a:lnTo>
                  <a:lnTo>
                    <a:pt x="562" y="663"/>
                  </a:lnTo>
                  <a:lnTo>
                    <a:pt x="558" y="663"/>
                  </a:lnTo>
                  <a:lnTo>
                    <a:pt x="558" y="659"/>
                  </a:lnTo>
                  <a:lnTo>
                    <a:pt x="558" y="663"/>
                  </a:lnTo>
                  <a:lnTo>
                    <a:pt x="558" y="667"/>
                  </a:lnTo>
                  <a:lnTo>
                    <a:pt x="554" y="667"/>
                  </a:lnTo>
                  <a:lnTo>
                    <a:pt x="554" y="671"/>
                  </a:lnTo>
                  <a:lnTo>
                    <a:pt x="558" y="671"/>
                  </a:lnTo>
                  <a:lnTo>
                    <a:pt x="558" y="675"/>
                  </a:lnTo>
                  <a:lnTo>
                    <a:pt x="558" y="671"/>
                  </a:lnTo>
                  <a:lnTo>
                    <a:pt x="558" y="675"/>
                  </a:lnTo>
                  <a:lnTo>
                    <a:pt x="558" y="678"/>
                  </a:lnTo>
                  <a:lnTo>
                    <a:pt x="558" y="682"/>
                  </a:lnTo>
                  <a:lnTo>
                    <a:pt x="554" y="682"/>
                  </a:lnTo>
                  <a:lnTo>
                    <a:pt x="550" y="682"/>
                  </a:lnTo>
                  <a:lnTo>
                    <a:pt x="550" y="678"/>
                  </a:lnTo>
                  <a:lnTo>
                    <a:pt x="546" y="675"/>
                  </a:lnTo>
                  <a:lnTo>
                    <a:pt x="546" y="671"/>
                  </a:lnTo>
                  <a:lnTo>
                    <a:pt x="546" y="667"/>
                  </a:lnTo>
                  <a:lnTo>
                    <a:pt x="550" y="663"/>
                  </a:lnTo>
                  <a:lnTo>
                    <a:pt x="550" y="659"/>
                  </a:lnTo>
                  <a:lnTo>
                    <a:pt x="550" y="655"/>
                  </a:lnTo>
                  <a:lnTo>
                    <a:pt x="546" y="655"/>
                  </a:lnTo>
                  <a:lnTo>
                    <a:pt x="546" y="659"/>
                  </a:lnTo>
                  <a:lnTo>
                    <a:pt x="550" y="659"/>
                  </a:lnTo>
                  <a:lnTo>
                    <a:pt x="546" y="659"/>
                  </a:lnTo>
                  <a:lnTo>
                    <a:pt x="546" y="655"/>
                  </a:lnTo>
                  <a:lnTo>
                    <a:pt x="546" y="659"/>
                  </a:lnTo>
                  <a:lnTo>
                    <a:pt x="542" y="659"/>
                  </a:lnTo>
                  <a:lnTo>
                    <a:pt x="538" y="659"/>
                  </a:lnTo>
                  <a:lnTo>
                    <a:pt x="538" y="655"/>
                  </a:lnTo>
                  <a:lnTo>
                    <a:pt x="534" y="655"/>
                  </a:lnTo>
                  <a:lnTo>
                    <a:pt x="534" y="651"/>
                  </a:lnTo>
                  <a:lnTo>
                    <a:pt x="534" y="655"/>
                  </a:lnTo>
                  <a:lnTo>
                    <a:pt x="530" y="655"/>
                  </a:lnTo>
                  <a:lnTo>
                    <a:pt x="530" y="651"/>
                  </a:lnTo>
                  <a:lnTo>
                    <a:pt x="530" y="655"/>
                  </a:lnTo>
                  <a:lnTo>
                    <a:pt x="530" y="659"/>
                  </a:lnTo>
                  <a:lnTo>
                    <a:pt x="526" y="659"/>
                  </a:lnTo>
                  <a:lnTo>
                    <a:pt x="526" y="655"/>
                  </a:lnTo>
                  <a:lnTo>
                    <a:pt x="530" y="655"/>
                  </a:lnTo>
                  <a:lnTo>
                    <a:pt x="526" y="655"/>
                  </a:lnTo>
                  <a:lnTo>
                    <a:pt x="526" y="659"/>
                  </a:lnTo>
                  <a:lnTo>
                    <a:pt x="526" y="655"/>
                  </a:lnTo>
                  <a:lnTo>
                    <a:pt x="522" y="659"/>
                  </a:lnTo>
                  <a:lnTo>
                    <a:pt x="522" y="655"/>
                  </a:lnTo>
                  <a:lnTo>
                    <a:pt x="518" y="655"/>
                  </a:lnTo>
                  <a:lnTo>
                    <a:pt x="514" y="655"/>
                  </a:lnTo>
                  <a:lnTo>
                    <a:pt x="510" y="655"/>
                  </a:lnTo>
                  <a:lnTo>
                    <a:pt x="506" y="651"/>
                  </a:lnTo>
                  <a:lnTo>
                    <a:pt x="502" y="647"/>
                  </a:lnTo>
                  <a:lnTo>
                    <a:pt x="502" y="643"/>
                  </a:lnTo>
                  <a:lnTo>
                    <a:pt x="498" y="643"/>
                  </a:lnTo>
                  <a:lnTo>
                    <a:pt x="498" y="639"/>
                  </a:lnTo>
                  <a:lnTo>
                    <a:pt x="502" y="639"/>
                  </a:lnTo>
                  <a:lnTo>
                    <a:pt x="502" y="635"/>
                  </a:lnTo>
                  <a:lnTo>
                    <a:pt x="502" y="631"/>
                  </a:lnTo>
                  <a:lnTo>
                    <a:pt x="498" y="631"/>
                  </a:lnTo>
                  <a:lnTo>
                    <a:pt x="494" y="631"/>
                  </a:lnTo>
                  <a:lnTo>
                    <a:pt x="490" y="631"/>
                  </a:lnTo>
                  <a:lnTo>
                    <a:pt x="486" y="631"/>
                  </a:lnTo>
                  <a:lnTo>
                    <a:pt x="486" y="627"/>
                  </a:lnTo>
                  <a:lnTo>
                    <a:pt x="482" y="627"/>
                  </a:lnTo>
                  <a:lnTo>
                    <a:pt x="482" y="623"/>
                  </a:lnTo>
                  <a:lnTo>
                    <a:pt x="478" y="623"/>
                  </a:lnTo>
                  <a:lnTo>
                    <a:pt x="474" y="627"/>
                  </a:lnTo>
                  <a:lnTo>
                    <a:pt x="474" y="631"/>
                  </a:lnTo>
                  <a:lnTo>
                    <a:pt x="470" y="635"/>
                  </a:lnTo>
                  <a:lnTo>
                    <a:pt x="466" y="635"/>
                  </a:lnTo>
                  <a:lnTo>
                    <a:pt x="462" y="635"/>
                  </a:lnTo>
                  <a:lnTo>
                    <a:pt x="462" y="639"/>
                  </a:lnTo>
                  <a:lnTo>
                    <a:pt x="458" y="639"/>
                  </a:lnTo>
                  <a:lnTo>
                    <a:pt x="458" y="635"/>
                  </a:lnTo>
                  <a:lnTo>
                    <a:pt x="454" y="635"/>
                  </a:lnTo>
                  <a:lnTo>
                    <a:pt x="454" y="639"/>
                  </a:lnTo>
                  <a:lnTo>
                    <a:pt x="454" y="635"/>
                  </a:lnTo>
                  <a:lnTo>
                    <a:pt x="450" y="635"/>
                  </a:lnTo>
                  <a:lnTo>
                    <a:pt x="450" y="639"/>
                  </a:lnTo>
                  <a:lnTo>
                    <a:pt x="446" y="639"/>
                  </a:lnTo>
                  <a:lnTo>
                    <a:pt x="442" y="639"/>
                  </a:lnTo>
                  <a:lnTo>
                    <a:pt x="442" y="635"/>
                  </a:lnTo>
                  <a:lnTo>
                    <a:pt x="438" y="635"/>
                  </a:lnTo>
                  <a:lnTo>
                    <a:pt x="438" y="639"/>
                  </a:lnTo>
                  <a:lnTo>
                    <a:pt x="434" y="639"/>
                  </a:lnTo>
                  <a:lnTo>
                    <a:pt x="434" y="643"/>
                  </a:lnTo>
                  <a:lnTo>
                    <a:pt x="434" y="639"/>
                  </a:lnTo>
                  <a:lnTo>
                    <a:pt x="430" y="639"/>
                  </a:lnTo>
                  <a:lnTo>
                    <a:pt x="426" y="639"/>
                  </a:lnTo>
                  <a:lnTo>
                    <a:pt x="426" y="643"/>
                  </a:lnTo>
                  <a:lnTo>
                    <a:pt x="422" y="643"/>
                  </a:lnTo>
                  <a:lnTo>
                    <a:pt x="426" y="651"/>
                  </a:lnTo>
                  <a:lnTo>
                    <a:pt x="426" y="655"/>
                  </a:lnTo>
                  <a:lnTo>
                    <a:pt x="426" y="659"/>
                  </a:lnTo>
                  <a:lnTo>
                    <a:pt x="426" y="663"/>
                  </a:lnTo>
                  <a:lnTo>
                    <a:pt x="430" y="663"/>
                  </a:lnTo>
                  <a:lnTo>
                    <a:pt x="426" y="663"/>
                  </a:lnTo>
                  <a:lnTo>
                    <a:pt x="426" y="667"/>
                  </a:lnTo>
                  <a:lnTo>
                    <a:pt x="426" y="663"/>
                  </a:lnTo>
                  <a:lnTo>
                    <a:pt x="422" y="663"/>
                  </a:lnTo>
                  <a:lnTo>
                    <a:pt x="418" y="663"/>
                  </a:lnTo>
                  <a:lnTo>
                    <a:pt x="418" y="659"/>
                  </a:lnTo>
                  <a:lnTo>
                    <a:pt x="418" y="655"/>
                  </a:lnTo>
                  <a:lnTo>
                    <a:pt x="414" y="655"/>
                  </a:lnTo>
                  <a:lnTo>
                    <a:pt x="410" y="659"/>
                  </a:lnTo>
                  <a:lnTo>
                    <a:pt x="406" y="659"/>
                  </a:lnTo>
                  <a:lnTo>
                    <a:pt x="402" y="659"/>
                  </a:lnTo>
                  <a:lnTo>
                    <a:pt x="402" y="655"/>
                  </a:lnTo>
                  <a:lnTo>
                    <a:pt x="398" y="655"/>
                  </a:lnTo>
                  <a:lnTo>
                    <a:pt x="398" y="651"/>
                  </a:lnTo>
                  <a:lnTo>
                    <a:pt x="398" y="647"/>
                  </a:lnTo>
                  <a:lnTo>
                    <a:pt x="394" y="647"/>
                  </a:lnTo>
                  <a:lnTo>
                    <a:pt x="390" y="647"/>
                  </a:lnTo>
                  <a:lnTo>
                    <a:pt x="386" y="647"/>
                  </a:lnTo>
                  <a:lnTo>
                    <a:pt x="390" y="643"/>
                  </a:lnTo>
                  <a:lnTo>
                    <a:pt x="390" y="639"/>
                  </a:lnTo>
                  <a:lnTo>
                    <a:pt x="390" y="635"/>
                  </a:lnTo>
                  <a:lnTo>
                    <a:pt x="390" y="631"/>
                  </a:lnTo>
                  <a:lnTo>
                    <a:pt x="394" y="631"/>
                  </a:lnTo>
                  <a:lnTo>
                    <a:pt x="394" y="627"/>
                  </a:lnTo>
                  <a:lnTo>
                    <a:pt x="390" y="627"/>
                  </a:lnTo>
                  <a:lnTo>
                    <a:pt x="386" y="627"/>
                  </a:lnTo>
                  <a:lnTo>
                    <a:pt x="382" y="627"/>
                  </a:lnTo>
                  <a:lnTo>
                    <a:pt x="382" y="623"/>
                  </a:lnTo>
                  <a:lnTo>
                    <a:pt x="382" y="619"/>
                  </a:lnTo>
                  <a:lnTo>
                    <a:pt x="382" y="615"/>
                  </a:lnTo>
                  <a:lnTo>
                    <a:pt x="378" y="611"/>
                  </a:lnTo>
                  <a:lnTo>
                    <a:pt x="382" y="611"/>
                  </a:lnTo>
                  <a:lnTo>
                    <a:pt x="382" y="607"/>
                  </a:lnTo>
                  <a:lnTo>
                    <a:pt x="378" y="607"/>
                  </a:lnTo>
                  <a:lnTo>
                    <a:pt x="374" y="607"/>
                  </a:lnTo>
                  <a:lnTo>
                    <a:pt x="371" y="607"/>
                  </a:lnTo>
                  <a:lnTo>
                    <a:pt x="371" y="611"/>
                  </a:lnTo>
                  <a:lnTo>
                    <a:pt x="367" y="611"/>
                  </a:lnTo>
                  <a:lnTo>
                    <a:pt x="367" y="615"/>
                  </a:lnTo>
                  <a:close/>
                  <a:moveTo>
                    <a:pt x="706" y="619"/>
                  </a:moveTo>
                  <a:lnTo>
                    <a:pt x="706" y="615"/>
                  </a:lnTo>
                  <a:lnTo>
                    <a:pt x="706" y="611"/>
                  </a:lnTo>
                  <a:lnTo>
                    <a:pt x="710" y="611"/>
                  </a:lnTo>
                  <a:lnTo>
                    <a:pt x="710" y="607"/>
                  </a:lnTo>
                  <a:lnTo>
                    <a:pt x="710" y="603"/>
                  </a:lnTo>
                  <a:lnTo>
                    <a:pt x="714" y="603"/>
                  </a:lnTo>
                  <a:lnTo>
                    <a:pt x="714" y="599"/>
                  </a:lnTo>
                  <a:lnTo>
                    <a:pt x="718" y="595"/>
                  </a:lnTo>
                  <a:lnTo>
                    <a:pt x="718" y="591"/>
                  </a:lnTo>
                  <a:lnTo>
                    <a:pt x="722" y="591"/>
                  </a:lnTo>
                  <a:lnTo>
                    <a:pt x="722" y="587"/>
                  </a:lnTo>
                  <a:lnTo>
                    <a:pt x="725" y="587"/>
                  </a:lnTo>
                  <a:lnTo>
                    <a:pt x="725" y="591"/>
                  </a:lnTo>
                  <a:lnTo>
                    <a:pt x="725" y="587"/>
                  </a:lnTo>
                  <a:lnTo>
                    <a:pt x="729" y="587"/>
                  </a:lnTo>
                  <a:lnTo>
                    <a:pt x="729" y="591"/>
                  </a:lnTo>
                  <a:lnTo>
                    <a:pt x="733" y="591"/>
                  </a:lnTo>
                  <a:lnTo>
                    <a:pt x="729" y="595"/>
                  </a:lnTo>
                  <a:lnTo>
                    <a:pt x="729" y="599"/>
                  </a:lnTo>
                  <a:lnTo>
                    <a:pt x="729" y="603"/>
                  </a:lnTo>
                  <a:lnTo>
                    <a:pt x="729" y="607"/>
                  </a:lnTo>
                  <a:lnTo>
                    <a:pt x="725" y="611"/>
                  </a:lnTo>
                  <a:lnTo>
                    <a:pt x="729" y="611"/>
                  </a:lnTo>
                  <a:lnTo>
                    <a:pt x="725" y="611"/>
                  </a:lnTo>
                  <a:lnTo>
                    <a:pt x="725" y="615"/>
                  </a:lnTo>
                  <a:lnTo>
                    <a:pt x="725" y="619"/>
                  </a:lnTo>
                  <a:lnTo>
                    <a:pt x="725" y="623"/>
                  </a:lnTo>
                  <a:lnTo>
                    <a:pt x="725" y="627"/>
                  </a:lnTo>
                  <a:lnTo>
                    <a:pt x="722" y="631"/>
                  </a:lnTo>
                  <a:lnTo>
                    <a:pt x="722" y="635"/>
                  </a:lnTo>
                  <a:lnTo>
                    <a:pt x="718" y="635"/>
                  </a:lnTo>
                  <a:lnTo>
                    <a:pt x="718" y="639"/>
                  </a:lnTo>
                  <a:lnTo>
                    <a:pt x="718" y="643"/>
                  </a:lnTo>
                  <a:lnTo>
                    <a:pt x="718" y="647"/>
                  </a:lnTo>
                  <a:lnTo>
                    <a:pt x="718" y="651"/>
                  </a:lnTo>
                  <a:lnTo>
                    <a:pt x="714" y="651"/>
                  </a:lnTo>
                  <a:lnTo>
                    <a:pt x="714" y="647"/>
                  </a:lnTo>
                  <a:lnTo>
                    <a:pt x="714" y="643"/>
                  </a:lnTo>
                  <a:lnTo>
                    <a:pt x="710" y="643"/>
                  </a:lnTo>
                  <a:lnTo>
                    <a:pt x="710" y="639"/>
                  </a:lnTo>
                  <a:lnTo>
                    <a:pt x="706" y="639"/>
                  </a:lnTo>
                  <a:lnTo>
                    <a:pt x="706" y="635"/>
                  </a:lnTo>
                  <a:lnTo>
                    <a:pt x="706" y="631"/>
                  </a:lnTo>
                  <a:lnTo>
                    <a:pt x="706" y="627"/>
                  </a:lnTo>
                  <a:lnTo>
                    <a:pt x="706" y="623"/>
                  </a:lnTo>
                  <a:lnTo>
                    <a:pt x="706" y="619"/>
                  </a:lnTo>
                  <a:close/>
                  <a:moveTo>
                    <a:pt x="546" y="718"/>
                  </a:moveTo>
                  <a:lnTo>
                    <a:pt x="546" y="722"/>
                  </a:lnTo>
                  <a:lnTo>
                    <a:pt x="546" y="718"/>
                  </a:lnTo>
                  <a:lnTo>
                    <a:pt x="542" y="718"/>
                  </a:lnTo>
                  <a:lnTo>
                    <a:pt x="538" y="718"/>
                  </a:lnTo>
                  <a:lnTo>
                    <a:pt x="534" y="718"/>
                  </a:lnTo>
                  <a:lnTo>
                    <a:pt x="534" y="714"/>
                  </a:lnTo>
                  <a:lnTo>
                    <a:pt x="530" y="714"/>
                  </a:lnTo>
                  <a:lnTo>
                    <a:pt x="530" y="710"/>
                  </a:lnTo>
                  <a:lnTo>
                    <a:pt x="534" y="710"/>
                  </a:lnTo>
                  <a:lnTo>
                    <a:pt x="530" y="710"/>
                  </a:lnTo>
                  <a:lnTo>
                    <a:pt x="530" y="706"/>
                  </a:lnTo>
                  <a:lnTo>
                    <a:pt x="530" y="702"/>
                  </a:lnTo>
                  <a:lnTo>
                    <a:pt x="530" y="698"/>
                  </a:lnTo>
                  <a:lnTo>
                    <a:pt x="534" y="698"/>
                  </a:lnTo>
                  <a:lnTo>
                    <a:pt x="534" y="694"/>
                  </a:lnTo>
                  <a:lnTo>
                    <a:pt x="538" y="694"/>
                  </a:lnTo>
                  <a:lnTo>
                    <a:pt x="542" y="690"/>
                  </a:lnTo>
                  <a:lnTo>
                    <a:pt x="538" y="690"/>
                  </a:lnTo>
                  <a:lnTo>
                    <a:pt x="542" y="686"/>
                  </a:lnTo>
                  <a:lnTo>
                    <a:pt x="542" y="690"/>
                  </a:lnTo>
                  <a:lnTo>
                    <a:pt x="546" y="690"/>
                  </a:lnTo>
                  <a:lnTo>
                    <a:pt x="546" y="686"/>
                  </a:lnTo>
                  <a:lnTo>
                    <a:pt x="550" y="686"/>
                  </a:lnTo>
                  <a:lnTo>
                    <a:pt x="554" y="686"/>
                  </a:lnTo>
                  <a:lnTo>
                    <a:pt x="558" y="686"/>
                  </a:lnTo>
                  <a:lnTo>
                    <a:pt x="562" y="686"/>
                  </a:lnTo>
                  <a:lnTo>
                    <a:pt x="562" y="682"/>
                  </a:lnTo>
                  <a:lnTo>
                    <a:pt x="562" y="686"/>
                  </a:lnTo>
                  <a:lnTo>
                    <a:pt x="566" y="686"/>
                  </a:lnTo>
                  <a:lnTo>
                    <a:pt x="566" y="694"/>
                  </a:lnTo>
                  <a:lnTo>
                    <a:pt x="562" y="698"/>
                  </a:lnTo>
                  <a:lnTo>
                    <a:pt x="562" y="702"/>
                  </a:lnTo>
                  <a:lnTo>
                    <a:pt x="558" y="702"/>
                  </a:lnTo>
                  <a:lnTo>
                    <a:pt x="562" y="702"/>
                  </a:lnTo>
                  <a:lnTo>
                    <a:pt x="558" y="706"/>
                  </a:lnTo>
                  <a:lnTo>
                    <a:pt x="558" y="710"/>
                  </a:lnTo>
                  <a:lnTo>
                    <a:pt x="554" y="710"/>
                  </a:lnTo>
                  <a:lnTo>
                    <a:pt x="554" y="714"/>
                  </a:lnTo>
                  <a:lnTo>
                    <a:pt x="554" y="718"/>
                  </a:lnTo>
                  <a:lnTo>
                    <a:pt x="550" y="718"/>
                  </a:lnTo>
                  <a:lnTo>
                    <a:pt x="550" y="714"/>
                  </a:lnTo>
                  <a:lnTo>
                    <a:pt x="550" y="718"/>
                  </a:lnTo>
                  <a:lnTo>
                    <a:pt x="546" y="718"/>
                  </a:lnTo>
                  <a:close/>
                  <a:moveTo>
                    <a:pt x="722" y="459"/>
                  </a:moveTo>
                  <a:lnTo>
                    <a:pt x="725" y="459"/>
                  </a:lnTo>
                  <a:lnTo>
                    <a:pt x="725" y="463"/>
                  </a:lnTo>
                  <a:lnTo>
                    <a:pt x="729" y="463"/>
                  </a:lnTo>
                  <a:lnTo>
                    <a:pt x="733" y="463"/>
                  </a:lnTo>
                  <a:lnTo>
                    <a:pt x="729" y="463"/>
                  </a:lnTo>
                  <a:lnTo>
                    <a:pt x="729" y="467"/>
                  </a:lnTo>
                  <a:lnTo>
                    <a:pt x="725" y="463"/>
                  </a:lnTo>
                  <a:lnTo>
                    <a:pt x="722" y="463"/>
                  </a:lnTo>
                  <a:lnTo>
                    <a:pt x="722" y="459"/>
                  </a:lnTo>
                  <a:close/>
                  <a:moveTo>
                    <a:pt x="733" y="495"/>
                  </a:moveTo>
                  <a:lnTo>
                    <a:pt x="733" y="491"/>
                  </a:lnTo>
                  <a:lnTo>
                    <a:pt x="737" y="491"/>
                  </a:lnTo>
                  <a:lnTo>
                    <a:pt x="737" y="495"/>
                  </a:lnTo>
                  <a:lnTo>
                    <a:pt x="733" y="495"/>
                  </a:lnTo>
                  <a:close/>
                  <a:moveTo>
                    <a:pt x="698" y="583"/>
                  </a:moveTo>
                  <a:lnTo>
                    <a:pt x="698" y="579"/>
                  </a:lnTo>
                  <a:lnTo>
                    <a:pt x="702" y="579"/>
                  </a:lnTo>
                  <a:lnTo>
                    <a:pt x="702" y="583"/>
                  </a:lnTo>
                  <a:lnTo>
                    <a:pt x="698" y="583"/>
                  </a:lnTo>
                  <a:close/>
                  <a:moveTo>
                    <a:pt x="666" y="615"/>
                  </a:moveTo>
                  <a:lnTo>
                    <a:pt x="666" y="619"/>
                  </a:lnTo>
                  <a:lnTo>
                    <a:pt x="662" y="619"/>
                  </a:lnTo>
                  <a:lnTo>
                    <a:pt x="662" y="615"/>
                  </a:lnTo>
                  <a:lnTo>
                    <a:pt x="666" y="615"/>
                  </a:lnTo>
                  <a:close/>
                  <a:moveTo>
                    <a:pt x="558" y="667"/>
                  </a:moveTo>
                  <a:lnTo>
                    <a:pt x="562" y="667"/>
                  </a:lnTo>
                  <a:lnTo>
                    <a:pt x="558" y="667"/>
                  </a:lnTo>
                  <a:lnTo>
                    <a:pt x="554" y="667"/>
                  </a:lnTo>
                  <a:lnTo>
                    <a:pt x="558" y="667"/>
                  </a:lnTo>
                  <a:close/>
                  <a:moveTo>
                    <a:pt x="725" y="307"/>
                  </a:moveTo>
                  <a:lnTo>
                    <a:pt x="722" y="307"/>
                  </a:lnTo>
                  <a:lnTo>
                    <a:pt x="722" y="303"/>
                  </a:lnTo>
                  <a:lnTo>
                    <a:pt x="725" y="303"/>
                  </a:lnTo>
                  <a:lnTo>
                    <a:pt x="725" y="307"/>
                  </a:lnTo>
                  <a:close/>
                  <a:moveTo>
                    <a:pt x="614" y="643"/>
                  </a:moveTo>
                  <a:lnTo>
                    <a:pt x="610" y="643"/>
                  </a:lnTo>
                  <a:lnTo>
                    <a:pt x="610" y="647"/>
                  </a:lnTo>
                  <a:lnTo>
                    <a:pt x="610" y="643"/>
                  </a:lnTo>
                  <a:lnTo>
                    <a:pt x="614" y="643"/>
                  </a:lnTo>
                  <a:close/>
                  <a:moveTo>
                    <a:pt x="698" y="451"/>
                  </a:moveTo>
                  <a:lnTo>
                    <a:pt x="702" y="451"/>
                  </a:lnTo>
                  <a:lnTo>
                    <a:pt x="702" y="455"/>
                  </a:lnTo>
                  <a:lnTo>
                    <a:pt x="702" y="451"/>
                  </a:lnTo>
                  <a:lnTo>
                    <a:pt x="698" y="451"/>
                  </a:lnTo>
                  <a:close/>
                  <a:moveTo>
                    <a:pt x="606" y="635"/>
                  </a:moveTo>
                  <a:lnTo>
                    <a:pt x="602" y="631"/>
                  </a:lnTo>
                  <a:lnTo>
                    <a:pt x="606" y="631"/>
                  </a:lnTo>
                  <a:lnTo>
                    <a:pt x="606" y="635"/>
                  </a:lnTo>
                  <a:close/>
                  <a:moveTo>
                    <a:pt x="678" y="603"/>
                  </a:moveTo>
                  <a:lnTo>
                    <a:pt x="678" y="599"/>
                  </a:lnTo>
                  <a:lnTo>
                    <a:pt x="678" y="603"/>
                  </a:lnTo>
                  <a:lnTo>
                    <a:pt x="682" y="603"/>
                  </a:lnTo>
                  <a:lnTo>
                    <a:pt x="678" y="603"/>
                  </a:lnTo>
                  <a:close/>
                  <a:moveTo>
                    <a:pt x="658" y="619"/>
                  </a:moveTo>
                  <a:lnTo>
                    <a:pt x="658" y="623"/>
                  </a:lnTo>
                  <a:lnTo>
                    <a:pt x="658" y="619"/>
                  </a:lnTo>
                  <a:close/>
                  <a:moveTo>
                    <a:pt x="578" y="659"/>
                  </a:moveTo>
                  <a:lnTo>
                    <a:pt x="578" y="655"/>
                  </a:lnTo>
                  <a:lnTo>
                    <a:pt x="582" y="655"/>
                  </a:lnTo>
                  <a:lnTo>
                    <a:pt x="578" y="659"/>
                  </a:lnTo>
                  <a:close/>
                  <a:moveTo>
                    <a:pt x="674" y="603"/>
                  </a:moveTo>
                  <a:lnTo>
                    <a:pt x="674" y="599"/>
                  </a:lnTo>
                  <a:lnTo>
                    <a:pt x="678" y="603"/>
                  </a:lnTo>
                  <a:lnTo>
                    <a:pt x="674" y="603"/>
                  </a:lnTo>
                  <a:close/>
                  <a:moveTo>
                    <a:pt x="558" y="663"/>
                  </a:moveTo>
                  <a:lnTo>
                    <a:pt x="562" y="663"/>
                  </a:lnTo>
                  <a:lnTo>
                    <a:pt x="562" y="667"/>
                  </a:lnTo>
                  <a:lnTo>
                    <a:pt x="558" y="667"/>
                  </a:lnTo>
                  <a:lnTo>
                    <a:pt x="558" y="663"/>
                  </a:lnTo>
                  <a:close/>
                  <a:moveTo>
                    <a:pt x="733" y="487"/>
                  </a:moveTo>
                  <a:lnTo>
                    <a:pt x="737" y="487"/>
                  </a:lnTo>
                  <a:lnTo>
                    <a:pt x="737" y="491"/>
                  </a:lnTo>
                  <a:lnTo>
                    <a:pt x="733" y="491"/>
                  </a:lnTo>
                  <a:lnTo>
                    <a:pt x="733" y="487"/>
                  </a:lnTo>
                  <a:close/>
                  <a:moveTo>
                    <a:pt x="733" y="499"/>
                  </a:moveTo>
                  <a:lnTo>
                    <a:pt x="737" y="499"/>
                  </a:lnTo>
                  <a:lnTo>
                    <a:pt x="737" y="503"/>
                  </a:lnTo>
                  <a:lnTo>
                    <a:pt x="733" y="499"/>
                  </a:lnTo>
                  <a:close/>
                  <a:moveTo>
                    <a:pt x="614" y="643"/>
                  </a:moveTo>
                  <a:lnTo>
                    <a:pt x="618" y="643"/>
                  </a:lnTo>
                  <a:lnTo>
                    <a:pt x="618" y="647"/>
                  </a:lnTo>
                  <a:lnTo>
                    <a:pt x="614" y="643"/>
                  </a:lnTo>
                  <a:lnTo>
                    <a:pt x="614" y="647"/>
                  </a:lnTo>
                  <a:lnTo>
                    <a:pt x="614" y="6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" name="Freeform 13"/>
            <p:cNvSpPr>
              <a:spLocks/>
            </p:cNvSpPr>
            <p:nvPr>
              <p:custDataLst>
                <p:tags r:id="rId208"/>
              </p:custDataLst>
            </p:nvPr>
          </p:nvSpPr>
          <p:spPr bwMode="gray">
            <a:xfrm>
              <a:off x="5096830" y="3597852"/>
              <a:ext cx="53390" cy="29661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6" y="0"/>
                </a:cxn>
                <a:cxn ang="0">
                  <a:pos x="36" y="0"/>
                </a:cxn>
                <a:cxn ang="0">
                  <a:pos x="32" y="4"/>
                </a:cxn>
                <a:cxn ang="0">
                  <a:pos x="28" y="4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6"/>
                </a:cxn>
                <a:cxn ang="0">
                  <a:pos x="20" y="16"/>
                </a:cxn>
              </a:cxnLst>
              <a:rect l="0" t="0" r="r" b="b"/>
              <a:pathLst>
                <a:path w="36" h="20">
                  <a:moveTo>
                    <a:pt x="16" y="16"/>
                  </a:move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" name="Freeform 14"/>
            <p:cNvSpPr>
              <a:spLocks/>
            </p:cNvSpPr>
            <p:nvPr>
              <p:custDataLst>
                <p:tags r:id="rId209"/>
              </p:custDataLst>
            </p:nvPr>
          </p:nvSpPr>
          <p:spPr bwMode="gray">
            <a:xfrm>
              <a:off x="5144288" y="3716497"/>
              <a:ext cx="5932" cy="1186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4" h="8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" name="Freeform 15"/>
            <p:cNvSpPr>
              <a:spLocks/>
            </p:cNvSpPr>
            <p:nvPr>
              <p:custDataLst>
                <p:tags r:id="rId210"/>
              </p:custDataLst>
            </p:nvPr>
          </p:nvSpPr>
          <p:spPr bwMode="gray">
            <a:xfrm>
              <a:off x="5274797" y="3356113"/>
              <a:ext cx="148306" cy="75636"/>
            </a:xfrm>
            <a:custGeom>
              <a:avLst/>
              <a:gdLst/>
              <a:ahLst/>
              <a:cxnLst>
                <a:cxn ang="0">
                  <a:pos x="36" y="43"/>
                </a:cxn>
                <a:cxn ang="0">
                  <a:pos x="32" y="43"/>
                </a:cxn>
                <a:cxn ang="0">
                  <a:pos x="28" y="43"/>
                </a:cxn>
                <a:cxn ang="0">
                  <a:pos x="24" y="39"/>
                </a:cxn>
                <a:cxn ang="0">
                  <a:pos x="28" y="35"/>
                </a:cxn>
                <a:cxn ang="0">
                  <a:pos x="24" y="27"/>
                </a:cxn>
                <a:cxn ang="0">
                  <a:pos x="24" y="23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2" y="8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4"/>
                </a:cxn>
                <a:cxn ang="0">
                  <a:pos x="24" y="8"/>
                </a:cxn>
                <a:cxn ang="0">
                  <a:pos x="32" y="4"/>
                </a:cxn>
                <a:cxn ang="0">
                  <a:pos x="36" y="8"/>
                </a:cxn>
                <a:cxn ang="0">
                  <a:pos x="40" y="8"/>
                </a:cxn>
                <a:cxn ang="0">
                  <a:pos x="48" y="12"/>
                </a:cxn>
                <a:cxn ang="0">
                  <a:pos x="52" y="12"/>
                </a:cxn>
                <a:cxn ang="0">
                  <a:pos x="56" y="16"/>
                </a:cxn>
                <a:cxn ang="0">
                  <a:pos x="56" y="16"/>
                </a:cxn>
                <a:cxn ang="0">
                  <a:pos x="60" y="20"/>
                </a:cxn>
                <a:cxn ang="0">
                  <a:pos x="68" y="16"/>
                </a:cxn>
                <a:cxn ang="0">
                  <a:pos x="68" y="16"/>
                </a:cxn>
                <a:cxn ang="0">
                  <a:pos x="72" y="16"/>
                </a:cxn>
                <a:cxn ang="0">
                  <a:pos x="76" y="16"/>
                </a:cxn>
                <a:cxn ang="0">
                  <a:pos x="76" y="16"/>
                </a:cxn>
                <a:cxn ang="0">
                  <a:pos x="80" y="20"/>
                </a:cxn>
                <a:cxn ang="0">
                  <a:pos x="80" y="20"/>
                </a:cxn>
                <a:cxn ang="0">
                  <a:pos x="84" y="20"/>
                </a:cxn>
                <a:cxn ang="0">
                  <a:pos x="84" y="23"/>
                </a:cxn>
                <a:cxn ang="0">
                  <a:pos x="92" y="31"/>
                </a:cxn>
                <a:cxn ang="0">
                  <a:pos x="96" y="35"/>
                </a:cxn>
                <a:cxn ang="0">
                  <a:pos x="96" y="35"/>
                </a:cxn>
                <a:cxn ang="0">
                  <a:pos x="92" y="35"/>
                </a:cxn>
                <a:cxn ang="0">
                  <a:pos x="96" y="43"/>
                </a:cxn>
                <a:cxn ang="0">
                  <a:pos x="100" y="47"/>
                </a:cxn>
                <a:cxn ang="0">
                  <a:pos x="100" y="51"/>
                </a:cxn>
                <a:cxn ang="0">
                  <a:pos x="96" y="47"/>
                </a:cxn>
                <a:cxn ang="0">
                  <a:pos x="92" y="47"/>
                </a:cxn>
                <a:cxn ang="0">
                  <a:pos x="88" y="47"/>
                </a:cxn>
                <a:cxn ang="0">
                  <a:pos x="84" y="47"/>
                </a:cxn>
                <a:cxn ang="0">
                  <a:pos x="80" y="43"/>
                </a:cxn>
                <a:cxn ang="0">
                  <a:pos x="76" y="47"/>
                </a:cxn>
                <a:cxn ang="0">
                  <a:pos x="72" y="47"/>
                </a:cxn>
                <a:cxn ang="0">
                  <a:pos x="64" y="47"/>
                </a:cxn>
                <a:cxn ang="0">
                  <a:pos x="60" y="47"/>
                </a:cxn>
                <a:cxn ang="0">
                  <a:pos x="56" y="51"/>
                </a:cxn>
                <a:cxn ang="0">
                  <a:pos x="52" y="51"/>
                </a:cxn>
                <a:cxn ang="0">
                  <a:pos x="52" y="47"/>
                </a:cxn>
                <a:cxn ang="0">
                  <a:pos x="44" y="43"/>
                </a:cxn>
                <a:cxn ang="0">
                  <a:pos x="40" y="39"/>
                </a:cxn>
              </a:cxnLst>
              <a:rect l="0" t="0" r="r" b="b"/>
              <a:pathLst>
                <a:path w="100" h="51">
                  <a:moveTo>
                    <a:pt x="40" y="39"/>
                  </a:moveTo>
                  <a:lnTo>
                    <a:pt x="40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4" y="31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3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6" y="31"/>
                  </a:lnTo>
                  <a:lnTo>
                    <a:pt x="96" y="31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6" y="43"/>
                  </a:lnTo>
                  <a:lnTo>
                    <a:pt x="96" y="43"/>
                  </a:lnTo>
                  <a:lnTo>
                    <a:pt x="100" y="43"/>
                  </a:lnTo>
                  <a:lnTo>
                    <a:pt x="100" y="43"/>
                  </a:lnTo>
                  <a:lnTo>
                    <a:pt x="100" y="43"/>
                  </a:lnTo>
                  <a:lnTo>
                    <a:pt x="100" y="47"/>
                  </a:lnTo>
                  <a:lnTo>
                    <a:pt x="100" y="47"/>
                  </a:lnTo>
                  <a:lnTo>
                    <a:pt x="100" y="47"/>
                  </a:lnTo>
                  <a:lnTo>
                    <a:pt x="100" y="47"/>
                  </a:lnTo>
                  <a:lnTo>
                    <a:pt x="100" y="51"/>
                  </a:lnTo>
                  <a:lnTo>
                    <a:pt x="100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76" y="43"/>
                  </a:lnTo>
                  <a:lnTo>
                    <a:pt x="76" y="43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68" y="47"/>
                  </a:lnTo>
                  <a:lnTo>
                    <a:pt x="68" y="47"/>
                  </a:lnTo>
                  <a:lnTo>
                    <a:pt x="68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0" y="47"/>
                  </a:lnTo>
                  <a:lnTo>
                    <a:pt x="60" y="47"/>
                  </a:lnTo>
                  <a:lnTo>
                    <a:pt x="60" y="47"/>
                  </a:lnTo>
                  <a:lnTo>
                    <a:pt x="56" y="47"/>
                  </a:lnTo>
                  <a:lnTo>
                    <a:pt x="56" y="47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48" y="47"/>
                  </a:lnTo>
                  <a:lnTo>
                    <a:pt x="48" y="47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4" y="39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3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" name="Freeform 16"/>
            <p:cNvSpPr>
              <a:spLocks noEditPoints="1"/>
            </p:cNvSpPr>
            <p:nvPr>
              <p:custDataLst>
                <p:tags r:id="rId211"/>
              </p:custDataLst>
            </p:nvPr>
          </p:nvSpPr>
          <p:spPr bwMode="gray">
            <a:xfrm>
              <a:off x="5908066" y="3597852"/>
              <a:ext cx="656997" cy="817168"/>
            </a:xfrm>
            <a:custGeom>
              <a:avLst/>
              <a:gdLst/>
              <a:ahLst/>
              <a:cxnLst>
                <a:cxn ang="0">
                  <a:pos x="32" y="220"/>
                </a:cxn>
                <a:cxn ang="0">
                  <a:pos x="36" y="196"/>
                </a:cxn>
                <a:cxn ang="0">
                  <a:pos x="28" y="160"/>
                </a:cxn>
                <a:cxn ang="0">
                  <a:pos x="56" y="148"/>
                </a:cxn>
                <a:cxn ang="0">
                  <a:pos x="88" y="104"/>
                </a:cxn>
                <a:cxn ang="0">
                  <a:pos x="99" y="72"/>
                </a:cxn>
                <a:cxn ang="0">
                  <a:pos x="88" y="40"/>
                </a:cxn>
                <a:cxn ang="0">
                  <a:pos x="103" y="20"/>
                </a:cxn>
                <a:cxn ang="0">
                  <a:pos x="139" y="8"/>
                </a:cxn>
                <a:cxn ang="0">
                  <a:pos x="163" y="24"/>
                </a:cxn>
                <a:cxn ang="0">
                  <a:pos x="167" y="64"/>
                </a:cxn>
                <a:cxn ang="0">
                  <a:pos x="159" y="84"/>
                </a:cxn>
                <a:cxn ang="0">
                  <a:pos x="195" y="108"/>
                </a:cxn>
                <a:cxn ang="0">
                  <a:pos x="187" y="140"/>
                </a:cxn>
                <a:cxn ang="0">
                  <a:pos x="227" y="160"/>
                </a:cxn>
                <a:cxn ang="0">
                  <a:pos x="255" y="176"/>
                </a:cxn>
                <a:cxn ang="0">
                  <a:pos x="291" y="180"/>
                </a:cxn>
                <a:cxn ang="0">
                  <a:pos x="303" y="152"/>
                </a:cxn>
                <a:cxn ang="0">
                  <a:pos x="331" y="176"/>
                </a:cxn>
                <a:cxn ang="0">
                  <a:pos x="363" y="164"/>
                </a:cxn>
                <a:cxn ang="0">
                  <a:pos x="379" y="140"/>
                </a:cxn>
                <a:cxn ang="0">
                  <a:pos x="415" y="124"/>
                </a:cxn>
                <a:cxn ang="0">
                  <a:pos x="427" y="144"/>
                </a:cxn>
                <a:cxn ang="0">
                  <a:pos x="435" y="164"/>
                </a:cxn>
                <a:cxn ang="0">
                  <a:pos x="403" y="196"/>
                </a:cxn>
                <a:cxn ang="0">
                  <a:pos x="379" y="228"/>
                </a:cxn>
                <a:cxn ang="0">
                  <a:pos x="379" y="260"/>
                </a:cxn>
                <a:cxn ang="0">
                  <a:pos x="367" y="240"/>
                </a:cxn>
                <a:cxn ang="0">
                  <a:pos x="351" y="244"/>
                </a:cxn>
                <a:cxn ang="0">
                  <a:pos x="367" y="212"/>
                </a:cxn>
                <a:cxn ang="0">
                  <a:pos x="327" y="196"/>
                </a:cxn>
                <a:cxn ang="0">
                  <a:pos x="311" y="180"/>
                </a:cxn>
                <a:cxn ang="0">
                  <a:pos x="315" y="204"/>
                </a:cxn>
                <a:cxn ang="0">
                  <a:pos x="307" y="220"/>
                </a:cxn>
                <a:cxn ang="0">
                  <a:pos x="315" y="268"/>
                </a:cxn>
                <a:cxn ang="0">
                  <a:pos x="307" y="276"/>
                </a:cxn>
                <a:cxn ang="0">
                  <a:pos x="299" y="260"/>
                </a:cxn>
                <a:cxn ang="0">
                  <a:pos x="279" y="295"/>
                </a:cxn>
                <a:cxn ang="0">
                  <a:pos x="259" y="307"/>
                </a:cxn>
                <a:cxn ang="0">
                  <a:pos x="239" y="335"/>
                </a:cxn>
                <a:cxn ang="0">
                  <a:pos x="215" y="363"/>
                </a:cxn>
                <a:cxn ang="0">
                  <a:pos x="191" y="379"/>
                </a:cxn>
                <a:cxn ang="0">
                  <a:pos x="179" y="423"/>
                </a:cxn>
                <a:cxn ang="0">
                  <a:pos x="175" y="455"/>
                </a:cxn>
                <a:cxn ang="0">
                  <a:pos x="163" y="491"/>
                </a:cxn>
                <a:cxn ang="0">
                  <a:pos x="139" y="523"/>
                </a:cxn>
                <a:cxn ang="0">
                  <a:pos x="119" y="491"/>
                </a:cxn>
                <a:cxn ang="0">
                  <a:pos x="111" y="459"/>
                </a:cxn>
                <a:cxn ang="0">
                  <a:pos x="92" y="411"/>
                </a:cxn>
                <a:cxn ang="0">
                  <a:pos x="80" y="383"/>
                </a:cxn>
                <a:cxn ang="0">
                  <a:pos x="72" y="331"/>
                </a:cxn>
                <a:cxn ang="0">
                  <a:pos x="68" y="307"/>
                </a:cxn>
                <a:cxn ang="0">
                  <a:pos x="68" y="272"/>
                </a:cxn>
                <a:cxn ang="0">
                  <a:pos x="68" y="260"/>
                </a:cxn>
                <a:cxn ang="0">
                  <a:pos x="56" y="284"/>
                </a:cxn>
                <a:cxn ang="0">
                  <a:pos x="12" y="264"/>
                </a:cxn>
                <a:cxn ang="0">
                  <a:pos x="36" y="244"/>
                </a:cxn>
                <a:cxn ang="0">
                  <a:pos x="8" y="232"/>
                </a:cxn>
                <a:cxn ang="0">
                  <a:pos x="367" y="463"/>
                </a:cxn>
                <a:cxn ang="0">
                  <a:pos x="387" y="539"/>
                </a:cxn>
                <a:cxn ang="0">
                  <a:pos x="371" y="435"/>
                </a:cxn>
                <a:cxn ang="0">
                  <a:pos x="371" y="459"/>
                </a:cxn>
                <a:cxn ang="0">
                  <a:pos x="367" y="475"/>
                </a:cxn>
              </a:cxnLst>
              <a:rect l="0" t="0" r="r" b="b"/>
              <a:pathLst>
                <a:path w="443" h="551">
                  <a:moveTo>
                    <a:pt x="0" y="232"/>
                  </a:moveTo>
                  <a:lnTo>
                    <a:pt x="0" y="228"/>
                  </a:lnTo>
                  <a:lnTo>
                    <a:pt x="4" y="228"/>
                  </a:lnTo>
                  <a:lnTo>
                    <a:pt x="8" y="228"/>
                  </a:lnTo>
                  <a:lnTo>
                    <a:pt x="8" y="224"/>
                  </a:lnTo>
                  <a:lnTo>
                    <a:pt x="8" y="220"/>
                  </a:lnTo>
                  <a:lnTo>
                    <a:pt x="12" y="220"/>
                  </a:lnTo>
                  <a:lnTo>
                    <a:pt x="12" y="224"/>
                  </a:lnTo>
                  <a:lnTo>
                    <a:pt x="16" y="224"/>
                  </a:lnTo>
                  <a:lnTo>
                    <a:pt x="20" y="224"/>
                  </a:lnTo>
                  <a:lnTo>
                    <a:pt x="24" y="224"/>
                  </a:lnTo>
                  <a:lnTo>
                    <a:pt x="28" y="224"/>
                  </a:lnTo>
                  <a:lnTo>
                    <a:pt x="28" y="220"/>
                  </a:lnTo>
                  <a:lnTo>
                    <a:pt x="32" y="220"/>
                  </a:lnTo>
                  <a:lnTo>
                    <a:pt x="36" y="220"/>
                  </a:lnTo>
                  <a:lnTo>
                    <a:pt x="36" y="224"/>
                  </a:lnTo>
                  <a:lnTo>
                    <a:pt x="40" y="224"/>
                  </a:lnTo>
                  <a:lnTo>
                    <a:pt x="40" y="220"/>
                  </a:lnTo>
                  <a:lnTo>
                    <a:pt x="44" y="220"/>
                  </a:lnTo>
                  <a:lnTo>
                    <a:pt x="40" y="220"/>
                  </a:lnTo>
                  <a:lnTo>
                    <a:pt x="40" y="216"/>
                  </a:lnTo>
                  <a:lnTo>
                    <a:pt x="44" y="216"/>
                  </a:lnTo>
                  <a:lnTo>
                    <a:pt x="40" y="212"/>
                  </a:lnTo>
                  <a:lnTo>
                    <a:pt x="40" y="208"/>
                  </a:lnTo>
                  <a:lnTo>
                    <a:pt x="40" y="204"/>
                  </a:lnTo>
                  <a:lnTo>
                    <a:pt x="36" y="204"/>
                  </a:lnTo>
                  <a:lnTo>
                    <a:pt x="36" y="200"/>
                  </a:lnTo>
                  <a:lnTo>
                    <a:pt x="36" y="196"/>
                  </a:lnTo>
                  <a:lnTo>
                    <a:pt x="32" y="196"/>
                  </a:lnTo>
                  <a:lnTo>
                    <a:pt x="28" y="192"/>
                  </a:lnTo>
                  <a:lnTo>
                    <a:pt x="28" y="188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8" y="176"/>
                  </a:lnTo>
                  <a:lnTo>
                    <a:pt x="24" y="176"/>
                  </a:lnTo>
                  <a:lnTo>
                    <a:pt x="20" y="176"/>
                  </a:lnTo>
                  <a:lnTo>
                    <a:pt x="20" y="172"/>
                  </a:lnTo>
                  <a:lnTo>
                    <a:pt x="20" y="168"/>
                  </a:lnTo>
                  <a:lnTo>
                    <a:pt x="20" y="164"/>
                  </a:lnTo>
                  <a:lnTo>
                    <a:pt x="24" y="164"/>
                  </a:lnTo>
                  <a:lnTo>
                    <a:pt x="24" y="160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8" y="152"/>
                  </a:lnTo>
                  <a:lnTo>
                    <a:pt x="32" y="152"/>
                  </a:lnTo>
                  <a:lnTo>
                    <a:pt x="32" y="148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36" y="156"/>
                  </a:lnTo>
                  <a:lnTo>
                    <a:pt x="40" y="156"/>
                  </a:lnTo>
                  <a:lnTo>
                    <a:pt x="44" y="156"/>
                  </a:lnTo>
                  <a:lnTo>
                    <a:pt x="44" y="152"/>
                  </a:lnTo>
                  <a:lnTo>
                    <a:pt x="48" y="152"/>
                  </a:lnTo>
                  <a:lnTo>
                    <a:pt x="52" y="152"/>
                  </a:lnTo>
                  <a:lnTo>
                    <a:pt x="56" y="152"/>
                  </a:lnTo>
                  <a:lnTo>
                    <a:pt x="56" y="148"/>
                  </a:lnTo>
                  <a:lnTo>
                    <a:pt x="60" y="144"/>
                  </a:lnTo>
                  <a:lnTo>
                    <a:pt x="60" y="140"/>
                  </a:lnTo>
                  <a:lnTo>
                    <a:pt x="60" y="136"/>
                  </a:lnTo>
                  <a:lnTo>
                    <a:pt x="64" y="136"/>
                  </a:lnTo>
                  <a:lnTo>
                    <a:pt x="64" y="132"/>
                  </a:lnTo>
                  <a:lnTo>
                    <a:pt x="68" y="132"/>
                  </a:lnTo>
                  <a:lnTo>
                    <a:pt x="72" y="132"/>
                  </a:lnTo>
                  <a:lnTo>
                    <a:pt x="72" y="128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80" y="112"/>
                  </a:lnTo>
                  <a:lnTo>
                    <a:pt x="84" y="112"/>
                  </a:lnTo>
                  <a:lnTo>
                    <a:pt x="88" y="108"/>
                  </a:lnTo>
                  <a:lnTo>
                    <a:pt x="88" y="104"/>
                  </a:lnTo>
                  <a:lnTo>
                    <a:pt x="84" y="104"/>
                  </a:lnTo>
                  <a:lnTo>
                    <a:pt x="88" y="100"/>
                  </a:lnTo>
                  <a:lnTo>
                    <a:pt x="92" y="96"/>
                  </a:lnTo>
                  <a:lnTo>
                    <a:pt x="92" y="92"/>
                  </a:lnTo>
                  <a:lnTo>
                    <a:pt x="96" y="92"/>
                  </a:lnTo>
                  <a:lnTo>
                    <a:pt x="99" y="88"/>
                  </a:lnTo>
                  <a:lnTo>
                    <a:pt x="96" y="88"/>
                  </a:lnTo>
                  <a:lnTo>
                    <a:pt x="96" y="92"/>
                  </a:lnTo>
                  <a:lnTo>
                    <a:pt x="96" y="88"/>
                  </a:lnTo>
                  <a:lnTo>
                    <a:pt x="96" y="84"/>
                  </a:lnTo>
                  <a:lnTo>
                    <a:pt x="96" y="80"/>
                  </a:lnTo>
                  <a:lnTo>
                    <a:pt x="96" y="76"/>
                  </a:lnTo>
                  <a:lnTo>
                    <a:pt x="96" y="72"/>
                  </a:lnTo>
                  <a:lnTo>
                    <a:pt x="99" y="72"/>
                  </a:lnTo>
                  <a:lnTo>
                    <a:pt x="103" y="72"/>
                  </a:lnTo>
                  <a:lnTo>
                    <a:pt x="107" y="72"/>
                  </a:lnTo>
                  <a:lnTo>
                    <a:pt x="107" y="68"/>
                  </a:lnTo>
                  <a:lnTo>
                    <a:pt x="107" y="64"/>
                  </a:lnTo>
                  <a:lnTo>
                    <a:pt x="103" y="64"/>
                  </a:lnTo>
                  <a:lnTo>
                    <a:pt x="99" y="64"/>
                  </a:lnTo>
                  <a:lnTo>
                    <a:pt x="96" y="60"/>
                  </a:lnTo>
                  <a:lnTo>
                    <a:pt x="96" y="56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88" y="48"/>
                  </a:lnTo>
                  <a:lnTo>
                    <a:pt x="88" y="44"/>
                  </a:lnTo>
                  <a:lnTo>
                    <a:pt x="92" y="40"/>
                  </a:lnTo>
                  <a:lnTo>
                    <a:pt x="88" y="40"/>
                  </a:lnTo>
                  <a:lnTo>
                    <a:pt x="88" y="36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8" y="28"/>
                  </a:lnTo>
                  <a:lnTo>
                    <a:pt x="88" y="24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92" y="16"/>
                  </a:lnTo>
                  <a:lnTo>
                    <a:pt x="96" y="16"/>
                  </a:lnTo>
                  <a:lnTo>
                    <a:pt x="96" y="20"/>
                  </a:lnTo>
                  <a:lnTo>
                    <a:pt x="103" y="20"/>
                  </a:lnTo>
                  <a:lnTo>
                    <a:pt x="107" y="20"/>
                  </a:lnTo>
                  <a:lnTo>
                    <a:pt x="111" y="20"/>
                  </a:lnTo>
                  <a:lnTo>
                    <a:pt x="111" y="24"/>
                  </a:lnTo>
                  <a:lnTo>
                    <a:pt x="115" y="20"/>
                  </a:lnTo>
                  <a:lnTo>
                    <a:pt x="119" y="20"/>
                  </a:lnTo>
                  <a:lnTo>
                    <a:pt x="123" y="16"/>
                  </a:lnTo>
                  <a:lnTo>
                    <a:pt x="127" y="16"/>
                  </a:lnTo>
                  <a:lnTo>
                    <a:pt x="127" y="20"/>
                  </a:lnTo>
                  <a:lnTo>
                    <a:pt x="131" y="20"/>
                  </a:lnTo>
                  <a:lnTo>
                    <a:pt x="131" y="16"/>
                  </a:lnTo>
                  <a:lnTo>
                    <a:pt x="131" y="12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39" y="4"/>
                  </a:lnTo>
                  <a:lnTo>
                    <a:pt x="143" y="4"/>
                  </a:lnTo>
                  <a:lnTo>
                    <a:pt x="143" y="0"/>
                  </a:lnTo>
                  <a:lnTo>
                    <a:pt x="143" y="4"/>
                  </a:lnTo>
                  <a:lnTo>
                    <a:pt x="147" y="4"/>
                  </a:lnTo>
                  <a:lnTo>
                    <a:pt x="147" y="0"/>
                  </a:lnTo>
                  <a:lnTo>
                    <a:pt x="147" y="4"/>
                  </a:lnTo>
                  <a:lnTo>
                    <a:pt x="147" y="8"/>
                  </a:lnTo>
                  <a:lnTo>
                    <a:pt x="151" y="12"/>
                  </a:lnTo>
                  <a:lnTo>
                    <a:pt x="151" y="16"/>
                  </a:lnTo>
                  <a:lnTo>
                    <a:pt x="151" y="20"/>
                  </a:lnTo>
                  <a:lnTo>
                    <a:pt x="155" y="20"/>
                  </a:lnTo>
                  <a:lnTo>
                    <a:pt x="159" y="20"/>
                  </a:lnTo>
                  <a:lnTo>
                    <a:pt x="163" y="24"/>
                  </a:lnTo>
                  <a:lnTo>
                    <a:pt x="163" y="28"/>
                  </a:lnTo>
                  <a:lnTo>
                    <a:pt x="159" y="28"/>
                  </a:lnTo>
                  <a:lnTo>
                    <a:pt x="159" y="32"/>
                  </a:lnTo>
                  <a:lnTo>
                    <a:pt x="159" y="36"/>
                  </a:lnTo>
                  <a:lnTo>
                    <a:pt x="159" y="40"/>
                  </a:lnTo>
                  <a:lnTo>
                    <a:pt x="159" y="44"/>
                  </a:lnTo>
                  <a:lnTo>
                    <a:pt x="163" y="44"/>
                  </a:lnTo>
                  <a:lnTo>
                    <a:pt x="163" y="48"/>
                  </a:lnTo>
                  <a:lnTo>
                    <a:pt x="167" y="48"/>
                  </a:lnTo>
                  <a:lnTo>
                    <a:pt x="167" y="52"/>
                  </a:lnTo>
                  <a:lnTo>
                    <a:pt x="167" y="56"/>
                  </a:lnTo>
                  <a:lnTo>
                    <a:pt x="171" y="56"/>
                  </a:lnTo>
                  <a:lnTo>
                    <a:pt x="171" y="60"/>
                  </a:lnTo>
                  <a:lnTo>
                    <a:pt x="167" y="64"/>
                  </a:lnTo>
                  <a:lnTo>
                    <a:pt x="167" y="60"/>
                  </a:lnTo>
                  <a:lnTo>
                    <a:pt x="163" y="64"/>
                  </a:lnTo>
                  <a:lnTo>
                    <a:pt x="159" y="64"/>
                  </a:lnTo>
                  <a:lnTo>
                    <a:pt x="159" y="60"/>
                  </a:lnTo>
                  <a:lnTo>
                    <a:pt x="155" y="60"/>
                  </a:lnTo>
                  <a:lnTo>
                    <a:pt x="155" y="64"/>
                  </a:lnTo>
                  <a:lnTo>
                    <a:pt x="155" y="68"/>
                  </a:lnTo>
                  <a:lnTo>
                    <a:pt x="155" y="72"/>
                  </a:lnTo>
                  <a:lnTo>
                    <a:pt x="159" y="72"/>
                  </a:lnTo>
                  <a:lnTo>
                    <a:pt x="159" y="76"/>
                  </a:lnTo>
                  <a:lnTo>
                    <a:pt x="159" y="80"/>
                  </a:lnTo>
                  <a:lnTo>
                    <a:pt x="159" y="84"/>
                  </a:lnTo>
                  <a:lnTo>
                    <a:pt x="159" y="88"/>
                  </a:lnTo>
                  <a:lnTo>
                    <a:pt x="159" y="84"/>
                  </a:lnTo>
                  <a:lnTo>
                    <a:pt x="163" y="84"/>
                  </a:lnTo>
                  <a:lnTo>
                    <a:pt x="167" y="84"/>
                  </a:lnTo>
                  <a:lnTo>
                    <a:pt x="167" y="88"/>
                  </a:lnTo>
                  <a:lnTo>
                    <a:pt x="167" y="92"/>
                  </a:lnTo>
                  <a:lnTo>
                    <a:pt x="171" y="92"/>
                  </a:lnTo>
                  <a:lnTo>
                    <a:pt x="175" y="92"/>
                  </a:lnTo>
                  <a:lnTo>
                    <a:pt x="179" y="96"/>
                  </a:lnTo>
                  <a:lnTo>
                    <a:pt x="183" y="96"/>
                  </a:lnTo>
                  <a:lnTo>
                    <a:pt x="179" y="100"/>
                  </a:lnTo>
                  <a:lnTo>
                    <a:pt x="183" y="100"/>
                  </a:lnTo>
                  <a:lnTo>
                    <a:pt x="187" y="104"/>
                  </a:lnTo>
                  <a:lnTo>
                    <a:pt x="191" y="104"/>
                  </a:lnTo>
                  <a:lnTo>
                    <a:pt x="191" y="108"/>
                  </a:lnTo>
                  <a:lnTo>
                    <a:pt x="195" y="108"/>
                  </a:lnTo>
                  <a:lnTo>
                    <a:pt x="191" y="108"/>
                  </a:lnTo>
                  <a:lnTo>
                    <a:pt x="187" y="112"/>
                  </a:lnTo>
                  <a:lnTo>
                    <a:pt x="187" y="116"/>
                  </a:lnTo>
                  <a:lnTo>
                    <a:pt x="183" y="116"/>
                  </a:lnTo>
                  <a:lnTo>
                    <a:pt x="183" y="120"/>
                  </a:lnTo>
                  <a:lnTo>
                    <a:pt x="179" y="124"/>
                  </a:lnTo>
                  <a:lnTo>
                    <a:pt x="183" y="124"/>
                  </a:lnTo>
                  <a:lnTo>
                    <a:pt x="183" y="128"/>
                  </a:lnTo>
                  <a:lnTo>
                    <a:pt x="179" y="128"/>
                  </a:lnTo>
                  <a:lnTo>
                    <a:pt x="179" y="132"/>
                  </a:lnTo>
                  <a:lnTo>
                    <a:pt x="179" y="136"/>
                  </a:lnTo>
                  <a:lnTo>
                    <a:pt x="183" y="136"/>
                  </a:lnTo>
                  <a:lnTo>
                    <a:pt x="183" y="140"/>
                  </a:lnTo>
                  <a:lnTo>
                    <a:pt x="187" y="140"/>
                  </a:lnTo>
                  <a:lnTo>
                    <a:pt x="187" y="136"/>
                  </a:lnTo>
                  <a:lnTo>
                    <a:pt x="187" y="140"/>
                  </a:lnTo>
                  <a:lnTo>
                    <a:pt x="191" y="140"/>
                  </a:lnTo>
                  <a:lnTo>
                    <a:pt x="195" y="144"/>
                  </a:lnTo>
                  <a:lnTo>
                    <a:pt x="199" y="148"/>
                  </a:lnTo>
                  <a:lnTo>
                    <a:pt x="203" y="152"/>
                  </a:lnTo>
                  <a:lnTo>
                    <a:pt x="207" y="152"/>
                  </a:lnTo>
                  <a:lnTo>
                    <a:pt x="211" y="152"/>
                  </a:lnTo>
                  <a:lnTo>
                    <a:pt x="211" y="156"/>
                  </a:lnTo>
                  <a:lnTo>
                    <a:pt x="215" y="156"/>
                  </a:lnTo>
                  <a:lnTo>
                    <a:pt x="219" y="156"/>
                  </a:lnTo>
                  <a:lnTo>
                    <a:pt x="219" y="160"/>
                  </a:lnTo>
                  <a:lnTo>
                    <a:pt x="223" y="160"/>
                  </a:lnTo>
                  <a:lnTo>
                    <a:pt x="227" y="160"/>
                  </a:lnTo>
                  <a:lnTo>
                    <a:pt x="227" y="164"/>
                  </a:lnTo>
                  <a:lnTo>
                    <a:pt x="227" y="160"/>
                  </a:lnTo>
                  <a:lnTo>
                    <a:pt x="231" y="160"/>
                  </a:lnTo>
                  <a:lnTo>
                    <a:pt x="235" y="160"/>
                  </a:lnTo>
                  <a:lnTo>
                    <a:pt x="235" y="164"/>
                  </a:lnTo>
                  <a:lnTo>
                    <a:pt x="235" y="160"/>
                  </a:lnTo>
                  <a:lnTo>
                    <a:pt x="239" y="160"/>
                  </a:lnTo>
                  <a:lnTo>
                    <a:pt x="243" y="164"/>
                  </a:lnTo>
                  <a:lnTo>
                    <a:pt x="247" y="164"/>
                  </a:lnTo>
                  <a:lnTo>
                    <a:pt x="247" y="168"/>
                  </a:lnTo>
                  <a:lnTo>
                    <a:pt x="251" y="168"/>
                  </a:lnTo>
                  <a:lnTo>
                    <a:pt x="251" y="172"/>
                  </a:lnTo>
                  <a:lnTo>
                    <a:pt x="255" y="172"/>
                  </a:lnTo>
                  <a:lnTo>
                    <a:pt x="255" y="176"/>
                  </a:lnTo>
                  <a:lnTo>
                    <a:pt x="259" y="176"/>
                  </a:lnTo>
                  <a:lnTo>
                    <a:pt x="259" y="172"/>
                  </a:lnTo>
                  <a:lnTo>
                    <a:pt x="263" y="172"/>
                  </a:lnTo>
                  <a:lnTo>
                    <a:pt x="263" y="176"/>
                  </a:lnTo>
                  <a:lnTo>
                    <a:pt x="267" y="180"/>
                  </a:lnTo>
                  <a:lnTo>
                    <a:pt x="267" y="176"/>
                  </a:lnTo>
                  <a:lnTo>
                    <a:pt x="271" y="176"/>
                  </a:lnTo>
                  <a:lnTo>
                    <a:pt x="275" y="176"/>
                  </a:lnTo>
                  <a:lnTo>
                    <a:pt x="275" y="180"/>
                  </a:lnTo>
                  <a:lnTo>
                    <a:pt x="279" y="180"/>
                  </a:lnTo>
                  <a:lnTo>
                    <a:pt x="283" y="180"/>
                  </a:lnTo>
                  <a:lnTo>
                    <a:pt x="287" y="180"/>
                  </a:lnTo>
                  <a:lnTo>
                    <a:pt x="287" y="184"/>
                  </a:lnTo>
                  <a:lnTo>
                    <a:pt x="291" y="180"/>
                  </a:lnTo>
                  <a:lnTo>
                    <a:pt x="295" y="180"/>
                  </a:lnTo>
                  <a:lnTo>
                    <a:pt x="299" y="180"/>
                  </a:lnTo>
                  <a:lnTo>
                    <a:pt x="299" y="184"/>
                  </a:lnTo>
                  <a:lnTo>
                    <a:pt x="299" y="180"/>
                  </a:lnTo>
                  <a:lnTo>
                    <a:pt x="303" y="176"/>
                  </a:lnTo>
                  <a:lnTo>
                    <a:pt x="303" y="172"/>
                  </a:lnTo>
                  <a:lnTo>
                    <a:pt x="299" y="172"/>
                  </a:lnTo>
                  <a:lnTo>
                    <a:pt x="299" y="168"/>
                  </a:lnTo>
                  <a:lnTo>
                    <a:pt x="299" y="164"/>
                  </a:lnTo>
                  <a:lnTo>
                    <a:pt x="299" y="160"/>
                  </a:lnTo>
                  <a:lnTo>
                    <a:pt x="303" y="156"/>
                  </a:lnTo>
                  <a:lnTo>
                    <a:pt x="303" y="152"/>
                  </a:lnTo>
                  <a:lnTo>
                    <a:pt x="299" y="152"/>
                  </a:lnTo>
                  <a:lnTo>
                    <a:pt x="303" y="152"/>
                  </a:lnTo>
                  <a:lnTo>
                    <a:pt x="307" y="148"/>
                  </a:lnTo>
                  <a:lnTo>
                    <a:pt x="311" y="148"/>
                  </a:lnTo>
                  <a:lnTo>
                    <a:pt x="311" y="152"/>
                  </a:lnTo>
                  <a:lnTo>
                    <a:pt x="311" y="156"/>
                  </a:lnTo>
                  <a:lnTo>
                    <a:pt x="311" y="160"/>
                  </a:lnTo>
                  <a:lnTo>
                    <a:pt x="311" y="164"/>
                  </a:lnTo>
                  <a:lnTo>
                    <a:pt x="311" y="168"/>
                  </a:lnTo>
                  <a:lnTo>
                    <a:pt x="311" y="172"/>
                  </a:lnTo>
                  <a:lnTo>
                    <a:pt x="315" y="172"/>
                  </a:lnTo>
                  <a:lnTo>
                    <a:pt x="319" y="172"/>
                  </a:lnTo>
                  <a:lnTo>
                    <a:pt x="323" y="172"/>
                  </a:lnTo>
                  <a:lnTo>
                    <a:pt x="323" y="176"/>
                  </a:lnTo>
                  <a:lnTo>
                    <a:pt x="327" y="176"/>
                  </a:lnTo>
                  <a:lnTo>
                    <a:pt x="331" y="176"/>
                  </a:lnTo>
                  <a:lnTo>
                    <a:pt x="331" y="172"/>
                  </a:lnTo>
                  <a:lnTo>
                    <a:pt x="335" y="172"/>
                  </a:lnTo>
                  <a:lnTo>
                    <a:pt x="339" y="172"/>
                  </a:lnTo>
                  <a:lnTo>
                    <a:pt x="339" y="176"/>
                  </a:lnTo>
                  <a:lnTo>
                    <a:pt x="343" y="176"/>
                  </a:lnTo>
                  <a:lnTo>
                    <a:pt x="347" y="172"/>
                  </a:lnTo>
                  <a:lnTo>
                    <a:pt x="347" y="176"/>
                  </a:lnTo>
                  <a:lnTo>
                    <a:pt x="351" y="176"/>
                  </a:lnTo>
                  <a:lnTo>
                    <a:pt x="351" y="172"/>
                  </a:lnTo>
                  <a:lnTo>
                    <a:pt x="355" y="172"/>
                  </a:lnTo>
                  <a:lnTo>
                    <a:pt x="359" y="172"/>
                  </a:lnTo>
                  <a:lnTo>
                    <a:pt x="363" y="172"/>
                  </a:lnTo>
                  <a:lnTo>
                    <a:pt x="359" y="168"/>
                  </a:lnTo>
                  <a:lnTo>
                    <a:pt x="363" y="164"/>
                  </a:lnTo>
                  <a:lnTo>
                    <a:pt x="359" y="164"/>
                  </a:lnTo>
                  <a:lnTo>
                    <a:pt x="359" y="160"/>
                  </a:lnTo>
                  <a:lnTo>
                    <a:pt x="355" y="160"/>
                  </a:lnTo>
                  <a:lnTo>
                    <a:pt x="355" y="156"/>
                  </a:lnTo>
                  <a:lnTo>
                    <a:pt x="359" y="156"/>
                  </a:lnTo>
                  <a:lnTo>
                    <a:pt x="363" y="156"/>
                  </a:lnTo>
                  <a:lnTo>
                    <a:pt x="363" y="152"/>
                  </a:lnTo>
                  <a:lnTo>
                    <a:pt x="363" y="156"/>
                  </a:lnTo>
                  <a:lnTo>
                    <a:pt x="367" y="152"/>
                  </a:lnTo>
                  <a:lnTo>
                    <a:pt x="371" y="152"/>
                  </a:lnTo>
                  <a:lnTo>
                    <a:pt x="371" y="148"/>
                  </a:lnTo>
                  <a:lnTo>
                    <a:pt x="375" y="144"/>
                  </a:lnTo>
                  <a:lnTo>
                    <a:pt x="379" y="144"/>
                  </a:lnTo>
                  <a:lnTo>
                    <a:pt x="379" y="140"/>
                  </a:lnTo>
                  <a:lnTo>
                    <a:pt x="383" y="136"/>
                  </a:lnTo>
                  <a:lnTo>
                    <a:pt x="387" y="136"/>
                  </a:lnTo>
                  <a:lnTo>
                    <a:pt x="391" y="136"/>
                  </a:lnTo>
                  <a:lnTo>
                    <a:pt x="391" y="132"/>
                  </a:lnTo>
                  <a:lnTo>
                    <a:pt x="395" y="128"/>
                  </a:lnTo>
                  <a:lnTo>
                    <a:pt x="399" y="128"/>
                  </a:lnTo>
                  <a:lnTo>
                    <a:pt x="399" y="124"/>
                  </a:lnTo>
                  <a:lnTo>
                    <a:pt x="403" y="124"/>
                  </a:lnTo>
                  <a:lnTo>
                    <a:pt x="403" y="128"/>
                  </a:lnTo>
                  <a:lnTo>
                    <a:pt x="407" y="128"/>
                  </a:lnTo>
                  <a:lnTo>
                    <a:pt x="411" y="132"/>
                  </a:lnTo>
                  <a:lnTo>
                    <a:pt x="411" y="128"/>
                  </a:lnTo>
                  <a:lnTo>
                    <a:pt x="415" y="128"/>
                  </a:lnTo>
                  <a:lnTo>
                    <a:pt x="415" y="124"/>
                  </a:lnTo>
                  <a:lnTo>
                    <a:pt x="419" y="124"/>
                  </a:lnTo>
                  <a:lnTo>
                    <a:pt x="423" y="120"/>
                  </a:lnTo>
                  <a:lnTo>
                    <a:pt x="423" y="124"/>
                  </a:lnTo>
                  <a:lnTo>
                    <a:pt x="423" y="128"/>
                  </a:lnTo>
                  <a:lnTo>
                    <a:pt x="427" y="124"/>
                  </a:lnTo>
                  <a:lnTo>
                    <a:pt x="427" y="128"/>
                  </a:lnTo>
                  <a:lnTo>
                    <a:pt x="423" y="128"/>
                  </a:lnTo>
                  <a:lnTo>
                    <a:pt x="423" y="132"/>
                  </a:lnTo>
                  <a:lnTo>
                    <a:pt x="427" y="132"/>
                  </a:lnTo>
                  <a:lnTo>
                    <a:pt x="427" y="128"/>
                  </a:lnTo>
                  <a:lnTo>
                    <a:pt x="427" y="132"/>
                  </a:lnTo>
                  <a:lnTo>
                    <a:pt x="431" y="136"/>
                  </a:lnTo>
                  <a:lnTo>
                    <a:pt x="427" y="140"/>
                  </a:lnTo>
                  <a:lnTo>
                    <a:pt x="427" y="144"/>
                  </a:lnTo>
                  <a:lnTo>
                    <a:pt x="431" y="140"/>
                  </a:lnTo>
                  <a:lnTo>
                    <a:pt x="431" y="144"/>
                  </a:lnTo>
                  <a:lnTo>
                    <a:pt x="435" y="144"/>
                  </a:lnTo>
                  <a:lnTo>
                    <a:pt x="439" y="144"/>
                  </a:lnTo>
                  <a:lnTo>
                    <a:pt x="439" y="148"/>
                  </a:lnTo>
                  <a:lnTo>
                    <a:pt x="443" y="152"/>
                  </a:lnTo>
                  <a:lnTo>
                    <a:pt x="439" y="152"/>
                  </a:lnTo>
                  <a:lnTo>
                    <a:pt x="439" y="156"/>
                  </a:lnTo>
                  <a:lnTo>
                    <a:pt x="435" y="156"/>
                  </a:lnTo>
                  <a:lnTo>
                    <a:pt x="435" y="160"/>
                  </a:lnTo>
                  <a:lnTo>
                    <a:pt x="435" y="164"/>
                  </a:lnTo>
                  <a:lnTo>
                    <a:pt x="439" y="168"/>
                  </a:lnTo>
                  <a:lnTo>
                    <a:pt x="435" y="168"/>
                  </a:lnTo>
                  <a:lnTo>
                    <a:pt x="435" y="164"/>
                  </a:lnTo>
                  <a:lnTo>
                    <a:pt x="431" y="164"/>
                  </a:lnTo>
                  <a:lnTo>
                    <a:pt x="427" y="164"/>
                  </a:lnTo>
                  <a:lnTo>
                    <a:pt x="423" y="164"/>
                  </a:lnTo>
                  <a:lnTo>
                    <a:pt x="419" y="168"/>
                  </a:lnTo>
                  <a:lnTo>
                    <a:pt x="415" y="172"/>
                  </a:lnTo>
                  <a:lnTo>
                    <a:pt x="411" y="172"/>
                  </a:lnTo>
                  <a:lnTo>
                    <a:pt x="411" y="176"/>
                  </a:lnTo>
                  <a:lnTo>
                    <a:pt x="407" y="176"/>
                  </a:lnTo>
                  <a:lnTo>
                    <a:pt x="407" y="180"/>
                  </a:lnTo>
                  <a:lnTo>
                    <a:pt x="407" y="184"/>
                  </a:lnTo>
                  <a:lnTo>
                    <a:pt x="407" y="188"/>
                  </a:lnTo>
                  <a:lnTo>
                    <a:pt x="407" y="192"/>
                  </a:lnTo>
                  <a:lnTo>
                    <a:pt x="407" y="196"/>
                  </a:lnTo>
                  <a:lnTo>
                    <a:pt x="403" y="196"/>
                  </a:lnTo>
                  <a:lnTo>
                    <a:pt x="403" y="200"/>
                  </a:lnTo>
                  <a:lnTo>
                    <a:pt x="399" y="200"/>
                  </a:lnTo>
                  <a:lnTo>
                    <a:pt x="399" y="204"/>
                  </a:lnTo>
                  <a:lnTo>
                    <a:pt x="403" y="208"/>
                  </a:lnTo>
                  <a:lnTo>
                    <a:pt x="399" y="212"/>
                  </a:lnTo>
                  <a:lnTo>
                    <a:pt x="399" y="216"/>
                  </a:lnTo>
                  <a:lnTo>
                    <a:pt x="395" y="220"/>
                  </a:lnTo>
                  <a:lnTo>
                    <a:pt x="395" y="224"/>
                  </a:lnTo>
                  <a:lnTo>
                    <a:pt x="395" y="228"/>
                  </a:lnTo>
                  <a:lnTo>
                    <a:pt x="391" y="232"/>
                  </a:lnTo>
                  <a:lnTo>
                    <a:pt x="391" y="228"/>
                  </a:lnTo>
                  <a:lnTo>
                    <a:pt x="387" y="228"/>
                  </a:lnTo>
                  <a:lnTo>
                    <a:pt x="383" y="228"/>
                  </a:lnTo>
                  <a:lnTo>
                    <a:pt x="379" y="228"/>
                  </a:lnTo>
                  <a:lnTo>
                    <a:pt x="379" y="224"/>
                  </a:lnTo>
                  <a:lnTo>
                    <a:pt x="379" y="228"/>
                  </a:lnTo>
                  <a:lnTo>
                    <a:pt x="379" y="232"/>
                  </a:lnTo>
                  <a:lnTo>
                    <a:pt x="383" y="236"/>
                  </a:lnTo>
                  <a:lnTo>
                    <a:pt x="379" y="240"/>
                  </a:lnTo>
                  <a:lnTo>
                    <a:pt x="379" y="244"/>
                  </a:lnTo>
                  <a:lnTo>
                    <a:pt x="379" y="248"/>
                  </a:lnTo>
                  <a:lnTo>
                    <a:pt x="379" y="244"/>
                  </a:lnTo>
                  <a:lnTo>
                    <a:pt x="375" y="244"/>
                  </a:lnTo>
                  <a:lnTo>
                    <a:pt x="375" y="248"/>
                  </a:lnTo>
                  <a:lnTo>
                    <a:pt x="375" y="252"/>
                  </a:lnTo>
                  <a:lnTo>
                    <a:pt x="375" y="256"/>
                  </a:lnTo>
                  <a:lnTo>
                    <a:pt x="379" y="256"/>
                  </a:lnTo>
                  <a:lnTo>
                    <a:pt x="379" y="260"/>
                  </a:lnTo>
                  <a:lnTo>
                    <a:pt x="379" y="264"/>
                  </a:lnTo>
                  <a:lnTo>
                    <a:pt x="375" y="264"/>
                  </a:lnTo>
                  <a:lnTo>
                    <a:pt x="375" y="260"/>
                  </a:lnTo>
                  <a:lnTo>
                    <a:pt x="375" y="264"/>
                  </a:lnTo>
                  <a:lnTo>
                    <a:pt x="371" y="264"/>
                  </a:lnTo>
                  <a:lnTo>
                    <a:pt x="367" y="268"/>
                  </a:lnTo>
                  <a:lnTo>
                    <a:pt x="367" y="264"/>
                  </a:lnTo>
                  <a:lnTo>
                    <a:pt x="367" y="260"/>
                  </a:lnTo>
                  <a:lnTo>
                    <a:pt x="367" y="256"/>
                  </a:lnTo>
                  <a:lnTo>
                    <a:pt x="367" y="252"/>
                  </a:lnTo>
                  <a:lnTo>
                    <a:pt x="367" y="248"/>
                  </a:lnTo>
                  <a:lnTo>
                    <a:pt x="363" y="244"/>
                  </a:lnTo>
                  <a:lnTo>
                    <a:pt x="367" y="244"/>
                  </a:lnTo>
                  <a:lnTo>
                    <a:pt x="367" y="240"/>
                  </a:lnTo>
                  <a:lnTo>
                    <a:pt x="363" y="240"/>
                  </a:lnTo>
                  <a:lnTo>
                    <a:pt x="363" y="236"/>
                  </a:lnTo>
                  <a:lnTo>
                    <a:pt x="363" y="232"/>
                  </a:lnTo>
                  <a:lnTo>
                    <a:pt x="359" y="236"/>
                  </a:lnTo>
                  <a:lnTo>
                    <a:pt x="359" y="232"/>
                  </a:lnTo>
                  <a:lnTo>
                    <a:pt x="359" y="236"/>
                  </a:lnTo>
                  <a:lnTo>
                    <a:pt x="359" y="240"/>
                  </a:lnTo>
                  <a:lnTo>
                    <a:pt x="355" y="240"/>
                  </a:lnTo>
                  <a:lnTo>
                    <a:pt x="355" y="244"/>
                  </a:lnTo>
                  <a:lnTo>
                    <a:pt x="355" y="248"/>
                  </a:lnTo>
                  <a:lnTo>
                    <a:pt x="351" y="248"/>
                  </a:lnTo>
                  <a:lnTo>
                    <a:pt x="351" y="244"/>
                  </a:lnTo>
                  <a:lnTo>
                    <a:pt x="351" y="240"/>
                  </a:lnTo>
                  <a:lnTo>
                    <a:pt x="351" y="244"/>
                  </a:lnTo>
                  <a:lnTo>
                    <a:pt x="347" y="240"/>
                  </a:lnTo>
                  <a:lnTo>
                    <a:pt x="347" y="236"/>
                  </a:lnTo>
                  <a:lnTo>
                    <a:pt x="347" y="232"/>
                  </a:lnTo>
                  <a:lnTo>
                    <a:pt x="347" y="228"/>
                  </a:lnTo>
                  <a:lnTo>
                    <a:pt x="351" y="224"/>
                  </a:lnTo>
                  <a:lnTo>
                    <a:pt x="351" y="228"/>
                  </a:lnTo>
                  <a:lnTo>
                    <a:pt x="351" y="224"/>
                  </a:lnTo>
                  <a:lnTo>
                    <a:pt x="355" y="224"/>
                  </a:lnTo>
                  <a:lnTo>
                    <a:pt x="359" y="224"/>
                  </a:lnTo>
                  <a:lnTo>
                    <a:pt x="359" y="220"/>
                  </a:lnTo>
                  <a:lnTo>
                    <a:pt x="363" y="220"/>
                  </a:lnTo>
                  <a:lnTo>
                    <a:pt x="363" y="216"/>
                  </a:lnTo>
                  <a:lnTo>
                    <a:pt x="363" y="212"/>
                  </a:lnTo>
                  <a:lnTo>
                    <a:pt x="367" y="212"/>
                  </a:lnTo>
                  <a:lnTo>
                    <a:pt x="367" y="208"/>
                  </a:lnTo>
                  <a:lnTo>
                    <a:pt x="363" y="208"/>
                  </a:lnTo>
                  <a:lnTo>
                    <a:pt x="363" y="204"/>
                  </a:lnTo>
                  <a:lnTo>
                    <a:pt x="359" y="204"/>
                  </a:lnTo>
                  <a:lnTo>
                    <a:pt x="355" y="204"/>
                  </a:lnTo>
                  <a:lnTo>
                    <a:pt x="351" y="204"/>
                  </a:lnTo>
                  <a:lnTo>
                    <a:pt x="347" y="204"/>
                  </a:lnTo>
                  <a:lnTo>
                    <a:pt x="343" y="204"/>
                  </a:lnTo>
                  <a:lnTo>
                    <a:pt x="339" y="204"/>
                  </a:lnTo>
                  <a:lnTo>
                    <a:pt x="335" y="204"/>
                  </a:lnTo>
                  <a:lnTo>
                    <a:pt x="331" y="204"/>
                  </a:lnTo>
                  <a:lnTo>
                    <a:pt x="327" y="204"/>
                  </a:lnTo>
                  <a:lnTo>
                    <a:pt x="327" y="200"/>
                  </a:lnTo>
                  <a:lnTo>
                    <a:pt x="327" y="196"/>
                  </a:lnTo>
                  <a:lnTo>
                    <a:pt x="327" y="192"/>
                  </a:lnTo>
                  <a:lnTo>
                    <a:pt x="327" y="188"/>
                  </a:lnTo>
                  <a:lnTo>
                    <a:pt x="323" y="188"/>
                  </a:lnTo>
                  <a:lnTo>
                    <a:pt x="323" y="184"/>
                  </a:lnTo>
                  <a:lnTo>
                    <a:pt x="323" y="188"/>
                  </a:lnTo>
                  <a:lnTo>
                    <a:pt x="319" y="188"/>
                  </a:lnTo>
                  <a:lnTo>
                    <a:pt x="315" y="188"/>
                  </a:lnTo>
                  <a:lnTo>
                    <a:pt x="315" y="184"/>
                  </a:lnTo>
                  <a:lnTo>
                    <a:pt x="315" y="180"/>
                  </a:lnTo>
                  <a:lnTo>
                    <a:pt x="311" y="180"/>
                  </a:lnTo>
                  <a:lnTo>
                    <a:pt x="311" y="184"/>
                  </a:lnTo>
                  <a:lnTo>
                    <a:pt x="315" y="184"/>
                  </a:lnTo>
                  <a:lnTo>
                    <a:pt x="311" y="184"/>
                  </a:lnTo>
                  <a:lnTo>
                    <a:pt x="311" y="180"/>
                  </a:lnTo>
                  <a:lnTo>
                    <a:pt x="307" y="180"/>
                  </a:lnTo>
                  <a:lnTo>
                    <a:pt x="307" y="176"/>
                  </a:lnTo>
                  <a:lnTo>
                    <a:pt x="303" y="180"/>
                  </a:lnTo>
                  <a:lnTo>
                    <a:pt x="307" y="180"/>
                  </a:lnTo>
                  <a:lnTo>
                    <a:pt x="307" y="184"/>
                  </a:lnTo>
                  <a:lnTo>
                    <a:pt x="303" y="184"/>
                  </a:lnTo>
                  <a:lnTo>
                    <a:pt x="303" y="188"/>
                  </a:lnTo>
                  <a:lnTo>
                    <a:pt x="299" y="192"/>
                  </a:lnTo>
                  <a:lnTo>
                    <a:pt x="303" y="192"/>
                  </a:lnTo>
                  <a:lnTo>
                    <a:pt x="307" y="196"/>
                  </a:lnTo>
                  <a:lnTo>
                    <a:pt x="307" y="200"/>
                  </a:lnTo>
                  <a:lnTo>
                    <a:pt x="311" y="200"/>
                  </a:lnTo>
                  <a:lnTo>
                    <a:pt x="311" y="204"/>
                  </a:lnTo>
                  <a:lnTo>
                    <a:pt x="315" y="204"/>
                  </a:lnTo>
                  <a:lnTo>
                    <a:pt x="311" y="204"/>
                  </a:lnTo>
                  <a:lnTo>
                    <a:pt x="307" y="204"/>
                  </a:lnTo>
                  <a:lnTo>
                    <a:pt x="307" y="208"/>
                  </a:lnTo>
                  <a:lnTo>
                    <a:pt x="303" y="208"/>
                  </a:lnTo>
                  <a:lnTo>
                    <a:pt x="303" y="212"/>
                  </a:lnTo>
                  <a:lnTo>
                    <a:pt x="303" y="208"/>
                  </a:lnTo>
                  <a:lnTo>
                    <a:pt x="299" y="212"/>
                  </a:lnTo>
                  <a:lnTo>
                    <a:pt x="303" y="212"/>
                  </a:lnTo>
                  <a:lnTo>
                    <a:pt x="299" y="212"/>
                  </a:lnTo>
                  <a:lnTo>
                    <a:pt x="299" y="216"/>
                  </a:lnTo>
                  <a:lnTo>
                    <a:pt x="303" y="220"/>
                  </a:lnTo>
                  <a:lnTo>
                    <a:pt x="307" y="220"/>
                  </a:lnTo>
                  <a:lnTo>
                    <a:pt x="307" y="224"/>
                  </a:lnTo>
                  <a:lnTo>
                    <a:pt x="307" y="220"/>
                  </a:lnTo>
                  <a:lnTo>
                    <a:pt x="311" y="220"/>
                  </a:lnTo>
                  <a:lnTo>
                    <a:pt x="311" y="224"/>
                  </a:lnTo>
                  <a:lnTo>
                    <a:pt x="311" y="228"/>
                  </a:lnTo>
                  <a:lnTo>
                    <a:pt x="307" y="232"/>
                  </a:lnTo>
                  <a:lnTo>
                    <a:pt x="307" y="236"/>
                  </a:lnTo>
                  <a:lnTo>
                    <a:pt x="311" y="236"/>
                  </a:lnTo>
                  <a:lnTo>
                    <a:pt x="311" y="240"/>
                  </a:lnTo>
                  <a:lnTo>
                    <a:pt x="311" y="244"/>
                  </a:lnTo>
                  <a:lnTo>
                    <a:pt x="315" y="244"/>
                  </a:lnTo>
                  <a:lnTo>
                    <a:pt x="311" y="244"/>
                  </a:lnTo>
                  <a:lnTo>
                    <a:pt x="311" y="248"/>
                  </a:lnTo>
                  <a:lnTo>
                    <a:pt x="315" y="260"/>
                  </a:lnTo>
                  <a:lnTo>
                    <a:pt x="315" y="264"/>
                  </a:lnTo>
                  <a:lnTo>
                    <a:pt x="315" y="268"/>
                  </a:lnTo>
                  <a:lnTo>
                    <a:pt x="315" y="272"/>
                  </a:lnTo>
                  <a:lnTo>
                    <a:pt x="311" y="272"/>
                  </a:lnTo>
                  <a:lnTo>
                    <a:pt x="311" y="276"/>
                  </a:lnTo>
                  <a:lnTo>
                    <a:pt x="311" y="272"/>
                  </a:lnTo>
                  <a:lnTo>
                    <a:pt x="311" y="268"/>
                  </a:lnTo>
                  <a:lnTo>
                    <a:pt x="311" y="264"/>
                  </a:lnTo>
                  <a:lnTo>
                    <a:pt x="311" y="268"/>
                  </a:lnTo>
                  <a:lnTo>
                    <a:pt x="307" y="268"/>
                  </a:lnTo>
                  <a:lnTo>
                    <a:pt x="307" y="264"/>
                  </a:lnTo>
                  <a:lnTo>
                    <a:pt x="311" y="264"/>
                  </a:lnTo>
                  <a:lnTo>
                    <a:pt x="307" y="264"/>
                  </a:lnTo>
                  <a:lnTo>
                    <a:pt x="307" y="268"/>
                  </a:lnTo>
                  <a:lnTo>
                    <a:pt x="307" y="272"/>
                  </a:lnTo>
                  <a:lnTo>
                    <a:pt x="307" y="276"/>
                  </a:lnTo>
                  <a:lnTo>
                    <a:pt x="307" y="272"/>
                  </a:lnTo>
                  <a:lnTo>
                    <a:pt x="307" y="268"/>
                  </a:lnTo>
                  <a:lnTo>
                    <a:pt x="307" y="272"/>
                  </a:lnTo>
                  <a:lnTo>
                    <a:pt x="303" y="272"/>
                  </a:lnTo>
                  <a:lnTo>
                    <a:pt x="303" y="268"/>
                  </a:lnTo>
                  <a:lnTo>
                    <a:pt x="303" y="272"/>
                  </a:lnTo>
                  <a:lnTo>
                    <a:pt x="303" y="276"/>
                  </a:lnTo>
                  <a:lnTo>
                    <a:pt x="303" y="272"/>
                  </a:lnTo>
                  <a:lnTo>
                    <a:pt x="303" y="268"/>
                  </a:lnTo>
                  <a:lnTo>
                    <a:pt x="299" y="268"/>
                  </a:lnTo>
                  <a:lnTo>
                    <a:pt x="303" y="264"/>
                  </a:lnTo>
                  <a:lnTo>
                    <a:pt x="299" y="260"/>
                  </a:lnTo>
                  <a:lnTo>
                    <a:pt x="299" y="256"/>
                  </a:lnTo>
                  <a:lnTo>
                    <a:pt x="299" y="260"/>
                  </a:lnTo>
                  <a:lnTo>
                    <a:pt x="299" y="264"/>
                  </a:lnTo>
                  <a:lnTo>
                    <a:pt x="303" y="264"/>
                  </a:lnTo>
                  <a:lnTo>
                    <a:pt x="299" y="264"/>
                  </a:lnTo>
                  <a:lnTo>
                    <a:pt x="299" y="268"/>
                  </a:lnTo>
                  <a:lnTo>
                    <a:pt x="295" y="272"/>
                  </a:lnTo>
                  <a:lnTo>
                    <a:pt x="291" y="272"/>
                  </a:lnTo>
                  <a:lnTo>
                    <a:pt x="287" y="276"/>
                  </a:lnTo>
                  <a:lnTo>
                    <a:pt x="283" y="276"/>
                  </a:lnTo>
                  <a:lnTo>
                    <a:pt x="283" y="280"/>
                  </a:lnTo>
                  <a:lnTo>
                    <a:pt x="283" y="284"/>
                  </a:lnTo>
                  <a:lnTo>
                    <a:pt x="283" y="288"/>
                  </a:lnTo>
                  <a:lnTo>
                    <a:pt x="283" y="292"/>
                  </a:lnTo>
                  <a:lnTo>
                    <a:pt x="279" y="292"/>
                  </a:lnTo>
                  <a:lnTo>
                    <a:pt x="279" y="295"/>
                  </a:lnTo>
                  <a:lnTo>
                    <a:pt x="279" y="299"/>
                  </a:lnTo>
                  <a:lnTo>
                    <a:pt x="275" y="299"/>
                  </a:lnTo>
                  <a:lnTo>
                    <a:pt x="275" y="303"/>
                  </a:lnTo>
                  <a:lnTo>
                    <a:pt x="271" y="303"/>
                  </a:lnTo>
                  <a:lnTo>
                    <a:pt x="275" y="303"/>
                  </a:lnTo>
                  <a:lnTo>
                    <a:pt x="271" y="303"/>
                  </a:lnTo>
                  <a:lnTo>
                    <a:pt x="271" y="307"/>
                  </a:lnTo>
                  <a:lnTo>
                    <a:pt x="267" y="307"/>
                  </a:lnTo>
                  <a:lnTo>
                    <a:pt x="263" y="307"/>
                  </a:lnTo>
                  <a:lnTo>
                    <a:pt x="259" y="311"/>
                  </a:lnTo>
                  <a:lnTo>
                    <a:pt x="259" y="307"/>
                  </a:lnTo>
                  <a:lnTo>
                    <a:pt x="263" y="307"/>
                  </a:lnTo>
                  <a:lnTo>
                    <a:pt x="259" y="303"/>
                  </a:lnTo>
                  <a:lnTo>
                    <a:pt x="259" y="307"/>
                  </a:lnTo>
                  <a:lnTo>
                    <a:pt x="255" y="307"/>
                  </a:lnTo>
                  <a:lnTo>
                    <a:pt x="255" y="311"/>
                  </a:lnTo>
                  <a:lnTo>
                    <a:pt x="259" y="311"/>
                  </a:lnTo>
                  <a:lnTo>
                    <a:pt x="259" y="307"/>
                  </a:lnTo>
                  <a:lnTo>
                    <a:pt x="259" y="311"/>
                  </a:lnTo>
                  <a:lnTo>
                    <a:pt x="255" y="311"/>
                  </a:lnTo>
                  <a:lnTo>
                    <a:pt x="255" y="315"/>
                  </a:lnTo>
                  <a:lnTo>
                    <a:pt x="251" y="319"/>
                  </a:lnTo>
                  <a:lnTo>
                    <a:pt x="247" y="319"/>
                  </a:lnTo>
                  <a:lnTo>
                    <a:pt x="251" y="319"/>
                  </a:lnTo>
                  <a:lnTo>
                    <a:pt x="247" y="323"/>
                  </a:lnTo>
                  <a:lnTo>
                    <a:pt x="247" y="327"/>
                  </a:lnTo>
                  <a:lnTo>
                    <a:pt x="243" y="331"/>
                  </a:lnTo>
                  <a:lnTo>
                    <a:pt x="239" y="335"/>
                  </a:lnTo>
                  <a:lnTo>
                    <a:pt x="235" y="335"/>
                  </a:lnTo>
                  <a:lnTo>
                    <a:pt x="235" y="339"/>
                  </a:lnTo>
                  <a:lnTo>
                    <a:pt x="231" y="339"/>
                  </a:lnTo>
                  <a:lnTo>
                    <a:pt x="231" y="343"/>
                  </a:lnTo>
                  <a:lnTo>
                    <a:pt x="227" y="343"/>
                  </a:lnTo>
                  <a:lnTo>
                    <a:pt x="227" y="347"/>
                  </a:lnTo>
                  <a:lnTo>
                    <a:pt x="223" y="351"/>
                  </a:lnTo>
                  <a:lnTo>
                    <a:pt x="219" y="351"/>
                  </a:lnTo>
                  <a:lnTo>
                    <a:pt x="219" y="355"/>
                  </a:lnTo>
                  <a:lnTo>
                    <a:pt x="215" y="355"/>
                  </a:lnTo>
                  <a:lnTo>
                    <a:pt x="215" y="359"/>
                  </a:lnTo>
                  <a:lnTo>
                    <a:pt x="211" y="359"/>
                  </a:lnTo>
                  <a:lnTo>
                    <a:pt x="211" y="363"/>
                  </a:lnTo>
                  <a:lnTo>
                    <a:pt x="215" y="363"/>
                  </a:lnTo>
                  <a:lnTo>
                    <a:pt x="211" y="363"/>
                  </a:lnTo>
                  <a:lnTo>
                    <a:pt x="211" y="367"/>
                  </a:lnTo>
                  <a:lnTo>
                    <a:pt x="211" y="371"/>
                  </a:lnTo>
                  <a:lnTo>
                    <a:pt x="207" y="371"/>
                  </a:lnTo>
                  <a:lnTo>
                    <a:pt x="203" y="371"/>
                  </a:lnTo>
                  <a:lnTo>
                    <a:pt x="199" y="371"/>
                  </a:lnTo>
                  <a:lnTo>
                    <a:pt x="195" y="371"/>
                  </a:lnTo>
                  <a:lnTo>
                    <a:pt x="195" y="375"/>
                  </a:lnTo>
                  <a:lnTo>
                    <a:pt x="195" y="379"/>
                  </a:lnTo>
                  <a:lnTo>
                    <a:pt x="191" y="379"/>
                  </a:lnTo>
                  <a:lnTo>
                    <a:pt x="191" y="383"/>
                  </a:lnTo>
                  <a:lnTo>
                    <a:pt x="191" y="379"/>
                  </a:lnTo>
                  <a:lnTo>
                    <a:pt x="191" y="383"/>
                  </a:lnTo>
                  <a:lnTo>
                    <a:pt x="191" y="379"/>
                  </a:lnTo>
                  <a:lnTo>
                    <a:pt x="187" y="379"/>
                  </a:lnTo>
                  <a:lnTo>
                    <a:pt x="183" y="383"/>
                  </a:lnTo>
                  <a:lnTo>
                    <a:pt x="179" y="387"/>
                  </a:lnTo>
                  <a:lnTo>
                    <a:pt x="179" y="391"/>
                  </a:lnTo>
                  <a:lnTo>
                    <a:pt x="179" y="395"/>
                  </a:lnTo>
                  <a:lnTo>
                    <a:pt x="179" y="399"/>
                  </a:lnTo>
                  <a:lnTo>
                    <a:pt x="179" y="403"/>
                  </a:lnTo>
                  <a:lnTo>
                    <a:pt x="179" y="407"/>
                  </a:lnTo>
                  <a:lnTo>
                    <a:pt x="179" y="411"/>
                  </a:lnTo>
                  <a:lnTo>
                    <a:pt x="179" y="415"/>
                  </a:lnTo>
                  <a:lnTo>
                    <a:pt x="179" y="419"/>
                  </a:lnTo>
                  <a:lnTo>
                    <a:pt x="183" y="419"/>
                  </a:lnTo>
                  <a:lnTo>
                    <a:pt x="179" y="419"/>
                  </a:lnTo>
                  <a:lnTo>
                    <a:pt x="179" y="423"/>
                  </a:lnTo>
                  <a:lnTo>
                    <a:pt x="183" y="423"/>
                  </a:lnTo>
                  <a:lnTo>
                    <a:pt x="183" y="427"/>
                  </a:lnTo>
                  <a:lnTo>
                    <a:pt x="183" y="423"/>
                  </a:lnTo>
                  <a:lnTo>
                    <a:pt x="179" y="419"/>
                  </a:lnTo>
                  <a:lnTo>
                    <a:pt x="179" y="423"/>
                  </a:lnTo>
                  <a:lnTo>
                    <a:pt x="183" y="427"/>
                  </a:lnTo>
                  <a:lnTo>
                    <a:pt x="183" y="431"/>
                  </a:lnTo>
                  <a:lnTo>
                    <a:pt x="183" y="435"/>
                  </a:lnTo>
                  <a:lnTo>
                    <a:pt x="183" y="439"/>
                  </a:lnTo>
                  <a:lnTo>
                    <a:pt x="179" y="439"/>
                  </a:lnTo>
                  <a:lnTo>
                    <a:pt x="179" y="443"/>
                  </a:lnTo>
                  <a:lnTo>
                    <a:pt x="179" y="447"/>
                  </a:lnTo>
                  <a:lnTo>
                    <a:pt x="175" y="451"/>
                  </a:lnTo>
                  <a:lnTo>
                    <a:pt x="175" y="455"/>
                  </a:lnTo>
                  <a:lnTo>
                    <a:pt x="175" y="459"/>
                  </a:lnTo>
                  <a:lnTo>
                    <a:pt x="175" y="463"/>
                  </a:lnTo>
                  <a:lnTo>
                    <a:pt x="175" y="467"/>
                  </a:lnTo>
                  <a:lnTo>
                    <a:pt x="175" y="471"/>
                  </a:lnTo>
                  <a:lnTo>
                    <a:pt x="175" y="475"/>
                  </a:lnTo>
                  <a:lnTo>
                    <a:pt x="175" y="479"/>
                  </a:lnTo>
                  <a:lnTo>
                    <a:pt x="175" y="483"/>
                  </a:lnTo>
                  <a:lnTo>
                    <a:pt x="171" y="483"/>
                  </a:lnTo>
                  <a:lnTo>
                    <a:pt x="175" y="483"/>
                  </a:lnTo>
                  <a:lnTo>
                    <a:pt x="171" y="483"/>
                  </a:lnTo>
                  <a:lnTo>
                    <a:pt x="167" y="483"/>
                  </a:lnTo>
                  <a:lnTo>
                    <a:pt x="167" y="487"/>
                  </a:lnTo>
                  <a:lnTo>
                    <a:pt x="167" y="491"/>
                  </a:lnTo>
                  <a:lnTo>
                    <a:pt x="163" y="491"/>
                  </a:lnTo>
                  <a:lnTo>
                    <a:pt x="163" y="495"/>
                  </a:lnTo>
                  <a:lnTo>
                    <a:pt x="159" y="499"/>
                  </a:lnTo>
                  <a:lnTo>
                    <a:pt x="163" y="499"/>
                  </a:lnTo>
                  <a:lnTo>
                    <a:pt x="163" y="503"/>
                  </a:lnTo>
                  <a:lnTo>
                    <a:pt x="167" y="503"/>
                  </a:lnTo>
                  <a:lnTo>
                    <a:pt x="163" y="503"/>
                  </a:lnTo>
                  <a:lnTo>
                    <a:pt x="159" y="503"/>
                  </a:lnTo>
                  <a:lnTo>
                    <a:pt x="155" y="507"/>
                  </a:lnTo>
                  <a:lnTo>
                    <a:pt x="151" y="507"/>
                  </a:lnTo>
                  <a:lnTo>
                    <a:pt x="151" y="511"/>
                  </a:lnTo>
                  <a:lnTo>
                    <a:pt x="151" y="515"/>
                  </a:lnTo>
                  <a:lnTo>
                    <a:pt x="147" y="519"/>
                  </a:lnTo>
                  <a:lnTo>
                    <a:pt x="143" y="523"/>
                  </a:lnTo>
                  <a:lnTo>
                    <a:pt x="139" y="523"/>
                  </a:lnTo>
                  <a:lnTo>
                    <a:pt x="135" y="523"/>
                  </a:lnTo>
                  <a:lnTo>
                    <a:pt x="135" y="519"/>
                  </a:lnTo>
                  <a:lnTo>
                    <a:pt x="131" y="519"/>
                  </a:lnTo>
                  <a:lnTo>
                    <a:pt x="131" y="515"/>
                  </a:lnTo>
                  <a:lnTo>
                    <a:pt x="127" y="515"/>
                  </a:lnTo>
                  <a:lnTo>
                    <a:pt x="127" y="511"/>
                  </a:lnTo>
                  <a:lnTo>
                    <a:pt x="127" y="507"/>
                  </a:lnTo>
                  <a:lnTo>
                    <a:pt x="123" y="507"/>
                  </a:lnTo>
                  <a:lnTo>
                    <a:pt x="123" y="503"/>
                  </a:lnTo>
                  <a:lnTo>
                    <a:pt x="123" y="499"/>
                  </a:lnTo>
                  <a:lnTo>
                    <a:pt x="123" y="495"/>
                  </a:lnTo>
                  <a:lnTo>
                    <a:pt x="119" y="491"/>
                  </a:lnTo>
                  <a:lnTo>
                    <a:pt x="123" y="491"/>
                  </a:lnTo>
                  <a:lnTo>
                    <a:pt x="119" y="491"/>
                  </a:lnTo>
                  <a:lnTo>
                    <a:pt x="123" y="495"/>
                  </a:lnTo>
                  <a:lnTo>
                    <a:pt x="123" y="499"/>
                  </a:lnTo>
                  <a:lnTo>
                    <a:pt x="123" y="495"/>
                  </a:lnTo>
                  <a:lnTo>
                    <a:pt x="123" y="491"/>
                  </a:lnTo>
                  <a:lnTo>
                    <a:pt x="119" y="491"/>
                  </a:lnTo>
                  <a:lnTo>
                    <a:pt x="119" y="487"/>
                  </a:lnTo>
                  <a:lnTo>
                    <a:pt x="119" y="491"/>
                  </a:lnTo>
                  <a:lnTo>
                    <a:pt x="119" y="487"/>
                  </a:lnTo>
                  <a:lnTo>
                    <a:pt x="119" y="483"/>
                  </a:lnTo>
                  <a:lnTo>
                    <a:pt x="119" y="479"/>
                  </a:lnTo>
                  <a:lnTo>
                    <a:pt x="115" y="475"/>
                  </a:lnTo>
                  <a:lnTo>
                    <a:pt x="115" y="471"/>
                  </a:lnTo>
                  <a:lnTo>
                    <a:pt x="111" y="463"/>
                  </a:lnTo>
                  <a:lnTo>
                    <a:pt x="111" y="459"/>
                  </a:lnTo>
                  <a:lnTo>
                    <a:pt x="107" y="455"/>
                  </a:lnTo>
                  <a:lnTo>
                    <a:pt x="107" y="451"/>
                  </a:lnTo>
                  <a:lnTo>
                    <a:pt x="103" y="451"/>
                  </a:lnTo>
                  <a:lnTo>
                    <a:pt x="103" y="447"/>
                  </a:lnTo>
                  <a:lnTo>
                    <a:pt x="103" y="443"/>
                  </a:lnTo>
                  <a:lnTo>
                    <a:pt x="99" y="439"/>
                  </a:lnTo>
                  <a:lnTo>
                    <a:pt x="99" y="435"/>
                  </a:lnTo>
                  <a:lnTo>
                    <a:pt x="99" y="431"/>
                  </a:lnTo>
                  <a:lnTo>
                    <a:pt x="99" y="427"/>
                  </a:lnTo>
                  <a:lnTo>
                    <a:pt x="96" y="423"/>
                  </a:lnTo>
                  <a:lnTo>
                    <a:pt x="96" y="419"/>
                  </a:lnTo>
                  <a:lnTo>
                    <a:pt x="96" y="415"/>
                  </a:lnTo>
                  <a:lnTo>
                    <a:pt x="96" y="411"/>
                  </a:lnTo>
                  <a:lnTo>
                    <a:pt x="92" y="411"/>
                  </a:lnTo>
                  <a:lnTo>
                    <a:pt x="92" y="407"/>
                  </a:lnTo>
                  <a:lnTo>
                    <a:pt x="92" y="403"/>
                  </a:lnTo>
                  <a:lnTo>
                    <a:pt x="92" y="407"/>
                  </a:lnTo>
                  <a:lnTo>
                    <a:pt x="92" y="403"/>
                  </a:lnTo>
                  <a:lnTo>
                    <a:pt x="88" y="403"/>
                  </a:lnTo>
                  <a:lnTo>
                    <a:pt x="88" y="399"/>
                  </a:lnTo>
                  <a:lnTo>
                    <a:pt x="88" y="395"/>
                  </a:lnTo>
                  <a:lnTo>
                    <a:pt x="84" y="391"/>
                  </a:lnTo>
                  <a:lnTo>
                    <a:pt x="84" y="387"/>
                  </a:lnTo>
                  <a:lnTo>
                    <a:pt x="88" y="391"/>
                  </a:lnTo>
                  <a:lnTo>
                    <a:pt x="88" y="387"/>
                  </a:lnTo>
                  <a:lnTo>
                    <a:pt x="84" y="387"/>
                  </a:lnTo>
                  <a:lnTo>
                    <a:pt x="84" y="383"/>
                  </a:lnTo>
                  <a:lnTo>
                    <a:pt x="80" y="383"/>
                  </a:lnTo>
                  <a:lnTo>
                    <a:pt x="80" y="379"/>
                  </a:lnTo>
                  <a:lnTo>
                    <a:pt x="80" y="375"/>
                  </a:lnTo>
                  <a:lnTo>
                    <a:pt x="76" y="371"/>
                  </a:lnTo>
                  <a:lnTo>
                    <a:pt x="76" y="367"/>
                  </a:lnTo>
                  <a:lnTo>
                    <a:pt x="76" y="363"/>
                  </a:lnTo>
                  <a:lnTo>
                    <a:pt x="76" y="359"/>
                  </a:lnTo>
                  <a:lnTo>
                    <a:pt x="76" y="355"/>
                  </a:lnTo>
                  <a:lnTo>
                    <a:pt x="76" y="351"/>
                  </a:lnTo>
                  <a:lnTo>
                    <a:pt x="76" y="347"/>
                  </a:lnTo>
                  <a:lnTo>
                    <a:pt x="72" y="347"/>
                  </a:lnTo>
                  <a:lnTo>
                    <a:pt x="72" y="343"/>
                  </a:lnTo>
                  <a:lnTo>
                    <a:pt x="72" y="339"/>
                  </a:lnTo>
                  <a:lnTo>
                    <a:pt x="72" y="335"/>
                  </a:lnTo>
                  <a:lnTo>
                    <a:pt x="72" y="331"/>
                  </a:lnTo>
                  <a:lnTo>
                    <a:pt x="68" y="327"/>
                  </a:lnTo>
                  <a:lnTo>
                    <a:pt x="72" y="327"/>
                  </a:lnTo>
                  <a:lnTo>
                    <a:pt x="72" y="323"/>
                  </a:lnTo>
                  <a:lnTo>
                    <a:pt x="72" y="319"/>
                  </a:lnTo>
                  <a:lnTo>
                    <a:pt x="72" y="323"/>
                  </a:lnTo>
                  <a:lnTo>
                    <a:pt x="68" y="323"/>
                  </a:lnTo>
                  <a:lnTo>
                    <a:pt x="68" y="319"/>
                  </a:lnTo>
                  <a:lnTo>
                    <a:pt x="68" y="315"/>
                  </a:lnTo>
                  <a:lnTo>
                    <a:pt x="72" y="315"/>
                  </a:lnTo>
                  <a:lnTo>
                    <a:pt x="72" y="319"/>
                  </a:lnTo>
                  <a:lnTo>
                    <a:pt x="72" y="315"/>
                  </a:lnTo>
                  <a:lnTo>
                    <a:pt x="68" y="315"/>
                  </a:lnTo>
                  <a:lnTo>
                    <a:pt x="68" y="311"/>
                  </a:lnTo>
                  <a:lnTo>
                    <a:pt x="68" y="307"/>
                  </a:lnTo>
                  <a:lnTo>
                    <a:pt x="68" y="303"/>
                  </a:lnTo>
                  <a:lnTo>
                    <a:pt x="68" y="299"/>
                  </a:lnTo>
                  <a:lnTo>
                    <a:pt x="68" y="295"/>
                  </a:lnTo>
                  <a:lnTo>
                    <a:pt x="72" y="295"/>
                  </a:lnTo>
                  <a:lnTo>
                    <a:pt x="72" y="288"/>
                  </a:lnTo>
                  <a:lnTo>
                    <a:pt x="68" y="288"/>
                  </a:lnTo>
                  <a:lnTo>
                    <a:pt x="68" y="284"/>
                  </a:lnTo>
                  <a:lnTo>
                    <a:pt x="68" y="280"/>
                  </a:lnTo>
                  <a:lnTo>
                    <a:pt x="64" y="280"/>
                  </a:lnTo>
                  <a:lnTo>
                    <a:pt x="64" y="276"/>
                  </a:lnTo>
                  <a:lnTo>
                    <a:pt x="68" y="276"/>
                  </a:lnTo>
                  <a:lnTo>
                    <a:pt x="64" y="276"/>
                  </a:lnTo>
                  <a:lnTo>
                    <a:pt x="68" y="276"/>
                  </a:lnTo>
                  <a:lnTo>
                    <a:pt x="68" y="272"/>
                  </a:lnTo>
                  <a:lnTo>
                    <a:pt x="72" y="272"/>
                  </a:lnTo>
                  <a:lnTo>
                    <a:pt x="76" y="272"/>
                  </a:lnTo>
                  <a:lnTo>
                    <a:pt x="72" y="272"/>
                  </a:lnTo>
                  <a:lnTo>
                    <a:pt x="68" y="272"/>
                  </a:lnTo>
                  <a:lnTo>
                    <a:pt x="64" y="272"/>
                  </a:lnTo>
                  <a:lnTo>
                    <a:pt x="64" y="268"/>
                  </a:lnTo>
                  <a:lnTo>
                    <a:pt x="68" y="268"/>
                  </a:lnTo>
                  <a:lnTo>
                    <a:pt x="64" y="268"/>
                  </a:lnTo>
                  <a:lnTo>
                    <a:pt x="64" y="264"/>
                  </a:lnTo>
                  <a:lnTo>
                    <a:pt x="68" y="260"/>
                  </a:lnTo>
                  <a:lnTo>
                    <a:pt x="68" y="264"/>
                  </a:lnTo>
                  <a:lnTo>
                    <a:pt x="68" y="260"/>
                  </a:lnTo>
                  <a:lnTo>
                    <a:pt x="72" y="260"/>
                  </a:lnTo>
                  <a:lnTo>
                    <a:pt x="68" y="260"/>
                  </a:lnTo>
                  <a:lnTo>
                    <a:pt x="64" y="260"/>
                  </a:lnTo>
                  <a:lnTo>
                    <a:pt x="60" y="260"/>
                  </a:lnTo>
                  <a:lnTo>
                    <a:pt x="60" y="264"/>
                  </a:lnTo>
                  <a:lnTo>
                    <a:pt x="60" y="268"/>
                  </a:lnTo>
                  <a:lnTo>
                    <a:pt x="56" y="268"/>
                  </a:lnTo>
                  <a:lnTo>
                    <a:pt x="60" y="268"/>
                  </a:lnTo>
                  <a:lnTo>
                    <a:pt x="56" y="268"/>
                  </a:lnTo>
                  <a:lnTo>
                    <a:pt x="56" y="272"/>
                  </a:lnTo>
                  <a:lnTo>
                    <a:pt x="60" y="268"/>
                  </a:lnTo>
                  <a:lnTo>
                    <a:pt x="60" y="272"/>
                  </a:lnTo>
                  <a:lnTo>
                    <a:pt x="60" y="276"/>
                  </a:lnTo>
                  <a:lnTo>
                    <a:pt x="60" y="280"/>
                  </a:lnTo>
                  <a:lnTo>
                    <a:pt x="56" y="280"/>
                  </a:lnTo>
                  <a:lnTo>
                    <a:pt x="56" y="284"/>
                  </a:lnTo>
                  <a:lnTo>
                    <a:pt x="52" y="284"/>
                  </a:lnTo>
                  <a:lnTo>
                    <a:pt x="48" y="288"/>
                  </a:lnTo>
                  <a:lnTo>
                    <a:pt x="44" y="288"/>
                  </a:lnTo>
                  <a:lnTo>
                    <a:pt x="40" y="292"/>
                  </a:lnTo>
                  <a:lnTo>
                    <a:pt x="36" y="288"/>
                  </a:lnTo>
                  <a:lnTo>
                    <a:pt x="32" y="288"/>
                  </a:lnTo>
                  <a:lnTo>
                    <a:pt x="32" y="284"/>
                  </a:lnTo>
                  <a:lnTo>
                    <a:pt x="28" y="284"/>
                  </a:lnTo>
                  <a:lnTo>
                    <a:pt x="28" y="280"/>
                  </a:lnTo>
                  <a:lnTo>
                    <a:pt x="24" y="280"/>
                  </a:lnTo>
                  <a:lnTo>
                    <a:pt x="24" y="276"/>
                  </a:lnTo>
                  <a:lnTo>
                    <a:pt x="20" y="272"/>
                  </a:lnTo>
                  <a:lnTo>
                    <a:pt x="16" y="268"/>
                  </a:lnTo>
                  <a:lnTo>
                    <a:pt x="12" y="264"/>
                  </a:lnTo>
                  <a:lnTo>
                    <a:pt x="12" y="260"/>
                  </a:lnTo>
                  <a:lnTo>
                    <a:pt x="12" y="256"/>
                  </a:lnTo>
                  <a:lnTo>
                    <a:pt x="12" y="260"/>
                  </a:lnTo>
                  <a:lnTo>
                    <a:pt x="16" y="260"/>
                  </a:lnTo>
                  <a:lnTo>
                    <a:pt x="12" y="260"/>
                  </a:lnTo>
                  <a:lnTo>
                    <a:pt x="16" y="260"/>
                  </a:lnTo>
                  <a:lnTo>
                    <a:pt x="20" y="260"/>
                  </a:lnTo>
                  <a:lnTo>
                    <a:pt x="24" y="260"/>
                  </a:lnTo>
                  <a:lnTo>
                    <a:pt x="24" y="256"/>
                  </a:lnTo>
                  <a:lnTo>
                    <a:pt x="28" y="256"/>
                  </a:lnTo>
                  <a:lnTo>
                    <a:pt x="32" y="252"/>
                  </a:lnTo>
                  <a:lnTo>
                    <a:pt x="32" y="248"/>
                  </a:lnTo>
                  <a:lnTo>
                    <a:pt x="36" y="248"/>
                  </a:lnTo>
                  <a:lnTo>
                    <a:pt x="36" y="244"/>
                  </a:lnTo>
                  <a:lnTo>
                    <a:pt x="32" y="244"/>
                  </a:lnTo>
                  <a:lnTo>
                    <a:pt x="32" y="248"/>
                  </a:lnTo>
                  <a:lnTo>
                    <a:pt x="24" y="248"/>
                  </a:lnTo>
                  <a:lnTo>
                    <a:pt x="24" y="252"/>
                  </a:lnTo>
                  <a:lnTo>
                    <a:pt x="20" y="252"/>
                  </a:lnTo>
                  <a:lnTo>
                    <a:pt x="16" y="252"/>
                  </a:lnTo>
                  <a:lnTo>
                    <a:pt x="16" y="248"/>
                  </a:lnTo>
                  <a:lnTo>
                    <a:pt x="12" y="248"/>
                  </a:lnTo>
                  <a:lnTo>
                    <a:pt x="8" y="248"/>
                  </a:lnTo>
                  <a:lnTo>
                    <a:pt x="8" y="244"/>
                  </a:lnTo>
                  <a:lnTo>
                    <a:pt x="4" y="240"/>
                  </a:lnTo>
                  <a:lnTo>
                    <a:pt x="4" y="236"/>
                  </a:lnTo>
                  <a:lnTo>
                    <a:pt x="4" y="232"/>
                  </a:lnTo>
                  <a:lnTo>
                    <a:pt x="8" y="232"/>
                  </a:lnTo>
                  <a:lnTo>
                    <a:pt x="4" y="232"/>
                  </a:lnTo>
                  <a:lnTo>
                    <a:pt x="0" y="236"/>
                  </a:lnTo>
                  <a:lnTo>
                    <a:pt x="0" y="232"/>
                  </a:lnTo>
                  <a:close/>
                  <a:moveTo>
                    <a:pt x="303" y="268"/>
                  </a:moveTo>
                  <a:lnTo>
                    <a:pt x="303" y="272"/>
                  </a:lnTo>
                  <a:lnTo>
                    <a:pt x="299" y="272"/>
                  </a:lnTo>
                  <a:lnTo>
                    <a:pt x="299" y="268"/>
                  </a:lnTo>
                  <a:lnTo>
                    <a:pt x="303" y="268"/>
                  </a:lnTo>
                  <a:close/>
                  <a:moveTo>
                    <a:pt x="371" y="451"/>
                  </a:moveTo>
                  <a:lnTo>
                    <a:pt x="371" y="447"/>
                  </a:lnTo>
                  <a:lnTo>
                    <a:pt x="375" y="447"/>
                  </a:lnTo>
                  <a:lnTo>
                    <a:pt x="371" y="451"/>
                  </a:lnTo>
                  <a:close/>
                  <a:moveTo>
                    <a:pt x="371" y="463"/>
                  </a:moveTo>
                  <a:lnTo>
                    <a:pt x="367" y="463"/>
                  </a:lnTo>
                  <a:lnTo>
                    <a:pt x="371" y="463"/>
                  </a:lnTo>
                  <a:close/>
                  <a:moveTo>
                    <a:pt x="371" y="503"/>
                  </a:moveTo>
                  <a:lnTo>
                    <a:pt x="371" y="507"/>
                  </a:lnTo>
                  <a:lnTo>
                    <a:pt x="371" y="503"/>
                  </a:lnTo>
                  <a:close/>
                  <a:moveTo>
                    <a:pt x="72" y="519"/>
                  </a:moveTo>
                  <a:lnTo>
                    <a:pt x="72" y="523"/>
                  </a:lnTo>
                  <a:lnTo>
                    <a:pt x="72" y="519"/>
                  </a:lnTo>
                  <a:close/>
                  <a:moveTo>
                    <a:pt x="383" y="523"/>
                  </a:moveTo>
                  <a:lnTo>
                    <a:pt x="383" y="527"/>
                  </a:lnTo>
                  <a:lnTo>
                    <a:pt x="383" y="523"/>
                  </a:lnTo>
                  <a:close/>
                  <a:moveTo>
                    <a:pt x="379" y="527"/>
                  </a:moveTo>
                  <a:lnTo>
                    <a:pt x="383" y="527"/>
                  </a:lnTo>
                  <a:lnTo>
                    <a:pt x="379" y="527"/>
                  </a:lnTo>
                  <a:close/>
                  <a:moveTo>
                    <a:pt x="387" y="539"/>
                  </a:moveTo>
                  <a:lnTo>
                    <a:pt x="383" y="539"/>
                  </a:lnTo>
                  <a:lnTo>
                    <a:pt x="387" y="539"/>
                  </a:lnTo>
                  <a:lnTo>
                    <a:pt x="387" y="535"/>
                  </a:lnTo>
                  <a:lnTo>
                    <a:pt x="387" y="539"/>
                  </a:lnTo>
                  <a:close/>
                  <a:moveTo>
                    <a:pt x="371" y="435"/>
                  </a:moveTo>
                  <a:lnTo>
                    <a:pt x="371" y="431"/>
                  </a:lnTo>
                  <a:lnTo>
                    <a:pt x="371" y="427"/>
                  </a:lnTo>
                  <a:lnTo>
                    <a:pt x="375" y="427"/>
                  </a:lnTo>
                  <a:lnTo>
                    <a:pt x="375" y="423"/>
                  </a:lnTo>
                  <a:lnTo>
                    <a:pt x="375" y="427"/>
                  </a:lnTo>
                  <a:lnTo>
                    <a:pt x="375" y="431"/>
                  </a:lnTo>
                  <a:lnTo>
                    <a:pt x="375" y="435"/>
                  </a:lnTo>
                  <a:lnTo>
                    <a:pt x="375" y="431"/>
                  </a:lnTo>
                  <a:lnTo>
                    <a:pt x="371" y="435"/>
                  </a:lnTo>
                  <a:close/>
                  <a:moveTo>
                    <a:pt x="371" y="447"/>
                  </a:moveTo>
                  <a:lnTo>
                    <a:pt x="371" y="443"/>
                  </a:lnTo>
                  <a:lnTo>
                    <a:pt x="371" y="439"/>
                  </a:lnTo>
                  <a:lnTo>
                    <a:pt x="371" y="435"/>
                  </a:lnTo>
                  <a:lnTo>
                    <a:pt x="375" y="435"/>
                  </a:lnTo>
                  <a:lnTo>
                    <a:pt x="375" y="439"/>
                  </a:lnTo>
                  <a:lnTo>
                    <a:pt x="375" y="443"/>
                  </a:lnTo>
                  <a:lnTo>
                    <a:pt x="371" y="443"/>
                  </a:lnTo>
                  <a:lnTo>
                    <a:pt x="371" y="447"/>
                  </a:lnTo>
                  <a:lnTo>
                    <a:pt x="375" y="447"/>
                  </a:lnTo>
                  <a:lnTo>
                    <a:pt x="371" y="447"/>
                  </a:lnTo>
                  <a:close/>
                  <a:moveTo>
                    <a:pt x="371" y="451"/>
                  </a:moveTo>
                  <a:lnTo>
                    <a:pt x="371" y="455"/>
                  </a:lnTo>
                  <a:lnTo>
                    <a:pt x="371" y="459"/>
                  </a:lnTo>
                  <a:lnTo>
                    <a:pt x="371" y="463"/>
                  </a:lnTo>
                  <a:lnTo>
                    <a:pt x="367" y="459"/>
                  </a:lnTo>
                  <a:lnTo>
                    <a:pt x="367" y="455"/>
                  </a:lnTo>
                  <a:lnTo>
                    <a:pt x="371" y="455"/>
                  </a:lnTo>
                  <a:lnTo>
                    <a:pt x="371" y="451"/>
                  </a:lnTo>
                  <a:lnTo>
                    <a:pt x="371" y="447"/>
                  </a:lnTo>
                  <a:lnTo>
                    <a:pt x="371" y="451"/>
                  </a:lnTo>
                  <a:lnTo>
                    <a:pt x="371" y="447"/>
                  </a:lnTo>
                  <a:lnTo>
                    <a:pt x="371" y="451"/>
                  </a:lnTo>
                  <a:close/>
                  <a:moveTo>
                    <a:pt x="367" y="475"/>
                  </a:moveTo>
                  <a:lnTo>
                    <a:pt x="367" y="479"/>
                  </a:lnTo>
                  <a:lnTo>
                    <a:pt x="363" y="479"/>
                  </a:lnTo>
                  <a:lnTo>
                    <a:pt x="363" y="475"/>
                  </a:lnTo>
                  <a:lnTo>
                    <a:pt x="367" y="475"/>
                  </a:lnTo>
                  <a:lnTo>
                    <a:pt x="367" y="471"/>
                  </a:lnTo>
                  <a:lnTo>
                    <a:pt x="367" y="475"/>
                  </a:lnTo>
                  <a:close/>
                  <a:moveTo>
                    <a:pt x="387" y="543"/>
                  </a:moveTo>
                  <a:lnTo>
                    <a:pt x="387" y="547"/>
                  </a:lnTo>
                  <a:lnTo>
                    <a:pt x="387" y="551"/>
                  </a:lnTo>
                  <a:lnTo>
                    <a:pt x="387" y="547"/>
                  </a:lnTo>
                  <a:lnTo>
                    <a:pt x="387" y="543"/>
                  </a:lnTo>
                  <a:lnTo>
                    <a:pt x="383" y="543"/>
                  </a:lnTo>
                  <a:lnTo>
                    <a:pt x="387" y="539"/>
                  </a:lnTo>
                  <a:lnTo>
                    <a:pt x="387" y="5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" name="Freeform 17"/>
            <p:cNvSpPr>
              <a:spLocks noEditPoints="1"/>
            </p:cNvSpPr>
            <p:nvPr>
              <p:custDataLst>
                <p:tags r:id="rId212"/>
              </p:custDataLst>
            </p:nvPr>
          </p:nvSpPr>
          <p:spPr bwMode="gray">
            <a:xfrm>
              <a:off x="6511673" y="4432818"/>
              <a:ext cx="1029246" cy="461232"/>
            </a:xfrm>
            <a:custGeom>
              <a:avLst/>
              <a:gdLst/>
              <a:ahLst/>
              <a:cxnLst>
                <a:cxn ang="0">
                  <a:pos x="462" y="44"/>
                </a:cxn>
                <a:cxn ang="0">
                  <a:pos x="486" y="120"/>
                </a:cxn>
                <a:cxn ang="0">
                  <a:pos x="590" y="219"/>
                </a:cxn>
                <a:cxn ang="0">
                  <a:pos x="546" y="243"/>
                </a:cxn>
                <a:cxn ang="0">
                  <a:pos x="139" y="136"/>
                </a:cxn>
                <a:cxn ang="0">
                  <a:pos x="163" y="215"/>
                </a:cxn>
                <a:cxn ang="0">
                  <a:pos x="103" y="175"/>
                </a:cxn>
                <a:cxn ang="0">
                  <a:pos x="51" y="76"/>
                </a:cxn>
                <a:cxn ang="0">
                  <a:pos x="24" y="16"/>
                </a:cxn>
                <a:cxn ang="0">
                  <a:pos x="83" y="72"/>
                </a:cxn>
                <a:cxn ang="0">
                  <a:pos x="131" y="104"/>
                </a:cxn>
                <a:cxn ang="0">
                  <a:pos x="267" y="80"/>
                </a:cxn>
                <a:cxn ang="0">
                  <a:pos x="339" y="32"/>
                </a:cxn>
                <a:cxn ang="0">
                  <a:pos x="359" y="96"/>
                </a:cxn>
                <a:cxn ang="0">
                  <a:pos x="323" y="148"/>
                </a:cxn>
                <a:cxn ang="0">
                  <a:pos x="279" y="167"/>
                </a:cxn>
                <a:cxn ang="0">
                  <a:pos x="223" y="140"/>
                </a:cxn>
                <a:cxn ang="0">
                  <a:pos x="195" y="40"/>
                </a:cxn>
                <a:cxn ang="0">
                  <a:pos x="506" y="64"/>
                </a:cxn>
                <a:cxn ang="0">
                  <a:pos x="490" y="92"/>
                </a:cxn>
                <a:cxn ang="0">
                  <a:pos x="498" y="120"/>
                </a:cxn>
                <a:cxn ang="0">
                  <a:pos x="410" y="171"/>
                </a:cxn>
                <a:cxn ang="0">
                  <a:pos x="379" y="167"/>
                </a:cxn>
                <a:cxn ang="0">
                  <a:pos x="363" y="175"/>
                </a:cxn>
                <a:cxn ang="0">
                  <a:pos x="375" y="112"/>
                </a:cxn>
                <a:cxn ang="0">
                  <a:pos x="438" y="92"/>
                </a:cxn>
                <a:cxn ang="0">
                  <a:pos x="391" y="100"/>
                </a:cxn>
                <a:cxn ang="0">
                  <a:pos x="426" y="124"/>
                </a:cxn>
                <a:cxn ang="0">
                  <a:pos x="143" y="88"/>
                </a:cxn>
                <a:cxn ang="0">
                  <a:pos x="135" y="96"/>
                </a:cxn>
                <a:cxn ang="0">
                  <a:pos x="534" y="116"/>
                </a:cxn>
                <a:cxn ang="0">
                  <a:pos x="143" y="116"/>
                </a:cxn>
                <a:cxn ang="0">
                  <a:pos x="634" y="199"/>
                </a:cxn>
                <a:cxn ang="0">
                  <a:pos x="574" y="183"/>
                </a:cxn>
                <a:cxn ang="0">
                  <a:pos x="558" y="148"/>
                </a:cxn>
                <a:cxn ang="0">
                  <a:pos x="590" y="156"/>
                </a:cxn>
                <a:cxn ang="0">
                  <a:pos x="650" y="136"/>
                </a:cxn>
                <a:cxn ang="0">
                  <a:pos x="678" y="259"/>
                </a:cxn>
                <a:cxn ang="0">
                  <a:pos x="614" y="124"/>
                </a:cxn>
                <a:cxn ang="0">
                  <a:pos x="215" y="128"/>
                </a:cxn>
                <a:cxn ang="0">
                  <a:pos x="163" y="152"/>
                </a:cxn>
                <a:cxn ang="0">
                  <a:pos x="630" y="144"/>
                </a:cxn>
                <a:cxn ang="0">
                  <a:pos x="470" y="144"/>
                </a:cxn>
                <a:cxn ang="0">
                  <a:pos x="79" y="167"/>
                </a:cxn>
                <a:cxn ang="0">
                  <a:pos x="526" y="164"/>
                </a:cxn>
                <a:cxn ang="0">
                  <a:pos x="315" y="171"/>
                </a:cxn>
                <a:cxn ang="0">
                  <a:pos x="418" y="207"/>
                </a:cxn>
                <a:cxn ang="0">
                  <a:pos x="111" y="211"/>
                </a:cxn>
                <a:cxn ang="0">
                  <a:pos x="191" y="247"/>
                </a:cxn>
                <a:cxn ang="0">
                  <a:pos x="191" y="223"/>
                </a:cxn>
                <a:cxn ang="0">
                  <a:pos x="267" y="243"/>
                </a:cxn>
                <a:cxn ang="0">
                  <a:pos x="243" y="259"/>
                </a:cxn>
                <a:cxn ang="0">
                  <a:pos x="287" y="235"/>
                </a:cxn>
                <a:cxn ang="0">
                  <a:pos x="650" y="263"/>
                </a:cxn>
                <a:cxn ang="0">
                  <a:pos x="414" y="271"/>
                </a:cxn>
                <a:cxn ang="0">
                  <a:pos x="418" y="263"/>
                </a:cxn>
                <a:cxn ang="0">
                  <a:pos x="347" y="259"/>
                </a:cxn>
                <a:cxn ang="0">
                  <a:pos x="319" y="271"/>
                </a:cxn>
                <a:cxn ang="0">
                  <a:pos x="375" y="279"/>
                </a:cxn>
                <a:cxn ang="0">
                  <a:pos x="422" y="311"/>
                </a:cxn>
                <a:cxn ang="0">
                  <a:pos x="426" y="267"/>
                </a:cxn>
                <a:cxn ang="0">
                  <a:pos x="442" y="279"/>
                </a:cxn>
              </a:cxnLst>
              <a:rect l="0" t="0" r="r" b="b"/>
              <a:pathLst>
                <a:path w="694" h="311">
                  <a:moveTo>
                    <a:pt x="123" y="100"/>
                  </a:moveTo>
                  <a:lnTo>
                    <a:pt x="119" y="100"/>
                  </a:lnTo>
                  <a:lnTo>
                    <a:pt x="119" y="96"/>
                  </a:lnTo>
                  <a:lnTo>
                    <a:pt x="123" y="96"/>
                  </a:lnTo>
                  <a:lnTo>
                    <a:pt x="123" y="100"/>
                  </a:lnTo>
                  <a:close/>
                  <a:moveTo>
                    <a:pt x="494" y="167"/>
                  </a:moveTo>
                  <a:lnTo>
                    <a:pt x="490" y="167"/>
                  </a:lnTo>
                  <a:lnTo>
                    <a:pt x="494" y="167"/>
                  </a:lnTo>
                  <a:close/>
                  <a:moveTo>
                    <a:pt x="323" y="171"/>
                  </a:moveTo>
                  <a:lnTo>
                    <a:pt x="323" y="175"/>
                  </a:lnTo>
                  <a:lnTo>
                    <a:pt x="319" y="175"/>
                  </a:lnTo>
                  <a:lnTo>
                    <a:pt x="323" y="171"/>
                  </a:lnTo>
                  <a:close/>
                  <a:moveTo>
                    <a:pt x="478" y="36"/>
                  </a:moveTo>
                  <a:lnTo>
                    <a:pt x="478" y="32"/>
                  </a:lnTo>
                  <a:lnTo>
                    <a:pt x="478" y="28"/>
                  </a:lnTo>
                  <a:lnTo>
                    <a:pt x="482" y="32"/>
                  </a:lnTo>
                  <a:lnTo>
                    <a:pt x="478" y="32"/>
                  </a:lnTo>
                  <a:lnTo>
                    <a:pt x="478" y="36"/>
                  </a:lnTo>
                  <a:close/>
                  <a:moveTo>
                    <a:pt x="343" y="32"/>
                  </a:moveTo>
                  <a:lnTo>
                    <a:pt x="343" y="36"/>
                  </a:lnTo>
                  <a:lnTo>
                    <a:pt x="347" y="36"/>
                  </a:lnTo>
                  <a:lnTo>
                    <a:pt x="343" y="36"/>
                  </a:lnTo>
                  <a:lnTo>
                    <a:pt x="343" y="32"/>
                  </a:lnTo>
                  <a:close/>
                  <a:moveTo>
                    <a:pt x="339" y="36"/>
                  </a:moveTo>
                  <a:lnTo>
                    <a:pt x="343" y="36"/>
                  </a:lnTo>
                  <a:lnTo>
                    <a:pt x="339" y="36"/>
                  </a:lnTo>
                  <a:close/>
                  <a:moveTo>
                    <a:pt x="478" y="40"/>
                  </a:moveTo>
                  <a:lnTo>
                    <a:pt x="474" y="36"/>
                  </a:lnTo>
                  <a:lnTo>
                    <a:pt x="478" y="36"/>
                  </a:lnTo>
                  <a:lnTo>
                    <a:pt x="478" y="40"/>
                  </a:lnTo>
                  <a:close/>
                  <a:moveTo>
                    <a:pt x="466" y="48"/>
                  </a:moveTo>
                  <a:lnTo>
                    <a:pt x="462" y="48"/>
                  </a:lnTo>
                  <a:lnTo>
                    <a:pt x="462" y="44"/>
                  </a:lnTo>
                  <a:lnTo>
                    <a:pt x="462" y="40"/>
                  </a:lnTo>
                  <a:lnTo>
                    <a:pt x="462" y="44"/>
                  </a:lnTo>
                  <a:lnTo>
                    <a:pt x="466" y="48"/>
                  </a:lnTo>
                  <a:close/>
                  <a:moveTo>
                    <a:pt x="335" y="44"/>
                  </a:moveTo>
                  <a:lnTo>
                    <a:pt x="339" y="48"/>
                  </a:lnTo>
                  <a:lnTo>
                    <a:pt x="335" y="48"/>
                  </a:lnTo>
                  <a:lnTo>
                    <a:pt x="335" y="44"/>
                  </a:lnTo>
                  <a:close/>
                  <a:moveTo>
                    <a:pt x="339" y="48"/>
                  </a:moveTo>
                  <a:lnTo>
                    <a:pt x="343" y="48"/>
                  </a:lnTo>
                  <a:lnTo>
                    <a:pt x="339" y="52"/>
                  </a:lnTo>
                  <a:lnTo>
                    <a:pt x="339" y="48"/>
                  </a:lnTo>
                  <a:close/>
                  <a:moveTo>
                    <a:pt x="522" y="116"/>
                  </a:moveTo>
                  <a:lnTo>
                    <a:pt x="518" y="112"/>
                  </a:lnTo>
                  <a:lnTo>
                    <a:pt x="518" y="108"/>
                  </a:lnTo>
                  <a:lnTo>
                    <a:pt x="522" y="112"/>
                  </a:lnTo>
                  <a:lnTo>
                    <a:pt x="522" y="116"/>
                  </a:lnTo>
                  <a:close/>
                  <a:moveTo>
                    <a:pt x="131" y="116"/>
                  </a:moveTo>
                  <a:lnTo>
                    <a:pt x="127" y="116"/>
                  </a:lnTo>
                  <a:lnTo>
                    <a:pt x="131" y="116"/>
                  </a:lnTo>
                  <a:close/>
                  <a:moveTo>
                    <a:pt x="486" y="116"/>
                  </a:moveTo>
                  <a:lnTo>
                    <a:pt x="486" y="120"/>
                  </a:lnTo>
                  <a:lnTo>
                    <a:pt x="482" y="120"/>
                  </a:lnTo>
                  <a:lnTo>
                    <a:pt x="482" y="116"/>
                  </a:lnTo>
                  <a:lnTo>
                    <a:pt x="486" y="116"/>
                  </a:lnTo>
                  <a:close/>
                  <a:moveTo>
                    <a:pt x="406" y="116"/>
                  </a:moveTo>
                  <a:lnTo>
                    <a:pt x="402" y="116"/>
                  </a:lnTo>
                  <a:lnTo>
                    <a:pt x="406" y="116"/>
                  </a:lnTo>
                  <a:close/>
                  <a:moveTo>
                    <a:pt x="406" y="120"/>
                  </a:moveTo>
                  <a:lnTo>
                    <a:pt x="402" y="120"/>
                  </a:lnTo>
                  <a:lnTo>
                    <a:pt x="402" y="116"/>
                  </a:lnTo>
                  <a:lnTo>
                    <a:pt x="406" y="116"/>
                  </a:lnTo>
                  <a:lnTo>
                    <a:pt x="406" y="120"/>
                  </a:lnTo>
                  <a:close/>
                  <a:moveTo>
                    <a:pt x="486" y="120"/>
                  </a:moveTo>
                  <a:lnTo>
                    <a:pt x="486" y="124"/>
                  </a:lnTo>
                  <a:lnTo>
                    <a:pt x="486" y="120"/>
                  </a:lnTo>
                  <a:close/>
                  <a:moveTo>
                    <a:pt x="602" y="128"/>
                  </a:moveTo>
                  <a:lnTo>
                    <a:pt x="602" y="132"/>
                  </a:lnTo>
                  <a:lnTo>
                    <a:pt x="602" y="128"/>
                  </a:lnTo>
                  <a:close/>
                  <a:moveTo>
                    <a:pt x="466" y="148"/>
                  </a:moveTo>
                  <a:lnTo>
                    <a:pt x="466" y="152"/>
                  </a:lnTo>
                  <a:lnTo>
                    <a:pt x="466" y="156"/>
                  </a:lnTo>
                  <a:lnTo>
                    <a:pt x="466" y="152"/>
                  </a:lnTo>
                  <a:lnTo>
                    <a:pt x="466" y="148"/>
                  </a:lnTo>
                  <a:close/>
                  <a:moveTo>
                    <a:pt x="506" y="175"/>
                  </a:moveTo>
                  <a:lnTo>
                    <a:pt x="510" y="175"/>
                  </a:lnTo>
                  <a:lnTo>
                    <a:pt x="506" y="175"/>
                  </a:lnTo>
                  <a:close/>
                  <a:moveTo>
                    <a:pt x="578" y="183"/>
                  </a:moveTo>
                  <a:lnTo>
                    <a:pt x="578" y="187"/>
                  </a:lnTo>
                  <a:lnTo>
                    <a:pt x="582" y="187"/>
                  </a:lnTo>
                  <a:lnTo>
                    <a:pt x="578" y="187"/>
                  </a:lnTo>
                  <a:lnTo>
                    <a:pt x="578" y="183"/>
                  </a:lnTo>
                  <a:close/>
                  <a:moveTo>
                    <a:pt x="574" y="207"/>
                  </a:moveTo>
                  <a:lnTo>
                    <a:pt x="574" y="211"/>
                  </a:lnTo>
                  <a:lnTo>
                    <a:pt x="574" y="215"/>
                  </a:lnTo>
                  <a:lnTo>
                    <a:pt x="570" y="219"/>
                  </a:lnTo>
                  <a:lnTo>
                    <a:pt x="570" y="215"/>
                  </a:lnTo>
                  <a:lnTo>
                    <a:pt x="574" y="211"/>
                  </a:lnTo>
                  <a:lnTo>
                    <a:pt x="574" y="207"/>
                  </a:lnTo>
                  <a:close/>
                  <a:moveTo>
                    <a:pt x="570" y="215"/>
                  </a:moveTo>
                  <a:lnTo>
                    <a:pt x="570" y="219"/>
                  </a:lnTo>
                  <a:lnTo>
                    <a:pt x="566" y="219"/>
                  </a:lnTo>
                  <a:lnTo>
                    <a:pt x="566" y="215"/>
                  </a:lnTo>
                  <a:lnTo>
                    <a:pt x="566" y="211"/>
                  </a:lnTo>
                  <a:lnTo>
                    <a:pt x="570" y="211"/>
                  </a:lnTo>
                  <a:lnTo>
                    <a:pt x="570" y="215"/>
                  </a:lnTo>
                  <a:close/>
                  <a:moveTo>
                    <a:pt x="590" y="219"/>
                  </a:moveTo>
                  <a:lnTo>
                    <a:pt x="590" y="223"/>
                  </a:lnTo>
                  <a:lnTo>
                    <a:pt x="594" y="223"/>
                  </a:lnTo>
                  <a:lnTo>
                    <a:pt x="594" y="227"/>
                  </a:lnTo>
                  <a:lnTo>
                    <a:pt x="590" y="223"/>
                  </a:lnTo>
                  <a:lnTo>
                    <a:pt x="590" y="219"/>
                  </a:lnTo>
                  <a:close/>
                  <a:moveTo>
                    <a:pt x="594" y="223"/>
                  </a:moveTo>
                  <a:lnTo>
                    <a:pt x="598" y="227"/>
                  </a:lnTo>
                  <a:lnTo>
                    <a:pt x="594" y="227"/>
                  </a:lnTo>
                  <a:lnTo>
                    <a:pt x="594" y="223"/>
                  </a:lnTo>
                  <a:close/>
                  <a:moveTo>
                    <a:pt x="602" y="223"/>
                  </a:moveTo>
                  <a:lnTo>
                    <a:pt x="602" y="227"/>
                  </a:lnTo>
                  <a:lnTo>
                    <a:pt x="602" y="223"/>
                  </a:lnTo>
                  <a:close/>
                  <a:moveTo>
                    <a:pt x="598" y="231"/>
                  </a:moveTo>
                  <a:lnTo>
                    <a:pt x="598" y="235"/>
                  </a:lnTo>
                  <a:lnTo>
                    <a:pt x="598" y="231"/>
                  </a:lnTo>
                  <a:close/>
                  <a:moveTo>
                    <a:pt x="658" y="231"/>
                  </a:moveTo>
                  <a:lnTo>
                    <a:pt x="658" y="235"/>
                  </a:lnTo>
                  <a:lnTo>
                    <a:pt x="662" y="235"/>
                  </a:lnTo>
                  <a:lnTo>
                    <a:pt x="658" y="235"/>
                  </a:lnTo>
                  <a:lnTo>
                    <a:pt x="658" y="231"/>
                  </a:lnTo>
                  <a:close/>
                  <a:moveTo>
                    <a:pt x="506" y="239"/>
                  </a:moveTo>
                  <a:lnTo>
                    <a:pt x="506" y="243"/>
                  </a:lnTo>
                  <a:lnTo>
                    <a:pt x="506" y="239"/>
                  </a:lnTo>
                  <a:close/>
                  <a:moveTo>
                    <a:pt x="558" y="239"/>
                  </a:moveTo>
                  <a:lnTo>
                    <a:pt x="558" y="243"/>
                  </a:lnTo>
                  <a:lnTo>
                    <a:pt x="558" y="239"/>
                  </a:lnTo>
                  <a:lnTo>
                    <a:pt x="554" y="239"/>
                  </a:lnTo>
                  <a:lnTo>
                    <a:pt x="558" y="239"/>
                  </a:lnTo>
                  <a:close/>
                  <a:moveTo>
                    <a:pt x="391" y="243"/>
                  </a:moveTo>
                  <a:lnTo>
                    <a:pt x="387" y="243"/>
                  </a:lnTo>
                  <a:lnTo>
                    <a:pt x="391" y="243"/>
                  </a:lnTo>
                  <a:close/>
                  <a:moveTo>
                    <a:pt x="542" y="247"/>
                  </a:moveTo>
                  <a:lnTo>
                    <a:pt x="546" y="243"/>
                  </a:lnTo>
                  <a:lnTo>
                    <a:pt x="546" y="247"/>
                  </a:lnTo>
                  <a:lnTo>
                    <a:pt x="542" y="247"/>
                  </a:lnTo>
                  <a:close/>
                  <a:moveTo>
                    <a:pt x="490" y="247"/>
                  </a:moveTo>
                  <a:lnTo>
                    <a:pt x="486" y="251"/>
                  </a:lnTo>
                  <a:lnTo>
                    <a:pt x="486" y="247"/>
                  </a:lnTo>
                  <a:lnTo>
                    <a:pt x="490" y="247"/>
                  </a:lnTo>
                  <a:close/>
                  <a:moveTo>
                    <a:pt x="538" y="263"/>
                  </a:moveTo>
                  <a:lnTo>
                    <a:pt x="542" y="259"/>
                  </a:lnTo>
                  <a:lnTo>
                    <a:pt x="546" y="259"/>
                  </a:lnTo>
                  <a:lnTo>
                    <a:pt x="542" y="259"/>
                  </a:lnTo>
                  <a:lnTo>
                    <a:pt x="542" y="263"/>
                  </a:lnTo>
                  <a:lnTo>
                    <a:pt x="538" y="263"/>
                  </a:lnTo>
                  <a:close/>
                  <a:moveTo>
                    <a:pt x="311" y="271"/>
                  </a:moveTo>
                  <a:lnTo>
                    <a:pt x="307" y="271"/>
                  </a:lnTo>
                  <a:lnTo>
                    <a:pt x="307" y="267"/>
                  </a:lnTo>
                  <a:lnTo>
                    <a:pt x="311" y="267"/>
                  </a:lnTo>
                  <a:lnTo>
                    <a:pt x="311" y="271"/>
                  </a:lnTo>
                  <a:close/>
                  <a:moveTo>
                    <a:pt x="426" y="295"/>
                  </a:moveTo>
                  <a:lnTo>
                    <a:pt x="430" y="295"/>
                  </a:lnTo>
                  <a:lnTo>
                    <a:pt x="426" y="299"/>
                  </a:lnTo>
                  <a:lnTo>
                    <a:pt x="426" y="295"/>
                  </a:lnTo>
                  <a:close/>
                  <a:moveTo>
                    <a:pt x="4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4"/>
                  </a:lnTo>
                  <a:close/>
                  <a:moveTo>
                    <a:pt x="127" y="124"/>
                  </a:moveTo>
                  <a:lnTo>
                    <a:pt x="127" y="128"/>
                  </a:lnTo>
                  <a:lnTo>
                    <a:pt x="131" y="128"/>
                  </a:lnTo>
                  <a:lnTo>
                    <a:pt x="135" y="128"/>
                  </a:lnTo>
                  <a:lnTo>
                    <a:pt x="139" y="128"/>
                  </a:lnTo>
                  <a:lnTo>
                    <a:pt x="139" y="132"/>
                  </a:lnTo>
                  <a:lnTo>
                    <a:pt x="139" y="136"/>
                  </a:lnTo>
                  <a:lnTo>
                    <a:pt x="139" y="140"/>
                  </a:lnTo>
                  <a:lnTo>
                    <a:pt x="143" y="140"/>
                  </a:lnTo>
                  <a:lnTo>
                    <a:pt x="143" y="144"/>
                  </a:lnTo>
                  <a:lnTo>
                    <a:pt x="139" y="144"/>
                  </a:lnTo>
                  <a:lnTo>
                    <a:pt x="143" y="144"/>
                  </a:lnTo>
                  <a:lnTo>
                    <a:pt x="147" y="148"/>
                  </a:lnTo>
                  <a:lnTo>
                    <a:pt x="147" y="152"/>
                  </a:lnTo>
                  <a:lnTo>
                    <a:pt x="143" y="152"/>
                  </a:lnTo>
                  <a:lnTo>
                    <a:pt x="143" y="156"/>
                  </a:lnTo>
                  <a:lnTo>
                    <a:pt x="143" y="160"/>
                  </a:lnTo>
                  <a:lnTo>
                    <a:pt x="143" y="156"/>
                  </a:lnTo>
                  <a:lnTo>
                    <a:pt x="147" y="156"/>
                  </a:lnTo>
                  <a:lnTo>
                    <a:pt x="147" y="152"/>
                  </a:lnTo>
                  <a:lnTo>
                    <a:pt x="151" y="152"/>
                  </a:lnTo>
                  <a:lnTo>
                    <a:pt x="155" y="152"/>
                  </a:lnTo>
                  <a:lnTo>
                    <a:pt x="159" y="152"/>
                  </a:lnTo>
                  <a:lnTo>
                    <a:pt x="159" y="156"/>
                  </a:lnTo>
                  <a:lnTo>
                    <a:pt x="159" y="160"/>
                  </a:lnTo>
                  <a:lnTo>
                    <a:pt x="159" y="164"/>
                  </a:lnTo>
                  <a:lnTo>
                    <a:pt x="163" y="164"/>
                  </a:lnTo>
                  <a:lnTo>
                    <a:pt x="167" y="167"/>
                  </a:lnTo>
                  <a:lnTo>
                    <a:pt x="163" y="167"/>
                  </a:lnTo>
                  <a:lnTo>
                    <a:pt x="163" y="171"/>
                  </a:lnTo>
                  <a:lnTo>
                    <a:pt x="163" y="175"/>
                  </a:lnTo>
                  <a:lnTo>
                    <a:pt x="163" y="179"/>
                  </a:lnTo>
                  <a:lnTo>
                    <a:pt x="163" y="183"/>
                  </a:lnTo>
                  <a:lnTo>
                    <a:pt x="163" y="187"/>
                  </a:lnTo>
                  <a:lnTo>
                    <a:pt x="163" y="191"/>
                  </a:lnTo>
                  <a:lnTo>
                    <a:pt x="163" y="195"/>
                  </a:lnTo>
                  <a:lnTo>
                    <a:pt x="163" y="199"/>
                  </a:lnTo>
                  <a:lnTo>
                    <a:pt x="163" y="203"/>
                  </a:lnTo>
                  <a:lnTo>
                    <a:pt x="163" y="211"/>
                  </a:lnTo>
                  <a:lnTo>
                    <a:pt x="163" y="215"/>
                  </a:lnTo>
                  <a:lnTo>
                    <a:pt x="159" y="215"/>
                  </a:lnTo>
                  <a:lnTo>
                    <a:pt x="159" y="219"/>
                  </a:lnTo>
                  <a:lnTo>
                    <a:pt x="159" y="215"/>
                  </a:lnTo>
                  <a:lnTo>
                    <a:pt x="155" y="211"/>
                  </a:lnTo>
                  <a:lnTo>
                    <a:pt x="155" y="207"/>
                  </a:lnTo>
                  <a:lnTo>
                    <a:pt x="151" y="207"/>
                  </a:lnTo>
                  <a:lnTo>
                    <a:pt x="151" y="211"/>
                  </a:lnTo>
                  <a:lnTo>
                    <a:pt x="151" y="215"/>
                  </a:lnTo>
                  <a:lnTo>
                    <a:pt x="147" y="215"/>
                  </a:lnTo>
                  <a:lnTo>
                    <a:pt x="147" y="211"/>
                  </a:lnTo>
                  <a:lnTo>
                    <a:pt x="143" y="211"/>
                  </a:lnTo>
                  <a:lnTo>
                    <a:pt x="143" y="215"/>
                  </a:lnTo>
                  <a:lnTo>
                    <a:pt x="143" y="219"/>
                  </a:lnTo>
                  <a:lnTo>
                    <a:pt x="143" y="215"/>
                  </a:lnTo>
                  <a:lnTo>
                    <a:pt x="139" y="215"/>
                  </a:lnTo>
                  <a:lnTo>
                    <a:pt x="139" y="211"/>
                  </a:lnTo>
                  <a:lnTo>
                    <a:pt x="135" y="211"/>
                  </a:lnTo>
                  <a:lnTo>
                    <a:pt x="135" y="207"/>
                  </a:lnTo>
                  <a:lnTo>
                    <a:pt x="131" y="203"/>
                  </a:lnTo>
                  <a:lnTo>
                    <a:pt x="131" y="199"/>
                  </a:lnTo>
                  <a:lnTo>
                    <a:pt x="127" y="199"/>
                  </a:lnTo>
                  <a:lnTo>
                    <a:pt x="123" y="199"/>
                  </a:lnTo>
                  <a:lnTo>
                    <a:pt x="123" y="195"/>
                  </a:lnTo>
                  <a:lnTo>
                    <a:pt x="119" y="195"/>
                  </a:lnTo>
                  <a:lnTo>
                    <a:pt x="119" y="191"/>
                  </a:lnTo>
                  <a:lnTo>
                    <a:pt x="115" y="191"/>
                  </a:lnTo>
                  <a:lnTo>
                    <a:pt x="115" y="187"/>
                  </a:lnTo>
                  <a:lnTo>
                    <a:pt x="111" y="187"/>
                  </a:lnTo>
                  <a:lnTo>
                    <a:pt x="111" y="183"/>
                  </a:lnTo>
                  <a:lnTo>
                    <a:pt x="107" y="183"/>
                  </a:lnTo>
                  <a:lnTo>
                    <a:pt x="107" y="179"/>
                  </a:lnTo>
                  <a:lnTo>
                    <a:pt x="107" y="175"/>
                  </a:lnTo>
                  <a:lnTo>
                    <a:pt x="103" y="175"/>
                  </a:lnTo>
                  <a:lnTo>
                    <a:pt x="103" y="171"/>
                  </a:lnTo>
                  <a:lnTo>
                    <a:pt x="99" y="167"/>
                  </a:lnTo>
                  <a:lnTo>
                    <a:pt x="95" y="167"/>
                  </a:lnTo>
                  <a:lnTo>
                    <a:pt x="95" y="164"/>
                  </a:lnTo>
                  <a:lnTo>
                    <a:pt x="95" y="160"/>
                  </a:lnTo>
                  <a:lnTo>
                    <a:pt x="91" y="160"/>
                  </a:lnTo>
                  <a:lnTo>
                    <a:pt x="91" y="156"/>
                  </a:lnTo>
                  <a:lnTo>
                    <a:pt x="87" y="156"/>
                  </a:lnTo>
                  <a:lnTo>
                    <a:pt x="87" y="152"/>
                  </a:lnTo>
                  <a:lnTo>
                    <a:pt x="87" y="148"/>
                  </a:lnTo>
                  <a:lnTo>
                    <a:pt x="87" y="144"/>
                  </a:lnTo>
                  <a:lnTo>
                    <a:pt x="83" y="140"/>
                  </a:lnTo>
                  <a:lnTo>
                    <a:pt x="83" y="136"/>
                  </a:lnTo>
                  <a:lnTo>
                    <a:pt x="79" y="132"/>
                  </a:lnTo>
                  <a:lnTo>
                    <a:pt x="79" y="128"/>
                  </a:lnTo>
                  <a:lnTo>
                    <a:pt x="79" y="124"/>
                  </a:lnTo>
                  <a:lnTo>
                    <a:pt x="75" y="124"/>
                  </a:lnTo>
                  <a:lnTo>
                    <a:pt x="75" y="120"/>
                  </a:lnTo>
                  <a:lnTo>
                    <a:pt x="71" y="120"/>
                  </a:lnTo>
                  <a:lnTo>
                    <a:pt x="71" y="116"/>
                  </a:lnTo>
                  <a:lnTo>
                    <a:pt x="71" y="112"/>
                  </a:lnTo>
                  <a:lnTo>
                    <a:pt x="67" y="108"/>
                  </a:lnTo>
                  <a:lnTo>
                    <a:pt x="63" y="104"/>
                  </a:lnTo>
                  <a:lnTo>
                    <a:pt x="63" y="108"/>
                  </a:lnTo>
                  <a:lnTo>
                    <a:pt x="59" y="104"/>
                  </a:lnTo>
                  <a:lnTo>
                    <a:pt x="59" y="100"/>
                  </a:lnTo>
                  <a:lnTo>
                    <a:pt x="59" y="96"/>
                  </a:lnTo>
                  <a:lnTo>
                    <a:pt x="59" y="92"/>
                  </a:lnTo>
                  <a:lnTo>
                    <a:pt x="55" y="88"/>
                  </a:lnTo>
                  <a:lnTo>
                    <a:pt x="55" y="84"/>
                  </a:lnTo>
                  <a:lnTo>
                    <a:pt x="55" y="80"/>
                  </a:lnTo>
                  <a:lnTo>
                    <a:pt x="55" y="76"/>
                  </a:lnTo>
                  <a:lnTo>
                    <a:pt x="51" y="76"/>
                  </a:lnTo>
                  <a:lnTo>
                    <a:pt x="51" y="72"/>
                  </a:lnTo>
                  <a:lnTo>
                    <a:pt x="47" y="72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56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28" y="48"/>
                  </a:lnTo>
                  <a:lnTo>
                    <a:pt x="28" y="44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7" y="28"/>
                  </a:lnTo>
                  <a:lnTo>
                    <a:pt x="47" y="32"/>
                  </a:lnTo>
                  <a:lnTo>
                    <a:pt x="47" y="36"/>
                  </a:lnTo>
                  <a:lnTo>
                    <a:pt x="51" y="36"/>
                  </a:lnTo>
                  <a:lnTo>
                    <a:pt x="51" y="40"/>
                  </a:lnTo>
                  <a:lnTo>
                    <a:pt x="55" y="40"/>
                  </a:lnTo>
                  <a:lnTo>
                    <a:pt x="55" y="44"/>
                  </a:lnTo>
                  <a:lnTo>
                    <a:pt x="59" y="44"/>
                  </a:lnTo>
                  <a:lnTo>
                    <a:pt x="63" y="44"/>
                  </a:lnTo>
                  <a:lnTo>
                    <a:pt x="67" y="52"/>
                  </a:lnTo>
                  <a:lnTo>
                    <a:pt x="71" y="52"/>
                  </a:lnTo>
                  <a:lnTo>
                    <a:pt x="71" y="56"/>
                  </a:lnTo>
                  <a:lnTo>
                    <a:pt x="71" y="60"/>
                  </a:lnTo>
                  <a:lnTo>
                    <a:pt x="75" y="64"/>
                  </a:lnTo>
                  <a:lnTo>
                    <a:pt x="75" y="60"/>
                  </a:lnTo>
                  <a:lnTo>
                    <a:pt x="71" y="60"/>
                  </a:lnTo>
                  <a:lnTo>
                    <a:pt x="75" y="60"/>
                  </a:lnTo>
                  <a:lnTo>
                    <a:pt x="75" y="64"/>
                  </a:lnTo>
                  <a:lnTo>
                    <a:pt x="75" y="60"/>
                  </a:lnTo>
                  <a:lnTo>
                    <a:pt x="79" y="64"/>
                  </a:lnTo>
                  <a:lnTo>
                    <a:pt x="79" y="68"/>
                  </a:lnTo>
                  <a:lnTo>
                    <a:pt x="83" y="72"/>
                  </a:lnTo>
                  <a:lnTo>
                    <a:pt x="87" y="72"/>
                  </a:lnTo>
                  <a:lnTo>
                    <a:pt x="87" y="76"/>
                  </a:lnTo>
                  <a:lnTo>
                    <a:pt x="87" y="72"/>
                  </a:lnTo>
                  <a:lnTo>
                    <a:pt x="87" y="68"/>
                  </a:lnTo>
                  <a:lnTo>
                    <a:pt x="91" y="68"/>
                  </a:lnTo>
                  <a:lnTo>
                    <a:pt x="87" y="68"/>
                  </a:lnTo>
                  <a:lnTo>
                    <a:pt x="91" y="68"/>
                  </a:lnTo>
                  <a:lnTo>
                    <a:pt x="91" y="72"/>
                  </a:lnTo>
                  <a:lnTo>
                    <a:pt x="95" y="72"/>
                  </a:lnTo>
                  <a:lnTo>
                    <a:pt x="95" y="76"/>
                  </a:lnTo>
                  <a:lnTo>
                    <a:pt x="95" y="80"/>
                  </a:lnTo>
                  <a:lnTo>
                    <a:pt x="99" y="80"/>
                  </a:lnTo>
                  <a:lnTo>
                    <a:pt x="103" y="80"/>
                  </a:lnTo>
                  <a:lnTo>
                    <a:pt x="103" y="84"/>
                  </a:lnTo>
                  <a:lnTo>
                    <a:pt x="107" y="84"/>
                  </a:lnTo>
                  <a:lnTo>
                    <a:pt x="107" y="88"/>
                  </a:lnTo>
                  <a:lnTo>
                    <a:pt x="107" y="92"/>
                  </a:lnTo>
                  <a:lnTo>
                    <a:pt x="111" y="96"/>
                  </a:lnTo>
                  <a:lnTo>
                    <a:pt x="115" y="96"/>
                  </a:lnTo>
                  <a:lnTo>
                    <a:pt x="119" y="96"/>
                  </a:lnTo>
                  <a:lnTo>
                    <a:pt x="119" y="100"/>
                  </a:lnTo>
                  <a:lnTo>
                    <a:pt x="119" y="104"/>
                  </a:lnTo>
                  <a:lnTo>
                    <a:pt x="115" y="104"/>
                  </a:lnTo>
                  <a:lnTo>
                    <a:pt x="111" y="108"/>
                  </a:lnTo>
                  <a:lnTo>
                    <a:pt x="111" y="104"/>
                  </a:lnTo>
                  <a:lnTo>
                    <a:pt x="111" y="108"/>
                  </a:lnTo>
                  <a:lnTo>
                    <a:pt x="115" y="108"/>
                  </a:lnTo>
                  <a:lnTo>
                    <a:pt x="115" y="104"/>
                  </a:lnTo>
                  <a:lnTo>
                    <a:pt x="119" y="104"/>
                  </a:lnTo>
                  <a:lnTo>
                    <a:pt x="123" y="104"/>
                  </a:lnTo>
                  <a:lnTo>
                    <a:pt x="123" y="100"/>
                  </a:lnTo>
                  <a:lnTo>
                    <a:pt x="127" y="100"/>
                  </a:lnTo>
                  <a:lnTo>
                    <a:pt x="131" y="104"/>
                  </a:lnTo>
                  <a:lnTo>
                    <a:pt x="131" y="108"/>
                  </a:lnTo>
                  <a:lnTo>
                    <a:pt x="131" y="112"/>
                  </a:lnTo>
                  <a:lnTo>
                    <a:pt x="127" y="112"/>
                  </a:lnTo>
                  <a:lnTo>
                    <a:pt x="123" y="112"/>
                  </a:lnTo>
                  <a:lnTo>
                    <a:pt x="123" y="116"/>
                  </a:lnTo>
                  <a:lnTo>
                    <a:pt x="127" y="112"/>
                  </a:lnTo>
                  <a:lnTo>
                    <a:pt x="127" y="116"/>
                  </a:lnTo>
                  <a:lnTo>
                    <a:pt x="123" y="116"/>
                  </a:lnTo>
                  <a:lnTo>
                    <a:pt x="127" y="116"/>
                  </a:lnTo>
                  <a:lnTo>
                    <a:pt x="127" y="120"/>
                  </a:lnTo>
                  <a:lnTo>
                    <a:pt x="123" y="120"/>
                  </a:lnTo>
                  <a:lnTo>
                    <a:pt x="123" y="124"/>
                  </a:lnTo>
                  <a:lnTo>
                    <a:pt x="127" y="124"/>
                  </a:lnTo>
                  <a:close/>
                  <a:moveTo>
                    <a:pt x="219" y="72"/>
                  </a:moveTo>
                  <a:lnTo>
                    <a:pt x="219" y="76"/>
                  </a:lnTo>
                  <a:lnTo>
                    <a:pt x="219" y="80"/>
                  </a:lnTo>
                  <a:lnTo>
                    <a:pt x="223" y="84"/>
                  </a:lnTo>
                  <a:lnTo>
                    <a:pt x="223" y="88"/>
                  </a:lnTo>
                  <a:lnTo>
                    <a:pt x="227" y="88"/>
                  </a:lnTo>
                  <a:lnTo>
                    <a:pt x="231" y="92"/>
                  </a:lnTo>
                  <a:lnTo>
                    <a:pt x="231" y="96"/>
                  </a:lnTo>
                  <a:lnTo>
                    <a:pt x="235" y="96"/>
                  </a:lnTo>
                  <a:lnTo>
                    <a:pt x="235" y="92"/>
                  </a:lnTo>
                  <a:lnTo>
                    <a:pt x="239" y="92"/>
                  </a:lnTo>
                  <a:lnTo>
                    <a:pt x="243" y="92"/>
                  </a:lnTo>
                  <a:lnTo>
                    <a:pt x="247" y="92"/>
                  </a:lnTo>
                  <a:lnTo>
                    <a:pt x="251" y="92"/>
                  </a:lnTo>
                  <a:lnTo>
                    <a:pt x="255" y="92"/>
                  </a:lnTo>
                  <a:lnTo>
                    <a:pt x="255" y="88"/>
                  </a:lnTo>
                  <a:lnTo>
                    <a:pt x="259" y="88"/>
                  </a:lnTo>
                  <a:lnTo>
                    <a:pt x="259" y="84"/>
                  </a:lnTo>
                  <a:lnTo>
                    <a:pt x="263" y="80"/>
                  </a:lnTo>
                  <a:lnTo>
                    <a:pt x="267" y="80"/>
                  </a:lnTo>
                  <a:lnTo>
                    <a:pt x="271" y="80"/>
                  </a:lnTo>
                  <a:lnTo>
                    <a:pt x="271" y="84"/>
                  </a:lnTo>
                  <a:lnTo>
                    <a:pt x="275" y="84"/>
                  </a:lnTo>
                  <a:lnTo>
                    <a:pt x="279" y="88"/>
                  </a:lnTo>
                  <a:lnTo>
                    <a:pt x="283" y="88"/>
                  </a:lnTo>
                  <a:lnTo>
                    <a:pt x="283" y="84"/>
                  </a:lnTo>
                  <a:lnTo>
                    <a:pt x="287" y="84"/>
                  </a:lnTo>
                  <a:lnTo>
                    <a:pt x="291" y="84"/>
                  </a:lnTo>
                  <a:lnTo>
                    <a:pt x="295" y="84"/>
                  </a:lnTo>
                  <a:lnTo>
                    <a:pt x="295" y="80"/>
                  </a:lnTo>
                  <a:lnTo>
                    <a:pt x="295" y="76"/>
                  </a:lnTo>
                  <a:lnTo>
                    <a:pt x="299" y="76"/>
                  </a:lnTo>
                  <a:lnTo>
                    <a:pt x="299" y="72"/>
                  </a:lnTo>
                  <a:lnTo>
                    <a:pt x="299" y="68"/>
                  </a:lnTo>
                  <a:lnTo>
                    <a:pt x="303" y="64"/>
                  </a:lnTo>
                  <a:lnTo>
                    <a:pt x="303" y="56"/>
                  </a:lnTo>
                  <a:lnTo>
                    <a:pt x="307" y="56"/>
                  </a:lnTo>
                  <a:lnTo>
                    <a:pt x="307" y="52"/>
                  </a:lnTo>
                  <a:lnTo>
                    <a:pt x="307" y="48"/>
                  </a:lnTo>
                  <a:lnTo>
                    <a:pt x="311" y="48"/>
                  </a:lnTo>
                  <a:lnTo>
                    <a:pt x="311" y="44"/>
                  </a:lnTo>
                  <a:lnTo>
                    <a:pt x="311" y="40"/>
                  </a:lnTo>
                  <a:lnTo>
                    <a:pt x="311" y="36"/>
                  </a:lnTo>
                  <a:lnTo>
                    <a:pt x="311" y="32"/>
                  </a:lnTo>
                  <a:lnTo>
                    <a:pt x="315" y="32"/>
                  </a:lnTo>
                  <a:lnTo>
                    <a:pt x="315" y="28"/>
                  </a:lnTo>
                  <a:lnTo>
                    <a:pt x="315" y="32"/>
                  </a:lnTo>
                  <a:lnTo>
                    <a:pt x="319" y="32"/>
                  </a:lnTo>
                  <a:lnTo>
                    <a:pt x="323" y="32"/>
                  </a:lnTo>
                  <a:lnTo>
                    <a:pt x="327" y="32"/>
                  </a:lnTo>
                  <a:lnTo>
                    <a:pt x="331" y="32"/>
                  </a:lnTo>
                  <a:lnTo>
                    <a:pt x="335" y="32"/>
                  </a:lnTo>
                  <a:lnTo>
                    <a:pt x="339" y="32"/>
                  </a:lnTo>
                  <a:lnTo>
                    <a:pt x="339" y="36"/>
                  </a:lnTo>
                  <a:lnTo>
                    <a:pt x="339" y="32"/>
                  </a:lnTo>
                  <a:lnTo>
                    <a:pt x="335" y="36"/>
                  </a:lnTo>
                  <a:lnTo>
                    <a:pt x="339" y="36"/>
                  </a:lnTo>
                  <a:lnTo>
                    <a:pt x="339" y="40"/>
                  </a:lnTo>
                  <a:lnTo>
                    <a:pt x="343" y="40"/>
                  </a:lnTo>
                  <a:lnTo>
                    <a:pt x="343" y="44"/>
                  </a:lnTo>
                  <a:lnTo>
                    <a:pt x="339" y="44"/>
                  </a:lnTo>
                  <a:lnTo>
                    <a:pt x="335" y="44"/>
                  </a:lnTo>
                  <a:lnTo>
                    <a:pt x="331" y="44"/>
                  </a:lnTo>
                  <a:lnTo>
                    <a:pt x="335" y="44"/>
                  </a:lnTo>
                  <a:lnTo>
                    <a:pt x="335" y="48"/>
                  </a:lnTo>
                  <a:lnTo>
                    <a:pt x="339" y="48"/>
                  </a:lnTo>
                  <a:lnTo>
                    <a:pt x="335" y="48"/>
                  </a:lnTo>
                  <a:lnTo>
                    <a:pt x="335" y="52"/>
                  </a:lnTo>
                  <a:lnTo>
                    <a:pt x="339" y="52"/>
                  </a:lnTo>
                  <a:lnTo>
                    <a:pt x="343" y="56"/>
                  </a:lnTo>
                  <a:lnTo>
                    <a:pt x="343" y="60"/>
                  </a:lnTo>
                  <a:lnTo>
                    <a:pt x="343" y="64"/>
                  </a:lnTo>
                  <a:lnTo>
                    <a:pt x="347" y="64"/>
                  </a:lnTo>
                  <a:lnTo>
                    <a:pt x="347" y="68"/>
                  </a:lnTo>
                  <a:lnTo>
                    <a:pt x="347" y="72"/>
                  </a:lnTo>
                  <a:lnTo>
                    <a:pt x="343" y="72"/>
                  </a:lnTo>
                  <a:lnTo>
                    <a:pt x="343" y="76"/>
                  </a:lnTo>
                  <a:lnTo>
                    <a:pt x="347" y="80"/>
                  </a:lnTo>
                  <a:lnTo>
                    <a:pt x="351" y="80"/>
                  </a:lnTo>
                  <a:lnTo>
                    <a:pt x="351" y="84"/>
                  </a:lnTo>
                  <a:lnTo>
                    <a:pt x="355" y="84"/>
                  </a:lnTo>
                  <a:lnTo>
                    <a:pt x="359" y="88"/>
                  </a:lnTo>
                  <a:lnTo>
                    <a:pt x="359" y="92"/>
                  </a:lnTo>
                  <a:lnTo>
                    <a:pt x="363" y="92"/>
                  </a:lnTo>
                  <a:lnTo>
                    <a:pt x="359" y="92"/>
                  </a:lnTo>
                  <a:lnTo>
                    <a:pt x="359" y="96"/>
                  </a:lnTo>
                  <a:lnTo>
                    <a:pt x="355" y="96"/>
                  </a:lnTo>
                  <a:lnTo>
                    <a:pt x="351" y="96"/>
                  </a:lnTo>
                  <a:lnTo>
                    <a:pt x="347" y="92"/>
                  </a:lnTo>
                  <a:lnTo>
                    <a:pt x="347" y="88"/>
                  </a:lnTo>
                  <a:lnTo>
                    <a:pt x="343" y="88"/>
                  </a:lnTo>
                  <a:lnTo>
                    <a:pt x="343" y="92"/>
                  </a:lnTo>
                  <a:lnTo>
                    <a:pt x="347" y="92"/>
                  </a:lnTo>
                  <a:lnTo>
                    <a:pt x="347" y="96"/>
                  </a:lnTo>
                  <a:lnTo>
                    <a:pt x="343" y="96"/>
                  </a:lnTo>
                  <a:lnTo>
                    <a:pt x="343" y="100"/>
                  </a:lnTo>
                  <a:lnTo>
                    <a:pt x="339" y="100"/>
                  </a:lnTo>
                  <a:lnTo>
                    <a:pt x="339" y="104"/>
                  </a:lnTo>
                  <a:lnTo>
                    <a:pt x="339" y="108"/>
                  </a:lnTo>
                  <a:lnTo>
                    <a:pt x="339" y="112"/>
                  </a:lnTo>
                  <a:lnTo>
                    <a:pt x="339" y="116"/>
                  </a:lnTo>
                  <a:lnTo>
                    <a:pt x="339" y="120"/>
                  </a:lnTo>
                  <a:lnTo>
                    <a:pt x="339" y="116"/>
                  </a:lnTo>
                  <a:lnTo>
                    <a:pt x="339" y="120"/>
                  </a:lnTo>
                  <a:lnTo>
                    <a:pt x="339" y="124"/>
                  </a:lnTo>
                  <a:lnTo>
                    <a:pt x="335" y="124"/>
                  </a:lnTo>
                  <a:lnTo>
                    <a:pt x="335" y="128"/>
                  </a:lnTo>
                  <a:lnTo>
                    <a:pt x="331" y="128"/>
                  </a:lnTo>
                  <a:lnTo>
                    <a:pt x="331" y="132"/>
                  </a:lnTo>
                  <a:lnTo>
                    <a:pt x="327" y="132"/>
                  </a:lnTo>
                  <a:lnTo>
                    <a:pt x="327" y="128"/>
                  </a:lnTo>
                  <a:lnTo>
                    <a:pt x="327" y="132"/>
                  </a:lnTo>
                  <a:lnTo>
                    <a:pt x="327" y="136"/>
                  </a:lnTo>
                  <a:lnTo>
                    <a:pt x="323" y="136"/>
                  </a:lnTo>
                  <a:lnTo>
                    <a:pt x="323" y="140"/>
                  </a:lnTo>
                  <a:lnTo>
                    <a:pt x="319" y="140"/>
                  </a:lnTo>
                  <a:lnTo>
                    <a:pt x="319" y="144"/>
                  </a:lnTo>
                  <a:lnTo>
                    <a:pt x="323" y="144"/>
                  </a:lnTo>
                  <a:lnTo>
                    <a:pt x="323" y="148"/>
                  </a:lnTo>
                  <a:lnTo>
                    <a:pt x="319" y="148"/>
                  </a:lnTo>
                  <a:lnTo>
                    <a:pt x="323" y="152"/>
                  </a:lnTo>
                  <a:lnTo>
                    <a:pt x="323" y="148"/>
                  </a:lnTo>
                  <a:lnTo>
                    <a:pt x="323" y="152"/>
                  </a:lnTo>
                  <a:lnTo>
                    <a:pt x="327" y="152"/>
                  </a:lnTo>
                  <a:lnTo>
                    <a:pt x="323" y="152"/>
                  </a:lnTo>
                  <a:lnTo>
                    <a:pt x="323" y="156"/>
                  </a:lnTo>
                  <a:lnTo>
                    <a:pt x="319" y="156"/>
                  </a:lnTo>
                  <a:lnTo>
                    <a:pt x="323" y="160"/>
                  </a:lnTo>
                  <a:lnTo>
                    <a:pt x="323" y="164"/>
                  </a:lnTo>
                  <a:lnTo>
                    <a:pt x="319" y="164"/>
                  </a:lnTo>
                  <a:lnTo>
                    <a:pt x="319" y="160"/>
                  </a:lnTo>
                  <a:lnTo>
                    <a:pt x="319" y="164"/>
                  </a:lnTo>
                  <a:lnTo>
                    <a:pt x="319" y="167"/>
                  </a:lnTo>
                  <a:lnTo>
                    <a:pt x="319" y="171"/>
                  </a:lnTo>
                  <a:lnTo>
                    <a:pt x="315" y="171"/>
                  </a:lnTo>
                  <a:lnTo>
                    <a:pt x="315" y="175"/>
                  </a:lnTo>
                  <a:lnTo>
                    <a:pt x="311" y="175"/>
                  </a:lnTo>
                  <a:lnTo>
                    <a:pt x="311" y="179"/>
                  </a:lnTo>
                  <a:lnTo>
                    <a:pt x="307" y="179"/>
                  </a:lnTo>
                  <a:lnTo>
                    <a:pt x="303" y="179"/>
                  </a:lnTo>
                  <a:lnTo>
                    <a:pt x="303" y="183"/>
                  </a:lnTo>
                  <a:lnTo>
                    <a:pt x="299" y="183"/>
                  </a:lnTo>
                  <a:lnTo>
                    <a:pt x="295" y="187"/>
                  </a:lnTo>
                  <a:lnTo>
                    <a:pt x="295" y="183"/>
                  </a:lnTo>
                  <a:lnTo>
                    <a:pt x="295" y="179"/>
                  </a:lnTo>
                  <a:lnTo>
                    <a:pt x="295" y="175"/>
                  </a:lnTo>
                  <a:lnTo>
                    <a:pt x="291" y="175"/>
                  </a:lnTo>
                  <a:lnTo>
                    <a:pt x="291" y="171"/>
                  </a:lnTo>
                  <a:lnTo>
                    <a:pt x="287" y="171"/>
                  </a:lnTo>
                  <a:lnTo>
                    <a:pt x="283" y="171"/>
                  </a:lnTo>
                  <a:lnTo>
                    <a:pt x="279" y="171"/>
                  </a:lnTo>
                  <a:lnTo>
                    <a:pt x="279" y="167"/>
                  </a:lnTo>
                  <a:lnTo>
                    <a:pt x="275" y="167"/>
                  </a:lnTo>
                  <a:lnTo>
                    <a:pt x="271" y="167"/>
                  </a:lnTo>
                  <a:lnTo>
                    <a:pt x="271" y="164"/>
                  </a:lnTo>
                  <a:lnTo>
                    <a:pt x="271" y="167"/>
                  </a:lnTo>
                  <a:lnTo>
                    <a:pt x="267" y="171"/>
                  </a:lnTo>
                  <a:lnTo>
                    <a:pt x="263" y="171"/>
                  </a:lnTo>
                  <a:lnTo>
                    <a:pt x="259" y="171"/>
                  </a:lnTo>
                  <a:lnTo>
                    <a:pt x="255" y="171"/>
                  </a:lnTo>
                  <a:lnTo>
                    <a:pt x="255" y="175"/>
                  </a:lnTo>
                  <a:lnTo>
                    <a:pt x="251" y="175"/>
                  </a:lnTo>
                  <a:lnTo>
                    <a:pt x="251" y="171"/>
                  </a:lnTo>
                  <a:lnTo>
                    <a:pt x="251" y="167"/>
                  </a:lnTo>
                  <a:lnTo>
                    <a:pt x="251" y="164"/>
                  </a:lnTo>
                  <a:lnTo>
                    <a:pt x="251" y="160"/>
                  </a:lnTo>
                  <a:lnTo>
                    <a:pt x="251" y="164"/>
                  </a:lnTo>
                  <a:lnTo>
                    <a:pt x="247" y="164"/>
                  </a:lnTo>
                  <a:lnTo>
                    <a:pt x="243" y="164"/>
                  </a:lnTo>
                  <a:lnTo>
                    <a:pt x="243" y="167"/>
                  </a:lnTo>
                  <a:lnTo>
                    <a:pt x="239" y="167"/>
                  </a:lnTo>
                  <a:lnTo>
                    <a:pt x="235" y="164"/>
                  </a:lnTo>
                  <a:lnTo>
                    <a:pt x="239" y="164"/>
                  </a:lnTo>
                  <a:lnTo>
                    <a:pt x="235" y="164"/>
                  </a:lnTo>
                  <a:lnTo>
                    <a:pt x="235" y="167"/>
                  </a:lnTo>
                  <a:lnTo>
                    <a:pt x="235" y="164"/>
                  </a:lnTo>
                  <a:lnTo>
                    <a:pt x="231" y="164"/>
                  </a:lnTo>
                  <a:lnTo>
                    <a:pt x="227" y="164"/>
                  </a:lnTo>
                  <a:lnTo>
                    <a:pt x="227" y="160"/>
                  </a:lnTo>
                  <a:lnTo>
                    <a:pt x="227" y="156"/>
                  </a:lnTo>
                  <a:lnTo>
                    <a:pt x="227" y="152"/>
                  </a:lnTo>
                  <a:lnTo>
                    <a:pt x="227" y="148"/>
                  </a:lnTo>
                  <a:lnTo>
                    <a:pt x="227" y="144"/>
                  </a:lnTo>
                  <a:lnTo>
                    <a:pt x="223" y="144"/>
                  </a:lnTo>
                  <a:lnTo>
                    <a:pt x="223" y="140"/>
                  </a:lnTo>
                  <a:lnTo>
                    <a:pt x="227" y="140"/>
                  </a:lnTo>
                  <a:lnTo>
                    <a:pt x="227" y="136"/>
                  </a:lnTo>
                  <a:lnTo>
                    <a:pt x="227" y="132"/>
                  </a:lnTo>
                  <a:lnTo>
                    <a:pt x="223" y="132"/>
                  </a:lnTo>
                  <a:lnTo>
                    <a:pt x="223" y="128"/>
                  </a:lnTo>
                  <a:lnTo>
                    <a:pt x="219" y="128"/>
                  </a:lnTo>
                  <a:lnTo>
                    <a:pt x="215" y="124"/>
                  </a:lnTo>
                  <a:lnTo>
                    <a:pt x="215" y="128"/>
                  </a:lnTo>
                  <a:lnTo>
                    <a:pt x="215" y="124"/>
                  </a:lnTo>
                  <a:lnTo>
                    <a:pt x="219" y="124"/>
                  </a:lnTo>
                  <a:lnTo>
                    <a:pt x="215" y="120"/>
                  </a:lnTo>
                  <a:lnTo>
                    <a:pt x="211" y="120"/>
                  </a:lnTo>
                  <a:lnTo>
                    <a:pt x="211" y="116"/>
                  </a:lnTo>
                  <a:lnTo>
                    <a:pt x="211" y="112"/>
                  </a:lnTo>
                  <a:lnTo>
                    <a:pt x="211" y="108"/>
                  </a:lnTo>
                  <a:lnTo>
                    <a:pt x="211" y="104"/>
                  </a:lnTo>
                  <a:lnTo>
                    <a:pt x="207" y="104"/>
                  </a:lnTo>
                  <a:lnTo>
                    <a:pt x="207" y="100"/>
                  </a:lnTo>
                  <a:lnTo>
                    <a:pt x="207" y="96"/>
                  </a:lnTo>
                  <a:lnTo>
                    <a:pt x="207" y="92"/>
                  </a:lnTo>
                  <a:lnTo>
                    <a:pt x="211" y="92"/>
                  </a:lnTo>
                  <a:lnTo>
                    <a:pt x="207" y="92"/>
                  </a:lnTo>
                  <a:lnTo>
                    <a:pt x="207" y="88"/>
                  </a:lnTo>
                  <a:lnTo>
                    <a:pt x="211" y="88"/>
                  </a:lnTo>
                  <a:lnTo>
                    <a:pt x="215" y="84"/>
                  </a:lnTo>
                  <a:lnTo>
                    <a:pt x="211" y="84"/>
                  </a:lnTo>
                  <a:lnTo>
                    <a:pt x="211" y="88"/>
                  </a:lnTo>
                  <a:lnTo>
                    <a:pt x="211" y="84"/>
                  </a:lnTo>
                  <a:lnTo>
                    <a:pt x="211" y="80"/>
                  </a:lnTo>
                  <a:lnTo>
                    <a:pt x="215" y="80"/>
                  </a:lnTo>
                  <a:lnTo>
                    <a:pt x="215" y="76"/>
                  </a:lnTo>
                  <a:lnTo>
                    <a:pt x="219" y="72"/>
                  </a:lnTo>
                  <a:close/>
                  <a:moveTo>
                    <a:pt x="195" y="40"/>
                  </a:moveTo>
                  <a:lnTo>
                    <a:pt x="195" y="36"/>
                  </a:lnTo>
                  <a:lnTo>
                    <a:pt x="195" y="32"/>
                  </a:lnTo>
                  <a:lnTo>
                    <a:pt x="199" y="32"/>
                  </a:lnTo>
                  <a:lnTo>
                    <a:pt x="199" y="36"/>
                  </a:lnTo>
                  <a:lnTo>
                    <a:pt x="199" y="40"/>
                  </a:lnTo>
                  <a:lnTo>
                    <a:pt x="199" y="44"/>
                  </a:lnTo>
                  <a:lnTo>
                    <a:pt x="195" y="44"/>
                  </a:lnTo>
                  <a:lnTo>
                    <a:pt x="195" y="40"/>
                  </a:lnTo>
                  <a:lnTo>
                    <a:pt x="199" y="40"/>
                  </a:lnTo>
                  <a:lnTo>
                    <a:pt x="195" y="40"/>
                  </a:lnTo>
                  <a:close/>
                  <a:moveTo>
                    <a:pt x="159" y="56"/>
                  </a:moveTo>
                  <a:lnTo>
                    <a:pt x="159" y="52"/>
                  </a:lnTo>
                  <a:lnTo>
                    <a:pt x="163" y="56"/>
                  </a:lnTo>
                  <a:lnTo>
                    <a:pt x="159" y="56"/>
                  </a:lnTo>
                  <a:lnTo>
                    <a:pt x="159" y="60"/>
                  </a:lnTo>
                  <a:lnTo>
                    <a:pt x="159" y="56"/>
                  </a:lnTo>
                  <a:close/>
                  <a:moveTo>
                    <a:pt x="20" y="68"/>
                  </a:moveTo>
                  <a:lnTo>
                    <a:pt x="16" y="68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8" y="60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6" y="60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0" y="68"/>
                  </a:lnTo>
                  <a:close/>
                  <a:moveTo>
                    <a:pt x="502" y="72"/>
                  </a:moveTo>
                  <a:lnTo>
                    <a:pt x="502" y="68"/>
                  </a:lnTo>
                  <a:lnTo>
                    <a:pt x="502" y="64"/>
                  </a:lnTo>
                  <a:lnTo>
                    <a:pt x="506" y="60"/>
                  </a:lnTo>
                  <a:lnTo>
                    <a:pt x="506" y="64"/>
                  </a:lnTo>
                  <a:lnTo>
                    <a:pt x="506" y="68"/>
                  </a:lnTo>
                  <a:lnTo>
                    <a:pt x="506" y="72"/>
                  </a:lnTo>
                  <a:lnTo>
                    <a:pt x="502" y="72"/>
                  </a:lnTo>
                  <a:close/>
                  <a:moveTo>
                    <a:pt x="32" y="72"/>
                  </a:moveTo>
                  <a:lnTo>
                    <a:pt x="32" y="68"/>
                  </a:lnTo>
                  <a:lnTo>
                    <a:pt x="28" y="68"/>
                  </a:lnTo>
                  <a:lnTo>
                    <a:pt x="32" y="68"/>
                  </a:lnTo>
                  <a:lnTo>
                    <a:pt x="32" y="72"/>
                  </a:lnTo>
                  <a:close/>
                  <a:moveTo>
                    <a:pt x="494" y="120"/>
                  </a:moveTo>
                  <a:lnTo>
                    <a:pt x="494" y="116"/>
                  </a:lnTo>
                  <a:lnTo>
                    <a:pt x="490" y="112"/>
                  </a:lnTo>
                  <a:lnTo>
                    <a:pt x="494" y="112"/>
                  </a:lnTo>
                  <a:lnTo>
                    <a:pt x="494" y="108"/>
                  </a:lnTo>
                  <a:lnTo>
                    <a:pt x="490" y="104"/>
                  </a:lnTo>
                  <a:lnTo>
                    <a:pt x="490" y="100"/>
                  </a:lnTo>
                  <a:lnTo>
                    <a:pt x="490" y="96"/>
                  </a:lnTo>
                  <a:lnTo>
                    <a:pt x="490" y="92"/>
                  </a:lnTo>
                  <a:lnTo>
                    <a:pt x="486" y="92"/>
                  </a:lnTo>
                  <a:lnTo>
                    <a:pt x="486" y="88"/>
                  </a:lnTo>
                  <a:lnTo>
                    <a:pt x="490" y="88"/>
                  </a:lnTo>
                  <a:lnTo>
                    <a:pt x="490" y="84"/>
                  </a:lnTo>
                  <a:lnTo>
                    <a:pt x="490" y="80"/>
                  </a:lnTo>
                  <a:lnTo>
                    <a:pt x="490" y="76"/>
                  </a:lnTo>
                  <a:lnTo>
                    <a:pt x="494" y="76"/>
                  </a:lnTo>
                  <a:lnTo>
                    <a:pt x="494" y="72"/>
                  </a:lnTo>
                  <a:lnTo>
                    <a:pt x="498" y="68"/>
                  </a:lnTo>
                  <a:lnTo>
                    <a:pt x="498" y="72"/>
                  </a:lnTo>
                  <a:lnTo>
                    <a:pt x="494" y="76"/>
                  </a:lnTo>
                  <a:lnTo>
                    <a:pt x="498" y="76"/>
                  </a:lnTo>
                  <a:lnTo>
                    <a:pt x="498" y="80"/>
                  </a:lnTo>
                  <a:lnTo>
                    <a:pt x="498" y="84"/>
                  </a:lnTo>
                  <a:lnTo>
                    <a:pt x="494" y="88"/>
                  </a:lnTo>
                  <a:lnTo>
                    <a:pt x="490" y="92"/>
                  </a:lnTo>
                  <a:lnTo>
                    <a:pt x="494" y="96"/>
                  </a:lnTo>
                  <a:lnTo>
                    <a:pt x="494" y="92"/>
                  </a:lnTo>
                  <a:lnTo>
                    <a:pt x="498" y="92"/>
                  </a:lnTo>
                  <a:lnTo>
                    <a:pt x="498" y="88"/>
                  </a:lnTo>
                  <a:lnTo>
                    <a:pt x="498" y="84"/>
                  </a:lnTo>
                  <a:lnTo>
                    <a:pt x="502" y="84"/>
                  </a:lnTo>
                  <a:lnTo>
                    <a:pt x="502" y="80"/>
                  </a:lnTo>
                  <a:lnTo>
                    <a:pt x="506" y="80"/>
                  </a:lnTo>
                  <a:lnTo>
                    <a:pt x="506" y="88"/>
                  </a:lnTo>
                  <a:lnTo>
                    <a:pt x="506" y="92"/>
                  </a:lnTo>
                  <a:lnTo>
                    <a:pt x="502" y="92"/>
                  </a:lnTo>
                  <a:lnTo>
                    <a:pt x="502" y="96"/>
                  </a:lnTo>
                  <a:lnTo>
                    <a:pt x="502" y="100"/>
                  </a:lnTo>
                  <a:lnTo>
                    <a:pt x="506" y="100"/>
                  </a:lnTo>
                  <a:lnTo>
                    <a:pt x="506" y="104"/>
                  </a:lnTo>
                  <a:lnTo>
                    <a:pt x="510" y="104"/>
                  </a:lnTo>
                  <a:lnTo>
                    <a:pt x="510" y="108"/>
                  </a:lnTo>
                  <a:lnTo>
                    <a:pt x="510" y="104"/>
                  </a:lnTo>
                  <a:lnTo>
                    <a:pt x="506" y="104"/>
                  </a:lnTo>
                  <a:lnTo>
                    <a:pt x="502" y="104"/>
                  </a:lnTo>
                  <a:lnTo>
                    <a:pt x="498" y="104"/>
                  </a:lnTo>
                  <a:lnTo>
                    <a:pt x="498" y="100"/>
                  </a:lnTo>
                  <a:lnTo>
                    <a:pt x="494" y="100"/>
                  </a:lnTo>
                  <a:lnTo>
                    <a:pt x="494" y="104"/>
                  </a:lnTo>
                  <a:lnTo>
                    <a:pt x="494" y="108"/>
                  </a:lnTo>
                  <a:lnTo>
                    <a:pt x="494" y="112"/>
                  </a:lnTo>
                  <a:lnTo>
                    <a:pt x="498" y="116"/>
                  </a:lnTo>
                  <a:lnTo>
                    <a:pt x="498" y="120"/>
                  </a:lnTo>
                  <a:lnTo>
                    <a:pt x="502" y="124"/>
                  </a:lnTo>
                  <a:lnTo>
                    <a:pt x="502" y="128"/>
                  </a:lnTo>
                  <a:lnTo>
                    <a:pt x="502" y="124"/>
                  </a:lnTo>
                  <a:lnTo>
                    <a:pt x="498" y="124"/>
                  </a:lnTo>
                  <a:lnTo>
                    <a:pt x="498" y="120"/>
                  </a:lnTo>
                  <a:lnTo>
                    <a:pt x="494" y="120"/>
                  </a:lnTo>
                  <a:close/>
                  <a:moveTo>
                    <a:pt x="99" y="76"/>
                  </a:moveTo>
                  <a:lnTo>
                    <a:pt x="99" y="80"/>
                  </a:lnTo>
                  <a:lnTo>
                    <a:pt x="95" y="80"/>
                  </a:lnTo>
                  <a:lnTo>
                    <a:pt x="95" y="76"/>
                  </a:lnTo>
                  <a:lnTo>
                    <a:pt x="95" y="72"/>
                  </a:lnTo>
                  <a:lnTo>
                    <a:pt x="99" y="72"/>
                  </a:lnTo>
                  <a:lnTo>
                    <a:pt x="99" y="76"/>
                  </a:lnTo>
                  <a:close/>
                  <a:moveTo>
                    <a:pt x="426" y="128"/>
                  </a:moveTo>
                  <a:lnTo>
                    <a:pt x="422" y="128"/>
                  </a:lnTo>
                  <a:lnTo>
                    <a:pt x="418" y="128"/>
                  </a:lnTo>
                  <a:lnTo>
                    <a:pt x="418" y="132"/>
                  </a:lnTo>
                  <a:lnTo>
                    <a:pt x="414" y="132"/>
                  </a:lnTo>
                  <a:lnTo>
                    <a:pt x="414" y="136"/>
                  </a:lnTo>
                  <a:lnTo>
                    <a:pt x="410" y="136"/>
                  </a:lnTo>
                  <a:lnTo>
                    <a:pt x="410" y="140"/>
                  </a:lnTo>
                  <a:lnTo>
                    <a:pt x="406" y="140"/>
                  </a:lnTo>
                  <a:lnTo>
                    <a:pt x="402" y="140"/>
                  </a:lnTo>
                  <a:lnTo>
                    <a:pt x="402" y="144"/>
                  </a:lnTo>
                  <a:lnTo>
                    <a:pt x="398" y="144"/>
                  </a:lnTo>
                  <a:lnTo>
                    <a:pt x="395" y="144"/>
                  </a:lnTo>
                  <a:lnTo>
                    <a:pt x="395" y="148"/>
                  </a:lnTo>
                  <a:lnTo>
                    <a:pt x="398" y="148"/>
                  </a:lnTo>
                  <a:lnTo>
                    <a:pt x="402" y="148"/>
                  </a:lnTo>
                  <a:lnTo>
                    <a:pt x="402" y="152"/>
                  </a:lnTo>
                  <a:lnTo>
                    <a:pt x="406" y="156"/>
                  </a:lnTo>
                  <a:lnTo>
                    <a:pt x="406" y="160"/>
                  </a:lnTo>
                  <a:lnTo>
                    <a:pt x="410" y="160"/>
                  </a:lnTo>
                  <a:lnTo>
                    <a:pt x="410" y="164"/>
                  </a:lnTo>
                  <a:lnTo>
                    <a:pt x="410" y="167"/>
                  </a:lnTo>
                  <a:lnTo>
                    <a:pt x="414" y="167"/>
                  </a:lnTo>
                  <a:lnTo>
                    <a:pt x="410" y="167"/>
                  </a:lnTo>
                  <a:lnTo>
                    <a:pt x="410" y="171"/>
                  </a:lnTo>
                  <a:lnTo>
                    <a:pt x="410" y="175"/>
                  </a:lnTo>
                  <a:lnTo>
                    <a:pt x="410" y="179"/>
                  </a:lnTo>
                  <a:lnTo>
                    <a:pt x="414" y="179"/>
                  </a:lnTo>
                  <a:lnTo>
                    <a:pt x="414" y="183"/>
                  </a:lnTo>
                  <a:lnTo>
                    <a:pt x="418" y="183"/>
                  </a:lnTo>
                  <a:lnTo>
                    <a:pt x="418" y="187"/>
                  </a:lnTo>
                  <a:lnTo>
                    <a:pt x="418" y="183"/>
                  </a:lnTo>
                  <a:lnTo>
                    <a:pt x="418" y="187"/>
                  </a:lnTo>
                  <a:lnTo>
                    <a:pt x="418" y="191"/>
                  </a:lnTo>
                  <a:lnTo>
                    <a:pt x="414" y="191"/>
                  </a:lnTo>
                  <a:lnTo>
                    <a:pt x="410" y="191"/>
                  </a:lnTo>
                  <a:lnTo>
                    <a:pt x="406" y="191"/>
                  </a:lnTo>
                  <a:lnTo>
                    <a:pt x="406" y="195"/>
                  </a:lnTo>
                  <a:lnTo>
                    <a:pt x="406" y="199"/>
                  </a:lnTo>
                  <a:lnTo>
                    <a:pt x="402" y="199"/>
                  </a:lnTo>
                  <a:lnTo>
                    <a:pt x="398" y="195"/>
                  </a:lnTo>
                  <a:lnTo>
                    <a:pt x="398" y="191"/>
                  </a:lnTo>
                  <a:lnTo>
                    <a:pt x="398" y="187"/>
                  </a:lnTo>
                  <a:lnTo>
                    <a:pt x="402" y="187"/>
                  </a:lnTo>
                  <a:lnTo>
                    <a:pt x="402" y="183"/>
                  </a:lnTo>
                  <a:lnTo>
                    <a:pt x="398" y="183"/>
                  </a:lnTo>
                  <a:lnTo>
                    <a:pt x="395" y="183"/>
                  </a:lnTo>
                  <a:lnTo>
                    <a:pt x="395" y="179"/>
                  </a:lnTo>
                  <a:lnTo>
                    <a:pt x="391" y="175"/>
                  </a:lnTo>
                  <a:lnTo>
                    <a:pt x="391" y="171"/>
                  </a:lnTo>
                  <a:lnTo>
                    <a:pt x="391" y="167"/>
                  </a:lnTo>
                  <a:lnTo>
                    <a:pt x="391" y="164"/>
                  </a:lnTo>
                  <a:lnTo>
                    <a:pt x="391" y="160"/>
                  </a:lnTo>
                  <a:lnTo>
                    <a:pt x="387" y="156"/>
                  </a:lnTo>
                  <a:lnTo>
                    <a:pt x="387" y="160"/>
                  </a:lnTo>
                  <a:lnTo>
                    <a:pt x="383" y="164"/>
                  </a:lnTo>
                  <a:lnTo>
                    <a:pt x="379" y="164"/>
                  </a:lnTo>
                  <a:lnTo>
                    <a:pt x="379" y="167"/>
                  </a:lnTo>
                  <a:lnTo>
                    <a:pt x="383" y="167"/>
                  </a:lnTo>
                  <a:lnTo>
                    <a:pt x="383" y="171"/>
                  </a:lnTo>
                  <a:lnTo>
                    <a:pt x="383" y="175"/>
                  </a:lnTo>
                  <a:lnTo>
                    <a:pt x="383" y="179"/>
                  </a:lnTo>
                  <a:lnTo>
                    <a:pt x="383" y="183"/>
                  </a:lnTo>
                  <a:lnTo>
                    <a:pt x="383" y="187"/>
                  </a:lnTo>
                  <a:lnTo>
                    <a:pt x="383" y="191"/>
                  </a:lnTo>
                  <a:lnTo>
                    <a:pt x="383" y="195"/>
                  </a:lnTo>
                  <a:lnTo>
                    <a:pt x="383" y="199"/>
                  </a:lnTo>
                  <a:lnTo>
                    <a:pt x="379" y="203"/>
                  </a:lnTo>
                  <a:lnTo>
                    <a:pt x="383" y="207"/>
                  </a:lnTo>
                  <a:lnTo>
                    <a:pt x="383" y="211"/>
                  </a:lnTo>
                  <a:lnTo>
                    <a:pt x="379" y="211"/>
                  </a:lnTo>
                  <a:lnTo>
                    <a:pt x="375" y="211"/>
                  </a:lnTo>
                  <a:lnTo>
                    <a:pt x="375" y="215"/>
                  </a:lnTo>
                  <a:lnTo>
                    <a:pt x="371" y="215"/>
                  </a:lnTo>
                  <a:lnTo>
                    <a:pt x="371" y="211"/>
                  </a:lnTo>
                  <a:lnTo>
                    <a:pt x="367" y="211"/>
                  </a:lnTo>
                  <a:lnTo>
                    <a:pt x="367" y="207"/>
                  </a:lnTo>
                  <a:lnTo>
                    <a:pt x="367" y="203"/>
                  </a:lnTo>
                  <a:lnTo>
                    <a:pt x="371" y="199"/>
                  </a:lnTo>
                  <a:lnTo>
                    <a:pt x="367" y="199"/>
                  </a:lnTo>
                  <a:lnTo>
                    <a:pt x="367" y="195"/>
                  </a:lnTo>
                  <a:lnTo>
                    <a:pt x="371" y="195"/>
                  </a:lnTo>
                  <a:lnTo>
                    <a:pt x="371" y="191"/>
                  </a:lnTo>
                  <a:lnTo>
                    <a:pt x="371" y="187"/>
                  </a:lnTo>
                  <a:lnTo>
                    <a:pt x="371" y="183"/>
                  </a:lnTo>
                  <a:lnTo>
                    <a:pt x="371" y="179"/>
                  </a:lnTo>
                  <a:lnTo>
                    <a:pt x="367" y="175"/>
                  </a:lnTo>
                  <a:lnTo>
                    <a:pt x="371" y="175"/>
                  </a:lnTo>
                  <a:lnTo>
                    <a:pt x="367" y="171"/>
                  </a:lnTo>
                  <a:lnTo>
                    <a:pt x="363" y="171"/>
                  </a:lnTo>
                  <a:lnTo>
                    <a:pt x="363" y="175"/>
                  </a:lnTo>
                  <a:lnTo>
                    <a:pt x="363" y="171"/>
                  </a:lnTo>
                  <a:lnTo>
                    <a:pt x="363" y="175"/>
                  </a:lnTo>
                  <a:lnTo>
                    <a:pt x="359" y="175"/>
                  </a:lnTo>
                  <a:lnTo>
                    <a:pt x="359" y="171"/>
                  </a:lnTo>
                  <a:lnTo>
                    <a:pt x="359" y="167"/>
                  </a:lnTo>
                  <a:lnTo>
                    <a:pt x="359" y="164"/>
                  </a:lnTo>
                  <a:lnTo>
                    <a:pt x="359" y="160"/>
                  </a:lnTo>
                  <a:lnTo>
                    <a:pt x="363" y="156"/>
                  </a:lnTo>
                  <a:lnTo>
                    <a:pt x="363" y="152"/>
                  </a:lnTo>
                  <a:lnTo>
                    <a:pt x="363" y="148"/>
                  </a:lnTo>
                  <a:lnTo>
                    <a:pt x="367" y="148"/>
                  </a:lnTo>
                  <a:lnTo>
                    <a:pt x="367" y="144"/>
                  </a:lnTo>
                  <a:lnTo>
                    <a:pt x="367" y="148"/>
                  </a:lnTo>
                  <a:lnTo>
                    <a:pt x="367" y="144"/>
                  </a:lnTo>
                  <a:lnTo>
                    <a:pt x="367" y="140"/>
                  </a:lnTo>
                  <a:lnTo>
                    <a:pt x="367" y="136"/>
                  </a:lnTo>
                  <a:lnTo>
                    <a:pt x="367" y="132"/>
                  </a:lnTo>
                  <a:lnTo>
                    <a:pt x="367" y="128"/>
                  </a:lnTo>
                  <a:lnTo>
                    <a:pt x="371" y="128"/>
                  </a:lnTo>
                  <a:lnTo>
                    <a:pt x="371" y="124"/>
                  </a:lnTo>
                  <a:lnTo>
                    <a:pt x="371" y="120"/>
                  </a:lnTo>
                  <a:lnTo>
                    <a:pt x="375" y="124"/>
                  </a:lnTo>
                  <a:lnTo>
                    <a:pt x="375" y="128"/>
                  </a:lnTo>
                  <a:lnTo>
                    <a:pt x="375" y="124"/>
                  </a:lnTo>
                  <a:lnTo>
                    <a:pt x="375" y="120"/>
                  </a:lnTo>
                  <a:lnTo>
                    <a:pt x="371" y="120"/>
                  </a:lnTo>
                  <a:lnTo>
                    <a:pt x="371" y="116"/>
                  </a:lnTo>
                  <a:lnTo>
                    <a:pt x="375" y="116"/>
                  </a:lnTo>
                  <a:lnTo>
                    <a:pt x="375" y="112"/>
                  </a:lnTo>
                  <a:lnTo>
                    <a:pt x="371" y="112"/>
                  </a:lnTo>
                  <a:lnTo>
                    <a:pt x="371" y="108"/>
                  </a:lnTo>
                  <a:lnTo>
                    <a:pt x="371" y="112"/>
                  </a:lnTo>
                  <a:lnTo>
                    <a:pt x="375" y="112"/>
                  </a:lnTo>
                  <a:lnTo>
                    <a:pt x="375" y="108"/>
                  </a:lnTo>
                  <a:lnTo>
                    <a:pt x="375" y="104"/>
                  </a:lnTo>
                  <a:lnTo>
                    <a:pt x="375" y="100"/>
                  </a:lnTo>
                  <a:lnTo>
                    <a:pt x="379" y="100"/>
                  </a:lnTo>
                  <a:lnTo>
                    <a:pt x="375" y="100"/>
                  </a:lnTo>
                  <a:lnTo>
                    <a:pt x="375" y="96"/>
                  </a:lnTo>
                  <a:lnTo>
                    <a:pt x="379" y="96"/>
                  </a:lnTo>
                  <a:lnTo>
                    <a:pt x="379" y="92"/>
                  </a:lnTo>
                  <a:lnTo>
                    <a:pt x="383" y="92"/>
                  </a:lnTo>
                  <a:lnTo>
                    <a:pt x="383" y="96"/>
                  </a:lnTo>
                  <a:lnTo>
                    <a:pt x="387" y="96"/>
                  </a:lnTo>
                  <a:lnTo>
                    <a:pt x="387" y="92"/>
                  </a:lnTo>
                  <a:lnTo>
                    <a:pt x="391" y="88"/>
                  </a:lnTo>
                  <a:lnTo>
                    <a:pt x="387" y="88"/>
                  </a:lnTo>
                  <a:lnTo>
                    <a:pt x="391" y="84"/>
                  </a:lnTo>
                  <a:lnTo>
                    <a:pt x="395" y="84"/>
                  </a:lnTo>
                  <a:lnTo>
                    <a:pt x="395" y="88"/>
                  </a:lnTo>
                  <a:lnTo>
                    <a:pt x="398" y="88"/>
                  </a:lnTo>
                  <a:lnTo>
                    <a:pt x="398" y="92"/>
                  </a:lnTo>
                  <a:lnTo>
                    <a:pt x="402" y="92"/>
                  </a:lnTo>
                  <a:lnTo>
                    <a:pt x="406" y="88"/>
                  </a:lnTo>
                  <a:lnTo>
                    <a:pt x="406" y="92"/>
                  </a:lnTo>
                  <a:lnTo>
                    <a:pt x="410" y="92"/>
                  </a:lnTo>
                  <a:lnTo>
                    <a:pt x="414" y="92"/>
                  </a:lnTo>
                  <a:lnTo>
                    <a:pt x="418" y="92"/>
                  </a:lnTo>
                  <a:lnTo>
                    <a:pt x="418" y="96"/>
                  </a:lnTo>
                  <a:lnTo>
                    <a:pt x="422" y="92"/>
                  </a:lnTo>
                  <a:lnTo>
                    <a:pt x="426" y="92"/>
                  </a:lnTo>
                  <a:lnTo>
                    <a:pt x="430" y="92"/>
                  </a:lnTo>
                  <a:lnTo>
                    <a:pt x="430" y="96"/>
                  </a:lnTo>
                  <a:lnTo>
                    <a:pt x="430" y="92"/>
                  </a:lnTo>
                  <a:lnTo>
                    <a:pt x="434" y="96"/>
                  </a:lnTo>
                  <a:lnTo>
                    <a:pt x="438" y="92"/>
                  </a:lnTo>
                  <a:lnTo>
                    <a:pt x="442" y="92"/>
                  </a:lnTo>
                  <a:lnTo>
                    <a:pt x="442" y="88"/>
                  </a:lnTo>
                  <a:lnTo>
                    <a:pt x="446" y="88"/>
                  </a:lnTo>
                  <a:lnTo>
                    <a:pt x="446" y="84"/>
                  </a:lnTo>
                  <a:lnTo>
                    <a:pt x="450" y="84"/>
                  </a:lnTo>
                  <a:lnTo>
                    <a:pt x="450" y="80"/>
                  </a:lnTo>
                  <a:lnTo>
                    <a:pt x="454" y="80"/>
                  </a:lnTo>
                  <a:lnTo>
                    <a:pt x="454" y="84"/>
                  </a:lnTo>
                  <a:lnTo>
                    <a:pt x="454" y="88"/>
                  </a:lnTo>
                  <a:lnTo>
                    <a:pt x="450" y="88"/>
                  </a:lnTo>
                  <a:lnTo>
                    <a:pt x="450" y="92"/>
                  </a:lnTo>
                  <a:lnTo>
                    <a:pt x="446" y="96"/>
                  </a:lnTo>
                  <a:lnTo>
                    <a:pt x="446" y="100"/>
                  </a:lnTo>
                  <a:lnTo>
                    <a:pt x="442" y="100"/>
                  </a:lnTo>
                  <a:lnTo>
                    <a:pt x="442" y="104"/>
                  </a:lnTo>
                  <a:lnTo>
                    <a:pt x="438" y="104"/>
                  </a:lnTo>
                  <a:lnTo>
                    <a:pt x="434" y="104"/>
                  </a:lnTo>
                  <a:lnTo>
                    <a:pt x="430" y="104"/>
                  </a:lnTo>
                  <a:lnTo>
                    <a:pt x="426" y="104"/>
                  </a:lnTo>
                  <a:lnTo>
                    <a:pt x="422" y="104"/>
                  </a:lnTo>
                  <a:lnTo>
                    <a:pt x="422" y="100"/>
                  </a:lnTo>
                  <a:lnTo>
                    <a:pt x="418" y="100"/>
                  </a:lnTo>
                  <a:lnTo>
                    <a:pt x="414" y="100"/>
                  </a:lnTo>
                  <a:lnTo>
                    <a:pt x="410" y="100"/>
                  </a:lnTo>
                  <a:lnTo>
                    <a:pt x="406" y="100"/>
                  </a:lnTo>
                  <a:lnTo>
                    <a:pt x="406" y="104"/>
                  </a:lnTo>
                  <a:lnTo>
                    <a:pt x="402" y="104"/>
                  </a:lnTo>
                  <a:lnTo>
                    <a:pt x="402" y="100"/>
                  </a:lnTo>
                  <a:lnTo>
                    <a:pt x="398" y="100"/>
                  </a:lnTo>
                  <a:lnTo>
                    <a:pt x="395" y="100"/>
                  </a:lnTo>
                  <a:lnTo>
                    <a:pt x="395" y="104"/>
                  </a:lnTo>
                  <a:lnTo>
                    <a:pt x="391" y="104"/>
                  </a:lnTo>
                  <a:lnTo>
                    <a:pt x="391" y="100"/>
                  </a:lnTo>
                  <a:lnTo>
                    <a:pt x="387" y="100"/>
                  </a:lnTo>
                  <a:lnTo>
                    <a:pt x="383" y="100"/>
                  </a:lnTo>
                  <a:lnTo>
                    <a:pt x="383" y="104"/>
                  </a:lnTo>
                  <a:lnTo>
                    <a:pt x="379" y="104"/>
                  </a:lnTo>
                  <a:lnTo>
                    <a:pt x="379" y="108"/>
                  </a:lnTo>
                  <a:lnTo>
                    <a:pt x="379" y="112"/>
                  </a:lnTo>
                  <a:lnTo>
                    <a:pt x="375" y="112"/>
                  </a:lnTo>
                  <a:lnTo>
                    <a:pt x="375" y="116"/>
                  </a:lnTo>
                  <a:lnTo>
                    <a:pt x="379" y="120"/>
                  </a:lnTo>
                  <a:lnTo>
                    <a:pt x="379" y="124"/>
                  </a:lnTo>
                  <a:lnTo>
                    <a:pt x="379" y="128"/>
                  </a:lnTo>
                  <a:lnTo>
                    <a:pt x="383" y="128"/>
                  </a:lnTo>
                  <a:lnTo>
                    <a:pt x="387" y="128"/>
                  </a:lnTo>
                  <a:lnTo>
                    <a:pt x="387" y="132"/>
                  </a:lnTo>
                  <a:lnTo>
                    <a:pt x="387" y="136"/>
                  </a:lnTo>
                  <a:lnTo>
                    <a:pt x="391" y="136"/>
                  </a:lnTo>
                  <a:lnTo>
                    <a:pt x="395" y="136"/>
                  </a:lnTo>
                  <a:lnTo>
                    <a:pt x="395" y="132"/>
                  </a:lnTo>
                  <a:lnTo>
                    <a:pt x="398" y="128"/>
                  </a:lnTo>
                  <a:lnTo>
                    <a:pt x="398" y="124"/>
                  </a:lnTo>
                  <a:lnTo>
                    <a:pt x="402" y="124"/>
                  </a:lnTo>
                  <a:lnTo>
                    <a:pt x="402" y="128"/>
                  </a:lnTo>
                  <a:lnTo>
                    <a:pt x="406" y="128"/>
                  </a:lnTo>
                  <a:lnTo>
                    <a:pt x="410" y="128"/>
                  </a:lnTo>
                  <a:lnTo>
                    <a:pt x="410" y="124"/>
                  </a:lnTo>
                  <a:lnTo>
                    <a:pt x="414" y="124"/>
                  </a:lnTo>
                  <a:lnTo>
                    <a:pt x="418" y="124"/>
                  </a:lnTo>
                  <a:lnTo>
                    <a:pt x="422" y="124"/>
                  </a:lnTo>
                  <a:lnTo>
                    <a:pt x="418" y="124"/>
                  </a:lnTo>
                  <a:lnTo>
                    <a:pt x="418" y="120"/>
                  </a:lnTo>
                  <a:lnTo>
                    <a:pt x="422" y="120"/>
                  </a:lnTo>
                  <a:lnTo>
                    <a:pt x="426" y="120"/>
                  </a:lnTo>
                  <a:lnTo>
                    <a:pt x="426" y="124"/>
                  </a:lnTo>
                  <a:lnTo>
                    <a:pt x="426" y="128"/>
                  </a:lnTo>
                  <a:close/>
                  <a:moveTo>
                    <a:pt x="111" y="84"/>
                  </a:moveTo>
                  <a:lnTo>
                    <a:pt x="111" y="88"/>
                  </a:lnTo>
                  <a:lnTo>
                    <a:pt x="111" y="84"/>
                  </a:lnTo>
                  <a:lnTo>
                    <a:pt x="107" y="84"/>
                  </a:lnTo>
                  <a:lnTo>
                    <a:pt x="103" y="84"/>
                  </a:lnTo>
                  <a:lnTo>
                    <a:pt x="103" y="80"/>
                  </a:lnTo>
                  <a:lnTo>
                    <a:pt x="107" y="80"/>
                  </a:lnTo>
                  <a:lnTo>
                    <a:pt x="111" y="84"/>
                  </a:lnTo>
                  <a:close/>
                  <a:moveTo>
                    <a:pt x="40" y="100"/>
                  </a:moveTo>
                  <a:lnTo>
                    <a:pt x="40" y="96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36" y="84"/>
                  </a:lnTo>
                  <a:lnTo>
                    <a:pt x="40" y="88"/>
                  </a:lnTo>
                  <a:lnTo>
                    <a:pt x="44" y="92"/>
                  </a:lnTo>
                  <a:lnTo>
                    <a:pt x="40" y="96"/>
                  </a:lnTo>
                  <a:lnTo>
                    <a:pt x="40" y="100"/>
                  </a:lnTo>
                  <a:close/>
                  <a:moveTo>
                    <a:pt x="111" y="88"/>
                  </a:moveTo>
                  <a:lnTo>
                    <a:pt x="111" y="92"/>
                  </a:lnTo>
                  <a:lnTo>
                    <a:pt x="107" y="92"/>
                  </a:lnTo>
                  <a:lnTo>
                    <a:pt x="107" y="88"/>
                  </a:lnTo>
                  <a:lnTo>
                    <a:pt x="107" y="84"/>
                  </a:lnTo>
                  <a:lnTo>
                    <a:pt x="111" y="88"/>
                  </a:lnTo>
                  <a:close/>
                  <a:moveTo>
                    <a:pt x="143" y="92"/>
                  </a:moveTo>
                  <a:lnTo>
                    <a:pt x="143" y="96"/>
                  </a:lnTo>
                  <a:lnTo>
                    <a:pt x="143" y="92"/>
                  </a:lnTo>
                  <a:lnTo>
                    <a:pt x="139" y="92"/>
                  </a:lnTo>
                  <a:lnTo>
                    <a:pt x="139" y="88"/>
                  </a:lnTo>
                  <a:lnTo>
                    <a:pt x="143" y="88"/>
                  </a:lnTo>
                  <a:lnTo>
                    <a:pt x="143" y="92"/>
                  </a:lnTo>
                  <a:close/>
                  <a:moveTo>
                    <a:pt x="135" y="88"/>
                  </a:moveTo>
                  <a:lnTo>
                    <a:pt x="135" y="92"/>
                  </a:lnTo>
                  <a:lnTo>
                    <a:pt x="131" y="92"/>
                  </a:lnTo>
                  <a:lnTo>
                    <a:pt x="131" y="88"/>
                  </a:lnTo>
                  <a:lnTo>
                    <a:pt x="135" y="88"/>
                  </a:lnTo>
                  <a:close/>
                  <a:moveTo>
                    <a:pt x="119" y="96"/>
                  </a:moveTo>
                  <a:lnTo>
                    <a:pt x="119" y="92"/>
                  </a:lnTo>
                  <a:lnTo>
                    <a:pt x="115" y="92"/>
                  </a:lnTo>
                  <a:lnTo>
                    <a:pt x="115" y="88"/>
                  </a:lnTo>
                  <a:lnTo>
                    <a:pt x="119" y="88"/>
                  </a:lnTo>
                  <a:lnTo>
                    <a:pt x="119" y="92"/>
                  </a:lnTo>
                  <a:lnTo>
                    <a:pt x="123" y="92"/>
                  </a:lnTo>
                  <a:lnTo>
                    <a:pt x="123" y="96"/>
                  </a:lnTo>
                  <a:lnTo>
                    <a:pt x="119" y="96"/>
                  </a:lnTo>
                  <a:close/>
                  <a:moveTo>
                    <a:pt x="119" y="96"/>
                  </a:moveTo>
                  <a:lnTo>
                    <a:pt x="115" y="96"/>
                  </a:lnTo>
                  <a:lnTo>
                    <a:pt x="111" y="96"/>
                  </a:lnTo>
                  <a:lnTo>
                    <a:pt x="111" y="92"/>
                  </a:lnTo>
                  <a:lnTo>
                    <a:pt x="111" y="88"/>
                  </a:lnTo>
                  <a:lnTo>
                    <a:pt x="111" y="92"/>
                  </a:lnTo>
                  <a:lnTo>
                    <a:pt x="115" y="92"/>
                  </a:lnTo>
                  <a:lnTo>
                    <a:pt x="119" y="92"/>
                  </a:lnTo>
                  <a:lnTo>
                    <a:pt x="119" y="96"/>
                  </a:lnTo>
                  <a:close/>
                  <a:moveTo>
                    <a:pt x="127" y="92"/>
                  </a:moveTo>
                  <a:lnTo>
                    <a:pt x="123" y="92"/>
                  </a:lnTo>
                  <a:lnTo>
                    <a:pt x="123" y="88"/>
                  </a:lnTo>
                  <a:lnTo>
                    <a:pt x="123" y="92"/>
                  </a:lnTo>
                  <a:lnTo>
                    <a:pt x="127" y="92"/>
                  </a:lnTo>
                  <a:close/>
                  <a:moveTo>
                    <a:pt x="135" y="96"/>
                  </a:moveTo>
                  <a:lnTo>
                    <a:pt x="135" y="92"/>
                  </a:lnTo>
                  <a:lnTo>
                    <a:pt x="139" y="96"/>
                  </a:lnTo>
                  <a:lnTo>
                    <a:pt x="135" y="96"/>
                  </a:lnTo>
                  <a:close/>
                  <a:moveTo>
                    <a:pt x="127" y="96"/>
                  </a:moveTo>
                  <a:lnTo>
                    <a:pt x="127" y="100"/>
                  </a:lnTo>
                  <a:lnTo>
                    <a:pt x="123" y="100"/>
                  </a:lnTo>
                  <a:lnTo>
                    <a:pt x="123" y="96"/>
                  </a:lnTo>
                  <a:lnTo>
                    <a:pt x="123" y="92"/>
                  </a:lnTo>
                  <a:lnTo>
                    <a:pt x="123" y="96"/>
                  </a:lnTo>
                  <a:lnTo>
                    <a:pt x="127" y="96"/>
                  </a:lnTo>
                  <a:close/>
                  <a:moveTo>
                    <a:pt x="143" y="108"/>
                  </a:moveTo>
                  <a:lnTo>
                    <a:pt x="143" y="104"/>
                  </a:lnTo>
                  <a:lnTo>
                    <a:pt x="143" y="108"/>
                  </a:lnTo>
                  <a:close/>
                  <a:moveTo>
                    <a:pt x="55" y="108"/>
                  </a:moveTo>
                  <a:lnTo>
                    <a:pt x="51" y="108"/>
                  </a:lnTo>
                  <a:lnTo>
                    <a:pt x="55" y="108"/>
                  </a:lnTo>
                  <a:close/>
                  <a:moveTo>
                    <a:pt x="147" y="116"/>
                  </a:moveTo>
                  <a:lnTo>
                    <a:pt x="143" y="116"/>
                  </a:lnTo>
                  <a:lnTo>
                    <a:pt x="143" y="112"/>
                  </a:lnTo>
                  <a:lnTo>
                    <a:pt x="143" y="116"/>
                  </a:lnTo>
                  <a:lnTo>
                    <a:pt x="139" y="116"/>
                  </a:lnTo>
                  <a:lnTo>
                    <a:pt x="139" y="112"/>
                  </a:lnTo>
                  <a:lnTo>
                    <a:pt x="143" y="112"/>
                  </a:lnTo>
                  <a:lnTo>
                    <a:pt x="143" y="108"/>
                  </a:lnTo>
                  <a:lnTo>
                    <a:pt x="143" y="112"/>
                  </a:lnTo>
                  <a:lnTo>
                    <a:pt x="147" y="112"/>
                  </a:lnTo>
                  <a:lnTo>
                    <a:pt x="147" y="116"/>
                  </a:lnTo>
                  <a:close/>
                  <a:moveTo>
                    <a:pt x="51" y="116"/>
                  </a:moveTo>
                  <a:lnTo>
                    <a:pt x="47" y="112"/>
                  </a:lnTo>
                  <a:lnTo>
                    <a:pt x="47" y="108"/>
                  </a:lnTo>
                  <a:lnTo>
                    <a:pt x="47" y="112"/>
                  </a:lnTo>
                  <a:lnTo>
                    <a:pt x="51" y="112"/>
                  </a:lnTo>
                  <a:lnTo>
                    <a:pt x="51" y="116"/>
                  </a:lnTo>
                  <a:close/>
                  <a:moveTo>
                    <a:pt x="538" y="120"/>
                  </a:moveTo>
                  <a:lnTo>
                    <a:pt x="538" y="116"/>
                  </a:lnTo>
                  <a:lnTo>
                    <a:pt x="534" y="116"/>
                  </a:lnTo>
                  <a:lnTo>
                    <a:pt x="530" y="116"/>
                  </a:lnTo>
                  <a:lnTo>
                    <a:pt x="530" y="112"/>
                  </a:lnTo>
                  <a:lnTo>
                    <a:pt x="534" y="116"/>
                  </a:lnTo>
                  <a:lnTo>
                    <a:pt x="534" y="112"/>
                  </a:lnTo>
                  <a:lnTo>
                    <a:pt x="530" y="112"/>
                  </a:lnTo>
                  <a:lnTo>
                    <a:pt x="534" y="112"/>
                  </a:lnTo>
                  <a:lnTo>
                    <a:pt x="538" y="112"/>
                  </a:lnTo>
                  <a:lnTo>
                    <a:pt x="542" y="112"/>
                  </a:lnTo>
                  <a:lnTo>
                    <a:pt x="546" y="112"/>
                  </a:lnTo>
                  <a:lnTo>
                    <a:pt x="546" y="116"/>
                  </a:lnTo>
                  <a:lnTo>
                    <a:pt x="542" y="116"/>
                  </a:lnTo>
                  <a:lnTo>
                    <a:pt x="538" y="112"/>
                  </a:lnTo>
                  <a:lnTo>
                    <a:pt x="538" y="116"/>
                  </a:lnTo>
                  <a:lnTo>
                    <a:pt x="542" y="116"/>
                  </a:lnTo>
                  <a:lnTo>
                    <a:pt x="542" y="120"/>
                  </a:lnTo>
                  <a:lnTo>
                    <a:pt x="538" y="120"/>
                  </a:lnTo>
                  <a:close/>
                  <a:moveTo>
                    <a:pt x="51" y="120"/>
                  </a:moveTo>
                  <a:lnTo>
                    <a:pt x="47" y="120"/>
                  </a:lnTo>
                  <a:lnTo>
                    <a:pt x="47" y="116"/>
                  </a:lnTo>
                  <a:lnTo>
                    <a:pt x="51" y="116"/>
                  </a:lnTo>
                  <a:lnTo>
                    <a:pt x="51" y="120"/>
                  </a:lnTo>
                  <a:close/>
                  <a:moveTo>
                    <a:pt x="490" y="116"/>
                  </a:moveTo>
                  <a:lnTo>
                    <a:pt x="494" y="120"/>
                  </a:lnTo>
                  <a:lnTo>
                    <a:pt x="490" y="120"/>
                  </a:lnTo>
                  <a:lnTo>
                    <a:pt x="490" y="124"/>
                  </a:lnTo>
                  <a:lnTo>
                    <a:pt x="494" y="124"/>
                  </a:lnTo>
                  <a:lnTo>
                    <a:pt x="494" y="128"/>
                  </a:lnTo>
                  <a:lnTo>
                    <a:pt x="494" y="124"/>
                  </a:lnTo>
                  <a:lnTo>
                    <a:pt x="490" y="124"/>
                  </a:lnTo>
                  <a:lnTo>
                    <a:pt x="486" y="120"/>
                  </a:lnTo>
                  <a:lnTo>
                    <a:pt x="486" y="116"/>
                  </a:lnTo>
                  <a:lnTo>
                    <a:pt x="490" y="116"/>
                  </a:lnTo>
                  <a:close/>
                  <a:moveTo>
                    <a:pt x="143" y="116"/>
                  </a:moveTo>
                  <a:lnTo>
                    <a:pt x="143" y="120"/>
                  </a:lnTo>
                  <a:lnTo>
                    <a:pt x="139" y="120"/>
                  </a:lnTo>
                  <a:lnTo>
                    <a:pt x="139" y="116"/>
                  </a:lnTo>
                  <a:lnTo>
                    <a:pt x="143" y="116"/>
                  </a:lnTo>
                  <a:close/>
                  <a:moveTo>
                    <a:pt x="666" y="243"/>
                  </a:moveTo>
                  <a:lnTo>
                    <a:pt x="666" y="239"/>
                  </a:lnTo>
                  <a:lnTo>
                    <a:pt x="666" y="243"/>
                  </a:lnTo>
                  <a:lnTo>
                    <a:pt x="662" y="239"/>
                  </a:lnTo>
                  <a:lnTo>
                    <a:pt x="658" y="235"/>
                  </a:lnTo>
                  <a:lnTo>
                    <a:pt x="662" y="235"/>
                  </a:lnTo>
                  <a:lnTo>
                    <a:pt x="666" y="235"/>
                  </a:lnTo>
                  <a:lnTo>
                    <a:pt x="666" y="239"/>
                  </a:lnTo>
                  <a:lnTo>
                    <a:pt x="666" y="235"/>
                  </a:lnTo>
                  <a:lnTo>
                    <a:pt x="662" y="235"/>
                  </a:lnTo>
                  <a:lnTo>
                    <a:pt x="658" y="231"/>
                  </a:lnTo>
                  <a:lnTo>
                    <a:pt x="658" y="227"/>
                  </a:lnTo>
                  <a:lnTo>
                    <a:pt x="654" y="227"/>
                  </a:lnTo>
                  <a:lnTo>
                    <a:pt x="654" y="223"/>
                  </a:lnTo>
                  <a:lnTo>
                    <a:pt x="654" y="219"/>
                  </a:lnTo>
                  <a:lnTo>
                    <a:pt x="654" y="215"/>
                  </a:lnTo>
                  <a:lnTo>
                    <a:pt x="650" y="215"/>
                  </a:lnTo>
                  <a:lnTo>
                    <a:pt x="654" y="215"/>
                  </a:lnTo>
                  <a:lnTo>
                    <a:pt x="654" y="211"/>
                  </a:lnTo>
                  <a:lnTo>
                    <a:pt x="654" y="215"/>
                  </a:lnTo>
                  <a:lnTo>
                    <a:pt x="650" y="215"/>
                  </a:lnTo>
                  <a:lnTo>
                    <a:pt x="650" y="211"/>
                  </a:lnTo>
                  <a:lnTo>
                    <a:pt x="650" y="207"/>
                  </a:lnTo>
                  <a:lnTo>
                    <a:pt x="650" y="211"/>
                  </a:lnTo>
                  <a:lnTo>
                    <a:pt x="646" y="207"/>
                  </a:lnTo>
                  <a:lnTo>
                    <a:pt x="642" y="203"/>
                  </a:lnTo>
                  <a:lnTo>
                    <a:pt x="638" y="203"/>
                  </a:lnTo>
                  <a:lnTo>
                    <a:pt x="638" y="199"/>
                  </a:lnTo>
                  <a:lnTo>
                    <a:pt x="634" y="199"/>
                  </a:lnTo>
                  <a:lnTo>
                    <a:pt x="630" y="199"/>
                  </a:lnTo>
                  <a:lnTo>
                    <a:pt x="626" y="195"/>
                  </a:lnTo>
                  <a:lnTo>
                    <a:pt x="622" y="195"/>
                  </a:lnTo>
                  <a:lnTo>
                    <a:pt x="618" y="195"/>
                  </a:lnTo>
                  <a:lnTo>
                    <a:pt x="618" y="191"/>
                  </a:lnTo>
                  <a:lnTo>
                    <a:pt x="614" y="191"/>
                  </a:lnTo>
                  <a:lnTo>
                    <a:pt x="610" y="191"/>
                  </a:lnTo>
                  <a:lnTo>
                    <a:pt x="606" y="191"/>
                  </a:lnTo>
                  <a:lnTo>
                    <a:pt x="602" y="187"/>
                  </a:lnTo>
                  <a:lnTo>
                    <a:pt x="598" y="187"/>
                  </a:lnTo>
                  <a:lnTo>
                    <a:pt x="598" y="183"/>
                  </a:lnTo>
                  <a:lnTo>
                    <a:pt x="602" y="183"/>
                  </a:lnTo>
                  <a:lnTo>
                    <a:pt x="598" y="179"/>
                  </a:lnTo>
                  <a:lnTo>
                    <a:pt x="598" y="183"/>
                  </a:lnTo>
                  <a:lnTo>
                    <a:pt x="594" y="183"/>
                  </a:lnTo>
                  <a:lnTo>
                    <a:pt x="594" y="179"/>
                  </a:lnTo>
                  <a:lnTo>
                    <a:pt x="594" y="183"/>
                  </a:lnTo>
                  <a:lnTo>
                    <a:pt x="590" y="183"/>
                  </a:lnTo>
                  <a:lnTo>
                    <a:pt x="590" y="179"/>
                  </a:lnTo>
                  <a:lnTo>
                    <a:pt x="586" y="179"/>
                  </a:lnTo>
                  <a:lnTo>
                    <a:pt x="586" y="175"/>
                  </a:lnTo>
                  <a:lnTo>
                    <a:pt x="582" y="175"/>
                  </a:lnTo>
                  <a:lnTo>
                    <a:pt x="582" y="171"/>
                  </a:lnTo>
                  <a:lnTo>
                    <a:pt x="582" y="167"/>
                  </a:lnTo>
                  <a:lnTo>
                    <a:pt x="586" y="167"/>
                  </a:lnTo>
                  <a:lnTo>
                    <a:pt x="586" y="164"/>
                  </a:lnTo>
                  <a:lnTo>
                    <a:pt x="582" y="164"/>
                  </a:lnTo>
                  <a:lnTo>
                    <a:pt x="582" y="167"/>
                  </a:lnTo>
                  <a:lnTo>
                    <a:pt x="582" y="171"/>
                  </a:lnTo>
                  <a:lnTo>
                    <a:pt x="582" y="175"/>
                  </a:lnTo>
                  <a:lnTo>
                    <a:pt x="578" y="179"/>
                  </a:lnTo>
                  <a:lnTo>
                    <a:pt x="578" y="183"/>
                  </a:lnTo>
                  <a:lnTo>
                    <a:pt x="574" y="183"/>
                  </a:lnTo>
                  <a:lnTo>
                    <a:pt x="570" y="183"/>
                  </a:lnTo>
                  <a:lnTo>
                    <a:pt x="570" y="179"/>
                  </a:lnTo>
                  <a:lnTo>
                    <a:pt x="570" y="175"/>
                  </a:lnTo>
                  <a:lnTo>
                    <a:pt x="570" y="171"/>
                  </a:lnTo>
                  <a:lnTo>
                    <a:pt x="570" y="167"/>
                  </a:lnTo>
                  <a:lnTo>
                    <a:pt x="570" y="171"/>
                  </a:lnTo>
                  <a:lnTo>
                    <a:pt x="566" y="171"/>
                  </a:lnTo>
                  <a:lnTo>
                    <a:pt x="566" y="167"/>
                  </a:lnTo>
                  <a:lnTo>
                    <a:pt x="566" y="164"/>
                  </a:lnTo>
                  <a:lnTo>
                    <a:pt x="562" y="164"/>
                  </a:lnTo>
                  <a:lnTo>
                    <a:pt x="558" y="164"/>
                  </a:lnTo>
                  <a:lnTo>
                    <a:pt x="558" y="160"/>
                  </a:lnTo>
                  <a:lnTo>
                    <a:pt x="562" y="160"/>
                  </a:lnTo>
                  <a:lnTo>
                    <a:pt x="566" y="160"/>
                  </a:lnTo>
                  <a:lnTo>
                    <a:pt x="570" y="160"/>
                  </a:lnTo>
                  <a:lnTo>
                    <a:pt x="574" y="156"/>
                  </a:lnTo>
                  <a:lnTo>
                    <a:pt x="578" y="156"/>
                  </a:lnTo>
                  <a:lnTo>
                    <a:pt x="582" y="156"/>
                  </a:lnTo>
                  <a:lnTo>
                    <a:pt x="582" y="160"/>
                  </a:lnTo>
                  <a:lnTo>
                    <a:pt x="582" y="156"/>
                  </a:lnTo>
                  <a:lnTo>
                    <a:pt x="586" y="156"/>
                  </a:lnTo>
                  <a:lnTo>
                    <a:pt x="586" y="160"/>
                  </a:lnTo>
                  <a:lnTo>
                    <a:pt x="586" y="156"/>
                  </a:lnTo>
                  <a:lnTo>
                    <a:pt x="586" y="152"/>
                  </a:lnTo>
                  <a:lnTo>
                    <a:pt x="586" y="148"/>
                  </a:lnTo>
                  <a:lnTo>
                    <a:pt x="582" y="152"/>
                  </a:lnTo>
                  <a:lnTo>
                    <a:pt x="578" y="152"/>
                  </a:lnTo>
                  <a:lnTo>
                    <a:pt x="574" y="152"/>
                  </a:lnTo>
                  <a:lnTo>
                    <a:pt x="570" y="152"/>
                  </a:lnTo>
                  <a:lnTo>
                    <a:pt x="566" y="152"/>
                  </a:lnTo>
                  <a:lnTo>
                    <a:pt x="562" y="152"/>
                  </a:lnTo>
                  <a:lnTo>
                    <a:pt x="562" y="148"/>
                  </a:lnTo>
                  <a:lnTo>
                    <a:pt x="558" y="148"/>
                  </a:lnTo>
                  <a:lnTo>
                    <a:pt x="558" y="144"/>
                  </a:lnTo>
                  <a:lnTo>
                    <a:pt x="558" y="140"/>
                  </a:lnTo>
                  <a:lnTo>
                    <a:pt x="554" y="140"/>
                  </a:lnTo>
                  <a:lnTo>
                    <a:pt x="550" y="136"/>
                  </a:lnTo>
                  <a:lnTo>
                    <a:pt x="546" y="136"/>
                  </a:lnTo>
                  <a:lnTo>
                    <a:pt x="542" y="136"/>
                  </a:lnTo>
                  <a:lnTo>
                    <a:pt x="542" y="132"/>
                  </a:lnTo>
                  <a:lnTo>
                    <a:pt x="546" y="132"/>
                  </a:lnTo>
                  <a:lnTo>
                    <a:pt x="546" y="128"/>
                  </a:lnTo>
                  <a:lnTo>
                    <a:pt x="546" y="124"/>
                  </a:lnTo>
                  <a:lnTo>
                    <a:pt x="550" y="124"/>
                  </a:lnTo>
                  <a:lnTo>
                    <a:pt x="554" y="124"/>
                  </a:lnTo>
                  <a:lnTo>
                    <a:pt x="558" y="124"/>
                  </a:lnTo>
                  <a:lnTo>
                    <a:pt x="558" y="120"/>
                  </a:lnTo>
                  <a:lnTo>
                    <a:pt x="562" y="116"/>
                  </a:lnTo>
                  <a:lnTo>
                    <a:pt x="566" y="116"/>
                  </a:lnTo>
                  <a:lnTo>
                    <a:pt x="570" y="116"/>
                  </a:lnTo>
                  <a:lnTo>
                    <a:pt x="570" y="120"/>
                  </a:lnTo>
                  <a:lnTo>
                    <a:pt x="574" y="120"/>
                  </a:lnTo>
                  <a:lnTo>
                    <a:pt x="578" y="120"/>
                  </a:lnTo>
                  <a:lnTo>
                    <a:pt x="578" y="124"/>
                  </a:lnTo>
                  <a:lnTo>
                    <a:pt x="582" y="124"/>
                  </a:lnTo>
                  <a:lnTo>
                    <a:pt x="586" y="124"/>
                  </a:lnTo>
                  <a:lnTo>
                    <a:pt x="590" y="124"/>
                  </a:lnTo>
                  <a:lnTo>
                    <a:pt x="590" y="128"/>
                  </a:lnTo>
                  <a:lnTo>
                    <a:pt x="590" y="132"/>
                  </a:lnTo>
                  <a:lnTo>
                    <a:pt x="594" y="136"/>
                  </a:lnTo>
                  <a:lnTo>
                    <a:pt x="590" y="136"/>
                  </a:lnTo>
                  <a:lnTo>
                    <a:pt x="590" y="140"/>
                  </a:lnTo>
                  <a:lnTo>
                    <a:pt x="590" y="144"/>
                  </a:lnTo>
                  <a:lnTo>
                    <a:pt x="590" y="148"/>
                  </a:lnTo>
                  <a:lnTo>
                    <a:pt x="590" y="152"/>
                  </a:lnTo>
                  <a:lnTo>
                    <a:pt x="590" y="156"/>
                  </a:lnTo>
                  <a:lnTo>
                    <a:pt x="594" y="156"/>
                  </a:lnTo>
                  <a:lnTo>
                    <a:pt x="594" y="160"/>
                  </a:lnTo>
                  <a:lnTo>
                    <a:pt x="594" y="164"/>
                  </a:lnTo>
                  <a:lnTo>
                    <a:pt x="598" y="160"/>
                  </a:lnTo>
                  <a:lnTo>
                    <a:pt x="594" y="160"/>
                  </a:lnTo>
                  <a:lnTo>
                    <a:pt x="594" y="156"/>
                  </a:lnTo>
                  <a:lnTo>
                    <a:pt x="598" y="156"/>
                  </a:lnTo>
                  <a:lnTo>
                    <a:pt x="598" y="160"/>
                  </a:lnTo>
                  <a:lnTo>
                    <a:pt x="598" y="164"/>
                  </a:lnTo>
                  <a:lnTo>
                    <a:pt x="602" y="164"/>
                  </a:lnTo>
                  <a:lnTo>
                    <a:pt x="602" y="167"/>
                  </a:lnTo>
                  <a:lnTo>
                    <a:pt x="602" y="171"/>
                  </a:lnTo>
                  <a:lnTo>
                    <a:pt x="606" y="171"/>
                  </a:lnTo>
                  <a:lnTo>
                    <a:pt x="610" y="171"/>
                  </a:lnTo>
                  <a:lnTo>
                    <a:pt x="610" y="167"/>
                  </a:lnTo>
                  <a:lnTo>
                    <a:pt x="614" y="167"/>
                  </a:lnTo>
                  <a:lnTo>
                    <a:pt x="614" y="164"/>
                  </a:lnTo>
                  <a:lnTo>
                    <a:pt x="618" y="164"/>
                  </a:lnTo>
                  <a:lnTo>
                    <a:pt x="618" y="160"/>
                  </a:lnTo>
                  <a:lnTo>
                    <a:pt x="622" y="160"/>
                  </a:lnTo>
                  <a:lnTo>
                    <a:pt x="622" y="156"/>
                  </a:lnTo>
                  <a:lnTo>
                    <a:pt x="622" y="152"/>
                  </a:lnTo>
                  <a:lnTo>
                    <a:pt x="626" y="152"/>
                  </a:lnTo>
                  <a:lnTo>
                    <a:pt x="630" y="152"/>
                  </a:lnTo>
                  <a:lnTo>
                    <a:pt x="634" y="148"/>
                  </a:lnTo>
                  <a:lnTo>
                    <a:pt x="638" y="148"/>
                  </a:lnTo>
                  <a:lnTo>
                    <a:pt x="638" y="144"/>
                  </a:lnTo>
                  <a:lnTo>
                    <a:pt x="634" y="144"/>
                  </a:lnTo>
                  <a:lnTo>
                    <a:pt x="638" y="144"/>
                  </a:lnTo>
                  <a:lnTo>
                    <a:pt x="638" y="140"/>
                  </a:lnTo>
                  <a:lnTo>
                    <a:pt x="642" y="140"/>
                  </a:lnTo>
                  <a:lnTo>
                    <a:pt x="646" y="136"/>
                  </a:lnTo>
                  <a:lnTo>
                    <a:pt x="650" y="136"/>
                  </a:lnTo>
                  <a:lnTo>
                    <a:pt x="650" y="140"/>
                  </a:lnTo>
                  <a:lnTo>
                    <a:pt x="654" y="140"/>
                  </a:lnTo>
                  <a:lnTo>
                    <a:pt x="658" y="144"/>
                  </a:lnTo>
                  <a:lnTo>
                    <a:pt x="662" y="144"/>
                  </a:lnTo>
                  <a:lnTo>
                    <a:pt x="662" y="148"/>
                  </a:lnTo>
                  <a:lnTo>
                    <a:pt x="666" y="148"/>
                  </a:lnTo>
                  <a:lnTo>
                    <a:pt x="670" y="148"/>
                  </a:lnTo>
                  <a:lnTo>
                    <a:pt x="670" y="152"/>
                  </a:lnTo>
                  <a:lnTo>
                    <a:pt x="674" y="152"/>
                  </a:lnTo>
                  <a:lnTo>
                    <a:pt x="678" y="152"/>
                  </a:lnTo>
                  <a:lnTo>
                    <a:pt x="682" y="152"/>
                  </a:lnTo>
                  <a:lnTo>
                    <a:pt x="682" y="156"/>
                  </a:lnTo>
                  <a:lnTo>
                    <a:pt x="686" y="156"/>
                  </a:lnTo>
                  <a:lnTo>
                    <a:pt x="690" y="156"/>
                  </a:lnTo>
                  <a:lnTo>
                    <a:pt x="690" y="160"/>
                  </a:lnTo>
                  <a:lnTo>
                    <a:pt x="690" y="156"/>
                  </a:lnTo>
                  <a:lnTo>
                    <a:pt x="694" y="156"/>
                  </a:lnTo>
                  <a:lnTo>
                    <a:pt x="694" y="199"/>
                  </a:lnTo>
                  <a:lnTo>
                    <a:pt x="694" y="219"/>
                  </a:lnTo>
                  <a:lnTo>
                    <a:pt x="694" y="227"/>
                  </a:lnTo>
                  <a:lnTo>
                    <a:pt x="694" y="231"/>
                  </a:lnTo>
                  <a:lnTo>
                    <a:pt x="694" y="235"/>
                  </a:lnTo>
                  <a:lnTo>
                    <a:pt x="694" y="275"/>
                  </a:lnTo>
                  <a:lnTo>
                    <a:pt x="690" y="275"/>
                  </a:lnTo>
                  <a:lnTo>
                    <a:pt x="690" y="271"/>
                  </a:lnTo>
                  <a:lnTo>
                    <a:pt x="686" y="267"/>
                  </a:lnTo>
                  <a:lnTo>
                    <a:pt x="686" y="263"/>
                  </a:lnTo>
                  <a:lnTo>
                    <a:pt x="682" y="263"/>
                  </a:lnTo>
                  <a:lnTo>
                    <a:pt x="678" y="259"/>
                  </a:lnTo>
                  <a:lnTo>
                    <a:pt x="682" y="259"/>
                  </a:lnTo>
                  <a:lnTo>
                    <a:pt x="682" y="255"/>
                  </a:lnTo>
                  <a:lnTo>
                    <a:pt x="678" y="255"/>
                  </a:lnTo>
                  <a:lnTo>
                    <a:pt x="678" y="259"/>
                  </a:lnTo>
                  <a:lnTo>
                    <a:pt x="674" y="259"/>
                  </a:lnTo>
                  <a:lnTo>
                    <a:pt x="670" y="259"/>
                  </a:lnTo>
                  <a:lnTo>
                    <a:pt x="666" y="259"/>
                  </a:lnTo>
                  <a:lnTo>
                    <a:pt x="662" y="259"/>
                  </a:lnTo>
                  <a:lnTo>
                    <a:pt x="662" y="263"/>
                  </a:lnTo>
                  <a:lnTo>
                    <a:pt x="662" y="259"/>
                  </a:lnTo>
                  <a:lnTo>
                    <a:pt x="662" y="255"/>
                  </a:lnTo>
                  <a:lnTo>
                    <a:pt x="666" y="251"/>
                  </a:lnTo>
                  <a:lnTo>
                    <a:pt x="662" y="251"/>
                  </a:lnTo>
                  <a:lnTo>
                    <a:pt x="666" y="251"/>
                  </a:lnTo>
                  <a:lnTo>
                    <a:pt x="666" y="247"/>
                  </a:lnTo>
                  <a:lnTo>
                    <a:pt x="662" y="247"/>
                  </a:lnTo>
                  <a:lnTo>
                    <a:pt x="662" y="243"/>
                  </a:lnTo>
                  <a:lnTo>
                    <a:pt x="658" y="243"/>
                  </a:lnTo>
                  <a:lnTo>
                    <a:pt x="658" y="239"/>
                  </a:lnTo>
                  <a:lnTo>
                    <a:pt x="662" y="243"/>
                  </a:lnTo>
                  <a:lnTo>
                    <a:pt x="666" y="243"/>
                  </a:lnTo>
                  <a:close/>
                  <a:moveTo>
                    <a:pt x="538" y="116"/>
                  </a:moveTo>
                  <a:lnTo>
                    <a:pt x="538" y="120"/>
                  </a:lnTo>
                  <a:lnTo>
                    <a:pt x="534" y="120"/>
                  </a:lnTo>
                  <a:lnTo>
                    <a:pt x="538" y="116"/>
                  </a:lnTo>
                  <a:close/>
                  <a:moveTo>
                    <a:pt x="610" y="124"/>
                  </a:moveTo>
                  <a:lnTo>
                    <a:pt x="614" y="124"/>
                  </a:lnTo>
                  <a:lnTo>
                    <a:pt x="618" y="124"/>
                  </a:lnTo>
                  <a:lnTo>
                    <a:pt x="618" y="128"/>
                  </a:lnTo>
                  <a:lnTo>
                    <a:pt x="622" y="128"/>
                  </a:lnTo>
                  <a:lnTo>
                    <a:pt x="622" y="132"/>
                  </a:lnTo>
                  <a:lnTo>
                    <a:pt x="626" y="132"/>
                  </a:lnTo>
                  <a:lnTo>
                    <a:pt x="622" y="132"/>
                  </a:lnTo>
                  <a:lnTo>
                    <a:pt x="618" y="132"/>
                  </a:lnTo>
                  <a:lnTo>
                    <a:pt x="614" y="132"/>
                  </a:lnTo>
                  <a:lnTo>
                    <a:pt x="614" y="128"/>
                  </a:lnTo>
                  <a:lnTo>
                    <a:pt x="614" y="124"/>
                  </a:lnTo>
                  <a:lnTo>
                    <a:pt x="610" y="124"/>
                  </a:lnTo>
                  <a:lnTo>
                    <a:pt x="610" y="120"/>
                  </a:lnTo>
                  <a:lnTo>
                    <a:pt x="610" y="124"/>
                  </a:lnTo>
                  <a:close/>
                  <a:moveTo>
                    <a:pt x="542" y="124"/>
                  </a:moveTo>
                  <a:lnTo>
                    <a:pt x="538" y="128"/>
                  </a:lnTo>
                  <a:lnTo>
                    <a:pt x="534" y="128"/>
                  </a:lnTo>
                  <a:lnTo>
                    <a:pt x="534" y="124"/>
                  </a:lnTo>
                  <a:lnTo>
                    <a:pt x="538" y="124"/>
                  </a:lnTo>
                  <a:lnTo>
                    <a:pt x="542" y="124"/>
                  </a:lnTo>
                  <a:close/>
                  <a:moveTo>
                    <a:pt x="542" y="128"/>
                  </a:moveTo>
                  <a:lnTo>
                    <a:pt x="542" y="132"/>
                  </a:lnTo>
                  <a:lnTo>
                    <a:pt x="542" y="136"/>
                  </a:lnTo>
                  <a:lnTo>
                    <a:pt x="538" y="132"/>
                  </a:lnTo>
                  <a:lnTo>
                    <a:pt x="538" y="128"/>
                  </a:lnTo>
                  <a:lnTo>
                    <a:pt x="542" y="128"/>
                  </a:lnTo>
                  <a:close/>
                  <a:moveTo>
                    <a:pt x="63" y="140"/>
                  </a:moveTo>
                  <a:lnTo>
                    <a:pt x="59" y="140"/>
                  </a:lnTo>
                  <a:lnTo>
                    <a:pt x="63" y="140"/>
                  </a:lnTo>
                  <a:lnTo>
                    <a:pt x="63" y="144"/>
                  </a:lnTo>
                  <a:lnTo>
                    <a:pt x="59" y="144"/>
                  </a:lnTo>
                  <a:lnTo>
                    <a:pt x="55" y="140"/>
                  </a:lnTo>
                  <a:lnTo>
                    <a:pt x="55" y="136"/>
                  </a:lnTo>
                  <a:lnTo>
                    <a:pt x="51" y="132"/>
                  </a:lnTo>
                  <a:lnTo>
                    <a:pt x="51" y="128"/>
                  </a:lnTo>
                  <a:lnTo>
                    <a:pt x="55" y="128"/>
                  </a:lnTo>
                  <a:lnTo>
                    <a:pt x="59" y="132"/>
                  </a:lnTo>
                  <a:lnTo>
                    <a:pt x="59" y="136"/>
                  </a:lnTo>
                  <a:lnTo>
                    <a:pt x="63" y="140"/>
                  </a:lnTo>
                  <a:close/>
                  <a:moveTo>
                    <a:pt x="223" y="128"/>
                  </a:moveTo>
                  <a:lnTo>
                    <a:pt x="223" y="132"/>
                  </a:lnTo>
                  <a:lnTo>
                    <a:pt x="219" y="132"/>
                  </a:lnTo>
                  <a:lnTo>
                    <a:pt x="215" y="132"/>
                  </a:lnTo>
                  <a:lnTo>
                    <a:pt x="215" y="128"/>
                  </a:lnTo>
                  <a:lnTo>
                    <a:pt x="219" y="128"/>
                  </a:lnTo>
                  <a:lnTo>
                    <a:pt x="223" y="128"/>
                  </a:lnTo>
                  <a:close/>
                  <a:moveTo>
                    <a:pt x="526" y="132"/>
                  </a:moveTo>
                  <a:lnTo>
                    <a:pt x="522" y="132"/>
                  </a:lnTo>
                  <a:lnTo>
                    <a:pt x="526" y="132"/>
                  </a:lnTo>
                  <a:close/>
                  <a:moveTo>
                    <a:pt x="430" y="132"/>
                  </a:moveTo>
                  <a:lnTo>
                    <a:pt x="430" y="136"/>
                  </a:lnTo>
                  <a:lnTo>
                    <a:pt x="426" y="136"/>
                  </a:lnTo>
                  <a:lnTo>
                    <a:pt x="426" y="140"/>
                  </a:lnTo>
                  <a:lnTo>
                    <a:pt x="422" y="140"/>
                  </a:lnTo>
                  <a:lnTo>
                    <a:pt x="422" y="136"/>
                  </a:lnTo>
                  <a:lnTo>
                    <a:pt x="422" y="140"/>
                  </a:lnTo>
                  <a:lnTo>
                    <a:pt x="418" y="140"/>
                  </a:lnTo>
                  <a:lnTo>
                    <a:pt x="418" y="136"/>
                  </a:lnTo>
                  <a:lnTo>
                    <a:pt x="418" y="132"/>
                  </a:lnTo>
                  <a:lnTo>
                    <a:pt x="422" y="132"/>
                  </a:lnTo>
                  <a:lnTo>
                    <a:pt x="426" y="132"/>
                  </a:lnTo>
                  <a:lnTo>
                    <a:pt x="426" y="136"/>
                  </a:lnTo>
                  <a:lnTo>
                    <a:pt x="426" y="132"/>
                  </a:lnTo>
                  <a:lnTo>
                    <a:pt x="430" y="132"/>
                  </a:lnTo>
                  <a:close/>
                  <a:moveTo>
                    <a:pt x="498" y="140"/>
                  </a:moveTo>
                  <a:lnTo>
                    <a:pt x="494" y="140"/>
                  </a:lnTo>
                  <a:lnTo>
                    <a:pt x="490" y="140"/>
                  </a:lnTo>
                  <a:lnTo>
                    <a:pt x="486" y="140"/>
                  </a:lnTo>
                  <a:lnTo>
                    <a:pt x="486" y="136"/>
                  </a:lnTo>
                  <a:lnTo>
                    <a:pt x="490" y="136"/>
                  </a:lnTo>
                  <a:lnTo>
                    <a:pt x="494" y="136"/>
                  </a:lnTo>
                  <a:lnTo>
                    <a:pt x="498" y="140"/>
                  </a:lnTo>
                  <a:close/>
                  <a:moveTo>
                    <a:pt x="171" y="164"/>
                  </a:moveTo>
                  <a:lnTo>
                    <a:pt x="167" y="164"/>
                  </a:lnTo>
                  <a:lnTo>
                    <a:pt x="163" y="160"/>
                  </a:lnTo>
                  <a:lnTo>
                    <a:pt x="163" y="156"/>
                  </a:lnTo>
                  <a:lnTo>
                    <a:pt x="163" y="152"/>
                  </a:lnTo>
                  <a:lnTo>
                    <a:pt x="159" y="148"/>
                  </a:lnTo>
                  <a:lnTo>
                    <a:pt x="155" y="148"/>
                  </a:lnTo>
                  <a:lnTo>
                    <a:pt x="151" y="148"/>
                  </a:lnTo>
                  <a:lnTo>
                    <a:pt x="151" y="144"/>
                  </a:lnTo>
                  <a:lnTo>
                    <a:pt x="155" y="144"/>
                  </a:lnTo>
                  <a:lnTo>
                    <a:pt x="155" y="140"/>
                  </a:lnTo>
                  <a:lnTo>
                    <a:pt x="159" y="140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59" y="140"/>
                  </a:lnTo>
                  <a:lnTo>
                    <a:pt x="163" y="136"/>
                  </a:lnTo>
                  <a:lnTo>
                    <a:pt x="163" y="140"/>
                  </a:lnTo>
                  <a:lnTo>
                    <a:pt x="167" y="144"/>
                  </a:lnTo>
                  <a:lnTo>
                    <a:pt x="167" y="148"/>
                  </a:lnTo>
                  <a:lnTo>
                    <a:pt x="167" y="152"/>
                  </a:lnTo>
                  <a:lnTo>
                    <a:pt x="167" y="156"/>
                  </a:lnTo>
                  <a:lnTo>
                    <a:pt x="171" y="156"/>
                  </a:lnTo>
                  <a:lnTo>
                    <a:pt x="175" y="156"/>
                  </a:lnTo>
                  <a:lnTo>
                    <a:pt x="175" y="160"/>
                  </a:lnTo>
                  <a:lnTo>
                    <a:pt x="175" y="164"/>
                  </a:lnTo>
                  <a:lnTo>
                    <a:pt x="175" y="167"/>
                  </a:lnTo>
                  <a:lnTo>
                    <a:pt x="171" y="167"/>
                  </a:lnTo>
                  <a:lnTo>
                    <a:pt x="171" y="164"/>
                  </a:lnTo>
                  <a:close/>
                  <a:moveTo>
                    <a:pt x="207" y="140"/>
                  </a:moveTo>
                  <a:lnTo>
                    <a:pt x="211" y="140"/>
                  </a:lnTo>
                  <a:lnTo>
                    <a:pt x="207" y="140"/>
                  </a:lnTo>
                  <a:close/>
                  <a:moveTo>
                    <a:pt x="610" y="140"/>
                  </a:moveTo>
                  <a:lnTo>
                    <a:pt x="614" y="140"/>
                  </a:lnTo>
                  <a:lnTo>
                    <a:pt x="618" y="140"/>
                  </a:lnTo>
                  <a:lnTo>
                    <a:pt x="622" y="140"/>
                  </a:lnTo>
                  <a:lnTo>
                    <a:pt x="626" y="140"/>
                  </a:lnTo>
                  <a:lnTo>
                    <a:pt x="630" y="140"/>
                  </a:lnTo>
                  <a:lnTo>
                    <a:pt x="630" y="144"/>
                  </a:lnTo>
                  <a:lnTo>
                    <a:pt x="634" y="144"/>
                  </a:lnTo>
                  <a:lnTo>
                    <a:pt x="630" y="144"/>
                  </a:lnTo>
                  <a:lnTo>
                    <a:pt x="626" y="144"/>
                  </a:lnTo>
                  <a:lnTo>
                    <a:pt x="622" y="144"/>
                  </a:lnTo>
                  <a:lnTo>
                    <a:pt x="618" y="144"/>
                  </a:lnTo>
                  <a:lnTo>
                    <a:pt x="614" y="140"/>
                  </a:lnTo>
                  <a:lnTo>
                    <a:pt x="610" y="140"/>
                  </a:lnTo>
                  <a:close/>
                  <a:moveTo>
                    <a:pt x="442" y="140"/>
                  </a:moveTo>
                  <a:lnTo>
                    <a:pt x="446" y="140"/>
                  </a:lnTo>
                  <a:lnTo>
                    <a:pt x="450" y="140"/>
                  </a:lnTo>
                  <a:lnTo>
                    <a:pt x="454" y="140"/>
                  </a:lnTo>
                  <a:lnTo>
                    <a:pt x="458" y="144"/>
                  </a:lnTo>
                  <a:lnTo>
                    <a:pt x="454" y="144"/>
                  </a:lnTo>
                  <a:lnTo>
                    <a:pt x="450" y="144"/>
                  </a:lnTo>
                  <a:lnTo>
                    <a:pt x="446" y="144"/>
                  </a:lnTo>
                  <a:lnTo>
                    <a:pt x="446" y="148"/>
                  </a:lnTo>
                  <a:lnTo>
                    <a:pt x="442" y="148"/>
                  </a:lnTo>
                  <a:lnTo>
                    <a:pt x="442" y="144"/>
                  </a:lnTo>
                  <a:lnTo>
                    <a:pt x="442" y="140"/>
                  </a:lnTo>
                  <a:close/>
                  <a:moveTo>
                    <a:pt x="534" y="140"/>
                  </a:moveTo>
                  <a:lnTo>
                    <a:pt x="534" y="144"/>
                  </a:lnTo>
                  <a:lnTo>
                    <a:pt x="534" y="148"/>
                  </a:lnTo>
                  <a:lnTo>
                    <a:pt x="530" y="148"/>
                  </a:lnTo>
                  <a:lnTo>
                    <a:pt x="526" y="148"/>
                  </a:lnTo>
                  <a:lnTo>
                    <a:pt x="522" y="144"/>
                  </a:lnTo>
                  <a:lnTo>
                    <a:pt x="526" y="144"/>
                  </a:lnTo>
                  <a:lnTo>
                    <a:pt x="526" y="140"/>
                  </a:lnTo>
                  <a:lnTo>
                    <a:pt x="530" y="140"/>
                  </a:lnTo>
                  <a:lnTo>
                    <a:pt x="534" y="140"/>
                  </a:lnTo>
                  <a:close/>
                  <a:moveTo>
                    <a:pt x="458" y="144"/>
                  </a:moveTo>
                  <a:lnTo>
                    <a:pt x="462" y="144"/>
                  </a:lnTo>
                  <a:lnTo>
                    <a:pt x="466" y="144"/>
                  </a:lnTo>
                  <a:lnTo>
                    <a:pt x="470" y="144"/>
                  </a:lnTo>
                  <a:lnTo>
                    <a:pt x="466" y="144"/>
                  </a:lnTo>
                  <a:lnTo>
                    <a:pt x="462" y="144"/>
                  </a:lnTo>
                  <a:lnTo>
                    <a:pt x="458" y="144"/>
                  </a:lnTo>
                  <a:close/>
                  <a:moveTo>
                    <a:pt x="71" y="152"/>
                  </a:moveTo>
                  <a:lnTo>
                    <a:pt x="67" y="152"/>
                  </a:lnTo>
                  <a:lnTo>
                    <a:pt x="67" y="148"/>
                  </a:lnTo>
                  <a:lnTo>
                    <a:pt x="71" y="152"/>
                  </a:lnTo>
                  <a:close/>
                  <a:moveTo>
                    <a:pt x="75" y="160"/>
                  </a:moveTo>
                  <a:lnTo>
                    <a:pt x="75" y="164"/>
                  </a:lnTo>
                  <a:lnTo>
                    <a:pt x="75" y="160"/>
                  </a:lnTo>
                  <a:lnTo>
                    <a:pt x="71" y="160"/>
                  </a:lnTo>
                  <a:lnTo>
                    <a:pt x="71" y="156"/>
                  </a:lnTo>
                  <a:lnTo>
                    <a:pt x="75" y="156"/>
                  </a:lnTo>
                  <a:lnTo>
                    <a:pt x="75" y="160"/>
                  </a:lnTo>
                  <a:close/>
                  <a:moveTo>
                    <a:pt x="199" y="164"/>
                  </a:moveTo>
                  <a:lnTo>
                    <a:pt x="199" y="167"/>
                  </a:lnTo>
                  <a:lnTo>
                    <a:pt x="195" y="167"/>
                  </a:lnTo>
                  <a:lnTo>
                    <a:pt x="191" y="167"/>
                  </a:lnTo>
                  <a:lnTo>
                    <a:pt x="191" y="164"/>
                  </a:lnTo>
                  <a:lnTo>
                    <a:pt x="191" y="167"/>
                  </a:lnTo>
                  <a:lnTo>
                    <a:pt x="187" y="167"/>
                  </a:lnTo>
                  <a:lnTo>
                    <a:pt x="187" y="164"/>
                  </a:lnTo>
                  <a:lnTo>
                    <a:pt x="187" y="160"/>
                  </a:lnTo>
                  <a:lnTo>
                    <a:pt x="191" y="156"/>
                  </a:lnTo>
                  <a:lnTo>
                    <a:pt x="195" y="156"/>
                  </a:lnTo>
                  <a:lnTo>
                    <a:pt x="199" y="160"/>
                  </a:lnTo>
                  <a:lnTo>
                    <a:pt x="199" y="164"/>
                  </a:lnTo>
                  <a:close/>
                  <a:moveTo>
                    <a:pt x="79" y="171"/>
                  </a:moveTo>
                  <a:lnTo>
                    <a:pt x="79" y="167"/>
                  </a:lnTo>
                  <a:lnTo>
                    <a:pt x="75" y="164"/>
                  </a:lnTo>
                  <a:lnTo>
                    <a:pt x="75" y="160"/>
                  </a:lnTo>
                  <a:lnTo>
                    <a:pt x="79" y="164"/>
                  </a:lnTo>
                  <a:lnTo>
                    <a:pt x="79" y="167"/>
                  </a:lnTo>
                  <a:lnTo>
                    <a:pt x="79" y="171"/>
                  </a:lnTo>
                  <a:close/>
                  <a:moveTo>
                    <a:pt x="538" y="179"/>
                  </a:moveTo>
                  <a:lnTo>
                    <a:pt x="534" y="179"/>
                  </a:lnTo>
                  <a:lnTo>
                    <a:pt x="534" y="175"/>
                  </a:lnTo>
                  <a:lnTo>
                    <a:pt x="530" y="175"/>
                  </a:lnTo>
                  <a:lnTo>
                    <a:pt x="526" y="171"/>
                  </a:lnTo>
                  <a:lnTo>
                    <a:pt x="522" y="171"/>
                  </a:lnTo>
                  <a:lnTo>
                    <a:pt x="518" y="171"/>
                  </a:lnTo>
                  <a:lnTo>
                    <a:pt x="522" y="171"/>
                  </a:lnTo>
                  <a:lnTo>
                    <a:pt x="518" y="171"/>
                  </a:lnTo>
                  <a:lnTo>
                    <a:pt x="514" y="171"/>
                  </a:lnTo>
                  <a:lnTo>
                    <a:pt x="510" y="171"/>
                  </a:lnTo>
                  <a:lnTo>
                    <a:pt x="510" y="167"/>
                  </a:lnTo>
                  <a:lnTo>
                    <a:pt x="510" y="171"/>
                  </a:lnTo>
                  <a:lnTo>
                    <a:pt x="506" y="171"/>
                  </a:lnTo>
                  <a:lnTo>
                    <a:pt x="502" y="171"/>
                  </a:lnTo>
                  <a:lnTo>
                    <a:pt x="502" y="167"/>
                  </a:lnTo>
                  <a:lnTo>
                    <a:pt x="498" y="167"/>
                  </a:lnTo>
                  <a:lnTo>
                    <a:pt x="498" y="171"/>
                  </a:lnTo>
                  <a:lnTo>
                    <a:pt x="494" y="175"/>
                  </a:lnTo>
                  <a:lnTo>
                    <a:pt x="494" y="171"/>
                  </a:lnTo>
                  <a:lnTo>
                    <a:pt x="494" y="167"/>
                  </a:lnTo>
                  <a:lnTo>
                    <a:pt x="498" y="167"/>
                  </a:lnTo>
                  <a:lnTo>
                    <a:pt x="498" y="164"/>
                  </a:lnTo>
                  <a:lnTo>
                    <a:pt x="502" y="164"/>
                  </a:lnTo>
                  <a:lnTo>
                    <a:pt x="506" y="164"/>
                  </a:lnTo>
                  <a:lnTo>
                    <a:pt x="510" y="164"/>
                  </a:lnTo>
                  <a:lnTo>
                    <a:pt x="514" y="164"/>
                  </a:lnTo>
                  <a:lnTo>
                    <a:pt x="518" y="164"/>
                  </a:lnTo>
                  <a:lnTo>
                    <a:pt x="518" y="160"/>
                  </a:lnTo>
                  <a:lnTo>
                    <a:pt x="522" y="160"/>
                  </a:lnTo>
                  <a:lnTo>
                    <a:pt x="522" y="164"/>
                  </a:lnTo>
                  <a:lnTo>
                    <a:pt x="526" y="164"/>
                  </a:lnTo>
                  <a:lnTo>
                    <a:pt x="530" y="164"/>
                  </a:lnTo>
                  <a:lnTo>
                    <a:pt x="534" y="164"/>
                  </a:lnTo>
                  <a:lnTo>
                    <a:pt x="538" y="167"/>
                  </a:lnTo>
                  <a:lnTo>
                    <a:pt x="538" y="171"/>
                  </a:lnTo>
                  <a:lnTo>
                    <a:pt x="542" y="175"/>
                  </a:lnTo>
                  <a:lnTo>
                    <a:pt x="538" y="179"/>
                  </a:lnTo>
                  <a:close/>
                  <a:moveTo>
                    <a:pt x="175" y="164"/>
                  </a:moveTo>
                  <a:lnTo>
                    <a:pt x="179" y="164"/>
                  </a:lnTo>
                  <a:lnTo>
                    <a:pt x="175" y="164"/>
                  </a:lnTo>
                  <a:close/>
                  <a:moveTo>
                    <a:pt x="470" y="167"/>
                  </a:moveTo>
                  <a:lnTo>
                    <a:pt x="474" y="167"/>
                  </a:lnTo>
                  <a:lnTo>
                    <a:pt x="478" y="167"/>
                  </a:lnTo>
                  <a:lnTo>
                    <a:pt x="482" y="167"/>
                  </a:lnTo>
                  <a:lnTo>
                    <a:pt x="482" y="171"/>
                  </a:lnTo>
                  <a:lnTo>
                    <a:pt x="486" y="171"/>
                  </a:lnTo>
                  <a:lnTo>
                    <a:pt x="486" y="175"/>
                  </a:lnTo>
                  <a:lnTo>
                    <a:pt x="482" y="175"/>
                  </a:lnTo>
                  <a:lnTo>
                    <a:pt x="482" y="179"/>
                  </a:lnTo>
                  <a:lnTo>
                    <a:pt x="478" y="179"/>
                  </a:lnTo>
                  <a:lnTo>
                    <a:pt x="474" y="179"/>
                  </a:lnTo>
                  <a:lnTo>
                    <a:pt x="470" y="175"/>
                  </a:lnTo>
                  <a:lnTo>
                    <a:pt x="466" y="171"/>
                  </a:lnTo>
                  <a:lnTo>
                    <a:pt x="466" y="167"/>
                  </a:lnTo>
                  <a:lnTo>
                    <a:pt x="470" y="167"/>
                  </a:lnTo>
                  <a:close/>
                  <a:moveTo>
                    <a:pt x="319" y="171"/>
                  </a:moveTo>
                  <a:lnTo>
                    <a:pt x="319" y="175"/>
                  </a:lnTo>
                  <a:lnTo>
                    <a:pt x="319" y="179"/>
                  </a:lnTo>
                  <a:lnTo>
                    <a:pt x="319" y="183"/>
                  </a:lnTo>
                  <a:lnTo>
                    <a:pt x="315" y="183"/>
                  </a:lnTo>
                  <a:lnTo>
                    <a:pt x="319" y="179"/>
                  </a:lnTo>
                  <a:lnTo>
                    <a:pt x="315" y="179"/>
                  </a:lnTo>
                  <a:lnTo>
                    <a:pt x="315" y="175"/>
                  </a:lnTo>
                  <a:lnTo>
                    <a:pt x="315" y="171"/>
                  </a:lnTo>
                  <a:lnTo>
                    <a:pt x="319" y="171"/>
                  </a:lnTo>
                  <a:lnTo>
                    <a:pt x="319" y="167"/>
                  </a:lnTo>
                  <a:lnTo>
                    <a:pt x="319" y="171"/>
                  </a:lnTo>
                  <a:close/>
                  <a:moveTo>
                    <a:pt x="490" y="167"/>
                  </a:moveTo>
                  <a:lnTo>
                    <a:pt x="490" y="171"/>
                  </a:lnTo>
                  <a:lnTo>
                    <a:pt x="490" y="167"/>
                  </a:lnTo>
                  <a:close/>
                  <a:moveTo>
                    <a:pt x="498" y="175"/>
                  </a:moveTo>
                  <a:lnTo>
                    <a:pt x="502" y="175"/>
                  </a:lnTo>
                  <a:lnTo>
                    <a:pt x="502" y="179"/>
                  </a:lnTo>
                  <a:lnTo>
                    <a:pt x="498" y="179"/>
                  </a:lnTo>
                  <a:lnTo>
                    <a:pt x="502" y="175"/>
                  </a:lnTo>
                  <a:lnTo>
                    <a:pt x="498" y="175"/>
                  </a:lnTo>
                  <a:lnTo>
                    <a:pt x="498" y="179"/>
                  </a:lnTo>
                  <a:lnTo>
                    <a:pt x="494" y="179"/>
                  </a:lnTo>
                  <a:lnTo>
                    <a:pt x="494" y="175"/>
                  </a:lnTo>
                  <a:lnTo>
                    <a:pt x="498" y="175"/>
                  </a:lnTo>
                  <a:close/>
                  <a:moveTo>
                    <a:pt x="502" y="175"/>
                  </a:moveTo>
                  <a:lnTo>
                    <a:pt x="506" y="175"/>
                  </a:lnTo>
                  <a:lnTo>
                    <a:pt x="502" y="175"/>
                  </a:lnTo>
                  <a:close/>
                  <a:moveTo>
                    <a:pt x="422" y="183"/>
                  </a:moveTo>
                  <a:lnTo>
                    <a:pt x="426" y="183"/>
                  </a:lnTo>
                  <a:lnTo>
                    <a:pt x="422" y="187"/>
                  </a:lnTo>
                  <a:lnTo>
                    <a:pt x="422" y="183"/>
                  </a:lnTo>
                  <a:close/>
                  <a:moveTo>
                    <a:pt x="422" y="191"/>
                  </a:moveTo>
                  <a:lnTo>
                    <a:pt x="426" y="191"/>
                  </a:lnTo>
                  <a:lnTo>
                    <a:pt x="426" y="195"/>
                  </a:lnTo>
                  <a:lnTo>
                    <a:pt x="426" y="199"/>
                  </a:lnTo>
                  <a:lnTo>
                    <a:pt x="422" y="195"/>
                  </a:lnTo>
                  <a:lnTo>
                    <a:pt x="422" y="199"/>
                  </a:lnTo>
                  <a:lnTo>
                    <a:pt x="422" y="203"/>
                  </a:lnTo>
                  <a:lnTo>
                    <a:pt x="426" y="207"/>
                  </a:lnTo>
                  <a:lnTo>
                    <a:pt x="422" y="207"/>
                  </a:lnTo>
                  <a:lnTo>
                    <a:pt x="418" y="207"/>
                  </a:lnTo>
                  <a:lnTo>
                    <a:pt x="418" y="211"/>
                  </a:lnTo>
                  <a:lnTo>
                    <a:pt x="418" y="215"/>
                  </a:lnTo>
                  <a:lnTo>
                    <a:pt x="414" y="215"/>
                  </a:lnTo>
                  <a:lnTo>
                    <a:pt x="414" y="211"/>
                  </a:lnTo>
                  <a:lnTo>
                    <a:pt x="414" y="207"/>
                  </a:lnTo>
                  <a:lnTo>
                    <a:pt x="418" y="207"/>
                  </a:lnTo>
                  <a:lnTo>
                    <a:pt x="418" y="203"/>
                  </a:lnTo>
                  <a:lnTo>
                    <a:pt x="418" y="199"/>
                  </a:lnTo>
                  <a:lnTo>
                    <a:pt x="418" y="195"/>
                  </a:lnTo>
                  <a:lnTo>
                    <a:pt x="418" y="191"/>
                  </a:lnTo>
                  <a:lnTo>
                    <a:pt x="422" y="191"/>
                  </a:lnTo>
                  <a:close/>
                  <a:moveTo>
                    <a:pt x="418" y="195"/>
                  </a:moveTo>
                  <a:lnTo>
                    <a:pt x="418" y="199"/>
                  </a:lnTo>
                  <a:lnTo>
                    <a:pt x="414" y="203"/>
                  </a:lnTo>
                  <a:lnTo>
                    <a:pt x="414" y="207"/>
                  </a:lnTo>
                  <a:lnTo>
                    <a:pt x="410" y="207"/>
                  </a:lnTo>
                  <a:lnTo>
                    <a:pt x="410" y="203"/>
                  </a:lnTo>
                  <a:lnTo>
                    <a:pt x="410" y="199"/>
                  </a:lnTo>
                  <a:lnTo>
                    <a:pt x="410" y="195"/>
                  </a:lnTo>
                  <a:lnTo>
                    <a:pt x="414" y="195"/>
                  </a:lnTo>
                  <a:lnTo>
                    <a:pt x="418" y="195"/>
                  </a:lnTo>
                  <a:close/>
                  <a:moveTo>
                    <a:pt x="406" y="203"/>
                  </a:moveTo>
                  <a:lnTo>
                    <a:pt x="406" y="207"/>
                  </a:lnTo>
                  <a:lnTo>
                    <a:pt x="406" y="211"/>
                  </a:lnTo>
                  <a:lnTo>
                    <a:pt x="402" y="207"/>
                  </a:lnTo>
                  <a:lnTo>
                    <a:pt x="402" y="203"/>
                  </a:lnTo>
                  <a:lnTo>
                    <a:pt x="406" y="203"/>
                  </a:lnTo>
                  <a:close/>
                  <a:moveTo>
                    <a:pt x="111" y="211"/>
                  </a:moveTo>
                  <a:lnTo>
                    <a:pt x="107" y="211"/>
                  </a:lnTo>
                  <a:lnTo>
                    <a:pt x="103" y="207"/>
                  </a:lnTo>
                  <a:lnTo>
                    <a:pt x="107" y="207"/>
                  </a:lnTo>
                  <a:lnTo>
                    <a:pt x="111" y="207"/>
                  </a:lnTo>
                  <a:lnTo>
                    <a:pt x="111" y="211"/>
                  </a:lnTo>
                  <a:close/>
                  <a:moveTo>
                    <a:pt x="594" y="207"/>
                  </a:moveTo>
                  <a:lnTo>
                    <a:pt x="598" y="207"/>
                  </a:lnTo>
                  <a:lnTo>
                    <a:pt x="598" y="211"/>
                  </a:lnTo>
                  <a:lnTo>
                    <a:pt x="598" y="215"/>
                  </a:lnTo>
                  <a:lnTo>
                    <a:pt x="598" y="219"/>
                  </a:lnTo>
                  <a:lnTo>
                    <a:pt x="594" y="219"/>
                  </a:lnTo>
                  <a:lnTo>
                    <a:pt x="594" y="215"/>
                  </a:lnTo>
                  <a:lnTo>
                    <a:pt x="590" y="215"/>
                  </a:lnTo>
                  <a:lnTo>
                    <a:pt x="594" y="215"/>
                  </a:lnTo>
                  <a:lnTo>
                    <a:pt x="594" y="211"/>
                  </a:lnTo>
                  <a:lnTo>
                    <a:pt x="594" y="207"/>
                  </a:lnTo>
                  <a:close/>
                  <a:moveTo>
                    <a:pt x="267" y="215"/>
                  </a:moveTo>
                  <a:lnTo>
                    <a:pt x="263" y="215"/>
                  </a:lnTo>
                  <a:lnTo>
                    <a:pt x="267" y="215"/>
                  </a:lnTo>
                  <a:close/>
                  <a:moveTo>
                    <a:pt x="383" y="215"/>
                  </a:moveTo>
                  <a:lnTo>
                    <a:pt x="383" y="219"/>
                  </a:lnTo>
                  <a:lnTo>
                    <a:pt x="387" y="219"/>
                  </a:lnTo>
                  <a:lnTo>
                    <a:pt x="383" y="223"/>
                  </a:lnTo>
                  <a:lnTo>
                    <a:pt x="383" y="227"/>
                  </a:lnTo>
                  <a:lnTo>
                    <a:pt x="383" y="223"/>
                  </a:lnTo>
                  <a:lnTo>
                    <a:pt x="383" y="219"/>
                  </a:lnTo>
                  <a:lnTo>
                    <a:pt x="383" y="215"/>
                  </a:lnTo>
                  <a:close/>
                  <a:moveTo>
                    <a:pt x="227" y="255"/>
                  </a:moveTo>
                  <a:lnTo>
                    <a:pt x="223" y="255"/>
                  </a:lnTo>
                  <a:lnTo>
                    <a:pt x="219" y="251"/>
                  </a:lnTo>
                  <a:lnTo>
                    <a:pt x="215" y="251"/>
                  </a:lnTo>
                  <a:lnTo>
                    <a:pt x="211" y="251"/>
                  </a:lnTo>
                  <a:lnTo>
                    <a:pt x="207" y="251"/>
                  </a:lnTo>
                  <a:lnTo>
                    <a:pt x="203" y="251"/>
                  </a:lnTo>
                  <a:lnTo>
                    <a:pt x="199" y="251"/>
                  </a:lnTo>
                  <a:lnTo>
                    <a:pt x="195" y="251"/>
                  </a:lnTo>
                  <a:lnTo>
                    <a:pt x="191" y="251"/>
                  </a:lnTo>
                  <a:lnTo>
                    <a:pt x="191" y="247"/>
                  </a:lnTo>
                  <a:lnTo>
                    <a:pt x="187" y="247"/>
                  </a:lnTo>
                  <a:lnTo>
                    <a:pt x="183" y="247"/>
                  </a:lnTo>
                  <a:lnTo>
                    <a:pt x="179" y="247"/>
                  </a:lnTo>
                  <a:lnTo>
                    <a:pt x="175" y="247"/>
                  </a:lnTo>
                  <a:lnTo>
                    <a:pt x="171" y="247"/>
                  </a:lnTo>
                  <a:lnTo>
                    <a:pt x="171" y="243"/>
                  </a:lnTo>
                  <a:lnTo>
                    <a:pt x="171" y="239"/>
                  </a:lnTo>
                  <a:lnTo>
                    <a:pt x="171" y="235"/>
                  </a:lnTo>
                  <a:lnTo>
                    <a:pt x="171" y="239"/>
                  </a:lnTo>
                  <a:lnTo>
                    <a:pt x="167" y="239"/>
                  </a:lnTo>
                  <a:lnTo>
                    <a:pt x="167" y="235"/>
                  </a:lnTo>
                  <a:lnTo>
                    <a:pt x="163" y="235"/>
                  </a:lnTo>
                  <a:lnTo>
                    <a:pt x="159" y="235"/>
                  </a:lnTo>
                  <a:lnTo>
                    <a:pt x="155" y="235"/>
                  </a:lnTo>
                  <a:lnTo>
                    <a:pt x="151" y="235"/>
                  </a:lnTo>
                  <a:lnTo>
                    <a:pt x="155" y="235"/>
                  </a:lnTo>
                  <a:lnTo>
                    <a:pt x="155" y="231"/>
                  </a:lnTo>
                  <a:lnTo>
                    <a:pt x="155" y="235"/>
                  </a:lnTo>
                  <a:lnTo>
                    <a:pt x="159" y="231"/>
                  </a:lnTo>
                  <a:lnTo>
                    <a:pt x="159" y="227"/>
                  </a:lnTo>
                  <a:lnTo>
                    <a:pt x="163" y="227"/>
                  </a:lnTo>
                  <a:lnTo>
                    <a:pt x="163" y="223"/>
                  </a:lnTo>
                  <a:lnTo>
                    <a:pt x="163" y="219"/>
                  </a:lnTo>
                  <a:lnTo>
                    <a:pt x="163" y="215"/>
                  </a:lnTo>
                  <a:lnTo>
                    <a:pt x="167" y="215"/>
                  </a:lnTo>
                  <a:lnTo>
                    <a:pt x="167" y="219"/>
                  </a:lnTo>
                  <a:lnTo>
                    <a:pt x="171" y="219"/>
                  </a:lnTo>
                  <a:lnTo>
                    <a:pt x="175" y="219"/>
                  </a:lnTo>
                  <a:lnTo>
                    <a:pt x="179" y="219"/>
                  </a:lnTo>
                  <a:lnTo>
                    <a:pt x="183" y="219"/>
                  </a:lnTo>
                  <a:lnTo>
                    <a:pt x="187" y="219"/>
                  </a:lnTo>
                  <a:lnTo>
                    <a:pt x="187" y="223"/>
                  </a:lnTo>
                  <a:lnTo>
                    <a:pt x="191" y="223"/>
                  </a:lnTo>
                  <a:lnTo>
                    <a:pt x="195" y="227"/>
                  </a:lnTo>
                  <a:lnTo>
                    <a:pt x="199" y="227"/>
                  </a:lnTo>
                  <a:lnTo>
                    <a:pt x="199" y="223"/>
                  </a:lnTo>
                  <a:lnTo>
                    <a:pt x="199" y="227"/>
                  </a:lnTo>
                  <a:lnTo>
                    <a:pt x="203" y="227"/>
                  </a:lnTo>
                  <a:lnTo>
                    <a:pt x="203" y="231"/>
                  </a:lnTo>
                  <a:lnTo>
                    <a:pt x="203" y="235"/>
                  </a:lnTo>
                  <a:lnTo>
                    <a:pt x="207" y="235"/>
                  </a:lnTo>
                  <a:lnTo>
                    <a:pt x="211" y="235"/>
                  </a:lnTo>
                  <a:lnTo>
                    <a:pt x="215" y="235"/>
                  </a:lnTo>
                  <a:lnTo>
                    <a:pt x="219" y="235"/>
                  </a:lnTo>
                  <a:lnTo>
                    <a:pt x="223" y="235"/>
                  </a:lnTo>
                  <a:lnTo>
                    <a:pt x="227" y="235"/>
                  </a:lnTo>
                  <a:lnTo>
                    <a:pt x="231" y="235"/>
                  </a:lnTo>
                  <a:lnTo>
                    <a:pt x="231" y="239"/>
                  </a:lnTo>
                  <a:lnTo>
                    <a:pt x="231" y="235"/>
                  </a:lnTo>
                  <a:lnTo>
                    <a:pt x="235" y="235"/>
                  </a:lnTo>
                  <a:lnTo>
                    <a:pt x="235" y="231"/>
                  </a:lnTo>
                  <a:lnTo>
                    <a:pt x="235" y="227"/>
                  </a:lnTo>
                  <a:lnTo>
                    <a:pt x="239" y="227"/>
                  </a:lnTo>
                  <a:lnTo>
                    <a:pt x="243" y="231"/>
                  </a:lnTo>
                  <a:lnTo>
                    <a:pt x="247" y="231"/>
                  </a:lnTo>
                  <a:lnTo>
                    <a:pt x="251" y="231"/>
                  </a:lnTo>
                  <a:lnTo>
                    <a:pt x="251" y="235"/>
                  </a:lnTo>
                  <a:lnTo>
                    <a:pt x="255" y="235"/>
                  </a:lnTo>
                  <a:lnTo>
                    <a:pt x="259" y="235"/>
                  </a:lnTo>
                  <a:lnTo>
                    <a:pt x="263" y="235"/>
                  </a:lnTo>
                  <a:lnTo>
                    <a:pt x="263" y="239"/>
                  </a:lnTo>
                  <a:lnTo>
                    <a:pt x="267" y="239"/>
                  </a:lnTo>
                  <a:lnTo>
                    <a:pt x="267" y="243"/>
                  </a:lnTo>
                  <a:lnTo>
                    <a:pt x="263" y="239"/>
                  </a:lnTo>
                  <a:lnTo>
                    <a:pt x="263" y="243"/>
                  </a:lnTo>
                  <a:lnTo>
                    <a:pt x="267" y="243"/>
                  </a:lnTo>
                  <a:lnTo>
                    <a:pt x="267" y="247"/>
                  </a:lnTo>
                  <a:lnTo>
                    <a:pt x="271" y="251"/>
                  </a:lnTo>
                  <a:lnTo>
                    <a:pt x="275" y="251"/>
                  </a:lnTo>
                  <a:lnTo>
                    <a:pt x="279" y="251"/>
                  </a:lnTo>
                  <a:lnTo>
                    <a:pt x="283" y="251"/>
                  </a:lnTo>
                  <a:lnTo>
                    <a:pt x="287" y="251"/>
                  </a:lnTo>
                  <a:lnTo>
                    <a:pt x="287" y="247"/>
                  </a:lnTo>
                  <a:lnTo>
                    <a:pt x="287" y="251"/>
                  </a:lnTo>
                  <a:lnTo>
                    <a:pt x="291" y="251"/>
                  </a:lnTo>
                  <a:lnTo>
                    <a:pt x="291" y="255"/>
                  </a:lnTo>
                  <a:lnTo>
                    <a:pt x="291" y="259"/>
                  </a:lnTo>
                  <a:lnTo>
                    <a:pt x="291" y="263"/>
                  </a:lnTo>
                  <a:lnTo>
                    <a:pt x="291" y="267"/>
                  </a:lnTo>
                  <a:lnTo>
                    <a:pt x="295" y="267"/>
                  </a:lnTo>
                  <a:lnTo>
                    <a:pt x="295" y="271"/>
                  </a:lnTo>
                  <a:lnTo>
                    <a:pt x="291" y="271"/>
                  </a:lnTo>
                  <a:lnTo>
                    <a:pt x="291" y="267"/>
                  </a:lnTo>
                  <a:lnTo>
                    <a:pt x="287" y="267"/>
                  </a:lnTo>
                  <a:lnTo>
                    <a:pt x="283" y="267"/>
                  </a:lnTo>
                  <a:lnTo>
                    <a:pt x="279" y="263"/>
                  </a:lnTo>
                  <a:lnTo>
                    <a:pt x="275" y="263"/>
                  </a:lnTo>
                  <a:lnTo>
                    <a:pt x="275" y="259"/>
                  </a:lnTo>
                  <a:lnTo>
                    <a:pt x="271" y="259"/>
                  </a:lnTo>
                  <a:lnTo>
                    <a:pt x="271" y="263"/>
                  </a:lnTo>
                  <a:lnTo>
                    <a:pt x="267" y="263"/>
                  </a:lnTo>
                  <a:lnTo>
                    <a:pt x="263" y="263"/>
                  </a:lnTo>
                  <a:lnTo>
                    <a:pt x="259" y="263"/>
                  </a:lnTo>
                  <a:lnTo>
                    <a:pt x="255" y="263"/>
                  </a:lnTo>
                  <a:lnTo>
                    <a:pt x="251" y="259"/>
                  </a:lnTo>
                  <a:lnTo>
                    <a:pt x="251" y="263"/>
                  </a:lnTo>
                  <a:lnTo>
                    <a:pt x="247" y="263"/>
                  </a:lnTo>
                  <a:lnTo>
                    <a:pt x="247" y="259"/>
                  </a:lnTo>
                  <a:lnTo>
                    <a:pt x="243" y="259"/>
                  </a:lnTo>
                  <a:lnTo>
                    <a:pt x="239" y="259"/>
                  </a:lnTo>
                  <a:lnTo>
                    <a:pt x="235" y="259"/>
                  </a:lnTo>
                  <a:lnTo>
                    <a:pt x="231" y="259"/>
                  </a:lnTo>
                  <a:lnTo>
                    <a:pt x="227" y="255"/>
                  </a:lnTo>
                  <a:close/>
                  <a:moveTo>
                    <a:pt x="594" y="219"/>
                  </a:moveTo>
                  <a:lnTo>
                    <a:pt x="598" y="219"/>
                  </a:lnTo>
                  <a:lnTo>
                    <a:pt x="598" y="223"/>
                  </a:lnTo>
                  <a:lnTo>
                    <a:pt x="598" y="227"/>
                  </a:lnTo>
                  <a:lnTo>
                    <a:pt x="594" y="223"/>
                  </a:lnTo>
                  <a:lnTo>
                    <a:pt x="594" y="219"/>
                  </a:lnTo>
                  <a:close/>
                  <a:moveTo>
                    <a:pt x="590" y="223"/>
                  </a:moveTo>
                  <a:lnTo>
                    <a:pt x="594" y="223"/>
                  </a:lnTo>
                  <a:lnTo>
                    <a:pt x="594" y="227"/>
                  </a:lnTo>
                  <a:lnTo>
                    <a:pt x="594" y="231"/>
                  </a:lnTo>
                  <a:lnTo>
                    <a:pt x="594" y="235"/>
                  </a:lnTo>
                  <a:lnTo>
                    <a:pt x="590" y="235"/>
                  </a:lnTo>
                  <a:lnTo>
                    <a:pt x="590" y="227"/>
                  </a:lnTo>
                  <a:lnTo>
                    <a:pt x="590" y="223"/>
                  </a:lnTo>
                  <a:close/>
                  <a:moveTo>
                    <a:pt x="151" y="227"/>
                  </a:moveTo>
                  <a:lnTo>
                    <a:pt x="151" y="231"/>
                  </a:lnTo>
                  <a:lnTo>
                    <a:pt x="151" y="227"/>
                  </a:lnTo>
                  <a:close/>
                  <a:moveTo>
                    <a:pt x="307" y="235"/>
                  </a:moveTo>
                  <a:lnTo>
                    <a:pt x="311" y="235"/>
                  </a:lnTo>
                  <a:lnTo>
                    <a:pt x="307" y="235"/>
                  </a:lnTo>
                  <a:lnTo>
                    <a:pt x="307" y="239"/>
                  </a:lnTo>
                  <a:lnTo>
                    <a:pt x="303" y="239"/>
                  </a:lnTo>
                  <a:lnTo>
                    <a:pt x="303" y="235"/>
                  </a:lnTo>
                  <a:lnTo>
                    <a:pt x="307" y="235"/>
                  </a:lnTo>
                  <a:close/>
                  <a:moveTo>
                    <a:pt x="271" y="235"/>
                  </a:moveTo>
                  <a:lnTo>
                    <a:pt x="275" y="235"/>
                  </a:lnTo>
                  <a:lnTo>
                    <a:pt x="279" y="235"/>
                  </a:lnTo>
                  <a:lnTo>
                    <a:pt x="283" y="235"/>
                  </a:lnTo>
                  <a:lnTo>
                    <a:pt x="287" y="235"/>
                  </a:lnTo>
                  <a:lnTo>
                    <a:pt x="287" y="239"/>
                  </a:lnTo>
                  <a:lnTo>
                    <a:pt x="283" y="239"/>
                  </a:lnTo>
                  <a:lnTo>
                    <a:pt x="279" y="239"/>
                  </a:lnTo>
                  <a:lnTo>
                    <a:pt x="279" y="243"/>
                  </a:lnTo>
                  <a:lnTo>
                    <a:pt x="275" y="243"/>
                  </a:lnTo>
                  <a:lnTo>
                    <a:pt x="271" y="243"/>
                  </a:lnTo>
                  <a:lnTo>
                    <a:pt x="271" y="239"/>
                  </a:lnTo>
                  <a:lnTo>
                    <a:pt x="271" y="243"/>
                  </a:lnTo>
                  <a:lnTo>
                    <a:pt x="267" y="239"/>
                  </a:lnTo>
                  <a:lnTo>
                    <a:pt x="267" y="235"/>
                  </a:lnTo>
                  <a:lnTo>
                    <a:pt x="271" y="235"/>
                  </a:lnTo>
                  <a:close/>
                  <a:moveTo>
                    <a:pt x="554" y="239"/>
                  </a:moveTo>
                  <a:lnTo>
                    <a:pt x="554" y="243"/>
                  </a:lnTo>
                  <a:lnTo>
                    <a:pt x="554" y="247"/>
                  </a:lnTo>
                  <a:lnTo>
                    <a:pt x="550" y="251"/>
                  </a:lnTo>
                  <a:lnTo>
                    <a:pt x="550" y="255"/>
                  </a:lnTo>
                  <a:lnTo>
                    <a:pt x="546" y="255"/>
                  </a:lnTo>
                  <a:lnTo>
                    <a:pt x="542" y="255"/>
                  </a:lnTo>
                  <a:lnTo>
                    <a:pt x="546" y="251"/>
                  </a:lnTo>
                  <a:lnTo>
                    <a:pt x="546" y="247"/>
                  </a:lnTo>
                  <a:lnTo>
                    <a:pt x="550" y="243"/>
                  </a:lnTo>
                  <a:lnTo>
                    <a:pt x="550" y="239"/>
                  </a:lnTo>
                  <a:lnTo>
                    <a:pt x="554" y="239"/>
                  </a:lnTo>
                  <a:close/>
                  <a:moveTo>
                    <a:pt x="658" y="243"/>
                  </a:moveTo>
                  <a:lnTo>
                    <a:pt x="662" y="243"/>
                  </a:lnTo>
                  <a:lnTo>
                    <a:pt x="662" y="247"/>
                  </a:lnTo>
                  <a:lnTo>
                    <a:pt x="666" y="247"/>
                  </a:lnTo>
                  <a:lnTo>
                    <a:pt x="662" y="251"/>
                  </a:lnTo>
                  <a:lnTo>
                    <a:pt x="662" y="255"/>
                  </a:lnTo>
                  <a:lnTo>
                    <a:pt x="662" y="259"/>
                  </a:lnTo>
                  <a:lnTo>
                    <a:pt x="658" y="259"/>
                  </a:lnTo>
                  <a:lnTo>
                    <a:pt x="654" y="263"/>
                  </a:lnTo>
                  <a:lnTo>
                    <a:pt x="650" y="263"/>
                  </a:lnTo>
                  <a:lnTo>
                    <a:pt x="646" y="263"/>
                  </a:lnTo>
                  <a:lnTo>
                    <a:pt x="642" y="263"/>
                  </a:lnTo>
                  <a:lnTo>
                    <a:pt x="646" y="259"/>
                  </a:lnTo>
                  <a:lnTo>
                    <a:pt x="646" y="255"/>
                  </a:lnTo>
                  <a:lnTo>
                    <a:pt x="646" y="251"/>
                  </a:lnTo>
                  <a:lnTo>
                    <a:pt x="650" y="247"/>
                  </a:lnTo>
                  <a:lnTo>
                    <a:pt x="654" y="247"/>
                  </a:lnTo>
                  <a:lnTo>
                    <a:pt x="654" y="243"/>
                  </a:lnTo>
                  <a:lnTo>
                    <a:pt x="658" y="243"/>
                  </a:lnTo>
                  <a:close/>
                  <a:moveTo>
                    <a:pt x="522" y="251"/>
                  </a:moveTo>
                  <a:lnTo>
                    <a:pt x="526" y="251"/>
                  </a:lnTo>
                  <a:lnTo>
                    <a:pt x="526" y="255"/>
                  </a:lnTo>
                  <a:lnTo>
                    <a:pt x="522" y="255"/>
                  </a:lnTo>
                  <a:lnTo>
                    <a:pt x="522" y="251"/>
                  </a:lnTo>
                  <a:close/>
                  <a:moveTo>
                    <a:pt x="291" y="259"/>
                  </a:moveTo>
                  <a:lnTo>
                    <a:pt x="295" y="259"/>
                  </a:lnTo>
                  <a:lnTo>
                    <a:pt x="299" y="259"/>
                  </a:lnTo>
                  <a:lnTo>
                    <a:pt x="303" y="259"/>
                  </a:lnTo>
                  <a:lnTo>
                    <a:pt x="303" y="255"/>
                  </a:lnTo>
                  <a:lnTo>
                    <a:pt x="307" y="259"/>
                  </a:lnTo>
                  <a:lnTo>
                    <a:pt x="311" y="259"/>
                  </a:lnTo>
                  <a:lnTo>
                    <a:pt x="311" y="263"/>
                  </a:lnTo>
                  <a:lnTo>
                    <a:pt x="307" y="267"/>
                  </a:lnTo>
                  <a:lnTo>
                    <a:pt x="303" y="267"/>
                  </a:lnTo>
                  <a:lnTo>
                    <a:pt x="303" y="271"/>
                  </a:lnTo>
                  <a:lnTo>
                    <a:pt x="303" y="267"/>
                  </a:lnTo>
                  <a:lnTo>
                    <a:pt x="299" y="263"/>
                  </a:lnTo>
                  <a:lnTo>
                    <a:pt x="295" y="263"/>
                  </a:lnTo>
                  <a:lnTo>
                    <a:pt x="295" y="259"/>
                  </a:lnTo>
                  <a:lnTo>
                    <a:pt x="291" y="259"/>
                  </a:lnTo>
                  <a:close/>
                  <a:moveTo>
                    <a:pt x="418" y="267"/>
                  </a:moveTo>
                  <a:lnTo>
                    <a:pt x="414" y="267"/>
                  </a:lnTo>
                  <a:lnTo>
                    <a:pt x="414" y="271"/>
                  </a:lnTo>
                  <a:lnTo>
                    <a:pt x="410" y="271"/>
                  </a:lnTo>
                  <a:lnTo>
                    <a:pt x="406" y="271"/>
                  </a:lnTo>
                  <a:lnTo>
                    <a:pt x="402" y="271"/>
                  </a:lnTo>
                  <a:lnTo>
                    <a:pt x="398" y="271"/>
                  </a:lnTo>
                  <a:lnTo>
                    <a:pt x="395" y="271"/>
                  </a:lnTo>
                  <a:lnTo>
                    <a:pt x="391" y="275"/>
                  </a:lnTo>
                  <a:lnTo>
                    <a:pt x="391" y="271"/>
                  </a:lnTo>
                  <a:lnTo>
                    <a:pt x="387" y="271"/>
                  </a:lnTo>
                  <a:lnTo>
                    <a:pt x="383" y="271"/>
                  </a:lnTo>
                  <a:lnTo>
                    <a:pt x="379" y="271"/>
                  </a:lnTo>
                  <a:lnTo>
                    <a:pt x="375" y="271"/>
                  </a:lnTo>
                  <a:lnTo>
                    <a:pt x="375" y="267"/>
                  </a:lnTo>
                  <a:lnTo>
                    <a:pt x="375" y="263"/>
                  </a:lnTo>
                  <a:lnTo>
                    <a:pt x="379" y="263"/>
                  </a:lnTo>
                  <a:lnTo>
                    <a:pt x="379" y="259"/>
                  </a:lnTo>
                  <a:lnTo>
                    <a:pt x="383" y="259"/>
                  </a:lnTo>
                  <a:lnTo>
                    <a:pt x="387" y="263"/>
                  </a:lnTo>
                  <a:lnTo>
                    <a:pt x="391" y="263"/>
                  </a:lnTo>
                  <a:lnTo>
                    <a:pt x="395" y="263"/>
                  </a:lnTo>
                  <a:lnTo>
                    <a:pt x="395" y="267"/>
                  </a:lnTo>
                  <a:lnTo>
                    <a:pt x="398" y="267"/>
                  </a:lnTo>
                  <a:lnTo>
                    <a:pt x="402" y="263"/>
                  </a:lnTo>
                  <a:lnTo>
                    <a:pt x="406" y="263"/>
                  </a:lnTo>
                  <a:lnTo>
                    <a:pt x="406" y="267"/>
                  </a:lnTo>
                  <a:lnTo>
                    <a:pt x="410" y="267"/>
                  </a:lnTo>
                  <a:lnTo>
                    <a:pt x="414" y="267"/>
                  </a:lnTo>
                  <a:lnTo>
                    <a:pt x="414" y="263"/>
                  </a:lnTo>
                  <a:lnTo>
                    <a:pt x="418" y="263"/>
                  </a:lnTo>
                  <a:lnTo>
                    <a:pt x="422" y="259"/>
                  </a:lnTo>
                  <a:lnTo>
                    <a:pt x="418" y="259"/>
                  </a:lnTo>
                  <a:lnTo>
                    <a:pt x="422" y="259"/>
                  </a:lnTo>
                  <a:lnTo>
                    <a:pt x="422" y="263"/>
                  </a:lnTo>
                  <a:lnTo>
                    <a:pt x="418" y="263"/>
                  </a:lnTo>
                  <a:lnTo>
                    <a:pt x="418" y="267"/>
                  </a:lnTo>
                  <a:close/>
                  <a:moveTo>
                    <a:pt x="363" y="267"/>
                  </a:moveTo>
                  <a:lnTo>
                    <a:pt x="363" y="271"/>
                  </a:lnTo>
                  <a:lnTo>
                    <a:pt x="359" y="271"/>
                  </a:lnTo>
                  <a:lnTo>
                    <a:pt x="359" y="267"/>
                  </a:lnTo>
                  <a:lnTo>
                    <a:pt x="355" y="271"/>
                  </a:lnTo>
                  <a:lnTo>
                    <a:pt x="359" y="271"/>
                  </a:lnTo>
                  <a:lnTo>
                    <a:pt x="355" y="271"/>
                  </a:lnTo>
                  <a:lnTo>
                    <a:pt x="351" y="271"/>
                  </a:lnTo>
                  <a:lnTo>
                    <a:pt x="351" y="267"/>
                  </a:lnTo>
                  <a:lnTo>
                    <a:pt x="351" y="271"/>
                  </a:lnTo>
                  <a:lnTo>
                    <a:pt x="347" y="271"/>
                  </a:lnTo>
                  <a:lnTo>
                    <a:pt x="343" y="275"/>
                  </a:lnTo>
                  <a:lnTo>
                    <a:pt x="343" y="271"/>
                  </a:lnTo>
                  <a:lnTo>
                    <a:pt x="339" y="275"/>
                  </a:lnTo>
                  <a:lnTo>
                    <a:pt x="335" y="275"/>
                  </a:lnTo>
                  <a:lnTo>
                    <a:pt x="331" y="275"/>
                  </a:lnTo>
                  <a:lnTo>
                    <a:pt x="327" y="275"/>
                  </a:lnTo>
                  <a:lnTo>
                    <a:pt x="327" y="271"/>
                  </a:lnTo>
                  <a:lnTo>
                    <a:pt x="327" y="267"/>
                  </a:lnTo>
                  <a:lnTo>
                    <a:pt x="331" y="267"/>
                  </a:lnTo>
                  <a:lnTo>
                    <a:pt x="331" y="263"/>
                  </a:lnTo>
                  <a:lnTo>
                    <a:pt x="335" y="263"/>
                  </a:lnTo>
                  <a:lnTo>
                    <a:pt x="339" y="263"/>
                  </a:lnTo>
                  <a:lnTo>
                    <a:pt x="339" y="267"/>
                  </a:lnTo>
                  <a:lnTo>
                    <a:pt x="343" y="267"/>
                  </a:lnTo>
                  <a:lnTo>
                    <a:pt x="347" y="271"/>
                  </a:lnTo>
                  <a:lnTo>
                    <a:pt x="347" y="267"/>
                  </a:lnTo>
                  <a:lnTo>
                    <a:pt x="351" y="267"/>
                  </a:lnTo>
                  <a:lnTo>
                    <a:pt x="347" y="263"/>
                  </a:lnTo>
                  <a:lnTo>
                    <a:pt x="343" y="263"/>
                  </a:lnTo>
                  <a:lnTo>
                    <a:pt x="343" y="259"/>
                  </a:lnTo>
                  <a:lnTo>
                    <a:pt x="347" y="259"/>
                  </a:lnTo>
                  <a:lnTo>
                    <a:pt x="351" y="259"/>
                  </a:lnTo>
                  <a:lnTo>
                    <a:pt x="351" y="263"/>
                  </a:lnTo>
                  <a:lnTo>
                    <a:pt x="351" y="259"/>
                  </a:lnTo>
                  <a:lnTo>
                    <a:pt x="355" y="259"/>
                  </a:lnTo>
                  <a:lnTo>
                    <a:pt x="355" y="263"/>
                  </a:lnTo>
                  <a:lnTo>
                    <a:pt x="355" y="267"/>
                  </a:lnTo>
                  <a:lnTo>
                    <a:pt x="355" y="263"/>
                  </a:lnTo>
                  <a:lnTo>
                    <a:pt x="359" y="263"/>
                  </a:lnTo>
                  <a:lnTo>
                    <a:pt x="363" y="263"/>
                  </a:lnTo>
                  <a:lnTo>
                    <a:pt x="363" y="267"/>
                  </a:lnTo>
                  <a:close/>
                  <a:moveTo>
                    <a:pt x="494" y="259"/>
                  </a:moveTo>
                  <a:lnTo>
                    <a:pt x="498" y="259"/>
                  </a:lnTo>
                  <a:lnTo>
                    <a:pt x="494" y="259"/>
                  </a:lnTo>
                  <a:close/>
                  <a:moveTo>
                    <a:pt x="339" y="263"/>
                  </a:moveTo>
                  <a:lnTo>
                    <a:pt x="339" y="259"/>
                  </a:lnTo>
                  <a:lnTo>
                    <a:pt x="343" y="259"/>
                  </a:lnTo>
                  <a:lnTo>
                    <a:pt x="339" y="259"/>
                  </a:lnTo>
                  <a:lnTo>
                    <a:pt x="339" y="263"/>
                  </a:lnTo>
                  <a:close/>
                  <a:moveTo>
                    <a:pt x="662" y="259"/>
                  </a:moveTo>
                  <a:lnTo>
                    <a:pt x="662" y="263"/>
                  </a:lnTo>
                  <a:lnTo>
                    <a:pt x="658" y="263"/>
                  </a:lnTo>
                  <a:lnTo>
                    <a:pt x="658" y="259"/>
                  </a:lnTo>
                  <a:lnTo>
                    <a:pt x="662" y="259"/>
                  </a:lnTo>
                  <a:close/>
                  <a:moveTo>
                    <a:pt x="510" y="259"/>
                  </a:moveTo>
                  <a:lnTo>
                    <a:pt x="514" y="259"/>
                  </a:lnTo>
                  <a:lnTo>
                    <a:pt x="510" y="259"/>
                  </a:lnTo>
                  <a:close/>
                  <a:moveTo>
                    <a:pt x="319" y="259"/>
                  </a:moveTo>
                  <a:lnTo>
                    <a:pt x="323" y="259"/>
                  </a:lnTo>
                  <a:lnTo>
                    <a:pt x="327" y="263"/>
                  </a:lnTo>
                  <a:lnTo>
                    <a:pt x="327" y="267"/>
                  </a:lnTo>
                  <a:lnTo>
                    <a:pt x="323" y="267"/>
                  </a:lnTo>
                  <a:lnTo>
                    <a:pt x="323" y="271"/>
                  </a:lnTo>
                  <a:lnTo>
                    <a:pt x="319" y="271"/>
                  </a:lnTo>
                  <a:lnTo>
                    <a:pt x="315" y="271"/>
                  </a:lnTo>
                  <a:lnTo>
                    <a:pt x="319" y="267"/>
                  </a:lnTo>
                  <a:lnTo>
                    <a:pt x="315" y="267"/>
                  </a:lnTo>
                  <a:lnTo>
                    <a:pt x="319" y="263"/>
                  </a:lnTo>
                  <a:lnTo>
                    <a:pt x="319" y="259"/>
                  </a:lnTo>
                  <a:close/>
                  <a:moveTo>
                    <a:pt x="422" y="263"/>
                  </a:moveTo>
                  <a:lnTo>
                    <a:pt x="422" y="259"/>
                  </a:lnTo>
                  <a:lnTo>
                    <a:pt x="426" y="259"/>
                  </a:lnTo>
                  <a:lnTo>
                    <a:pt x="426" y="263"/>
                  </a:lnTo>
                  <a:lnTo>
                    <a:pt x="422" y="263"/>
                  </a:lnTo>
                  <a:close/>
                  <a:moveTo>
                    <a:pt x="367" y="263"/>
                  </a:moveTo>
                  <a:lnTo>
                    <a:pt x="371" y="263"/>
                  </a:lnTo>
                  <a:lnTo>
                    <a:pt x="371" y="267"/>
                  </a:lnTo>
                  <a:lnTo>
                    <a:pt x="367" y="267"/>
                  </a:lnTo>
                  <a:lnTo>
                    <a:pt x="367" y="271"/>
                  </a:lnTo>
                  <a:lnTo>
                    <a:pt x="367" y="267"/>
                  </a:lnTo>
                  <a:lnTo>
                    <a:pt x="367" y="263"/>
                  </a:lnTo>
                  <a:close/>
                  <a:moveTo>
                    <a:pt x="418" y="267"/>
                  </a:moveTo>
                  <a:lnTo>
                    <a:pt x="422" y="263"/>
                  </a:lnTo>
                  <a:lnTo>
                    <a:pt x="422" y="267"/>
                  </a:lnTo>
                  <a:lnTo>
                    <a:pt x="418" y="267"/>
                  </a:lnTo>
                  <a:close/>
                  <a:moveTo>
                    <a:pt x="371" y="271"/>
                  </a:moveTo>
                  <a:lnTo>
                    <a:pt x="371" y="267"/>
                  </a:lnTo>
                  <a:lnTo>
                    <a:pt x="371" y="271"/>
                  </a:lnTo>
                  <a:close/>
                  <a:moveTo>
                    <a:pt x="363" y="287"/>
                  </a:moveTo>
                  <a:lnTo>
                    <a:pt x="359" y="283"/>
                  </a:lnTo>
                  <a:lnTo>
                    <a:pt x="363" y="283"/>
                  </a:lnTo>
                  <a:lnTo>
                    <a:pt x="367" y="279"/>
                  </a:lnTo>
                  <a:lnTo>
                    <a:pt x="367" y="283"/>
                  </a:lnTo>
                  <a:lnTo>
                    <a:pt x="371" y="279"/>
                  </a:lnTo>
                  <a:lnTo>
                    <a:pt x="371" y="283"/>
                  </a:lnTo>
                  <a:lnTo>
                    <a:pt x="375" y="283"/>
                  </a:lnTo>
                  <a:lnTo>
                    <a:pt x="375" y="279"/>
                  </a:lnTo>
                  <a:lnTo>
                    <a:pt x="375" y="283"/>
                  </a:lnTo>
                  <a:lnTo>
                    <a:pt x="379" y="283"/>
                  </a:lnTo>
                  <a:lnTo>
                    <a:pt x="379" y="287"/>
                  </a:lnTo>
                  <a:lnTo>
                    <a:pt x="383" y="287"/>
                  </a:lnTo>
                  <a:lnTo>
                    <a:pt x="387" y="287"/>
                  </a:lnTo>
                  <a:lnTo>
                    <a:pt x="387" y="291"/>
                  </a:lnTo>
                  <a:lnTo>
                    <a:pt x="391" y="291"/>
                  </a:lnTo>
                  <a:lnTo>
                    <a:pt x="391" y="295"/>
                  </a:lnTo>
                  <a:lnTo>
                    <a:pt x="387" y="295"/>
                  </a:lnTo>
                  <a:lnTo>
                    <a:pt x="387" y="299"/>
                  </a:lnTo>
                  <a:lnTo>
                    <a:pt x="383" y="299"/>
                  </a:lnTo>
                  <a:lnTo>
                    <a:pt x="379" y="299"/>
                  </a:lnTo>
                  <a:lnTo>
                    <a:pt x="379" y="295"/>
                  </a:lnTo>
                  <a:lnTo>
                    <a:pt x="375" y="295"/>
                  </a:lnTo>
                  <a:lnTo>
                    <a:pt x="375" y="291"/>
                  </a:lnTo>
                  <a:lnTo>
                    <a:pt x="371" y="291"/>
                  </a:lnTo>
                  <a:lnTo>
                    <a:pt x="371" y="287"/>
                  </a:lnTo>
                  <a:lnTo>
                    <a:pt x="367" y="287"/>
                  </a:lnTo>
                  <a:lnTo>
                    <a:pt x="363" y="287"/>
                  </a:lnTo>
                  <a:close/>
                  <a:moveTo>
                    <a:pt x="402" y="303"/>
                  </a:moveTo>
                  <a:lnTo>
                    <a:pt x="402" y="299"/>
                  </a:lnTo>
                  <a:lnTo>
                    <a:pt x="406" y="299"/>
                  </a:lnTo>
                  <a:lnTo>
                    <a:pt x="406" y="303"/>
                  </a:lnTo>
                  <a:lnTo>
                    <a:pt x="402" y="303"/>
                  </a:lnTo>
                  <a:close/>
                  <a:moveTo>
                    <a:pt x="418" y="307"/>
                  </a:moveTo>
                  <a:lnTo>
                    <a:pt x="422" y="307"/>
                  </a:lnTo>
                  <a:lnTo>
                    <a:pt x="422" y="303"/>
                  </a:lnTo>
                  <a:lnTo>
                    <a:pt x="426" y="303"/>
                  </a:lnTo>
                  <a:lnTo>
                    <a:pt x="426" y="299"/>
                  </a:lnTo>
                  <a:lnTo>
                    <a:pt x="426" y="303"/>
                  </a:lnTo>
                  <a:lnTo>
                    <a:pt x="426" y="307"/>
                  </a:lnTo>
                  <a:lnTo>
                    <a:pt x="422" y="307"/>
                  </a:lnTo>
                  <a:lnTo>
                    <a:pt x="422" y="311"/>
                  </a:lnTo>
                  <a:lnTo>
                    <a:pt x="418" y="311"/>
                  </a:lnTo>
                  <a:lnTo>
                    <a:pt x="418" y="307"/>
                  </a:lnTo>
                  <a:close/>
                  <a:moveTo>
                    <a:pt x="466" y="251"/>
                  </a:moveTo>
                  <a:lnTo>
                    <a:pt x="470" y="251"/>
                  </a:lnTo>
                  <a:lnTo>
                    <a:pt x="474" y="251"/>
                  </a:lnTo>
                  <a:lnTo>
                    <a:pt x="474" y="247"/>
                  </a:lnTo>
                  <a:lnTo>
                    <a:pt x="478" y="247"/>
                  </a:lnTo>
                  <a:lnTo>
                    <a:pt x="478" y="251"/>
                  </a:lnTo>
                  <a:lnTo>
                    <a:pt x="474" y="251"/>
                  </a:lnTo>
                  <a:lnTo>
                    <a:pt x="474" y="255"/>
                  </a:lnTo>
                  <a:lnTo>
                    <a:pt x="470" y="255"/>
                  </a:lnTo>
                  <a:lnTo>
                    <a:pt x="466" y="255"/>
                  </a:lnTo>
                  <a:lnTo>
                    <a:pt x="462" y="255"/>
                  </a:lnTo>
                  <a:lnTo>
                    <a:pt x="466" y="251"/>
                  </a:lnTo>
                  <a:close/>
                  <a:moveTo>
                    <a:pt x="442" y="259"/>
                  </a:moveTo>
                  <a:lnTo>
                    <a:pt x="446" y="259"/>
                  </a:lnTo>
                  <a:lnTo>
                    <a:pt x="450" y="259"/>
                  </a:lnTo>
                  <a:lnTo>
                    <a:pt x="454" y="259"/>
                  </a:lnTo>
                  <a:lnTo>
                    <a:pt x="454" y="263"/>
                  </a:lnTo>
                  <a:lnTo>
                    <a:pt x="450" y="263"/>
                  </a:lnTo>
                  <a:lnTo>
                    <a:pt x="446" y="263"/>
                  </a:lnTo>
                  <a:lnTo>
                    <a:pt x="442" y="263"/>
                  </a:lnTo>
                  <a:lnTo>
                    <a:pt x="442" y="259"/>
                  </a:lnTo>
                  <a:close/>
                  <a:moveTo>
                    <a:pt x="434" y="263"/>
                  </a:moveTo>
                  <a:lnTo>
                    <a:pt x="438" y="263"/>
                  </a:lnTo>
                  <a:lnTo>
                    <a:pt x="438" y="259"/>
                  </a:lnTo>
                  <a:lnTo>
                    <a:pt x="442" y="259"/>
                  </a:lnTo>
                  <a:lnTo>
                    <a:pt x="442" y="263"/>
                  </a:lnTo>
                  <a:lnTo>
                    <a:pt x="438" y="263"/>
                  </a:lnTo>
                  <a:lnTo>
                    <a:pt x="438" y="267"/>
                  </a:lnTo>
                  <a:lnTo>
                    <a:pt x="438" y="263"/>
                  </a:lnTo>
                  <a:lnTo>
                    <a:pt x="434" y="263"/>
                  </a:lnTo>
                  <a:close/>
                  <a:moveTo>
                    <a:pt x="426" y="267"/>
                  </a:moveTo>
                  <a:lnTo>
                    <a:pt x="426" y="263"/>
                  </a:lnTo>
                  <a:lnTo>
                    <a:pt x="430" y="263"/>
                  </a:lnTo>
                  <a:lnTo>
                    <a:pt x="426" y="263"/>
                  </a:lnTo>
                  <a:lnTo>
                    <a:pt x="426" y="259"/>
                  </a:lnTo>
                  <a:lnTo>
                    <a:pt x="430" y="259"/>
                  </a:lnTo>
                  <a:lnTo>
                    <a:pt x="430" y="263"/>
                  </a:lnTo>
                  <a:lnTo>
                    <a:pt x="434" y="259"/>
                  </a:lnTo>
                  <a:lnTo>
                    <a:pt x="434" y="263"/>
                  </a:lnTo>
                  <a:lnTo>
                    <a:pt x="430" y="263"/>
                  </a:lnTo>
                  <a:lnTo>
                    <a:pt x="430" y="267"/>
                  </a:lnTo>
                  <a:lnTo>
                    <a:pt x="426" y="267"/>
                  </a:lnTo>
                  <a:close/>
                  <a:moveTo>
                    <a:pt x="454" y="283"/>
                  </a:moveTo>
                  <a:lnTo>
                    <a:pt x="450" y="283"/>
                  </a:lnTo>
                  <a:lnTo>
                    <a:pt x="450" y="287"/>
                  </a:lnTo>
                  <a:lnTo>
                    <a:pt x="450" y="291"/>
                  </a:lnTo>
                  <a:lnTo>
                    <a:pt x="446" y="291"/>
                  </a:lnTo>
                  <a:lnTo>
                    <a:pt x="446" y="295"/>
                  </a:lnTo>
                  <a:lnTo>
                    <a:pt x="442" y="295"/>
                  </a:lnTo>
                  <a:lnTo>
                    <a:pt x="438" y="295"/>
                  </a:lnTo>
                  <a:lnTo>
                    <a:pt x="438" y="299"/>
                  </a:lnTo>
                  <a:lnTo>
                    <a:pt x="434" y="299"/>
                  </a:lnTo>
                  <a:lnTo>
                    <a:pt x="430" y="299"/>
                  </a:lnTo>
                  <a:lnTo>
                    <a:pt x="430" y="295"/>
                  </a:lnTo>
                  <a:lnTo>
                    <a:pt x="434" y="295"/>
                  </a:lnTo>
                  <a:lnTo>
                    <a:pt x="430" y="295"/>
                  </a:lnTo>
                  <a:lnTo>
                    <a:pt x="430" y="291"/>
                  </a:lnTo>
                  <a:lnTo>
                    <a:pt x="430" y="287"/>
                  </a:lnTo>
                  <a:lnTo>
                    <a:pt x="434" y="283"/>
                  </a:lnTo>
                  <a:lnTo>
                    <a:pt x="434" y="279"/>
                  </a:lnTo>
                  <a:lnTo>
                    <a:pt x="438" y="279"/>
                  </a:lnTo>
                  <a:lnTo>
                    <a:pt x="438" y="283"/>
                  </a:lnTo>
                  <a:lnTo>
                    <a:pt x="442" y="283"/>
                  </a:lnTo>
                  <a:lnTo>
                    <a:pt x="442" y="279"/>
                  </a:lnTo>
                  <a:lnTo>
                    <a:pt x="446" y="279"/>
                  </a:lnTo>
                  <a:lnTo>
                    <a:pt x="446" y="275"/>
                  </a:lnTo>
                  <a:lnTo>
                    <a:pt x="450" y="275"/>
                  </a:lnTo>
                  <a:lnTo>
                    <a:pt x="454" y="275"/>
                  </a:lnTo>
                  <a:lnTo>
                    <a:pt x="454" y="279"/>
                  </a:lnTo>
                  <a:lnTo>
                    <a:pt x="450" y="279"/>
                  </a:lnTo>
                  <a:lnTo>
                    <a:pt x="454" y="28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1" name="Freeform 18"/>
            <p:cNvSpPr>
              <a:spLocks noEditPoints="1"/>
            </p:cNvSpPr>
            <p:nvPr>
              <p:custDataLst>
                <p:tags r:id="rId213"/>
              </p:custDataLst>
            </p:nvPr>
          </p:nvSpPr>
          <p:spPr bwMode="gray">
            <a:xfrm>
              <a:off x="5363781" y="3473275"/>
              <a:ext cx="431571" cy="433055"/>
            </a:xfrm>
            <a:custGeom>
              <a:avLst/>
              <a:gdLst/>
              <a:ahLst/>
              <a:cxnLst>
                <a:cxn ang="0">
                  <a:pos x="267" y="168"/>
                </a:cxn>
                <a:cxn ang="0">
                  <a:pos x="259" y="192"/>
                </a:cxn>
                <a:cxn ang="0">
                  <a:pos x="263" y="212"/>
                </a:cxn>
                <a:cxn ang="0">
                  <a:pos x="283" y="228"/>
                </a:cxn>
                <a:cxn ang="0">
                  <a:pos x="287" y="248"/>
                </a:cxn>
                <a:cxn ang="0">
                  <a:pos x="283" y="260"/>
                </a:cxn>
                <a:cxn ang="0">
                  <a:pos x="275" y="268"/>
                </a:cxn>
                <a:cxn ang="0">
                  <a:pos x="267" y="284"/>
                </a:cxn>
                <a:cxn ang="0">
                  <a:pos x="255" y="288"/>
                </a:cxn>
                <a:cxn ang="0">
                  <a:pos x="243" y="284"/>
                </a:cxn>
                <a:cxn ang="0">
                  <a:pos x="219" y="280"/>
                </a:cxn>
                <a:cxn ang="0">
                  <a:pos x="203" y="276"/>
                </a:cxn>
                <a:cxn ang="0">
                  <a:pos x="195" y="252"/>
                </a:cxn>
                <a:cxn ang="0">
                  <a:pos x="175" y="256"/>
                </a:cxn>
                <a:cxn ang="0">
                  <a:pos x="155" y="260"/>
                </a:cxn>
                <a:cxn ang="0">
                  <a:pos x="135" y="252"/>
                </a:cxn>
                <a:cxn ang="0">
                  <a:pos x="123" y="240"/>
                </a:cxn>
                <a:cxn ang="0">
                  <a:pos x="108" y="224"/>
                </a:cxn>
                <a:cxn ang="0">
                  <a:pos x="100" y="208"/>
                </a:cxn>
                <a:cxn ang="0">
                  <a:pos x="92" y="192"/>
                </a:cxn>
                <a:cxn ang="0">
                  <a:pos x="80" y="188"/>
                </a:cxn>
                <a:cxn ang="0">
                  <a:pos x="72" y="196"/>
                </a:cxn>
                <a:cxn ang="0">
                  <a:pos x="60" y="176"/>
                </a:cxn>
                <a:cxn ang="0">
                  <a:pos x="56" y="160"/>
                </a:cxn>
                <a:cxn ang="0">
                  <a:pos x="48" y="144"/>
                </a:cxn>
                <a:cxn ang="0">
                  <a:pos x="32" y="128"/>
                </a:cxn>
                <a:cxn ang="0">
                  <a:pos x="20" y="116"/>
                </a:cxn>
                <a:cxn ang="0">
                  <a:pos x="28" y="104"/>
                </a:cxn>
                <a:cxn ang="0">
                  <a:pos x="28" y="96"/>
                </a:cxn>
                <a:cxn ang="0">
                  <a:pos x="32" y="80"/>
                </a:cxn>
                <a:cxn ang="0">
                  <a:pos x="20" y="72"/>
                </a:cxn>
                <a:cxn ang="0">
                  <a:pos x="12" y="56"/>
                </a:cxn>
                <a:cxn ang="0">
                  <a:pos x="4" y="36"/>
                </a:cxn>
                <a:cxn ang="0">
                  <a:pos x="4" y="16"/>
                </a:cxn>
                <a:cxn ang="0">
                  <a:pos x="4" y="4"/>
                </a:cxn>
                <a:cxn ang="0">
                  <a:pos x="16" y="8"/>
                </a:cxn>
                <a:cxn ang="0">
                  <a:pos x="36" y="16"/>
                </a:cxn>
                <a:cxn ang="0">
                  <a:pos x="52" y="4"/>
                </a:cxn>
                <a:cxn ang="0">
                  <a:pos x="64" y="12"/>
                </a:cxn>
                <a:cxn ang="0">
                  <a:pos x="68" y="28"/>
                </a:cxn>
                <a:cxn ang="0">
                  <a:pos x="96" y="28"/>
                </a:cxn>
                <a:cxn ang="0">
                  <a:pos x="115" y="28"/>
                </a:cxn>
                <a:cxn ang="0">
                  <a:pos x="131" y="40"/>
                </a:cxn>
                <a:cxn ang="0">
                  <a:pos x="151" y="48"/>
                </a:cxn>
                <a:cxn ang="0">
                  <a:pos x="167" y="36"/>
                </a:cxn>
                <a:cxn ang="0">
                  <a:pos x="187" y="32"/>
                </a:cxn>
                <a:cxn ang="0">
                  <a:pos x="199" y="28"/>
                </a:cxn>
                <a:cxn ang="0">
                  <a:pos x="223" y="40"/>
                </a:cxn>
                <a:cxn ang="0">
                  <a:pos x="231" y="48"/>
                </a:cxn>
                <a:cxn ang="0">
                  <a:pos x="251" y="64"/>
                </a:cxn>
                <a:cxn ang="0">
                  <a:pos x="259" y="80"/>
                </a:cxn>
                <a:cxn ang="0">
                  <a:pos x="259" y="100"/>
                </a:cxn>
                <a:cxn ang="0">
                  <a:pos x="251" y="116"/>
                </a:cxn>
                <a:cxn ang="0">
                  <a:pos x="251" y="132"/>
                </a:cxn>
                <a:cxn ang="0">
                  <a:pos x="255" y="156"/>
                </a:cxn>
                <a:cxn ang="0">
                  <a:pos x="187" y="256"/>
                </a:cxn>
                <a:cxn ang="0">
                  <a:pos x="171" y="260"/>
                </a:cxn>
                <a:cxn ang="0">
                  <a:pos x="187" y="256"/>
                </a:cxn>
              </a:cxnLst>
              <a:rect l="0" t="0" r="r" b="b"/>
              <a:pathLst>
                <a:path w="291" h="292">
                  <a:moveTo>
                    <a:pt x="255" y="156"/>
                  </a:moveTo>
                  <a:lnTo>
                    <a:pt x="255" y="160"/>
                  </a:lnTo>
                  <a:lnTo>
                    <a:pt x="255" y="164"/>
                  </a:lnTo>
                  <a:lnTo>
                    <a:pt x="259" y="168"/>
                  </a:lnTo>
                  <a:lnTo>
                    <a:pt x="263" y="168"/>
                  </a:lnTo>
                  <a:lnTo>
                    <a:pt x="267" y="168"/>
                  </a:lnTo>
                  <a:lnTo>
                    <a:pt x="267" y="172"/>
                  </a:lnTo>
                  <a:lnTo>
                    <a:pt x="271" y="172"/>
                  </a:lnTo>
                  <a:lnTo>
                    <a:pt x="271" y="176"/>
                  </a:lnTo>
                  <a:lnTo>
                    <a:pt x="267" y="180"/>
                  </a:lnTo>
                  <a:lnTo>
                    <a:pt x="263" y="188"/>
                  </a:lnTo>
                  <a:lnTo>
                    <a:pt x="259" y="192"/>
                  </a:lnTo>
                  <a:lnTo>
                    <a:pt x="259" y="196"/>
                  </a:lnTo>
                  <a:lnTo>
                    <a:pt x="255" y="196"/>
                  </a:lnTo>
                  <a:lnTo>
                    <a:pt x="255" y="200"/>
                  </a:lnTo>
                  <a:lnTo>
                    <a:pt x="259" y="200"/>
                  </a:lnTo>
                  <a:lnTo>
                    <a:pt x="263" y="208"/>
                  </a:lnTo>
                  <a:lnTo>
                    <a:pt x="263" y="212"/>
                  </a:lnTo>
                  <a:lnTo>
                    <a:pt x="267" y="216"/>
                  </a:lnTo>
                  <a:lnTo>
                    <a:pt x="267" y="220"/>
                  </a:lnTo>
                  <a:lnTo>
                    <a:pt x="271" y="224"/>
                  </a:lnTo>
                  <a:lnTo>
                    <a:pt x="275" y="224"/>
                  </a:lnTo>
                  <a:lnTo>
                    <a:pt x="279" y="228"/>
                  </a:lnTo>
                  <a:lnTo>
                    <a:pt x="283" y="228"/>
                  </a:lnTo>
                  <a:lnTo>
                    <a:pt x="283" y="232"/>
                  </a:lnTo>
                  <a:lnTo>
                    <a:pt x="283" y="236"/>
                  </a:lnTo>
                  <a:lnTo>
                    <a:pt x="283" y="240"/>
                  </a:lnTo>
                  <a:lnTo>
                    <a:pt x="283" y="244"/>
                  </a:lnTo>
                  <a:lnTo>
                    <a:pt x="283" y="248"/>
                  </a:lnTo>
                  <a:lnTo>
                    <a:pt x="287" y="248"/>
                  </a:lnTo>
                  <a:lnTo>
                    <a:pt x="291" y="248"/>
                  </a:lnTo>
                  <a:lnTo>
                    <a:pt x="291" y="252"/>
                  </a:lnTo>
                  <a:lnTo>
                    <a:pt x="291" y="256"/>
                  </a:lnTo>
                  <a:lnTo>
                    <a:pt x="291" y="260"/>
                  </a:lnTo>
                  <a:lnTo>
                    <a:pt x="287" y="260"/>
                  </a:lnTo>
                  <a:lnTo>
                    <a:pt x="283" y="260"/>
                  </a:lnTo>
                  <a:lnTo>
                    <a:pt x="283" y="264"/>
                  </a:lnTo>
                  <a:lnTo>
                    <a:pt x="279" y="264"/>
                  </a:lnTo>
                  <a:lnTo>
                    <a:pt x="275" y="264"/>
                  </a:lnTo>
                  <a:lnTo>
                    <a:pt x="275" y="268"/>
                  </a:lnTo>
                  <a:lnTo>
                    <a:pt x="275" y="264"/>
                  </a:lnTo>
                  <a:lnTo>
                    <a:pt x="275" y="268"/>
                  </a:lnTo>
                  <a:lnTo>
                    <a:pt x="271" y="268"/>
                  </a:lnTo>
                  <a:lnTo>
                    <a:pt x="271" y="272"/>
                  </a:lnTo>
                  <a:lnTo>
                    <a:pt x="271" y="276"/>
                  </a:lnTo>
                  <a:lnTo>
                    <a:pt x="267" y="276"/>
                  </a:lnTo>
                  <a:lnTo>
                    <a:pt x="267" y="280"/>
                  </a:lnTo>
                  <a:lnTo>
                    <a:pt x="267" y="284"/>
                  </a:lnTo>
                  <a:lnTo>
                    <a:pt x="267" y="288"/>
                  </a:lnTo>
                  <a:lnTo>
                    <a:pt x="263" y="288"/>
                  </a:lnTo>
                  <a:lnTo>
                    <a:pt x="263" y="292"/>
                  </a:lnTo>
                  <a:lnTo>
                    <a:pt x="259" y="292"/>
                  </a:lnTo>
                  <a:lnTo>
                    <a:pt x="259" y="288"/>
                  </a:lnTo>
                  <a:lnTo>
                    <a:pt x="255" y="288"/>
                  </a:lnTo>
                  <a:lnTo>
                    <a:pt x="251" y="288"/>
                  </a:lnTo>
                  <a:lnTo>
                    <a:pt x="251" y="284"/>
                  </a:lnTo>
                  <a:lnTo>
                    <a:pt x="247" y="284"/>
                  </a:lnTo>
                  <a:lnTo>
                    <a:pt x="247" y="288"/>
                  </a:lnTo>
                  <a:lnTo>
                    <a:pt x="247" y="284"/>
                  </a:lnTo>
                  <a:lnTo>
                    <a:pt x="243" y="284"/>
                  </a:lnTo>
                  <a:lnTo>
                    <a:pt x="239" y="284"/>
                  </a:lnTo>
                  <a:lnTo>
                    <a:pt x="235" y="284"/>
                  </a:lnTo>
                  <a:lnTo>
                    <a:pt x="231" y="284"/>
                  </a:lnTo>
                  <a:lnTo>
                    <a:pt x="227" y="284"/>
                  </a:lnTo>
                  <a:lnTo>
                    <a:pt x="223" y="280"/>
                  </a:lnTo>
                  <a:lnTo>
                    <a:pt x="219" y="280"/>
                  </a:lnTo>
                  <a:lnTo>
                    <a:pt x="215" y="280"/>
                  </a:lnTo>
                  <a:lnTo>
                    <a:pt x="215" y="284"/>
                  </a:lnTo>
                  <a:lnTo>
                    <a:pt x="211" y="280"/>
                  </a:lnTo>
                  <a:lnTo>
                    <a:pt x="207" y="280"/>
                  </a:lnTo>
                  <a:lnTo>
                    <a:pt x="203" y="280"/>
                  </a:lnTo>
                  <a:lnTo>
                    <a:pt x="203" y="276"/>
                  </a:lnTo>
                  <a:lnTo>
                    <a:pt x="199" y="276"/>
                  </a:lnTo>
                  <a:lnTo>
                    <a:pt x="199" y="272"/>
                  </a:lnTo>
                  <a:lnTo>
                    <a:pt x="199" y="264"/>
                  </a:lnTo>
                  <a:lnTo>
                    <a:pt x="199" y="260"/>
                  </a:lnTo>
                  <a:lnTo>
                    <a:pt x="195" y="256"/>
                  </a:lnTo>
                  <a:lnTo>
                    <a:pt x="195" y="252"/>
                  </a:lnTo>
                  <a:lnTo>
                    <a:pt x="191" y="252"/>
                  </a:lnTo>
                  <a:lnTo>
                    <a:pt x="187" y="252"/>
                  </a:lnTo>
                  <a:lnTo>
                    <a:pt x="183" y="252"/>
                  </a:lnTo>
                  <a:lnTo>
                    <a:pt x="179" y="252"/>
                  </a:lnTo>
                  <a:lnTo>
                    <a:pt x="175" y="252"/>
                  </a:lnTo>
                  <a:lnTo>
                    <a:pt x="175" y="256"/>
                  </a:lnTo>
                  <a:lnTo>
                    <a:pt x="175" y="260"/>
                  </a:lnTo>
                  <a:lnTo>
                    <a:pt x="171" y="260"/>
                  </a:lnTo>
                  <a:lnTo>
                    <a:pt x="167" y="260"/>
                  </a:lnTo>
                  <a:lnTo>
                    <a:pt x="163" y="264"/>
                  </a:lnTo>
                  <a:lnTo>
                    <a:pt x="159" y="260"/>
                  </a:lnTo>
                  <a:lnTo>
                    <a:pt x="155" y="260"/>
                  </a:lnTo>
                  <a:lnTo>
                    <a:pt x="151" y="260"/>
                  </a:lnTo>
                  <a:lnTo>
                    <a:pt x="147" y="260"/>
                  </a:lnTo>
                  <a:lnTo>
                    <a:pt x="143" y="256"/>
                  </a:lnTo>
                  <a:lnTo>
                    <a:pt x="143" y="252"/>
                  </a:lnTo>
                  <a:lnTo>
                    <a:pt x="139" y="252"/>
                  </a:lnTo>
                  <a:lnTo>
                    <a:pt x="135" y="252"/>
                  </a:lnTo>
                  <a:lnTo>
                    <a:pt x="135" y="248"/>
                  </a:lnTo>
                  <a:lnTo>
                    <a:pt x="131" y="248"/>
                  </a:lnTo>
                  <a:lnTo>
                    <a:pt x="131" y="244"/>
                  </a:lnTo>
                  <a:lnTo>
                    <a:pt x="127" y="244"/>
                  </a:lnTo>
                  <a:lnTo>
                    <a:pt x="127" y="240"/>
                  </a:lnTo>
                  <a:lnTo>
                    <a:pt x="123" y="240"/>
                  </a:lnTo>
                  <a:lnTo>
                    <a:pt x="119" y="236"/>
                  </a:lnTo>
                  <a:lnTo>
                    <a:pt x="115" y="236"/>
                  </a:lnTo>
                  <a:lnTo>
                    <a:pt x="112" y="236"/>
                  </a:lnTo>
                  <a:lnTo>
                    <a:pt x="112" y="232"/>
                  </a:lnTo>
                  <a:lnTo>
                    <a:pt x="108" y="228"/>
                  </a:lnTo>
                  <a:lnTo>
                    <a:pt x="108" y="224"/>
                  </a:lnTo>
                  <a:lnTo>
                    <a:pt x="108" y="220"/>
                  </a:lnTo>
                  <a:lnTo>
                    <a:pt x="104" y="220"/>
                  </a:lnTo>
                  <a:lnTo>
                    <a:pt x="104" y="216"/>
                  </a:lnTo>
                  <a:lnTo>
                    <a:pt x="104" y="212"/>
                  </a:lnTo>
                  <a:lnTo>
                    <a:pt x="100" y="212"/>
                  </a:lnTo>
                  <a:lnTo>
                    <a:pt x="100" y="208"/>
                  </a:lnTo>
                  <a:lnTo>
                    <a:pt x="100" y="204"/>
                  </a:lnTo>
                  <a:lnTo>
                    <a:pt x="96" y="204"/>
                  </a:lnTo>
                  <a:lnTo>
                    <a:pt x="96" y="200"/>
                  </a:lnTo>
                  <a:lnTo>
                    <a:pt x="96" y="196"/>
                  </a:lnTo>
                  <a:lnTo>
                    <a:pt x="92" y="196"/>
                  </a:lnTo>
                  <a:lnTo>
                    <a:pt x="92" y="192"/>
                  </a:lnTo>
                  <a:lnTo>
                    <a:pt x="88" y="192"/>
                  </a:lnTo>
                  <a:lnTo>
                    <a:pt x="84" y="196"/>
                  </a:lnTo>
                  <a:lnTo>
                    <a:pt x="84" y="192"/>
                  </a:lnTo>
                  <a:lnTo>
                    <a:pt x="80" y="192"/>
                  </a:lnTo>
                  <a:lnTo>
                    <a:pt x="76" y="188"/>
                  </a:lnTo>
                  <a:lnTo>
                    <a:pt x="80" y="188"/>
                  </a:lnTo>
                  <a:lnTo>
                    <a:pt x="80" y="184"/>
                  </a:lnTo>
                  <a:lnTo>
                    <a:pt x="76" y="184"/>
                  </a:lnTo>
                  <a:lnTo>
                    <a:pt x="72" y="188"/>
                  </a:lnTo>
                  <a:lnTo>
                    <a:pt x="76" y="192"/>
                  </a:lnTo>
                  <a:lnTo>
                    <a:pt x="76" y="196"/>
                  </a:lnTo>
                  <a:lnTo>
                    <a:pt x="72" y="196"/>
                  </a:lnTo>
                  <a:lnTo>
                    <a:pt x="68" y="196"/>
                  </a:lnTo>
                  <a:lnTo>
                    <a:pt x="68" y="192"/>
                  </a:lnTo>
                  <a:lnTo>
                    <a:pt x="64" y="188"/>
                  </a:lnTo>
                  <a:lnTo>
                    <a:pt x="60" y="188"/>
                  </a:lnTo>
                  <a:lnTo>
                    <a:pt x="60" y="184"/>
                  </a:lnTo>
                  <a:lnTo>
                    <a:pt x="60" y="176"/>
                  </a:lnTo>
                  <a:lnTo>
                    <a:pt x="56" y="176"/>
                  </a:lnTo>
                  <a:lnTo>
                    <a:pt x="56" y="172"/>
                  </a:lnTo>
                  <a:lnTo>
                    <a:pt x="56" y="168"/>
                  </a:lnTo>
                  <a:lnTo>
                    <a:pt x="56" y="164"/>
                  </a:lnTo>
                  <a:lnTo>
                    <a:pt x="60" y="160"/>
                  </a:lnTo>
                  <a:lnTo>
                    <a:pt x="56" y="160"/>
                  </a:lnTo>
                  <a:lnTo>
                    <a:pt x="56" y="156"/>
                  </a:lnTo>
                  <a:lnTo>
                    <a:pt x="56" y="152"/>
                  </a:lnTo>
                  <a:lnTo>
                    <a:pt x="52" y="152"/>
                  </a:lnTo>
                  <a:lnTo>
                    <a:pt x="52" y="148"/>
                  </a:lnTo>
                  <a:lnTo>
                    <a:pt x="48" y="148"/>
                  </a:lnTo>
                  <a:lnTo>
                    <a:pt x="48" y="144"/>
                  </a:lnTo>
                  <a:lnTo>
                    <a:pt x="44" y="144"/>
                  </a:lnTo>
                  <a:lnTo>
                    <a:pt x="40" y="140"/>
                  </a:lnTo>
                  <a:lnTo>
                    <a:pt x="36" y="136"/>
                  </a:lnTo>
                  <a:lnTo>
                    <a:pt x="32" y="136"/>
                  </a:lnTo>
                  <a:lnTo>
                    <a:pt x="32" y="132"/>
                  </a:lnTo>
                  <a:lnTo>
                    <a:pt x="32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4" y="124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4" y="116"/>
                  </a:lnTo>
                  <a:lnTo>
                    <a:pt x="24" y="112"/>
                  </a:lnTo>
                  <a:lnTo>
                    <a:pt x="24" y="108"/>
                  </a:lnTo>
                  <a:lnTo>
                    <a:pt x="20" y="108"/>
                  </a:lnTo>
                  <a:lnTo>
                    <a:pt x="24" y="104"/>
                  </a:lnTo>
                  <a:lnTo>
                    <a:pt x="28" y="104"/>
                  </a:lnTo>
                  <a:lnTo>
                    <a:pt x="24" y="104"/>
                  </a:lnTo>
                  <a:lnTo>
                    <a:pt x="24" y="100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32" y="96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28" y="84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4"/>
                  </a:lnTo>
                  <a:lnTo>
                    <a:pt x="68" y="8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0" y="16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68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6" y="24"/>
                  </a:lnTo>
                  <a:lnTo>
                    <a:pt x="88" y="28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100" y="24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12" y="20"/>
                  </a:lnTo>
                  <a:lnTo>
                    <a:pt x="112" y="24"/>
                  </a:lnTo>
                  <a:lnTo>
                    <a:pt x="115" y="28"/>
                  </a:lnTo>
                  <a:lnTo>
                    <a:pt x="119" y="32"/>
                  </a:lnTo>
                  <a:lnTo>
                    <a:pt x="119" y="36"/>
                  </a:lnTo>
                  <a:lnTo>
                    <a:pt x="123" y="36"/>
                  </a:lnTo>
                  <a:lnTo>
                    <a:pt x="123" y="40"/>
                  </a:lnTo>
                  <a:lnTo>
                    <a:pt x="127" y="40"/>
                  </a:lnTo>
                  <a:lnTo>
                    <a:pt x="131" y="40"/>
                  </a:lnTo>
                  <a:lnTo>
                    <a:pt x="135" y="40"/>
                  </a:lnTo>
                  <a:lnTo>
                    <a:pt x="135" y="44"/>
                  </a:lnTo>
                  <a:lnTo>
                    <a:pt x="139" y="44"/>
                  </a:lnTo>
                  <a:lnTo>
                    <a:pt x="143" y="48"/>
                  </a:lnTo>
                  <a:lnTo>
                    <a:pt x="147" y="48"/>
                  </a:lnTo>
                  <a:lnTo>
                    <a:pt x="151" y="48"/>
                  </a:lnTo>
                  <a:lnTo>
                    <a:pt x="155" y="48"/>
                  </a:lnTo>
                  <a:lnTo>
                    <a:pt x="159" y="48"/>
                  </a:lnTo>
                  <a:lnTo>
                    <a:pt x="163" y="44"/>
                  </a:lnTo>
                  <a:lnTo>
                    <a:pt x="163" y="40"/>
                  </a:lnTo>
                  <a:lnTo>
                    <a:pt x="167" y="40"/>
                  </a:lnTo>
                  <a:lnTo>
                    <a:pt x="167" y="36"/>
                  </a:lnTo>
                  <a:lnTo>
                    <a:pt x="171" y="36"/>
                  </a:lnTo>
                  <a:lnTo>
                    <a:pt x="171" y="32"/>
                  </a:lnTo>
                  <a:lnTo>
                    <a:pt x="175" y="32"/>
                  </a:lnTo>
                  <a:lnTo>
                    <a:pt x="179" y="32"/>
                  </a:lnTo>
                  <a:lnTo>
                    <a:pt x="183" y="32"/>
                  </a:lnTo>
                  <a:lnTo>
                    <a:pt x="187" y="32"/>
                  </a:lnTo>
                  <a:lnTo>
                    <a:pt x="187" y="28"/>
                  </a:lnTo>
                  <a:lnTo>
                    <a:pt x="191" y="28"/>
                  </a:lnTo>
                  <a:lnTo>
                    <a:pt x="195" y="28"/>
                  </a:lnTo>
                  <a:lnTo>
                    <a:pt x="195" y="32"/>
                  </a:lnTo>
                  <a:lnTo>
                    <a:pt x="199" y="32"/>
                  </a:lnTo>
                  <a:lnTo>
                    <a:pt x="199" y="28"/>
                  </a:lnTo>
                  <a:lnTo>
                    <a:pt x="203" y="32"/>
                  </a:lnTo>
                  <a:lnTo>
                    <a:pt x="203" y="36"/>
                  </a:lnTo>
                  <a:lnTo>
                    <a:pt x="207" y="36"/>
                  </a:lnTo>
                  <a:lnTo>
                    <a:pt x="215" y="40"/>
                  </a:lnTo>
                  <a:lnTo>
                    <a:pt x="219" y="44"/>
                  </a:lnTo>
                  <a:lnTo>
                    <a:pt x="223" y="40"/>
                  </a:lnTo>
                  <a:lnTo>
                    <a:pt x="223" y="44"/>
                  </a:lnTo>
                  <a:lnTo>
                    <a:pt x="223" y="40"/>
                  </a:lnTo>
                  <a:lnTo>
                    <a:pt x="227" y="40"/>
                  </a:lnTo>
                  <a:lnTo>
                    <a:pt x="227" y="44"/>
                  </a:lnTo>
                  <a:lnTo>
                    <a:pt x="231" y="44"/>
                  </a:lnTo>
                  <a:lnTo>
                    <a:pt x="231" y="48"/>
                  </a:lnTo>
                  <a:lnTo>
                    <a:pt x="235" y="52"/>
                  </a:lnTo>
                  <a:lnTo>
                    <a:pt x="239" y="52"/>
                  </a:lnTo>
                  <a:lnTo>
                    <a:pt x="243" y="56"/>
                  </a:lnTo>
                  <a:lnTo>
                    <a:pt x="243" y="60"/>
                  </a:lnTo>
                  <a:lnTo>
                    <a:pt x="247" y="64"/>
                  </a:lnTo>
                  <a:lnTo>
                    <a:pt x="251" y="64"/>
                  </a:lnTo>
                  <a:lnTo>
                    <a:pt x="255" y="64"/>
                  </a:lnTo>
                  <a:lnTo>
                    <a:pt x="259" y="64"/>
                  </a:lnTo>
                  <a:lnTo>
                    <a:pt x="259" y="68"/>
                  </a:lnTo>
                  <a:lnTo>
                    <a:pt x="259" y="72"/>
                  </a:lnTo>
                  <a:lnTo>
                    <a:pt x="259" y="76"/>
                  </a:lnTo>
                  <a:lnTo>
                    <a:pt x="259" y="80"/>
                  </a:lnTo>
                  <a:lnTo>
                    <a:pt x="259" y="84"/>
                  </a:lnTo>
                  <a:lnTo>
                    <a:pt x="263" y="84"/>
                  </a:lnTo>
                  <a:lnTo>
                    <a:pt x="259" y="88"/>
                  </a:lnTo>
                  <a:lnTo>
                    <a:pt x="259" y="92"/>
                  </a:lnTo>
                  <a:lnTo>
                    <a:pt x="259" y="96"/>
                  </a:lnTo>
                  <a:lnTo>
                    <a:pt x="259" y="100"/>
                  </a:lnTo>
                  <a:lnTo>
                    <a:pt x="255" y="104"/>
                  </a:lnTo>
                  <a:lnTo>
                    <a:pt x="251" y="104"/>
                  </a:lnTo>
                  <a:lnTo>
                    <a:pt x="255" y="108"/>
                  </a:lnTo>
                  <a:lnTo>
                    <a:pt x="251" y="108"/>
                  </a:lnTo>
                  <a:lnTo>
                    <a:pt x="251" y="112"/>
                  </a:lnTo>
                  <a:lnTo>
                    <a:pt x="251" y="116"/>
                  </a:lnTo>
                  <a:lnTo>
                    <a:pt x="251" y="120"/>
                  </a:lnTo>
                  <a:lnTo>
                    <a:pt x="251" y="124"/>
                  </a:lnTo>
                  <a:lnTo>
                    <a:pt x="255" y="124"/>
                  </a:lnTo>
                  <a:lnTo>
                    <a:pt x="255" y="128"/>
                  </a:lnTo>
                  <a:lnTo>
                    <a:pt x="251" y="128"/>
                  </a:lnTo>
                  <a:lnTo>
                    <a:pt x="251" y="132"/>
                  </a:lnTo>
                  <a:lnTo>
                    <a:pt x="251" y="136"/>
                  </a:lnTo>
                  <a:lnTo>
                    <a:pt x="251" y="140"/>
                  </a:lnTo>
                  <a:lnTo>
                    <a:pt x="251" y="144"/>
                  </a:lnTo>
                  <a:lnTo>
                    <a:pt x="255" y="148"/>
                  </a:lnTo>
                  <a:lnTo>
                    <a:pt x="255" y="152"/>
                  </a:lnTo>
                  <a:lnTo>
                    <a:pt x="255" y="156"/>
                  </a:lnTo>
                  <a:close/>
                  <a:moveTo>
                    <a:pt x="175" y="256"/>
                  </a:moveTo>
                  <a:lnTo>
                    <a:pt x="175" y="260"/>
                  </a:lnTo>
                  <a:lnTo>
                    <a:pt x="175" y="256"/>
                  </a:lnTo>
                  <a:lnTo>
                    <a:pt x="179" y="256"/>
                  </a:lnTo>
                  <a:lnTo>
                    <a:pt x="175" y="256"/>
                  </a:lnTo>
                  <a:close/>
                  <a:moveTo>
                    <a:pt x="187" y="256"/>
                  </a:moveTo>
                  <a:lnTo>
                    <a:pt x="183" y="256"/>
                  </a:lnTo>
                  <a:lnTo>
                    <a:pt x="183" y="260"/>
                  </a:lnTo>
                  <a:lnTo>
                    <a:pt x="179" y="260"/>
                  </a:lnTo>
                  <a:lnTo>
                    <a:pt x="175" y="260"/>
                  </a:lnTo>
                  <a:lnTo>
                    <a:pt x="171" y="264"/>
                  </a:lnTo>
                  <a:lnTo>
                    <a:pt x="171" y="260"/>
                  </a:lnTo>
                  <a:lnTo>
                    <a:pt x="175" y="260"/>
                  </a:lnTo>
                  <a:lnTo>
                    <a:pt x="179" y="260"/>
                  </a:lnTo>
                  <a:lnTo>
                    <a:pt x="179" y="256"/>
                  </a:lnTo>
                  <a:lnTo>
                    <a:pt x="183" y="256"/>
                  </a:lnTo>
                  <a:lnTo>
                    <a:pt x="183" y="252"/>
                  </a:lnTo>
                  <a:lnTo>
                    <a:pt x="187" y="2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2" name="Freeform 19"/>
            <p:cNvSpPr>
              <a:spLocks/>
            </p:cNvSpPr>
            <p:nvPr>
              <p:custDataLst>
                <p:tags r:id="rId214"/>
              </p:custDataLst>
            </p:nvPr>
          </p:nvSpPr>
          <p:spPr bwMode="gray">
            <a:xfrm>
              <a:off x="5245136" y="3544462"/>
              <a:ext cx="219493" cy="243222"/>
            </a:xfrm>
            <a:custGeom>
              <a:avLst/>
              <a:gdLst/>
              <a:ahLst/>
              <a:cxnLst>
                <a:cxn ang="0">
                  <a:pos x="4" y="96"/>
                </a:cxn>
                <a:cxn ang="0">
                  <a:pos x="16" y="72"/>
                </a:cxn>
                <a:cxn ang="0">
                  <a:pos x="36" y="60"/>
                </a:cxn>
                <a:cxn ang="0">
                  <a:pos x="36" y="44"/>
                </a:cxn>
                <a:cxn ang="0">
                  <a:pos x="40" y="40"/>
                </a:cxn>
                <a:cxn ang="0">
                  <a:pos x="40" y="36"/>
                </a:cxn>
                <a:cxn ang="0">
                  <a:pos x="40" y="20"/>
                </a:cxn>
                <a:cxn ang="0">
                  <a:pos x="56" y="4"/>
                </a:cxn>
                <a:cxn ang="0">
                  <a:pos x="60" y="0"/>
                </a:cxn>
                <a:cxn ang="0">
                  <a:pos x="64" y="0"/>
                </a:cxn>
                <a:cxn ang="0">
                  <a:pos x="80" y="4"/>
                </a:cxn>
                <a:cxn ang="0">
                  <a:pos x="80" y="0"/>
                </a:cxn>
                <a:cxn ang="0">
                  <a:pos x="84" y="4"/>
                </a:cxn>
                <a:cxn ang="0">
                  <a:pos x="88" y="4"/>
                </a:cxn>
                <a:cxn ang="0">
                  <a:pos x="92" y="4"/>
                </a:cxn>
                <a:cxn ang="0">
                  <a:pos x="92" y="8"/>
                </a:cxn>
                <a:cxn ang="0">
                  <a:pos x="92" y="12"/>
                </a:cxn>
                <a:cxn ang="0">
                  <a:pos x="96" y="16"/>
                </a:cxn>
                <a:cxn ang="0">
                  <a:pos x="96" y="20"/>
                </a:cxn>
                <a:cxn ang="0">
                  <a:pos x="100" y="20"/>
                </a:cxn>
                <a:cxn ang="0">
                  <a:pos x="104" y="28"/>
                </a:cxn>
                <a:cxn ang="0">
                  <a:pos x="108" y="32"/>
                </a:cxn>
                <a:cxn ang="0">
                  <a:pos x="112" y="32"/>
                </a:cxn>
                <a:cxn ang="0">
                  <a:pos x="116" y="32"/>
                </a:cxn>
                <a:cxn ang="0">
                  <a:pos x="112" y="32"/>
                </a:cxn>
                <a:cxn ang="0">
                  <a:pos x="112" y="40"/>
                </a:cxn>
                <a:cxn ang="0">
                  <a:pos x="112" y="44"/>
                </a:cxn>
                <a:cxn ang="0">
                  <a:pos x="108" y="48"/>
                </a:cxn>
                <a:cxn ang="0">
                  <a:pos x="104" y="52"/>
                </a:cxn>
                <a:cxn ang="0">
                  <a:pos x="108" y="56"/>
                </a:cxn>
                <a:cxn ang="0">
                  <a:pos x="104" y="60"/>
                </a:cxn>
                <a:cxn ang="0">
                  <a:pos x="104" y="64"/>
                </a:cxn>
                <a:cxn ang="0">
                  <a:pos x="104" y="68"/>
                </a:cxn>
                <a:cxn ang="0">
                  <a:pos x="108" y="76"/>
                </a:cxn>
                <a:cxn ang="0">
                  <a:pos x="108" y="80"/>
                </a:cxn>
                <a:cxn ang="0">
                  <a:pos x="112" y="80"/>
                </a:cxn>
                <a:cxn ang="0">
                  <a:pos x="112" y="84"/>
                </a:cxn>
                <a:cxn ang="0">
                  <a:pos x="112" y="88"/>
                </a:cxn>
                <a:cxn ang="0">
                  <a:pos x="116" y="88"/>
                </a:cxn>
                <a:cxn ang="0">
                  <a:pos x="120" y="92"/>
                </a:cxn>
                <a:cxn ang="0">
                  <a:pos x="124" y="96"/>
                </a:cxn>
                <a:cxn ang="0">
                  <a:pos x="128" y="100"/>
                </a:cxn>
                <a:cxn ang="0">
                  <a:pos x="136" y="104"/>
                </a:cxn>
                <a:cxn ang="0">
                  <a:pos x="140" y="112"/>
                </a:cxn>
                <a:cxn ang="0">
                  <a:pos x="136" y="124"/>
                </a:cxn>
                <a:cxn ang="0">
                  <a:pos x="140" y="128"/>
                </a:cxn>
                <a:cxn ang="0">
                  <a:pos x="140" y="140"/>
                </a:cxn>
                <a:cxn ang="0">
                  <a:pos x="148" y="144"/>
                </a:cxn>
                <a:cxn ang="0">
                  <a:pos x="148" y="148"/>
                </a:cxn>
                <a:cxn ang="0">
                  <a:pos x="144" y="148"/>
                </a:cxn>
                <a:cxn ang="0">
                  <a:pos x="140" y="148"/>
                </a:cxn>
                <a:cxn ang="0">
                  <a:pos x="132" y="144"/>
                </a:cxn>
                <a:cxn ang="0">
                  <a:pos x="128" y="148"/>
                </a:cxn>
                <a:cxn ang="0">
                  <a:pos x="124" y="160"/>
                </a:cxn>
                <a:cxn ang="0">
                  <a:pos x="120" y="164"/>
                </a:cxn>
                <a:cxn ang="0">
                  <a:pos x="112" y="164"/>
                </a:cxn>
                <a:cxn ang="0">
                  <a:pos x="40" y="120"/>
                </a:cxn>
              </a:cxnLst>
              <a:rect l="0" t="0" r="r" b="b"/>
              <a:pathLst>
                <a:path w="148" h="164">
                  <a:moveTo>
                    <a:pt x="8" y="104"/>
                  </a:moveTo>
                  <a:lnTo>
                    <a:pt x="8" y="104"/>
                  </a:lnTo>
                  <a:lnTo>
                    <a:pt x="8" y="100"/>
                  </a:lnTo>
                  <a:lnTo>
                    <a:pt x="4" y="100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24" y="68"/>
                  </a:lnTo>
                  <a:lnTo>
                    <a:pt x="28" y="64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16"/>
                  </a:lnTo>
                  <a:lnTo>
                    <a:pt x="48" y="16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6"/>
                  </a:lnTo>
                  <a:lnTo>
                    <a:pt x="108" y="36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8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4"/>
                  </a:lnTo>
                  <a:lnTo>
                    <a:pt x="104" y="64"/>
                  </a:lnTo>
                  <a:lnTo>
                    <a:pt x="104" y="64"/>
                  </a:lnTo>
                  <a:lnTo>
                    <a:pt x="104" y="68"/>
                  </a:lnTo>
                  <a:lnTo>
                    <a:pt x="100" y="68"/>
                  </a:lnTo>
                  <a:lnTo>
                    <a:pt x="100" y="68"/>
                  </a:lnTo>
                  <a:lnTo>
                    <a:pt x="100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4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32" y="100"/>
                  </a:lnTo>
                  <a:lnTo>
                    <a:pt x="132" y="100"/>
                  </a:lnTo>
                  <a:lnTo>
                    <a:pt x="132" y="100"/>
                  </a:lnTo>
                  <a:lnTo>
                    <a:pt x="132" y="104"/>
                  </a:lnTo>
                  <a:lnTo>
                    <a:pt x="136" y="104"/>
                  </a:lnTo>
                  <a:lnTo>
                    <a:pt x="136" y="108"/>
                  </a:lnTo>
                  <a:lnTo>
                    <a:pt x="136" y="108"/>
                  </a:lnTo>
                  <a:lnTo>
                    <a:pt x="136" y="112"/>
                  </a:lnTo>
                  <a:lnTo>
                    <a:pt x="140" y="112"/>
                  </a:lnTo>
                  <a:lnTo>
                    <a:pt x="140" y="112"/>
                  </a:lnTo>
                  <a:lnTo>
                    <a:pt x="140" y="112"/>
                  </a:lnTo>
                  <a:lnTo>
                    <a:pt x="136" y="116"/>
                  </a:lnTo>
                  <a:lnTo>
                    <a:pt x="136" y="116"/>
                  </a:lnTo>
                  <a:lnTo>
                    <a:pt x="136" y="120"/>
                  </a:lnTo>
                  <a:lnTo>
                    <a:pt x="136" y="120"/>
                  </a:lnTo>
                  <a:lnTo>
                    <a:pt x="136" y="120"/>
                  </a:lnTo>
                  <a:lnTo>
                    <a:pt x="136" y="124"/>
                  </a:lnTo>
                  <a:lnTo>
                    <a:pt x="136" y="124"/>
                  </a:lnTo>
                  <a:lnTo>
                    <a:pt x="136" y="124"/>
                  </a:lnTo>
                  <a:lnTo>
                    <a:pt x="136" y="124"/>
                  </a:lnTo>
                  <a:lnTo>
                    <a:pt x="136" y="128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40" y="136"/>
                  </a:lnTo>
                  <a:lnTo>
                    <a:pt x="140" y="136"/>
                  </a:lnTo>
                  <a:lnTo>
                    <a:pt x="140" y="136"/>
                  </a:lnTo>
                  <a:lnTo>
                    <a:pt x="140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0" y="148"/>
                  </a:lnTo>
                  <a:lnTo>
                    <a:pt x="140" y="148"/>
                  </a:lnTo>
                  <a:lnTo>
                    <a:pt x="140" y="148"/>
                  </a:lnTo>
                  <a:lnTo>
                    <a:pt x="140" y="148"/>
                  </a:lnTo>
                  <a:lnTo>
                    <a:pt x="136" y="144"/>
                  </a:lnTo>
                  <a:lnTo>
                    <a:pt x="132" y="144"/>
                  </a:lnTo>
                  <a:lnTo>
                    <a:pt x="132" y="144"/>
                  </a:lnTo>
                  <a:lnTo>
                    <a:pt x="132" y="144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52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60"/>
                  </a:lnTo>
                  <a:lnTo>
                    <a:pt x="124" y="160"/>
                  </a:lnTo>
                  <a:lnTo>
                    <a:pt x="120" y="160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16" y="164"/>
                  </a:lnTo>
                  <a:lnTo>
                    <a:pt x="112" y="164"/>
                  </a:lnTo>
                  <a:lnTo>
                    <a:pt x="92" y="164"/>
                  </a:lnTo>
                  <a:lnTo>
                    <a:pt x="76" y="148"/>
                  </a:lnTo>
                  <a:lnTo>
                    <a:pt x="64" y="140"/>
                  </a:lnTo>
                  <a:lnTo>
                    <a:pt x="64" y="136"/>
                  </a:lnTo>
                  <a:lnTo>
                    <a:pt x="52" y="124"/>
                  </a:lnTo>
                  <a:lnTo>
                    <a:pt x="40" y="120"/>
                  </a:lnTo>
                  <a:lnTo>
                    <a:pt x="24" y="108"/>
                  </a:lnTo>
                  <a:lnTo>
                    <a:pt x="20" y="108"/>
                  </a:lnTo>
                  <a:lnTo>
                    <a:pt x="12" y="104"/>
                  </a:lnTo>
                  <a:lnTo>
                    <a:pt x="8" y="10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3" name="Freeform 20"/>
            <p:cNvSpPr>
              <a:spLocks noEditPoints="1"/>
            </p:cNvSpPr>
            <p:nvPr>
              <p:custDataLst>
                <p:tags r:id="rId215"/>
              </p:custDataLst>
            </p:nvPr>
          </p:nvSpPr>
          <p:spPr bwMode="gray">
            <a:xfrm>
              <a:off x="5144288" y="3669039"/>
              <a:ext cx="29661" cy="106781"/>
            </a:xfrm>
            <a:custGeom>
              <a:avLst/>
              <a:gdLst/>
              <a:ahLst/>
              <a:cxnLst>
                <a:cxn ang="0">
                  <a:pos x="16" y="48"/>
                </a:cxn>
                <a:cxn ang="0">
                  <a:pos x="16" y="52"/>
                </a:cxn>
                <a:cxn ang="0">
                  <a:pos x="12" y="60"/>
                </a:cxn>
                <a:cxn ang="0">
                  <a:pos x="12" y="64"/>
                </a:cxn>
                <a:cxn ang="0">
                  <a:pos x="12" y="64"/>
                </a:cxn>
                <a:cxn ang="0">
                  <a:pos x="12" y="72"/>
                </a:cxn>
                <a:cxn ang="0">
                  <a:pos x="8" y="72"/>
                </a:cxn>
                <a:cxn ang="0">
                  <a:pos x="8" y="72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0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12" y="24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2" y="32"/>
                </a:cxn>
                <a:cxn ang="0">
                  <a:pos x="8" y="36"/>
                </a:cxn>
                <a:cxn ang="0">
                  <a:pos x="12" y="36"/>
                </a:cxn>
                <a:cxn ang="0">
                  <a:pos x="16" y="36"/>
                </a:cxn>
                <a:cxn ang="0">
                  <a:pos x="20" y="32"/>
                </a:cxn>
                <a:cxn ang="0">
                  <a:pos x="20" y="36"/>
                </a:cxn>
                <a:cxn ang="0">
                  <a:pos x="20" y="40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16" y="28"/>
                </a:cxn>
              </a:cxnLst>
              <a:rect l="0" t="0" r="r" b="b"/>
              <a:pathLst>
                <a:path w="20" h="72">
                  <a:moveTo>
                    <a:pt x="16" y="44"/>
                  </a:moveTo>
                  <a:lnTo>
                    <a:pt x="16" y="44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4"/>
                  </a:lnTo>
                  <a:lnTo>
                    <a:pt x="16" y="44"/>
                  </a:lnTo>
                  <a:close/>
                  <a:moveTo>
                    <a:pt x="16" y="28"/>
                  </a:move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4" name="Freeform 21"/>
            <p:cNvSpPr>
              <a:spLocks noEditPoints="1"/>
            </p:cNvSpPr>
            <p:nvPr>
              <p:custDataLst>
                <p:tags r:id="rId216"/>
              </p:custDataLst>
            </p:nvPr>
          </p:nvSpPr>
          <p:spPr bwMode="gray">
            <a:xfrm>
              <a:off x="7149390" y="3290858"/>
              <a:ext cx="496826" cy="639200"/>
            </a:xfrm>
            <a:custGeom>
              <a:avLst/>
              <a:gdLst/>
              <a:ahLst/>
              <a:cxnLst>
                <a:cxn ang="0">
                  <a:pos x="104" y="271"/>
                </a:cxn>
                <a:cxn ang="0">
                  <a:pos x="288" y="71"/>
                </a:cxn>
                <a:cxn ang="0">
                  <a:pos x="256" y="67"/>
                </a:cxn>
                <a:cxn ang="0">
                  <a:pos x="264" y="83"/>
                </a:cxn>
                <a:cxn ang="0">
                  <a:pos x="248" y="71"/>
                </a:cxn>
                <a:cxn ang="0">
                  <a:pos x="256" y="48"/>
                </a:cxn>
                <a:cxn ang="0">
                  <a:pos x="272" y="36"/>
                </a:cxn>
                <a:cxn ang="0">
                  <a:pos x="280" y="0"/>
                </a:cxn>
                <a:cxn ang="0">
                  <a:pos x="300" y="28"/>
                </a:cxn>
                <a:cxn ang="0">
                  <a:pos x="327" y="28"/>
                </a:cxn>
                <a:cxn ang="0">
                  <a:pos x="335" y="48"/>
                </a:cxn>
                <a:cxn ang="0">
                  <a:pos x="308" y="60"/>
                </a:cxn>
                <a:cxn ang="0">
                  <a:pos x="240" y="75"/>
                </a:cxn>
                <a:cxn ang="0">
                  <a:pos x="148" y="231"/>
                </a:cxn>
                <a:cxn ang="0">
                  <a:pos x="128" y="239"/>
                </a:cxn>
                <a:cxn ang="0">
                  <a:pos x="120" y="231"/>
                </a:cxn>
                <a:cxn ang="0">
                  <a:pos x="140" y="211"/>
                </a:cxn>
                <a:cxn ang="0">
                  <a:pos x="152" y="211"/>
                </a:cxn>
                <a:cxn ang="0">
                  <a:pos x="180" y="211"/>
                </a:cxn>
                <a:cxn ang="0">
                  <a:pos x="188" y="195"/>
                </a:cxn>
                <a:cxn ang="0">
                  <a:pos x="204" y="171"/>
                </a:cxn>
                <a:cxn ang="0">
                  <a:pos x="208" y="183"/>
                </a:cxn>
                <a:cxn ang="0">
                  <a:pos x="232" y="159"/>
                </a:cxn>
                <a:cxn ang="0">
                  <a:pos x="248" y="127"/>
                </a:cxn>
                <a:cxn ang="0">
                  <a:pos x="248" y="111"/>
                </a:cxn>
                <a:cxn ang="0">
                  <a:pos x="260" y="95"/>
                </a:cxn>
                <a:cxn ang="0">
                  <a:pos x="260" y="91"/>
                </a:cxn>
                <a:cxn ang="0">
                  <a:pos x="276" y="107"/>
                </a:cxn>
                <a:cxn ang="0">
                  <a:pos x="276" y="139"/>
                </a:cxn>
                <a:cxn ang="0">
                  <a:pos x="264" y="159"/>
                </a:cxn>
                <a:cxn ang="0">
                  <a:pos x="256" y="195"/>
                </a:cxn>
                <a:cxn ang="0">
                  <a:pos x="248" y="219"/>
                </a:cxn>
                <a:cxn ang="0">
                  <a:pos x="244" y="215"/>
                </a:cxn>
                <a:cxn ang="0">
                  <a:pos x="228" y="215"/>
                </a:cxn>
                <a:cxn ang="0">
                  <a:pos x="208" y="227"/>
                </a:cxn>
                <a:cxn ang="0">
                  <a:pos x="200" y="223"/>
                </a:cxn>
                <a:cxn ang="0">
                  <a:pos x="192" y="239"/>
                </a:cxn>
                <a:cxn ang="0">
                  <a:pos x="176" y="231"/>
                </a:cxn>
                <a:cxn ang="0">
                  <a:pos x="228" y="151"/>
                </a:cxn>
                <a:cxn ang="0">
                  <a:pos x="224" y="155"/>
                </a:cxn>
                <a:cxn ang="0">
                  <a:pos x="88" y="231"/>
                </a:cxn>
                <a:cxn ang="0">
                  <a:pos x="164" y="227"/>
                </a:cxn>
                <a:cxn ang="0">
                  <a:pos x="156" y="251"/>
                </a:cxn>
                <a:cxn ang="0">
                  <a:pos x="140" y="263"/>
                </a:cxn>
                <a:cxn ang="0">
                  <a:pos x="136" y="247"/>
                </a:cxn>
                <a:cxn ang="0">
                  <a:pos x="156" y="235"/>
                </a:cxn>
                <a:cxn ang="0">
                  <a:pos x="84" y="235"/>
                </a:cxn>
                <a:cxn ang="0">
                  <a:pos x="92" y="263"/>
                </a:cxn>
                <a:cxn ang="0">
                  <a:pos x="96" y="251"/>
                </a:cxn>
                <a:cxn ang="0">
                  <a:pos x="120" y="247"/>
                </a:cxn>
                <a:cxn ang="0">
                  <a:pos x="124" y="263"/>
                </a:cxn>
                <a:cxn ang="0">
                  <a:pos x="112" y="291"/>
                </a:cxn>
                <a:cxn ang="0">
                  <a:pos x="104" y="287"/>
                </a:cxn>
                <a:cxn ang="0">
                  <a:pos x="100" y="275"/>
                </a:cxn>
                <a:cxn ang="0">
                  <a:pos x="100" y="255"/>
                </a:cxn>
                <a:cxn ang="0">
                  <a:pos x="92" y="247"/>
                </a:cxn>
                <a:cxn ang="0">
                  <a:pos x="84" y="259"/>
                </a:cxn>
                <a:cxn ang="0">
                  <a:pos x="96" y="275"/>
                </a:cxn>
                <a:cxn ang="0">
                  <a:pos x="112" y="303"/>
                </a:cxn>
                <a:cxn ang="0">
                  <a:pos x="84" y="351"/>
                </a:cxn>
                <a:cxn ang="0">
                  <a:pos x="64" y="387"/>
                </a:cxn>
                <a:cxn ang="0">
                  <a:pos x="68" y="383"/>
                </a:cxn>
                <a:cxn ang="0">
                  <a:pos x="4" y="427"/>
                </a:cxn>
              </a:cxnLst>
              <a:rect l="0" t="0" r="r" b="b"/>
              <a:pathLst>
                <a:path w="335" h="431">
                  <a:moveTo>
                    <a:pt x="136" y="243"/>
                  </a:moveTo>
                  <a:lnTo>
                    <a:pt x="132" y="243"/>
                  </a:lnTo>
                  <a:lnTo>
                    <a:pt x="132" y="239"/>
                  </a:lnTo>
                  <a:lnTo>
                    <a:pt x="132" y="243"/>
                  </a:lnTo>
                  <a:lnTo>
                    <a:pt x="132" y="239"/>
                  </a:lnTo>
                  <a:lnTo>
                    <a:pt x="136" y="239"/>
                  </a:lnTo>
                  <a:lnTo>
                    <a:pt x="136" y="243"/>
                  </a:lnTo>
                  <a:close/>
                  <a:moveTo>
                    <a:pt x="100" y="271"/>
                  </a:moveTo>
                  <a:lnTo>
                    <a:pt x="104" y="267"/>
                  </a:lnTo>
                  <a:lnTo>
                    <a:pt x="104" y="271"/>
                  </a:lnTo>
                  <a:lnTo>
                    <a:pt x="100" y="271"/>
                  </a:lnTo>
                  <a:close/>
                  <a:moveTo>
                    <a:pt x="308" y="60"/>
                  </a:moveTo>
                  <a:lnTo>
                    <a:pt x="304" y="64"/>
                  </a:lnTo>
                  <a:lnTo>
                    <a:pt x="300" y="64"/>
                  </a:lnTo>
                  <a:lnTo>
                    <a:pt x="300" y="67"/>
                  </a:lnTo>
                  <a:lnTo>
                    <a:pt x="300" y="71"/>
                  </a:lnTo>
                  <a:lnTo>
                    <a:pt x="300" y="75"/>
                  </a:lnTo>
                  <a:lnTo>
                    <a:pt x="296" y="75"/>
                  </a:lnTo>
                  <a:lnTo>
                    <a:pt x="292" y="71"/>
                  </a:lnTo>
                  <a:lnTo>
                    <a:pt x="288" y="71"/>
                  </a:lnTo>
                  <a:lnTo>
                    <a:pt x="284" y="67"/>
                  </a:lnTo>
                  <a:lnTo>
                    <a:pt x="280" y="67"/>
                  </a:lnTo>
                  <a:lnTo>
                    <a:pt x="280" y="64"/>
                  </a:lnTo>
                  <a:lnTo>
                    <a:pt x="276" y="64"/>
                  </a:lnTo>
                  <a:lnTo>
                    <a:pt x="272" y="64"/>
                  </a:lnTo>
                  <a:lnTo>
                    <a:pt x="268" y="67"/>
                  </a:lnTo>
                  <a:lnTo>
                    <a:pt x="264" y="67"/>
                  </a:lnTo>
                  <a:lnTo>
                    <a:pt x="260" y="64"/>
                  </a:lnTo>
                  <a:lnTo>
                    <a:pt x="256" y="64"/>
                  </a:lnTo>
                  <a:lnTo>
                    <a:pt x="256" y="67"/>
                  </a:lnTo>
                  <a:lnTo>
                    <a:pt x="252" y="67"/>
                  </a:lnTo>
                  <a:lnTo>
                    <a:pt x="252" y="71"/>
                  </a:lnTo>
                  <a:lnTo>
                    <a:pt x="256" y="71"/>
                  </a:lnTo>
                  <a:lnTo>
                    <a:pt x="260" y="71"/>
                  </a:lnTo>
                  <a:lnTo>
                    <a:pt x="260" y="75"/>
                  </a:lnTo>
                  <a:lnTo>
                    <a:pt x="264" y="75"/>
                  </a:lnTo>
                  <a:lnTo>
                    <a:pt x="264" y="79"/>
                  </a:lnTo>
                  <a:lnTo>
                    <a:pt x="268" y="79"/>
                  </a:lnTo>
                  <a:lnTo>
                    <a:pt x="264" y="79"/>
                  </a:lnTo>
                  <a:lnTo>
                    <a:pt x="264" y="83"/>
                  </a:lnTo>
                  <a:lnTo>
                    <a:pt x="260" y="79"/>
                  </a:lnTo>
                  <a:lnTo>
                    <a:pt x="256" y="83"/>
                  </a:lnTo>
                  <a:lnTo>
                    <a:pt x="256" y="87"/>
                  </a:lnTo>
                  <a:lnTo>
                    <a:pt x="252" y="87"/>
                  </a:lnTo>
                  <a:lnTo>
                    <a:pt x="248" y="87"/>
                  </a:lnTo>
                  <a:lnTo>
                    <a:pt x="248" y="83"/>
                  </a:lnTo>
                  <a:lnTo>
                    <a:pt x="252" y="79"/>
                  </a:lnTo>
                  <a:lnTo>
                    <a:pt x="252" y="75"/>
                  </a:lnTo>
                  <a:lnTo>
                    <a:pt x="248" y="75"/>
                  </a:lnTo>
                  <a:lnTo>
                    <a:pt x="248" y="71"/>
                  </a:lnTo>
                  <a:lnTo>
                    <a:pt x="244" y="71"/>
                  </a:lnTo>
                  <a:lnTo>
                    <a:pt x="244" y="67"/>
                  </a:lnTo>
                  <a:lnTo>
                    <a:pt x="248" y="67"/>
                  </a:lnTo>
                  <a:lnTo>
                    <a:pt x="248" y="64"/>
                  </a:lnTo>
                  <a:lnTo>
                    <a:pt x="248" y="60"/>
                  </a:lnTo>
                  <a:lnTo>
                    <a:pt x="252" y="60"/>
                  </a:lnTo>
                  <a:lnTo>
                    <a:pt x="256" y="60"/>
                  </a:lnTo>
                  <a:lnTo>
                    <a:pt x="256" y="56"/>
                  </a:lnTo>
                  <a:lnTo>
                    <a:pt x="256" y="52"/>
                  </a:lnTo>
                  <a:lnTo>
                    <a:pt x="256" y="48"/>
                  </a:lnTo>
                  <a:lnTo>
                    <a:pt x="260" y="48"/>
                  </a:lnTo>
                  <a:lnTo>
                    <a:pt x="260" y="52"/>
                  </a:lnTo>
                  <a:lnTo>
                    <a:pt x="264" y="52"/>
                  </a:lnTo>
                  <a:lnTo>
                    <a:pt x="268" y="52"/>
                  </a:lnTo>
                  <a:lnTo>
                    <a:pt x="268" y="48"/>
                  </a:lnTo>
                  <a:lnTo>
                    <a:pt x="272" y="48"/>
                  </a:lnTo>
                  <a:lnTo>
                    <a:pt x="272" y="44"/>
                  </a:lnTo>
                  <a:lnTo>
                    <a:pt x="268" y="40"/>
                  </a:lnTo>
                  <a:lnTo>
                    <a:pt x="272" y="40"/>
                  </a:lnTo>
                  <a:lnTo>
                    <a:pt x="272" y="36"/>
                  </a:lnTo>
                  <a:lnTo>
                    <a:pt x="276" y="36"/>
                  </a:lnTo>
                  <a:lnTo>
                    <a:pt x="276" y="32"/>
                  </a:lnTo>
                  <a:lnTo>
                    <a:pt x="276" y="28"/>
                  </a:lnTo>
                  <a:lnTo>
                    <a:pt x="276" y="24"/>
                  </a:lnTo>
                  <a:lnTo>
                    <a:pt x="276" y="20"/>
                  </a:lnTo>
                  <a:lnTo>
                    <a:pt x="276" y="16"/>
                  </a:lnTo>
                  <a:lnTo>
                    <a:pt x="276" y="12"/>
                  </a:lnTo>
                  <a:lnTo>
                    <a:pt x="272" y="8"/>
                  </a:lnTo>
                  <a:lnTo>
                    <a:pt x="276" y="4"/>
                  </a:lnTo>
                  <a:lnTo>
                    <a:pt x="280" y="0"/>
                  </a:lnTo>
                  <a:lnTo>
                    <a:pt x="280" y="4"/>
                  </a:lnTo>
                  <a:lnTo>
                    <a:pt x="284" y="4"/>
                  </a:lnTo>
                  <a:lnTo>
                    <a:pt x="284" y="8"/>
                  </a:lnTo>
                  <a:lnTo>
                    <a:pt x="288" y="12"/>
                  </a:lnTo>
                  <a:lnTo>
                    <a:pt x="288" y="16"/>
                  </a:lnTo>
                  <a:lnTo>
                    <a:pt x="292" y="16"/>
                  </a:lnTo>
                  <a:lnTo>
                    <a:pt x="292" y="20"/>
                  </a:lnTo>
                  <a:lnTo>
                    <a:pt x="296" y="20"/>
                  </a:lnTo>
                  <a:lnTo>
                    <a:pt x="296" y="24"/>
                  </a:lnTo>
                  <a:lnTo>
                    <a:pt x="300" y="28"/>
                  </a:lnTo>
                  <a:lnTo>
                    <a:pt x="304" y="28"/>
                  </a:lnTo>
                  <a:lnTo>
                    <a:pt x="304" y="32"/>
                  </a:lnTo>
                  <a:lnTo>
                    <a:pt x="308" y="32"/>
                  </a:lnTo>
                  <a:lnTo>
                    <a:pt x="312" y="32"/>
                  </a:lnTo>
                  <a:lnTo>
                    <a:pt x="316" y="36"/>
                  </a:lnTo>
                  <a:lnTo>
                    <a:pt x="320" y="36"/>
                  </a:lnTo>
                  <a:lnTo>
                    <a:pt x="323" y="36"/>
                  </a:lnTo>
                  <a:lnTo>
                    <a:pt x="323" y="32"/>
                  </a:lnTo>
                  <a:lnTo>
                    <a:pt x="327" y="32"/>
                  </a:lnTo>
                  <a:lnTo>
                    <a:pt x="327" y="28"/>
                  </a:lnTo>
                  <a:lnTo>
                    <a:pt x="331" y="28"/>
                  </a:lnTo>
                  <a:lnTo>
                    <a:pt x="327" y="32"/>
                  </a:lnTo>
                  <a:lnTo>
                    <a:pt x="327" y="36"/>
                  </a:lnTo>
                  <a:lnTo>
                    <a:pt x="327" y="40"/>
                  </a:lnTo>
                  <a:lnTo>
                    <a:pt x="327" y="44"/>
                  </a:lnTo>
                  <a:lnTo>
                    <a:pt x="331" y="44"/>
                  </a:lnTo>
                  <a:lnTo>
                    <a:pt x="327" y="44"/>
                  </a:lnTo>
                  <a:lnTo>
                    <a:pt x="327" y="48"/>
                  </a:lnTo>
                  <a:lnTo>
                    <a:pt x="331" y="48"/>
                  </a:lnTo>
                  <a:lnTo>
                    <a:pt x="335" y="48"/>
                  </a:lnTo>
                  <a:lnTo>
                    <a:pt x="331" y="48"/>
                  </a:lnTo>
                  <a:lnTo>
                    <a:pt x="331" y="52"/>
                  </a:lnTo>
                  <a:lnTo>
                    <a:pt x="327" y="52"/>
                  </a:lnTo>
                  <a:lnTo>
                    <a:pt x="323" y="56"/>
                  </a:lnTo>
                  <a:lnTo>
                    <a:pt x="323" y="52"/>
                  </a:lnTo>
                  <a:lnTo>
                    <a:pt x="320" y="56"/>
                  </a:lnTo>
                  <a:lnTo>
                    <a:pt x="316" y="56"/>
                  </a:lnTo>
                  <a:lnTo>
                    <a:pt x="312" y="56"/>
                  </a:lnTo>
                  <a:lnTo>
                    <a:pt x="308" y="56"/>
                  </a:lnTo>
                  <a:lnTo>
                    <a:pt x="308" y="60"/>
                  </a:lnTo>
                  <a:close/>
                  <a:moveTo>
                    <a:pt x="264" y="4"/>
                  </a:moveTo>
                  <a:lnTo>
                    <a:pt x="264" y="8"/>
                  </a:lnTo>
                  <a:lnTo>
                    <a:pt x="264" y="4"/>
                  </a:lnTo>
                  <a:close/>
                  <a:moveTo>
                    <a:pt x="268" y="8"/>
                  </a:moveTo>
                  <a:lnTo>
                    <a:pt x="268" y="12"/>
                  </a:lnTo>
                  <a:lnTo>
                    <a:pt x="268" y="8"/>
                  </a:lnTo>
                  <a:close/>
                  <a:moveTo>
                    <a:pt x="240" y="71"/>
                  </a:moveTo>
                  <a:lnTo>
                    <a:pt x="244" y="71"/>
                  </a:lnTo>
                  <a:lnTo>
                    <a:pt x="240" y="71"/>
                  </a:lnTo>
                  <a:lnTo>
                    <a:pt x="240" y="75"/>
                  </a:lnTo>
                  <a:lnTo>
                    <a:pt x="240" y="71"/>
                  </a:lnTo>
                  <a:close/>
                  <a:moveTo>
                    <a:pt x="164" y="223"/>
                  </a:moveTo>
                  <a:lnTo>
                    <a:pt x="160" y="223"/>
                  </a:lnTo>
                  <a:lnTo>
                    <a:pt x="160" y="227"/>
                  </a:lnTo>
                  <a:lnTo>
                    <a:pt x="156" y="227"/>
                  </a:lnTo>
                  <a:lnTo>
                    <a:pt x="160" y="227"/>
                  </a:lnTo>
                  <a:lnTo>
                    <a:pt x="156" y="231"/>
                  </a:lnTo>
                  <a:lnTo>
                    <a:pt x="152" y="227"/>
                  </a:lnTo>
                  <a:lnTo>
                    <a:pt x="152" y="231"/>
                  </a:lnTo>
                  <a:lnTo>
                    <a:pt x="148" y="231"/>
                  </a:lnTo>
                  <a:lnTo>
                    <a:pt x="144" y="235"/>
                  </a:lnTo>
                  <a:lnTo>
                    <a:pt x="144" y="231"/>
                  </a:lnTo>
                  <a:lnTo>
                    <a:pt x="140" y="231"/>
                  </a:lnTo>
                  <a:lnTo>
                    <a:pt x="140" y="235"/>
                  </a:lnTo>
                  <a:lnTo>
                    <a:pt x="136" y="235"/>
                  </a:lnTo>
                  <a:lnTo>
                    <a:pt x="136" y="231"/>
                  </a:lnTo>
                  <a:lnTo>
                    <a:pt x="132" y="231"/>
                  </a:lnTo>
                  <a:lnTo>
                    <a:pt x="132" y="235"/>
                  </a:lnTo>
                  <a:lnTo>
                    <a:pt x="132" y="239"/>
                  </a:lnTo>
                  <a:lnTo>
                    <a:pt x="128" y="239"/>
                  </a:lnTo>
                  <a:lnTo>
                    <a:pt x="132" y="243"/>
                  </a:lnTo>
                  <a:lnTo>
                    <a:pt x="128" y="243"/>
                  </a:lnTo>
                  <a:lnTo>
                    <a:pt x="124" y="239"/>
                  </a:lnTo>
                  <a:lnTo>
                    <a:pt x="120" y="239"/>
                  </a:lnTo>
                  <a:lnTo>
                    <a:pt x="116" y="239"/>
                  </a:lnTo>
                  <a:lnTo>
                    <a:pt x="112" y="239"/>
                  </a:lnTo>
                  <a:lnTo>
                    <a:pt x="112" y="235"/>
                  </a:lnTo>
                  <a:lnTo>
                    <a:pt x="112" y="231"/>
                  </a:lnTo>
                  <a:lnTo>
                    <a:pt x="116" y="231"/>
                  </a:lnTo>
                  <a:lnTo>
                    <a:pt x="120" y="231"/>
                  </a:lnTo>
                  <a:lnTo>
                    <a:pt x="120" y="227"/>
                  </a:lnTo>
                  <a:lnTo>
                    <a:pt x="124" y="227"/>
                  </a:lnTo>
                  <a:lnTo>
                    <a:pt x="124" y="223"/>
                  </a:lnTo>
                  <a:lnTo>
                    <a:pt x="128" y="223"/>
                  </a:lnTo>
                  <a:lnTo>
                    <a:pt x="128" y="219"/>
                  </a:lnTo>
                  <a:lnTo>
                    <a:pt x="132" y="219"/>
                  </a:lnTo>
                  <a:lnTo>
                    <a:pt x="132" y="215"/>
                  </a:lnTo>
                  <a:lnTo>
                    <a:pt x="136" y="215"/>
                  </a:lnTo>
                  <a:lnTo>
                    <a:pt x="136" y="211"/>
                  </a:lnTo>
                  <a:lnTo>
                    <a:pt x="140" y="211"/>
                  </a:lnTo>
                  <a:lnTo>
                    <a:pt x="136" y="211"/>
                  </a:lnTo>
                  <a:lnTo>
                    <a:pt x="140" y="211"/>
                  </a:lnTo>
                  <a:lnTo>
                    <a:pt x="140" y="207"/>
                  </a:lnTo>
                  <a:lnTo>
                    <a:pt x="144" y="211"/>
                  </a:lnTo>
                  <a:lnTo>
                    <a:pt x="144" y="207"/>
                  </a:lnTo>
                  <a:lnTo>
                    <a:pt x="148" y="207"/>
                  </a:lnTo>
                  <a:lnTo>
                    <a:pt x="148" y="211"/>
                  </a:lnTo>
                  <a:lnTo>
                    <a:pt x="152" y="211"/>
                  </a:lnTo>
                  <a:lnTo>
                    <a:pt x="152" y="207"/>
                  </a:lnTo>
                  <a:lnTo>
                    <a:pt x="152" y="211"/>
                  </a:lnTo>
                  <a:lnTo>
                    <a:pt x="156" y="211"/>
                  </a:lnTo>
                  <a:lnTo>
                    <a:pt x="160" y="207"/>
                  </a:lnTo>
                  <a:lnTo>
                    <a:pt x="164" y="207"/>
                  </a:lnTo>
                  <a:lnTo>
                    <a:pt x="168" y="207"/>
                  </a:lnTo>
                  <a:lnTo>
                    <a:pt x="172" y="207"/>
                  </a:lnTo>
                  <a:lnTo>
                    <a:pt x="176" y="203"/>
                  </a:lnTo>
                  <a:lnTo>
                    <a:pt x="176" y="207"/>
                  </a:lnTo>
                  <a:lnTo>
                    <a:pt x="180" y="211"/>
                  </a:lnTo>
                  <a:lnTo>
                    <a:pt x="180" y="207"/>
                  </a:lnTo>
                  <a:lnTo>
                    <a:pt x="180" y="211"/>
                  </a:lnTo>
                  <a:lnTo>
                    <a:pt x="180" y="207"/>
                  </a:lnTo>
                  <a:lnTo>
                    <a:pt x="180" y="211"/>
                  </a:lnTo>
                  <a:lnTo>
                    <a:pt x="184" y="211"/>
                  </a:lnTo>
                  <a:lnTo>
                    <a:pt x="184" y="207"/>
                  </a:lnTo>
                  <a:lnTo>
                    <a:pt x="188" y="207"/>
                  </a:lnTo>
                  <a:lnTo>
                    <a:pt x="188" y="203"/>
                  </a:lnTo>
                  <a:lnTo>
                    <a:pt x="188" y="207"/>
                  </a:lnTo>
                  <a:lnTo>
                    <a:pt x="188" y="203"/>
                  </a:lnTo>
                  <a:lnTo>
                    <a:pt x="188" y="199"/>
                  </a:lnTo>
                  <a:lnTo>
                    <a:pt x="188" y="195"/>
                  </a:lnTo>
                  <a:lnTo>
                    <a:pt x="192" y="195"/>
                  </a:lnTo>
                  <a:lnTo>
                    <a:pt x="192" y="191"/>
                  </a:lnTo>
                  <a:lnTo>
                    <a:pt x="196" y="191"/>
                  </a:lnTo>
                  <a:lnTo>
                    <a:pt x="196" y="187"/>
                  </a:lnTo>
                  <a:lnTo>
                    <a:pt x="200" y="187"/>
                  </a:lnTo>
                  <a:lnTo>
                    <a:pt x="200" y="183"/>
                  </a:lnTo>
                  <a:lnTo>
                    <a:pt x="200" y="179"/>
                  </a:lnTo>
                  <a:lnTo>
                    <a:pt x="200" y="175"/>
                  </a:lnTo>
                  <a:lnTo>
                    <a:pt x="200" y="171"/>
                  </a:lnTo>
                  <a:lnTo>
                    <a:pt x="204" y="171"/>
                  </a:lnTo>
                  <a:lnTo>
                    <a:pt x="204" y="167"/>
                  </a:lnTo>
                  <a:lnTo>
                    <a:pt x="208" y="167"/>
                  </a:lnTo>
                  <a:lnTo>
                    <a:pt x="208" y="171"/>
                  </a:lnTo>
                  <a:lnTo>
                    <a:pt x="204" y="171"/>
                  </a:lnTo>
                  <a:lnTo>
                    <a:pt x="204" y="175"/>
                  </a:lnTo>
                  <a:lnTo>
                    <a:pt x="200" y="175"/>
                  </a:lnTo>
                  <a:lnTo>
                    <a:pt x="200" y="179"/>
                  </a:lnTo>
                  <a:lnTo>
                    <a:pt x="204" y="179"/>
                  </a:lnTo>
                  <a:lnTo>
                    <a:pt x="204" y="183"/>
                  </a:lnTo>
                  <a:lnTo>
                    <a:pt x="208" y="183"/>
                  </a:lnTo>
                  <a:lnTo>
                    <a:pt x="208" y="179"/>
                  </a:lnTo>
                  <a:lnTo>
                    <a:pt x="212" y="179"/>
                  </a:lnTo>
                  <a:lnTo>
                    <a:pt x="216" y="179"/>
                  </a:lnTo>
                  <a:lnTo>
                    <a:pt x="220" y="175"/>
                  </a:lnTo>
                  <a:lnTo>
                    <a:pt x="224" y="175"/>
                  </a:lnTo>
                  <a:lnTo>
                    <a:pt x="228" y="171"/>
                  </a:lnTo>
                  <a:lnTo>
                    <a:pt x="228" y="167"/>
                  </a:lnTo>
                  <a:lnTo>
                    <a:pt x="232" y="167"/>
                  </a:lnTo>
                  <a:lnTo>
                    <a:pt x="232" y="163"/>
                  </a:lnTo>
                  <a:lnTo>
                    <a:pt x="232" y="159"/>
                  </a:lnTo>
                  <a:lnTo>
                    <a:pt x="236" y="159"/>
                  </a:lnTo>
                  <a:lnTo>
                    <a:pt x="240" y="159"/>
                  </a:lnTo>
                  <a:lnTo>
                    <a:pt x="240" y="155"/>
                  </a:lnTo>
                  <a:lnTo>
                    <a:pt x="240" y="151"/>
                  </a:lnTo>
                  <a:lnTo>
                    <a:pt x="244" y="147"/>
                  </a:lnTo>
                  <a:lnTo>
                    <a:pt x="244" y="143"/>
                  </a:lnTo>
                  <a:lnTo>
                    <a:pt x="244" y="139"/>
                  </a:lnTo>
                  <a:lnTo>
                    <a:pt x="248" y="135"/>
                  </a:lnTo>
                  <a:lnTo>
                    <a:pt x="248" y="131"/>
                  </a:lnTo>
                  <a:lnTo>
                    <a:pt x="248" y="127"/>
                  </a:lnTo>
                  <a:lnTo>
                    <a:pt x="252" y="127"/>
                  </a:lnTo>
                  <a:lnTo>
                    <a:pt x="252" y="123"/>
                  </a:lnTo>
                  <a:lnTo>
                    <a:pt x="248" y="123"/>
                  </a:lnTo>
                  <a:lnTo>
                    <a:pt x="248" y="119"/>
                  </a:lnTo>
                  <a:lnTo>
                    <a:pt x="244" y="119"/>
                  </a:lnTo>
                  <a:lnTo>
                    <a:pt x="244" y="115"/>
                  </a:lnTo>
                  <a:lnTo>
                    <a:pt x="244" y="119"/>
                  </a:lnTo>
                  <a:lnTo>
                    <a:pt x="248" y="119"/>
                  </a:lnTo>
                  <a:lnTo>
                    <a:pt x="248" y="115"/>
                  </a:lnTo>
                  <a:lnTo>
                    <a:pt x="248" y="111"/>
                  </a:lnTo>
                  <a:lnTo>
                    <a:pt x="248" y="107"/>
                  </a:lnTo>
                  <a:lnTo>
                    <a:pt x="248" y="103"/>
                  </a:lnTo>
                  <a:lnTo>
                    <a:pt x="252" y="103"/>
                  </a:lnTo>
                  <a:lnTo>
                    <a:pt x="252" y="99"/>
                  </a:lnTo>
                  <a:lnTo>
                    <a:pt x="256" y="95"/>
                  </a:lnTo>
                  <a:lnTo>
                    <a:pt x="252" y="95"/>
                  </a:lnTo>
                  <a:lnTo>
                    <a:pt x="256" y="95"/>
                  </a:lnTo>
                  <a:lnTo>
                    <a:pt x="256" y="91"/>
                  </a:lnTo>
                  <a:lnTo>
                    <a:pt x="260" y="91"/>
                  </a:lnTo>
                  <a:lnTo>
                    <a:pt x="260" y="95"/>
                  </a:lnTo>
                  <a:lnTo>
                    <a:pt x="260" y="99"/>
                  </a:lnTo>
                  <a:lnTo>
                    <a:pt x="264" y="99"/>
                  </a:lnTo>
                  <a:lnTo>
                    <a:pt x="264" y="95"/>
                  </a:lnTo>
                  <a:lnTo>
                    <a:pt x="264" y="99"/>
                  </a:lnTo>
                  <a:lnTo>
                    <a:pt x="268" y="99"/>
                  </a:lnTo>
                  <a:lnTo>
                    <a:pt x="268" y="95"/>
                  </a:lnTo>
                  <a:lnTo>
                    <a:pt x="268" y="91"/>
                  </a:lnTo>
                  <a:lnTo>
                    <a:pt x="264" y="91"/>
                  </a:lnTo>
                  <a:lnTo>
                    <a:pt x="260" y="95"/>
                  </a:lnTo>
                  <a:lnTo>
                    <a:pt x="260" y="91"/>
                  </a:lnTo>
                  <a:lnTo>
                    <a:pt x="260" y="87"/>
                  </a:lnTo>
                  <a:lnTo>
                    <a:pt x="264" y="83"/>
                  </a:lnTo>
                  <a:lnTo>
                    <a:pt x="264" y="87"/>
                  </a:lnTo>
                  <a:lnTo>
                    <a:pt x="268" y="87"/>
                  </a:lnTo>
                  <a:lnTo>
                    <a:pt x="272" y="87"/>
                  </a:lnTo>
                  <a:lnTo>
                    <a:pt x="272" y="91"/>
                  </a:lnTo>
                  <a:lnTo>
                    <a:pt x="272" y="99"/>
                  </a:lnTo>
                  <a:lnTo>
                    <a:pt x="272" y="103"/>
                  </a:lnTo>
                  <a:lnTo>
                    <a:pt x="272" y="107"/>
                  </a:lnTo>
                  <a:lnTo>
                    <a:pt x="276" y="107"/>
                  </a:lnTo>
                  <a:lnTo>
                    <a:pt x="276" y="111"/>
                  </a:lnTo>
                  <a:lnTo>
                    <a:pt x="276" y="115"/>
                  </a:lnTo>
                  <a:lnTo>
                    <a:pt x="280" y="115"/>
                  </a:lnTo>
                  <a:lnTo>
                    <a:pt x="280" y="119"/>
                  </a:lnTo>
                  <a:lnTo>
                    <a:pt x="280" y="123"/>
                  </a:lnTo>
                  <a:lnTo>
                    <a:pt x="280" y="127"/>
                  </a:lnTo>
                  <a:lnTo>
                    <a:pt x="280" y="131"/>
                  </a:lnTo>
                  <a:lnTo>
                    <a:pt x="276" y="131"/>
                  </a:lnTo>
                  <a:lnTo>
                    <a:pt x="276" y="135"/>
                  </a:lnTo>
                  <a:lnTo>
                    <a:pt x="276" y="139"/>
                  </a:lnTo>
                  <a:lnTo>
                    <a:pt x="272" y="139"/>
                  </a:lnTo>
                  <a:lnTo>
                    <a:pt x="276" y="139"/>
                  </a:lnTo>
                  <a:lnTo>
                    <a:pt x="272" y="139"/>
                  </a:lnTo>
                  <a:lnTo>
                    <a:pt x="272" y="143"/>
                  </a:lnTo>
                  <a:lnTo>
                    <a:pt x="272" y="147"/>
                  </a:lnTo>
                  <a:lnTo>
                    <a:pt x="272" y="151"/>
                  </a:lnTo>
                  <a:lnTo>
                    <a:pt x="268" y="151"/>
                  </a:lnTo>
                  <a:lnTo>
                    <a:pt x="264" y="151"/>
                  </a:lnTo>
                  <a:lnTo>
                    <a:pt x="264" y="155"/>
                  </a:lnTo>
                  <a:lnTo>
                    <a:pt x="264" y="159"/>
                  </a:lnTo>
                  <a:lnTo>
                    <a:pt x="264" y="163"/>
                  </a:lnTo>
                  <a:lnTo>
                    <a:pt x="264" y="167"/>
                  </a:lnTo>
                  <a:lnTo>
                    <a:pt x="264" y="171"/>
                  </a:lnTo>
                  <a:lnTo>
                    <a:pt x="264" y="175"/>
                  </a:lnTo>
                  <a:lnTo>
                    <a:pt x="264" y="179"/>
                  </a:lnTo>
                  <a:lnTo>
                    <a:pt x="260" y="179"/>
                  </a:lnTo>
                  <a:lnTo>
                    <a:pt x="260" y="183"/>
                  </a:lnTo>
                  <a:lnTo>
                    <a:pt x="260" y="187"/>
                  </a:lnTo>
                  <a:lnTo>
                    <a:pt x="260" y="191"/>
                  </a:lnTo>
                  <a:lnTo>
                    <a:pt x="256" y="195"/>
                  </a:lnTo>
                  <a:lnTo>
                    <a:pt x="260" y="195"/>
                  </a:lnTo>
                  <a:lnTo>
                    <a:pt x="260" y="199"/>
                  </a:lnTo>
                  <a:lnTo>
                    <a:pt x="260" y="203"/>
                  </a:lnTo>
                  <a:lnTo>
                    <a:pt x="260" y="207"/>
                  </a:lnTo>
                  <a:lnTo>
                    <a:pt x="256" y="207"/>
                  </a:lnTo>
                  <a:lnTo>
                    <a:pt x="256" y="211"/>
                  </a:lnTo>
                  <a:lnTo>
                    <a:pt x="256" y="215"/>
                  </a:lnTo>
                  <a:lnTo>
                    <a:pt x="252" y="215"/>
                  </a:lnTo>
                  <a:lnTo>
                    <a:pt x="252" y="219"/>
                  </a:lnTo>
                  <a:lnTo>
                    <a:pt x="248" y="219"/>
                  </a:lnTo>
                  <a:lnTo>
                    <a:pt x="248" y="223"/>
                  </a:lnTo>
                  <a:lnTo>
                    <a:pt x="244" y="219"/>
                  </a:lnTo>
                  <a:lnTo>
                    <a:pt x="248" y="219"/>
                  </a:lnTo>
                  <a:lnTo>
                    <a:pt x="248" y="215"/>
                  </a:lnTo>
                  <a:lnTo>
                    <a:pt x="248" y="211"/>
                  </a:lnTo>
                  <a:lnTo>
                    <a:pt x="252" y="207"/>
                  </a:lnTo>
                  <a:lnTo>
                    <a:pt x="248" y="207"/>
                  </a:lnTo>
                  <a:lnTo>
                    <a:pt x="244" y="207"/>
                  </a:lnTo>
                  <a:lnTo>
                    <a:pt x="244" y="211"/>
                  </a:lnTo>
                  <a:lnTo>
                    <a:pt x="244" y="215"/>
                  </a:lnTo>
                  <a:lnTo>
                    <a:pt x="240" y="211"/>
                  </a:lnTo>
                  <a:lnTo>
                    <a:pt x="240" y="215"/>
                  </a:lnTo>
                  <a:lnTo>
                    <a:pt x="236" y="215"/>
                  </a:lnTo>
                  <a:lnTo>
                    <a:pt x="236" y="219"/>
                  </a:lnTo>
                  <a:lnTo>
                    <a:pt x="236" y="223"/>
                  </a:lnTo>
                  <a:lnTo>
                    <a:pt x="232" y="227"/>
                  </a:lnTo>
                  <a:lnTo>
                    <a:pt x="232" y="223"/>
                  </a:lnTo>
                  <a:lnTo>
                    <a:pt x="232" y="219"/>
                  </a:lnTo>
                  <a:lnTo>
                    <a:pt x="232" y="215"/>
                  </a:lnTo>
                  <a:lnTo>
                    <a:pt x="228" y="215"/>
                  </a:lnTo>
                  <a:lnTo>
                    <a:pt x="228" y="219"/>
                  </a:lnTo>
                  <a:lnTo>
                    <a:pt x="224" y="223"/>
                  </a:lnTo>
                  <a:lnTo>
                    <a:pt x="220" y="227"/>
                  </a:lnTo>
                  <a:lnTo>
                    <a:pt x="224" y="227"/>
                  </a:lnTo>
                  <a:lnTo>
                    <a:pt x="220" y="227"/>
                  </a:lnTo>
                  <a:lnTo>
                    <a:pt x="216" y="227"/>
                  </a:lnTo>
                  <a:lnTo>
                    <a:pt x="212" y="227"/>
                  </a:lnTo>
                  <a:lnTo>
                    <a:pt x="208" y="227"/>
                  </a:lnTo>
                  <a:lnTo>
                    <a:pt x="204" y="227"/>
                  </a:lnTo>
                  <a:lnTo>
                    <a:pt x="208" y="227"/>
                  </a:lnTo>
                  <a:lnTo>
                    <a:pt x="208" y="223"/>
                  </a:lnTo>
                  <a:lnTo>
                    <a:pt x="204" y="223"/>
                  </a:lnTo>
                  <a:lnTo>
                    <a:pt x="204" y="219"/>
                  </a:lnTo>
                  <a:lnTo>
                    <a:pt x="204" y="223"/>
                  </a:lnTo>
                  <a:lnTo>
                    <a:pt x="204" y="227"/>
                  </a:lnTo>
                  <a:lnTo>
                    <a:pt x="200" y="223"/>
                  </a:lnTo>
                  <a:lnTo>
                    <a:pt x="200" y="219"/>
                  </a:lnTo>
                  <a:lnTo>
                    <a:pt x="204" y="219"/>
                  </a:lnTo>
                  <a:lnTo>
                    <a:pt x="200" y="219"/>
                  </a:lnTo>
                  <a:lnTo>
                    <a:pt x="200" y="223"/>
                  </a:lnTo>
                  <a:lnTo>
                    <a:pt x="196" y="223"/>
                  </a:lnTo>
                  <a:lnTo>
                    <a:pt x="196" y="227"/>
                  </a:lnTo>
                  <a:lnTo>
                    <a:pt x="200" y="227"/>
                  </a:lnTo>
                  <a:lnTo>
                    <a:pt x="200" y="231"/>
                  </a:lnTo>
                  <a:lnTo>
                    <a:pt x="204" y="231"/>
                  </a:lnTo>
                  <a:lnTo>
                    <a:pt x="204" y="235"/>
                  </a:lnTo>
                  <a:lnTo>
                    <a:pt x="200" y="235"/>
                  </a:lnTo>
                  <a:lnTo>
                    <a:pt x="196" y="235"/>
                  </a:lnTo>
                  <a:lnTo>
                    <a:pt x="192" y="235"/>
                  </a:lnTo>
                  <a:lnTo>
                    <a:pt x="192" y="239"/>
                  </a:lnTo>
                  <a:lnTo>
                    <a:pt x="192" y="243"/>
                  </a:lnTo>
                  <a:lnTo>
                    <a:pt x="188" y="243"/>
                  </a:lnTo>
                  <a:lnTo>
                    <a:pt x="188" y="247"/>
                  </a:lnTo>
                  <a:lnTo>
                    <a:pt x="184" y="251"/>
                  </a:lnTo>
                  <a:lnTo>
                    <a:pt x="180" y="247"/>
                  </a:lnTo>
                  <a:lnTo>
                    <a:pt x="180" y="243"/>
                  </a:lnTo>
                  <a:lnTo>
                    <a:pt x="176" y="243"/>
                  </a:lnTo>
                  <a:lnTo>
                    <a:pt x="176" y="239"/>
                  </a:lnTo>
                  <a:lnTo>
                    <a:pt x="176" y="235"/>
                  </a:lnTo>
                  <a:lnTo>
                    <a:pt x="176" y="231"/>
                  </a:lnTo>
                  <a:lnTo>
                    <a:pt x="180" y="231"/>
                  </a:lnTo>
                  <a:lnTo>
                    <a:pt x="180" y="227"/>
                  </a:lnTo>
                  <a:lnTo>
                    <a:pt x="180" y="223"/>
                  </a:lnTo>
                  <a:lnTo>
                    <a:pt x="176" y="227"/>
                  </a:lnTo>
                  <a:lnTo>
                    <a:pt x="172" y="227"/>
                  </a:lnTo>
                  <a:lnTo>
                    <a:pt x="168" y="223"/>
                  </a:lnTo>
                  <a:lnTo>
                    <a:pt x="164" y="223"/>
                  </a:lnTo>
                  <a:lnTo>
                    <a:pt x="164" y="227"/>
                  </a:lnTo>
                  <a:lnTo>
                    <a:pt x="164" y="223"/>
                  </a:lnTo>
                  <a:close/>
                  <a:moveTo>
                    <a:pt x="228" y="151"/>
                  </a:moveTo>
                  <a:lnTo>
                    <a:pt x="228" y="155"/>
                  </a:lnTo>
                  <a:lnTo>
                    <a:pt x="224" y="155"/>
                  </a:lnTo>
                  <a:lnTo>
                    <a:pt x="224" y="159"/>
                  </a:lnTo>
                  <a:lnTo>
                    <a:pt x="228" y="155"/>
                  </a:lnTo>
                  <a:lnTo>
                    <a:pt x="228" y="159"/>
                  </a:lnTo>
                  <a:lnTo>
                    <a:pt x="224" y="163"/>
                  </a:lnTo>
                  <a:lnTo>
                    <a:pt x="220" y="163"/>
                  </a:lnTo>
                  <a:lnTo>
                    <a:pt x="224" y="163"/>
                  </a:lnTo>
                  <a:lnTo>
                    <a:pt x="224" y="159"/>
                  </a:lnTo>
                  <a:lnTo>
                    <a:pt x="224" y="155"/>
                  </a:lnTo>
                  <a:lnTo>
                    <a:pt x="224" y="151"/>
                  </a:lnTo>
                  <a:lnTo>
                    <a:pt x="228" y="151"/>
                  </a:lnTo>
                  <a:close/>
                  <a:moveTo>
                    <a:pt x="148" y="191"/>
                  </a:moveTo>
                  <a:lnTo>
                    <a:pt x="148" y="195"/>
                  </a:lnTo>
                  <a:lnTo>
                    <a:pt x="144" y="195"/>
                  </a:lnTo>
                  <a:lnTo>
                    <a:pt x="148" y="191"/>
                  </a:lnTo>
                  <a:close/>
                  <a:moveTo>
                    <a:pt x="88" y="227"/>
                  </a:moveTo>
                  <a:lnTo>
                    <a:pt x="88" y="231"/>
                  </a:lnTo>
                  <a:lnTo>
                    <a:pt x="88" y="235"/>
                  </a:lnTo>
                  <a:lnTo>
                    <a:pt x="88" y="231"/>
                  </a:lnTo>
                  <a:lnTo>
                    <a:pt x="84" y="231"/>
                  </a:lnTo>
                  <a:lnTo>
                    <a:pt x="88" y="227"/>
                  </a:lnTo>
                  <a:close/>
                  <a:moveTo>
                    <a:pt x="168" y="235"/>
                  </a:moveTo>
                  <a:lnTo>
                    <a:pt x="168" y="231"/>
                  </a:lnTo>
                  <a:lnTo>
                    <a:pt x="172" y="231"/>
                  </a:lnTo>
                  <a:lnTo>
                    <a:pt x="172" y="227"/>
                  </a:lnTo>
                  <a:lnTo>
                    <a:pt x="172" y="231"/>
                  </a:lnTo>
                  <a:lnTo>
                    <a:pt x="172" y="235"/>
                  </a:lnTo>
                  <a:lnTo>
                    <a:pt x="168" y="235"/>
                  </a:lnTo>
                  <a:close/>
                  <a:moveTo>
                    <a:pt x="164" y="227"/>
                  </a:moveTo>
                  <a:lnTo>
                    <a:pt x="164" y="231"/>
                  </a:lnTo>
                  <a:lnTo>
                    <a:pt x="160" y="231"/>
                  </a:lnTo>
                  <a:lnTo>
                    <a:pt x="160" y="227"/>
                  </a:lnTo>
                  <a:lnTo>
                    <a:pt x="164" y="227"/>
                  </a:lnTo>
                  <a:close/>
                  <a:moveTo>
                    <a:pt x="164" y="247"/>
                  </a:moveTo>
                  <a:lnTo>
                    <a:pt x="164" y="251"/>
                  </a:lnTo>
                  <a:lnTo>
                    <a:pt x="160" y="251"/>
                  </a:lnTo>
                  <a:lnTo>
                    <a:pt x="160" y="255"/>
                  </a:lnTo>
                  <a:lnTo>
                    <a:pt x="160" y="251"/>
                  </a:lnTo>
                  <a:lnTo>
                    <a:pt x="156" y="251"/>
                  </a:lnTo>
                  <a:lnTo>
                    <a:pt x="156" y="247"/>
                  </a:lnTo>
                  <a:lnTo>
                    <a:pt x="152" y="247"/>
                  </a:lnTo>
                  <a:lnTo>
                    <a:pt x="152" y="251"/>
                  </a:lnTo>
                  <a:lnTo>
                    <a:pt x="148" y="251"/>
                  </a:lnTo>
                  <a:lnTo>
                    <a:pt x="148" y="255"/>
                  </a:lnTo>
                  <a:lnTo>
                    <a:pt x="144" y="259"/>
                  </a:lnTo>
                  <a:lnTo>
                    <a:pt x="144" y="263"/>
                  </a:lnTo>
                  <a:lnTo>
                    <a:pt x="140" y="263"/>
                  </a:lnTo>
                  <a:lnTo>
                    <a:pt x="136" y="263"/>
                  </a:lnTo>
                  <a:lnTo>
                    <a:pt x="140" y="263"/>
                  </a:lnTo>
                  <a:lnTo>
                    <a:pt x="140" y="259"/>
                  </a:lnTo>
                  <a:lnTo>
                    <a:pt x="136" y="259"/>
                  </a:lnTo>
                  <a:lnTo>
                    <a:pt x="136" y="263"/>
                  </a:lnTo>
                  <a:lnTo>
                    <a:pt x="136" y="259"/>
                  </a:lnTo>
                  <a:lnTo>
                    <a:pt x="136" y="255"/>
                  </a:lnTo>
                  <a:lnTo>
                    <a:pt x="132" y="255"/>
                  </a:lnTo>
                  <a:lnTo>
                    <a:pt x="132" y="251"/>
                  </a:lnTo>
                  <a:lnTo>
                    <a:pt x="128" y="251"/>
                  </a:lnTo>
                  <a:lnTo>
                    <a:pt x="132" y="251"/>
                  </a:lnTo>
                  <a:lnTo>
                    <a:pt x="136" y="247"/>
                  </a:lnTo>
                  <a:lnTo>
                    <a:pt x="136" y="243"/>
                  </a:lnTo>
                  <a:lnTo>
                    <a:pt x="140" y="243"/>
                  </a:lnTo>
                  <a:lnTo>
                    <a:pt x="140" y="239"/>
                  </a:lnTo>
                  <a:lnTo>
                    <a:pt x="140" y="235"/>
                  </a:lnTo>
                  <a:lnTo>
                    <a:pt x="144" y="235"/>
                  </a:lnTo>
                  <a:lnTo>
                    <a:pt x="144" y="239"/>
                  </a:lnTo>
                  <a:lnTo>
                    <a:pt x="148" y="239"/>
                  </a:lnTo>
                  <a:lnTo>
                    <a:pt x="152" y="239"/>
                  </a:lnTo>
                  <a:lnTo>
                    <a:pt x="152" y="235"/>
                  </a:lnTo>
                  <a:lnTo>
                    <a:pt x="156" y="235"/>
                  </a:lnTo>
                  <a:lnTo>
                    <a:pt x="156" y="231"/>
                  </a:lnTo>
                  <a:lnTo>
                    <a:pt x="160" y="231"/>
                  </a:lnTo>
                  <a:lnTo>
                    <a:pt x="164" y="235"/>
                  </a:lnTo>
                  <a:lnTo>
                    <a:pt x="168" y="235"/>
                  </a:lnTo>
                  <a:lnTo>
                    <a:pt x="168" y="239"/>
                  </a:lnTo>
                  <a:lnTo>
                    <a:pt x="168" y="243"/>
                  </a:lnTo>
                  <a:lnTo>
                    <a:pt x="164" y="247"/>
                  </a:lnTo>
                  <a:close/>
                  <a:moveTo>
                    <a:pt x="88" y="235"/>
                  </a:moveTo>
                  <a:lnTo>
                    <a:pt x="84" y="239"/>
                  </a:lnTo>
                  <a:lnTo>
                    <a:pt x="84" y="235"/>
                  </a:lnTo>
                  <a:lnTo>
                    <a:pt x="84" y="231"/>
                  </a:lnTo>
                  <a:lnTo>
                    <a:pt x="88" y="231"/>
                  </a:lnTo>
                  <a:lnTo>
                    <a:pt x="88" y="235"/>
                  </a:lnTo>
                  <a:close/>
                  <a:moveTo>
                    <a:pt x="136" y="235"/>
                  </a:moveTo>
                  <a:lnTo>
                    <a:pt x="132" y="235"/>
                  </a:lnTo>
                  <a:lnTo>
                    <a:pt x="136" y="235"/>
                  </a:lnTo>
                  <a:close/>
                  <a:moveTo>
                    <a:pt x="92" y="267"/>
                  </a:moveTo>
                  <a:lnTo>
                    <a:pt x="96" y="267"/>
                  </a:lnTo>
                  <a:lnTo>
                    <a:pt x="96" y="263"/>
                  </a:lnTo>
                  <a:lnTo>
                    <a:pt x="92" y="263"/>
                  </a:lnTo>
                  <a:lnTo>
                    <a:pt x="92" y="259"/>
                  </a:lnTo>
                  <a:lnTo>
                    <a:pt x="96" y="259"/>
                  </a:lnTo>
                  <a:lnTo>
                    <a:pt x="96" y="263"/>
                  </a:lnTo>
                  <a:lnTo>
                    <a:pt x="96" y="259"/>
                  </a:lnTo>
                  <a:lnTo>
                    <a:pt x="92" y="255"/>
                  </a:lnTo>
                  <a:lnTo>
                    <a:pt x="92" y="251"/>
                  </a:lnTo>
                  <a:lnTo>
                    <a:pt x="96" y="255"/>
                  </a:lnTo>
                  <a:lnTo>
                    <a:pt x="96" y="251"/>
                  </a:lnTo>
                  <a:lnTo>
                    <a:pt x="96" y="247"/>
                  </a:lnTo>
                  <a:lnTo>
                    <a:pt x="96" y="251"/>
                  </a:lnTo>
                  <a:lnTo>
                    <a:pt x="100" y="251"/>
                  </a:lnTo>
                  <a:lnTo>
                    <a:pt x="100" y="247"/>
                  </a:lnTo>
                  <a:lnTo>
                    <a:pt x="104" y="247"/>
                  </a:lnTo>
                  <a:lnTo>
                    <a:pt x="104" y="243"/>
                  </a:lnTo>
                  <a:lnTo>
                    <a:pt x="108" y="239"/>
                  </a:lnTo>
                  <a:lnTo>
                    <a:pt x="112" y="239"/>
                  </a:lnTo>
                  <a:lnTo>
                    <a:pt x="112" y="243"/>
                  </a:lnTo>
                  <a:lnTo>
                    <a:pt x="112" y="247"/>
                  </a:lnTo>
                  <a:lnTo>
                    <a:pt x="116" y="247"/>
                  </a:lnTo>
                  <a:lnTo>
                    <a:pt x="120" y="247"/>
                  </a:lnTo>
                  <a:lnTo>
                    <a:pt x="124" y="247"/>
                  </a:lnTo>
                  <a:lnTo>
                    <a:pt x="124" y="251"/>
                  </a:lnTo>
                  <a:lnTo>
                    <a:pt x="120" y="251"/>
                  </a:lnTo>
                  <a:lnTo>
                    <a:pt x="120" y="255"/>
                  </a:lnTo>
                  <a:lnTo>
                    <a:pt x="124" y="255"/>
                  </a:lnTo>
                  <a:lnTo>
                    <a:pt x="128" y="255"/>
                  </a:lnTo>
                  <a:lnTo>
                    <a:pt x="124" y="255"/>
                  </a:lnTo>
                  <a:lnTo>
                    <a:pt x="128" y="259"/>
                  </a:lnTo>
                  <a:lnTo>
                    <a:pt x="128" y="263"/>
                  </a:lnTo>
                  <a:lnTo>
                    <a:pt x="124" y="263"/>
                  </a:lnTo>
                  <a:lnTo>
                    <a:pt x="124" y="267"/>
                  </a:lnTo>
                  <a:lnTo>
                    <a:pt x="124" y="271"/>
                  </a:lnTo>
                  <a:lnTo>
                    <a:pt x="120" y="271"/>
                  </a:lnTo>
                  <a:lnTo>
                    <a:pt x="120" y="275"/>
                  </a:lnTo>
                  <a:lnTo>
                    <a:pt x="120" y="279"/>
                  </a:lnTo>
                  <a:lnTo>
                    <a:pt x="120" y="283"/>
                  </a:lnTo>
                  <a:lnTo>
                    <a:pt x="120" y="287"/>
                  </a:lnTo>
                  <a:lnTo>
                    <a:pt x="120" y="291"/>
                  </a:lnTo>
                  <a:lnTo>
                    <a:pt x="116" y="291"/>
                  </a:lnTo>
                  <a:lnTo>
                    <a:pt x="112" y="291"/>
                  </a:lnTo>
                  <a:lnTo>
                    <a:pt x="116" y="291"/>
                  </a:lnTo>
                  <a:lnTo>
                    <a:pt x="116" y="295"/>
                  </a:lnTo>
                  <a:lnTo>
                    <a:pt x="112" y="295"/>
                  </a:lnTo>
                  <a:lnTo>
                    <a:pt x="108" y="299"/>
                  </a:lnTo>
                  <a:lnTo>
                    <a:pt x="108" y="295"/>
                  </a:lnTo>
                  <a:lnTo>
                    <a:pt x="108" y="291"/>
                  </a:lnTo>
                  <a:lnTo>
                    <a:pt x="108" y="287"/>
                  </a:lnTo>
                  <a:lnTo>
                    <a:pt x="108" y="283"/>
                  </a:lnTo>
                  <a:lnTo>
                    <a:pt x="108" y="287"/>
                  </a:lnTo>
                  <a:lnTo>
                    <a:pt x="104" y="287"/>
                  </a:lnTo>
                  <a:lnTo>
                    <a:pt x="104" y="291"/>
                  </a:lnTo>
                  <a:lnTo>
                    <a:pt x="108" y="291"/>
                  </a:lnTo>
                  <a:lnTo>
                    <a:pt x="108" y="295"/>
                  </a:lnTo>
                  <a:lnTo>
                    <a:pt x="104" y="295"/>
                  </a:lnTo>
                  <a:lnTo>
                    <a:pt x="100" y="295"/>
                  </a:lnTo>
                  <a:lnTo>
                    <a:pt x="100" y="291"/>
                  </a:lnTo>
                  <a:lnTo>
                    <a:pt x="104" y="287"/>
                  </a:lnTo>
                  <a:lnTo>
                    <a:pt x="100" y="283"/>
                  </a:lnTo>
                  <a:lnTo>
                    <a:pt x="100" y="279"/>
                  </a:lnTo>
                  <a:lnTo>
                    <a:pt x="100" y="275"/>
                  </a:lnTo>
                  <a:lnTo>
                    <a:pt x="100" y="279"/>
                  </a:lnTo>
                  <a:lnTo>
                    <a:pt x="104" y="275"/>
                  </a:lnTo>
                  <a:lnTo>
                    <a:pt x="104" y="271"/>
                  </a:lnTo>
                  <a:lnTo>
                    <a:pt x="108" y="267"/>
                  </a:lnTo>
                  <a:lnTo>
                    <a:pt x="104" y="267"/>
                  </a:lnTo>
                  <a:lnTo>
                    <a:pt x="108" y="263"/>
                  </a:lnTo>
                  <a:lnTo>
                    <a:pt x="104" y="263"/>
                  </a:lnTo>
                  <a:lnTo>
                    <a:pt x="104" y="259"/>
                  </a:lnTo>
                  <a:lnTo>
                    <a:pt x="104" y="255"/>
                  </a:lnTo>
                  <a:lnTo>
                    <a:pt x="100" y="255"/>
                  </a:lnTo>
                  <a:lnTo>
                    <a:pt x="100" y="259"/>
                  </a:lnTo>
                  <a:lnTo>
                    <a:pt x="100" y="263"/>
                  </a:lnTo>
                  <a:lnTo>
                    <a:pt x="104" y="263"/>
                  </a:lnTo>
                  <a:lnTo>
                    <a:pt x="104" y="267"/>
                  </a:lnTo>
                  <a:lnTo>
                    <a:pt x="100" y="267"/>
                  </a:lnTo>
                  <a:lnTo>
                    <a:pt x="100" y="263"/>
                  </a:lnTo>
                  <a:lnTo>
                    <a:pt x="96" y="263"/>
                  </a:lnTo>
                  <a:lnTo>
                    <a:pt x="96" y="267"/>
                  </a:lnTo>
                  <a:lnTo>
                    <a:pt x="92" y="267"/>
                  </a:lnTo>
                  <a:close/>
                  <a:moveTo>
                    <a:pt x="92" y="247"/>
                  </a:moveTo>
                  <a:lnTo>
                    <a:pt x="92" y="243"/>
                  </a:lnTo>
                  <a:lnTo>
                    <a:pt x="96" y="243"/>
                  </a:lnTo>
                  <a:lnTo>
                    <a:pt x="92" y="243"/>
                  </a:lnTo>
                  <a:lnTo>
                    <a:pt x="92" y="247"/>
                  </a:lnTo>
                  <a:close/>
                  <a:moveTo>
                    <a:pt x="92" y="251"/>
                  </a:moveTo>
                  <a:lnTo>
                    <a:pt x="92" y="255"/>
                  </a:lnTo>
                  <a:lnTo>
                    <a:pt x="88" y="255"/>
                  </a:lnTo>
                  <a:lnTo>
                    <a:pt x="88" y="251"/>
                  </a:lnTo>
                  <a:lnTo>
                    <a:pt x="92" y="251"/>
                  </a:lnTo>
                  <a:close/>
                  <a:moveTo>
                    <a:pt x="84" y="259"/>
                  </a:moveTo>
                  <a:lnTo>
                    <a:pt x="84" y="263"/>
                  </a:lnTo>
                  <a:lnTo>
                    <a:pt x="84" y="259"/>
                  </a:lnTo>
                  <a:lnTo>
                    <a:pt x="84" y="255"/>
                  </a:lnTo>
                  <a:lnTo>
                    <a:pt x="84" y="259"/>
                  </a:lnTo>
                  <a:close/>
                  <a:moveTo>
                    <a:pt x="76" y="267"/>
                  </a:moveTo>
                  <a:lnTo>
                    <a:pt x="76" y="263"/>
                  </a:lnTo>
                  <a:lnTo>
                    <a:pt x="80" y="263"/>
                  </a:lnTo>
                  <a:lnTo>
                    <a:pt x="80" y="267"/>
                  </a:lnTo>
                  <a:lnTo>
                    <a:pt x="76" y="267"/>
                  </a:lnTo>
                  <a:close/>
                  <a:moveTo>
                    <a:pt x="96" y="275"/>
                  </a:moveTo>
                  <a:lnTo>
                    <a:pt x="96" y="271"/>
                  </a:lnTo>
                  <a:lnTo>
                    <a:pt x="100" y="267"/>
                  </a:lnTo>
                  <a:lnTo>
                    <a:pt x="100" y="271"/>
                  </a:lnTo>
                  <a:lnTo>
                    <a:pt x="100" y="275"/>
                  </a:lnTo>
                  <a:lnTo>
                    <a:pt x="96" y="275"/>
                  </a:lnTo>
                  <a:close/>
                  <a:moveTo>
                    <a:pt x="112" y="303"/>
                  </a:moveTo>
                  <a:lnTo>
                    <a:pt x="112" y="307"/>
                  </a:lnTo>
                  <a:lnTo>
                    <a:pt x="112" y="311"/>
                  </a:lnTo>
                  <a:lnTo>
                    <a:pt x="112" y="307"/>
                  </a:lnTo>
                  <a:lnTo>
                    <a:pt x="112" y="303"/>
                  </a:lnTo>
                  <a:close/>
                  <a:moveTo>
                    <a:pt x="104" y="311"/>
                  </a:moveTo>
                  <a:lnTo>
                    <a:pt x="108" y="311"/>
                  </a:lnTo>
                  <a:lnTo>
                    <a:pt x="108" y="315"/>
                  </a:lnTo>
                  <a:lnTo>
                    <a:pt x="104" y="315"/>
                  </a:lnTo>
                  <a:lnTo>
                    <a:pt x="104" y="311"/>
                  </a:lnTo>
                  <a:close/>
                  <a:moveTo>
                    <a:pt x="92" y="347"/>
                  </a:moveTo>
                  <a:lnTo>
                    <a:pt x="92" y="351"/>
                  </a:lnTo>
                  <a:lnTo>
                    <a:pt x="88" y="351"/>
                  </a:lnTo>
                  <a:lnTo>
                    <a:pt x="88" y="355"/>
                  </a:lnTo>
                  <a:lnTo>
                    <a:pt x="84" y="351"/>
                  </a:lnTo>
                  <a:lnTo>
                    <a:pt x="88" y="351"/>
                  </a:lnTo>
                  <a:lnTo>
                    <a:pt x="92" y="347"/>
                  </a:lnTo>
                  <a:close/>
                  <a:moveTo>
                    <a:pt x="80" y="359"/>
                  </a:moveTo>
                  <a:lnTo>
                    <a:pt x="84" y="363"/>
                  </a:lnTo>
                  <a:lnTo>
                    <a:pt x="80" y="363"/>
                  </a:lnTo>
                  <a:lnTo>
                    <a:pt x="80" y="359"/>
                  </a:lnTo>
                  <a:close/>
                  <a:moveTo>
                    <a:pt x="72" y="379"/>
                  </a:moveTo>
                  <a:lnTo>
                    <a:pt x="72" y="383"/>
                  </a:lnTo>
                  <a:lnTo>
                    <a:pt x="68" y="387"/>
                  </a:lnTo>
                  <a:lnTo>
                    <a:pt x="64" y="387"/>
                  </a:lnTo>
                  <a:lnTo>
                    <a:pt x="64" y="391"/>
                  </a:lnTo>
                  <a:lnTo>
                    <a:pt x="64" y="395"/>
                  </a:lnTo>
                  <a:lnTo>
                    <a:pt x="60" y="395"/>
                  </a:lnTo>
                  <a:lnTo>
                    <a:pt x="60" y="391"/>
                  </a:lnTo>
                  <a:lnTo>
                    <a:pt x="64" y="391"/>
                  </a:lnTo>
                  <a:lnTo>
                    <a:pt x="64" y="387"/>
                  </a:lnTo>
                  <a:lnTo>
                    <a:pt x="68" y="387"/>
                  </a:lnTo>
                  <a:lnTo>
                    <a:pt x="68" y="383"/>
                  </a:lnTo>
                  <a:lnTo>
                    <a:pt x="64" y="383"/>
                  </a:lnTo>
                  <a:lnTo>
                    <a:pt x="68" y="383"/>
                  </a:lnTo>
                  <a:lnTo>
                    <a:pt x="72" y="379"/>
                  </a:lnTo>
                  <a:close/>
                  <a:moveTo>
                    <a:pt x="24" y="419"/>
                  </a:moveTo>
                  <a:lnTo>
                    <a:pt x="28" y="419"/>
                  </a:lnTo>
                  <a:lnTo>
                    <a:pt x="24" y="419"/>
                  </a:lnTo>
                  <a:close/>
                  <a:moveTo>
                    <a:pt x="8" y="427"/>
                  </a:moveTo>
                  <a:lnTo>
                    <a:pt x="12" y="427"/>
                  </a:lnTo>
                  <a:lnTo>
                    <a:pt x="12" y="423"/>
                  </a:lnTo>
                  <a:lnTo>
                    <a:pt x="12" y="427"/>
                  </a:lnTo>
                  <a:lnTo>
                    <a:pt x="8" y="427"/>
                  </a:lnTo>
                  <a:close/>
                  <a:moveTo>
                    <a:pt x="4" y="427"/>
                  </a:moveTo>
                  <a:lnTo>
                    <a:pt x="4" y="431"/>
                  </a:lnTo>
                  <a:lnTo>
                    <a:pt x="0" y="431"/>
                  </a:lnTo>
                  <a:lnTo>
                    <a:pt x="0" y="427"/>
                  </a:lnTo>
                  <a:lnTo>
                    <a:pt x="4" y="42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5" name="Freeform 22"/>
            <p:cNvSpPr>
              <a:spLocks/>
            </p:cNvSpPr>
            <p:nvPr>
              <p:custDataLst>
                <p:tags r:id="rId217"/>
              </p:custDataLst>
            </p:nvPr>
          </p:nvSpPr>
          <p:spPr bwMode="gray">
            <a:xfrm>
              <a:off x="5162085" y="3663107"/>
              <a:ext cx="94916" cy="124577"/>
            </a:xfrm>
            <a:custGeom>
              <a:avLst/>
              <a:gdLst/>
              <a:ahLst/>
              <a:cxnLst>
                <a:cxn ang="0">
                  <a:pos x="8" y="36"/>
                </a:cxn>
                <a:cxn ang="0">
                  <a:pos x="8" y="36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4" y="20"/>
                </a:cxn>
                <a:cxn ang="0">
                  <a:pos x="28" y="20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44" y="8"/>
                </a:cxn>
                <a:cxn ang="0">
                  <a:pos x="52" y="4"/>
                </a:cxn>
                <a:cxn ang="0">
                  <a:pos x="56" y="0"/>
                </a:cxn>
                <a:cxn ang="0">
                  <a:pos x="60" y="20"/>
                </a:cxn>
                <a:cxn ang="0">
                  <a:pos x="64" y="20"/>
                </a:cxn>
                <a:cxn ang="0">
                  <a:pos x="64" y="24"/>
                </a:cxn>
                <a:cxn ang="0">
                  <a:pos x="60" y="28"/>
                </a:cxn>
                <a:cxn ang="0">
                  <a:pos x="44" y="32"/>
                </a:cxn>
                <a:cxn ang="0">
                  <a:pos x="40" y="36"/>
                </a:cxn>
                <a:cxn ang="0">
                  <a:pos x="32" y="36"/>
                </a:cxn>
                <a:cxn ang="0">
                  <a:pos x="36" y="44"/>
                </a:cxn>
                <a:cxn ang="0">
                  <a:pos x="40" y="48"/>
                </a:cxn>
                <a:cxn ang="0">
                  <a:pos x="40" y="60"/>
                </a:cxn>
                <a:cxn ang="0">
                  <a:pos x="36" y="68"/>
                </a:cxn>
                <a:cxn ang="0">
                  <a:pos x="24" y="72"/>
                </a:cxn>
                <a:cxn ang="0">
                  <a:pos x="20" y="80"/>
                </a:cxn>
                <a:cxn ang="0">
                  <a:pos x="8" y="80"/>
                </a:cxn>
                <a:cxn ang="0">
                  <a:pos x="0" y="80"/>
                </a:cxn>
                <a:cxn ang="0">
                  <a:pos x="0" y="80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0" y="68"/>
                </a:cxn>
                <a:cxn ang="0">
                  <a:pos x="0" y="68"/>
                </a:cxn>
                <a:cxn ang="0">
                  <a:pos x="0" y="68"/>
                </a:cxn>
                <a:cxn ang="0">
                  <a:pos x="0" y="64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4" y="56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4" y="44"/>
                </a:cxn>
                <a:cxn ang="0">
                  <a:pos x="8" y="40"/>
                </a:cxn>
                <a:cxn ang="0">
                  <a:pos x="8" y="40"/>
                </a:cxn>
              </a:cxnLst>
              <a:rect l="0" t="0" r="r" b="b"/>
              <a:pathLst>
                <a:path w="64" h="84">
                  <a:moveTo>
                    <a:pt x="8" y="36"/>
                  </a:move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2"/>
                  </a:lnTo>
                  <a:lnTo>
                    <a:pt x="44" y="8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52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40" y="48"/>
                  </a:lnTo>
                  <a:lnTo>
                    <a:pt x="44" y="56"/>
                  </a:lnTo>
                  <a:lnTo>
                    <a:pt x="40" y="60"/>
                  </a:lnTo>
                  <a:lnTo>
                    <a:pt x="36" y="68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24" y="72"/>
                  </a:lnTo>
                  <a:lnTo>
                    <a:pt x="24" y="76"/>
                  </a:lnTo>
                  <a:lnTo>
                    <a:pt x="20" y="80"/>
                  </a:lnTo>
                  <a:lnTo>
                    <a:pt x="16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6" name="Freeform 23"/>
            <p:cNvSpPr>
              <a:spLocks/>
            </p:cNvSpPr>
            <p:nvPr>
              <p:custDataLst>
                <p:tags r:id="rId218"/>
              </p:custDataLst>
            </p:nvPr>
          </p:nvSpPr>
          <p:spPr bwMode="gray">
            <a:xfrm>
              <a:off x="5417172" y="2964584"/>
              <a:ext cx="916533" cy="479029"/>
            </a:xfrm>
            <a:custGeom>
              <a:avLst/>
              <a:gdLst/>
              <a:ahLst/>
              <a:cxnLst>
                <a:cxn ang="0">
                  <a:pos x="415" y="272"/>
                </a:cxn>
                <a:cxn ang="0">
                  <a:pos x="399" y="280"/>
                </a:cxn>
                <a:cxn ang="0">
                  <a:pos x="367" y="291"/>
                </a:cxn>
                <a:cxn ang="0">
                  <a:pos x="339" y="315"/>
                </a:cxn>
                <a:cxn ang="0">
                  <a:pos x="327" y="311"/>
                </a:cxn>
                <a:cxn ang="0">
                  <a:pos x="299" y="291"/>
                </a:cxn>
                <a:cxn ang="0">
                  <a:pos x="283" y="264"/>
                </a:cxn>
                <a:cxn ang="0">
                  <a:pos x="235" y="264"/>
                </a:cxn>
                <a:cxn ang="0">
                  <a:pos x="167" y="224"/>
                </a:cxn>
                <a:cxn ang="0">
                  <a:pos x="147" y="272"/>
                </a:cxn>
                <a:cxn ang="0">
                  <a:pos x="143" y="311"/>
                </a:cxn>
                <a:cxn ang="0">
                  <a:pos x="119" y="287"/>
                </a:cxn>
                <a:cxn ang="0">
                  <a:pos x="83" y="307"/>
                </a:cxn>
                <a:cxn ang="0">
                  <a:pos x="48" y="276"/>
                </a:cxn>
                <a:cxn ang="0">
                  <a:pos x="40" y="228"/>
                </a:cxn>
                <a:cxn ang="0">
                  <a:pos x="40" y="200"/>
                </a:cxn>
                <a:cxn ang="0">
                  <a:pos x="32" y="180"/>
                </a:cxn>
                <a:cxn ang="0">
                  <a:pos x="8" y="160"/>
                </a:cxn>
                <a:cxn ang="0">
                  <a:pos x="8" y="136"/>
                </a:cxn>
                <a:cxn ang="0">
                  <a:pos x="20" y="116"/>
                </a:cxn>
                <a:cxn ang="0">
                  <a:pos x="36" y="120"/>
                </a:cxn>
                <a:cxn ang="0">
                  <a:pos x="48" y="96"/>
                </a:cxn>
                <a:cxn ang="0">
                  <a:pos x="68" y="88"/>
                </a:cxn>
                <a:cxn ang="0">
                  <a:pos x="83" y="84"/>
                </a:cxn>
                <a:cxn ang="0">
                  <a:pos x="107" y="88"/>
                </a:cxn>
                <a:cxn ang="0">
                  <a:pos x="123" y="108"/>
                </a:cxn>
                <a:cxn ang="0">
                  <a:pos x="139" y="112"/>
                </a:cxn>
                <a:cxn ang="0">
                  <a:pos x="171" y="104"/>
                </a:cxn>
                <a:cxn ang="0">
                  <a:pos x="191" y="108"/>
                </a:cxn>
                <a:cxn ang="0">
                  <a:pos x="219" y="108"/>
                </a:cxn>
                <a:cxn ang="0">
                  <a:pos x="219" y="88"/>
                </a:cxn>
                <a:cxn ang="0">
                  <a:pos x="219" y="72"/>
                </a:cxn>
                <a:cxn ang="0">
                  <a:pos x="231" y="56"/>
                </a:cxn>
                <a:cxn ang="0">
                  <a:pos x="223" y="48"/>
                </a:cxn>
                <a:cxn ang="0">
                  <a:pos x="223" y="40"/>
                </a:cxn>
                <a:cxn ang="0">
                  <a:pos x="243" y="32"/>
                </a:cxn>
                <a:cxn ang="0">
                  <a:pos x="275" y="24"/>
                </a:cxn>
                <a:cxn ang="0">
                  <a:pos x="295" y="20"/>
                </a:cxn>
                <a:cxn ang="0">
                  <a:pos x="327" y="8"/>
                </a:cxn>
                <a:cxn ang="0">
                  <a:pos x="355" y="4"/>
                </a:cxn>
                <a:cxn ang="0">
                  <a:pos x="379" y="16"/>
                </a:cxn>
                <a:cxn ang="0">
                  <a:pos x="391" y="28"/>
                </a:cxn>
                <a:cxn ang="0">
                  <a:pos x="395" y="32"/>
                </a:cxn>
                <a:cxn ang="0">
                  <a:pos x="407" y="36"/>
                </a:cxn>
                <a:cxn ang="0">
                  <a:pos x="427" y="40"/>
                </a:cxn>
                <a:cxn ang="0">
                  <a:pos x="450" y="24"/>
                </a:cxn>
                <a:cxn ang="0">
                  <a:pos x="466" y="40"/>
                </a:cxn>
                <a:cxn ang="0">
                  <a:pos x="494" y="72"/>
                </a:cxn>
                <a:cxn ang="0">
                  <a:pos x="514" y="96"/>
                </a:cxn>
                <a:cxn ang="0">
                  <a:pos x="534" y="104"/>
                </a:cxn>
                <a:cxn ang="0">
                  <a:pos x="562" y="100"/>
                </a:cxn>
                <a:cxn ang="0">
                  <a:pos x="586" y="124"/>
                </a:cxn>
                <a:cxn ang="0">
                  <a:pos x="606" y="132"/>
                </a:cxn>
                <a:cxn ang="0">
                  <a:pos x="610" y="144"/>
                </a:cxn>
                <a:cxn ang="0">
                  <a:pos x="594" y="168"/>
                </a:cxn>
                <a:cxn ang="0">
                  <a:pos x="578" y="188"/>
                </a:cxn>
                <a:cxn ang="0">
                  <a:pos x="550" y="200"/>
                </a:cxn>
                <a:cxn ang="0">
                  <a:pos x="550" y="228"/>
                </a:cxn>
                <a:cxn ang="0">
                  <a:pos x="518" y="228"/>
                </a:cxn>
                <a:cxn ang="0">
                  <a:pos x="514" y="248"/>
                </a:cxn>
                <a:cxn ang="0">
                  <a:pos x="518" y="276"/>
                </a:cxn>
                <a:cxn ang="0">
                  <a:pos x="498" y="287"/>
                </a:cxn>
                <a:cxn ang="0">
                  <a:pos x="466" y="276"/>
                </a:cxn>
              </a:cxnLst>
              <a:rect l="0" t="0" r="r" b="b"/>
              <a:pathLst>
                <a:path w="618" h="323">
                  <a:moveTo>
                    <a:pt x="446" y="276"/>
                  </a:moveTo>
                  <a:lnTo>
                    <a:pt x="442" y="280"/>
                  </a:lnTo>
                  <a:lnTo>
                    <a:pt x="438" y="280"/>
                  </a:lnTo>
                  <a:lnTo>
                    <a:pt x="438" y="276"/>
                  </a:lnTo>
                  <a:lnTo>
                    <a:pt x="434" y="276"/>
                  </a:lnTo>
                  <a:lnTo>
                    <a:pt x="430" y="276"/>
                  </a:lnTo>
                  <a:lnTo>
                    <a:pt x="427" y="272"/>
                  </a:lnTo>
                  <a:lnTo>
                    <a:pt x="423" y="272"/>
                  </a:lnTo>
                  <a:lnTo>
                    <a:pt x="419" y="272"/>
                  </a:lnTo>
                  <a:lnTo>
                    <a:pt x="415" y="272"/>
                  </a:lnTo>
                  <a:lnTo>
                    <a:pt x="411" y="272"/>
                  </a:lnTo>
                  <a:lnTo>
                    <a:pt x="411" y="276"/>
                  </a:lnTo>
                  <a:lnTo>
                    <a:pt x="411" y="280"/>
                  </a:lnTo>
                  <a:lnTo>
                    <a:pt x="411" y="284"/>
                  </a:lnTo>
                  <a:lnTo>
                    <a:pt x="411" y="287"/>
                  </a:lnTo>
                  <a:lnTo>
                    <a:pt x="407" y="287"/>
                  </a:lnTo>
                  <a:lnTo>
                    <a:pt x="407" y="284"/>
                  </a:lnTo>
                  <a:lnTo>
                    <a:pt x="403" y="284"/>
                  </a:lnTo>
                  <a:lnTo>
                    <a:pt x="399" y="284"/>
                  </a:lnTo>
                  <a:lnTo>
                    <a:pt x="399" y="280"/>
                  </a:lnTo>
                  <a:lnTo>
                    <a:pt x="395" y="280"/>
                  </a:lnTo>
                  <a:lnTo>
                    <a:pt x="391" y="280"/>
                  </a:lnTo>
                  <a:lnTo>
                    <a:pt x="387" y="280"/>
                  </a:lnTo>
                  <a:lnTo>
                    <a:pt x="383" y="280"/>
                  </a:lnTo>
                  <a:lnTo>
                    <a:pt x="379" y="280"/>
                  </a:lnTo>
                  <a:lnTo>
                    <a:pt x="375" y="280"/>
                  </a:lnTo>
                  <a:lnTo>
                    <a:pt x="375" y="284"/>
                  </a:lnTo>
                  <a:lnTo>
                    <a:pt x="371" y="287"/>
                  </a:lnTo>
                  <a:lnTo>
                    <a:pt x="371" y="291"/>
                  </a:lnTo>
                  <a:lnTo>
                    <a:pt x="367" y="291"/>
                  </a:lnTo>
                  <a:lnTo>
                    <a:pt x="367" y="295"/>
                  </a:lnTo>
                  <a:lnTo>
                    <a:pt x="363" y="291"/>
                  </a:lnTo>
                  <a:lnTo>
                    <a:pt x="363" y="295"/>
                  </a:lnTo>
                  <a:lnTo>
                    <a:pt x="359" y="299"/>
                  </a:lnTo>
                  <a:lnTo>
                    <a:pt x="355" y="303"/>
                  </a:lnTo>
                  <a:lnTo>
                    <a:pt x="351" y="303"/>
                  </a:lnTo>
                  <a:lnTo>
                    <a:pt x="347" y="307"/>
                  </a:lnTo>
                  <a:lnTo>
                    <a:pt x="343" y="307"/>
                  </a:lnTo>
                  <a:lnTo>
                    <a:pt x="343" y="311"/>
                  </a:lnTo>
                  <a:lnTo>
                    <a:pt x="339" y="315"/>
                  </a:lnTo>
                  <a:lnTo>
                    <a:pt x="339" y="319"/>
                  </a:lnTo>
                  <a:lnTo>
                    <a:pt x="335" y="319"/>
                  </a:lnTo>
                  <a:lnTo>
                    <a:pt x="335" y="323"/>
                  </a:lnTo>
                  <a:lnTo>
                    <a:pt x="339" y="323"/>
                  </a:lnTo>
                  <a:lnTo>
                    <a:pt x="335" y="323"/>
                  </a:lnTo>
                  <a:lnTo>
                    <a:pt x="331" y="323"/>
                  </a:lnTo>
                  <a:lnTo>
                    <a:pt x="327" y="319"/>
                  </a:lnTo>
                  <a:lnTo>
                    <a:pt x="331" y="315"/>
                  </a:lnTo>
                  <a:lnTo>
                    <a:pt x="327" y="315"/>
                  </a:lnTo>
                  <a:lnTo>
                    <a:pt x="327" y="311"/>
                  </a:lnTo>
                  <a:lnTo>
                    <a:pt x="323" y="311"/>
                  </a:lnTo>
                  <a:lnTo>
                    <a:pt x="319" y="311"/>
                  </a:lnTo>
                  <a:lnTo>
                    <a:pt x="315" y="311"/>
                  </a:lnTo>
                  <a:lnTo>
                    <a:pt x="311" y="311"/>
                  </a:lnTo>
                  <a:lnTo>
                    <a:pt x="307" y="311"/>
                  </a:lnTo>
                  <a:lnTo>
                    <a:pt x="307" y="307"/>
                  </a:lnTo>
                  <a:lnTo>
                    <a:pt x="307" y="299"/>
                  </a:lnTo>
                  <a:lnTo>
                    <a:pt x="303" y="295"/>
                  </a:lnTo>
                  <a:lnTo>
                    <a:pt x="299" y="295"/>
                  </a:lnTo>
                  <a:lnTo>
                    <a:pt x="299" y="291"/>
                  </a:lnTo>
                  <a:lnTo>
                    <a:pt x="299" y="287"/>
                  </a:lnTo>
                  <a:lnTo>
                    <a:pt x="299" y="284"/>
                  </a:lnTo>
                  <a:lnTo>
                    <a:pt x="299" y="280"/>
                  </a:lnTo>
                  <a:lnTo>
                    <a:pt x="299" y="276"/>
                  </a:lnTo>
                  <a:lnTo>
                    <a:pt x="295" y="276"/>
                  </a:lnTo>
                  <a:lnTo>
                    <a:pt x="291" y="272"/>
                  </a:lnTo>
                  <a:lnTo>
                    <a:pt x="291" y="268"/>
                  </a:lnTo>
                  <a:lnTo>
                    <a:pt x="287" y="268"/>
                  </a:lnTo>
                  <a:lnTo>
                    <a:pt x="287" y="264"/>
                  </a:lnTo>
                  <a:lnTo>
                    <a:pt x="283" y="264"/>
                  </a:lnTo>
                  <a:lnTo>
                    <a:pt x="283" y="260"/>
                  </a:lnTo>
                  <a:lnTo>
                    <a:pt x="279" y="260"/>
                  </a:lnTo>
                  <a:lnTo>
                    <a:pt x="275" y="264"/>
                  </a:lnTo>
                  <a:lnTo>
                    <a:pt x="267" y="264"/>
                  </a:lnTo>
                  <a:lnTo>
                    <a:pt x="263" y="264"/>
                  </a:lnTo>
                  <a:lnTo>
                    <a:pt x="259" y="260"/>
                  </a:lnTo>
                  <a:lnTo>
                    <a:pt x="255" y="260"/>
                  </a:lnTo>
                  <a:lnTo>
                    <a:pt x="247" y="264"/>
                  </a:lnTo>
                  <a:lnTo>
                    <a:pt x="243" y="264"/>
                  </a:lnTo>
                  <a:lnTo>
                    <a:pt x="235" y="264"/>
                  </a:lnTo>
                  <a:lnTo>
                    <a:pt x="235" y="260"/>
                  </a:lnTo>
                  <a:lnTo>
                    <a:pt x="231" y="256"/>
                  </a:lnTo>
                  <a:lnTo>
                    <a:pt x="227" y="252"/>
                  </a:lnTo>
                  <a:lnTo>
                    <a:pt x="223" y="248"/>
                  </a:lnTo>
                  <a:lnTo>
                    <a:pt x="199" y="232"/>
                  </a:lnTo>
                  <a:lnTo>
                    <a:pt x="183" y="220"/>
                  </a:lnTo>
                  <a:lnTo>
                    <a:pt x="179" y="220"/>
                  </a:lnTo>
                  <a:lnTo>
                    <a:pt x="175" y="224"/>
                  </a:lnTo>
                  <a:lnTo>
                    <a:pt x="171" y="224"/>
                  </a:lnTo>
                  <a:lnTo>
                    <a:pt x="167" y="224"/>
                  </a:lnTo>
                  <a:lnTo>
                    <a:pt x="163" y="228"/>
                  </a:lnTo>
                  <a:lnTo>
                    <a:pt x="155" y="228"/>
                  </a:lnTo>
                  <a:lnTo>
                    <a:pt x="151" y="232"/>
                  </a:lnTo>
                  <a:lnTo>
                    <a:pt x="147" y="232"/>
                  </a:lnTo>
                  <a:lnTo>
                    <a:pt x="147" y="236"/>
                  </a:lnTo>
                  <a:lnTo>
                    <a:pt x="147" y="244"/>
                  </a:lnTo>
                  <a:lnTo>
                    <a:pt x="147" y="256"/>
                  </a:lnTo>
                  <a:lnTo>
                    <a:pt x="147" y="260"/>
                  </a:lnTo>
                  <a:lnTo>
                    <a:pt x="147" y="268"/>
                  </a:lnTo>
                  <a:lnTo>
                    <a:pt x="147" y="272"/>
                  </a:lnTo>
                  <a:lnTo>
                    <a:pt x="147" y="276"/>
                  </a:lnTo>
                  <a:lnTo>
                    <a:pt x="147" y="280"/>
                  </a:lnTo>
                  <a:lnTo>
                    <a:pt x="147" y="284"/>
                  </a:lnTo>
                  <a:lnTo>
                    <a:pt x="147" y="291"/>
                  </a:lnTo>
                  <a:lnTo>
                    <a:pt x="147" y="299"/>
                  </a:lnTo>
                  <a:lnTo>
                    <a:pt x="147" y="303"/>
                  </a:lnTo>
                  <a:lnTo>
                    <a:pt x="147" y="307"/>
                  </a:lnTo>
                  <a:lnTo>
                    <a:pt x="147" y="311"/>
                  </a:lnTo>
                  <a:lnTo>
                    <a:pt x="143" y="307"/>
                  </a:lnTo>
                  <a:lnTo>
                    <a:pt x="143" y="311"/>
                  </a:lnTo>
                  <a:lnTo>
                    <a:pt x="139" y="311"/>
                  </a:lnTo>
                  <a:lnTo>
                    <a:pt x="135" y="311"/>
                  </a:lnTo>
                  <a:lnTo>
                    <a:pt x="135" y="307"/>
                  </a:lnTo>
                  <a:lnTo>
                    <a:pt x="135" y="303"/>
                  </a:lnTo>
                  <a:lnTo>
                    <a:pt x="131" y="303"/>
                  </a:lnTo>
                  <a:lnTo>
                    <a:pt x="131" y="299"/>
                  </a:lnTo>
                  <a:lnTo>
                    <a:pt x="127" y="295"/>
                  </a:lnTo>
                  <a:lnTo>
                    <a:pt x="123" y="291"/>
                  </a:lnTo>
                  <a:lnTo>
                    <a:pt x="119" y="291"/>
                  </a:lnTo>
                  <a:lnTo>
                    <a:pt x="119" y="287"/>
                  </a:lnTo>
                  <a:lnTo>
                    <a:pt x="115" y="287"/>
                  </a:lnTo>
                  <a:lnTo>
                    <a:pt x="111" y="287"/>
                  </a:lnTo>
                  <a:lnTo>
                    <a:pt x="107" y="291"/>
                  </a:lnTo>
                  <a:lnTo>
                    <a:pt x="103" y="291"/>
                  </a:lnTo>
                  <a:lnTo>
                    <a:pt x="99" y="291"/>
                  </a:lnTo>
                  <a:lnTo>
                    <a:pt x="99" y="295"/>
                  </a:lnTo>
                  <a:lnTo>
                    <a:pt x="95" y="295"/>
                  </a:lnTo>
                  <a:lnTo>
                    <a:pt x="91" y="299"/>
                  </a:lnTo>
                  <a:lnTo>
                    <a:pt x="87" y="303"/>
                  </a:lnTo>
                  <a:lnTo>
                    <a:pt x="83" y="307"/>
                  </a:lnTo>
                  <a:lnTo>
                    <a:pt x="79" y="307"/>
                  </a:lnTo>
                  <a:lnTo>
                    <a:pt x="72" y="311"/>
                  </a:lnTo>
                  <a:lnTo>
                    <a:pt x="72" y="307"/>
                  </a:lnTo>
                  <a:lnTo>
                    <a:pt x="68" y="303"/>
                  </a:lnTo>
                  <a:lnTo>
                    <a:pt x="64" y="299"/>
                  </a:lnTo>
                  <a:lnTo>
                    <a:pt x="64" y="295"/>
                  </a:lnTo>
                  <a:lnTo>
                    <a:pt x="60" y="291"/>
                  </a:lnTo>
                  <a:lnTo>
                    <a:pt x="56" y="287"/>
                  </a:lnTo>
                  <a:lnTo>
                    <a:pt x="52" y="280"/>
                  </a:lnTo>
                  <a:lnTo>
                    <a:pt x="48" y="276"/>
                  </a:lnTo>
                  <a:lnTo>
                    <a:pt x="48" y="272"/>
                  </a:lnTo>
                  <a:lnTo>
                    <a:pt x="44" y="268"/>
                  </a:lnTo>
                  <a:lnTo>
                    <a:pt x="44" y="264"/>
                  </a:lnTo>
                  <a:lnTo>
                    <a:pt x="40" y="256"/>
                  </a:lnTo>
                  <a:lnTo>
                    <a:pt x="40" y="252"/>
                  </a:lnTo>
                  <a:lnTo>
                    <a:pt x="40" y="248"/>
                  </a:lnTo>
                  <a:lnTo>
                    <a:pt x="36" y="240"/>
                  </a:lnTo>
                  <a:lnTo>
                    <a:pt x="36" y="236"/>
                  </a:lnTo>
                  <a:lnTo>
                    <a:pt x="36" y="232"/>
                  </a:lnTo>
                  <a:lnTo>
                    <a:pt x="40" y="228"/>
                  </a:lnTo>
                  <a:lnTo>
                    <a:pt x="44" y="224"/>
                  </a:lnTo>
                  <a:lnTo>
                    <a:pt x="48" y="220"/>
                  </a:lnTo>
                  <a:lnTo>
                    <a:pt x="52" y="216"/>
                  </a:lnTo>
                  <a:lnTo>
                    <a:pt x="56" y="216"/>
                  </a:lnTo>
                  <a:lnTo>
                    <a:pt x="56" y="212"/>
                  </a:lnTo>
                  <a:lnTo>
                    <a:pt x="52" y="212"/>
                  </a:lnTo>
                  <a:lnTo>
                    <a:pt x="48" y="208"/>
                  </a:lnTo>
                  <a:lnTo>
                    <a:pt x="44" y="208"/>
                  </a:lnTo>
                  <a:lnTo>
                    <a:pt x="44" y="204"/>
                  </a:lnTo>
                  <a:lnTo>
                    <a:pt x="40" y="200"/>
                  </a:lnTo>
                  <a:lnTo>
                    <a:pt x="36" y="200"/>
                  </a:lnTo>
                  <a:lnTo>
                    <a:pt x="32" y="200"/>
                  </a:lnTo>
                  <a:lnTo>
                    <a:pt x="32" y="196"/>
                  </a:lnTo>
                  <a:lnTo>
                    <a:pt x="36" y="192"/>
                  </a:lnTo>
                  <a:lnTo>
                    <a:pt x="36" y="196"/>
                  </a:lnTo>
                  <a:lnTo>
                    <a:pt x="40" y="196"/>
                  </a:lnTo>
                  <a:lnTo>
                    <a:pt x="40" y="192"/>
                  </a:lnTo>
                  <a:lnTo>
                    <a:pt x="36" y="188"/>
                  </a:lnTo>
                  <a:lnTo>
                    <a:pt x="36" y="184"/>
                  </a:lnTo>
                  <a:lnTo>
                    <a:pt x="32" y="180"/>
                  </a:lnTo>
                  <a:lnTo>
                    <a:pt x="28" y="176"/>
                  </a:lnTo>
                  <a:lnTo>
                    <a:pt x="28" y="172"/>
                  </a:lnTo>
                  <a:lnTo>
                    <a:pt x="24" y="172"/>
                  </a:lnTo>
                  <a:lnTo>
                    <a:pt x="20" y="172"/>
                  </a:lnTo>
                  <a:lnTo>
                    <a:pt x="16" y="172"/>
                  </a:lnTo>
                  <a:lnTo>
                    <a:pt x="12" y="172"/>
                  </a:lnTo>
                  <a:lnTo>
                    <a:pt x="12" y="168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8" y="160"/>
                  </a:lnTo>
                  <a:lnTo>
                    <a:pt x="4" y="160"/>
                  </a:lnTo>
                  <a:lnTo>
                    <a:pt x="0" y="156"/>
                  </a:lnTo>
                  <a:lnTo>
                    <a:pt x="4" y="156"/>
                  </a:lnTo>
                  <a:lnTo>
                    <a:pt x="4" y="152"/>
                  </a:lnTo>
                  <a:lnTo>
                    <a:pt x="8" y="148"/>
                  </a:lnTo>
                  <a:lnTo>
                    <a:pt x="8" y="144"/>
                  </a:lnTo>
                  <a:lnTo>
                    <a:pt x="12" y="144"/>
                  </a:lnTo>
                  <a:lnTo>
                    <a:pt x="12" y="140"/>
                  </a:lnTo>
                  <a:lnTo>
                    <a:pt x="8" y="140"/>
                  </a:lnTo>
                  <a:lnTo>
                    <a:pt x="8" y="136"/>
                  </a:lnTo>
                  <a:lnTo>
                    <a:pt x="8" y="132"/>
                  </a:lnTo>
                  <a:lnTo>
                    <a:pt x="8" y="124"/>
                  </a:lnTo>
                  <a:lnTo>
                    <a:pt x="12" y="124"/>
                  </a:lnTo>
                  <a:lnTo>
                    <a:pt x="16" y="124"/>
                  </a:lnTo>
                  <a:lnTo>
                    <a:pt x="16" y="120"/>
                  </a:lnTo>
                  <a:lnTo>
                    <a:pt x="12" y="120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20" y="112"/>
                  </a:lnTo>
                  <a:lnTo>
                    <a:pt x="20" y="116"/>
                  </a:lnTo>
                  <a:lnTo>
                    <a:pt x="24" y="116"/>
                  </a:lnTo>
                  <a:lnTo>
                    <a:pt x="24" y="120"/>
                  </a:lnTo>
                  <a:lnTo>
                    <a:pt x="28" y="120"/>
                  </a:lnTo>
                  <a:lnTo>
                    <a:pt x="28" y="124"/>
                  </a:lnTo>
                  <a:lnTo>
                    <a:pt x="32" y="128"/>
                  </a:lnTo>
                  <a:lnTo>
                    <a:pt x="32" y="124"/>
                  </a:lnTo>
                  <a:lnTo>
                    <a:pt x="36" y="124"/>
                  </a:lnTo>
                  <a:lnTo>
                    <a:pt x="40" y="124"/>
                  </a:lnTo>
                  <a:lnTo>
                    <a:pt x="40" y="120"/>
                  </a:lnTo>
                  <a:lnTo>
                    <a:pt x="36" y="120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6" y="108"/>
                  </a:lnTo>
                  <a:lnTo>
                    <a:pt x="40" y="108"/>
                  </a:lnTo>
                  <a:lnTo>
                    <a:pt x="40" y="104"/>
                  </a:lnTo>
                  <a:lnTo>
                    <a:pt x="44" y="104"/>
                  </a:lnTo>
                  <a:lnTo>
                    <a:pt x="48" y="104"/>
                  </a:lnTo>
                  <a:lnTo>
                    <a:pt x="44" y="100"/>
                  </a:lnTo>
                  <a:lnTo>
                    <a:pt x="48" y="100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52" y="96"/>
                  </a:lnTo>
                  <a:lnTo>
                    <a:pt x="56" y="96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8" y="88"/>
                  </a:lnTo>
                  <a:lnTo>
                    <a:pt x="68" y="84"/>
                  </a:lnTo>
                  <a:lnTo>
                    <a:pt x="72" y="84"/>
                  </a:lnTo>
                  <a:lnTo>
                    <a:pt x="76" y="84"/>
                  </a:lnTo>
                  <a:lnTo>
                    <a:pt x="76" y="88"/>
                  </a:lnTo>
                  <a:lnTo>
                    <a:pt x="79" y="88"/>
                  </a:lnTo>
                  <a:lnTo>
                    <a:pt x="79" y="92"/>
                  </a:lnTo>
                  <a:lnTo>
                    <a:pt x="83" y="88"/>
                  </a:lnTo>
                  <a:lnTo>
                    <a:pt x="79" y="88"/>
                  </a:lnTo>
                  <a:lnTo>
                    <a:pt x="83" y="88"/>
                  </a:lnTo>
                  <a:lnTo>
                    <a:pt x="83" y="84"/>
                  </a:lnTo>
                  <a:lnTo>
                    <a:pt x="87" y="84"/>
                  </a:lnTo>
                  <a:lnTo>
                    <a:pt x="91" y="84"/>
                  </a:lnTo>
                  <a:lnTo>
                    <a:pt x="91" y="88"/>
                  </a:lnTo>
                  <a:lnTo>
                    <a:pt x="95" y="92"/>
                  </a:lnTo>
                  <a:lnTo>
                    <a:pt x="95" y="88"/>
                  </a:lnTo>
                  <a:lnTo>
                    <a:pt x="99" y="88"/>
                  </a:lnTo>
                  <a:lnTo>
                    <a:pt x="99" y="92"/>
                  </a:lnTo>
                  <a:lnTo>
                    <a:pt x="99" y="88"/>
                  </a:lnTo>
                  <a:lnTo>
                    <a:pt x="103" y="88"/>
                  </a:lnTo>
                  <a:lnTo>
                    <a:pt x="107" y="88"/>
                  </a:lnTo>
                  <a:lnTo>
                    <a:pt x="111" y="92"/>
                  </a:lnTo>
                  <a:lnTo>
                    <a:pt x="107" y="92"/>
                  </a:lnTo>
                  <a:lnTo>
                    <a:pt x="111" y="96"/>
                  </a:lnTo>
                  <a:lnTo>
                    <a:pt x="115" y="96"/>
                  </a:lnTo>
                  <a:lnTo>
                    <a:pt x="115" y="100"/>
                  </a:lnTo>
                  <a:lnTo>
                    <a:pt x="119" y="100"/>
                  </a:lnTo>
                  <a:lnTo>
                    <a:pt x="119" y="104"/>
                  </a:lnTo>
                  <a:lnTo>
                    <a:pt x="123" y="104"/>
                  </a:lnTo>
                  <a:lnTo>
                    <a:pt x="119" y="108"/>
                  </a:lnTo>
                  <a:lnTo>
                    <a:pt x="123" y="108"/>
                  </a:lnTo>
                  <a:lnTo>
                    <a:pt x="123" y="112"/>
                  </a:lnTo>
                  <a:lnTo>
                    <a:pt x="127" y="108"/>
                  </a:lnTo>
                  <a:lnTo>
                    <a:pt x="123" y="108"/>
                  </a:lnTo>
                  <a:lnTo>
                    <a:pt x="123" y="104"/>
                  </a:lnTo>
                  <a:lnTo>
                    <a:pt x="123" y="100"/>
                  </a:lnTo>
                  <a:lnTo>
                    <a:pt x="127" y="100"/>
                  </a:lnTo>
                  <a:lnTo>
                    <a:pt x="131" y="104"/>
                  </a:lnTo>
                  <a:lnTo>
                    <a:pt x="135" y="108"/>
                  </a:lnTo>
                  <a:lnTo>
                    <a:pt x="139" y="108"/>
                  </a:lnTo>
                  <a:lnTo>
                    <a:pt x="139" y="112"/>
                  </a:lnTo>
                  <a:lnTo>
                    <a:pt x="143" y="108"/>
                  </a:lnTo>
                  <a:lnTo>
                    <a:pt x="147" y="108"/>
                  </a:lnTo>
                  <a:lnTo>
                    <a:pt x="147" y="104"/>
                  </a:lnTo>
                  <a:lnTo>
                    <a:pt x="151" y="104"/>
                  </a:lnTo>
                  <a:lnTo>
                    <a:pt x="151" y="100"/>
                  </a:lnTo>
                  <a:lnTo>
                    <a:pt x="155" y="100"/>
                  </a:lnTo>
                  <a:lnTo>
                    <a:pt x="159" y="100"/>
                  </a:lnTo>
                  <a:lnTo>
                    <a:pt x="163" y="100"/>
                  </a:lnTo>
                  <a:lnTo>
                    <a:pt x="167" y="104"/>
                  </a:lnTo>
                  <a:lnTo>
                    <a:pt x="171" y="104"/>
                  </a:lnTo>
                  <a:lnTo>
                    <a:pt x="171" y="100"/>
                  </a:lnTo>
                  <a:lnTo>
                    <a:pt x="171" y="96"/>
                  </a:lnTo>
                  <a:lnTo>
                    <a:pt x="175" y="100"/>
                  </a:lnTo>
                  <a:lnTo>
                    <a:pt x="179" y="100"/>
                  </a:lnTo>
                  <a:lnTo>
                    <a:pt x="179" y="96"/>
                  </a:lnTo>
                  <a:lnTo>
                    <a:pt x="183" y="96"/>
                  </a:lnTo>
                  <a:lnTo>
                    <a:pt x="183" y="100"/>
                  </a:lnTo>
                  <a:lnTo>
                    <a:pt x="183" y="104"/>
                  </a:lnTo>
                  <a:lnTo>
                    <a:pt x="187" y="104"/>
                  </a:lnTo>
                  <a:lnTo>
                    <a:pt x="191" y="108"/>
                  </a:lnTo>
                  <a:lnTo>
                    <a:pt x="195" y="108"/>
                  </a:lnTo>
                  <a:lnTo>
                    <a:pt x="199" y="108"/>
                  </a:lnTo>
                  <a:lnTo>
                    <a:pt x="199" y="112"/>
                  </a:lnTo>
                  <a:lnTo>
                    <a:pt x="203" y="112"/>
                  </a:lnTo>
                  <a:lnTo>
                    <a:pt x="203" y="108"/>
                  </a:lnTo>
                  <a:lnTo>
                    <a:pt x="203" y="104"/>
                  </a:lnTo>
                  <a:lnTo>
                    <a:pt x="207" y="104"/>
                  </a:lnTo>
                  <a:lnTo>
                    <a:pt x="211" y="108"/>
                  </a:lnTo>
                  <a:lnTo>
                    <a:pt x="215" y="108"/>
                  </a:lnTo>
                  <a:lnTo>
                    <a:pt x="219" y="108"/>
                  </a:lnTo>
                  <a:lnTo>
                    <a:pt x="223" y="108"/>
                  </a:lnTo>
                  <a:lnTo>
                    <a:pt x="227" y="104"/>
                  </a:lnTo>
                  <a:lnTo>
                    <a:pt x="227" y="100"/>
                  </a:lnTo>
                  <a:lnTo>
                    <a:pt x="231" y="96"/>
                  </a:lnTo>
                  <a:lnTo>
                    <a:pt x="231" y="92"/>
                  </a:lnTo>
                  <a:lnTo>
                    <a:pt x="227" y="92"/>
                  </a:lnTo>
                  <a:lnTo>
                    <a:pt x="223" y="88"/>
                  </a:lnTo>
                  <a:lnTo>
                    <a:pt x="223" y="92"/>
                  </a:lnTo>
                  <a:lnTo>
                    <a:pt x="223" y="88"/>
                  </a:lnTo>
                  <a:lnTo>
                    <a:pt x="219" y="88"/>
                  </a:lnTo>
                  <a:lnTo>
                    <a:pt x="215" y="88"/>
                  </a:lnTo>
                  <a:lnTo>
                    <a:pt x="211" y="84"/>
                  </a:lnTo>
                  <a:lnTo>
                    <a:pt x="215" y="84"/>
                  </a:lnTo>
                  <a:lnTo>
                    <a:pt x="211" y="84"/>
                  </a:lnTo>
                  <a:lnTo>
                    <a:pt x="211" y="80"/>
                  </a:lnTo>
                  <a:lnTo>
                    <a:pt x="207" y="80"/>
                  </a:lnTo>
                  <a:lnTo>
                    <a:pt x="207" y="76"/>
                  </a:lnTo>
                  <a:lnTo>
                    <a:pt x="211" y="76"/>
                  </a:lnTo>
                  <a:lnTo>
                    <a:pt x="215" y="76"/>
                  </a:lnTo>
                  <a:lnTo>
                    <a:pt x="219" y="72"/>
                  </a:lnTo>
                  <a:lnTo>
                    <a:pt x="223" y="72"/>
                  </a:lnTo>
                  <a:lnTo>
                    <a:pt x="223" y="68"/>
                  </a:lnTo>
                  <a:lnTo>
                    <a:pt x="219" y="68"/>
                  </a:lnTo>
                  <a:lnTo>
                    <a:pt x="219" y="64"/>
                  </a:lnTo>
                  <a:lnTo>
                    <a:pt x="215" y="64"/>
                  </a:lnTo>
                  <a:lnTo>
                    <a:pt x="215" y="60"/>
                  </a:lnTo>
                  <a:lnTo>
                    <a:pt x="219" y="60"/>
                  </a:lnTo>
                  <a:lnTo>
                    <a:pt x="223" y="56"/>
                  </a:lnTo>
                  <a:lnTo>
                    <a:pt x="227" y="56"/>
                  </a:lnTo>
                  <a:lnTo>
                    <a:pt x="231" y="56"/>
                  </a:lnTo>
                  <a:lnTo>
                    <a:pt x="235" y="56"/>
                  </a:lnTo>
                  <a:lnTo>
                    <a:pt x="239" y="56"/>
                  </a:lnTo>
                  <a:lnTo>
                    <a:pt x="239" y="52"/>
                  </a:lnTo>
                  <a:lnTo>
                    <a:pt x="235" y="52"/>
                  </a:lnTo>
                  <a:lnTo>
                    <a:pt x="231" y="52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27" y="52"/>
                  </a:lnTo>
                  <a:lnTo>
                    <a:pt x="227" y="48"/>
                  </a:lnTo>
                  <a:lnTo>
                    <a:pt x="223" y="48"/>
                  </a:lnTo>
                  <a:lnTo>
                    <a:pt x="223" y="44"/>
                  </a:lnTo>
                  <a:lnTo>
                    <a:pt x="227" y="44"/>
                  </a:lnTo>
                  <a:lnTo>
                    <a:pt x="231" y="44"/>
                  </a:lnTo>
                  <a:lnTo>
                    <a:pt x="231" y="40"/>
                  </a:lnTo>
                  <a:lnTo>
                    <a:pt x="227" y="40"/>
                  </a:lnTo>
                  <a:lnTo>
                    <a:pt x="227" y="44"/>
                  </a:lnTo>
                  <a:lnTo>
                    <a:pt x="223" y="44"/>
                  </a:lnTo>
                  <a:lnTo>
                    <a:pt x="223" y="40"/>
                  </a:lnTo>
                  <a:lnTo>
                    <a:pt x="219" y="40"/>
                  </a:lnTo>
                  <a:lnTo>
                    <a:pt x="223" y="40"/>
                  </a:lnTo>
                  <a:lnTo>
                    <a:pt x="223" y="36"/>
                  </a:lnTo>
                  <a:lnTo>
                    <a:pt x="219" y="36"/>
                  </a:lnTo>
                  <a:lnTo>
                    <a:pt x="223" y="32"/>
                  </a:lnTo>
                  <a:lnTo>
                    <a:pt x="227" y="32"/>
                  </a:lnTo>
                  <a:lnTo>
                    <a:pt x="231" y="32"/>
                  </a:lnTo>
                  <a:lnTo>
                    <a:pt x="235" y="32"/>
                  </a:lnTo>
                  <a:lnTo>
                    <a:pt x="239" y="32"/>
                  </a:lnTo>
                  <a:lnTo>
                    <a:pt x="243" y="32"/>
                  </a:lnTo>
                  <a:lnTo>
                    <a:pt x="243" y="36"/>
                  </a:lnTo>
                  <a:lnTo>
                    <a:pt x="243" y="32"/>
                  </a:lnTo>
                  <a:lnTo>
                    <a:pt x="247" y="32"/>
                  </a:lnTo>
                  <a:lnTo>
                    <a:pt x="251" y="32"/>
                  </a:lnTo>
                  <a:lnTo>
                    <a:pt x="251" y="28"/>
                  </a:lnTo>
                  <a:lnTo>
                    <a:pt x="255" y="28"/>
                  </a:lnTo>
                  <a:lnTo>
                    <a:pt x="259" y="28"/>
                  </a:lnTo>
                  <a:lnTo>
                    <a:pt x="263" y="28"/>
                  </a:lnTo>
                  <a:lnTo>
                    <a:pt x="267" y="28"/>
                  </a:lnTo>
                  <a:lnTo>
                    <a:pt x="267" y="24"/>
                  </a:lnTo>
                  <a:lnTo>
                    <a:pt x="271" y="24"/>
                  </a:lnTo>
                  <a:lnTo>
                    <a:pt x="275" y="24"/>
                  </a:lnTo>
                  <a:lnTo>
                    <a:pt x="279" y="24"/>
                  </a:lnTo>
                  <a:lnTo>
                    <a:pt x="283" y="24"/>
                  </a:lnTo>
                  <a:lnTo>
                    <a:pt x="287" y="24"/>
                  </a:lnTo>
                  <a:lnTo>
                    <a:pt x="283" y="24"/>
                  </a:lnTo>
                  <a:lnTo>
                    <a:pt x="283" y="20"/>
                  </a:lnTo>
                  <a:lnTo>
                    <a:pt x="287" y="20"/>
                  </a:lnTo>
                  <a:lnTo>
                    <a:pt x="287" y="16"/>
                  </a:lnTo>
                  <a:lnTo>
                    <a:pt x="291" y="16"/>
                  </a:lnTo>
                  <a:lnTo>
                    <a:pt x="291" y="20"/>
                  </a:lnTo>
                  <a:lnTo>
                    <a:pt x="295" y="20"/>
                  </a:lnTo>
                  <a:lnTo>
                    <a:pt x="295" y="16"/>
                  </a:lnTo>
                  <a:lnTo>
                    <a:pt x="299" y="16"/>
                  </a:lnTo>
                  <a:lnTo>
                    <a:pt x="303" y="16"/>
                  </a:lnTo>
                  <a:lnTo>
                    <a:pt x="307" y="16"/>
                  </a:lnTo>
                  <a:lnTo>
                    <a:pt x="311" y="16"/>
                  </a:lnTo>
                  <a:lnTo>
                    <a:pt x="315" y="12"/>
                  </a:lnTo>
                  <a:lnTo>
                    <a:pt x="319" y="12"/>
                  </a:lnTo>
                  <a:lnTo>
                    <a:pt x="323" y="12"/>
                  </a:lnTo>
                  <a:lnTo>
                    <a:pt x="323" y="8"/>
                  </a:lnTo>
                  <a:lnTo>
                    <a:pt x="327" y="8"/>
                  </a:lnTo>
                  <a:lnTo>
                    <a:pt x="327" y="12"/>
                  </a:lnTo>
                  <a:lnTo>
                    <a:pt x="331" y="8"/>
                  </a:lnTo>
                  <a:lnTo>
                    <a:pt x="331" y="4"/>
                  </a:lnTo>
                  <a:lnTo>
                    <a:pt x="335" y="4"/>
                  </a:lnTo>
                  <a:lnTo>
                    <a:pt x="339" y="0"/>
                  </a:lnTo>
                  <a:lnTo>
                    <a:pt x="343" y="4"/>
                  </a:lnTo>
                  <a:lnTo>
                    <a:pt x="343" y="0"/>
                  </a:lnTo>
                  <a:lnTo>
                    <a:pt x="347" y="0"/>
                  </a:lnTo>
                  <a:lnTo>
                    <a:pt x="351" y="0"/>
                  </a:lnTo>
                  <a:lnTo>
                    <a:pt x="355" y="4"/>
                  </a:lnTo>
                  <a:lnTo>
                    <a:pt x="359" y="4"/>
                  </a:lnTo>
                  <a:lnTo>
                    <a:pt x="363" y="4"/>
                  </a:lnTo>
                  <a:lnTo>
                    <a:pt x="367" y="4"/>
                  </a:lnTo>
                  <a:lnTo>
                    <a:pt x="367" y="0"/>
                  </a:lnTo>
                  <a:lnTo>
                    <a:pt x="371" y="0"/>
                  </a:lnTo>
                  <a:lnTo>
                    <a:pt x="371" y="4"/>
                  </a:lnTo>
                  <a:lnTo>
                    <a:pt x="371" y="8"/>
                  </a:lnTo>
                  <a:lnTo>
                    <a:pt x="371" y="12"/>
                  </a:lnTo>
                  <a:lnTo>
                    <a:pt x="375" y="16"/>
                  </a:lnTo>
                  <a:lnTo>
                    <a:pt x="379" y="16"/>
                  </a:lnTo>
                  <a:lnTo>
                    <a:pt x="375" y="16"/>
                  </a:lnTo>
                  <a:lnTo>
                    <a:pt x="375" y="20"/>
                  </a:lnTo>
                  <a:lnTo>
                    <a:pt x="375" y="24"/>
                  </a:lnTo>
                  <a:lnTo>
                    <a:pt x="371" y="24"/>
                  </a:lnTo>
                  <a:lnTo>
                    <a:pt x="375" y="24"/>
                  </a:lnTo>
                  <a:lnTo>
                    <a:pt x="375" y="28"/>
                  </a:lnTo>
                  <a:lnTo>
                    <a:pt x="379" y="28"/>
                  </a:lnTo>
                  <a:lnTo>
                    <a:pt x="383" y="28"/>
                  </a:lnTo>
                  <a:lnTo>
                    <a:pt x="387" y="28"/>
                  </a:lnTo>
                  <a:lnTo>
                    <a:pt x="391" y="28"/>
                  </a:lnTo>
                  <a:lnTo>
                    <a:pt x="387" y="24"/>
                  </a:lnTo>
                  <a:lnTo>
                    <a:pt x="391" y="24"/>
                  </a:lnTo>
                  <a:lnTo>
                    <a:pt x="395" y="28"/>
                  </a:lnTo>
                  <a:lnTo>
                    <a:pt x="391" y="28"/>
                  </a:lnTo>
                  <a:lnTo>
                    <a:pt x="395" y="28"/>
                  </a:lnTo>
                  <a:lnTo>
                    <a:pt x="395" y="32"/>
                  </a:lnTo>
                  <a:lnTo>
                    <a:pt x="395" y="36"/>
                  </a:lnTo>
                  <a:lnTo>
                    <a:pt x="395" y="32"/>
                  </a:lnTo>
                  <a:lnTo>
                    <a:pt x="399" y="32"/>
                  </a:lnTo>
                  <a:lnTo>
                    <a:pt x="395" y="32"/>
                  </a:lnTo>
                  <a:lnTo>
                    <a:pt x="395" y="28"/>
                  </a:lnTo>
                  <a:lnTo>
                    <a:pt x="399" y="28"/>
                  </a:lnTo>
                  <a:lnTo>
                    <a:pt x="403" y="28"/>
                  </a:lnTo>
                  <a:lnTo>
                    <a:pt x="403" y="32"/>
                  </a:lnTo>
                  <a:lnTo>
                    <a:pt x="407" y="32"/>
                  </a:lnTo>
                  <a:lnTo>
                    <a:pt x="411" y="32"/>
                  </a:lnTo>
                  <a:lnTo>
                    <a:pt x="415" y="32"/>
                  </a:lnTo>
                  <a:lnTo>
                    <a:pt x="415" y="36"/>
                  </a:lnTo>
                  <a:lnTo>
                    <a:pt x="411" y="36"/>
                  </a:lnTo>
                  <a:lnTo>
                    <a:pt x="407" y="36"/>
                  </a:lnTo>
                  <a:lnTo>
                    <a:pt x="407" y="40"/>
                  </a:lnTo>
                  <a:lnTo>
                    <a:pt x="407" y="44"/>
                  </a:lnTo>
                  <a:lnTo>
                    <a:pt x="411" y="44"/>
                  </a:lnTo>
                  <a:lnTo>
                    <a:pt x="407" y="44"/>
                  </a:lnTo>
                  <a:lnTo>
                    <a:pt x="411" y="44"/>
                  </a:lnTo>
                  <a:lnTo>
                    <a:pt x="415" y="40"/>
                  </a:lnTo>
                  <a:lnTo>
                    <a:pt x="419" y="40"/>
                  </a:lnTo>
                  <a:lnTo>
                    <a:pt x="423" y="40"/>
                  </a:lnTo>
                  <a:lnTo>
                    <a:pt x="423" y="44"/>
                  </a:lnTo>
                  <a:lnTo>
                    <a:pt x="427" y="40"/>
                  </a:lnTo>
                  <a:lnTo>
                    <a:pt x="423" y="40"/>
                  </a:lnTo>
                  <a:lnTo>
                    <a:pt x="427" y="40"/>
                  </a:lnTo>
                  <a:lnTo>
                    <a:pt x="427" y="36"/>
                  </a:lnTo>
                  <a:lnTo>
                    <a:pt x="430" y="36"/>
                  </a:lnTo>
                  <a:lnTo>
                    <a:pt x="434" y="36"/>
                  </a:lnTo>
                  <a:lnTo>
                    <a:pt x="438" y="32"/>
                  </a:lnTo>
                  <a:lnTo>
                    <a:pt x="442" y="28"/>
                  </a:lnTo>
                  <a:lnTo>
                    <a:pt x="446" y="28"/>
                  </a:lnTo>
                  <a:lnTo>
                    <a:pt x="450" y="28"/>
                  </a:lnTo>
                  <a:lnTo>
                    <a:pt x="450" y="24"/>
                  </a:lnTo>
                  <a:lnTo>
                    <a:pt x="454" y="24"/>
                  </a:lnTo>
                  <a:lnTo>
                    <a:pt x="458" y="24"/>
                  </a:lnTo>
                  <a:lnTo>
                    <a:pt x="458" y="20"/>
                  </a:lnTo>
                  <a:lnTo>
                    <a:pt x="462" y="24"/>
                  </a:lnTo>
                  <a:lnTo>
                    <a:pt x="458" y="28"/>
                  </a:lnTo>
                  <a:lnTo>
                    <a:pt x="454" y="28"/>
                  </a:lnTo>
                  <a:lnTo>
                    <a:pt x="454" y="32"/>
                  </a:lnTo>
                  <a:lnTo>
                    <a:pt x="458" y="36"/>
                  </a:lnTo>
                  <a:lnTo>
                    <a:pt x="462" y="36"/>
                  </a:lnTo>
                  <a:lnTo>
                    <a:pt x="466" y="40"/>
                  </a:lnTo>
                  <a:lnTo>
                    <a:pt x="470" y="44"/>
                  </a:lnTo>
                  <a:lnTo>
                    <a:pt x="474" y="48"/>
                  </a:lnTo>
                  <a:lnTo>
                    <a:pt x="478" y="48"/>
                  </a:lnTo>
                  <a:lnTo>
                    <a:pt x="478" y="52"/>
                  </a:lnTo>
                  <a:lnTo>
                    <a:pt x="482" y="60"/>
                  </a:lnTo>
                  <a:lnTo>
                    <a:pt x="486" y="60"/>
                  </a:lnTo>
                  <a:lnTo>
                    <a:pt x="486" y="64"/>
                  </a:lnTo>
                  <a:lnTo>
                    <a:pt x="486" y="68"/>
                  </a:lnTo>
                  <a:lnTo>
                    <a:pt x="490" y="68"/>
                  </a:lnTo>
                  <a:lnTo>
                    <a:pt x="494" y="72"/>
                  </a:lnTo>
                  <a:lnTo>
                    <a:pt x="498" y="84"/>
                  </a:lnTo>
                  <a:lnTo>
                    <a:pt x="502" y="88"/>
                  </a:lnTo>
                  <a:lnTo>
                    <a:pt x="502" y="92"/>
                  </a:lnTo>
                  <a:lnTo>
                    <a:pt x="502" y="96"/>
                  </a:lnTo>
                  <a:lnTo>
                    <a:pt x="506" y="96"/>
                  </a:lnTo>
                  <a:lnTo>
                    <a:pt x="506" y="104"/>
                  </a:lnTo>
                  <a:lnTo>
                    <a:pt x="510" y="104"/>
                  </a:lnTo>
                  <a:lnTo>
                    <a:pt x="514" y="104"/>
                  </a:lnTo>
                  <a:lnTo>
                    <a:pt x="514" y="100"/>
                  </a:lnTo>
                  <a:lnTo>
                    <a:pt x="514" y="96"/>
                  </a:lnTo>
                  <a:lnTo>
                    <a:pt x="518" y="96"/>
                  </a:lnTo>
                  <a:lnTo>
                    <a:pt x="518" y="92"/>
                  </a:lnTo>
                  <a:lnTo>
                    <a:pt x="522" y="96"/>
                  </a:lnTo>
                  <a:lnTo>
                    <a:pt x="526" y="96"/>
                  </a:lnTo>
                  <a:lnTo>
                    <a:pt x="526" y="100"/>
                  </a:lnTo>
                  <a:lnTo>
                    <a:pt x="530" y="100"/>
                  </a:lnTo>
                  <a:lnTo>
                    <a:pt x="530" y="104"/>
                  </a:lnTo>
                  <a:lnTo>
                    <a:pt x="530" y="108"/>
                  </a:lnTo>
                  <a:lnTo>
                    <a:pt x="534" y="108"/>
                  </a:lnTo>
                  <a:lnTo>
                    <a:pt x="534" y="104"/>
                  </a:lnTo>
                  <a:lnTo>
                    <a:pt x="538" y="104"/>
                  </a:lnTo>
                  <a:lnTo>
                    <a:pt x="538" y="108"/>
                  </a:lnTo>
                  <a:lnTo>
                    <a:pt x="542" y="108"/>
                  </a:lnTo>
                  <a:lnTo>
                    <a:pt x="546" y="104"/>
                  </a:lnTo>
                  <a:lnTo>
                    <a:pt x="546" y="108"/>
                  </a:lnTo>
                  <a:lnTo>
                    <a:pt x="550" y="104"/>
                  </a:lnTo>
                  <a:lnTo>
                    <a:pt x="554" y="104"/>
                  </a:lnTo>
                  <a:lnTo>
                    <a:pt x="554" y="100"/>
                  </a:lnTo>
                  <a:lnTo>
                    <a:pt x="558" y="100"/>
                  </a:lnTo>
                  <a:lnTo>
                    <a:pt x="562" y="100"/>
                  </a:lnTo>
                  <a:lnTo>
                    <a:pt x="566" y="104"/>
                  </a:lnTo>
                  <a:lnTo>
                    <a:pt x="570" y="104"/>
                  </a:lnTo>
                  <a:lnTo>
                    <a:pt x="570" y="108"/>
                  </a:lnTo>
                  <a:lnTo>
                    <a:pt x="574" y="112"/>
                  </a:lnTo>
                  <a:lnTo>
                    <a:pt x="574" y="116"/>
                  </a:lnTo>
                  <a:lnTo>
                    <a:pt x="574" y="120"/>
                  </a:lnTo>
                  <a:lnTo>
                    <a:pt x="578" y="120"/>
                  </a:lnTo>
                  <a:lnTo>
                    <a:pt x="582" y="120"/>
                  </a:lnTo>
                  <a:lnTo>
                    <a:pt x="586" y="120"/>
                  </a:lnTo>
                  <a:lnTo>
                    <a:pt x="586" y="124"/>
                  </a:lnTo>
                  <a:lnTo>
                    <a:pt x="582" y="124"/>
                  </a:lnTo>
                  <a:lnTo>
                    <a:pt x="586" y="124"/>
                  </a:lnTo>
                  <a:lnTo>
                    <a:pt x="586" y="128"/>
                  </a:lnTo>
                  <a:lnTo>
                    <a:pt x="586" y="132"/>
                  </a:lnTo>
                  <a:lnTo>
                    <a:pt x="590" y="132"/>
                  </a:lnTo>
                  <a:lnTo>
                    <a:pt x="594" y="132"/>
                  </a:lnTo>
                  <a:lnTo>
                    <a:pt x="598" y="132"/>
                  </a:lnTo>
                  <a:lnTo>
                    <a:pt x="602" y="136"/>
                  </a:lnTo>
                  <a:lnTo>
                    <a:pt x="602" y="132"/>
                  </a:lnTo>
                  <a:lnTo>
                    <a:pt x="606" y="132"/>
                  </a:lnTo>
                  <a:lnTo>
                    <a:pt x="606" y="128"/>
                  </a:lnTo>
                  <a:lnTo>
                    <a:pt x="610" y="128"/>
                  </a:lnTo>
                  <a:lnTo>
                    <a:pt x="610" y="132"/>
                  </a:lnTo>
                  <a:lnTo>
                    <a:pt x="614" y="132"/>
                  </a:lnTo>
                  <a:lnTo>
                    <a:pt x="614" y="136"/>
                  </a:lnTo>
                  <a:lnTo>
                    <a:pt x="614" y="140"/>
                  </a:lnTo>
                  <a:lnTo>
                    <a:pt x="618" y="140"/>
                  </a:lnTo>
                  <a:lnTo>
                    <a:pt x="618" y="144"/>
                  </a:lnTo>
                  <a:lnTo>
                    <a:pt x="614" y="144"/>
                  </a:lnTo>
                  <a:lnTo>
                    <a:pt x="610" y="144"/>
                  </a:lnTo>
                  <a:lnTo>
                    <a:pt x="610" y="148"/>
                  </a:lnTo>
                  <a:lnTo>
                    <a:pt x="610" y="152"/>
                  </a:lnTo>
                  <a:lnTo>
                    <a:pt x="610" y="156"/>
                  </a:lnTo>
                  <a:lnTo>
                    <a:pt x="606" y="156"/>
                  </a:lnTo>
                  <a:lnTo>
                    <a:pt x="602" y="156"/>
                  </a:lnTo>
                  <a:lnTo>
                    <a:pt x="598" y="156"/>
                  </a:lnTo>
                  <a:lnTo>
                    <a:pt x="598" y="160"/>
                  </a:lnTo>
                  <a:lnTo>
                    <a:pt x="594" y="160"/>
                  </a:lnTo>
                  <a:lnTo>
                    <a:pt x="594" y="164"/>
                  </a:lnTo>
                  <a:lnTo>
                    <a:pt x="594" y="168"/>
                  </a:lnTo>
                  <a:lnTo>
                    <a:pt x="594" y="172"/>
                  </a:lnTo>
                  <a:lnTo>
                    <a:pt x="594" y="176"/>
                  </a:lnTo>
                  <a:lnTo>
                    <a:pt x="594" y="180"/>
                  </a:lnTo>
                  <a:lnTo>
                    <a:pt x="594" y="184"/>
                  </a:lnTo>
                  <a:lnTo>
                    <a:pt x="594" y="188"/>
                  </a:lnTo>
                  <a:lnTo>
                    <a:pt x="590" y="188"/>
                  </a:lnTo>
                  <a:lnTo>
                    <a:pt x="586" y="188"/>
                  </a:lnTo>
                  <a:lnTo>
                    <a:pt x="586" y="192"/>
                  </a:lnTo>
                  <a:lnTo>
                    <a:pt x="582" y="192"/>
                  </a:lnTo>
                  <a:lnTo>
                    <a:pt x="578" y="188"/>
                  </a:lnTo>
                  <a:lnTo>
                    <a:pt x="574" y="188"/>
                  </a:lnTo>
                  <a:lnTo>
                    <a:pt x="570" y="188"/>
                  </a:lnTo>
                  <a:lnTo>
                    <a:pt x="566" y="188"/>
                  </a:lnTo>
                  <a:lnTo>
                    <a:pt x="562" y="188"/>
                  </a:lnTo>
                  <a:lnTo>
                    <a:pt x="558" y="184"/>
                  </a:lnTo>
                  <a:lnTo>
                    <a:pt x="554" y="184"/>
                  </a:lnTo>
                  <a:lnTo>
                    <a:pt x="554" y="188"/>
                  </a:lnTo>
                  <a:lnTo>
                    <a:pt x="554" y="192"/>
                  </a:lnTo>
                  <a:lnTo>
                    <a:pt x="550" y="196"/>
                  </a:lnTo>
                  <a:lnTo>
                    <a:pt x="550" y="200"/>
                  </a:lnTo>
                  <a:lnTo>
                    <a:pt x="550" y="204"/>
                  </a:lnTo>
                  <a:lnTo>
                    <a:pt x="546" y="204"/>
                  </a:lnTo>
                  <a:lnTo>
                    <a:pt x="546" y="208"/>
                  </a:lnTo>
                  <a:lnTo>
                    <a:pt x="546" y="212"/>
                  </a:lnTo>
                  <a:lnTo>
                    <a:pt x="546" y="216"/>
                  </a:lnTo>
                  <a:lnTo>
                    <a:pt x="542" y="220"/>
                  </a:lnTo>
                  <a:lnTo>
                    <a:pt x="546" y="220"/>
                  </a:lnTo>
                  <a:lnTo>
                    <a:pt x="546" y="224"/>
                  </a:lnTo>
                  <a:lnTo>
                    <a:pt x="550" y="224"/>
                  </a:lnTo>
                  <a:lnTo>
                    <a:pt x="550" y="228"/>
                  </a:lnTo>
                  <a:lnTo>
                    <a:pt x="546" y="228"/>
                  </a:lnTo>
                  <a:lnTo>
                    <a:pt x="542" y="228"/>
                  </a:lnTo>
                  <a:lnTo>
                    <a:pt x="538" y="228"/>
                  </a:lnTo>
                  <a:lnTo>
                    <a:pt x="534" y="228"/>
                  </a:lnTo>
                  <a:lnTo>
                    <a:pt x="534" y="224"/>
                  </a:lnTo>
                  <a:lnTo>
                    <a:pt x="530" y="224"/>
                  </a:lnTo>
                  <a:lnTo>
                    <a:pt x="530" y="228"/>
                  </a:lnTo>
                  <a:lnTo>
                    <a:pt x="526" y="228"/>
                  </a:lnTo>
                  <a:lnTo>
                    <a:pt x="522" y="228"/>
                  </a:lnTo>
                  <a:lnTo>
                    <a:pt x="518" y="228"/>
                  </a:lnTo>
                  <a:lnTo>
                    <a:pt x="514" y="232"/>
                  </a:lnTo>
                  <a:lnTo>
                    <a:pt x="510" y="232"/>
                  </a:lnTo>
                  <a:lnTo>
                    <a:pt x="506" y="236"/>
                  </a:lnTo>
                  <a:lnTo>
                    <a:pt x="510" y="236"/>
                  </a:lnTo>
                  <a:lnTo>
                    <a:pt x="514" y="236"/>
                  </a:lnTo>
                  <a:lnTo>
                    <a:pt x="518" y="236"/>
                  </a:lnTo>
                  <a:lnTo>
                    <a:pt x="518" y="240"/>
                  </a:lnTo>
                  <a:lnTo>
                    <a:pt x="514" y="240"/>
                  </a:lnTo>
                  <a:lnTo>
                    <a:pt x="514" y="244"/>
                  </a:lnTo>
                  <a:lnTo>
                    <a:pt x="514" y="248"/>
                  </a:lnTo>
                  <a:lnTo>
                    <a:pt x="514" y="252"/>
                  </a:lnTo>
                  <a:lnTo>
                    <a:pt x="514" y="256"/>
                  </a:lnTo>
                  <a:lnTo>
                    <a:pt x="518" y="256"/>
                  </a:lnTo>
                  <a:lnTo>
                    <a:pt x="518" y="260"/>
                  </a:lnTo>
                  <a:lnTo>
                    <a:pt x="518" y="264"/>
                  </a:lnTo>
                  <a:lnTo>
                    <a:pt x="522" y="268"/>
                  </a:lnTo>
                  <a:lnTo>
                    <a:pt x="522" y="272"/>
                  </a:lnTo>
                  <a:lnTo>
                    <a:pt x="518" y="272"/>
                  </a:lnTo>
                  <a:lnTo>
                    <a:pt x="514" y="276"/>
                  </a:lnTo>
                  <a:lnTo>
                    <a:pt x="518" y="276"/>
                  </a:lnTo>
                  <a:lnTo>
                    <a:pt x="514" y="280"/>
                  </a:lnTo>
                  <a:lnTo>
                    <a:pt x="510" y="284"/>
                  </a:lnTo>
                  <a:lnTo>
                    <a:pt x="510" y="287"/>
                  </a:lnTo>
                  <a:lnTo>
                    <a:pt x="514" y="287"/>
                  </a:lnTo>
                  <a:lnTo>
                    <a:pt x="514" y="291"/>
                  </a:lnTo>
                  <a:lnTo>
                    <a:pt x="510" y="291"/>
                  </a:lnTo>
                  <a:lnTo>
                    <a:pt x="510" y="287"/>
                  </a:lnTo>
                  <a:lnTo>
                    <a:pt x="506" y="287"/>
                  </a:lnTo>
                  <a:lnTo>
                    <a:pt x="502" y="287"/>
                  </a:lnTo>
                  <a:lnTo>
                    <a:pt x="498" y="287"/>
                  </a:lnTo>
                  <a:lnTo>
                    <a:pt x="498" y="284"/>
                  </a:lnTo>
                  <a:lnTo>
                    <a:pt x="498" y="280"/>
                  </a:lnTo>
                  <a:lnTo>
                    <a:pt x="494" y="280"/>
                  </a:lnTo>
                  <a:lnTo>
                    <a:pt x="490" y="280"/>
                  </a:lnTo>
                  <a:lnTo>
                    <a:pt x="486" y="276"/>
                  </a:lnTo>
                  <a:lnTo>
                    <a:pt x="482" y="276"/>
                  </a:lnTo>
                  <a:lnTo>
                    <a:pt x="478" y="276"/>
                  </a:lnTo>
                  <a:lnTo>
                    <a:pt x="474" y="276"/>
                  </a:lnTo>
                  <a:lnTo>
                    <a:pt x="470" y="276"/>
                  </a:lnTo>
                  <a:lnTo>
                    <a:pt x="466" y="276"/>
                  </a:lnTo>
                  <a:lnTo>
                    <a:pt x="462" y="276"/>
                  </a:lnTo>
                  <a:lnTo>
                    <a:pt x="458" y="276"/>
                  </a:lnTo>
                  <a:lnTo>
                    <a:pt x="454" y="276"/>
                  </a:lnTo>
                  <a:lnTo>
                    <a:pt x="450" y="276"/>
                  </a:lnTo>
                  <a:lnTo>
                    <a:pt x="446" y="2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7" name="Freeform 24"/>
            <p:cNvSpPr>
              <a:spLocks noEditPoints="1"/>
            </p:cNvSpPr>
            <p:nvPr>
              <p:custDataLst>
                <p:tags r:id="rId219"/>
              </p:custDataLst>
            </p:nvPr>
          </p:nvSpPr>
          <p:spPr bwMode="gray">
            <a:xfrm>
              <a:off x="5423104" y="3758023"/>
              <a:ext cx="41526" cy="47458"/>
            </a:xfrm>
            <a:custGeom>
              <a:avLst/>
              <a:gdLst/>
              <a:ahLst/>
              <a:cxnLst>
                <a:cxn ang="0">
                  <a:pos x="12" y="24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4" y="24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28" y="28"/>
                </a:cxn>
                <a:cxn ang="0">
                  <a:pos x="24" y="32"/>
                </a:cxn>
                <a:cxn ang="0">
                  <a:pos x="16" y="32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4" y="8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</a:cxnLst>
              <a:rect l="0" t="0" r="r" b="b"/>
              <a:pathLst>
                <a:path w="28" h="32">
                  <a:moveTo>
                    <a:pt x="12" y="24"/>
                  </a:moveTo>
                  <a:lnTo>
                    <a:pt x="12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close/>
                  <a:moveTo>
                    <a:pt x="24" y="4"/>
                  </a:move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0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8" name="Freeform 25"/>
            <p:cNvSpPr>
              <a:spLocks/>
            </p:cNvSpPr>
            <p:nvPr>
              <p:custDataLst>
                <p:tags r:id="rId220"/>
              </p:custDataLst>
            </p:nvPr>
          </p:nvSpPr>
          <p:spPr bwMode="gray">
            <a:xfrm>
              <a:off x="5931795" y="3367978"/>
              <a:ext cx="247671" cy="123094"/>
            </a:xfrm>
            <a:custGeom>
              <a:avLst/>
              <a:gdLst/>
              <a:ahLst/>
              <a:cxnLst>
                <a:cxn ang="0">
                  <a:pos x="80" y="59"/>
                </a:cxn>
                <a:cxn ang="0">
                  <a:pos x="72" y="63"/>
                </a:cxn>
                <a:cxn ang="0">
                  <a:pos x="72" y="71"/>
                </a:cxn>
                <a:cxn ang="0">
                  <a:pos x="64" y="75"/>
                </a:cxn>
                <a:cxn ang="0">
                  <a:pos x="56" y="79"/>
                </a:cxn>
                <a:cxn ang="0">
                  <a:pos x="44" y="79"/>
                </a:cxn>
                <a:cxn ang="0">
                  <a:pos x="40" y="79"/>
                </a:cxn>
                <a:cxn ang="0">
                  <a:pos x="32" y="75"/>
                </a:cxn>
                <a:cxn ang="0">
                  <a:pos x="32" y="75"/>
                </a:cxn>
                <a:cxn ang="0">
                  <a:pos x="24" y="75"/>
                </a:cxn>
                <a:cxn ang="0">
                  <a:pos x="16" y="71"/>
                </a:cxn>
                <a:cxn ang="0">
                  <a:pos x="8" y="75"/>
                </a:cxn>
                <a:cxn ang="0">
                  <a:pos x="0" y="71"/>
                </a:cxn>
                <a:cxn ang="0">
                  <a:pos x="0" y="67"/>
                </a:cxn>
                <a:cxn ang="0">
                  <a:pos x="8" y="63"/>
                </a:cxn>
                <a:cxn ang="0">
                  <a:pos x="20" y="63"/>
                </a:cxn>
                <a:cxn ang="0">
                  <a:pos x="20" y="67"/>
                </a:cxn>
                <a:cxn ang="0">
                  <a:pos x="24" y="59"/>
                </a:cxn>
                <a:cxn ang="0">
                  <a:pos x="36" y="63"/>
                </a:cxn>
                <a:cxn ang="0">
                  <a:pos x="48" y="55"/>
                </a:cxn>
                <a:cxn ang="0">
                  <a:pos x="52" y="55"/>
                </a:cxn>
                <a:cxn ang="0">
                  <a:pos x="56" y="47"/>
                </a:cxn>
                <a:cxn ang="0">
                  <a:pos x="52" y="47"/>
                </a:cxn>
                <a:cxn ang="0">
                  <a:pos x="44" y="39"/>
                </a:cxn>
                <a:cxn ang="0">
                  <a:pos x="36" y="31"/>
                </a:cxn>
                <a:cxn ang="0">
                  <a:pos x="32" y="39"/>
                </a:cxn>
                <a:cxn ang="0">
                  <a:pos x="32" y="43"/>
                </a:cxn>
                <a:cxn ang="0">
                  <a:pos x="24" y="35"/>
                </a:cxn>
                <a:cxn ang="0">
                  <a:pos x="12" y="35"/>
                </a:cxn>
                <a:cxn ang="0">
                  <a:pos x="16" y="27"/>
                </a:cxn>
                <a:cxn ang="0">
                  <a:pos x="24" y="23"/>
                </a:cxn>
                <a:cxn ang="0">
                  <a:pos x="24" y="19"/>
                </a:cxn>
                <a:cxn ang="0">
                  <a:pos x="28" y="8"/>
                </a:cxn>
                <a:cxn ang="0">
                  <a:pos x="40" y="8"/>
                </a:cxn>
                <a:cxn ang="0">
                  <a:pos x="52" y="8"/>
                </a:cxn>
                <a:cxn ang="0">
                  <a:pos x="60" y="12"/>
                </a:cxn>
                <a:cxn ang="0">
                  <a:pos x="64" y="12"/>
                </a:cxn>
                <a:cxn ang="0">
                  <a:pos x="64" y="0"/>
                </a:cxn>
                <a:cxn ang="0">
                  <a:pos x="76" y="0"/>
                </a:cxn>
                <a:cxn ang="0">
                  <a:pos x="87" y="4"/>
                </a:cxn>
                <a:cxn ang="0">
                  <a:pos x="95" y="8"/>
                </a:cxn>
                <a:cxn ang="0">
                  <a:pos x="107" y="4"/>
                </a:cxn>
                <a:cxn ang="0">
                  <a:pos x="119" y="4"/>
                </a:cxn>
                <a:cxn ang="0">
                  <a:pos x="131" y="4"/>
                </a:cxn>
                <a:cxn ang="0">
                  <a:pos x="143" y="8"/>
                </a:cxn>
                <a:cxn ang="0">
                  <a:pos x="151" y="12"/>
                </a:cxn>
                <a:cxn ang="0">
                  <a:pos x="159" y="15"/>
                </a:cxn>
                <a:cxn ang="0">
                  <a:pos x="167" y="19"/>
                </a:cxn>
                <a:cxn ang="0">
                  <a:pos x="159" y="23"/>
                </a:cxn>
                <a:cxn ang="0">
                  <a:pos x="151" y="27"/>
                </a:cxn>
                <a:cxn ang="0">
                  <a:pos x="143" y="31"/>
                </a:cxn>
                <a:cxn ang="0">
                  <a:pos x="135" y="39"/>
                </a:cxn>
                <a:cxn ang="0">
                  <a:pos x="127" y="43"/>
                </a:cxn>
                <a:cxn ang="0">
                  <a:pos x="115" y="43"/>
                </a:cxn>
                <a:cxn ang="0">
                  <a:pos x="111" y="55"/>
                </a:cxn>
                <a:cxn ang="0">
                  <a:pos x="107" y="55"/>
                </a:cxn>
                <a:cxn ang="0">
                  <a:pos x="95" y="59"/>
                </a:cxn>
                <a:cxn ang="0">
                  <a:pos x="91" y="51"/>
                </a:cxn>
                <a:cxn ang="0">
                  <a:pos x="83" y="55"/>
                </a:cxn>
              </a:cxnLst>
              <a:rect l="0" t="0" r="r" b="b"/>
              <a:pathLst>
                <a:path w="167" h="83">
                  <a:moveTo>
                    <a:pt x="83" y="55"/>
                  </a:moveTo>
                  <a:lnTo>
                    <a:pt x="83" y="59"/>
                  </a:lnTo>
                  <a:lnTo>
                    <a:pt x="80" y="59"/>
                  </a:lnTo>
                  <a:lnTo>
                    <a:pt x="80" y="63"/>
                  </a:lnTo>
                  <a:lnTo>
                    <a:pt x="76" y="63"/>
                  </a:lnTo>
                  <a:lnTo>
                    <a:pt x="72" y="63"/>
                  </a:lnTo>
                  <a:lnTo>
                    <a:pt x="68" y="67"/>
                  </a:lnTo>
                  <a:lnTo>
                    <a:pt x="68" y="71"/>
                  </a:lnTo>
                  <a:lnTo>
                    <a:pt x="72" y="71"/>
                  </a:lnTo>
                  <a:lnTo>
                    <a:pt x="72" y="75"/>
                  </a:lnTo>
                  <a:lnTo>
                    <a:pt x="68" y="75"/>
                  </a:lnTo>
                  <a:lnTo>
                    <a:pt x="64" y="75"/>
                  </a:lnTo>
                  <a:lnTo>
                    <a:pt x="60" y="75"/>
                  </a:lnTo>
                  <a:lnTo>
                    <a:pt x="60" y="79"/>
                  </a:lnTo>
                  <a:lnTo>
                    <a:pt x="56" y="79"/>
                  </a:lnTo>
                  <a:lnTo>
                    <a:pt x="52" y="79"/>
                  </a:lnTo>
                  <a:lnTo>
                    <a:pt x="48" y="79"/>
                  </a:lnTo>
                  <a:lnTo>
                    <a:pt x="44" y="79"/>
                  </a:lnTo>
                  <a:lnTo>
                    <a:pt x="44" y="83"/>
                  </a:lnTo>
                  <a:lnTo>
                    <a:pt x="44" y="79"/>
                  </a:lnTo>
                  <a:lnTo>
                    <a:pt x="40" y="79"/>
                  </a:lnTo>
                  <a:lnTo>
                    <a:pt x="36" y="79"/>
                  </a:lnTo>
                  <a:lnTo>
                    <a:pt x="36" y="75"/>
                  </a:lnTo>
                  <a:lnTo>
                    <a:pt x="32" y="75"/>
                  </a:lnTo>
                  <a:lnTo>
                    <a:pt x="36" y="75"/>
                  </a:lnTo>
                  <a:lnTo>
                    <a:pt x="32" y="71"/>
                  </a:lnTo>
                  <a:lnTo>
                    <a:pt x="32" y="75"/>
                  </a:lnTo>
                  <a:lnTo>
                    <a:pt x="28" y="75"/>
                  </a:lnTo>
                  <a:lnTo>
                    <a:pt x="24" y="79"/>
                  </a:lnTo>
                  <a:lnTo>
                    <a:pt x="24" y="75"/>
                  </a:lnTo>
                  <a:lnTo>
                    <a:pt x="20" y="75"/>
                  </a:lnTo>
                  <a:lnTo>
                    <a:pt x="20" y="71"/>
                  </a:lnTo>
                  <a:lnTo>
                    <a:pt x="16" y="71"/>
                  </a:lnTo>
                  <a:lnTo>
                    <a:pt x="16" y="75"/>
                  </a:lnTo>
                  <a:lnTo>
                    <a:pt x="12" y="75"/>
                  </a:lnTo>
                  <a:lnTo>
                    <a:pt x="8" y="75"/>
                  </a:lnTo>
                  <a:lnTo>
                    <a:pt x="4" y="75"/>
                  </a:lnTo>
                  <a:lnTo>
                    <a:pt x="0" y="75"/>
                  </a:lnTo>
                  <a:lnTo>
                    <a:pt x="0" y="71"/>
                  </a:lnTo>
                  <a:lnTo>
                    <a:pt x="0" y="67"/>
                  </a:lnTo>
                  <a:lnTo>
                    <a:pt x="0" y="63"/>
                  </a:lnTo>
                  <a:lnTo>
                    <a:pt x="0" y="67"/>
                  </a:lnTo>
                  <a:lnTo>
                    <a:pt x="4" y="67"/>
                  </a:lnTo>
                  <a:lnTo>
                    <a:pt x="4" y="63"/>
                  </a:lnTo>
                  <a:lnTo>
                    <a:pt x="8" y="63"/>
                  </a:lnTo>
                  <a:lnTo>
                    <a:pt x="12" y="59"/>
                  </a:lnTo>
                  <a:lnTo>
                    <a:pt x="16" y="63"/>
                  </a:lnTo>
                  <a:lnTo>
                    <a:pt x="20" y="63"/>
                  </a:lnTo>
                  <a:lnTo>
                    <a:pt x="20" y="67"/>
                  </a:lnTo>
                  <a:lnTo>
                    <a:pt x="16" y="67"/>
                  </a:lnTo>
                  <a:lnTo>
                    <a:pt x="20" y="67"/>
                  </a:lnTo>
                  <a:lnTo>
                    <a:pt x="20" y="63"/>
                  </a:lnTo>
                  <a:lnTo>
                    <a:pt x="24" y="63"/>
                  </a:lnTo>
                  <a:lnTo>
                    <a:pt x="24" y="59"/>
                  </a:lnTo>
                  <a:lnTo>
                    <a:pt x="28" y="59"/>
                  </a:lnTo>
                  <a:lnTo>
                    <a:pt x="32" y="59"/>
                  </a:lnTo>
                  <a:lnTo>
                    <a:pt x="36" y="63"/>
                  </a:lnTo>
                  <a:lnTo>
                    <a:pt x="40" y="59"/>
                  </a:lnTo>
                  <a:lnTo>
                    <a:pt x="44" y="55"/>
                  </a:lnTo>
                  <a:lnTo>
                    <a:pt x="48" y="55"/>
                  </a:lnTo>
                  <a:lnTo>
                    <a:pt x="48" y="51"/>
                  </a:lnTo>
                  <a:lnTo>
                    <a:pt x="48" y="55"/>
                  </a:lnTo>
                  <a:lnTo>
                    <a:pt x="52" y="55"/>
                  </a:lnTo>
                  <a:lnTo>
                    <a:pt x="52" y="51"/>
                  </a:lnTo>
                  <a:lnTo>
                    <a:pt x="56" y="51"/>
                  </a:lnTo>
                  <a:lnTo>
                    <a:pt x="56" y="47"/>
                  </a:lnTo>
                  <a:lnTo>
                    <a:pt x="60" y="47"/>
                  </a:lnTo>
                  <a:lnTo>
                    <a:pt x="56" y="47"/>
                  </a:lnTo>
                  <a:lnTo>
                    <a:pt x="52" y="47"/>
                  </a:lnTo>
                  <a:lnTo>
                    <a:pt x="48" y="43"/>
                  </a:lnTo>
                  <a:lnTo>
                    <a:pt x="44" y="43"/>
                  </a:lnTo>
                  <a:lnTo>
                    <a:pt x="44" y="39"/>
                  </a:lnTo>
                  <a:lnTo>
                    <a:pt x="40" y="39"/>
                  </a:lnTo>
                  <a:lnTo>
                    <a:pt x="40" y="35"/>
                  </a:lnTo>
                  <a:lnTo>
                    <a:pt x="36" y="31"/>
                  </a:lnTo>
                  <a:lnTo>
                    <a:pt x="36" y="35"/>
                  </a:lnTo>
                  <a:lnTo>
                    <a:pt x="36" y="39"/>
                  </a:lnTo>
                  <a:lnTo>
                    <a:pt x="32" y="39"/>
                  </a:lnTo>
                  <a:lnTo>
                    <a:pt x="32" y="35"/>
                  </a:lnTo>
                  <a:lnTo>
                    <a:pt x="32" y="39"/>
                  </a:lnTo>
                  <a:lnTo>
                    <a:pt x="32" y="43"/>
                  </a:lnTo>
                  <a:lnTo>
                    <a:pt x="28" y="39"/>
                  </a:lnTo>
                  <a:lnTo>
                    <a:pt x="24" y="39"/>
                  </a:lnTo>
                  <a:lnTo>
                    <a:pt x="24" y="35"/>
                  </a:lnTo>
                  <a:lnTo>
                    <a:pt x="20" y="35"/>
                  </a:lnTo>
                  <a:lnTo>
                    <a:pt x="16" y="35"/>
                  </a:lnTo>
                  <a:lnTo>
                    <a:pt x="12" y="35"/>
                  </a:lnTo>
                  <a:lnTo>
                    <a:pt x="12" y="31"/>
                  </a:lnTo>
                  <a:lnTo>
                    <a:pt x="16" y="31"/>
                  </a:lnTo>
                  <a:lnTo>
                    <a:pt x="16" y="27"/>
                  </a:lnTo>
                  <a:lnTo>
                    <a:pt x="20" y="27"/>
                  </a:lnTo>
                  <a:lnTo>
                    <a:pt x="20" y="23"/>
                  </a:lnTo>
                  <a:lnTo>
                    <a:pt x="24" y="23"/>
                  </a:lnTo>
                  <a:lnTo>
                    <a:pt x="28" y="19"/>
                  </a:lnTo>
                  <a:lnTo>
                    <a:pt x="28" y="15"/>
                  </a:lnTo>
                  <a:lnTo>
                    <a:pt x="24" y="19"/>
                  </a:lnTo>
                  <a:lnTo>
                    <a:pt x="24" y="15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5"/>
                  </a:lnTo>
                  <a:lnTo>
                    <a:pt x="64" y="15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3" y="4"/>
                  </a:lnTo>
                  <a:lnTo>
                    <a:pt x="87" y="4"/>
                  </a:lnTo>
                  <a:lnTo>
                    <a:pt x="91" y="4"/>
                  </a:lnTo>
                  <a:lnTo>
                    <a:pt x="91" y="8"/>
                  </a:lnTo>
                  <a:lnTo>
                    <a:pt x="95" y="8"/>
                  </a:lnTo>
                  <a:lnTo>
                    <a:pt x="99" y="4"/>
                  </a:lnTo>
                  <a:lnTo>
                    <a:pt x="103" y="4"/>
                  </a:lnTo>
                  <a:lnTo>
                    <a:pt x="107" y="4"/>
                  </a:lnTo>
                  <a:lnTo>
                    <a:pt x="111" y="4"/>
                  </a:lnTo>
                  <a:lnTo>
                    <a:pt x="115" y="4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7" y="4"/>
                  </a:lnTo>
                  <a:lnTo>
                    <a:pt x="131" y="4"/>
                  </a:lnTo>
                  <a:lnTo>
                    <a:pt x="135" y="4"/>
                  </a:lnTo>
                  <a:lnTo>
                    <a:pt x="139" y="4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51" y="8"/>
                  </a:lnTo>
                  <a:lnTo>
                    <a:pt x="151" y="12"/>
                  </a:lnTo>
                  <a:lnTo>
                    <a:pt x="151" y="15"/>
                  </a:lnTo>
                  <a:lnTo>
                    <a:pt x="155" y="15"/>
                  </a:lnTo>
                  <a:lnTo>
                    <a:pt x="159" y="15"/>
                  </a:lnTo>
                  <a:lnTo>
                    <a:pt x="163" y="15"/>
                  </a:lnTo>
                  <a:lnTo>
                    <a:pt x="163" y="19"/>
                  </a:lnTo>
                  <a:lnTo>
                    <a:pt x="167" y="19"/>
                  </a:lnTo>
                  <a:lnTo>
                    <a:pt x="167" y="23"/>
                  </a:lnTo>
                  <a:lnTo>
                    <a:pt x="163" y="23"/>
                  </a:lnTo>
                  <a:lnTo>
                    <a:pt x="159" y="23"/>
                  </a:lnTo>
                  <a:lnTo>
                    <a:pt x="159" y="27"/>
                  </a:lnTo>
                  <a:lnTo>
                    <a:pt x="155" y="27"/>
                  </a:lnTo>
                  <a:lnTo>
                    <a:pt x="151" y="27"/>
                  </a:lnTo>
                  <a:lnTo>
                    <a:pt x="147" y="27"/>
                  </a:lnTo>
                  <a:lnTo>
                    <a:pt x="147" y="31"/>
                  </a:lnTo>
                  <a:lnTo>
                    <a:pt x="143" y="31"/>
                  </a:lnTo>
                  <a:lnTo>
                    <a:pt x="139" y="35"/>
                  </a:lnTo>
                  <a:lnTo>
                    <a:pt x="135" y="35"/>
                  </a:lnTo>
                  <a:lnTo>
                    <a:pt x="135" y="39"/>
                  </a:lnTo>
                  <a:lnTo>
                    <a:pt x="135" y="43"/>
                  </a:lnTo>
                  <a:lnTo>
                    <a:pt x="131" y="43"/>
                  </a:lnTo>
                  <a:lnTo>
                    <a:pt x="127" y="43"/>
                  </a:lnTo>
                  <a:lnTo>
                    <a:pt x="123" y="43"/>
                  </a:lnTo>
                  <a:lnTo>
                    <a:pt x="119" y="43"/>
                  </a:lnTo>
                  <a:lnTo>
                    <a:pt x="115" y="43"/>
                  </a:lnTo>
                  <a:lnTo>
                    <a:pt x="111" y="43"/>
                  </a:lnTo>
                  <a:lnTo>
                    <a:pt x="111" y="51"/>
                  </a:lnTo>
                  <a:lnTo>
                    <a:pt x="111" y="55"/>
                  </a:lnTo>
                  <a:lnTo>
                    <a:pt x="107" y="55"/>
                  </a:lnTo>
                  <a:lnTo>
                    <a:pt x="107" y="59"/>
                  </a:lnTo>
                  <a:lnTo>
                    <a:pt x="107" y="55"/>
                  </a:lnTo>
                  <a:lnTo>
                    <a:pt x="103" y="55"/>
                  </a:lnTo>
                  <a:lnTo>
                    <a:pt x="99" y="59"/>
                  </a:lnTo>
                  <a:lnTo>
                    <a:pt x="95" y="59"/>
                  </a:lnTo>
                  <a:lnTo>
                    <a:pt x="95" y="55"/>
                  </a:lnTo>
                  <a:lnTo>
                    <a:pt x="95" y="51"/>
                  </a:lnTo>
                  <a:lnTo>
                    <a:pt x="91" y="51"/>
                  </a:lnTo>
                  <a:lnTo>
                    <a:pt x="91" y="55"/>
                  </a:lnTo>
                  <a:lnTo>
                    <a:pt x="87" y="55"/>
                  </a:lnTo>
                  <a:lnTo>
                    <a:pt x="83" y="5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9" name="Freeform 26"/>
            <p:cNvSpPr>
              <a:spLocks/>
            </p:cNvSpPr>
            <p:nvPr>
              <p:custDataLst>
                <p:tags r:id="rId221"/>
              </p:custDataLst>
            </p:nvPr>
          </p:nvSpPr>
          <p:spPr bwMode="gray">
            <a:xfrm>
              <a:off x="6622903" y="3977517"/>
              <a:ext cx="172035" cy="235807"/>
            </a:xfrm>
            <a:custGeom>
              <a:avLst/>
              <a:gdLst/>
              <a:ahLst/>
              <a:cxnLst>
                <a:cxn ang="0">
                  <a:pos x="56" y="79"/>
                </a:cxn>
                <a:cxn ang="0">
                  <a:pos x="48" y="79"/>
                </a:cxn>
                <a:cxn ang="0">
                  <a:pos x="36" y="87"/>
                </a:cxn>
                <a:cxn ang="0">
                  <a:pos x="28" y="79"/>
                </a:cxn>
                <a:cxn ang="0">
                  <a:pos x="20" y="87"/>
                </a:cxn>
                <a:cxn ang="0">
                  <a:pos x="12" y="95"/>
                </a:cxn>
                <a:cxn ang="0">
                  <a:pos x="16" y="83"/>
                </a:cxn>
                <a:cxn ang="0">
                  <a:pos x="16" y="67"/>
                </a:cxn>
                <a:cxn ang="0">
                  <a:pos x="16" y="59"/>
                </a:cxn>
                <a:cxn ang="0">
                  <a:pos x="4" y="55"/>
                </a:cxn>
                <a:cxn ang="0">
                  <a:pos x="4" y="43"/>
                </a:cxn>
                <a:cxn ang="0">
                  <a:pos x="0" y="39"/>
                </a:cxn>
                <a:cxn ang="0">
                  <a:pos x="8" y="32"/>
                </a:cxn>
                <a:cxn ang="0">
                  <a:pos x="8" y="24"/>
                </a:cxn>
                <a:cxn ang="0">
                  <a:pos x="16" y="16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0" y="4"/>
                </a:cxn>
                <a:cxn ang="0">
                  <a:pos x="32" y="0"/>
                </a:cxn>
                <a:cxn ang="0">
                  <a:pos x="40" y="12"/>
                </a:cxn>
                <a:cxn ang="0">
                  <a:pos x="40" y="20"/>
                </a:cxn>
                <a:cxn ang="0">
                  <a:pos x="44" y="28"/>
                </a:cxn>
                <a:cxn ang="0">
                  <a:pos x="52" y="36"/>
                </a:cxn>
                <a:cxn ang="0">
                  <a:pos x="64" y="32"/>
                </a:cxn>
                <a:cxn ang="0">
                  <a:pos x="72" y="43"/>
                </a:cxn>
                <a:cxn ang="0">
                  <a:pos x="68" y="55"/>
                </a:cxn>
                <a:cxn ang="0">
                  <a:pos x="60" y="55"/>
                </a:cxn>
                <a:cxn ang="0">
                  <a:pos x="56" y="59"/>
                </a:cxn>
                <a:cxn ang="0">
                  <a:pos x="68" y="71"/>
                </a:cxn>
                <a:cxn ang="0">
                  <a:pos x="76" y="79"/>
                </a:cxn>
                <a:cxn ang="0">
                  <a:pos x="84" y="87"/>
                </a:cxn>
                <a:cxn ang="0">
                  <a:pos x="92" y="95"/>
                </a:cxn>
                <a:cxn ang="0">
                  <a:pos x="96" y="107"/>
                </a:cxn>
                <a:cxn ang="0">
                  <a:pos x="104" y="111"/>
                </a:cxn>
                <a:cxn ang="0">
                  <a:pos x="112" y="119"/>
                </a:cxn>
                <a:cxn ang="0">
                  <a:pos x="108" y="131"/>
                </a:cxn>
                <a:cxn ang="0">
                  <a:pos x="112" y="139"/>
                </a:cxn>
                <a:cxn ang="0">
                  <a:pos x="108" y="151"/>
                </a:cxn>
                <a:cxn ang="0">
                  <a:pos x="96" y="151"/>
                </a:cxn>
                <a:cxn ang="0">
                  <a:pos x="92" y="155"/>
                </a:cxn>
                <a:cxn ang="0">
                  <a:pos x="84" y="155"/>
                </a:cxn>
                <a:cxn ang="0">
                  <a:pos x="76" y="155"/>
                </a:cxn>
                <a:cxn ang="0">
                  <a:pos x="80" y="143"/>
                </a:cxn>
                <a:cxn ang="0">
                  <a:pos x="84" y="135"/>
                </a:cxn>
                <a:cxn ang="0">
                  <a:pos x="80" y="123"/>
                </a:cxn>
                <a:cxn ang="0">
                  <a:pos x="72" y="111"/>
                </a:cxn>
                <a:cxn ang="0">
                  <a:pos x="68" y="103"/>
                </a:cxn>
                <a:cxn ang="0">
                  <a:pos x="68" y="95"/>
                </a:cxn>
              </a:cxnLst>
              <a:rect l="0" t="0" r="r" b="b"/>
              <a:pathLst>
                <a:path w="116" h="159">
                  <a:moveTo>
                    <a:pt x="64" y="87"/>
                  </a:moveTo>
                  <a:lnTo>
                    <a:pt x="60" y="83"/>
                  </a:lnTo>
                  <a:lnTo>
                    <a:pt x="60" y="79"/>
                  </a:lnTo>
                  <a:lnTo>
                    <a:pt x="56" y="79"/>
                  </a:lnTo>
                  <a:lnTo>
                    <a:pt x="52" y="79"/>
                  </a:lnTo>
                  <a:lnTo>
                    <a:pt x="52" y="75"/>
                  </a:lnTo>
                  <a:lnTo>
                    <a:pt x="48" y="75"/>
                  </a:lnTo>
                  <a:lnTo>
                    <a:pt x="48" y="79"/>
                  </a:lnTo>
                  <a:lnTo>
                    <a:pt x="44" y="83"/>
                  </a:lnTo>
                  <a:lnTo>
                    <a:pt x="40" y="83"/>
                  </a:lnTo>
                  <a:lnTo>
                    <a:pt x="40" y="87"/>
                  </a:lnTo>
                  <a:lnTo>
                    <a:pt x="36" y="87"/>
                  </a:lnTo>
                  <a:lnTo>
                    <a:pt x="36" y="83"/>
                  </a:lnTo>
                  <a:lnTo>
                    <a:pt x="32" y="83"/>
                  </a:lnTo>
                  <a:lnTo>
                    <a:pt x="32" y="79"/>
                  </a:lnTo>
                  <a:lnTo>
                    <a:pt x="28" y="79"/>
                  </a:lnTo>
                  <a:lnTo>
                    <a:pt x="28" y="83"/>
                  </a:lnTo>
                  <a:lnTo>
                    <a:pt x="24" y="83"/>
                  </a:lnTo>
                  <a:lnTo>
                    <a:pt x="24" y="87"/>
                  </a:lnTo>
                  <a:lnTo>
                    <a:pt x="20" y="87"/>
                  </a:lnTo>
                  <a:lnTo>
                    <a:pt x="20" y="91"/>
                  </a:lnTo>
                  <a:lnTo>
                    <a:pt x="16" y="91"/>
                  </a:lnTo>
                  <a:lnTo>
                    <a:pt x="16" y="95"/>
                  </a:lnTo>
                  <a:lnTo>
                    <a:pt x="12" y="95"/>
                  </a:lnTo>
                  <a:lnTo>
                    <a:pt x="12" y="91"/>
                  </a:lnTo>
                  <a:lnTo>
                    <a:pt x="12" y="87"/>
                  </a:lnTo>
                  <a:lnTo>
                    <a:pt x="16" y="87"/>
                  </a:lnTo>
                  <a:lnTo>
                    <a:pt x="16" y="83"/>
                  </a:lnTo>
                  <a:lnTo>
                    <a:pt x="16" y="79"/>
                  </a:lnTo>
                  <a:lnTo>
                    <a:pt x="16" y="75"/>
                  </a:lnTo>
                  <a:lnTo>
                    <a:pt x="16" y="71"/>
                  </a:lnTo>
                  <a:lnTo>
                    <a:pt x="16" y="67"/>
                  </a:lnTo>
                  <a:lnTo>
                    <a:pt x="20" y="67"/>
                  </a:lnTo>
                  <a:lnTo>
                    <a:pt x="20" y="63"/>
                  </a:lnTo>
                  <a:lnTo>
                    <a:pt x="16" y="63"/>
                  </a:lnTo>
                  <a:lnTo>
                    <a:pt x="16" y="59"/>
                  </a:lnTo>
                  <a:lnTo>
                    <a:pt x="16" y="55"/>
                  </a:lnTo>
                  <a:lnTo>
                    <a:pt x="12" y="55"/>
                  </a:lnTo>
                  <a:lnTo>
                    <a:pt x="8" y="55"/>
                  </a:lnTo>
                  <a:lnTo>
                    <a:pt x="4" y="55"/>
                  </a:lnTo>
                  <a:lnTo>
                    <a:pt x="4" y="51"/>
                  </a:lnTo>
                  <a:lnTo>
                    <a:pt x="8" y="47"/>
                  </a:lnTo>
                  <a:lnTo>
                    <a:pt x="8" y="43"/>
                  </a:lnTo>
                  <a:lnTo>
                    <a:pt x="4" y="43"/>
                  </a:lnTo>
                  <a:lnTo>
                    <a:pt x="4" y="39"/>
                  </a:lnTo>
                  <a:lnTo>
                    <a:pt x="0" y="39"/>
                  </a:lnTo>
                  <a:lnTo>
                    <a:pt x="0" y="43"/>
                  </a:lnTo>
                  <a:lnTo>
                    <a:pt x="0" y="39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8" y="36"/>
                  </a:lnTo>
                  <a:lnTo>
                    <a:pt x="64" y="39"/>
                  </a:lnTo>
                  <a:lnTo>
                    <a:pt x="68" y="39"/>
                  </a:lnTo>
                  <a:lnTo>
                    <a:pt x="72" y="43"/>
                  </a:lnTo>
                  <a:lnTo>
                    <a:pt x="72" y="47"/>
                  </a:lnTo>
                  <a:lnTo>
                    <a:pt x="72" y="51"/>
                  </a:lnTo>
                  <a:lnTo>
                    <a:pt x="68" y="51"/>
                  </a:lnTo>
                  <a:lnTo>
                    <a:pt x="68" y="55"/>
                  </a:lnTo>
                  <a:lnTo>
                    <a:pt x="64" y="55"/>
                  </a:lnTo>
                  <a:lnTo>
                    <a:pt x="64" y="51"/>
                  </a:lnTo>
                  <a:lnTo>
                    <a:pt x="60" y="51"/>
                  </a:lnTo>
                  <a:lnTo>
                    <a:pt x="60" y="55"/>
                  </a:lnTo>
                  <a:lnTo>
                    <a:pt x="60" y="51"/>
                  </a:lnTo>
                  <a:lnTo>
                    <a:pt x="60" y="55"/>
                  </a:lnTo>
                  <a:lnTo>
                    <a:pt x="60" y="59"/>
                  </a:lnTo>
                  <a:lnTo>
                    <a:pt x="56" y="59"/>
                  </a:lnTo>
                  <a:lnTo>
                    <a:pt x="60" y="63"/>
                  </a:lnTo>
                  <a:lnTo>
                    <a:pt x="64" y="63"/>
                  </a:lnTo>
                  <a:lnTo>
                    <a:pt x="68" y="67"/>
                  </a:lnTo>
                  <a:lnTo>
                    <a:pt x="68" y="71"/>
                  </a:lnTo>
                  <a:lnTo>
                    <a:pt x="72" y="71"/>
                  </a:lnTo>
                  <a:lnTo>
                    <a:pt x="76" y="71"/>
                  </a:lnTo>
                  <a:lnTo>
                    <a:pt x="76" y="75"/>
                  </a:lnTo>
                  <a:lnTo>
                    <a:pt x="76" y="79"/>
                  </a:lnTo>
                  <a:lnTo>
                    <a:pt x="80" y="79"/>
                  </a:lnTo>
                  <a:lnTo>
                    <a:pt x="80" y="83"/>
                  </a:lnTo>
                  <a:lnTo>
                    <a:pt x="84" y="83"/>
                  </a:lnTo>
                  <a:lnTo>
                    <a:pt x="84" y="87"/>
                  </a:lnTo>
                  <a:lnTo>
                    <a:pt x="84" y="91"/>
                  </a:lnTo>
                  <a:lnTo>
                    <a:pt x="88" y="91"/>
                  </a:lnTo>
                  <a:lnTo>
                    <a:pt x="88" y="95"/>
                  </a:lnTo>
                  <a:lnTo>
                    <a:pt x="92" y="95"/>
                  </a:lnTo>
                  <a:lnTo>
                    <a:pt x="92" y="99"/>
                  </a:lnTo>
                  <a:lnTo>
                    <a:pt x="96" y="99"/>
                  </a:lnTo>
                  <a:lnTo>
                    <a:pt x="96" y="103"/>
                  </a:lnTo>
                  <a:lnTo>
                    <a:pt x="96" y="107"/>
                  </a:lnTo>
                  <a:lnTo>
                    <a:pt x="96" y="111"/>
                  </a:lnTo>
                  <a:lnTo>
                    <a:pt x="100" y="115"/>
                  </a:lnTo>
                  <a:lnTo>
                    <a:pt x="100" y="111"/>
                  </a:lnTo>
                  <a:lnTo>
                    <a:pt x="104" y="111"/>
                  </a:lnTo>
                  <a:lnTo>
                    <a:pt x="104" y="115"/>
                  </a:lnTo>
                  <a:lnTo>
                    <a:pt x="108" y="115"/>
                  </a:lnTo>
                  <a:lnTo>
                    <a:pt x="108" y="119"/>
                  </a:lnTo>
                  <a:lnTo>
                    <a:pt x="112" y="119"/>
                  </a:lnTo>
                  <a:lnTo>
                    <a:pt x="112" y="123"/>
                  </a:lnTo>
                  <a:lnTo>
                    <a:pt x="108" y="123"/>
                  </a:lnTo>
                  <a:lnTo>
                    <a:pt x="108" y="127"/>
                  </a:lnTo>
                  <a:lnTo>
                    <a:pt x="108" y="131"/>
                  </a:lnTo>
                  <a:lnTo>
                    <a:pt x="112" y="131"/>
                  </a:lnTo>
                  <a:lnTo>
                    <a:pt x="112" y="135"/>
                  </a:lnTo>
                  <a:lnTo>
                    <a:pt x="116" y="135"/>
                  </a:lnTo>
                  <a:lnTo>
                    <a:pt x="112" y="139"/>
                  </a:lnTo>
                  <a:lnTo>
                    <a:pt x="112" y="143"/>
                  </a:lnTo>
                  <a:lnTo>
                    <a:pt x="112" y="147"/>
                  </a:lnTo>
                  <a:lnTo>
                    <a:pt x="108" y="147"/>
                  </a:lnTo>
                  <a:lnTo>
                    <a:pt x="108" y="151"/>
                  </a:lnTo>
                  <a:lnTo>
                    <a:pt x="100" y="155"/>
                  </a:lnTo>
                  <a:lnTo>
                    <a:pt x="100" y="151"/>
                  </a:lnTo>
                  <a:lnTo>
                    <a:pt x="96" y="147"/>
                  </a:lnTo>
                  <a:lnTo>
                    <a:pt x="96" y="151"/>
                  </a:lnTo>
                  <a:lnTo>
                    <a:pt x="92" y="151"/>
                  </a:lnTo>
                  <a:lnTo>
                    <a:pt x="88" y="151"/>
                  </a:lnTo>
                  <a:lnTo>
                    <a:pt x="88" y="155"/>
                  </a:lnTo>
                  <a:lnTo>
                    <a:pt x="92" y="155"/>
                  </a:lnTo>
                  <a:lnTo>
                    <a:pt x="92" y="159"/>
                  </a:lnTo>
                  <a:lnTo>
                    <a:pt x="88" y="159"/>
                  </a:lnTo>
                  <a:lnTo>
                    <a:pt x="84" y="159"/>
                  </a:lnTo>
                  <a:lnTo>
                    <a:pt x="84" y="155"/>
                  </a:lnTo>
                  <a:lnTo>
                    <a:pt x="80" y="155"/>
                  </a:lnTo>
                  <a:lnTo>
                    <a:pt x="80" y="159"/>
                  </a:lnTo>
                  <a:lnTo>
                    <a:pt x="80" y="155"/>
                  </a:lnTo>
                  <a:lnTo>
                    <a:pt x="76" y="155"/>
                  </a:lnTo>
                  <a:lnTo>
                    <a:pt x="76" y="151"/>
                  </a:lnTo>
                  <a:lnTo>
                    <a:pt x="80" y="151"/>
                  </a:lnTo>
                  <a:lnTo>
                    <a:pt x="80" y="147"/>
                  </a:lnTo>
                  <a:lnTo>
                    <a:pt x="80" y="143"/>
                  </a:lnTo>
                  <a:lnTo>
                    <a:pt x="84" y="143"/>
                  </a:lnTo>
                  <a:lnTo>
                    <a:pt x="84" y="139"/>
                  </a:lnTo>
                  <a:lnTo>
                    <a:pt x="80" y="139"/>
                  </a:lnTo>
                  <a:lnTo>
                    <a:pt x="84" y="135"/>
                  </a:lnTo>
                  <a:lnTo>
                    <a:pt x="84" y="131"/>
                  </a:lnTo>
                  <a:lnTo>
                    <a:pt x="84" y="127"/>
                  </a:lnTo>
                  <a:lnTo>
                    <a:pt x="80" y="127"/>
                  </a:lnTo>
                  <a:lnTo>
                    <a:pt x="80" y="123"/>
                  </a:lnTo>
                  <a:lnTo>
                    <a:pt x="76" y="123"/>
                  </a:lnTo>
                  <a:lnTo>
                    <a:pt x="76" y="119"/>
                  </a:lnTo>
                  <a:lnTo>
                    <a:pt x="72" y="115"/>
                  </a:lnTo>
                  <a:lnTo>
                    <a:pt x="72" y="111"/>
                  </a:lnTo>
                  <a:lnTo>
                    <a:pt x="68" y="111"/>
                  </a:lnTo>
                  <a:lnTo>
                    <a:pt x="72" y="111"/>
                  </a:lnTo>
                  <a:lnTo>
                    <a:pt x="72" y="107"/>
                  </a:lnTo>
                  <a:lnTo>
                    <a:pt x="68" y="103"/>
                  </a:lnTo>
                  <a:lnTo>
                    <a:pt x="72" y="103"/>
                  </a:lnTo>
                  <a:lnTo>
                    <a:pt x="72" y="99"/>
                  </a:lnTo>
                  <a:lnTo>
                    <a:pt x="72" y="95"/>
                  </a:lnTo>
                  <a:lnTo>
                    <a:pt x="68" y="95"/>
                  </a:lnTo>
                  <a:lnTo>
                    <a:pt x="68" y="91"/>
                  </a:lnTo>
                  <a:lnTo>
                    <a:pt x="64" y="91"/>
                  </a:lnTo>
                  <a:lnTo>
                    <a:pt x="64" y="8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0" name="Freeform 27"/>
            <p:cNvSpPr>
              <a:spLocks/>
            </p:cNvSpPr>
            <p:nvPr>
              <p:custDataLst>
                <p:tags r:id="rId222"/>
              </p:custDataLst>
            </p:nvPr>
          </p:nvSpPr>
          <p:spPr bwMode="gray">
            <a:xfrm>
              <a:off x="5162085" y="3627513"/>
              <a:ext cx="35594" cy="47458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6"/>
                </a:cxn>
                <a:cxn ang="0">
                  <a:pos x="12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6" y="0"/>
                </a:cxn>
                <a:cxn ang="0">
                  <a:pos x="16" y="0"/>
                </a:cxn>
              </a:cxnLst>
              <a:rect l="0" t="0" r="r" b="b"/>
              <a:pathLst>
                <a:path w="24" h="32">
                  <a:moveTo>
                    <a:pt x="16" y="0"/>
                  </a:move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1" name="Freeform 28"/>
            <p:cNvSpPr>
              <a:spLocks noEditPoints="1"/>
            </p:cNvSpPr>
            <p:nvPr>
              <p:custDataLst>
                <p:tags r:id="rId223"/>
              </p:custDataLst>
            </p:nvPr>
          </p:nvSpPr>
          <p:spPr bwMode="gray">
            <a:xfrm>
              <a:off x="6611038" y="4397224"/>
              <a:ext cx="444919" cy="177968"/>
            </a:xfrm>
            <a:custGeom>
              <a:avLst/>
              <a:gdLst/>
              <a:ahLst/>
              <a:cxnLst>
                <a:cxn ang="0">
                  <a:pos x="8" y="20"/>
                </a:cxn>
                <a:cxn ang="0">
                  <a:pos x="16" y="16"/>
                </a:cxn>
                <a:cxn ang="0">
                  <a:pos x="20" y="24"/>
                </a:cxn>
                <a:cxn ang="0">
                  <a:pos x="28" y="28"/>
                </a:cxn>
                <a:cxn ang="0">
                  <a:pos x="36" y="24"/>
                </a:cxn>
                <a:cxn ang="0">
                  <a:pos x="44" y="28"/>
                </a:cxn>
                <a:cxn ang="0">
                  <a:pos x="56" y="36"/>
                </a:cxn>
                <a:cxn ang="0">
                  <a:pos x="60" y="56"/>
                </a:cxn>
                <a:cxn ang="0">
                  <a:pos x="60" y="68"/>
                </a:cxn>
                <a:cxn ang="0">
                  <a:pos x="60" y="80"/>
                </a:cxn>
                <a:cxn ang="0">
                  <a:pos x="68" y="92"/>
                </a:cxn>
                <a:cxn ang="0">
                  <a:pos x="68" y="108"/>
                </a:cxn>
                <a:cxn ang="0">
                  <a:pos x="60" y="112"/>
                </a:cxn>
                <a:cxn ang="0">
                  <a:pos x="48" y="100"/>
                </a:cxn>
                <a:cxn ang="0">
                  <a:pos x="36" y="88"/>
                </a:cxn>
                <a:cxn ang="0">
                  <a:pos x="28" y="80"/>
                </a:cxn>
                <a:cxn ang="0">
                  <a:pos x="20" y="68"/>
                </a:cxn>
                <a:cxn ang="0">
                  <a:pos x="16" y="56"/>
                </a:cxn>
                <a:cxn ang="0">
                  <a:pos x="12" y="36"/>
                </a:cxn>
                <a:cxn ang="0">
                  <a:pos x="264" y="0"/>
                </a:cxn>
                <a:cxn ang="0">
                  <a:pos x="268" y="12"/>
                </a:cxn>
                <a:cxn ang="0">
                  <a:pos x="284" y="48"/>
                </a:cxn>
                <a:cxn ang="0">
                  <a:pos x="276" y="56"/>
                </a:cxn>
                <a:cxn ang="0">
                  <a:pos x="180" y="92"/>
                </a:cxn>
                <a:cxn ang="0">
                  <a:pos x="224" y="56"/>
                </a:cxn>
                <a:cxn ang="0">
                  <a:pos x="232" y="48"/>
                </a:cxn>
                <a:cxn ang="0">
                  <a:pos x="236" y="52"/>
                </a:cxn>
                <a:cxn ang="0">
                  <a:pos x="236" y="44"/>
                </a:cxn>
                <a:cxn ang="0">
                  <a:pos x="240" y="36"/>
                </a:cxn>
                <a:cxn ang="0">
                  <a:pos x="248" y="24"/>
                </a:cxn>
                <a:cxn ang="0">
                  <a:pos x="256" y="12"/>
                </a:cxn>
                <a:cxn ang="0">
                  <a:pos x="260" y="12"/>
                </a:cxn>
                <a:cxn ang="0">
                  <a:pos x="268" y="8"/>
                </a:cxn>
                <a:cxn ang="0">
                  <a:pos x="272" y="16"/>
                </a:cxn>
                <a:cxn ang="0">
                  <a:pos x="272" y="24"/>
                </a:cxn>
                <a:cxn ang="0">
                  <a:pos x="280" y="28"/>
                </a:cxn>
                <a:cxn ang="0">
                  <a:pos x="292" y="36"/>
                </a:cxn>
                <a:cxn ang="0">
                  <a:pos x="292" y="40"/>
                </a:cxn>
                <a:cxn ang="0">
                  <a:pos x="284" y="44"/>
                </a:cxn>
                <a:cxn ang="0">
                  <a:pos x="288" y="56"/>
                </a:cxn>
                <a:cxn ang="0">
                  <a:pos x="272" y="56"/>
                </a:cxn>
                <a:cxn ang="0">
                  <a:pos x="252" y="56"/>
                </a:cxn>
                <a:cxn ang="0">
                  <a:pos x="244" y="60"/>
                </a:cxn>
                <a:cxn ang="0">
                  <a:pos x="240" y="76"/>
                </a:cxn>
                <a:cxn ang="0">
                  <a:pos x="232" y="96"/>
                </a:cxn>
                <a:cxn ang="0">
                  <a:pos x="224" y="108"/>
                </a:cxn>
                <a:cxn ang="0">
                  <a:pos x="208" y="108"/>
                </a:cxn>
                <a:cxn ang="0">
                  <a:pos x="192" y="108"/>
                </a:cxn>
                <a:cxn ang="0">
                  <a:pos x="180" y="116"/>
                </a:cxn>
                <a:cxn ang="0">
                  <a:pos x="164" y="120"/>
                </a:cxn>
                <a:cxn ang="0">
                  <a:pos x="152" y="104"/>
                </a:cxn>
                <a:cxn ang="0">
                  <a:pos x="156" y="104"/>
                </a:cxn>
                <a:cxn ang="0">
                  <a:pos x="168" y="108"/>
                </a:cxn>
                <a:cxn ang="0">
                  <a:pos x="180" y="108"/>
                </a:cxn>
                <a:cxn ang="0">
                  <a:pos x="176" y="96"/>
                </a:cxn>
                <a:cxn ang="0">
                  <a:pos x="176" y="92"/>
                </a:cxn>
                <a:cxn ang="0">
                  <a:pos x="184" y="80"/>
                </a:cxn>
                <a:cxn ang="0">
                  <a:pos x="200" y="76"/>
                </a:cxn>
                <a:cxn ang="0">
                  <a:pos x="212" y="60"/>
                </a:cxn>
                <a:cxn ang="0">
                  <a:pos x="216" y="48"/>
                </a:cxn>
                <a:cxn ang="0">
                  <a:pos x="4" y="16"/>
                </a:cxn>
                <a:cxn ang="0">
                  <a:pos x="12" y="36"/>
                </a:cxn>
                <a:cxn ang="0">
                  <a:pos x="68" y="80"/>
                </a:cxn>
              </a:cxnLst>
              <a:rect l="0" t="0" r="r" b="b"/>
              <a:pathLst>
                <a:path w="300" h="120">
                  <a:moveTo>
                    <a:pt x="12" y="32"/>
                  </a:moveTo>
                  <a:lnTo>
                    <a:pt x="12" y="28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80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8" y="100"/>
                  </a:lnTo>
                  <a:lnTo>
                    <a:pt x="72" y="104"/>
                  </a:lnTo>
                  <a:lnTo>
                    <a:pt x="72" y="108"/>
                  </a:lnTo>
                  <a:lnTo>
                    <a:pt x="68" y="108"/>
                  </a:lnTo>
                  <a:lnTo>
                    <a:pt x="68" y="104"/>
                  </a:lnTo>
                  <a:lnTo>
                    <a:pt x="68" y="108"/>
                  </a:lnTo>
                  <a:lnTo>
                    <a:pt x="64" y="108"/>
                  </a:lnTo>
                  <a:lnTo>
                    <a:pt x="60" y="108"/>
                  </a:lnTo>
                  <a:lnTo>
                    <a:pt x="60" y="112"/>
                  </a:lnTo>
                  <a:lnTo>
                    <a:pt x="60" y="108"/>
                  </a:lnTo>
                  <a:lnTo>
                    <a:pt x="56" y="108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48" y="100"/>
                  </a:lnTo>
                  <a:lnTo>
                    <a:pt x="44" y="96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36" y="92"/>
                  </a:lnTo>
                  <a:lnTo>
                    <a:pt x="36" y="88"/>
                  </a:lnTo>
                  <a:lnTo>
                    <a:pt x="32" y="88"/>
                  </a:lnTo>
                  <a:lnTo>
                    <a:pt x="28" y="84"/>
                  </a:lnTo>
                  <a:lnTo>
                    <a:pt x="24" y="84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2"/>
                  </a:lnTo>
                  <a:close/>
                  <a:moveTo>
                    <a:pt x="260" y="4"/>
                  </a:moveTo>
                  <a:lnTo>
                    <a:pt x="264" y="0"/>
                  </a:lnTo>
                  <a:lnTo>
                    <a:pt x="260" y="4"/>
                  </a:lnTo>
                  <a:close/>
                  <a:moveTo>
                    <a:pt x="264" y="0"/>
                  </a:moveTo>
                  <a:lnTo>
                    <a:pt x="268" y="0"/>
                  </a:lnTo>
                  <a:lnTo>
                    <a:pt x="268" y="4"/>
                  </a:lnTo>
                  <a:lnTo>
                    <a:pt x="264" y="4"/>
                  </a:lnTo>
                  <a:lnTo>
                    <a:pt x="264" y="0"/>
                  </a:lnTo>
                  <a:close/>
                  <a:moveTo>
                    <a:pt x="268" y="12"/>
                  </a:moveTo>
                  <a:lnTo>
                    <a:pt x="272" y="12"/>
                  </a:lnTo>
                  <a:lnTo>
                    <a:pt x="272" y="8"/>
                  </a:lnTo>
                  <a:lnTo>
                    <a:pt x="272" y="12"/>
                  </a:lnTo>
                  <a:lnTo>
                    <a:pt x="268" y="12"/>
                  </a:lnTo>
                  <a:close/>
                  <a:moveTo>
                    <a:pt x="284" y="48"/>
                  </a:moveTo>
                  <a:lnTo>
                    <a:pt x="288" y="48"/>
                  </a:lnTo>
                  <a:lnTo>
                    <a:pt x="284" y="48"/>
                  </a:lnTo>
                  <a:close/>
                  <a:moveTo>
                    <a:pt x="276" y="56"/>
                  </a:moveTo>
                  <a:lnTo>
                    <a:pt x="272" y="56"/>
                  </a:lnTo>
                  <a:lnTo>
                    <a:pt x="276" y="56"/>
                  </a:lnTo>
                  <a:close/>
                  <a:moveTo>
                    <a:pt x="176" y="88"/>
                  </a:moveTo>
                  <a:lnTo>
                    <a:pt x="176" y="84"/>
                  </a:lnTo>
                  <a:lnTo>
                    <a:pt x="180" y="84"/>
                  </a:lnTo>
                  <a:lnTo>
                    <a:pt x="180" y="88"/>
                  </a:lnTo>
                  <a:lnTo>
                    <a:pt x="180" y="92"/>
                  </a:lnTo>
                  <a:lnTo>
                    <a:pt x="176" y="88"/>
                  </a:lnTo>
                  <a:close/>
                  <a:moveTo>
                    <a:pt x="220" y="48"/>
                  </a:moveTo>
                  <a:lnTo>
                    <a:pt x="220" y="52"/>
                  </a:lnTo>
                  <a:lnTo>
                    <a:pt x="224" y="52"/>
                  </a:lnTo>
                  <a:lnTo>
                    <a:pt x="224" y="56"/>
                  </a:lnTo>
                  <a:lnTo>
                    <a:pt x="228" y="60"/>
                  </a:lnTo>
                  <a:lnTo>
                    <a:pt x="232" y="60"/>
                  </a:lnTo>
                  <a:lnTo>
                    <a:pt x="232" y="56"/>
                  </a:lnTo>
                  <a:lnTo>
                    <a:pt x="232" y="52"/>
                  </a:lnTo>
                  <a:lnTo>
                    <a:pt x="232" y="48"/>
                  </a:lnTo>
                  <a:lnTo>
                    <a:pt x="232" y="44"/>
                  </a:lnTo>
                  <a:lnTo>
                    <a:pt x="236" y="44"/>
                  </a:lnTo>
                  <a:lnTo>
                    <a:pt x="232" y="48"/>
                  </a:lnTo>
                  <a:lnTo>
                    <a:pt x="236" y="48"/>
                  </a:lnTo>
                  <a:lnTo>
                    <a:pt x="236" y="52"/>
                  </a:lnTo>
                  <a:lnTo>
                    <a:pt x="240" y="56"/>
                  </a:lnTo>
                  <a:lnTo>
                    <a:pt x="240" y="52"/>
                  </a:lnTo>
                  <a:lnTo>
                    <a:pt x="236" y="52"/>
                  </a:lnTo>
                  <a:lnTo>
                    <a:pt x="236" y="48"/>
                  </a:lnTo>
                  <a:lnTo>
                    <a:pt x="236" y="44"/>
                  </a:lnTo>
                  <a:lnTo>
                    <a:pt x="240" y="44"/>
                  </a:lnTo>
                  <a:lnTo>
                    <a:pt x="240" y="40"/>
                  </a:lnTo>
                  <a:lnTo>
                    <a:pt x="244" y="40"/>
                  </a:lnTo>
                  <a:lnTo>
                    <a:pt x="240" y="40"/>
                  </a:lnTo>
                  <a:lnTo>
                    <a:pt x="240" y="36"/>
                  </a:lnTo>
                  <a:lnTo>
                    <a:pt x="240" y="32"/>
                  </a:lnTo>
                  <a:lnTo>
                    <a:pt x="244" y="32"/>
                  </a:lnTo>
                  <a:lnTo>
                    <a:pt x="248" y="32"/>
                  </a:lnTo>
                  <a:lnTo>
                    <a:pt x="248" y="28"/>
                  </a:lnTo>
                  <a:lnTo>
                    <a:pt x="248" y="24"/>
                  </a:lnTo>
                  <a:lnTo>
                    <a:pt x="252" y="24"/>
                  </a:lnTo>
                  <a:lnTo>
                    <a:pt x="252" y="20"/>
                  </a:lnTo>
                  <a:lnTo>
                    <a:pt x="252" y="16"/>
                  </a:lnTo>
                  <a:lnTo>
                    <a:pt x="256" y="16"/>
                  </a:lnTo>
                  <a:lnTo>
                    <a:pt x="256" y="12"/>
                  </a:lnTo>
                  <a:lnTo>
                    <a:pt x="260" y="12"/>
                  </a:lnTo>
                  <a:lnTo>
                    <a:pt x="260" y="8"/>
                  </a:lnTo>
                  <a:lnTo>
                    <a:pt x="260" y="4"/>
                  </a:lnTo>
                  <a:lnTo>
                    <a:pt x="260" y="8"/>
                  </a:lnTo>
                  <a:lnTo>
                    <a:pt x="260" y="12"/>
                  </a:lnTo>
                  <a:lnTo>
                    <a:pt x="264" y="12"/>
                  </a:lnTo>
                  <a:lnTo>
                    <a:pt x="264" y="8"/>
                  </a:lnTo>
                  <a:lnTo>
                    <a:pt x="264" y="4"/>
                  </a:lnTo>
                  <a:lnTo>
                    <a:pt x="268" y="4"/>
                  </a:lnTo>
                  <a:lnTo>
                    <a:pt x="268" y="8"/>
                  </a:lnTo>
                  <a:lnTo>
                    <a:pt x="268" y="12"/>
                  </a:lnTo>
                  <a:lnTo>
                    <a:pt x="272" y="12"/>
                  </a:lnTo>
                  <a:lnTo>
                    <a:pt x="272" y="16"/>
                  </a:lnTo>
                  <a:lnTo>
                    <a:pt x="272" y="12"/>
                  </a:lnTo>
                  <a:lnTo>
                    <a:pt x="272" y="16"/>
                  </a:lnTo>
                  <a:lnTo>
                    <a:pt x="276" y="16"/>
                  </a:lnTo>
                  <a:lnTo>
                    <a:pt x="276" y="20"/>
                  </a:lnTo>
                  <a:lnTo>
                    <a:pt x="272" y="20"/>
                  </a:lnTo>
                  <a:lnTo>
                    <a:pt x="276" y="24"/>
                  </a:lnTo>
                  <a:lnTo>
                    <a:pt x="272" y="24"/>
                  </a:lnTo>
                  <a:lnTo>
                    <a:pt x="276" y="24"/>
                  </a:lnTo>
                  <a:lnTo>
                    <a:pt x="280" y="24"/>
                  </a:lnTo>
                  <a:lnTo>
                    <a:pt x="280" y="28"/>
                  </a:lnTo>
                  <a:lnTo>
                    <a:pt x="276" y="28"/>
                  </a:lnTo>
                  <a:lnTo>
                    <a:pt x="280" y="28"/>
                  </a:lnTo>
                  <a:lnTo>
                    <a:pt x="284" y="28"/>
                  </a:lnTo>
                  <a:lnTo>
                    <a:pt x="288" y="28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292" y="36"/>
                  </a:lnTo>
                  <a:lnTo>
                    <a:pt x="296" y="36"/>
                  </a:lnTo>
                  <a:lnTo>
                    <a:pt x="300" y="36"/>
                  </a:lnTo>
                  <a:lnTo>
                    <a:pt x="300" y="40"/>
                  </a:lnTo>
                  <a:lnTo>
                    <a:pt x="296" y="40"/>
                  </a:lnTo>
                  <a:lnTo>
                    <a:pt x="292" y="40"/>
                  </a:lnTo>
                  <a:lnTo>
                    <a:pt x="292" y="44"/>
                  </a:lnTo>
                  <a:lnTo>
                    <a:pt x="288" y="44"/>
                  </a:lnTo>
                  <a:lnTo>
                    <a:pt x="284" y="44"/>
                  </a:lnTo>
                  <a:lnTo>
                    <a:pt x="284" y="40"/>
                  </a:lnTo>
                  <a:lnTo>
                    <a:pt x="284" y="44"/>
                  </a:lnTo>
                  <a:lnTo>
                    <a:pt x="280" y="44"/>
                  </a:lnTo>
                  <a:lnTo>
                    <a:pt x="284" y="48"/>
                  </a:lnTo>
                  <a:lnTo>
                    <a:pt x="288" y="48"/>
                  </a:lnTo>
                  <a:lnTo>
                    <a:pt x="288" y="52"/>
                  </a:lnTo>
                  <a:lnTo>
                    <a:pt x="288" y="56"/>
                  </a:lnTo>
                  <a:lnTo>
                    <a:pt x="284" y="56"/>
                  </a:lnTo>
                  <a:lnTo>
                    <a:pt x="280" y="56"/>
                  </a:lnTo>
                  <a:lnTo>
                    <a:pt x="276" y="56"/>
                  </a:lnTo>
                  <a:lnTo>
                    <a:pt x="276" y="52"/>
                  </a:lnTo>
                  <a:lnTo>
                    <a:pt x="272" y="56"/>
                  </a:lnTo>
                  <a:lnTo>
                    <a:pt x="268" y="56"/>
                  </a:lnTo>
                  <a:lnTo>
                    <a:pt x="264" y="56"/>
                  </a:lnTo>
                  <a:lnTo>
                    <a:pt x="260" y="56"/>
                  </a:lnTo>
                  <a:lnTo>
                    <a:pt x="256" y="56"/>
                  </a:lnTo>
                  <a:lnTo>
                    <a:pt x="252" y="56"/>
                  </a:lnTo>
                  <a:lnTo>
                    <a:pt x="248" y="56"/>
                  </a:lnTo>
                  <a:lnTo>
                    <a:pt x="248" y="52"/>
                  </a:lnTo>
                  <a:lnTo>
                    <a:pt x="248" y="56"/>
                  </a:lnTo>
                  <a:lnTo>
                    <a:pt x="244" y="56"/>
                  </a:lnTo>
                  <a:lnTo>
                    <a:pt x="244" y="60"/>
                  </a:lnTo>
                  <a:lnTo>
                    <a:pt x="244" y="64"/>
                  </a:lnTo>
                  <a:lnTo>
                    <a:pt x="244" y="68"/>
                  </a:lnTo>
                  <a:lnTo>
                    <a:pt x="244" y="72"/>
                  </a:lnTo>
                  <a:lnTo>
                    <a:pt x="240" y="72"/>
                  </a:lnTo>
                  <a:lnTo>
                    <a:pt x="240" y="76"/>
                  </a:lnTo>
                  <a:lnTo>
                    <a:pt x="240" y="80"/>
                  </a:lnTo>
                  <a:lnTo>
                    <a:pt x="236" y="80"/>
                  </a:lnTo>
                  <a:lnTo>
                    <a:pt x="236" y="88"/>
                  </a:lnTo>
                  <a:lnTo>
                    <a:pt x="232" y="92"/>
                  </a:lnTo>
                  <a:lnTo>
                    <a:pt x="232" y="96"/>
                  </a:lnTo>
                  <a:lnTo>
                    <a:pt x="232" y="100"/>
                  </a:lnTo>
                  <a:lnTo>
                    <a:pt x="228" y="100"/>
                  </a:lnTo>
                  <a:lnTo>
                    <a:pt x="228" y="104"/>
                  </a:lnTo>
                  <a:lnTo>
                    <a:pt x="228" y="108"/>
                  </a:lnTo>
                  <a:lnTo>
                    <a:pt x="224" y="108"/>
                  </a:lnTo>
                  <a:lnTo>
                    <a:pt x="220" y="108"/>
                  </a:lnTo>
                  <a:lnTo>
                    <a:pt x="216" y="108"/>
                  </a:lnTo>
                  <a:lnTo>
                    <a:pt x="216" y="112"/>
                  </a:lnTo>
                  <a:lnTo>
                    <a:pt x="212" y="112"/>
                  </a:lnTo>
                  <a:lnTo>
                    <a:pt x="208" y="108"/>
                  </a:lnTo>
                  <a:lnTo>
                    <a:pt x="204" y="108"/>
                  </a:lnTo>
                  <a:lnTo>
                    <a:pt x="204" y="104"/>
                  </a:lnTo>
                  <a:lnTo>
                    <a:pt x="200" y="104"/>
                  </a:lnTo>
                  <a:lnTo>
                    <a:pt x="196" y="104"/>
                  </a:lnTo>
                  <a:lnTo>
                    <a:pt x="192" y="108"/>
                  </a:lnTo>
                  <a:lnTo>
                    <a:pt x="192" y="112"/>
                  </a:lnTo>
                  <a:lnTo>
                    <a:pt x="188" y="112"/>
                  </a:lnTo>
                  <a:lnTo>
                    <a:pt x="188" y="116"/>
                  </a:lnTo>
                  <a:lnTo>
                    <a:pt x="184" y="116"/>
                  </a:lnTo>
                  <a:lnTo>
                    <a:pt x="180" y="116"/>
                  </a:lnTo>
                  <a:lnTo>
                    <a:pt x="176" y="116"/>
                  </a:lnTo>
                  <a:lnTo>
                    <a:pt x="172" y="116"/>
                  </a:lnTo>
                  <a:lnTo>
                    <a:pt x="168" y="116"/>
                  </a:lnTo>
                  <a:lnTo>
                    <a:pt x="168" y="120"/>
                  </a:lnTo>
                  <a:lnTo>
                    <a:pt x="164" y="120"/>
                  </a:lnTo>
                  <a:lnTo>
                    <a:pt x="164" y="116"/>
                  </a:lnTo>
                  <a:lnTo>
                    <a:pt x="160" y="112"/>
                  </a:lnTo>
                  <a:lnTo>
                    <a:pt x="156" y="112"/>
                  </a:lnTo>
                  <a:lnTo>
                    <a:pt x="156" y="108"/>
                  </a:lnTo>
                  <a:lnTo>
                    <a:pt x="152" y="104"/>
                  </a:lnTo>
                  <a:lnTo>
                    <a:pt x="152" y="100"/>
                  </a:lnTo>
                  <a:lnTo>
                    <a:pt x="152" y="96"/>
                  </a:lnTo>
                  <a:lnTo>
                    <a:pt x="152" y="100"/>
                  </a:lnTo>
                  <a:lnTo>
                    <a:pt x="156" y="100"/>
                  </a:lnTo>
                  <a:lnTo>
                    <a:pt x="156" y="104"/>
                  </a:lnTo>
                  <a:lnTo>
                    <a:pt x="160" y="104"/>
                  </a:lnTo>
                  <a:lnTo>
                    <a:pt x="164" y="100"/>
                  </a:lnTo>
                  <a:lnTo>
                    <a:pt x="164" y="104"/>
                  </a:lnTo>
                  <a:lnTo>
                    <a:pt x="168" y="104"/>
                  </a:lnTo>
                  <a:lnTo>
                    <a:pt x="168" y="108"/>
                  </a:lnTo>
                  <a:lnTo>
                    <a:pt x="168" y="104"/>
                  </a:lnTo>
                  <a:lnTo>
                    <a:pt x="172" y="104"/>
                  </a:lnTo>
                  <a:lnTo>
                    <a:pt x="172" y="108"/>
                  </a:lnTo>
                  <a:lnTo>
                    <a:pt x="176" y="108"/>
                  </a:lnTo>
                  <a:lnTo>
                    <a:pt x="180" y="108"/>
                  </a:lnTo>
                  <a:lnTo>
                    <a:pt x="176" y="108"/>
                  </a:lnTo>
                  <a:lnTo>
                    <a:pt x="172" y="108"/>
                  </a:lnTo>
                  <a:lnTo>
                    <a:pt x="172" y="104"/>
                  </a:lnTo>
                  <a:lnTo>
                    <a:pt x="176" y="100"/>
                  </a:lnTo>
                  <a:lnTo>
                    <a:pt x="176" y="96"/>
                  </a:lnTo>
                  <a:lnTo>
                    <a:pt x="180" y="96"/>
                  </a:lnTo>
                  <a:lnTo>
                    <a:pt x="176" y="96"/>
                  </a:lnTo>
                  <a:lnTo>
                    <a:pt x="176" y="92"/>
                  </a:lnTo>
                  <a:lnTo>
                    <a:pt x="176" y="88"/>
                  </a:lnTo>
                  <a:lnTo>
                    <a:pt x="176" y="92"/>
                  </a:lnTo>
                  <a:lnTo>
                    <a:pt x="180" y="92"/>
                  </a:lnTo>
                  <a:lnTo>
                    <a:pt x="180" y="88"/>
                  </a:lnTo>
                  <a:lnTo>
                    <a:pt x="180" y="84"/>
                  </a:lnTo>
                  <a:lnTo>
                    <a:pt x="184" y="84"/>
                  </a:lnTo>
                  <a:lnTo>
                    <a:pt x="184" y="80"/>
                  </a:lnTo>
                  <a:lnTo>
                    <a:pt x="188" y="80"/>
                  </a:lnTo>
                  <a:lnTo>
                    <a:pt x="192" y="80"/>
                  </a:lnTo>
                  <a:lnTo>
                    <a:pt x="196" y="80"/>
                  </a:lnTo>
                  <a:lnTo>
                    <a:pt x="200" y="80"/>
                  </a:lnTo>
                  <a:lnTo>
                    <a:pt x="200" y="76"/>
                  </a:lnTo>
                  <a:lnTo>
                    <a:pt x="204" y="76"/>
                  </a:lnTo>
                  <a:lnTo>
                    <a:pt x="208" y="72"/>
                  </a:lnTo>
                  <a:lnTo>
                    <a:pt x="208" y="68"/>
                  </a:lnTo>
                  <a:lnTo>
                    <a:pt x="212" y="64"/>
                  </a:lnTo>
                  <a:lnTo>
                    <a:pt x="212" y="60"/>
                  </a:lnTo>
                  <a:lnTo>
                    <a:pt x="216" y="60"/>
                  </a:lnTo>
                  <a:lnTo>
                    <a:pt x="216" y="56"/>
                  </a:lnTo>
                  <a:lnTo>
                    <a:pt x="220" y="52"/>
                  </a:lnTo>
                  <a:lnTo>
                    <a:pt x="216" y="52"/>
                  </a:lnTo>
                  <a:lnTo>
                    <a:pt x="216" y="48"/>
                  </a:lnTo>
                  <a:lnTo>
                    <a:pt x="220" y="48"/>
                  </a:lnTo>
                  <a:close/>
                  <a:moveTo>
                    <a:pt x="4" y="16"/>
                  </a:moveTo>
                  <a:lnTo>
                    <a:pt x="4" y="20"/>
                  </a:lnTo>
                  <a:lnTo>
                    <a:pt x="0" y="16"/>
                  </a:lnTo>
                  <a:lnTo>
                    <a:pt x="4" y="16"/>
                  </a:lnTo>
                  <a:close/>
                  <a:moveTo>
                    <a:pt x="12" y="36"/>
                  </a:moveTo>
                  <a:lnTo>
                    <a:pt x="8" y="36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2" y="36"/>
                  </a:lnTo>
                  <a:close/>
                  <a:moveTo>
                    <a:pt x="68" y="80"/>
                  </a:moveTo>
                  <a:lnTo>
                    <a:pt x="68" y="84"/>
                  </a:lnTo>
                  <a:lnTo>
                    <a:pt x="72" y="84"/>
                  </a:lnTo>
                  <a:lnTo>
                    <a:pt x="68" y="84"/>
                  </a:lnTo>
                  <a:lnTo>
                    <a:pt x="68" y="8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2" name="Freeform 29"/>
            <p:cNvSpPr>
              <a:spLocks noEditPoints="1"/>
            </p:cNvSpPr>
            <p:nvPr>
              <p:custDataLst>
                <p:tags r:id="rId224"/>
              </p:custDataLst>
            </p:nvPr>
          </p:nvSpPr>
          <p:spPr bwMode="gray">
            <a:xfrm>
              <a:off x="6014847" y="4403156"/>
              <a:ext cx="11865" cy="20762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0" y="40"/>
                </a:cxn>
                <a:cxn ang="0">
                  <a:pos x="0" y="40"/>
                </a:cxn>
                <a:cxn ang="0">
                  <a:pos x="0" y="48"/>
                </a:cxn>
                <a:cxn ang="0">
                  <a:pos x="0" y="48"/>
                </a:cxn>
                <a:cxn ang="0">
                  <a:pos x="0" y="48"/>
                </a:cxn>
                <a:cxn ang="0">
                  <a:pos x="8" y="52"/>
                </a:cxn>
                <a:cxn ang="0">
                  <a:pos x="8" y="52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8" y="76"/>
                </a:cxn>
                <a:cxn ang="0">
                  <a:pos x="8" y="76"/>
                </a:cxn>
                <a:cxn ang="0">
                  <a:pos x="4" y="84"/>
                </a:cxn>
                <a:cxn ang="0">
                  <a:pos x="4" y="88"/>
                </a:cxn>
                <a:cxn ang="0">
                  <a:pos x="4" y="84"/>
                </a:cxn>
                <a:cxn ang="0">
                  <a:pos x="8" y="96"/>
                </a:cxn>
                <a:cxn ang="0">
                  <a:pos x="8" y="96"/>
                </a:cxn>
                <a:cxn ang="0">
                  <a:pos x="8" y="96"/>
                </a:cxn>
                <a:cxn ang="0">
                  <a:pos x="8" y="124"/>
                </a:cxn>
                <a:cxn ang="0">
                  <a:pos x="8" y="124"/>
                </a:cxn>
                <a:cxn ang="0">
                  <a:pos x="0" y="124"/>
                </a:cxn>
                <a:cxn ang="0">
                  <a:pos x="0" y="124"/>
                </a:cxn>
                <a:cxn ang="0">
                  <a:pos x="8" y="136"/>
                </a:cxn>
                <a:cxn ang="0">
                  <a:pos x="8" y="136"/>
                </a:cxn>
                <a:cxn ang="0">
                  <a:pos x="8" y="136"/>
                </a:cxn>
                <a:cxn ang="0">
                  <a:pos x="0" y="140"/>
                </a:cxn>
                <a:cxn ang="0">
                  <a:pos x="0" y="140"/>
                </a:cxn>
                <a:cxn ang="0">
                  <a:pos x="0" y="140"/>
                </a:cxn>
              </a:cxnLst>
              <a:rect l="0" t="0" r="r" b="b"/>
              <a:pathLst>
                <a:path w="8" h="14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4" y="4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0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  <a:moveTo>
                    <a:pt x="0" y="20"/>
                  </a:move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close/>
                  <a:moveTo>
                    <a:pt x="8" y="24"/>
                  </a:moveTo>
                  <a:lnTo>
                    <a:pt x="8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close/>
                  <a:moveTo>
                    <a:pt x="8" y="32"/>
                  </a:move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close/>
                  <a:moveTo>
                    <a:pt x="0" y="40"/>
                  </a:move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close/>
                  <a:moveTo>
                    <a:pt x="0" y="48"/>
                  </a:move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close/>
                  <a:moveTo>
                    <a:pt x="8" y="52"/>
                  </a:move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close/>
                  <a:moveTo>
                    <a:pt x="8" y="68"/>
                  </a:move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close/>
                  <a:moveTo>
                    <a:pt x="0" y="72"/>
                  </a:move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close/>
                  <a:moveTo>
                    <a:pt x="0" y="76"/>
                  </a:move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close/>
                  <a:moveTo>
                    <a:pt x="8" y="76"/>
                  </a:move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close/>
                  <a:moveTo>
                    <a:pt x="4" y="84"/>
                  </a:moveTo>
                  <a:lnTo>
                    <a:pt x="4" y="84"/>
                  </a:lnTo>
                  <a:lnTo>
                    <a:pt x="4" y="84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4"/>
                  </a:lnTo>
                  <a:close/>
                  <a:moveTo>
                    <a:pt x="8" y="96"/>
                  </a:move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close/>
                  <a:moveTo>
                    <a:pt x="8" y="124"/>
                  </a:moveTo>
                  <a:lnTo>
                    <a:pt x="8" y="124"/>
                  </a:lnTo>
                  <a:lnTo>
                    <a:pt x="8" y="124"/>
                  </a:lnTo>
                  <a:lnTo>
                    <a:pt x="8" y="124"/>
                  </a:lnTo>
                  <a:close/>
                  <a:moveTo>
                    <a:pt x="0" y="124"/>
                  </a:moveTo>
                  <a:lnTo>
                    <a:pt x="0" y="124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4"/>
                  </a:lnTo>
                  <a:close/>
                  <a:moveTo>
                    <a:pt x="8" y="136"/>
                  </a:moveTo>
                  <a:lnTo>
                    <a:pt x="8" y="136"/>
                  </a:lnTo>
                  <a:lnTo>
                    <a:pt x="8" y="136"/>
                  </a:lnTo>
                  <a:lnTo>
                    <a:pt x="8" y="136"/>
                  </a:lnTo>
                  <a:lnTo>
                    <a:pt x="8" y="136"/>
                  </a:lnTo>
                  <a:close/>
                  <a:moveTo>
                    <a:pt x="0" y="140"/>
                  </a:move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3" name="Freeform 30"/>
            <p:cNvSpPr>
              <a:spLocks/>
            </p:cNvSpPr>
            <p:nvPr>
              <p:custDataLst>
                <p:tags r:id="rId225"/>
              </p:custDataLst>
            </p:nvPr>
          </p:nvSpPr>
          <p:spPr bwMode="gray">
            <a:xfrm>
              <a:off x="6345570" y="3077297"/>
              <a:ext cx="722252" cy="336655"/>
            </a:xfrm>
            <a:custGeom>
              <a:avLst/>
              <a:gdLst/>
              <a:ahLst/>
              <a:cxnLst>
                <a:cxn ang="0">
                  <a:pos x="427" y="144"/>
                </a:cxn>
                <a:cxn ang="0">
                  <a:pos x="403" y="152"/>
                </a:cxn>
                <a:cxn ang="0">
                  <a:pos x="383" y="160"/>
                </a:cxn>
                <a:cxn ang="0">
                  <a:pos x="359" y="164"/>
                </a:cxn>
                <a:cxn ang="0">
                  <a:pos x="363" y="188"/>
                </a:cxn>
                <a:cxn ang="0">
                  <a:pos x="347" y="200"/>
                </a:cxn>
                <a:cxn ang="0">
                  <a:pos x="331" y="211"/>
                </a:cxn>
                <a:cxn ang="0">
                  <a:pos x="299" y="211"/>
                </a:cxn>
                <a:cxn ang="0">
                  <a:pos x="271" y="223"/>
                </a:cxn>
                <a:cxn ang="0">
                  <a:pos x="243" y="223"/>
                </a:cxn>
                <a:cxn ang="0">
                  <a:pos x="215" y="211"/>
                </a:cxn>
                <a:cxn ang="0">
                  <a:pos x="191" y="204"/>
                </a:cxn>
                <a:cxn ang="0">
                  <a:pos x="163" y="208"/>
                </a:cxn>
                <a:cxn ang="0">
                  <a:pos x="136" y="204"/>
                </a:cxn>
                <a:cxn ang="0">
                  <a:pos x="120" y="188"/>
                </a:cxn>
                <a:cxn ang="0">
                  <a:pos x="104" y="172"/>
                </a:cxn>
                <a:cxn ang="0">
                  <a:pos x="88" y="160"/>
                </a:cxn>
                <a:cxn ang="0">
                  <a:pos x="64" y="156"/>
                </a:cxn>
                <a:cxn ang="0">
                  <a:pos x="44" y="144"/>
                </a:cxn>
                <a:cxn ang="0">
                  <a:pos x="52" y="120"/>
                </a:cxn>
                <a:cxn ang="0">
                  <a:pos x="40" y="104"/>
                </a:cxn>
                <a:cxn ang="0">
                  <a:pos x="28" y="92"/>
                </a:cxn>
                <a:cxn ang="0">
                  <a:pos x="8" y="80"/>
                </a:cxn>
                <a:cxn ang="0">
                  <a:pos x="4" y="64"/>
                </a:cxn>
                <a:cxn ang="0">
                  <a:pos x="20" y="56"/>
                </a:cxn>
                <a:cxn ang="0">
                  <a:pos x="28" y="52"/>
                </a:cxn>
                <a:cxn ang="0">
                  <a:pos x="44" y="40"/>
                </a:cxn>
                <a:cxn ang="0">
                  <a:pos x="60" y="32"/>
                </a:cxn>
                <a:cxn ang="0">
                  <a:pos x="80" y="28"/>
                </a:cxn>
                <a:cxn ang="0">
                  <a:pos x="100" y="36"/>
                </a:cxn>
                <a:cxn ang="0">
                  <a:pos x="116" y="48"/>
                </a:cxn>
                <a:cxn ang="0">
                  <a:pos x="144" y="52"/>
                </a:cxn>
                <a:cxn ang="0">
                  <a:pos x="159" y="40"/>
                </a:cxn>
                <a:cxn ang="0">
                  <a:pos x="156" y="12"/>
                </a:cxn>
                <a:cxn ang="0">
                  <a:pos x="167" y="4"/>
                </a:cxn>
                <a:cxn ang="0">
                  <a:pos x="187" y="8"/>
                </a:cxn>
                <a:cxn ang="0">
                  <a:pos x="211" y="12"/>
                </a:cxn>
                <a:cxn ang="0">
                  <a:pos x="219" y="32"/>
                </a:cxn>
                <a:cxn ang="0">
                  <a:pos x="235" y="44"/>
                </a:cxn>
                <a:cxn ang="0">
                  <a:pos x="259" y="36"/>
                </a:cxn>
                <a:cxn ang="0">
                  <a:pos x="279" y="40"/>
                </a:cxn>
                <a:cxn ang="0">
                  <a:pos x="307" y="48"/>
                </a:cxn>
                <a:cxn ang="0">
                  <a:pos x="327" y="60"/>
                </a:cxn>
                <a:cxn ang="0">
                  <a:pos x="355" y="64"/>
                </a:cxn>
                <a:cxn ang="0">
                  <a:pos x="379" y="56"/>
                </a:cxn>
                <a:cxn ang="0">
                  <a:pos x="395" y="44"/>
                </a:cxn>
                <a:cxn ang="0">
                  <a:pos x="415" y="44"/>
                </a:cxn>
                <a:cxn ang="0">
                  <a:pos x="439" y="48"/>
                </a:cxn>
                <a:cxn ang="0">
                  <a:pos x="427" y="72"/>
                </a:cxn>
                <a:cxn ang="0">
                  <a:pos x="423" y="92"/>
                </a:cxn>
                <a:cxn ang="0">
                  <a:pos x="443" y="96"/>
                </a:cxn>
                <a:cxn ang="0">
                  <a:pos x="467" y="92"/>
                </a:cxn>
                <a:cxn ang="0">
                  <a:pos x="487" y="112"/>
                </a:cxn>
                <a:cxn ang="0">
                  <a:pos x="471" y="116"/>
                </a:cxn>
                <a:cxn ang="0">
                  <a:pos x="451" y="124"/>
                </a:cxn>
              </a:cxnLst>
              <a:rect l="0" t="0" r="r" b="b"/>
              <a:pathLst>
                <a:path w="487" h="227">
                  <a:moveTo>
                    <a:pt x="439" y="128"/>
                  </a:moveTo>
                  <a:lnTo>
                    <a:pt x="435" y="128"/>
                  </a:lnTo>
                  <a:lnTo>
                    <a:pt x="435" y="132"/>
                  </a:lnTo>
                  <a:lnTo>
                    <a:pt x="431" y="136"/>
                  </a:lnTo>
                  <a:lnTo>
                    <a:pt x="431" y="140"/>
                  </a:lnTo>
                  <a:lnTo>
                    <a:pt x="427" y="140"/>
                  </a:lnTo>
                  <a:lnTo>
                    <a:pt x="427" y="144"/>
                  </a:lnTo>
                  <a:lnTo>
                    <a:pt x="423" y="144"/>
                  </a:lnTo>
                  <a:lnTo>
                    <a:pt x="423" y="148"/>
                  </a:lnTo>
                  <a:lnTo>
                    <a:pt x="419" y="148"/>
                  </a:lnTo>
                  <a:lnTo>
                    <a:pt x="415" y="148"/>
                  </a:lnTo>
                  <a:lnTo>
                    <a:pt x="411" y="148"/>
                  </a:lnTo>
                  <a:lnTo>
                    <a:pt x="407" y="148"/>
                  </a:lnTo>
                  <a:lnTo>
                    <a:pt x="403" y="152"/>
                  </a:lnTo>
                  <a:lnTo>
                    <a:pt x="403" y="156"/>
                  </a:lnTo>
                  <a:lnTo>
                    <a:pt x="399" y="156"/>
                  </a:lnTo>
                  <a:lnTo>
                    <a:pt x="395" y="156"/>
                  </a:lnTo>
                  <a:lnTo>
                    <a:pt x="395" y="160"/>
                  </a:lnTo>
                  <a:lnTo>
                    <a:pt x="391" y="160"/>
                  </a:lnTo>
                  <a:lnTo>
                    <a:pt x="387" y="160"/>
                  </a:lnTo>
                  <a:lnTo>
                    <a:pt x="383" y="160"/>
                  </a:lnTo>
                  <a:lnTo>
                    <a:pt x="379" y="160"/>
                  </a:lnTo>
                  <a:lnTo>
                    <a:pt x="375" y="156"/>
                  </a:lnTo>
                  <a:lnTo>
                    <a:pt x="371" y="156"/>
                  </a:lnTo>
                  <a:lnTo>
                    <a:pt x="367" y="156"/>
                  </a:lnTo>
                  <a:lnTo>
                    <a:pt x="363" y="156"/>
                  </a:lnTo>
                  <a:lnTo>
                    <a:pt x="363" y="160"/>
                  </a:lnTo>
                  <a:lnTo>
                    <a:pt x="359" y="164"/>
                  </a:lnTo>
                  <a:lnTo>
                    <a:pt x="359" y="168"/>
                  </a:lnTo>
                  <a:lnTo>
                    <a:pt x="359" y="172"/>
                  </a:lnTo>
                  <a:lnTo>
                    <a:pt x="363" y="176"/>
                  </a:lnTo>
                  <a:lnTo>
                    <a:pt x="367" y="180"/>
                  </a:lnTo>
                  <a:lnTo>
                    <a:pt x="367" y="184"/>
                  </a:lnTo>
                  <a:lnTo>
                    <a:pt x="363" y="184"/>
                  </a:lnTo>
                  <a:lnTo>
                    <a:pt x="363" y="188"/>
                  </a:lnTo>
                  <a:lnTo>
                    <a:pt x="359" y="188"/>
                  </a:lnTo>
                  <a:lnTo>
                    <a:pt x="355" y="188"/>
                  </a:lnTo>
                  <a:lnTo>
                    <a:pt x="355" y="192"/>
                  </a:lnTo>
                  <a:lnTo>
                    <a:pt x="351" y="192"/>
                  </a:lnTo>
                  <a:lnTo>
                    <a:pt x="351" y="196"/>
                  </a:lnTo>
                  <a:lnTo>
                    <a:pt x="347" y="196"/>
                  </a:lnTo>
                  <a:lnTo>
                    <a:pt x="347" y="200"/>
                  </a:lnTo>
                  <a:lnTo>
                    <a:pt x="343" y="200"/>
                  </a:lnTo>
                  <a:lnTo>
                    <a:pt x="343" y="204"/>
                  </a:lnTo>
                  <a:lnTo>
                    <a:pt x="339" y="204"/>
                  </a:lnTo>
                  <a:lnTo>
                    <a:pt x="339" y="208"/>
                  </a:lnTo>
                  <a:lnTo>
                    <a:pt x="335" y="208"/>
                  </a:lnTo>
                  <a:lnTo>
                    <a:pt x="331" y="208"/>
                  </a:lnTo>
                  <a:lnTo>
                    <a:pt x="331" y="211"/>
                  </a:lnTo>
                  <a:lnTo>
                    <a:pt x="327" y="211"/>
                  </a:lnTo>
                  <a:lnTo>
                    <a:pt x="323" y="211"/>
                  </a:lnTo>
                  <a:lnTo>
                    <a:pt x="319" y="211"/>
                  </a:lnTo>
                  <a:lnTo>
                    <a:pt x="315" y="211"/>
                  </a:lnTo>
                  <a:lnTo>
                    <a:pt x="311" y="211"/>
                  </a:lnTo>
                  <a:lnTo>
                    <a:pt x="303" y="211"/>
                  </a:lnTo>
                  <a:lnTo>
                    <a:pt x="299" y="211"/>
                  </a:lnTo>
                  <a:lnTo>
                    <a:pt x="295" y="211"/>
                  </a:lnTo>
                  <a:lnTo>
                    <a:pt x="291" y="211"/>
                  </a:lnTo>
                  <a:lnTo>
                    <a:pt x="287" y="211"/>
                  </a:lnTo>
                  <a:lnTo>
                    <a:pt x="283" y="215"/>
                  </a:lnTo>
                  <a:lnTo>
                    <a:pt x="279" y="219"/>
                  </a:lnTo>
                  <a:lnTo>
                    <a:pt x="275" y="219"/>
                  </a:lnTo>
                  <a:lnTo>
                    <a:pt x="271" y="223"/>
                  </a:lnTo>
                  <a:lnTo>
                    <a:pt x="267" y="223"/>
                  </a:lnTo>
                  <a:lnTo>
                    <a:pt x="263" y="223"/>
                  </a:lnTo>
                  <a:lnTo>
                    <a:pt x="259" y="227"/>
                  </a:lnTo>
                  <a:lnTo>
                    <a:pt x="255" y="227"/>
                  </a:lnTo>
                  <a:lnTo>
                    <a:pt x="255" y="223"/>
                  </a:lnTo>
                  <a:lnTo>
                    <a:pt x="247" y="223"/>
                  </a:lnTo>
                  <a:lnTo>
                    <a:pt x="243" y="223"/>
                  </a:lnTo>
                  <a:lnTo>
                    <a:pt x="235" y="223"/>
                  </a:lnTo>
                  <a:lnTo>
                    <a:pt x="235" y="219"/>
                  </a:lnTo>
                  <a:lnTo>
                    <a:pt x="231" y="219"/>
                  </a:lnTo>
                  <a:lnTo>
                    <a:pt x="227" y="215"/>
                  </a:lnTo>
                  <a:lnTo>
                    <a:pt x="223" y="215"/>
                  </a:lnTo>
                  <a:lnTo>
                    <a:pt x="215" y="215"/>
                  </a:lnTo>
                  <a:lnTo>
                    <a:pt x="215" y="211"/>
                  </a:lnTo>
                  <a:lnTo>
                    <a:pt x="211" y="208"/>
                  </a:lnTo>
                  <a:lnTo>
                    <a:pt x="207" y="208"/>
                  </a:lnTo>
                  <a:lnTo>
                    <a:pt x="203" y="208"/>
                  </a:lnTo>
                  <a:lnTo>
                    <a:pt x="199" y="208"/>
                  </a:lnTo>
                  <a:lnTo>
                    <a:pt x="199" y="204"/>
                  </a:lnTo>
                  <a:lnTo>
                    <a:pt x="195" y="204"/>
                  </a:lnTo>
                  <a:lnTo>
                    <a:pt x="191" y="204"/>
                  </a:lnTo>
                  <a:lnTo>
                    <a:pt x="187" y="208"/>
                  </a:lnTo>
                  <a:lnTo>
                    <a:pt x="183" y="208"/>
                  </a:lnTo>
                  <a:lnTo>
                    <a:pt x="179" y="208"/>
                  </a:lnTo>
                  <a:lnTo>
                    <a:pt x="175" y="208"/>
                  </a:lnTo>
                  <a:lnTo>
                    <a:pt x="171" y="208"/>
                  </a:lnTo>
                  <a:lnTo>
                    <a:pt x="167" y="208"/>
                  </a:lnTo>
                  <a:lnTo>
                    <a:pt x="163" y="208"/>
                  </a:lnTo>
                  <a:lnTo>
                    <a:pt x="159" y="208"/>
                  </a:lnTo>
                  <a:lnTo>
                    <a:pt x="156" y="204"/>
                  </a:lnTo>
                  <a:lnTo>
                    <a:pt x="152" y="204"/>
                  </a:lnTo>
                  <a:lnTo>
                    <a:pt x="148" y="204"/>
                  </a:lnTo>
                  <a:lnTo>
                    <a:pt x="144" y="204"/>
                  </a:lnTo>
                  <a:lnTo>
                    <a:pt x="140" y="204"/>
                  </a:lnTo>
                  <a:lnTo>
                    <a:pt x="136" y="204"/>
                  </a:lnTo>
                  <a:lnTo>
                    <a:pt x="132" y="204"/>
                  </a:lnTo>
                  <a:lnTo>
                    <a:pt x="132" y="200"/>
                  </a:lnTo>
                  <a:lnTo>
                    <a:pt x="128" y="196"/>
                  </a:lnTo>
                  <a:lnTo>
                    <a:pt x="124" y="196"/>
                  </a:lnTo>
                  <a:lnTo>
                    <a:pt x="124" y="192"/>
                  </a:lnTo>
                  <a:lnTo>
                    <a:pt x="124" y="188"/>
                  </a:lnTo>
                  <a:lnTo>
                    <a:pt x="120" y="188"/>
                  </a:lnTo>
                  <a:lnTo>
                    <a:pt x="120" y="184"/>
                  </a:lnTo>
                  <a:lnTo>
                    <a:pt x="120" y="180"/>
                  </a:lnTo>
                  <a:lnTo>
                    <a:pt x="120" y="176"/>
                  </a:lnTo>
                  <a:lnTo>
                    <a:pt x="116" y="176"/>
                  </a:lnTo>
                  <a:lnTo>
                    <a:pt x="116" y="172"/>
                  </a:lnTo>
                  <a:lnTo>
                    <a:pt x="112" y="172"/>
                  </a:lnTo>
                  <a:lnTo>
                    <a:pt x="104" y="172"/>
                  </a:lnTo>
                  <a:lnTo>
                    <a:pt x="104" y="168"/>
                  </a:lnTo>
                  <a:lnTo>
                    <a:pt x="100" y="168"/>
                  </a:lnTo>
                  <a:lnTo>
                    <a:pt x="100" y="164"/>
                  </a:lnTo>
                  <a:lnTo>
                    <a:pt x="96" y="164"/>
                  </a:lnTo>
                  <a:lnTo>
                    <a:pt x="96" y="160"/>
                  </a:lnTo>
                  <a:lnTo>
                    <a:pt x="92" y="160"/>
                  </a:lnTo>
                  <a:lnTo>
                    <a:pt x="88" y="160"/>
                  </a:lnTo>
                  <a:lnTo>
                    <a:pt x="88" y="156"/>
                  </a:lnTo>
                  <a:lnTo>
                    <a:pt x="84" y="156"/>
                  </a:lnTo>
                  <a:lnTo>
                    <a:pt x="80" y="156"/>
                  </a:lnTo>
                  <a:lnTo>
                    <a:pt x="76" y="156"/>
                  </a:lnTo>
                  <a:lnTo>
                    <a:pt x="72" y="156"/>
                  </a:lnTo>
                  <a:lnTo>
                    <a:pt x="68" y="156"/>
                  </a:lnTo>
                  <a:lnTo>
                    <a:pt x="64" y="156"/>
                  </a:lnTo>
                  <a:lnTo>
                    <a:pt x="56" y="156"/>
                  </a:lnTo>
                  <a:lnTo>
                    <a:pt x="56" y="152"/>
                  </a:lnTo>
                  <a:lnTo>
                    <a:pt x="52" y="152"/>
                  </a:lnTo>
                  <a:lnTo>
                    <a:pt x="48" y="152"/>
                  </a:lnTo>
                  <a:lnTo>
                    <a:pt x="48" y="148"/>
                  </a:lnTo>
                  <a:lnTo>
                    <a:pt x="44" y="148"/>
                  </a:lnTo>
                  <a:lnTo>
                    <a:pt x="44" y="144"/>
                  </a:lnTo>
                  <a:lnTo>
                    <a:pt x="44" y="140"/>
                  </a:lnTo>
                  <a:lnTo>
                    <a:pt x="48" y="136"/>
                  </a:lnTo>
                  <a:lnTo>
                    <a:pt x="48" y="132"/>
                  </a:lnTo>
                  <a:lnTo>
                    <a:pt x="48" y="128"/>
                  </a:lnTo>
                  <a:lnTo>
                    <a:pt x="52" y="124"/>
                  </a:lnTo>
                  <a:lnTo>
                    <a:pt x="48" y="120"/>
                  </a:lnTo>
                  <a:lnTo>
                    <a:pt x="52" y="120"/>
                  </a:lnTo>
                  <a:lnTo>
                    <a:pt x="48" y="120"/>
                  </a:lnTo>
                  <a:lnTo>
                    <a:pt x="48" y="116"/>
                  </a:lnTo>
                  <a:lnTo>
                    <a:pt x="48" y="112"/>
                  </a:lnTo>
                  <a:lnTo>
                    <a:pt x="44" y="112"/>
                  </a:lnTo>
                  <a:lnTo>
                    <a:pt x="44" y="108"/>
                  </a:lnTo>
                  <a:lnTo>
                    <a:pt x="40" y="108"/>
                  </a:lnTo>
                  <a:lnTo>
                    <a:pt x="40" y="104"/>
                  </a:lnTo>
                  <a:lnTo>
                    <a:pt x="40" y="100"/>
                  </a:lnTo>
                  <a:lnTo>
                    <a:pt x="40" y="96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96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0" y="72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4" y="64"/>
                  </a:lnTo>
                  <a:lnTo>
                    <a:pt x="8" y="64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12" y="60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20" y="56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24" y="56"/>
                  </a:lnTo>
                  <a:lnTo>
                    <a:pt x="28" y="56"/>
                  </a:lnTo>
                  <a:lnTo>
                    <a:pt x="28" y="52"/>
                  </a:lnTo>
                  <a:lnTo>
                    <a:pt x="32" y="52"/>
                  </a:lnTo>
                  <a:lnTo>
                    <a:pt x="28" y="52"/>
                  </a:lnTo>
                  <a:lnTo>
                    <a:pt x="28" y="48"/>
                  </a:lnTo>
                  <a:lnTo>
                    <a:pt x="32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40" y="44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28"/>
                  </a:lnTo>
                  <a:lnTo>
                    <a:pt x="72" y="28"/>
                  </a:lnTo>
                  <a:lnTo>
                    <a:pt x="76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32"/>
                  </a:lnTo>
                  <a:lnTo>
                    <a:pt x="84" y="32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100" y="32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0" y="44"/>
                  </a:lnTo>
                  <a:lnTo>
                    <a:pt x="104" y="44"/>
                  </a:lnTo>
                  <a:lnTo>
                    <a:pt x="104" y="48"/>
                  </a:lnTo>
                  <a:lnTo>
                    <a:pt x="108" y="44"/>
                  </a:lnTo>
                  <a:lnTo>
                    <a:pt x="112" y="48"/>
                  </a:lnTo>
                  <a:lnTo>
                    <a:pt x="116" y="48"/>
                  </a:lnTo>
                  <a:lnTo>
                    <a:pt x="120" y="48"/>
                  </a:lnTo>
                  <a:lnTo>
                    <a:pt x="124" y="48"/>
                  </a:lnTo>
                  <a:lnTo>
                    <a:pt x="128" y="48"/>
                  </a:lnTo>
                  <a:lnTo>
                    <a:pt x="132" y="48"/>
                  </a:lnTo>
                  <a:lnTo>
                    <a:pt x="136" y="48"/>
                  </a:lnTo>
                  <a:lnTo>
                    <a:pt x="140" y="48"/>
                  </a:lnTo>
                  <a:lnTo>
                    <a:pt x="144" y="52"/>
                  </a:lnTo>
                  <a:lnTo>
                    <a:pt x="148" y="52"/>
                  </a:lnTo>
                  <a:lnTo>
                    <a:pt x="148" y="48"/>
                  </a:lnTo>
                  <a:lnTo>
                    <a:pt x="152" y="48"/>
                  </a:lnTo>
                  <a:lnTo>
                    <a:pt x="156" y="48"/>
                  </a:lnTo>
                  <a:lnTo>
                    <a:pt x="156" y="44"/>
                  </a:lnTo>
                  <a:lnTo>
                    <a:pt x="159" y="44"/>
                  </a:lnTo>
                  <a:lnTo>
                    <a:pt x="159" y="40"/>
                  </a:lnTo>
                  <a:lnTo>
                    <a:pt x="159" y="36"/>
                  </a:lnTo>
                  <a:lnTo>
                    <a:pt x="156" y="32"/>
                  </a:lnTo>
                  <a:lnTo>
                    <a:pt x="156" y="28"/>
                  </a:lnTo>
                  <a:lnTo>
                    <a:pt x="152" y="24"/>
                  </a:lnTo>
                  <a:lnTo>
                    <a:pt x="156" y="20"/>
                  </a:lnTo>
                  <a:lnTo>
                    <a:pt x="156" y="16"/>
                  </a:lnTo>
                  <a:lnTo>
                    <a:pt x="156" y="12"/>
                  </a:lnTo>
                  <a:lnTo>
                    <a:pt x="159" y="12"/>
                  </a:lnTo>
                  <a:lnTo>
                    <a:pt x="159" y="16"/>
                  </a:lnTo>
                  <a:lnTo>
                    <a:pt x="159" y="12"/>
                  </a:lnTo>
                  <a:lnTo>
                    <a:pt x="159" y="8"/>
                  </a:lnTo>
                  <a:lnTo>
                    <a:pt x="163" y="8"/>
                  </a:lnTo>
                  <a:lnTo>
                    <a:pt x="167" y="8"/>
                  </a:lnTo>
                  <a:lnTo>
                    <a:pt x="167" y="4"/>
                  </a:lnTo>
                  <a:lnTo>
                    <a:pt x="167" y="0"/>
                  </a:lnTo>
                  <a:lnTo>
                    <a:pt x="171" y="0"/>
                  </a:lnTo>
                  <a:lnTo>
                    <a:pt x="175" y="4"/>
                  </a:lnTo>
                  <a:lnTo>
                    <a:pt x="179" y="4"/>
                  </a:lnTo>
                  <a:lnTo>
                    <a:pt x="183" y="4"/>
                  </a:lnTo>
                  <a:lnTo>
                    <a:pt x="183" y="8"/>
                  </a:lnTo>
                  <a:lnTo>
                    <a:pt x="187" y="8"/>
                  </a:lnTo>
                  <a:lnTo>
                    <a:pt x="191" y="8"/>
                  </a:lnTo>
                  <a:lnTo>
                    <a:pt x="195" y="8"/>
                  </a:lnTo>
                  <a:lnTo>
                    <a:pt x="199" y="12"/>
                  </a:lnTo>
                  <a:lnTo>
                    <a:pt x="203" y="12"/>
                  </a:lnTo>
                  <a:lnTo>
                    <a:pt x="207" y="16"/>
                  </a:lnTo>
                  <a:lnTo>
                    <a:pt x="207" y="12"/>
                  </a:lnTo>
                  <a:lnTo>
                    <a:pt x="211" y="12"/>
                  </a:lnTo>
                  <a:lnTo>
                    <a:pt x="211" y="16"/>
                  </a:lnTo>
                  <a:lnTo>
                    <a:pt x="215" y="16"/>
                  </a:lnTo>
                  <a:lnTo>
                    <a:pt x="219" y="16"/>
                  </a:lnTo>
                  <a:lnTo>
                    <a:pt x="219" y="20"/>
                  </a:lnTo>
                  <a:lnTo>
                    <a:pt x="219" y="24"/>
                  </a:lnTo>
                  <a:lnTo>
                    <a:pt x="219" y="28"/>
                  </a:lnTo>
                  <a:lnTo>
                    <a:pt x="219" y="32"/>
                  </a:lnTo>
                  <a:lnTo>
                    <a:pt x="219" y="36"/>
                  </a:lnTo>
                  <a:lnTo>
                    <a:pt x="223" y="36"/>
                  </a:lnTo>
                  <a:lnTo>
                    <a:pt x="227" y="36"/>
                  </a:lnTo>
                  <a:lnTo>
                    <a:pt x="227" y="40"/>
                  </a:lnTo>
                  <a:lnTo>
                    <a:pt x="231" y="40"/>
                  </a:lnTo>
                  <a:lnTo>
                    <a:pt x="235" y="40"/>
                  </a:lnTo>
                  <a:lnTo>
                    <a:pt x="235" y="44"/>
                  </a:lnTo>
                  <a:lnTo>
                    <a:pt x="239" y="44"/>
                  </a:lnTo>
                  <a:lnTo>
                    <a:pt x="243" y="44"/>
                  </a:lnTo>
                  <a:lnTo>
                    <a:pt x="247" y="44"/>
                  </a:lnTo>
                  <a:lnTo>
                    <a:pt x="251" y="44"/>
                  </a:lnTo>
                  <a:lnTo>
                    <a:pt x="251" y="40"/>
                  </a:lnTo>
                  <a:lnTo>
                    <a:pt x="255" y="40"/>
                  </a:lnTo>
                  <a:lnTo>
                    <a:pt x="259" y="36"/>
                  </a:lnTo>
                  <a:lnTo>
                    <a:pt x="263" y="40"/>
                  </a:lnTo>
                  <a:lnTo>
                    <a:pt x="263" y="36"/>
                  </a:lnTo>
                  <a:lnTo>
                    <a:pt x="267" y="36"/>
                  </a:lnTo>
                  <a:lnTo>
                    <a:pt x="271" y="36"/>
                  </a:lnTo>
                  <a:lnTo>
                    <a:pt x="275" y="36"/>
                  </a:lnTo>
                  <a:lnTo>
                    <a:pt x="275" y="40"/>
                  </a:lnTo>
                  <a:lnTo>
                    <a:pt x="279" y="40"/>
                  </a:lnTo>
                  <a:lnTo>
                    <a:pt x="283" y="40"/>
                  </a:lnTo>
                  <a:lnTo>
                    <a:pt x="287" y="40"/>
                  </a:lnTo>
                  <a:lnTo>
                    <a:pt x="291" y="44"/>
                  </a:lnTo>
                  <a:lnTo>
                    <a:pt x="295" y="48"/>
                  </a:lnTo>
                  <a:lnTo>
                    <a:pt x="299" y="48"/>
                  </a:lnTo>
                  <a:lnTo>
                    <a:pt x="303" y="48"/>
                  </a:lnTo>
                  <a:lnTo>
                    <a:pt x="307" y="48"/>
                  </a:lnTo>
                  <a:lnTo>
                    <a:pt x="307" y="52"/>
                  </a:lnTo>
                  <a:lnTo>
                    <a:pt x="307" y="56"/>
                  </a:lnTo>
                  <a:lnTo>
                    <a:pt x="311" y="60"/>
                  </a:lnTo>
                  <a:lnTo>
                    <a:pt x="315" y="60"/>
                  </a:lnTo>
                  <a:lnTo>
                    <a:pt x="319" y="60"/>
                  </a:lnTo>
                  <a:lnTo>
                    <a:pt x="323" y="60"/>
                  </a:lnTo>
                  <a:lnTo>
                    <a:pt x="327" y="60"/>
                  </a:lnTo>
                  <a:lnTo>
                    <a:pt x="331" y="64"/>
                  </a:lnTo>
                  <a:lnTo>
                    <a:pt x="335" y="64"/>
                  </a:lnTo>
                  <a:lnTo>
                    <a:pt x="339" y="64"/>
                  </a:lnTo>
                  <a:lnTo>
                    <a:pt x="343" y="64"/>
                  </a:lnTo>
                  <a:lnTo>
                    <a:pt x="347" y="64"/>
                  </a:lnTo>
                  <a:lnTo>
                    <a:pt x="351" y="64"/>
                  </a:lnTo>
                  <a:lnTo>
                    <a:pt x="355" y="64"/>
                  </a:lnTo>
                  <a:lnTo>
                    <a:pt x="355" y="60"/>
                  </a:lnTo>
                  <a:lnTo>
                    <a:pt x="359" y="60"/>
                  </a:lnTo>
                  <a:lnTo>
                    <a:pt x="363" y="60"/>
                  </a:lnTo>
                  <a:lnTo>
                    <a:pt x="367" y="60"/>
                  </a:lnTo>
                  <a:lnTo>
                    <a:pt x="371" y="60"/>
                  </a:lnTo>
                  <a:lnTo>
                    <a:pt x="375" y="56"/>
                  </a:lnTo>
                  <a:lnTo>
                    <a:pt x="379" y="56"/>
                  </a:lnTo>
                  <a:lnTo>
                    <a:pt x="379" y="60"/>
                  </a:lnTo>
                  <a:lnTo>
                    <a:pt x="379" y="56"/>
                  </a:lnTo>
                  <a:lnTo>
                    <a:pt x="383" y="56"/>
                  </a:lnTo>
                  <a:lnTo>
                    <a:pt x="387" y="52"/>
                  </a:lnTo>
                  <a:lnTo>
                    <a:pt x="387" y="48"/>
                  </a:lnTo>
                  <a:lnTo>
                    <a:pt x="391" y="48"/>
                  </a:lnTo>
                  <a:lnTo>
                    <a:pt x="395" y="44"/>
                  </a:lnTo>
                  <a:lnTo>
                    <a:pt x="399" y="44"/>
                  </a:lnTo>
                  <a:lnTo>
                    <a:pt x="399" y="40"/>
                  </a:lnTo>
                  <a:lnTo>
                    <a:pt x="403" y="40"/>
                  </a:lnTo>
                  <a:lnTo>
                    <a:pt x="407" y="40"/>
                  </a:lnTo>
                  <a:lnTo>
                    <a:pt x="411" y="40"/>
                  </a:lnTo>
                  <a:lnTo>
                    <a:pt x="411" y="44"/>
                  </a:lnTo>
                  <a:lnTo>
                    <a:pt x="415" y="44"/>
                  </a:lnTo>
                  <a:lnTo>
                    <a:pt x="415" y="48"/>
                  </a:lnTo>
                  <a:lnTo>
                    <a:pt x="419" y="48"/>
                  </a:lnTo>
                  <a:lnTo>
                    <a:pt x="423" y="48"/>
                  </a:lnTo>
                  <a:lnTo>
                    <a:pt x="427" y="48"/>
                  </a:lnTo>
                  <a:lnTo>
                    <a:pt x="431" y="48"/>
                  </a:lnTo>
                  <a:lnTo>
                    <a:pt x="435" y="48"/>
                  </a:lnTo>
                  <a:lnTo>
                    <a:pt x="439" y="48"/>
                  </a:lnTo>
                  <a:lnTo>
                    <a:pt x="439" y="52"/>
                  </a:lnTo>
                  <a:lnTo>
                    <a:pt x="435" y="56"/>
                  </a:lnTo>
                  <a:lnTo>
                    <a:pt x="435" y="60"/>
                  </a:lnTo>
                  <a:lnTo>
                    <a:pt x="435" y="64"/>
                  </a:lnTo>
                  <a:lnTo>
                    <a:pt x="431" y="64"/>
                  </a:lnTo>
                  <a:lnTo>
                    <a:pt x="431" y="68"/>
                  </a:lnTo>
                  <a:lnTo>
                    <a:pt x="427" y="72"/>
                  </a:lnTo>
                  <a:lnTo>
                    <a:pt x="431" y="72"/>
                  </a:lnTo>
                  <a:lnTo>
                    <a:pt x="427" y="76"/>
                  </a:lnTo>
                  <a:lnTo>
                    <a:pt x="423" y="80"/>
                  </a:lnTo>
                  <a:lnTo>
                    <a:pt x="427" y="84"/>
                  </a:lnTo>
                  <a:lnTo>
                    <a:pt x="423" y="88"/>
                  </a:lnTo>
                  <a:lnTo>
                    <a:pt x="419" y="88"/>
                  </a:lnTo>
                  <a:lnTo>
                    <a:pt x="423" y="92"/>
                  </a:lnTo>
                  <a:lnTo>
                    <a:pt x="427" y="96"/>
                  </a:lnTo>
                  <a:lnTo>
                    <a:pt x="431" y="96"/>
                  </a:lnTo>
                  <a:lnTo>
                    <a:pt x="431" y="92"/>
                  </a:lnTo>
                  <a:lnTo>
                    <a:pt x="435" y="96"/>
                  </a:lnTo>
                  <a:lnTo>
                    <a:pt x="439" y="92"/>
                  </a:lnTo>
                  <a:lnTo>
                    <a:pt x="443" y="92"/>
                  </a:lnTo>
                  <a:lnTo>
                    <a:pt x="443" y="96"/>
                  </a:lnTo>
                  <a:lnTo>
                    <a:pt x="447" y="100"/>
                  </a:lnTo>
                  <a:lnTo>
                    <a:pt x="451" y="96"/>
                  </a:lnTo>
                  <a:lnTo>
                    <a:pt x="451" y="92"/>
                  </a:lnTo>
                  <a:lnTo>
                    <a:pt x="455" y="92"/>
                  </a:lnTo>
                  <a:lnTo>
                    <a:pt x="459" y="92"/>
                  </a:lnTo>
                  <a:lnTo>
                    <a:pt x="463" y="92"/>
                  </a:lnTo>
                  <a:lnTo>
                    <a:pt x="467" y="92"/>
                  </a:lnTo>
                  <a:lnTo>
                    <a:pt x="471" y="96"/>
                  </a:lnTo>
                  <a:lnTo>
                    <a:pt x="475" y="100"/>
                  </a:lnTo>
                  <a:lnTo>
                    <a:pt x="479" y="100"/>
                  </a:lnTo>
                  <a:lnTo>
                    <a:pt x="479" y="104"/>
                  </a:lnTo>
                  <a:lnTo>
                    <a:pt x="479" y="108"/>
                  </a:lnTo>
                  <a:lnTo>
                    <a:pt x="483" y="108"/>
                  </a:lnTo>
                  <a:lnTo>
                    <a:pt x="487" y="112"/>
                  </a:lnTo>
                  <a:lnTo>
                    <a:pt x="487" y="116"/>
                  </a:lnTo>
                  <a:lnTo>
                    <a:pt x="487" y="120"/>
                  </a:lnTo>
                  <a:lnTo>
                    <a:pt x="483" y="120"/>
                  </a:lnTo>
                  <a:lnTo>
                    <a:pt x="479" y="120"/>
                  </a:lnTo>
                  <a:lnTo>
                    <a:pt x="475" y="120"/>
                  </a:lnTo>
                  <a:lnTo>
                    <a:pt x="471" y="120"/>
                  </a:lnTo>
                  <a:lnTo>
                    <a:pt x="471" y="116"/>
                  </a:lnTo>
                  <a:lnTo>
                    <a:pt x="471" y="120"/>
                  </a:lnTo>
                  <a:lnTo>
                    <a:pt x="467" y="120"/>
                  </a:lnTo>
                  <a:lnTo>
                    <a:pt x="463" y="120"/>
                  </a:lnTo>
                  <a:lnTo>
                    <a:pt x="459" y="120"/>
                  </a:lnTo>
                  <a:lnTo>
                    <a:pt x="455" y="120"/>
                  </a:lnTo>
                  <a:lnTo>
                    <a:pt x="455" y="124"/>
                  </a:lnTo>
                  <a:lnTo>
                    <a:pt x="451" y="124"/>
                  </a:lnTo>
                  <a:lnTo>
                    <a:pt x="451" y="120"/>
                  </a:lnTo>
                  <a:lnTo>
                    <a:pt x="451" y="124"/>
                  </a:lnTo>
                  <a:lnTo>
                    <a:pt x="447" y="124"/>
                  </a:lnTo>
                  <a:lnTo>
                    <a:pt x="447" y="128"/>
                  </a:lnTo>
                  <a:lnTo>
                    <a:pt x="443" y="128"/>
                  </a:lnTo>
                  <a:lnTo>
                    <a:pt x="439" y="1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4" name="Freeform 31"/>
            <p:cNvSpPr>
              <a:spLocks noEditPoints="1"/>
            </p:cNvSpPr>
            <p:nvPr>
              <p:custDataLst>
                <p:tags r:id="rId226"/>
              </p:custDataLst>
            </p:nvPr>
          </p:nvSpPr>
          <p:spPr bwMode="gray">
            <a:xfrm>
              <a:off x="6446418" y="3805481"/>
              <a:ext cx="200213" cy="520555"/>
            </a:xfrm>
            <a:custGeom>
              <a:avLst/>
              <a:gdLst/>
              <a:ahLst/>
              <a:cxnLst>
                <a:cxn ang="0">
                  <a:pos x="95" y="335"/>
                </a:cxn>
                <a:cxn ang="0">
                  <a:pos x="95" y="315"/>
                </a:cxn>
                <a:cxn ang="0">
                  <a:pos x="95" y="299"/>
                </a:cxn>
                <a:cxn ang="0">
                  <a:pos x="91" y="279"/>
                </a:cxn>
                <a:cxn ang="0">
                  <a:pos x="84" y="259"/>
                </a:cxn>
                <a:cxn ang="0">
                  <a:pos x="84" y="235"/>
                </a:cxn>
                <a:cxn ang="0">
                  <a:pos x="76" y="215"/>
                </a:cxn>
                <a:cxn ang="0">
                  <a:pos x="68" y="223"/>
                </a:cxn>
                <a:cxn ang="0">
                  <a:pos x="60" y="231"/>
                </a:cxn>
                <a:cxn ang="0">
                  <a:pos x="44" y="239"/>
                </a:cxn>
                <a:cxn ang="0">
                  <a:pos x="40" y="243"/>
                </a:cxn>
                <a:cxn ang="0">
                  <a:pos x="36" y="235"/>
                </a:cxn>
                <a:cxn ang="0">
                  <a:pos x="32" y="223"/>
                </a:cxn>
                <a:cxn ang="0">
                  <a:pos x="32" y="195"/>
                </a:cxn>
                <a:cxn ang="0">
                  <a:pos x="24" y="175"/>
                </a:cxn>
                <a:cxn ang="0">
                  <a:pos x="20" y="163"/>
                </a:cxn>
                <a:cxn ang="0">
                  <a:pos x="12" y="163"/>
                </a:cxn>
                <a:cxn ang="0">
                  <a:pos x="12" y="155"/>
                </a:cxn>
                <a:cxn ang="0">
                  <a:pos x="8" y="155"/>
                </a:cxn>
                <a:cxn ang="0">
                  <a:pos x="4" y="136"/>
                </a:cxn>
                <a:cxn ang="0">
                  <a:pos x="12" y="124"/>
                </a:cxn>
                <a:cxn ang="0">
                  <a:pos x="12" y="108"/>
                </a:cxn>
                <a:cxn ang="0">
                  <a:pos x="16" y="88"/>
                </a:cxn>
                <a:cxn ang="0">
                  <a:pos x="32" y="84"/>
                </a:cxn>
                <a:cxn ang="0">
                  <a:pos x="40" y="56"/>
                </a:cxn>
                <a:cxn ang="0">
                  <a:pos x="48" y="32"/>
                </a:cxn>
                <a:cxn ang="0">
                  <a:pos x="76" y="28"/>
                </a:cxn>
                <a:cxn ang="0">
                  <a:pos x="76" y="4"/>
                </a:cxn>
                <a:cxn ang="0">
                  <a:pos x="91" y="12"/>
                </a:cxn>
                <a:cxn ang="0">
                  <a:pos x="99" y="28"/>
                </a:cxn>
                <a:cxn ang="0">
                  <a:pos x="99" y="52"/>
                </a:cxn>
                <a:cxn ang="0">
                  <a:pos x="84" y="72"/>
                </a:cxn>
                <a:cxn ang="0">
                  <a:pos x="84" y="88"/>
                </a:cxn>
                <a:cxn ang="0">
                  <a:pos x="99" y="88"/>
                </a:cxn>
                <a:cxn ang="0">
                  <a:pos x="111" y="104"/>
                </a:cxn>
                <a:cxn ang="0">
                  <a:pos x="111" y="124"/>
                </a:cxn>
                <a:cxn ang="0">
                  <a:pos x="131" y="132"/>
                </a:cxn>
                <a:cxn ang="0">
                  <a:pos x="123" y="148"/>
                </a:cxn>
                <a:cxn ang="0">
                  <a:pos x="111" y="159"/>
                </a:cxn>
                <a:cxn ang="0">
                  <a:pos x="95" y="167"/>
                </a:cxn>
                <a:cxn ang="0">
                  <a:pos x="84" y="187"/>
                </a:cxn>
                <a:cxn ang="0">
                  <a:pos x="84" y="199"/>
                </a:cxn>
                <a:cxn ang="0">
                  <a:pos x="95" y="219"/>
                </a:cxn>
                <a:cxn ang="0">
                  <a:pos x="95" y="243"/>
                </a:cxn>
                <a:cxn ang="0">
                  <a:pos x="95" y="267"/>
                </a:cxn>
                <a:cxn ang="0">
                  <a:pos x="107" y="287"/>
                </a:cxn>
                <a:cxn ang="0">
                  <a:pos x="111" y="315"/>
                </a:cxn>
                <a:cxn ang="0">
                  <a:pos x="24" y="179"/>
                </a:cxn>
                <a:cxn ang="0">
                  <a:pos x="24" y="175"/>
                </a:cxn>
                <a:cxn ang="0">
                  <a:pos x="28" y="175"/>
                </a:cxn>
                <a:cxn ang="0">
                  <a:pos x="80" y="235"/>
                </a:cxn>
                <a:cxn ang="0">
                  <a:pos x="88" y="307"/>
                </a:cxn>
                <a:cxn ang="0">
                  <a:pos x="24" y="183"/>
                </a:cxn>
                <a:cxn ang="0">
                  <a:pos x="91" y="307"/>
                </a:cxn>
                <a:cxn ang="0">
                  <a:pos x="91" y="315"/>
                </a:cxn>
                <a:cxn ang="0">
                  <a:pos x="91" y="323"/>
                </a:cxn>
              </a:cxnLst>
              <a:rect l="0" t="0" r="r" b="b"/>
              <a:pathLst>
                <a:path w="135" h="351">
                  <a:moveTo>
                    <a:pt x="99" y="335"/>
                  </a:moveTo>
                  <a:lnTo>
                    <a:pt x="99" y="339"/>
                  </a:lnTo>
                  <a:lnTo>
                    <a:pt x="99" y="343"/>
                  </a:lnTo>
                  <a:lnTo>
                    <a:pt x="95" y="347"/>
                  </a:lnTo>
                  <a:lnTo>
                    <a:pt x="95" y="351"/>
                  </a:lnTo>
                  <a:lnTo>
                    <a:pt x="95" y="347"/>
                  </a:lnTo>
                  <a:lnTo>
                    <a:pt x="95" y="343"/>
                  </a:lnTo>
                  <a:lnTo>
                    <a:pt x="95" y="335"/>
                  </a:lnTo>
                  <a:lnTo>
                    <a:pt x="99" y="331"/>
                  </a:lnTo>
                  <a:lnTo>
                    <a:pt x="99" y="327"/>
                  </a:lnTo>
                  <a:lnTo>
                    <a:pt x="99" y="323"/>
                  </a:lnTo>
                  <a:lnTo>
                    <a:pt x="99" y="319"/>
                  </a:lnTo>
                  <a:lnTo>
                    <a:pt x="99" y="315"/>
                  </a:lnTo>
                  <a:lnTo>
                    <a:pt x="99" y="319"/>
                  </a:lnTo>
                  <a:lnTo>
                    <a:pt x="95" y="319"/>
                  </a:lnTo>
                  <a:lnTo>
                    <a:pt x="95" y="315"/>
                  </a:lnTo>
                  <a:lnTo>
                    <a:pt x="99" y="311"/>
                  </a:lnTo>
                  <a:lnTo>
                    <a:pt x="95" y="311"/>
                  </a:lnTo>
                  <a:lnTo>
                    <a:pt x="99" y="307"/>
                  </a:lnTo>
                  <a:lnTo>
                    <a:pt x="95" y="307"/>
                  </a:lnTo>
                  <a:lnTo>
                    <a:pt x="99" y="307"/>
                  </a:lnTo>
                  <a:lnTo>
                    <a:pt x="95" y="307"/>
                  </a:lnTo>
                  <a:lnTo>
                    <a:pt x="95" y="303"/>
                  </a:lnTo>
                  <a:lnTo>
                    <a:pt x="95" y="299"/>
                  </a:lnTo>
                  <a:lnTo>
                    <a:pt x="95" y="295"/>
                  </a:lnTo>
                  <a:lnTo>
                    <a:pt x="95" y="291"/>
                  </a:lnTo>
                  <a:lnTo>
                    <a:pt x="95" y="287"/>
                  </a:lnTo>
                  <a:lnTo>
                    <a:pt x="95" y="283"/>
                  </a:lnTo>
                  <a:lnTo>
                    <a:pt x="91" y="283"/>
                  </a:lnTo>
                  <a:lnTo>
                    <a:pt x="91" y="279"/>
                  </a:lnTo>
                  <a:lnTo>
                    <a:pt x="91" y="275"/>
                  </a:lnTo>
                  <a:lnTo>
                    <a:pt x="91" y="279"/>
                  </a:lnTo>
                  <a:lnTo>
                    <a:pt x="91" y="283"/>
                  </a:lnTo>
                  <a:lnTo>
                    <a:pt x="88" y="283"/>
                  </a:lnTo>
                  <a:lnTo>
                    <a:pt x="88" y="279"/>
                  </a:lnTo>
                  <a:lnTo>
                    <a:pt x="88" y="275"/>
                  </a:lnTo>
                  <a:lnTo>
                    <a:pt x="88" y="271"/>
                  </a:lnTo>
                  <a:lnTo>
                    <a:pt x="88" y="267"/>
                  </a:lnTo>
                  <a:lnTo>
                    <a:pt x="84" y="263"/>
                  </a:lnTo>
                  <a:lnTo>
                    <a:pt x="84" y="259"/>
                  </a:lnTo>
                  <a:lnTo>
                    <a:pt x="84" y="255"/>
                  </a:lnTo>
                  <a:lnTo>
                    <a:pt x="84" y="251"/>
                  </a:lnTo>
                  <a:lnTo>
                    <a:pt x="84" y="247"/>
                  </a:lnTo>
                  <a:lnTo>
                    <a:pt x="84" y="243"/>
                  </a:lnTo>
                  <a:lnTo>
                    <a:pt x="84" y="239"/>
                  </a:lnTo>
                  <a:lnTo>
                    <a:pt x="80" y="239"/>
                  </a:lnTo>
                  <a:lnTo>
                    <a:pt x="80" y="235"/>
                  </a:lnTo>
                  <a:lnTo>
                    <a:pt x="84" y="235"/>
                  </a:lnTo>
                  <a:lnTo>
                    <a:pt x="84" y="231"/>
                  </a:lnTo>
                  <a:lnTo>
                    <a:pt x="80" y="231"/>
                  </a:lnTo>
                  <a:lnTo>
                    <a:pt x="84" y="227"/>
                  </a:lnTo>
                  <a:lnTo>
                    <a:pt x="80" y="227"/>
                  </a:lnTo>
                  <a:lnTo>
                    <a:pt x="76" y="227"/>
                  </a:lnTo>
                  <a:lnTo>
                    <a:pt x="76" y="223"/>
                  </a:lnTo>
                  <a:lnTo>
                    <a:pt x="76" y="219"/>
                  </a:lnTo>
                  <a:lnTo>
                    <a:pt x="76" y="215"/>
                  </a:lnTo>
                  <a:lnTo>
                    <a:pt x="72" y="215"/>
                  </a:lnTo>
                  <a:lnTo>
                    <a:pt x="72" y="211"/>
                  </a:lnTo>
                  <a:lnTo>
                    <a:pt x="72" y="215"/>
                  </a:lnTo>
                  <a:lnTo>
                    <a:pt x="72" y="219"/>
                  </a:lnTo>
                  <a:lnTo>
                    <a:pt x="68" y="219"/>
                  </a:lnTo>
                  <a:lnTo>
                    <a:pt x="68" y="223"/>
                  </a:lnTo>
                  <a:lnTo>
                    <a:pt x="72" y="223"/>
                  </a:lnTo>
                  <a:lnTo>
                    <a:pt x="68" y="223"/>
                  </a:lnTo>
                  <a:lnTo>
                    <a:pt x="68" y="227"/>
                  </a:lnTo>
                  <a:lnTo>
                    <a:pt x="64" y="227"/>
                  </a:lnTo>
                  <a:lnTo>
                    <a:pt x="60" y="227"/>
                  </a:lnTo>
                  <a:lnTo>
                    <a:pt x="60" y="223"/>
                  </a:lnTo>
                  <a:lnTo>
                    <a:pt x="60" y="227"/>
                  </a:lnTo>
                  <a:lnTo>
                    <a:pt x="60" y="231"/>
                  </a:lnTo>
                  <a:lnTo>
                    <a:pt x="56" y="231"/>
                  </a:lnTo>
                  <a:lnTo>
                    <a:pt x="60" y="231"/>
                  </a:lnTo>
                  <a:lnTo>
                    <a:pt x="56" y="235"/>
                  </a:lnTo>
                  <a:lnTo>
                    <a:pt x="52" y="235"/>
                  </a:lnTo>
                  <a:lnTo>
                    <a:pt x="52" y="239"/>
                  </a:lnTo>
                  <a:lnTo>
                    <a:pt x="48" y="243"/>
                  </a:lnTo>
                  <a:lnTo>
                    <a:pt x="48" y="239"/>
                  </a:lnTo>
                  <a:lnTo>
                    <a:pt x="48" y="235"/>
                  </a:lnTo>
                  <a:lnTo>
                    <a:pt x="48" y="239"/>
                  </a:lnTo>
                  <a:lnTo>
                    <a:pt x="44" y="239"/>
                  </a:lnTo>
                  <a:lnTo>
                    <a:pt x="48" y="239"/>
                  </a:lnTo>
                  <a:lnTo>
                    <a:pt x="44" y="239"/>
                  </a:lnTo>
                  <a:lnTo>
                    <a:pt x="44" y="243"/>
                  </a:lnTo>
                  <a:lnTo>
                    <a:pt x="44" y="239"/>
                  </a:lnTo>
                  <a:lnTo>
                    <a:pt x="44" y="235"/>
                  </a:lnTo>
                  <a:lnTo>
                    <a:pt x="44" y="239"/>
                  </a:lnTo>
                  <a:lnTo>
                    <a:pt x="44" y="243"/>
                  </a:lnTo>
                  <a:lnTo>
                    <a:pt x="40" y="243"/>
                  </a:lnTo>
                  <a:lnTo>
                    <a:pt x="40" y="239"/>
                  </a:lnTo>
                  <a:lnTo>
                    <a:pt x="40" y="235"/>
                  </a:lnTo>
                  <a:lnTo>
                    <a:pt x="40" y="239"/>
                  </a:lnTo>
                  <a:lnTo>
                    <a:pt x="36" y="239"/>
                  </a:lnTo>
                  <a:lnTo>
                    <a:pt x="40" y="235"/>
                  </a:lnTo>
                  <a:lnTo>
                    <a:pt x="36" y="235"/>
                  </a:lnTo>
                  <a:lnTo>
                    <a:pt x="36" y="239"/>
                  </a:lnTo>
                  <a:lnTo>
                    <a:pt x="36" y="235"/>
                  </a:lnTo>
                  <a:lnTo>
                    <a:pt x="36" y="231"/>
                  </a:lnTo>
                  <a:lnTo>
                    <a:pt x="36" y="235"/>
                  </a:lnTo>
                  <a:lnTo>
                    <a:pt x="32" y="235"/>
                  </a:lnTo>
                  <a:lnTo>
                    <a:pt x="32" y="239"/>
                  </a:lnTo>
                  <a:lnTo>
                    <a:pt x="28" y="239"/>
                  </a:lnTo>
                  <a:lnTo>
                    <a:pt x="32" y="231"/>
                  </a:lnTo>
                  <a:lnTo>
                    <a:pt x="32" y="227"/>
                  </a:lnTo>
                  <a:lnTo>
                    <a:pt x="32" y="223"/>
                  </a:lnTo>
                  <a:lnTo>
                    <a:pt x="32" y="219"/>
                  </a:lnTo>
                  <a:lnTo>
                    <a:pt x="36" y="215"/>
                  </a:lnTo>
                  <a:lnTo>
                    <a:pt x="36" y="211"/>
                  </a:lnTo>
                  <a:lnTo>
                    <a:pt x="36" y="207"/>
                  </a:lnTo>
                  <a:lnTo>
                    <a:pt x="36" y="203"/>
                  </a:lnTo>
                  <a:lnTo>
                    <a:pt x="32" y="199"/>
                  </a:lnTo>
                  <a:lnTo>
                    <a:pt x="36" y="199"/>
                  </a:lnTo>
                  <a:lnTo>
                    <a:pt x="32" y="195"/>
                  </a:lnTo>
                  <a:lnTo>
                    <a:pt x="32" y="191"/>
                  </a:lnTo>
                  <a:lnTo>
                    <a:pt x="32" y="187"/>
                  </a:lnTo>
                  <a:lnTo>
                    <a:pt x="28" y="183"/>
                  </a:lnTo>
                  <a:lnTo>
                    <a:pt x="28" y="187"/>
                  </a:lnTo>
                  <a:lnTo>
                    <a:pt x="28" y="183"/>
                  </a:lnTo>
                  <a:lnTo>
                    <a:pt x="28" y="179"/>
                  </a:lnTo>
                  <a:lnTo>
                    <a:pt x="24" y="179"/>
                  </a:lnTo>
                  <a:lnTo>
                    <a:pt x="24" y="175"/>
                  </a:lnTo>
                  <a:lnTo>
                    <a:pt x="28" y="175"/>
                  </a:lnTo>
                  <a:lnTo>
                    <a:pt x="24" y="171"/>
                  </a:lnTo>
                  <a:lnTo>
                    <a:pt x="24" y="167"/>
                  </a:lnTo>
                  <a:lnTo>
                    <a:pt x="20" y="167"/>
                  </a:lnTo>
                  <a:lnTo>
                    <a:pt x="24" y="163"/>
                  </a:lnTo>
                  <a:lnTo>
                    <a:pt x="24" y="167"/>
                  </a:lnTo>
                  <a:lnTo>
                    <a:pt x="24" y="163"/>
                  </a:lnTo>
                  <a:lnTo>
                    <a:pt x="20" y="163"/>
                  </a:lnTo>
                  <a:lnTo>
                    <a:pt x="20" y="167"/>
                  </a:lnTo>
                  <a:lnTo>
                    <a:pt x="20" y="163"/>
                  </a:lnTo>
                  <a:lnTo>
                    <a:pt x="16" y="163"/>
                  </a:lnTo>
                  <a:lnTo>
                    <a:pt x="12" y="163"/>
                  </a:lnTo>
                  <a:lnTo>
                    <a:pt x="16" y="163"/>
                  </a:lnTo>
                  <a:lnTo>
                    <a:pt x="16" y="167"/>
                  </a:lnTo>
                  <a:lnTo>
                    <a:pt x="16" y="163"/>
                  </a:lnTo>
                  <a:lnTo>
                    <a:pt x="12" y="163"/>
                  </a:lnTo>
                  <a:lnTo>
                    <a:pt x="12" y="167"/>
                  </a:lnTo>
                  <a:lnTo>
                    <a:pt x="16" y="167"/>
                  </a:lnTo>
                  <a:lnTo>
                    <a:pt x="12" y="167"/>
                  </a:lnTo>
                  <a:lnTo>
                    <a:pt x="12" y="163"/>
                  </a:lnTo>
                  <a:lnTo>
                    <a:pt x="12" y="159"/>
                  </a:lnTo>
                  <a:lnTo>
                    <a:pt x="12" y="155"/>
                  </a:lnTo>
                  <a:lnTo>
                    <a:pt x="12" y="152"/>
                  </a:lnTo>
                  <a:lnTo>
                    <a:pt x="12" y="155"/>
                  </a:lnTo>
                  <a:lnTo>
                    <a:pt x="12" y="159"/>
                  </a:lnTo>
                  <a:lnTo>
                    <a:pt x="8" y="159"/>
                  </a:lnTo>
                  <a:lnTo>
                    <a:pt x="12" y="155"/>
                  </a:lnTo>
                  <a:lnTo>
                    <a:pt x="8" y="155"/>
                  </a:lnTo>
                  <a:lnTo>
                    <a:pt x="8" y="152"/>
                  </a:lnTo>
                  <a:lnTo>
                    <a:pt x="8" y="155"/>
                  </a:lnTo>
                  <a:lnTo>
                    <a:pt x="8" y="159"/>
                  </a:lnTo>
                  <a:lnTo>
                    <a:pt x="8" y="155"/>
                  </a:lnTo>
                  <a:lnTo>
                    <a:pt x="4" y="155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0" y="148"/>
                  </a:lnTo>
                  <a:lnTo>
                    <a:pt x="0" y="144"/>
                  </a:lnTo>
                  <a:lnTo>
                    <a:pt x="0" y="140"/>
                  </a:lnTo>
                  <a:lnTo>
                    <a:pt x="0" y="136"/>
                  </a:lnTo>
                  <a:lnTo>
                    <a:pt x="4" y="136"/>
                  </a:lnTo>
                  <a:lnTo>
                    <a:pt x="4" y="140"/>
                  </a:lnTo>
                  <a:lnTo>
                    <a:pt x="8" y="140"/>
                  </a:lnTo>
                  <a:lnTo>
                    <a:pt x="8" y="136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4" y="128"/>
                  </a:lnTo>
                  <a:lnTo>
                    <a:pt x="8" y="124"/>
                  </a:lnTo>
                  <a:lnTo>
                    <a:pt x="12" y="124"/>
                  </a:lnTo>
                  <a:lnTo>
                    <a:pt x="12" y="120"/>
                  </a:lnTo>
                  <a:lnTo>
                    <a:pt x="12" y="124"/>
                  </a:lnTo>
                  <a:lnTo>
                    <a:pt x="16" y="124"/>
                  </a:lnTo>
                  <a:lnTo>
                    <a:pt x="16" y="120"/>
                  </a:lnTo>
                  <a:lnTo>
                    <a:pt x="16" y="116"/>
                  </a:lnTo>
                  <a:lnTo>
                    <a:pt x="12" y="116"/>
                  </a:lnTo>
                  <a:lnTo>
                    <a:pt x="12" y="112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6" y="104"/>
                  </a:lnTo>
                  <a:lnTo>
                    <a:pt x="16" y="108"/>
                  </a:lnTo>
                  <a:lnTo>
                    <a:pt x="16" y="104"/>
                  </a:lnTo>
                  <a:lnTo>
                    <a:pt x="16" y="100"/>
                  </a:lnTo>
                  <a:lnTo>
                    <a:pt x="20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6" y="88"/>
                  </a:lnTo>
                  <a:lnTo>
                    <a:pt x="20" y="88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28" y="92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68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44" y="56"/>
                  </a:lnTo>
                  <a:lnTo>
                    <a:pt x="44" y="52"/>
                  </a:lnTo>
                  <a:lnTo>
                    <a:pt x="44" y="48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36"/>
                  </a:lnTo>
                  <a:lnTo>
                    <a:pt x="48" y="36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6" y="28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6" y="28"/>
                  </a:lnTo>
                  <a:lnTo>
                    <a:pt x="72" y="24"/>
                  </a:lnTo>
                  <a:lnTo>
                    <a:pt x="72" y="20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76" y="8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8"/>
                  </a:lnTo>
                  <a:lnTo>
                    <a:pt x="88" y="12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5" y="20"/>
                  </a:lnTo>
                  <a:lnTo>
                    <a:pt x="95" y="16"/>
                  </a:lnTo>
                  <a:lnTo>
                    <a:pt x="95" y="20"/>
                  </a:lnTo>
                  <a:lnTo>
                    <a:pt x="99" y="20"/>
                  </a:lnTo>
                  <a:lnTo>
                    <a:pt x="99" y="24"/>
                  </a:lnTo>
                  <a:lnTo>
                    <a:pt x="99" y="28"/>
                  </a:lnTo>
                  <a:lnTo>
                    <a:pt x="99" y="32"/>
                  </a:lnTo>
                  <a:lnTo>
                    <a:pt x="99" y="36"/>
                  </a:lnTo>
                  <a:lnTo>
                    <a:pt x="99" y="40"/>
                  </a:lnTo>
                  <a:lnTo>
                    <a:pt x="99" y="44"/>
                  </a:lnTo>
                  <a:lnTo>
                    <a:pt x="99" y="48"/>
                  </a:lnTo>
                  <a:lnTo>
                    <a:pt x="95" y="48"/>
                  </a:lnTo>
                  <a:lnTo>
                    <a:pt x="95" y="52"/>
                  </a:lnTo>
                  <a:lnTo>
                    <a:pt x="99" y="52"/>
                  </a:lnTo>
                  <a:lnTo>
                    <a:pt x="95" y="52"/>
                  </a:lnTo>
                  <a:lnTo>
                    <a:pt x="95" y="56"/>
                  </a:lnTo>
                  <a:lnTo>
                    <a:pt x="91" y="56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4" y="64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80" y="76"/>
                  </a:lnTo>
                  <a:lnTo>
                    <a:pt x="80" y="80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84" y="88"/>
                  </a:lnTo>
                  <a:lnTo>
                    <a:pt x="84" y="92"/>
                  </a:lnTo>
                  <a:lnTo>
                    <a:pt x="84" y="88"/>
                  </a:lnTo>
                  <a:lnTo>
                    <a:pt x="88" y="88"/>
                  </a:lnTo>
                  <a:lnTo>
                    <a:pt x="88" y="84"/>
                  </a:lnTo>
                  <a:lnTo>
                    <a:pt x="91" y="84"/>
                  </a:lnTo>
                  <a:lnTo>
                    <a:pt x="95" y="84"/>
                  </a:lnTo>
                  <a:lnTo>
                    <a:pt x="99" y="84"/>
                  </a:lnTo>
                  <a:lnTo>
                    <a:pt x="99" y="88"/>
                  </a:lnTo>
                  <a:lnTo>
                    <a:pt x="95" y="88"/>
                  </a:lnTo>
                  <a:lnTo>
                    <a:pt x="99" y="92"/>
                  </a:lnTo>
                  <a:lnTo>
                    <a:pt x="99" y="96"/>
                  </a:lnTo>
                  <a:lnTo>
                    <a:pt x="99" y="100"/>
                  </a:lnTo>
                  <a:lnTo>
                    <a:pt x="99" y="104"/>
                  </a:lnTo>
                  <a:lnTo>
                    <a:pt x="103" y="104"/>
                  </a:lnTo>
                  <a:lnTo>
                    <a:pt x="107" y="104"/>
                  </a:lnTo>
                  <a:lnTo>
                    <a:pt x="111" y="104"/>
                  </a:lnTo>
                  <a:lnTo>
                    <a:pt x="111" y="108"/>
                  </a:lnTo>
                  <a:lnTo>
                    <a:pt x="107" y="108"/>
                  </a:lnTo>
                  <a:lnTo>
                    <a:pt x="107" y="112"/>
                  </a:lnTo>
                  <a:lnTo>
                    <a:pt x="107" y="116"/>
                  </a:lnTo>
                  <a:lnTo>
                    <a:pt x="107" y="120"/>
                  </a:lnTo>
                  <a:lnTo>
                    <a:pt x="103" y="124"/>
                  </a:lnTo>
                  <a:lnTo>
                    <a:pt x="107" y="124"/>
                  </a:lnTo>
                  <a:lnTo>
                    <a:pt x="111" y="124"/>
                  </a:lnTo>
                  <a:lnTo>
                    <a:pt x="115" y="124"/>
                  </a:lnTo>
                  <a:lnTo>
                    <a:pt x="115" y="128"/>
                  </a:lnTo>
                  <a:lnTo>
                    <a:pt x="115" y="132"/>
                  </a:lnTo>
                  <a:lnTo>
                    <a:pt x="119" y="132"/>
                  </a:lnTo>
                  <a:lnTo>
                    <a:pt x="119" y="136"/>
                  </a:lnTo>
                  <a:lnTo>
                    <a:pt x="123" y="136"/>
                  </a:lnTo>
                  <a:lnTo>
                    <a:pt x="127" y="136"/>
                  </a:lnTo>
                  <a:lnTo>
                    <a:pt x="131" y="132"/>
                  </a:lnTo>
                  <a:lnTo>
                    <a:pt x="135" y="132"/>
                  </a:lnTo>
                  <a:lnTo>
                    <a:pt x="135" y="136"/>
                  </a:lnTo>
                  <a:lnTo>
                    <a:pt x="131" y="136"/>
                  </a:lnTo>
                  <a:lnTo>
                    <a:pt x="131" y="140"/>
                  </a:lnTo>
                  <a:lnTo>
                    <a:pt x="127" y="140"/>
                  </a:lnTo>
                  <a:lnTo>
                    <a:pt x="127" y="144"/>
                  </a:lnTo>
                  <a:lnTo>
                    <a:pt x="123" y="144"/>
                  </a:lnTo>
                  <a:lnTo>
                    <a:pt x="123" y="148"/>
                  </a:lnTo>
                  <a:lnTo>
                    <a:pt x="127" y="148"/>
                  </a:lnTo>
                  <a:lnTo>
                    <a:pt x="123" y="148"/>
                  </a:lnTo>
                  <a:lnTo>
                    <a:pt x="119" y="148"/>
                  </a:lnTo>
                  <a:lnTo>
                    <a:pt x="119" y="152"/>
                  </a:lnTo>
                  <a:lnTo>
                    <a:pt x="119" y="155"/>
                  </a:lnTo>
                  <a:lnTo>
                    <a:pt x="115" y="155"/>
                  </a:lnTo>
                  <a:lnTo>
                    <a:pt x="111" y="155"/>
                  </a:lnTo>
                  <a:lnTo>
                    <a:pt x="111" y="159"/>
                  </a:lnTo>
                  <a:lnTo>
                    <a:pt x="107" y="159"/>
                  </a:lnTo>
                  <a:lnTo>
                    <a:pt x="107" y="163"/>
                  </a:lnTo>
                  <a:lnTo>
                    <a:pt x="107" y="159"/>
                  </a:lnTo>
                  <a:lnTo>
                    <a:pt x="103" y="159"/>
                  </a:lnTo>
                  <a:lnTo>
                    <a:pt x="103" y="163"/>
                  </a:lnTo>
                  <a:lnTo>
                    <a:pt x="103" y="167"/>
                  </a:lnTo>
                  <a:lnTo>
                    <a:pt x="99" y="167"/>
                  </a:lnTo>
                  <a:lnTo>
                    <a:pt x="95" y="167"/>
                  </a:lnTo>
                  <a:lnTo>
                    <a:pt x="91" y="167"/>
                  </a:lnTo>
                  <a:lnTo>
                    <a:pt x="88" y="167"/>
                  </a:lnTo>
                  <a:lnTo>
                    <a:pt x="88" y="171"/>
                  </a:lnTo>
                  <a:lnTo>
                    <a:pt x="84" y="171"/>
                  </a:lnTo>
                  <a:lnTo>
                    <a:pt x="84" y="175"/>
                  </a:lnTo>
                  <a:lnTo>
                    <a:pt x="84" y="179"/>
                  </a:lnTo>
                  <a:lnTo>
                    <a:pt x="84" y="183"/>
                  </a:lnTo>
                  <a:lnTo>
                    <a:pt x="84" y="187"/>
                  </a:lnTo>
                  <a:lnTo>
                    <a:pt x="84" y="191"/>
                  </a:lnTo>
                  <a:lnTo>
                    <a:pt x="80" y="191"/>
                  </a:lnTo>
                  <a:lnTo>
                    <a:pt x="76" y="191"/>
                  </a:lnTo>
                  <a:lnTo>
                    <a:pt x="80" y="191"/>
                  </a:lnTo>
                  <a:lnTo>
                    <a:pt x="80" y="195"/>
                  </a:lnTo>
                  <a:lnTo>
                    <a:pt x="84" y="195"/>
                  </a:lnTo>
                  <a:lnTo>
                    <a:pt x="80" y="195"/>
                  </a:lnTo>
                  <a:lnTo>
                    <a:pt x="84" y="199"/>
                  </a:lnTo>
                  <a:lnTo>
                    <a:pt x="84" y="203"/>
                  </a:lnTo>
                  <a:lnTo>
                    <a:pt x="84" y="207"/>
                  </a:lnTo>
                  <a:lnTo>
                    <a:pt x="88" y="207"/>
                  </a:lnTo>
                  <a:lnTo>
                    <a:pt x="88" y="211"/>
                  </a:lnTo>
                  <a:lnTo>
                    <a:pt x="88" y="215"/>
                  </a:lnTo>
                  <a:lnTo>
                    <a:pt x="91" y="215"/>
                  </a:lnTo>
                  <a:lnTo>
                    <a:pt x="91" y="219"/>
                  </a:lnTo>
                  <a:lnTo>
                    <a:pt x="95" y="219"/>
                  </a:lnTo>
                  <a:lnTo>
                    <a:pt x="95" y="223"/>
                  </a:lnTo>
                  <a:lnTo>
                    <a:pt x="95" y="227"/>
                  </a:lnTo>
                  <a:lnTo>
                    <a:pt x="95" y="231"/>
                  </a:lnTo>
                  <a:lnTo>
                    <a:pt x="99" y="231"/>
                  </a:lnTo>
                  <a:lnTo>
                    <a:pt x="99" y="235"/>
                  </a:lnTo>
                  <a:lnTo>
                    <a:pt x="95" y="235"/>
                  </a:lnTo>
                  <a:lnTo>
                    <a:pt x="95" y="239"/>
                  </a:lnTo>
                  <a:lnTo>
                    <a:pt x="95" y="243"/>
                  </a:lnTo>
                  <a:lnTo>
                    <a:pt x="95" y="247"/>
                  </a:lnTo>
                  <a:lnTo>
                    <a:pt x="95" y="251"/>
                  </a:lnTo>
                  <a:lnTo>
                    <a:pt x="91" y="251"/>
                  </a:lnTo>
                  <a:lnTo>
                    <a:pt x="91" y="255"/>
                  </a:lnTo>
                  <a:lnTo>
                    <a:pt x="91" y="259"/>
                  </a:lnTo>
                  <a:lnTo>
                    <a:pt x="91" y="263"/>
                  </a:lnTo>
                  <a:lnTo>
                    <a:pt x="95" y="263"/>
                  </a:lnTo>
                  <a:lnTo>
                    <a:pt x="95" y="267"/>
                  </a:lnTo>
                  <a:lnTo>
                    <a:pt x="95" y="271"/>
                  </a:lnTo>
                  <a:lnTo>
                    <a:pt x="99" y="271"/>
                  </a:lnTo>
                  <a:lnTo>
                    <a:pt x="99" y="275"/>
                  </a:lnTo>
                  <a:lnTo>
                    <a:pt x="103" y="275"/>
                  </a:lnTo>
                  <a:lnTo>
                    <a:pt x="103" y="279"/>
                  </a:lnTo>
                  <a:lnTo>
                    <a:pt x="103" y="283"/>
                  </a:lnTo>
                  <a:lnTo>
                    <a:pt x="103" y="287"/>
                  </a:lnTo>
                  <a:lnTo>
                    <a:pt x="107" y="287"/>
                  </a:lnTo>
                  <a:lnTo>
                    <a:pt x="107" y="291"/>
                  </a:lnTo>
                  <a:lnTo>
                    <a:pt x="103" y="291"/>
                  </a:lnTo>
                  <a:lnTo>
                    <a:pt x="107" y="299"/>
                  </a:lnTo>
                  <a:lnTo>
                    <a:pt x="107" y="303"/>
                  </a:lnTo>
                  <a:lnTo>
                    <a:pt x="107" y="307"/>
                  </a:lnTo>
                  <a:lnTo>
                    <a:pt x="111" y="307"/>
                  </a:lnTo>
                  <a:lnTo>
                    <a:pt x="111" y="311"/>
                  </a:lnTo>
                  <a:lnTo>
                    <a:pt x="111" y="315"/>
                  </a:lnTo>
                  <a:lnTo>
                    <a:pt x="111" y="319"/>
                  </a:lnTo>
                  <a:lnTo>
                    <a:pt x="107" y="319"/>
                  </a:lnTo>
                  <a:lnTo>
                    <a:pt x="107" y="323"/>
                  </a:lnTo>
                  <a:lnTo>
                    <a:pt x="107" y="327"/>
                  </a:lnTo>
                  <a:lnTo>
                    <a:pt x="103" y="331"/>
                  </a:lnTo>
                  <a:lnTo>
                    <a:pt x="99" y="335"/>
                  </a:lnTo>
                  <a:close/>
                  <a:moveTo>
                    <a:pt x="24" y="175"/>
                  </a:moveTo>
                  <a:lnTo>
                    <a:pt x="24" y="179"/>
                  </a:lnTo>
                  <a:lnTo>
                    <a:pt x="28" y="179"/>
                  </a:lnTo>
                  <a:lnTo>
                    <a:pt x="28" y="183"/>
                  </a:lnTo>
                  <a:lnTo>
                    <a:pt x="24" y="183"/>
                  </a:lnTo>
                  <a:lnTo>
                    <a:pt x="20" y="179"/>
                  </a:lnTo>
                  <a:lnTo>
                    <a:pt x="20" y="175"/>
                  </a:lnTo>
                  <a:lnTo>
                    <a:pt x="24" y="175"/>
                  </a:lnTo>
                  <a:lnTo>
                    <a:pt x="24" y="179"/>
                  </a:lnTo>
                  <a:lnTo>
                    <a:pt x="24" y="175"/>
                  </a:lnTo>
                  <a:close/>
                  <a:moveTo>
                    <a:pt x="8" y="155"/>
                  </a:moveTo>
                  <a:lnTo>
                    <a:pt x="8" y="159"/>
                  </a:lnTo>
                  <a:lnTo>
                    <a:pt x="8" y="155"/>
                  </a:lnTo>
                  <a:close/>
                  <a:moveTo>
                    <a:pt x="20" y="163"/>
                  </a:moveTo>
                  <a:lnTo>
                    <a:pt x="20" y="167"/>
                  </a:lnTo>
                  <a:lnTo>
                    <a:pt x="16" y="163"/>
                  </a:lnTo>
                  <a:lnTo>
                    <a:pt x="20" y="163"/>
                  </a:lnTo>
                  <a:close/>
                  <a:moveTo>
                    <a:pt x="28" y="175"/>
                  </a:moveTo>
                  <a:lnTo>
                    <a:pt x="24" y="175"/>
                  </a:lnTo>
                  <a:lnTo>
                    <a:pt x="20" y="175"/>
                  </a:lnTo>
                  <a:lnTo>
                    <a:pt x="20" y="171"/>
                  </a:lnTo>
                  <a:lnTo>
                    <a:pt x="24" y="171"/>
                  </a:lnTo>
                  <a:lnTo>
                    <a:pt x="28" y="175"/>
                  </a:lnTo>
                  <a:close/>
                  <a:moveTo>
                    <a:pt x="80" y="227"/>
                  </a:moveTo>
                  <a:lnTo>
                    <a:pt x="80" y="231"/>
                  </a:lnTo>
                  <a:lnTo>
                    <a:pt x="80" y="235"/>
                  </a:lnTo>
                  <a:lnTo>
                    <a:pt x="80" y="231"/>
                  </a:lnTo>
                  <a:lnTo>
                    <a:pt x="80" y="227"/>
                  </a:lnTo>
                  <a:close/>
                  <a:moveTo>
                    <a:pt x="36" y="235"/>
                  </a:moveTo>
                  <a:lnTo>
                    <a:pt x="36" y="239"/>
                  </a:lnTo>
                  <a:lnTo>
                    <a:pt x="32" y="239"/>
                  </a:lnTo>
                  <a:lnTo>
                    <a:pt x="36" y="235"/>
                  </a:lnTo>
                  <a:close/>
                  <a:moveTo>
                    <a:pt x="88" y="311"/>
                  </a:moveTo>
                  <a:lnTo>
                    <a:pt x="88" y="307"/>
                  </a:lnTo>
                  <a:lnTo>
                    <a:pt x="88" y="311"/>
                  </a:lnTo>
                  <a:close/>
                  <a:moveTo>
                    <a:pt x="91" y="351"/>
                  </a:moveTo>
                  <a:lnTo>
                    <a:pt x="88" y="351"/>
                  </a:lnTo>
                  <a:lnTo>
                    <a:pt x="91" y="351"/>
                  </a:lnTo>
                  <a:lnTo>
                    <a:pt x="91" y="347"/>
                  </a:lnTo>
                  <a:lnTo>
                    <a:pt x="91" y="351"/>
                  </a:lnTo>
                  <a:close/>
                  <a:moveTo>
                    <a:pt x="20" y="183"/>
                  </a:moveTo>
                  <a:lnTo>
                    <a:pt x="24" y="183"/>
                  </a:lnTo>
                  <a:lnTo>
                    <a:pt x="24" y="187"/>
                  </a:lnTo>
                  <a:lnTo>
                    <a:pt x="20" y="187"/>
                  </a:lnTo>
                  <a:lnTo>
                    <a:pt x="20" y="183"/>
                  </a:lnTo>
                  <a:close/>
                  <a:moveTo>
                    <a:pt x="91" y="307"/>
                  </a:moveTo>
                  <a:lnTo>
                    <a:pt x="91" y="303"/>
                  </a:lnTo>
                  <a:lnTo>
                    <a:pt x="91" y="299"/>
                  </a:lnTo>
                  <a:lnTo>
                    <a:pt x="95" y="303"/>
                  </a:lnTo>
                  <a:lnTo>
                    <a:pt x="91" y="307"/>
                  </a:lnTo>
                  <a:close/>
                  <a:moveTo>
                    <a:pt x="88" y="307"/>
                  </a:moveTo>
                  <a:lnTo>
                    <a:pt x="88" y="303"/>
                  </a:lnTo>
                  <a:lnTo>
                    <a:pt x="88" y="307"/>
                  </a:lnTo>
                  <a:close/>
                  <a:moveTo>
                    <a:pt x="95" y="311"/>
                  </a:moveTo>
                  <a:lnTo>
                    <a:pt x="95" y="315"/>
                  </a:lnTo>
                  <a:lnTo>
                    <a:pt x="95" y="311"/>
                  </a:lnTo>
                  <a:close/>
                  <a:moveTo>
                    <a:pt x="91" y="319"/>
                  </a:moveTo>
                  <a:lnTo>
                    <a:pt x="91" y="315"/>
                  </a:lnTo>
                  <a:lnTo>
                    <a:pt x="95" y="315"/>
                  </a:lnTo>
                  <a:lnTo>
                    <a:pt x="95" y="319"/>
                  </a:lnTo>
                  <a:lnTo>
                    <a:pt x="91" y="319"/>
                  </a:lnTo>
                  <a:close/>
                  <a:moveTo>
                    <a:pt x="91" y="323"/>
                  </a:moveTo>
                  <a:lnTo>
                    <a:pt x="91" y="319"/>
                  </a:lnTo>
                  <a:lnTo>
                    <a:pt x="91" y="315"/>
                  </a:lnTo>
                  <a:lnTo>
                    <a:pt x="91" y="319"/>
                  </a:lnTo>
                  <a:lnTo>
                    <a:pt x="91" y="323"/>
                  </a:lnTo>
                  <a:close/>
                  <a:moveTo>
                    <a:pt x="91" y="335"/>
                  </a:moveTo>
                  <a:lnTo>
                    <a:pt x="88" y="331"/>
                  </a:lnTo>
                  <a:lnTo>
                    <a:pt x="88" y="335"/>
                  </a:lnTo>
                  <a:lnTo>
                    <a:pt x="88" y="331"/>
                  </a:lnTo>
                  <a:lnTo>
                    <a:pt x="91" y="331"/>
                  </a:lnTo>
                  <a:lnTo>
                    <a:pt x="91" y="33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5" name="Freeform 32"/>
            <p:cNvSpPr>
              <a:spLocks/>
            </p:cNvSpPr>
            <p:nvPr>
              <p:custDataLst>
                <p:tags r:id="rId227"/>
              </p:custDataLst>
            </p:nvPr>
          </p:nvSpPr>
          <p:spPr bwMode="gray">
            <a:xfrm>
              <a:off x="6173534" y="3752091"/>
              <a:ext cx="183900" cy="118645"/>
            </a:xfrm>
            <a:custGeom>
              <a:avLst/>
              <a:gdLst/>
              <a:ahLst/>
              <a:cxnLst>
                <a:cxn ang="0">
                  <a:pos x="36" y="52"/>
                </a:cxn>
                <a:cxn ang="0">
                  <a:pos x="32" y="48"/>
                </a:cxn>
                <a:cxn ang="0">
                  <a:pos x="28" y="48"/>
                </a:cxn>
                <a:cxn ang="0">
                  <a:pos x="20" y="44"/>
                </a:cxn>
                <a:cxn ang="0">
                  <a:pos x="16" y="40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8" y="0"/>
                </a:cxn>
                <a:cxn ang="0">
                  <a:pos x="36" y="8"/>
                </a:cxn>
                <a:cxn ang="0">
                  <a:pos x="44" y="12"/>
                </a:cxn>
                <a:cxn ang="0">
                  <a:pos x="48" y="16"/>
                </a:cxn>
                <a:cxn ang="0">
                  <a:pos x="52" y="24"/>
                </a:cxn>
                <a:cxn ang="0">
                  <a:pos x="56" y="24"/>
                </a:cxn>
                <a:cxn ang="0">
                  <a:pos x="60" y="24"/>
                </a:cxn>
                <a:cxn ang="0">
                  <a:pos x="64" y="28"/>
                </a:cxn>
                <a:cxn ang="0">
                  <a:pos x="68" y="32"/>
                </a:cxn>
                <a:cxn ang="0">
                  <a:pos x="72" y="36"/>
                </a:cxn>
                <a:cxn ang="0">
                  <a:pos x="76" y="36"/>
                </a:cxn>
                <a:cxn ang="0">
                  <a:pos x="76" y="40"/>
                </a:cxn>
                <a:cxn ang="0">
                  <a:pos x="80" y="40"/>
                </a:cxn>
                <a:cxn ang="0">
                  <a:pos x="88" y="44"/>
                </a:cxn>
                <a:cxn ang="0">
                  <a:pos x="88" y="48"/>
                </a:cxn>
                <a:cxn ang="0">
                  <a:pos x="92" y="44"/>
                </a:cxn>
                <a:cxn ang="0">
                  <a:pos x="96" y="48"/>
                </a:cxn>
                <a:cxn ang="0">
                  <a:pos x="100" y="44"/>
                </a:cxn>
                <a:cxn ang="0">
                  <a:pos x="104" y="48"/>
                </a:cxn>
                <a:cxn ang="0">
                  <a:pos x="108" y="48"/>
                </a:cxn>
                <a:cxn ang="0">
                  <a:pos x="116" y="52"/>
                </a:cxn>
                <a:cxn ang="0">
                  <a:pos x="116" y="48"/>
                </a:cxn>
                <a:cxn ang="0">
                  <a:pos x="120" y="48"/>
                </a:cxn>
                <a:cxn ang="0">
                  <a:pos x="124" y="52"/>
                </a:cxn>
                <a:cxn ang="0">
                  <a:pos x="120" y="60"/>
                </a:cxn>
                <a:cxn ang="0">
                  <a:pos x="120" y="68"/>
                </a:cxn>
                <a:cxn ang="0">
                  <a:pos x="120" y="76"/>
                </a:cxn>
                <a:cxn ang="0">
                  <a:pos x="120" y="76"/>
                </a:cxn>
                <a:cxn ang="0">
                  <a:pos x="116" y="76"/>
                </a:cxn>
                <a:cxn ang="0">
                  <a:pos x="112" y="76"/>
                </a:cxn>
                <a:cxn ang="0">
                  <a:pos x="104" y="76"/>
                </a:cxn>
                <a:cxn ang="0">
                  <a:pos x="96" y="76"/>
                </a:cxn>
                <a:cxn ang="0">
                  <a:pos x="92" y="72"/>
                </a:cxn>
                <a:cxn ang="0">
                  <a:pos x="84" y="72"/>
                </a:cxn>
                <a:cxn ang="0">
                  <a:pos x="84" y="68"/>
                </a:cxn>
                <a:cxn ang="0">
                  <a:pos x="80" y="72"/>
                </a:cxn>
                <a:cxn ang="0">
                  <a:pos x="72" y="64"/>
                </a:cxn>
                <a:cxn ang="0">
                  <a:pos x="68" y="64"/>
                </a:cxn>
                <a:cxn ang="0">
                  <a:pos x="68" y="60"/>
                </a:cxn>
                <a:cxn ang="0">
                  <a:pos x="60" y="56"/>
                </a:cxn>
                <a:cxn ang="0">
                  <a:pos x="56" y="60"/>
                </a:cxn>
                <a:cxn ang="0">
                  <a:pos x="52" y="56"/>
                </a:cxn>
                <a:cxn ang="0">
                  <a:pos x="48" y="60"/>
                </a:cxn>
                <a:cxn ang="0">
                  <a:pos x="48" y="56"/>
                </a:cxn>
                <a:cxn ang="0">
                  <a:pos x="40" y="56"/>
                </a:cxn>
              </a:cxnLst>
              <a:rect l="0" t="0" r="r" b="b"/>
              <a:pathLst>
                <a:path w="124" h="80">
                  <a:moveTo>
                    <a:pt x="40" y="52"/>
                  </a:moveTo>
                  <a:lnTo>
                    <a:pt x="40" y="52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2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52"/>
                  </a:lnTo>
                  <a:lnTo>
                    <a:pt x="116" y="52"/>
                  </a:lnTo>
                  <a:lnTo>
                    <a:pt x="116" y="48"/>
                  </a:lnTo>
                  <a:lnTo>
                    <a:pt x="116" y="52"/>
                  </a:lnTo>
                  <a:lnTo>
                    <a:pt x="116" y="52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4" y="48"/>
                  </a:lnTo>
                  <a:lnTo>
                    <a:pt x="124" y="48"/>
                  </a:lnTo>
                  <a:lnTo>
                    <a:pt x="124" y="52"/>
                  </a:lnTo>
                  <a:lnTo>
                    <a:pt x="124" y="52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8"/>
                  </a:lnTo>
                  <a:lnTo>
                    <a:pt x="124" y="68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80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96" y="76"/>
                  </a:lnTo>
                  <a:lnTo>
                    <a:pt x="96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6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0" y="68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68"/>
                  </a:lnTo>
                  <a:lnTo>
                    <a:pt x="72" y="68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6" name="Freeform 33"/>
            <p:cNvSpPr>
              <a:spLocks/>
            </p:cNvSpPr>
            <p:nvPr>
              <p:custDataLst>
                <p:tags r:id="rId228"/>
              </p:custDataLst>
            </p:nvPr>
          </p:nvSpPr>
          <p:spPr bwMode="gray">
            <a:xfrm>
              <a:off x="7167187" y="3373910"/>
              <a:ext cx="142374" cy="158687"/>
            </a:xfrm>
            <a:custGeom>
              <a:avLst/>
              <a:gdLst/>
              <a:ahLst/>
              <a:cxnLst>
                <a:cxn ang="0">
                  <a:pos x="48" y="79"/>
                </a:cxn>
                <a:cxn ang="0">
                  <a:pos x="56" y="83"/>
                </a:cxn>
                <a:cxn ang="0">
                  <a:pos x="60" y="87"/>
                </a:cxn>
                <a:cxn ang="0">
                  <a:pos x="60" y="91"/>
                </a:cxn>
                <a:cxn ang="0">
                  <a:pos x="60" y="95"/>
                </a:cxn>
                <a:cxn ang="0">
                  <a:pos x="56" y="95"/>
                </a:cxn>
                <a:cxn ang="0">
                  <a:pos x="44" y="95"/>
                </a:cxn>
                <a:cxn ang="0">
                  <a:pos x="40" y="99"/>
                </a:cxn>
                <a:cxn ang="0">
                  <a:pos x="36" y="107"/>
                </a:cxn>
                <a:cxn ang="0">
                  <a:pos x="28" y="103"/>
                </a:cxn>
                <a:cxn ang="0">
                  <a:pos x="24" y="107"/>
                </a:cxn>
                <a:cxn ang="0">
                  <a:pos x="20" y="103"/>
                </a:cxn>
                <a:cxn ang="0">
                  <a:pos x="20" y="103"/>
                </a:cxn>
                <a:cxn ang="0">
                  <a:pos x="16" y="107"/>
                </a:cxn>
                <a:cxn ang="0">
                  <a:pos x="16" y="103"/>
                </a:cxn>
                <a:cxn ang="0">
                  <a:pos x="12" y="103"/>
                </a:cxn>
                <a:cxn ang="0">
                  <a:pos x="12" y="103"/>
                </a:cxn>
                <a:cxn ang="0">
                  <a:pos x="12" y="99"/>
                </a:cxn>
                <a:cxn ang="0">
                  <a:pos x="4" y="99"/>
                </a:cxn>
                <a:cxn ang="0">
                  <a:pos x="8" y="91"/>
                </a:cxn>
                <a:cxn ang="0">
                  <a:pos x="16" y="87"/>
                </a:cxn>
                <a:cxn ang="0">
                  <a:pos x="20" y="91"/>
                </a:cxn>
                <a:cxn ang="0">
                  <a:pos x="12" y="87"/>
                </a:cxn>
                <a:cxn ang="0">
                  <a:pos x="12" y="79"/>
                </a:cxn>
                <a:cxn ang="0">
                  <a:pos x="16" y="75"/>
                </a:cxn>
                <a:cxn ang="0">
                  <a:pos x="16" y="71"/>
                </a:cxn>
                <a:cxn ang="0">
                  <a:pos x="4" y="67"/>
                </a:cxn>
                <a:cxn ang="0">
                  <a:pos x="4" y="63"/>
                </a:cxn>
                <a:cxn ang="0">
                  <a:pos x="0" y="59"/>
                </a:cxn>
                <a:cxn ang="0">
                  <a:pos x="4" y="55"/>
                </a:cxn>
                <a:cxn ang="0">
                  <a:pos x="12" y="47"/>
                </a:cxn>
                <a:cxn ang="0">
                  <a:pos x="20" y="47"/>
                </a:cxn>
                <a:cxn ang="0">
                  <a:pos x="28" y="35"/>
                </a:cxn>
                <a:cxn ang="0">
                  <a:pos x="32" y="31"/>
                </a:cxn>
                <a:cxn ang="0">
                  <a:pos x="36" y="27"/>
                </a:cxn>
                <a:cxn ang="0">
                  <a:pos x="40" y="27"/>
                </a:cxn>
                <a:cxn ang="0">
                  <a:pos x="52" y="31"/>
                </a:cxn>
                <a:cxn ang="0">
                  <a:pos x="56" y="31"/>
                </a:cxn>
                <a:cxn ang="0">
                  <a:pos x="60" y="27"/>
                </a:cxn>
                <a:cxn ang="0">
                  <a:pos x="60" y="19"/>
                </a:cxn>
                <a:cxn ang="0">
                  <a:pos x="64" y="19"/>
                </a:cxn>
                <a:cxn ang="0">
                  <a:pos x="72" y="19"/>
                </a:cxn>
                <a:cxn ang="0">
                  <a:pos x="76" y="11"/>
                </a:cxn>
                <a:cxn ang="0">
                  <a:pos x="80" y="8"/>
                </a:cxn>
                <a:cxn ang="0">
                  <a:pos x="84" y="0"/>
                </a:cxn>
                <a:cxn ang="0">
                  <a:pos x="88" y="4"/>
                </a:cxn>
                <a:cxn ang="0">
                  <a:pos x="96" y="11"/>
                </a:cxn>
                <a:cxn ang="0">
                  <a:pos x="96" y="15"/>
                </a:cxn>
                <a:cxn ang="0">
                  <a:pos x="88" y="19"/>
                </a:cxn>
                <a:cxn ang="0">
                  <a:pos x="80" y="27"/>
                </a:cxn>
                <a:cxn ang="0">
                  <a:pos x="80" y="31"/>
                </a:cxn>
                <a:cxn ang="0">
                  <a:pos x="80" y="39"/>
                </a:cxn>
                <a:cxn ang="0">
                  <a:pos x="80" y="43"/>
                </a:cxn>
                <a:cxn ang="0">
                  <a:pos x="72" y="51"/>
                </a:cxn>
                <a:cxn ang="0">
                  <a:pos x="68" y="51"/>
                </a:cxn>
                <a:cxn ang="0">
                  <a:pos x="56" y="59"/>
                </a:cxn>
                <a:cxn ang="0">
                  <a:pos x="52" y="63"/>
                </a:cxn>
                <a:cxn ang="0">
                  <a:pos x="48" y="71"/>
                </a:cxn>
                <a:cxn ang="0">
                  <a:pos x="48" y="75"/>
                </a:cxn>
              </a:cxnLst>
              <a:rect l="0" t="0" r="r" b="b"/>
              <a:pathLst>
                <a:path w="96" h="107">
                  <a:moveTo>
                    <a:pt x="48" y="75"/>
                  </a:moveTo>
                  <a:lnTo>
                    <a:pt x="48" y="75"/>
                  </a:lnTo>
                  <a:lnTo>
                    <a:pt x="44" y="75"/>
                  </a:lnTo>
                  <a:lnTo>
                    <a:pt x="44" y="75"/>
                  </a:lnTo>
                  <a:lnTo>
                    <a:pt x="44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2" y="95"/>
                  </a:lnTo>
                  <a:lnTo>
                    <a:pt x="48" y="95"/>
                  </a:lnTo>
                  <a:lnTo>
                    <a:pt x="48" y="95"/>
                  </a:lnTo>
                  <a:lnTo>
                    <a:pt x="48" y="95"/>
                  </a:lnTo>
                  <a:lnTo>
                    <a:pt x="44" y="95"/>
                  </a:lnTo>
                  <a:lnTo>
                    <a:pt x="44" y="95"/>
                  </a:lnTo>
                  <a:lnTo>
                    <a:pt x="44" y="95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7"/>
                  </a:lnTo>
                  <a:lnTo>
                    <a:pt x="36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28" y="103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4" y="107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4" y="107"/>
                  </a:lnTo>
                  <a:lnTo>
                    <a:pt x="24" y="107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7"/>
                  </a:lnTo>
                  <a:lnTo>
                    <a:pt x="20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8" y="103"/>
                  </a:lnTo>
                  <a:lnTo>
                    <a:pt x="8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8" y="99"/>
                  </a:lnTo>
                  <a:lnTo>
                    <a:pt x="8" y="99"/>
                  </a:lnTo>
                  <a:lnTo>
                    <a:pt x="8" y="99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8" y="99"/>
                  </a:lnTo>
                  <a:lnTo>
                    <a:pt x="8" y="99"/>
                  </a:lnTo>
                  <a:lnTo>
                    <a:pt x="8" y="95"/>
                  </a:lnTo>
                  <a:lnTo>
                    <a:pt x="8" y="95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12" y="91"/>
                  </a:lnTo>
                  <a:lnTo>
                    <a:pt x="12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12" y="67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71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12" y="51"/>
                  </a:lnTo>
                  <a:lnTo>
                    <a:pt x="8" y="51"/>
                  </a:lnTo>
                  <a:lnTo>
                    <a:pt x="12" y="51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20" y="47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8" y="39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40" y="23"/>
                  </a:lnTo>
                  <a:lnTo>
                    <a:pt x="40" y="23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4" y="27"/>
                  </a:lnTo>
                  <a:lnTo>
                    <a:pt x="44" y="31"/>
                  </a:lnTo>
                  <a:lnTo>
                    <a:pt x="48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60" y="31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56" y="27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72" y="19"/>
                  </a:lnTo>
                  <a:lnTo>
                    <a:pt x="72" y="19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1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80" y="11"/>
                  </a:lnTo>
                  <a:lnTo>
                    <a:pt x="80" y="11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4"/>
                  </a:lnTo>
                  <a:lnTo>
                    <a:pt x="84" y="4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6" y="11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88" y="15"/>
                  </a:lnTo>
                  <a:lnTo>
                    <a:pt x="88" y="19"/>
                  </a:lnTo>
                  <a:lnTo>
                    <a:pt x="84" y="19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0" y="23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4" y="31"/>
                  </a:lnTo>
                  <a:lnTo>
                    <a:pt x="84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68" y="51"/>
                  </a:lnTo>
                  <a:lnTo>
                    <a:pt x="68" y="51"/>
                  </a:lnTo>
                  <a:lnTo>
                    <a:pt x="68" y="51"/>
                  </a:lnTo>
                  <a:lnTo>
                    <a:pt x="68" y="51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4" y="55"/>
                  </a:lnTo>
                  <a:lnTo>
                    <a:pt x="64" y="59"/>
                  </a:lnTo>
                  <a:lnTo>
                    <a:pt x="60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48" y="63"/>
                  </a:lnTo>
                  <a:lnTo>
                    <a:pt x="48" y="67"/>
                  </a:lnTo>
                  <a:lnTo>
                    <a:pt x="48" y="67"/>
                  </a:lnTo>
                  <a:lnTo>
                    <a:pt x="48" y="67"/>
                  </a:lnTo>
                  <a:lnTo>
                    <a:pt x="48" y="67"/>
                  </a:lnTo>
                  <a:lnTo>
                    <a:pt x="48" y="71"/>
                  </a:lnTo>
                  <a:lnTo>
                    <a:pt x="48" y="71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1"/>
                  </a:lnTo>
                  <a:lnTo>
                    <a:pt x="48" y="71"/>
                  </a:lnTo>
                  <a:lnTo>
                    <a:pt x="48" y="7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7" name="Freeform 34"/>
            <p:cNvSpPr>
              <a:spLocks noEditPoints="1"/>
            </p:cNvSpPr>
            <p:nvPr>
              <p:custDataLst>
                <p:tags r:id="rId229"/>
              </p:custDataLst>
            </p:nvPr>
          </p:nvSpPr>
          <p:spPr bwMode="gray">
            <a:xfrm>
              <a:off x="5540266" y="3870736"/>
              <a:ext cx="177968" cy="271400"/>
            </a:xfrm>
            <a:custGeom>
              <a:avLst/>
              <a:gdLst/>
              <a:ahLst/>
              <a:cxnLst>
                <a:cxn ang="0">
                  <a:pos x="68" y="0"/>
                </a:cxn>
                <a:cxn ang="0">
                  <a:pos x="68" y="8"/>
                </a:cxn>
                <a:cxn ang="0">
                  <a:pos x="64" y="12"/>
                </a:cxn>
                <a:cxn ang="0">
                  <a:pos x="64" y="4"/>
                </a:cxn>
                <a:cxn ang="0">
                  <a:pos x="64" y="0"/>
                </a:cxn>
                <a:cxn ang="0">
                  <a:pos x="68" y="0"/>
                </a:cxn>
                <a:cxn ang="0">
                  <a:pos x="48" y="68"/>
                </a:cxn>
                <a:cxn ang="0">
                  <a:pos x="52" y="60"/>
                </a:cxn>
                <a:cxn ang="0">
                  <a:pos x="56" y="52"/>
                </a:cxn>
                <a:cxn ang="0">
                  <a:pos x="60" y="44"/>
                </a:cxn>
                <a:cxn ang="0">
                  <a:pos x="60" y="40"/>
                </a:cxn>
                <a:cxn ang="0">
                  <a:pos x="60" y="32"/>
                </a:cxn>
                <a:cxn ang="0">
                  <a:pos x="60" y="24"/>
                </a:cxn>
                <a:cxn ang="0">
                  <a:pos x="64" y="28"/>
                </a:cxn>
                <a:cxn ang="0">
                  <a:pos x="64" y="28"/>
                </a:cxn>
                <a:cxn ang="0">
                  <a:pos x="68" y="28"/>
                </a:cxn>
                <a:cxn ang="0">
                  <a:pos x="68" y="24"/>
                </a:cxn>
                <a:cxn ang="0">
                  <a:pos x="72" y="36"/>
                </a:cxn>
                <a:cxn ang="0">
                  <a:pos x="76" y="40"/>
                </a:cxn>
                <a:cxn ang="0">
                  <a:pos x="88" y="48"/>
                </a:cxn>
                <a:cxn ang="0">
                  <a:pos x="92" y="48"/>
                </a:cxn>
                <a:cxn ang="0">
                  <a:pos x="96" y="52"/>
                </a:cxn>
                <a:cxn ang="0">
                  <a:pos x="100" y="52"/>
                </a:cxn>
                <a:cxn ang="0">
                  <a:pos x="108" y="60"/>
                </a:cxn>
                <a:cxn ang="0">
                  <a:pos x="112" y="68"/>
                </a:cxn>
                <a:cxn ang="0">
                  <a:pos x="116" y="72"/>
                </a:cxn>
                <a:cxn ang="0">
                  <a:pos x="120" y="80"/>
                </a:cxn>
                <a:cxn ang="0">
                  <a:pos x="116" y="88"/>
                </a:cxn>
                <a:cxn ang="0">
                  <a:pos x="112" y="96"/>
                </a:cxn>
                <a:cxn ang="0">
                  <a:pos x="104" y="104"/>
                </a:cxn>
                <a:cxn ang="0">
                  <a:pos x="100" y="111"/>
                </a:cxn>
                <a:cxn ang="0">
                  <a:pos x="96" y="111"/>
                </a:cxn>
                <a:cxn ang="0">
                  <a:pos x="96" y="108"/>
                </a:cxn>
                <a:cxn ang="0">
                  <a:pos x="88" y="115"/>
                </a:cxn>
                <a:cxn ang="0">
                  <a:pos x="88" y="123"/>
                </a:cxn>
                <a:cxn ang="0">
                  <a:pos x="88" y="131"/>
                </a:cxn>
                <a:cxn ang="0">
                  <a:pos x="88" y="139"/>
                </a:cxn>
                <a:cxn ang="0">
                  <a:pos x="80" y="139"/>
                </a:cxn>
                <a:cxn ang="0">
                  <a:pos x="72" y="143"/>
                </a:cxn>
                <a:cxn ang="0">
                  <a:pos x="72" y="151"/>
                </a:cxn>
                <a:cxn ang="0">
                  <a:pos x="68" y="155"/>
                </a:cxn>
                <a:cxn ang="0">
                  <a:pos x="64" y="159"/>
                </a:cxn>
                <a:cxn ang="0">
                  <a:pos x="52" y="159"/>
                </a:cxn>
                <a:cxn ang="0">
                  <a:pos x="52" y="163"/>
                </a:cxn>
                <a:cxn ang="0">
                  <a:pos x="52" y="167"/>
                </a:cxn>
                <a:cxn ang="0">
                  <a:pos x="44" y="175"/>
                </a:cxn>
                <a:cxn ang="0">
                  <a:pos x="40" y="175"/>
                </a:cxn>
                <a:cxn ang="0">
                  <a:pos x="28" y="179"/>
                </a:cxn>
                <a:cxn ang="0">
                  <a:pos x="24" y="179"/>
                </a:cxn>
                <a:cxn ang="0">
                  <a:pos x="0" y="139"/>
                </a:cxn>
                <a:cxn ang="0">
                  <a:pos x="104" y="115"/>
                </a:cxn>
                <a:cxn ang="0">
                  <a:pos x="104" y="111"/>
                </a:cxn>
                <a:cxn ang="0">
                  <a:pos x="108" y="108"/>
                </a:cxn>
                <a:cxn ang="0">
                  <a:pos x="104" y="111"/>
                </a:cxn>
                <a:cxn ang="0">
                  <a:pos x="104" y="115"/>
                </a:cxn>
              </a:cxnLst>
              <a:rect l="0" t="0" r="r" b="b"/>
              <a:pathLst>
                <a:path w="120" h="183">
                  <a:moveTo>
                    <a:pt x="68" y="0"/>
                  </a:move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close/>
                  <a:moveTo>
                    <a:pt x="52" y="96"/>
                  </a:moveTo>
                  <a:lnTo>
                    <a:pt x="56" y="80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8"/>
                  </a:lnTo>
                  <a:lnTo>
                    <a:pt x="68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8" y="56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6" y="68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80"/>
                  </a:lnTo>
                  <a:lnTo>
                    <a:pt x="120" y="80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6"/>
                  </a:lnTo>
                  <a:lnTo>
                    <a:pt x="108" y="96"/>
                  </a:lnTo>
                  <a:lnTo>
                    <a:pt x="108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8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2" y="108"/>
                  </a:lnTo>
                  <a:lnTo>
                    <a:pt x="92" y="111"/>
                  </a:lnTo>
                  <a:lnTo>
                    <a:pt x="92" y="111"/>
                  </a:lnTo>
                  <a:lnTo>
                    <a:pt x="92" y="111"/>
                  </a:lnTo>
                  <a:lnTo>
                    <a:pt x="92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9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7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5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4" y="139"/>
                  </a:lnTo>
                  <a:lnTo>
                    <a:pt x="84" y="139"/>
                  </a:lnTo>
                  <a:lnTo>
                    <a:pt x="84" y="139"/>
                  </a:lnTo>
                  <a:lnTo>
                    <a:pt x="80" y="139"/>
                  </a:lnTo>
                  <a:lnTo>
                    <a:pt x="80" y="139"/>
                  </a:lnTo>
                  <a:lnTo>
                    <a:pt x="80" y="139"/>
                  </a:lnTo>
                  <a:lnTo>
                    <a:pt x="76" y="139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2" y="143"/>
                  </a:lnTo>
                  <a:lnTo>
                    <a:pt x="72" y="143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5"/>
                  </a:lnTo>
                  <a:lnTo>
                    <a:pt x="72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4" y="159"/>
                  </a:lnTo>
                  <a:lnTo>
                    <a:pt x="64" y="159"/>
                  </a:lnTo>
                  <a:lnTo>
                    <a:pt x="64" y="159"/>
                  </a:lnTo>
                  <a:lnTo>
                    <a:pt x="60" y="159"/>
                  </a:lnTo>
                  <a:lnTo>
                    <a:pt x="60" y="159"/>
                  </a:lnTo>
                  <a:lnTo>
                    <a:pt x="60" y="159"/>
                  </a:lnTo>
                  <a:lnTo>
                    <a:pt x="56" y="159"/>
                  </a:lnTo>
                  <a:lnTo>
                    <a:pt x="56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48" y="175"/>
                  </a:lnTo>
                  <a:lnTo>
                    <a:pt x="48" y="175"/>
                  </a:lnTo>
                  <a:lnTo>
                    <a:pt x="48" y="175"/>
                  </a:lnTo>
                  <a:lnTo>
                    <a:pt x="48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36" y="175"/>
                  </a:lnTo>
                  <a:lnTo>
                    <a:pt x="32" y="175"/>
                  </a:lnTo>
                  <a:lnTo>
                    <a:pt x="32" y="175"/>
                  </a:lnTo>
                  <a:lnTo>
                    <a:pt x="32" y="175"/>
                  </a:lnTo>
                  <a:lnTo>
                    <a:pt x="28" y="179"/>
                  </a:lnTo>
                  <a:lnTo>
                    <a:pt x="28" y="179"/>
                  </a:lnTo>
                  <a:lnTo>
                    <a:pt x="28" y="179"/>
                  </a:lnTo>
                  <a:lnTo>
                    <a:pt x="28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0" y="179"/>
                  </a:lnTo>
                  <a:lnTo>
                    <a:pt x="20" y="183"/>
                  </a:lnTo>
                  <a:lnTo>
                    <a:pt x="20" y="183"/>
                  </a:lnTo>
                  <a:lnTo>
                    <a:pt x="20" y="183"/>
                  </a:lnTo>
                  <a:lnTo>
                    <a:pt x="12" y="171"/>
                  </a:lnTo>
                  <a:lnTo>
                    <a:pt x="12" y="167"/>
                  </a:lnTo>
                  <a:lnTo>
                    <a:pt x="0" y="139"/>
                  </a:lnTo>
                  <a:lnTo>
                    <a:pt x="48" y="119"/>
                  </a:lnTo>
                  <a:lnTo>
                    <a:pt x="52" y="96"/>
                  </a:lnTo>
                  <a:close/>
                  <a:moveTo>
                    <a:pt x="104" y="115"/>
                  </a:move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08"/>
                  </a:lnTo>
                  <a:lnTo>
                    <a:pt x="104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8" name="Freeform 35"/>
            <p:cNvSpPr>
              <a:spLocks/>
            </p:cNvSpPr>
            <p:nvPr>
              <p:custDataLst>
                <p:tags r:id="rId230"/>
              </p:custDataLst>
            </p:nvPr>
          </p:nvSpPr>
          <p:spPr bwMode="gray">
            <a:xfrm>
              <a:off x="5741963" y="3556326"/>
              <a:ext cx="378181" cy="385597"/>
            </a:xfrm>
            <a:custGeom>
              <a:avLst/>
              <a:gdLst/>
              <a:ahLst/>
              <a:cxnLst>
                <a:cxn ang="0">
                  <a:pos x="56" y="148"/>
                </a:cxn>
                <a:cxn ang="0">
                  <a:pos x="80" y="144"/>
                </a:cxn>
                <a:cxn ang="0">
                  <a:pos x="84" y="128"/>
                </a:cxn>
                <a:cxn ang="0">
                  <a:pos x="92" y="116"/>
                </a:cxn>
                <a:cxn ang="0">
                  <a:pos x="104" y="108"/>
                </a:cxn>
                <a:cxn ang="0">
                  <a:pos x="124" y="108"/>
                </a:cxn>
                <a:cxn ang="0">
                  <a:pos x="128" y="88"/>
                </a:cxn>
                <a:cxn ang="0">
                  <a:pos x="136" y="80"/>
                </a:cxn>
                <a:cxn ang="0">
                  <a:pos x="140" y="64"/>
                </a:cxn>
                <a:cxn ang="0">
                  <a:pos x="152" y="60"/>
                </a:cxn>
                <a:cxn ang="0">
                  <a:pos x="156" y="48"/>
                </a:cxn>
                <a:cxn ang="0">
                  <a:pos x="164" y="28"/>
                </a:cxn>
                <a:cxn ang="0">
                  <a:pos x="156" y="16"/>
                </a:cxn>
                <a:cxn ang="0">
                  <a:pos x="176" y="4"/>
                </a:cxn>
                <a:cxn ang="0">
                  <a:pos x="200" y="4"/>
                </a:cxn>
                <a:cxn ang="0">
                  <a:pos x="219" y="4"/>
                </a:cxn>
                <a:cxn ang="0">
                  <a:pos x="227" y="16"/>
                </a:cxn>
                <a:cxn ang="0">
                  <a:pos x="239" y="24"/>
                </a:cxn>
                <a:cxn ang="0">
                  <a:pos x="255" y="28"/>
                </a:cxn>
                <a:cxn ang="0">
                  <a:pos x="243" y="40"/>
                </a:cxn>
                <a:cxn ang="0">
                  <a:pos x="231" y="48"/>
                </a:cxn>
                <a:cxn ang="0">
                  <a:pos x="208" y="48"/>
                </a:cxn>
                <a:cxn ang="0">
                  <a:pos x="200" y="52"/>
                </a:cxn>
                <a:cxn ang="0">
                  <a:pos x="200" y="64"/>
                </a:cxn>
                <a:cxn ang="0">
                  <a:pos x="204" y="84"/>
                </a:cxn>
                <a:cxn ang="0">
                  <a:pos x="219" y="96"/>
                </a:cxn>
                <a:cxn ang="0">
                  <a:pos x="208" y="108"/>
                </a:cxn>
                <a:cxn ang="0">
                  <a:pos x="208" y="120"/>
                </a:cxn>
                <a:cxn ang="0">
                  <a:pos x="200" y="136"/>
                </a:cxn>
                <a:cxn ang="0">
                  <a:pos x="184" y="160"/>
                </a:cxn>
                <a:cxn ang="0">
                  <a:pos x="172" y="172"/>
                </a:cxn>
                <a:cxn ang="0">
                  <a:pos x="156" y="184"/>
                </a:cxn>
                <a:cxn ang="0">
                  <a:pos x="144" y="180"/>
                </a:cxn>
                <a:cxn ang="0">
                  <a:pos x="132" y="192"/>
                </a:cxn>
                <a:cxn ang="0">
                  <a:pos x="140" y="208"/>
                </a:cxn>
                <a:cxn ang="0">
                  <a:pos x="148" y="228"/>
                </a:cxn>
                <a:cxn ang="0">
                  <a:pos x="152" y="244"/>
                </a:cxn>
                <a:cxn ang="0">
                  <a:pos x="148" y="248"/>
                </a:cxn>
                <a:cxn ang="0">
                  <a:pos x="128" y="252"/>
                </a:cxn>
                <a:cxn ang="0">
                  <a:pos x="116" y="256"/>
                </a:cxn>
                <a:cxn ang="0">
                  <a:pos x="108" y="256"/>
                </a:cxn>
                <a:cxn ang="0">
                  <a:pos x="96" y="252"/>
                </a:cxn>
                <a:cxn ang="0">
                  <a:pos x="88" y="236"/>
                </a:cxn>
                <a:cxn ang="0">
                  <a:pos x="84" y="224"/>
                </a:cxn>
                <a:cxn ang="0">
                  <a:pos x="64" y="228"/>
                </a:cxn>
                <a:cxn ang="0">
                  <a:pos x="52" y="232"/>
                </a:cxn>
                <a:cxn ang="0">
                  <a:pos x="40" y="232"/>
                </a:cxn>
                <a:cxn ang="0">
                  <a:pos x="16" y="236"/>
                </a:cxn>
                <a:cxn ang="0">
                  <a:pos x="16" y="220"/>
                </a:cxn>
                <a:cxn ang="0">
                  <a:pos x="20" y="208"/>
                </a:cxn>
                <a:cxn ang="0">
                  <a:pos x="36" y="200"/>
                </a:cxn>
                <a:cxn ang="0">
                  <a:pos x="28" y="184"/>
                </a:cxn>
                <a:cxn ang="0">
                  <a:pos x="16" y="168"/>
                </a:cxn>
                <a:cxn ang="0">
                  <a:pos x="0" y="144"/>
                </a:cxn>
                <a:cxn ang="0">
                  <a:pos x="36" y="148"/>
                </a:cxn>
              </a:cxnLst>
              <a:rect l="0" t="0" r="r" b="b"/>
              <a:pathLst>
                <a:path w="255" h="260">
                  <a:moveTo>
                    <a:pt x="36" y="148"/>
                  </a:moveTo>
                  <a:lnTo>
                    <a:pt x="40" y="148"/>
                  </a:lnTo>
                  <a:lnTo>
                    <a:pt x="44" y="148"/>
                  </a:lnTo>
                  <a:lnTo>
                    <a:pt x="48" y="152"/>
                  </a:lnTo>
                  <a:lnTo>
                    <a:pt x="52" y="148"/>
                  </a:lnTo>
                  <a:lnTo>
                    <a:pt x="56" y="148"/>
                  </a:lnTo>
                  <a:lnTo>
                    <a:pt x="60" y="148"/>
                  </a:lnTo>
                  <a:lnTo>
                    <a:pt x="64" y="148"/>
                  </a:lnTo>
                  <a:lnTo>
                    <a:pt x="68" y="148"/>
                  </a:lnTo>
                  <a:lnTo>
                    <a:pt x="72" y="144"/>
                  </a:lnTo>
                  <a:lnTo>
                    <a:pt x="76" y="144"/>
                  </a:lnTo>
                  <a:lnTo>
                    <a:pt x="80" y="144"/>
                  </a:lnTo>
                  <a:lnTo>
                    <a:pt x="84" y="140"/>
                  </a:lnTo>
                  <a:lnTo>
                    <a:pt x="80" y="140"/>
                  </a:lnTo>
                  <a:lnTo>
                    <a:pt x="80" y="136"/>
                  </a:lnTo>
                  <a:lnTo>
                    <a:pt x="84" y="136"/>
                  </a:lnTo>
                  <a:lnTo>
                    <a:pt x="84" y="132"/>
                  </a:lnTo>
                  <a:lnTo>
                    <a:pt x="84" y="128"/>
                  </a:lnTo>
                  <a:lnTo>
                    <a:pt x="84" y="120"/>
                  </a:lnTo>
                  <a:lnTo>
                    <a:pt x="88" y="120"/>
                  </a:lnTo>
                  <a:lnTo>
                    <a:pt x="88" y="116"/>
                  </a:lnTo>
                  <a:lnTo>
                    <a:pt x="92" y="116"/>
                  </a:lnTo>
                  <a:lnTo>
                    <a:pt x="92" y="112"/>
                  </a:lnTo>
                  <a:lnTo>
                    <a:pt x="92" y="116"/>
                  </a:lnTo>
                  <a:lnTo>
                    <a:pt x="96" y="116"/>
                  </a:lnTo>
                  <a:lnTo>
                    <a:pt x="100" y="116"/>
                  </a:lnTo>
                  <a:lnTo>
                    <a:pt x="104" y="116"/>
                  </a:lnTo>
                  <a:lnTo>
                    <a:pt x="104" y="112"/>
                  </a:lnTo>
                  <a:lnTo>
                    <a:pt x="100" y="108"/>
                  </a:lnTo>
                  <a:lnTo>
                    <a:pt x="104" y="108"/>
                  </a:lnTo>
                  <a:lnTo>
                    <a:pt x="108" y="108"/>
                  </a:lnTo>
                  <a:lnTo>
                    <a:pt x="112" y="104"/>
                  </a:lnTo>
                  <a:lnTo>
                    <a:pt x="116" y="104"/>
                  </a:lnTo>
                  <a:lnTo>
                    <a:pt x="120" y="104"/>
                  </a:lnTo>
                  <a:lnTo>
                    <a:pt x="120" y="108"/>
                  </a:lnTo>
                  <a:lnTo>
                    <a:pt x="124" y="108"/>
                  </a:lnTo>
                  <a:lnTo>
                    <a:pt x="124" y="104"/>
                  </a:lnTo>
                  <a:lnTo>
                    <a:pt x="128" y="104"/>
                  </a:lnTo>
                  <a:lnTo>
                    <a:pt x="128" y="100"/>
                  </a:lnTo>
                  <a:lnTo>
                    <a:pt x="128" y="96"/>
                  </a:lnTo>
                  <a:lnTo>
                    <a:pt x="128" y="92"/>
                  </a:lnTo>
                  <a:lnTo>
                    <a:pt x="128" y="88"/>
                  </a:lnTo>
                  <a:lnTo>
                    <a:pt x="132" y="88"/>
                  </a:lnTo>
                  <a:lnTo>
                    <a:pt x="132" y="84"/>
                  </a:lnTo>
                  <a:lnTo>
                    <a:pt x="128" y="84"/>
                  </a:lnTo>
                  <a:lnTo>
                    <a:pt x="132" y="84"/>
                  </a:lnTo>
                  <a:lnTo>
                    <a:pt x="132" y="80"/>
                  </a:lnTo>
                  <a:lnTo>
                    <a:pt x="136" y="80"/>
                  </a:lnTo>
                  <a:lnTo>
                    <a:pt x="140" y="76"/>
                  </a:lnTo>
                  <a:lnTo>
                    <a:pt x="144" y="76"/>
                  </a:lnTo>
                  <a:lnTo>
                    <a:pt x="144" y="72"/>
                  </a:lnTo>
                  <a:lnTo>
                    <a:pt x="140" y="72"/>
                  </a:lnTo>
                  <a:lnTo>
                    <a:pt x="140" y="68"/>
                  </a:lnTo>
                  <a:lnTo>
                    <a:pt x="140" y="64"/>
                  </a:lnTo>
                  <a:lnTo>
                    <a:pt x="136" y="64"/>
                  </a:lnTo>
                  <a:lnTo>
                    <a:pt x="136" y="60"/>
                  </a:lnTo>
                  <a:lnTo>
                    <a:pt x="140" y="60"/>
                  </a:lnTo>
                  <a:lnTo>
                    <a:pt x="144" y="60"/>
                  </a:lnTo>
                  <a:lnTo>
                    <a:pt x="148" y="60"/>
                  </a:lnTo>
                  <a:lnTo>
                    <a:pt x="152" y="60"/>
                  </a:lnTo>
                  <a:lnTo>
                    <a:pt x="156" y="60"/>
                  </a:lnTo>
                  <a:lnTo>
                    <a:pt x="156" y="56"/>
                  </a:lnTo>
                  <a:lnTo>
                    <a:pt x="156" y="52"/>
                  </a:lnTo>
                  <a:lnTo>
                    <a:pt x="152" y="52"/>
                  </a:lnTo>
                  <a:lnTo>
                    <a:pt x="152" y="48"/>
                  </a:lnTo>
                  <a:lnTo>
                    <a:pt x="156" y="48"/>
                  </a:lnTo>
                  <a:lnTo>
                    <a:pt x="156" y="44"/>
                  </a:lnTo>
                  <a:lnTo>
                    <a:pt x="160" y="44"/>
                  </a:lnTo>
                  <a:lnTo>
                    <a:pt x="160" y="40"/>
                  </a:lnTo>
                  <a:lnTo>
                    <a:pt x="164" y="36"/>
                  </a:lnTo>
                  <a:lnTo>
                    <a:pt x="164" y="32"/>
                  </a:lnTo>
                  <a:lnTo>
                    <a:pt x="164" y="28"/>
                  </a:lnTo>
                  <a:lnTo>
                    <a:pt x="160" y="28"/>
                  </a:lnTo>
                  <a:lnTo>
                    <a:pt x="164" y="24"/>
                  </a:lnTo>
                  <a:lnTo>
                    <a:pt x="160" y="24"/>
                  </a:lnTo>
                  <a:lnTo>
                    <a:pt x="160" y="20"/>
                  </a:lnTo>
                  <a:lnTo>
                    <a:pt x="156" y="20"/>
                  </a:lnTo>
                  <a:lnTo>
                    <a:pt x="156" y="16"/>
                  </a:lnTo>
                  <a:lnTo>
                    <a:pt x="160" y="16"/>
                  </a:lnTo>
                  <a:lnTo>
                    <a:pt x="164" y="12"/>
                  </a:lnTo>
                  <a:lnTo>
                    <a:pt x="168" y="8"/>
                  </a:lnTo>
                  <a:lnTo>
                    <a:pt x="172" y="8"/>
                  </a:lnTo>
                  <a:lnTo>
                    <a:pt x="172" y="4"/>
                  </a:lnTo>
                  <a:lnTo>
                    <a:pt x="176" y="4"/>
                  </a:lnTo>
                  <a:lnTo>
                    <a:pt x="180" y="4"/>
                  </a:lnTo>
                  <a:lnTo>
                    <a:pt x="184" y="4"/>
                  </a:lnTo>
                  <a:lnTo>
                    <a:pt x="188" y="0"/>
                  </a:lnTo>
                  <a:lnTo>
                    <a:pt x="192" y="0"/>
                  </a:lnTo>
                  <a:lnTo>
                    <a:pt x="196" y="0"/>
                  </a:lnTo>
                  <a:lnTo>
                    <a:pt x="200" y="4"/>
                  </a:lnTo>
                  <a:lnTo>
                    <a:pt x="204" y="0"/>
                  </a:lnTo>
                  <a:lnTo>
                    <a:pt x="208" y="0"/>
                  </a:lnTo>
                  <a:lnTo>
                    <a:pt x="211" y="0"/>
                  </a:lnTo>
                  <a:lnTo>
                    <a:pt x="215" y="0"/>
                  </a:lnTo>
                  <a:lnTo>
                    <a:pt x="219" y="0"/>
                  </a:lnTo>
                  <a:lnTo>
                    <a:pt x="219" y="4"/>
                  </a:lnTo>
                  <a:lnTo>
                    <a:pt x="223" y="4"/>
                  </a:lnTo>
                  <a:lnTo>
                    <a:pt x="227" y="4"/>
                  </a:lnTo>
                  <a:lnTo>
                    <a:pt x="227" y="8"/>
                  </a:lnTo>
                  <a:lnTo>
                    <a:pt x="227" y="12"/>
                  </a:lnTo>
                  <a:lnTo>
                    <a:pt x="231" y="16"/>
                  </a:lnTo>
                  <a:lnTo>
                    <a:pt x="227" y="16"/>
                  </a:lnTo>
                  <a:lnTo>
                    <a:pt x="227" y="20"/>
                  </a:lnTo>
                  <a:lnTo>
                    <a:pt x="231" y="20"/>
                  </a:lnTo>
                  <a:lnTo>
                    <a:pt x="231" y="24"/>
                  </a:lnTo>
                  <a:lnTo>
                    <a:pt x="235" y="24"/>
                  </a:lnTo>
                  <a:lnTo>
                    <a:pt x="239" y="20"/>
                  </a:lnTo>
                  <a:lnTo>
                    <a:pt x="239" y="24"/>
                  </a:lnTo>
                  <a:lnTo>
                    <a:pt x="239" y="28"/>
                  </a:lnTo>
                  <a:lnTo>
                    <a:pt x="243" y="28"/>
                  </a:lnTo>
                  <a:lnTo>
                    <a:pt x="247" y="28"/>
                  </a:lnTo>
                  <a:lnTo>
                    <a:pt x="251" y="32"/>
                  </a:lnTo>
                  <a:lnTo>
                    <a:pt x="255" y="32"/>
                  </a:lnTo>
                  <a:lnTo>
                    <a:pt x="255" y="28"/>
                  </a:lnTo>
                  <a:lnTo>
                    <a:pt x="255" y="32"/>
                  </a:lnTo>
                  <a:lnTo>
                    <a:pt x="251" y="32"/>
                  </a:lnTo>
                  <a:lnTo>
                    <a:pt x="251" y="36"/>
                  </a:lnTo>
                  <a:lnTo>
                    <a:pt x="247" y="36"/>
                  </a:lnTo>
                  <a:lnTo>
                    <a:pt x="243" y="36"/>
                  </a:lnTo>
                  <a:lnTo>
                    <a:pt x="243" y="40"/>
                  </a:lnTo>
                  <a:lnTo>
                    <a:pt x="243" y="44"/>
                  </a:lnTo>
                  <a:lnTo>
                    <a:pt x="243" y="48"/>
                  </a:lnTo>
                  <a:lnTo>
                    <a:pt x="239" y="48"/>
                  </a:lnTo>
                  <a:lnTo>
                    <a:pt x="239" y="44"/>
                  </a:lnTo>
                  <a:lnTo>
                    <a:pt x="235" y="44"/>
                  </a:lnTo>
                  <a:lnTo>
                    <a:pt x="231" y="48"/>
                  </a:lnTo>
                  <a:lnTo>
                    <a:pt x="227" y="48"/>
                  </a:lnTo>
                  <a:lnTo>
                    <a:pt x="223" y="52"/>
                  </a:lnTo>
                  <a:lnTo>
                    <a:pt x="223" y="48"/>
                  </a:lnTo>
                  <a:lnTo>
                    <a:pt x="219" y="48"/>
                  </a:lnTo>
                  <a:lnTo>
                    <a:pt x="215" y="48"/>
                  </a:lnTo>
                  <a:lnTo>
                    <a:pt x="208" y="48"/>
                  </a:lnTo>
                  <a:lnTo>
                    <a:pt x="208" y="44"/>
                  </a:lnTo>
                  <a:lnTo>
                    <a:pt x="204" y="44"/>
                  </a:lnTo>
                  <a:lnTo>
                    <a:pt x="200" y="48"/>
                  </a:lnTo>
                  <a:lnTo>
                    <a:pt x="196" y="48"/>
                  </a:lnTo>
                  <a:lnTo>
                    <a:pt x="196" y="52"/>
                  </a:lnTo>
                  <a:lnTo>
                    <a:pt x="200" y="52"/>
                  </a:lnTo>
                  <a:lnTo>
                    <a:pt x="200" y="56"/>
                  </a:lnTo>
                  <a:lnTo>
                    <a:pt x="196" y="60"/>
                  </a:lnTo>
                  <a:lnTo>
                    <a:pt x="200" y="60"/>
                  </a:lnTo>
                  <a:lnTo>
                    <a:pt x="204" y="60"/>
                  </a:lnTo>
                  <a:lnTo>
                    <a:pt x="204" y="64"/>
                  </a:lnTo>
                  <a:lnTo>
                    <a:pt x="200" y="64"/>
                  </a:lnTo>
                  <a:lnTo>
                    <a:pt x="200" y="68"/>
                  </a:lnTo>
                  <a:lnTo>
                    <a:pt x="204" y="68"/>
                  </a:lnTo>
                  <a:lnTo>
                    <a:pt x="200" y="72"/>
                  </a:lnTo>
                  <a:lnTo>
                    <a:pt x="200" y="76"/>
                  </a:lnTo>
                  <a:lnTo>
                    <a:pt x="204" y="80"/>
                  </a:lnTo>
                  <a:lnTo>
                    <a:pt x="204" y="84"/>
                  </a:lnTo>
                  <a:lnTo>
                    <a:pt x="208" y="84"/>
                  </a:lnTo>
                  <a:lnTo>
                    <a:pt x="208" y="88"/>
                  </a:lnTo>
                  <a:lnTo>
                    <a:pt x="211" y="92"/>
                  </a:lnTo>
                  <a:lnTo>
                    <a:pt x="215" y="92"/>
                  </a:lnTo>
                  <a:lnTo>
                    <a:pt x="219" y="92"/>
                  </a:lnTo>
                  <a:lnTo>
                    <a:pt x="219" y="96"/>
                  </a:lnTo>
                  <a:lnTo>
                    <a:pt x="219" y="100"/>
                  </a:lnTo>
                  <a:lnTo>
                    <a:pt x="215" y="100"/>
                  </a:lnTo>
                  <a:lnTo>
                    <a:pt x="211" y="100"/>
                  </a:lnTo>
                  <a:lnTo>
                    <a:pt x="208" y="100"/>
                  </a:lnTo>
                  <a:lnTo>
                    <a:pt x="208" y="104"/>
                  </a:lnTo>
                  <a:lnTo>
                    <a:pt x="208" y="108"/>
                  </a:lnTo>
                  <a:lnTo>
                    <a:pt x="208" y="112"/>
                  </a:lnTo>
                  <a:lnTo>
                    <a:pt x="208" y="116"/>
                  </a:lnTo>
                  <a:lnTo>
                    <a:pt x="208" y="120"/>
                  </a:lnTo>
                  <a:lnTo>
                    <a:pt x="208" y="116"/>
                  </a:lnTo>
                  <a:lnTo>
                    <a:pt x="211" y="116"/>
                  </a:lnTo>
                  <a:lnTo>
                    <a:pt x="208" y="120"/>
                  </a:lnTo>
                  <a:lnTo>
                    <a:pt x="204" y="120"/>
                  </a:lnTo>
                  <a:lnTo>
                    <a:pt x="204" y="124"/>
                  </a:lnTo>
                  <a:lnTo>
                    <a:pt x="200" y="128"/>
                  </a:lnTo>
                  <a:lnTo>
                    <a:pt x="196" y="132"/>
                  </a:lnTo>
                  <a:lnTo>
                    <a:pt x="200" y="132"/>
                  </a:lnTo>
                  <a:lnTo>
                    <a:pt x="200" y="136"/>
                  </a:lnTo>
                  <a:lnTo>
                    <a:pt x="196" y="140"/>
                  </a:lnTo>
                  <a:lnTo>
                    <a:pt x="192" y="140"/>
                  </a:lnTo>
                  <a:lnTo>
                    <a:pt x="188" y="144"/>
                  </a:lnTo>
                  <a:lnTo>
                    <a:pt x="188" y="148"/>
                  </a:lnTo>
                  <a:lnTo>
                    <a:pt x="184" y="156"/>
                  </a:lnTo>
                  <a:lnTo>
                    <a:pt x="184" y="160"/>
                  </a:lnTo>
                  <a:lnTo>
                    <a:pt x="180" y="160"/>
                  </a:lnTo>
                  <a:lnTo>
                    <a:pt x="176" y="160"/>
                  </a:lnTo>
                  <a:lnTo>
                    <a:pt x="176" y="164"/>
                  </a:lnTo>
                  <a:lnTo>
                    <a:pt x="172" y="164"/>
                  </a:lnTo>
                  <a:lnTo>
                    <a:pt x="172" y="168"/>
                  </a:lnTo>
                  <a:lnTo>
                    <a:pt x="172" y="172"/>
                  </a:lnTo>
                  <a:lnTo>
                    <a:pt x="168" y="176"/>
                  </a:lnTo>
                  <a:lnTo>
                    <a:pt x="168" y="180"/>
                  </a:lnTo>
                  <a:lnTo>
                    <a:pt x="164" y="180"/>
                  </a:lnTo>
                  <a:lnTo>
                    <a:pt x="160" y="180"/>
                  </a:lnTo>
                  <a:lnTo>
                    <a:pt x="156" y="180"/>
                  </a:lnTo>
                  <a:lnTo>
                    <a:pt x="156" y="184"/>
                  </a:lnTo>
                  <a:lnTo>
                    <a:pt x="152" y="184"/>
                  </a:lnTo>
                  <a:lnTo>
                    <a:pt x="148" y="184"/>
                  </a:lnTo>
                  <a:lnTo>
                    <a:pt x="148" y="180"/>
                  </a:lnTo>
                  <a:lnTo>
                    <a:pt x="148" y="176"/>
                  </a:lnTo>
                  <a:lnTo>
                    <a:pt x="144" y="176"/>
                  </a:lnTo>
                  <a:lnTo>
                    <a:pt x="144" y="180"/>
                  </a:lnTo>
                  <a:lnTo>
                    <a:pt x="140" y="180"/>
                  </a:lnTo>
                  <a:lnTo>
                    <a:pt x="140" y="184"/>
                  </a:lnTo>
                  <a:lnTo>
                    <a:pt x="140" y="188"/>
                  </a:lnTo>
                  <a:lnTo>
                    <a:pt x="136" y="188"/>
                  </a:lnTo>
                  <a:lnTo>
                    <a:pt x="136" y="192"/>
                  </a:lnTo>
                  <a:lnTo>
                    <a:pt x="132" y="192"/>
                  </a:lnTo>
                  <a:lnTo>
                    <a:pt x="132" y="196"/>
                  </a:lnTo>
                  <a:lnTo>
                    <a:pt x="132" y="200"/>
                  </a:lnTo>
                  <a:lnTo>
                    <a:pt x="132" y="204"/>
                  </a:lnTo>
                  <a:lnTo>
                    <a:pt x="136" y="204"/>
                  </a:lnTo>
                  <a:lnTo>
                    <a:pt x="140" y="204"/>
                  </a:lnTo>
                  <a:lnTo>
                    <a:pt x="140" y="208"/>
                  </a:lnTo>
                  <a:lnTo>
                    <a:pt x="140" y="212"/>
                  </a:lnTo>
                  <a:lnTo>
                    <a:pt x="140" y="216"/>
                  </a:lnTo>
                  <a:lnTo>
                    <a:pt x="140" y="220"/>
                  </a:lnTo>
                  <a:lnTo>
                    <a:pt x="144" y="224"/>
                  </a:lnTo>
                  <a:lnTo>
                    <a:pt x="148" y="224"/>
                  </a:lnTo>
                  <a:lnTo>
                    <a:pt x="148" y="228"/>
                  </a:lnTo>
                  <a:lnTo>
                    <a:pt x="148" y="232"/>
                  </a:lnTo>
                  <a:lnTo>
                    <a:pt x="152" y="232"/>
                  </a:lnTo>
                  <a:lnTo>
                    <a:pt x="152" y="236"/>
                  </a:lnTo>
                  <a:lnTo>
                    <a:pt x="152" y="240"/>
                  </a:lnTo>
                  <a:lnTo>
                    <a:pt x="156" y="244"/>
                  </a:lnTo>
                  <a:lnTo>
                    <a:pt x="152" y="244"/>
                  </a:lnTo>
                  <a:lnTo>
                    <a:pt x="152" y="248"/>
                  </a:lnTo>
                  <a:lnTo>
                    <a:pt x="156" y="248"/>
                  </a:lnTo>
                  <a:lnTo>
                    <a:pt x="152" y="248"/>
                  </a:lnTo>
                  <a:lnTo>
                    <a:pt x="152" y="252"/>
                  </a:lnTo>
                  <a:lnTo>
                    <a:pt x="148" y="252"/>
                  </a:lnTo>
                  <a:lnTo>
                    <a:pt x="148" y="248"/>
                  </a:lnTo>
                  <a:lnTo>
                    <a:pt x="144" y="248"/>
                  </a:lnTo>
                  <a:lnTo>
                    <a:pt x="140" y="248"/>
                  </a:lnTo>
                  <a:lnTo>
                    <a:pt x="140" y="252"/>
                  </a:lnTo>
                  <a:lnTo>
                    <a:pt x="136" y="252"/>
                  </a:lnTo>
                  <a:lnTo>
                    <a:pt x="132" y="252"/>
                  </a:lnTo>
                  <a:lnTo>
                    <a:pt x="128" y="252"/>
                  </a:lnTo>
                  <a:lnTo>
                    <a:pt x="124" y="252"/>
                  </a:lnTo>
                  <a:lnTo>
                    <a:pt x="124" y="248"/>
                  </a:lnTo>
                  <a:lnTo>
                    <a:pt x="120" y="248"/>
                  </a:lnTo>
                  <a:lnTo>
                    <a:pt x="120" y="252"/>
                  </a:lnTo>
                  <a:lnTo>
                    <a:pt x="120" y="256"/>
                  </a:lnTo>
                  <a:lnTo>
                    <a:pt x="116" y="256"/>
                  </a:lnTo>
                  <a:lnTo>
                    <a:pt x="112" y="256"/>
                  </a:lnTo>
                  <a:lnTo>
                    <a:pt x="112" y="260"/>
                  </a:lnTo>
                  <a:lnTo>
                    <a:pt x="112" y="256"/>
                  </a:lnTo>
                  <a:lnTo>
                    <a:pt x="112" y="260"/>
                  </a:lnTo>
                  <a:lnTo>
                    <a:pt x="108" y="260"/>
                  </a:lnTo>
                  <a:lnTo>
                    <a:pt x="108" y="256"/>
                  </a:lnTo>
                  <a:lnTo>
                    <a:pt x="108" y="260"/>
                  </a:lnTo>
                  <a:lnTo>
                    <a:pt x="108" y="256"/>
                  </a:lnTo>
                  <a:lnTo>
                    <a:pt x="104" y="260"/>
                  </a:lnTo>
                  <a:lnTo>
                    <a:pt x="100" y="260"/>
                  </a:lnTo>
                  <a:lnTo>
                    <a:pt x="100" y="256"/>
                  </a:lnTo>
                  <a:lnTo>
                    <a:pt x="96" y="252"/>
                  </a:lnTo>
                  <a:lnTo>
                    <a:pt x="96" y="248"/>
                  </a:lnTo>
                  <a:lnTo>
                    <a:pt x="96" y="244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88" y="240"/>
                  </a:lnTo>
                  <a:lnTo>
                    <a:pt x="88" y="236"/>
                  </a:lnTo>
                  <a:lnTo>
                    <a:pt x="88" y="232"/>
                  </a:lnTo>
                  <a:lnTo>
                    <a:pt x="88" y="228"/>
                  </a:lnTo>
                  <a:lnTo>
                    <a:pt x="84" y="224"/>
                  </a:lnTo>
                  <a:lnTo>
                    <a:pt x="80" y="224"/>
                  </a:lnTo>
                  <a:lnTo>
                    <a:pt x="80" y="228"/>
                  </a:lnTo>
                  <a:lnTo>
                    <a:pt x="84" y="224"/>
                  </a:lnTo>
                  <a:lnTo>
                    <a:pt x="84" y="228"/>
                  </a:lnTo>
                  <a:lnTo>
                    <a:pt x="80" y="228"/>
                  </a:lnTo>
                  <a:lnTo>
                    <a:pt x="76" y="228"/>
                  </a:lnTo>
                  <a:lnTo>
                    <a:pt x="72" y="228"/>
                  </a:lnTo>
                  <a:lnTo>
                    <a:pt x="68" y="228"/>
                  </a:lnTo>
                  <a:lnTo>
                    <a:pt x="64" y="228"/>
                  </a:lnTo>
                  <a:lnTo>
                    <a:pt x="64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52" y="232"/>
                  </a:lnTo>
                  <a:lnTo>
                    <a:pt x="48" y="232"/>
                  </a:lnTo>
                  <a:lnTo>
                    <a:pt x="48" y="228"/>
                  </a:lnTo>
                  <a:lnTo>
                    <a:pt x="48" y="232"/>
                  </a:lnTo>
                  <a:lnTo>
                    <a:pt x="44" y="228"/>
                  </a:lnTo>
                  <a:lnTo>
                    <a:pt x="40" y="228"/>
                  </a:lnTo>
                  <a:lnTo>
                    <a:pt x="40" y="232"/>
                  </a:lnTo>
                  <a:lnTo>
                    <a:pt x="36" y="232"/>
                  </a:lnTo>
                  <a:lnTo>
                    <a:pt x="32" y="232"/>
                  </a:lnTo>
                  <a:lnTo>
                    <a:pt x="28" y="232"/>
                  </a:lnTo>
                  <a:lnTo>
                    <a:pt x="24" y="232"/>
                  </a:lnTo>
                  <a:lnTo>
                    <a:pt x="20" y="232"/>
                  </a:lnTo>
                  <a:lnTo>
                    <a:pt x="16" y="236"/>
                  </a:lnTo>
                  <a:lnTo>
                    <a:pt x="12" y="236"/>
                  </a:lnTo>
                  <a:lnTo>
                    <a:pt x="12" y="232"/>
                  </a:lnTo>
                  <a:lnTo>
                    <a:pt x="12" y="228"/>
                  </a:lnTo>
                  <a:lnTo>
                    <a:pt x="12" y="224"/>
                  </a:lnTo>
                  <a:lnTo>
                    <a:pt x="12" y="220"/>
                  </a:lnTo>
                  <a:lnTo>
                    <a:pt x="16" y="220"/>
                  </a:lnTo>
                  <a:lnTo>
                    <a:pt x="16" y="216"/>
                  </a:lnTo>
                  <a:lnTo>
                    <a:pt x="16" y="212"/>
                  </a:lnTo>
                  <a:lnTo>
                    <a:pt x="20" y="212"/>
                  </a:lnTo>
                  <a:lnTo>
                    <a:pt x="20" y="208"/>
                  </a:lnTo>
                  <a:lnTo>
                    <a:pt x="20" y="212"/>
                  </a:lnTo>
                  <a:lnTo>
                    <a:pt x="20" y="208"/>
                  </a:lnTo>
                  <a:lnTo>
                    <a:pt x="24" y="208"/>
                  </a:lnTo>
                  <a:lnTo>
                    <a:pt x="28" y="208"/>
                  </a:lnTo>
                  <a:lnTo>
                    <a:pt x="28" y="204"/>
                  </a:lnTo>
                  <a:lnTo>
                    <a:pt x="32" y="204"/>
                  </a:lnTo>
                  <a:lnTo>
                    <a:pt x="36" y="204"/>
                  </a:lnTo>
                  <a:lnTo>
                    <a:pt x="36" y="200"/>
                  </a:lnTo>
                  <a:lnTo>
                    <a:pt x="36" y="196"/>
                  </a:lnTo>
                  <a:lnTo>
                    <a:pt x="36" y="192"/>
                  </a:lnTo>
                  <a:lnTo>
                    <a:pt x="32" y="192"/>
                  </a:lnTo>
                  <a:lnTo>
                    <a:pt x="28" y="192"/>
                  </a:lnTo>
                  <a:lnTo>
                    <a:pt x="28" y="188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8" y="176"/>
                  </a:lnTo>
                  <a:lnTo>
                    <a:pt x="28" y="172"/>
                  </a:lnTo>
                  <a:lnTo>
                    <a:pt x="24" y="172"/>
                  </a:lnTo>
                  <a:lnTo>
                    <a:pt x="20" y="168"/>
                  </a:lnTo>
                  <a:lnTo>
                    <a:pt x="16" y="168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8" y="156"/>
                  </a:lnTo>
                  <a:lnTo>
                    <a:pt x="8" y="152"/>
                  </a:lnTo>
                  <a:lnTo>
                    <a:pt x="4" y="144"/>
                  </a:lnTo>
                  <a:lnTo>
                    <a:pt x="0" y="144"/>
                  </a:lnTo>
                  <a:lnTo>
                    <a:pt x="4" y="144"/>
                  </a:lnTo>
                  <a:lnTo>
                    <a:pt x="12" y="148"/>
                  </a:lnTo>
                  <a:lnTo>
                    <a:pt x="16" y="148"/>
                  </a:lnTo>
                  <a:lnTo>
                    <a:pt x="20" y="148"/>
                  </a:lnTo>
                  <a:lnTo>
                    <a:pt x="24" y="152"/>
                  </a:lnTo>
                  <a:lnTo>
                    <a:pt x="36" y="14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9" name="Freeform 36"/>
            <p:cNvSpPr>
              <a:spLocks noEditPoints="1"/>
            </p:cNvSpPr>
            <p:nvPr>
              <p:custDataLst>
                <p:tags r:id="rId231"/>
              </p:custDataLst>
            </p:nvPr>
          </p:nvSpPr>
          <p:spPr bwMode="gray">
            <a:xfrm>
              <a:off x="6883922" y="4130273"/>
              <a:ext cx="23729" cy="17797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</a:cxnLst>
              <a:rect l="0" t="0" r="r" b="b"/>
              <a:pathLst>
                <a:path w="16" h="12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  <a:moveTo>
                    <a:pt x="16" y="8"/>
                  </a:move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close/>
                  <a:moveTo>
                    <a:pt x="0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0" name="Freeform 37"/>
            <p:cNvSpPr>
              <a:spLocks noEditPoints="1"/>
            </p:cNvSpPr>
            <p:nvPr>
              <p:custDataLst>
                <p:tags r:id="rId232"/>
              </p:custDataLst>
            </p:nvPr>
          </p:nvSpPr>
          <p:spPr bwMode="gray">
            <a:xfrm>
              <a:off x="7002567" y="4076882"/>
              <a:ext cx="212078" cy="379664"/>
            </a:xfrm>
            <a:custGeom>
              <a:avLst/>
              <a:gdLst/>
              <a:ahLst/>
              <a:cxnLst>
                <a:cxn ang="0">
                  <a:pos x="83" y="160"/>
                </a:cxn>
                <a:cxn ang="0">
                  <a:pos x="4" y="200"/>
                </a:cxn>
                <a:cxn ang="0">
                  <a:pos x="52" y="236"/>
                </a:cxn>
                <a:cxn ang="0">
                  <a:pos x="40" y="56"/>
                </a:cxn>
                <a:cxn ang="0">
                  <a:pos x="52" y="32"/>
                </a:cxn>
                <a:cxn ang="0">
                  <a:pos x="64" y="8"/>
                </a:cxn>
                <a:cxn ang="0">
                  <a:pos x="79" y="28"/>
                </a:cxn>
                <a:cxn ang="0">
                  <a:pos x="75" y="52"/>
                </a:cxn>
                <a:cxn ang="0">
                  <a:pos x="71" y="76"/>
                </a:cxn>
                <a:cxn ang="0">
                  <a:pos x="79" y="92"/>
                </a:cxn>
                <a:cxn ang="0">
                  <a:pos x="91" y="96"/>
                </a:cxn>
                <a:cxn ang="0">
                  <a:pos x="103" y="104"/>
                </a:cxn>
                <a:cxn ang="0">
                  <a:pos x="103" y="116"/>
                </a:cxn>
                <a:cxn ang="0">
                  <a:pos x="91" y="100"/>
                </a:cxn>
                <a:cxn ang="0">
                  <a:pos x="83" y="104"/>
                </a:cxn>
                <a:cxn ang="0">
                  <a:pos x="56" y="92"/>
                </a:cxn>
                <a:cxn ang="0">
                  <a:pos x="56" y="84"/>
                </a:cxn>
                <a:cxn ang="0">
                  <a:pos x="44" y="64"/>
                </a:cxn>
                <a:cxn ang="0">
                  <a:pos x="79" y="80"/>
                </a:cxn>
                <a:cxn ang="0">
                  <a:pos x="107" y="96"/>
                </a:cxn>
                <a:cxn ang="0">
                  <a:pos x="75" y="100"/>
                </a:cxn>
                <a:cxn ang="0">
                  <a:pos x="52" y="104"/>
                </a:cxn>
                <a:cxn ang="0">
                  <a:pos x="67" y="124"/>
                </a:cxn>
                <a:cxn ang="0">
                  <a:pos x="75" y="124"/>
                </a:cxn>
                <a:cxn ang="0">
                  <a:pos x="103" y="120"/>
                </a:cxn>
                <a:cxn ang="0">
                  <a:pos x="107" y="136"/>
                </a:cxn>
                <a:cxn ang="0">
                  <a:pos x="111" y="120"/>
                </a:cxn>
                <a:cxn ang="0">
                  <a:pos x="131" y="140"/>
                </a:cxn>
                <a:cxn ang="0">
                  <a:pos x="123" y="132"/>
                </a:cxn>
                <a:cxn ang="0">
                  <a:pos x="44" y="128"/>
                </a:cxn>
                <a:cxn ang="0">
                  <a:pos x="48" y="132"/>
                </a:cxn>
                <a:cxn ang="0">
                  <a:pos x="75" y="160"/>
                </a:cxn>
                <a:cxn ang="0">
                  <a:pos x="83" y="136"/>
                </a:cxn>
                <a:cxn ang="0">
                  <a:pos x="115" y="140"/>
                </a:cxn>
                <a:cxn ang="0">
                  <a:pos x="111" y="140"/>
                </a:cxn>
                <a:cxn ang="0">
                  <a:pos x="123" y="156"/>
                </a:cxn>
                <a:cxn ang="0">
                  <a:pos x="40" y="140"/>
                </a:cxn>
                <a:cxn ang="0">
                  <a:pos x="24" y="180"/>
                </a:cxn>
                <a:cxn ang="0">
                  <a:pos x="8" y="188"/>
                </a:cxn>
                <a:cxn ang="0">
                  <a:pos x="28" y="160"/>
                </a:cxn>
                <a:cxn ang="0">
                  <a:pos x="36" y="144"/>
                </a:cxn>
                <a:cxn ang="0">
                  <a:pos x="99" y="156"/>
                </a:cxn>
                <a:cxn ang="0">
                  <a:pos x="103" y="164"/>
                </a:cxn>
                <a:cxn ang="0">
                  <a:pos x="95" y="168"/>
                </a:cxn>
                <a:cxn ang="0">
                  <a:pos x="83" y="176"/>
                </a:cxn>
                <a:cxn ang="0">
                  <a:pos x="95" y="148"/>
                </a:cxn>
                <a:cxn ang="0">
                  <a:pos x="131" y="164"/>
                </a:cxn>
                <a:cxn ang="0">
                  <a:pos x="111" y="164"/>
                </a:cxn>
                <a:cxn ang="0">
                  <a:pos x="79" y="216"/>
                </a:cxn>
                <a:cxn ang="0">
                  <a:pos x="83" y="204"/>
                </a:cxn>
                <a:cxn ang="0">
                  <a:pos x="103" y="204"/>
                </a:cxn>
                <a:cxn ang="0">
                  <a:pos x="115" y="196"/>
                </a:cxn>
                <a:cxn ang="0">
                  <a:pos x="127" y="172"/>
                </a:cxn>
                <a:cxn ang="0">
                  <a:pos x="135" y="192"/>
                </a:cxn>
                <a:cxn ang="0">
                  <a:pos x="143" y="220"/>
                </a:cxn>
                <a:cxn ang="0">
                  <a:pos x="135" y="220"/>
                </a:cxn>
                <a:cxn ang="0">
                  <a:pos x="127" y="244"/>
                </a:cxn>
                <a:cxn ang="0">
                  <a:pos x="111" y="240"/>
                </a:cxn>
                <a:cxn ang="0">
                  <a:pos x="107" y="212"/>
                </a:cxn>
                <a:cxn ang="0">
                  <a:pos x="95" y="216"/>
                </a:cxn>
                <a:cxn ang="0">
                  <a:pos x="83" y="208"/>
                </a:cxn>
                <a:cxn ang="0">
                  <a:pos x="115" y="184"/>
                </a:cxn>
                <a:cxn ang="0">
                  <a:pos x="64" y="240"/>
                </a:cxn>
              </a:cxnLst>
              <a:rect l="0" t="0" r="r" b="b"/>
              <a:pathLst>
                <a:path w="143" h="256">
                  <a:moveTo>
                    <a:pt x="119" y="140"/>
                  </a:moveTo>
                  <a:lnTo>
                    <a:pt x="119" y="136"/>
                  </a:lnTo>
                  <a:lnTo>
                    <a:pt x="115" y="136"/>
                  </a:lnTo>
                  <a:lnTo>
                    <a:pt x="119" y="136"/>
                  </a:lnTo>
                  <a:lnTo>
                    <a:pt x="119" y="140"/>
                  </a:lnTo>
                  <a:close/>
                  <a:moveTo>
                    <a:pt x="83" y="160"/>
                  </a:moveTo>
                  <a:lnTo>
                    <a:pt x="83" y="156"/>
                  </a:lnTo>
                  <a:lnTo>
                    <a:pt x="83" y="152"/>
                  </a:lnTo>
                  <a:lnTo>
                    <a:pt x="87" y="152"/>
                  </a:lnTo>
                  <a:lnTo>
                    <a:pt x="87" y="156"/>
                  </a:lnTo>
                  <a:lnTo>
                    <a:pt x="83" y="160"/>
                  </a:lnTo>
                  <a:close/>
                  <a:moveTo>
                    <a:pt x="44" y="160"/>
                  </a:moveTo>
                  <a:lnTo>
                    <a:pt x="44" y="156"/>
                  </a:lnTo>
                  <a:lnTo>
                    <a:pt x="40" y="156"/>
                  </a:lnTo>
                  <a:lnTo>
                    <a:pt x="44" y="156"/>
                  </a:lnTo>
                  <a:lnTo>
                    <a:pt x="44" y="160"/>
                  </a:lnTo>
                  <a:close/>
                  <a:moveTo>
                    <a:pt x="99" y="184"/>
                  </a:moveTo>
                  <a:lnTo>
                    <a:pt x="99" y="180"/>
                  </a:lnTo>
                  <a:lnTo>
                    <a:pt x="99" y="184"/>
                  </a:lnTo>
                  <a:close/>
                  <a:moveTo>
                    <a:pt x="4" y="200"/>
                  </a:moveTo>
                  <a:lnTo>
                    <a:pt x="4" y="196"/>
                  </a:lnTo>
                  <a:lnTo>
                    <a:pt x="4" y="200"/>
                  </a:lnTo>
                  <a:close/>
                  <a:moveTo>
                    <a:pt x="0" y="208"/>
                  </a:moveTo>
                  <a:lnTo>
                    <a:pt x="0" y="204"/>
                  </a:lnTo>
                  <a:lnTo>
                    <a:pt x="0" y="200"/>
                  </a:lnTo>
                  <a:lnTo>
                    <a:pt x="0" y="204"/>
                  </a:lnTo>
                  <a:lnTo>
                    <a:pt x="0" y="208"/>
                  </a:lnTo>
                  <a:close/>
                  <a:moveTo>
                    <a:pt x="87" y="216"/>
                  </a:moveTo>
                  <a:lnTo>
                    <a:pt x="87" y="212"/>
                  </a:lnTo>
                  <a:lnTo>
                    <a:pt x="91" y="212"/>
                  </a:lnTo>
                  <a:lnTo>
                    <a:pt x="91" y="216"/>
                  </a:lnTo>
                  <a:lnTo>
                    <a:pt x="87" y="216"/>
                  </a:lnTo>
                  <a:close/>
                  <a:moveTo>
                    <a:pt x="52" y="236"/>
                  </a:moveTo>
                  <a:lnTo>
                    <a:pt x="52" y="232"/>
                  </a:lnTo>
                  <a:lnTo>
                    <a:pt x="56" y="232"/>
                  </a:lnTo>
                  <a:lnTo>
                    <a:pt x="56" y="236"/>
                  </a:lnTo>
                  <a:lnTo>
                    <a:pt x="52" y="236"/>
                  </a:lnTo>
                  <a:close/>
                  <a:moveTo>
                    <a:pt x="71" y="4"/>
                  </a:moveTo>
                  <a:lnTo>
                    <a:pt x="71" y="0"/>
                  </a:lnTo>
                  <a:lnTo>
                    <a:pt x="75" y="0"/>
                  </a:lnTo>
                  <a:lnTo>
                    <a:pt x="71" y="4"/>
                  </a:lnTo>
                  <a:close/>
                  <a:moveTo>
                    <a:pt x="44" y="60"/>
                  </a:moveTo>
                  <a:lnTo>
                    <a:pt x="44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4" y="48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2" y="44"/>
                  </a:lnTo>
                  <a:lnTo>
                    <a:pt x="52" y="40"/>
                  </a:lnTo>
                  <a:lnTo>
                    <a:pt x="52" y="36"/>
                  </a:lnTo>
                  <a:lnTo>
                    <a:pt x="52" y="32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60" y="4"/>
                  </a:lnTo>
                  <a:lnTo>
                    <a:pt x="60" y="8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7" y="8"/>
                  </a:lnTo>
                  <a:lnTo>
                    <a:pt x="67" y="12"/>
                  </a:lnTo>
                  <a:lnTo>
                    <a:pt x="71" y="12"/>
                  </a:lnTo>
                  <a:lnTo>
                    <a:pt x="75" y="12"/>
                  </a:lnTo>
                  <a:lnTo>
                    <a:pt x="75" y="8"/>
                  </a:lnTo>
                  <a:lnTo>
                    <a:pt x="79" y="8"/>
                  </a:lnTo>
                  <a:lnTo>
                    <a:pt x="79" y="12"/>
                  </a:lnTo>
                  <a:lnTo>
                    <a:pt x="79" y="16"/>
                  </a:lnTo>
                  <a:lnTo>
                    <a:pt x="79" y="20"/>
                  </a:lnTo>
                  <a:lnTo>
                    <a:pt x="79" y="24"/>
                  </a:lnTo>
                  <a:lnTo>
                    <a:pt x="79" y="28"/>
                  </a:lnTo>
                  <a:lnTo>
                    <a:pt x="83" y="32"/>
                  </a:lnTo>
                  <a:lnTo>
                    <a:pt x="83" y="36"/>
                  </a:lnTo>
                  <a:lnTo>
                    <a:pt x="83" y="40"/>
                  </a:lnTo>
                  <a:lnTo>
                    <a:pt x="79" y="44"/>
                  </a:lnTo>
                  <a:lnTo>
                    <a:pt x="79" y="48"/>
                  </a:lnTo>
                  <a:lnTo>
                    <a:pt x="79" y="52"/>
                  </a:lnTo>
                  <a:lnTo>
                    <a:pt x="75" y="52"/>
                  </a:lnTo>
                  <a:lnTo>
                    <a:pt x="75" y="56"/>
                  </a:lnTo>
                  <a:lnTo>
                    <a:pt x="75" y="52"/>
                  </a:lnTo>
                  <a:lnTo>
                    <a:pt x="79" y="52"/>
                  </a:lnTo>
                  <a:lnTo>
                    <a:pt x="75" y="52"/>
                  </a:lnTo>
                  <a:lnTo>
                    <a:pt x="71" y="52"/>
                  </a:lnTo>
                  <a:lnTo>
                    <a:pt x="71" y="56"/>
                  </a:lnTo>
                  <a:lnTo>
                    <a:pt x="67" y="56"/>
                  </a:lnTo>
                  <a:lnTo>
                    <a:pt x="67" y="60"/>
                  </a:lnTo>
                  <a:lnTo>
                    <a:pt x="71" y="60"/>
                  </a:lnTo>
                  <a:lnTo>
                    <a:pt x="67" y="60"/>
                  </a:lnTo>
                  <a:lnTo>
                    <a:pt x="67" y="64"/>
                  </a:lnTo>
                  <a:lnTo>
                    <a:pt x="67" y="68"/>
                  </a:lnTo>
                  <a:lnTo>
                    <a:pt x="67" y="72"/>
                  </a:lnTo>
                  <a:lnTo>
                    <a:pt x="67" y="76"/>
                  </a:lnTo>
                  <a:lnTo>
                    <a:pt x="71" y="76"/>
                  </a:lnTo>
                  <a:lnTo>
                    <a:pt x="71" y="80"/>
                  </a:lnTo>
                  <a:lnTo>
                    <a:pt x="67" y="80"/>
                  </a:lnTo>
                  <a:lnTo>
                    <a:pt x="71" y="80"/>
                  </a:lnTo>
                  <a:lnTo>
                    <a:pt x="71" y="84"/>
                  </a:lnTo>
                  <a:lnTo>
                    <a:pt x="71" y="88"/>
                  </a:lnTo>
                  <a:lnTo>
                    <a:pt x="75" y="92"/>
                  </a:lnTo>
                  <a:lnTo>
                    <a:pt x="79" y="92"/>
                  </a:lnTo>
                  <a:lnTo>
                    <a:pt x="79" y="96"/>
                  </a:lnTo>
                  <a:lnTo>
                    <a:pt x="79" y="92"/>
                  </a:lnTo>
                  <a:lnTo>
                    <a:pt x="79" y="88"/>
                  </a:lnTo>
                  <a:lnTo>
                    <a:pt x="79" y="92"/>
                  </a:lnTo>
                  <a:lnTo>
                    <a:pt x="79" y="88"/>
                  </a:lnTo>
                  <a:lnTo>
                    <a:pt x="83" y="88"/>
                  </a:lnTo>
                  <a:lnTo>
                    <a:pt x="83" y="84"/>
                  </a:lnTo>
                  <a:lnTo>
                    <a:pt x="83" y="88"/>
                  </a:lnTo>
                  <a:lnTo>
                    <a:pt x="87" y="84"/>
                  </a:lnTo>
                  <a:lnTo>
                    <a:pt x="87" y="88"/>
                  </a:lnTo>
                  <a:lnTo>
                    <a:pt x="91" y="88"/>
                  </a:lnTo>
                  <a:lnTo>
                    <a:pt x="91" y="92"/>
                  </a:lnTo>
                  <a:lnTo>
                    <a:pt x="91" y="96"/>
                  </a:lnTo>
                  <a:lnTo>
                    <a:pt x="91" y="100"/>
                  </a:lnTo>
                  <a:lnTo>
                    <a:pt x="91" y="96"/>
                  </a:lnTo>
                  <a:lnTo>
                    <a:pt x="95" y="96"/>
                  </a:lnTo>
                  <a:lnTo>
                    <a:pt x="95" y="92"/>
                  </a:lnTo>
                  <a:lnTo>
                    <a:pt x="99" y="92"/>
                  </a:lnTo>
                  <a:lnTo>
                    <a:pt x="99" y="96"/>
                  </a:lnTo>
                  <a:lnTo>
                    <a:pt x="103" y="96"/>
                  </a:lnTo>
                  <a:lnTo>
                    <a:pt x="103" y="100"/>
                  </a:lnTo>
                  <a:lnTo>
                    <a:pt x="103" y="96"/>
                  </a:lnTo>
                  <a:lnTo>
                    <a:pt x="99" y="96"/>
                  </a:lnTo>
                  <a:lnTo>
                    <a:pt x="99" y="100"/>
                  </a:lnTo>
                  <a:lnTo>
                    <a:pt x="99" y="104"/>
                  </a:lnTo>
                  <a:lnTo>
                    <a:pt x="103" y="104"/>
                  </a:lnTo>
                  <a:lnTo>
                    <a:pt x="103" y="108"/>
                  </a:lnTo>
                  <a:lnTo>
                    <a:pt x="103" y="104"/>
                  </a:lnTo>
                  <a:lnTo>
                    <a:pt x="103" y="108"/>
                  </a:lnTo>
                  <a:lnTo>
                    <a:pt x="107" y="108"/>
                  </a:lnTo>
                  <a:lnTo>
                    <a:pt x="107" y="112"/>
                  </a:lnTo>
                  <a:lnTo>
                    <a:pt x="107" y="108"/>
                  </a:lnTo>
                  <a:lnTo>
                    <a:pt x="107" y="112"/>
                  </a:lnTo>
                  <a:lnTo>
                    <a:pt x="107" y="116"/>
                  </a:lnTo>
                  <a:lnTo>
                    <a:pt x="107" y="120"/>
                  </a:lnTo>
                  <a:lnTo>
                    <a:pt x="103" y="120"/>
                  </a:lnTo>
                  <a:lnTo>
                    <a:pt x="103" y="116"/>
                  </a:lnTo>
                  <a:lnTo>
                    <a:pt x="103" y="112"/>
                  </a:lnTo>
                  <a:lnTo>
                    <a:pt x="107" y="112"/>
                  </a:lnTo>
                  <a:lnTo>
                    <a:pt x="103" y="112"/>
                  </a:lnTo>
                  <a:lnTo>
                    <a:pt x="99" y="112"/>
                  </a:lnTo>
                  <a:lnTo>
                    <a:pt x="95" y="112"/>
                  </a:lnTo>
                  <a:lnTo>
                    <a:pt x="95" y="108"/>
                  </a:lnTo>
                  <a:lnTo>
                    <a:pt x="95" y="112"/>
                  </a:lnTo>
                  <a:lnTo>
                    <a:pt x="95" y="108"/>
                  </a:lnTo>
                  <a:lnTo>
                    <a:pt x="95" y="104"/>
                  </a:lnTo>
                  <a:lnTo>
                    <a:pt x="91" y="104"/>
                  </a:lnTo>
                  <a:lnTo>
                    <a:pt x="91" y="100"/>
                  </a:lnTo>
                  <a:lnTo>
                    <a:pt x="87" y="100"/>
                  </a:lnTo>
                  <a:lnTo>
                    <a:pt x="87" y="96"/>
                  </a:lnTo>
                  <a:lnTo>
                    <a:pt x="83" y="96"/>
                  </a:lnTo>
                  <a:lnTo>
                    <a:pt x="83" y="92"/>
                  </a:lnTo>
                  <a:lnTo>
                    <a:pt x="83" y="96"/>
                  </a:lnTo>
                  <a:lnTo>
                    <a:pt x="83" y="100"/>
                  </a:lnTo>
                  <a:lnTo>
                    <a:pt x="83" y="104"/>
                  </a:lnTo>
                  <a:lnTo>
                    <a:pt x="87" y="104"/>
                  </a:lnTo>
                  <a:lnTo>
                    <a:pt x="87" y="108"/>
                  </a:lnTo>
                  <a:lnTo>
                    <a:pt x="83" y="108"/>
                  </a:lnTo>
                  <a:lnTo>
                    <a:pt x="83" y="104"/>
                  </a:lnTo>
                  <a:lnTo>
                    <a:pt x="83" y="100"/>
                  </a:lnTo>
                  <a:lnTo>
                    <a:pt x="79" y="100"/>
                  </a:lnTo>
                  <a:lnTo>
                    <a:pt x="75" y="96"/>
                  </a:lnTo>
                  <a:lnTo>
                    <a:pt x="71" y="96"/>
                  </a:lnTo>
                  <a:lnTo>
                    <a:pt x="71" y="92"/>
                  </a:lnTo>
                  <a:lnTo>
                    <a:pt x="67" y="96"/>
                  </a:lnTo>
                  <a:lnTo>
                    <a:pt x="67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56" y="92"/>
                  </a:lnTo>
                  <a:lnTo>
                    <a:pt x="56" y="96"/>
                  </a:lnTo>
                  <a:lnTo>
                    <a:pt x="56" y="92"/>
                  </a:lnTo>
                  <a:lnTo>
                    <a:pt x="56" y="88"/>
                  </a:lnTo>
                  <a:lnTo>
                    <a:pt x="60" y="84"/>
                  </a:lnTo>
                  <a:lnTo>
                    <a:pt x="60" y="80"/>
                  </a:lnTo>
                  <a:lnTo>
                    <a:pt x="56" y="80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52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2" y="84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48" y="72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4" y="60"/>
                  </a:lnTo>
                  <a:close/>
                  <a:moveTo>
                    <a:pt x="75" y="80"/>
                  </a:moveTo>
                  <a:lnTo>
                    <a:pt x="75" y="76"/>
                  </a:lnTo>
                  <a:lnTo>
                    <a:pt x="71" y="76"/>
                  </a:lnTo>
                  <a:lnTo>
                    <a:pt x="71" y="72"/>
                  </a:lnTo>
                  <a:lnTo>
                    <a:pt x="75" y="72"/>
                  </a:lnTo>
                  <a:lnTo>
                    <a:pt x="75" y="76"/>
                  </a:lnTo>
                  <a:lnTo>
                    <a:pt x="75" y="72"/>
                  </a:lnTo>
                  <a:lnTo>
                    <a:pt x="75" y="76"/>
                  </a:lnTo>
                  <a:lnTo>
                    <a:pt x="75" y="80"/>
                  </a:lnTo>
                  <a:close/>
                  <a:moveTo>
                    <a:pt x="79" y="80"/>
                  </a:moveTo>
                  <a:lnTo>
                    <a:pt x="79" y="76"/>
                  </a:lnTo>
                  <a:lnTo>
                    <a:pt x="75" y="76"/>
                  </a:lnTo>
                  <a:lnTo>
                    <a:pt x="79" y="76"/>
                  </a:lnTo>
                  <a:lnTo>
                    <a:pt x="79" y="80"/>
                  </a:lnTo>
                  <a:close/>
                  <a:moveTo>
                    <a:pt x="79" y="92"/>
                  </a:moveTo>
                  <a:lnTo>
                    <a:pt x="75" y="92"/>
                  </a:lnTo>
                  <a:lnTo>
                    <a:pt x="75" y="88"/>
                  </a:lnTo>
                  <a:lnTo>
                    <a:pt x="75" y="92"/>
                  </a:lnTo>
                  <a:lnTo>
                    <a:pt x="79" y="92"/>
                  </a:lnTo>
                  <a:close/>
                  <a:moveTo>
                    <a:pt x="107" y="100"/>
                  </a:moveTo>
                  <a:lnTo>
                    <a:pt x="107" y="96"/>
                  </a:lnTo>
                  <a:lnTo>
                    <a:pt x="107" y="92"/>
                  </a:lnTo>
                  <a:lnTo>
                    <a:pt x="111" y="92"/>
                  </a:lnTo>
                  <a:lnTo>
                    <a:pt x="111" y="96"/>
                  </a:lnTo>
                  <a:lnTo>
                    <a:pt x="111" y="100"/>
                  </a:lnTo>
                  <a:lnTo>
                    <a:pt x="107" y="100"/>
                  </a:lnTo>
                  <a:close/>
                  <a:moveTo>
                    <a:pt x="48" y="100"/>
                  </a:moveTo>
                  <a:lnTo>
                    <a:pt x="48" y="96"/>
                  </a:lnTo>
                  <a:lnTo>
                    <a:pt x="48" y="100"/>
                  </a:lnTo>
                  <a:close/>
                  <a:moveTo>
                    <a:pt x="75" y="108"/>
                  </a:moveTo>
                  <a:lnTo>
                    <a:pt x="71" y="104"/>
                  </a:lnTo>
                  <a:lnTo>
                    <a:pt x="75" y="100"/>
                  </a:lnTo>
                  <a:lnTo>
                    <a:pt x="75" y="104"/>
                  </a:lnTo>
                  <a:lnTo>
                    <a:pt x="79" y="104"/>
                  </a:lnTo>
                  <a:lnTo>
                    <a:pt x="75" y="108"/>
                  </a:lnTo>
                  <a:close/>
                  <a:moveTo>
                    <a:pt x="60" y="124"/>
                  </a:moveTo>
                  <a:lnTo>
                    <a:pt x="60" y="120"/>
                  </a:lnTo>
                  <a:lnTo>
                    <a:pt x="60" y="116"/>
                  </a:lnTo>
                  <a:lnTo>
                    <a:pt x="56" y="116"/>
                  </a:lnTo>
                  <a:lnTo>
                    <a:pt x="56" y="112"/>
                  </a:lnTo>
                  <a:lnTo>
                    <a:pt x="56" y="108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6" y="100"/>
                  </a:lnTo>
                  <a:lnTo>
                    <a:pt x="56" y="104"/>
                  </a:lnTo>
                  <a:lnTo>
                    <a:pt x="60" y="100"/>
                  </a:lnTo>
                  <a:lnTo>
                    <a:pt x="60" y="104"/>
                  </a:lnTo>
                  <a:lnTo>
                    <a:pt x="64" y="104"/>
                  </a:lnTo>
                  <a:lnTo>
                    <a:pt x="67" y="108"/>
                  </a:lnTo>
                  <a:lnTo>
                    <a:pt x="67" y="112"/>
                  </a:lnTo>
                  <a:lnTo>
                    <a:pt x="67" y="116"/>
                  </a:lnTo>
                  <a:lnTo>
                    <a:pt x="67" y="120"/>
                  </a:lnTo>
                  <a:lnTo>
                    <a:pt x="67" y="124"/>
                  </a:lnTo>
                  <a:lnTo>
                    <a:pt x="64" y="124"/>
                  </a:lnTo>
                  <a:lnTo>
                    <a:pt x="60" y="124"/>
                  </a:lnTo>
                  <a:close/>
                  <a:moveTo>
                    <a:pt x="95" y="116"/>
                  </a:moveTo>
                  <a:lnTo>
                    <a:pt x="95" y="112"/>
                  </a:lnTo>
                  <a:lnTo>
                    <a:pt x="91" y="112"/>
                  </a:lnTo>
                  <a:lnTo>
                    <a:pt x="91" y="108"/>
                  </a:lnTo>
                  <a:lnTo>
                    <a:pt x="91" y="112"/>
                  </a:lnTo>
                  <a:lnTo>
                    <a:pt x="95" y="112"/>
                  </a:lnTo>
                  <a:lnTo>
                    <a:pt x="95" y="116"/>
                  </a:lnTo>
                  <a:close/>
                  <a:moveTo>
                    <a:pt x="75" y="128"/>
                  </a:moveTo>
                  <a:lnTo>
                    <a:pt x="75" y="124"/>
                  </a:lnTo>
                  <a:lnTo>
                    <a:pt x="75" y="120"/>
                  </a:lnTo>
                  <a:lnTo>
                    <a:pt x="75" y="116"/>
                  </a:lnTo>
                  <a:lnTo>
                    <a:pt x="79" y="116"/>
                  </a:lnTo>
                  <a:lnTo>
                    <a:pt x="79" y="120"/>
                  </a:lnTo>
                  <a:lnTo>
                    <a:pt x="75" y="120"/>
                  </a:lnTo>
                  <a:lnTo>
                    <a:pt x="75" y="128"/>
                  </a:lnTo>
                  <a:close/>
                  <a:moveTo>
                    <a:pt x="103" y="124"/>
                  </a:moveTo>
                  <a:lnTo>
                    <a:pt x="103" y="120"/>
                  </a:lnTo>
                  <a:lnTo>
                    <a:pt x="99" y="120"/>
                  </a:lnTo>
                  <a:lnTo>
                    <a:pt x="99" y="116"/>
                  </a:lnTo>
                  <a:lnTo>
                    <a:pt x="103" y="120"/>
                  </a:lnTo>
                  <a:lnTo>
                    <a:pt x="103" y="124"/>
                  </a:lnTo>
                  <a:close/>
                  <a:moveTo>
                    <a:pt x="91" y="132"/>
                  </a:moveTo>
                  <a:lnTo>
                    <a:pt x="95" y="128"/>
                  </a:lnTo>
                  <a:lnTo>
                    <a:pt x="95" y="124"/>
                  </a:lnTo>
                  <a:lnTo>
                    <a:pt x="95" y="120"/>
                  </a:lnTo>
                  <a:lnTo>
                    <a:pt x="99" y="120"/>
                  </a:lnTo>
                  <a:lnTo>
                    <a:pt x="99" y="124"/>
                  </a:lnTo>
                  <a:lnTo>
                    <a:pt x="103" y="124"/>
                  </a:lnTo>
                  <a:lnTo>
                    <a:pt x="107" y="128"/>
                  </a:lnTo>
                  <a:lnTo>
                    <a:pt x="107" y="132"/>
                  </a:lnTo>
                  <a:lnTo>
                    <a:pt x="107" y="136"/>
                  </a:lnTo>
                  <a:lnTo>
                    <a:pt x="107" y="132"/>
                  </a:lnTo>
                  <a:lnTo>
                    <a:pt x="103" y="132"/>
                  </a:lnTo>
                  <a:lnTo>
                    <a:pt x="99" y="128"/>
                  </a:lnTo>
                  <a:lnTo>
                    <a:pt x="99" y="124"/>
                  </a:lnTo>
                  <a:lnTo>
                    <a:pt x="95" y="124"/>
                  </a:lnTo>
                  <a:lnTo>
                    <a:pt x="95" y="128"/>
                  </a:lnTo>
                  <a:lnTo>
                    <a:pt x="95" y="132"/>
                  </a:lnTo>
                  <a:lnTo>
                    <a:pt x="91" y="132"/>
                  </a:lnTo>
                  <a:close/>
                  <a:moveTo>
                    <a:pt x="111" y="128"/>
                  </a:moveTo>
                  <a:lnTo>
                    <a:pt x="111" y="124"/>
                  </a:lnTo>
                  <a:lnTo>
                    <a:pt x="111" y="120"/>
                  </a:lnTo>
                  <a:lnTo>
                    <a:pt x="115" y="120"/>
                  </a:lnTo>
                  <a:lnTo>
                    <a:pt x="119" y="120"/>
                  </a:lnTo>
                  <a:lnTo>
                    <a:pt x="123" y="120"/>
                  </a:lnTo>
                  <a:lnTo>
                    <a:pt x="127" y="120"/>
                  </a:lnTo>
                  <a:lnTo>
                    <a:pt x="123" y="124"/>
                  </a:lnTo>
                  <a:lnTo>
                    <a:pt x="127" y="124"/>
                  </a:lnTo>
                  <a:lnTo>
                    <a:pt x="127" y="128"/>
                  </a:lnTo>
                  <a:lnTo>
                    <a:pt x="127" y="132"/>
                  </a:lnTo>
                  <a:lnTo>
                    <a:pt x="127" y="136"/>
                  </a:lnTo>
                  <a:lnTo>
                    <a:pt x="127" y="140"/>
                  </a:lnTo>
                  <a:lnTo>
                    <a:pt x="131" y="140"/>
                  </a:lnTo>
                  <a:lnTo>
                    <a:pt x="131" y="144"/>
                  </a:lnTo>
                  <a:lnTo>
                    <a:pt x="127" y="144"/>
                  </a:lnTo>
                  <a:lnTo>
                    <a:pt x="131" y="144"/>
                  </a:lnTo>
                  <a:lnTo>
                    <a:pt x="131" y="148"/>
                  </a:lnTo>
                  <a:lnTo>
                    <a:pt x="131" y="144"/>
                  </a:lnTo>
                  <a:lnTo>
                    <a:pt x="127" y="144"/>
                  </a:lnTo>
                  <a:lnTo>
                    <a:pt x="123" y="144"/>
                  </a:lnTo>
                  <a:lnTo>
                    <a:pt x="119" y="140"/>
                  </a:lnTo>
                  <a:lnTo>
                    <a:pt x="119" y="136"/>
                  </a:lnTo>
                  <a:lnTo>
                    <a:pt x="123" y="136"/>
                  </a:lnTo>
                  <a:lnTo>
                    <a:pt x="123" y="132"/>
                  </a:lnTo>
                  <a:lnTo>
                    <a:pt x="119" y="132"/>
                  </a:lnTo>
                  <a:lnTo>
                    <a:pt x="115" y="132"/>
                  </a:lnTo>
                  <a:lnTo>
                    <a:pt x="115" y="128"/>
                  </a:lnTo>
                  <a:lnTo>
                    <a:pt x="111" y="128"/>
                  </a:lnTo>
                  <a:close/>
                  <a:moveTo>
                    <a:pt x="83" y="124"/>
                  </a:moveTo>
                  <a:lnTo>
                    <a:pt x="83" y="120"/>
                  </a:lnTo>
                  <a:lnTo>
                    <a:pt x="87" y="120"/>
                  </a:lnTo>
                  <a:lnTo>
                    <a:pt x="87" y="124"/>
                  </a:lnTo>
                  <a:lnTo>
                    <a:pt x="83" y="124"/>
                  </a:lnTo>
                  <a:close/>
                  <a:moveTo>
                    <a:pt x="48" y="128"/>
                  </a:moveTo>
                  <a:lnTo>
                    <a:pt x="44" y="128"/>
                  </a:lnTo>
                  <a:lnTo>
                    <a:pt x="44" y="124"/>
                  </a:lnTo>
                  <a:lnTo>
                    <a:pt x="48" y="124"/>
                  </a:lnTo>
                  <a:lnTo>
                    <a:pt x="48" y="128"/>
                  </a:lnTo>
                  <a:lnTo>
                    <a:pt x="48" y="124"/>
                  </a:lnTo>
                  <a:lnTo>
                    <a:pt x="52" y="128"/>
                  </a:lnTo>
                  <a:lnTo>
                    <a:pt x="48" y="128"/>
                  </a:lnTo>
                  <a:close/>
                  <a:moveTo>
                    <a:pt x="44" y="136"/>
                  </a:moveTo>
                  <a:lnTo>
                    <a:pt x="44" y="132"/>
                  </a:lnTo>
                  <a:lnTo>
                    <a:pt x="44" y="128"/>
                  </a:lnTo>
                  <a:lnTo>
                    <a:pt x="44" y="132"/>
                  </a:lnTo>
                  <a:lnTo>
                    <a:pt x="48" y="132"/>
                  </a:lnTo>
                  <a:lnTo>
                    <a:pt x="48" y="136"/>
                  </a:lnTo>
                  <a:lnTo>
                    <a:pt x="44" y="136"/>
                  </a:lnTo>
                  <a:close/>
                  <a:moveTo>
                    <a:pt x="91" y="144"/>
                  </a:moveTo>
                  <a:lnTo>
                    <a:pt x="91" y="148"/>
                  </a:lnTo>
                  <a:lnTo>
                    <a:pt x="87" y="148"/>
                  </a:lnTo>
                  <a:lnTo>
                    <a:pt x="87" y="152"/>
                  </a:lnTo>
                  <a:lnTo>
                    <a:pt x="83" y="152"/>
                  </a:lnTo>
                  <a:lnTo>
                    <a:pt x="79" y="152"/>
                  </a:lnTo>
                  <a:lnTo>
                    <a:pt x="79" y="156"/>
                  </a:lnTo>
                  <a:lnTo>
                    <a:pt x="75" y="156"/>
                  </a:lnTo>
                  <a:lnTo>
                    <a:pt x="75" y="160"/>
                  </a:lnTo>
                  <a:lnTo>
                    <a:pt x="75" y="156"/>
                  </a:lnTo>
                  <a:lnTo>
                    <a:pt x="75" y="152"/>
                  </a:lnTo>
                  <a:lnTo>
                    <a:pt x="75" y="148"/>
                  </a:lnTo>
                  <a:lnTo>
                    <a:pt x="75" y="144"/>
                  </a:lnTo>
                  <a:lnTo>
                    <a:pt x="75" y="140"/>
                  </a:lnTo>
                  <a:lnTo>
                    <a:pt x="75" y="136"/>
                  </a:lnTo>
                  <a:lnTo>
                    <a:pt x="75" y="132"/>
                  </a:lnTo>
                  <a:lnTo>
                    <a:pt x="71" y="132"/>
                  </a:lnTo>
                  <a:lnTo>
                    <a:pt x="75" y="132"/>
                  </a:lnTo>
                  <a:lnTo>
                    <a:pt x="79" y="132"/>
                  </a:lnTo>
                  <a:lnTo>
                    <a:pt x="83" y="136"/>
                  </a:lnTo>
                  <a:lnTo>
                    <a:pt x="83" y="140"/>
                  </a:lnTo>
                  <a:lnTo>
                    <a:pt x="87" y="136"/>
                  </a:lnTo>
                  <a:lnTo>
                    <a:pt x="87" y="140"/>
                  </a:lnTo>
                  <a:lnTo>
                    <a:pt x="91" y="140"/>
                  </a:lnTo>
                  <a:lnTo>
                    <a:pt x="91" y="136"/>
                  </a:lnTo>
                  <a:lnTo>
                    <a:pt x="91" y="140"/>
                  </a:lnTo>
                  <a:lnTo>
                    <a:pt x="91" y="144"/>
                  </a:lnTo>
                  <a:close/>
                  <a:moveTo>
                    <a:pt x="111" y="140"/>
                  </a:moveTo>
                  <a:lnTo>
                    <a:pt x="111" y="136"/>
                  </a:lnTo>
                  <a:lnTo>
                    <a:pt x="115" y="136"/>
                  </a:lnTo>
                  <a:lnTo>
                    <a:pt x="115" y="140"/>
                  </a:lnTo>
                  <a:lnTo>
                    <a:pt x="111" y="140"/>
                  </a:lnTo>
                  <a:close/>
                  <a:moveTo>
                    <a:pt x="115" y="156"/>
                  </a:moveTo>
                  <a:lnTo>
                    <a:pt x="119" y="156"/>
                  </a:lnTo>
                  <a:lnTo>
                    <a:pt x="119" y="152"/>
                  </a:lnTo>
                  <a:lnTo>
                    <a:pt x="115" y="152"/>
                  </a:lnTo>
                  <a:lnTo>
                    <a:pt x="115" y="148"/>
                  </a:lnTo>
                  <a:lnTo>
                    <a:pt x="115" y="152"/>
                  </a:lnTo>
                  <a:lnTo>
                    <a:pt x="111" y="152"/>
                  </a:lnTo>
                  <a:lnTo>
                    <a:pt x="111" y="148"/>
                  </a:lnTo>
                  <a:lnTo>
                    <a:pt x="111" y="144"/>
                  </a:lnTo>
                  <a:lnTo>
                    <a:pt x="111" y="140"/>
                  </a:lnTo>
                  <a:lnTo>
                    <a:pt x="111" y="136"/>
                  </a:lnTo>
                  <a:lnTo>
                    <a:pt x="115" y="140"/>
                  </a:lnTo>
                  <a:lnTo>
                    <a:pt x="115" y="144"/>
                  </a:lnTo>
                  <a:lnTo>
                    <a:pt x="115" y="140"/>
                  </a:lnTo>
                  <a:lnTo>
                    <a:pt x="119" y="140"/>
                  </a:lnTo>
                  <a:lnTo>
                    <a:pt x="119" y="144"/>
                  </a:lnTo>
                  <a:lnTo>
                    <a:pt x="123" y="148"/>
                  </a:lnTo>
                  <a:lnTo>
                    <a:pt x="119" y="148"/>
                  </a:lnTo>
                  <a:lnTo>
                    <a:pt x="119" y="152"/>
                  </a:lnTo>
                  <a:lnTo>
                    <a:pt x="123" y="152"/>
                  </a:lnTo>
                  <a:lnTo>
                    <a:pt x="123" y="156"/>
                  </a:lnTo>
                  <a:lnTo>
                    <a:pt x="123" y="160"/>
                  </a:lnTo>
                  <a:lnTo>
                    <a:pt x="123" y="164"/>
                  </a:lnTo>
                  <a:lnTo>
                    <a:pt x="123" y="160"/>
                  </a:lnTo>
                  <a:lnTo>
                    <a:pt x="119" y="160"/>
                  </a:lnTo>
                  <a:lnTo>
                    <a:pt x="119" y="164"/>
                  </a:lnTo>
                  <a:lnTo>
                    <a:pt x="115" y="164"/>
                  </a:lnTo>
                  <a:lnTo>
                    <a:pt x="119" y="160"/>
                  </a:lnTo>
                  <a:lnTo>
                    <a:pt x="115" y="160"/>
                  </a:lnTo>
                  <a:lnTo>
                    <a:pt x="115" y="156"/>
                  </a:lnTo>
                  <a:close/>
                  <a:moveTo>
                    <a:pt x="44" y="140"/>
                  </a:moveTo>
                  <a:lnTo>
                    <a:pt x="40" y="140"/>
                  </a:lnTo>
                  <a:lnTo>
                    <a:pt x="44" y="140"/>
                  </a:lnTo>
                  <a:close/>
                  <a:moveTo>
                    <a:pt x="40" y="156"/>
                  </a:moveTo>
                  <a:lnTo>
                    <a:pt x="40" y="160"/>
                  </a:lnTo>
                  <a:lnTo>
                    <a:pt x="36" y="160"/>
                  </a:lnTo>
                  <a:lnTo>
                    <a:pt x="36" y="164"/>
                  </a:lnTo>
                  <a:lnTo>
                    <a:pt x="32" y="164"/>
                  </a:lnTo>
                  <a:lnTo>
                    <a:pt x="28" y="168"/>
                  </a:lnTo>
                  <a:lnTo>
                    <a:pt x="24" y="172"/>
                  </a:lnTo>
                  <a:lnTo>
                    <a:pt x="28" y="172"/>
                  </a:lnTo>
                  <a:lnTo>
                    <a:pt x="24" y="176"/>
                  </a:lnTo>
                  <a:lnTo>
                    <a:pt x="24" y="180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6" y="184"/>
                  </a:lnTo>
                  <a:lnTo>
                    <a:pt x="16" y="188"/>
                  </a:lnTo>
                  <a:lnTo>
                    <a:pt x="12" y="188"/>
                  </a:lnTo>
                  <a:lnTo>
                    <a:pt x="12" y="192"/>
                  </a:lnTo>
                  <a:lnTo>
                    <a:pt x="8" y="192"/>
                  </a:lnTo>
                  <a:lnTo>
                    <a:pt x="4" y="196"/>
                  </a:lnTo>
                  <a:lnTo>
                    <a:pt x="4" y="192"/>
                  </a:lnTo>
                  <a:lnTo>
                    <a:pt x="4" y="188"/>
                  </a:lnTo>
                  <a:lnTo>
                    <a:pt x="8" y="188"/>
                  </a:lnTo>
                  <a:lnTo>
                    <a:pt x="12" y="184"/>
                  </a:lnTo>
                  <a:lnTo>
                    <a:pt x="12" y="180"/>
                  </a:lnTo>
                  <a:lnTo>
                    <a:pt x="16" y="180"/>
                  </a:lnTo>
                  <a:lnTo>
                    <a:pt x="20" y="172"/>
                  </a:lnTo>
                  <a:lnTo>
                    <a:pt x="24" y="172"/>
                  </a:lnTo>
                  <a:lnTo>
                    <a:pt x="24" y="168"/>
                  </a:lnTo>
                  <a:lnTo>
                    <a:pt x="28" y="164"/>
                  </a:lnTo>
                  <a:lnTo>
                    <a:pt x="28" y="168"/>
                  </a:lnTo>
                  <a:lnTo>
                    <a:pt x="28" y="164"/>
                  </a:lnTo>
                  <a:lnTo>
                    <a:pt x="32" y="160"/>
                  </a:lnTo>
                  <a:lnTo>
                    <a:pt x="28" y="160"/>
                  </a:lnTo>
                  <a:lnTo>
                    <a:pt x="32" y="160"/>
                  </a:lnTo>
                  <a:lnTo>
                    <a:pt x="36" y="156"/>
                  </a:lnTo>
                  <a:lnTo>
                    <a:pt x="36" y="152"/>
                  </a:lnTo>
                  <a:lnTo>
                    <a:pt x="32" y="152"/>
                  </a:lnTo>
                  <a:lnTo>
                    <a:pt x="32" y="148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36" y="148"/>
                  </a:lnTo>
                  <a:lnTo>
                    <a:pt x="36" y="144"/>
                  </a:lnTo>
                  <a:lnTo>
                    <a:pt x="36" y="148"/>
                  </a:lnTo>
                  <a:lnTo>
                    <a:pt x="36" y="144"/>
                  </a:lnTo>
                  <a:lnTo>
                    <a:pt x="36" y="140"/>
                  </a:lnTo>
                  <a:lnTo>
                    <a:pt x="40" y="140"/>
                  </a:lnTo>
                  <a:lnTo>
                    <a:pt x="40" y="144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40" y="152"/>
                  </a:lnTo>
                  <a:lnTo>
                    <a:pt x="40" y="156"/>
                  </a:lnTo>
                  <a:close/>
                  <a:moveTo>
                    <a:pt x="95" y="164"/>
                  </a:moveTo>
                  <a:lnTo>
                    <a:pt x="99" y="164"/>
                  </a:lnTo>
                  <a:lnTo>
                    <a:pt x="99" y="160"/>
                  </a:lnTo>
                  <a:lnTo>
                    <a:pt x="99" y="156"/>
                  </a:lnTo>
                  <a:lnTo>
                    <a:pt x="103" y="156"/>
                  </a:lnTo>
                  <a:lnTo>
                    <a:pt x="103" y="152"/>
                  </a:lnTo>
                  <a:lnTo>
                    <a:pt x="103" y="148"/>
                  </a:lnTo>
                  <a:lnTo>
                    <a:pt x="103" y="144"/>
                  </a:lnTo>
                  <a:lnTo>
                    <a:pt x="107" y="144"/>
                  </a:lnTo>
                  <a:lnTo>
                    <a:pt x="107" y="148"/>
                  </a:lnTo>
                  <a:lnTo>
                    <a:pt x="107" y="152"/>
                  </a:lnTo>
                  <a:lnTo>
                    <a:pt x="107" y="156"/>
                  </a:lnTo>
                  <a:lnTo>
                    <a:pt x="107" y="160"/>
                  </a:lnTo>
                  <a:lnTo>
                    <a:pt x="103" y="160"/>
                  </a:lnTo>
                  <a:lnTo>
                    <a:pt x="103" y="164"/>
                  </a:lnTo>
                  <a:lnTo>
                    <a:pt x="99" y="164"/>
                  </a:lnTo>
                  <a:lnTo>
                    <a:pt x="99" y="168"/>
                  </a:lnTo>
                  <a:lnTo>
                    <a:pt x="99" y="172"/>
                  </a:lnTo>
                  <a:lnTo>
                    <a:pt x="99" y="176"/>
                  </a:lnTo>
                  <a:lnTo>
                    <a:pt x="95" y="176"/>
                  </a:lnTo>
                  <a:lnTo>
                    <a:pt x="95" y="172"/>
                  </a:lnTo>
                  <a:lnTo>
                    <a:pt x="95" y="168"/>
                  </a:lnTo>
                  <a:lnTo>
                    <a:pt x="95" y="164"/>
                  </a:lnTo>
                  <a:close/>
                  <a:moveTo>
                    <a:pt x="95" y="160"/>
                  </a:moveTo>
                  <a:lnTo>
                    <a:pt x="95" y="164"/>
                  </a:lnTo>
                  <a:lnTo>
                    <a:pt x="95" y="168"/>
                  </a:lnTo>
                  <a:lnTo>
                    <a:pt x="91" y="168"/>
                  </a:lnTo>
                  <a:lnTo>
                    <a:pt x="91" y="172"/>
                  </a:lnTo>
                  <a:lnTo>
                    <a:pt x="91" y="176"/>
                  </a:lnTo>
                  <a:lnTo>
                    <a:pt x="95" y="176"/>
                  </a:lnTo>
                  <a:lnTo>
                    <a:pt x="95" y="180"/>
                  </a:lnTo>
                  <a:lnTo>
                    <a:pt x="95" y="184"/>
                  </a:lnTo>
                  <a:lnTo>
                    <a:pt x="91" y="184"/>
                  </a:lnTo>
                  <a:lnTo>
                    <a:pt x="87" y="184"/>
                  </a:lnTo>
                  <a:lnTo>
                    <a:pt x="87" y="180"/>
                  </a:lnTo>
                  <a:lnTo>
                    <a:pt x="87" y="176"/>
                  </a:lnTo>
                  <a:lnTo>
                    <a:pt x="83" y="176"/>
                  </a:lnTo>
                  <a:lnTo>
                    <a:pt x="83" y="172"/>
                  </a:lnTo>
                  <a:lnTo>
                    <a:pt x="79" y="172"/>
                  </a:lnTo>
                  <a:lnTo>
                    <a:pt x="83" y="172"/>
                  </a:lnTo>
                  <a:lnTo>
                    <a:pt x="83" y="168"/>
                  </a:lnTo>
                  <a:lnTo>
                    <a:pt x="87" y="168"/>
                  </a:lnTo>
                  <a:lnTo>
                    <a:pt x="87" y="164"/>
                  </a:lnTo>
                  <a:lnTo>
                    <a:pt x="87" y="160"/>
                  </a:lnTo>
                  <a:lnTo>
                    <a:pt x="87" y="156"/>
                  </a:lnTo>
                  <a:lnTo>
                    <a:pt x="91" y="152"/>
                  </a:lnTo>
                  <a:lnTo>
                    <a:pt x="91" y="148"/>
                  </a:lnTo>
                  <a:lnTo>
                    <a:pt x="95" y="148"/>
                  </a:lnTo>
                  <a:lnTo>
                    <a:pt x="99" y="148"/>
                  </a:lnTo>
                  <a:lnTo>
                    <a:pt x="99" y="152"/>
                  </a:lnTo>
                  <a:lnTo>
                    <a:pt x="99" y="156"/>
                  </a:lnTo>
                  <a:lnTo>
                    <a:pt x="95" y="156"/>
                  </a:lnTo>
                  <a:lnTo>
                    <a:pt x="95" y="160"/>
                  </a:lnTo>
                  <a:close/>
                  <a:moveTo>
                    <a:pt x="131" y="168"/>
                  </a:moveTo>
                  <a:lnTo>
                    <a:pt x="127" y="164"/>
                  </a:lnTo>
                  <a:lnTo>
                    <a:pt x="127" y="160"/>
                  </a:lnTo>
                  <a:lnTo>
                    <a:pt x="131" y="156"/>
                  </a:lnTo>
                  <a:lnTo>
                    <a:pt x="131" y="160"/>
                  </a:lnTo>
                  <a:lnTo>
                    <a:pt x="131" y="164"/>
                  </a:lnTo>
                  <a:lnTo>
                    <a:pt x="131" y="168"/>
                  </a:lnTo>
                  <a:close/>
                  <a:moveTo>
                    <a:pt x="115" y="164"/>
                  </a:moveTo>
                  <a:lnTo>
                    <a:pt x="115" y="168"/>
                  </a:lnTo>
                  <a:lnTo>
                    <a:pt x="115" y="172"/>
                  </a:lnTo>
                  <a:lnTo>
                    <a:pt x="111" y="172"/>
                  </a:lnTo>
                  <a:lnTo>
                    <a:pt x="107" y="172"/>
                  </a:lnTo>
                  <a:lnTo>
                    <a:pt x="103" y="172"/>
                  </a:lnTo>
                  <a:lnTo>
                    <a:pt x="103" y="168"/>
                  </a:lnTo>
                  <a:lnTo>
                    <a:pt x="107" y="168"/>
                  </a:lnTo>
                  <a:lnTo>
                    <a:pt x="107" y="164"/>
                  </a:lnTo>
                  <a:lnTo>
                    <a:pt x="111" y="164"/>
                  </a:lnTo>
                  <a:lnTo>
                    <a:pt x="115" y="164"/>
                  </a:lnTo>
                  <a:close/>
                  <a:moveTo>
                    <a:pt x="123" y="168"/>
                  </a:moveTo>
                  <a:lnTo>
                    <a:pt x="123" y="164"/>
                  </a:lnTo>
                  <a:lnTo>
                    <a:pt x="123" y="168"/>
                  </a:lnTo>
                  <a:close/>
                  <a:moveTo>
                    <a:pt x="135" y="172"/>
                  </a:moveTo>
                  <a:lnTo>
                    <a:pt x="135" y="168"/>
                  </a:lnTo>
                  <a:lnTo>
                    <a:pt x="135" y="164"/>
                  </a:lnTo>
                  <a:lnTo>
                    <a:pt x="139" y="168"/>
                  </a:lnTo>
                  <a:lnTo>
                    <a:pt x="139" y="172"/>
                  </a:lnTo>
                  <a:lnTo>
                    <a:pt x="135" y="172"/>
                  </a:lnTo>
                  <a:close/>
                  <a:moveTo>
                    <a:pt x="79" y="216"/>
                  </a:moveTo>
                  <a:lnTo>
                    <a:pt x="79" y="220"/>
                  </a:lnTo>
                  <a:lnTo>
                    <a:pt x="79" y="224"/>
                  </a:lnTo>
                  <a:lnTo>
                    <a:pt x="75" y="224"/>
                  </a:lnTo>
                  <a:lnTo>
                    <a:pt x="75" y="220"/>
                  </a:lnTo>
                  <a:lnTo>
                    <a:pt x="75" y="216"/>
                  </a:lnTo>
                  <a:lnTo>
                    <a:pt x="75" y="212"/>
                  </a:lnTo>
                  <a:lnTo>
                    <a:pt x="75" y="208"/>
                  </a:lnTo>
                  <a:lnTo>
                    <a:pt x="79" y="208"/>
                  </a:lnTo>
                  <a:lnTo>
                    <a:pt x="79" y="204"/>
                  </a:lnTo>
                  <a:lnTo>
                    <a:pt x="83" y="200"/>
                  </a:lnTo>
                  <a:lnTo>
                    <a:pt x="83" y="204"/>
                  </a:lnTo>
                  <a:lnTo>
                    <a:pt x="87" y="200"/>
                  </a:lnTo>
                  <a:lnTo>
                    <a:pt x="91" y="200"/>
                  </a:lnTo>
                  <a:lnTo>
                    <a:pt x="91" y="196"/>
                  </a:lnTo>
                  <a:lnTo>
                    <a:pt x="91" y="192"/>
                  </a:lnTo>
                  <a:lnTo>
                    <a:pt x="95" y="192"/>
                  </a:lnTo>
                  <a:lnTo>
                    <a:pt x="95" y="188"/>
                  </a:lnTo>
                  <a:lnTo>
                    <a:pt x="99" y="192"/>
                  </a:lnTo>
                  <a:lnTo>
                    <a:pt x="103" y="192"/>
                  </a:lnTo>
                  <a:lnTo>
                    <a:pt x="103" y="196"/>
                  </a:lnTo>
                  <a:lnTo>
                    <a:pt x="103" y="200"/>
                  </a:lnTo>
                  <a:lnTo>
                    <a:pt x="103" y="204"/>
                  </a:lnTo>
                  <a:lnTo>
                    <a:pt x="99" y="204"/>
                  </a:lnTo>
                  <a:lnTo>
                    <a:pt x="103" y="204"/>
                  </a:lnTo>
                  <a:lnTo>
                    <a:pt x="103" y="200"/>
                  </a:lnTo>
                  <a:lnTo>
                    <a:pt x="107" y="200"/>
                  </a:lnTo>
                  <a:lnTo>
                    <a:pt x="111" y="200"/>
                  </a:lnTo>
                  <a:lnTo>
                    <a:pt x="111" y="196"/>
                  </a:lnTo>
                  <a:lnTo>
                    <a:pt x="107" y="196"/>
                  </a:lnTo>
                  <a:lnTo>
                    <a:pt x="111" y="196"/>
                  </a:lnTo>
                  <a:lnTo>
                    <a:pt x="111" y="192"/>
                  </a:lnTo>
                  <a:lnTo>
                    <a:pt x="115" y="192"/>
                  </a:lnTo>
                  <a:lnTo>
                    <a:pt x="115" y="196"/>
                  </a:lnTo>
                  <a:lnTo>
                    <a:pt x="115" y="192"/>
                  </a:lnTo>
                  <a:lnTo>
                    <a:pt x="115" y="188"/>
                  </a:lnTo>
                  <a:lnTo>
                    <a:pt x="119" y="188"/>
                  </a:lnTo>
                  <a:lnTo>
                    <a:pt x="119" y="184"/>
                  </a:lnTo>
                  <a:lnTo>
                    <a:pt x="119" y="188"/>
                  </a:lnTo>
                  <a:lnTo>
                    <a:pt x="123" y="188"/>
                  </a:lnTo>
                  <a:lnTo>
                    <a:pt x="123" y="184"/>
                  </a:lnTo>
                  <a:lnTo>
                    <a:pt x="127" y="184"/>
                  </a:lnTo>
                  <a:lnTo>
                    <a:pt x="127" y="180"/>
                  </a:lnTo>
                  <a:lnTo>
                    <a:pt x="127" y="176"/>
                  </a:lnTo>
                  <a:lnTo>
                    <a:pt x="127" y="172"/>
                  </a:lnTo>
                  <a:lnTo>
                    <a:pt x="127" y="168"/>
                  </a:lnTo>
                  <a:lnTo>
                    <a:pt x="127" y="172"/>
                  </a:lnTo>
                  <a:lnTo>
                    <a:pt x="131" y="172"/>
                  </a:lnTo>
                  <a:lnTo>
                    <a:pt x="131" y="176"/>
                  </a:lnTo>
                  <a:lnTo>
                    <a:pt x="135" y="176"/>
                  </a:lnTo>
                  <a:lnTo>
                    <a:pt x="135" y="180"/>
                  </a:lnTo>
                  <a:lnTo>
                    <a:pt x="139" y="180"/>
                  </a:lnTo>
                  <a:lnTo>
                    <a:pt x="139" y="184"/>
                  </a:lnTo>
                  <a:lnTo>
                    <a:pt x="139" y="188"/>
                  </a:lnTo>
                  <a:lnTo>
                    <a:pt x="139" y="192"/>
                  </a:lnTo>
                  <a:lnTo>
                    <a:pt x="135" y="192"/>
                  </a:lnTo>
                  <a:lnTo>
                    <a:pt x="139" y="192"/>
                  </a:lnTo>
                  <a:lnTo>
                    <a:pt x="143" y="192"/>
                  </a:lnTo>
                  <a:lnTo>
                    <a:pt x="143" y="196"/>
                  </a:lnTo>
                  <a:lnTo>
                    <a:pt x="139" y="196"/>
                  </a:lnTo>
                  <a:lnTo>
                    <a:pt x="139" y="200"/>
                  </a:lnTo>
                  <a:lnTo>
                    <a:pt x="143" y="200"/>
                  </a:lnTo>
                  <a:lnTo>
                    <a:pt x="143" y="204"/>
                  </a:lnTo>
                  <a:lnTo>
                    <a:pt x="143" y="208"/>
                  </a:lnTo>
                  <a:lnTo>
                    <a:pt x="143" y="212"/>
                  </a:lnTo>
                  <a:lnTo>
                    <a:pt x="143" y="216"/>
                  </a:lnTo>
                  <a:lnTo>
                    <a:pt x="143" y="220"/>
                  </a:lnTo>
                  <a:lnTo>
                    <a:pt x="139" y="220"/>
                  </a:lnTo>
                  <a:lnTo>
                    <a:pt x="139" y="224"/>
                  </a:lnTo>
                  <a:lnTo>
                    <a:pt x="139" y="228"/>
                  </a:lnTo>
                  <a:lnTo>
                    <a:pt x="139" y="232"/>
                  </a:lnTo>
                  <a:lnTo>
                    <a:pt x="139" y="236"/>
                  </a:lnTo>
                  <a:lnTo>
                    <a:pt x="139" y="232"/>
                  </a:lnTo>
                  <a:lnTo>
                    <a:pt x="135" y="232"/>
                  </a:lnTo>
                  <a:lnTo>
                    <a:pt x="135" y="228"/>
                  </a:lnTo>
                  <a:lnTo>
                    <a:pt x="139" y="228"/>
                  </a:lnTo>
                  <a:lnTo>
                    <a:pt x="135" y="224"/>
                  </a:lnTo>
                  <a:lnTo>
                    <a:pt x="135" y="220"/>
                  </a:lnTo>
                  <a:lnTo>
                    <a:pt x="135" y="216"/>
                  </a:lnTo>
                  <a:lnTo>
                    <a:pt x="131" y="216"/>
                  </a:lnTo>
                  <a:lnTo>
                    <a:pt x="131" y="220"/>
                  </a:lnTo>
                  <a:lnTo>
                    <a:pt x="127" y="220"/>
                  </a:lnTo>
                  <a:lnTo>
                    <a:pt x="127" y="224"/>
                  </a:lnTo>
                  <a:lnTo>
                    <a:pt x="127" y="228"/>
                  </a:lnTo>
                  <a:lnTo>
                    <a:pt x="131" y="232"/>
                  </a:lnTo>
                  <a:lnTo>
                    <a:pt x="131" y="236"/>
                  </a:lnTo>
                  <a:lnTo>
                    <a:pt x="131" y="240"/>
                  </a:lnTo>
                  <a:lnTo>
                    <a:pt x="131" y="244"/>
                  </a:lnTo>
                  <a:lnTo>
                    <a:pt x="127" y="244"/>
                  </a:lnTo>
                  <a:lnTo>
                    <a:pt x="127" y="248"/>
                  </a:lnTo>
                  <a:lnTo>
                    <a:pt x="123" y="248"/>
                  </a:lnTo>
                  <a:lnTo>
                    <a:pt x="127" y="248"/>
                  </a:lnTo>
                  <a:lnTo>
                    <a:pt x="123" y="244"/>
                  </a:lnTo>
                  <a:lnTo>
                    <a:pt x="123" y="240"/>
                  </a:lnTo>
                  <a:lnTo>
                    <a:pt x="123" y="236"/>
                  </a:lnTo>
                  <a:lnTo>
                    <a:pt x="123" y="240"/>
                  </a:lnTo>
                  <a:lnTo>
                    <a:pt x="123" y="244"/>
                  </a:lnTo>
                  <a:lnTo>
                    <a:pt x="119" y="244"/>
                  </a:lnTo>
                  <a:lnTo>
                    <a:pt x="115" y="240"/>
                  </a:lnTo>
                  <a:lnTo>
                    <a:pt x="111" y="240"/>
                  </a:lnTo>
                  <a:lnTo>
                    <a:pt x="111" y="236"/>
                  </a:lnTo>
                  <a:lnTo>
                    <a:pt x="107" y="236"/>
                  </a:lnTo>
                  <a:lnTo>
                    <a:pt x="107" y="232"/>
                  </a:lnTo>
                  <a:lnTo>
                    <a:pt x="107" y="228"/>
                  </a:lnTo>
                  <a:lnTo>
                    <a:pt x="107" y="224"/>
                  </a:lnTo>
                  <a:lnTo>
                    <a:pt x="103" y="224"/>
                  </a:lnTo>
                  <a:lnTo>
                    <a:pt x="107" y="220"/>
                  </a:lnTo>
                  <a:lnTo>
                    <a:pt x="111" y="216"/>
                  </a:lnTo>
                  <a:lnTo>
                    <a:pt x="107" y="212"/>
                  </a:lnTo>
                  <a:lnTo>
                    <a:pt x="107" y="216"/>
                  </a:lnTo>
                  <a:lnTo>
                    <a:pt x="107" y="212"/>
                  </a:lnTo>
                  <a:lnTo>
                    <a:pt x="107" y="208"/>
                  </a:lnTo>
                  <a:lnTo>
                    <a:pt x="103" y="208"/>
                  </a:lnTo>
                  <a:lnTo>
                    <a:pt x="99" y="208"/>
                  </a:lnTo>
                  <a:lnTo>
                    <a:pt x="99" y="204"/>
                  </a:lnTo>
                  <a:lnTo>
                    <a:pt x="99" y="208"/>
                  </a:lnTo>
                  <a:lnTo>
                    <a:pt x="95" y="208"/>
                  </a:lnTo>
                  <a:lnTo>
                    <a:pt x="99" y="208"/>
                  </a:lnTo>
                  <a:lnTo>
                    <a:pt x="99" y="212"/>
                  </a:lnTo>
                  <a:lnTo>
                    <a:pt x="95" y="212"/>
                  </a:lnTo>
                  <a:lnTo>
                    <a:pt x="99" y="216"/>
                  </a:lnTo>
                  <a:lnTo>
                    <a:pt x="95" y="216"/>
                  </a:lnTo>
                  <a:lnTo>
                    <a:pt x="95" y="212"/>
                  </a:lnTo>
                  <a:lnTo>
                    <a:pt x="91" y="212"/>
                  </a:lnTo>
                  <a:lnTo>
                    <a:pt x="95" y="212"/>
                  </a:lnTo>
                  <a:lnTo>
                    <a:pt x="91" y="212"/>
                  </a:lnTo>
                  <a:lnTo>
                    <a:pt x="95" y="212"/>
                  </a:lnTo>
                  <a:lnTo>
                    <a:pt x="91" y="212"/>
                  </a:lnTo>
                  <a:lnTo>
                    <a:pt x="91" y="208"/>
                  </a:lnTo>
                  <a:lnTo>
                    <a:pt x="91" y="212"/>
                  </a:lnTo>
                  <a:lnTo>
                    <a:pt x="87" y="212"/>
                  </a:lnTo>
                  <a:lnTo>
                    <a:pt x="87" y="208"/>
                  </a:lnTo>
                  <a:lnTo>
                    <a:pt x="83" y="208"/>
                  </a:lnTo>
                  <a:lnTo>
                    <a:pt x="83" y="212"/>
                  </a:lnTo>
                  <a:lnTo>
                    <a:pt x="79" y="212"/>
                  </a:lnTo>
                  <a:lnTo>
                    <a:pt x="79" y="216"/>
                  </a:lnTo>
                  <a:close/>
                  <a:moveTo>
                    <a:pt x="135" y="176"/>
                  </a:moveTo>
                  <a:lnTo>
                    <a:pt x="135" y="172"/>
                  </a:lnTo>
                  <a:lnTo>
                    <a:pt x="135" y="176"/>
                  </a:lnTo>
                  <a:close/>
                  <a:moveTo>
                    <a:pt x="115" y="184"/>
                  </a:moveTo>
                  <a:lnTo>
                    <a:pt x="115" y="180"/>
                  </a:lnTo>
                  <a:lnTo>
                    <a:pt x="119" y="180"/>
                  </a:lnTo>
                  <a:lnTo>
                    <a:pt x="119" y="184"/>
                  </a:lnTo>
                  <a:lnTo>
                    <a:pt x="115" y="184"/>
                  </a:lnTo>
                  <a:close/>
                  <a:moveTo>
                    <a:pt x="131" y="224"/>
                  </a:moveTo>
                  <a:lnTo>
                    <a:pt x="131" y="220"/>
                  </a:lnTo>
                  <a:lnTo>
                    <a:pt x="131" y="224"/>
                  </a:lnTo>
                  <a:close/>
                  <a:moveTo>
                    <a:pt x="75" y="232"/>
                  </a:moveTo>
                  <a:lnTo>
                    <a:pt x="71" y="228"/>
                  </a:lnTo>
                  <a:lnTo>
                    <a:pt x="75" y="228"/>
                  </a:lnTo>
                  <a:lnTo>
                    <a:pt x="79" y="228"/>
                  </a:lnTo>
                  <a:lnTo>
                    <a:pt x="79" y="232"/>
                  </a:lnTo>
                  <a:lnTo>
                    <a:pt x="75" y="232"/>
                  </a:lnTo>
                  <a:close/>
                  <a:moveTo>
                    <a:pt x="64" y="244"/>
                  </a:moveTo>
                  <a:lnTo>
                    <a:pt x="64" y="240"/>
                  </a:lnTo>
                  <a:lnTo>
                    <a:pt x="60" y="244"/>
                  </a:lnTo>
                  <a:lnTo>
                    <a:pt x="60" y="240"/>
                  </a:lnTo>
                  <a:lnTo>
                    <a:pt x="64" y="240"/>
                  </a:lnTo>
                  <a:lnTo>
                    <a:pt x="67" y="240"/>
                  </a:lnTo>
                  <a:lnTo>
                    <a:pt x="64" y="244"/>
                  </a:lnTo>
                  <a:close/>
                  <a:moveTo>
                    <a:pt x="44" y="256"/>
                  </a:moveTo>
                  <a:lnTo>
                    <a:pt x="44" y="252"/>
                  </a:lnTo>
                  <a:lnTo>
                    <a:pt x="48" y="252"/>
                  </a:lnTo>
                  <a:lnTo>
                    <a:pt x="48" y="256"/>
                  </a:lnTo>
                  <a:lnTo>
                    <a:pt x="44" y="2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1" name="Freeform 38"/>
            <p:cNvSpPr>
              <a:spLocks/>
            </p:cNvSpPr>
            <p:nvPr>
              <p:custDataLst>
                <p:tags r:id="rId233"/>
              </p:custDataLst>
            </p:nvPr>
          </p:nvSpPr>
          <p:spPr bwMode="gray">
            <a:xfrm>
              <a:off x="5518020" y="3876668"/>
              <a:ext cx="16313" cy="41526"/>
            </a:xfrm>
            <a:custGeom>
              <a:avLst/>
              <a:gdLst/>
              <a:ahLst/>
              <a:cxnLst>
                <a:cxn ang="0">
                  <a:pos x="8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1" y="4"/>
                </a:cxn>
                <a:cxn ang="0">
                  <a:pos x="11" y="8"/>
                </a:cxn>
                <a:cxn ang="0">
                  <a:pos x="11" y="8"/>
                </a:cxn>
                <a:cxn ang="0">
                  <a:pos x="8" y="8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1" y="12"/>
                </a:cxn>
                <a:cxn ang="0">
                  <a:pos x="8" y="16"/>
                </a:cxn>
                <a:cxn ang="0">
                  <a:pos x="11" y="16"/>
                </a:cxn>
                <a:cxn ang="0">
                  <a:pos x="11" y="16"/>
                </a:cxn>
                <a:cxn ang="0">
                  <a:pos x="11" y="16"/>
                </a:cxn>
                <a:cxn ang="0">
                  <a:pos x="11" y="24"/>
                </a:cxn>
                <a:cxn ang="0">
                  <a:pos x="8" y="24"/>
                </a:cxn>
                <a:cxn ang="0">
                  <a:pos x="8" y="24"/>
                </a:cxn>
              </a:cxnLst>
              <a:rect l="0" t="0" r="r" b="b"/>
              <a:pathLst>
                <a:path w="11" h="28">
                  <a:moveTo>
                    <a:pt x="8" y="24"/>
                  </a:move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20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2" name="Freeform 39"/>
            <p:cNvSpPr>
              <a:spLocks noEditPoints="1"/>
            </p:cNvSpPr>
            <p:nvPr>
              <p:custDataLst>
                <p:tags r:id="rId234"/>
              </p:custDataLst>
            </p:nvPr>
          </p:nvSpPr>
          <p:spPr bwMode="gray">
            <a:xfrm>
              <a:off x="5150220" y="3698701"/>
              <a:ext cx="473097" cy="449368"/>
            </a:xfrm>
            <a:custGeom>
              <a:avLst/>
              <a:gdLst/>
              <a:ahLst/>
              <a:cxnLst>
                <a:cxn ang="0">
                  <a:pos x="248" y="259"/>
                </a:cxn>
                <a:cxn ang="0">
                  <a:pos x="200" y="283"/>
                </a:cxn>
                <a:cxn ang="0">
                  <a:pos x="184" y="287"/>
                </a:cxn>
                <a:cxn ang="0">
                  <a:pos x="152" y="283"/>
                </a:cxn>
                <a:cxn ang="0">
                  <a:pos x="140" y="283"/>
                </a:cxn>
                <a:cxn ang="0">
                  <a:pos x="132" y="291"/>
                </a:cxn>
                <a:cxn ang="0">
                  <a:pos x="128" y="303"/>
                </a:cxn>
                <a:cxn ang="0">
                  <a:pos x="120" y="295"/>
                </a:cxn>
                <a:cxn ang="0">
                  <a:pos x="120" y="287"/>
                </a:cxn>
                <a:cxn ang="0">
                  <a:pos x="112" y="275"/>
                </a:cxn>
                <a:cxn ang="0">
                  <a:pos x="104" y="267"/>
                </a:cxn>
                <a:cxn ang="0">
                  <a:pos x="104" y="255"/>
                </a:cxn>
                <a:cxn ang="0">
                  <a:pos x="96" y="243"/>
                </a:cxn>
                <a:cxn ang="0">
                  <a:pos x="88" y="235"/>
                </a:cxn>
                <a:cxn ang="0">
                  <a:pos x="80" y="227"/>
                </a:cxn>
                <a:cxn ang="0">
                  <a:pos x="72" y="220"/>
                </a:cxn>
                <a:cxn ang="0">
                  <a:pos x="68" y="204"/>
                </a:cxn>
                <a:cxn ang="0">
                  <a:pos x="68" y="188"/>
                </a:cxn>
                <a:cxn ang="0">
                  <a:pos x="68" y="180"/>
                </a:cxn>
                <a:cxn ang="0">
                  <a:pos x="60" y="164"/>
                </a:cxn>
                <a:cxn ang="0">
                  <a:pos x="48" y="152"/>
                </a:cxn>
                <a:cxn ang="0">
                  <a:pos x="44" y="148"/>
                </a:cxn>
                <a:cxn ang="0">
                  <a:pos x="40" y="136"/>
                </a:cxn>
                <a:cxn ang="0">
                  <a:pos x="36" y="128"/>
                </a:cxn>
                <a:cxn ang="0">
                  <a:pos x="28" y="120"/>
                </a:cxn>
                <a:cxn ang="0">
                  <a:pos x="24" y="104"/>
                </a:cxn>
                <a:cxn ang="0">
                  <a:pos x="16" y="96"/>
                </a:cxn>
                <a:cxn ang="0">
                  <a:pos x="12" y="84"/>
                </a:cxn>
                <a:cxn ang="0">
                  <a:pos x="4" y="76"/>
                </a:cxn>
                <a:cxn ang="0">
                  <a:pos x="4" y="60"/>
                </a:cxn>
                <a:cxn ang="0">
                  <a:pos x="24" y="60"/>
                </a:cxn>
                <a:cxn ang="0">
                  <a:pos x="40" y="44"/>
                </a:cxn>
                <a:cxn ang="0">
                  <a:pos x="48" y="24"/>
                </a:cxn>
                <a:cxn ang="0">
                  <a:pos x="40" y="12"/>
                </a:cxn>
                <a:cxn ang="0">
                  <a:pos x="60" y="8"/>
                </a:cxn>
                <a:cxn ang="0">
                  <a:pos x="84" y="4"/>
                </a:cxn>
                <a:cxn ang="0">
                  <a:pos x="128" y="32"/>
                </a:cxn>
                <a:cxn ang="0">
                  <a:pos x="176" y="60"/>
                </a:cxn>
                <a:cxn ang="0">
                  <a:pos x="196" y="64"/>
                </a:cxn>
                <a:cxn ang="0">
                  <a:pos x="212" y="72"/>
                </a:cxn>
                <a:cxn ang="0">
                  <a:pos x="216" y="84"/>
                </a:cxn>
                <a:cxn ang="0">
                  <a:pos x="220" y="92"/>
                </a:cxn>
                <a:cxn ang="0">
                  <a:pos x="220" y="92"/>
                </a:cxn>
                <a:cxn ang="0">
                  <a:pos x="228" y="104"/>
                </a:cxn>
                <a:cxn ang="0">
                  <a:pos x="236" y="112"/>
                </a:cxn>
                <a:cxn ang="0">
                  <a:pos x="236" y="120"/>
                </a:cxn>
                <a:cxn ang="0">
                  <a:pos x="240" y="132"/>
                </a:cxn>
                <a:cxn ang="0">
                  <a:pos x="248" y="144"/>
                </a:cxn>
                <a:cxn ang="0">
                  <a:pos x="256" y="152"/>
                </a:cxn>
                <a:cxn ang="0">
                  <a:pos x="259" y="156"/>
                </a:cxn>
                <a:cxn ang="0">
                  <a:pos x="315" y="212"/>
                </a:cxn>
                <a:cxn ang="0">
                  <a:pos x="112" y="291"/>
                </a:cxn>
                <a:cxn ang="0">
                  <a:pos x="108" y="295"/>
                </a:cxn>
                <a:cxn ang="0">
                  <a:pos x="116" y="295"/>
                </a:cxn>
              </a:cxnLst>
              <a:rect l="0" t="0" r="r" b="b"/>
              <a:pathLst>
                <a:path w="319" h="303">
                  <a:moveTo>
                    <a:pt x="311" y="235"/>
                  </a:moveTo>
                  <a:lnTo>
                    <a:pt x="263" y="255"/>
                  </a:lnTo>
                  <a:lnTo>
                    <a:pt x="252" y="255"/>
                  </a:lnTo>
                  <a:lnTo>
                    <a:pt x="248" y="259"/>
                  </a:lnTo>
                  <a:lnTo>
                    <a:pt x="220" y="259"/>
                  </a:lnTo>
                  <a:lnTo>
                    <a:pt x="208" y="271"/>
                  </a:lnTo>
                  <a:lnTo>
                    <a:pt x="204" y="279"/>
                  </a:lnTo>
                  <a:lnTo>
                    <a:pt x="200" y="283"/>
                  </a:lnTo>
                  <a:lnTo>
                    <a:pt x="196" y="291"/>
                  </a:lnTo>
                  <a:lnTo>
                    <a:pt x="192" y="291"/>
                  </a:lnTo>
                  <a:lnTo>
                    <a:pt x="188" y="291"/>
                  </a:lnTo>
                  <a:lnTo>
                    <a:pt x="184" y="287"/>
                  </a:lnTo>
                  <a:lnTo>
                    <a:pt x="180" y="287"/>
                  </a:lnTo>
                  <a:lnTo>
                    <a:pt x="176" y="287"/>
                  </a:lnTo>
                  <a:lnTo>
                    <a:pt x="164" y="283"/>
                  </a:lnTo>
                  <a:lnTo>
                    <a:pt x="152" y="283"/>
                  </a:lnTo>
                  <a:lnTo>
                    <a:pt x="148" y="283"/>
                  </a:lnTo>
                  <a:lnTo>
                    <a:pt x="144" y="283"/>
                  </a:lnTo>
                  <a:lnTo>
                    <a:pt x="144" y="287"/>
                  </a:lnTo>
                  <a:lnTo>
                    <a:pt x="140" y="283"/>
                  </a:lnTo>
                  <a:lnTo>
                    <a:pt x="136" y="283"/>
                  </a:lnTo>
                  <a:lnTo>
                    <a:pt x="132" y="283"/>
                  </a:lnTo>
                  <a:lnTo>
                    <a:pt x="132" y="287"/>
                  </a:lnTo>
                  <a:lnTo>
                    <a:pt x="132" y="291"/>
                  </a:lnTo>
                  <a:lnTo>
                    <a:pt x="132" y="295"/>
                  </a:lnTo>
                  <a:lnTo>
                    <a:pt x="132" y="299"/>
                  </a:lnTo>
                  <a:lnTo>
                    <a:pt x="128" y="299"/>
                  </a:lnTo>
                  <a:lnTo>
                    <a:pt x="128" y="303"/>
                  </a:lnTo>
                  <a:lnTo>
                    <a:pt x="124" y="303"/>
                  </a:lnTo>
                  <a:lnTo>
                    <a:pt x="124" y="299"/>
                  </a:lnTo>
                  <a:lnTo>
                    <a:pt x="124" y="295"/>
                  </a:lnTo>
                  <a:lnTo>
                    <a:pt x="120" y="295"/>
                  </a:lnTo>
                  <a:lnTo>
                    <a:pt x="120" y="291"/>
                  </a:lnTo>
                  <a:lnTo>
                    <a:pt x="120" y="287"/>
                  </a:lnTo>
                  <a:lnTo>
                    <a:pt x="120" y="291"/>
                  </a:lnTo>
                  <a:lnTo>
                    <a:pt x="120" y="287"/>
                  </a:lnTo>
                  <a:lnTo>
                    <a:pt x="120" y="283"/>
                  </a:lnTo>
                  <a:lnTo>
                    <a:pt x="116" y="283"/>
                  </a:lnTo>
                  <a:lnTo>
                    <a:pt x="116" y="279"/>
                  </a:lnTo>
                  <a:lnTo>
                    <a:pt x="112" y="275"/>
                  </a:lnTo>
                  <a:lnTo>
                    <a:pt x="108" y="275"/>
                  </a:lnTo>
                  <a:lnTo>
                    <a:pt x="108" y="271"/>
                  </a:lnTo>
                  <a:lnTo>
                    <a:pt x="108" y="267"/>
                  </a:lnTo>
                  <a:lnTo>
                    <a:pt x="104" y="267"/>
                  </a:lnTo>
                  <a:lnTo>
                    <a:pt x="104" y="263"/>
                  </a:lnTo>
                  <a:lnTo>
                    <a:pt x="104" y="259"/>
                  </a:lnTo>
                  <a:lnTo>
                    <a:pt x="100" y="259"/>
                  </a:lnTo>
                  <a:lnTo>
                    <a:pt x="104" y="255"/>
                  </a:lnTo>
                  <a:lnTo>
                    <a:pt x="100" y="255"/>
                  </a:lnTo>
                  <a:lnTo>
                    <a:pt x="100" y="251"/>
                  </a:lnTo>
                  <a:lnTo>
                    <a:pt x="96" y="247"/>
                  </a:lnTo>
                  <a:lnTo>
                    <a:pt x="96" y="243"/>
                  </a:lnTo>
                  <a:lnTo>
                    <a:pt x="96" y="239"/>
                  </a:lnTo>
                  <a:lnTo>
                    <a:pt x="92" y="239"/>
                  </a:lnTo>
                  <a:lnTo>
                    <a:pt x="92" y="235"/>
                  </a:lnTo>
                  <a:lnTo>
                    <a:pt x="88" y="235"/>
                  </a:lnTo>
                  <a:lnTo>
                    <a:pt x="88" y="231"/>
                  </a:lnTo>
                  <a:lnTo>
                    <a:pt x="84" y="231"/>
                  </a:lnTo>
                  <a:lnTo>
                    <a:pt x="80" y="231"/>
                  </a:lnTo>
                  <a:lnTo>
                    <a:pt x="80" y="227"/>
                  </a:lnTo>
                  <a:lnTo>
                    <a:pt x="76" y="227"/>
                  </a:lnTo>
                  <a:lnTo>
                    <a:pt x="76" y="224"/>
                  </a:lnTo>
                  <a:lnTo>
                    <a:pt x="76" y="220"/>
                  </a:lnTo>
                  <a:lnTo>
                    <a:pt x="72" y="220"/>
                  </a:lnTo>
                  <a:lnTo>
                    <a:pt x="72" y="216"/>
                  </a:lnTo>
                  <a:lnTo>
                    <a:pt x="68" y="212"/>
                  </a:lnTo>
                  <a:lnTo>
                    <a:pt x="72" y="208"/>
                  </a:lnTo>
                  <a:lnTo>
                    <a:pt x="68" y="204"/>
                  </a:lnTo>
                  <a:lnTo>
                    <a:pt x="68" y="200"/>
                  </a:lnTo>
                  <a:lnTo>
                    <a:pt x="68" y="196"/>
                  </a:lnTo>
                  <a:lnTo>
                    <a:pt x="68" y="192"/>
                  </a:lnTo>
                  <a:lnTo>
                    <a:pt x="68" y="188"/>
                  </a:lnTo>
                  <a:lnTo>
                    <a:pt x="68" y="184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8" y="180"/>
                  </a:lnTo>
                  <a:lnTo>
                    <a:pt x="64" y="176"/>
                  </a:lnTo>
                  <a:lnTo>
                    <a:pt x="64" y="172"/>
                  </a:lnTo>
                  <a:lnTo>
                    <a:pt x="60" y="168"/>
                  </a:lnTo>
                  <a:lnTo>
                    <a:pt x="60" y="164"/>
                  </a:lnTo>
                  <a:lnTo>
                    <a:pt x="56" y="160"/>
                  </a:lnTo>
                  <a:lnTo>
                    <a:pt x="52" y="156"/>
                  </a:lnTo>
                  <a:lnTo>
                    <a:pt x="48" y="156"/>
                  </a:lnTo>
                  <a:lnTo>
                    <a:pt x="48" y="152"/>
                  </a:lnTo>
                  <a:lnTo>
                    <a:pt x="48" y="156"/>
                  </a:lnTo>
                  <a:lnTo>
                    <a:pt x="44" y="156"/>
                  </a:lnTo>
                  <a:lnTo>
                    <a:pt x="44" y="152"/>
                  </a:lnTo>
                  <a:lnTo>
                    <a:pt x="44" y="148"/>
                  </a:lnTo>
                  <a:lnTo>
                    <a:pt x="40" y="148"/>
                  </a:lnTo>
                  <a:lnTo>
                    <a:pt x="40" y="144"/>
                  </a:lnTo>
                  <a:lnTo>
                    <a:pt x="40" y="140"/>
                  </a:lnTo>
                  <a:lnTo>
                    <a:pt x="40" y="136"/>
                  </a:lnTo>
                  <a:lnTo>
                    <a:pt x="40" y="132"/>
                  </a:lnTo>
                  <a:lnTo>
                    <a:pt x="36" y="128"/>
                  </a:lnTo>
                  <a:lnTo>
                    <a:pt x="36" y="124"/>
                  </a:lnTo>
                  <a:lnTo>
                    <a:pt x="36" y="128"/>
                  </a:lnTo>
                  <a:lnTo>
                    <a:pt x="32" y="128"/>
                  </a:lnTo>
                  <a:lnTo>
                    <a:pt x="32" y="124"/>
                  </a:lnTo>
                  <a:lnTo>
                    <a:pt x="32" y="120"/>
                  </a:lnTo>
                  <a:lnTo>
                    <a:pt x="28" y="120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0" y="104"/>
                  </a:lnTo>
                  <a:lnTo>
                    <a:pt x="20" y="100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24" y="60"/>
                  </a:lnTo>
                  <a:lnTo>
                    <a:pt x="28" y="56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40" y="44"/>
                  </a:lnTo>
                  <a:lnTo>
                    <a:pt x="44" y="44"/>
                  </a:lnTo>
                  <a:lnTo>
                    <a:pt x="48" y="36"/>
                  </a:lnTo>
                  <a:lnTo>
                    <a:pt x="52" y="32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0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8"/>
                  </a:lnTo>
                  <a:lnTo>
                    <a:pt x="60" y="8"/>
                  </a:lnTo>
                  <a:lnTo>
                    <a:pt x="68" y="4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104" y="16"/>
                  </a:lnTo>
                  <a:lnTo>
                    <a:pt x="116" y="20"/>
                  </a:lnTo>
                  <a:lnTo>
                    <a:pt x="128" y="32"/>
                  </a:lnTo>
                  <a:lnTo>
                    <a:pt x="128" y="36"/>
                  </a:lnTo>
                  <a:lnTo>
                    <a:pt x="140" y="44"/>
                  </a:lnTo>
                  <a:lnTo>
                    <a:pt x="156" y="60"/>
                  </a:lnTo>
                  <a:lnTo>
                    <a:pt x="176" y="60"/>
                  </a:lnTo>
                  <a:lnTo>
                    <a:pt x="180" y="60"/>
                  </a:lnTo>
                  <a:lnTo>
                    <a:pt x="184" y="60"/>
                  </a:lnTo>
                  <a:lnTo>
                    <a:pt x="188" y="60"/>
                  </a:lnTo>
                  <a:lnTo>
                    <a:pt x="196" y="64"/>
                  </a:lnTo>
                  <a:lnTo>
                    <a:pt x="200" y="68"/>
                  </a:lnTo>
                  <a:lnTo>
                    <a:pt x="200" y="72"/>
                  </a:lnTo>
                  <a:lnTo>
                    <a:pt x="208" y="72"/>
                  </a:lnTo>
                  <a:lnTo>
                    <a:pt x="212" y="72"/>
                  </a:lnTo>
                  <a:lnTo>
                    <a:pt x="212" y="76"/>
                  </a:lnTo>
                  <a:lnTo>
                    <a:pt x="212" y="80"/>
                  </a:lnTo>
                  <a:lnTo>
                    <a:pt x="216" y="80"/>
                  </a:lnTo>
                  <a:lnTo>
                    <a:pt x="216" y="84"/>
                  </a:lnTo>
                  <a:lnTo>
                    <a:pt x="216" y="88"/>
                  </a:lnTo>
                  <a:lnTo>
                    <a:pt x="216" y="84"/>
                  </a:lnTo>
                  <a:lnTo>
                    <a:pt x="216" y="88"/>
                  </a:lnTo>
                  <a:lnTo>
                    <a:pt x="220" y="92"/>
                  </a:lnTo>
                  <a:lnTo>
                    <a:pt x="220" y="88"/>
                  </a:lnTo>
                  <a:lnTo>
                    <a:pt x="220" y="92"/>
                  </a:lnTo>
                  <a:lnTo>
                    <a:pt x="224" y="92"/>
                  </a:lnTo>
                  <a:lnTo>
                    <a:pt x="220" y="92"/>
                  </a:lnTo>
                  <a:lnTo>
                    <a:pt x="224" y="96"/>
                  </a:lnTo>
                  <a:lnTo>
                    <a:pt x="224" y="100"/>
                  </a:lnTo>
                  <a:lnTo>
                    <a:pt x="228" y="100"/>
                  </a:lnTo>
                  <a:lnTo>
                    <a:pt x="228" y="104"/>
                  </a:lnTo>
                  <a:lnTo>
                    <a:pt x="232" y="104"/>
                  </a:lnTo>
                  <a:lnTo>
                    <a:pt x="236" y="104"/>
                  </a:lnTo>
                  <a:lnTo>
                    <a:pt x="236" y="108"/>
                  </a:lnTo>
                  <a:lnTo>
                    <a:pt x="236" y="112"/>
                  </a:lnTo>
                  <a:lnTo>
                    <a:pt x="240" y="116"/>
                  </a:lnTo>
                  <a:lnTo>
                    <a:pt x="236" y="120"/>
                  </a:lnTo>
                  <a:lnTo>
                    <a:pt x="236" y="116"/>
                  </a:lnTo>
                  <a:lnTo>
                    <a:pt x="236" y="120"/>
                  </a:lnTo>
                  <a:lnTo>
                    <a:pt x="236" y="124"/>
                  </a:lnTo>
                  <a:lnTo>
                    <a:pt x="240" y="128"/>
                  </a:lnTo>
                  <a:lnTo>
                    <a:pt x="236" y="128"/>
                  </a:lnTo>
                  <a:lnTo>
                    <a:pt x="240" y="132"/>
                  </a:lnTo>
                  <a:lnTo>
                    <a:pt x="244" y="132"/>
                  </a:lnTo>
                  <a:lnTo>
                    <a:pt x="244" y="136"/>
                  </a:lnTo>
                  <a:lnTo>
                    <a:pt x="244" y="140"/>
                  </a:lnTo>
                  <a:lnTo>
                    <a:pt x="248" y="144"/>
                  </a:lnTo>
                  <a:lnTo>
                    <a:pt x="248" y="148"/>
                  </a:lnTo>
                  <a:lnTo>
                    <a:pt x="252" y="148"/>
                  </a:lnTo>
                  <a:lnTo>
                    <a:pt x="256" y="148"/>
                  </a:lnTo>
                  <a:lnTo>
                    <a:pt x="256" y="152"/>
                  </a:lnTo>
                  <a:lnTo>
                    <a:pt x="256" y="156"/>
                  </a:lnTo>
                  <a:lnTo>
                    <a:pt x="256" y="152"/>
                  </a:lnTo>
                  <a:lnTo>
                    <a:pt x="256" y="156"/>
                  </a:lnTo>
                  <a:lnTo>
                    <a:pt x="259" y="156"/>
                  </a:lnTo>
                  <a:lnTo>
                    <a:pt x="275" y="180"/>
                  </a:lnTo>
                  <a:lnTo>
                    <a:pt x="311" y="184"/>
                  </a:lnTo>
                  <a:lnTo>
                    <a:pt x="319" y="196"/>
                  </a:lnTo>
                  <a:lnTo>
                    <a:pt x="315" y="212"/>
                  </a:lnTo>
                  <a:lnTo>
                    <a:pt x="311" y="235"/>
                  </a:lnTo>
                  <a:close/>
                  <a:moveTo>
                    <a:pt x="112" y="291"/>
                  </a:moveTo>
                  <a:lnTo>
                    <a:pt x="112" y="295"/>
                  </a:lnTo>
                  <a:lnTo>
                    <a:pt x="112" y="291"/>
                  </a:lnTo>
                  <a:close/>
                  <a:moveTo>
                    <a:pt x="116" y="299"/>
                  </a:moveTo>
                  <a:lnTo>
                    <a:pt x="112" y="299"/>
                  </a:lnTo>
                  <a:lnTo>
                    <a:pt x="112" y="295"/>
                  </a:lnTo>
                  <a:lnTo>
                    <a:pt x="108" y="295"/>
                  </a:lnTo>
                  <a:lnTo>
                    <a:pt x="112" y="295"/>
                  </a:lnTo>
                  <a:lnTo>
                    <a:pt x="116" y="295"/>
                  </a:lnTo>
                  <a:lnTo>
                    <a:pt x="112" y="295"/>
                  </a:lnTo>
                  <a:lnTo>
                    <a:pt x="116" y="295"/>
                  </a:lnTo>
                  <a:lnTo>
                    <a:pt x="116" y="29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3" name="Freeform 40"/>
            <p:cNvSpPr>
              <a:spLocks/>
            </p:cNvSpPr>
            <p:nvPr>
              <p:custDataLst>
                <p:tags r:id="rId235"/>
              </p:custDataLst>
            </p:nvPr>
          </p:nvSpPr>
          <p:spPr bwMode="gray">
            <a:xfrm>
              <a:off x="6700022" y="4557395"/>
              <a:ext cx="11865" cy="5932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</a:cxnLst>
              <a:rect l="0" t="0" r="r" b="b"/>
              <a:pathLst>
                <a:path w="8" h="4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4" name="Freeform 41"/>
            <p:cNvSpPr>
              <a:spLocks noEditPoints="1"/>
            </p:cNvSpPr>
            <p:nvPr>
              <p:custDataLst>
                <p:tags r:id="rId236"/>
              </p:custDataLst>
            </p:nvPr>
          </p:nvSpPr>
          <p:spPr bwMode="gray">
            <a:xfrm>
              <a:off x="7208713" y="3508868"/>
              <a:ext cx="77119" cy="160171"/>
            </a:xfrm>
            <a:custGeom>
              <a:avLst/>
              <a:gdLst/>
              <a:ahLst/>
              <a:cxnLst>
                <a:cxn ang="0">
                  <a:pos x="4" y="44"/>
                </a:cxn>
                <a:cxn ang="0">
                  <a:pos x="0" y="36"/>
                </a:cxn>
                <a:cxn ang="0">
                  <a:pos x="0" y="40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4" y="32"/>
                </a:cxn>
                <a:cxn ang="0">
                  <a:pos x="12" y="36"/>
                </a:cxn>
                <a:cxn ang="0">
                  <a:pos x="8" y="28"/>
                </a:cxn>
                <a:cxn ang="0">
                  <a:pos x="4" y="20"/>
                </a:cxn>
                <a:cxn ang="0">
                  <a:pos x="8" y="12"/>
                </a:cxn>
                <a:cxn ang="0">
                  <a:pos x="16" y="4"/>
                </a:cxn>
                <a:cxn ang="0">
                  <a:pos x="28" y="4"/>
                </a:cxn>
                <a:cxn ang="0">
                  <a:pos x="36" y="4"/>
                </a:cxn>
                <a:cxn ang="0">
                  <a:pos x="40" y="16"/>
                </a:cxn>
                <a:cxn ang="0">
                  <a:pos x="48" y="24"/>
                </a:cxn>
                <a:cxn ang="0">
                  <a:pos x="48" y="36"/>
                </a:cxn>
                <a:cxn ang="0">
                  <a:pos x="48" y="52"/>
                </a:cxn>
                <a:cxn ang="0">
                  <a:pos x="48" y="64"/>
                </a:cxn>
                <a:cxn ang="0">
                  <a:pos x="40" y="68"/>
                </a:cxn>
                <a:cxn ang="0">
                  <a:pos x="32" y="72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0" y="72"/>
                </a:cxn>
                <a:cxn ang="0">
                  <a:pos x="20" y="80"/>
                </a:cxn>
                <a:cxn ang="0">
                  <a:pos x="16" y="80"/>
                </a:cxn>
                <a:cxn ang="0">
                  <a:pos x="16" y="80"/>
                </a:cxn>
                <a:cxn ang="0">
                  <a:pos x="16" y="76"/>
                </a:cxn>
                <a:cxn ang="0">
                  <a:pos x="8" y="84"/>
                </a:cxn>
                <a:cxn ang="0">
                  <a:pos x="4" y="88"/>
                </a:cxn>
                <a:cxn ang="0">
                  <a:pos x="0" y="80"/>
                </a:cxn>
                <a:cxn ang="0">
                  <a:pos x="4" y="76"/>
                </a:cxn>
                <a:cxn ang="0">
                  <a:pos x="4" y="72"/>
                </a:cxn>
                <a:cxn ang="0">
                  <a:pos x="4" y="72"/>
                </a:cxn>
                <a:cxn ang="0">
                  <a:pos x="4" y="60"/>
                </a:cxn>
                <a:cxn ang="0">
                  <a:pos x="8" y="56"/>
                </a:cxn>
                <a:cxn ang="0">
                  <a:pos x="4" y="52"/>
                </a:cxn>
                <a:cxn ang="0">
                  <a:pos x="4" y="20"/>
                </a:cxn>
                <a:cxn ang="0">
                  <a:pos x="0" y="44"/>
                </a:cxn>
                <a:cxn ang="0">
                  <a:pos x="4" y="44"/>
                </a:cxn>
                <a:cxn ang="0">
                  <a:pos x="36" y="76"/>
                </a:cxn>
                <a:cxn ang="0">
                  <a:pos x="28" y="72"/>
                </a:cxn>
                <a:cxn ang="0">
                  <a:pos x="28" y="80"/>
                </a:cxn>
                <a:cxn ang="0">
                  <a:pos x="28" y="72"/>
                </a:cxn>
                <a:cxn ang="0">
                  <a:pos x="0" y="80"/>
                </a:cxn>
                <a:cxn ang="0">
                  <a:pos x="12" y="100"/>
                </a:cxn>
                <a:cxn ang="0">
                  <a:pos x="8" y="108"/>
                </a:cxn>
                <a:cxn ang="0">
                  <a:pos x="0" y="104"/>
                </a:cxn>
              </a:cxnLst>
              <a:rect l="0" t="0" r="r" b="b"/>
              <a:pathLst>
                <a:path w="52" h="108">
                  <a:moveTo>
                    <a:pt x="8" y="52"/>
                  </a:moveTo>
                  <a:lnTo>
                    <a:pt x="4" y="48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48" y="52"/>
                  </a:lnTo>
                  <a:lnTo>
                    <a:pt x="52" y="52"/>
                  </a:lnTo>
                  <a:lnTo>
                    <a:pt x="48" y="60"/>
                  </a:lnTo>
                  <a:lnTo>
                    <a:pt x="48" y="64"/>
                  </a:lnTo>
                  <a:lnTo>
                    <a:pt x="44" y="68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40" y="72"/>
                  </a:lnTo>
                  <a:lnTo>
                    <a:pt x="36" y="68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36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8" y="72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0" y="76"/>
                  </a:lnTo>
                  <a:lnTo>
                    <a:pt x="24" y="76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16" y="84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2" y="80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84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8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6"/>
                  </a:lnTo>
                  <a:lnTo>
                    <a:pt x="4" y="52"/>
                  </a:lnTo>
                  <a:lnTo>
                    <a:pt x="8" y="52"/>
                  </a:lnTo>
                  <a:close/>
                  <a:moveTo>
                    <a:pt x="4" y="16"/>
                  </a:moveTo>
                  <a:lnTo>
                    <a:pt x="4" y="20"/>
                  </a:lnTo>
                  <a:lnTo>
                    <a:pt x="4" y="16"/>
                  </a:lnTo>
                  <a:close/>
                  <a:moveTo>
                    <a:pt x="4" y="44"/>
                  </a:moveTo>
                  <a:lnTo>
                    <a:pt x="0" y="44"/>
                  </a:lnTo>
                  <a:lnTo>
                    <a:pt x="0" y="40"/>
                  </a:lnTo>
                  <a:lnTo>
                    <a:pt x="4" y="40"/>
                  </a:lnTo>
                  <a:lnTo>
                    <a:pt x="4" y="44"/>
                  </a:lnTo>
                  <a:close/>
                  <a:moveTo>
                    <a:pt x="40" y="72"/>
                  </a:moveTo>
                  <a:lnTo>
                    <a:pt x="40" y="76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72"/>
                  </a:lnTo>
                  <a:close/>
                  <a:moveTo>
                    <a:pt x="28" y="72"/>
                  </a:moveTo>
                  <a:lnTo>
                    <a:pt x="24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8" y="72"/>
                  </a:lnTo>
                  <a:close/>
                  <a:moveTo>
                    <a:pt x="4" y="84"/>
                  </a:moveTo>
                  <a:lnTo>
                    <a:pt x="0" y="84"/>
                  </a:lnTo>
                  <a:lnTo>
                    <a:pt x="0" y="80"/>
                  </a:lnTo>
                  <a:lnTo>
                    <a:pt x="4" y="84"/>
                  </a:lnTo>
                  <a:close/>
                  <a:moveTo>
                    <a:pt x="8" y="100"/>
                  </a:moveTo>
                  <a:lnTo>
                    <a:pt x="12" y="100"/>
                  </a:lnTo>
                  <a:lnTo>
                    <a:pt x="12" y="104"/>
                  </a:lnTo>
                  <a:lnTo>
                    <a:pt x="8" y="104"/>
                  </a:lnTo>
                  <a:lnTo>
                    <a:pt x="8" y="108"/>
                  </a:lnTo>
                  <a:lnTo>
                    <a:pt x="4" y="108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4" y="104"/>
                  </a:lnTo>
                  <a:lnTo>
                    <a:pt x="8" y="1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5" name="Freeform 42"/>
            <p:cNvSpPr>
              <a:spLocks noEditPoints="1"/>
            </p:cNvSpPr>
            <p:nvPr>
              <p:custDataLst>
                <p:tags r:id="rId237"/>
              </p:custDataLst>
            </p:nvPr>
          </p:nvSpPr>
          <p:spPr bwMode="gray">
            <a:xfrm>
              <a:off x="6943245" y="4302308"/>
              <a:ext cx="35594" cy="29661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</a:cxnLst>
              <a:rect l="0" t="0" r="r" b="b"/>
              <a:pathLst>
                <a:path w="24" h="20">
                  <a:moveTo>
                    <a:pt x="24" y="0"/>
                  </a:move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close/>
                  <a:moveTo>
                    <a:pt x="0" y="20"/>
                  </a:move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6" name="Freeform 43"/>
            <p:cNvSpPr>
              <a:spLocks noEditPoints="1"/>
            </p:cNvSpPr>
            <p:nvPr>
              <p:custDataLst>
                <p:tags r:id="rId238"/>
              </p:custDataLst>
            </p:nvPr>
          </p:nvSpPr>
          <p:spPr bwMode="gray">
            <a:xfrm>
              <a:off x="6161670" y="4326037"/>
              <a:ext cx="53390" cy="106781"/>
            </a:xfrm>
            <a:custGeom>
              <a:avLst/>
              <a:gdLst/>
              <a:ahLst/>
              <a:cxnLst>
                <a:cxn ang="0">
                  <a:pos x="4" y="16"/>
                </a:cxn>
                <a:cxn ang="0">
                  <a:pos x="0" y="16"/>
                </a:cxn>
                <a:cxn ang="0">
                  <a:pos x="32" y="60"/>
                </a:cxn>
                <a:cxn ang="0">
                  <a:pos x="32" y="64"/>
                </a:cxn>
                <a:cxn ang="0">
                  <a:pos x="28" y="68"/>
                </a:cxn>
                <a:cxn ang="0">
                  <a:pos x="20" y="72"/>
                </a:cxn>
                <a:cxn ang="0">
                  <a:pos x="16" y="72"/>
                </a:cxn>
                <a:cxn ang="0">
                  <a:pos x="8" y="72"/>
                </a:cxn>
                <a:cxn ang="0">
                  <a:pos x="8" y="64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8" y="4"/>
                </a:cxn>
                <a:cxn ang="0">
                  <a:pos x="12" y="0"/>
                </a:cxn>
                <a:cxn ang="0">
                  <a:pos x="12" y="4"/>
                </a:cxn>
                <a:cxn ang="0">
                  <a:pos x="16" y="8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20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8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28" y="32"/>
                </a:cxn>
                <a:cxn ang="0">
                  <a:pos x="32" y="40"/>
                </a:cxn>
                <a:cxn ang="0">
                  <a:pos x="32" y="40"/>
                </a:cxn>
                <a:cxn ang="0">
                  <a:pos x="32" y="44"/>
                </a:cxn>
                <a:cxn ang="0">
                  <a:pos x="36" y="44"/>
                </a:cxn>
                <a:cxn ang="0">
                  <a:pos x="36" y="48"/>
                </a:cxn>
                <a:cxn ang="0">
                  <a:pos x="36" y="56"/>
                </a:cxn>
              </a:cxnLst>
              <a:rect l="0" t="0" r="r" b="b"/>
              <a:pathLst>
                <a:path w="36" h="72">
                  <a:moveTo>
                    <a:pt x="4" y="16"/>
                  </a:move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close/>
                  <a:moveTo>
                    <a:pt x="32" y="60"/>
                  </a:move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7" name="Freeform 44"/>
            <p:cNvSpPr>
              <a:spLocks/>
            </p:cNvSpPr>
            <p:nvPr>
              <p:custDataLst>
                <p:tags r:id="rId239"/>
              </p:custDataLst>
            </p:nvPr>
          </p:nvSpPr>
          <p:spPr bwMode="gray">
            <a:xfrm>
              <a:off x="5173949" y="3544462"/>
              <a:ext cx="154239" cy="148306"/>
            </a:xfrm>
            <a:custGeom>
              <a:avLst/>
              <a:gdLst/>
              <a:ahLst/>
              <a:cxnLst>
                <a:cxn ang="0">
                  <a:pos x="0" y="84"/>
                </a:cxn>
                <a:cxn ang="0">
                  <a:pos x="4" y="80"/>
                </a:cxn>
                <a:cxn ang="0">
                  <a:pos x="4" y="80"/>
                </a:cxn>
                <a:cxn ang="0">
                  <a:pos x="4" y="76"/>
                </a:cxn>
                <a:cxn ang="0">
                  <a:pos x="12" y="72"/>
                </a:cxn>
                <a:cxn ang="0">
                  <a:pos x="12" y="72"/>
                </a:cxn>
                <a:cxn ang="0">
                  <a:pos x="16" y="64"/>
                </a:cxn>
                <a:cxn ang="0">
                  <a:pos x="12" y="60"/>
                </a:cxn>
                <a:cxn ang="0">
                  <a:pos x="12" y="56"/>
                </a:cxn>
                <a:cxn ang="0">
                  <a:pos x="8" y="56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4" y="44"/>
                </a:cxn>
                <a:cxn ang="0">
                  <a:pos x="4" y="36"/>
                </a:cxn>
                <a:cxn ang="0">
                  <a:pos x="4" y="28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12" y="24"/>
                </a:cxn>
                <a:cxn ang="0">
                  <a:pos x="16" y="24"/>
                </a:cxn>
                <a:cxn ang="0">
                  <a:pos x="16" y="20"/>
                </a:cxn>
                <a:cxn ang="0">
                  <a:pos x="16" y="12"/>
                </a:cxn>
                <a:cxn ang="0">
                  <a:pos x="24" y="16"/>
                </a:cxn>
                <a:cxn ang="0">
                  <a:pos x="32" y="12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44" y="8"/>
                </a:cxn>
                <a:cxn ang="0">
                  <a:pos x="48" y="12"/>
                </a:cxn>
                <a:cxn ang="0">
                  <a:pos x="52" y="12"/>
                </a:cxn>
                <a:cxn ang="0">
                  <a:pos x="56" y="16"/>
                </a:cxn>
                <a:cxn ang="0">
                  <a:pos x="64" y="12"/>
                </a:cxn>
                <a:cxn ang="0">
                  <a:pos x="72" y="8"/>
                </a:cxn>
                <a:cxn ang="0">
                  <a:pos x="76" y="8"/>
                </a:cxn>
                <a:cxn ang="0">
                  <a:pos x="80" y="4"/>
                </a:cxn>
                <a:cxn ang="0">
                  <a:pos x="88" y="4"/>
                </a:cxn>
                <a:cxn ang="0">
                  <a:pos x="96" y="4"/>
                </a:cxn>
                <a:cxn ang="0">
                  <a:pos x="100" y="0"/>
                </a:cxn>
                <a:cxn ang="0">
                  <a:pos x="104" y="4"/>
                </a:cxn>
                <a:cxn ang="0">
                  <a:pos x="88" y="20"/>
                </a:cxn>
                <a:cxn ang="0">
                  <a:pos x="88" y="32"/>
                </a:cxn>
                <a:cxn ang="0">
                  <a:pos x="88" y="40"/>
                </a:cxn>
                <a:cxn ang="0">
                  <a:pos x="84" y="44"/>
                </a:cxn>
                <a:cxn ang="0">
                  <a:pos x="84" y="48"/>
                </a:cxn>
                <a:cxn ang="0">
                  <a:pos x="84" y="60"/>
                </a:cxn>
                <a:cxn ang="0">
                  <a:pos x="64" y="72"/>
                </a:cxn>
                <a:cxn ang="0">
                  <a:pos x="48" y="80"/>
                </a:cxn>
                <a:cxn ang="0">
                  <a:pos x="32" y="92"/>
                </a:cxn>
                <a:cxn ang="0">
                  <a:pos x="20" y="100"/>
                </a:cxn>
                <a:cxn ang="0">
                  <a:pos x="12" y="100"/>
                </a:cxn>
                <a:cxn ang="0">
                  <a:pos x="8" y="96"/>
                </a:cxn>
                <a:cxn ang="0">
                  <a:pos x="4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88"/>
                </a:cxn>
                <a:cxn ang="0">
                  <a:pos x="0" y="84"/>
                </a:cxn>
              </a:cxnLst>
              <a:rect l="0" t="0" r="r" b="b"/>
              <a:pathLst>
                <a:path w="104" h="100">
                  <a:moveTo>
                    <a:pt x="0" y="84"/>
                  </a:move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104" y="0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96" y="16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52"/>
                  </a:lnTo>
                  <a:lnTo>
                    <a:pt x="84" y="56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76" y="64"/>
                  </a:lnTo>
                  <a:lnTo>
                    <a:pt x="72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6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80"/>
                  </a:lnTo>
                  <a:lnTo>
                    <a:pt x="48" y="80"/>
                  </a:lnTo>
                  <a:lnTo>
                    <a:pt x="44" y="84"/>
                  </a:lnTo>
                  <a:lnTo>
                    <a:pt x="40" y="84"/>
                  </a:lnTo>
                  <a:lnTo>
                    <a:pt x="36" y="88"/>
                  </a:lnTo>
                  <a:lnTo>
                    <a:pt x="32" y="92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0" y="92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8" name="Freeform 45"/>
            <p:cNvSpPr>
              <a:spLocks/>
            </p:cNvSpPr>
            <p:nvPr>
              <p:custDataLst>
                <p:tags r:id="rId240"/>
              </p:custDataLst>
            </p:nvPr>
          </p:nvSpPr>
          <p:spPr bwMode="gray">
            <a:xfrm>
              <a:off x="5890269" y="3431749"/>
              <a:ext cx="170552" cy="136442"/>
            </a:xfrm>
            <a:custGeom>
              <a:avLst/>
              <a:gdLst/>
              <a:ahLst/>
              <a:cxnLst>
                <a:cxn ang="0">
                  <a:pos x="108" y="76"/>
                </a:cxn>
                <a:cxn ang="0">
                  <a:pos x="96" y="80"/>
                </a:cxn>
                <a:cxn ang="0">
                  <a:pos x="96" y="76"/>
                </a:cxn>
                <a:cxn ang="0">
                  <a:pos x="88" y="76"/>
                </a:cxn>
                <a:cxn ang="0">
                  <a:pos x="80" y="80"/>
                </a:cxn>
                <a:cxn ang="0">
                  <a:pos x="72" y="84"/>
                </a:cxn>
                <a:cxn ang="0">
                  <a:pos x="64" y="88"/>
                </a:cxn>
                <a:cxn ang="0">
                  <a:pos x="60" y="76"/>
                </a:cxn>
                <a:cxn ang="0">
                  <a:pos x="64" y="68"/>
                </a:cxn>
                <a:cxn ang="0">
                  <a:pos x="56" y="64"/>
                </a:cxn>
                <a:cxn ang="0">
                  <a:pos x="56" y="56"/>
                </a:cxn>
                <a:cxn ang="0">
                  <a:pos x="48" y="60"/>
                </a:cxn>
                <a:cxn ang="0">
                  <a:pos x="40" y="68"/>
                </a:cxn>
                <a:cxn ang="0">
                  <a:pos x="40" y="72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12" y="80"/>
                </a:cxn>
                <a:cxn ang="0">
                  <a:pos x="4" y="80"/>
                </a:cxn>
                <a:cxn ang="0">
                  <a:pos x="8" y="72"/>
                </a:cxn>
                <a:cxn ang="0">
                  <a:pos x="12" y="60"/>
                </a:cxn>
                <a:cxn ang="0">
                  <a:pos x="12" y="56"/>
                </a:cxn>
                <a:cxn ang="0">
                  <a:pos x="12" y="48"/>
                </a:cxn>
                <a:cxn ang="0">
                  <a:pos x="4" y="44"/>
                </a:cxn>
                <a:cxn ang="0">
                  <a:pos x="0" y="36"/>
                </a:cxn>
                <a:cxn ang="0">
                  <a:pos x="8" y="28"/>
                </a:cxn>
                <a:cxn ang="0">
                  <a:pos x="16" y="32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20" y="16"/>
                </a:cxn>
                <a:cxn ang="0">
                  <a:pos x="28" y="12"/>
                </a:cxn>
                <a:cxn ang="0">
                  <a:pos x="32" y="4"/>
                </a:cxn>
                <a:cxn ang="0">
                  <a:pos x="40" y="8"/>
                </a:cxn>
                <a:cxn ang="0">
                  <a:pos x="44" y="0"/>
                </a:cxn>
                <a:cxn ang="0">
                  <a:pos x="52" y="4"/>
                </a:cxn>
                <a:cxn ang="0">
                  <a:pos x="48" y="12"/>
                </a:cxn>
                <a:cxn ang="0">
                  <a:pos x="48" y="16"/>
                </a:cxn>
                <a:cxn ang="0">
                  <a:pos x="48" y="20"/>
                </a:cxn>
                <a:cxn ang="0">
                  <a:pos x="48" y="24"/>
                </a:cxn>
                <a:cxn ang="0">
                  <a:pos x="40" y="16"/>
                </a:cxn>
                <a:cxn ang="0">
                  <a:pos x="32" y="24"/>
                </a:cxn>
                <a:cxn ang="0">
                  <a:pos x="28" y="24"/>
                </a:cxn>
                <a:cxn ang="0">
                  <a:pos x="32" y="32"/>
                </a:cxn>
                <a:cxn ang="0">
                  <a:pos x="44" y="32"/>
                </a:cxn>
                <a:cxn ang="0">
                  <a:pos x="48" y="32"/>
                </a:cxn>
                <a:cxn ang="0">
                  <a:pos x="56" y="32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72" y="40"/>
                </a:cxn>
                <a:cxn ang="0">
                  <a:pos x="80" y="36"/>
                </a:cxn>
                <a:cxn ang="0">
                  <a:pos x="88" y="32"/>
                </a:cxn>
                <a:cxn ang="0">
                  <a:pos x="96" y="36"/>
                </a:cxn>
                <a:cxn ang="0">
                  <a:pos x="96" y="44"/>
                </a:cxn>
                <a:cxn ang="0">
                  <a:pos x="100" y="52"/>
                </a:cxn>
                <a:cxn ang="0">
                  <a:pos x="108" y="52"/>
                </a:cxn>
                <a:cxn ang="0">
                  <a:pos x="111" y="60"/>
                </a:cxn>
                <a:cxn ang="0">
                  <a:pos x="115" y="68"/>
                </a:cxn>
                <a:cxn ang="0">
                  <a:pos x="115" y="72"/>
                </a:cxn>
              </a:cxnLst>
              <a:rect l="0" t="0" r="r" b="b"/>
              <a:pathLst>
                <a:path w="115" h="92">
                  <a:moveTo>
                    <a:pt x="111" y="80"/>
                  </a:moveTo>
                  <a:lnTo>
                    <a:pt x="111" y="76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0" y="76"/>
                  </a:lnTo>
                  <a:lnTo>
                    <a:pt x="96" y="80"/>
                  </a:lnTo>
                  <a:lnTo>
                    <a:pt x="92" y="80"/>
                  </a:lnTo>
                  <a:lnTo>
                    <a:pt x="92" y="76"/>
                  </a:lnTo>
                  <a:lnTo>
                    <a:pt x="96" y="76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88" y="76"/>
                  </a:lnTo>
                  <a:lnTo>
                    <a:pt x="84" y="76"/>
                  </a:lnTo>
                  <a:lnTo>
                    <a:pt x="84" y="80"/>
                  </a:lnTo>
                  <a:lnTo>
                    <a:pt x="80" y="80"/>
                  </a:lnTo>
                  <a:lnTo>
                    <a:pt x="80" y="84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68" y="88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0" y="84"/>
                  </a:lnTo>
                  <a:lnTo>
                    <a:pt x="60" y="80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2" y="52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4" y="68"/>
                  </a:lnTo>
                  <a:lnTo>
                    <a:pt x="44" y="72"/>
                  </a:lnTo>
                  <a:lnTo>
                    <a:pt x="40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44" y="20"/>
                  </a:lnTo>
                  <a:lnTo>
                    <a:pt x="40" y="16"/>
                  </a:lnTo>
                  <a:lnTo>
                    <a:pt x="36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92" y="36"/>
                  </a:lnTo>
                  <a:lnTo>
                    <a:pt x="96" y="40"/>
                  </a:lnTo>
                  <a:lnTo>
                    <a:pt x="96" y="44"/>
                  </a:lnTo>
                  <a:lnTo>
                    <a:pt x="96" y="48"/>
                  </a:lnTo>
                  <a:lnTo>
                    <a:pt x="96" y="52"/>
                  </a:lnTo>
                  <a:lnTo>
                    <a:pt x="100" y="52"/>
                  </a:lnTo>
                  <a:lnTo>
                    <a:pt x="100" y="48"/>
                  </a:lnTo>
                  <a:lnTo>
                    <a:pt x="104" y="48"/>
                  </a:lnTo>
                  <a:lnTo>
                    <a:pt x="108" y="52"/>
                  </a:lnTo>
                  <a:lnTo>
                    <a:pt x="111" y="52"/>
                  </a:lnTo>
                  <a:lnTo>
                    <a:pt x="111" y="56"/>
                  </a:lnTo>
                  <a:lnTo>
                    <a:pt x="111" y="60"/>
                  </a:lnTo>
                  <a:lnTo>
                    <a:pt x="111" y="64"/>
                  </a:lnTo>
                  <a:lnTo>
                    <a:pt x="111" y="68"/>
                  </a:lnTo>
                  <a:lnTo>
                    <a:pt x="115" y="68"/>
                  </a:lnTo>
                  <a:lnTo>
                    <a:pt x="111" y="68"/>
                  </a:lnTo>
                  <a:lnTo>
                    <a:pt x="111" y="72"/>
                  </a:lnTo>
                  <a:lnTo>
                    <a:pt x="115" y="72"/>
                  </a:lnTo>
                  <a:lnTo>
                    <a:pt x="115" y="76"/>
                  </a:lnTo>
                  <a:lnTo>
                    <a:pt x="111" y="8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9" name="Freeform 46"/>
            <p:cNvSpPr>
              <a:spLocks noEditPoints="1"/>
            </p:cNvSpPr>
            <p:nvPr>
              <p:custDataLst>
                <p:tags r:id="rId241"/>
              </p:custDataLst>
            </p:nvPr>
          </p:nvSpPr>
          <p:spPr bwMode="gray">
            <a:xfrm>
              <a:off x="6559131" y="4035356"/>
              <a:ext cx="188349" cy="409326"/>
            </a:xfrm>
            <a:custGeom>
              <a:avLst/>
              <a:gdLst/>
              <a:ahLst/>
              <a:cxnLst>
                <a:cxn ang="0">
                  <a:pos x="59" y="276"/>
                </a:cxn>
                <a:cxn ang="0">
                  <a:pos x="55" y="264"/>
                </a:cxn>
                <a:cxn ang="0">
                  <a:pos x="43" y="260"/>
                </a:cxn>
                <a:cxn ang="0">
                  <a:pos x="39" y="248"/>
                </a:cxn>
                <a:cxn ang="0">
                  <a:pos x="27" y="236"/>
                </a:cxn>
                <a:cxn ang="0">
                  <a:pos x="19" y="228"/>
                </a:cxn>
                <a:cxn ang="0">
                  <a:pos x="15" y="216"/>
                </a:cxn>
                <a:cxn ang="0">
                  <a:pos x="19" y="196"/>
                </a:cxn>
                <a:cxn ang="0">
                  <a:pos x="31" y="172"/>
                </a:cxn>
                <a:cxn ang="0">
                  <a:pos x="35" y="152"/>
                </a:cxn>
                <a:cxn ang="0">
                  <a:pos x="31" y="132"/>
                </a:cxn>
                <a:cxn ang="0">
                  <a:pos x="23" y="116"/>
                </a:cxn>
                <a:cxn ang="0">
                  <a:pos x="15" y="100"/>
                </a:cxn>
                <a:cxn ang="0">
                  <a:pos x="19" y="80"/>
                </a:cxn>
                <a:cxn ang="0">
                  <a:pos x="19" y="64"/>
                </a:cxn>
                <a:cxn ang="0">
                  <a:pos x="8" y="52"/>
                </a:cxn>
                <a:cxn ang="0">
                  <a:pos x="4" y="36"/>
                </a:cxn>
                <a:cxn ang="0">
                  <a:pos x="8" y="24"/>
                </a:cxn>
                <a:cxn ang="0">
                  <a:pos x="19" y="12"/>
                </a:cxn>
                <a:cxn ang="0">
                  <a:pos x="31" y="8"/>
                </a:cxn>
                <a:cxn ang="0">
                  <a:pos x="43" y="4"/>
                </a:cxn>
                <a:cxn ang="0">
                  <a:pos x="47" y="12"/>
                </a:cxn>
                <a:cxn ang="0">
                  <a:pos x="59" y="24"/>
                </a:cxn>
                <a:cxn ang="0">
                  <a:pos x="59" y="40"/>
                </a:cxn>
                <a:cxn ang="0">
                  <a:pos x="59" y="56"/>
                </a:cxn>
                <a:cxn ang="0">
                  <a:pos x="71" y="44"/>
                </a:cxn>
                <a:cxn ang="0">
                  <a:pos x="83" y="48"/>
                </a:cxn>
                <a:cxn ang="0">
                  <a:pos x="95" y="40"/>
                </a:cxn>
                <a:cxn ang="0">
                  <a:pos x="111" y="52"/>
                </a:cxn>
                <a:cxn ang="0">
                  <a:pos x="115" y="68"/>
                </a:cxn>
                <a:cxn ang="0">
                  <a:pos x="119" y="84"/>
                </a:cxn>
                <a:cxn ang="0">
                  <a:pos x="123" y="100"/>
                </a:cxn>
                <a:cxn ang="0">
                  <a:pos x="119" y="112"/>
                </a:cxn>
                <a:cxn ang="0">
                  <a:pos x="103" y="112"/>
                </a:cxn>
                <a:cxn ang="0">
                  <a:pos x="87" y="120"/>
                </a:cxn>
                <a:cxn ang="0">
                  <a:pos x="75" y="132"/>
                </a:cxn>
                <a:cxn ang="0">
                  <a:pos x="83" y="152"/>
                </a:cxn>
                <a:cxn ang="0">
                  <a:pos x="83" y="156"/>
                </a:cxn>
                <a:cxn ang="0">
                  <a:pos x="71" y="144"/>
                </a:cxn>
                <a:cxn ang="0">
                  <a:pos x="55" y="144"/>
                </a:cxn>
                <a:cxn ang="0">
                  <a:pos x="55" y="128"/>
                </a:cxn>
                <a:cxn ang="0">
                  <a:pos x="43" y="136"/>
                </a:cxn>
                <a:cxn ang="0">
                  <a:pos x="39" y="160"/>
                </a:cxn>
                <a:cxn ang="0">
                  <a:pos x="31" y="180"/>
                </a:cxn>
                <a:cxn ang="0">
                  <a:pos x="31" y="204"/>
                </a:cxn>
                <a:cxn ang="0">
                  <a:pos x="39" y="220"/>
                </a:cxn>
                <a:cxn ang="0">
                  <a:pos x="47" y="228"/>
                </a:cxn>
                <a:cxn ang="0">
                  <a:pos x="51" y="248"/>
                </a:cxn>
                <a:cxn ang="0">
                  <a:pos x="43" y="240"/>
                </a:cxn>
                <a:cxn ang="0">
                  <a:pos x="51" y="248"/>
                </a:cxn>
                <a:cxn ang="0">
                  <a:pos x="63" y="252"/>
                </a:cxn>
                <a:cxn ang="0">
                  <a:pos x="71" y="272"/>
                </a:cxn>
                <a:cxn ang="0">
                  <a:pos x="35" y="260"/>
                </a:cxn>
                <a:cxn ang="0">
                  <a:pos x="79" y="156"/>
                </a:cxn>
                <a:cxn ang="0">
                  <a:pos x="43" y="200"/>
                </a:cxn>
                <a:cxn ang="0">
                  <a:pos x="15" y="232"/>
                </a:cxn>
              </a:cxnLst>
              <a:rect l="0" t="0" r="r" b="b"/>
              <a:pathLst>
                <a:path w="127" h="276">
                  <a:moveTo>
                    <a:pt x="67" y="272"/>
                  </a:moveTo>
                  <a:lnTo>
                    <a:pt x="67" y="268"/>
                  </a:lnTo>
                  <a:lnTo>
                    <a:pt x="63" y="268"/>
                  </a:lnTo>
                  <a:lnTo>
                    <a:pt x="63" y="272"/>
                  </a:lnTo>
                  <a:lnTo>
                    <a:pt x="59" y="272"/>
                  </a:lnTo>
                  <a:lnTo>
                    <a:pt x="59" y="276"/>
                  </a:lnTo>
                  <a:lnTo>
                    <a:pt x="59" y="272"/>
                  </a:lnTo>
                  <a:lnTo>
                    <a:pt x="55" y="272"/>
                  </a:lnTo>
                  <a:lnTo>
                    <a:pt x="55" y="268"/>
                  </a:lnTo>
                  <a:lnTo>
                    <a:pt x="59" y="268"/>
                  </a:lnTo>
                  <a:lnTo>
                    <a:pt x="59" y="264"/>
                  </a:lnTo>
                  <a:lnTo>
                    <a:pt x="55" y="264"/>
                  </a:lnTo>
                  <a:lnTo>
                    <a:pt x="55" y="260"/>
                  </a:lnTo>
                  <a:lnTo>
                    <a:pt x="51" y="260"/>
                  </a:lnTo>
                  <a:lnTo>
                    <a:pt x="47" y="260"/>
                  </a:lnTo>
                  <a:lnTo>
                    <a:pt x="47" y="256"/>
                  </a:lnTo>
                  <a:lnTo>
                    <a:pt x="43" y="256"/>
                  </a:lnTo>
                  <a:lnTo>
                    <a:pt x="43" y="260"/>
                  </a:lnTo>
                  <a:lnTo>
                    <a:pt x="43" y="256"/>
                  </a:lnTo>
                  <a:lnTo>
                    <a:pt x="39" y="256"/>
                  </a:lnTo>
                  <a:lnTo>
                    <a:pt x="39" y="252"/>
                  </a:lnTo>
                  <a:lnTo>
                    <a:pt x="35" y="252"/>
                  </a:lnTo>
                  <a:lnTo>
                    <a:pt x="35" y="248"/>
                  </a:lnTo>
                  <a:lnTo>
                    <a:pt x="39" y="248"/>
                  </a:lnTo>
                  <a:lnTo>
                    <a:pt x="35" y="248"/>
                  </a:lnTo>
                  <a:lnTo>
                    <a:pt x="35" y="244"/>
                  </a:lnTo>
                  <a:lnTo>
                    <a:pt x="31" y="244"/>
                  </a:lnTo>
                  <a:lnTo>
                    <a:pt x="31" y="240"/>
                  </a:lnTo>
                  <a:lnTo>
                    <a:pt x="31" y="236"/>
                  </a:lnTo>
                  <a:lnTo>
                    <a:pt x="27" y="236"/>
                  </a:lnTo>
                  <a:lnTo>
                    <a:pt x="27" y="232"/>
                  </a:lnTo>
                  <a:lnTo>
                    <a:pt x="23" y="232"/>
                  </a:lnTo>
                  <a:lnTo>
                    <a:pt x="23" y="228"/>
                  </a:lnTo>
                  <a:lnTo>
                    <a:pt x="23" y="224"/>
                  </a:lnTo>
                  <a:lnTo>
                    <a:pt x="19" y="224"/>
                  </a:lnTo>
                  <a:lnTo>
                    <a:pt x="19" y="228"/>
                  </a:lnTo>
                  <a:lnTo>
                    <a:pt x="19" y="224"/>
                  </a:lnTo>
                  <a:lnTo>
                    <a:pt x="19" y="228"/>
                  </a:lnTo>
                  <a:lnTo>
                    <a:pt x="15" y="228"/>
                  </a:lnTo>
                  <a:lnTo>
                    <a:pt x="15" y="224"/>
                  </a:lnTo>
                  <a:lnTo>
                    <a:pt x="15" y="220"/>
                  </a:lnTo>
                  <a:lnTo>
                    <a:pt x="15" y="216"/>
                  </a:lnTo>
                  <a:lnTo>
                    <a:pt x="15" y="212"/>
                  </a:lnTo>
                  <a:lnTo>
                    <a:pt x="15" y="208"/>
                  </a:lnTo>
                  <a:lnTo>
                    <a:pt x="15" y="204"/>
                  </a:lnTo>
                  <a:lnTo>
                    <a:pt x="19" y="204"/>
                  </a:lnTo>
                  <a:lnTo>
                    <a:pt x="19" y="200"/>
                  </a:lnTo>
                  <a:lnTo>
                    <a:pt x="19" y="196"/>
                  </a:lnTo>
                  <a:lnTo>
                    <a:pt x="23" y="192"/>
                  </a:lnTo>
                  <a:lnTo>
                    <a:pt x="23" y="188"/>
                  </a:lnTo>
                  <a:lnTo>
                    <a:pt x="23" y="184"/>
                  </a:lnTo>
                  <a:lnTo>
                    <a:pt x="23" y="180"/>
                  </a:lnTo>
                  <a:lnTo>
                    <a:pt x="27" y="176"/>
                  </a:lnTo>
                  <a:lnTo>
                    <a:pt x="31" y="172"/>
                  </a:lnTo>
                  <a:lnTo>
                    <a:pt x="31" y="168"/>
                  </a:lnTo>
                  <a:lnTo>
                    <a:pt x="31" y="164"/>
                  </a:lnTo>
                  <a:lnTo>
                    <a:pt x="35" y="164"/>
                  </a:lnTo>
                  <a:lnTo>
                    <a:pt x="35" y="160"/>
                  </a:lnTo>
                  <a:lnTo>
                    <a:pt x="35" y="156"/>
                  </a:lnTo>
                  <a:lnTo>
                    <a:pt x="35" y="152"/>
                  </a:lnTo>
                  <a:lnTo>
                    <a:pt x="31" y="152"/>
                  </a:lnTo>
                  <a:lnTo>
                    <a:pt x="31" y="148"/>
                  </a:lnTo>
                  <a:lnTo>
                    <a:pt x="31" y="144"/>
                  </a:lnTo>
                  <a:lnTo>
                    <a:pt x="27" y="136"/>
                  </a:lnTo>
                  <a:lnTo>
                    <a:pt x="31" y="136"/>
                  </a:lnTo>
                  <a:lnTo>
                    <a:pt x="31" y="132"/>
                  </a:lnTo>
                  <a:lnTo>
                    <a:pt x="27" y="132"/>
                  </a:lnTo>
                  <a:lnTo>
                    <a:pt x="27" y="128"/>
                  </a:lnTo>
                  <a:lnTo>
                    <a:pt x="27" y="124"/>
                  </a:lnTo>
                  <a:lnTo>
                    <a:pt x="27" y="120"/>
                  </a:lnTo>
                  <a:lnTo>
                    <a:pt x="23" y="120"/>
                  </a:lnTo>
                  <a:lnTo>
                    <a:pt x="23" y="116"/>
                  </a:lnTo>
                  <a:lnTo>
                    <a:pt x="19" y="116"/>
                  </a:lnTo>
                  <a:lnTo>
                    <a:pt x="19" y="112"/>
                  </a:lnTo>
                  <a:lnTo>
                    <a:pt x="19" y="108"/>
                  </a:lnTo>
                  <a:lnTo>
                    <a:pt x="15" y="108"/>
                  </a:lnTo>
                  <a:lnTo>
                    <a:pt x="15" y="104"/>
                  </a:lnTo>
                  <a:lnTo>
                    <a:pt x="15" y="100"/>
                  </a:lnTo>
                  <a:lnTo>
                    <a:pt x="15" y="96"/>
                  </a:lnTo>
                  <a:lnTo>
                    <a:pt x="19" y="96"/>
                  </a:lnTo>
                  <a:lnTo>
                    <a:pt x="19" y="92"/>
                  </a:lnTo>
                  <a:lnTo>
                    <a:pt x="19" y="88"/>
                  </a:lnTo>
                  <a:lnTo>
                    <a:pt x="19" y="84"/>
                  </a:lnTo>
                  <a:lnTo>
                    <a:pt x="19" y="80"/>
                  </a:lnTo>
                  <a:lnTo>
                    <a:pt x="23" y="80"/>
                  </a:lnTo>
                  <a:lnTo>
                    <a:pt x="23" y="76"/>
                  </a:lnTo>
                  <a:lnTo>
                    <a:pt x="19" y="76"/>
                  </a:lnTo>
                  <a:lnTo>
                    <a:pt x="19" y="72"/>
                  </a:lnTo>
                  <a:lnTo>
                    <a:pt x="19" y="68"/>
                  </a:lnTo>
                  <a:lnTo>
                    <a:pt x="19" y="64"/>
                  </a:lnTo>
                  <a:lnTo>
                    <a:pt x="15" y="64"/>
                  </a:lnTo>
                  <a:lnTo>
                    <a:pt x="15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5" y="12"/>
                  </a:lnTo>
                  <a:lnTo>
                    <a:pt x="19" y="12"/>
                  </a:lnTo>
                  <a:lnTo>
                    <a:pt x="23" y="12"/>
                  </a:lnTo>
                  <a:lnTo>
                    <a:pt x="27" y="12"/>
                  </a:lnTo>
                  <a:lnTo>
                    <a:pt x="27" y="8"/>
                  </a:lnTo>
                  <a:lnTo>
                    <a:pt x="27" y="4"/>
                  </a:lnTo>
                  <a:lnTo>
                    <a:pt x="31" y="4"/>
                  </a:lnTo>
                  <a:lnTo>
                    <a:pt x="31" y="8"/>
                  </a:lnTo>
                  <a:lnTo>
                    <a:pt x="31" y="4"/>
                  </a:lnTo>
                  <a:lnTo>
                    <a:pt x="35" y="4"/>
                  </a:lnTo>
                  <a:lnTo>
                    <a:pt x="35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3" y="4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47" y="4"/>
                  </a:lnTo>
                  <a:lnTo>
                    <a:pt x="51" y="4"/>
                  </a:lnTo>
                  <a:lnTo>
                    <a:pt x="51" y="8"/>
                  </a:lnTo>
                  <a:lnTo>
                    <a:pt x="47" y="12"/>
                  </a:lnTo>
                  <a:lnTo>
                    <a:pt x="47" y="16"/>
                  </a:lnTo>
                  <a:lnTo>
                    <a:pt x="51" y="16"/>
                  </a:lnTo>
                  <a:lnTo>
                    <a:pt x="55" y="16"/>
                  </a:lnTo>
                  <a:lnTo>
                    <a:pt x="59" y="16"/>
                  </a:lnTo>
                  <a:lnTo>
                    <a:pt x="59" y="20"/>
                  </a:lnTo>
                  <a:lnTo>
                    <a:pt x="59" y="24"/>
                  </a:lnTo>
                  <a:lnTo>
                    <a:pt x="63" y="24"/>
                  </a:lnTo>
                  <a:lnTo>
                    <a:pt x="63" y="28"/>
                  </a:lnTo>
                  <a:lnTo>
                    <a:pt x="59" y="28"/>
                  </a:lnTo>
                  <a:lnTo>
                    <a:pt x="59" y="32"/>
                  </a:lnTo>
                  <a:lnTo>
                    <a:pt x="59" y="36"/>
                  </a:lnTo>
                  <a:lnTo>
                    <a:pt x="59" y="40"/>
                  </a:lnTo>
                  <a:lnTo>
                    <a:pt x="59" y="44"/>
                  </a:lnTo>
                  <a:lnTo>
                    <a:pt x="59" y="48"/>
                  </a:lnTo>
                  <a:lnTo>
                    <a:pt x="55" y="48"/>
                  </a:lnTo>
                  <a:lnTo>
                    <a:pt x="55" y="52"/>
                  </a:lnTo>
                  <a:lnTo>
                    <a:pt x="55" y="56"/>
                  </a:lnTo>
                  <a:lnTo>
                    <a:pt x="59" y="56"/>
                  </a:lnTo>
                  <a:lnTo>
                    <a:pt x="59" y="52"/>
                  </a:lnTo>
                  <a:lnTo>
                    <a:pt x="63" y="52"/>
                  </a:lnTo>
                  <a:lnTo>
                    <a:pt x="63" y="48"/>
                  </a:lnTo>
                  <a:lnTo>
                    <a:pt x="67" y="48"/>
                  </a:lnTo>
                  <a:lnTo>
                    <a:pt x="67" y="44"/>
                  </a:lnTo>
                  <a:lnTo>
                    <a:pt x="71" y="44"/>
                  </a:lnTo>
                  <a:lnTo>
                    <a:pt x="71" y="40"/>
                  </a:lnTo>
                  <a:lnTo>
                    <a:pt x="75" y="40"/>
                  </a:lnTo>
                  <a:lnTo>
                    <a:pt x="75" y="44"/>
                  </a:lnTo>
                  <a:lnTo>
                    <a:pt x="79" y="44"/>
                  </a:lnTo>
                  <a:lnTo>
                    <a:pt x="79" y="48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7" y="44"/>
                  </a:lnTo>
                  <a:lnTo>
                    <a:pt x="91" y="40"/>
                  </a:lnTo>
                  <a:lnTo>
                    <a:pt x="91" y="36"/>
                  </a:lnTo>
                  <a:lnTo>
                    <a:pt x="95" y="36"/>
                  </a:lnTo>
                  <a:lnTo>
                    <a:pt x="95" y="40"/>
                  </a:lnTo>
                  <a:lnTo>
                    <a:pt x="99" y="40"/>
                  </a:lnTo>
                  <a:lnTo>
                    <a:pt x="103" y="40"/>
                  </a:lnTo>
                  <a:lnTo>
                    <a:pt x="103" y="44"/>
                  </a:lnTo>
                  <a:lnTo>
                    <a:pt x="107" y="48"/>
                  </a:lnTo>
                  <a:lnTo>
                    <a:pt x="107" y="52"/>
                  </a:lnTo>
                  <a:lnTo>
                    <a:pt x="111" y="52"/>
                  </a:lnTo>
                  <a:lnTo>
                    <a:pt x="111" y="56"/>
                  </a:lnTo>
                  <a:lnTo>
                    <a:pt x="115" y="56"/>
                  </a:lnTo>
                  <a:lnTo>
                    <a:pt x="115" y="60"/>
                  </a:lnTo>
                  <a:lnTo>
                    <a:pt x="115" y="64"/>
                  </a:lnTo>
                  <a:lnTo>
                    <a:pt x="111" y="64"/>
                  </a:lnTo>
                  <a:lnTo>
                    <a:pt x="115" y="68"/>
                  </a:lnTo>
                  <a:lnTo>
                    <a:pt x="115" y="72"/>
                  </a:lnTo>
                  <a:lnTo>
                    <a:pt x="111" y="72"/>
                  </a:lnTo>
                  <a:lnTo>
                    <a:pt x="115" y="72"/>
                  </a:lnTo>
                  <a:lnTo>
                    <a:pt x="115" y="76"/>
                  </a:lnTo>
                  <a:lnTo>
                    <a:pt x="119" y="80"/>
                  </a:lnTo>
                  <a:lnTo>
                    <a:pt x="119" y="84"/>
                  </a:lnTo>
                  <a:lnTo>
                    <a:pt x="123" y="84"/>
                  </a:lnTo>
                  <a:lnTo>
                    <a:pt x="123" y="88"/>
                  </a:lnTo>
                  <a:lnTo>
                    <a:pt x="127" y="88"/>
                  </a:lnTo>
                  <a:lnTo>
                    <a:pt x="127" y="92"/>
                  </a:lnTo>
                  <a:lnTo>
                    <a:pt x="127" y="96"/>
                  </a:lnTo>
                  <a:lnTo>
                    <a:pt x="123" y="100"/>
                  </a:lnTo>
                  <a:lnTo>
                    <a:pt x="127" y="100"/>
                  </a:lnTo>
                  <a:lnTo>
                    <a:pt x="127" y="104"/>
                  </a:lnTo>
                  <a:lnTo>
                    <a:pt x="123" y="104"/>
                  </a:lnTo>
                  <a:lnTo>
                    <a:pt x="123" y="108"/>
                  </a:lnTo>
                  <a:lnTo>
                    <a:pt x="123" y="112"/>
                  </a:lnTo>
                  <a:lnTo>
                    <a:pt x="119" y="112"/>
                  </a:lnTo>
                  <a:lnTo>
                    <a:pt x="119" y="116"/>
                  </a:lnTo>
                  <a:lnTo>
                    <a:pt x="115" y="116"/>
                  </a:lnTo>
                  <a:lnTo>
                    <a:pt x="115" y="112"/>
                  </a:lnTo>
                  <a:lnTo>
                    <a:pt x="111" y="112"/>
                  </a:lnTo>
                  <a:lnTo>
                    <a:pt x="107" y="112"/>
                  </a:lnTo>
                  <a:lnTo>
                    <a:pt x="103" y="112"/>
                  </a:lnTo>
                  <a:lnTo>
                    <a:pt x="99" y="112"/>
                  </a:lnTo>
                  <a:lnTo>
                    <a:pt x="95" y="112"/>
                  </a:lnTo>
                  <a:lnTo>
                    <a:pt x="91" y="112"/>
                  </a:lnTo>
                  <a:lnTo>
                    <a:pt x="91" y="116"/>
                  </a:lnTo>
                  <a:lnTo>
                    <a:pt x="87" y="116"/>
                  </a:lnTo>
                  <a:lnTo>
                    <a:pt x="87" y="120"/>
                  </a:lnTo>
                  <a:lnTo>
                    <a:pt x="83" y="120"/>
                  </a:lnTo>
                  <a:lnTo>
                    <a:pt x="83" y="124"/>
                  </a:lnTo>
                  <a:lnTo>
                    <a:pt x="79" y="124"/>
                  </a:lnTo>
                  <a:lnTo>
                    <a:pt x="79" y="128"/>
                  </a:lnTo>
                  <a:lnTo>
                    <a:pt x="75" y="128"/>
                  </a:lnTo>
                  <a:lnTo>
                    <a:pt x="75" y="132"/>
                  </a:lnTo>
                  <a:lnTo>
                    <a:pt x="79" y="136"/>
                  </a:lnTo>
                  <a:lnTo>
                    <a:pt x="79" y="140"/>
                  </a:lnTo>
                  <a:lnTo>
                    <a:pt x="79" y="144"/>
                  </a:lnTo>
                  <a:lnTo>
                    <a:pt x="79" y="148"/>
                  </a:lnTo>
                  <a:lnTo>
                    <a:pt x="83" y="148"/>
                  </a:lnTo>
                  <a:lnTo>
                    <a:pt x="83" y="152"/>
                  </a:lnTo>
                  <a:lnTo>
                    <a:pt x="83" y="156"/>
                  </a:lnTo>
                  <a:lnTo>
                    <a:pt x="83" y="160"/>
                  </a:lnTo>
                  <a:lnTo>
                    <a:pt x="87" y="160"/>
                  </a:lnTo>
                  <a:lnTo>
                    <a:pt x="87" y="164"/>
                  </a:lnTo>
                  <a:lnTo>
                    <a:pt x="83" y="160"/>
                  </a:lnTo>
                  <a:lnTo>
                    <a:pt x="83" y="156"/>
                  </a:lnTo>
                  <a:lnTo>
                    <a:pt x="79" y="152"/>
                  </a:lnTo>
                  <a:lnTo>
                    <a:pt x="79" y="156"/>
                  </a:lnTo>
                  <a:lnTo>
                    <a:pt x="75" y="152"/>
                  </a:lnTo>
                  <a:lnTo>
                    <a:pt x="75" y="148"/>
                  </a:lnTo>
                  <a:lnTo>
                    <a:pt x="71" y="148"/>
                  </a:lnTo>
                  <a:lnTo>
                    <a:pt x="71" y="144"/>
                  </a:lnTo>
                  <a:lnTo>
                    <a:pt x="67" y="144"/>
                  </a:lnTo>
                  <a:lnTo>
                    <a:pt x="63" y="144"/>
                  </a:lnTo>
                  <a:lnTo>
                    <a:pt x="63" y="148"/>
                  </a:lnTo>
                  <a:lnTo>
                    <a:pt x="63" y="144"/>
                  </a:lnTo>
                  <a:lnTo>
                    <a:pt x="59" y="144"/>
                  </a:lnTo>
                  <a:lnTo>
                    <a:pt x="55" y="144"/>
                  </a:lnTo>
                  <a:lnTo>
                    <a:pt x="55" y="148"/>
                  </a:lnTo>
                  <a:lnTo>
                    <a:pt x="55" y="144"/>
                  </a:lnTo>
                  <a:lnTo>
                    <a:pt x="55" y="140"/>
                  </a:lnTo>
                  <a:lnTo>
                    <a:pt x="55" y="136"/>
                  </a:lnTo>
                  <a:lnTo>
                    <a:pt x="55" y="132"/>
                  </a:lnTo>
                  <a:lnTo>
                    <a:pt x="55" y="128"/>
                  </a:lnTo>
                  <a:lnTo>
                    <a:pt x="51" y="128"/>
                  </a:lnTo>
                  <a:lnTo>
                    <a:pt x="47" y="128"/>
                  </a:lnTo>
                  <a:lnTo>
                    <a:pt x="43" y="132"/>
                  </a:lnTo>
                  <a:lnTo>
                    <a:pt x="39" y="132"/>
                  </a:lnTo>
                  <a:lnTo>
                    <a:pt x="39" y="136"/>
                  </a:lnTo>
                  <a:lnTo>
                    <a:pt x="43" y="136"/>
                  </a:lnTo>
                  <a:lnTo>
                    <a:pt x="43" y="140"/>
                  </a:lnTo>
                  <a:lnTo>
                    <a:pt x="39" y="144"/>
                  </a:lnTo>
                  <a:lnTo>
                    <a:pt x="39" y="148"/>
                  </a:lnTo>
                  <a:lnTo>
                    <a:pt x="43" y="152"/>
                  </a:lnTo>
                  <a:lnTo>
                    <a:pt x="39" y="156"/>
                  </a:lnTo>
                  <a:lnTo>
                    <a:pt x="39" y="160"/>
                  </a:lnTo>
                  <a:lnTo>
                    <a:pt x="39" y="164"/>
                  </a:lnTo>
                  <a:lnTo>
                    <a:pt x="35" y="164"/>
                  </a:lnTo>
                  <a:lnTo>
                    <a:pt x="35" y="168"/>
                  </a:lnTo>
                  <a:lnTo>
                    <a:pt x="35" y="172"/>
                  </a:lnTo>
                  <a:lnTo>
                    <a:pt x="35" y="176"/>
                  </a:lnTo>
                  <a:lnTo>
                    <a:pt x="31" y="180"/>
                  </a:lnTo>
                  <a:lnTo>
                    <a:pt x="31" y="184"/>
                  </a:lnTo>
                  <a:lnTo>
                    <a:pt x="27" y="188"/>
                  </a:lnTo>
                  <a:lnTo>
                    <a:pt x="27" y="192"/>
                  </a:lnTo>
                  <a:lnTo>
                    <a:pt x="27" y="196"/>
                  </a:lnTo>
                  <a:lnTo>
                    <a:pt x="27" y="200"/>
                  </a:lnTo>
                  <a:lnTo>
                    <a:pt x="31" y="204"/>
                  </a:lnTo>
                  <a:lnTo>
                    <a:pt x="31" y="208"/>
                  </a:lnTo>
                  <a:lnTo>
                    <a:pt x="35" y="208"/>
                  </a:lnTo>
                  <a:lnTo>
                    <a:pt x="39" y="208"/>
                  </a:lnTo>
                  <a:lnTo>
                    <a:pt x="39" y="212"/>
                  </a:lnTo>
                  <a:lnTo>
                    <a:pt x="39" y="216"/>
                  </a:lnTo>
                  <a:lnTo>
                    <a:pt x="39" y="220"/>
                  </a:lnTo>
                  <a:lnTo>
                    <a:pt x="43" y="220"/>
                  </a:lnTo>
                  <a:lnTo>
                    <a:pt x="43" y="224"/>
                  </a:lnTo>
                  <a:lnTo>
                    <a:pt x="43" y="220"/>
                  </a:lnTo>
                  <a:lnTo>
                    <a:pt x="43" y="224"/>
                  </a:lnTo>
                  <a:lnTo>
                    <a:pt x="47" y="224"/>
                  </a:lnTo>
                  <a:lnTo>
                    <a:pt x="47" y="228"/>
                  </a:lnTo>
                  <a:lnTo>
                    <a:pt x="47" y="232"/>
                  </a:lnTo>
                  <a:lnTo>
                    <a:pt x="47" y="236"/>
                  </a:lnTo>
                  <a:lnTo>
                    <a:pt x="47" y="240"/>
                  </a:lnTo>
                  <a:lnTo>
                    <a:pt x="47" y="244"/>
                  </a:lnTo>
                  <a:lnTo>
                    <a:pt x="51" y="244"/>
                  </a:lnTo>
                  <a:lnTo>
                    <a:pt x="51" y="248"/>
                  </a:lnTo>
                  <a:lnTo>
                    <a:pt x="51" y="244"/>
                  </a:lnTo>
                  <a:lnTo>
                    <a:pt x="47" y="244"/>
                  </a:lnTo>
                  <a:lnTo>
                    <a:pt x="47" y="240"/>
                  </a:lnTo>
                  <a:lnTo>
                    <a:pt x="47" y="236"/>
                  </a:lnTo>
                  <a:lnTo>
                    <a:pt x="43" y="236"/>
                  </a:lnTo>
                  <a:lnTo>
                    <a:pt x="43" y="240"/>
                  </a:lnTo>
                  <a:lnTo>
                    <a:pt x="43" y="244"/>
                  </a:lnTo>
                  <a:lnTo>
                    <a:pt x="47" y="244"/>
                  </a:lnTo>
                  <a:lnTo>
                    <a:pt x="47" y="248"/>
                  </a:lnTo>
                  <a:lnTo>
                    <a:pt x="51" y="248"/>
                  </a:lnTo>
                  <a:lnTo>
                    <a:pt x="51" y="244"/>
                  </a:lnTo>
                  <a:lnTo>
                    <a:pt x="51" y="248"/>
                  </a:lnTo>
                  <a:lnTo>
                    <a:pt x="51" y="252"/>
                  </a:lnTo>
                  <a:lnTo>
                    <a:pt x="55" y="252"/>
                  </a:lnTo>
                  <a:lnTo>
                    <a:pt x="59" y="252"/>
                  </a:lnTo>
                  <a:lnTo>
                    <a:pt x="63" y="252"/>
                  </a:lnTo>
                  <a:lnTo>
                    <a:pt x="59" y="252"/>
                  </a:lnTo>
                  <a:lnTo>
                    <a:pt x="63" y="252"/>
                  </a:lnTo>
                  <a:lnTo>
                    <a:pt x="67" y="252"/>
                  </a:lnTo>
                  <a:lnTo>
                    <a:pt x="67" y="256"/>
                  </a:lnTo>
                  <a:lnTo>
                    <a:pt x="67" y="260"/>
                  </a:lnTo>
                  <a:lnTo>
                    <a:pt x="71" y="264"/>
                  </a:lnTo>
                  <a:lnTo>
                    <a:pt x="71" y="268"/>
                  </a:lnTo>
                  <a:lnTo>
                    <a:pt x="71" y="272"/>
                  </a:lnTo>
                  <a:lnTo>
                    <a:pt x="67" y="272"/>
                  </a:lnTo>
                  <a:close/>
                  <a:moveTo>
                    <a:pt x="19" y="228"/>
                  </a:moveTo>
                  <a:lnTo>
                    <a:pt x="19" y="232"/>
                  </a:lnTo>
                  <a:lnTo>
                    <a:pt x="19" y="228"/>
                  </a:lnTo>
                  <a:close/>
                  <a:moveTo>
                    <a:pt x="35" y="256"/>
                  </a:moveTo>
                  <a:lnTo>
                    <a:pt x="35" y="260"/>
                  </a:lnTo>
                  <a:lnTo>
                    <a:pt x="35" y="256"/>
                  </a:lnTo>
                  <a:close/>
                  <a:moveTo>
                    <a:pt x="79" y="156"/>
                  </a:moveTo>
                  <a:lnTo>
                    <a:pt x="79" y="160"/>
                  </a:lnTo>
                  <a:lnTo>
                    <a:pt x="75" y="160"/>
                  </a:lnTo>
                  <a:lnTo>
                    <a:pt x="75" y="156"/>
                  </a:lnTo>
                  <a:lnTo>
                    <a:pt x="79" y="156"/>
                  </a:lnTo>
                  <a:close/>
                  <a:moveTo>
                    <a:pt x="79" y="160"/>
                  </a:moveTo>
                  <a:lnTo>
                    <a:pt x="79" y="164"/>
                  </a:lnTo>
                  <a:lnTo>
                    <a:pt x="79" y="160"/>
                  </a:lnTo>
                  <a:close/>
                  <a:moveTo>
                    <a:pt x="43" y="204"/>
                  </a:moveTo>
                  <a:lnTo>
                    <a:pt x="39" y="204"/>
                  </a:lnTo>
                  <a:lnTo>
                    <a:pt x="43" y="200"/>
                  </a:lnTo>
                  <a:lnTo>
                    <a:pt x="43" y="204"/>
                  </a:lnTo>
                  <a:close/>
                  <a:moveTo>
                    <a:pt x="15" y="228"/>
                  </a:moveTo>
                  <a:lnTo>
                    <a:pt x="15" y="232"/>
                  </a:lnTo>
                  <a:lnTo>
                    <a:pt x="19" y="232"/>
                  </a:lnTo>
                  <a:lnTo>
                    <a:pt x="15" y="236"/>
                  </a:lnTo>
                  <a:lnTo>
                    <a:pt x="15" y="232"/>
                  </a:lnTo>
                  <a:lnTo>
                    <a:pt x="15" y="2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0" name="Freeform 47"/>
            <p:cNvSpPr>
              <a:spLocks noEditPoints="1"/>
            </p:cNvSpPr>
            <p:nvPr>
              <p:custDataLst>
                <p:tags r:id="rId242"/>
              </p:custDataLst>
            </p:nvPr>
          </p:nvSpPr>
          <p:spPr bwMode="gray">
            <a:xfrm>
              <a:off x="7161255" y="4816931"/>
              <a:ext cx="71187" cy="35594"/>
            </a:xfrm>
            <a:custGeom>
              <a:avLst/>
              <a:gdLst/>
              <a:ahLst/>
              <a:cxnLst>
                <a:cxn ang="0">
                  <a:pos x="24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48" y="4"/>
                </a:cxn>
                <a:cxn ang="0">
                  <a:pos x="48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32" y="16"/>
                </a:cxn>
                <a:cxn ang="0">
                  <a:pos x="32" y="16"/>
                </a:cxn>
                <a:cxn ang="0">
                  <a:pos x="32" y="16"/>
                </a:cxn>
                <a:cxn ang="0">
                  <a:pos x="28" y="16"/>
                </a:cxn>
                <a:cxn ang="0">
                  <a:pos x="28" y="16"/>
                </a:cxn>
                <a:cxn ang="0">
                  <a:pos x="28" y="16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6" y="20"/>
                </a:cxn>
                <a:cxn ang="0">
                  <a:pos x="16" y="16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8" y="8"/>
                </a:cxn>
                <a:cxn ang="0">
                  <a:pos x="32" y="8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40" y="4"/>
                </a:cxn>
                <a:cxn ang="0">
                  <a:pos x="48" y="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0" y="24"/>
                </a:cxn>
              </a:cxnLst>
              <a:rect l="0" t="0" r="r" b="b"/>
              <a:pathLst>
                <a:path w="48" h="24">
                  <a:moveTo>
                    <a:pt x="24" y="0"/>
                  </a:move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close/>
                  <a:moveTo>
                    <a:pt x="48" y="4"/>
                  </a:move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close/>
                  <a:moveTo>
                    <a:pt x="0" y="20"/>
                  </a:move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1" name="Freeform 48"/>
            <p:cNvSpPr>
              <a:spLocks noEditPoints="1"/>
            </p:cNvSpPr>
            <p:nvPr>
              <p:custDataLst>
                <p:tags r:id="rId243"/>
              </p:custDataLst>
            </p:nvPr>
          </p:nvSpPr>
          <p:spPr bwMode="gray">
            <a:xfrm>
              <a:off x="4950007" y="3396155"/>
              <a:ext cx="431571" cy="195764"/>
            </a:xfrm>
            <a:custGeom>
              <a:avLst/>
              <a:gdLst/>
              <a:ahLst/>
              <a:cxnLst>
                <a:cxn ang="0">
                  <a:pos x="24" y="4"/>
                </a:cxn>
                <a:cxn ang="0">
                  <a:pos x="36" y="8"/>
                </a:cxn>
                <a:cxn ang="0">
                  <a:pos x="51" y="24"/>
                </a:cxn>
                <a:cxn ang="0">
                  <a:pos x="28" y="24"/>
                </a:cxn>
                <a:cxn ang="0">
                  <a:pos x="16" y="40"/>
                </a:cxn>
                <a:cxn ang="0">
                  <a:pos x="8" y="40"/>
                </a:cxn>
                <a:cxn ang="0">
                  <a:pos x="16" y="32"/>
                </a:cxn>
                <a:cxn ang="0">
                  <a:pos x="12" y="20"/>
                </a:cxn>
                <a:cxn ang="0">
                  <a:pos x="8" y="56"/>
                </a:cxn>
                <a:cxn ang="0">
                  <a:pos x="16" y="40"/>
                </a:cxn>
                <a:cxn ang="0">
                  <a:pos x="32" y="40"/>
                </a:cxn>
                <a:cxn ang="0">
                  <a:pos x="43" y="36"/>
                </a:cxn>
                <a:cxn ang="0">
                  <a:pos x="51" y="36"/>
                </a:cxn>
                <a:cxn ang="0">
                  <a:pos x="63" y="32"/>
                </a:cxn>
                <a:cxn ang="0">
                  <a:pos x="51" y="24"/>
                </a:cxn>
                <a:cxn ang="0">
                  <a:pos x="71" y="20"/>
                </a:cxn>
                <a:cxn ang="0">
                  <a:pos x="87" y="20"/>
                </a:cxn>
                <a:cxn ang="0">
                  <a:pos x="103" y="8"/>
                </a:cxn>
                <a:cxn ang="0">
                  <a:pos x="123" y="4"/>
                </a:cxn>
                <a:cxn ang="0">
                  <a:pos x="143" y="8"/>
                </a:cxn>
                <a:cxn ang="0">
                  <a:pos x="159" y="8"/>
                </a:cxn>
                <a:cxn ang="0">
                  <a:pos x="167" y="16"/>
                </a:cxn>
                <a:cxn ang="0">
                  <a:pos x="183" y="24"/>
                </a:cxn>
                <a:cxn ang="0">
                  <a:pos x="199" y="24"/>
                </a:cxn>
                <a:cxn ang="0">
                  <a:pos x="223" y="24"/>
                </a:cxn>
                <a:cxn ang="0">
                  <a:pos x="243" y="12"/>
                </a:cxn>
                <a:cxn ang="0">
                  <a:pos x="259" y="12"/>
                </a:cxn>
                <a:cxn ang="0">
                  <a:pos x="275" y="28"/>
                </a:cxn>
                <a:cxn ang="0">
                  <a:pos x="275" y="44"/>
                </a:cxn>
                <a:cxn ang="0">
                  <a:pos x="287" y="56"/>
                </a:cxn>
                <a:cxn ang="0">
                  <a:pos x="283" y="64"/>
                </a:cxn>
                <a:cxn ang="0">
                  <a:pos x="283" y="84"/>
                </a:cxn>
                <a:cxn ang="0">
                  <a:pos x="291" y="104"/>
                </a:cxn>
                <a:cxn ang="0">
                  <a:pos x="279" y="100"/>
                </a:cxn>
                <a:cxn ang="0">
                  <a:pos x="259" y="100"/>
                </a:cxn>
                <a:cxn ang="0">
                  <a:pos x="247" y="104"/>
                </a:cxn>
                <a:cxn ang="0">
                  <a:pos x="227" y="108"/>
                </a:cxn>
                <a:cxn ang="0">
                  <a:pos x="203" y="112"/>
                </a:cxn>
                <a:cxn ang="0">
                  <a:pos x="187" y="112"/>
                </a:cxn>
                <a:cxn ang="0">
                  <a:pos x="167" y="112"/>
                </a:cxn>
                <a:cxn ang="0">
                  <a:pos x="159" y="128"/>
                </a:cxn>
                <a:cxn ang="0">
                  <a:pos x="155" y="124"/>
                </a:cxn>
                <a:cxn ang="0">
                  <a:pos x="155" y="112"/>
                </a:cxn>
                <a:cxn ang="0">
                  <a:pos x="135" y="112"/>
                </a:cxn>
                <a:cxn ang="0">
                  <a:pos x="123" y="124"/>
                </a:cxn>
                <a:cxn ang="0">
                  <a:pos x="107" y="124"/>
                </a:cxn>
                <a:cxn ang="0">
                  <a:pos x="91" y="116"/>
                </a:cxn>
                <a:cxn ang="0">
                  <a:pos x="75" y="112"/>
                </a:cxn>
                <a:cxn ang="0">
                  <a:pos x="67" y="124"/>
                </a:cxn>
                <a:cxn ang="0">
                  <a:pos x="55" y="116"/>
                </a:cxn>
                <a:cxn ang="0">
                  <a:pos x="43" y="112"/>
                </a:cxn>
                <a:cxn ang="0">
                  <a:pos x="36" y="112"/>
                </a:cxn>
                <a:cxn ang="0">
                  <a:pos x="28" y="116"/>
                </a:cxn>
                <a:cxn ang="0">
                  <a:pos x="32" y="108"/>
                </a:cxn>
                <a:cxn ang="0">
                  <a:pos x="28" y="104"/>
                </a:cxn>
                <a:cxn ang="0">
                  <a:pos x="28" y="88"/>
                </a:cxn>
                <a:cxn ang="0">
                  <a:pos x="16" y="80"/>
                </a:cxn>
                <a:cxn ang="0">
                  <a:pos x="24" y="80"/>
                </a:cxn>
                <a:cxn ang="0">
                  <a:pos x="20" y="68"/>
                </a:cxn>
                <a:cxn ang="0">
                  <a:pos x="32" y="32"/>
                </a:cxn>
                <a:cxn ang="0">
                  <a:pos x="4" y="40"/>
                </a:cxn>
              </a:cxnLst>
              <a:rect l="0" t="0" r="r" b="b"/>
              <a:pathLst>
                <a:path w="291" h="132">
                  <a:moveTo>
                    <a:pt x="12" y="12"/>
                  </a:moveTo>
                  <a:lnTo>
                    <a:pt x="12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9" y="12"/>
                  </a:lnTo>
                  <a:lnTo>
                    <a:pt x="39" y="16"/>
                  </a:lnTo>
                  <a:lnTo>
                    <a:pt x="43" y="16"/>
                  </a:lnTo>
                  <a:lnTo>
                    <a:pt x="47" y="20"/>
                  </a:lnTo>
                  <a:lnTo>
                    <a:pt x="51" y="20"/>
                  </a:lnTo>
                  <a:lnTo>
                    <a:pt x="51" y="24"/>
                  </a:lnTo>
                  <a:lnTo>
                    <a:pt x="47" y="24"/>
                  </a:lnTo>
                  <a:lnTo>
                    <a:pt x="43" y="24"/>
                  </a:lnTo>
                  <a:lnTo>
                    <a:pt x="39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2" y="12"/>
                  </a:lnTo>
                  <a:close/>
                  <a:moveTo>
                    <a:pt x="16" y="56"/>
                  </a:moveTo>
                  <a:lnTo>
                    <a:pt x="8" y="56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39" y="36"/>
                  </a:lnTo>
                  <a:lnTo>
                    <a:pt x="43" y="36"/>
                  </a:lnTo>
                  <a:lnTo>
                    <a:pt x="47" y="40"/>
                  </a:lnTo>
                  <a:lnTo>
                    <a:pt x="47" y="36"/>
                  </a:lnTo>
                  <a:lnTo>
                    <a:pt x="51" y="36"/>
                  </a:lnTo>
                  <a:lnTo>
                    <a:pt x="51" y="40"/>
                  </a:lnTo>
                  <a:lnTo>
                    <a:pt x="55" y="36"/>
                  </a:lnTo>
                  <a:lnTo>
                    <a:pt x="51" y="36"/>
                  </a:lnTo>
                  <a:lnTo>
                    <a:pt x="47" y="36"/>
                  </a:lnTo>
                  <a:lnTo>
                    <a:pt x="47" y="32"/>
                  </a:lnTo>
                  <a:lnTo>
                    <a:pt x="51" y="32"/>
                  </a:lnTo>
                  <a:lnTo>
                    <a:pt x="55" y="32"/>
                  </a:lnTo>
                  <a:lnTo>
                    <a:pt x="59" y="32"/>
                  </a:lnTo>
                  <a:lnTo>
                    <a:pt x="63" y="32"/>
                  </a:lnTo>
                  <a:lnTo>
                    <a:pt x="67" y="32"/>
                  </a:lnTo>
                  <a:lnTo>
                    <a:pt x="67" y="28"/>
                  </a:lnTo>
                  <a:lnTo>
                    <a:pt x="63" y="28"/>
                  </a:lnTo>
                  <a:lnTo>
                    <a:pt x="59" y="28"/>
                  </a:lnTo>
                  <a:lnTo>
                    <a:pt x="55" y="28"/>
                  </a:lnTo>
                  <a:lnTo>
                    <a:pt x="51" y="24"/>
                  </a:lnTo>
                  <a:lnTo>
                    <a:pt x="51" y="20"/>
                  </a:lnTo>
                  <a:lnTo>
                    <a:pt x="55" y="20"/>
                  </a:lnTo>
                  <a:lnTo>
                    <a:pt x="59" y="20"/>
                  </a:lnTo>
                  <a:lnTo>
                    <a:pt x="63" y="20"/>
                  </a:lnTo>
                  <a:lnTo>
                    <a:pt x="67" y="24"/>
                  </a:lnTo>
                  <a:lnTo>
                    <a:pt x="71" y="20"/>
                  </a:lnTo>
                  <a:lnTo>
                    <a:pt x="75" y="20"/>
                  </a:lnTo>
                  <a:lnTo>
                    <a:pt x="75" y="24"/>
                  </a:lnTo>
                  <a:lnTo>
                    <a:pt x="79" y="24"/>
                  </a:lnTo>
                  <a:lnTo>
                    <a:pt x="83" y="24"/>
                  </a:lnTo>
                  <a:lnTo>
                    <a:pt x="87" y="24"/>
                  </a:lnTo>
                  <a:lnTo>
                    <a:pt x="87" y="20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99" y="8"/>
                  </a:lnTo>
                  <a:lnTo>
                    <a:pt x="103" y="8"/>
                  </a:lnTo>
                  <a:lnTo>
                    <a:pt x="107" y="8"/>
                  </a:lnTo>
                  <a:lnTo>
                    <a:pt x="111" y="8"/>
                  </a:lnTo>
                  <a:lnTo>
                    <a:pt x="111" y="4"/>
                  </a:lnTo>
                  <a:lnTo>
                    <a:pt x="115" y="4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7" y="4"/>
                  </a:lnTo>
                  <a:lnTo>
                    <a:pt x="131" y="4"/>
                  </a:lnTo>
                  <a:lnTo>
                    <a:pt x="135" y="4"/>
                  </a:lnTo>
                  <a:lnTo>
                    <a:pt x="139" y="4"/>
                  </a:lnTo>
                  <a:lnTo>
                    <a:pt x="143" y="4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47" y="12"/>
                  </a:lnTo>
                  <a:lnTo>
                    <a:pt x="151" y="12"/>
                  </a:lnTo>
                  <a:lnTo>
                    <a:pt x="155" y="12"/>
                  </a:lnTo>
                  <a:lnTo>
                    <a:pt x="155" y="8"/>
                  </a:lnTo>
                  <a:lnTo>
                    <a:pt x="159" y="8"/>
                  </a:lnTo>
                  <a:lnTo>
                    <a:pt x="159" y="12"/>
                  </a:lnTo>
                  <a:lnTo>
                    <a:pt x="159" y="16"/>
                  </a:lnTo>
                  <a:lnTo>
                    <a:pt x="163" y="16"/>
                  </a:lnTo>
                  <a:lnTo>
                    <a:pt x="163" y="20"/>
                  </a:lnTo>
                  <a:lnTo>
                    <a:pt x="167" y="20"/>
                  </a:lnTo>
                  <a:lnTo>
                    <a:pt x="167" y="16"/>
                  </a:lnTo>
                  <a:lnTo>
                    <a:pt x="171" y="16"/>
                  </a:lnTo>
                  <a:lnTo>
                    <a:pt x="171" y="20"/>
                  </a:lnTo>
                  <a:lnTo>
                    <a:pt x="175" y="20"/>
                  </a:lnTo>
                  <a:lnTo>
                    <a:pt x="175" y="24"/>
                  </a:lnTo>
                  <a:lnTo>
                    <a:pt x="179" y="24"/>
                  </a:lnTo>
                  <a:lnTo>
                    <a:pt x="183" y="24"/>
                  </a:lnTo>
                  <a:lnTo>
                    <a:pt x="187" y="24"/>
                  </a:lnTo>
                  <a:lnTo>
                    <a:pt x="191" y="24"/>
                  </a:lnTo>
                  <a:lnTo>
                    <a:pt x="191" y="28"/>
                  </a:lnTo>
                  <a:lnTo>
                    <a:pt x="195" y="28"/>
                  </a:lnTo>
                  <a:lnTo>
                    <a:pt x="199" y="28"/>
                  </a:lnTo>
                  <a:lnTo>
                    <a:pt x="199" y="24"/>
                  </a:lnTo>
                  <a:lnTo>
                    <a:pt x="203" y="24"/>
                  </a:lnTo>
                  <a:lnTo>
                    <a:pt x="207" y="24"/>
                  </a:lnTo>
                  <a:lnTo>
                    <a:pt x="211" y="24"/>
                  </a:lnTo>
                  <a:lnTo>
                    <a:pt x="215" y="24"/>
                  </a:lnTo>
                  <a:lnTo>
                    <a:pt x="219" y="28"/>
                  </a:lnTo>
                  <a:lnTo>
                    <a:pt x="223" y="24"/>
                  </a:lnTo>
                  <a:lnTo>
                    <a:pt x="227" y="24"/>
                  </a:lnTo>
                  <a:lnTo>
                    <a:pt x="231" y="24"/>
                  </a:lnTo>
                  <a:lnTo>
                    <a:pt x="231" y="20"/>
                  </a:lnTo>
                  <a:lnTo>
                    <a:pt x="235" y="20"/>
                  </a:lnTo>
                  <a:lnTo>
                    <a:pt x="239" y="16"/>
                  </a:lnTo>
                  <a:lnTo>
                    <a:pt x="243" y="12"/>
                  </a:lnTo>
                  <a:lnTo>
                    <a:pt x="243" y="16"/>
                  </a:lnTo>
                  <a:lnTo>
                    <a:pt x="247" y="16"/>
                  </a:lnTo>
                  <a:lnTo>
                    <a:pt x="251" y="16"/>
                  </a:lnTo>
                  <a:lnTo>
                    <a:pt x="255" y="16"/>
                  </a:lnTo>
                  <a:lnTo>
                    <a:pt x="259" y="16"/>
                  </a:lnTo>
                  <a:lnTo>
                    <a:pt x="259" y="12"/>
                  </a:lnTo>
                  <a:lnTo>
                    <a:pt x="263" y="12"/>
                  </a:lnTo>
                  <a:lnTo>
                    <a:pt x="263" y="16"/>
                  </a:lnTo>
                  <a:lnTo>
                    <a:pt x="267" y="20"/>
                  </a:lnTo>
                  <a:lnTo>
                    <a:pt x="271" y="20"/>
                  </a:lnTo>
                  <a:lnTo>
                    <a:pt x="271" y="24"/>
                  </a:lnTo>
                  <a:lnTo>
                    <a:pt x="275" y="28"/>
                  </a:lnTo>
                  <a:lnTo>
                    <a:pt x="275" y="32"/>
                  </a:lnTo>
                  <a:lnTo>
                    <a:pt x="275" y="36"/>
                  </a:lnTo>
                  <a:lnTo>
                    <a:pt x="271" y="36"/>
                  </a:lnTo>
                  <a:lnTo>
                    <a:pt x="271" y="40"/>
                  </a:lnTo>
                  <a:lnTo>
                    <a:pt x="275" y="40"/>
                  </a:lnTo>
                  <a:lnTo>
                    <a:pt x="275" y="44"/>
                  </a:lnTo>
                  <a:lnTo>
                    <a:pt x="279" y="44"/>
                  </a:lnTo>
                  <a:lnTo>
                    <a:pt x="283" y="44"/>
                  </a:lnTo>
                  <a:lnTo>
                    <a:pt x="287" y="48"/>
                  </a:lnTo>
                  <a:lnTo>
                    <a:pt x="291" y="52"/>
                  </a:lnTo>
                  <a:lnTo>
                    <a:pt x="287" y="52"/>
                  </a:lnTo>
                  <a:lnTo>
                    <a:pt x="287" y="56"/>
                  </a:lnTo>
                  <a:lnTo>
                    <a:pt x="283" y="56"/>
                  </a:lnTo>
                  <a:lnTo>
                    <a:pt x="283" y="60"/>
                  </a:lnTo>
                  <a:lnTo>
                    <a:pt x="283" y="56"/>
                  </a:lnTo>
                  <a:lnTo>
                    <a:pt x="279" y="56"/>
                  </a:lnTo>
                  <a:lnTo>
                    <a:pt x="279" y="60"/>
                  </a:lnTo>
                  <a:lnTo>
                    <a:pt x="283" y="64"/>
                  </a:lnTo>
                  <a:lnTo>
                    <a:pt x="283" y="68"/>
                  </a:lnTo>
                  <a:lnTo>
                    <a:pt x="283" y="72"/>
                  </a:lnTo>
                  <a:lnTo>
                    <a:pt x="283" y="76"/>
                  </a:lnTo>
                  <a:lnTo>
                    <a:pt x="283" y="80"/>
                  </a:lnTo>
                  <a:lnTo>
                    <a:pt x="287" y="80"/>
                  </a:lnTo>
                  <a:lnTo>
                    <a:pt x="283" y="84"/>
                  </a:lnTo>
                  <a:lnTo>
                    <a:pt x="283" y="88"/>
                  </a:lnTo>
                  <a:lnTo>
                    <a:pt x="287" y="92"/>
                  </a:lnTo>
                  <a:lnTo>
                    <a:pt x="287" y="96"/>
                  </a:lnTo>
                  <a:lnTo>
                    <a:pt x="287" y="100"/>
                  </a:lnTo>
                  <a:lnTo>
                    <a:pt x="291" y="100"/>
                  </a:lnTo>
                  <a:lnTo>
                    <a:pt x="291" y="104"/>
                  </a:lnTo>
                  <a:lnTo>
                    <a:pt x="287" y="104"/>
                  </a:lnTo>
                  <a:lnTo>
                    <a:pt x="287" y="108"/>
                  </a:lnTo>
                  <a:lnTo>
                    <a:pt x="283" y="108"/>
                  </a:lnTo>
                  <a:lnTo>
                    <a:pt x="283" y="104"/>
                  </a:lnTo>
                  <a:lnTo>
                    <a:pt x="283" y="100"/>
                  </a:lnTo>
                  <a:lnTo>
                    <a:pt x="279" y="100"/>
                  </a:lnTo>
                  <a:lnTo>
                    <a:pt x="279" y="104"/>
                  </a:lnTo>
                  <a:lnTo>
                    <a:pt x="275" y="104"/>
                  </a:lnTo>
                  <a:lnTo>
                    <a:pt x="271" y="104"/>
                  </a:lnTo>
                  <a:lnTo>
                    <a:pt x="267" y="100"/>
                  </a:lnTo>
                  <a:lnTo>
                    <a:pt x="263" y="100"/>
                  </a:lnTo>
                  <a:lnTo>
                    <a:pt x="259" y="100"/>
                  </a:lnTo>
                  <a:lnTo>
                    <a:pt x="259" y="104"/>
                  </a:lnTo>
                  <a:lnTo>
                    <a:pt x="255" y="104"/>
                  </a:lnTo>
                  <a:lnTo>
                    <a:pt x="255" y="100"/>
                  </a:lnTo>
                  <a:lnTo>
                    <a:pt x="251" y="100"/>
                  </a:lnTo>
                  <a:lnTo>
                    <a:pt x="251" y="104"/>
                  </a:lnTo>
                  <a:lnTo>
                    <a:pt x="247" y="104"/>
                  </a:lnTo>
                  <a:lnTo>
                    <a:pt x="243" y="104"/>
                  </a:lnTo>
                  <a:lnTo>
                    <a:pt x="239" y="104"/>
                  </a:lnTo>
                  <a:lnTo>
                    <a:pt x="235" y="104"/>
                  </a:lnTo>
                  <a:lnTo>
                    <a:pt x="231" y="104"/>
                  </a:lnTo>
                  <a:lnTo>
                    <a:pt x="227" y="104"/>
                  </a:lnTo>
                  <a:lnTo>
                    <a:pt x="227" y="108"/>
                  </a:lnTo>
                  <a:lnTo>
                    <a:pt x="223" y="108"/>
                  </a:lnTo>
                  <a:lnTo>
                    <a:pt x="219" y="112"/>
                  </a:lnTo>
                  <a:lnTo>
                    <a:pt x="215" y="112"/>
                  </a:lnTo>
                  <a:lnTo>
                    <a:pt x="211" y="112"/>
                  </a:lnTo>
                  <a:lnTo>
                    <a:pt x="207" y="116"/>
                  </a:lnTo>
                  <a:lnTo>
                    <a:pt x="203" y="112"/>
                  </a:lnTo>
                  <a:lnTo>
                    <a:pt x="199" y="112"/>
                  </a:lnTo>
                  <a:lnTo>
                    <a:pt x="195" y="112"/>
                  </a:lnTo>
                  <a:lnTo>
                    <a:pt x="195" y="108"/>
                  </a:lnTo>
                  <a:lnTo>
                    <a:pt x="191" y="108"/>
                  </a:lnTo>
                  <a:lnTo>
                    <a:pt x="191" y="112"/>
                  </a:lnTo>
                  <a:lnTo>
                    <a:pt x="187" y="112"/>
                  </a:lnTo>
                  <a:lnTo>
                    <a:pt x="183" y="112"/>
                  </a:lnTo>
                  <a:lnTo>
                    <a:pt x="179" y="116"/>
                  </a:lnTo>
                  <a:lnTo>
                    <a:pt x="175" y="116"/>
                  </a:lnTo>
                  <a:lnTo>
                    <a:pt x="175" y="112"/>
                  </a:lnTo>
                  <a:lnTo>
                    <a:pt x="171" y="112"/>
                  </a:lnTo>
                  <a:lnTo>
                    <a:pt x="167" y="112"/>
                  </a:lnTo>
                  <a:lnTo>
                    <a:pt x="167" y="116"/>
                  </a:lnTo>
                  <a:lnTo>
                    <a:pt x="167" y="120"/>
                  </a:lnTo>
                  <a:lnTo>
                    <a:pt x="167" y="124"/>
                  </a:lnTo>
                  <a:lnTo>
                    <a:pt x="163" y="124"/>
                  </a:lnTo>
                  <a:lnTo>
                    <a:pt x="163" y="128"/>
                  </a:lnTo>
                  <a:lnTo>
                    <a:pt x="159" y="128"/>
                  </a:lnTo>
                  <a:lnTo>
                    <a:pt x="159" y="132"/>
                  </a:lnTo>
                  <a:lnTo>
                    <a:pt x="159" y="128"/>
                  </a:lnTo>
                  <a:lnTo>
                    <a:pt x="155" y="128"/>
                  </a:lnTo>
                  <a:lnTo>
                    <a:pt x="159" y="128"/>
                  </a:lnTo>
                  <a:lnTo>
                    <a:pt x="155" y="128"/>
                  </a:lnTo>
                  <a:lnTo>
                    <a:pt x="155" y="124"/>
                  </a:lnTo>
                  <a:lnTo>
                    <a:pt x="155" y="120"/>
                  </a:lnTo>
                  <a:lnTo>
                    <a:pt x="159" y="116"/>
                  </a:lnTo>
                  <a:lnTo>
                    <a:pt x="159" y="112"/>
                  </a:lnTo>
                  <a:lnTo>
                    <a:pt x="159" y="108"/>
                  </a:lnTo>
                  <a:lnTo>
                    <a:pt x="155" y="108"/>
                  </a:lnTo>
                  <a:lnTo>
                    <a:pt x="155" y="112"/>
                  </a:lnTo>
                  <a:lnTo>
                    <a:pt x="151" y="112"/>
                  </a:lnTo>
                  <a:lnTo>
                    <a:pt x="151" y="116"/>
                  </a:lnTo>
                  <a:lnTo>
                    <a:pt x="147" y="116"/>
                  </a:lnTo>
                  <a:lnTo>
                    <a:pt x="143" y="112"/>
                  </a:lnTo>
                  <a:lnTo>
                    <a:pt x="139" y="112"/>
                  </a:lnTo>
                  <a:lnTo>
                    <a:pt x="135" y="112"/>
                  </a:lnTo>
                  <a:lnTo>
                    <a:pt x="131" y="116"/>
                  </a:lnTo>
                  <a:lnTo>
                    <a:pt x="131" y="120"/>
                  </a:lnTo>
                  <a:lnTo>
                    <a:pt x="127" y="120"/>
                  </a:lnTo>
                  <a:lnTo>
                    <a:pt x="127" y="124"/>
                  </a:lnTo>
                  <a:lnTo>
                    <a:pt x="127" y="120"/>
                  </a:lnTo>
                  <a:lnTo>
                    <a:pt x="123" y="124"/>
                  </a:lnTo>
                  <a:lnTo>
                    <a:pt x="119" y="124"/>
                  </a:lnTo>
                  <a:lnTo>
                    <a:pt x="115" y="124"/>
                  </a:lnTo>
                  <a:lnTo>
                    <a:pt x="111" y="124"/>
                  </a:lnTo>
                  <a:lnTo>
                    <a:pt x="111" y="128"/>
                  </a:lnTo>
                  <a:lnTo>
                    <a:pt x="107" y="128"/>
                  </a:lnTo>
                  <a:lnTo>
                    <a:pt x="107" y="124"/>
                  </a:lnTo>
                  <a:lnTo>
                    <a:pt x="103" y="124"/>
                  </a:lnTo>
                  <a:lnTo>
                    <a:pt x="99" y="124"/>
                  </a:lnTo>
                  <a:lnTo>
                    <a:pt x="99" y="120"/>
                  </a:lnTo>
                  <a:lnTo>
                    <a:pt x="99" y="116"/>
                  </a:lnTo>
                  <a:lnTo>
                    <a:pt x="95" y="116"/>
                  </a:lnTo>
                  <a:lnTo>
                    <a:pt x="91" y="116"/>
                  </a:lnTo>
                  <a:lnTo>
                    <a:pt x="91" y="112"/>
                  </a:lnTo>
                  <a:lnTo>
                    <a:pt x="87" y="112"/>
                  </a:lnTo>
                  <a:lnTo>
                    <a:pt x="83" y="112"/>
                  </a:lnTo>
                  <a:lnTo>
                    <a:pt x="79" y="112"/>
                  </a:lnTo>
                  <a:lnTo>
                    <a:pt x="75" y="108"/>
                  </a:lnTo>
                  <a:lnTo>
                    <a:pt x="75" y="112"/>
                  </a:lnTo>
                  <a:lnTo>
                    <a:pt x="75" y="116"/>
                  </a:lnTo>
                  <a:lnTo>
                    <a:pt x="75" y="120"/>
                  </a:lnTo>
                  <a:lnTo>
                    <a:pt x="71" y="124"/>
                  </a:lnTo>
                  <a:lnTo>
                    <a:pt x="71" y="120"/>
                  </a:lnTo>
                  <a:lnTo>
                    <a:pt x="67" y="120"/>
                  </a:lnTo>
                  <a:lnTo>
                    <a:pt x="67" y="124"/>
                  </a:lnTo>
                  <a:lnTo>
                    <a:pt x="63" y="124"/>
                  </a:lnTo>
                  <a:lnTo>
                    <a:pt x="59" y="124"/>
                  </a:lnTo>
                  <a:lnTo>
                    <a:pt x="55" y="124"/>
                  </a:lnTo>
                  <a:lnTo>
                    <a:pt x="55" y="120"/>
                  </a:lnTo>
                  <a:lnTo>
                    <a:pt x="51" y="120"/>
                  </a:lnTo>
                  <a:lnTo>
                    <a:pt x="55" y="116"/>
                  </a:lnTo>
                  <a:lnTo>
                    <a:pt x="51" y="116"/>
                  </a:lnTo>
                  <a:lnTo>
                    <a:pt x="51" y="112"/>
                  </a:lnTo>
                  <a:lnTo>
                    <a:pt x="47" y="116"/>
                  </a:lnTo>
                  <a:lnTo>
                    <a:pt x="47" y="112"/>
                  </a:lnTo>
                  <a:lnTo>
                    <a:pt x="43" y="108"/>
                  </a:lnTo>
                  <a:lnTo>
                    <a:pt x="43" y="112"/>
                  </a:lnTo>
                  <a:lnTo>
                    <a:pt x="39" y="112"/>
                  </a:lnTo>
                  <a:lnTo>
                    <a:pt x="39" y="116"/>
                  </a:lnTo>
                  <a:lnTo>
                    <a:pt x="36" y="116"/>
                  </a:lnTo>
                  <a:lnTo>
                    <a:pt x="39" y="116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9" y="112"/>
                  </a:lnTo>
                  <a:lnTo>
                    <a:pt x="36" y="112"/>
                  </a:lnTo>
                  <a:lnTo>
                    <a:pt x="32" y="112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32" y="112"/>
                  </a:lnTo>
                  <a:lnTo>
                    <a:pt x="36" y="112"/>
                  </a:lnTo>
                  <a:lnTo>
                    <a:pt x="39" y="108"/>
                  </a:lnTo>
                  <a:lnTo>
                    <a:pt x="36" y="108"/>
                  </a:lnTo>
                  <a:lnTo>
                    <a:pt x="32" y="108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8" y="104"/>
                  </a:lnTo>
                  <a:lnTo>
                    <a:pt x="32" y="104"/>
                  </a:lnTo>
                  <a:lnTo>
                    <a:pt x="32" y="100"/>
                  </a:lnTo>
                  <a:lnTo>
                    <a:pt x="28" y="104"/>
                  </a:lnTo>
                  <a:lnTo>
                    <a:pt x="28" y="100"/>
                  </a:lnTo>
                  <a:lnTo>
                    <a:pt x="24" y="100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16" y="72"/>
                  </a:lnTo>
                  <a:lnTo>
                    <a:pt x="20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16" y="56"/>
                  </a:lnTo>
                  <a:close/>
                  <a:moveTo>
                    <a:pt x="32" y="32"/>
                  </a:moveTo>
                  <a:lnTo>
                    <a:pt x="28" y="32"/>
                  </a:lnTo>
                  <a:lnTo>
                    <a:pt x="32" y="32"/>
                  </a:lnTo>
                  <a:close/>
                  <a:moveTo>
                    <a:pt x="4" y="44"/>
                  </a:moveTo>
                  <a:lnTo>
                    <a:pt x="0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8" y="44"/>
                  </a:lnTo>
                  <a:lnTo>
                    <a:pt x="4" y="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2" name="Freeform 49"/>
            <p:cNvSpPr>
              <a:spLocks/>
            </p:cNvSpPr>
            <p:nvPr>
              <p:custDataLst>
                <p:tags r:id="rId244"/>
              </p:custDataLst>
            </p:nvPr>
          </p:nvSpPr>
          <p:spPr bwMode="gray">
            <a:xfrm>
              <a:off x="5523952" y="3379842"/>
              <a:ext cx="348520" cy="229874"/>
            </a:xfrm>
            <a:custGeom>
              <a:avLst/>
              <a:gdLst/>
              <a:ahLst/>
              <a:cxnLst>
                <a:cxn ang="0">
                  <a:pos x="223" y="107"/>
                </a:cxn>
                <a:cxn ang="0">
                  <a:pos x="215" y="115"/>
                </a:cxn>
                <a:cxn ang="0">
                  <a:pos x="207" y="123"/>
                </a:cxn>
                <a:cxn ang="0">
                  <a:pos x="203" y="135"/>
                </a:cxn>
                <a:cxn ang="0">
                  <a:pos x="191" y="139"/>
                </a:cxn>
                <a:cxn ang="0">
                  <a:pos x="183" y="143"/>
                </a:cxn>
                <a:cxn ang="0">
                  <a:pos x="179" y="151"/>
                </a:cxn>
                <a:cxn ang="0">
                  <a:pos x="167" y="155"/>
                </a:cxn>
                <a:cxn ang="0">
                  <a:pos x="155" y="151"/>
                </a:cxn>
                <a:cxn ang="0">
                  <a:pos x="151" y="139"/>
                </a:cxn>
                <a:cxn ang="0">
                  <a:pos x="147" y="127"/>
                </a:cxn>
                <a:cxn ang="0">
                  <a:pos x="135" y="119"/>
                </a:cxn>
                <a:cxn ang="0">
                  <a:pos x="123" y="107"/>
                </a:cxn>
                <a:cxn ang="0">
                  <a:pos x="115" y="107"/>
                </a:cxn>
                <a:cxn ang="0">
                  <a:pos x="99" y="99"/>
                </a:cxn>
                <a:cxn ang="0">
                  <a:pos x="91" y="95"/>
                </a:cxn>
                <a:cxn ang="0">
                  <a:pos x="79" y="91"/>
                </a:cxn>
                <a:cxn ang="0">
                  <a:pos x="67" y="95"/>
                </a:cxn>
                <a:cxn ang="0">
                  <a:pos x="59" y="103"/>
                </a:cxn>
                <a:cxn ang="0">
                  <a:pos x="47" y="111"/>
                </a:cxn>
                <a:cxn ang="0">
                  <a:pos x="31" y="107"/>
                </a:cxn>
                <a:cxn ang="0">
                  <a:pos x="19" y="103"/>
                </a:cxn>
                <a:cxn ang="0">
                  <a:pos x="11" y="95"/>
                </a:cxn>
                <a:cxn ang="0">
                  <a:pos x="4" y="79"/>
                </a:cxn>
                <a:cxn ang="0">
                  <a:pos x="7" y="63"/>
                </a:cxn>
                <a:cxn ang="0">
                  <a:pos x="7" y="43"/>
                </a:cxn>
                <a:cxn ang="0">
                  <a:pos x="7" y="27"/>
                </a:cxn>
                <a:cxn ang="0">
                  <a:pos x="23" y="15"/>
                </a:cxn>
                <a:cxn ang="0">
                  <a:pos x="35" y="11"/>
                </a:cxn>
                <a:cxn ang="0">
                  <a:pos x="47" y="11"/>
                </a:cxn>
                <a:cxn ang="0">
                  <a:pos x="59" y="23"/>
                </a:cxn>
                <a:cxn ang="0">
                  <a:pos x="67" y="31"/>
                </a:cxn>
                <a:cxn ang="0">
                  <a:pos x="79" y="31"/>
                </a:cxn>
                <a:cxn ang="0">
                  <a:pos x="91" y="27"/>
                </a:cxn>
                <a:cxn ang="0">
                  <a:pos x="87" y="15"/>
                </a:cxn>
                <a:cxn ang="0">
                  <a:pos x="99" y="11"/>
                </a:cxn>
                <a:cxn ang="0">
                  <a:pos x="107" y="7"/>
                </a:cxn>
                <a:cxn ang="0">
                  <a:pos x="111" y="4"/>
                </a:cxn>
                <a:cxn ang="0">
                  <a:pos x="119" y="4"/>
                </a:cxn>
                <a:cxn ang="0">
                  <a:pos x="131" y="7"/>
                </a:cxn>
                <a:cxn ang="0">
                  <a:pos x="139" y="19"/>
                </a:cxn>
                <a:cxn ang="0">
                  <a:pos x="139" y="27"/>
                </a:cxn>
                <a:cxn ang="0">
                  <a:pos x="151" y="31"/>
                </a:cxn>
                <a:cxn ang="0">
                  <a:pos x="163" y="39"/>
                </a:cxn>
                <a:cxn ang="0">
                  <a:pos x="171" y="47"/>
                </a:cxn>
                <a:cxn ang="0">
                  <a:pos x="175" y="59"/>
                </a:cxn>
                <a:cxn ang="0">
                  <a:pos x="187" y="67"/>
                </a:cxn>
                <a:cxn ang="0">
                  <a:pos x="195" y="75"/>
                </a:cxn>
                <a:cxn ang="0">
                  <a:pos x="203" y="83"/>
                </a:cxn>
                <a:cxn ang="0">
                  <a:pos x="219" y="91"/>
                </a:cxn>
                <a:cxn ang="0">
                  <a:pos x="227" y="95"/>
                </a:cxn>
                <a:cxn ang="0">
                  <a:pos x="235" y="103"/>
                </a:cxn>
                <a:cxn ang="0">
                  <a:pos x="231" y="111"/>
                </a:cxn>
              </a:cxnLst>
              <a:rect l="0" t="0" r="r" b="b"/>
              <a:pathLst>
                <a:path w="235" h="155">
                  <a:moveTo>
                    <a:pt x="231" y="111"/>
                  </a:moveTo>
                  <a:lnTo>
                    <a:pt x="227" y="111"/>
                  </a:lnTo>
                  <a:lnTo>
                    <a:pt x="223" y="111"/>
                  </a:lnTo>
                  <a:lnTo>
                    <a:pt x="223" y="107"/>
                  </a:lnTo>
                  <a:lnTo>
                    <a:pt x="219" y="107"/>
                  </a:lnTo>
                  <a:lnTo>
                    <a:pt x="219" y="111"/>
                  </a:lnTo>
                  <a:lnTo>
                    <a:pt x="219" y="115"/>
                  </a:lnTo>
                  <a:lnTo>
                    <a:pt x="215" y="115"/>
                  </a:lnTo>
                  <a:lnTo>
                    <a:pt x="211" y="115"/>
                  </a:lnTo>
                  <a:lnTo>
                    <a:pt x="207" y="115"/>
                  </a:lnTo>
                  <a:lnTo>
                    <a:pt x="207" y="119"/>
                  </a:lnTo>
                  <a:lnTo>
                    <a:pt x="207" y="123"/>
                  </a:lnTo>
                  <a:lnTo>
                    <a:pt x="203" y="123"/>
                  </a:lnTo>
                  <a:lnTo>
                    <a:pt x="203" y="127"/>
                  </a:lnTo>
                  <a:lnTo>
                    <a:pt x="203" y="131"/>
                  </a:lnTo>
                  <a:lnTo>
                    <a:pt x="203" y="135"/>
                  </a:lnTo>
                  <a:lnTo>
                    <a:pt x="199" y="135"/>
                  </a:lnTo>
                  <a:lnTo>
                    <a:pt x="195" y="135"/>
                  </a:lnTo>
                  <a:lnTo>
                    <a:pt x="195" y="139"/>
                  </a:lnTo>
                  <a:lnTo>
                    <a:pt x="191" y="139"/>
                  </a:lnTo>
                  <a:lnTo>
                    <a:pt x="187" y="139"/>
                  </a:lnTo>
                  <a:lnTo>
                    <a:pt x="183" y="143"/>
                  </a:lnTo>
                  <a:lnTo>
                    <a:pt x="179" y="143"/>
                  </a:lnTo>
                  <a:lnTo>
                    <a:pt x="183" y="143"/>
                  </a:lnTo>
                  <a:lnTo>
                    <a:pt x="183" y="147"/>
                  </a:lnTo>
                  <a:lnTo>
                    <a:pt x="179" y="147"/>
                  </a:lnTo>
                  <a:lnTo>
                    <a:pt x="183" y="147"/>
                  </a:lnTo>
                  <a:lnTo>
                    <a:pt x="179" y="151"/>
                  </a:lnTo>
                  <a:lnTo>
                    <a:pt x="175" y="151"/>
                  </a:lnTo>
                  <a:lnTo>
                    <a:pt x="175" y="155"/>
                  </a:lnTo>
                  <a:lnTo>
                    <a:pt x="171" y="155"/>
                  </a:lnTo>
                  <a:lnTo>
                    <a:pt x="167" y="155"/>
                  </a:lnTo>
                  <a:lnTo>
                    <a:pt x="167" y="151"/>
                  </a:lnTo>
                  <a:lnTo>
                    <a:pt x="163" y="151"/>
                  </a:lnTo>
                  <a:lnTo>
                    <a:pt x="159" y="151"/>
                  </a:lnTo>
                  <a:lnTo>
                    <a:pt x="155" y="151"/>
                  </a:lnTo>
                  <a:lnTo>
                    <a:pt x="155" y="147"/>
                  </a:lnTo>
                  <a:lnTo>
                    <a:pt x="151" y="147"/>
                  </a:lnTo>
                  <a:lnTo>
                    <a:pt x="151" y="143"/>
                  </a:lnTo>
                  <a:lnTo>
                    <a:pt x="151" y="139"/>
                  </a:lnTo>
                  <a:lnTo>
                    <a:pt x="151" y="135"/>
                  </a:lnTo>
                  <a:lnTo>
                    <a:pt x="151" y="131"/>
                  </a:lnTo>
                  <a:lnTo>
                    <a:pt x="151" y="127"/>
                  </a:lnTo>
                  <a:lnTo>
                    <a:pt x="147" y="127"/>
                  </a:lnTo>
                  <a:lnTo>
                    <a:pt x="143" y="127"/>
                  </a:lnTo>
                  <a:lnTo>
                    <a:pt x="139" y="127"/>
                  </a:lnTo>
                  <a:lnTo>
                    <a:pt x="135" y="123"/>
                  </a:lnTo>
                  <a:lnTo>
                    <a:pt x="135" y="119"/>
                  </a:lnTo>
                  <a:lnTo>
                    <a:pt x="131" y="115"/>
                  </a:lnTo>
                  <a:lnTo>
                    <a:pt x="127" y="115"/>
                  </a:lnTo>
                  <a:lnTo>
                    <a:pt x="123" y="111"/>
                  </a:lnTo>
                  <a:lnTo>
                    <a:pt x="123" y="107"/>
                  </a:lnTo>
                  <a:lnTo>
                    <a:pt x="119" y="107"/>
                  </a:lnTo>
                  <a:lnTo>
                    <a:pt x="119" y="103"/>
                  </a:lnTo>
                  <a:lnTo>
                    <a:pt x="115" y="103"/>
                  </a:lnTo>
                  <a:lnTo>
                    <a:pt x="115" y="107"/>
                  </a:lnTo>
                  <a:lnTo>
                    <a:pt x="115" y="103"/>
                  </a:lnTo>
                  <a:lnTo>
                    <a:pt x="111" y="107"/>
                  </a:lnTo>
                  <a:lnTo>
                    <a:pt x="107" y="103"/>
                  </a:lnTo>
                  <a:lnTo>
                    <a:pt x="99" y="99"/>
                  </a:lnTo>
                  <a:lnTo>
                    <a:pt x="95" y="99"/>
                  </a:lnTo>
                  <a:lnTo>
                    <a:pt x="95" y="95"/>
                  </a:lnTo>
                  <a:lnTo>
                    <a:pt x="91" y="91"/>
                  </a:lnTo>
                  <a:lnTo>
                    <a:pt x="91" y="95"/>
                  </a:lnTo>
                  <a:lnTo>
                    <a:pt x="87" y="95"/>
                  </a:lnTo>
                  <a:lnTo>
                    <a:pt x="87" y="91"/>
                  </a:lnTo>
                  <a:lnTo>
                    <a:pt x="83" y="91"/>
                  </a:lnTo>
                  <a:lnTo>
                    <a:pt x="79" y="91"/>
                  </a:lnTo>
                  <a:lnTo>
                    <a:pt x="79" y="95"/>
                  </a:lnTo>
                  <a:lnTo>
                    <a:pt x="75" y="95"/>
                  </a:lnTo>
                  <a:lnTo>
                    <a:pt x="71" y="95"/>
                  </a:lnTo>
                  <a:lnTo>
                    <a:pt x="67" y="95"/>
                  </a:lnTo>
                  <a:lnTo>
                    <a:pt x="63" y="95"/>
                  </a:lnTo>
                  <a:lnTo>
                    <a:pt x="63" y="99"/>
                  </a:lnTo>
                  <a:lnTo>
                    <a:pt x="59" y="99"/>
                  </a:lnTo>
                  <a:lnTo>
                    <a:pt x="59" y="103"/>
                  </a:lnTo>
                  <a:lnTo>
                    <a:pt x="55" y="103"/>
                  </a:lnTo>
                  <a:lnTo>
                    <a:pt x="55" y="107"/>
                  </a:lnTo>
                  <a:lnTo>
                    <a:pt x="51" y="111"/>
                  </a:lnTo>
                  <a:lnTo>
                    <a:pt x="47" y="111"/>
                  </a:lnTo>
                  <a:lnTo>
                    <a:pt x="43" y="111"/>
                  </a:lnTo>
                  <a:lnTo>
                    <a:pt x="39" y="111"/>
                  </a:lnTo>
                  <a:lnTo>
                    <a:pt x="35" y="111"/>
                  </a:lnTo>
                  <a:lnTo>
                    <a:pt x="31" y="107"/>
                  </a:lnTo>
                  <a:lnTo>
                    <a:pt x="27" y="107"/>
                  </a:lnTo>
                  <a:lnTo>
                    <a:pt x="27" y="103"/>
                  </a:lnTo>
                  <a:lnTo>
                    <a:pt x="23" y="103"/>
                  </a:lnTo>
                  <a:lnTo>
                    <a:pt x="19" y="103"/>
                  </a:lnTo>
                  <a:lnTo>
                    <a:pt x="15" y="103"/>
                  </a:lnTo>
                  <a:lnTo>
                    <a:pt x="15" y="99"/>
                  </a:lnTo>
                  <a:lnTo>
                    <a:pt x="11" y="99"/>
                  </a:lnTo>
                  <a:lnTo>
                    <a:pt x="11" y="95"/>
                  </a:lnTo>
                  <a:lnTo>
                    <a:pt x="7" y="91"/>
                  </a:lnTo>
                  <a:lnTo>
                    <a:pt x="4" y="87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5"/>
                  </a:lnTo>
                  <a:lnTo>
                    <a:pt x="7" y="71"/>
                  </a:lnTo>
                  <a:lnTo>
                    <a:pt x="7" y="67"/>
                  </a:lnTo>
                  <a:lnTo>
                    <a:pt x="7" y="63"/>
                  </a:lnTo>
                  <a:lnTo>
                    <a:pt x="7" y="59"/>
                  </a:lnTo>
                  <a:lnTo>
                    <a:pt x="7" y="51"/>
                  </a:lnTo>
                  <a:lnTo>
                    <a:pt x="7" y="47"/>
                  </a:lnTo>
                  <a:lnTo>
                    <a:pt x="7" y="43"/>
                  </a:lnTo>
                  <a:lnTo>
                    <a:pt x="7" y="39"/>
                  </a:lnTo>
                  <a:lnTo>
                    <a:pt x="4" y="35"/>
                  </a:lnTo>
                  <a:lnTo>
                    <a:pt x="0" y="31"/>
                  </a:lnTo>
                  <a:lnTo>
                    <a:pt x="7" y="27"/>
                  </a:lnTo>
                  <a:lnTo>
                    <a:pt x="11" y="27"/>
                  </a:lnTo>
                  <a:lnTo>
                    <a:pt x="15" y="23"/>
                  </a:lnTo>
                  <a:lnTo>
                    <a:pt x="19" y="19"/>
                  </a:lnTo>
                  <a:lnTo>
                    <a:pt x="23" y="15"/>
                  </a:lnTo>
                  <a:lnTo>
                    <a:pt x="27" y="15"/>
                  </a:lnTo>
                  <a:lnTo>
                    <a:pt x="27" y="11"/>
                  </a:lnTo>
                  <a:lnTo>
                    <a:pt x="31" y="11"/>
                  </a:lnTo>
                  <a:lnTo>
                    <a:pt x="35" y="11"/>
                  </a:lnTo>
                  <a:lnTo>
                    <a:pt x="39" y="7"/>
                  </a:lnTo>
                  <a:lnTo>
                    <a:pt x="43" y="7"/>
                  </a:lnTo>
                  <a:lnTo>
                    <a:pt x="47" y="7"/>
                  </a:lnTo>
                  <a:lnTo>
                    <a:pt x="47" y="11"/>
                  </a:lnTo>
                  <a:lnTo>
                    <a:pt x="51" y="11"/>
                  </a:lnTo>
                  <a:lnTo>
                    <a:pt x="55" y="15"/>
                  </a:lnTo>
                  <a:lnTo>
                    <a:pt x="59" y="19"/>
                  </a:lnTo>
                  <a:lnTo>
                    <a:pt x="59" y="23"/>
                  </a:lnTo>
                  <a:lnTo>
                    <a:pt x="63" y="23"/>
                  </a:lnTo>
                  <a:lnTo>
                    <a:pt x="63" y="27"/>
                  </a:lnTo>
                  <a:lnTo>
                    <a:pt x="63" y="31"/>
                  </a:lnTo>
                  <a:lnTo>
                    <a:pt x="67" y="31"/>
                  </a:lnTo>
                  <a:lnTo>
                    <a:pt x="71" y="31"/>
                  </a:lnTo>
                  <a:lnTo>
                    <a:pt x="71" y="27"/>
                  </a:lnTo>
                  <a:lnTo>
                    <a:pt x="75" y="31"/>
                  </a:lnTo>
                  <a:lnTo>
                    <a:pt x="79" y="31"/>
                  </a:lnTo>
                  <a:lnTo>
                    <a:pt x="83" y="31"/>
                  </a:lnTo>
                  <a:lnTo>
                    <a:pt x="87" y="31"/>
                  </a:lnTo>
                  <a:lnTo>
                    <a:pt x="91" y="31"/>
                  </a:lnTo>
                  <a:lnTo>
                    <a:pt x="91" y="27"/>
                  </a:lnTo>
                  <a:lnTo>
                    <a:pt x="87" y="27"/>
                  </a:lnTo>
                  <a:lnTo>
                    <a:pt x="87" y="23"/>
                  </a:lnTo>
                  <a:lnTo>
                    <a:pt x="87" y="19"/>
                  </a:lnTo>
                  <a:lnTo>
                    <a:pt x="87" y="15"/>
                  </a:lnTo>
                  <a:lnTo>
                    <a:pt x="91" y="15"/>
                  </a:lnTo>
                  <a:lnTo>
                    <a:pt x="91" y="11"/>
                  </a:lnTo>
                  <a:lnTo>
                    <a:pt x="95" y="11"/>
                  </a:lnTo>
                  <a:lnTo>
                    <a:pt x="99" y="11"/>
                  </a:lnTo>
                  <a:lnTo>
                    <a:pt x="103" y="11"/>
                  </a:lnTo>
                  <a:lnTo>
                    <a:pt x="103" y="7"/>
                  </a:lnTo>
                  <a:lnTo>
                    <a:pt x="103" y="4"/>
                  </a:lnTo>
                  <a:lnTo>
                    <a:pt x="107" y="7"/>
                  </a:lnTo>
                  <a:lnTo>
                    <a:pt x="111" y="7"/>
                  </a:lnTo>
                  <a:lnTo>
                    <a:pt x="107" y="4"/>
                  </a:lnTo>
                  <a:lnTo>
                    <a:pt x="107" y="0"/>
                  </a:lnTo>
                  <a:lnTo>
                    <a:pt x="111" y="4"/>
                  </a:lnTo>
                  <a:lnTo>
                    <a:pt x="111" y="0"/>
                  </a:lnTo>
                  <a:lnTo>
                    <a:pt x="115" y="0"/>
                  </a:lnTo>
                  <a:lnTo>
                    <a:pt x="115" y="4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3" y="7"/>
                  </a:lnTo>
                  <a:lnTo>
                    <a:pt x="127" y="7"/>
                  </a:lnTo>
                  <a:lnTo>
                    <a:pt x="131" y="7"/>
                  </a:lnTo>
                  <a:lnTo>
                    <a:pt x="135" y="11"/>
                  </a:lnTo>
                  <a:lnTo>
                    <a:pt x="135" y="15"/>
                  </a:lnTo>
                  <a:lnTo>
                    <a:pt x="135" y="19"/>
                  </a:lnTo>
                  <a:lnTo>
                    <a:pt x="139" y="19"/>
                  </a:lnTo>
                  <a:lnTo>
                    <a:pt x="135" y="19"/>
                  </a:lnTo>
                  <a:lnTo>
                    <a:pt x="135" y="23"/>
                  </a:lnTo>
                  <a:lnTo>
                    <a:pt x="135" y="27"/>
                  </a:lnTo>
                  <a:lnTo>
                    <a:pt x="139" y="27"/>
                  </a:lnTo>
                  <a:lnTo>
                    <a:pt x="139" y="31"/>
                  </a:lnTo>
                  <a:lnTo>
                    <a:pt x="143" y="31"/>
                  </a:lnTo>
                  <a:lnTo>
                    <a:pt x="147" y="31"/>
                  </a:lnTo>
                  <a:lnTo>
                    <a:pt x="151" y="31"/>
                  </a:lnTo>
                  <a:lnTo>
                    <a:pt x="155" y="31"/>
                  </a:lnTo>
                  <a:lnTo>
                    <a:pt x="159" y="31"/>
                  </a:lnTo>
                  <a:lnTo>
                    <a:pt x="163" y="35"/>
                  </a:lnTo>
                  <a:lnTo>
                    <a:pt x="163" y="39"/>
                  </a:lnTo>
                  <a:lnTo>
                    <a:pt x="163" y="43"/>
                  </a:lnTo>
                  <a:lnTo>
                    <a:pt x="167" y="43"/>
                  </a:lnTo>
                  <a:lnTo>
                    <a:pt x="167" y="47"/>
                  </a:lnTo>
                  <a:lnTo>
                    <a:pt x="171" y="47"/>
                  </a:lnTo>
                  <a:lnTo>
                    <a:pt x="171" y="51"/>
                  </a:lnTo>
                  <a:lnTo>
                    <a:pt x="171" y="55"/>
                  </a:lnTo>
                  <a:lnTo>
                    <a:pt x="171" y="59"/>
                  </a:lnTo>
                  <a:lnTo>
                    <a:pt x="175" y="59"/>
                  </a:lnTo>
                  <a:lnTo>
                    <a:pt x="175" y="63"/>
                  </a:lnTo>
                  <a:lnTo>
                    <a:pt x="179" y="63"/>
                  </a:lnTo>
                  <a:lnTo>
                    <a:pt x="183" y="67"/>
                  </a:lnTo>
                  <a:lnTo>
                    <a:pt x="187" y="67"/>
                  </a:lnTo>
                  <a:lnTo>
                    <a:pt x="187" y="71"/>
                  </a:lnTo>
                  <a:lnTo>
                    <a:pt x="191" y="71"/>
                  </a:lnTo>
                  <a:lnTo>
                    <a:pt x="191" y="75"/>
                  </a:lnTo>
                  <a:lnTo>
                    <a:pt x="195" y="75"/>
                  </a:lnTo>
                  <a:lnTo>
                    <a:pt x="195" y="79"/>
                  </a:lnTo>
                  <a:lnTo>
                    <a:pt x="199" y="79"/>
                  </a:lnTo>
                  <a:lnTo>
                    <a:pt x="203" y="79"/>
                  </a:lnTo>
                  <a:lnTo>
                    <a:pt x="203" y="83"/>
                  </a:lnTo>
                  <a:lnTo>
                    <a:pt x="207" y="83"/>
                  </a:lnTo>
                  <a:lnTo>
                    <a:pt x="211" y="87"/>
                  </a:lnTo>
                  <a:lnTo>
                    <a:pt x="215" y="91"/>
                  </a:lnTo>
                  <a:lnTo>
                    <a:pt x="219" y="91"/>
                  </a:lnTo>
                  <a:lnTo>
                    <a:pt x="219" y="95"/>
                  </a:lnTo>
                  <a:lnTo>
                    <a:pt x="223" y="95"/>
                  </a:lnTo>
                  <a:lnTo>
                    <a:pt x="223" y="91"/>
                  </a:lnTo>
                  <a:lnTo>
                    <a:pt x="227" y="95"/>
                  </a:lnTo>
                  <a:lnTo>
                    <a:pt x="231" y="95"/>
                  </a:lnTo>
                  <a:lnTo>
                    <a:pt x="231" y="99"/>
                  </a:lnTo>
                  <a:lnTo>
                    <a:pt x="235" y="99"/>
                  </a:lnTo>
                  <a:lnTo>
                    <a:pt x="235" y="103"/>
                  </a:lnTo>
                  <a:lnTo>
                    <a:pt x="231" y="107"/>
                  </a:lnTo>
                  <a:lnTo>
                    <a:pt x="231" y="111"/>
                  </a:lnTo>
                  <a:lnTo>
                    <a:pt x="235" y="111"/>
                  </a:lnTo>
                  <a:lnTo>
                    <a:pt x="231" y="11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3" name="Freeform 50"/>
            <p:cNvSpPr>
              <a:spLocks noEditPoints="1"/>
            </p:cNvSpPr>
            <p:nvPr>
              <p:custDataLst>
                <p:tags r:id="rId245"/>
              </p:custDataLst>
            </p:nvPr>
          </p:nvSpPr>
          <p:spPr bwMode="gray">
            <a:xfrm>
              <a:off x="5534334" y="3876668"/>
              <a:ext cx="106781" cy="94916"/>
            </a:xfrm>
            <a:custGeom>
              <a:avLst/>
              <a:gdLst/>
              <a:ahLst/>
              <a:cxnLst>
                <a:cxn ang="0">
                  <a:pos x="72" y="16"/>
                </a:cxn>
                <a:cxn ang="0">
                  <a:pos x="72" y="20"/>
                </a:cxn>
                <a:cxn ang="0">
                  <a:pos x="72" y="20"/>
                </a:cxn>
                <a:cxn ang="0">
                  <a:pos x="72" y="24"/>
                </a:cxn>
                <a:cxn ang="0">
                  <a:pos x="68" y="24"/>
                </a:cxn>
                <a:cxn ang="0">
                  <a:pos x="68" y="24"/>
                </a:cxn>
                <a:cxn ang="0">
                  <a:pos x="68" y="24"/>
                </a:cxn>
                <a:cxn ang="0">
                  <a:pos x="68" y="20"/>
                </a:cxn>
                <a:cxn ang="0">
                  <a:pos x="64" y="20"/>
                </a:cxn>
                <a:cxn ang="0">
                  <a:pos x="64" y="24"/>
                </a:cxn>
                <a:cxn ang="0">
                  <a:pos x="64" y="28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68" y="40"/>
                </a:cxn>
                <a:cxn ang="0">
                  <a:pos x="60" y="40"/>
                </a:cxn>
                <a:cxn ang="0">
                  <a:pos x="60" y="44"/>
                </a:cxn>
                <a:cxn ang="0">
                  <a:pos x="56" y="52"/>
                </a:cxn>
                <a:cxn ang="0">
                  <a:pos x="56" y="56"/>
                </a:cxn>
                <a:cxn ang="0">
                  <a:pos x="56" y="60"/>
                </a:cxn>
                <a:cxn ang="0">
                  <a:pos x="52" y="64"/>
                </a:cxn>
                <a:cxn ang="0">
                  <a:pos x="0" y="36"/>
                </a:cxn>
                <a:cxn ang="0">
                  <a:pos x="0" y="36"/>
                </a:cxn>
                <a:cxn ang="0">
                  <a:pos x="4" y="40"/>
                </a:cxn>
                <a:cxn ang="0">
                  <a:pos x="8" y="40"/>
                </a:cxn>
                <a:cxn ang="0">
                  <a:pos x="12" y="36"/>
                </a:cxn>
                <a:cxn ang="0">
                  <a:pos x="16" y="36"/>
                </a:cxn>
                <a:cxn ang="0">
                  <a:pos x="20" y="36"/>
                </a:cxn>
                <a:cxn ang="0">
                  <a:pos x="28" y="36"/>
                </a:cxn>
                <a:cxn ang="0">
                  <a:pos x="28" y="40"/>
                </a:cxn>
                <a:cxn ang="0">
                  <a:pos x="40" y="36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24"/>
                </a:cxn>
                <a:cxn ang="0">
                  <a:pos x="52" y="20"/>
                </a:cxn>
                <a:cxn ang="0">
                  <a:pos x="52" y="16"/>
                </a:cxn>
                <a:cxn ang="0">
                  <a:pos x="56" y="16"/>
                </a:cxn>
                <a:cxn ang="0">
                  <a:pos x="56" y="16"/>
                </a:cxn>
                <a:cxn ang="0">
                  <a:pos x="56" y="12"/>
                </a:cxn>
                <a:cxn ang="0">
                  <a:pos x="60" y="12"/>
                </a:cxn>
                <a:cxn ang="0">
                  <a:pos x="60" y="8"/>
                </a:cxn>
                <a:cxn ang="0">
                  <a:pos x="60" y="8"/>
                </a:cxn>
                <a:cxn ang="0">
                  <a:pos x="64" y="8"/>
                </a:cxn>
                <a:cxn ang="0">
                  <a:pos x="68" y="0"/>
                </a:cxn>
                <a:cxn ang="0">
                  <a:pos x="68" y="4"/>
                </a:cxn>
                <a:cxn ang="0">
                  <a:pos x="68" y="8"/>
                </a:cxn>
                <a:cxn ang="0">
                  <a:pos x="72" y="8"/>
                </a:cxn>
                <a:cxn ang="0">
                  <a:pos x="44" y="32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36" y="36"/>
                </a:cxn>
                <a:cxn ang="0">
                  <a:pos x="32" y="36"/>
                </a:cxn>
              </a:cxnLst>
              <a:rect l="0" t="0" r="r" b="b"/>
              <a:pathLst>
                <a:path w="72" h="64">
                  <a:moveTo>
                    <a:pt x="72" y="12"/>
                  </a:moveTo>
                  <a:lnTo>
                    <a:pt x="72" y="12"/>
                  </a:lnTo>
                  <a:lnTo>
                    <a:pt x="72" y="12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16" y="6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close/>
                  <a:moveTo>
                    <a:pt x="44" y="32"/>
                  </a:moveTo>
                  <a:lnTo>
                    <a:pt x="40" y="32"/>
                  </a:lnTo>
                  <a:lnTo>
                    <a:pt x="40" y="28"/>
                  </a:lnTo>
                  <a:lnTo>
                    <a:pt x="44" y="32"/>
                  </a:lnTo>
                  <a:close/>
                  <a:moveTo>
                    <a:pt x="32" y="36"/>
                  </a:move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4" name="Freeform 51"/>
            <p:cNvSpPr>
              <a:spLocks/>
            </p:cNvSpPr>
            <p:nvPr>
              <p:custDataLst>
                <p:tags r:id="rId246"/>
              </p:custDataLst>
            </p:nvPr>
          </p:nvSpPr>
          <p:spPr bwMode="gray">
            <a:xfrm>
              <a:off x="5635182" y="3290858"/>
              <a:ext cx="385597" cy="259536"/>
            </a:xfrm>
            <a:custGeom>
              <a:avLst/>
              <a:gdLst/>
              <a:ahLst/>
              <a:cxnLst>
                <a:cxn ang="0">
                  <a:pos x="180" y="127"/>
                </a:cxn>
                <a:cxn ang="0">
                  <a:pos x="172" y="135"/>
                </a:cxn>
                <a:cxn ang="0">
                  <a:pos x="184" y="143"/>
                </a:cxn>
                <a:cxn ang="0">
                  <a:pos x="188" y="155"/>
                </a:cxn>
                <a:cxn ang="0">
                  <a:pos x="176" y="167"/>
                </a:cxn>
                <a:cxn ang="0">
                  <a:pos x="168" y="175"/>
                </a:cxn>
                <a:cxn ang="0">
                  <a:pos x="156" y="167"/>
                </a:cxn>
                <a:cxn ang="0">
                  <a:pos x="152" y="155"/>
                </a:cxn>
                <a:cxn ang="0">
                  <a:pos x="140" y="151"/>
                </a:cxn>
                <a:cxn ang="0">
                  <a:pos x="124" y="139"/>
                </a:cxn>
                <a:cxn ang="0">
                  <a:pos x="112" y="131"/>
                </a:cxn>
                <a:cxn ang="0">
                  <a:pos x="100" y="119"/>
                </a:cxn>
                <a:cxn ang="0">
                  <a:pos x="92" y="107"/>
                </a:cxn>
                <a:cxn ang="0">
                  <a:pos x="84" y="91"/>
                </a:cxn>
                <a:cxn ang="0">
                  <a:pos x="64" y="91"/>
                </a:cxn>
                <a:cxn ang="0">
                  <a:pos x="64" y="79"/>
                </a:cxn>
                <a:cxn ang="0">
                  <a:pos x="52" y="67"/>
                </a:cxn>
                <a:cxn ang="0">
                  <a:pos x="40" y="60"/>
                </a:cxn>
                <a:cxn ang="0">
                  <a:pos x="36" y="67"/>
                </a:cxn>
                <a:cxn ang="0">
                  <a:pos x="24" y="71"/>
                </a:cxn>
                <a:cxn ang="0">
                  <a:pos x="12" y="79"/>
                </a:cxn>
                <a:cxn ang="0">
                  <a:pos x="12" y="91"/>
                </a:cxn>
                <a:cxn ang="0">
                  <a:pos x="0" y="83"/>
                </a:cxn>
                <a:cxn ang="0">
                  <a:pos x="0" y="56"/>
                </a:cxn>
                <a:cxn ang="0">
                  <a:pos x="0" y="24"/>
                </a:cxn>
                <a:cxn ang="0">
                  <a:pos x="16" y="8"/>
                </a:cxn>
                <a:cxn ang="0">
                  <a:pos x="36" y="0"/>
                </a:cxn>
                <a:cxn ang="0">
                  <a:pos x="88" y="40"/>
                </a:cxn>
                <a:cxn ang="0">
                  <a:pos x="112" y="40"/>
                </a:cxn>
                <a:cxn ang="0">
                  <a:pos x="136" y="40"/>
                </a:cxn>
                <a:cxn ang="0">
                  <a:pos x="144" y="52"/>
                </a:cxn>
                <a:cxn ang="0">
                  <a:pos x="152" y="67"/>
                </a:cxn>
                <a:cxn ang="0">
                  <a:pos x="160" y="87"/>
                </a:cxn>
                <a:cxn ang="0">
                  <a:pos x="176" y="91"/>
                </a:cxn>
                <a:cxn ang="0">
                  <a:pos x="184" y="103"/>
                </a:cxn>
                <a:cxn ang="0">
                  <a:pos x="192" y="99"/>
                </a:cxn>
                <a:cxn ang="0">
                  <a:pos x="204" y="83"/>
                </a:cxn>
                <a:cxn ang="0">
                  <a:pos x="220" y="75"/>
                </a:cxn>
                <a:cxn ang="0">
                  <a:pos x="224" y="75"/>
                </a:cxn>
                <a:cxn ang="0">
                  <a:pos x="212" y="83"/>
                </a:cxn>
                <a:cxn ang="0">
                  <a:pos x="224" y="91"/>
                </a:cxn>
                <a:cxn ang="0">
                  <a:pos x="232" y="91"/>
                </a:cxn>
                <a:cxn ang="0">
                  <a:pos x="240" y="91"/>
                </a:cxn>
                <a:cxn ang="0">
                  <a:pos x="256" y="99"/>
                </a:cxn>
                <a:cxn ang="0">
                  <a:pos x="252" y="107"/>
                </a:cxn>
                <a:cxn ang="0">
                  <a:pos x="240" y="111"/>
                </a:cxn>
                <a:cxn ang="0">
                  <a:pos x="220" y="111"/>
                </a:cxn>
                <a:cxn ang="0">
                  <a:pos x="224" y="103"/>
                </a:cxn>
                <a:cxn ang="0">
                  <a:pos x="216" y="99"/>
                </a:cxn>
                <a:cxn ang="0">
                  <a:pos x="204" y="99"/>
                </a:cxn>
                <a:cxn ang="0">
                  <a:pos x="196" y="111"/>
                </a:cxn>
                <a:cxn ang="0">
                  <a:pos x="196" y="115"/>
                </a:cxn>
              </a:cxnLst>
              <a:rect l="0" t="0" r="r" b="b"/>
              <a:pathLst>
                <a:path w="260" h="175">
                  <a:moveTo>
                    <a:pt x="188" y="119"/>
                  </a:moveTo>
                  <a:lnTo>
                    <a:pt x="188" y="123"/>
                  </a:lnTo>
                  <a:lnTo>
                    <a:pt x="188" y="127"/>
                  </a:lnTo>
                  <a:lnTo>
                    <a:pt x="184" y="127"/>
                  </a:lnTo>
                  <a:lnTo>
                    <a:pt x="180" y="127"/>
                  </a:lnTo>
                  <a:lnTo>
                    <a:pt x="180" y="123"/>
                  </a:lnTo>
                  <a:lnTo>
                    <a:pt x="176" y="123"/>
                  </a:lnTo>
                  <a:lnTo>
                    <a:pt x="172" y="127"/>
                  </a:lnTo>
                  <a:lnTo>
                    <a:pt x="172" y="131"/>
                  </a:lnTo>
                  <a:lnTo>
                    <a:pt x="172" y="135"/>
                  </a:lnTo>
                  <a:lnTo>
                    <a:pt x="176" y="135"/>
                  </a:lnTo>
                  <a:lnTo>
                    <a:pt x="176" y="139"/>
                  </a:lnTo>
                  <a:lnTo>
                    <a:pt x="180" y="139"/>
                  </a:lnTo>
                  <a:lnTo>
                    <a:pt x="184" y="139"/>
                  </a:lnTo>
                  <a:lnTo>
                    <a:pt x="184" y="143"/>
                  </a:lnTo>
                  <a:lnTo>
                    <a:pt x="180" y="143"/>
                  </a:lnTo>
                  <a:lnTo>
                    <a:pt x="180" y="147"/>
                  </a:lnTo>
                  <a:lnTo>
                    <a:pt x="184" y="151"/>
                  </a:lnTo>
                  <a:lnTo>
                    <a:pt x="184" y="155"/>
                  </a:lnTo>
                  <a:lnTo>
                    <a:pt x="188" y="155"/>
                  </a:lnTo>
                  <a:lnTo>
                    <a:pt x="184" y="155"/>
                  </a:lnTo>
                  <a:lnTo>
                    <a:pt x="184" y="159"/>
                  </a:lnTo>
                  <a:lnTo>
                    <a:pt x="180" y="163"/>
                  </a:lnTo>
                  <a:lnTo>
                    <a:pt x="180" y="167"/>
                  </a:lnTo>
                  <a:lnTo>
                    <a:pt x="176" y="167"/>
                  </a:lnTo>
                  <a:lnTo>
                    <a:pt x="176" y="171"/>
                  </a:lnTo>
                  <a:lnTo>
                    <a:pt x="176" y="175"/>
                  </a:lnTo>
                  <a:lnTo>
                    <a:pt x="172" y="171"/>
                  </a:lnTo>
                  <a:lnTo>
                    <a:pt x="172" y="175"/>
                  </a:lnTo>
                  <a:lnTo>
                    <a:pt x="168" y="175"/>
                  </a:lnTo>
                  <a:lnTo>
                    <a:pt x="168" y="171"/>
                  </a:lnTo>
                  <a:lnTo>
                    <a:pt x="164" y="171"/>
                  </a:lnTo>
                  <a:lnTo>
                    <a:pt x="160" y="171"/>
                  </a:lnTo>
                  <a:lnTo>
                    <a:pt x="156" y="171"/>
                  </a:lnTo>
                  <a:lnTo>
                    <a:pt x="156" y="167"/>
                  </a:lnTo>
                  <a:lnTo>
                    <a:pt x="160" y="163"/>
                  </a:lnTo>
                  <a:lnTo>
                    <a:pt x="160" y="159"/>
                  </a:lnTo>
                  <a:lnTo>
                    <a:pt x="156" y="159"/>
                  </a:lnTo>
                  <a:lnTo>
                    <a:pt x="156" y="155"/>
                  </a:lnTo>
                  <a:lnTo>
                    <a:pt x="152" y="155"/>
                  </a:lnTo>
                  <a:lnTo>
                    <a:pt x="148" y="151"/>
                  </a:lnTo>
                  <a:lnTo>
                    <a:pt x="148" y="155"/>
                  </a:lnTo>
                  <a:lnTo>
                    <a:pt x="144" y="155"/>
                  </a:lnTo>
                  <a:lnTo>
                    <a:pt x="144" y="151"/>
                  </a:lnTo>
                  <a:lnTo>
                    <a:pt x="140" y="151"/>
                  </a:lnTo>
                  <a:lnTo>
                    <a:pt x="136" y="147"/>
                  </a:lnTo>
                  <a:lnTo>
                    <a:pt x="132" y="143"/>
                  </a:lnTo>
                  <a:lnTo>
                    <a:pt x="128" y="143"/>
                  </a:lnTo>
                  <a:lnTo>
                    <a:pt x="128" y="139"/>
                  </a:lnTo>
                  <a:lnTo>
                    <a:pt x="124" y="139"/>
                  </a:lnTo>
                  <a:lnTo>
                    <a:pt x="120" y="139"/>
                  </a:lnTo>
                  <a:lnTo>
                    <a:pt x="120" y="135"/>
                  </a:lnTo>
                  <a:lnTo>
                    <a:pt x="116" y="135"/>
                  </a:lnTo>
                  <a:lnTo>
                    <a:pt x="116" y="131"/>
                  </a:lnTo>
                  <a:lnTo>
                    <a:pt x="112" y="131"/>
                  </a:lnTo>
                  <a:lnTo>
                    <a:pt x="112" y="127"/>
                  </a:lnTo>
                  <a:lnTo>
                    <a:pt x="108" y="127"/>
                  </a:lnTo>
                  <a:lnTo>
                    <a:pt x="104" y="123"/>
                  </a:lnTo>
                  <a:lnTo>
                    <a:pt x="100" y="123"/>
                  </a:lnTo>
                  <a:lnTo>
                    <a:pt x="100" y="119"/>
                  </a:lnTo>
                  <a:lnTo>
                    <a:pt x="96" y="119"/>
                  </a:lnTo>
                  <a:lnTo>
                    <a:pt x="96" y="115"/>
                  </a:lnTo>
                  <a:lnTo>
                    <a:pt x="96" y="111"/>
                  </a:lnTo>
                  <a:lnTo>
                    <a:pt x="96" y="107"/>
                  </a:lnTo>
                  <a:lnTo>
                    <a:pt x="92" y="107"/>
                  </a:lnTo>
                  <a:lnTo>
                    <a:pt x="92" y="103"/>
                  </a:lnTo>
                  <a:lnTo>
                    <a:pt x="88" y="103"/>
                  </a:lnTo>
                  <a:lnTo>
                    <a:pt x="88" y="99"/>
                  </a:lnTo>
                  <a:lnTo>
                    <a:pt x="88" y="95"/>
                  </a:lnTo>
                  <a:lnTo>
                    <a:pt x="84" y="91"/>
                  </a:lnTo>
                  <a:lnTo>
                    <a:pt x="80" y="91"/>
                  </a:lnTo>
                  <a:lnTo>
                    <a:pt x="76" y="91"/>
                  </a:lnTo>
                  <a:lnTo>
                    <a:pt x="72" y="91"/>
                  </a:lnTo>
                  <a:lnTo>
                    <a:pt x="68" y="91"/>
                  </a:lnTo>
                  <a:lnTo>
                    <a:pt x="64" y="91"/>
                  </a:lnTo>
                  <a:lnTo>
                    <a:pt x="64" y="87"/>
                  </a:lnTo>
                  <a:lnTo>
                    <a:pt x="60" y="87"/>
                  </a:lnTo>
                  <a:lnTo>
                    <a:pt x="60" y="83"/>
                  </a:lnTo>
                  <a:lnTo>
                    <a:pt x="60" y="79"/>
                  </a:lnTo>
                  <a:lnTo>
                    <a:pt x="64" y="79"/>
                  </a:lnTo>
                  <a:lnTo>
                    <a:pt x="60" y="79"/>
                  </a:lnTo>
                  <a:lnTo>
                    <a:pt x="60" y="75"/>
                  </a:lnTo>
                  <a:lnTo>
                    <a:pt x="60" y="71"/>
                  </a:lnTo>
                  <a:lnTo>
                    <a:pt x="56" y="67"/>
                  </a:lnTo>
                  <a:lnTo>
                    <a:pt x="52" y="67"/>
                  </a:lnTo>
                  <a:lnTo>
                    <a:pt x="48" y="67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64"/>
                  </a:lnTo>
                  <a:lnTo>
                    <a:pt x="32" y="60"/>
                  </a:lnTo>
                  <a:lnTo>
                    <a:pt x="32" y="64"/>
                  </a:lnTo>
                  <a:lnTo>
                    <a:pt x="36" y="67"/>
                  </a:lnTo>
                  <a:lnTo>
                    <a:pt x="32" y="67"/>
                  </a:lnTo>
                  <a:lnTo>
                    <a:pt x="28" y="64"/>
                  </a:lnTo>
                  <a:lnTo>
                    <a:pt x="28" y="67"/>
                  </a:lnTo>
                  <a:lnTo>
                    <a:pt x="28" y="71"/>
                  </a:lnTo>
                  <a:lnTo>
                    <a:pt x="24" y="71"/>
                  </a:lnTo>
                  <a:lnTo>
                    <a:pt x="20" y="71"/>
                  </a:lnTo>
                  <a:lnTo>
                    <a:pt x="16" y="71"/>
                  </a:lnTo>
                  <a:lnTo>
                    <a:pt x="16" y="75"/>
                  </a:lnTo>
                  <a:lnTo>
                    <a:pt x="12" y="75"/>
                  </a:lnTo>
                  <a:lnTo>
                    <a:pt x="12" y="79"/>
                  </a:lnTo>
                  <a:lnTo>
                    <a:pt x="12" y="83"/>
                  </a:lnTo>
                  <a:lnTo>
                    <a:pt x="12" y="87"/>
                  </a:lnTo>
                  <a:lnTo>
                    <a:pt x="16" y="87"/>
                  </a:lnTo>
                  <a:lnTo>
                    <a:pt x="16" y="91"/>
                  </a:lnTo>
                  <a:lnTo>
                    <a:pt x="12" y="91"/>
                  </a:lnTo>
                  <a:lnTo>
                    <a:pt x="8" y="91"/>
                  </a:lnTo>
                  <a:lnTo>
                    <a:pt x="4" y="91"/>
                  </a:lnTo>
                  <a:lnTo>
                    <a:pt x="0" y="91"/>
                  </a:lnTo>
                  <a:lnTo>
                    <a:pt x="0" y="87"/>
                  </a:lnTo>
                  <a:lnTo>
                    <a:pt x="0" y="83"/>
                  </a:lnTo>
                  <a:lnTo>
                    <a:pt x="0" y="79"/>
                  </a:lnTo>
                  <a:lnTo>
                    <a:pt x="0" y="71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16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52" y="12"/>
                  </a:lnTo>
                  <a:lnTo>
                    <a:pt x="76" y="28"/>
                  </a:lnTo>
                  <a:lnTo>
                    <a:pt x="80" y="32"/>
                  </a:lnTo>
                  <a:lnTo>
                    <a:pt x="84" y="36"/>
                  </a:lnTo>
                  <a:lnTo>
                    <a:pt x="88" y="40"/>
                  </a:lnTo>
                  <a:lnTo>
                    <a:pt x="88" y="44"/>
                  </a:lnTo>
                  <a:lnTo>
                    <a:pt x="96" y="44"/>
                  </a:lnTo>
                  <a:lnTo>
                    <a:pt x="100" y="44"/>
                  </a:lnTo>
                  <a:lnTo>
                    <a:pt x="108" y="40"/>
                  </a:lnTo>
                  <a:lnTo>
                    <a:pt x="112" y="40"/>
                  </a:lnTo>
                  <a:lnTo>
                    <a:pt x="116" y="44"/>
                  </a:lnTo>
                  <a:lnTo>
                    <a:pt x="120" y="44"/>
                  </a:lnTo>
                  <a:lnTo>
                    <a:pt x="128" y="44"/>
                  </a:lnTo>
                  <a:lnTo>
                    <a:pt x="132" y="40"/>
                  </a:lnTo>
                  <a:lnTo>
                    <a:pt x="136" y="40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0" y="48"/>
                  </a:lnTo>
                  <a:lnTo>
                    <a:pt x="144" y="48"/>
                  </a:lnTo>
                  <a:lnTo>
                    <a:pt x="144" y="52"/>
                  </a:lnTo>
                  <a:lnTo>
                    <a:pt x="148" y="56"/>
                  </a:lnTo>
                  <a:lnTo>
                    <a:pt x="152" y="56"/>
                  </a:lnTo>
                  <a:lnTo>
                    <a:pt x="152" y="60"/>
                  </a:lnTo>
                  <a:lnTo>
                    <a:pt x="152" y="64"/>
                  </a:lnTo>
                  <a:lnTo>
                    <a:pt x="152" y="67"/>
                  </a:lnTo>
                  <a:lnTo>
                    <a:pt x="152" y="71"/>
                  </a:lnTo>
                  <a:lnTo>
                    <a:pt x="152" y="75"/>
                  </a:lnTo>
                  <a:lnTo>
                    <a:pt x="156" y="75"/>
                  </a:lnTo>
                  <a:lnTo>
                    <a:pt x="160" y="79"/>
                  </a:lnTo>
                  <a:lnTo>
                    <a:pt x="160" y="87"/>
                  </a:lnTo>
                  <a:lnTo>
                    <a:pt x="160" y="91"/>
                  </a:lnTo>
                  <a:lnTo>
                    <a:pt x="164" y="91"/>
                  </a:lnTo>
                  <a:lnTo>
                    <a:pt x="168" y="91"/>
                  </a:lnTo>
                  <a:lnTo>
                    <a:pt x="172" y="91"/>
                  </a:lnTo>
                  <a:lnTo>
                    <a:pt x="176" y="91"/>
                  </a:lnTo>
                  <a:lnTo>
                    <a:pt x="180" y="91"/>
                  </a:lnTo>
                  <a:lnTo>
                    <a:pt x="180" y="95"/>
                  </a:lnTo>
                  <a:lnTo>
                    <a:pt x="184" y="95"/>
                  </a:lnTo>
                  <a:lnTo>
                    <a:pt x="180" y="99"/>
                  </a:lnTo>
                  <a:lnTo>
                    <a:pt x="184" y="103"/>
                  </a:lnTo>
                  <a:lnTo>
                    <a:pt x="188" y="103"/>
                  </a:lnTo>
                  <a:lnTo>
                    <a:pt x="192" y="103"/>
                  </a:lnTo>
                  <a:lnTo>
                    <a:pt x="188" y="103"/>
                  </a:lnTo>
                  <a:lnTo>
                    <a:pt x="188" y="99"/>
                  </a:lnTo>
                  <a:lnTo>
                    <a:pt x="192" y="99"/>
                  </a:lnTo>
                  <a:lnTo>
                    <a:pt x="192" y="95"/>
                  </a:lnTo>
                  <a:lnTo>
                    <a:pt x="196" y="91"/>
                  </a:lnTo>
                  <a:lnTo>
                    <a:pt x="196" y="87"/>
                  </a:lnTo>
                  <a:lnTo>
                    <a:pt x="200" y="87"/>
                  </a:lnTo>
                  <a:lnTo>
                    <a:pt x="204" y="83"/>
                  </a:lnTo>
                  <a:lnTo>
                    <a:pt x="208" y="83"/>
                  </a:lnTo>
                  <a:lnTo>
                    <a:pt x="212" y="79"/>
                  </a:lnTo>
                  <a:lnTo>
                    <a:pt x="216" y="75"/>
                  </a:lnTo>
                  <a:lnTo>
                    <a:pt x="216" y="71"/>
                  </a:lnTo>
                  <a:lnTo>
                    <a:pt x="220" y="75"/>
                  </a:lnTo>
                  <a:lnTo>
                    <a:pt x="220" y="71"/>
                  </a:lnTo>
                  <a:lnTo>
                    <a:pt x="224" y="71"/>
                  </a:lnTo>
                  <a:lnTo>
                    <a:pt x="228" y="67"/>
                  </a:lnTo>
                  <a:lnTo>
                    <a:pt x="228" y="71"/>
                  </a:lnTo>
                  <a:lnTo>
                    <a:pt x="224" y="75"/>
                  </a:lnTo>
                  <a:lnTo>
                    <a:pt x="220" y="75"/>
                  </a:lnTo>
                  <a:lnTo>
                    <a:pt x="220" y="79"/>
                  </a:lnTo>
                  <a:lnTo>
                    <a:pt x="216" y="79"/>
                  </a:lnTo>
                  <a:lnTo>
                    <a:pt x="216" y="83"/>
                  </a:lnTo>
                  <a:lnTo>
                    <a:pt x="212" y="83"/>
                  </a:lnTo>
                  <a:lnTo>
                    <a:pt x="212" y="87"/>
                  </a:lnTo>
                  <a:lnTo>
                    <a:pt x="216" y="87"/>
                  </a:lnTo>
                  <a:lnTo>
                    <a:pt x="220" y="87"/>
                  </a:lnTo>
                  <a:lnTo>
                    <a:pt x="224" y="87"/>
                  </a:lnTo>
                  <a:lnTo>
                    <a:pt x="224" y="91"/>
                  </a:lnTo>
                  <a:lnTo>
                    <a:pt x="228" y="91"/>
                  </a:lnTo>
                  <a:lnTo>
                    <a:pt x="232" y="95"/>
                  </a:lnTo>
                  <a:lnTo>
                    <a:pt x="232" y="91"/>
                  </a:lnTo>
                  <a:lnTo>
                    <a:pt x="232" y="87"/>
                  </a:lnTo>
                  <a:lnTo>
                    <a:pt x="232" y="91"/>
                  </a:lnTo>
                  <a:lnTo>
                    <a:pt x="236" y="91"/>
                  </a:lnTo>
                  <a:lnTo>
                    <a:pt x="236" y="87"/>
                  </a:lnTo>
                  <a:lnTo>
                    <a:pt x="236" y="83"/>
                  </a:lnTo>
                  <a:lnTo>
                    <a:pt x="240" y="87"/>
                  </a:lnTo>
                  <a:lnTo>
                    <a:pt x="240" y="91"/>
                  </a:lnTo>
                  <a:lnTo>
                    <a:pt x="244" y="91"/>
                  </a:lnTo>
                  <a:lnTo>
                    <a:pt x="244" y="95"/>
                  </a:lnTo>
                  <a:lnTo>
                    <a:pt x="248" y="95"/>
                  </a:lnTo>
                  <a:lnTo>
                    <a:pt x="252" y="99"/>
                  </a:lnTo>
                  <a:lnTo>
                    <a:pt x="256" y="99"/>
                  </a:lnTo>
                  <a:lnTo>
                    <a:pt x="260" y="99"/>
                  </a:lnTo>
                  <a:lnTo>
                    <a:pt x="256" y="99"/>
                  </a:lnTo>
                  <a:lnTo>
                    <a:pt x="256" y="103"/>
                  </a:lnTo>
                  <a:lnTo>
                    <a:pt x="252" y="103"/>
                  </a:lnTo>
                  <a:lnTo>
                    <a:pt x="252" y="107"/>
                  </a:lnTo>
                  <a:lnTo>
                    <a:pt x="248" y="107"/>
                  </a:lnTo>
                  <a:lnTo>
                    <a:pt x="248" y="103"/>
                  </a:lnTo>
                  <a:lnTo>
                    <a:pt x="248" y="107"/>
                  </a:lnTo>
                  <a:lnTo>
                    <a:pt x="244" y="107"/>
                  </a:lnTo>
                  <a:lnTo>
                    <a:pt x="240" y="111"/>
                  </a:lnTo>
                  <a:lnTo>
                    <a:pt x="236" y="115"/>
                  </a:lnTo>
                  <a:lnTo>
                    <a:pt x="232" y="111"/>
                  </a:lnTo>
                  <a:lnTo>
                    <a:pt x="228" y="111"/>
                  </a:lnTo>
                  <a:lnTo>
                    <a:pt x="224" y="111"/>
                  </a:lnTo>
                  <a:lnTo>
                    <a:pt x="220" y="111"/>
                  </a:lnTo>
                  <a:lnTo>
                    <a:pt x="216" y="111"/>
                  </a:lnTo>
                  <a:lnTo>
                    <a:pt x="216" y="107"/>
                  </a:lnTo>
                  <a:lnTo>
                    <a:pt x="220" y="107"/>
                  </a:lnTo>
                  <a:lnTo>
                    <a:pt x="220" y="103"/>
                  </a:lnTo>
                  <a:lnTo>
                    <a:pt x="224" y="103"/>
                  </a:lnTo>
                  <a:lnTo>
                    <a:pt x="224" y="99"/>
                  </a:lnTo>
                  <a:lnTo>
                    <a:pt x="220" y="99"/>
                  </a:lnTo>
                  <a:lnTo>
                    <a:pt x="220" y="95"/>
                  </a:lnTo>
                  <a:lnTo>
                    <a:pt x="216" y="95"/>
                  </a:lnTo>
                  <a:lnTo>
                    <a:pt x="216" y="99"/>
                  </a:lnTo>
                  <a:lnTo>
                    <a:pt x="212" y="99"/>
                  </a:lnTo>
                  <a:lnTo>
                    <a:pt x="212" y="103"/>
                  </a:lnTo>
                  <a:lnTo>
                    <a:pt x="208" y="103"/>
                  </a:lnTo>
                  <a:lnTo>
                    <a:pt x="204" y="103"/>
                  </a:lnTo>
                  <a:lnTo>
                    <a:pt x="204" y="99"/>
                  </a:lnTo>
                  <a:lnTo>
                    <a:pt x="200" y="99"/>
                  </a:lnTo>
                  <a:lnTo>
                    <a:pt x="200" y="103"/>
                  </a:lnTo>
                  <a:lnTo>
                    <a:pt x="200" y="107"/>
                  </a:lnTo>
                  <a:lnTo>
                    <a:pt x="200" y="111"/>
                  </a:lnTo>
                  <a:lnTo>
                    <a:pt x="196" y="111"/>
                  </a:lnTo>
                  <a:lnTo>
                    <a:pt x="192" y="111"/>
                  </a:lnTo>
                  <a:lnTo>
                    <a:pt x="188" y="111"/>
                  </a:lnTo>
                  <a:lnTo>
                    <a:pt x="188" y="115"/>
                  </a:lnTo>
                  <a:lnTo>
                    <a:pt x="192" y="115"/>
                  </a:lnTo>
                  <a:lnTo>
                    <a:pt x="196" y="115"/>
                  </a:lnTo>
                  <a:lnTo>
                    <a:pt x="192" y="115"/>
                  </a:lnTo>
                  <a:lnTo>
                    <a:pt x="192" y="119"/>
                  </a:lnTo>
                  <a:lnTo>
                    <a:pt x="188" y="1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5" name="Freeform 52"/>
            <p:cNvSpPr>
              <a:spLocks noEditPoints="1"/>
            </p:cNvSpPr>
            <p:nvPr>
              <p:custDataLst>
                <p:tags r:id="rId247"/>
              </p:custDataLst>
            </p:nvPr>
          </p:nvSpPr>
          <p:spPr bwMode="gray">
            <a:xfrm>
              <a:off x="6670361" y="3953787"/>
              <a:ext cx="160171" cy="407842"/>
            </a:xfrm>
            <a:custGeom>
              <a:avLst/>
              <a:gdLst/>
              <a:ahLst/>
              <a:cxnLst>
                <a:cxn ang="0">
                  <a:pos x="84" y="131"/>
                </a:cxn>
                <a:cxn ang="0">
                  <a:pos x="92" y="139"/>
                </a:cxn>
                <a:cxn ang="0">
                  <a:pos x="100" y="147"/>
                </a:cxn>
                <a:cxn ang="0">
                  <a:pos x="104" y="159"/>
                </a:cxn>
                <a:cxn ang="0">
                  <a:pos x="104" y="179"/>
                </a:cxn>
                <a:cxn ang="0">
                  <a:pos x="108" y="191"/>
                </a:cxn>
                <a:cxn ang="0">
                  <a:pos x="108" y="207"/>
                </a:cxn>
                <a:cxn ang="0">
                  <a:pos x="104" y="211"/>
                </a:cxn>
                <a:cxn ang="0">
                  <a:pos x="100" y="227"/>
                </a:cxn>
                <a:cxn ang="0">
                  <a:pos x="84" y="235"/>
                </a:cxn>
                <a:cxn ang="0">
                  <a:pos x="68" y="235"/>
                </a:cxn>
                <a:cxn ang="0">
                  <a:pos x="68" y="243"/>
                </a:cxn>
                <a:cxn ang="0">
                  <a:pos x="64" y="247"/>
                </a:cxn>
                <a:cxn ang="0">
                  <a:pos x="60" y="247"/>
                </a:cxn>
                <a:cxn ang="0">
                  <a:pos x="56" y="251"/>
                </a:cxn>
                <a:cxn ang="0">
                  <a:pos x="52" y="263"/>
                </a:cxn>
                <a:cxn ang="0">
                  <a:pos x="36" y="275"/>
                </a:cxn>
                <a:cxn ang="0">
                  <a:pos x="40" y="255"/>
                </a:cxn>
                <a:cxn ang="0">
                  <a:pos x="36" y="243"/>
                </a:cxn>
                <a:cxn ang="0">
                  <a:pos x="44" y="231"/>
                </a:cxn>
                <a:cxn ang="0">
                  <a:pos x="60" y="231"/>
                </a:cxn>
                <a:cxn ang="0">
                  <a:pos x="60" y="219"/>
                </a:cxn>
                <a:cxn ang="0">
                  <a:pos x="68" y="211"/>
                </a:cxn>
                <a:cxn ang="0">
                  <a:pos x="80" y="199"/>
                </a:cxn>
                <a:cxn ang="0">
                  <a:pos x="76" y="175"/>
                </a:cxn>
                <a:cxn ang="0">
                  <a:pos x="80" y="159"/>
                </a:cxn>
                <a:cxn ang="0">
                  <a:pos x="76" y="143"/>
                </a:cxn>
                <a:cxn ang="0">
                  <a:pos x="72" y="131"/>
                </a:cxn>
                <a:cxn ang="0">
                  <a:pos x="64" y="119"/>
                </a:cxn>
                <a:cxn ang="0">
                  <a:pos x="52" y="107"/>
                </a:cxn>
                <a:cxn ang="0">
                  <a:pos x="44" y="91"/>
                </a:cxn>
                <a:cxn ang="0">
                  <a:pos x="28" y="79"/>
                </a:cxn>
                <a:cxn ang="0">
                  <a:pos x="28" y="67"/>
                </a:cxn>
                <a:cxn ang="0">
                  <a:pos x="40" y="63"/>
                </a:cxn>
                <a:cxn ang="0">
                  <a:pos x="28" y="44"/>
                </a:cxn>
                <a:cxn ang="0">
                  <a:pos x="12" y="48"/>
                </a:cxn>
                <a:cxn ang="0">
                  <a:pos x="12" y="36"/>
                </a:cxn>
                <a:cxn ang="0">
                  <a:pos x="0" y="20"/>
                </a:cxn>
                <a:cxn ang="0">
                  <a:pos x="12" y="16"/>
                </a:cxn>
                <a:cxn ang="0">
                  <a:pos x="24" y="12"/>
                </a:cxn>
                <a:cxn ang="0">
                  <a:pos x="40" y="8"/>
                </a:cxn>
                <a:cxn ang="0">
                  <a:pos x="52" y="8"/>
                </a:cxn>
                <a:cxn ang="0">
                  <a:pos x="68" y="16"/>
                </a:cxn>
                <a:cxn ang="0">
                  <a:pos x="76" y="32"/>
                </a:cxn>
                <a:cxn ang="0">
                  <a:pos x="80" y="40"/>
                </a:cxn>
                <a:cxn ang="0">
                  <a:pos x="76" y="44"/>
                </a:cxn>
                <a:cxn ang="0">
                  <a:pos x="68" y="52"/>
                </a:cxn>
                <a:cxn ang="0">
                  <a:pos x="60" y="63"/>
                </a:cxn>
                <a:cxn ang="0">
                  <a:pos x="56" y="75"/>
                </a:cxn>
                <a:cxn ang="0">
                  <a:pos x="56" y="95"/>
                </a:cxn>
                <a:cxn ang="0">
                  <a:pos x="68" y="115"/>
                </a:cxn>
                <a:cxn ang="0">
                  <a:pos x="72" y="239"/>
                </a:cxn>
                <a:cxn ang="0">
                  <a:pos x="76" y="44"/>
                </a:cxn>
                <a:cxn ang="0">
                  <a:pos x="28" y="247"/>
                </a:cxn>
              </a:cxnLst>
              <a:rect l="0" t="0" r="r" b="b"/>
              <a:pathLst>
                <a:path w="108" h="275">
                  <a:moveTo>
                    <a:pt x="72" y="119"/>
                  </a:moveTo>
                  <a:lnTo>
                    <a:pt x="76" y="119"/>
                  </a:lnTo>
                  <a:lnTo>
                    <a:pt x="76" y="123"/>
                  </a:lnTo>
                  <a:lnTo>
                    <a:pt x="80" y="127"/>
                  </a:lnTo>
                  <a:lnTo>
                    <a:pt x="84" y="127"/>
                  </a:lnTo>
                  <a:lnTo>
                    <a:pt x="84" y="131"/>
                  </a:lnTo>
                  <a:lnTo>
                    <a:pt x="88" y="131"/>
                  </a:lnTo>
                  <a:lnTo>
                    <a:pt x="88" y="135"/>
                  </a:lnTo>
                  <a:lnTo>
                    <a:pt x="92" y="135"/>
                  </a:lnTo>
                  <a:lnTo>
                    <a:pt x="88" y="135"/>
                  </a:lnTo>
                  <a:lnTo>
                    <a:pt x="92" y="135"/>
                  </a:lnTo>
                  <a:lnTo>
                    <a:pt x="92" y="139"/>
                  </a:lnTo>
                  <a:lnTo>
                    <a:pt x="92" y="135"/>
                  </a:lnTo>
                  <a:lnTo>
                    <a:pt x="92" y="139"/>
                  </a:lnTo>
                  <a:lnTo>
                    <a:pt x="92" y="143"/>
                  </a:lnTo>
                  <a:lnTo>
                    <a:pt x="96" y="143"/>
                  </a:lnTo>
                  <a:lnTo>
                    <a:pt x="96" y="147"/>
                  </a:lnTo>
                  <a:lnTo>
                    <a:pt x="100" y="147"/>
                  </a:lnTo>
                  <a:lnTo>
                    <a:pt x="100" y="151"/>
                  </a:lnTo>
                  <a:lnTo>
                    <a:pt x="100" y="147"/>
                  </a:lnTo>
                  <a:lnTo>
                    <a:pt x="100" y="151"/>
                  </a:lnTo>
                  <a:lnTo>
                    <a:pt x="100" y="155"/>
                  </a:lnTo>
                  <a:lnTo>
                    <a:pt x="100" y="159"/>
                  </a:lnTo>
                  <a:lnTo>
                    <a:pt x="104" y="159"/>
                  </a:lnTo>
                  <a:lnTo>
                    <a:pt x="104" y="163"/>
                  </a:lnTo>
                  <a:lnTo>
                    <a:pt x="104" y="167"/>
                  </a:lnTo>
                  <a:lnTo>
                    <a:pt x="104" y="171"/>
                  </a:lnTo>
                  <a:lnTo>
                    <a:pt x="108" y="175"/>
                  </a:lnTo>
                  <a:lnTo>
                    <a:pt x="108" y="179"/>
                  </a:lnTo>
                  <a:lnTo>
                    <a:pt x="104" y="179"/>
                  </a:lnTo>
                  <a:lnTo>
                    <a:pt x="108" y="179"/>
                  </a:lnTo>
                  <a:lnTo>
                    <a:pt x="104" y="179"/>
                  </a:lnTo>
                  <a:lnTo>
                    <a:pt x="108" y="179"/>
                  </a:lnTo>
                  <a:lnTo>
                    <a:pt x="108" y="183"/>
                  </a:lnTo>
                  <a:lnTo>
                    <a:pt x="108" y="187"/>
                  </a:lnTo>
                  <a:lnTo>
                    <a:pt x="108" y="191"/>
                  </a:lnTo>
                  <a:lnTo>
                    <a:pt x="108" y="195"/>
                  </a:lnTo>
                  <a:lnTo>
                    <a:pt x="108" y="199"/>
                  </a:lnTo>
                  <a:lnTo>
                    <a:pt x="104" y="199"/>
                  </a:lnTo>
                  <a:lnTo>
                    <a:pt x="104" y="203"/>
                  </a:lnTo>
                  <a:lnTo>
                    <a:pt x="108" y="203"/>
                  </a:lnTo>
                  <a:lnTo>
                    <a:pt x="108" y="207"/>
                  </a:lnTo>
                  <a:lnTo>
                    <a:pt x="108" y="203"/>
                  </a:lnTo>
                  <a:lnTo>
                    <a:pt x="104" y="203"/>
                  </a:lnTo>
                  <a:lnTo>
                    <a:pt x="104" y="207"/>
                  </a:lnTo>
                  <a:lnTo>
                    <a:pt x="104" y="211"/>
                  </a:lnTo>
                  <a:lnTo>
                    <a:pt x="108" y="215"/>
                  </a:lnTo>
                  <a:lnTo>
                    <a:pt x="104" y="211"/>
                  </a:lnTo>
                  <a:lnTo>
                    <a:pt x="104" y="215"/>
                  </a:lnTo>
                  <a:lnTo>
                    <a:pt x="104" y="219"/>
                  </a:lnTo>
                  <a:lnTo>
                    <a:pt x="104" y="223"/>
                  </a:lnTo>
                  <a:lnTo>
                    <a:pt x="100" y="227"/>
                  </a:lnTo>
                  <a:lnTo>
                    <a:pt x="100" y="223"/>
                  </a:lnTo>
                  <a:lnTo>
                    <a:pt x="100" y="227"/>
                  </a:lnTo>
                  <a:lnTo>
                    <a:pt x="96" y="227"/>
                  </a:lnTo>
                  <a:lnTo>
                    <a:pt x="96" y="231"/>
                  </a:lnTo>
                  <a:lnTo>
                    <a:pt x="92" y="231"/>
                  </a:lnTo>
                  <a:lnTo>
                    <a:pt x="88" y="231"/>
                  </a:lnTo>
                  <a:lnTo>
                    <a:pt x="88" y="235"/>
                  </a:lnTo>
                  <a:lnTo>
                    <a:pt x="84" y="235"/>
                  </a:lnTo>
                  <a:lnTo>
                    <a:pt x="84" y="239"/>
                  </a:lnTo>
                  <a:lnTo>
                    <a:pt x="80" y="239"/>
                  </a:lnTo>
                  <a:lnTo>
                    <a:pt x="76" y="243"/>
                  </a:lnTo>
                  <a:lnTo>
                    <a:pt x="76" y="239"/>
                  </a:lnTo>
                  <a:lnTo>
                    <a:pt x="72" y="239"/>
                  </a:lnTo>
                  <a:lnTo>
                    <a:pt x="68" y="235"/>
                  </a:lnTo>
                  <a:lnTo>
                    <a:pt x="68" y="239"/>
                  </a:lnTo>
                  <a:lnTo>
                    <a:pt x="68" y="243"/>
                  </a:lnTo>
                  <a:lnTo>
                    <a:pt x="68" y="239"/>
                  </a:lnTo>
                  <a:lnTo>
                    <a:pt x="68" y="243"/>
                  </a:lnTo>
                  <a:lnTo>
                    <a:pt x="64" y="243"/>
                  </a:lnTo>
                  <a:lnTo>
                    <a:pt x="68" y="243"/>
                  </a:lnTo>
                  <a:lnTo>
                    <a:pt x="68" y="247"/>
                  </a:lnTo>
                  <a:lnTo>
                    <a:pt x="68" y="251"/>
                  </a:lnTo>
                  <a:lnTo>
                    <a:pt x="64" y="247"/>
                  </a:lnTo>
                  <a:lnTo>
                    <a:pt x="64" y="243"/>
                  </a:lnTo>
                  <a:lnTo>
                    <a:pt x="60" y="243"/>
                  </a:lnTo>
                  <a:lnTo>
                    <a:pt x="64" y="247"/>
                  </a:lnTo>
                  <a:lnTo>
                    <a:pt x="64" y="251"/>
                  </a:lnTo>
                  <a:lnTo>
                    <a:pt x="68" y="251"/>
                  </a:lnTo>
                  <a:lnTo>
                    <a:pt x="64" y="251"/>
                  </a:lnTo>
                  <a:lnTo>
                    <a:pt x="60" y="247"/>
                  </a:lnTo>
                  <a:lnTo>
                    <a:pt x="60" y="243"/>
                  </a:lnTo>
                  <a:lnTo>
                    <a:pt x="60" y="247"/>
                  </a:lnTo>
                  <a:lnTo>
                    <a:pt x="60" y="251"/>
                  </a:lnTo>
                  <a:lnTo>
                    <a:pt x="64" y="251"/>
                  </a:lnTo>
                  <a:lnTo>
                    <a:pt x="64" y="255"/>
                  </a:lnTo>
                  <a:lnTo>
                    <a:pt x="64" y="259"/>
                  </a:lnTo>
                  <a:lnTo>
                    <a:pt x="60" y="255"/>
                  </a:lnTo>
                  <a:lnTo>
                    <a:pt x="56" y="251"/>
                  </a:lnTo>
                  <a:lnTo>
                    <a:pt x="56" y="255"/>
                  </a:lnTo>
                  <a:lnTo>
                    <a:pt x="60" y="255"/>
                  </a:lnTo>
                  <a:lnTo>
                    <a:pt x="60" y="259"/>
                  </a:lnTo>
                  <a:lnTo>
                    <a:pt x="60" y="263"/>
                  </a:lnTo>
                  <a:lnTo>
                    <a:pt x="56" y="263"/>
                  </a:lnTo>
                  <a:lnTo>
                    <a:pt x="52" y="263"/>
                  </a:lnTo>
                  <a:lnTo>
                    <a:pt x="52" y="267"/>
                  </a:lnTo>
                  <a:lnTo>
                    <a:pt x="48" y="267"/>
                  </a:lnTo>
                  <a:lnTo>
                    <a:pt x="48" y="271"/>
                  </a:lnTo>
                  <a:lnTo>
                    <a:pt x="44" y="275"/>
                  </a:lnTo>
                  <a:lnTo>
                    <a:pt x="40" y="275"/>
                  </a:lnTo>
                  <a:lnTo>
                    <a:pt x="36" y="275"/>
                  </a:lnTo>
                  <a:lnTo>
                    <a:pt x="40" y="275"/>
                  </a:lnTo>
                  <a:lnTo>
                    <a:pt x="40" y="271"/>
                  </a:lnTo>
                  <a:lnTo>
                    <a:pt x="40" y="267"/>
                  </a:lnTo>
                  <a:lnTo>
                    <a:pt x="40" y="263"/>
                  </a:lnTo>
                  <a:lnTo>
                    <a:pt x="40" y="259"/>
                  </a:lnTo>
                  <a:lnTo>
                    <a:pt x="40" y="255"/>
                  </a:lnTo>
                  <a:lnTo>
                    <a:pt x="40" y="251"/>
                  </a:lnTo>
                  <a:lnTo>
                    <a:pt x="44" y="251"/>
                  </a:lnTo>
                  <a:lnTo>
                    <a:pt x="44" y="247"/>
                  </a:lnTo>
                  <a:lnTo>
                    <a:pt x="40" y="247"/>
                  </a:lnTo>
                  <a:lnTo>
                    <a:pt x="36" y="247"/>
                  </a:lnTo>
                  <a:lnTo>
                    <a:pt x="36" y="243"/>
                  </a:lnTo>
                  <a:lnTo>
                    <a:pt x="32" y="243"/>
                  </a:lnTo>
                  <a:lnTo>
                    <a:pt x="36" y="243"/>
                  </a:lnTo>
                  <a:lnTo>
                    <a:pt x="36" y="239"/>
                  </a:lnTo>
                  <a:lnTo>
                    <a:pt x="40" y="239"/>
                  </a:lnTo>
                  <a:lnTo>
                    <a:pt x="44" y="235"/>
                  </a:lnTo>
                  <a:lnTo>
                    <a:pt x="44" y="231"/>
                  </a:lnTo>
                  <a:lnTo>
                    <a:pt x="48" y="235"/>
                  </a:lnTo>
                  <a:lnTo>
                    <a:pt x="48" y="231"/>
                  </a:lnTo>
                  <a:lnTo>
                    <a:pt x="52" y="231"/>
                  </a:lnTo>
                  <a:lnTo>
                    <a:pt x="56" y="231"/>
                  </a:lnTo>
                  <a:lnTo>
                    <a:pt x="60" y="235"/>
                  </a:lnTo>
                  <a:lnTo>
                    <a:pt x="60" y="231"/>
                  </a:lnTo>
                  <a:lnTo>
                    <a:pt x="56" y="227"/>
                  </a:lnTo>
                  <a:lnTo>
                    <a:pt x="56" y="223"/>
                  </a:lnTo>
                  <a:lnTo>
                    <a:pt x="56" y="219"/>
                  </a:lnTo>
                  <a:lnTo>
                    <a:pt x="56" y="215"/>
                  </a:lnTo>
                  <a:lnTo>
                    <a:pt x="60" y="215"/>
                  </a:lnTo>
                  <a:lnTo>
                    <a:pt x="60" y="219"/>
                  </a:lnTo>
                  <a:lnTo>
                    <a:pt x="64" y="219"/>
                  </a:lnTo>
                  <a:lnTo>
                    <a:pt x="64" y="215"/>
                  </a:lnTo>
                  <a:lnTo>
                    <a:pt x="64" y="211"/>
                  </a:lnTo>
                  <a:lnTo>
                    <a:pt x="68" y="211"/>
                  </a:lnTo>
                  <a:lnTo>
                    <a:pt x="68" y="215"/>
                  </a:lnTo>
                  <a:lnTo>
                    <a:pt x="68" y="211"/>
                  </a:lnTo>
                  <a:lnTo>
                    <a:pt x="72" y="211"/>
                  </a:lnTo>
                  <a:lnTo>
                    <a:pt x="72" y="207"/>
                  </a:lnTo>
                  <a:lnTo>
                    <a:pt x="76" y="207"/>
                  </a:lnTo>
                  <a:lnTo>
                    <a:pt x="80" y="207"/>
                  </a:lnTo>
                  <a:lnTo>
                    <a:pt x="80" y="203"/>
                  </a:lnTo>
                  <a:lnTo>
                    <a:pt x="80" y="199"/>
                  </a:lnTo>
                  <a:lnTo>
                    <a:pt x="80" y="195"/>
                  </a:lnTo>
                  <a:lnTo>
                    <a:pt x="80" y="187"/>
                  </a:lnTo>
                  <a:lnTo>
                    <a:pt x="80" y="183"/>
                  </a:lnTo>
                  <a:lnTo>
                    <a:pt x="80" y="179"/>
                  </a:lnTo>
                  <a:lnTo>
                    <a:pt x="80" y="175"/>
                  </a:lnTo>
                  <a:lnTo>
                    <a:pt x="76" y="175"/>
                  </a:lnTo>
                  <a:lnTo>
                    <a:pt x="76" y="171"/>
                  </a:lnTo>
                  <a:lnTo>
                    <a:pt x="80" y="171"/>
                  </a:lnTo>
                  <a:lnTo>
                    <a:pt x="76" y="167"/>
                  </a:lnTo>
                  <a:lnTo>
                    <a:pt x="80" y="167"/>
                  </a:lnTo>
                  <a:lnTo>
                    <a:pt x="80" y="163"/>
                  </a:lnTo>
                  <a:lnTo>
                    <a:pt x="80" y="159"/>
                  </a:lnTo>
                  <a:lnTo>
                    <a:pt x="80" y="155"/>
                  </a:lnTo>
                  <a:lnTo>
                    <a:pt x="84" y="151"/>
                  </a:lnTo>
                  <a:lnTo>
                    <a:pt x="80" y="151"/>
                  </a:lnTo>
                  <a:lnTo>
                    <a:pt x="80" y="147"/>
                  </a:lnTo>
                  <a:lnTo>
                    <a:pt x="76" y="147"/>
                  </a:lnTo>
                  <a:lnTo>
                    <a:pt x="76" y="143"/>
                  </a:lnTo>
                  <a:lnTo>
                    <a:pt x="76" y="139"/>
                  </a:lnTo>
                  <a:lnTo>
                    <a:pt x="80" y="139"/>
                  </a:lnTo>
                  <a:lnTo>
                    <a:pt x="80" y="135"/>
                  </a:lnTo>
                  <a:lnTo>
                    <a:pt x="76" y="135"/>
                  </a:lnTo>
                  <a:lnTo>
                    <a:pt x="76" y="131"/>
                  </a:lnTo>
                  <a:lnTo>
                    <a:pt x="72" y="131"/>
                  </a:lnTo>
                  <a:lnTo>
                    <a:pt x="72" y="127"/>
                  </a:lnTo>
                  <a:lnTo>
                    <a:pt x="68" y="127"/>
                  </a:lnTo>
                  <a:lnTo>
                    <a:pt x="68" y="131"/>
                  </a:lnTo>
                  <a:lnTo>
                    <a:pt x="64" y="127"/>
                  </a:lnTo>
                  <a:lnTo>
                    <a:pt x="64" y="123"/>
                  </a:lnTo>
                  <a:lnTo>
                    <a:pt x="64" y="119"/>
                  </a:lnTo>
                  <a:lnTo>
                    <a:pt x="64" y="115"/>
                  </a:lnTo>
                  <a:lnTo>
                    <a:pt x="60" y="115"/>
                  </a:lnTo>
                  <a:lnTo>
                    <a:pt x="60" y="111"/>
                  </a:lnTo>
                  <a:lnTo>
                    <a:pt x="56" y="111"/>
                  </a:lnTo>
                  <a:lnTo>
                    <a:pt x="56" y="107"/>
                  </a:lnTo>
                  <a:lnTo>
                    <a:pt x="52" y="107"/>
                  </a:lnTo>
                  <a:lnTo>
                    <a:pt x="52" y="103"/>
                  </a:lnTo>
                  <a:lnTo>
                    <a:pt x="52" y="99"/>
                  </a:lnTo>
                  <a:lnTo>
                    <a:pt x="48" y="99"/>
                  </a:lnTo>
                  <a:lnTo>
                    <a:pt x="48" y="95"/>
                  </a:lnTo>
                  <a:lnTo>
                    <a:pt x="44" y="95"/>
                  </a:lnTo>
                  <a:lnTo>
                    <a:pt x="44" y="91"/>
                  </a:lnTo>
                  <a:lnTo>
                    <a:pt x="44" y="87"/>
                  </a:lnTo>
                  <a:lnTo>
                    <a:pt x="40" y="87"/>
                  </a:lnTo>
                  <a:lnTo>
                    <a:pt x="36" y="87"/>
                  </a:lnTo>
                  <a:lnTo>
                    <a:pt x="36" y="83"/>
                  </a:lnTo>
                  <a:lnTo>
                    <a:pt x="32" y="79"/>
                  </a:lnTo>
                  <a:lnTo>
                    <a:pt x="28" y="79"/>
                  </a:lnTo>
                  <a:lnTo>
                    <a:pt x="24" y="75"/>
                  </a:lnTo>
                  <a:lnTo>
                    <a:pt x="28" y="75"/>
                  </a:lnTo>
                  <a:lnTo>
                    <a:pt x="28" y="71"/>
                  </a:lnTo>
                  <a:lnTo>
                    <a:pt x="28" y="67"/>
                  </a:lnTo>
                  <a:lnTo>
                    <a:pt x="28" y="71"/>
                  </a:lnTo>
                  <a:lnTo>
                    <a:pt x="28" y="67"/>
                  </a:lnTo>
                  <a:lnTo>
                    <a:pt x="32" y="67"/>
                  </a:lnTo>
                  <a:lnTo>
                    <a:pt x="32" y="71"/>
                  </a:lnTo>
                  <a:lnTo>
                    <a:pt x="36" y="71"/>
                  </a:lnTo>
                  <a:lnTo>
                    <a:pt x="36" y="67"/>
                  </a:lnTo>
                  <a:lnTo>
                    <a:pt x="40" y="67"/>
                  </a:lnTo>
                  <a:lnTo>
                    <a:pt x="40" y="63"/>
                  </a:lnTo>
                  <a:lnTo>
                    <a:pt x="40" y="59"/>
                  </a:lnTo>
                  <a:lnTo>
                    <a:pt x="36" y="55"/>
                  </a:lnTo>
                  <a:lnTo>
                    <a:pt x="32" y="55"/>
                  </a:lnTo>
                  <a:lnTo>
                    <a:pt x="36" y="52"/>
                  </a:lnTo>
                  <a:lnTo>
                    <a:pt x="32" y="48"/>
                  </a:lnTo>
                  <a:lnTo>
                    <a:pt x="28" y="44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4" y="16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72" y="28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4" y="32"/>
                  </a:lnTo>
                  <a:lnTo>
                    <a:pt x="88" y="32"/>
                  </a:lnTo>
                  <a:lnTo>
                    <a:pt x="88" y="36"/>
                  </a:lnTo>
                  <a:lnTo>
                    <a:pt x="84" y="36"/>
                  </a:lnTo>
                  <a:lnTo>
                    <a:pt x="80" y="40"/>
                  </a:lnTo>
                  <a:lnTo>
                    <a:pt x="76" y="40"/>
                  </a:lnTo>
                  <a:lnTo>
                    <a:pt x="80" y="44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72" y="44"/>
                  </a:lnTo>
                  <a:lnTo>
                    <a:pt x="76" y="44"/>
                  </a:lnTo>
                  <a:lnTo>
                    <a:pt x="72" y="44"/>
                  </a:lnTo>
                  <a:lnTo>
                    <a:pt x="72" y="48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4" y="55"/>
                  </a:lnTo>
                  <a:lnTo>
                    <a:pt x="64" y="59"/>
                  </a:lnTo>
                  <a:lnTo>
                    <a:pt x="64" y="55"/>
                  </a:lnTo>
                  <a:lnTo>
                    <a:pt x="64" y="59"/>
                  </a:lnTo>
                  <a:lnTo>
                    <a:pt x="60" y="59"/>
                  </a:lnTo>
                  <a:lnTo>
                    <a:pt x="60" y="63"/>
                  </a:lnTo>
                  <a:lnTo>
                    <a:pt x="56" y="63"/>
                  </a:lnTo>
                  <a:lnTo>
                    <a:pt x="56" y="67"/>
                  </a:lnTo>
                  <a:lnTo>
                    <a:pt x="56" y="71"/>
                  </a:lnTo>
                  <a:lnTo>
                    <a:pt x="56" y="75"/>
                  </a:lnTo>
                  <a:lnTo>
                    <a:pt x="52" y="75"/>
                  </a:lnTo>
                  <a:lnTo>
                    <a:pt x="56" y="75"/>
                  </a:lnTo>
                  <a:lnTo>
                    <a:pt x="52" y="79"/>
                  </a:lnTo>
                  <a:lnTo>
                    <a:pt x="52" y="83"/>
                  </a:lnTo>
                  <a:lnTo>
                    <a:pt x="52" y="87"/>
                  </a:lnTo>
                  <a:lnTo>
                    <a:pt x="56" y="87"/>
                  </a:lnTo>
                  <a:lnTo>
                    <a:pt x="56" y="91"/>
                  </a:lnTo>
                  <a:lnTo>
                    <a:pt x="56" y="95"/>
                  </a:lnTo>
                  <a:lnTo>
                    <a:pt x="60" y="95"/>
                  </a:lnTo>
                  <a:lnTo>
                    <a:pt x="64" y="99"/>
                  </a:lnTo>
                  <a:lnTo>
                    <a:pt x="64" y="103"/>
                  </a:lnTo>
                  <a:lnTo>
                    <a:pt x="64" y="107"/>
                  </a:lnTo>
                  <a:lnTo>
                    <a:pt x="68" y="111"/>
                  </a:lnTo>
                  <a:lnTo>
                    <a:pt x="68" y="115"/>
                  </a:lnTo>
                  <a:lnTo>
                    <a:pt x="72" y="115"/>
                  </a:lnTo>
                  <a:lnTo>
                    <a:pt x="72" y="119"/>
                  </a:lnTo>
                  <a:close/>
                  <a:moveTo>
                    <a:pt x="68" y="239"/>
                  </a:moveTo>
                  <a:lnTo>
                    <a:pt x="72" y="239"/>
                  </a:lnTo>
                  <a:lnTo>
                    <a:pt x="68" y="239"/>
                  </a:lnTo>
                  <a:lnTo>
                    <a:pt x="72" y="239"/>
                  </a:lnTo>
                  <a:lnTo>
                    <a:pt x="72" y="243"/>
                  </a:lnTo>
                  <a:lnTo>
                    <a:pt x="68" y="243"/>
                  </a:lnTo>
                  <a:lnTo>
                    <a:pt x="68" y="239"/>
                  </a:lnTo>
                  <a:close/>
                  <a:moveTo>
                    <a:pt x="80" y="40"/>
                  </a:moveTo>
                  <a:lnTo>
                    <a:pt x="80" y="44"/>
                  </a:lnTo>
                  <a:lnTo>
                    <a:pt x="76" y="44"/>
                  </a:lnTo>
                  <a:lnTo>
                    <a:pt x="80" y="40"/>
                  </a:lnTo>
                  <a:close/>
                  <a:moveTo>
                    <a:pt x="72" y="48"/>
                  </a:moveTo>
                  <a:lnTo>
                    <a:pt x="72" y="52"/>
                  </a:lnTo>
                  <a:lnTo>
                    <a:pt x="72" y="48"/>
                  </a:lnTo>
                  <a:close/>
                  <a:moveTo>
                    <a:pt x="28" y="243"/>
                  </a:moveTo>
                  <a:lnTo>
                    <a:pt x="28" y="247"/>
                  </a:lnTo>
                  <a:lnTo>
                    <a:pt x="24" y="243"/>
                  </a:lnTo>
                  <a:lnTo>
                    <a:pt x="28" y="2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6" name="Freeform 53"/>
            <p:cNvSpPr>
              <a:spLocks noEditPoints="1"/>
            </p:cNvSpPr>
            <p:nvPr>
              <p:custDataLst>
                <p:tags r:id="rId248"/>
              </p:custDataLst>
            </p:nvPr>
          </p:nvSpPr>
          <p:spPr bwMode="gray">
            <a:xfrm>
              <a:off x="5156152" y="3686836"/>
              <a:ext cx="17797" cy="35594"/>
            </a:xfrm>
            <a:custGeom>
              <a:avLst/>
              <a:gdLst/>
              <a:ahLst/>
              <a:cxnLst>
                <a:cxn ang="0">
                  <a:pos x="12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</a:cxnLst>
              <a:rect l="0" t="0" r="r" b="b"/>
              <a:pathLst>
                <a:path w="12" h="24">
                  <a:moveTo>
                    <a:pt x="12" y="8"/>
                  </a:move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close/>
                  <a:moveTo>
                    <a:pt x="8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7" name="Freeform 54"/>
            <p:cNvSpPr>
              <a:spLocks noEditPoints="1"/>
            </p:cNvSpPr>
            <p:nvPr>
              <p:custDataLst>
                <p:tags r:id="rId249"/>
              </p:custDataLst>
            </p:nvPr>
          </p:nvSpPr>
          <p:spPr bwMode="gray">
            <a:xfrm>
              <a:off x="5328188" y="4076882"/>
              <a:ext cx="271400" cy="189832"/>
            </a:xfrm>
            <a:custGeom>
              <a:avLst/>
              <a:gdLst/>
              <a:ahLst/>
              <a:cxnLst>
                <a:cxn ang="0">
                  <a:pos x="68" y="100"/>
                </a:cxn>
                <a:cxn ang="0">
                  <a:pos x="60" y="104"/>
                </a:cxn>
                <a:cxn ang="0">
                  <a:pos x="48" y="104"/>
                </a:cxn>
                <a:cxn ang="0">
                  <a:pos x="44" y="108"/>
                </a:cxn>
                <a:cxn ang="0">
                  <a:pos x="44" y="112"/>
                </a:cxn>
                <a:cxn ang="0">
                  <a:pos x="40" y="116"/>
                </a:cxn>
                <a:cxn ang="0">
                  <a:pos x="36" y="116"/>
                </a:cxn>
                <a:cxn ang="0">
                  <a:pos x="32" y="116"/>
                </a:cxn>
                <a:cxn ang="0">
                  <a:pos x="28" y="116"/>
                </a:cxn>
                <a:cxn ang="0">
                  <a:pos x="20" y="116"/>
                </a:cxn>
                <a:cxn ang="0">
                  <a:pos x="16" y="116"/>
                </a:cxn>
                <a:cxn ang="0">
                  <a:pos x="16" y="108"/>
                </a:cxn>
                <a:cxn ang="0">
                  <a:pos x="12" y="100"/>
                </a:cxn>
                <a:cxn ang="0">
                  <a:pos x="12" y="96"/>
                </a:cxn>
                <a:cxn ang="0">
                  <a:pos x="12" y="88"/>
                </a:cxn>
                <a:cxn ang="0">
                  <a:pos x="8" y="76"/>
                </a:cxn>
                <a:cxn ang="0">
                  <a:pos x="8" y="72"/>
                </a:cxn>
                <a:cxn ang="0">
                  <a:pos x="4" y="68"/>
                </a:cxn>
                <a:cxn ang="0">
                  <a:pos x="4" y="64"/>
                </a:cxn>
                <a:cxn ang="0">
                  <a:pos x="4" y="60"/>
                </a:cxn>
                <a:cxn ang="0">
                  <a:pos x="8" y="52"/>
                </a:cxn>
                <a:cxn ang="0">
                  <a:pos x="8" y="48"/>
                </a:cxn>
                <a:cxn ang="0">
                  <a:pos x="12" y="44"/>
                </a:cxn>
                <a:cxn ang="0">
                  <a:pos x="12" y="28"/>
                </a:cxn>
                <a:cxn ang="0">
                  <a:pos x="16" y="28"/>
                </a:cxn>
                <a:cxn ang="0">
                  <a:pos x="20" y="28"/>
                </a:cxn>
                <a:cxn ang="0">
                  <a:pos x="32" y="28"/>
                </a:cxn>
                <a:cxn ang="0">
                  <a:pos x="64" y="32"/>
                </a:cxn>
                <a:cxn ang="0">
                  <a:pos x="84" y="24"/>
                </a:cxn>
                <a:cxn ang="0">
                  <a:pos x="155" y="28"/>
                </a:cxn>
                <a:cxn ang="0">
                  <a:pos x="159" y="44"/>
                </a:cxn>
                <a:cxn ang="0">
                  <a:pos x="151" y="48"/>
                </a:cxn>
                <a:cxn ang="0">
                  <a:pos x="147" y="52"/>
                </a:cxn>
                <a:cxn ang="0">
                  <a:pos x="143" y="64"/>
                </a:cxn>
                <a:cxn ang="0">
                  <a:pos x="136" y="68"/>
                </a:cxn>
                <a:cxn ang="0">
                  <a:pos x="128" y="72"/>
                </a:cxn>
                <a:cxn ang="0">
                  <a:pos x="120" y="72"/>
                </a:cxn>
                <a:cxn ang="0">
                  <a:pos x="112" y="76"/>
                </a:cxn>
                <a:cxn ang="0">
                  <a:pos x="100" y="84"/>
                </a:cxn>
                <a:cxn ang="0">
                  <a:pos x="96" y="92"/>
                </a:cxn>
                <a:cxn ang="0">
                  <a:pos x="88" y="92"/>
                </a:cxn>
                <a:cxn ang="0">
                  <a:pos x="84" y="92"/>
                </a:cxn>
                <a:cxn ang="0">
                  <a:pos x="84" y="92"/>
                </a:cxn>
                <a:cxn ang="0">
                  <a:pos x="80" y="96"/>
                </a:cxn>
                <a:cxn ang="0">
                  <a:pos x="72" y="100"/>
                </a:cxn>
                <a:cxn ang="0">
                  <a:pos x="147" y="124"/>
                </a:cxn>
                <a:cxn ang="0">
                  <a:pos x="147" y="124"/>
                </a:cxn>
                <a:cxn ang="0">
                  <a:pos x="147" y="124"/>
                </a:cxn>
                <a:cxn ang="0">
                  <a:pos x="151" y="128"/>
                </a:cxn>
                <a:cxn ang="0">
                  <a:pos x="4" y="64"/>
                </a:cxn>
                <a:cxn ang="0">
                  <a:pos x="4" y="68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179" y="120"/>
                </a:cxn>
                <a:cxn ang="0">
                  <a:pos x="171" y="124"/>
                </a:cxn>
                <a:cxn ang="0">
                  <a:pos x="163" y="120"/>
                </a:cxn>
                <a:cxn ang="0">
                  <a:pos x="167" y="116"/>
                </a:cxn>
                <a:cxn ang="0">
                  <a:pos x="175" y="116"/>
                </a:cxn>
              </a:cxnLst>
              <a:rect l="0" t="0" r="r" b="b"/>
              <a:pathLst>
                <a:path w="183" h="128">
                  <a:moveTo>
                    <a:pt x="72" y="100"/>
                  </a:moveTo>
                  <a:lnTo>
                    <a:pt x="72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4" y="108"/>
                  </a:lnTo>
                  <a:lnTo>
                    <a:pt x="44" y="108"/>
                  </a:lnTo>
                  <a:lnTo>
                    <a:pt x="44" y="108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6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28" y="116"/>
                  </a:lnTo>
                  <a:lnTo>
                    <a:pt x="28" y="116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16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80" y="28"/>
                  </a:lnTo>
                  <a:lnTo>
                    <a:pt x="84" y="24"/>
                  </a:lnTo>
                  <a:lnTo>
                    <a:pt x="88" y="16"/>
                  </a:lnTo>
                  <a:lnTo>
                    <a:pt x="100" y="4"/>
                  </a:lnTo>
                  <a:lnTo>
                    <a:pt x="128" y="4"/>
                  </a:lnTo>
                  <a:lnTo>
                    <a:pt x="132" y="0"/>
                  </a:lnTo>
                  <a:lnTo>
                    <a:pt x="143" y="0"/>
                  </a:lnTo>
                  <a:lnTo>
                    <a:pt x="155" y="28"/>
                  </a:lnTo>
                  <a:lnTo>
                    <a:pt x="155" y="32"/>
                  </a:lnTo>
                  <a:lnTo>
                    <a:pt x="163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47" y="48"/>
                  </a:lnTo>
                  <a:lnTo>
                    <a:pt x="147" y="52"/>
                  </a:lnTo>
                  <a:lnTo>
                    <a:pt x="147" y="56"/>
                  </a:lnTo>
                  <a:lnTo>
                    <a:pt x="147" y="56"/>
                  </a:lnTo>
                  <a:lnTo>
                    <a:pt x="147" y="60"/>
                  </a:lnTo>
                  <a:lnTo>
                    <a:pt x="147" y="60"/>
                  </a:lnTo>
                  <a:lnTo>
                    <a:pt x="147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39" y="64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36" y="68"/>
                  </a:lnTo>
                  <a:lnTo>
                    <a:pt x="136" y="68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2" y="76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4" y="80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8"/>
                  </a:lnTo>
                  <a:lnTo>
                    <a:pt x="96" y="88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0" y="92"/>
                  </a:lnTo>
                  <a:lnTo>
                    <a:pt x="80" y="92"/>
                  </a:lnTo>
                  <a:lnTo>
                    <a:pt x="80" y="92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76" y="96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2" y="100"/>
                  </a:lnTo>
                  <a:lnTo>
                    <a:pt x="72" y="100"/>
                  </a:lnTo>
                  <a:close/>
                  <a:moveTo>
                    <a:pt x="151" y="128"/>
                  </a:moveTo>
                  <a:lnTo>
                    <a:pt x="147" y="128"/>
                  </a:lnTo>
                  <a:lnTo>
                    <a:pt x="147" y="128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51" y="124"/>
                  </a:lnTo>
                  <a:lnTo>
                    <a:pt x="151" y="124"/>
                  </a:lnTo>
                  <a:lnTo>
                    <a:pt x="151" y="128"/>
                  </a:lnTo>
                  <a:lnTo>
                    <a:pt x="151" y="128"/>
                  </a:lnTo>
                  <a:lnTo>
                    <a:pt x="151" y="128"/>
                  </a:lnTo>
                  <a:close/>
                  <a:moveTo>
                    <a:pt x="4" y="68"/>
                  </a:moveTo>
                  <a:lnTo>
                    <a:pt x="4" y="68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close/>
                  <a:moveTo>
                    <a:pt x="4" y="92"/>
                  </a:move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close/>
                  <a:moveTo>
                    <a:pt x="179" y="116"/>
                  </a:moveTo>
                  <a:lnTo>
                    <a:pt x="179" y="116"/>
                  </a:lnTo>
                  <a:lnTo>
                    <a:pt x="183" y="120"/>
                  </a:lnTo>
                  <a:lnTo>
                    <a:pt x="183" y="120"/>
                  </a:lnTo>
                  <a:lnTo>
                    <a:pt x="179" y="120"/>
                  </a:lnTo>
                  <a:lnTo>
                    <a:pt x="179" y="120"/>
                  </a:lnTo>
                  <a:lnTo>
                    <a:pt x="179" y="124"/>
                  </a:lnTo>
                  <a:lnTo>
                    <a:pt x="175" y="124"/>
                  </a:lnTo>
                  <a:lnTo>
                    <a:pt x="175" y="124"/>
                  </a:lnTo>
                  <a:lnTo>
                    <a:pt x="175" y="124"/>
                  </a:lnTo>
                  <a:lnTo>
                    <a:pt x="171" y="124"/>
                  </a:lnTo>
                  <a:lnTo>
                    <a:pt x="171" y="124"/>
                  </a:lnTo>
                  <a:lnTo>
                    <a:pt x="171" y="124"/>
                  </a:lnTo>
                  <a:lnTo>
                    <a:pt x="167" y="124"/>
                  </a:lnTo>
                  <a:lnTo>
                    <a:pt x="167" y="124"/>
                  </a:lnTo>
                  <a:lnTo>
                    <a:pt x="167" y="120"/>
                  </a:lnTo>
                  <a:lnTo>
                    <a:pt x="163" y="120"/>
                  </a:lnTo>
                  <a:lnTo>
                    <a:pt x="167" y="120"/>
                  </a:lnTo>
                  <a:lnTo>
                    <a:pt x="167" y="120"/>
                  </a:lnTo>
                  <a:lnTo>
                    <a:pt x="167" y="120"/>
                  </a:lnTo>
                  <a:lnTo>
                    <a:pt x="167" y="116"/>
                  </a:lnTo>
                  <a:lnTo>
                    <a:pt x="167" y="116"/>
                  </a:lnTo>
                  <a:lnTo>
                    <a:pt x="167" y="116"/>
                  </a:lnTo>
                  <a:lnTo>
                    <a:pt x="171" y="116"/>
                  </a:lnTo>
                  <a:lnTo>
                    <a:pt x="171" y="116"/>
                  </a:lnTo>
                  <a:lnTo>
                    <a:pt x="171" y="116"/>
                  </a:lnTo>
                  <a:lnTo>
                    <a:pt x="171" y="120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9" y="116"/>
                  </a:lnTo>
                  <a:lnTo>
                    <a:pt x="179" y="1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8" name="Freeform 55"/>
            <p:cNvSpPr>
              <a:spLocks/>
            </p:cNvSpPr>
            <p:nvPr>
              <p:custDataLst>
                <p:tags r:id="rId250"/>
              </p:custDataLst>
            </p:nvPr>
          </p:nvSpPr>
          <p:spPr bwMode="gray">
            <a:xfrm>
              <a:off x="2802530" y="4248918"/>
              <a:ext cx="5932" cy="5932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</a:cxnLst>
              <a:rect l="0" t="0" r="r" b="b"/>
              <a:pathLst>
                <a:path w="4" h="4">
                  <a:moveTo>
                    <a:pt x="4" y="4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9" name="Freeform 56"/>
            <p:cNvSpPr>
              <a:spLocks noEditPoints="1"/>
            </p:cNvSpPr>
            <p:nvPr>
              <p:custDataLst>
                <p:tags r:id="rId251"/>
              </p:custDataLst>
            </p:nvPr>
          </p:nvSpPr>
          <p:spPr bwMode="gray">
            <a:xfrm>
              <a:off x="2370958" y="4088747"/>
              <a:ext cx="34110" cy="71187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15" y="4"/>
                </a:cxn>
                <a:cxn ang="0">
                  <a:pos x="19" y="4"/>
                </a:cxn>
                <a:cxn ang="0">
                  <a:pos x="19" y="4"/>
                </a:cxn>
                <a:cxn ang="0">
                  <a:pos x="19" y="8"/>
                </a:cxn>
                <a:cxn ang="0">
                  <a:pos x="15" y="12"/>
                </a:cxn>
                <a:cxn ang="0">
                  <a:pos x="15" y="12"/>
                </a:cxn>
                <a:cxn ang="0">
                  <a:pos x="15" y="12"/>
                </a:cxn>
                <a:cxn ang="0">
                  <a:pos x="15" y="16"/>
                </a:cxn>
                <a:cxn ang="0">
                  <a:pos x="15" y="16"/>
                </a:cxn>
                <a:cxn ang="0">
                  <a:pos x="15" y="16"/>
                </a:cxn>
                <a:cxn ang="0">
                  <a:pos x="15" y="20"/>
                </a:cxn>
                <a:cxn ang="0">
                  <a:pos x="15" y="24"/>
                </a:cxn>
                <a:cxn ang="0">
                  <a:pos x="15" y="24"/>
                </a:cxn>
                <a:cxn ang="0">
                  <a:pos x="15" y="24"/>
                </a:cxn>
                <a:cxn ang="0">
                  <a:pos x="15" y="28"/>
                </a:cxn>
                <a:cxn ang="0">
                  <a:pos x="15" y="28"/>
                </a:cxn>
                <a:cxn ang="0">
                  <a:pos x="15" y="28"/>
                </a:cxn>
                <a:cxn ang="0">
                  <a:pos x="15" y="32"/>
                </a:cxn>
                <a:cxn ang="0">
                  <a:pos x="15" y="36"/>
                </a:cxn>
                <a:cxn ang="0">
                  <a:pos x="15" y="36"/>
                </a:cxn>
                <a:cxn ang="0">
                  <a:pos x="15" y="36"/>
                </a:cxn>
                <a:cxn ang="0">
                  <a:pos x="12" y="40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8" y="48"/>
                </a:cxn>
                <a:cxn ang="0">
                  <a:pos x="8" y="48"/>
                </a:cxn>
                <a:cxn ang="0">
                  <a:pos x="4" y="48"/>
                </a:cxn>
                <a:cxn ang="0">
                  <a:pos x="0" y="48"/>
                </a:cxn>
                <a:cxn ang="0">
                  <a:pos x="0" y="44"/>
                </a:cxn>
                <a:cxn ang="0">
                  <a:pos x="4" y="28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5" y="0"/>
                </a:cxn>
                <a:cxn ang="0">
                  <a:pos x="15" y="0"/>
                </a:cxn>
                <a:cxn ang="0">
                  <a:pos x="19" y="8"/>
                </a:cxn>
                <a:cxn ang="0">
                  <a:pos x="19" y="12"/>
                </a:cxn>
                <a:cxn ang="0">
                  <a:pos x="19" y="12"/>
                </a:cxn>
                <a:cxn ang="0">
                  <a:pos x="19" y="12"/>
                </a:cxn>
                <a:cxn ang="0">
                  <a:pos x="19" y="12"/>
                </a:cxn>
                <a:cxn ang="0">
                  <a:pos x="23" y="8"/>
                </a:cxn>
                <a:cxn ang="0">
                  <a:pos x="23" y="8"/>
                </a:cxn>
                <a:cxn ang="0">
                  <a:pos x="19" y="8"/>
                </a:cxn>
                <a:cxn ang="0">
                  <a:pos x="19" y="24"/>
                </a:cxn>
                <a:cxn ang="0">
                  <a:pos x="19" y="24"/>
                </a:cxn>
                <a:cxn ang="0">
                  <a:pos x="23" y="16"/>
                </a:cxn>
                <a:cxn ang="0">
                  <a:pos x="23" y="20"/>
                </a:cxn>
                <a:cxn ang="0">
                  <a:pos x="23" y="20"/>
                </a:cxn>
                <a:cxn ang="0">
                  <a:pos x="23" y="20"/>
                </a:cxn>
                <a:cxn ang="0">
                  <a:pos x="23" y="20"/>
                </a:cxn>
                <a:cxn ang="0">
                  <a:pos x="19" y="20"/>
                </a:cxn>
                <a:cxn ang="0">
                  <a:pos x="19" y="24"/>
                </a:cxn>
              </a:cxnLst>
              <a:rect l="0" t="0" r="r" b="b"/>
              <a:pathLst>
                <a:path w="23" h="48">
                  <a:moveTo>
                    <a:pt x="15" y="0"/>
                  </a:moveTo>
                  <a:lnTo>
                    <a:pt x="15" y="0"/>
                  </a:lnTo>
                  <a:lnTo>
                    <a:pt x="15" y="0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4" y="40"/>
                  </a:lnTo>
                  <a:lnTo>
                    <a:pt x="4" y="28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close/>
                  <a:moveTo>
                    <a:pt x="19" y="8"/>
                  </a:moveTo>
                  <a:lnTo>
                    <a:pt x="19" y="8"/>
                  </a:lnTo>
                  <a:lnTo>
                    <a:pt x="19" y="8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19" y="8"/>
                  </a:lnTo>
                  <a:lnTo>
                    <a:pt x="19" y="8"/>
                  </a:lnTo>
                  <a:close/>
                  <a:moveTo>
                    <a:pt x="19" y="24"/>
                  </a:move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0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9" y="24"/>
                  </a:lnTo>
                  <a:lnTo>
                    <a:pt x="19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0" name="Freeform 57"/>
            <p:cNvSpPr>
              <a:spLocks/>
            </p:cNvSpPr>
            <p:nvPr>
              <p:custDataLst>
                <p:tags r:id="rId252"/>
              </p:custDataLst>
            </p:nvPr>
          </p:nvSpPr>
          <p:spPr bwMode="gray">
            <a:xfrm>
              <a:off x="2919692" y="3692768"/>
              <a:ext cx="5932" cy="5932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1" name="Freeform 58"/>
            <p:cNvSpPr>
              <a:spLocks noEditPoints="1"/>
            </p:cNvSpPr>
            <p:nvPr>
              <p:custDataLst>
                <p:tags r:id="rId253"/>
              </p:custDataLst>
            </p:nvPr>
          </p:nvSpPr>
          <p:spPr bwMode="gray">
            <a:xfrm>
              <a:off x="1211202" y="1840422"/>
              <a:ext cx="1981373" cy="1573530"/>
            </a:xfrm>
            <a:custGeom>
              <a:avLst/>
              <a:gdLst/>
              <a:ahLst/>
              <a:cxnLst>
                <a:cxn ang="0">
                  <a:pos x="734" y="595"/>
                </a:cxn>
                <a:cxn ang="0">
                  <a:pos x="929" y="858"/>
                </a:cxn>
                <a:cxn ang="0">
                  <a:pos x="1041" y="610"/>
                </a:cxn>
                <a:cxn ang="0">
                  <a:pos x="1164" y="650"/>
                </a:cxn>
                <a:cxn ang="0">
                  <a:pos x="1260" y="774"/>
                </a:cxn>
                <a:cxn ang="0">
                  <a:pos x="1109" y="898"/>
                </a:cxn>
                <a:cxn ang="0">
                  <a:pos x="1156" y="1010"/>
                </a:cxn>
                <a:cxn ang="0">
                  <a:pos x="877" y="1045"/>
                </a:cxn>
                <a:cxn ang="0">
                  <a:pos x="267" y="890"/>
                </a:cxn>
                <a:cxn ang="0">
                  <a:pos x="187" y="790"/>
                </a:cxn>
                <a:cxn ang="0">
                  <a:pos x="44" y="415"/>
                </a:cxn>
                <a:cxn ang="0">
                  <a:pos x="223" y="403"/>
                </a:cxn>
                <a:cxn ang="0">
                  <a:pos x="506" y="471"/>
                </a:cxn>
                <a:cxn ang="0">
                  <a:pos x="678" y="463"/>
                </a:cxn>
                <a:cxn ang="0">
                  <a:pos x="738" y="387"/>
                </a:cxn>
                <a:cxn ang="0">
                  <a:pos x="905" y="427"/>
                </a:cxn>
                <a:cxn ang="0">
                  <a:pos x="163" y="798"/>
                </a:cxn>
                <a:cxn ang="0">
                  <a:pos x="554" y="215"/>
                </a:cxn>
                <a:cxn ang="0">
                  <a:pos x="478" y="447"/>
                </a:cxn>
                <a:cxn ang="0">
                  <a:pos x="215" y="870"/>
                </a:cxn>
                <a:cxn ang="0">
                  <a:pos x="718" y="120"/>
                </a:cxn>
                <a:cxn ang="0">
                  <a:pos x="794" y="88"/>
                </a:cxn>
                <a:cxn ang="0">
                  <a:pos x="606" y="156"/>
                </a:cxn>
                <a:cxn ang="0">
                  <a:pos x="439" y="183"/>
                </a:cxn>
                <a:cxn ang="0">
                  <a:pos x="307" y="199"/>
                </a:cxn>
                <a:cxn ang="0">
                  <a:pos x="821" y="259"/>
                </a:cxn>
                <a:cxn ang="0">
                  <a:pos x="762" y="219"/>
                </a:cxn>
                <a:cxn ang="0">
                  <a:pos x="387" y="223"/>
                </a:cxn>
                <a:cxn ang="0">
                  <a:pos x="419" y="267"/>
                </a:cxn>
                <a:cxn ang="0">
                  <a:pos x="602" y="211"/>
                </a:cxn>
                <a:cxn ang="0">
                  <a:pos x="702" y="227"/>
                </a:cxn>
                <a:cxn ang="0">
                  <a:pos x="331" y="279"/>
                </a:cxn>
                <a:cxn ang="0">
                  <a:pos x="654" y="307"/>
                </a:cxn>
                <a:cxn ang="0">
                  <a:pos x="1045" y="555"/>
                </a:cxn>
                <a:cxn ang="0">
                  <a:pos x="1005" y="415"/>
                </a:cxn>
                <a:cxn ang="0">
                  <a:pos x="782" y="363"/>
                </a:cxn>
                <a:cxn ang="0">
                  <a:pos x="857" y="311"/>
                </a:cxn>
                <a:cxn ang="0">
                  <a:pos x="993" y="319"/>
                </a:cxn>
                <a:cxn ang="0">
                  <a:pos x="1061" y="375"/>
                </a:cxn>
                <a:cxn ang="0">
                  <a:pos x="1113" y="431"/>
                </a:cxn>
                <a:cxn ang="0">
                  <a:pos x="1200" y="487"/>
                </a:cxn>
                <a:cxn ang="0">
                  <a:pos x="1105" y="511"/>
                </a:cxn>
                <a:cxn ang="0">
                  <a:pos x="945" y="311"/>
                </a:cxn>
                <a:cxn ang="0">
                  <a:pos x="391" y="299"/>
                </a:cxn>
                <a:cxn ang="0">
                  <a:pos x="602" y="387"/>
                </a:cxn>
                <a:cxn ang="0">
                  <a:pos x="423" y="375"/>
                </a:cxn>
                <a:cxn ang="0">
                  <a:pos x="929" y="395"/>
                </a:cxn>
                <a:cxn ang="0">
                  <a:pos x="941" y="431"/>
                </a:cxn>
                <a:cxn ang="0">
                  <a:pos x="841" y="511"/>
                </a:cxn>
                <a:cxn ang="0">
                  <a:pos x="881" y="591"/>
                </a:cxn>
                <a:cxn ang="0">
                  <a:pos x="933" y="746"/>
                </a:cxn>
                <a:cxn ang="0">
                  <a:pos x="191" y="818"/>
                </a:cxn>
                <a:cxn ang="0">
                  <a:pos x="1296" y="902"/>
                </a:cxn>
                <a:cxn ang="0">
                  <a:pos x="263" y="906"/>
                </a:cxn>
                <a:cxn ang="0">
                  <a:pos x="1192" y="962"/>
                </a:cxn>
                <a:cxn ang="0">
                  <a:pos x="845" y="60"/>
                </a:cxn>
                <a:cxn ang="0">
                  <a:pos x="885" y="32"/>
                </a:cxn>
                <a:cxn ang="0">
                  <a:pos x="1077" y="4"/>
                </a:cxn>
                <a:cxn ang="0">
                  <a:pos x="1141" y="52"/>
                </a:cxn>
                <a:cxn ang="0">
                  <a:pos x="957" y="124"/>
                </a:cxn>
                <a:cxn ang="0">
                  <a:pos x="917" y="215"/>
                </a:cxn>
                <a:cxn ang="0">
                  <a:pos x="861" y="175"/>
                </a:cxn>
                <a:cxn ang="0">
                  <a:pos x="837" y="92"/>
                </a:cxn>
              </a:cxnLst>
              <a:rect l="0" t="0" r="r" b="b"/>
              <a:pathLst>
                <a:path w="1336" h="1061">
                  <a:moveTo>
                    <a:pt x="642" y="271"/>
                  </a:moveTo>
                  <a:lnTo>
                    <a:pt x="638" y="271"/>
                  </a:lnTo>
                  <a:lnTo>
                    <a:pt x="642" y="267"/>
                  </a:lnTo>
                  <a:lnTo>
                    <a:pt x="642" y="271"/>
                  </a:lnTo>
                  <a:close/>
                  <a:moveTo>
                    <a:pt x="654" y="275"/>
                  </a:moveTo>
                  <a:lnTo>
                    <a:pt x="654" y="279"/>
                  </a:lnTo>
                  <a:lnTo>
                    <a:pt x="650" y="283"/>
                  </a:lnTo>
                  <a:lnTo>
                    <a:pt x="646" y="283"/>
                  </a:lnTo>
                  <a:lnTo>
                    <a:pt x="642" y="283"/>
                  </a:lnTo>
                  <a:lnTo>
                    <a:pt x="638" y="283"/>
                  </a:lnTo>
                  <a:lnTo>
                    <a:pt x="634" y="283"/>
                  </a:lnTo>
                  <a:lnTo>
                    <a:pt x="630" y="283"/>
                  </a:lnTo>
                  <a:lnTo>
                    <a:pt x="630" y="279"/>
                  </a:lnTo>
                  <a:lnTo>
                    <a:pt x="634" y="279"/>
                  </a:lnTo>
                  <a:lnTo>
                    <a:pt x="638" y="279"/>
                  </a:lnTo>
                  <a:lnTo>
                    <a:pt x="642" y="279"/>
                  </a:lnTo>
                  <a:lnTo>
                    <a:pt x="646" y="279"/>
                  </a:lnTo>
                  <a:lnTo>
                    <a:pt x="646" y="275"/>
                  </a:lnTo>
                  <a:lnTo>
                    <a:pt x="650" y="275"/>
                  </a:lnTo>
                  <a:lnTo>
                    <a:pt x="654" y="275"/>
                  </a:lnTo>
                  <a:close/>
                  <a:moveTo>
                    <a:pt x="817" y="511"/>
                  </a:moveTo>
                  <a:lnTo>
                    <a:pt x="813" y="511"/>
                  </a:lnTo>
                  <a:lnTo>
                    <a:pt x="813" y="515"/>
                  </a:lnTo>
                  <a:lnTo>
                    <a:pt x="809" y="515"/>
                  </a:lnTo>
                  <a:lnTo>
                    <a:pt x="805" y="515"/>
                  </a:lnTo>
                  <a:lnTo>
                    <a:pt x="801" y="515"/>
                  </a:lnTo>
                  <a:lnTo>
                    <a:pt x="797" y="511"/>
                  </a:lnTo>
                  <a:lnTo>
                    <a:pt x="794" y="507"/>
                  </a:lnTo>
                  <a:lnTo>
                    <a:pt x="790" y="507"/>
                  </a:lnTo>
                  <a:lnTo>
                    <a:pt x="794" y="507"/>
                  </a:lnTo>
                  <a:lnTo>
                    <a:pt x="790" y="507"/>
                  </a:lnTo>
                  <a:lnTo>
                    <a:pt x="786" y="507"/>
                  </a:lnTo>
                  <a:lnTo>
                    <a:pt x="786" y="503"/>
                  </a:lnTo>
                  <a:lnTo>
                    <a:pt x="782" y="503"/>
                  </a:lnTo>
                  <a:lnTo>
                    <a:pt x="778" y="499"/>
                  </a:lnTo>
                  <a:lnTo>
                    <a:pt x="774" y="499"/>
                  </a:lnTo>
                  <a:lnTo>
                    <a:pt x="770" y="499"/>
                  </a:lnTo>
                  <a:lnTo>
                    <a:pt x="774" y="499"/>
                  </a:lnTo>
                  <a:lnTo>
                    <a:pt x="774" y="503"/>
                  </a:lnTo>
                  <a:lnTo>
                    <a:pt x="770" y="499"/>
                  </a:lnTo>
                  <a:lnTo>
                    <a:pt x="770" y="503"/>
                  </a:lnTo>
                  <a:lnTo>
                    <a:pt x="766" y="503"/>
                  </a:lnTo>
                  <a:lnTo>
                    <a:pt x="766" y="499"/>
                  </a:lnTo>
                  <a:lnTo>
                    <a:pt x="770" y="499"/>
                  </a:lnTo>
                  <a:lnTo>
                    <a:pt x="766" y="499"/>
                  </a:lnTo>
                  <a:lnTo>
                    <a:pt x="762" y="499"/>
                  </a:lnTo>
                  <a:lnTo>
                    <a:pt x="758" y="499"/>
                  </a:lnTo>
                  <a:lnTo>
                    <a:pt x="754" y="499"/>
                  </a:lnTo>
                  <a:lnTo>
                    <a:pt x="750" y="499"/>
                  </a:lnTo>
                  <a:lnTo>
                    <a:pt x="754" y="503"/>
                  </a:lnTo>
                  <a:lnTo>
                    <a:pt x="758" y="503"/>
                  </a:lnTo>
                  <a:lnTo>
                    <a:pt x="754" y="503"/>
                  </a:lnTo>
                  <a:lnTo>
                    <a:pt x="754" y="499"/>
                  </a:lnTo>
                  <a:lnTo>
                    <a:pt x="758" y="499"/>
                  </a:lnTo>
                  <a:lnTo>
                    <a:pt x="762" y="499"/>
                  </a:lnTo>
                  <a:lnTo>
                    <a:pt x="770" y="503"/>
                  </a:lnTo>
                  <a:lnTo>
                    <a:pt x="774" y="503"/>
                  </a:lnTo>
                  <a:lnTo>
                    <a:pt x="778" y="503"/>
                  </a:lnTo>
                  <a:lnTo>
                    <a:pt x="778" y="507"/>
                  </a:lnTo>
                  <a:lnTo>
                    <a:pt x="782" y="511"/>
                  </a:lnTo>
                  <a:lnTo>
                    <a:pt x="786" y="515"/>
                  </a:lnTo>
                  <a:lnTo>
                    <a:pt x="790" y="515"/>
                  </a:lnTo>
                  <a:lnTo>
                    <a:pt x="794" y="515"/>
                  </a:lnTo>
                  <a:lnTo>
                    <a:pt x="797" y="515"/>
                  </a:lnTo>
                  <a:lnTo>
                    <a:pt x="801" y="515"/>
                  </a:lnTo>
                  <a:lnTo>
                    <a:pt x="805" y="515"/>
                  </a:lnTo>
                  <a:lnTo>
                    <a:pt x="809" y="515"/>
                  </a:lnTo>
                  <a:lnTo>
                    <a:pt x="813" y="515"/>
                  </a:lnTo>
                  <a:lnTo>
                    <a:pt x="817" y="519"/>
                  </a:lnTo>
                  <a:lnTo>
                    <a:pt x="817" y="523"/>
                  </a:lnTo>
                  <a:lnTo>
                    <a:pt x="813" y="523"/>
                  </a:lnTo>
                  <a:lnTo>
                    <a:pt x="809" y="531"/>
                  </a:lnTo>
                  <a:lnTo>
                    <a:pt x="809" y="535"/>
                  </a:lnTo>
                  <a:lnTo>
                    <a:pt x="805" y="535"/>
                  </a:lnTo>
                  <a:lnTo>
                    <a:pt x="805" y="539"/>
                  </a:lnTo>
                  <a:lnTo>
                    <a:pt x="801" y="543"/>
                  </a:lnTo>
                  <a:lnTo>
                    <a:pt x="801" y="547"/>
                  </a:lnTo>
                  <a:lnTo>
                    <a:pt x="797" y="547"/>
                  </a:lnTo>
                  <a:lnTo>
                    <a:pt x="794" y="547"/>
                  </a:lnTo>
                  <a:lnTo>
                    <a:pt x="790" y="551"/>
                  </a:lnTo>
                  <a:lnTo>
                    <a:pt x="786" y="551"/>
                  </a:lnTo>
                  <a:lnTo>
                    <a:pt x="786" y="547"/>
                  </a:lnTo>
                  <a:lnTo>
                    <a:pt x="782" y="547"/>
                  </a:lnTo>
                  <a:lnTo>
                    <a:pt x="782" y="543"/>
                  </a:lnTo>
                  <a:lnTo>
                    <a:pt x="782" y="547"/>
                  </a:lnTo>
                  <a:lnTo>
                    <a:pt x="786" y="547"/>
                  </a:lnTo>
                  <a:lnTo>
                    <a:pt x="786" y="551"/>
                  </a:lnTo>
                  <a:lnTo>
                    <a:pt x="782" y="551"/>
                  </a:lnTo>
                  <a:lnTo>
                    <a:pt x="782" y="547"/>
                  </a:lnTo>
                  <a:lnTo>
                    <a:pt x="778" y="547"/>
                  </a:lnTo>
                  <a:lnTo>
                    <a:pt x="778" y="551"/>
                  </a:lnTo>
                  <a:lnTo>
                    <a:pt x="778" y="547"/>
                  </a:lnTo>
                  <a:lnTo>
                    <a:pt x="774" y="547"/>
                  </a:lnTo>
                  <a:lnTo>
                    <a:pt x="774" y="543"/>
                  </a:lnTo>
                  <a:lnTo>
                    <a:pt x="774" y="547"/>
                  </a:lnTo>
                  <a:lnTo>
                    <a:pt x="774" y="543"/>
                  </a:lnTo>
                  <a:lnTo>
                    <a:pt x="770" y="547"/>
                  </a:lnTo>
                  <a:lnTo>
                    <a:pt x="774" y="547"/>
                  </a:lnTo>
                  <a:lnTo>
                    <a:pt x="774" y="551"/>
                  </a:lnTo>
                  <a:lnTo>
                    <a:pt x="770" y="551"/>
                  </a:lnTo>
                  <a:lnTo>
                    <a:pt x="774" y="551"/>
                  </a:lnTo>
                  <a:lnTo>
                    <a:pt x="770" y="551"/>
                  </a:lnTo>
                  <a:lnTo>
                    <a:pt x="770" y="547"/>
                  </a:lnTo>
                  <a:lnTo>
                    <a:pt x="766" y="547"/>
                  </a:lnTo>
                  <a:lnTo>
                    <a:pt x="770" y="551"/>
                  </a:lnTo>
                  <a:lnTo>
                    <a:pt x="774" y="555"/>
                  </a:lnTo>
                  <a:lnTo>
                    <a:pt x="770" y="555"/>
                  </a:lnTo>
                  <a:lnTo>
                    <a:pt x="770" y="559"/>
                  </a:lnTo>
                  <a:lnTo>
                    <a:pt x="766" y="559"/>
                  </a:lnTo>
                  <a:lnTo>
                    <a:pt x="762" y="555"/>
                  </a:lnTo>
                  <a:lnTo>
                    <a:pt x="762" y="559"/>
                  </a:lnTo>
                  <a:lnTo>
                    <a:pt x="758" y="559"/>
                  </a:lnTo>
                  <a:lnTo>
                    <a:pt x="754" y="559"/>
                  </a:lnTo>
                  <a:lnTo>
                    <a:pt x="750" y="559"/>
                  </a:lnTo>
                  <a:lnTo>
                    <a:pt x="750" y="555"/>
                  </a:lnTo>
                  <a:lnTo>
                    <a:pt x="746" y="555"/>
                  </a:lnTo>
                  <a:lnTo>
                    <a:pt x="742" y="555"/>
                  </a:lnTo>
                  <a:lnTo>
                    <a:pt x="738" y="555"/>
                  </a:lnTo>
                  <a:lnTo>
                    <a:pt x="734" y="555"/>
                  </a:lnTo>
                  <a:lnTo>
                    <a:pt x="730" y="555"/>
                  </a:lnTo>
                  <a:lnTo>
                    <a:pt x="730" y="551"/>
                  </a:lnTo>
                  <a:lnTo>
                    <a:pt x="726" y="551"/>
                  </a:lnTo>
                  <a:lnTo>
                    <a:pt x="722" y="551"/>
                  </a:lnTo>
                  <a:lnTo>
                    <a:pt x="718" y="547"/>
                  </a:lnTo>
                  <a:lnTo>
                    <a:pt x="714" y="543"/>
                  </a:lnTo>
                  <a:lnTo>
                    <a:pt x="718" y="547"/>
                  </a:lnTo>
                  <a:lnTo>
                    <a:pt x="718" y="551"/>
                  </a:lnTo>
                  <a:lnTo>
                    <a:pt x="714" y="551"/>
                  </a:lnTo>
                  <a:lnTo>
                    <a:pt x="718" y="551"/>
                  </a:lnTo>
                  <a:lnTo>
                    <a:pt x="718" y="555"/>
                  </a:lnTo>
                  <a:lnTo>
                    <a:pt x="722" y="555"/>
                  </a:lnTo>
                  <a:lnTo>
                    <a:pt x="722" y="551"/>
                  </a:lnTo>
                  <a:lnTo>
                    <a:pt x="718" y="551"/>
                  </a:lnTo>
                  <a:lnTo>
                    <a:pt x="722" y="551"/>
                  </a:lnTo>
                  <a:lnTo>
                    <a:pt x="726" y="551"/>
                  </a:lnTo>
                  <a:lnTo>
                    <a:pt x="730" y="555"/>
                  </a:lnTo>
                  <a:lnTo>
                    <a:pt x="734" y="555"/>
                  </a:lnTo>
                  <a:lnTo>
                    <a:pt x="738" y="555"/>
                  </a:lnTo>
                  <a:lnTo>
                    <a:pt x="738" y="559"/>
                  </a:lnTo>
                  <a:lnTo>
                    <a:pt x="734" y="559"/>
                  </a:lnTo>
                  <a:lnTo>
                    <a:pt x="738" y="559"/>
                  </a:lnTo>
                  <a:lnTo>
                    <a:pt x="742" y="559"/>
                  </a:lnTo>
                  <a:lnTo>
                    <a:pt x="746" y="555"/>
                  </a:lnTo>
                  <a:lnTo>
                    <a:pt x="746" y="559"/>
                  </a:lnTo>
                  <a:lnTo>
                    <a:pt x="750" y="563"/>
                  </a:lnTo>
                  <a:lnTo>
                    <a:pt x="754" y="563"/>
                  </a:lnTo>
                  <a:lnTo>
                    <a:pt x="758" y="563"/>
                  </a:lnTo>
                  <a:lnTo>
                    <a:pt x="762" y="567"/>
                  </a:lnTo>
                  <a:lnTo>
                    <a:pt x="762" y="571"/>
                  </a:lnTo>
                  <a:lnTo>
                    <a:pt x="762" y="575"/>
                  </a:lnTo>
                  <a:lnTo>
                    <a:pt x="758" y="575"/>
                  </a:lnTo>
                  <a:lnTo>
                    <a:pt x="754" y="575"/>
                  </a:lnTo>
                  <a:lnTo>
                    <a:pt x="754" y="579"/>
                  </a:lnTo>
                  <a:lnTo>
                    <a:pt x="750" y="579"/>
                  </a:lnTo>
                  <a:lnTo>
                    <a:pt x="746" y="579"/>
                  </a:lnTo>
                  <a:lnTo>
                    <a:pt x="742" y="579"/>
                  </a:lnTo>
                  <a:lnTo>
                    <a:pt x="738" y="579"/>
                  </a:lnTo>
                  <a:lnTo>
                    <a:pt x="734" y="579"/>
                  </a:lnTo>
                  <a:lnTo>
                    <a:pt x="738" y="583"/>
                  </a:lnTo>
                  <a:lnTo>
                    <a:pt x="742" y="583"/>
                  </a:lnTo>
                  <a:lnTo>
                    <a:pt x="742" y="587"/>
                  </a:lnTo>
                  <a:lnTo>
                    <a:pt x="738" y="583"/>
                  </a:lnTo>
                  <a:lnTo>
                    <a:pt x="738" y="587"/>
                  </a:lnTo>
                  <a:lnTo>
                    <a:pt x="734" y="587"/>
                  </a:lnTo>
                  <a:lnTo>
                    <a:pt x="730" y="587"/>
                  </a:lnTo>
                  <a:lnTo>
                    <a:pt x="730" y="591"/>
                  </a:lnTo>
                  <a:lnTo>
                    <a:pt x="734" y="591"/>
                  </a:lnTo>
                  <a:lnTo>
                    <a:pt x="734" y="595"/>
                  </a:lnTo>
                  <a:lnTo>
                    <a:pt x="730" y="595"/>
                  </a:lnTo>
                  <a:lnTo>
                    <a:pt x="730" y="591"/>
                  </a:lnTo>
                  <a:lnTo>
                    <a:pt x="726" y="591"/>
                  </a:lnTo>
                  <a:lnTo>
                    <a:pt x="730" y="591"/>
                  </a:lnTo>
                  <a:lnTo>
                    <a:pt x="730" y="595"/>
                  </a:lnTo>
                  <a:lnTo>
                    <a:pt x="726" y="595"/>
                  </a:lnTo>
                  <a:lnTo>
                    <a:pt x="726" y="599"/>
                  </a:lnTo>
                  <a:lnTo>
                    <a:pt x="722" y="599"/>
                  </a:lnTo>
                  <a:lnTo>
                    <a:pt x="722" y="603"/>
                  </a:lnTo>
                  <a:lnTo>
                    <a:pt x="718" y="603"/>
                  </a:lnTo>
                  <a:lnTo>
                    <a:pt x="718" y="599"/>
                  </a:lnTo>
                  <a:lnTo>
                    <a:pt x="718" y="603"/>
                  </a:lnTo>
                  <a:lnTo>
                    <a:pt x="722" y="603"/>
                  </a:lnTo>
                  <a:lnTo>
                    <a:pt x="722" y="606"/>
                  </a:lnTo>
                  <a:lnTo>
                    <a:pt x="718" y="606"/>
                  </a:lnTo>
                  <a:lnTo>
                    <a:pt x="714" y="610"/>
                  </a:lnTo>
                  <a:lnTo>
                    <a:pt x="710" y="610"/>
                  </a:lnTo>
                  <a:lnTo>
                    <a:pt x="710" y="614"/>
                  </a:lnTo>
                  <a:lnTo>
                    <a:pt x="714" y="614"/>
                  </a:lnTo>
                  <a:lnTo>
                    <a:pt x="710" y="618"/>
                  </a:lnTo>
                  <a:lnTo>
                    <a:pt x="710" y="622"/>
                  </a:lnTo>
                  <a:lnTo>
                    <a:pt x="706" y="626"/>
                  </a:lnTo>
                  <a:lnTo>
                    <a:pt x="706" y="630"/>
                  </a:lnTo>
                  <a:lnTo>
                    <a:pt x="702" y="634"/>
                  </a:lnTo>
                  <a:lnTo>
                    <a:pt x="702" y="638"/>
                  </a:lnTo>
                  <a:lnTo>
                    <a:pt x="702" y="642"/>
                  </a:lnTo>
                  <a:lnTo>
                    <a:pt x="702" y="646"/>
                  </a:lnTo>
                  <a:lnTo>
                    <a:pt x="698" y="646"/>
                  </a:lnTo>
                  <a:lnTo>
                    <a:pt x="698" y="650"/>
                  </a:lnTo>
                  <a:lnTo>
                    <a:pt x="698" y="654"/>
                  </a:lnTo>
                  <a:lnTo>
                    <a:pt x="698" y="658"/>
                  </a:lnTo>
                  <a:lnTo>
                    <a:pt x="698" y="662"/>
                  </a:lnTo>
                  <a:lnTo>
                    <a:pt x="702" y="662"/>
                  </a:lnTo>
                  <a:lnTo>
                    <a:pt x="702" y="666"/>
                  </a:lnTo>
                  <a:lnTo>
                    <a:pt x="698" y="666"/>
                  </a:lnTo>
                  <a:lnTo>
                    <a:pt x="698" y="670"/>
                  </a:lnTo>
                  <a:lnTo>
                    <a:pt x="702" y="674"/>
                  </a:lnTo>
                  <a:lnTo>
                    <a:pt x="702" y="678"/>
                  </a:lnTo>
                  <a:lnTo>
                    <a:pt x="706" y="678"/>
                  </a:lnTo>
                  <a:lnTo>
                    <a:pt x="706" y="682"/>
                  </a:lnTo>
                  <a:lnTo>
                    <a:pt x="706" y="686"/>
                  </a:lnTo>
                  <a:lnTo>
                    <a:pt x="706" y="690"/>
                  </a:lnTo>
                  <a:lnTo>
                    <a:pt x="706" y="686"/>
                  </a:lnTo>
                  <a:lnTo>
                    <a:pt x="706" y="682"/>
                  </a:lnTo>
                  <a:lnTo>
                    <a:pt x="710" y="678"/>
                  </a:lnTo>
                  <a:lnTo>
                    <a:pt x="714" y="678"/>
                  </a:lnTo>
                  <a:lnTo>
                    <a:pt x="718" y="678"/>
                  </a:lnTo>
                  <a:lnTo>
                    <a:pt x="722" y="678"/>
                  </a:lnTo>
                  <a:lnTo>
                    <a:pt x="726" y="678"/>
                  </a:lnTo>
                  <a:lnTo>
                    <a:pt x="726" y="682"/>
                  </a:lnTo>
                  <a:lnTo>
                    <a:pt x="726" y="686"/>
                  </a:lnTo>
                  <a:lnTo>
                    <a:pt x="726" y="690"/>
                  </a:lnTo>
                  <a:lnTo>
                    <a:pt x="730" y="694"/>
                  </a:lnTo>
                  <a:lnTo>
                    <a:pt x="730" y="698"/>
                  </a:lnTo>
                  <a:lnTo>
                    <a:pt x="730" y="702"/>
                  </a:lnTo>
                  <a:lnTo>
                    <a:pt x="734" y="706"/>
                  </a:lnTo>
                  <a:lnTo>
                    <a:pt x="734" y="710"/>
                  </a:lnTo>
                  <a:lnTo>
                    <a:pt x="734" y="714"/>
                  </a:lnTo>
                  <a:lnTo>
                    <a:pt x="734" y="718"/>
                  </a:lnTo>
                  <a:lnTo>
                    <a:pt x="730" y="722"/>
                  </a:lnTo>
                  <a:lnTo>
                    <a:pt x="734" y="722"/>
                  </a:lnTo>
                  <a:lnTo>
                    <a:pt x="734" y="718"/>
                  </a:lnTo>
                  <a:lnTo>
                    <a:pt x="738" y="718"/>
                  </a:lnTo>
                  <a:lnTo>
                    <a:pt x="738" y="722"/>
                  </a:lnTo>
                  <a:lnTo>
                    <a:pt x="734" y="722"/>
                  </a:lnTo>
                  <a:lnTo>
                    <a:pt x="738" y="722"/>
                  </a:lnTo>
                  <a:lnTo>
                    <a:pt x="738" y="718"/>
                  </a:lnTo>
                  <a:lnTo>
                    <a:pt x="742" y="718"/>
                  </a:lnTo>
                  <a:lnTo>
                    <a:pt x="746" y="718"/>
                  </a:lnTo>
                  <a:lnTo>
                    <a:pt x="754" y="714"/>
                  </a:lnTo>
                  <a:lnTo>
                    <a:pt x="758" y="714"/>
                  </a:lnTo>
                  <a:lnTo>
                    <a:pt x="762" y="714"/>
                  </a:lnTo>
                  <a:lnTo>
                    <a:pt x="766" y="714"/>
                  </a:lnTo>
                  <a:lnTo>
                    <a:pt x="766" y="718"/>
                  </a:lnTo>
                  <a:lnTo>
                    <a:pt x="770" y="718"/>
                  </a:lnTo>
                  <a:lnTo>
                    <a:pt x="774" y="718"/>
                  </a:lnTo>
                  <a:lnTo>
                    <a:pt x="774" y="722"/>
                  </a:lnTo>
                  <a:lnTo>
                    <a:pt x="778" y="722"/>
                  </a:lnTo>
                  <a:lnTo>
                    <a:pt x="782" y="722"/>
                  </a:lnTo>
                  <a:lnTo>
                    <a:pt x="786" y="722"/>
                  </a:lnTo>
                  <a:lnTo>
                    <a:pt x="790" y="726"/>
                  </a:lnTo>
                  <a:lnTo>
                    <a:pt x="794" y="726"/>
                  </a:lnTo>
                  <a:lnTo>
                    <a:pt x="794" y="730"/>
                  </a:lnTo>
                  <a:lnTo>
                    <a:pt x="797" y="730"/>
                  </a:lnTo>
                  <a:lnTo>
                    <a:pt x="797" y="734"/>
                  </a:lnTo>
                  <a:lnTo>
                    <a:pt x="801" y="734"/>
                  </a:lnTo>
                  <a:lnTo>
                    <a:pt x="805" y="738"/>
                  </a:lnTo>
                  <a:lnTo>
                    <a:pt x="809" y="742"/>
                  </a:lnTo>
                  <a:lnTo>
                    <a:pt x="813" y="746"/>
                  </a:lnTo>
                  <a:lnTo>
                    <a:pt x="817" y="746"/>
                  </a:lnTo>
                  <a:lnTo>
                    <a:pt x="821" y="746"/>
                  </a:lnTo>
                  <a:lnTo>
                    <a:pt x="825" y="746"/>
                  </a:lnTo>
                  <a:lnTo>
                    <a:pt x="825" y="750"/>
                  </a:lnTo>
                  <a:lnTo>
                    <a:pt x="829" y="750"/>
                  </a:lnTo>
                  <a:lnTo>
                    <a:pt x="833" y="750"/>
                  </a:lnTo>
                  <a:lnTo>
                    <a:pt x="837" y="754"/>
                  </a:lnTo>
                  <a:lnTo>
                    <a:pt x="841" y="758"/>
                  </a:lnTo>
                  <a:lnTo>
                    <a:pt x="845" y="758"/>
                  </a:lnTo>
                  <a:lnTo>
                    <a:pt x="845" y="762"/>
                  </a:lnTo>
                  <a:lnTo>
                    <a:pt x="841" y="762"/>
                  </a:lnTo>
                  <a:lnTo>
                    <a:pt x="841" y="766"/>
                  </a:lnTo>
                  <a:lnTo>
                    <a:pt x="841" y="762"/>
                  </a:lnTo>
                  <a:lnTo>
                    <a:pt x="845" y="762"/>
                  </a:lnTo>
                  <a:lnTo>
                    <a:pt x="849" y="762"/>
                  </a:lnTo>
                  <a:lnTo>
                    <a:pt x="853" y="762"/>
                  </a:lnTo>
                  <a:lnTo>
                    <a:pt x="857" y="762"/>
                  </a:lnTo>
                  <a:lnTo>
                    <a:pt x="861" y="762"/>
                  </a:lnTo>
                  <a:lnTo>
                    <a:pt x="861" y="758"/>
                  </a:lnTo>
                  <a:lnTo>
                    <a:pt x="865" y="758"/>
                  </a:lnTo>
                  <a:lnTo>
                    <a:pt x="869" y="762"/>
                  </a:lnTo>
                  <a:lnTo>
                    <a:pt x="865" y="762"/>
                  </a:lnTo>
                  <a:lnTo>
                    <a:pt x="869" y="762"/>
                  </a:lnTo>
                  <a:lnTo>
                    <a:pt x="873" y="762"/>
                  </a:lnTo>
                  <a:lnTo>
                    <a:pt x="877" y="762"/>
                  </a:lnTo>
                  <a:lnTo>
                    <a:pt x="881" y="762"/>
                  </a:lnTo>
                  <a:lnTo>
                    <a:pt x="885" y="762"/>
                  </a:lnTo>
                  <a:lnTo>
                    <a:pt x="885" y="766"/>
                  </a:lnTo>
                  <a:lnTo>
                    <a:pt x="889" y="766"/>
                  </a:lnTo>
                  <a:lnTo>
                    <a:pt x="889" y="762"/>
                  </a:lnTo>
                  <a:lnTo>
                    <a:pt x="889" y="766"/>
                  </a:lnTo>
                  <a:lnTo>
                    <a:pt x="889" y="770"/>
                  </a:lnTo>
                  <a:lnTo>
                    <a:pt x="889" y="778"/>
                  </a:lnTo>
                  <a:lnTo>
                    <a:pt x="885" y="782"/>
                  </a:lnTo>
                  <a:lnTo>
                    <a:pt x="885" y="786"/>
                  </a:lnTo>
                  <a:lnTo>
                    <a:pt x="889" y="786"/>
                  </a:lnTo>
                  <a:lnTo>
                    <a:pt x="889" y="790"/>
                  </a:lnTo>
                  <a:lnTo>
                    <a:pt x="889" y="794"/>
                  </a:lnTo>
                  <a:lnTo>
                    <a:pt x="889" y="798"/>
                  </a:lnTo>
                  <a:lnTo>
                    <a:pt x="889" y="802"/>
                  </a:lnTo>
                  <a:lnTo>
                    <a:pt x="889" y="806"/>
                  </a:lnTo>
                  <a:lnTo>
                    <a:pt x="889" y="810"/>
                  </a:lnTo>
                  <a:lnTo>
                    <a:pt x="889" y="814"/>
                  </a:lnTo>
                  <a:lnTo>
                    <a:pt x="893" y="818"/>
                  </a:lnTo>
                  <a:lnTo>
                    <a:pt x="897" y="822"/>
                  </a:lnTo>
                  <a:lnTo>
                    <a:pt x="897" y="826"/>
                  </a:lnTo>
                  <a:lnTo>
                    <a:pt x="901" y="826"/>
                  </a:lnTo>
                  <a:lnTo>
                    <a:pt x="901" y="830"/>
                  </a:lnTo>
                  <a:lnTo>
                    <a:pt x="897" y="830"/>
                  </a:lnTo>
                  <a:lnTo>
                    <a:pt x="893" y="830"/>
                  </a:lnTo>
                  <a:lnTo>
                    <a:pt x="897" y="830"/>
                  </a:lnTo>
                  <a:lnTo>
                    <a:pt x="901" y="830"/>
                  </a:lnTo>
                  <a:lnTo>
                    <a:pt x="901" y="834"/>
                  </a:lnTo>
                  <a:lnTo>
                    <a:pt x="905" y="834"/>
                  </a:lnTo>
                  <a:lnTo>
                    <a:pt x="909" y="834"/>
                  </a:lnTo>
                  <a:lnTo>
                    <a:pt x="909" y="838"/>
                  </a:lnTo>
                  <a:lnTo>
                    <a:pt x="913" y="842"/>
                  </a:lnTo>
                  <a:lnTo>
                    <a:pt x="913" y="846"/>
                  </a:lnTo>
                  <a:lnTo>
                    <a:pt x="917" y="846"/>
                  </a:lnTo>
                  <a:lnTo>
                    <a:pt x="917" y="850"/>
                  </a:lnTo>
                  <a:lnTo>
                    <a:pt x="913" y="850"/>
                  </a:lnTo>
                  <a:lnTo>
                    <a:pt x="913" y="854"/>
                  </a:lnTo>
                  <a:lnTo>
                    <a:pt x="909" y="854"/>
                  </a:lnTo>
                  <a:lnTo>
                    <a:pt x="909" y="858"/>
                  </a:lnTo>
                  <a:lnTo>
                    <a:pt x="909" y="854"/>
                  </a:lnTo>
                  <a:lnTo>
                    <a:pt x="913" y="854"/>
                  </a:lnTo>
                  <a:lnTo>
                    <a:pt x="913" y="850"/>
                  </a:lnTo>
                  <a:lnTo>
                    <a:pt x="917" y="850"/>
                  </a:lnTo>
                  <a:lnTo>
                    <a:pt x="921" y="850"/>
                  </a:lnTo>
                  <a:lnTo>
                    <a:pt x="921" y="854"/>
                  </a:lnTo>
                  <a:lnTo>
                    <a:pt x="925" y="854"/>
                  </a:lnTo>
                  <a:lnTo>
                    <a:pt x="925" y="858"/>
                  </a:lnTo>
                  <a:lnTo>
                    <a:pt x="929" y="858"/>
                  </a:lnTo>
                  <a:lnTo>
                    <a:pt x="929" y="862"/>
                  </a:lnTo>
                  <a:lnTo>
                    <a:pt x="933" y="862"/>
                  </a:lnTo>
                  <a:lnTo>
                    <a:pt x="933" y="866"/>
                  </a:lnTo>
                  <a:lnTo>
                    <a:pt x="933" y="862"/>
                  </a:lnTo>
                  <a:lnTo>
                    <a:pt x="929" y="862"/>
                  </a:lnTo>
                  <a:lnTo>
                    <a:pt x="929" y="858"/>
                  </a:lnTo>
                  <a:lnTo>
                    <a:pt x="925" y="854"/>
                  </a:lnTo>
                  <a:lnTo>
                    <a:pt x="929" y="854"/>
                  </a:lnTo>
                  <a:lnTo>
                    <a:pt x="929" y="850"/>
                  </a:lnTo>
                  <a:lnTo>
                    <a:pt x="929" y="846"/>
                  </a:lnTo>
                  <a:lnTo>
                    <a:pt x="933" y="846"/>
                  </a:lnTo>
                  <a:lnTo>
                    <a:pt x="933" y="842"/>
                  </a:lnTo>
                  <a:lnTo>
                    <a:pt x="933" y="846"/>
                  </a:lnTo>
                  <a:lnTo>
                    <a:pt x="937" y="846"/>
                  </a:lnTo>
                  <a:lnTo>
                    <a:pt x="937" y="850"/>
                  </a:lnTo>
                  <a:lnTo>
                    <a:pt x="937" y="854"/>
                  </a:lnTo>
                  <a:lnTo>
                    <a:pt x="941" y="854"/>
                  </a:lnTo>
                  <a:lnTo>
                    <a:pt x="941" y="850"/>
                  </a:lnTo>
                  <a:lnTo>
                    <a:pt x="941" y="846"/>
                  </a:lnTo>
                  <a:lnTo>
                    <a:pt x="937" y="842"/>
                  </a:lnTo>
                  <a:lnTo>
                    <a:pt x="941" y="842"/>
                  </a:lnTo>
                  <a:lnTo>
                    <a:pt x="941" y="838"/>
                  </a:lnTo>
                  <a:lnTo>
                    <a:pt x="941" y="834"/>
                  </a:lnTo>
                  <a:lnTo>
                    <a:pt x="945" y="834"/>
                  </a:lnTo>
                  <a:lnTo>
                    <a:pt x="945" y="830"/>
                  </a:lnTo>
                  <a:lnTo>
                    <a:pt x="945" y="826"/>
                  </a:lnTo>
                  <a:lnTo>
                    <a:pt x="945" y="822"/>
                  </a:lnTo>
                  <a:lnTo>
                    <a:pt x="941" y="822"/>
                  </a:lnTo>
                  <a:lnTo>
                    <a:pt x="941" y="818"/>
                  </a:lnTo>
                  <a:lnTo>
                    <a:pt x="941" y="814"/>
                  </a:lnTo>
                  <a:lnTo>
                    <a:pt x="941" y="810"/>
                  </a:lnTo>
                  <a:lnTo>
                    <a:pt x="941" y="806"/>
                  </a:lnTo>
                  <a:lnTo>
                    <a:pt x="937" y="806"/>
                  </a:lnTo>
                  <a:lnTo>
                    <a:pt x="937" y="802"/>
                  </a:lnTo>
                  <a:lnTo>
                    <a:pt x="941" y="802"/>
                  </a:lnTo>
                  <a:lnTo>
                    <a:pt x="937" y="798"/>
                  </a:lnTo>
                  <a:lnTo>
                    <a:pt x="937" y="794"/>
                  </a:lnTo>
                  <a:lnTo>
                    <a:pt x="941" y="794"/>
                  </a:lnTo>
                  <a:lnTo>
                    <a:pt x="937" y="794"/>
                  </a:lnTo>
                  <a:lnTo>
                    <a:pt x="937" y="790"/>
                  </a:lnTo>
                  <a:lnTo>
                    <a:pt x="937" y="786"/>
                  </a:lnTo>
                  <a:lnTo>
                    <a:pt x="933" y="786"/>
                  </a:lnTo>
                  <a:lnTo>
                    <a:pt x="933" y="782"/>
                  </a:lnTo>
                  <a:lnTo>
                    <a:pt x="929" y="782"/>
                  </a:lnTo>
                  <a:lnTo>
                    <a:pt x="929" y="778"/>
                  </a:lnTo>
                  <a:lnTo>
                    <a:pt x="929" y="774"/>
                  </a:lnTo>
                  <a:lnTo>
                    <a:pt x="925" y="774"/>
                  </a:lnTo>
                  <a:lnTo>
                    <a:pt x="929" y="774"/>
                  </a:lnTo>
                  <a:lnTo>
                    <a:pt x="933" y="774"/>
                  </a:lnTo>
                  <a:lnTo>
                    <a:pt x="937" y="770"/>
                  </a:lnTo>
                  <a:lnTo>
                    <a:pt x="941" y="770"/>
                  </a:lnTo>
                  <a:lnTo>
                    <a:pt x="945" y="766"/>
                  </a:lnTo>
                  <a:lnTo>
                    <a:pt x="949" y="766"/>
                  </a:lnTo>
                  <a:lnTo>
                    <a:pt x="953" y="762"/>
                  </a:lnTo>
                  <a:lnTo>
                    <a:pt x="957" y="758"/>
                  </a:lnTo>
                  <a:lnTo>
                    <a:pt x="961" y="754"/>
                  </a:lnTo>
                  <a:lnTo>
                    <a:pt x="965" y="754"/>
                  </a:lnTo>
                  <a:lnTo>
                    <a:pt x="965" y="750"/>
                  </a:lnTo>
                  <a:lnTo>
                    <a:pt x="969" y="750"/>
                  </a:lnTo>
                  <a:lnTo>
                    <a:pt x="973" y="746"/>
                  </a:lnTo>
                  <a:lnTo>
                    <a:pt x="973" y="742"/>
                  </a:lnTo>
                  <a:lnTo>
                    <a:pt x="977" y="738"/>
                  </a:lnTo>
                  <a:lnTo>
                    <a:pt x="977" y="734"/>
                  </a:lnTo>
                  <a:lnTo>
                    <a:pt x="977" y="730"/>
                  </a:lnTo>
                  <a:lnTo>
                    <a:pt x="977" y="726"/>
                  </a:lnTo>
                  <a:lnTo>
                    <a:pt x="977" y="722"/>
                  </a:lnTo>
                  <a:lnTo>
                    <a:pt x="973" y="718"/>
                  </a:lnTo>
                  <a:lnTo>
                    <a:pt x="977" y="718"/>
                  </a:lnTo>
                  <a:lnTo>
                    <a:pt x="973" y="714"/>
                  </a:lnTo>
                  <a:lnTo>
                    <a:pt x="973" y="710"/>
                  </a:lnTo>
                  <a:lnTo>
                    <a:pt x="973" y="706"/>
                  </a:lnTo>
                  <a:lnTo>
                    <a:pt x="969" y="702"/>
                  </a:lnTo>
                  <a:lnTo>
                    <a:pt x="965" y="694"/>
                  </a:lnTo>
                  <a:lnTo>
                    <a:pt x="961" y="694"/>
                  </a:lnTo>
                  <a:lnTo>
                    <a:pt x="961" y="690"/>
                  </a:lnTo>
                  <a:lnTo>
                    <a:pt x="957" y="690"/>
                  </a:lnTo>
                  <a:lnTo>
                    <a:pt x="953" y="686"/>
                  </a:lnTo>
                  <a:lnTo>
                    <a:pt x="949" y="682"/>
                  </a:lnTo>
                  <a:lnTo>
                    <a:pt x="945" y="682"/>
                  </a:lnTo>
                  <a:lnTo>
                    <a:pt x="949" y="682"/>
                  </a:lnTo>
                  <a:lnTo>
                    <a:pt x="945" y="682"/>
                  </a:lnTo>
                  <a:lnTo>
                    <a:pt x="945" y="678"/>
                  </a:lnTo>
                  <a:lnTo>
                    <a:pt x="945" y="674"/>
                  </a:lnTo>
                  <a:lnTo>
                    <a:pt x="949" y="674"/>
                  </a:lnTo>
                  <a:lnTo>
                    <a:pt x="949" y="670"/>
                  </a:lnTo>
                  <a:lnTo>
                    <a:pt x="953" y="670"/>
                  </a:lnTo>
                  <a:lnTo>
                    <a:pt x="953" y="666"/>
                  </a:lnTo>
                  <a:lnTo>
                    <a:pt x="957" y="666"/>
                  </a:lnTo>
                  <a:lnTo>
                    <a:pt x="957" y="662"/>
                  </a:lnTo>
                  <a:lnTo>
                    <a:pt x="953" y="662"/>
                  </a:lnTo>
                  <a:lnTo>
                    <a:pt x="957" y="658"/>
                  </a:lnTo>
                  <a:lnTo>
                    <a:pt x="957" y="654"/>
                  </a:lnTo>
                  <a:lnTo>
                    <a:pt x="961" y="654"/>
                  </a:lnTo>
                  <a:lnTo>
                    <a:pt x="961" y="658"/>
                  </a:lnTo>
                  <a:lnTo>
                    <a:pt x="965" y="658"/>
                  </a:lnTo>
                  <a:lnTo>
                    <a:pt x="961" y="658"/>
                  </a:lnTo>
                  <a:lnTo>
                    <a:pt x="961" y="654"/>
                  </a:lnTo>
                  <a:lnTo>
                    <a:pt x="965" y="654"/>
                  </a:lnTo>
                  <a:lnTo>
                    <a:pt x="961" y="650"/>
                  </a:lnTo>
                  <a:lnTo>
                    <a:pt x="965" y="646"/>
                  </a:lnTo>
                  <a:lnTo>
                    <a:pt x="969" y="646"/>
                  </a:lnTo>
                  <a:lnTo>
                    <a:pt x="973" y="646"/>
                  </a:lnTo>
                  <a:lnTo>
                    <a:pt x="973" y="642"/>
                  </a:lnTo>
                  <a:lnTo>
                    <a:pt x="969" y="642"/>
                  </a:lnTo>
                  <a:lnTo>
                    <a:pt x="969" y="646"/>
                  </a:lnTo>
                  <a:lnTo>
                    <a:pt x="965" y="646"/>
                  </a:lnTo>
                  <a:lnTo>
                    <a:pt x="961" y="646"/>
                  </a:lnTo>
                  <a:lnTo>
                    <a:pt x="961" y="642"/>
                  </a:lnTo>
                  <a:lnTo>
                    <a:pt x="961" y="638"/>
                  </a:lnTo>
                  <a:lnTo>
                    <a:pt x="957" y="638"/>
                  </a:lnTo>
                  <a:lnTo>
                    <a:pt x="961" y="634"/>
                  </a:lnTo>
                  <a:lnTo>
                    <a:pt x="957" y="634"/>
                  </a:lnTo>
                  <a:lnTo>
                    <a:pt x="957" y="630"/>
                  </a:lnTo>
                  <a:lnTo>
                    <a:pt x="961" y="626"/>
                  </a:lnTo>
                  <a:lnTo>
                    <a:pt x="957" y="630"/>
                  </a:lnTo>
                  <a:lnTo>
                    <a:pt x="953" y="630"/>
                  </a:lnTo>
                  <a:lnTo>
                    <a:pt x="953" y="626"/>
                  </a:lnTo>
                  <a:lnTo>
                    <a:pt x="953" y="630"/>
                  </a:lnTo>
                  <a:lnTo>
                    <a:pt x="949" y="630"/>
                  </a:lnTo>
                  <a:lnTo>
                    <a:pt x="949" y="626"/>
                  </a:lnTo>
                  <a:lnTo>
                    <a:pt x="953" y="622"/>
                  </a:lnTo>
                  <a:lnTo>
                    <a:pt x="957" y="622"/>
                  </a:lnTo>
                  <a:lnTo>
                    <a:pt x="957" y="618"/>
                  </a:lnTo>
                  <a:lnTo>
                    <a:pt x="957" y="614"/>
                  </a:lnTo>
                  <a:lnTo>
                    <a:pt x="957" y="610"/>
                  </a:lnTo>
                  <a:lnTo>
                    <a:pt x="961" y="610"/>
                  </a:lnTo>
                  <a:lnTo>
                    <a:pt x="957" y="610"/>
                  </a:lnTo>
                  <a:lnTo>
                    <a:pt x="961" y="610"/>
                  </a:lnTo>
                  <a:lnTo>
                    <a:pt x="957" y="610"/>
                  </a:lnTo>
                  <a:lnTo>
                    <a:pt x="957" y="606"/>
                  </a:lnTo>
                  <a:lnTo>
                    <a:pt x="953" y="606"/>
                  </a:lnTo>
                  <a:lnTo>
                    <a:pt x="953" y="603"/>
                  </a:lnTo>
                  <a:lnTo>
                    <a:pt x="953" y="599"/>
                  </a:lnTo>
                  <a:lnTo>
                    <a:pt x="949" y="599"/>
                  </a:lnTo>
                  <a:lnTo>
                    <a:pt x="949" y="595"/>
                  </a:lnTo>
                  <a:lnTo>
                    <a:pt x="949" y="591"/>
                  </a:lnTo>
                  <a:lnTo>
                    <a:pt x="953" y="591"/>
                  </a:lnTo>
                  <a:lnTo>
                    <a:pt x="957" y="587"/>
                  </a:lnTo>
                  <a:lnTo>
                    <a:pt x="961" y="587"/>
                  </a:lnTo>
                  <a:lnTo>
                    <a:pt x="969" y="587"/>
                  </a:lnTo>
                  <a:lnTo>
                    <a:pt x="973" y="587"/>
                  </a:lnTo>
                  <a:lnTo>
                    <a:pt x="977" y="587"/>
                  </a:lnTo>
                  <a:lnTo>
                    <a:pt x="977" y="591"/>
                  </a:lnTo>
                  <a:lnTo>
                    <a:pt x="981" y="591"/>
                  </a:lnTo>
                  <a:lnTo>
                    <a:pt x="989" y="591"/>
                  </a:lnTo>
                  <a:lnTo>
                    <a:pt x="989" y="595"/>
                  </a:lnTo>
                  <a:lnTo>
                    <a:pt x="985" y="595"/>
                  </a:lnTo>
                  <a:lnTo>
                    <a:pt x="989" y="595"/>
                  </a:lnTo>
                  <a:lnTo>
                    <a:pt x="989" y="591"/>
                  </a:lnTo>
                  <a:lnTo>
                    <a:pt x="993" y="591"/>
                  </a:lnTo>
                  <a:lnTo>
                    <a:pt x="997" y="591"/>
                  </a:lnTo>
                  <a:lnTo>
                    <a:pt x="1001" y="595"/>
                  </a:lnTo>
                  <a:lnTo>
                    <a:pt x="1005" y="595"/>
                  </a:lnTo>
                  <a:lnTo>
                    <a:pt x="1001" y="595"/>
                  </a:lnTo>
                  <a:lnTo>
                    <a:pt x="1005" y="595"/>
                  </a:lnTo>
                  <a:lnTo>
                    <a:pt x="1009" y="595"/>
                  </a:lnTo>
                  <a:lnTo>
                    <a:pt x="1009" y="591"/>
                  </a:lnTo>
                  <a:lnTo>
                    <a:pt x="1013" y="591"/>
                  </a:lnTo>
                  <a:lnTo>
                    <a:pt x="1017" y="587"/>
                  </a:lnTo>
                  <a:lnTo>
                    <a:pt x="1021" y="587"/>
                  </a:lnTo>
                  <a:lnTo>
                    <a:pt x="1021" y="591"/>
                  </a:lnTo>
                  <a:lnTo>
                    <a:pt x="1025" y="591"/>
                  </a:lnTo>
                  <a:lnTo>
                    <a:pt x="1025" y="595"/>
                  </a:lnTo>
                  <a:lnTo>
                    <a:pt x="1029" y="595"/>
                  </a:lnTo>
                  <a:lnTo>
                    <a:pt x="1033" y="595"/>
                  </a:lnTo>
                  <a:lnTo>
                    <a:pt x="1037" y="599"/>
                  </a:lnTo>
                  <a:lnTo>
                    <a:pt x="1033" y="599"/>
                  </a:lnTo>
                  <a:lnTo>
                    <a:pt x="1033" y="603"/>
                  </a:lnTo>
                  <a:lnTo>
                    <a:pt x="1037" y="603"/>
                  </a:lnTo>
                  <a:lnTo>
                    <a:pt x="1033" y="603"/>
                  </a:lnTo>
                  <a:lnTo>
                    <a:pt x="1037" y="603"/>
                  </a:lnTo>
                  <a:lnTo>
                    <a:pt x="1041" y="603"/>
                  </a:lnTo>
                  <a:lnTo>
                    <a:pt x="1045" y="606"/>
                  </a:lnTo>
                  <a:lnTo>
                    <a:pt x="1041" y="610"/>
                  </a:lnTo>
                  <a:lnTo>
                    <a:pt x="1041" y="606"/>
                  </a:lnTo>
                  <a:lnTo>
                    <a:pt x="1041" y="610"/>
                  </a:lnTo>
                  <a:lnTo>
                    <a:pt x="1045" y="610"/>
                  </a:lnTo>
                  <a:lnTo>
                    <a:pt x="1045" y="606"/>
                  </a:lnTo>
                  <a:lnTo>
                    <a:pt x="1049" y="606"/>
                  </a:lnTo>
                  <a:lnTo>
                    <a:pt x="1049" y="610"/>
                  </a:lnTo>
                  <a:lnTo>
                    <a:pt x="1045" y="614"/>
                  </a:lnTo>
                  <a:lnTo>
                    <a:pt x="1049" y="614"/>
                  </a:lnTo>
                  <a:lnTo>
                    <a:pt x="1049" y="618"/>
                  </a:lnTo>
                  <a:lnTo>
                    <a:pt x="1053" y="618"/>
                  </a:lnTo>
                  <a:lnTo>
                    <a:pt x="1057" y="618"/>
                  </a:lnTo>
                  <a:lnTo>
                    <a:pt x="1061" y="622"/>
                  </a:lnTo>
                  <a:lnTo>
                    <a:pt x="1065" y="622"/>
                  </a:lnTo>
                  <a:lnTo>
                    <a:pt x="1069" y="622"/>
                  </a:lnTo>
                  <a:lnTo>
                    <a:pt x="1073" y="622"/>
                  </a:lnTo>
                  <a:lnTo>
                    <a:pt x="1073" y="626"/>
                  </a:lnTo>
                  <a:lnTo>
                    <a:pt x="1077" y="626"/>
                  </a:lnTo>
                  <a:lnTo>
                    <a:pt x="1081" y="626"/>
                  </a:lnTo>
                  <a:lnTo>
                    <a:pt x="1081" y="622"/>
                  </a:lnTo>
                  <a:lnTo>
                    <a:pt x="1085" y="626"/>
                  </a:lnTo>
                  <a:lnTo>
                    <a:pt x="1085" y="630"/>
                  </a:lnTo>
                  <a:lnTo>
                    <a:pt x="1081" y="630"/>
                  </a:lnTo>
                  <a:lnTo>
                    <a:pt x="1077" y="630"/>
                  </a:lnTo>
                  <a:lnTo>
                    <a:pt x="1081" y="630"/>
                  </a:lnTo>
                  <a:lnTo>
                    <a:pt x="1081" y="634"/>
                  </a:lnTo>
                  <a:lnTo>
                    <a:pt x="1077" y="634"/>
                  </a:lnTo>
                  <a:lnTo>
                    <a:pt x="1077" y="638"/>
                  </a:lnTo>
                  <a:lnTo>
                    <a:pt x="1077" y="642"/>
                  </a:lnTo>
                  <a:lnTo>
                    <a:pt x="1081" y="642"/>
                  </a:lnTo>
                  <a:lnTo>
                    <a:pt x="1081" y="646"/>
                  </a:lnTo>
                  <a:lnTo>
                    <a:pt x="1077" y="646"/>
                  </a:lnTo>
                  <a:lnTo>
                    <a:pt x="1073" y="646"/>
                  </a:lnTo>
                  <a:lnTo>
                    <a:pt x="1069" y="646"/>
                  </a:lnTo>
                  <a:lnTo>
                    <a:pt x="1065" y="646"/>
                  </a:lnTo>
                  <a:lnTo>
                    <a:pt x="1061" y="646"/>
                  </a:lnTo>
                  <a:lnTo>
                    <a:pt x="1065" y="650"/>
                  </a:lnTo>
                  <a:lnTo>
                    <a:pt x="1069" y="650"/>
                  </a:lnTo>
                  <a:lnTo>
                    <a:pt x="1073" y="650"/>
                  </a:lnTo>
                  <a:lnTo>
                    <a:pt x="1077" y="650"/>
                  </a:lnTo>
                  <a:lnTo>
                    <a:pt x="1081" y="650"/>
                  </a:lnTo>
                  <a:lnTo>
                    <a:pt x="1081" y="654"/>
                  </a:lnTo>
                  <a:lnTo>
                    <a:pt x="1081" y="658"/>
                  </a:lnTo>
                  <a:lnTo>
                    <a:pt x="1077" y="658"/>
                  </a:lnTo>
                  <a:lnTo>
                    <a:pt x="1077" y="662"/>
                  </a:lnTo>
                  <a:lnTo>
                    <a:pt x="1081" y="662"/>
                  </a:lnTo>
                  <a:lnTo>
                    <a:pt x="1077" y="662"/>
                  </a:lnTo>
                  <a:lnTo>
                    <a:pt x="1077" y="666"/>
                  </a:lnTo>
                  <a:lnTo>
                    <a:pt x="1081" y="666"/>
                  </a:lnTo>
                  <a:lnTo>
                    <a:pt x="1081" y="662"/>
                  </a:lnTo>
                  <a:lnTo>
                    <a:pt x="1085" y="662"/>
                  </a:lnTo>
                  <a:lnTo>
                    <a:pt x="1085" y="666"/>
                  </a:lnTo>
                  <a:lnTo>
                    <a:pt x="1081" y="666"/>
                  </a:lnTo>
                  <a:lnTo>
                    <a:pt x="1081" y="670"/>
                  </a:lnTo>
                  <a:lnTo>
                    <a:pt x="1085" y="670"/>
                  </a:lnTo>
                  <a:lnTo>
                    <a:pt x="1081" y="670"/>
                  </a:lnTo>
                  <a:lnTo>
                    <a:pt x="1081" y="674"/>
                  </a:lnTo>
                  <a:lnTo>
                    <a:pt x="1081" y="678"/>
                  </a:lnTo>
                  <a:lnTo>
                    <a:pt x="1077" y="674"/>
                  </a:lnTo>
                  <a:lnTo>
                    <a:pt x="1081" y="674"/>
                  </a:lnTo>
                  <a:lnTo>
                    <a:pt x="1077" y="674"/>
                  </a:lnTo>
                  <a:lnTo>
                    <a:pt x="1077" y="670"/>
                  </a:lnTo>
                  <a:lnTo>
                    <a:pt x="1077" y="674"/>
                  </a:lnTo>
                  <a:lnTo>
                    <a:pt x="1077" y="678"/>
                  </a:lnTo>
                  <a:lnTo>
                    <a:pt x="1073" y="678"/>
                  </a:lnTo>
                  <a:lnTo>
                    <a:pt x="1077" y="678"/>
                  </a:lnTo>
                  <a:lnTo>
                    <a:pt x="1077" y="682"/>
                  </a:lnTo>
                  <a:lnTo>
                    <a:pt x="1081" y="678"/>
                  </a:lnTo>
                  <a:lnTo>
                    <a:pt x="1085" y="678"/>
                  </a:lnTo>
                  <a:lnTo>
                    <a:pt x="1085" y="674"/>
                  </a:lnTo>
                  <a:lnTo>
                    <a:pt x="1089" y="674"/>
                  </a:lnTo>
                  <a:lnTo>
                    <a:pt x="1093" y="674"/>
                  </a:lnTo>
                  <a:lnTo>
                    <a:pt x="1097" y="674"/>
                  </a:lnTo>
                  <a:lnTo>
                    <a:pt x="1097" y="678"/>
                  </a:lnTo>
                  <a:lnTo>
                    <a:pt x="1101" y="678"/>
                  </a:lnTo>
                  <a:lnTo>
                    <a:pt x="1101" y="682"/>
                  </a:lnTo>
                  <a:lnTo>
                    <a:pt x="1101" y="686"/>
                  </a:lnTo>
                  <a:lnTo>
                    <a:pt x="1101" y="690"/>
                  </a:lnTo>
                  <a:lnTo>
                    <a:pt x="1101" y="694"/>
                  </a:lnTo>
                  <a:lnTo>
                    <a:pt x="1097" y="694"/>
                  </a:lnTo>
                  <a:lnTo>
                    <a:pt x="1093" y="698"/>
                  </a:lnTo>
                  <a:lnTo>
                    <a:pt x="1089" y="698"/>
                  </a:lnTo>
                  <a:lnTo>
                    <a:pt x="1085" y="698"/>
                  </a:lnTo>
                  <a:lnTo>
                    <a:pt x="1085" y="702"/>
                  </a:lnTo>
                  <a:lnTo>
                    <a:pt x="1085" y="698"/>
                  </a:lnTo>
                  <a:lnTo>
                    <a:pt x="1089" y="698"/>
                  </a:lnTo>
                  <a:lnTo>
                    <a:pt x="1093" y="698"/>
                  </a:lnTo>
                  <a:lnTo>
                    <a:pt x="1097" y="698"/>
                  </a:lnTo>
                  <a:lnTo>
                    <a:pt x="1097" y="694"/>
                  </a:lnTo>
                  <a:lnTo>
                    <a:pt x="1101" y="694"/>
                  </a:lnTo>
                  <a:lnTo>
                    <a:pt x="1101" y="690"/>
                  </a:lnTo>
                  <a:lnTo>
                    <a:pt x="1101" y="686"/>
                  </a:lnTo>
                  <a:lnTo>
                    <a:pt x="1101" y="682"/>
                  </a:lnTo>
                  <a:lnTo>
                    <a:pt x="1105" y="682"/>
                  </a:lnTo>
                  <a:lnTo>
                    <a:pt x="1105" y="686"/>
                  </a:lnTo>
                  <a:lnTo>
                    <a:pt x="1105" y="690"/>
                  </a:lnTo>
                  <a:lnTo>
                    <a:pt x="1105" y="694"/>
                  </a:lnTo>
                  <a:lnTo>
                    <a:pt x="1105" y="690"/>
                  </a:lnTo>
                  <a:lnTo>
                    <a:pt x="1109" y="690"/>
                  </a:lnTo>
                  <a:lnTo>
                    <a:pt x="1109" y="686"/>
                  </a:lnTo>
                  <a:lnTo>
                    <a:pt x="1109" y="690"/>
                  </a:lnTo>
                  <a:lnTo>
                    <a:pt x="1109" y="698"/>
                  </a:lnTo>
                  <a:lnTo>
                    <a:pt x="1109" y="694"/>
                  </a:lnTo>
                  <a:lnTo>
                    <a:pt x="1113" y="690"/>
                  </a:lnTo>
                  <a:lnTo>
                    <a:pt x="1117" y="686"/>
                  </a:lnTo>
                  <a:lnTo>
                    <a:pt x="1121" y="686"/>
                  </a:lnTo>
                  <a:lnTo>
                    <a:pt x="1125" y="686"/>
                  </a:lnTo>
                  <a:lnTo>
                    <a:pt x="1125" y="682"/>
                  </a:lnTo>
                  <a:lnTo>
                    <a:pt x="1125" y="678"/>
                  </a:lnTo>
                  <a:lnTo>
                    <a:pt x="1129" y="678"/>
                  </a:lnTo>
                  <a:lnTo>
                    <a:pt x="1129" y="674"/>
                  </a:lnTo>
                  <a:lnTo>
                    <a:pt x="1133" y="678"/>
                  </a:lnTo>
                  <a:lnTo>
                    <a:pt x="1133" y="682"/>
                  </a:lnTo>
                  <a:lnTo>
                    <a:pt x="1137" y="682"/>
                  </a:lnTo>
                  <a:lnTo>
                    <a:pt x="1133" y="686"/>
                  </a:lnTo>
                  <a:lnTo>
                    <a:pt x="1133" y="690"/>
                  </a:lnTo>
                  <a:lnTo>
                    <a:pt x="1133" y="686"/>
                  </a:lnTo>
                  <a:lnTo>
                    <a:pt x="1137" y="686"/>
                  </a:lnTo>
                  <a:lnTo>
                    <a:pt x="1137" y="682"/>
                  </a:lnTo>
                  <a:lnTo>
                    <a:pt x="1133" y="678"/>
                  </a:lnTo>
                  <a:lnTo>
                    <a:pt x="1133" y="674"/>
                  </a:lnTo>
                  <a:lnTo>
                    <a:pt x="1137" y="674"/>
                  </a:lnTo>
                  <a:lnTo>
                    <a:pt x="1137" y="678"/>
                  </a:lnTo>
                  <a:lnTo>
                    <a:pt x="1137" y="674"/>
                  </a:lnTo>
                  <a:lnTo>
                    <a:pt x="1137" y="670"/>
                  </a:lnTo>
                  <a:lnTo>
                    <a:pt x="1141" y="670"/>
                  </a:lnTo>
                  <a:lnTo>
                    <a:pt x="1141" y="674"/>
                  </a:lnTo>
                  <a:lnTo>
                    <a:pt x="1141" y="670"/>
                  </a:lnTo>
                  <a:lnTo>
                    <a:pt x="1145" y="670"/>
                  </a:lnTo>
                  <a:lnTo>
                    <a:pt x="1141" y="670"/>
                  </a:lnTo>
                  <a:lnTo>
                    <a:pt x="1141" y="666"/>
                  </a:lnTo>
                  <a:lnTo>
                    <a:pt x="1141" y="662"/>
                  </a:lnTo>
                  <a:lnTo>
                    <a:pt x="1145" y="662"/>
                  </a:lnTo>
                  <a:lnTo>
                    <a:pt x="1145" y="666"/>
                  </a:lnTo>
                  <a:lnTo>
                    <a:pt x="1145" y="662"/>
                  </a:lnTo>
                  <a:lnTo>
                    <a:pt x="1141" y="662"/>
                  </a:lnTo>
                  <a:lnTo>
                    <a:pt x="1145" y="662"/>
                  </a:lnTo>
                  <a:lnTo>
                    <a:pt x="1148" y="662"/>
                  </a:lnTo>
                  <a:lnTo>
                    <a:pt x="1145" y="662"/>
                  </a:lnTo>
                  <a:lnTo>
                    <a:pt x="1145" y="658"/>
                  </a:lnTo>
                  <a:lnTo>
                    <a:pt x="1141" y="658"/>
                  </a:lnTo>
                  <a:lnTo>
                    <a:pt x="1141" y="654"/>
                  </a:lnTo>
                  <a:lnTo>
                    <a:pt x="1145" y="654"/>
                  </a:lnTo>
                  <a:lnTo>
                    <a:pt x="1145" y="650"/>
                  </a:lnTo>
                  <a:lnTo>
                    <a:pt x="1145" y="654"/>
                  </a:lnTo>
                  <a:lnTo>
                    <a:pt x="1148" y="654"/>
                  </a:lnTo>
                  <a:lnTo>
                    <a:pt x="1148" y="650"/>
                  </a:lnTo>
                  <a:lnTo>
                    <a:pt x="1145" y="650"/>
                  </a:lnTo>
                  <a:lnTo>
                    <a:pt x="1148" y="650"/>
                  </a:lnTo>
                  <a:lnTo>
                    <a:pt x="1148" y="646"/>
                  </a:lnTo>
                  <a:lnTo>
                    <a:pt x="1152" y="642"/>
                  </a:lnTo>
                  <a:lnTo>
                    <a:pt x="1152" y="638"/>
                  </a:lnTo>
                  <a:lnTo>
                    <a:pt x="1156" y="638"/>
                  </a:lnTo>
                  <a:lnTo>
                    <a:pt x="1156" y="642"/>
                  </a:lnTo>
                  <a:lnTo>
                    <a:pt x="1152" y="642"/>
                  </a:lnTo>
                  <a:lnTo>
                    <a:pt x="1156" y="642"/>
                  </a:lnTo>
                  <a:lnTo>
                    <a:pt x="1160" y="642"/>
                  </a:lnTo>
                  <a:lnTo>
                    <a:pt x="1156" y="646"/>
                  </a:lnTo>
                  <a:lnTo>
                    <a:pt x="1152" y="646"/>
                  </a:lnTo>
                  <a:lnTo>
                    <a:pt x="1152" y="650"/>
                  </a:lnTo>
                  <a:lnTo>
                    <a:pt x="1152" y="646"/>
                  </a:lnTo>
                  <a:lnTo>
                    <a:pt x="1156" y="646"/>
                  </a:lnTo>
                  <a:lnTo>
                    <a:pt x="1160" y="646"/>
                  </a:lnTo>
                  <a:lnTo>
                    <a:pt x="1160" y="650"/>
                  </a:lnTo>
                  <a:lnTo>
                    <a:pt x="1156" y="650"/>
                  </a:lnTo>
                  <a:lnTo>
                    <a:pt x="1160" y="650"/>
                  </a:lnTo>
                  <a:lnTo>
                    <a:pt x="1160" y="646"/>
                  </a:lnTo>
                  <a:lnTo>
                    <a:pt x="1164" y="646"/>
                  </a:lnTo>
                  <a:lnTo>
                    <a:pt x="1164" y="650"/>
                  </a:lnTo>
                  <a:lnTo>
                    <a:pt x="1160" y="654"/>
                  </a:lnTo>
                  <a:lnTo>
                    <a:pt x="1164" y="654"/>
                  </a:lnTo>
                  <a:lnTo>
                    <a:pt x="1164" y="658"/>
                  </a:lnTo>
                  <a:lnTo>
                    <a:pt x="1168" y="658"/>
                  </a:lnTo>
                  <a:lnTo>
                    <a:pt x="1168" y="662"/>
                  </a:lnTo>
                  <a:lnTo>
                    <a:pt x="1164" y="662"/>
                  </a:lnTo>
                  <a:lnTo>
                    <a:pt x="1168" y="662"/>
                  </a:lnTo>
                  <a:lnTo>
                    <a:pt x="1168" y="666"/>
                  </a:lnTo>
                  <a:lnTo>
                    <a:pt x="1168" y="662"/>
                  </a:lnTo>
                  <a:lnTo>
                    <a:pt x="1172" y="662"/>
                  </a:lnTo>
                  <a:lnTo>
                    <a:pt x="1172" y="666"/>
                  </a:lnTo>
                  <a:lnTo>
                    <a:pt x="1176" y="666"/>
                  </a:lnTo>
                  <a:lnTo>
                    <a:pt x="1172" y="670"/>
                  </a:lnTo>
                  <a:lnTo>
                    <a:pt x="1168" y="670"/>
                  </a:lnTo>
                  <a:lnTo>
                    <a:pt x="1164" y="670"/>
                  </a:lnTo>
                  <a:lnTo>
                    <a:pt x="1164" y="674"/>
                  </a:lnTo>
                  <a:lnTo>
                    <a:pt x="1168" y="670"/>
                  </a:lnTo>
                  <a:lnTo>
                    <a:pt x="1172" y="670"/>
                  </a:lnTo>
                  <a:lnTo>
                    <a:pt x="1176" y="670"/>
                  </a:lnTo>
                  <a:lnTo>
                    <a:pt x="1176" y="674"/>
                  </a:lnTo>
                  <a:lnTo>
                    <a:pt x="1180" y="674"/>
                  </a:lnTo>
                  <a:lnTo>
                    <a:pt x="1180" y="678"/>
                  </a:lnTo>
                  <a:lnTo>
                    <a:pt x="1184" y="678"/>
                  </a:lnTo>
                  <a:lnTo>
                    <a:pt x="1184" y="682"/>
                  </a:lnTo>
                  <a:lnTo>
                    <a:pt x="1180" y="682"/>
                  </a:lnTo>
                  <a:lnTo>
                    <a:pt x="1176" y="686"/>
                  </a:lnTo>
                  <a:lnTo>
                    <a:pt x="1172" y="686"/>
                  </a:lnTo>
                  <a:lnTo>
                    <a:pt x="1172" y="690"/>
                  </a:lnTo>
                  <a:lnTo>
                    <a:pt x="1172" y="686"/>
                  </a:lnTo>
                  <a:lnTo>
                    <a:pt x="1176" y="686"/>
                  </a:lnTo>
                  <a:lnTo>
                    <a:pt x="1180" y="686"/>
                  </a:lnTo>
                  <a:lnTo>
                    <a:pt x="1184" y="686"/>
                  </a:lnTo>
                  <a:lnTo>
                    <a:pt x="1188" y="686"/>
                  </a:lnTo>
                  <a:lnTo>
                    <a:pt x="1184" y="686"/>
                  </a:lnTo>
                  <a:lnTo>
                    <a:pt x="1184" y="690"/>
                  </a:lnTo>
                  <a:lnTo>
                    <a:pt x="1188" y="690"/>
                  </a:lnTo>
                  <a:lnTo>
                    <a:pt x="1184" y="690"/>
                  </a:lnTo>
                  <a:lnTo>
                    <a:pt x="1184" y="694"/>
                  </a:lnTo>
                  <a:lnTo>
                    <a:pt x="1184" y="690"/>
                  </a:lnTo>
                  <a:lnTo>
                    <a:pt x="1180" y="694"/>
                  </a:lnTo>
                  <a:lnTo>
                    <a:pt x="1176" y="694"/>
                  </a:lnTo>
                  <a:lnTo>
                    <a:pt x="1176" y="698"/>
                  </a:lnTo>
                  <a:lnTo>
                    <a:pt x="1180" y="694"/>
                  </a:lnTo>
                  <a:lnTo>
                    <a:pt x="1184" y="694"/>
                  </a:lnTo>
                  <a:lnTo>
                    <a:pt x="1188" y="694"/>
                  </a:lnTo>
                  <a:lnTo>
                    <a:pt x="1188" y="690"/>
                  </a:lnTo>
                  <a:lnTo>
                    <a:pt x="1188" y="694"/>
                  </a:lnTo>
                  <a:lnTo>
                    <a:pt x="1192" y="694"/>
                  </a:lnTo>
                  <a:lnTo>
                    <a:pt x="1188" y="694"/>
                  </a:lnTo>
                  <a:lnTo>
                    <a:pt x="1188" y="698"/>
                  </a:lnTo>
                  <a:lnTo>
                    <a:pt x="1188" y="694"/>
                  </a:lnTo>
                  <a:lnTo>
                    <a:pt x="1188" y="698"/>
                  </a:lnTo>
                  <a:lnTo>
                    <a:pt x="1184" y="698"/>
                  </a:lnTo>
                  <a:lnTo>
                    <a:pt x="1188" y="698"/>
                  </a:lnTo>
                  <a:lnTo>
                    <a:pt x="1192" y="698"/>
                  </a:lnTo>
                  <a:lnTo>
                    <a:pt x="1192" y="702"/>
                  </a:lnTo>
                  <a:lnTo>
                    <a:pt x="1196" y="702"/>
                  </a:lnTo>
                  <a:lnTo>
                    <a:pt x="1196" y="706"/>
                  </a:lnTo>
                  <a:lnTo>
                    <a:pt x="1192" y="706"/>
                  </a:lnTo>
                  <a:lnTo>
                    <a:pt x="1192" y="710"/>
                  </a:lnTo>
                  <a:lnTo>
                    <a:pt x="1188" y="710"/>
                  </a:lnTo>
                  <a:lnTo>
                    <a:pt x="1188" y="706"/>
                  </a:lnTo>
                  <a:lnTo>
                    <a:pt x="1188" y="710"/>
                  </a:lnTo>
                  <a:lnTo>
                    <a:pt x="1192" y="710"/>
                  </a:lnTo>
                  <a:lnTo>
                    <a:pt x="1196" y="710"/>
                  </a:lnTo>
                  <a:lnTo>
                    <a:pt x="1196" y="714"/>
                  </a:lnTo>
                  <a:lnTo>
                    <a:pt x="1196" y="718"/>
                  </a:lnTo>
                  <a:lnTo>
                    <a:pt x="1200" y="718"/>
                  </a:lnTo>
                  <a:lnTo>
                    <a:pt x="1204" y="718"/>
                  </a:lnTo>
                  <a:lnTo>
                    <a:pt x="1204" y="722"/>
                  </a:lnTo>
                  <a:lnTo>
                    <a:pt x="1200" y="722"/>
                  </a:lnTo>
                  <a:lnTo>
                    <a:pt x="1200" y="726"/>
                  </a:lnTo>
                  <a:lnTo>
                    <a:pt x="1196" y="726"/>
                  </a:lnTo>
                  <a:lnTo>
                    <a:pt x="1200" y="726"/>
                  </a:lnTo>
                  <a:lnTo>
                    <a:pt x="1196" y="726"/>
                  </a:lnTo>
                  <a:lnTo>
                    <a:pt x="1200" y="726"/>
                  </a:lnTo>
                  <a:lnTo>
                    <a:pt x="1200" y="730"/>
                  </a:lnTo>
                  <a:lnTo>
                    <a:pt x="1196" y="730"/>
                  </a:lnTo>
                  <a:lnTo>
                    <a:pt x="1196" y="726"/>
                  </a:lnTo>
                  <a:lnTo>
                    <a:pt x="1192" y="726"/>
                  </a:lnTo>
                  <a:lnTo>
                    <a:pt x="1188" y="726"/>
                  </a:lnTo>
                  <a:lnTo>
                    <a:pt x="1192" y="726"/>
                  </a:lnTo>
                  <a:lnTo>
                    <a:pt x="1192" y="722"/>
                  </a:lnTo>
                  <a:lnTo>
                    <a:pt x="1188" y="722"/>
                  </a:lnTo>
                  <a:lnTo>
                    <a:pt x="1188" y="726"/>
                  </a:lnTo>
                  <a:lnTo>
                    <a:pt x="1192" y="726"/>
                  </a:lnTo>
                  <a:lnTo>
                    <a:pt x="1196" y="730"/>
                  </a:lnTo>
                  <a:lnTo>
                    <a:pt x="1192" y="730"/>
                  </a:lnTo>
                  <a:lnTo>
                    <a:pt x="1196" y="730"/>
                  </a:lnTo>
                  <a:lnTo>
                    <a:pt x="1200" y="730"/>
                  </a:lnTo>
                  <a:lnTo>
                    <a:pt x="1200" y="734"/>
                  </a:lnTo>
                  <a:lnTo>
                    <a:pt x="1196" y="734"/>
                  </a:lnTo>
                  <a:lnTo>
                    <a:pt x="1196" y="730"/>
                  </a:lnTo>
                  <a:lnTo>
                    <a:pt x="1192" y="734"/>
                  </a:lnTo>
                  <a:lnTo>
                    <a:pt x="1196" y="734"/>
                  </a:lnTo>
                  <a:lnTo>
                    <a:pt x="1192" y="734"/>
                  </a:lnTo>
                  <a:lnTo>
                    <a:pt x="1196" y="734"/>
                  </a:lnTo>
                  <a:lnTo>
                    <a:pt x="1200" y="734"/>
                  </a:lnTo>
                  <a:lnTo>
                    <a:pt x="1200" y="738"/>
                  </a:lnTo>
                  <a:lnTo>
                    <a:pt x="1196" y="738"/>
                  </a:lnTo>
                  <a:lnTo>
                    <a:pt x="1192" y="738"/>
                  </a:lnTo>
                  <a:lnTo>
                    <a:pt x="1196" y="738"/>
                  </a:lnTo>
                  <a:lnTo>
                    <a:pt x="1200" y="738"/>
                  </a:lnTo>
                  <a:lnTo>
                    <a:pt x="1204" y="738"/>
                  </a:lnTo>
                  <a:lnTo>
                    <a:pt x="1204" y="742"/>
                  </a:lnTo>
                  <a:lnTo>
                    <a:pt x="1208" y="742"/>
                  </a:lnTo>
                  <a:lnTo>
                    <a:pt x="1204" y="742"/>
                  </a:lnTo>
                  <a:lnTo>
                    <a:pt x="1204" y="746"/>
                  </a:lnTo>
                  <a:lnTo>
                    <a:pt x="1208" y="746"/>
                  </a:lnTo>
                  <a:lnTo>
                    <a:pt x="1212" y="746"/>
                  </a:lnTo>
                  <a:lnTo>
                    <a:pt x="1216" y="746"/>
                  </a:lnTo>
                  <a:lnTo>
                    <a:pt x="1216" y="750"/>
                  </a:lnTo>
                  <a:lnTo>
                    <a:pt x="1212" y="750"/>
                  </a:lnTo>
                  <a:lnTo>
                    <a:pt x="1216" y="750"/>
                  </a:lnTo>
                  <a:lnTo>
                    <a:pt x="1216" y="746"/>
                  </a:lnTo>
                  <a:lnTo>
                    <a:pt x="1216" y="750"/>
                  </a:lnTo>
                  <a:lnTo>
                    <a:pt x="1216" y="754"/>
                  </a:lnTo>
                  <a:lnTo>
                    <a:pt x="1216" y="750"/>
                  </a:lnTo>
                  <a:lnTo>
                    <a:pt x="1220" y="750"/>
                  </a:lnTo>
                  <a:lnTo>
                    <a:pt x="1216" y="750"/>
                  </a:lnTo>
                  <a:lnTo>
                    <a:pt x="1216" y="754"/>
                  </a:lnTo>
                  <a:lnTo>
                    <a:pt x="1220" y="754"/>
                  </a:lnTo>
                  <a:lnTo>
                    <a:pt x="1220" y="758"/>
                  </a:lnTo>
                  <a:lnTo>
                    <a:pt x="1216" y="758"/>
                  </a:lnTo>
                  <a:lnTo>
                    <a:pt x="1220" y="758"/>
                  </a:lnTo>
                  <a:lnTo>
                    <a:pt x="1220" y="754"/>
                  </a:lnTo>
                  <a:lnTo>
                    <a:pt x="1224" y="754"/>
                  </a:lnTo>
                  <a:lnTo>
                    <a:pt x="1224" y="758"/>
                  </a:lnTo>
                  <a:lnTo>
                    <a:pt x="1220" y="758"/>
                  </a:lnTo>
                  <a:lnTo>
                    <a:pt x="1220" y="762"/>
                  </a:lnTo>
                  <a:lnTo>
                    <a:pt x="1216" y="762"/>
                  </a:lnTo>
                  <a:lnTo>
                    <a:pt x="1220" y="762"/>
                  </a:lnTo>
                  <a:lnTo>
                    <a:pt x="1216" y="766"/>
                  </a:lnTo>
                  <a:lnTo>
                    <a:pt x="1220" y="766"/>
                  </a:lnTo>
                  <a:lnTo>
                    <a:pt x="1220" y="762"/>
                  </a:lnTo>
                  <a:lnTo>
                    <a:pt x="1224" y="762"/>
                  </a:lnTo>
                  <a:lnTo>
                    <a:pt x="1224" y="766"/>
                  </a:lnTo>
                  <a:lnTo>
                    <a:pt x="1220" y="766"/>
                  </a:lnTo>
                  <a:lnTo>
                    <a:pt x="1224" y="766"/>
                  </a:lnTo>
                  <a:lnTo>
                    <a:pt x="1224" y="762"/>
                  </a:lnTo>
                  <a:lnTo>
                    <a:pt x="1228" y="762"/>
                  </a:lnTo>
                  <a:lnTo>
                    <a:pt x="1228" y="758"/>
                  </a:lnTo>
                  <a:lnTo>
                    <a:pt x="1228" y="762"/>
                  </a:lnTo>
                  <a:lnTo>
                    <a:pt x="1224" y="762"/>
                  </a:lnTo>
                  <a:lnTo>
                    <a:pt x="1224" y="766"/>
                  </a:lnTo>
                  <a:lnTo>
                    <a:pt x="1228" y="766"/>
                  </a:lnTo>
                  <a:lnTo>
                    <a:pt x="1232" y="762"/>
                  </a:lnTo>
                  <a:lnTo>
                    <a:pt x="1232" y="766"/>
                  </a:lnTo>
                  <a:lnTo>
                    <a:pt x="1228" y="770"/>
                  </a:lnTo>
                  <a:lnTo>
                    <a:pt x="1228" y="774"/>
                  </a:lnTo>
                  <a:lnTo>
                    <a:pt x="1228" y="770"/>
                  </a:lnTo>
                  <a:lnTo>
                    <a:pt x="1232" y="770"/>
                  </a:lnTo>
                  <a:lnTo>
                    <a:pt x="1236" y="766"/>
                  </a:lnTo>
                  <a:lnTo>
                    <a:pt x="1236" y="762"/>
                  </a:lnTo>
                  <a:lnTo>
                    <a:pt x="1240" y="762"/>
                  </a:lnTo>
                  <a:lnTo>
                    <a:pt x="1236" y="762"/>
                  </a:lnTo>
                  <a:lnTo>
                    <a:pt x="1236" y="766"/>
                  </a:lnTo>
                  <a:lnTo>
                    <a:pt x="1240" y="766"/>
                  </a:lnTo>
                  <a:lnTo>
                    <a:pt x="1240" y="762"/>
                  </a:lnTo>
                  <a:lnTo>
                    <a:pt x="1240" y="766"/>
                  </a:lnTo>
                  <a:lnTo>
                    <a:pt x="1240" y="770"/>
                  </a:lnTo>
                  <a:lnTo>
                    <a:pt x="1244" y="770"/>
                  </a:lnTo>
                  <a:lnTo>
                    <a:pt x="1248" y="774"/>
                  </a:lnTo>
                  <a:lnTo>
                    <a:pt x="1248" y="770"/>
                  </a:lnTo>
                  <a:lnTo>
                    <a:pt x="1252" y="770"/>
                  </a:lnTo>
                  <a:lnTo>
                    <a:pt x="1252" y="774"/>
                  </a:lnTo>
                  <a:lnTo>
                    <a:pt x="1256" y="774"/>
                  </a:lnTo>
                  <a:lnTo>
                    <a:pt x="1260" y="774"/>
                  </a:lnTo>
                  <a:lnTo>
                    <a:pt x="1264" y="774"/>
                  </a:lnTo>
                  <a:lnTo>
                    <a:pt x="1264" y="778"/>
                  </a:lnTo>
                  <a:lnTo>
                    <a:pt x="1260" y="778"/>
                  </a:lnTo>
                  <a:lnTo>
                    <a:pt x="1264" y="778"/>
                  </a:lnTo>
                  <a:lnTo>
                    <a:pt x="1264" y="782"/>
                  </a:lnTo>
                  <a:lnTo>
                    <a:pt x="1260" y="782"/>
                  </a:lnTo>
                  <a:lnTo>
                    <a:pt x="1256" y="782"/>
                  </a:lnTo>
                  <a:lnTo>
                    <a:pt x="1252" y="782"/>
                  </a:lnTo>
                  <a:lnTo>
                    <a:pt x="1256" y="782"/>
                  </a:lnTo>
                  <a:lnTo>
                    <a:pt x="1252" y="786"/>
                  </a:lnTo>
                  <a:lnTo>
                    <a:pt x="1248" y="786"/>
                  </a:lnTo>
                  <a:lnTo>
                    <a:pt x="1244" y="786"/>
                  </a:lnTo>
                  <a:lnTo>
                    <a:pt x="1240" y="786"/>
                  </a:lnTo>
                  <a:lnTo>
                    <a:pt x="1236" y="790"/>
                  </a:lnTo>
                  <a:lnTo>
                    <a:pt x="1232" y="790"/>
                  </a:lnTo>
                  <a:lnTo>
                    <a:pt x="1236" y="790"/>
                  </a:lnTo>
                  <a:lnTo>
                    <a:pt x="1240" y="790"/>
                  </a:lnTo>
                  <a:lnTo>
                    <a:pt x="1244" y="786"/>
                  </a:lnTo>
                  <a:lnTo>
                    <a:pt x="1248" y="786"/>
                  </a:lnTo>
                  <a:lnTo>
                    <a:pt x="1248" y="790"/>
                  </a:lnTo>
                  <a:lnTo>
                    <a:pt x="1244" y="790"/>
                  </a:lnTo>
                  <a:lnTo>
                    <a:pt x="1240" y="790"/>
                  </a:lnTo>
                  <a:lnTo>
                    <a:pt x="1236" y="790"/>
                  </a:lnTo>
                  <a:lnTo>
                    <a:pt x="1236" y="794"/>
                  </a:lnTo>
                  <a:lnTo>
                    <a:pt x="1232" y="794"/>
                  </a:lnTo>
                  <a:lnTo>
                    <a:pt x="1228" y="794"/>
                  </a:lnTo>
                  <a:lnTo>
                    <a:pt x="1224" y="794"/>
                  </a:lnTo>
                  <a:lnTo>
                    <a:pt x="1224" y="798"/>
                  </a:lnTo>
                  <a:lnTo>
                    <a:pt x="1224" y="802"/>
                  </a:lnTo>
                  <a:lnTo>
                    <a:pt x="1220" y="798"/>
                  </a:lnTo>
                  <a:lnTo>
                    <a:pt x="1216" y="798"/>
                  </a:lnTo>
                  <a:lnTo>
                    <a:pt x="1212" y="794"/>
                  </a:lnTo>
                  <a:lnTo>
                    <a:pt x="1212" y="798"/>
                  </a:lnTo>
                  <a:lnTo>
                    <a:pt x="1216" y="798"/>
                  </a:lnTo>
                  <a:lnTo>
                    <a:pt x="1220" y="798"/>
                  </a:lnTo>
                  <a:lnTo>
                    <a:pt x="1220" y="802"/>
                  </a:lnTo>
                  <a:lnTo>
                    <a:pt x="1224" y="802"/>
                  </a:lnTo>
                  <a:lnTo>
                    <a:pt x="1220" y="806"/>
                  </a:lnTo>
                  <a:lnTo>
                    <a:pt x="1224" y="806"/>
                  </a:lnTo>
                  <a:lnTo>
                    <a:pt x="1220" y="806"/>
                  </a:lnTo>
                  <a:lnTo>
                    <a:pt x="1224" y="806"/>
                  </a:lnTo>
                  <a:lnTo>
                    <a:pt x="1224" y="802"/>
                  </a:lnTo>
                  <a:lnTo>
                    <a:pt x="1228" y="802"/>
                  </a:lnTo>
                  <a:lnTo>
                    <a:pt x="1232" y="802"/>
                  </a:lnTo>
                  <a:lnTo>
                    <a:pt x="1232" y="798"/>
                  </a:lnTo>
                  <a:lnTo>
                    <a:pt x="1236" y="798"/>
                  </a:lnTo>
                  <a:lnTo>
                    <a:pt x="1240" y="798"/>
                  </a:lnTo>
                  <a:lnTo>
                    <a:pt x="1240" y="794"/>
                  </a:lnTo>
                  <a:lnTo>
                    <a:pt x="1244" y="794"/>
                  </a:lnTo>
                  <a:lnTo>
                    <a:pt x="1248" y="790"/>
                  </a:lnTo>
                  <a:lnTo>
                    <a:pt x="1252" y="790"/>
                  </a:lnTo>
                  <a:lnTo>
                    <a:pt x="1256" y="790"/>
                  </a:lnTo>
                  <a:lnTo>
                    <a:pt x="1260" y="790"/>
                  </a:lnTo>
                  <a:lnTo>
                    <a:pt x="1256" y="786"/>
                  </a:lnTo>
                  <a:lnTo>
                    <a:pt x="1252" y="786"/>
                  </a:lnTo>
                  <a:lnTo>
                    <a:pt x="1248" y="786"/>
                  </a:lnTo>
                  <a:lnTo>
                    <a:pt x="1252" y="786"/>
                  </a:lnTo>
                  <a:lnTo>
                    <a:pt x="1256" y="786"/>
                  </a:lnTo>
                  <a:lnTo>
                    <a:pt x="1260" y="786"/>
                  </a:lnTo>
                  <a:lnTo>
                    <a:pt x="1264" y="786"/>
                  </a:lnTo>
                  <a:lnTo>
                    <a:pt x="1264" y="790"/>
                  </a:lnTo>
                  <a:lnTo>
                    <a:pt x="1268" y="794"/>
                  </a:lnTo>
                  <a:lnTo>
                    <a:pt x="1268" y="798"/>
                  </a:lnTo>
                  <a:lnTo>
                    <a:pt x="1264" y="798"/>
                  </a:lnTo>
                  <a:lnTo>
                    <a:pt x="1268" y="802"/>
                  </a:lnTo>
                  <a:lnTo>
                    <a:pt x="1264" y="802"/>
                  </a:lnTo>
                  <a:lnTo>
                    <a:pt x="1268" y="802"/>
                  </a:lnTo>
                  <a:lnTo>
                    <a:pt x="1268" y="798"/>
                  </a:lnTo>
                  <a:lnTo>
                    <a:pt x="1272" y="798"/>
                  </a:lnTo>
                  <a:lnTo>
                    <a:pt x="1276" y="798"/>
                  </a:lnTo>
                  <a:lnTo>
                    <a:pt x="1276" y="794"/>
                  </a:lnTo>
                  <a:lnTo>
                    <a:pt x="1280" y="794"/>
                  </a:lnTo>
                  <a:lnTo>
                    <a:pt x="1280" y="798"/>
                  </a:lnTo>
                  <a:lnTo>
                    <a:pt x="1276" y="798"/>
                  </a:lnTo>
                  <a:lnTo>
                    <a:pt x="1280" y="798"/>
                  </a:lnTo>
                  <a:lnTo>
                    <a:pt x="1284" y="798"/>
                  </a:lnTo>
                  <a:lnTo>
                    <a:pt x="1288" y="802"/>
                  </a:lnTo>
                  <a:lnTo>
                    <a:pt x="1284" y="802"/>
                  </a:lnTo>
                  <a:lnTo>
                    <a:pt x="1288" y="802"/>
                  </a:lnTo>
                  <a:lnTo>
                    <a:pt x="1284" y="806"/>
                  </a:lnTo>
                  <a:lnTo>
                    <a:pt x="1288" y="806"/>
                  </a:lnTo>
                  <a:lnTo>
                    <a:pt x="1288" y="810"/>
                  </a:lnTo>
                  <a:lnTo>
                    <a:pt x="1288" y="814"/>
                  </a:lnTo>
                  <a:lnTo>
                    <a:pt x="1284" y="814"/>
                  </a:lnTo>
                  <a:lnTo>
                    <a:pt x="1288" y="814"/>
                  </a:lnTo>
                  <a:lnTo>
                    <a:pt x="1288" y="818"/>
                  </a:lnTo>
                  <a:lnTo>
                    <a:pt x="1284" y="818"/>
                  </a:lnTo>
                  <a:lnTo>
                    <a:pt x="1288" y="822"/>
                  </a:lnTo>
                  <a:lnTo>
                    <a:pt x="1284" y="822"/>
                  </a:lnTo>
                  <a:lnTo>
                    <a:pt x="1288" y="822"/>
                  </a:lnTo>
                  <a:lnTo>
                    <a:pt x="1284" y="822"/>
                  </a:lnTo>
                  <a:lnTo>
                    <a:pt x="1280" y="822"/>
                  </a:lnTo>
                  <a:lnTo>
                    <a:pt x="1284" y="822"/>
                  </a:lnTo>
                  <a:lnTo>
                    <a:pt x="1288" y="826"/>
                  </a:lnTo>
                  <a:lnTo>
                    <a:pt x="1292" y="826"/>
                  </a:lnTo>
                  <a:lnTo>
                    <a:pt x="1288" y="830"/>
                  </a:lnTo>
                  <a:lnTo>
                    <a:pt x="1288" y="826"/>
                  </a:lnTo>
                  <a:lnTo>
                    <a:pt x="1284" y="826"/>
                  </a:lnTo>
                  <a:lnTo>
                    <a:pt x="1288" y="826"/>
                  </a:lnTo>
                  <a:lnTo>
                    <a:pt x="1288" y="830"/>
                  </a:lnTo>
                  <a:lnTo>
                    <a:pt x="1292" y="830"/>
                  </a:lnTo>
                  <a:lnTo>
                    <a:pt x="1292" y="834"/>
                  </a:lnTo>
                  <a:lnTo>
                    <a:pt x="1288" y="838"/>
                  </a:lnTo>
                  <a:lnTo>
                    <a:pt x="1284" y="838"/>
                  </a:lnTo>
                  <a:lnTo>
                    <a:pt x="1284" y="842"/>
                  </a:lnTo>
                  <a:lnTo>
                    <a:pt x="1280" y="842"/>
                  </a:lnTo>
                  <a:lnTo>
                    <a:pt x="1276" y="846"/>
                  </a:lnTo>
                  <a:lnTo>
                    <a:pt x="1272" y="846"/>
                  </a:lnTo>
                  <a:lnTo>
                    <a:pt x="1272" y="850"/>
                  </a:lnTo>
                  <a:lnTo>
                    <a:pt x="1268" y="850"/>
                  </a:lnTo>
                  <a:lnTo>
                    <a:pt x="1268" y="846"/>
                  </a:lnTo>
                  <a:lnTo>
                    <a:pt x="1264" y="846"/>
                  </a:lnTo>
                  <a:lnTo>
                    <a:pt x="1264" y="850"/>
                  </a:lnTo>
                  <a:lnTo>
                    <a:pt x="1260" y="850"/>
                  </a:lnTo>
                  <a:lnTo>
                    <a:pt x="1260" y="846"/>
                  </a:lnTo>
                  <a:lnTo>
                    <a:pt x="1256" y="850"/>
                  </a:lnTo>
                  <a:lnTo>
                    <a:pt x="1252" y="854"/>
                  </a:lnTo>
                  <a:lnTo>
                    <a:pt x="1248" y="850"/>
                  </a:lnTo>
                  <a:lnTo>
                    <a:pt x="1248" y="854"/>
                  </a:lnTo>
                  <a:lnTo>
                    <a:pt x="1244" y="854"/>
                  </a:lnTo>
                  <a:lnTo>
                    <a:pt x="1248" y="854"/>
                  </a:lnTo>
                  <a:lnTo>
                    <a:pt x="1244" y="858"/>
                  </a:lnTo>
                  <a:lnTo>
                    <a:pt x="1240" y="858"/>
                  </a:lnTo>
                  <a:lnTo>
                    <a:pt x="1240" y="862"/>
                  </a:lnTo>
                  <a:lnTo>
                    <a:pt x="1240" y="866"/>
                  </a:lnTo>
                  <a:lnTo>
                    <a:pt x="1240" y="862"/>
                  </a:lnTo>
                  <a:lnTo>
                    <a:pt x="1236" y="866"/>
                  </a:lnTo>
                  <a:lnTo>
                    <a:pt x="1232" y="866"/>
                  </a:lnTo>
                  <a:lnTo>
                    <a:pt x="1232" y="870"/>
                  </a:lnTo>
                  <a:lnTo>
                    <a:pt x="1228" y="870"/>
                  </a:lnTo>
                  <a:lnTo>
                    <a:pt x="1228" y="874"/>
                  </a:lnTo>
                  <a:lnTo>
                    <a:pt x="1224" y="874"/>
                  </a:lnTo>
                  <a:lnTo>
                    <a:pt x="1220" y="874"/>
                  </a:lnTo>
                  <a:lnTo>
                    <a:pt x="1216" y="874"/>
                  </a:lnTo>
                  <a:lnTo>
                    <a:pt x="1216" y="878"/>
                  </a:lnTo>
                  <a:lnTo>
                    <a:pt x="1216" y="874"/>
                  </a:lnTo>
                  <a:lnTo>
                    <a:pt x="1212" y="878"/>
                  </a:lnTo>
                  <a:lnTo>
                    <a:pt x="1208" y="878"/>
                  </a:lnTo>
                  <a:lnTo>
                    <a:pt x="1204" y="878"/>
                  </a:lnTo>
                  <a:lnTo>
                    <a:pt x="1200" y="878"/>
                  </a:lnTo>
                  <a:lnTo>
                    <a:pt x="1196" y="878"/>
                  </a:lnTo>
                  <a:lnTo>
                    <a:pt x="1196" y="874"/>
                  </a:lnTo>
                  <a:lnTo>
                    <a:pt x="1192" y="874"/>
                  </a:lnTo>
                  <a:lnTo>
                    <a:pt x="1188" y="874"/>
                  </a:lnTo>
                  <a:lnTo>
                    <a:pt x="1184" y="874"/>
                  </a:lnTo>
                  <a:lnTo>
                    <a:pt x="1176" y="874"/>
                  </a:lnTo>
                  <a:lnTo>
                    <a:pt x="1172" y="874"/>
                  </a:lnTo>
                  <a:lnTo>
                    <a:pt x="1168" y="874"/>
                  </a:lnTo>
                  <a:lnTo>
                    <a:pt x="1164" y="874"/>
                  </a:lnTo>
                  <a:lnTo>
                    <a:pt x="1160" y="874"/>
                  </a:lnTo>
                  <a:lnTo>
                    <a:pt x="1156" y="874"/>
                  </a:lnTo>
                  <a:lnTo>
                    <a:pt x="1152" y="874"/>
                  </a:lnTo>
                  <a:lnTo>
                    <a:pt x="1148" y="874"/>
                  </a:lnTo>
                  <a:lnTo>
                    <a:pt x="1145" y="874"/>
                  </a:lnTo>
                  <a:lnTo>
                    <a:pt x="1141" y="874"/>
                  </a:lnTo>
                  <a:lnTo>
                    <a:pt x="1137" y="874"/>
                  </a:lnTo>
                  <a:lnTo>
                    <a:pt x="1133" y="874"/>
                  </a:lnTo>
                  <a:lnTo>
                    <a:pt x="1133" y="878"/>
                  </a:lnTo>
                  <a:lnTo>
                    <a:pt x="1129" y="878"/>
                  </a:lnTo>
                  <a:lnTo>
                    <a:pt x="1129" y="874"/>
                  </a:lnTo>
                  <a:lnTo>
                    <a:pt x="1125" y="878"/>
                  </a:lnTo>
                  <a:lnTo>
                    <a:pt x="1121" y="882"/>
                  </a:lnTo>
                  <a:lnTo>
                    <a:pt x="1121" y="886"/>
                  </a:lnTo>
                  <a:lnTo>
                    <a:pt x="1117" y="886"/>
                  </a:lnTo>
                  <a:lnTo>
                    <a:pt x="1117" y="890"/>
                  </a:lnTo>
                  <a:lnTo>
                    <a:pt x="1117" y="894"/>
                  </a:lnTo>
                  <a:lnTo>
                    <a:pt x="1113" y="894"/>
                  </a:lnTo>
                  <a:lnTo>
                    <a:pt x="1109" y="898"/>
                  </a:lnTo>
                  <a:lnTo>
                    <a:pt x="1105" y="898"/>
                  </a:lnTo>
                  <a:lnTo>
                    <a:pt x="1101" y="898"/>
                  </a:lnTo>
                  <a:lnTo>
                    <a:pt x="1101" y="902"/>
                  </a:lnTo>
                  <a:lnTo>
                    <a:pt x="1097" y="902"/>
                  </a:lnTo>
                  <a:lnTo>
                    <a:pt x="1093" y="906"/>
                  </a:lnTo>
                  <a:lnTo>
                    <a:pt x="1089" y="910"/>
                  </a:lnTo>
                  <a:lnTo>
                    <a:pt x="1089" y="914"/>
                  </a:lnTo>
                  <a:lnTo>
                    <a:pt x="1085" y="914"/>
                  </a:lnTo>
                  <a:lnTo>
                    <a:pt x="1085" y="918"/>
                  </a:lnTo>
                  <a:lnTo>
                    <a:pt x="1081" y="918"/>
                  </a:lnTo>
                  <a:lnTo>
                    <a:pt x="1081" y="922"/>
                  </a:lnTo>
                  <a:lnTo>
                    <a:pt x="1077" y="922"/>
                  </a:lnTo>
                  <a:lnTo>
                    <a:pt x="1073" y="918"/>
                  </a:lnTo>
                  <a:lnTo>
                    <a:pt x="1069" y="918"/>
                  </a:lnTo>
                  <a:lnTo>
                    <a:pt x="1065" y="918"/>
                  </a:lnTo>
                  <a:lnTo>
                    <a:pt x="1065" y="914"/>
                  </a:lnTo>
                  <a:lnTo>
                    <a:pt x="1061" y="914"/>
                  </a:lnTo>
                  <a:lnTo>
                    <a:pt x="1057" y="914"/>
                  </a:lnTo>
                  <a:lnTo>
                    <a:pt x="1061" y="914"/>
                  </a:lnTo>
                  <a:lnTo>
                    <a:pt x="1061" y="918"/>
                  </a:lnTo>
                  <a:lnTo>
                    <a:pt x="1065" y="918"/>
                  </a:lnTo>
                  <a:lnTo>
                    <a:pt x="1069" y="918"/>
                  </a:lnTo>
                  <a:lnTo>
                    <a:pt x="1073" y="918"/>
                  </a:lnTo>
                  <a:lnTo>
                    <a:pt x="1077" y="922"/>
                  </a:lnTo>
                  <a:lnTo>
                    <a:pt x="1077" y="926"/>
                  </a:lnTo>
                  <a:lnTo>
                    <a:pt x="1077" y="930"/>
                  </a:lnTo>
                  <a:lnTo>
                    <a:pt x="1073" y="930"/>
                  </a:lnTo>
                  <a:lnTo>
                    <a:pt x="1073" y="934"/>
                  </a:lnTo>
                  <a:lnTo>
                    <a:pt x="1073" y="938"/>
                  </a:lnTo>
                  <a:lnTo>
                    <a:pt x="1069" y="938"/>
                  </a:lnTo>
                  <a:lnTo>
                    <a:pt x="1065" y="938"/>
                  </a:lnTo>
                  <a:lnTo>
                    <a:pt x="1065" y="942"/>
                  </a:lnTo>
                  <a:lnTo>
                    <a:pt x="1065" y="946"/>
                  </a:lnTo>
                  <a:lnTo>
                    <a:pt x="1061" y="946"/>
                  </a:lnTo>
                  <a:lnTo>
                    <a:pt x="1057" y="950"/>
                  </a:lnTo>
                  <a:lnTo>
                    <a:pt x="1053" y="954"/>
                  </a:lnTo>
                  <a:lnTo>
                    <a:pt x="1057" y="950"/>
                  </a:lnTo>
                  <a:lnTo>
                    <a:pt x="1061" y="950"/>
                  </a:lnTo>
                  <a:lnTo>
                    <a:pt x="1065" y="950"/>
                  </a:lnTo>
                  <a:lnTo>
                    <a:pt x="1065" y="946"/>
                  </a:lnTo>
                  <a:lnTo>
                    <a:pt x="1069" y="946"/>
                  </a:lnTo>
                  <a:lnTo>
                    <a:pt x="1069" y="942"/>
                  </a:lnTo>
                  <a:lnTo>
                    <a:pt x="1073" y="938"/>
                  </a:lnTo>
                  <a:lnTo>
                    <a:pt x="1073" y="934"/>
                  </a:lnTo>
                  <a:lnTo>
                    <a:pt x="1077" y="934"/>
                  </a:lnTo>
                  <a:lnTo>
                    <a:pt x="1081" y="930"/>
                  </a:lnTo>
                  <a:lnTo>
                    <a:pt x="1081" y="926"/>
                  </a:lnTo>
                  <a:lnTo>
                    <a:pt x="1085" y="926"/>
                  </a:lnTo>
                  <a:lnTo>
                    <a:pt x="1085" y="922"/>
                  </a:lnTo>
                  <a:lnTo>
                    <a:pt x="1089" y="922"/>
                  </a:lnTo>
                  <a:lnTo>
                    <a:pt x="1089" y="918"/>
                  </a:lnTo>
                  <a:lnTo>
                    <a:pt x="1093" y="918"/>
                  </a:lnTo>
                  <a:lnTo>
                    <a:pt x="1097" y="914"/>
                  </a:lnTo>
                  <a:lnTo>
                    <a:pt x="1101" y="914"/>
                  </a:lnTo>
                  <a:lnTo>
                    <a:pt x="1101" y="910"/>
                  </a:lnTo>
                  <a:lnTo>
                    <a:pt x="1105" y="910"/>
                  </a:lnTo>
                  <a:lnTo>
                    <a:pt x="1109" y="906"/>
                  </a:lnTo>
                  <a:lnTo>
                    <a:pt x="1113" y="906"/>
                  </a:lnTo>
                  <a:lnTo>
                    <a:pt x="1117" y="906"/>
                  </a:lnTo>
                  <a:lnTo>
                    <a:pt x="1117" y="902"/>
                  </a:lnTo>
                  <a:lnTo>
                    <a:pt x="1121" y="902"/>
                  </a:lnTo>
                  <a:lnTo>
                    <a:pt x="1125" y="902"/>
                  </a:lnTo>
                  <a:lnTo>
                    <a:pt x="1129" y="898"/>
                  </a:lnTo>
                  <a:lnTo>
                    <a:pt x="1133" y="898"/>
                  </a:lnTo>
                  <a:lnTo>
                    <a:pt x="1137" y="898"/>
                  </a:lnTo>
                  <a:lnTo>
                    <a:pt x="1141" y="898"/>
                  </a:lnTo>
                  <a:lnTo>
                    <a:pt x="1145" y="898"/>
                  </a:lnTo>
                  <a:lnTo>
                    <a:pt x="1148" y="898"/>
                  </a:lnTo>
                  <a:lnTo>
                    <a:pt x="1152" y="898"/>
                  </a:lnTo>
                  <a:lnTo>
                    <a:pt x="1156" y="902"/>
                  </a:lnTo>
                  <a:lnTo>
                    <a:pt x="1160" y="902"/>
                  </a:lnTo>
                  <a:lnTo>
                    <a:pt x="1160" y="906"/>
                  </a:lnTo>
                  <a:lnTo>
                    <a:pt x="1164" y="910"/>
                  </a:lnTo>
                  <a:lnTo>
                    <a:pt x="1160" y="906"/>
                  </a:lnTo>
                  <a:lnTo>
                    <a:pt x="1156" y="906"/>
                  </a:lnTo>
                  <a:lnTo>
                    <a:pt x="1160" y="906"/>
                  </a:lnTo>
                  <a:lnTo>
                    <a:pt x="1160" y="910"/>
                  </a:lnTo>
                  <a:lnTo>
                    <a:pt x="1164" y="910"/>
                  </a:lnTo>
                  <a:lnTo>
                    <a:pt x="1160" y="910"/>
                  </a:lnTo>
                  <a:lnTo>
                    <a:pt x="1160" y="914"/>
                  </a:lnTo>
                  <a:lnTo>
                    <a:pt x="1160" y="918"/>
                  </a:lnTo>
                  <a:lnTo>
                    <a:pt x="1156" y="918"/>
                  </a:lnTo>
                  <a:lnTo>
                    <a:pt x="1152" y="918"/>
                  </a:lnTo>
                  <a:lnTo>
                    <a:pt x="1152" y="922"/>
                  </a:lnTo>
                  <a:lnTo>
                    <a:pt x="1148" y="922"/>
                  </a:lnTo>
                  <a:lnTo>
                    <a:pt x="1148" y="926"/>
                  </a:lnTo>
                  <a:lnTo>
                    <a:pt x="1145" y="926"/>
                  </a:lnTo>
                  <a:lnTo>
                    <a:pt x="1141" y="926"/>
                  </a:lnTo>
                  <a:lnTo>
                    <a:pt x="1141" y="922"/>
                  </a:lnTo>
                  <a:lnTo>
                    <a:pt x="1137" y="922"/>
                  </a:lnTo>
                  <a:lnTo>
                    <a:pt x="1133" y="922"/>
                  </a:lnTo>
                  <a:lnTo>
                    <a:pt x="1129" y="922"/>
                  </a:lnTo>
                  <a:lnTo>
                    <a:pt x="1125" y="926"/>
                  </a:lnTo>
                  <a:lnTo>
                    <a:pt x="1121" y="926"/>
                  </a:lnTo>
                  <a:lnTo>
                    <a:pt x="1125" y="926"/>
                  </a:lnTo>
                  <a:lnTo>
                    <a:pt x="1129" y="922"/>
                  </a:lnTo>
                  <a:lnTo>
                    <a:pt x="1133" y="926"/>
                  </a:lnTo>
                  <a:lnTo>
                    <a:pt x="1137" y="926"/>
                  </a:lnTo>
                  <a:lnTo>
                    <a:pt x="1141" y="930"/>
                  </a:lnTo>
                  <a:lnTo>
                    <a:pt x="1141" y="934"/>
                  </a:lnTo>
                  <a:lnTo>
                    <a:pt x="1145" y="930"/>
                  </a:lnTo>
                  <a:lnTo>
                    <a:pt x="1148" y="930"/>
                  </a:lnTo>
                  <a:lnTo>
                    <a:pt x="1152" y="930"/>
                  </a:lnTo>
                  <a:lnTo>
                    <a:pt x="1156" y="930"/>
                  </a:lnTo>
                  <a:lnTo>
                    <a:pt x="1152" y="930"/>
                  </a:lnTo>
                  <a:lnTo>
                    <a:pt x="1152" y="934"/>
                  </a:lnTo>
                  <a:lnTo>
                    <a:pt x="1152" y="938"/>
                  </a:lnTo>
                  <a:lnTo>
                    <a:pt x="1148" y="942"/>
                  </a:lnTo>
                  <a:lnTo>
                    <a:pt x="1145" y="946"/>
                  </a:lnTo>
                  <a:lnTo>
                    <a:pt x="1148" y="946"/>
                  </a:lnTo>
                  <a:lnTo>
                    <a:pt x="1152" y="946"/>
                  </a:lnTo>
                  <a:lnTo>
                    <a:pt x="1152" y="950"/>
                  </a:lnTo>
                  <a:lnTo>
                    <a:pt x="1152" y="954"/>
                  </a:lnTo>
                  <a:lnTo>
                    <a:pt x="1156" y="958"/>
                  </a:lnTo>
                  <a:lnTo>
                    <a:pt x="1156" y="962"/>
                  </a:lnTo>
                  <a:lnTo>
                    <a:pt x="1160" y="962"/>
                  </a:lnTo>
                  <a:lnTo>
                    <a:pt x="1164" y="966"/>
                  </a:lnTo>
                  <a:lnTo>
                    <a:pt x="1168" y="966"/>
                  </a:lnTo>
                  <a:lnTo>
                    <a:pt x="1164" y="966"/>
                  </a:lnTo>
                  <a:lnTo>
                    <a:pt x="1164" y="970"/>
                  </a:lnTo>
                  <a:lnTo>
                    <a:pt x="1168" y="970"/>
                  </a:lnTo>
                  <a:lnTo>
                    <a:pt x="1168" y="974"/>
                  </a:lnTo>
                  <a:lnTo>
                    <a:pt x="1172" y="970"/>
                  </a:lnTo>
                  <a:lnTo>
                    <a:pt x="1172" y="974"/>
                  </a:lnTo>
                  <a:lnTo>
                    <a:pt x="1176" y="974"/>
                  </a:lnTo>
                  <a:lnTo>
                    <a:pt x="1180" y="974"/>
                  </a:lnTo>
                  <a:lnTo>
                    <a:pt x="1184" y="974"/>
                  </a:lnTo>
                  <a:lnTo>
                    <a:pt x="1188" y="974"/>
                  </a:lnTo>
                  <a:lnTo>
                    <a:pt x="1188" y="978"/>
                  </a:lnTo>
                  <a:lnTo>
                    <a:pt x="1192" y="974"/>
                  </a:lnTo>
                  <a:lnTo>
                    <a:pt x="1196" y="974"/>
                  </a:lnTo>
                  <a:lnTo>
                    <a:pt x="1196" y="970"/>
                  </a:lnTo>
                  <a:lnTo>
                    <a:pt x="1196" y="974"/>
                  </a:lnTo>
                  <a:lnTo>
                    <a:pt x="1200" y="978"/>
                  </a:lnTo>
                  <a:lnTo>
                    <a:pt x="1200" y="974"/>
                  </a:lnTo>
                  <a:lnTo>
                    <a:pt x="1204" y="974"/>
                  </a:lnTo>
                  <a:lnTo>
                    <a:pt x="1204" y="978"/>
                  </a:lnTo>
                  <a:lnTo>
                    <a:pt x="1208" y="978"/>
                  </a:lnTo>
                  <a:lnTo>
                    <a:pt x="1208" y="982"/>
                  </a:lnTo>
                  <a:lnTo>
                    <a:pt x="1204" y="982"/>
                  </a:lnTo>
                  <a:lnTo>
                    <a:pt x="1208" y="982"/>
                  </a:lnTo>
                  <a:lnTo>
                    <a:pt x="1212" y="982"/>
                  </a:lnTo>
                  <a:lnTo>
                    <a:pt x="1212" y="986"/>
                  </a:lnTo>
                  <a:lnTo>
                    <a:pt x="1208" y="986"/>
                  </a:lnTo>
                  <a:lnTo>
                    <a:pt x="1204" y="986"/>
                  </a:lnTo>
                  <a:lnTo>
                    <a:pt x="1200" y="986"/>
                  </a:lnTo>
                  <a:lnTo>
                    <a:pt x="1200" y="990"/>
                  </a:lnTo>
                  <a:lnTo>
                    <a:pt x="1196" y="990"/>
                  </a:lnTo>
                  <a:lnTo>
                    <a:pt x="1192" y="990"/>
                  </a:lnTo>
                  <a:lnTo>
                    <a:pt x="1188" y="994"/>
                  </a:lnTo>
                  <a:lnTo>
                    <a:pt x="1184" y="994"/>
                  </a:lnTo>
                  <a:lnTo>
                    <a:pt x="1180" y="998"/>
                  </a:lnTo>
                  <a:lnTo>
                    <a:pt x="1180" y="994"/>
                  </a:lnTo>
                  <a:lnTo>
                    <a:pt x="1180" y="998"/>
                  </a:lnTo>
                  <a:lnTo>
                    <a:pt x="1176" y="998"/>
                  </a:lnTo>
                  <a:lnTo>
                    <a:pt x="1172" y="998"/>
                  </a:lnTo>
                  <a:lnTo>
                    <a:pt x="1168" y="998"/>
                  </a:lnTo>
                  <a:lnTo>
                    <a:pt x="1172" y="998"/>
                  </a:lnTo>
                  <a:lnTo>
                    <a:pt x="1172" y="1002"/>
                  </a:lnTo>
                  <a:lnTo>
                    <a:pt x="1164" y="1002"/>
                  </a:lnTo>
                  <a:lnTo>
                    <a:pt x="1164" y="998"/>
                  </a:lnTo>
                  <a:lnTo>
                    <a:pt x="1164" y="1002"/>
                  </a:lnTo>
                  <a:lnTo>
                    <a:pt x="1164" y="998"/>
                  </a:lnTo>
                  <a:lnTo>
                    <a:pt x="1160" y="998"/>
                  </a:lnTo>
                  <a:lnTo>
                    <a:pt x="1160" y="1002"/>
                  </a:lnTo>
                  <a:lnTo>
                    <a:pt x="1160" y="1006"/>
                  </a:lnTo>
                  <a:lnTo>
                    <a:pt x="1156" y="1006"/>
                  </a:lnTo>
                  <a:lnTo>
                    <a:pt x="1156" y="1010"/>
                  </a:lnTo>
                  <a:lnTo>
                    <a:pt x="1152" y="1014"/>
                  </a:lnTo>
                  <a:lnTo>
                    <a:pt x="1148" y="1018"/>
                  </a:lnTo>
                  <a:lnTo>
                    <a:pt x="1145" y="1018"/>
                  </a:lnTo>
                  <a:lnTo>
                    <a:pt x="1145" y="1022"/>
                  </a:lnTo>
                  <a:lnTo>
                    <a:pt x="1141" y="1022"/>
                  </a:lnTo>
                  <a:lnTo>
                    <a:pt x="1137" y="1022"/>
                  </a:lnTo>
                  <a:lnTo>
                    <a:pt x="1137" y="1018"/>
                  </a:lnTo>
                  <a:lnTo>
                    <a:pt x="1137" y="1014"/>
                  </a:lnTo>
                  <a:lnTo>
                    <a:pt x="1137" y="1018"/>
                  </a:lnTo>
                  <a:lnTo>
                    <a:pt x="1133" y="1018"/>
                  </a:lnTo>
                  <a:lnTo>
                    <a:pt x="1133" y="1014"/>
                  </a:lnTo>
                  <a:lnTo>
                    <a:pt x="1133" y="1010"/>
                  </a:lnTo>
                  <a:lnTo>
                    <a:pt x="1133" y="1006"/>
                  </a:lnTo>
                  <a:lnTo>
                    <a:pt x="1133" y="1002"/>
                  </a:lnTo>
                  <a:lnTo>
                    <a:pt x="1137" y="1002"/>
                  </a:lnTo>
                  <a:lnTo>
                    <a:pt x="1137" y="998"/>
                  </a:lnTo>
                  <a:lnTo>
                    <a:pt x="1137" y="1002"/>
                  </a:lnTo>
                  <a:lnTo>
                    <a:pt x="1133" y="1002"/>
                  </a:lnTo>
                  <a:lnTo>
                    <a:pt x="1137" y="998"/>
                  </a:lnTo>
                  <a:lnTo>
                    <a:pt x="1141" y="998"/>
                  </a:lnTo>
                  <a:lnTo>
                    <a:pt x="1141" y="994"/>
                  </a:lnTo>
                  <a:lnTo>
                    <a:pt x="1141" y="998"/>
                  </a:lnTo>
                  <a:lnTo>
                    <a:pt x="1141" y="994"/>
                  </a:lnTo>
                  <a:lnTo>
                    <a:pt x="1145" y="990"/>
                  </a:lnTo>
                  <a:lnTo>
                    <a:pt x="1148" y="990"/>
                  </a:lnTo>
                  <a:lnTo>
                    <a:pt x="1152" y="990"/>
                  </a:lnTo>
                  <a:lnTo>
                    <a:pt x="1152" y="986"/>
                  </a:lnTo>
                  <a:lnTo>
                    <a:pt x="1156" y="986"/>
                  </a:lnTo>
                  <a:lnTo>
                    <a:pt x="1160" y="986"/>
                  </a:lnTo>
                  <a:lnTo>
                    <a:pt x="1160" y="982"/>
                  </a:lnTo>
                  <a:lnTo>
                    <a:pt x="1156" y="982"/>
                  </a:lnTo>
                  <a:lnTo>
                    <a:pt x="1160" y="982"/>
                  </a:lnTo>
                  <a:lnTo>
                    <a:pt x="1160" y="986"/>
                  </a:lnTo>
                  <a:lnTo>
                    <a:pt x="1160" y="990"/>
                  </a:lnTo>
                  <a:lnTo>
                    <a:pt x="1160" y="986"/>
                  </a:lnTo>
                  <a:lnTo>
                    <a:pt x="1164" y="990"/>
                  </a:lnTo>
                  <a:lnTo>
                    <a:pt x="1160" y="986"/>
                  </a:lnTo>
                  <a:lnTo>
                    <a:pt x="1164" y="986"/>
                  </a:lnTo>
                  <a:lnTo>
                    <a:pt x="1168" y="982"/>
                  </a:lnTo>
                  <a:lnTo>
                    <a:pt x="1172" y="982"/>
                  </a:lnTo>
                  <a:lnTo>
                    <a:pt x="1176" y="982"/>
                  </a:lnTo>
                  <a:lnTo>
                    <a:pt x="1168" y="982"/>
                  </a:lnTo>
                  <a:lnTo>
                    <a:pt x="1164" y="982"/>
                  </a:lnTo>
                  <a:lnTo>
                    <a:pt x="1160" y="982"/>
                  </a:lnTo>
                  <a:lnTo>
                    <a:pt x="1156" y="982"/>
                  </a:lnTo>
                  <a:lnTo>
                    <a:pt x="1152" y="982"/>
                  </a:lnTo>
                  <a:lnTo>
                    <a:pt x="1152" y="978"/>
                  </a:lnTo>
                  <a:lnTo>
                    <a:pt x="1156" y="978"/>
                  </a:lnTo>
                  <a:lnTo>
                    <a:pt x="1156" y="974"/>
                  </a:lnTo>
                  <a:lnTo>
                    <a:pt x="1160" y="974"/>
                  </a:lnTo>
                  <a:lnTo>
                    <a:pt x="1160" y="970"/>
                  </a:lnTo>
                  <a:lnTo>
                    <a:pt x="1160" y="974"/>
                  </a:lnTo>
                  <a:lnTo>
                    <a:pt x="1156" y="974"/>
                  </a:lnTo>
                  <a:lnTo>
                    <a:pt x="1156" y="970"/>
                  </a:lnTo>
                  <a:lnTo>
                    <a:pt x="1156" y="966"/>
                  </a:lnTo>
                  <a:lnTo>
                    <a:pt x="1152" y="966"/>
                  </a:lnTo>
                  <a:lnTo>
                    <a:pt x="1152" y="970"/>
                  </a:lnTo>
                  <a:lnTo>
                    <a:pt x="1156" y="970"/>
                  </a:lnTo>
                  <a:lnTo>
                    <a:pt x="1156" y="974"/>
                  </a:lnTo>
                  <a:lnTo>
                    <a:pt x="1152" y="978"/>
                  </a:lnTo>
                  <a:lnTo>
                    <a:pt x="1148" y="978"/>
                  </a:lnTo>
                  <a:lnTo>
                    <a:pt x="1145" y="982"/>
                  </a:lnTo>
                  <a:lnTo>
                    <a:pt x="1141" y="982"/>
                  </a:lnTo>
                  <a:lnTo>
                    <a:pt x="1137" y="986"/>
                  </a:lnTo>
                  <a:lnTo>
                    <a:pt x="1133" y="982"/>
                  </a:lnTo>
                  <a:lnTo>
                    <a:pt x="1137" y="982"/>
                  </a:lnTo>
                  <a:lnTo>
                    <a:pt x="1133" y="982"/>
                  </a:lnTo>
                  <a:lnTo>
                    <a:pt x="1133" y="986"/>
                  </a:lnTo>
                  <a:lnTo>
                    <a:pt x="1129" y="990"/>
                  </a:lnTo>
                  <a:lnTo>
                    <a:pt x="1129" y="986"/>
                  </a:lnTo>
                  <a:lnTo>
                    <a:pt x="1125" y="986"/>
                  </a:lnTo>
                  <a:lnTo>
                    <a:pt x="1125" y="990"/>
                  </a:lnTo>
                  <a:lnTo>
                    <a:pt x="1121" y="986"/>
                  </a:lnTo>
                  <a:lnTo>
                    <a:pt x="1117" y="986"/>
                  </a:lnTo>
                  <a:lnTo>
                    <a:pt x="1113" y="986"/>
                  </a:lnTo>
                  <a:lnTo>
                    <a:pt x="1113" y="982"/>
                  </a:lnTo>
                  <a:lnTo>
                    <a:pt x="1113" y="978"/>
                  </a:lnTo>
                  <a:lnTo>
                    <a:pt x="1109" y="978"/>
                  </a:lnTo>
                  <a:lnTo>
                    <a:pt x="1109" y="974"/>
                  </a:lnTo>
                  <a:lnTo>
                    <a:pt x="1109" y="970"/>
                  </a:lnTo>
                  <a:lnTo>
                    <a:pt x="1109" y="962"/>
                  </a:lnTo>
                  <a:lnTo>
                    <a:pt x="1109" y="950"/>
                  </a:lnTo>
                  <a:lnTo>
                    <a:pt x="1109" y="946"/>
                  </a:lnTo>
                  <a:lnTo>
                    <a:pt x="1105" y="946"/>
                  </a:lnTo>
                  <a:lnTo>
                    <a:pt x="1105" y="942"/>
                  </a:lnTo>
                  <a:lnTo>
                    <a:pt x="1101" y="938"/>
                  </a:lnTo>
                  <a:lnTo>
                    <a:pt x="1097" y="942"/>
                  </a:lnTo>
                  <a:lnTo>
                    <a:pt x="1093" y="942"/>
                  </a:lnTo>
                  <a:lnTo>
                    <a:pt x="1089" y="942"/>
                  </a:lnTo>
                  <a:lnTo>
                    <a:pt x="1089" y="938"/>
                  </a:lnTo>
                  <a:lnTo>
                    <a:pt x="1085" y="938"/>
                  </a:lnTo>
                  <a:lnTo>
                    <a:pt x="1085" y="942"/>
                  </a:lnTo>
                  <a:lnTo>
                    <a:pt x="1081" y="946"/>
                  </a:lnTo>
                  <a:lnTo>
                    <a:pt x="1077" y="946"/>
                  </a:lnTo>
                  <a:lnTo>
                    <a:pt x="1077" y="950"/>
                  </a:lnTo>
                  <a:lnTo>
                    <a:pt x="1073" y="954"/>
                  </a:lnTo>
                  <a:lnTo>
                    <a:pt x="1073" y="958"/>
                  </a:lnTo>
                  <a:lnTo>
                    <a:pt x="1073" y="962"/>
                  </a:lnTo>
                  <a:lnTo>
                    <a:pt x="1069" y="962"/>
                  </a:lnTo>
                  <a:lnTo>
                    <a:pt x="1069" y="966"/>
                  </a:lnTo>
                  <a:lnTo>
                    <a:pt x="1069" y="970"/>
                  </a:lnTo>
                  <a:lnTo>
                    <a:pt x="1069" y="974"/>
                  </a:lnTo>
                  <a:lnTo>
                    <a:pt x="1065" y="974"/>
                  </a:lnTo>
                  <a:lnTo>
                    <a:pt x="1065" y="978"/>
                  </a:lnTo>
                  <a:lnTo>
                    <a:pt x="1065" y="982"/>
                  </a:lnTo>
                  <a:lnTo>
                    <a:pt x="1061" y="986"/>
                  </a:lnTo>
                  <a:lnTo>
                    <a:pt x="1057" y="982"/>
                  </a:lnTo>
                  <a:lnTo>
                    <a:pt x="1057" y="986"/>
                  </a:lnTo>
                  <a:lnTo>
                    <a:pt x="1057" y="982"/>
                  </a:lnTo>
                  <a:lnTo>
                    <a:pt x="1053" y="982"/>
                  </a:lnTo>
                  <a:lnTo>
                    <a:pt x="1053" y="986"/>
                  </a:lnTo>
                  <a:lnTo>
                    <a:pt x="1053" y="990"/>
                  </a:lnTo>
                  <a:lnTo>
                    <a:pt x="1049" y="990"/>
                  </a:lnTo>
                  <a:lnTo>
                    <a:pt x="1045" y="990"/>
                  </a:lnTo>
                  <a:lnTo>
                    <a:pt x="1041" y="990"/>
                  </a:lnTo>
                  <a:lnTo>
                    <a:pt x="1037" y="990"/>
                  </a:lnTo>
                  <a:lnTo>
                    <a:pt x="1033" y="990"/>
                  </a:lnTo>
                  <a:lnTo>
                    <a:pt x="1029" y="990"/>
                  </a:lnTo>
                  <a:lnTo>
                    <a:pt x="1025" y="990"/>
                  </a:lnTo>
                  <a:lnTo>
                    <a:pt x="1021" y="990"/>
                  </a:lnTo>
                  <a:lnTo>
                    <a:pt x="1017" y="990"/>
                  </a:lnTo>
                  <a:lnTo>
                    <a:pt x="1009" y="990"/>
                  </a:lnTo>
                  <a:lnTo>
                    <a:pt x="1005" y="990"/>
                  </a:lnTo>
                  <a:lnTo>
                    <a:pt x="1001" y="990"/>
                  </a:lnTo>
                  <a:lnTo>
                    <a:pt x="997" y="990"/>
                  </a:lnTo>
                  <a:lnTo>
                    <a:pt x="997" y="994"/>
                  </a:lnTo>
                  <a:lnTo>
                    <a:pt x="993" y="994"/>
                  </a:lnTo>
                  <a:lnTo>
                    <a:pt x="989" y="998"/>
                  </a:lnTo>
                  <a:lnTo>
                    <a:pt x="989" y="1002"/>
                  </a:lnTo>
                  <a:lnTo>
                    <a:pt x="985" y="1002"/>
                  </a:lnTo>
                  <a:lnTo>
                    <a:pt x="985" y="1006"/>
                  </a:lnTo>
                  <a:lnTo>
                    <a:pt x="981" y="1006"/>
                  </a:lnTo>
                  <a:lnTo>
                    <a:pt x="977" y="1010"/>
                  </a:lnTo>
                  <a:lnTo>
                    <a:pt x="977" y="1014"/>
                  </a:lnTo>
                  <a:lnTo>
                    <a:pt x="973" y="1014"/>
                  </a:lnTo>
                  <a:lnTo>
                    <a:pt x="973" y="1018"/>
                  </a:lnTo>
                  <a:lnTo>
                    <a:pt x="969" y="1018"/>
                  </a:lnTo>
                  <a:lnTo>
                    <a:pt x="965" y="1018"/>
                  </a:lnTo>
                  <a:lnTo>
                    <a:pt x="961" y="1018"/>
                  </a:lnTo>
                  <a:lnTo>
                    <a:pt x="957" y="1018"/>
                  </a:lnTo>
                  <a:lnTo>
                    <a:pt x="953" y="1018"/>
                  </a:lnTo>
                  <a:lnTo>
                    <a:pt x="949" y="1018"/>
                  </a:lnTo>
                  <a:lnTo>
                    <a:pt x="941" y="1018"/>
                  </a:lnTo>
                  <a:lnTo>
                    <a:pt x="937" y="1022"/>
                  </a:lnTo>
                  <a:lnTo>
                    <a:pt x="937" y="1026"/>
                  </a:lnTo>
                  <a:lnTo>
                    <a:pt x="937" y="1030"/>
                  </a:lnTo>
                  <a:lnTo>
                    <a:pt x="937" y="1034"/>
                  </a:lnTo>
                  <a:lnTo>
                    <a:pt x="941" y="1034"/>
                  </a:lnTo>
                  <a:lnTo>
                    <a:pt x="937" y="1034"/>
                  </a:lnTo>
                  <a:lnTo>
                    <a:pt x="937" y="1038"/>
                  </a:lnTo>
                  <a:lnTo>
                    <a:pt x="933" y="1038"/>
                  </a:lnTo>
                  <a:lnTo>
                    <a:pt x="929" y="1042"/>
                  </a:lnTo>
                  <a:lnTo>
                    <a:pt x="925" y="1042"/>
                  </a:lnTo>
                  <a:lnTo>
                    <a:pt x="921" y="1045"/>
                  </a:lnTo>
                  <a:lnTo>
                    <a:pt x="913" y="1045"/>
                  </a:lnTo>
                  <a:lnTo>
                    <a:pt x="909" y="1049"/>
                  </a:lnTo>
                  <a:lnTo>
                    <a:pt x="905" y="1049"/>
                  </a:lnTo>
                  <a:lnTo>
                    <a:pt x="901" y="1049"/>
                  </a:lnTo>
                  <a:lnTo>
                    <a:pt x="897" y="1053"/>
                  </a:lnTo>
                  <a:lnTo>
                    <a:pt x="893" y="1053"/>
                  </a:lnTo>
                  <a:lnTo>
                    <a:pt x="889" y="1057"/>
                  </a:lnTo>
                  <a:lnTo>
                    <a:pt x="885" y="1061"/>
                  </a:lnTo>
                  <a:lnTo>
                    <a:pt x="881" y="1061"/>
                  </a:lnTo>
                  <a:lnTo>
                    <a:pt x="877" y="1057"/>
                  </a:lnTo>
                  <a:lnTo>
                    <a:pt x="877" y="1053"/>
                  </a:lnTo>
                  <a:lnTo>
                    <a:pt x="873" y="1053"/>
                  </a:lnTo>
                  <a:lnTo>
                    <a:pt x="877" y="1049"/>
                  </a:lnTo>
                  <a:lnTo>
                    <a:pt x="877" y="1045"/>
                  </a:lnTo>
                  <a:lnTo>
                    <a:pt x="881" y="1045"/>
                  </a:lnTo>
                  <a:lnTo>
                    <a:pt x="881" y="1042"/>
                  </a:lnTo>
                  <a:lnTo>
                    <a:pt x="885" y="1042"/>
                  </a:lnTo>
                  <a:lnTo>
                    <a:pt x="885" y="1038"/>
                  </a:lnTo>
                  <a:lnTo>
                    <a:pt x="885" y="1034"/>
                  </a:lnTo>
                  <a:lnTo>
                    <a:pt x="885" y="1030"/>
                  </a:lnTo>
                  <a:lnTo>
                    <a:pt x="889" y="1030"/>
                  </a:lnTo>
                  <a:lnTo>
                    <a:pt x="889" y="1026"/>
                  </a:lnTo>
                  <a:lnTo>
                    <a:pt x="889" y="1022"/>
                  </a:lnTo>
                  <a:lnTo>
                    <a:pt x="889" y="1014"/>
                  </a:lnTo>
                  <a:lnTo>
                    <a:pt x="889" y="1002"/>
                  </a:lnTo>
                  <a:lnTo>
                    <a:pt x="885" y="994"/>
                  </a:lnTo>
                  <a:lnTo>
                    <a:pt x="885" y="982"/>
                  </a:lnTo>
                  <a:lnTo>
                    <a:pt x="881" y="982"/>
                  </a:lnTo>
                  <a:lnTo>
                    <a:pt x="877" y="978"/>
                  </a:lnTo>
                  <a:lnTo>
                    <a:pt x="873" y="974"/>
                  </a:lnTo>
                  <a:lnTo>
                    <a:pt x="869" y="974"/>
                  </a:lnTo>
                  <a:lnTo>
                    <a:pt x="869" y="970"/>
                  </a:lnTo>
                  <a:lnTo>
                    <a:pt x="869" y="966"/>
                  </a:lnTo>
                  <a:lnTo>
                    <a:pt x="865" y="966"/>
                  </a:lnTo>
                  <a:lnTo>
                    <a:pt x="861" y="966"/>
                  </a:lnTo>
                  <a:lnTo>
                    <a:pt x="861" y="962"/>
                  </a:lnTo>
                  <a:lnTo>
                    <a:pt x="861" y="958"/>
                  </a:lnTo>
                  <a:lnTo>
                    <a:pt x="857" y="958"/>
                  </a:lnTo>
                  <a:lnTo>
                    <a:pt x="853" y="958"/>
                  </a:lnTo>
                  <a:lnTo>
                    <a:pt x="849" y="954"/>
                  </a:lnTo>
                  <a:lnTo>
                    <a:pt x="849" y="950"/>
                  </a:lnTo>
                  <a:lnTo>
                    <a:pt x="841" y="946"/>
                  </a:lnTo>
                  <a:lnTo>
                    <a:pt x="841" y="942"/>
                  </a:lnTo>
                  <a:lnTo>
                    <a:pt x="837" y="942"/>
                  </a:lnTo>
                  <a:lnTo>
                    <a:pt x="833" y="942"/>
                  </a:lnTo>
                  <a:lnTo>
                    <a:pt x="833" y="938"/>
                  </a:lnTo>
                  <a:lnTo>
                    <a:pt x="829" y="938"/>
                  </a:lnTo>
                  <a:lnTo>
                    <a:pt x="825" y="934"/>
                  </a:lnTo>
                  <a:lnTo>
                    <a:pt x="821" y="934"/>
                  </a:lnTo>
                  <a:lnTo>
                    <a:pt x="817" y="930"/>
                  </a:lnTo>
                  <a:lnTo>
                    <a:pt x="813" y="930"/>
                  </a:lnTo>
                  <a:lnTo>
                    <a:pt x="813" y="926"/>
                  </a:lnTo>
                  <a:lnTo>
                    <a:pt x="809" y="926"/>
                  </a:lnTo>
                  <a:lnTo>
                    <a:pt x="797" y="918"/>
                  </a:lnTo>
                  <a:lnTo>
                    <a:pt x="794" y="918"/>
                  </a:lnTo>
                  <a:lnTo>
                    <a:pt x="790" y="918"/>
                  </a:lnTo>
                  <a:lnTo>
                    <a:pt x="786" y="922"/>
                  </a:lnTo>
                  <a:lnTo>
                    <a:pt x="782" y="926"/>
                  </a:lnTo>
                  <a:lnTo>
                    <a:pt x="778" y="926"/>
                  </a:lnTo>
                  <a:lnTo>
                    <a:pt x="774" y="926"/>
                  </a:lnTo>
                  <a:lnTo>
                    <a:pt x="770" y="926"/>
                  </a:lnTo>
                  <a:lnTo>
                    <a:pt x="770" y="922"/>
                  </a:lnTo>
                  <a:lnTo>
                    <a:pt x="766" y="922"/>
                  </a:lnTo>
                  <a:lnTo>
                    <a:pt x="762" y="922"/>
                  </a:lnTo>
                  <a:lnTo>
                    <a:pt x="758" y="922"/>
                  </a:lnTo>
                  <a:lnTo>
                    <a:pt x="758" y="918"/>
                  </a:lnTo>
                  <a:lnTo>
                    <a:pt x="758" y="922"/>
                  </a:lnTo>
                  <a:lnTo>
                    <a:pt x="754" y="922"/>
                  </a:lnTo>
                  <a:lnTo>
                    <a:pt x="750" y="922"/>
                  </a:lnTo>
                  <a:lnTo>
                    <a:pt x="750" y="926"/>
                  </a:lnTo>
                  <a:lnTo>
                    <a:pt x="750" y="922"/>
                  </a:lnTo>
                  <a:lnTo>
                    <a:pt x="746" y="922"/>
                  </a:lnTo>
                  <a:lnTo>
                    <a:pt x="742" y="922"/>
                  </a:lnTo>
                  <a:lnTo>
                    <a:pt x="742" y="918"/>
                  </a:lnTo>
                  <a:lnTo>
                    <a:pt x="738" y="918"/>
                  </a:lnTo>
                  <a:lnTo>
                    <a:pt x="738" y="922"/>
                  </a:lnTo>
                  <a:lnTo>
                    <a:pt x="734" y="918"/>
                  </a:lnTo>
                  <a:lnTo>
                    <a:pt x="734" y="914"/>
                  </a:lnTo>
                  <a:lnTo>
                    <a:pt x="730" y="914"/>
                  </a:lnTo>
                  <a:lnTo>
                    <a:pt x="726" y="910"/>
                  </a:lnTo>
                  <a:lnTo>
                    <a:pt x="722" y="910"/>
                  </a:lnTo>
                  <a:lnTo>
                    <a:pt x="718" y="914"/>
                  </a:lnTo>
                  <a:lnTo>
                    <a:pt x="714" y="914"/>
                  </a:lnTo>
                  <a:lnTo>
                    <a:pt x="714" y="910"/>
                  </a:lnTo>
                  <a:lnTo>
                    <a:pt x="710" y="910"/>
                  </a:lnTo>
                  <a:lnTo>
                    <a:pt x="706" y="910"/>
                  </a:lnTo>
                  <a:lnTo>
                    <a:pt x="702" y="910"/>
                  </a:lnTo>
                  <a:lnTo>
                    <a:pt x="702" y="906"/>
                  </a:lnTo>
                  <a:lnTo>
                    <a:pt x="702" y="902"/>
                  </a:lnTo>
                  <a:lnTo>
                    <a:pt x="698" y="902"/>
                  </a:lnTo>
                  <a:lnTo>
                    <a:pt x="698" y="898"/>
                  </a:lnTo>
                  <a:lnTo>
                    <a:pt x="698" y="894"/>
                  </a:lnTo>
                  <a:lnTo>
                    <a:pt x="694" y="894"/>
                  </a:lnTo>
                  <a:lnTo>
                    <a:pt x="694" y="898"/>
                  </a:lnTo>
                  <a:lnTo>
                    <a:pt x="694" y="902"/>
                  </a:lnTo>
                  <a:lnTo>
                    <a:pt x="690" y="902"/>
                  </a:lnTo>
                  <a:lnTo>
                    <a:pt x="662" y="902"/>
                  </a:lnTo>
                  <a:lnTo>
                    <a:pt x="658" y="902"/>
                  </a:lnTo>
                  <a:lnTo>
                    <a:pt x="654" y="902"/>
                  </a:lnTo>
                  <a:lnTo>
                    <a:pt x="650" y="902"/>
                  </a:lnTo>
                  <a:lnTo>
                    <a:pt x="646" y="902"/>
                  </a:lnTo>
                  <a:lnTo>
                    <a:pt x="642" y="902"/>
                  </a:lnTo>
                  <a:lnTo>
                    <a:pt x="638" y="902"/>
                  </a:lnTo>
                  <a:lnTo>
                    <a:pt x="630" y="902"/>
                  </a:lnTo>
                  <a:lnTo>
                    <a:pt x="622" y="902"/>
                  </a:lnTo>
                  <a:lnTo>
                    <a:pt x="614" y="902"/>
                  </a:lnTo>
                  <a:lnTo>
                    <a:pt x="602" y="902"/>
                  </a:lnTo>
                  <a:lnTo>
                    <a:pt x="598" y="902"/>
                  </a:lnTo>
                  <a:lnTo>
                    <a:pt x="586" y="902"/>
                  </a:lnTo>
                  <a:lnTo>
                    <a:pt x="582" y="902"/>
                  </a:lnTo>
                  <a:lnTo>
                    <a:pt x="578" y="902"/>
                  </a:lnTo>
                  <a:lnTo>
                    <a:pt x="574" y="902"/>
                  </a:lnTo>
                  <a:lnTo>
                    <a:pt x="570" y="902"/>
                  </a:lnTo>
                  <a:lnTo>
                    <a:pt x="566" y="902"/>
                  </a:lnTo>
                  <a:lnTo>
                    <a:pt x="562" y="902"/>
                  </a:lnTo>
                  <a:lnTo>
                    <a:pt x="558" y="902"/>
                  </a:lnTo>
                  <a:lnTo>
                    <a:pt x="554" y="902"/>
                  </a:lnTo>
                  <a:lnTo>
                    <a:pt x="546" y="902"/>
                  </a:lnTo>
                  <a:lnTo>
                    <a:pt x="542" y="902"/>
                  </a:lnTo>
                  <a:lnTo>
                    <a:pt x="534" y="902"/>
                  </a:lnTo>
                  <a:lnTo>
                    <a:pt x="530" y="902"/>
                  </a:lnTo>
                  <a:lnTo>
                    <a:pt x="526" y="902"/>
                  </a:lnTo>
                  <a:lnTo>
                    <a:pt x="522" y="902"/>
                  </a:lnTo>
                  <a:lnTo>
                    <a:pt x="518" y="902"/>
                  </a:lnTo>
                  <a:lnTo>
                    <a:pt x="510" y="902"/>
                  </a:lnTo>
                  <a:lnTo>
                    <a:pt x="506" y="902"/>
                  </a:lnTo>
                  <a:lnTo>
                    <a:pt x="502" y="902"/>
                  </a:lnTo>
                  <a:lnTo>
                    <a:pt x="498" y="902"/>
                  </a:lnTo>
                  <a:lnTo>
                    <a:pt x="494" y="902"/>
                  </a:lnTo>
                  <a:lnTo>
                    <a:pt x="490" y="902"/>
                  </a:lnTo>
                  <a:lnTo>
                    <a:pt x="486" y="902"/>
                  </a:lnTo>
                  <a:lnTo>
                    <a:pt x="478" y="902"/>
                  </a:lnTo>
                  <a:lnTo>
                    <a:pt x="474" y="902"/>
                  </a:lnTo>
                  <a:lnTo>
                    <a:pt x="470" y="902"/>
                  </a:lnTo>
                  <a:lnTo>
                    <a:pt x="466" y="902"/>
                  </a:lnTo>
                  <a:lnTo>
                    <a:pt x="462" y="902"/>
                  </a:lnTo>
                  <a:lnTo>
                    <a:pt x="458" y="902"/>
                  </a:lnTo>
                  <a:lnTo>
                    <a:pt x="446" y="902"/>
                  </a:lnTo>
                  <a:lnTo>
                    <a:pt x="442" y="902"/>
                  </a:lnTo>
                  <a:lnTo>
                    <a:pt x="439" y="902"/>
                  </a:lnTo>
                  <a:lnTo>
                    <a:pt x="435" y="902"/>
                  </a:lnTo>
                  <a:lnTo>
                    <a:pt x="431" y="902"/>
                  </a:lnTo>
                  <a:lnTo>
                    <a:pt x="423" y="902"/>
                  </a:lnTo>
                  <a:lnTo>
                    <a:pt x="419" y="902"/>
                  </a:lnTo>
                  <a:lnTo>
                    <a:pt x="415" y="902"/>
                  </a:lnTo>
                  <a:lnTo>
                    <a:pt x="407" y="902"/>
                  </a:lnTo>
                  <a:lnTo>
                    <a:pt x="403" y="902"/>
                  </a:lnTo>
                  <a:lnTo>
                    <a:pt x="399" y="902"/>
                  </a:lnTo>
                  <a:lnTo>
                    <a:pt x="395" y="902"/>
                  </a:lnTo>
                  <a:lnTo>
                    <a:pt x="391" y="902"/>
                  </a:lnTo>
                  <a:lnTo>
                    <a:pt x="387" y="902"/>
                  </a:lnTo>
                  <a:lnTo>
                    <a:pt x="383" y="902"/>
                  </a:lnTo>
                  <a:lnTo>
                    <a:pt x="379" y="902"/>
                  </a:lnTo>
                  <a:lnTo>
                    <a:pt x="363" y="902"/>
                  </a:lnTo>
                  <a:lnTo>
                    <a:pt x="359" y="902"/>
                  </a:lnTo>
                  <a:lnTo>
                    <a:pt x="355" y="902"/>
                  </a:lnTo>
                  <a:lnTo>
                    <a:pt x="351" y="902"/>
                  </a:lnTo>
                  <a:lnTo>
                    <a:pt x="347" y="902"/>
                  </a:lnTo>
                  <a:lnTo>
                    <a:pt x="343" y="902"/>
                  </a:lnTo>
                  <a:lnTo>
                    <a:pt x="335" y="902"/>
                  </a:lnTo>
                  <a:lnTo>
                    <a:pt x="331" y="902"/>
                  </a:lnTo>
                  <a:lnTo>
                    <a:pt x="327" y="902"/>
                  </a:lnTo>
                  <a:lnTo>
                    <a:pt x="319" y="902"/>
                  </a:lnTo>
                  <a:lnTo>
                    <a:pt x="315" y="902"/>
                  </a:lnTo>
                  <a:lnTo>
                    <a:pt x="311" y="902"/>
                  </a:lnTo>
                  <a:lnTo>
                    <a:pt x="303" y="902"/>
                  </a:lnTo>
                  <a:lnTo>
                    <a:pt x="287" y="902"/>
                  </a:lnTo>
                  <a:lnTo>
                    <a:pt x="283" y="902"/>
                  </a:lnTo>
                  <a:lnTo>
                    <a:pt x="279" y="902"/>
                  </a:lnTo>
                  <a:lnTo>
                    <a:pt x="275" y="902"/>
                  </a:lnTo>
                  <a:lnTo>
                    <a:pt x="271" y="902"/>
                  </a:lnTo>
                  <a:lnTo>
                    <a:pt x="267" y="902"/>
                  </a:lnTo>
                  <a:lnTo>
                    <a:pt x="267" y="898"/>
                  </a:lnTo>
                  <a:lnTo>
                    <a:pt x="271" y="898"/>
                  </a:lnTo>
                  <a:lnTo>
                    <a:pt x="275" y="898"/>
                  </a:lnTo>
                  <a:lnTo>
                    <a:pt x="275" y="894"/>
                  </a:lnTo>
                  <a:lnTo>
                    <a:pt x="271" y="894"/>
                  </a:lnTo>
                  <a:lnTo>
                    <a:pt x="271" y="898"/>
                  </a:lnTo>
                  <a:lnTo>
                    <a:pt x="267" y="894"/>
                  </a:lnTo>
                  <a:lnTo>
                    <a:pt x="267" y="890"/>
                  </a:lnTo>
                  <a:lnTo>
                    <a:pt x="271" y="886"/>
                  </a:lnTo>
                  <a:lnTo>
                    <a:pt x="267" y="890"/>
                  </a:lnTo>
                  <a:lnTo>
                    <a:pt x="263" y="890"/>
                  </a:lnTo>
                  <a:lnTo>
                    <a:pt x="263" y="894"/>
                  </a:lnTo>
                  <a:lnTo>
                    <a:pt x="259" y="894"/>
                  </a:lnTo>
                  <a:lnTo>
                    <a:pt x="259" y="890"/>
                  </a:lnTo>
                  <a:lnTo>
                    <a:pt x="255" y="890"/>
                  </a:lnTo>
                  <a:lnTo>
                    <a:pt x="255" y="886"/>
                  </a:lnTo>
                  <a:lnTo>
                    <a:pt x="259" y="886"/>
                  </a:lnTo>
                  <a:lnTo>
                    <a:pt x="259" y="890"/>
                  </a:lnTo>
                  <a:lnTo>
                    <a:pt x="263" y="890"/>
                  </a:lnTo>
                  <a:lnTo>
                    <a:pt x="263" y="886"/>
                  </a:lnTo>
                  <a:lnTo>
                    <a:pt x="263" y="890"/>
                  </a:lnTo>
                  <a:lnTo>
                    <a:pt x="259" y="890"/>
                  </a:lnTo>
                  <a:lnTo>
                    <a:pt x="259" y="886"/>
                  </a:lnTo>
                  <a:lnTo>
                    <a:pt x="259" y="882"/>
                  </a:lnTo>
                  <a:lnTo>
                    <a:pt x="259" y="878"/>
                  </a:lnTo>
                  <a:lnTo>
                    <a:pt x="255" y="878"/>
                  </a:lnTo>
                  <a:lnTo>
                    <a:pt x="259" y="878"/>
                  </a:lnTo>
                  <a:lnTo>
                    <a:pt x="259" y="882"/>
                  </a:lnTo>
                  <a:lnTo>
                    <a:pt x="255" y="882"/>
                  </a:lnTo>
                  <a:lnTo>
                    <a:pt x="259" y="882"/>
                  </a:lnTo>
                  <a:lnTo>
                    <a:pt x="259" y="886"/>
                  </a:lnTo>
                  <a:lnTo>
                    <a:pt x="255" y="886"/>
                  </a:lnTo>
                  <a:lnTo>
                    <a:pt x="255" y="882"/>
                  </a:lnTo>
                  <a:lnTo>
                    <a:pt x="255" y="886"/>
                  </a:lnTo>
                  <a:lnTo>
                    <a:pt x="251" y="886"/>
                  </a:lnTo>
                  <a:lnTo>
                    <a:pt x="247" y="886"/>
                  </a:lnTo>
                  <a:lnTo>
                    <a:pt x="247" y="882"/>
                  </a:lnTo>
                  <a:lnTo>
                    <a:pt x="243" y="882"/>
                  </a:lnTo>
                  <a:lnTo>
                    <a:pt x="243" y="878"/>
                  </a:lnTo>
                  <a:lnTo>
                    <a:pt x="247" y="882"/>
                  </a:lnTo>
                  <a:lnTo>
                    <a:pt x="247" y="878"/>
                  </a:lnTo>
                  <a:lnTo>
                    <a:pt x="247" y="874"/>
                  </a:lnTo>
                  <a:lnTo>
                    <a:pt x="247" y="870"/>
                  </a:lnTo>
                  <a:lnTo>
                    <a:pt x="247" y="874"/>
                  </a:lnTo>
                  <a:lnTo>
                    <a:pt x="247" y="870"/>
                  </a:lnTo>
                  <a:lnTo>
                    <a:pt x="251" y="870"/>
                  </a:lnTo>
                  <a:lnTo>
                    <a:pt x="247" y="870"/>
                  </a:lnTo>
                  <a:lnTo>
                    <a:pt x="247" y="874"/>
                  </a:lnTo>
                  <a:lnTo>
                    <a:pt x="243" y="874"/>
                  </a:lnTo>
                  <a:lnTo>
                    <a:pt x="239" y="874"/>
                  </a:lnTo>
                  <a:lnTo>
                    <a:pt x="239" y="870"/>
                  </a:lnTo>
                  <a:lnTo>
                    <a:pt x="243" y="870"/>
                  </a:lnTo>
                  <a:lnTo>
                    <a:pt x="243" y="866"/>
                  </a:lnTo>
                  <a:lnTo>
                    <a:pt x="243" y="862"/>
                  </a:lnTo>
                  <a:lnTo>
                    <a:pt x="243" y="866"/>
                  </a:lnTo>
                  <a:lnTo>
                    <a:pt x="243" y="870"/>
                  </a:lnTo>
                  <a:lnTo>
                    <a:pt x="239" y="870"/>
                  </a:lnTo>
                  <a:lnTo>
                    <a:pt x="235" y="870"/>
                  </a:lnTo>
                  <a:lnTo>
                    <a:pt x="235" y="866"/>
                  </a:lnTo>
                  <a:lnTo>
                    <a:pt x="231" y="866"/>
                  </a:lnTo>
                  <a:lnTo>
                    <a:pt x="231" y="870"/>
                  </a:lnTo>
                  <a:lnTo>
                    <a:pt x="227" y="870"/>
                  </a:lnTo>
                  <a:lnTo>
                    <a:pt x="223" y="870"/>
                  </a:lnTo>
                  <a:lnTo>
                    <a:pt x="223" y="866"/>
                  </a:lnTo>
                  <a:lnTo>
                    <a:pt x="227" y="866"/>
                  </a:lnTo>
                  <a:lnTo>
                    <a:pt x="231" y="866"/>
                  </a:lnTo>
                  <a:lnTo>
                    <a:pt x="235" y="862"/>
                  </a:lnTo>
                  <a:lnTo>
                    <a:pt x="235" y="858"/>
                  </a:lnTo>
                  <a:lnTo>
                    <a:pt x="231" y="858"/>
                  </a:lnTo>
                  <a:lnTo>
                    <a:pt x="231" y="862"/>
                  </a:lnTo>
                  <a:lnTo>
                    <a:pt x="231" y="866"/>
                  </a:lnTo>
                  <a:lnTo>
                    <a:pt x="227" y="866"/>
                  </a:lnTo>
                  <a:lnTo>
                    <a:pt x="223" y="866"/>
                  </a:lnTo>
                  <a:lnTo>
                    <a:pt x="223" y="862"/>
                  </a:lnTo>
                  <a:lnTo>
                    <a:pt x="219" y="862"/>
                  </a:lnTo>
                  <a:lnTo>
                    <a:pt x="223" y="862"/>
                  </a:lnTo>
                  <a:lnTo>
                    <a:pt x="223" y="858"/>
                  </a:lnTo>
                  <a:lnTo>
                    <a:pt x="223" y="862"/>
                  </a:lnTo>
                  <a:lnTo>
                    <a:pt x="219" y="858"/>
                  </a:lnTo>
                  <a:lnTo>
                    <a:pt x="219" y="862"/>
                  </a:lnTo>
                  <a:lnTo>
                    <a:pt x="215" y="862"/>
                  </a:lnTo>
                  <a:lnTo>
                    <a:pt x="211" y="862"/>
                  </a:lnTo>
                  <a:lnTo>
                    <a:pt x="207" y="862"/>
                  </a:lnTo>
                  <a:lnTo>
                    <a:pt x="211" y="862"/>
                  </a:lnTo>
                  <a:lnTo>
                    <a:pt x="207" y="862"/>
                  </a:lnTo>
                  <a:lnTo>
                    <a:pt x="203" y="858"/>
                  </a:lnTo>
                  <a:lnTo>
                    <a:pt x="207" y="858"/>
                  </a:lnTo>
                  <a:lnTo>
                    <a:pt x="211" y="858"/>
                  </a:lnTo>
                  <a:lnTo>
                    <a:pt x="215" y="858"/>
                  </a:lnTo>
                  <a:lnTo>
                    <a:pt x="215" y="854"/>
                  </a:lnTo>
                  <a:lnTo>
                    <a:pt x="215" y="858"/>
                  </a:lnTo>
                  <a:lnTo>
                    <a:pt x="211" y="858"/>
                  </a:lnTo>
                  <a:lnTo>
                    <a:pt x="207" y="858"/>
                  </a:lnTo>
                  <a:lnTo>
                    <a:pt x="203" y="854"/>
                  </a:lnTo>
                  <a:lnTo>
                    <a:pt x="203" y="858"/>
                  </a:lnTo>
                  <a:lnTo>
                    <a:pt x="199" y="854"/>
                  </a:lnTo>
                  <a:lnTo>
                    <a:pt x="203" y="850"/>
                  </a:lnTo>
                  <a:lnTo>
                    <a:pt x="207" y="854"/>
                  </a:lnTo>
                  <a:lnTo>
                    <a:pt x="207" y="850"/>
                  </a:lnTo>
                  <a:lnTo>
                    <a:pt x="211" y="850"/>
                  </a:lnTo>
                  <a:lnTo>
                    <a:pt x="207" y="850"/>
                  </a:lnTo>
                  <a:lnTo>
                    <a:pt x="203" y="850"/>
                  </a:lnTo>
                  <a:lnTo>
                    <a:pt x="199" y="850"/>
                  </a:lnTo>
                  <a:lnTo>
                    <a:pt x="203" y="850"/>
                  </a:lnTo>
                  <a:lnTo>
                    <a:pt x="203" y="846"/>
                  </a:lnTo>
                  <a:lnTo>
                    <a:pt x="207" y="842"/>
                  </a:lnTo>
                  <a:lnTo>
                    <a:pt x="211" y="842"/>
                  </a:lnTo>
                  <a:lnTo>
                    <a:pt x="215" y="846"/>
                  </a:lnTo>
                  <a:lnTo>
                    <a:pt x="215" y="842"/>
                  </a:lnTo>
                  <a:lnTo>
                    <a:pt x="219" y="842"/>
                  </a:lnTo>
                  <a:lnTo>
                    <a:pt x="215" y="842"/>
                  </a:lnTo>
                  <a:lnTo>
                    <a:pt x="211" y="842"/>
                  </a:lnTo>
                  <a:lnTo>
                    <a:pt x="207" y="842"/>
                  </a:lnTo>
                  <a:lnTo>
                    <a:pt x="203" y="842"/>
                  </a:lnTo>
                  <a:lnTo>
                    <a:pt x="207" y="842"/>
                  </a:lnTo>
                  <a:lnTo>
                    <a:pt x="207" y="838"/>
                  </a:lnTo>
                  <a:lnTo>
                    <a:pt x="203" y="842"/>
                  </a:lnTo>
                  <a:lnTo>
                    <a:pt x="203" y="846"/>
                  </a:lnTo>
                  <a:lnTo>
                    <a:pt x="203" y="850"/>
                  </a:lnTo>
                  <a:lnTo>
                    <a:pt x="199" y="850"/>
                  </a:lnTo>
                  <a:lnTo>
                    <a:pt x="199" y="846"/>
                  </a:lnTo>
                  <a:lnTo>
                    <a:pt x="199" y="842"/>
                  </a:lnTo>
                  <a:lnTo>
                    <a:pt x="199" y="838"/>
                  </a:lnTo>
                  <a:lnTo>
                    <a:pt x="203" y="838"/>
                  </a:lnTo>
                  <a:lnTo>
                    <a:pt x="203" y="834"/>
                  </a:lnTo>
                  <a:lnTo>
                    <a:pt x="203" y="830"/>
                  </a:lnTo>
                  <a:lnTo>
                    <a:pt x="207" y="830"/>
                  </a:lnTo>
                  <a:lnTo>
                    <a:pt x="211" y="830"/>
                  </a:lnTo>
                  <a:lnTo>
                    <a:pt x="215" y="834"/>
                  </a:lnTo>
                  <a:lnTo>
                    <a:pt x="215" y="838"/>
                  </a:lnTo>
                  <a:lnTo>
                    <a:pt x="215" y="834"/>
                  </a:lnTo>
                  <a:lnTo>
                    <a:pt x="215" y="830"/>
                  </a:lnTo>
                  <a:lnTo>
                    <a:pt x="211" y="830"/>
                  </a:lnTo>
                  <a:lnTo>
                    <a:pt x="215" y="826"/>
                  </a:lnTo>
                  <a:lnTo>
                    <a:pt x="211" y="826"/>
                  </a:lnTo>
                  <a:lnTo>
                    <a:pt x="211" y="830"/>
                  </a:lnTo>
                  <a:lnTo>
                    <a:pt x="207" y="826"/>
                  </a:lnTo>
                  <a:lnTo>
                    <a:pt x="207" y="822"/>
                  </a:lnTo>
                  <a:lnTo>
                    <a:pt x="211" y="822"/>
                  </a:lnTo>
                  <a:lnTo>
                    <a:pt x="211" y="818"/>
                  </a:lnTo>
                  <a:lnTo>
                    <a:pt x="211" y="822"/>
                  </a:lnTo>
                  <a:lnTo>
                    <a:pt x="207" y="822"/>
                  </a:lnTo>
                  <a:lnTo>
                    <a:pt x="207" y="826"/>
                  </a:lnTo>
                  <a:lnTo>
                    <a:pt x="203" y="826"/>
                  </a:lnTo>
                  <a:lnTo>
                    <a:pt x="203" y="830"/>
                  </a:lnTo>
                  <a:lnTo>
                    <a:pt x="199" y="830"/>
                  </a:lnTo>
                  <a:lnTo>
                    <a:pt x="199" y="826"/>
                  </a:lnTo>
                  <a:lnTo>
                    <a:pt x="195" y="830"/>
                  </a:lnTo>
                  <a:lnTo>
                    <a:pt x="195" y="826"/>
                  </a:lnTo>
                  <a:lnTo>
                    <a:pt x="199" y="822"/>
                  </a:lnTo>
                  <a:lnTo>
                    <a:pt x="195" y="822"/>
                  </a:lnTo>
                  <a:lnTo>
                    <a:pt x="195" y="826"/>
                  </a:lnTo>
                  <a:lnTo>
                    <a:pt x="191" y="830"/>
                  </a:lnTo>
                  <a:lnTo>
                    <a:pt x="191" y="826"/>
                  </a:lnTo>
                  <a:lnTo>
                    <a:pt x="191" y="822"/>
                  </a:lnTo>
                  <a:lnTo>
                    <a:pt x="195" y="822"/>
                  </a:lnTo>
                  <a:lnTo>
                    <a:pt x="195" y="818"/>
                  </a:lnTo>
                  <a:lnTo>
                    <a:pt x="195" y="814"/>
                  </a:lnTo>
                  <a:lnTo>
                    <a:pt x="195" y="818"/>
                  </a:lnTo>
                  <a:lnTo>
                    <a:pt x="191" y="818"/>
                  </a:lnTo>
                  <a:lnTo>
                    <a:pt x="187" y="814"/>
                  </a:lnTo>
                  <a:lnTo>
                    <a:pt x="187" y="810"/>
                  </a:lnTo>
                  <a:lnTo>
                    <a:pt x="183" y="806"/>
                  </a:lnTo>
                  <a:lnTo>
                    <a:pt x="183" y="802"/>
                  </a:lnTo>
                  <a:lnTo>
                    <a:pt x="187" y="802"/>
                  </a:lnTo>
                  <a:lnTo>
                    <a:pt x="187" y="806"/>
                  </a:lnTo>
                  <a:lnTo>
                    <a:pt x="191" y="802"/>
                  </a:lnTo>
                  <a:lnTo>
                    <a:pt x="195" y="802"/>
                  </a:lnTo>
                  <a:lnTo>
                    <a:pt x="195" y="806"/>
                  </a:lnTo>
                  <a:lnTo>
                    <a:pt x="199" y="806"/>
                  </a:lnTo>
                  <a:lnTo>
                    <a:pt x="195" y="806"/>
                  </a:lnTo>
                  <a:lnTo>
                    <a:pt x="195" y="802"/>
                  </a:lnTo>
                  <a:lnTo>
                    <a:pt x="191" y="802"/>
                  </a:lnTo>
                  <a:lnTo>
                    <a:pt x="187" y="802"/>
                  </a:lnTo>
                  <a:lnTo>
                    <a:pt x="183" y="798"/>
                  </a:lnTo>
                  <a:lnTo>
                    <a:pt x="183" y="794"/>
                  </a:lnTo>
                  <a:lnTo>
                    <a:pt x="187" y="794"/>
                  </a:lnTo>
                  <a:lnTo>
                    <a:pt x="187" y="790"/>
                  </a:lnTo>
                  <a:lnTo>
                    <a:pt x="183" y="794"/>
                  </a:lnTo>
                  <a:lnTo>
                    <a:pt x="179" y="798"/>
                  </a:lnTo>
                  <a:lnTo>
                    <a:pt x="179" y="802"/>
                  </a:lnTo>
                  <a:lnTo>
                    <a:pt x="175" y="806"/>
                  </a:lnTo>
                  <a:lnTo>
                    <a:pt x="175" y="802"/>
                  </a:lnTo>
                  <a:lnTo>
                    <a:pt x="171" y="802"/>
                  </a:lnTo>
                  <a:lnTo>
                    <a:pt x="171" y="798"/>
                  </a:lnTo>
                  <a:lnTo>
                    <a:pt x="167" y="794"/>
                  </a:lnTo>
                  <a:lnTo>
                    <a:pt x="163" y="794"/>
                  </a:lnTo>
                  <a:lnTo>
                    <a:pt x="163" y="790"/>
                  </a:lnTo>
                  <a:lnTo>
                    <a:pt x="163" y="786"/>
                  </a:lnTo>
                  <a:lnTo>
                    <a:pt x="167" y="786"/>
                  </a:lnTo>
                  <a:lnTo>
                    <a:pt x="171" y="786"/>
                  </a:lnTo>
                  <a:lnTo>
                    <a:pt x="175" y="786"/>
                  </a:lnTo>
                  <a:lnTo>
                    <a:pt x="171" y="786"/>
                  </a:lnTo>
                  <a:lnTo>
                    <a:pt x="167" y="786"/>
                  </a:lnTo>
                  <a:lnTo>
                    <a:pt x="163" y="786"/>
                  </a:lnTo>
                  <a:lnTo>
                    <a:pt x="163" y="782"/>
                  </a:lnTo>
                  <a:lnTo>
                    <a:pt x="159" y="782"/>
                  </a:lnTo>
                  <a:lnTo>
                    <a:pt x="159" y="778"/>
                  </a:lnTo>
                  <a:lnTo>
                    <a:pt x="159" y="774"/>
                  </a:lnTo>
                  <a:lnTo>
                    <a:pt x="159" y="778"/>
                  </a:lnTo>
                  <a:lnTo>
                    <a:pt x="163" y="778"/>
                  </a:lnTo>
                  <a:lnTo>
                    <a:pt x="163" y="782"/>
                  </a:lnTo>
                  <a:lnTo>
                    <a:pt x="167" y="782"/>
                  </a:lnTo>
                  <a:lnTo>
                    <a:pt x="163" y="778"/>
                  </a:lnTo>
                  <a:lnTo>
                    <a:pt x="159" y="778"/>
                  </a:lnTo>
                  <a:lnTo>
                    <a:pt x="159" y="774"/>
                  </a:lnTo>
                  <a:lnTo>
                    <a:pt x="163" y="774"/>
                  </a:lnTo>
                  <a:lnTo>
                    <a:pt x="167" y="774"/>
                  </a:lnTo>
                  <a:lnTo>
                    <a:pt x="167" y="778"/>
                  </a:lnTo>
                  <a:lnTo>
                    <a:pt x="167" y="774"/>
                  </a:lnTo>
                  <a:lnTo>
                    <a:pt x="163" y="774"/>
                  </a:lnTo>
                  <a:lnTo>
                    <a:pt x="163" y="770"/>
                  </a:lnTo>
                  <a:lnTo>
                    <a:pt x="163" y="766"/>
                  </a:lnTo>
                  <a:lnTo>
                    <a:pt x="167" y="766"/>
                  </a:lnTo>
                  <a:lnTo>
                    <a:pt x="171" y="766"/>
                  </a:lnTo>
                  <a:lnTo>
                    <a:pt x="167" y="766"/>
                  </a:lnTo>
                  <a:lnTo>
                    <a:pt x="167" y="762"/>
                  </a:lnTo>
                  <a:lnTo>
                    <a:pt x="171" y="758"/>
                  </a:lnTo>
                  <a:lnTo>
                    <a:pt x="175" y="758"/>
                  </a:lnTo>
                  <a:lnTo>
                    <a:pt x="175" y="754"/>
                  </a:lnTo>
                  <a:lnTo>
                    <a:pt x="171" y="758"/>
                  </a:lnTo>
                  <a:lnTo>
                    <a:pt x="171" y="754"/>
                  </a:lnTo>
                  <a:lnTo>
                    <a:pt x="171" y="758"/>
                  </a:lnTo>
                  <a:lnTo>
                    <a:pt x="167" y="754"/>
                  </a:lnTo>
                  <a:lnTo>
                    <a:pt x="171" y="754"/>
                  </a:lnTo>
                  <a:lnTo>
                    <a:pt x="171" y="758"/>
                  </a:lnTo>
                  <a:lnTo>
                    <a:pt x="167" y="762"/>
                  </a:lnTo>
                  <a:lnTo>
                    <a:pt x="167" y="766"/>
                  </a:lnTo>
                  <a:lnTo>
                    <a:pt x="163" y="766"/>
                  </a:lnTo>
                  <a:lnTo>
                    <a:pt x="163" y="762"/>
                  </a:lnTo>
                  <a:lnTo>
                    <a:pt x="167" y="762"/>
                  </a:lnTo>
                  <a:lnTo>
                    <a:pt x="167" y="758"/>
                  </a:lnTo>
                  <a:lnTo>
                    <a:pt x="163" y="754"/>
                  </a:lnTo>
                  <a:lnTo>
                    <a:pt x="163" y="750"/>
                  </a:lnTo>
                  <a:lnTo>
                    <a:pt x="163" y="746"/>
                  </a:lnTo>
                  <a:lnTo>
                    <a:pt x="167" y="746"/>
                  </a:lnTo>
                  <a:lnTo>
                    <a:pt x="167" y="742"/>
                  </a:lnTo>
                  <a:lnTo>
                    <a:pt x="163" y="742"/>
                  </a:lnTo>
                  <a:lnTo>
                    <a:pt x="159" y="742"/>
                  </a:lnTo>
                  <a:lnTo>
                    <a:pt x="159" y="738"/>
                  </a:lnTo>
                  <a:lnTo>
                    <a:pt x="155" y="738"/>
                  </a:lnTo>
                  <a:lnTo>
                    <a:pt x="155" y="734"/>
                  </a:lnTo>
                  <a:lnTo>
                    <a:pt x="151" y="734"/>
                  </a:lnTo>
                  <a:lnTo>
                    <a:pt x="147" y="734"/>
                  </a:lnTo>
                  <a:lnTo>
                    <a:pt x="147" y="730"/>
                  </a:lnTo>
                  <a:lnTo>
                    <a:pt x="143" y="730"/>
                  </a:lnTo>
                  <a:lnTo>
                    <a:pt x="139" y="730"/>
                  </a:lnTo>
                  <a:lnTo>
                    <a:pt x="139" y="726"/>
                  </a:lnTo>
                  <a:lnTo>
                    <a:pt x="135" y="722"/>
                  </a:lnTo>
                  <a:lnTo>
                    <a:pt x="135" y="718"/>
                  </a:lnTo>
                  <a:lnTo>
                    <a:pt x="131" y="718"/>
                  </a:lnTo>
                  <a:lnTo>
                    <a:pt x="131" y="714"/>
                  </a:lnTo>
                  <a:lnTo>
                    <a:pt x="131" y="710"/>
                  </a:lnTo>
                  <a:lnTo>
                    <a:pt x="127" y="710"/>
                  </a:lnTo>
                  <a:lnTo>
                    <a:pt x="127" y="706"/>
                  </a:lnTo>
                  <a:lnTo>
                    <a:pt x="123" y="702"/>
                  </a:lnTo>
                  <a:lnTo>
                    <a:pt x="123" y="698"/>
                  </a:lnTo>
                  <a:lnTo>
                    <a:pt x="119" y="698"/>
                  </a:lnTo>
                  <a:lnTo>
                    <a:pt x="119" y="694"/>
                  </a:lnTo>
                  <a:lnTo>
                    <a:pt x="119" y="690"/>
                  </a:lnTo>
                  <a:lnTo>
                    <a:pt x="115" y="690"/>
                  </a:lnTo>
                  <a:lnTo>
                    <a:pt x="115" y="686"/>
                  </a:lnTo>
                  <a:lnTo>
                    <a:pt x="111" y="682"/>
                  </a:lnTo>
                  <a:lnTo>
                    <a:pt x="107" y="682"/>
                  </a:lnTo>
                  <a:lnTo>
                    <a:pt x="107" y="678"/>
                  </a:lnTo>
                  <a:lnTo>
                    <a:pt x="103" y="678"/>
                  </a:lnTo>
                  <a:lnTo>
                    <a:pt x="103" y="674"/>
                  </a:lnTo>
                  <a:lnTo>
                    <a:pt x="99" y="674"/>
                  </a:lnTo>
                  <a:lnTo>
                    <a:pt x="99" y="670"/>
                  </a:lnTo>
                  <a:lnTo>
                    <a:pt x="95" y="670"/>
                  </a:lnTo>
                  <a:lnTo>
                    <a:pt x="95" y="666"/>
                  </a:lnTo>
                  <a:lnTo>
                    <a:pt x="91" y="666"/>
                  </a:lnTo>
                  <a:lnTo>
                    <a:pt x="88" y="662"/>
                  </a:lnTo>
                  <a:lnTo>
                    <a:pt x="91" y="662"/>
                  </a:lnTo>
                  <a:lnTo>
                    <a:pt x="91" y="658"/>
                  </a:lnTo>
                  <a:lnTo>
                    <a:pt x="88" y="658"/>
                  </a:lnTo>
                  <a:lnTo>
                    <a:pt x="84" y="654"/>
                  </a:lnTo>
                  <a:lnTo>
                    <a:pt x="80" y="654"/>
                  </a:lnTo>
                  <a:lnTo>
                    <a:pt x="76" y="654"/>
                  </a:lnTo>
                  <a:lnTo>
                    <a:pt x="76" y="658"/>
                  </a:lnTo>
                  <a:lnTo>
                    <a:pt x="72" y="658"/>
                  </a:lnTo>
                  <a:lnTo>
                    <a:pt x="72" y="662"/>
                  </a:lnTo>
                  <a:lnTo>
                    <a:pt x="68" y="662"/>
                  </a:lnTo>
                  <a:lnTo>
                    <a:pt x="68" y="666"/>
                  </a:lnTo>
                  <a:lnTo>
                    <a:pt x="68" y="670"/>
                  </a:lnTo>
                  <a:lnTo>
                    <a:pt x="64" y="670"/>
                  </a:lnTo>
                  <a:lnTo>
                    <a:pt x="60" y="670"/>
                  </a:lnTo>
                  <a:lnTo>
                    <a:pt x="56" y="670"/>
                  </a:lnTo>
                  <a:lnTo>
                    <a:pt x="56" y="674"/>
                  </a:lnTo>
                  <a:lnTo>
                    <a:pt x="52" y="674"/>
                  </a:lnTo>
                  <a:lnTo>
                    <a:pt x="52" y="670"/>
                  </a:lnTo>
                  <a:lnTo>
                    <a:pt x="52" y="666"/>
                  </a:lnTo>
                  <a:lnTo>
                    <a:pt x="48" y="662"/>
                  </a:lnTo>
                  <a:lnTo>
                    <a:pt x="44" y="658"/>
                  </a:lnTo>
                  <a:lnTo>
                    <a:pt x="40" y="658"/>
                  </a:lnTo>
                  <a:lnTo>
                    <a:pt x="36" y="654"/>
                  </a:lnTo>
                  <a:lnTo>
                    <a:pt x="36" y="650"/>
                  </a:lnTo>
                  <a:lnTo>
                    <a:pt x="32" y="650"/>
                  </a:lnTo>
                  <a:lnTo>
                    <a:pt x="28" y="646"/>
                  </a:lnTo>
                  <a:lnTo>
                    <a:pt x="28" y="642"/>
                  </a:lnTo>
                  <a:lnTo>
                    <a:pt x="28" y="638"/>
                  </a:lnTo>
                  <a:lnTo>
                    <a:pt x="24" y="638"/>
                  </a:lnTo>
                  <a:lnTo>
                    <a:pt x="20" y="638"/>
                  </a:lnTo>
                  <a:lnTo>
                    <a:pt x="20" y="642"/>
                  </a:lnTo>
                  <a:lnTo>
                    <a:pt x="16" y="642"/>
                  </a:lnTo>
                  <a:lnTo>
                    <a:pt x="8" y="642"/>
                  </a:lnTo>
                  <a:lnTo>
                    <a:pt x="0" y="642"/>
                  </a:lnTo>
                  <a:lnTo>
                    <a:pt x="0" y="638"/>
                  </a:lnTo>
                  <a:lnTo>
                    <a:pt x="0" y="626"/>
                  </a:lnTo>
                  <a:lnTo>
                    <a:pt x="0" y="583"/>
                  </a:lnTo>
                  <a:lnTo>
                    <a:pt x="0" y="571"/>
                  </a:lnTo>
                  <a:lnTo>
                    <a:pt x="0" y="555"/>
                  </a:lnTo>
                  <a:lnTo>
                    <a:pt x="0" y="551"/>
                  </a:lnTo>
                  <a:lnTo>
                    <a:pt x="0" y="543"/>
                  </a:lnTo>
                  <a:lnTo>
                    <a:pt x="0" y="519"/>
                  </a:lnTo>
                  <a:lnTo>
                    <a:pt x="0" y="507"/>
                  </a:lnTo>
                  <a:lnTo>
                    <a:pt x="0" y="495"/>
                  </a:lnTo>
                  <a:lnTo>
                    <a:pt x="0" y="483"/>
                  </a:lnTo>
                  <a:lnTo>
                    <a:pt x="0" y="479"/>
                  </a:lnTo>
                  <a:lnTo>
                    <a:pt x="0" y="475"/>
                  </a:lnTo>
                  <a:lnTo>
                    <a:pt x="0" y="471"/>
                  </a:lnTo>
                  <a:lnTo>
                    <a:pt x="0" y="463"/>
                  </a:lnTo>
                  <a:lnTo>
                    <a:pt x="0" y="459"/>
                  </a:lnTo>
                  <a:lnTo>
                    <a:pt x="0" y="451"/>
                  </a:lnTo>
                  <a:lnTo>
                    <a:pt x="0" y="447"/>
                  </a:lnTo>
                  <a:lnTo>
                    <a:pt x="0" y="443"/>
                  </a:lnTo>
                  <a:lnTo>
                    <a:pt x="0" y="439"/>
                  </a:lnTo>
                  <a:lnTo>
                    <a:pt x="0" y="431"/>
                  </a:lnTo>
                  <a:lnTo>
                    <a:pt x="0" y="419"/>
                  </a:lnTo>
                  <a:lnTo>
                    <a:pt x="0" y="407"/>
                  </a:lnTo>
                  <a:lnTo>
                    <a:pt x="0" y="403"/>
                  </a:lnTo>
                  <a:lnTo>
                    <a:pt x="0" y="399"/>
                  </a:lnTo>
                  <a:lnTo>
                    <a:pt x="4" y="399"/>
                  </a:lnTo>
                  <a:lnTo>
                    <a:pt x="4" y="403"/>
                  </a:lnTo>
                  <a:lnTo>
                    <a:pt x="8" y="403"/>
                  </a:lnTo>
                  <a:lnTo>
                    <a:pt x="12" y="403"/>
                  </a:lnTo>
                  <a:lnTo>
                    <a:pt x="16" y="403"/>
                  </a:lnTo>
                  <a:lnTo>
                    <a:pt x="20" y="403"/>
                  </a:lnTo>
                  <a:lnTo>
                    <a:pt x="24" y="403"/>
                  </a:lnTo>
                  <a:lnTo>
                    <a:pt x="28" y="403"/>
                  </a:lnTo>
                  <a:lnTo>
                    <a:pt x="28" y="407"/>
                  </a:lnTo>
                  <a:lnTo>
                    <a:pt x="32" y="407"/>
                  </a:lnTo>
                  <a:lnTo>
                    <a:pt x="36" y="411"/>
                  </a:lnTo>
                  <a:lnTo>
                    <a:pt x="40" y="411"/>
                  </a:lnTo>
                  <a:lnTo>
                    <a:pt x="40" y="415"/>
                  </a:lnTo>
                  <a:lnTo>
                    <a:pt x="44" y="415"/>
                  </a:lnTo>
                  <a:lnTo>
                    <a:pt x="48" y="415"/>
                  </a:lnTo>
                  <a:lnTo>
                    <a:pt x="52" y="419"/>
                  </a:lnTo>
                  <a:lnTo>
                    <a:pt x="56" y="419"/>
                  </a:lnTo>
                  <a:lnTo>
                    <a:pt x="60" y="419"/>
                  </a:lnTo>
                  <a:lnTo>
                    <a:pt x="64" y="423"/>
                  </a:lnTo>
                  <a:lnTo>
                    <a:pt x="68" y="419"/>
                  </a:lnTo>
                  <a:lnTo>
                    <a:pt x="72" y="419"/>
                  </a:lnTo>
                  <a:lnTo>
                    <a:pt x="72" y="423"/>
                  </a:lnTo>
                  <a:lnTo>
                    <a:pt x="76" y="423"/>
                  </a:lnTo>
                  <a:lnTo>
                    <a:pt x="80" y="423"/>
                  </a:lnTo>
                  <a:lnTo>
                    <a:pt x="84" y="423"/>
                  </a:lnTo>
                  <a:lnTo>
                    <a:pt x="84" y="427"/>
                  </a:lnTo>
                  <a:lnTo>
                    <a:pt x="88" y="427"/>
                  </a:lnTo>
                  <a:lnTo>
                    <a:pt x="84" y="423"/>
                  </a:lnTo>
                  <a:lnTo>
                    <a:pt x="80" y="423"/>
                  </a:lnTo>
                  <a:lnTo>
                    <a:pt x="80" y="419"/>
                  </a:lnTo>
                  <a:lnTo>
                    <a:pt x="84" y="419"/>
                  </a:lnTo>
                  <a:lnTo>
                    <a:pt x="88" y="419"/>
                  </a:lnTo>
                  <a:lnTo>
                    <a:pt x="91" y="423"/>
                  </a:lnTo>
                  <a:lnTo>
                    <a:pt x="91" y="419"/>
                  </a:lnTo>
                  <a:lnTo>
                    <a:pt x="95" y="419"/>
                  </a:lnTo>
                  <a:lnTo>
                    <a:pt x="95" y="423"/>
                  </a:lnTo>
                  <a:lnTo>
                    <a:pt x="99" y="427"/>
                  </a:lnTo>
                  <a:lnTo>
                    <a:pt x="103" y="427"/>
                  </a:lnTo>
                  <a:lnTo>
                    <a:pt x="99" y="427"/>
                  </a:lnTo>
                  <a:lnTo>
                    <a:pt x="99" y="423"/>
                  </a:lnTo>
                  <a:lnTo>
                    <a:pt x="95" y="419"/>
                  </a:lnTo>
                  <a:lnTo>
                    <a:pt x="95" y="415"/>
                  </a:lnTo>
                  <a:lnTo>
                    <a:pt x="99" y="415"/>
                  </a:lnTo>
                  <a:lnTo>
                    <a:pt x="103" y="411"/>
                  </a:lnTo>
                  <a:lnTo>
                    <a:pt x="107" y="411"/>
                  </a:lnTo>
                  <a:lnTo>
                    <a:pt x="111" y="407"/>
                  </a:lnTo>
                  <a:lnTo>
                    <a:pt x="115" y="407"/>
                  </a:lnTo>
                  <a:lnTo>
                    <a:pt x="119" y="407"/>
                  </a:lnTo>
                  <a:lnTo>
                    <a:pt x="119" y="403"/>
                  </a:lnTo>
                  <a:lnTo>
                    <a:pt x="123" y="399"/>
                  </a:lnTo>
                  <a:lnTo>
                    <a:pt x="127" y="399"/>
                  </a:lnTo>
                  <a:lnTo>
                    <a:pt x="131" y="399"/>
                  </a:lnTo>
                  <a:lnTo>
                    <a:pt x="127" y="399"/>
                  </a:lnTo>
                  <a:lnTo>
                    <a:pt x="131" y="399"/>
                  </a:lnTo>
                  <a:lnTo>
                    <a:pt x="135" y="399"/>
                  </a:lnTo>
                  <a:lnTo>
                    <a:pt x="139" y="399"/>
                  </a:lnTo>
                  <a:lnTo>
                    <a:pt x="139" y="395"/>
                  </a:lnTo>
                  <a:lnTo>
                    <a:pt x="143" y="395"/>
                  </a:lnTo>
                  <a:lnTo>
                    <a:pt x="143" y="391"/>
                  </a:lnTo>
                  <a:lnTo>
                    <a:pt x="147" y="391"/>
                  </a:lnTo>
                  <a:lnTo>
                    <a:pt x="147" y="395"/>
                  </a:lnTo>
                  <a:lnTo>
                    <a:pt x="151" y="395"/>
                  </a:lnTo>
                  <a:lnTo>
                    <a:pt x="151" y="391"/>
                  </a:lnTo>
                  <a:lnTo>
                    <a:pt x="151" y="387"/>
                  </a:lnTo>
                  <a:lnTo>
                    <a:pt x="155" y="387"/>
                  </a:lnTo>
                  <a:lnTo>
                    <a:pt x="159" y="387"/>
                  </a:lnTo>
                  <a:lnTo>
                    <a:pt x="163" y="391"/>
                  </a:lnTo>
                  <a:lnTo>
                    <a:pt x="167" y="387"/>
                  </a:lnTo>
                  <a:lnTo>
                    <a:pt x="167" y="383"/>
                  </a:lnTo>
                  <a:lnTo>
                    <a:pt x="171" y="383"/>
                  </a:lnTo>
                  <a:lnTo>
                    <a:pt x="175" y="387"/>
                  </a:lnTo>
                  <a:lnTo>
                    <a:pt x="175" y="391"/>
                  </a:lnTo>
                  <a:lnTo>
                    <a:pt x="171" y="391"/>
                  </a:lnTo>
                  <a:lnTo>
                    <a:pt x="167" y="395"/>
                  </a:lnTo>
                  <a:lnTo>
                    <a:pt x="163" y="395"/>
                  </a:lnTo>
                  <a:lnTo>
                    <a:pt x="159" y="395"/>
                  </a:lnTo>
                  <a:lnTo>
                    <a:pt x="159" y="399"/>
                  </a:lnTo>
                  <a:lnTo>
                    <a:pt x="155" y="399"/>
                  </a:lnTo>
                  <a:lnTo>
                    <a:pt x="151" y="403"/>
                  </a:lnTo>
                  <a:lnTo>
                    <a:pt x="151" y="399"/>
                  </a:lnTo>
                  <a:lnTo>
                    <a:pt x="147" y="399"/>
                  </a:lnTo>
                  <a:lnTo>
                    <a:pt x="147" y="403"/>
                  </a:lnTo>
                  <a:lnTo>
                    <a:pt x="143" y="403"/>
                  </a:lnTo>
                  <a:lnTo>
                    <a:pt x="139" y="403"/>
                  </a:lnTo>
                  <a:lnTo>
                    <a:pt x="135" y="403"/>
                  </a:lnTo>
                  <a:lnTo>
                    <a:pt x="135" y="407"/>
                  </a:lnTo>
                  <a:lnTo>
                    <a:pt x="131" y="411"/>
                  </a:lnTo>
                  <a:lnTo>
                    <a:pt x="127" y="411"/>
                  </a:lnTo>
                  <a:lnTo>
                    <a:pt x="123" y="411"/>
                  </a:lnTo>
                  <a:lnTo>
                    <a:pt x="123" y="415"/>
                  </a:lnTo>
                  <a:lnTo>
                    <a:pt x="119" y="415"/>
                  </a:lnTo>
                  <a:lnTo>
                    <a:pt x="119" y="419"/>
                  </a:lnTo>
                  <a:lnTo>
                    <a:pt x="115" y="419"/>
                  </a:lnTo>
                  <a:lnTo>
                    <a:pt x="119" y="419"/>
                  </a:lnTo>
                  <a:lnTo>
                    <a:pt x="115" y="419"/>
                  </a:lnTo>
                  <a:lnTo>
                    <a:pt x="115" y="423"/>
                  </a:lnTo>
                  <a:lnTo>
                    <a:pt x="115" y="419"/>
                  </a:lnTo>
                  <a:lnTo>
                    <a:pt x="111" y="423"/>
                  </a:lnTo>
                  <a:lnTo>
                    <a:pt x="115" y="423"/>
                  </a:lnTo>
                  <a:lnTo>
                    <a:pt x="119" y="427"/>
                  </a:lnTo>
                  <a:lnTo>
                    <a:pt x="123" y="427"/>
                  </a:lnTo>
                  <a:lnTo>
                    <a:pt x="119" y="427"/>
                  </a:lnTo>
                  <a:lnTo>
                    <a:pt x="115" y="423"/>
                  </a:lnTo>
                  <a:lnTo>
                    <a:pt x="119" y="423"/>
                  </a:lnTo>
                  <a:lnTo>
                    <a:pt x="115" y="423"/>
                  </a:lnTo>
                  <a:lnTo>
                    <a:pt x="119" y="423"/>
                  </a:lnTo>
                  <a:lnTo>
                    <a:pt x="123" y="423"/>
                  </a:lnTo>
                  <a:lnTo>
                    <a:pt x="127" y="423"/>
                  </a:lnTo>
                  <a:lnTo>
                    <a:pt x="131" y="423"/>
                  </a:lnTo>
                  <a:lnTo>
                    <a:pt x="127" y="419"/>
                  </a:lnTo>
                  <a:lnTo>
                    <a:pt x="127" y="423"/>
                  </a:lnTo>
                  <a:lnTo>
                    <a:pt x="123" y="423"/>
                  </a:lnTo>
                  <a:lnTo>
                    <a:pt x="123" y="419"/>
                  </a:lnTo>
                  <a:lnTo>
                    <a:pt x="123" y="415"/>
                  </a:lnTo>
                  <a:lnTo>
                    <a:pt x="127" y="415"/>
                  </a:lnTo>
                  <a:lnTo>
                    <a:pt x="131" y="415"/>
                  </a:lnTo>
                  <a:lnTo>
                    <a:pt x="131" y="411"/>
                  </a:lnTo>
                  <a:lnTo>
                    <a:pt x="131" y="415"/>
                  </a:lnTo>
                  <a:lnTo>
                    <a:pt x="131" y="411"/>
                  </a:lnTo>
                  <a:lnTo>
                    <a:pt x="135" y="411"/>
                  </a:lnTo>
                  <a:lnTo>
                    <a:pt x="139" y="411"/>
                  </a:lnTo>
                  <a:lnTo>
                    <a:pt x="139" y="407"/>
                  </a:lnTo>
                  <a:lnTo>
                    <a:pt x="135" y="407"/>
                  </a:lnTo>
                  <a:lnTo>
                    <a:pt x="139" y="407"/>
                  </a:lnTo>
                  <a:lnTo>
                    <a:pt x="143" y="407"/>
                  </a:lnTo>
                  <a:lnTo>
                    <a:pt x="147" y="403"/>
                  </a:lnTo>
                  <a:lnTo>
                    <a:pt x="147" y="407"/>
                  </a:lnTo>
                  <a:lnTo>
                    <a:pt x="143" y="411"/>
                  </a:lnTo>
                  <a:lnTo>
                    <a:pt x="147" y="411"/>
                  </a:lnTo>
                  <a:lnTo>
                    <a:pt x="147" y="407"/>
                  </a:lnTo>
                  <a:lnTo>
                    <a:pt x="147" y="403"/>
                  </a:lnTo>
                  <a:lnTo>
                    <a:pt x="147" y="407"/>
                  </a:lnTo>
                  <a:lnTo>
                    <a:pt x="151" y="407"/>
                  </a:lnTo>
                  <a:lnTo>
                    <a:pt x="151" y="403"/>
                  </a:lnTo>
                  <a:lnTo>
                    <a:pt x="147" y="403"/>
                  </a:lnTo>
                  <a:lnTo>
                    <a:pt x="151" y="403"/>
                  </a:lnTo>
                  <a:lnTo>
                    <a:pt x="151" y="407"/>
                  </a:lnTo>
                  <a:lnTo>
                    <a:pt x="147" y="411"/>
                  </a:lnTo>
                  <a:lnTo>
                    <a:pt x="151" y="407"/>
                  </a:lnTo>
                  <a:lnTo>
                    <a:pt x="151" y="403"/>
                  </a:lnTo>
                  <a:lnTo>
                    <a:pt x="151" y="407"/>
                  </a:lnTo>
                  <a:lnTo>
                    <a:pt x="151" y="411"/>
                  </a:lnTo>
                  <a:lnTo>
                    <a:pt x="151" y="407"/>
                  </a:lnTo>
                  <a:lnTo>
                    <a:pt x="151" y="411"/>
                  </a:lnTo>
                  <a:lnTo>
                    <a:pt x="151" y="415"/>
                  </a:lnTo>
                  <a:lnTo>
                    <a:pt x="151" y="411"/>
                  </a:lnTo>
                  <a:lnTo>
                    <a:pt x="155" y="407"/>
                  </a:lnTo>
                  <a:lnTo>
                    <a:pt x="159" y="403"/>
                  </a:lnTo>
                  <a:lnTo>
                    <a:pt x="159" y="399"/>
                  </a:lnTo>
                  <a:lnTo>
                    <a:pt x="163" y="399"/>
                  </a:lnTo>
                  <a:lnTo>
                    <a:pt x="167" y="399"/>
                  </a:lnTo>
                  <a:lnTo>
                    <a:pt x="171" y="395"/>
                  </a:lnTo>
                  <a:lnTo>
                    <a:pt x="175" y="395"/>
                  </a:lnTo>
                  <a:lnTo>
                    <a:pt x="179" y="395"/>
                  </a:lnTo>
                  <a:lnTo>
                    <a:pt x="179" y="391"/>
                  </a:lnTo>
                  <a:lnTo>
                    <a:pt x="183" y="391"/>
                  </a:lnTo>
                  <a:lnTo>
                    <a:pt x="183" y="395"/>
                  </a:lnTo>
                  <a:lnTo>
                    <a:pt x="179" y="395"/>
                  </a:lnTo>
                  <a:lnTo>
                    <a:pt x="179" y="399"/>
                  </a:lnTo>
                  <a:lnTo>
                    <a:pt x="183" y="399"/>
                  </a:lnTo>
                  <a:lnTo>
                    <a:pt x="187" y="395"/>
                  </a:lnTo>
                  <a:lnTo>
                    <a:pt x="191" y="391"/>
                  </a:lnTo>
                  <a:lnTo>
                    <a:pt x="191" y="387"/>
                  </a:lnTo>
                  <a:lnTo>
                    <a:pt x="195" y="387"/>
                  </a:lnTo>
                  <a:lnTo>
                    <a:pt x="199" y="387"/>
                  </a:lnTo>
                  <a:lnTo>
                    <a:pt x="203" y="383"/>
                  </a:lnTo>
                  <a:lnTo>
                    <a:pt x="199" y="383"/>
                  </a:lnTo>
                  <a:lnTo>
                    <a:pt x="195" y="383"/>
                  </a:lnTo>
                  <a:lnTo>
                    <a:pt x="199" y="379"/>
                  </a:lnTo>
                  <a:lnTo>
                    <a:pt x="195" y="379"/>
                  </a:lnTo>
                  <a:lnTo>
                    <a:pt x="195" y="375"/>
                  </a:lnTo>
                  <a:lnTo>
                    <a:pt x="199" y="375"/>
                  </a:lnTo>
                  <a:lnTo>
                    <a:pt x="199" y="379"/>
                  </a:lnTo>
                  <a:lnTo>
                    <a:pt x="203" y="379"/>
                  </a:lnTo>
                  <a:lnTo>
                    <a:pt x="207" y="383"/>
                  </a:lnTo>
                  <a:lnTo>
                    <a:pt x="211" y="383"/>
                  </a:lnTo>
                  <a:lnTo>
                    <a:pt x="211" y="387"/>
                  </a:lnTo>
                  <a:lnTo>
                    <a:pt x="211" y="391"/>
                  </a:lnTo>
                  <a:lnTo>
                    <a:pt x="215" y="395"/>
                  </a:lnTo>
                  <a:lnTo>
                    <a:pt x="215" y="399"/>
                  </a:lnTo>
                  <a:lnTo>
                    <a:pt x="219" y="399"/>
                  </a:lnTo>
                  <a:lnTo>
                    <a:pt x="223" y="403"/>
                  </a:lnTo>
                  <a:lnTo>
                    <a:pt x="223" y="407"/>
                  </a:lnTo>
                  <a:lnTo>
                    <a:pt x="227" y="407"/>
                  </a:lnTo>
                  <a:lnTo>
                    <a:pt x="235" y="407"/>
                  </a:lnTo>
                  <a:lnTo>
                    <a:pt x="235" y="411"/>
                  </a:lnTo>
                  <a:lnTo>
                    <a:pt x="235" y="407"/>
                  </a:lnTo>
                  <a:lnTo>
                    <a:pt x="239" y="407"/>
                  </a:lnTo>
                  <a:lnTo>
                    <a:pt x="235" y="407"/>
                  </a:lnTo>
                  <a:lnTo>
                    <a:pt x="231" y="407"/>
                  </a:lnTo>
                  <a:lnTo>
                    <a:pt x="235" y="403"/>
                  </a:lnTo>
                  <a:lnTo>
                    <a:pt x="239" y="403"/>
                  </a:lnTo>
                  <a:lnTo>
                    <a:pt x="235" y="399"/>
                  </a:lnTo>
                  <a:lnTo>
                    <a:pt x="239" y="399"/>
                  </a:lnTo>
                  <a:lnTo>
                    <a:pt x="243" y="399"/>
                  </a:lnTo>
                  <a:lnTo>
                    <a:pt x="239" y="399"/>
                  </a:lnTo>
                  <a:lnTo>
                    <a:pt x="239" y="395"/>
                  </a:lnTo>
                  <a:lnTo>
                    <a:pt x="243" y="395"/>
                  </a:lnTo>
                  <a:lnTo>
                    <a:pt x="243" y="391"/>
                  </a:lnTo>
                  <a:lnTo>
                    <a:pt x="247" y="391"/>
                  </a:lnTo>
                  <a:lnTo>
                    <a:pt x="243" y="391"/>
                  </a:lnTo>
                  <a:lnTo>
                    <a:pt x="239" y="391"/>
                  </a:lnTo>
                  <a:lnTo>
                    <a:pt x="243" y="387"/>
                  </a:lnTo>
                  <a:lnTo>
                    <a:pt x="243" y="391"/>
                  </a:lnTo>
                  <a:lnTo>
                    <a:pt x="247" y="387"/>
                  </a:lnTo>
                  <a:lnTo>
                    <a:pt x="247" y="391"/>
                  </a:lnTo>
                  <a:lnTo>
                    <a:pt x="251" y="391"/>
                  </a:lnTo>
                  <a:lnTo>
                    <a:pt x="251" y="387"/>
                  </a:lnTo>
                  <a:lnTo>
                    <a:pt x="247" y="387"/>
                  </a:lnTo>
                  <a:lnTo>
                    <a:pt x="251" y="387"/>
                  </a:lnTo>
                  <a:lnTo>
                    <a:pt x="251" y="391"/>
                  </a:lnTo>
                  <a:lnTo>
                    <a:pt x="251" y="395"/>
                  </a:lnTo>
                  <a:lnTo>
                    <a:pt x="251" y="399"/>
                  </a:lnTo>
                  <a:lnTo>
                    <a:pt x="255" y="399"/>
                  </a:lnTo>
                  <a:lnTo>
                    <a:pt x="255" y="403"/>
                  </a:lnTo>
                  <a:lnTo>
                    <a:pt x="251" y="403"/>
                  </a:lnTo>
                  <a:lnTo>
                    <a:pt x="247" y="407"/>
                  </a:lnTo>
                  <a:lnTo>
                    <a:pt x="251" y="407"/>
                  </a:lnTo>
                  <a:lnTo>
                    <a:pt x="255" y="407"/>
                  </a:lnTo>
                  <a:lnTo>
                    <a:pt x="259" y="407"/>
                  </a:lnTo>
                  <a:lnTo>
                    <a:pt x="263" y="407"/>
                  </a:lnTo>
                  <a:lnTo>
                    <a:pt x="267" y="407"/>
                  </a:lnTo>
                  <a:lnTo>
                    <a:pt x="267" y="403"/>
                  </a:lnTo>
                  <a:lnTo>
                    <a:pt x="271" y="403"/>
                  </a:lnTo>
                  <a:lnTo>
                    <a:pt x="271" y="399"/>
                  </a:lnTo>
                  <a:lnTo>
                    <a:pt x="271" y="395"/>
                  </a:lnTo>
                  <a:lnTo>
                    <a:pt x="275" y="395"/>
                  </a:lnTo>
                  <a:lnTo>
                    <a:pt x="279" y="395"/>
                  </a:lnTo>
                  <a:lnTo>
                    <a:pt x="283" y="395"/>
                  </a:lnTo>
                  <a:lnTo>
                    <a:pt x="287" y="395"/>
                  </a:lnTo>
                  <a:lnTo>
                    <a:pt x="291" y="395"/>
                  </a:lnTo>
                  <a:lnTo>
                    <a:pt x="295" y="399"/>
                  </a:lnTo>
                  <a:lnTo>
                    <a:pt x="299" y="399"/>
                  </a:lnTo>
                  <a:lnTo>
                    <a:pt x="303" y="399"/>
                  </a:lnTo>
                  <a:lnTo>
                    <a:pt x="303" y="403"/>
                  </a:lnTo>
                  <a:lnTo>
                    <a:pt x="307" y="403"/>
                  </a:lnTo>
                  <a:lnTo>
                    <a:pt x="311" y="407"/>
                  </a:lnTo>
                  <a:lnTo>
                    <a:pt x="315" y="407"/>
                  </a:lnTo>
                  <a:lnTo>
                    <a:pt x="319" y="407"/>
                  </a:lnTo>
                  <a:lnTo>
                    <a:pt x="323" y="411"/>
                  </a:lnTo>
                  <a:lnTo>
                    <a:pt x="327" y="411"/>
                  </a:lnTo>
                  <a:lnTo>
                    <a:pt x="331" y="411"/>
                  </a:lnTo>
                  <a:lnTo>
                    <a:pt x="335" y="411"/>
                  </a:lnTo>
                  <a:lnTo>
                    <a:pt x="339" y="411"/>
                  </a:lnTo>
                  <a:lnTo>
                    <a:pt x="339" y="415"/>
                  </a:lnTo>
                  <a:lnTo>
                    <a:pt x="343" y="415"/>
                  </a:lnTo>
                  <a:lnTo>
                    <a:pt x="347" y="415"/>
                  </a:lnTo>
                  <a:lnTo>
                    <a:pt x="347" y="419"/>
                  </a:lnTo>
                  <a:lnTo>
                    <a:pt x="351" y="419"/>
                  </a:lnTo>
                  <a:lnTo>
                    <a:pt x="355" y="419"/>
                  </a:lnTo>
                  <a:lnTo>
                    <a:pt x="359" y="419"/>
                  </a:lnTo>
                  <a:lnTo>
                    <a:pt x="359" y="423"/>
                  </a:lnTo>
                  <a:lnTo>
                    <a:pt x="363" y="419"/>
                  </a:lnTo>
                  <a:lnTo>
                    <a:pt x="367" y="423"/>
                  </a:lnTo>
                  <a:lnTo>
                    <a:pt x="371" y="423"/>
                  </a:lnTo>
                  <a:lnTo>
                    <a:pt x="375" y="423"/>
                  </a:lnTo>
                  <a:lnTo>
                    <a:pt x="379" y="423"/>
                  </a:lnTo>
                  <a:lnTo>
                    <a:pt x="375" y="423"/>
                  </a:lnTo>
                  <a:lnTo>
                    <a:pt x="375" y="419"/>
                  </a:lnTo>
                  <a:lnTo>
                    <a:pt x="379" y="419"/>
                  </a:lnTo>
                  <a:lnTo>
                    <a:pt x="383" y="419"/>
                  </a:lnTo>
                  <a:lnTo>
                    <a:pt x="379" y="419"/>
                  </a:lnTo>
                  <a:lnTo>
                    <a:pt x="383" y="419"/>
                  </a:lnTo>
                  <a:lnTo>
                    <a:pt x="387" y="419"/>
                  </a:lnTo>
                  <a:lnTo>
                    <a:pt x="391" y="423"/>
                  </a:lnTo>
                  <a:lnTo>
                    <a:pt x="395" y="423"/>
                  </a:lnTo>
                  <a:lnTo>
                    <a:pt x="399" y="423"/>
                  </a:lnTo>
                  <a:lnTo>
                    <a:pt x="399" y="427"/>
                  </a:lnTo>
                  <a:lnTo>
                    <a:pt x="403" y="427"/>
                  </a:lnTo>
                  <a:lnTo>
                    <a:pt x="403" y="431"/>
                  </a:lnTo>
                  <a:lnTo>
                    <a:pt x="407" y="431"/>
                  </a:lnTo>
                  <a:lnTo>
                    <a:pt x="407" y="439"/>
                  </a:lnTo>
                  <a:lnTo>
                    <a:pt x="403" y="439"/>
                  </a:lnTo>
                  <a:lnTo>
                    <a:pt x="399" y="439"/>
                  </a:lnTo>
                  <a:lnTo>
                    <a:pt x="395" y="439"/>
                  </a:lnTo>
                  <a:lnTo>
                    <a:pt x="391" y="439"/>
                  </a:lnTo>
                  <a:lnTo>
                    <a:pt x="391" y="443"/>
                  </a:lnTo>
                  <a:lnTo>
                    <a:pt x="391" y="447"/>
                  </a:lnTo>
                  <a:lnTo>
                    <a:pt x="387" y="447"/>
                  </a:lnTo>
                  <a:lnTo>
                    <a:pt x="391" y="447"/>
                  </a:lnTo>
                  <a:lnTo>
                    <a:pt x="391" y="451"/>
                  </a:lnTo>
                  <a:lnTo>
                    <a:pt x="395" y="451"/>
                  </a:lnTo>
                  <a:lnTo>
                    <a:pt x="399" y="451"/>
                  </a:lnTo>
                  <a:lnTo>
                    <a:pt x="403" y="451"/>
                  </a:lnTo>
                  <a:lnTo>
                    <a:pt x="407" y="451"/>
                  </a:lnTo>
                  <a:lnTo>
                    <a:pt x="411" y="451"/>
                  </a:lnTo>
                  <a:lnTo>
                    <a:pt x="415" y="451"/>
                  </a:lnTo>
                  <a:lnTo>
                    <a:pt x="419" y="451"/>
                  </a:lnTo>
                  <a:lnTo>
                    <a:pt x="423" y="451"/>
                  </a:lnTo>
                  <a:lnTo>
                    <a:pt x="423" y="455"/>
                  </a:lnTo>
                  <a:lnTo>
                    <a:pt x="427" y="455"/>
                  </a:lnTo>
                  <a:lnTo>
                    <a:pt x="431" y="455"/>
                  </a:lnTo>
                  <a:lnTo>
                    <a:pt x="435" y="455"/>
                  </a:lnTo>
                  <a:lnTo>
                    <a:pt x="435" y="451"/>
                  </a:lnTo>
                  <a:lnTo>
                    <a:pt x="439" y="451"/>
                  </a:lnTo>
                  <a:lnTo>
                    <a:pt x="442" y="451"/>
                  </a:lnTo>
                  <a:lnTo>
                    <a:pt x="446" y="451"/>
                  </a:lnTo>
                  <a:lnTo>
                    <a:pt x="450" y="451"/>
                  </a:lnTo>
                  <a:lnTo>
                    <a:pt x="454" y="451"/>
                  </a:lnTo>
                  <a:lnTo>
                    <a:pt x="458" y="451"/>
                  </a:lnTo>
                  <a:lnTo>
                    <a:pt x="458" y="447"/>
                  </a:lnTo>
                  <a:lnTo>
                    <a:pt x="462" y="447"/>
                  </a:lnTo>
                  <a:lnTo>
                    <a:pt x="466" y="447"/>
                  </a:lnTo>
                  <a:lnTo>
                    <a:pt x="466" y="443"/>
                  </a:lnTo>
                  <a:lnTo>
                    <a:pt x="470" y="447"/>
                  </a:lnTo>
                  <a:lnTo>
                    <a:pt x="470" y="451"/>
                  </a:lnTo>
                  <a:lnTo>
                    <a:pt x="470" y="447"/>
                  </a:lnTo>
                  <a:lnTo>
                    <a:pt x="470" y="451"/>
                  </a:lnTo>
                  <a:lnTo>
                    <a:pt x="474" y="451"/>
                  </a:lnTo>
                  <a:lnTo>
                    <a:pt x="474" y="455"/>
                  </a:lnTo>
                  <a:lnTo>
                    <a:pt x="474" y="451"/>
                  </a:lnTo>
                  <a:lnTo>
                    <a:pt x="478" y="451"/>
                  </a:lnTo>
                  <a:lnTo>
                    <a:pt x="482" y="451"/>
                  </a:lnTo>
                  <a:lnTo>
                    <a:pt x="482" y="455"/>
                  </a:lnTo>
                  <a:lnTo>
                    <a:pt x="486" y="459"/>
                  </a:lnTo>
                  <a:lnTo>
                    <a:pt x="482" y="459"/>
                  </a:lnTo>
                  <a:lnTo>
                    <a:pt x="486" y="459"/>
                  </a:lnTo>
                  <a:lnTo>
                    <a:pt x="486" y="463"/>
                  </a:lnTo>
                  <a:lnTo>
                    <a:pt x="486" y="459"/>
                  </a:lnTo>
                  <a:lnTo>
                    <a:pt x="486" y="455"/>
                  </a:lnTo>
                  <a:lnTo>
                    <a:pt x="490" y="455"/>
                  </a:lnTo>
                  <a:lnTo>
                    <a:pt x="490" y="459"/>
                  </a:lnTo>
                  <a:lnTo>
                    <a:pt x="490" y="463"/>
                  </a:lnTo>
                  <a:lnTo>
                    <a:pt x="494" y="463"/>
                  </a:lnTo>
                  <a:lnTo>
                    <a:pt x="490" y="459"/>
                  </a:lnTo>
                  <a:lnTo>
                    <a:pt x="494" y="459"/>
                  </a:lnTo>
                  <a:lnTo>
                    <a:pt x="498" y="463"/>
                  </a:lnTo>
                  <a:lnTo>
                    <a:pt x="498" y="467"/>
                  </a:lnTo>
                  <a:lnTo>
                    <a:pt x="502" y="467"/>
                  </a:lnTo>
                  <a:lnTo>
                    <a:pt x="502" y="471"/>
                  </a:lnTo>
                  <a:lnTo>
                    <a:pt x="498" y="471"/>
                  </a:lnTo>
                  <a:lnTo>
                    <a:pt x="494" y="471"/>
                  </a:lnTo>
                  <a:lnTo>
                    <a:pt x="490" y="471"/>
                  </a:lnTo>
                  <a:lnTo>
                    <a:pt x="490" y="467"/>
                  </a:lnTo>
                  <a:lnTo>
                    <a:pt x="490" y="471"/>
                  </a:lnTo>
                  <a:lnTo>
                    <a:pt x="494" y="471"/>
                  </a:lnTo>
                  <a:lnTo>
                    <a:pt x="498" y="471"/>
                  </a:lnTo>
                  <a:lnTo>
                    <a:pt x="498" y="475"/>
                  </a:lnTo>
                  <a:lnTo>
                    <a:pt x="498" y="479"/>
                  </a:lnTo>
                  <a:lnTo>
                    <a:pt x="502" y="479"/>
                  </a:lnTo>
                  <a:lnTo>
                    <a:pt x="502" y="483"/>
                  </a:lnTo>
                  <a:lnTo>
                    <a:pt x="506" y="483"/>
                  </a:lnTo>
                  <a:lnTo>
                    <a:pt x="506" y="487"/>
                  </a:lnTo>
                  <a:lnTo>
                    <a:pt x="510" y="487"/>
                  </a:lnTo>
                  <a:lnTo>
                    <a:pt x="506" y="483"/>
                  </a:lnTo>
                  <a:lnTo>
                    <a:pt x="506" y="479"/>
                  </a:lnTo>
                  <a:lnTo>
                    <a:pt x="502" y="479"/>
                  </a:lnTo>
                  <a:lnTo>
                    <a:pt x="502" y="475"/>
                  </a:lnTo>
                  <a:lnTo>
                    <a:pt x="502" y="471"/>
                  </a:lnTo>
                  <a:lnTo>
                    <a:pt x="506" y="471"/>
                  </a:lnTo>
                  <a:lnTo>
                    <a:pt x="502" y="471"/>
                  </a:lnTo>
                  <a:lnTo>
                    <a:pt x="506" y="471"/>
                  </a:lnTo>
                  <a:lnTo>
                    <a:pt x="506" y="475"/>
                  </a:lnTo>
                  <a:lnTo>
                    <a:pt x="506" y="471"/>
                  </a:lnTo>
                  <a:lnTo>
                    <a:pt x="502" y="471"/>
                  </a:lnTo>
                  <a:lnTo>
                    <a:pt x="506" y="475"/>
                  </a:lnTo>
                  <a:lnTo>
                    <a:pt x="506" y="471"/>
                  </a:lnTo>
                  <a:lnTo>
                    <a:pt x="510" y="471"/>
                  </a:lnTo>
                  <a:lnTo>
                    <a:pt x="510" y="475"/>
                  </a:lnTo>
                  <a:lnTo>
                    <a:pt x="514" y="475"/>
                  </a:lnTo>
                  <a:lnTo>
                    <a:pt x="510" y="475"/>
                  </a:lnTo>
                  <a:lnTo>
                    <a:pt x="510" y="471"/>
                  </a:lnTo>
                  <a:lnTo>
                    <a:pt x="510" y="467"/>
                  </a:lnTo>
                  <a:lnTo>
                    <a:pt x="506" y="467"/>
                  </a:lnTo>
                  <a:lnTo>
                    <a:pt x="502" y="463"/>
                  </a:lnTo>
                  <a:lnTo>
                    <a:pt x="506" y="459"/>
                  </a:lnTo>
                  <a:lnTo>
                    <a:pt x="502" y="455"/>
                  </a:lnTo>
                  <a:lnTo>
                    <a:pt x="498" y="455"/>
                  </a:lnTo>
                  <a:lnTo>
                    <a:pt x="498" y="451"/>
                  </a:lnTo>
                  <a:lnTo>
                    <a:pt x="498" y="447"/>
                  </a:lnTo>
                  <a:lnTo>
                    <a:pt x="502" y="447"/>
                  </a:lnTo>
                  <a:lnTo>
                    <a:pt x="498" y="443"/>
                  </a:lnTo>
                  <a:lnTo>
                    <a:pt x="502" y="443"/>
                  </a:lnTo>
                  <a:lnTo>
                    <a:pt x="506" y="443"/>
                  </a:lnTo>
                  <a:lnTo>
                    <a:pt x="510" y="443"/>
                  </a:lnTo>
                  <a:lnTo>
                    <a:pt x="514" y="443"/>
                  </a:lnTo>
                  <a:lnTo>
                    <a:pt x="518" y="443"/>
                  </a:lnTo>
                  <a:lnTo>
                    <a:pt x="518" y="439"/>
                  </a:lnTo>
                  <a:lnTo>
                    <a:pt x="522" y="439"/>
                  </a:lnTo>
                  <a:lnTo>
                    <a:pt x="522" y="435"/>
                  </a:lnTo>
                  <a:lnTo>
                    <a:pt x="526" y="435"/>
                  </a:lnTo>
                  <a:lnTo>
                    <a:pt x="534" y="435"/>
                  </a:lnTo>
                  <a:lnTo>
                    <a:pt x="534" y="431"/>
                  </a:lnTo>
                  <a:lnTo>
                    <a:pt x="534" y="427"/>
                  </a:lnTo>
                  <a:lnTo>
                    <a:pt x="530" y="427"/>
                  </a:lnTo>
                  <a:lnTo>
                    <a:pt x="526" y="431"/>
                  </a:lnTo>
                  <a:lnTo>
                    <a:pt x="522" y="431"/>
                  </a:lnTo>
                  <a:lnTo>
                    <a:pt x="518" y="431"/>
                  </a:lnTo>
                  <a:lnTo>
                    <a:pt x="522" y="435"/>
                  </a:lnTo>
                  <a:lnTo>
                    <a:pt x="518" y="435"/>
                  </a:lnTo>
                  <a:lnTo>
                    <a:pt x="514" y="435"/>
                  </a:lnTo>
                  <a:lnTo>
                    <a:pt x="510" y="439"/>
                  </a:lnTo>
                  <a:lnTo>
                    <a:pt x="510" y="435"/>
                  </a:lnTo>
                  <a:lnTo>
                    <a:pt x="506" y="435"/>
                  </a:lnTo>
                  <a:lnTo>
                    <a:pt x="502" y="435"/>
                  </a:lnTo>
                  <a:lnTo>
                    <a:pt x="502" y="439"/>
                  </a:lnTo>
                  <a:lnTo>
                    <a:pt x="506" y="439"/>
                  </a:lnTo>
                  <a:lnTo>
                    <a:pt x="502" y="439"/>
                  </a:lnTo>
                  <a:lnTo>
                    <a:pt x="498" y="439"/>
                  </a:lnTo>
                  <a:lnTo>
                    <a:pt x="494" y="439"/>
                  </a:lnTo>
                  <a:lnTo>
                    <a:pt x="494" y="443"/>
                  </a:lnTo>
                  <a:lnTo>
                    <a:pt x="494" y="439"/>
                  </a:lnTo>
                  <a:lnTo>
                    <a:pt x="494" y="443"/>
                  </a:lnTo>
                  <a:lnTo>
                    <a:pt x="494" y="439"/>
                  </a:lnTo>
                  <a:lnTo>
                    <a:pt x="494" y="435"/>
                  </a:lnTo>
                  <a:lnTo>
                    <a:pt x="490" y="435"/>
                  </a:lnTo>
                  <a:lnTo>
                    <a:pt x="490" y="439"/>
                  </a:lnTo>
                  <a:lnTo>
                    <a:pt x="486" y="439"/>
                  </a:lnTo>
                  <a:lnTo>
                    <a:pt x="486" y="435"/>
                  </a:lnTo>
                  <a:lnTo>
                    <a:pt x="490" y="435"/>
                  </a:lnTo>
                  <a:lnTo>
                    <a:pt x="490" y="431"/>
                  </a:lnTo>
                  <a:lnTo>
                    <a:pt x="494" y="431"/>
                  </a:lnTo>
                  <a:lnTo>
                    <a:pt x="494" y="427"/>
                  </a:lnTo>
                  <a:lnTo>
                    <a:pt x="498" y="427"/>
                  </a:lnTo>
                  <a:lnTo>
                    <a:pt x="502" y="427"/>
                  </a:lnTo>
                  <a:lnTo>
                    <a:pt x="506" y="427"/>
                  </a:lnTo>
                  <a:lnTo>
                    <a:pt x="510" y="427"/>
                  </a:lnTo>
                  <a:lnTo>
                    <a:pt x="514" y="423"/>
                  </a:lnTo>
                  <a:lnTo>
                    <a:pt x="518" y="423"/>
                  </a:lnTo>
                  <a:lnTo>
                    <a:pt x="526" y="419"/>
                  </a:lnTo>
                  <a:lnTo>
                    <a:pt x="530" y="423"/>
                  </a:lnTo>
                  <a:lnTo>
                    <a:pt x="534" y="423"/>
                  </a:lnTo>
                  <a:lnTo>
                    <a:pt x="538" y="427"/>
                  </a:lnTo>
                  <a:lnTo>
                    <a:pt x="538" y="431"/>
                  </a:lnTo>
                  <a:lnTo>
                    <a:pt x="534" y="435"/>
                  </a:lnTo>
                  <a:lnTo>
                    <a:pt x="538" y="435"/>
                  </a:lnTo>
                  <a:lnTo>
                    <a:pt x="542" y="439"/>
                  </a:lnTo>
                  <a:lnTo>
                    <a:pt x="542" y="435"/>
                  </a:lnTo>
                  <a:lnTo>
                    <a:pt x="546" y="435"/>
                  </a:lnTo>
                  <a:lnTo>
                    <a:pt x="546" y="439"/>
                  </a:lnTo>
                  <a:lnTo>
                    <a:pt x="550" y="439"/>
                  </a:lnTo>
                  <a:lnTo>
                    <a:pt x="550" y="443"/>
                  </a:lnTo>
                  <a:lnTo>
                    <a:pt x="554" y="443"/>
                  </a:lnTo>
                  <a:lnTo>
                    <a:pt x="558" y="443"/>
                  </a:lnTo>
                  <a:lnTo>
                    <a:pt x="562" y="443"/>
                  </a:lnTo>
                  <a:lnTo>
                    <a:pt x="566" y="443"/>
                  </a:lnTo>
                  <a:lnTo>
                    <a:pt x="566" y="439"/>
                  </a:lnTo>
                  <a:lnTo>
                    <a:pt x="570" y="439"/>
                  </a:lnTo>
                  <a:lnTo>
                    <a:pt x="570" y="443"/>
                  </a:lnTo>
                  <a:lnTo>
                    <a:pt x="570" y="447"/>
                  </a:lnTo>
                  <a:lnTo>
                    <a:pt x="574" y="447"/>
                  </a:lnTo>
                  <a:lnTo>
                    <a:pt x="578" y="451"/>
                  </a:lnTo>
                  <a:lnTo>
                    <a:pt x="582" y="451"/>
                  </a:lnTo>
                  <a:lnTo>
                    <a:pt x="586" y="451"/>
                  </a:lnTo>
                  <a:lnTo>
                    <a:pt x="590" y="451"/>
                  </a:lnTo>
                  <a:lnTo>
                    <a:pt x="594" y="451"/>
                  </a:lnTo>
                  <a:lnTo>
                    <a:pt x="598" y="455"/>
                  </a:lnTo>
                  <a:lnTo>
                    <a:pt x="598" y="451"/>
                  </a:lnTo>
                  <a:lnTo>
                    <a:pt x="602" y="451"/>
                  </a:lnTo>
                  <a:lnTo>
                    <a:pt x="606" y="451"/>
                  </a:lnTo>
                  <a:lnTo>
                    <a:pt x="610" y="451"/>
                  </a:lnTo>
                  <a:lnTo>
                    <a:pt x="614" y="447"/>
                  </a:lnTo>
                  <a:lnTo>
                    <a:pt x="618" y="447"/>
                  </a:lnTo>
                  <a:lnTo>
                    <a:pt x="618" y="451"/>
                  </a:lnTo>
                  <a:lnTo>
                    <a:pt x="622" y="451"/>
                  </a:lnTo>
                  <a:lnTo>
                    <a:pt x="626" y="451"/>
                  </a:lnTo>
                  <a:lnTo>
                    <a:pt x="630" y="451"/>
                  </a:lnTo>
                  <a:lnTo>
                    <a:pt x="634" y="451"/>
                  </a:lnTo>
                  <a:lnTo>
                    <a:pt x="638" y="451"/>
                  </a:lnTo>
                  <a:lnTo>
                    <a:pt x="642" y="451"/>
                  </a:lnTo>
                  <a:lnTo>
                    <a:pt x="646" y="451"/>
                  </a:lnTo>
                  <a:lnTo>
                    <a:pt x="642" y="447"/>
                  </a:lnTo>
                  <a:lnTo>
                    <a:pt x="638" y="447"/>
                  </a:lnTo>
                  <a:lnTo>
                    <a:pt x="638" y="443"/>
                  </a:lnTo>
                  <a:lnTo>
                    <a:pt x="642" y="443"/>
                  </a:lnTo>
                  <a:lnTo>
                    <a:pt x="646" y="447"/>
                  </a:lnTo>
                  <a:lnTo>
                    <a:pt x="650" y="451"/>
                  </a:lnTo>
                  <a:lnTo>
                    <a:pt x="654" y="455"/>
                  </a:lnTo>
                  <a:lnTo>
                    <a:pt x="658" y="455"/>
                  </a:lnTo>
                  <a:lnTo>
                    <a:pt x="662" y="455"/>
                  </a:lnTo>
                  <a:lnTo>
                    <a:pt x="662" y="451"/>
                  </a:lnTo>
                  <a:lnTo>
                    <a:pt x="662" y="447"/>
                  </a:lnTo>
                  <a:lnTo>
                    <a:pt x="658" y="447"/>
                  </a:lnTo>
                  <a:lnTo>
                    <a:pt x="654" y="443"/>
                  </a:lnTo>
                  <a:lnTo>
                    <a:pt x="654" y="447"/>
                  </a:lnTo>
                  <a:lnTo>
                    <a:pt x="650" y="447"/>
                  </a:lnTo>
                  <a:lnTo>
                    <a:pt x="650" y="451"/>
                  </a:lnTo>
                  <a:lnTo>
                    <a:pt x="646" y="447"/>
                  </a:lnTo>
                  <a:lnTo>
                    <a:pt x="646" y="443"/>
                  </a:lnTo>
                  <a:lnTo>
                    <a:pt x="642" y="439"/>
                  </a:lnTo>
                  <a:lnTo>
                    <a:pt x="642" y="443"/>
                  </a:lnTo>
                  <a:lnTo>
                    <a:pt x="646" y="443"/>
                  </a:lnTo>
                  <a:lnTo>
                    <a:pt x="646" y="439"/>
                  </a:lnTo>
                  <a:lnTo>
                    <a:pt x="642" y="439"/>
                  </a:lnTo>
                  <a:lnTo>
                    <a:pt x="642" y="435"/>
                  </a:lnTo>
                  <a:lnTo>
                    <a:pt x="638" y="435"/>
                  </a:lnTo>
                  <a:lnTo>
                    <a:pt x="642" y="435"/>
                  </a:lnTo>
                  <a:lnTo>
                    <a:pt x="646" y="435"/>
                  </a:lnTo>
                  <a:lnTo>
                    <a:pt x="650" y="435"/>
                  </a:lnTo>
                  <a:lnTo>
                    <a:pt x="654" y="435"/>
                  </a:lnTo>
                  <a:lnTo>
                    <a:pt x="650" y="435"/>
                  </a:lnTo>
                  <a:lnTo>
                    <a:pt x="650" y="431"/>
                  </a:lnTo>
                  <a:lnTo>
                    <a:pt x="654" y="431"/>
                  </a:lnTo>
                  <a:lnTo>
                    <a:pt x="658" y="435"/>
                  </a:lnTo>
                  <a:lnTo>
                    <a:pt x="658" y="431"/>
                  </a:lnTo>
                  <a:lnTo>
                    <a:pt x="662" y="431"/>
                  </a:lnTo>
                  <a:lnTo>
                    <a:pt x="662" y="435"/>
                  </a:lnTo>
                  <a:lnTo>
                    <a:pt x="666" y="435"/>
                  </a:lnTo>
                  <a:lnTo>
                    <a:pt x="666" y="439"/>
                  </a:lnTo>
                  <a:lnTo>
                    <a:pt x="670" y="439"/>
                  </a:lnTo>
                  <a:lnTo>
                    <a:pt x="674" y="439"/>
                  </a:lnTo>
                  <a:lnTo>
                    <a:pt x="674" y="435"/>
                  </a:lnTo>
                  <a:lnTo>
                    <a:pt x="674" y="439"/>
                  </a:lnTo>
                  <a:lnTo>
                    <a:pt x="670" y="443"/>
                  </a:lnTo>
                  <a:lnTo>
                    <a:pt x="674" y="443"/>
                  </a:lnTo>
                  <a:lnTo>
                    <a:pt x="674" y="439"/>
                  </a:lnTo>
                  <a:lnTo>
                    <a:pt x="678" y="439"/>
                  </a:lnTo>
                  <a:lnTo>
                    <a:pt x="682" y="439"/>
                  </a:lnTo>
                  <a:lnTo>
                    <a:pt x="678" y="439"/>
                  </a:lnTo>
                  <a:lnTo>
                    <a:pt x="682" y="443"/>
                  </a:lnTo>
                  <a:lnTo>
                    <a:pt x="678" y="443"/>
                  </a:lnTo>
                  <a:lnTo>
                    <a:pt x="678" y="447"/>
                  </a:lnTo>
                  <a:lnTo>
                    <a:pt x="678" y="451"/>
                  </a:lnTo>
                  <a:lnTo>
                    <a:pt x="678" y="455"/>
                  </a:lnTo>
                  <a:lnTo>
                    <a:pt x="674" y="455"/>
                  </a:lnTo>
                  <a:lnTo>
                    <a:pt x="674" y="459"/>
                  </a:lnTo>
                  <a:lnTo>
                    <a:pt x="678" y="459"/>
                  </a:lnTo>
                  <a:lnTo>
                    <a:pt x="678" y="463"/>
                  </a:lnTo>
                  <a:lnTo>
                    <a:pt x="678" y="467"/>
                  </a:lnTo>
                  <a:lnTo>
                    <a:pt x="682" y="463"/>
                  </a:lnTo>
                  <a:lnTo>
                    <a:pt x="686" y="463"/>
                  </a:lnTo>
                  <a:lnTo>
                    <a:pt x="686" y="467"/>
                  </a:lnTo>
                  <a:lnTo>
                    <a:pt x="682" y="467"/>
                  </a:lnTo>
                  <a:lnTo>
                    <a:pt x="686" y="467"/>
                  </a:lnTo>
                  <a:lnTo>
                    <a:pt x="690" y="467"/>
                  </a:lnTo>
                  <a:lnTo>
                    <a:pt x="690" y="471"/>
                  </a:lnTo>
                  <a:lnTo>
                    <a:pt x="686" y="471"/>
                  </a:lnTo>
                  <a:lnTo>
                    <a:pt x="682" y="471"/>
                  </a:lnTo>
                  <a:lnTo>
                    <a:pt x="678" y="471"/>
                  </a:lnTo>
                  <a:lnTo>
                    <a:pt x="674" y="471"/>
                  </a:lnTo>
                  <a:lnTo>
                    <a:pt x="674" y="467"/>
                  </a:lnTo>
                  <a:lnTo>
                    <a:pt x="674" y="471"/>
                  </a:lnTo>
                  <a:lnTo>
                    <a:pt x="678" y="471"/>
                  </a:lnTo>
                  <a:lnTo>
                    <a:pt x="678" y="475"/>
                  </a:lnTo>
                  <a:lnTo>
                    <a:pt x="682" y="475"/>
                  </a:lnTo>
                  <a:lnTo>
                    <a:pt x="682" y="479"/>
                  </a:lnTo>
                  <a:lnTo>
                    <a:pt x="686" y="479"/>
                  </a:lnTo>
                  <a:lnTo>
                    <a:pt x="682" y="475"/>
                  </a:lnTo>
                  <a:lnTo>
                    <a:pt x="678" y="475"/>
                  </a:lnTo>
                  <a:lnTo>
                    <a:pt x="678" y="471"/>
                  </a:lnTo>
                  <a:lnTo>
                    <a:pt x="682" y="471"/>
                  </a:lnTo>
                  <a:lnTo>
                    <a:pt x="686" y="471"/>
                  </a:lnTo>
                  <a:lnTo>
                    <a:pt x="686" y="475"/>
                  </a:lnTo>
                  <a:lnTo>
                    <a:pt x="690" y="475"/>
                  </a:lnTo>
                  <a:lnTo>
                    <a:pt x="694" y="471"/>
                  </a:lnTo>
                  <a:lnTo>
                    <a:pt x="690" y="471"/>
                  </a:lnTo>
                  <a:lnTo>
                    <a:pt x="690" y="467"/>
                  </a:lnTo>
                  <a:lnTo>
                    <a:pt x="694" y="463"/>
                  </a:lnTo>
                  <a:lnTo>
                    <a:pt x="690" y="463"/>
                  </a:lnTo>
                  <a:lnTo>
                    <a:pt x="690" y="459"/>
                  </a:lnTo>
                  <a:lnTo>
                    <a:pt x="690" y="455"/>
                  </a:lnTo>
                  <a:lnTo>
                    <a:pt x="686" y="455"/>
                  </a:lnTo>
                  <a:lnTo>
                    <a:pt x="686" y="451"/>
                  </a:lnTo>
                  <a:lnTo>
                    <a:pt x="690" y="447"/>
                  </a:lnTo>
                  <a:lnTo>
                    <a:pt x="686" y="447"/>
                  </a:lnTo>
                  <a:lnTo>
                    <a:pt x="690" y="447"/>
                  </a:lnTo>
                  <a:lnTo>
                    <a:pt x="690" y="443"/>
                  </a:lnTo>
                  <a:lnTo>
                    <a:pt x="694" y="443"/>
                  </a:lnTo>
                  <a:lnTo>
                    <a:pt x="698" y="443"/>
                  </a:lnTo>
                  <a:lnTo>
                    <a:pt x="702" y="443"/>
                  </a:lnTo>
                  <a:lnTo>
                    <a:pt x="706" y="439"/>
                  </a:lnTo>
                  <a:lnTo>
                    <a:pt x="710" y="439"/>
                  </a:lnTo>
                  <a:lnTo>
                    <a:pt x="710" y="435"/>
                  </a:lnTo>
                  <a:lnTo>
                    <a:pt x="706" y="435"/>
                  </a:lnTo>
                  <a:lnTo>
                    <a:pt x="710" y="435"/>
                  </a:lnTo>
                  <a:lnTo>
                    <a:pt x="710" y="431"/>
                  </a:lnTo>
                  <a:lnTo>
                    <a:pt x="714" y="431"/>
                  </a:lnTo>
                  <a:lnTo>
                    <a:pt x="718" y="431"/>
                  </a:lnTo>
                  <a:lnTo>
                    <a:pt x="718" y="427"/>
                  </a:lnTo>
                  <a:lnTo>
                    <a:pt x="714" y="427"/>
                  </a:lnTo>
                  <a:lnTo>
                    <a:pt x="714" y="423"/>
                  </a:lnTo>
                  <a:lnTo>
                    <a:pt x="718" y="423"/>
                  </a:lnTo>
                  <a:lnTo>
                    <a:pt x="718" y="419"/>
                  </a:lnTo>
                  <a:lnTo>
                    <a:pt x="714" y="419"/>
                  </a:lnTo>
                  <a:lnTo>
                    <a:pt x="710" y="419"/>
                  </a:lnTo>
                  <a:lnTo>
                    <a:pt x="710" y="423"/>
                  </a:lnTo>
                  <a:lnTo>
                    <a:pt x="714" y="423"/>
                  </a:lnTo>
                  <a:lnTo>
                    <a:pt x="714" y="419"/>
                  </a:lnTo>
                  <a:lnTo>
                    <a:pt x="714" y="423"/>
                  </a:lnTo>
                  <a:lnTo>
                    <a:pt x="710" y="423"/>
                  </a:lnTo>
                  <a:lnTo>
                    <a:pt x="706" y="427"/>
                  </a:lnTo>
                  <a:lnTo>
                    <a:pt x="702" y="427"/>
                  </a:lnTo>
                  <a:lnTo>
                    <a:pt x="702" y="423"/>
                  </a:lnTo>
                  <a:lnTo>
                    <a:pt x="702" y="419"/>
                  </a:lnTo>
                  <a:lnTo>
                    <a:pt x="706" y="419"/>
                  </a:lnTo>
                  <a:lnTo>
                    <a:pt x="710" y="415"/>
                  </a:lnTo>
                  <a:lnTo>
                    <a:pt x="706" y="415"/>
                  </a:lnTo>
                  <a:lnTo>
                    <a:pt x="706" y="411"/>
                  </a:lnTo>
                  <a:lnTo>
                    <a:pt x="710" y="407"/>
                  </a:lnTo>
                  <a:lnTo>
                    <a:pt x="714" y="407"/>
                  </a:lnTo>
                  <a:lnTo>
                    <a:pt x="718" y="407"/>
                  </a:lnTo>
                  <a:lnTo>
                    <a:pt x="714" y="407"/>
                  </a:lnTo>
                  <a:lnTo>
                    <a:pt x="714" y="411"/>
                  </a:lnTo>
                  <a:lnTo>
                    <a:pt x="714" y="415"/>
                  </a:lnTo>
                  <a:lnTo>
                    <a:pt x="718" y="411"/>
                  </a:lnTo>
                  <a:lnTo>
                    <a:pt x="722" y="407"/>
                  </a:lnTo>
                  <a:lnTo>
                    <a:pt x="718" y="407"/>
                  </a:lnTo>
                  <a:lnTo>
                    <a:pt x="718" y="403"/>
                  </a:lnTo>
                  <a:lnTo>
                    <a:pt x="714" y="403"/>
                  </a:lnTo>
                  <a:lnTo>
                    <a:pt x="714" y="407"/>
                  </a:lnTo>
                  <a:lnTo>
                    <a:pt x="710" y="407"/>
                  </a:lnTo>
                  <a:lnTo>
                    <a:pt x="706" y="407"/>
                  </a:lnTo>
                  <a:lnTo>
                    <a:pt x="706" y="403"/>
                  </a:lnTo>
                  <a:lnTo>
                    <a:pt x="702" y="403"/>
                  </a:lnTo>
                  <a:lnTo>
                    <a:pt x="702" y="399"/>
                  </a:lnTo>
                  <a:lnTo>
                    <a:pt x="698" y="399"/>
                  </a:lnTo>
                  <a:lnTo>
                    <a:pt x="702" y="403"/>
                  </a:lnTo>
                  <a:lnTo>
                    <a:pt x="698" y="403"/>
                  </a:lnTo>
                  <a:lnTo>
                    <a:pt x="694" y="403"/>
                  </a:lnTo>
                  <a:lnTo>
                    <a:pt x="694" y="399"/>
                  </a:lnTo>
                  <a:lnTo>
                    <a:pt x="690" y="399"/>
                  </a:lnTo>
                  <a:lnTo>
                    <a:pt x="686" y="399"/>
                  </a:lnTo>
                  <a:lnTo>
                    <a:pt x="686" y="395"/>
                  </a:lnTo>
                  <a:lnTo>
                    <a:pt x="682" y="395"/>
                  </a:lnTo>
                  <a:lnTo>
                    <a:pt x="678" y="395"/>
                  </a:lnTo>
                  <a:lnTo>
                    <a:pt x="678" y="391"/>
                  </a:lnTo>
                  <a:lnTo>
                    <a:pt x="674" y="391"/>
                  </a:lnTo>
                  <a:lnTo>
                    <a:pt x="674" y="387"/>
                  </a:lnTo>
                  <a:lnTo>
                    <a:pt x="674" y="383"/>
                  </a:lnTo>
                  <a:lnTo>
                    <a:pt x="678" y="375"/>
                  </a:lnTo>
                  <a:lnTo>
                    <a:pt x="682" y="375"/>
                  </a:lnTo>
                  <a:lnTo>
                    <a:pt x="678" y="375"/>
                  </a:lnTo>
                  <a:lnTo>
                    <a:pt x="682" y="371"/>
                  </a:lnTo>
                  <a:lnTo>
                    <a:pt x="678" y="371"/>
                  </a:lnTo>
                  <a:lnTo>
                    <a:pt x="678" y="375"/>
                  </a:lnTo>
                  <a:lnTo>
                    <a:pt x="674" y="371"/>
                  </a:lnTo>
                  <a:lnTo>
                    <a:pt x="670" y="371"/>
                  </a:lnTo>
                  <a:lnTo>
                    <a:pt x="670" y="367"/>
                  </a:lnTo>
                  <a:lnTo>
                    <a:pt x="674" y="367"/>
                  </a:lnTo>
                  <a:lnTo>
                    <a:pt x="674" y="363"/>
                  </a:lnTo>
                  <a:lnTo>
                    <a:pt x="674" y="359"/>
                  </a:lnTo>
                  <a:lnTo>
                    <a:pt x="674" y="363"/>
                  </a:lnTo>
                  <a:lnTo>
                    <a:pt x="674" y="359"/>
                  </a:lnTo>
                  <a:lnTo>
                    <a:pt x="674" y="355"/>
                  </a:lnTo>
                  <a:lnTo>
                    <a:pt x="678" y="355"/>
                  </a:lnTo>
                  <a:lnTo>
                    <a:pt x="678" y="351"/>
                  </a:lnTo>
                  <a:lnTo>
                    <a:pt x="682" y="351"/>
                  </a:lnTo>
                  <a:lnTo>
                    <a:pt x="682" y="355"/>
                  </a:lnTo>
                  <a:lnTo>
                    <a:pt x="686" y="355"/>
                  </a:lnTo>
                  <a:lnTo>
                    <a:pt x="690" y="355"/>
                  </a:lnTo>
                  <a:lnTo>
                    <a:pt x="686" y="351"/>
                  </a:lnTo>
                  <a:lnTo>
                    <a:pt x="682" y="351"/>
                  </a:lnTo>
                  <a:lnTo>
                    <a:pt x="682" y="347"/>
                  </a:lnTo>
                  <a:lnTo>
                    <a:pt x="686" y="347"/>
                  </a:lnTo>
                  <a:lnTo>
                    <a:pt x="686" y="343"/>
                  </a:lnTo>
                  <a:lnTo>
                    <a:pt x="690" y="343"/>
                  </a:lnTo>
                  <a:lnTo>
                    <a:pt x="694" y="339"/>
                  </a:lnTo>
                  <a:lnTo>
                    <a:pt x="698" y="339"/>
                  </a:lnTo>
                  <a:lnTo>
                    <a:pt x="702" y="339"/>
                  </a:lnTo>
                  <a:lnTo>
                    <a:pt x="698" y="339"/>
                  </a:lnTo>
                  <a:lnTo>
                    <a:pt x="694" y="339"/>
                  </a:lnTo>
                  <a:lnTo>
                    <a:pt x="698" y="335"/>
                  </a:lnTo>
                  <a:lnTo>
                    <a:pt x="702" y="335"/>
                  </a:lnTo>
                  <a:lnTo>
                    <a:pt x="706" y="339"/>
                  </a:lnTo>
                  <a:lnTo>
                    <a:pt x="702" y="339"/>
                  </a:lnTo>
                  <a:lnTo>
                    <a:pt x="702" y="343"/>
                  </a:lnTo>
                  <a:lnTo>
                    <a:pt x="702" y="339"/>
                  </a:lnTo>
                  <a:lnTo>
                    <a:pt x="706" y="339"/>
                  </a:lnTo>
                  <a:lnTo>
                    <a:pt x="706" y="343"/>
                  </a:lnTo>
                  <a:lnTo>
                    <a:pt x="710" y="343"/>
                  </a:lnTo>
                  <a:lnTo>
                    <a:pt x="714" y="343"/>
                  </a:lnTo>
                  <a:lnTo>
                    <a:pt x="714" y="347"/>
                  </a:lnTo>
                  <a:lnTo>
                    <a:pt x="718" y="347"/>
                  </a:lnTo>
                  <a:lnTo>
                    <a:pt x="722" y="351"/>
                  </a:lnTo>
                  <a:lnTo>
                    <a:pt x="726" y="355"/>
                  </a:lnTo>
                  <a:lnTo>
                    <a:pt x="726" y="359"/>
                  </a:lnTo>
                  <a:lnTo>
                    <a:pt x="730" y="359"/>
                  </a:lnTo>
                  <a:lnTo>
                    <a:pt x="730" y="363"/>
                  </a:lnTo>
                  <a:lnTo>
                    <a:pt x="726" y="367"/>
                  </a:lnTo>
                  <a:lnTo>
                    <a:pt x="730" y="367"/>
                  </a:lnTo>
                  <a:lnTo>
                    <a:pt x="730" y="371"/>
                  </a:lnTo>
                  <a:lnTo>
                    <a:pt x="734" y="371"/>
                  </a:lnTo>
                  <a:lnTo>
                    <a:pt x="738" y="375"/>
                  </a:lnTo>
                  <a:lnTo>
                    <a:pt x="738" y="379"/>
                  </a:lnTo>
                  <a:lnTo>
                    <a:pt x="742" y="379"/>
                  </a:lnTo>
                  <a:lnTo>
                    <a:pt x="742" y="383"/>
                  </a:lnTo>
                  <a:lnTo>
                    <a:pt x="742" y="379"/>
                  </a:lnTo>
                  <a:lnTo>
                    <a:pt x="746" y="379"/>
                  </a:lnTo>
                  <a:lnTo>
                    <a:pt x="746" y="383"/>
                  </a:lnTo>
                  <a:lnTo>
                    <a:pt x="750" y="387"/>
                  </a:lnTo>
                  <a:lnTo>
                    <a:pt x="746" y="387"/>
                  </a:lnTo>
                  <a:lnTo>
                    <a:pt x="742" y="387"/>
                  </a:lnTo>
                  <a:lnTo>
                    <a:pt x="738" y="383"/>
                  </a:lnTo>
                  <a:lnTo>
                    <a:pt x="738" y="387"/>
                  </a:lnTo>
                  <a:lnTo>
                    <a:pt x="734" y="387"/>
                  </a:lnTo>
                  <a:lnTo>
                    <a:pt x="738" y="387"/>
                  </a:lnTo>
                  <a:lnTo>
                    <a:pt x="742" y="387"/>
                  </a:lnTo>
                  <a:lnTo>
                    <a:pt x="742" y="391"/>
                  </a:lnTo>
                  <a:lnTo>
                    <a:pt x="738" y="391"/>
                  </a:lnTo>
                  <a:lnTo>
                    <a:pt x="734" y="395"/>
                  </a:lnTo>
                  <a:lnTo>
                    <a:pt x="730" y="399"/>
                  </a:lnTo>
                  <a:lnTo>
                    <a:pt x="734" y="399"/>
                  </a:lnTo>
                  <a:lnTo>
                    <a:pt x="730" y="399"/>
                  </a:lnTo>
                  <a:lnTo>
                    <a:pt x="726" y="399"/>
                  </a:lnTo>
                  <a:lnTo>
                    <a:pt x="730" y="399"/>
                  </a:lnTo>
                  <a:lnTo>
                    <a:pt x="734" y="399"/>
                  </a:lnTo>
                  <a:lnTo>
                    <a:pt x="738" y="399"/>
                  </a:lnTo>
                  <a:lnTo>
                    <a:pt x="742" y="403"/>
                  </a:lnTo>
                  <a:lnTo>
                    <a:pt x="738" y="403"/>
                  </a:lnTo>
                  <a:lnTo>
                    <a:pt x="738" y="399"/>
                  </a:lnTo>
                  <a:lnTo>
                    <a:pt x="738" y="403"/>
                  </a:lnTo>
                  <a:lnTo>
                    <a:pt x="742" y="403"/>
                  </a:lnTo>
                  <a:lnTo>
                    <a:pt x="746" y="403"/>
                  </a:lnTo>
                  <a:lnTo>
                    <a:pt x="750" y="399"/>
                  </a:lnTo>
                  <a:lnTo>
                    <a:pt x="754" y="399"/>
                  </a:lnTo>
                  <a:lnTo>
                    <a:pt x="750" y="403"/>
                  </a:lnTo>
                  <a:lnTo>
                    <a:pt x="754" y="403"/>
                  </a:lnTo>
                  <a:lnTo>
                    <a:pt x="758" y="403"/>
                  </a:lnTo>
                  <a:lnTo>
                    <a:pt x="762" y="403"/>
                  </a:lnTo>
                  <a:lnTo>
                    <a:pt x="766" y="403"/>
                  </a:lnTo>
                  <a:lnTo>
                    <a:pt x="766" y="407"/>
                  </a:lnTo>
                  <a:lnTo>
                    <a:pt x="762" y="407"/>
                  </a:lnTo>
                  <a:lnTo>
                    <a:pt x="758" y="407"/>
                  </a:lnTo>
                  <a:lnTo>
                    <a:pt x="758" y="411"/>
                  </a:lnTo>
                  <a:lnTo>
                    <a:pt x="754" y="411"/>
                  </a:lnTo>
                  <a:lnTo>
                    <a:pt x="750" y="411"/>
                  </a:lnTo>
                  <a:lnTo>
                    <a:pt x="750" y="407"/>
                  </a:lnTo>
                  <a:lnTo>
                    <a:pt x="750" y="411"/>
                  </a:lnTo>
                  <a:lnTo>
                    <a:pt x="754" y="411"/>
                  </a:lnTo>
                  <a:lnTo>
                    <a:pt x="758" y="411"/>
                  </a:lnTo>
                  <a:lnTo>
                    <a:pt x="758" y="415"/>
                  </a:lnTo>
                  <a:lnTo>
                    <a:pt x="762" y="415"/>
                  </a:lnTo>
                  <a:lnTo>
                    <a:pt x="762" y="419"/>
                  </a:lnTo>
                  <a:lnTo>
                    <a:pt x="766" y="419"/>
                  </a:lnTo>
                  <a:lnTo>
                    <a:pt x="766" y="423"/>
                  </a:lnTo>
                  <a:lnTo>
                    <a:pt x="762" y="423"/>
                  </a:lnTo>
                  <a:lnTo>
                    <a:pt x="766" y="427"/>
                  </a:lnTo>
                  <a:lnTo>
                    <a:pt x="766" y="431"/>
                  </a:lnTo>
                  <a:lnTo>
                    <a:pt x="762" y="431"/>
                  </a:lnTo>
                  <a:lnTo>
                    <a:pt x="762" y="435"/>
                  </a:lnTo>
                  <a:lnTo>
                    <a:pt x="766" y="435"/>
                  </a:lnTo>
                  <a:lnTo>
                    <a:pt x="766" y="439"/>
                  </a:lnTo>
                  <a:lnTo>
                    <a:pt x="770" y="439"/>
                  </a:lnTo>
                  <a:lnTo>
                    <a:pt x="770" y="435"/>
                  </a:lnTo>
                  <a:lnTo>
                    <a:pt x="774" y="435"/>
                  </a:lnTo>
                  <a:lnTo>
                    <a:pt x="774" y="431"/>
                  </a:lnTo>
                  <a:lnTo>
                    <a:pt x="774" y="427"/>
                  </a:lnTo>
                  <a:lnTo>
                    <a:pt x="778" y="423"/>
                  </a:lnTo>
                  <a:lnTo>
                    <a:pt x="774" y="419"/>
                  </a:lnTo>
                  <a:lnTo>
                    <a:pt x="778" y="419"/>
                  </a:lnTo>
                  <a:lnTo>
                    <a:pt x="778" y="415"/>
                  </a:lnTo>
                  <a:lnTo>
                    <a:pt x="782" y="415"/>
                  </a:lnTo>
                  <a:lnTo>
                    <a:pt x="782" y="411"/>
                  </a:lnTo>
                  <a:lnTo>
                    <a:pt x="786" y="411"/>
                  </a:lnTo>
                  <a:lnTo>
                    <a:pt x="790" y="415"/>
                  </a:lnTo>
                  <a:lnTo>
                    <a:pt x="794" y="415"/>
                  </a:lnTo>
                  <a:lnTo>
                    <a:pt x="794" y="419"/>
                  </a:lnTo>
                  <a:lnTo>
                    <a:pt x="797" y="419"/>
                  </a:lnTo>
                  <a:lnTo>
                    <a:pt x="801" y="423"/>
                  </a:lnTo>
                  <a:lnTo>
                    <a:pt x="801" y="427"/>
                  </a:lnTo>
                  <a:lnTo>
                    <a:pt x="801" y="431"/>
                  </a:lnTo>
                  <a:lnTo>
                    <a:pt x="805" y="431"/>
                  </a:lnTo>
                  <a:lnTo>
                    <a:pt x="805" y="435"/>
                  </a:lnTo>
                  <a:lnTo>
                    <a:pt x="805" y="439"/>
                  </a:lnTo>
                  <a:lnTo>
                    <a:pt x="801" y="439"/>
                  </a:lnTo>
                  <a:lnTo>
                    <a:pt x="797" y="435"/>
                  </a:lnTo>
                  <a:lnTo>
                    <a:pt x="797" y="439"/>
                  </a:lnTo>
                  <a:lnTo>
                    <a:pt x="797" y="443"/>
                  </a:lnTo>
                  <a:lnTo>
                    <a:pt x="797" y="447"/>
                  </a:lnTo>
                  <a:lnTo>
                    <a:pt x="797" y="451"/>
                  </a:lnTo>
                  <a:lnTo>
                    <a:pt x="797" y="455"/>
                  </a:lnTo>
                  <a:lnTo>
                    <a:pt x="801" y="455"/>
                  </a:lnTo>
                  <a:lnTo>
                    <a:pt x="805" y="455"/>
                  </a:lnTo>
                  <a:lnTo>
                    <a:pt x="805" y="459"/>
                  </a:lnTo>
                  <a:lnTo>
                    <a:pt x="809" y="459"/>
                  </a:lnTo>
                  <a:lnTo>
                    <a:pt x="809" y="463"/>
                  </a:lnTo>
                  <a:lnTo>
                    <a:pt x="809" y="467"/>
                  </a:lnTo>
                  <a:lnTo>
                    <a:pt x="813" y="467"/>
                  </a:lnTo>
                  <a:lnTo>
                    <a:pt x="817" y="467"/>
                  </a:lnTo>
                  <a:lnTo>
                    <a:pt x="817" y="463"/>
                  </a:lnTo>
                  <a:lnTo>
                    <a:pt x="817" y="459"/>
                  </a:lnTo>
                  <a:lnTo>
                    <a:pt x="821" y="459"/>
                  </a:lnTo>
                  <a:lnTo>
                    <a:pt x="821" y="463"/>
                  </a:lnTo>
                  <a:lnTo>
                    <a:pt x="825" y="463"/>
                  </a:lnTo>
                  <a:lnTo>
                    <a:pt x="825" y="459"/>
                  </a:lnTo>
                  <a:lnTo>
                    <a:pt x="825" y="455"/>
                  </a:lnTo>
                  <a:lnTo>
                    <a:pt x="825" y="451"/>
                  </a:lnTo>
                  <a:lnTo>
                    <a:pt x="829" y="447"/>
                  </a:lnTo>
                  <a:lnTo>
                    <a:pt x="833" y="443"/>
                  </a:lnTo>
                  <a:lnTo>
                    <a:pt x="833" y="439"/>
                  </a:lnTo>
                  <a:lnTo>
                    <a:pt x="833" y="435"/>
                  </a:lnTo>
                  <a:lnTo>
                    <a:pt x="837" y="435"/>
                  </a:lnTo>
                  <a:lnTo>
                    <a:pt x="837" y="431"/>
                  </a:lnTo>
                  <a:lnTo>
                    <a:pt x="837" y="427"/>
                  </a:lnTo>
                  <a:lnTo>
                    <a:pt x="837" y="423"/>
                  </a:lnTo>
                  <a:lnTo>
                    <a:pt x="837" y="427"/>
                  </a:lnTo>
                  <a:lnTo>
                    <a:pt x="841" y="427"/>
                  </a:lnTo>
                  <a:lnTo>
                    <a:pt x="841" y="423"/>
                  </a:lnTo>
                  <a:lnTo>
                    <a:pt x="837" y="423"/>
                  </a:lnTo>
                  <a:lnTo>
                    <a:pt x="841" y="423"/>
                  </a:lnTo>
                  <a:lnTo>
                    <a:pt x="841" y="427"/>
                  </a:lnTo>
                  <a:lnTo>
                    <a:pt x="845" y="427"/>
                  </a:lnTo>
                  <a:lnTo>
                    <a:pt x="845" y="423"/>
                  </a:lnTo>
                  <a:lnTo>
                    <a:pt x="849" y="423"/>
                  </a:lnTo>
                  <a:lnTo>
                    <a:pt x="849" y="427"/>
                  </a:lnTo>
                  <a:lnTo>
                    <a:pt x="849" y="423"/>
                  </a:lnTo>
                  <a:lnTo>
                    <a:pt x="845" y="423"/>
                  </a:lnTo>
                  <a:lnTo>
                    <a:pt x="845" y="419"/>
                  </a:lnTo>
                  <a:lnTo>
                    <a:pt x="849" y="419"/>
                  </a:lnTo>
                  <a:lnTo>
                    <a:pt x="845" y="419"/>
                  </a:lnTo>
                  <a:lnTo>
                    <a:pt x="849" y="419"/>
                  </a:lnTo>
                  <a:lnTo>
                    <a:pt x="853" y="419"/>
                  </a:lnTo>
                  <a:lnTo>
                    <a:pt x="849" y="415"/>
                  </a:lnTo>
                  <a:lnTo>
                    <a:pt x="845" y="415"/>
                  </a:lnTo>
                  <a:lnTo>
                    <a:pt x="841" y="415"/>
                  </a:lnTo>
                  <a:lnTo>
                    <a:pt x="845" y="415"/>
                  </a:lnTo>
                  <a:lnTo>
                    <a:pt x="841" y="411"/>
                  </a:lnTo>
                  <a:lnTo>
                    <a:pt x="841" y="407"/>
                  </a:lnTo>
                  <a:lnTo>
                    <a:pt x="837" y="407"/>
                  </a:lnTo>
                  <a:lnTo>
                    <a:pt x="837" y="399"/>
                  </a:lnTo>
                  <a:lnTo>
                    <a:pt x="841" y="395"/>
                  </a:lnTo>
                  <a:lnTo>
                    <a:pt x="841" y="399"/>
                  </a:lnTo>
                  <a:lnTo>
                    <a:pt x="841" y="395"/>
                  </a:lnTo>
                  <a:lnTo>
                    <a:pt x="837" y="395"/>
                  </a:lnTo>
                  <a:lnTo>
                    <a:pt x="841" y="395"/>
                  </a:lnTo>
                  <a:lnTo>
                    <a:pt x="845" y="395"/>
                  </a:lnTo>
                  <a:lnTo>
                    <a:pt x="845" y="399"/>
                  </a:lnTo>
                  <a:lnTo>
                    <a:pt x="849" y="395"/>
                  </a:lnTo>
                  <a:lnTo>
                    <a:pt x="853" y="395"/>
                  </a:lnTo>
                  <a:lnTo>
                    <a:pt x="857" y="395"/>
                  </a:lnTo>
                  <a:lnTo>
                    <a:pt x="861" y="395"/>
                  </a:lnTo>
                  <a:lnTo>
                    <a:pt x="861" y="399"/>
                  </a:lnTo>
                  <a:lnTo>
                    <a:pt x="865" y="399"/>
                  </a:lnTo>
                  <a:lnTo>
                    <a:pt x="869" y="399"/>
                  </a:lnTo>
                  <a:lnTo>
                    <a:pt x="873" y="399"/>
                  </a:lnTo>
                  <a:lnTo>
                    <a:pt x="877" y="399"/>
                  </a:lnTo>
                  <a:lnTo>
                    <a:pt x="881" y="399"/>
                  </a:lnTo>
                  <a:lnTo>
                    <a:pt x="885" y="399"/>
                  </a:lnTo>
                  <a:lnTo>
                    <a:pt x="889" y="399"/>
                  </a:lnTo>
                  <a:lnTo>
                    <a:pt x="889" y="403"/>
                  </a:lnTo>
                  <a:lnTo>
                    <a:pt x="885" y="403"/>
                  </a:lnTo>
                  <a:lnTo>
                    <a:pt x="885" y="399"/>
                  </a:lnTo>
                  <a:lnTo>
                    <a:pt x="881" y="403"/>
                  </a:lnTo>
                  <a:lnTo>
                    <a:pt x="885" y="403"/>
                  </a:lnTo>
                  <a:lnTo>
                    <a:pt x="881" y="403"/>
                  </a:lnTo>
                  <a:lnTo>
                    <a:pt x="877" y="403"/>
                  </a:lnTo>
                  <a:lnTo>
                    <a:pt x="873" y="403"/>
                  </a:lnTo>
                  <a:lnTo>
                    <a:pt x="877" y="403"/>
                  </a:lnTo>
                  <a:lnTo>
                    <a:pt x="881" y="403"/>
                  </a:lnTo>
                  <a:lnTo>
                    <a:pt x="889" y="407"/>
                  </a:lnTo>
                  <a:lnTo>
                    <a:pt x="889" y="411"/>
                  </a:lnTo>
                  <a:lnTo>
                    <a:pt x="893" y="411"/>
                  </a:lnTo>
                  <a:lnTo>
                    <a:pt x="897" y="411"/>
                  </a:lnTo>
                  <a:lnTo>
                    <a:pt x="901" y="411"/>
                  </a:lnTo>
                  <a:lnTo>
                    <a:pt x="901" y="415"/>
                  </a:lnTo>
                  <a:lnTo>
                    <a:pt x="897" y="419"/>
                  </a:lnTo>
                  <a:lnTo>
                    <a:pt x="893" y="419"/>
                  </a:lnTo>
                  <a:lnTo>
                    <a:pt x="893" y="423"/>
                  </a:lnTo>
                  <a:lnTo>
                    <a:pt x="893" y="419"/>
                  </a:lnTo>
                  <a:lnTo>
                    <a:pt x="897" y="419"/>
                  </a:lnTo>
                  <a:lnTo>
                    <a:pt x="897" y="423"/>
                  </a:lnTo>
                  <a:lnTo>
                    <a:pt x="901" y="423"/>
                  </a:lnTo>
                  <a:lnTo>
                    <a:pt x="905" y="423"/>
                  </a:lnTo>
                  <a:lnTo>
                    <a:pt x="905" y="427"/>
                  </a:lnTo>
                  <a:lnTo>
                    <a:pt x="901" y="427"/>
                  </a:lnTo>
                  <a:lnTo>
                    <a:pt x="897" y="431"/>
                  </a:lnTo>
                  <a:lnTo>
                    <a:pt x="893" y="431"/>
                  </a:lnTo>
                  <a:lnTo>
                    <a:pt x="893" y="435"/>
                  </a:lnTo>
                  <a:lnTo>
                    <a:pt x="893" y="431"/>
                  </a:lnTo>
                  <a:lnTo>
                    <a:pt x="889" y="431"/>
                  </a:lnTo>
                  <a:lnTo>
                    <a:pt x="885" y="431"/>
                  </a:lnTo>
                  <a:lnTo>
                    <a:pt x="881" y="431"/>
                  </a:lnTo>
                  <a:lnTo>
                    <a:pt x="885" y="431"/>
                  </a:lnTo>
                  <a:lnTo>
                    <a:pt x="885" y="435"/>
                  </a:lnTo>
                  <a:lnTo>
                    <a:pt x="885" y="439"/>
                  </a:lnTo>
                  <a:lnTo>
                    <a:pt x="889" y="439"/>
                  </a:lnTo>
                  <a:lnTo>
                    <a:pt x="889" y="443"/>
                  </a:lnTo>
                  <a:lnTo>
                    <a:pt x="889" y="439"/>
                  </a:lnTo>
                  <a:lnTo>
                    <a:pt x="893" y="439"/>
                  </a:lnTo>
                  <a:lnTo>
                    <a:pt x="893" y="443"/>
                  </a:lnTo>
                  <a:lnTo>
                    <a:pt x="889" y="443"/>
                  </a:lnTo>
                  <a:lnTo>
                    <a:pt x="889" y="447"/>
                  </a:lnTo>
                  <a:lnTo>
                    <a:pt x="893" y="447"/>
                  </a:lnTo>
                  <a:lnTo>
                    <a:pt x="893" y="451"/>
                  </a:lnTo>
                  <a:lnTo>
                    <a:pt x="897" y="451"/>
                  </a:lnTo>
                  <a:lnTo>
                    <a:pt x="897" y="455"/>
                  </a:lnTo>
                  <a:lnTo>
                    <a:pt x="901" y="455"/>
                  </a:lnTo>
                  <a:lnTo>
                    <a:pt x="905" y="459"/>
                  </a:lnTo>
                  <a:lnTo>
                    <a:pt x="901" y="459"/>
                  </a:lnTo>
                  <a:lnTo>
                    <a:pt x="901" y="463"/>
                  </a:lnTo>
                  <a:lnTo>
                    <a:pt x="901" y="467"/>
                  </a:lnTo>
                  <a:lnTo>
                    <a:pt x="901" y="471"/>
                  </a:lnTo>
                  <a:lnTo>
                    <a:pt x="897" y="471"/>
                  </a:lnTo>
                  <a:lnTo>
                    <a:pt x="893" y="471"/>
                  </a:lnTo>
                  <a:lnTo>
                    <a:pt x="893" y="475"/>
                  </a:lnTo>
                  <a:lnTo>
                    <a:pt x="889" y="479"/>
                  </a:lnTo>
                  <a:lnTo>
                    <a:pt x="885" y="479"/>
                  </a:lnTo>
                  <a:lnTo>
                    <a:pt x="885" y="483"/>
                  </a:lnTo>
                  <a:lnTo>
                    <a:pt x="881" y="483"/>
                  </a:lnTo>
                  <a:lnTo>
                    <a:pt x="877" y="483"/>
                  </a:lnTo>
                  <a:lnTo>
                    <a:pt x="877" y="487"/>
                  </a:lnTo>
                  <a:lnTo>
                    <a:pt x="873" y="487"/>
                  </a:lnTo>
                  <a:lnTo>
                    <a:pt x="869" y="487"/>
                  </a:lnTo>
                  <a:lnTo>
                    <a:pt x="865" y="483"/>
                  </a:lnTo>
                  <a:lnTo>
                    <a:pt x="861" y="483"/>
                  </a:lnTo>
                  <a:lnTo>
                    <a:pt x="861" y="479"/>
                  </a:lnTo>
                  <a:lnTo>
                    <a:pt x="865" y="475"/>
                  </a:lnTo>
                  <a:lnTo>
                    <a:pt x="861" y="475"/>
                  </a:lnTo>
                  <a:lnTo>
                    <a:pt x="861" y="479"/>
                  </a:lnTo>
                  <a:lnTo>
                    <a:pt x="857" y="479"/>
                  </a:lnTo>
                  <a:lnTo>
                    <a:pt x="857" y="475"/>
                  </a:lnTo>
                  <a:lnTo>
                    <a:pt x="857" y="471"/>
                  </a:lnTo>
                  <a:lnTo>
                    <a:pt x="853" y="471"/>
                  </a:lnTo>
                  <a:lnTo>
                    <a:pt x="849" y="471"/>
                  </a:lnTo>
                  <a:lnTo>
                    <a:pt x="853" y="471"/>
                  </a:lnTo>
                  <a:lnTo>
                    <a:pt x="849" y="471"/>
                  </a:lnTo>
                  <a:lnTo>
                    <a:pt x="845" y="471"/>
                  </a:lnTo>
                  <a:lnTo>
                    <a:pt x="845" y="475"/>
                  </a:lnTo>
                  <a:lnTo>
                    <a:pt x="849" y="475"/>
                  </a:lnTo>
                  <a:lnTo>
                    <a:pt x="849" y="471"/>
                  </a:lnTo>
                  <a:lnTo>
                    <a:pt x="853" y="471"/>
                  </a:lnTo>
                  <a:lnTo>
                    <a:pt x="853" y="475"/>
                  </a:lnTo>
                  <a:lnTo>
                    <a:pt x="849" y="475"/>
                  </a:lnTo>
                  <a:lnTo>
                    <a:pt x="853" y="475"/>
                  </a:lnTo>
                  <a:lnTo>
                    <a:pt x="857" y="479"/>
                  </a:lnTo>
                  <a:lnTo>
                    <a:pt x="861" y="479"/>
                  </a:lnTo>
                  <a:lnTo>
                    <a:pt x="861" y="483"/>
                  </a:lnTo>
                  <a:lnTo>
                    <a:pt x="861" y="487"/>
                  </a:lnTo>
                  <a:lnTo>
                    <a:pt x="865" y="487"/>
                  </a:lnTo>
                  <a:lnTo>
                    <a:pt x="865" y="491"/>
                  </a:lnTo>
                  <a:lnTo>
                    <a:pt x="865" y="495"/>
                  </a:lnTo>
                  <a:lnTo>
                    <a:pt x="861" y="491"/>
                  </a:lnTo>
                  <a:lnTo>
                    <a:pt x="857" y="491"/>
                  </a:lnTo>
                  <a:lnTo>
                    <a:pt x="857" y="487"/>
                  </a:lnTo>
                  <a:lnTo>
                    <a:pt x="853" y="487"/>
                  </a:lnTo>
                  <a:lnTo>
                    <a:pt x="853" y="491"/>
                  </a:lnTo>
                  <a:lnTo>
                    <a:pt x="857" y="491"/>
                  </a:lnTo>
                  <a:lnTo>
                    <a:pt x="857" y="495"/>
                  </a:lnTo>
                  <a:lnTo>
                    <a:pt x="853" y="495"/>
                  </a:lnTo>
                  <a:lnTo>
                    <a:pt x="853" y="491"/>
                  </a:lnTo>
                  <a:lnTo>
                    <a:pt x="849" y="491"/>
                  </a:lnTo>
                  <a:lnTo>
                    <a:pt x="845" y="491"/>
                  </a:lnTo>
                  <a:lnTo>
                    <a:pt x="841" y="491"/>
                  </a:lnTo>
                  <a:lnTo>
                    <a:pt x="841" y="487"/>
                  </a:lnTo>
                  <a:lnTo>
                    <a:pt x="841" y="483"/>
                  </a:lnTo>
                  <a:lnTo>
                    <a:pt x="837" y="483"/>
                  </a:lnTo>
                  <a:lnTo>
                    <a:pt x="833" y="483"/>
                  </a:lnTo>
                  <a:lnTo>
                    <a:pt x="829" y="483"/>
                  </a:lnTo>
                  <a:lnTo>
                    <a:pt x="821" y="483"/>
                  </a:lnTo>
                  <a:lnTo>
                    <a:pt x="821" y="487"/>
                  </a:lnTo>
                  <a:lnTo>
                    <a:pt x="821" y="491"/>
                  </a:lnTo>
                  <a:lnTo>
                    <a:pt x="825" y="491"/>
                  </a:lnTo>
                  <a:lnTo>
                    <a:pt x="829" y="491"/>
                  </a:lnTo>
                  <a:lnTo>
                    <a:pt x="833" y="491"/>
                  </a:lnTo>
                  <a:lnTo>
                    <a:pt x="833" y="495"/>
                  </a:lnTo>
                  <a:lnTo>
                    <a:pt x="829" y="499"/>
                  </a:lnTo>
                  <a:lnTo>
                    <a:pt x="825" y="499"/>
                  </a:lnTo>
                  <a:lnTo>
                    <a:pt x="825" y="503"/>
                  </a:lnTo>
                  <a:lnTo>
                    <a:pt x="825" y="507"/>
                  </a:lnTo>
                  <a:lnTo>
                    <a:pt x="821" y="507"/>
                  </a:lnTo>
                  <a:lnTo>
                    <a:pt x="817" y="507"/>
                  </a:lnTo>
                  <a:lnTo>
                    <a:pt x="817" y="511"/>
                  </a:lnTo>
                  <a:close/>
                  <a:moveTo>
                    <a:pt x="435" y="379"/>
                  </a:moveTo>
                  <a:lnTo>
                    <a:pt x="439" y="383"/>
                  </a:lnTo>
                  <a:lnTo>
                    <a:pt x="442" y="383"/>
                  </a:lnTo>
                  <a:lnTo>
                    <a:pt x="439" y="383"/>
                  </a:lnTo>
                  <a:lnTo>
                    <a:pt x="435" y="383"/>
                  </a:lnTo>
                  <a:lnTo>
                    <a:pt x="435" y="379"/>
                  </a:lnTo>
                  <a:close/>
                  <a:moveTo>
                    <a:pt x="598" y="411"/>
                  </a:moveTo>
                  <a:lnTo>
                    <a:pt x="598" y="415"/>
                  </a:lnTo>
                  <a:lnTo>
                    <a:pt x="594" y="415"/>
                  </a:lnTo>
                  <a:lnTo>
                    <a:pt x="594" y="411"/>
                  </a:lnTo>
                  <a:lnTo>
                    <a:pt x="598" y="411"/>
                  </a:lnTo>
                  <a:close/>
                  <a:moveTo>
                    <a:pt x="1129" y="439"/>
                  </a:moveTo>
                  <a:lnTo>
                    <a:pt x="1125" y="439"/>
                  </a:lnTo>
                  <a:lnTo>
                    <a:pt x="1129" y="439"/>
                  </a:lnTo>
                  <a:lnTo>
                    <a:pt x="1133" y="439"/>
                  </a:lnTo>
                  <a:lnTo>
                    <a:pt x="1129" y="439"/>
                  </a:lnTo>
                  <a:close/>
                  <a:moveTo>
                    <a:pt x="498" y="447"/>
                  </a:moveTo>
                  <a:lnTo>
                    <a:pt x="494" y="447"/>
                  </a:lnTo>
                  <a:lnTo>
                    <a:pt x="498" y="447"/>
                  </a:lnTo>
                  <a:close/>
                  <a:moveTo>
                    <a:pt x="1164" y="455"/>
                  </a:moveTo>
                  <a:lnTo>
                    <a:pt x="1168" y="455"/>
                  </a:lnTo>
                  <a:lnTo>
                    <a:pt x="1168" y="459"/>
                  </a:lnTo>
                  <a:lnTo>
                    <a:pt x="1164" y="459"/>
                  </a:lnTo>
                  <a:lnTo>
                    <a:pt x="1164" y="455"/>
                  </a:lnTo>
                  <a:close/>
                  <a:moveTo>
                    <a:pt x="1065" y="579"/>
                  </a:moveTo>
                  <a:lnTo>
                    <a:pt x="1069" y="583"/>
                  </a:lnTo>
                  <a:lnTo>
                    <a:pt x="1073" y="583"/>
                  </a:lnTo>
                  <a:lnTo>
                    <a:pt x="1069" y="587"/>
                  </a:lnTo>
                  <a:lnTo>
                    <a:pt x="1065" y="587"/>
                  </a:lnTo>
                  <a:lnTo>
                    <a:pt x="1061" y="587"/>
                  </a:lnTo>
                  <a:lnTo>
                    <a:pt x="1061" y="583"/>
                  </a:lnTo>
                  <a:lnTo>
                    <a:pt x="1061" y="579"/>
                  </a:lnTo>
                  <a:lnTo>
                    <a:pt x="1057" y="579"/>
                  </a:lnTo>
                  <a:lnTo>
                    <a:pt x="1061" y="579"/>
                  </a:lnTo>
                  <a:lnTo>
                    <a:pt x="1065" y="579"/>
                  </a:lnTo>
                  <a:close/>
                  <a:moveTo>
                    <a:pt x="1160" y="638"/>
                  </a:moveTo>
                  <a:lnTo>
                    <a:pt x="1156" y="638"/>
                  </a:lnTo>
                  <a:lnTo>
                    <a:pt x="1156" y="642"/>
                  </a:lnTo>
                  <a:lnTo>
                    <a:pt x="1160" y="642"/>
                  </a:lnTo>
                  <a:lnTo>
                    <a:pt x="1156" y="642"/>
                  </a:lnTo>
                  <a:lnTo>
                    <a:pt x="1156" y="638"/>
                  </a:lnTo>
                  <a:lnTo>
                    <a:pt x="1152" y="638"/>
                  </a:lnTo>
                  <a:lnTo>
                    <a:pt x="1152" y="634"/>
                  </a:lnTo>
                  <a:lnTo>
                    <a:pt x="1156" y="634"/>
                  </a:lnTo>
                  <a:lnTo>
                    <a:pt x="1156" y="638"/>
                  </a:lnTo>
                  <a:lnTo>
                    <a:pt x="1160" y="638"/>
                  </a:lnTo>
                  <a:close/>
                  <a:moveTo>
                    <a:pt x="921" y="654"/>
                  </a:moveTo>
                  <a:lnTo>
                    <a:pt x="921" y="658"/>
                  </a:lnTo>
                  <a:lnTo>
                    <a:pt x="917" y="658"/>
                  </a:lnTo>
                  <a:lnTo>
                    <a:pt x="917" y="654"/>
                  </a:lnTo>
                  <a:lnTo>
                    <a:pt x="921" y="654"/>
                  </a:lnTo>
                  <a:close/>
                  <a:moveTo>
                    <a:pt x="1208" y="730"/>
                  </a:moveTo>
                  <a:lnTo>
                    <a:pt x="1208" y="726"/>
                  </a:lnTo>
                  <a:lnTo>
                    <a:pt x="1208" y="730"/>
                  </a:lnTo>
                  <a:close/>
                  <a:moveTo>
                    <a:pt x="1200" y="730"/>
                  </a:moveTo>
                  <a:lnTo>
                    <a:pt x="1204" y="730"/>
                  </a:lnTo>
                  <a:lnTo>
                    <a:pt x="1208" y="734"/>
                  </a:lnTo>
                  <a:lnTo>
                    <a:pt x="1204" y="734"/>
                  </a:lnTo>
                  <a:lnTo>
                    <a:pt x="1200" y="734"/>
                  </a:lnTo>
                  <a:lnTo>
                    <a:pt x="1204" y="734"/>
                  </a:lnTo>
                  <a:lnTo>
                    <a:pt x="1204" y="730"/>
                  </a:lnTo>
                  <a:lnTo>
                    <a:pt x="1200" y="730"/>
                  </a:lnTo>
                  <a:close/>
                  <a:moveTo>
                    <a:pt x="171" y="810"/>
                  </a:moveTo>
                  <a:lnTo>
                    <a:pt x="171" y="806"/>
                  </a:lnTo>
                  <a:lnTo>
                    <a:pt x="167" y="806"/>
                  </a:lnTo>
                  <a:lnTo>
                    <a:pt x="167" y="802"/>
                  </a:lnTo>
                  <a:lnTo>
                    <a:pt x="167" y="798"/>
                  </a:lnTo>
                  <a:lnTo>
                    <a:pt x="163" y="798"/>
                  </a:lnTo>
                  <a:lnTo>
                    <a:pt x="167" y="798"/>
                  </a:lnTo>
                  <a:lnTo>
                    <a:pt x="163" y="798"/>
                  </a:lnTo>
                  <a:lnTo>
                    <a:pt x="163" y="794"/>
                  </a:lnTo>
                  <a:lnTo>
                    <a:pt x="167" y="794"/>
                  </a:lnTo>
                  <a:lnTo>
                    <a:pt x="167" y="798"/>
                  </a:lnTo>
                  <a:lnTo>
                    <a:pt x="171" y="802"/>
                  </a:lnTo>
                  <a:lnTo>
                    <a:pt x="175" y="802"/>
                  </a:lnTo>
                  <a:lnTo>
                    <a:pt x="175" y="806"/>
                  </a:lnTo>
                  <a:lnTo>
                    <a:pt x="175" y="810"/>
                  </a:lnTo>
                  <a:lnTo>
                    <a:pt x="171" y="810"/>
                  </a:lnTo>
                  <a:close/>
                  <a:moveTo>
                    <a:pt x="179" y="818"/>
                  </a:moveTo>
                  <a:lnTo>
                    <a:pt x="179" y="814"/>
                  </a:lnTo>
                  <a:lnTo>
                    <a:pt x="183" y="814"/>
                  </a:lnTo>
                  <a:lnTo>
                    <a:pt x="183" y="810"/>
                  </a:lnTo>
                  <a:lnTo>
                    <a:pt x="179" y="810"/>
                  </a:lnTo>
                  <a:lnTo>
                    <a:pt x="183" y="810"/>
                  </a:lnTo>
                  <a:lnTo>
                    <a:pt x="183" y="814"/>
                  </a:lnTo>
                  <a:lnTo>
                    <a:pt x="179" y="814"/>
                  </a:lnTo>
                  <a:lnTo>
                    <a:pt x="179" y="810"/>
                  </a:lnTo>
                  <a:lnTo>
                    <a:pt x="179" y="806"/>
                  </a:lnTo>
                  <a:lnTo>
                    <a:pt x="183" y="806"/>
                  </a:lnTo>
                  <a:lnTo>
                    <a:pt x="183" y="810"/>
                  </a:lnTo>
                  <a:lnTo>
                    <a:pt x="187" y="810"/>
                  </a:lnTo>
                  <a:lnTo>
                    <a:pt x="187" y="814"/>
                  </a:lnTo>
                  <a:lnTo>
                    <a:pt x="187" y="822"/>
                  </a:lnTo>
                  <a:lnTo>
                    <a:pt x="183" y="822"/>
                  </a:lnTo>
                  <a:lnTo>
                    <a:pt x="183" y="818"/>
                  </a:lnTo>
                  <a:lnTo>
                    <a:pt x="187" y="818"/>
                  </a:lnTo>
                  <a:lnTo>
                    <a:pt x="187" y="814"/>
                  </a:lnTo>
                  <a:lnTo>
                    <a:pt x="183" y="818"/>
                  </a:lnTo>
                  <a:lnTo>
                    <a:pt x="183" y="822"/>
                  </a:lnTo>
                  <a:lnTo>
                    <a:pt x="179" y="822"/>
                  </a:lnTo>
                  <a:lnTo>
                    <a:pt x="179" y="818"/>
                  </a:lnTo>
                  <a:close/>
                  <a:moveTo>
                    <a:pt x="147" y="834"/>
                  </a:moveTo>
                  <a:lnTo>
                    <a:pt x="143" y="830"/>
                  </a:lnTo>
                  <a:lnTo>
                    <a:pt x="143" y="826"/>
                  </a:lnTo>
                  <a:lnTo>
                    <a:pt x="139" y="826"/>
                  </a:lnTo>
                  <a:lnTo>
                    <a:pt x="135" y="822"/>
                  </a:lnTo>
                  <a:lnTo>
                    <a:pt x="135" y="818"/>
                  </a:lnTo>
                  <a:lnTo>
                    <a:pt x="131" y="818"/>
                  </a:lnTo>
                  <a:lnTo>
                    <a:pt x="131" y="814"/>
                  </a:lnTo>
                  <a:lnTo>
                    <a:pt x="135" y="814"/>
                  </a:lnTo>
                  <a:lnTo>
                    <a:pt x="131" y="814"/>
                  </a:lnTo>
                  <a:lnTo>
                    <a:pt x="127" y="814"/>
                  </a:lnTo>
                  <a:lnTo>
                    <a:pt x="127" y="810"/>
                  </a:lnTo>
                  <a:lnTo>
                    <a:pt x="131" y="810"/>
                  </a:lnTo>
                  <a:lnTo>
                    <a:pt x="135" y="810"/>
                  </a:lnTo>
                  <a:lnTo>
                    <a:pt x="135" y="806"/>
                  </a:lnTo>
                  <a:lnTo>
                    <a:pt x="139" y="806"/>
                  </a:lnTo>
                  <a:lnTo>
                    <a:pt x="139" y="810"/>
                  </a:lnTo>
                  <a:lnTo>
                    <a:pt x="143" y="814"/>
                  </a:lnTo>
                  <a:lnTo>
                    <a:pt x="139" y="814"/>
                  </a:lnTo>
                  <a:lnTo>
                    <a:pt x="139" y="810"/>
                  </a:lnTo>
                  <a:lnTo>
                    <a:pt x="135" y="810"/>
                  </a:lnTo>
                  <a:lnTo>
                    <a:pt x="135" y="814"/>
                  </a:lnTo>
                  <a:lnTo>
                    <a:pt x="139" y="814"/>
                  </a:lnTo>
                  <a:lnTo>
                    <a:pt x="143" y="814"/>
                  </a:lnTo>
                  <a:lnTo>
                    <a:pt x="139" y="814"/>
                  </a:lnTo>
                  <a:lnTo>
                    <a:pt x="139" y="818"/>
                  </a:lnTo>
                  <a:lnTo>
                    <a:pt x="139" y="814"/>
                  </a:lnTo>
                  <a:lnTo>
                    <a:pt x="135" y="814"/>
                  </a:lnTo>
                  <a:lnTo>
                    <a:pt x="139" y="818"/>
                  </a:lnTo>
                  <a:lnTo>
                    <a:pt x="139" y="822"/>
                  </a:lnTo>
                  <a:lnTo>
                    <a:pt x="143" y="822"/>
                  </a:lnTo>
                  <a:lnTo>
                    <a:pt x="143" y="826"/>
                  </a:lnTo>
                  <a:lnTo>
                    <a:pt x="147" y="826"/>
                  </a:lnTo>
                  <a:lnTo>
                    <a:pt x="147" y="830"/>
                  </a:lnTo>
                  <a:lnTo>
                    <a:pt x="151" y="830"/>
                  </a:lnTo>
                  <a:lnTo>
                    <a:pt x="147" y="834"/>
                  </a:lnTo>
                  <a:close/>
                  <a:moveTo>
                    <a:pt x="195" y="830"/>
                  </a:moveTo>
                  <a:lnTo>
                    <a:pt x="195" y="834"/>
                  </a:lnTo>
                  <a:lnTo>
                    <a:pt x="191" y="834"/>
                  </a:lnTo>
                  <a:lnTo>
                    <a:pt x="191" y="830"/>
                  </a:lnTo>
                  <a:lnTo>
                    <a:pt x="195" y="830"/>
                  </a:lnTo>
                  <a:close/>
                  <a:moveTo>
                    <a:pt x="195" y="834"/>
                  </a:moveTo>
                  <a:lnTo>
                    <a:pt x="195" y="838"/>
                  </a:lnTo>
                  <a:lnTo>
                    <a:pt x="195" y="842"/>
                  </a:lnTo>
                  <a:lnTo>
                    <a:pt x="191" y="838"/>
                  </a:lnTo>
                  <a:lnTo>
                    <a:pt x="195" y="834"/>
                  </a:lnTo>
                  <a:close/>
                  <a:moveTo>
                    <a:pt x="945" y="8"/>
                  </a:moveTo>
                  <a:lnTo>
                    <a:pt x="949" y="4"/>
                  </a:lnTo>
                  <a:lnTo>
                    <a:pt x="953" y="8"/>
                  </a:lnTo>
                  <a:lnTo>
                    <a:pt x="949" y="8"/>
                  </a:lnTo>
                  <a:lnTo>
                    <a:pt x="945" y="8"/>
                  </a:lnTo>
                  <a:close/>
                  <a:moveTo>
                    <a:pt x="746" y="52"/>
                  </a:moveTo>
                  <a:lnTo>
                    <a:pt x="742" y="52"/>
                  </a:lnTo>
                  <a:lnTo>
                    <a:pt x="742" y="48"/>
                  </a:lnTo>
                  <a:lnTo>
                    <a:pt x="746" y="48"/>
                  </a:lnTo>
                  <a:lnTo>
                    <a:pt x="746" y="52"/>
                  </a:lnTo>
                  <a:close/>
                  <a:moveTo>
                    <a:pt x="1125" y="52"/>
                  </a:moveTo>
                  <a:lnTo>
                    <a:pt x="1121" y="52"/>
                  </a:lnTo>
                  <a:lnTo>
                    <a:pt x="1121" y="48"/>
                  </a:lnTo>
                  <a:lnTo>
                    <a:pt x="1125" y="48"/>
                  </a:lnTo>
                  <a:lnTo>
                    <a:pt x="1129" y="48"/>
                  </a:lnTo>
                  <a:lnTo>
                    <a:pt x="1129" y="52"/>
                  </a:lnTo>
                  <a:lnTo>
                    <a:pt x="1125" y="52"/>
                  </a:lnTo>
                  <a:close/>
                  <a:moveTo>
                    <a:pt x="694" y="80"/>
                  </a:moveTo>
                  <a:lnTo>
                    <a:pt x="698" y="80"/>
                  </a:lnTo>
                  <a:lnTo>
                    <a:pt x="694" y="80"/>
                  </a:lnTo>
                  <a:lnTo>
                    <a:pt x="690" y="80"/>
                  </a:lnTo>
                  <a:lnTo>
                    <a:pt x="686" y="80"/>
                  </a:lnTo>
                  <a:lnTo>
                    <a:pt x="682" y="80"/>
                  </a:lnTo>
                  <a:lnTo>
                    <a:pt x="678" y="80"/>
                  </a:lnTo>
                  <a:lnTo>
                    <a:pt x="682" y="80"/>
                  </a:lnTo>
                  <a:lnTo>
                    <a:pt x="690" y="80"/>
                  </a:lnTo>
                  <a:lnTo>
                    <a:pt x="694" y="80"/>
                  </a:lnTo>
                  <a:close/>
                  <a:moveTo>
                    <a:pt x="833" y="128"/>
                  </a:moveTo>
                  <a:lnTo>
                    <a:pt x="837" y="128"/>
                  </a:lnTo>
                  <a:lnTo>
                    <a:pt x="841" y="128"/>
                  </a:lnTo>
                  <a:lnTo>
                    <a:pt x="845" y="128"/>
                  </a:lnTo>
                  <a:lnTo>
                    <a:pt x="845" y="132"/>
                  </a:lnTo>
                  <a:lnTo>
                    <a:pt x="841" y="132"/>
                  </a:lnTo>
                  <a:lnTo>
                    <a:pt x="837" y="132"/>
                  </a:lnTo>
                  <a:lnTo>
                    <a:pt x="833" y="132"/>
                  </a:lnTo>
                  <a:lnTo>
                    <a:pt x="829" y="136"/>
                  </a:lnTo>
                  <a:lnTo>
                    <a:pt x="825" y="136"/>
                  </a:lnTo>
                  <a:lnTo>
                    <a:pt x="825" y="132"/>
                  </a:lnTo>
                  <a:lnTo>
                    <a:pt x="829" y="132"/>
                  </a:lnTo>
                  <a:lnTo>
                    <a:pt x="829" y="128"/>
                  </a:lnTo>
                  <a:lnTo>
                    <a:pt x="833" y="128"/>
                  </a:lnTo>
                  <a:close/>
                  <a:moveTo>
                    <a:pt x="1009" y="140"/>
                  </a:moveTo>
                  <a:lnTo>
                    <a:pt x="1005" y="140"/>
                  </a:lnTo>
                  <a:lnTo>
                    <a:pt x="1001" y="140"/>
                  </a:lnTo>
                  <a:lnTo>
                    <a:pt x="1005" y="140"/>
                  </a:lnTo>
                  <a:lnTo>
                    <a:pt x="1005" y="136"/>
                  </a:lnTo>
                  <a:lnTo>
                    <a:pt x="1005" y="140"/>
                  </a:lnTo>
                  <a:lnTo>
                    <a:pt x="1009" y="140"/>
                  </a:lnTo>
                  <a:lnTo>
                    <a:pt x="1013" y="140"/>
                  </a:lnTo>
                  <a:lnTo>
                    <a:pt x="1009" y="140"/>
                  </a:lnTo>
                  <a:close/>
                  <a:moveTo>
                    <a:pt x="801" y="148"/>
                  </a:moveTo>
                  <a:lnTo>
                    <a:pt x="797" y="152"/>
                  </a:lnTo>
                  <a:lnTo>
                    <a:pt x="797" y="156"/>
                  </a:lnTo>
                  <a:lnTo>
                    <a:pt x="797" y="152"/>
                  </a:lnTo>
                  <a:lnTo>
                    <a:pt x="794" y="152"/>
                  </a:lnTo>
                  <a:lnTo>
                    <a:pt x="797" y="152"/>
                  </a:lnTo>
                  <a:lnTo>
                    <a:pt x="797" y="148"/>
                  </a:lnTo>
                  <a:lnTo>
                    <a:pt x="801" y="148"/>
                  </a:lnTo>
                  <a:close/>
                  <a:moveTo>
                    <a:pt x="594" y="156"/>
                  </a:moveTo>
                  <a:lnTo>
                    <a:pt x="590" y="156"/>
                  </a:lnTo>
                  <a:lnTo>
                    <a:pt x="594" y="156"/>
                  </a:lnTo>
                  <a:close/>
                  <a:moveTo>
                    <a:pt x="957" y="164"/>
                  </a:moveTo>
                  <a:lnTo>
                    <a:pt x="961" y="164"/>
                  </a:lnTo>
                  <a:lnTo>
                    <a:pt x="961" y="168"/>
                  </a:lnTo>
                  <a:lnTo>
                    <a:pt x="957" y="168"/>
                  </a:lnTo>
                  <a:lnTo>
                    <a:pt x="953" y="168"/>
                  </a:lnTo>
                  <a:lnTo>
                    <a:pt x="957" y="168"/>
                  </a:lnTo>
                  <a:lnTo>
                    <a:pt x="957" y="164"/>
                  </a:lnTo>
                  <a:close/>
                  <a:moveTo>
                    <a:pt x="841" y="175"/>
                  </a:moveTo>
                  <a:lnTo>
                    <a:pt x="845" y="175"/>
                  </a:lnTo>
                  <a:lnTo>
                    <a:pt x="849" y="175"/>
                  </a:lnTo>
                  <a:lnTo>
                    <a:pt x="845" y="179"/>
                  </a:lnTo>
                  <a:lnTo>
                    <a:pt x="845" y="175"/>
                  </a:lnTo>
                  <a:lnTo>
                    <a:pt x="841" y="175"/>
                  </a:lnTo>
                  <a:lnTo>
                    <a:pt x="837" y="175"/>
                  </a:lnTo>
                  <a:lnTo>
                    <a:pt x="841" y="175"/>
                  </a:lnTo>
                  <a:close/>
                  <a:moveTo>
                    <a:pt x="861" y="207"/>
                  </a:moveTo>
                  <a:lnTo>
                    <a:pt x="865" y="207"/>
                  </a:lnTo>
                  <a:lnTo>
                    <a:pt x="861" y="207"/>
                  </a:lnTo>
                  <a:close/>
                  <a:moveTo>
                    <a:pt x="578" y="211"/>
                  </a:moveTo>
                  <a:lnTo>
                    <a:pt x="582" y="215"/>
                  </a:lnTo>
                  <a:lnTo>
                    <a:pt x="578" y="219"/>
                  </a:lnTo>
                  <a:lnTo>
                    <a:pt x="574" y="219"/>
                  </a:lnTo>
                  <a:lnTo>
                    <a:pt x="570" y="219"/>
                  </a:lnTo>
                  <a:lnTo>
                    <a:pt x="566" y="219"/>
                  </a:lnTo>
                  <a:lnTo>
                    <a:pt x="562" y="219"/>
                  </a:lnTo>
                  <a:lnTo>
                    <a:pt x="558" y="219"/>
                  </a:lnTo>
                  <a:lnTo>
                    <a:pt x="562" y="219"/>
                  </a:lnTo>
                  <a:lnTo>
                    <a:pt x="558" y="219"/>
                  </a:lnTo>
                  <a:lnTo>
                    <a:pt x="554" y="219"/>
                  </a:lnTo>
                  <a:lnTo>
                    <a:pt x="554" y="215"/>
                  </a:lnTo>
                  <a:lnTo>
                    <a:pt x="558" y="215"/>
                  </a:lnTo>
                  <a:lnTo>
                    <a:pt x="562" y="215"/>
                  </a:lnTo>
                  <a:lnTo>
                    <a:pt x="566" y="211"/>
                  </a:lnTo>
                  <a:lnTo>
                    <a:pt x="570" y="211"/>
                  </a:lnTo>
                  <a:lnTo>
                    <a:pt x="574" y="211"/>
                  </a:lnTo>
                  <a:lnTo>
                    <a:pt x="578" y="211"/>
                  </a:lnTo>
                  <a:close/>
                  <a:moveTo>
                    <a:pt x="941" y="219"/>
                  </a:moveTo>
                  <a:lnTo>
                    <a:pt x="937" y="219"/>
                  </a:lnTo>
                  <a:lnTo>
                    <a:pt x="937" y="223"/>
                  </a:lnTo>
                  <a:lnTo>
                    <a:pt x="941" y="223"/>
                  </a:lnTo>
                  <a:lnTo>
                    <a:pt x="941" y="227"/>
                  </a:lnTo>
                  <a:lnTo>
                    <a:pt x="937" y="227"/>
                  </a:lnTo>
                  <a:lnTo>
                    <a:pt x="937" y="223"/>
                  </a:lnTo>
                  <a:lnTo>
                    <a:pt x="933" y="223"/>
                  </a:lnTo>
                  <a:lnTo>
                    <a:pt x="933" y="227"/>
                  </a:lnTo>
                  <a:lnTo>
                    <a:pt x="929" y="227"/>
                  </a:lnTo>
                  <a:lnTo>
                    <a:pt x="929" y="223"/>
                  </a:lnTo>
                  <a:lnTo>
                    <a:pt x="925" y="223"/>
                  </a:lnTo>
                  <a:lnTo>
                    <a:pt x="929" y="223"/>
                  </a:lnTo>
                  <a:lnTo>
                    <a:pt x="933" y="219"/>
                  </a:lnTo>
                  <a:lnTo>
                    <a:pt x="937" y="219"/>
                  </a:lnTo>
                  <a:lnTo>
                    <a:pt x="937" y="215"/>
                  </a:lnTo>
                  <a:lnTo>
                    <a:pt x="941" y="219"/>
                  </a:lnTo>
                  <a:close/>
                  <a:moveTo>
                    <a:pt x="303" y="223"/>
                  </a:moveTo>
                  <a:lnTo>
                    <a:pt x="303" y="227"/>
                  </a:lnTo>
                  <a:lnTo>
                    <a:pt x="299" y="227"/>
                  </a:lnTo>
                  <a:lnTo>
                    <a:pt x="303" y="227"/>
                  </a:lnTo>
                  <a:lnTo>
                    <a:pt x="303" y="223"/>
                  </a:lnTo>
                  <a:close/>
                  <a:moveTo>
                    <a:pt x="279" y="223"/>
                  </a:moveTo>
                  <a:lnTo>
                    <a:pt x="283" y="223"/>
                  </a:lnTo>
                  <a:lnTo>
                    <a:pt x="279" y="223"/>
                  </a:lnTo>
                  <a:lnTo>
                    <a:pt x="275" y="223"/>
                  </a:lnTo>
                  <a:lnTo>
                    <a:pt x="279" y="223"/>
                  </a:lnTo>
                  <a:close/>
                  <a:moveTo>
                    <a:pt x="570" y="223"/>
                  </a:moveTo>
                  <a:lnTo>
                    <a:pt x="566" y="227"/>
                  </a:lnTo>
                  <a:lnTo>
                    <a:pt x="562" y="227"/>
                  </a:lnTo>
                  <a:lnTo>
                    <a:pt x="562" y="223"/>
                  </a:lnTo>
                  <a:lnTo>
                    <a:pt x="566" y="223"/>
                  </a:lnTo>
                  <a:lnTo>
                    <a:pt x="570" y="223"/>
                  </a:lnTo>
                  <a:close/>
                  <a:moveTo>
                    <a:pt x="614" y="235"/>
                  </a:moveTo>
                  <a:lnTo>
                    <a:pt x="614" y="231"/>
                  </a:lnTo>
                  <a:lnTo>
                    <a:pt x="610" y="235"/>
                  </a:lnTo>
                  <a:lnTo>
                    <a:pt x="606" y="235"/>
                  </a:lnTo>
                  <a:lnTo>
                    <a:pt x="606" y="231"/>
                  </a:lnTo>
                  <a:lnTo>
                    <a:pt x="610" y="231"/>
                  </a:lnTo>
                  <a:lnTo>
                    <a:pt x="614" y="231"/>
                  </a:lnTo>
                  <a:lnTo>
                    <a:pt x="618" y="231"/>
                  </a:lnTo>
                  <a:lnTo>
                    <a:pt x="618" y="235"/>
                  </a:lnTo>
                  <a:lnTo>
                    <a:pt x="614" y="235"/>
                  </a:lnTo>
                  <a:close/>
                  <a:moveTo>
                    <a:pt x="921" y="319"/>
                  </a:moveTo>
                  <a:lnTo>
                    <a:pt x="925" y="323"/>
                  </a:lnTo>
                  <a:lnTo>
                    <a:pt x="921" y="323"/>
                  </a:lnTo>
                  <a:lnTo>
                    <a:pt x="921" y="319"/>
                  </a:lnTo>
                  <a:close/>
                  <a:moveTo>
                    <a:pt x="929" y="323"/>
                  </a:moveTo>
                  <a:lnTo>
                    <a:pt x="933" y="323"/>
                  </a:lnTo>
                  <a:lnTo>
                    <a:pt x="933" y="327"/>
                  </a:lnTo>
                  <a:lnTo>
                    <a:pt x="929" y="327"/>
                  </a:lnTo>
                  <a:lnTo>
                    <a:pt x="929" y="323"/>
                  </a:lnTo>
                  <a:close/>
                  <a:moveTo>
                    <a:pt x="937" y="323"/>
                  </a:moveTo>
                  <a:lnTo>
                    <a:pt x="941" y="323"/>
                  </a:lnTo>
                  <a:lnTo>
                    <a:pt x="941" y="327"/>
                  </a:lnTo>
                  <a:lnTo>
                    <a:pt x="937" y="327"/>
                  </a:lnTo>
                  <a:lnTo>
                    <a:pt x="937" y="323"/>
                  </a:lnTo>
                  <a:close/>
                  <a:moveTo>
                    <a:pt x="829" y="327"/>
                  </a:moveTo>
                  <a:lnTo>
                    <a:pt x="833" y="327"/>
                  </a:lnTo>
                  <a:lnTo>
                    <a:pt x="833" y="331"/>
                  </a:lnTo>
                  <a:lnTo>
                    <a:pt x="833" y="327"/>
                  </a:lnTo>
                  <a:lnTo>
                    <a:pt x="829" y="327"/>
                  </a:lnTo>
                  <a:close/>
                  <a:moveTo>
                    <a:pt x="690" y="339"/>
                  </a:moveTo>
                  <a:lnTo>
                    <a:pt x="690" y="343"/>
                  </a:lnTo>
                  <a:lnTo>
                    <a:pt x="690" y="339"/>
                  </a:lnTo>
                  <a:close/>
                  <a:moveTo>
                    <a:pt x="670" y="355"/>
                  </a:moveTo>
                  <a:lnTo>
                    <a:pt x="674" y="355"/>
                  </a:lnTo>
                  <a:lnTo>
                    <a:pt x="674" y="359"/>
                  </a:lnTo>
                  <a:lnTo>
                    <a:pt x="670" y="359"/>
                  </a:lnTo>
                  <a:lnTo>
                    <a:pt x="670" y="355"/>
                  </a:lnTo>
                  <a:close/>
                  <a:moveTo>
                    <a:pt x="359" y="375"/>
                  </a:moveTo>
                  <a:lnTo>
                    <a:pt x="363" y="375"/>
                  </a:lnTo>
                  <a:lnTo>
                    <a:pt x="359" y="375"/>
                  </a:lnTo>
                  <a:close/>
                  <a:moveTo>
                    <a:pt x="375" y="375"/>
                  </a:moveTo>
                  <a:lnTo>
                    <a:pt x="371" y="375"/>
                  </a:lnTo>
                  <a:lnTo>
                    <a:pt x="375" y="375"/>
                  </a:lnTo>
                  <a:close/>
                  <a:moveTo>
                    <a:pt x="662" y="391"/>
                  </a:moveTo>
                  <a:lnTo>
                    <a:pt x="662" y="395"/>
                  </a:lnTo>
                  <a:lnTo>
                    <a:pt x="658" y="395"/>
                  </a:lnTo>
                  <a:lnTo>
                    <a:pt x="658" y="391"/>
                  </a:lnTo>
                  <a:lnTo>
                    <a:pt x="662" y="391"/>
                  </a:lnTo>
                  <a:close/>
                  <a:moveTo>
                    <a:pt x="750" y="399"/>
                  </a:moveTo>
                  <a:lnTo>
                    <a:pt x="746" y="395"/>
                  </a:lnTo>
                  <a:lnTo>
                    <a:pt x="750" y="395"/>
                  </a:lnTo>
                  <a:lnTo>
                    <a:pt x="750" y="399"/>
                  </a:lnTo>
                  <a:close/>
                  <a:moveTo>
                    <a:pt x="678" y="403"/>
                  </a:moveTo>
                  <a:lnTo>
                    <a:pt x="678" y="407"/>
                  </a:lnTo>
                  <a:lnTo>
                    <a:pt x="674" y="407"/>
                  </a:lnTo>
                  <a:lnTo>
                    <a:pt x="670" y="403"/>
                  </a:lnTo>
                  <a:lnTo>
                    <a:pt x="674" y="403"/>
                  </a:lnTo>
                  <a:lnTo>
                    <a:pt x="678" y="403"/>
                  </a:lnTo>
                  <a:close/>
                  <a:moveTo>
                    <a:pt x="770" y="407"/>
                  </a:moveTo>
                  <a:lnTo>
                    <a:pt x="766" y="411"/>
                  </a:lnTo>
                  <a:lnTo>
                    <a:pt x="766" y="407"/>
                  </a:lnTo>
                  <a:lnTo>
                    <a:pt x="770" y="407"/>
                  </a:lnTo>
                  <a:close/>
                  <a:moveTo>
                    <a:pt x="88" y="411"/>
                  </a:moveTo>
                  <a:lnTo>
                    <a:pt x="84" y="411"/>
                  </a:lnTo>
                  <a:lnTo>
                    <a:pt x="84" y="407"/>
                  </a:lnTo>
                  <a:lnTo>
                    <a:pt x="88" y="407"/>
                  </a:lnTo>
                  <a:lnTo>
                    <a:pt x="88" y="411"/>
                  </a:lnTo>
                  <a:close/>
                  <a:moveTo>
                    <a:pt x="762" y="411"/>
                  </a:moveTo>
                  <a:lnTo>
                    <a:pt x="762" y="407"/>
                  </a:lnTo>
                  <a:lnTo>
                    <a:pt x="766" y="411"/>
                  </a:lnTo>
                  <a:lnTo>
                    <a:pt x="762" y="411"/>
                  </a:lnTo>
                  <a:close/>
                  <a:moveTo>
                    <a:pt x="618" y="415"/>
                  </a:moveTo>
                  <a:lnTo>
                    <a:pt x="622" y="419"/>
                  </a:lnTo>
                  <a:lnTo>
                    <a:pt x="618" y="419"/>
                  </a:lnTo>
                  <a:lnTo>
                    <a:pt x="618" y="415"/>
                  </a:lnTo>
                  <a:close/>
                  <a:moveTo>
                    <a:pt x="614" y="419"/>
                  </a:moveTo>
                  <a:lnTo>
                    <a:pt x="618" y="419"/>
                  </a:lnTo>
                  <a:lnTo>
                    <a:pt x="618" y="423"/>
                  </a:lnTo>
                  <a:lnTo>
                    <a:pt x="614" y="423"/>
                  </a:lnTo>
                  <a:lnTo>
                    <a:pt x="614" y="427"/>
                  </a:lnTo>
                  <a:lnTo>
                    <a:pt x="610" y="423"/>
                  </a:lnTo>
                  <a:lnTo>
                    <a:pt x="610" y="419"/>
                  </a:lnTo>
                  <a:lnTo>
                    <a:pt x="610" y="415"/>
                  </a:lnTo>
                  <a:lnTo>
                    <a:pt x="614" y="415"/>
                  </a:lnTo>
                  <a:lnTo>
                    <a:pt x="614" y="419"/>
                  </a:lnTo>
                  <a:close/>
                  <a:moveTo>
                    <a:pt x="774" y="419"/>
                  </a:moveTo>
                  <a:lnTo>
                    <a:pt x="770" y="419"/>
                  </a:lnTo>
                  <a:lnTo>
                    <a:pt x="774" y="419"/>
                  </a:lnTo>
                  <a:close/>
                  <a:moveTo>
                    <a:pt x="774" y="427"/>
                  </a:moveTo>
                  <a:lnTo>
                    <a:pt x="770" y="427"/>
                  </a:lnTo>
                  <a:lnTo>
                    <a:pt x="770" y="423"/>
                  </a:lnTo>
                  <a:lnTo>
                    <a:pt x="774" y="423"/>
                  </a:lnTo>
                  <a:lnTo>
                    <a:pt x="774" y="427"/>
                  </a:lnTo>
                  <a:close/>
                  <a:moveTo>
                    <a:pt x="1097" y="423"/>
                  </a:moveTo>
                  <a:lnTo>
                    <a:pt x="1101" y="423"/>
                  </a:lnTo>
                  <a:lnTo>
                    <a:pt x="1105" y="423"/>
                  </a:lnTo>
                  <a:lnTo>
                    <a:pt x="1109" y="427"/>
                  </a:lnTo>
                  <a:lnTo>
                    <a:pt x="1105" y="427"/>
                  </a:lnTo>
                  <a:lnTo>
                    <a:pt x="1105" y="423"/>
                  </a:lnTo>
                  <a:lnTo>
                    <a:pt x="1101" y="423"/>
                  </a:lnTo>
                  <a:lnTo>
                    <a:pt x="1097" y="423"/>
                  </a:lnTo>
                  <a:close/>
                  <a:moveTo>
                    <a:pt x="458" y="431"/>
                  </a:moveTo>
                  <a:lnTo>
                    <a:pt x="454" y="431"/>
                  </a:lnTo>
                  <a:lnTo>
                    <a:pt x="450" y="431"/>
                  </a:lnTo>
                  <a:lnTo>
                    <a:pt x="454" y="431"/>
                  </a:lnTo>
                  <a:lnTo>
                    <a:pt x="458" y="431"/>
                  </a:lnTo>
                  <a:close/>
                  <a:moveTo>
                    <a:pt x="893" y="435"/>
                  </a:moveTo>
                  <a:lnTo>
                    <a:pt x="889" y="435"/>
                  </a:lnTo>
                  <a:lnTo>
                    <a:pt x="893" y="435"/>
                  </a:lnTo>
                  <a:close/>
                  <a:moveTo>
                    <a:pt x="446" y="435"/>
                  </a:moveTo>
                  <a:lnTo>
                    <a:pt x="446" y="439"/>
                  </a:lnTo>
                  <a:lnTo>
                    <a:pt x="442" y="439"/>
                  </a:lnTo>
                  <a:lnTo>
                    <a:pt x="442" y="435"/>
                  </a:lnTo>
                  <a:lnTo>
                    <a:pt x="446" y="435"/>
                  </a:lnTo>
                  <a:close/>
                  <a:moveTo>
                    <a:pt x="474" y="439"/>
                  </a:moveTo>
                  <a:lnTo>
                    <a:pt x="470" y="439"/>
                  </a:lnTo>
                  <a:lnTo>
                    <a:pt x="470" y="443"/>
                  </a:lnTo>
                  <a:lnTo>
                    <a:pt x="470" y="439"/>
                  </a:lnTo>
                  <a:lnTo>
                    <a:pt x="474" y="439"/>
                  </a:lnTo>
                  <a:close/>
                  <a:moveTo>
                    <a:pt x="554" y="439"/>
                  </a:moveTo>
                  <a:lnTo>
                    <a:pt x="554" y="443"/>
                  </a:lnTo>
                  <a:lnTo>
                    <a:pt x="550" y="443"/>
                  </a:lnTo>
                  <a:lnTo>
                    <a:pt x="550" y="439"/>
                  </a:lnTo>
                  <a:lnTo>
                    <a:pt x="554" y="439"/>
                  </a:lnTo>
                  <a:close/>
                  <a:moveTo>
                    <a:pt x="470" y="443"/>
                  </a:moveTo>
                  <a:lnTo>
                    <a:pt x="466" y="443"/>
                  </a:lnTo>
                  <a:lnTo>
                    <a:pt x="470" y="443"/>
                  </a:lnTo>
                  <a:close/>
                  <a:moveTo>
                    <a:pt x="478" y="443"/>
                  </a:moveTo>
                  <a:lnTo>
                    <a:pt x="478" y="447"/>
                  </a:lnTo>
                  <a:lnTo>
                    <a:pt x="478" y="443"/>
                  </a:lnTo>
                  <a:lnTo>
                    <a:pt x="474" y="443"/>
                  </a:lnTo>
                  <a:lnTo>
                    <a:pt x="478" y="443"/>
                  </a:lnTo>
                  <a:close/>
                  <a:moveTo>
                    <a:pt x="494" y="447"/>
                  </a:moveTo>
                  <a:lnTo>
                    <a:pt x="490" y="447"/>
                  </a:lnTo>
                  <a:lnTo>
                    <a:pt x="494" y="447"/>
                  </a:lnTo>
                  <a:close/>
                  <a:moveTo>
                    <a:pt x="662" y="451"/>
                  </a:moveTo>
                  <a:lnTo>
                    <a:pt x="662" y="455"/>
                  </a:lnTo>
                  <a:lnTo>
                    <a:pt x="658" y="455"/>
                  </a:lnTo>
                  <a:lnTo>
                    <a:pt x="658" y="451"/>
                  </a:lnTo>
                  <a:lnTo>
                    <a:pt x="662" y="451"/>
                  </a:lnTo>
                  <a:close/>
                  <a:moveTo>
                    <a:pt x="498" y="459"/>
                  </a:moveTo>
                  <a:lnTo>
                    <a:pt x="498" y="455"/>
                  </a:lnTo>
                  <a:lnTo>
                    <a:pt x="498" y="459"/>
                  </a:lnTo>
                  <a:close/>
                  <a:moveTo>
                    <a:pt x="498" y="459"/>
                  </a:moveTo>
                  <a:lnTo>
                    <a:pt x="494" y="459"/>
                  </a:lnTo>
                  <a:lnTo>
                    <a:pt x="494" y="455"/>
                  </a:lnTo>
                  <a:lnTo>
                    <a:pt x="498" y="455"/>
                  </a:lnTo>
                  <a:lnTo>
                    <a:pt x="498" y="459"/>
                  </a:lnTo>
                  <a:close/>
                  <a:moveTo>
                    <a:pt x="1172" y="463"/>
                  </a:moveTo>
                  <a:lnTo>
                    <a:pt x="1168" y="463"/>
                  </a:lnTo>
                  <a:lnTo>
                    <a:pt x="1172" y="463"/>
                  </a:lnTo>
                  <a:lnTo>
                    <a:pt x="1176" y="463"/>
                  </a:lnTo>
                  <a:lnTo>
                    <a:pt x="1172" y="463"/>
                  </a:lnTo>
                  <a:close/>
                  <a:moveTo>
                    <a:pt x="690" y="463"/>
                  </a:moveTo>
                  <a:lnTo>
                    <a:pt x="690" y="467"/>
                  </a:lnTo>
                  <a:lnTo>
                    <a:pt x="686" y="467"/>
                  </a:lnTo>
                  <a:lnTo>
                    <a:pt x="686" y="463"/>
                  </a:lnTo>
                  <a:lnTo>
                    <a:pt x="690" y="463"/>
                  </a:lnTo>
                  <a:close/>
                  <a:moveTo>
                    <a:pt x="506" y="467"/>
                  </a:moveTo>
                  <a:lnTo>
                    <a:pt x="506" y="471"/>
                  </a:lnTo>
                  <a:lnTo>
                    <a:pt x="506" y="467"/>
                  </a:lnTo>
                  <a:close/>
                  <a:moveTo>
                    <a:pt x="1180" y="471"/>
                  </a:moveTo>
                  <a:lnTo>
                    <a:pt x="1176" y="471"/>
                  </a:lnTo>
                  <a:lnTo>
                    <a:pt x="1180" y="471"/>
                  </a:lnTo>
                  <a:close/>
                  <a:moveTo>
                    <a:pt x="502" y="471"/>
                  </a:moveTo>
                  <a:lnTo>
                    <a:pt x="502" y="475"/>
                  </a:lnTo>
                  <a:lnTo>
                    <a:pt x="498" y="475"/>
                  </a:lnTo>
                  <a:lnTo>
                    <a:pt x="502" y="471"/>
                  </a:lnTo>
                  <a:close/>
                  <a:moveTo>
                    <a:pt x="1192" y="491"/>
                  </a:moveTo>
                  <a:lnTo>
                    <a:pt x="1188" y="491"/>
                  </a:lnTo>
                  <a:lnTo>
                    <a:pt x="1192" y="491"/>
                  </a:lnTo>
                  <a:close/>
                  <a:moveTo>
                    <a:pt x="1021" y="535"/>
                  </a:moveTo>
                  <a:lnTo>
                    <a:pt x="1021" y="539"/>
                  </a:lnTo>
                  <a:lnTo>
                    <a:pt x="1021" y="543"/>
                  </a:lnTo>
                  <a:lnTo>
                    <a:pt x="1021" y="539"/>
                  </a:lnTo>
                  <a:lnTo>
                    <a:pt x="1017" y="539"/>
                  </a:lnTo>
                  <a:lnTo>
                    <a:pt x="1021" y="535"/>
                  </a:lnTo>
                  <a:lnTo>
                    <a:pt x="1017" y="535"/>
                  </a:lnTo>
                  <a:lnTo>
                    <a:pt x="1021" y="535"/>
                  </a:lnTo>
                  <a:close/>
                  <a:moveTo>
                    <a:pt x="1009" y="535"/>
                  </a:moveTo>
                  <a:lnTo>
                    <a:pt x="1009" y="539"/>
                  </a:lnTo>
                  <a:lnTo>
                    <a:pt x="1013" y="539"/>
                  </a:lnTo>
                  <a:lnTo>
                    <a:pt x="1009" y="539"/>
                  </a:lnTo>
                  <a:lnTo>
                    <a:pt x="1009" y="535"/>
                  </a:lnTo>
                  <a:close/>
                  <a:moveTo>
                    <a:pt x="1152" y="539"/>
                  </a:moveTo>
                  <a:lnTo>
                    <a:pt x="1152" y="543"/>
                  </a:lnTo>
                  <a:lnTo>
                    <a:pt x="1152" y="539"/>
                  </a:lnTo>
                  <a:lnTo>
                    <a:pt x="1148" y="539"/>
                  </a:lnTo>
                  <a:lnTo>
                    <a:pt x="1152" y="539"/>
                  </a:lnTo>
                  <a:close/>
                  <a:moveTo>
                    <a:pt x="1017" y="539"/>
                  </a:moveTo>
                  <a:lnTo>
                    <a:pt x="1017" y="543"/>
                  </a:lnTo>
                  <a:lnTo>
                    <a:pt x="1017" y="539"/>
                  </a:lnTo>
                  <a:close/>
                  <a:moveTo>
                    <a:pt x="1148" y="539"/>
                  </a:moveTo>
                  <a:lnTo>
                    <a:pt x="1152" y="543"/>
                  </a:lnTo>
                  <a:lnTo>
                    <a:pt x="1148" y="543"/>
                  </a:lnTo>
                  <a:lnTo>
                    <a:pt x="1148" y="539"/>
                  </a:lnTo>
                  <a:close/>
                  <a:moveTo>
                    <a:pt x="1156" y="551"/>
                  </a:moveTo>
                  <a:lnTo>
                    <a:pt x="1156" y="555"/>
                  </a:lnTo>
                  <a:lnTo>
                    <a:pt x="1160" y="555"/>
                  </a:lnTo>
                  <a:lnTo>
                    <a:pt x="1160" y="559"/>
                  </a:lnTo>
                  <a:lnTo>
                    <a:pt x="1156" y="559"/>
                  </a:lnTo>
                  <a:lnTo>
                    <a:pt x="1156" y="555"/>
                  </a:lnTo>
                  <a:lnTo>
                    <a:pt x="1152" y="555"/>
                  </a:lnTo>
                  <a:lnTo>
                    <a:pt x="1152" y="551"/>
                  </a:lnTo>
                  <a:lnTo>
                    <a:pt x="1156" y="551"/>
                  </a:lnTo>
                  <a:close/>
                  <a:moveTo>
                    <a:pt x="1160" y="551"/>
                  </a:moveTo>
                  <a:lnTo>
                    <a:pt x="1160" y="555"/>
                  </a:lnTo>
                  <a:lnTo>
                    <a:pt x="1160" y="551"/>
                  </a:lnTo>
                  <a:close/>
                  <a:moveTo>
                    <a:pt x="1164" y="555"/>
                  </a:moveTo>
                  <a:lnTo>
                    <a:pt x="1164" y="559"/>
                  </a:lnTo>
                  <a:lnTo>
                    <a:pt x="1160" y="559"/>
                  </a:lnTo>
                  <a:lnTo>
                    <a:pt x="1160" y="555"/>
                  </a:lnTo>
                  <a:lnTo>
                    <a:pt x="1164" y="555"/>
                  </a:lnTo>
                  <a:close/>
                  <a:moveTo>
                    <a:pt x="1160" y="559"/>
                  </a:moveTo>
                  <a:lnTo>
                    <a:pt x="1164" y="559"/>
                  </a:lnTo>
                  <a:lnTo>
                    <a:pt x="1164" y="563"/>
                  </a:lnTo>
                  <a:lnTo>
                    <a:pt x="1160" y="563"/>
                  </a:lnTo>
                  <a:lnTo>
                    <a:pt x="1160" y="559"/>
                  </a:lnTo>
                  <a:close/>
                  <a:moveTo>
                    <a:pt x="762" y="559"/>
                  </a:moveTo>
                  <a:lnTo>
                    <a:pt x="762" y="563"/>
                  </a:lnTo>
                  <a:lnTo>
                    <a:pt x="758" y="563"/>
                  </a:lnTo>
                  <a:lnTo>
                    <a:pt x="758" y="559"/>
                  </a:lnTo>
                  <a:lnTo>
                    <a:pt x="762" y="559"/>
                  </a:lnTo>
                  <a:close/>
                  <a:moveTo>
                    <a:pt x="953" y="583"/>
                  </a:moveTo>
                  <a:lnTo>
                    <a:pt x="957" y="583"/>
                  </a:lnTo>
                  <a:lnTo>
                    <a:pt x="957" y="587"/>
                  </a:lnTo>
                  <a:lnTo>
                    <a:pt x="953" y="587"/>
                  </a:lnTo>
                  <a:lnTo>
                    <a:pt x="953" y="583"/>
                  </a:lnTo>
                  <a:close/>
                  <a:moveTo>
                    <a:pt x="738" y="591"/>
                  </a:moveTo>
                  <a:lnTo>
                    <a:pt x="734" y="591"/>
                  </a:lnTo>
                  <a:lnTo>
                    <a:pt x="738" y="591"/>
                  </a:lnTo>
                  <a:close/>
                  <a:moveTo>
                    <a:pt x="1141" y="603"/>
                  </a:moveTo>
                  <a:lnTo>
                    <a:pt x="1141" y="606"/>
                  </a:lnTo>
                  <a:lnTo>
                    <a:pt x="1137" y="606"/>
                  </a:lnTo>
                  <a:lnTo>
                    <a:pt x="1137" y="603"/>
                  </a:lnTo>
                  <a:lnTo>
                    <a:pt x="1141" y="603"/>
                  </a:lnTo>
                  <a:close/>
                  <a:moveTo>
                    <a:pt x="1164" y="650"/>
                  </a:moveTo>
                  <a:lnTo>
                    <a:pt x="1164" y="654"/>
                  </a:lnTo>
                  <a:lnTo>
                    <a:pt x="1160" y="654"/>
                  </a:lnTo>
                  <a:lnTo>
                    <a:pt x="1164" y="650"/>
                  </a:lnTo>
                  <a:close/>
                  <a:moveTo>
                    <a:pt x="1196" y="710"/>
                  </a:moveTo>
                  <a:lnTo>
                    <a:pt x="1196" y="706"/>
                  </a:lnTo>
                  <a:lnTo>
                    <a:pt x="1200" y="706"/>
                  </a:lnTo>
                  <a:lnTo>
                    <a:pt x="1196" y="710"/>
                  </a:lnTo>
                  <a:close/>
                  <a:moveTo>
                    <a:pt x="1200" y="706"/>
                  </a:moveTo>
                  <a:lnTo>
                    <a:pt x="1200" y="710"/>
                  </a:lnTo>
                  <a:lnTo>
                    <a:pt x="1196" y="710"/>
                  </a:lnTo>
                  <a:lnTo>
                    <a:pt x="1200" y="710"/>
                  </a:lnTo>
                  <a:lnTo>
                    <a:pt x="1200" y="706"/>
                  </a:lnTo>
                  <a:close/>
                  <a:moveTo>
                    <a:pt x="925" y="722"/>
                  </a:moveTo>
                  <a:lnTo>
                    <a:pt x="925" y="726"/>
                  </a:lnTo>
                  <a:lnTo>
                    <a:pt x="925" y="722"/>
                  </a:lnTo>
                  <a:close/>
                  <a:moveTo>
                    <a:pt x="1212" y="746"/>
                  </a:moveTo>
                  <a:lnTo>
                    <a:pt x="1216" y="746"/>
                  </a:lnTo>
                  <a:lnTo>
                    <a:pt x="1212" y="746"/>
                  </a:lnTo>
                  <a:close/>
                  <a:moveTo>
                    <a:pt x="1256" y="770"/>
                  </a:moveTo>
                  <a:lnTo>
                    <a:pt x="1256" y="774"/>
                  </a:lnTo>
                  <a:lnTo>
                    <a:pt x="1252" y="774"/>
                  </a:lnTo>
                  <a:lnTo>
                    <a:pt x="1252" y="770"/>
                  </a:lnTo>
                  <a:lnTo>
                    <a:pt x="1256" y="770"/>
                  </a:lnTo>
                  <a:close/>
                  <a:moveTo>
                    <a:pt x="159" y="770"/>
                  </a:moveTo>
                  <a:lnTo>
                    <a:pt x="159" y="774"/>
                  </a:lnTo>
                  <a:lnTo>
                    <a:pt x="155" y="774"/>
                  </a:lnTo>
                  <a:lnTo>
                    <a:pt x="159" y="770"/>
                  </a:lnTo>
                  <a:close/>
                  <a:moveTo>
                    <a:pt x="1288" y="802"/>
                  </a:moveTo>
                  <a:lnTo>
                    <a:pt x="1292" y="802"/>
                  </a:lnTo>
                  <a:lnTo>
                    <a:pt x="1288" y="806"/>
                  </a:lnTo>
                  <a:lnTo>
                    <a:pt x="1288" y="802"/>
                  </a:lnTo>
                  <a:close/>
                  <a:moveTo>
                    <a:pt x="187" y="818"/>
                  </a:moveTo>
                  <a:lnTo>
                    <a:pt x="191" y="818"/>
                  </a:lnTo>
                  <a:lnTo>
                    <a:pt x="187" y="822"/>
                  </a:lnTo>
                  <a:lnTo>
                    <a:pt x="187" y="818"/>
                  </a:lnTo>
                  <a:close/>
                  <a:moveTo>
                    <a:pt x="195" y="830"/>
                  </a:moveTo>
                  <a:lnTo>
                    <a:pt x="199" y="830"/>
                  </a:lnTo>
                  <a:lnTo>
                    <a:pt x="195" y="830"/>
                  </a:lnTo>
                  <a:close/>
                  <a:moveTo>
                    <a:pt x="191" y="834"/>
                  </a:moveTo>
                  <a:lnTo>
                    <a:pt x="191" y="830"/>
                  </a:lnTo>
                  <a:lnTo>
                    <a:pt x="191" y="834"/>
                  </a:lnTo>
                  <a:close/>
                  <a:moveTo>
                    <a:pt x="195" y="834"/>
                  </a:moveTo>
                  <a:lnTo>
                    <a:pt x="199" y="834"/>
                  </a:lnTo>
                  <a:lnTo>
                    <a:pt x="195" y="834"/>
                  </a:lnTo>
                  <a:close/>
                  <a:moveTo>
                    <a:pt x="215" y="862"/>
                  </a:moveTo>
                  <a:lnTo>
                    <a:pt x="211" y="862"/>
                  </a:lnTo>
                  <a:lnTo>
                    <a:pt x="215" y="862"/>
                  </a:lnTo>
                  <a:lnTo>
                    <a:pt x="219" y="862"/>
                  </a:lnTo>
                  <a:lnTo>
                    <a:pt x="215" y="862"/>
                  </a:lnTo>
                  <a:close/>
                  <a:moveTo>
                    <a:pt x="1296" y="862"/>
                  </a:moveTo>
                  <a:lnTo>
                    <a:pt x="1292" y="866"/>
                  </a:lnTo>
                  <a:lnTo>
                    <a:pt x="1292" y="862"/>
                  </a:lnTo>
                  <a:lnTo>
                    <a:pt x="1296" y="862"/>
                  </a:lnTo>
                  <a:close/>
                  <a:moveTo>
                    <a:pt x="211" y="866"/>
                  </a:moveTo>
                  <a:lnTo>
                    <a:pt x="215" y="866"/>
                  </a:lnTo>
                  <a:lnTo>
                    <a:pt x="211" y="866"/>
                  </a:lnTo>
                  <a:close/>
                  <a:moveTo>
                    <a:pt x="223" y="866"/>
                  </a:moveTo>
                  <a:lnTo>
                    <a:pt x="223" y="870"/>
                  </a:lnTo>
                  <a:lnTo>
                    <a:pt x="219" y="870"/>
                  </a:lnTo>
                  <a:lnTo>
                    <a:pt x="215" y="870"/>
                  </a:lnTo>
                  <a:lnTo>
                    <a:pt x="219" y="870"/>
                  </a:lnTo>
                  <a:lnTo>
                    <a:pt x="223" y="866"/>
                  </a:lnTo>
                  <a:close/>
                  <a:moveTo>
                    <a:pt x="235" y="870"/>
                  </a:moveTo>
                  <a:lnTo>
                    <a:pt x="235" y="874"/>
                  </a:lnTo>
                  <a:lnTo>
                    <a:pt x="235" y="870"/>
                  </a:lnTo>
                  <a:close/>
                  <a:moveTo>
                    <a:pt x="239" y="870"/>
                  </a:moveTo>
                  <a:lnTo>
                    <a:pt x="239" y="874"/>
                  </a:lnTo>
                  <a:lnTo>
                    <a:pt x="239" y="878"/>
                  </a:lnTo>
                  <a:lnTo>
                    <a:pt x="239" y="874"/>
                  </a:lnTo>
                  <a:lnTo>
                    <a:pt x="235" y="874"/>
                  </a:lnTo>
                  <a:lnTo>
                    <a:pt x="239" y="870"/>
                  </a:lnTo>
                  <a:close/>
                  <a:moveTo>
                    <a:pt x="247" y="874"/>
                  </a:moveTo>
                  <a:lnTo>
                    <a:pt x="247" y="878"/>
                  </a:lnTo>
                  <a:lnTo>
                    <a:pt x="243" y="874"/>
                  </a:lnTo>
                  <a:lnTo>
                    <a:pt x="247" y="874"/>
                  </a:lnTo>
                  <a:close/>
                  <a:moveTo>
                    <a:pt x="243" y="874"/>
                  </a:moveTo>
                  <a:lnTo>
                    <a:pt x="247" y="878"/>
                  </a:lnTo>
                  <a:lnTo>
                    <a:pt x="243" y="878"/>
                  </a:lnTo>
                  <a:lnTo>
                    <a:pt x="243" y="874"/>
                  </a:lnTo>
                  <a:close/>
                  <a:moveTo>
                    <a:pt x="243" y="874"/>
                  </a:moveTo>
                  <a:lnTo>
                    <a:pt x="243" y="878"/>
                  </a:lnTo>
                  <a:lnTo>
                    <a:pt x="243" y="882"/>
                  </a:lnTo>
                  <a:lnTo>
                    <a:pt x="243" y="878"/>
                  </a:lnTo>
                  <a:lnTo>
                    <a:pt x="239" y="878"/>
                  </a:lnTo>
                  <a:lnTo>
                    <a:pt x="243" y="878"/>
                  </a:lnTo>
                  <a:lnTo>
                    <a:pt x="243" y="874"/>
                  </a:lnTo>
                  <a:close/>
                  <a:moveTo>
                    <a:pt x="255" y="886"/>
                  </a:moveTo>
                  <a:lnTo>
                    <a:pt x="255" y="890"/>
                  </a:lnTo>
                  <a:lnTo>
                    <a:pt x="255" y="886"/>
                  </a:lnTo>
                  <a:close/>
                  <a:moveTo>
                    <a:pt x="1316" y="886"/>
                  </a:moveTo>
                  <a:lnTo>
                    <a:pt x="1316" y="890"/>
                  </a:lnTo>
                  <a:lnTo>
                    <a:pt x="1312" y="890"/>
                  </a:lnTo>
                  <a:lnTo>
                    <a:pt x="1312" y="886"/>
                  </a:lnTo>
                  <a:lnTo>
                    <a:pt x="1316" y="886"/>
                  </a:lnTo>
                  <a:close/>
                  <a:moveTo>
                    <a:pt x="1308" y="890"/>
                  </a:moveTo>
                  <a:lnTo>
                    <a:pt x="1304" y="894"/>
                  </a:lnTo>
                  <a:lnTo>
                    <a:pt x="1304" y="890"/>
                  </a:lnTo>
                  <a:lnTo>
                    <a:pt x="1308" y="890"/>
                  </a:lnTo>
                  <a:close/>
                  <a:moveTo>
                    <a:pt x="267" y="890"/>
                  </a:moveTo>
                  <a:lnTo>
                    <a:pt x="267" y="894"/>
                  </a:lnTo>
                  <a:lnTo>
                    <a:pt x="263" y="894"/>
                  </a:lnTo>
                  <a:lnTo>
                    <a:pt x="267" y="894"/>
                  </a:lnTo>
                  <a:lnTo>
                    <a:pt x="267" y="890"/>
                  </a:lnTo>
                  <a:close/>
                  <a:moveTo>
                    <a:pt x="227" y="898"/>
                  </a:moveTo>
                  <a:lnTo>
                    <a:pt x="231" y="898"/>
                  </a:lnTo>
                  <a:lnTo>
                    <a:pt x="231" y="902"/>
                  </a:lnTo>
                  <a:lnTo>
                    <a:pt x="227" y="902"/>
                  </a:lnTo>
                  <a:lnTo>
                    <a:pt x="227" y="898"/>
                  </a:lnTo>
                  <a:close/>
                  <a:moveTo>
                    <a:pt x="1324" y="922"/>
                  </a:moveTo>
                  <a:lnTo>
                    <a:pt x="1320" y="922"/>
                  </a:lnTo>
                  <a:lnTo>
                    <a:pt x="1316" y="922"/>
                  </a:lnTo>
                  <a:lnTo>
                    <a:pt x="1320" y="922"/>
                  </a:lnTo>
                  <a:lnTo>
                    <a:pt x="1324" y="922"/>
                  </a:lnTo>
                  <a:close/>
                  <a:moveTo>
                    <a:pt x="1288" y="934"/>
                  </a:moveTo>
                  <a:lnTo>
                    <a:pt x="1284" y="934"/>
                  </a:lnTo>
                  <a:lnTo>
                    <a:pt x="1288" y="934"/>
                  </a:lnTo>
                  <a:close/>
                  <a:moveTo>
                    <a:pt x="1316" y="934"/>
                  </a:moveTo>
                  <a:lnTo>
                    <a:pt x="1312" y="934"/>
                  </a:lnTo>
                  <a:lnTo>
                    <a:pt x="1312" y="938"/>
                  </a:lnTo>
                  <a:lnTo>
                    <a:pt x="1312" y="934"/>
                  </a:lnTo>
                  <a:lnTo>
                    <a:pt x="1316" y="934"/>
                  </a:lnTo>
                  <a:close/>
                  <a:moveTo>
                    <a:pt x="790" y="156"/>
                  </a:moveTo>
                  <a:lnTo>
                    <a:pt x="786" y="156"/>
                  </a:lnTo>
                  <a:lnTo>
                    <a:pt x="782" y="156"/>
                  </a:lnTo>
                  <a:lnTo>
                    <a:pt x="782" y="152"/>
                  </a:lnTo>
                  <a:lnTo>
                    <a:pt x="778" y="148"/>
                  </a:lnTo>
                  <a:lnTo>
                    <a:pt x="774" y="148"/>
                  </a:lnTo>
                  <a:lnTo>
                    <a:pt x="774" y="144"/>
                  </a:lnTo>
                  <a:lnTo>
                    <a:pt x="770" y="144"/>
                  </a:lnTo>
                  <a:lnTo>
                    <a:pt x="770" y="148"/>
                  </a:lnTo>
                  <a:lnTo>
                    <a:pt x="774" y="148"/>
                  </a:lnTo>
                  <a:lnTo>
                    <a:pt x="774" y="152"/>
                  </a:lnTo>
                  <a:lnTo>
                    <a:pt x="778" y="152"/>
                  </a:lnTo>
                  <a:lnTo>
                    <a:pt x="782" y="156"/>
                  </a:lnTo>
                  <a:lnTo>
                    <a:pt x="778" y="156"/>
                  </a:lnTo>
                  <a:lnTo>
                    <a:pt x="774" y="156"/>
                  </a:lnTo>
                  <a:lnTo>
                    <a:pt x="774" y="152"/>
                  </a:lnTo>
                  <a:lnTo>
                    <a:pt x="770" y="152"/>
                  </a:lnTo>
                  <a:lnTo>
                    <a:pt x="766" y="152"/>
                  </a:lnTo>
                  <a:lnTo>
                    <a:pt x="762" y="152"/>
                  </a:lnTo>
                  <a:lnTo>
                    <a:pt x="766" y="152"/>
                  </a:lnTo>
                  <a:lnTo>
                    <a:pt x="766" y="156"/>
                  </a:lnTo>
                  <a:lnTo>
                    <a:pt x="762" y="156"/>
                  </a:lnTo>
                  <a:lnTo>
                    <a:pt x="758" y="156"/>
                  </a:lnTo>
                  <a:lnTo>
                    <a:pt x="754" y="156"/>
                  </a:lnTo>
                  <a:lnTo>
                    <a:pt x="750" y="156"/>
                  </a:lnTo>
                  <a:lnTo>
                    <a:pt x="746" y="156"/>
                  </a:lnTo>
                  <a:lnTo>
                    <a:pt x="742" y="156"/>
                  </a:lnTo>
                  <a:lnTo>
                    <a:pt x="738" y="156"/>
                  </a:lnTo>
                  <a:lnTo>
                    <a:pt x="738" y="152"/>
                  </a:lnTo>
                  <a:lnTo>
                    <a:pt x="734" y="152"/>
                  </a:lnTo>
                  <a:lnTo>
                    <a:pt x="726" y="148"/>
                  </a:lnTo>
                  <a:lnTo>
                    <a:pt x="730" y="148"/>
                  </a:lnTo>
                  <a:lnTo>
                    <a:pt x="734" y="148"/>
                  </a:lnTo>
                  <a:lnTo>
                    <a:pt x="734" y="144"/>
                  </a:lnTo>
                  <a:lnTo>
                    <a:pt x="738" y="144"/>
                  </a:lnTo>
                  <a:lnTo>
                    <a:pt x="742" y="144"/>
                  </a:lnTo>
                  <a:lnTo>
                    <a:pt x="746" y="144"/>
                  </a:lnTo>
                  <a:lnTo>
                    <a:pt x="742" y="144"/>
                  </a:lnTo>
                  <a:lnTo>
                    <a:pt x="738" y="144"/>
                  </a:lnTo>
                  <a:lnTo>
                    <a:pt x="734" y="144"/>
                  </a:lnTo>
                  <a:lnTo>
                    <a:pt x="730" y="144"/>
                  </a:lnTo>
                  <a:lnTo>
                    <a:pt x="726" y="144"/>
                  </a:lnTo>
                  <a:lnTo>
                    <a:pt x="722" y="144"/>
                  </a:lnTo>
                  <a:lnTo>
                    <a:pt x="718" y="144"/>
                  </a:lnTo>
                  <a:lnTo>
                    <a:pt x="714" y="140"/>
                  </a:lnTo>
                  <a:lnTo>
                    <a:pt x="714" y="136"/>
                  </a:lnTo>
                  <a:lnTo>
                    <a:pt x="718" y="136"/>
                  </a:lnTo>
                  <a:lnTo>
                    <a:pt x="718" y="140"/>
                  </a:lnTo>
                  <a:lnTo>
                    <a:pt x="722" y="140"/>
                  </a:lnTo>
                  <a:lnTo>
                    <a:pt x="726" y="140"/>
                  </a:lnTo>
                  <a:lnTo>
                    <a:pt x="722" y="136"/>
                  </a:lnTo>
                  <a:lnTo>
                    <a:pt x="718" y="136"/>
                  </a:lnTo>
                  <a:lnTo>
                    <a:pt x="714" y="136"/>
                  </a:lnTo>
                  <a:lnTo>
                    <a:pt x="710" y="136"/>
                  </a:lnTo>
                  <a:lnTo>
                    <a:pt x="710" y="132"/>
                  </a:lnTo>
                  <a:lnTo>
                    <a:pt x="706" y="132"/>
                  </a:lnTo>
                  <a:lnTo>
                    <a:pt x="710" y="132"/>
                  </a:lnTo>
                  <a:lnTo>
                    <a:pt x="714" y="128"/>
                  </a:lnTo>
                  <a:lnTo>
                    <a:pt x="714" y="132"/>
                  </a:lnTo>
                  <a:lnTo>
                    <a:pt x="714" y="128"/>
                  </a:lnTo>
                  <a:lnTo>
                    <a:pt x="718" y="128"/>
                  </a:lnTo>
                  <a:lnTo>
                    <a:pt x="722" y="128"/>
                  </a:lnTo>
                  <a:lnTo>
                    <a:pt x="722" y="124"/>
                  </a:lnTo>
                  <a:lnTo>
                    <a:pt x="722" y="128"/>
                  </a:lnTo>
                  <a:lnTo>
                    <a:pt x="726" y="128"/>
                  </a:lnTo>
                  <a:lnTo>
                    <a:pt x="730" y="128"/>
                  </a:lnTo>
                  <a:lnTo>
                    <a:pt x="734" y="128"/>
                  </a:lnTo>
                  <a:lnTo>
                    <a:pt x="738" y="128"/>
                  </a:lnTo>
                  <a:lnTo>
                    <a:pt x="742" y="128"/>
                  </a:lnTo>
                  <a:lnTo>
                    <a:pt x="746" y="124"/>
                  </a:lnTo>
                  <a:lnTo>
                    <a:pt x="750" y="124"/>
                  </a:lnTo>
                  <a:lnTo>
                    <a:pt x="754" y="124"/>
                  </a:lnTo>
                  <a:lnTo>
                    <a:pt x="758" y="124"/>
                  </a:lnTo>
                  <a:lnTo>
                    <a:pt x="762" y="124"/>
                  </a:lnTo>
                  <a:lnTo>
                    <a:pt x="766" y="124"/>
                  </a:lnTo>
                  <a:lnTo>
                    <a:pt x="762" y="124"/>
                  </a:lnTo>
                  <a:lnTo>
                    <a:pt x="758" y="124"/>
                  </a:lnTo>
                  <a:lnTo>
                    <a:pt x="754" y="124"/>
                  </a:lnTo>
                  <a:lnTo>
                    <a:pt x="750" y="124"/>
                  </a:lnTo>
                  <a:lnTo>
                    <a:pt x="742" y="124"/>
                  </a:lnTo>
                  <a:lnTo>
                    <a:pt x="738" y="124"/>
                  </a:lnTo>
                  <a:lnTo>
                    <a:pt x="734" y="124"/>
                  </a:lnTo>
                  <a:lnTo>
                    <a:pt x="730" y="124"/>
                  </a:lnTo>
                  <a:lnTo>
                    <a:pt x="734" y="124"/>
                  </a:lnTo>
                  <a:lnTo>
                    <a:pt x="734" y="120"/>
                  </a:lnTo>
                  <a:lnTo>
                    <a:pt x="738" y="120"/>
                  </a:lnTo>
                  <a:lnTo>
                    <a:pt x="742" y="124"/>
                  </a:lnTo>
                  <a:lnTo>
                    <a:pt x="742" y="120"/>
                  </a:lnTo>
                  <a:lnTo>
                    <a:pt x="746" y="120"/>
                  </a:lnTo>
                  <a:lnTo>
                    <a:pt x="750" y="120"/>
                  </a:lnTo>
                  <a:lnTo>
                    <a:pt x="754" y="120"/>
                  </a:lnTo>
                  <a:lnTo>
                    <a:pt x="750" y="120"/>
                  </a:lnTo>
                  <a:lnTo>
                    <a:pt x="746" y="120"/>
                  </a:lnTo>
                  <a:lnTo>
                    <a:pt x="742" y="120"/>
                  </a:lnTo>
                  <a:lnTo>
                    <a:pt x="738" y="120"/>
                  </a:lnTo>
                  <a:lnTo>
                    <a:pt x="734" y="120"/>
                  </a:lnTo>
                  <a:lnTo>
                    <a:pt x="738" y="120"/>
                  </a:lnTo>
                  <a:lnTo>
                    <a:pt x="738" y="116"/>
                  </a:lnTo>
                  <a:lnTo>
                    <a:pt x="734" y="116"/>
                  </a:lnTo>
                  <a:lnTo>
                    <a:pt x="730" y="116"/>
                  </a:lnTo>
                  <a:lnTo>
                    <a:pt x="730" y="120"/>
                  </a:lnTo>
                  <a:lnTo>
                    <a:pt x="726" y="120"/>
                  </a:lnTo>
                  <a:lnTo>
                    <a:pt x="726" y="116"/>
                  </a:lnTo>
                  <a:lnTo>
                    <a:pt x="726" y="120"/>
                  </a:lnTo>
                  <a:lnTo>
                    <a:pt x="722" y="120"/>
                  </a:lnTo>
                  <a:lnTo>
                    <a:pt x="722" y="116"/>
                  </a:lnTo>
                  <a:lnTo>
                    <a:pt x="718" y="120"/>
                  </a:lnTo>
                  <a:lnTo>
                    <a:pt x="714" y="124"/>
                  </a:lnTo>
                  <a:lnTo>
                    <a:pt x="710" y="124"/>
                  </a:lnTo>
                  <a:lnTo>
                    <a:pt x="706" y="124"/>
                  </a:lnTo>
                  <a:lnTo>
                    <a:pt x="710" y="120"/>
                  </a:lnTo>
                  <a:lnTo>
                    <a:pt x="706" y="120"/>
                  </a:lnTo>
                  <a:lnTo>
                    <a:pt x="702" y="120"/>
                  </a:lnTo>
                  <a:lnTo>
                    <a:pt x="706" y="120"/>
                  </a:lnTo>
                  <a:lnTo>
                    <a:pt x="702" y="120"/>
                  </a:lnTo>
                  <a:lnTo>
                    <a:pt x="698" y="120"/>
                  </a:lnTo>
                  <a:lnTo>
                    <a:pt x="698" y="124"/>
                  </a:lnTo>
                  <a:lnTo>
                    <a:pt x="694" y="124"/>
                  </a:lnTo>
                  <a:lnTo>
                    <a:pt x="690" y="120"/>
                  </a:lnTo>
                  <a:lnTo>
                    <a:pt x="686" y="120"/>
                  </a:lnTo>
                  <a:lnTo>
                    <a:pt x="686" y="116"/>
                  </a:lnTo>
                  <a:lnTo>
                    <a:pt x="686" y="112"/>
                  </a:lnTo>
                  <a:lnTo>
                    <a:pt x="690" y="112"/>
                  </a:lnTo>
                  <a:lnTo>
                    <a:pt x="694" y="112"/>
                  </a:lnTo>
                  <a:lnTo>
                    <a:pt x="698" y="112"/>
                  </a:lnTo>
                  <a:lnTo>
                    <a:pt x="702" y="112"/>
                  </a:lnTo>
                  <a:lnTo>
                    <a:pt x="706" y="112"/>
                  </a:lnTo>
                  <a:lnTo>
                    <a:pt x="706" y="108"/>
                  </a:lnTo>
                  <a:lnTo>
                    <a:pt x="702" y="108"/>
                  </a:lnTo>
                  <a:lnTo>
                    <a:pt x="698" y="112"/>
                  </a:lnTo>
                  <a:lnTo>
                    <a:pt x="694" y="112"/>
                  </a:lnTo>
                  <a:lnTo>
                    <a:pt x="690" y="112"/>
                  </a:lnTo>
                  <a:lnTo>
                    <a:pt x="686" y="112"/>
                  </a:lnTo>
                  <a:lnTo>
                    <a:pt x="682" y="112"/>
                  </a:lnTo>
                  <a:lnTo>
                    <a:pt x="682" y="108"/>
                  </a:lnTo>
                  <a:lnTo>
                    <a:pt x="678" y="108"/>
                  </a:lnTo>
                  <a:lnTo>
                    <a:pt x="674" y="104"/>
                  </a:lnTo>
                  <a:lnTo>
                    <a:pt x="670" y="104"/>
                  </a:lnTo>
                  <a:lnTo>
                    <a:pt x="674" y="104"/>
                  </a:lnTo>
                  <a:lnTo>
                    <a:pt x="678" y="104"/>
                  </a:lnTo>
                  <a:lnTo>
                    <a:pt x="674" y="100"/>
                  </a:lnTo>
                  <a:lnTo>
                    <a:pt x="670" y="100"/>
                  </a:lnTo>
                  <a:lnTo>
                    <a:pt x="674" y="100"/>
                  </a:lnTo>
                  <a:lnTo>
                    <a:pt x="670" y="100"/>
                  </a:lnTo>
                  <a:lnTo>
                    <a:pt x="670" y="96"/>
                  </a:lnTo>
                  <a:lnTo>
                    <a:pt x="674" y="96"/>
                  </a:lnTo>
                  <a:lnTo>
                    <a:pt x="678" y="96"/>
                  </a:lnTo>
                  <a:lnTo>
                    <a:pt x="682" y="96"/>
                  </a:lnTo>
                  <a:lnTo>
                    <a:pt x="682" y="100"/>
                  </a:lnTo>
                  <a:lnTo>
                    <a:pt x="686" y="100"/>
                  </a:lnTo>
                  <a:lnTo>
                    <a:pt x="690" y="100"/>
                  </a:lnTo>
                  <a:lnTo>
                    <a:pt x="694" y="100"/>
                  </a:lnTo>
                  <a:lnTo>
                    <a:pt x="698" y="100"/>
                  </a:lnTo>
                  <a:lnTo>
                    <a:pt x="702" y="100"/>
                  </a:lnTo>
                  <a:lnTo>
                    <a:pt x="706" y="100"/>
                  </a:lnTo>
                  <a:lnTo>
                    <a:pt x="702" y="100"/>
                  </a:lnTo>
                  <a:lnTo>
                    <a:pt x="698" y="96"/>
                  </a:lnTo>
                  <a:lnTo>
                    <a:pt x="702" y="96"/>
                  </a:lnTo>
                  <a:lnTo>
                    <a:pt x="706" y="96"/>
                  </a:lnTo>
                  <a:lnTo>
                    <a:pt x="710" y="96"/>
                  </a:lnTo>
                  <a:lnTo>
                    <a:pt x="706" y="96"/>
                  </a:lnTo>
                  <a:lnTo>
                    <a:pt x="702" y="92"/>
                  </a:lnTo>
                  <a:lnTo>
                    <a:pt x="702" y="96"/>
                  </a:lnTo>
                  <a:lnTo>
                    <a:pt x="698" y="96"/>
                  </a:lnTo>
                  <a:lnTo>
                    <a:pt x="694" y="96"/>
                  </a:lnTo>
                  <a:lnTo>
                    <a:pt x="690" y="96"/>
                  </a:lnTo>
                  <a:lnTo>
                    <a:pt x="686" y="96"/>
                  </a:lnTo>
                  <a:lnTo>
                    <a:pt x="686" y="92"/>
                  </a:lnTo>
                  <a:lnTo>
                    <a:pt x="690" y="92"/>
                  </a:lnTo>
                  <a:lnTo>
                    <a:pt x="694" y="92"/>
                  </a:lnTo>
                  <a:lnTo>
                    <a:pt x="690" y="92"/>
                  </a:lnTo>
                  <a:lnTo>
                    <a:pt x="686" y="92"/>
                  </a:lnTo>
                  <a:lnTo>
                    <a:pt x="682" y="92"/>
                  </a:lnTo>
                  <a:lnTo>
                    <a:pt x="682" y="96"/>
                  </a:lnTo>
                  <a:lnTo>
                    <a:pt x="682" y="92"/>
                  </a:lnTo>
                  <a:lnTo>
                    <a:pt x="678" y="92"/>
                  </a:lnTo>
                  <a:lnTo>
                    <a:pt x="674" y="92"/>
                  </a:lnTo>
                  <a:lnTo>
                    <a:pt x="670" y="88"/>
                  </a:lnTo>
                  <a:lnTo>
                    <a:pt x="674" y="88"/>
                  </a:lnTo>
                  <a:lnTo>
                    <a:pt x="678" y="88"/>
                  </a:lnTo>
                  <a:lnTo>
                    <a:pt x="682" y="88"/>
                  </a:lnTo>
                  <a:lnTo>
                    <a:pt x="686" y="88"/>
                  </a:lnTo>
                  <a:lnTo>
                    <a:pt x="690" y="88"/>
                  </a:lnTo>
                  <a:lnTo>
                    <a:pt x="686" y="88"/>
                  </a:lnTo>
                  <a:lnTo>
                    <a:pt x="682" y="84"/>
                  </a:lnTo>
                  <a:lnTo>
                    <a:pt x="682" y="80"/>
                  </a:lnTo>
                  <a:lnTo>
                    <a:pt x="686" y="80"/>
                  </a:lnTo>
                  <a:lnTo>
                    <a:pt x="690" y="80"/>
                  </a:lnTo>
                  <a:lnTo>
                    <a:pt x="694" y="80"/>
                  </a:lnTo>
                  <a:lnTo>
                    <a:pt x="698" y="80"/>
                  </a:lnTo>
                  <a:lnTo>
                    <a:pt x="698" y="84"/>
                  </a:lnTo>
                  <a:lnTo>
                    <a:pt x="702" y="84"/>
                  </a:lnTo>
                  <a:lnTo>
                    <a:pt x="706" y="84"/>
                  </a:lnTo>
                  <a:lnTo>
                    <a:pt x="710" y="84"/>
                  </a:lnTo>
                  <a:lnTo>
                    <a:pt x="714" y="84"/>
                  </a:lnTo>
                  <a:lnTo>
                    <a:pt x="710" y="84"/>
                  </a:lnTo>
                  <a:lnTo>
                    <a:pt x="710" y="80"/>
                  </a:lnTo>
                  <a:lnTo>
                    <a:pt x="706" y="80"/>
                  </a:lnTo>
                  <a:lnTo>
                    <a:pt x="702" y="80"/>
                  </a:lnTo>
                  <a:lnTo>
                    <a:pt x="706" y="80"/>
                  </a:lnTo>
                  <a:lnTo>
                    <a:pt x="710" y="80"/>
                  </a:lnTo>
                  <a:lnTo>
                    <a:pt x="710" y="76"/>
                  </a:lnTo>
                  <a:lnTo>
                    <a:pt x="706" y="76"/>
                  </a:lnTo>
                  <a:lnTo>
                    <a:pt x="702" y="76"/>
                  </a:lnTo>
                  <a:lnTo>
                    <a:pt x="698" y="76"/>
                  </a:lnTo>
                  <a:lnTo>
                    <a:pt x="694" y="76"/>
                  </a:lnTo>
                  <a:lnTo>
                    <a:pt x="690" y="76"/>
                  </a:lnTo>
                  <a:lnTo>
                    <a:pt x="686" y="76"/>
                  </a:lnTo>
                  <a:lnTo>
                    <a:pt x="690" y="72"/>
                  </a:lnTo>
                  <a:lnTo>
                    <a:pt x="694" y="72"/>
                  </a:lnTo>
                  <a:lnTo>
                    <a:pt x="690" y="72"/>
                  </a:lnTo>
                  <a:lnTo>
                    <a:pt x="694" y="68"/>
                  </a:lnTo>
                  <a:lnTo>
                    <a:pt x="698" y="68"/>
                  </a:lnTo>
                  <a:lnTo>
                    <a:pt x="702" y="68"/>
                  </a:lnTo>
                  <a:lnTo>
                    <a:pt x="706" y="68"/>
                  </a:lnTo>
                  <a:lnTo>
                    <a:pt x="710" y="68"/>
                  </a:lnTo>
                  <a:lnTo>
                    <a:pt x="714" y="68"/>
                  </a:lnTo>
                  <a:lnTo>
                    <a:pt x="710" y="68"/>
                  </a:lnTo>
                  <a:lnTo>
                    <a:pt x="706" y="64"/>
                  </a:lnTo>
                  <a:lnTo>
                    <a:pt x="710" y="64"/>
                  </a:lnTo>
                  <a:lnTo>
                    <a:pt x="714" y="64"/>
                  </a:lnTo>
                  <a:lnTo>
                    <a:pt x="718" y="68"/>
                  </a:lnTo>
                  <a:lnTo>
                    <a:pt x="722" y="68"/>
                  </a:lnTo>
                  <a:lnTo>
                    <a:pt x="722" y="64"/>
                  </a:lnTo>
                  <a:lnTo>
                    <a:pt x="726" y="64"/>
                  </a:lnTo>
                  <a:lnTo>
                    <a:pt x="722" y="60"/>
                  </a:lnTo>
                  <a:lnTo>
                    <a:pt x="718" y="60"/>
                  </a:lnTo>
                  <a:lnTo>
                    <a:pt x="714" y="64"/>
                  </a:lnTo>
                  <a:lnTo>
                    <a:pt x="710" y="64"/>
                  </a:lnTo>
                  <a:lnTo>
                    <a:pt x="710" y="60"/>
                  </a:lnTo>
                  <a:lnTo>
                    <a:pt x="706" y="60"/>
                  </a:lnTo>
                  <a:lnTo>
                    <a:pt x="706" y="56"/>
                  </a:lnTo>
                  <a:lnTo>
                    <a:pt x="710" y="56"/>
                  </a:lnTo>
                  <a:lnTo>
                    <a:pt x="714" y="56"/>
                  </a:lnTo>
                  <a:lnTo>
                    <a:pt x="718" y="60"/>
                  </a:lnTo>
                  <a:lnTo>
                    <a:pt x="718" y="56"/>
                  </a:lnTo>
                  <a:lnTo>
                    <a:pt x="722" y="56"/>
                  </a:lnTo>
                  <a:lnTo>
                    <a:pt x="726" y="56"/>
                  </a:lnTo>
                  <a:lnTo>
                    <a:pt x="726" y="60"/>
                  </a:lnTo>
                  <a:lnTo>
                    <a:pt x="730" y="60"/>
                  </a:lnTo>
                  <a:lnTo>
                    <a:pt x="734" y="60"/>
                  </a:lnTo>
                  <a:lnTo>
                    <a:pt x="738" y="60"/>
                  </a:lnTo>
                  <a:lnTo>
                    <a:pt x="742" y="60"/>
                  </a:lnTo>
                  <a:lnTo>
                    <a:pt x="742" y="64"/>
                  </a:lnTo>
                  <a:lnTo>
                    <a:pt x="746" y="64"/>
                  </a:lnTo>
                  <a:lnTo>
                    <a:pt x="746" y="68"/>
                  </a:lnTo>
                  <a:lnTo>
                    <a:pt x="742" y="68"/>
                  </a:lnTo>
                  <a:lnTo>
                    <a:pt x="746" y="68"/>
                  </a:lnTo>
                  <a:lnTo>
                    <a:pt x="750" y="68"/>
                  </a:lnTo>
                  <a:lnTo>
                    <a:pt x="750" y="72"/>
                  </a:lnTo>
                  <a:lnTo>
                    <a:pt x="754" y="76"/>
                  </a:lnTo>
                  <a:lnTo>
                    <a:pt x="758" y="76"/>
                  </a:lnTo>
                  <a:lnTo>
                    <a:pt x="762" y="76"/>
                  </a:lnTo>
                  <a:lnTo>
                    <a:pt x="762" y="80"/>
                  </a:lnTo>
                  <a:lnTo>
                    <a:pt x="762" y="84"/>
                  </a:lnTo>
                  <a:lnTo>
                    <a:pt x="766" y="84"/>
                  </a:lnTo>
                  <a:lnTo>
                    <a:pt x="770" y="84"/>
                  </a:lnTo>
                  <a:lnTo>
                    <a:pt x="774" y="84"/>
                  </a:lnTo>
                  <a:lnTo>
                    <a:pt x="778" y="84"/>
                  </a:lnTo>
                  <a:lnTo>
                    <a:pt x="782" y="84"/>
                  </a:lnTo>
                  <a:lnTo>
                    <a:pt x="786" y="84"/>
                  </a:lnTo>
                  <a:lnTo>
                    <a:pt x="786" y="88"/>
                  </a:lnTo>
                  <a:lnTo>
                    <a:pt x="782" y="88"/>
                  </a:lnTo>
                  <a:lnTo>
                    <a:pt x="786" y="88"/>
                  </a:lnTo>
                  <a:lnTo>
                    <a:pt x="786" y="92"/>
                  </a:lnTo>
                  <a:lnTo>
                    <a:pt x="782" y="92"/>
                  </a:lnTo>
                  <a:lnTo>
                    <a:pt x="786" y="92"/>
                  </a:lnTo>
                  <a:lnTo>
                    <a:pt x="786" y="96"/>
                  </a:lnTo>
                  <a:lnTo>
                    <a:pt x="790" y="96"/>
                  </a:lnTo>
                  <a:lnTo>
                    <a:pt x="794" y="96"/>
                  </a:lnTo>
                  <a:lnTo>
                    <a:pt x="797" y="96"/>
                  </a:lnTo>
                  <a:lnTo>
                    <a:pt x="797" y="92"/>
                  </a:lnTo>
                  <a:lnTo>
                    <a:pt x="794" y="92"/>
                  </a:lnTo>
                  <a:lnTo>
                    <a:pt x="790" y="88"/>
                  </a:lnTo>
                  <a:lnTo>
                    <a:pt x="794" y="88"/>
                  </a:lnTo>
                  <a:lnTo>
                    <a:pt x="797" y="88"/>
                  </a:lnTo>
                  <a:lnTo>
                    <a:pt x="801" y="88"/>
                  </a:lnTo>
                  <a:lnTo>
                    <a:pt x="805" y="88"/>
                  </a:lnTo>
                  <a:lnTo>
                    <a:pt x="809" y="92"/>
                  </a:lnTo>
                  <a:lnTo>
                    <a:pt x="809" y="96"/>
                  </a:lnTo>
                  <a:lnTo>
                    <a:pt x="805" y="96"/>
                  </a:lnTo>
                  <a:lnTo>
                    <a:pt x="801" y="96"/>
                  </a:lnTo>
                  <a:lnTo>
                    <a:pt x="801" y="100"/>
                  </a:lnTo>
                  <a:lnTo>
                    <a:pt x="805" y="100"/>
                  </a:lnTo>
                  <a:lnTo>
                    <a:pt x="805" y="96"/>
                  </a:lnTo>
                  <a:lnTo>
                    <a:pt x="809" y="96"/>
                  </a:lnTo>
                  <a:lnTo>
                    <a:pt x="813" y="96"/>
                  </a:lnTo>
                  <a:lnTo>
                    <a:pt x="813" y="100"/>
                  </a:lnTo>
                  <a:lnTo>
                    <a:pt x="817" y="100"/>
                  </a:lnTo>
                  <a:lnTo>
                    <a:pt x="813" y="104"/>
                  </a:lnTo>
                  <a:lnTo>
                    <a:pt x="809" y="104"/>
                  </a:lnTo>
                  <a:lnTo>
                    <a:pt x="813" y="104"/>
                  </a:lnTo>
                  <a:lnTo>
                    <a:pt x="817" y="104"/>
                  </a:lnTo>
                  <a:lnTo>
                    <a:pt x="817" y="108"/>
                  </a:lnTo>
                  <a:lnTo>
                    <a:pt x="813" y="112"/>
                  </a:lnTo>
                  <a:lnTo>
                    <a:pt x="809" y="112"/>
                  </a:lnTo>
                  <a:lnTo>
                    <a:pt x="809" y="116"/>
                  </a:lnTo>
                  <a:lnTo>
                    <a:pt x="813" y="116"/>
                  </a:lnTo>
                  <a:lnTo>
                    <a:pt x="813" y="112"/>
                  </a:lnTo>
                  <a:lnTo>
                    <a:pt x="817" y="112"/>
                  </a:lnTo>
                  <a:lnTo>
                    <a:pt x="821" y="112"/>
                  </a:lnTo>
                  <a:lnTo>
                    <a:pt x="817" y="116"/>
                  </a:lnTo>
                  <a:lnTo>
                    <a:pt x="821" y="116"/>
                  </a:lnTo>
                  <a:lnTo>
                    <a:pt x="821" y="112"/>
                  </a:lnTo>
                  <a:lnTo>
                    <a:pt x="825" y="112"/>
                  </a:lnTo>
                  <a:lnTo>
                    <a:pt x="829" y="112"/>
                  </a:lnTo>
                  <a:lnTo>
                    <a:pt x="833" y="116"/>
                  </a:lnTo>
                  <a:lnTo>
                    <a:pt x="829" y="116"/>
                  </a:lnTo>
                  <a:lnTo>
                    <a:pt x="833" y="116"/>
                  </a:lnTo>
                  <a:lnTo>
                    <a:pt x="833" y="112"/>
                  </a:lnTo>
                  <a:lnTo>
                    <a:pt x="837" y="112"/>
                  </a:lnTo>
                  <a:lnTo>
                    <a:pt x="841" y="116"/>
                  </a:lnTo>
                  <a:lnTo>
                    <a:pt x="841" y="120"/>
                  </a:lnTo>
                  <a:lnTo>
                    <a:pt x="845" y="120"/>
                  </a:lnTo>
                  <a:lnTo>
                    <a:pt x="849" y="120"/>
                  </a:lnTo>
                  <a:lnTo>
                    <a:pt x="849" y="124"/>
                  </a:lnTo>
                  <a:lnTo>
                    <a:pt x="845" y="124"/>
                  </a:lnTo>
                  <a:lnTo>
                    <a:pt x="841" y="124"/>
                  </a:lnTo>
                  <a:lnTo>
                    <a:pt x="837" y="128"/>
                  </a:lnTo>
                  <a:lnTo>
                    <a:pt x="833" y="128"/>
                  </a:lnTo>
                  <a:lnTo>
                    <a:pt x="829" y="128"/>
                  </a:lnTo>
                  <a:lnTo>
                    <a:pt x="825" y="128"/>
                  </a:lnTo>
                  <a:lnTo>
                    <a:pt x="821" y="132"/>
                  </a:lnTo>
                  <a:lnTo>
                    <a:pt x="817" y="132"/>
                  </a:lnTo>
                  <a:lnTo>
                    <a:pt x="817" y="128"/>
                  </a:lnTo>
                  <a:lnTo>
                    <a:pt x="817" y="132"/>
                  </a:lnTo>
                  <a:lnTo>
                    <a:pt x="817" y="136"/>
                  </a:lnTo>
                  <a:lnTo>
                    <a:pt x="813" y="136"/>
                  </a:lnTo>
                  <a:lnTo>
                    <a:pt x="809" y="140"/>
                  </a:lnTo>
                  <a:lnTo>
                    <a:pt x="809" y="144"/>
                  </a:lnTo>
                  <a:lnTo>
                    <a:pt x="805" y="144"/>
                  </a:lnTo>
                  <a:lnTo>
                    <a:pt x="805" y="140"/>
                  </a:lnTo>
                  <a:lnTo>
                    <a:pt x="801" y="140"/>
                  </a:lnTo>
                  <a:lnTo>
                    <a:pt x="801" y="136"/>
                  </a:lnTo>
                  <a:lnTo>
                    <a:pt x="801" y="132"/>
                  </a:lnTo>
                  <a:lnTo>
                    <a:pt x="805" y="132"/>
                  </a:lnTo>
                  <a:lnTo>
                    <a:pt x="805" y="128"/>
                  </a:lnTo>
                  <a:lnTo>
                    <a:pt x="801" y="132"/>
                  </a:lnTo>
                  <a:lnTo>
                    <a:pt x="797" y="132"/>
                  </a:lnTo>
                  <a:lnTo>
                    <a:pt x="797" y="136"/>
                  </a:lnTo>
                  <a:lnTo>
                    <a:pt x="797" y="140"/>
                  </a:lnTo>
                  <a:lnTo>
                    <a:pt x="801" y="140"/>
                  </a:lnTo>
                  <a:lnTo>
                    <a:pt x="801" y="144"/>
                  </a:lnTo>
                  <a:lnTo>
                    <a:pt x="801" y="148"/>
                  </a:lnTo>
                  <a:lnTo>
                    <a:pt x="797" y="148"/>
                  </a:lnTo>
                  <a:lnTo>
                    <a:pt x="797" y="144"/>
                  </a:lnTo>
                  <a:lnTo>
                    <a:pt x="794" y="144"/>
                  </a:lnTo>
                  <a:lnTo>
                    <a:pt x="790" y="144"/>
                  </a:lnTo>
                  <a:lnTo>
                    <a:pt x="794" y="148"/>
                  </a:lnTo>
                  <a:lnTo>
                    <a:pt x="794" y="152"/>
                  </a:lnTo>
                  <a:lnTo>
                    <a:pt x="790" y="152"/>
                  </a:lnTo>
                  <a:lnTo>
                    <a:pt x="790" y="156"/>
                  </a:lnTo>
                  <a:close/>
                  <a:moveTo>
                    <a:pt x="638" y="112"/>
                  </a:moveTo>
                  <a:lnTo>
                    <a:pt x="638" y="108"/>
                  </a:lnTo>
                  <a:lnTo>
                    <a:pt x="634" y="108"/>
                  </a:lnTo>
                  <a:lnTo>
                    <a:pt x="630" y="108"/>
                  </a:lnTo>
                  <a:lnTo>
                    <a:pt x="630" y="104"/>
                  </a:lnTo>
                  <a:lnTo>
                    <a:pt x="626" y="104"/>
                  </a:lnTo>
                  <a:lnTo>
                    <a:pt x="622" y="104"/>
                  </a:lnTo>
                  <a:lnTo>
                    <a:pt x="618" y="104"/>
                  </a:lnTo>
                  <a:lnTo>
                    <a:pt x="618" y="100"/>
                  </a:lnTo>
                  <a:lnTo>
                    <a:pt x="618" y="96"/>
                  </a:lnTo>
                  <a:lnTo>
                    <a:pt x="622" y="96"/>
                  </a:lnTo>
                  <a:lnTo>
                    <a:pt x="626" y="96"/>
                  </a:lnTo>
                  <a:lnTo>
                    <a:pt x="630" y="96"/>
                  </a:lnTo>
                  <a:lnTo>
                    <a:pt x="634" y="96"/>
                  </a:lnTo>
                  <a:lnTo>
                    <a:pt x="638" y="96"/>
                  </a:lnTo>
                  <a:lnTo>
                    <a:pt x="638" y="100"/>
                  </a:lnTo>
                  <a:lnTo>
                    <a:pt x="642" y="108"/>
                  </a:lnTo>
                  <a:lnTo>
                    <a:pt x="638" y="108"/>
                  </a:lnTo>
                  <a:lnTo>
                    <a:pt x="638" y="112"/>
                  </a:lnTo>
                  <a:close/>
                  <a:moveTo>
                    <a:pt x="562" y="140"/>
                  </a:moveTo>
                  <a:lnTo>
                    <a:pt x="562" y="136"/>
                  </a:lnTo>
                  <a:lnTo>
                    <a:pt x="562" y="140"/>
                  </a:lnTo>
                  <a:lnTo>
                    <a:pt x="558" y="140"/>
                  </a:lnTo>
                  <a:lnTo>
                    <a:pt x="558" y="136"/>
                  </a:lnTo>
                  <a:lnTo>
                    <a:pt x="562" y="136"/>
                  </a:lnTo>
                  <a:lnTo>
                    <a:pt x="562" y="132"/>
                  </a:lnTo>
                  <a:lnTo>
                    <a:pt x="558" y="132"/>
                  </a:lnTo>
                  <a:lnTo>
                    <a:pt x="554" y="132"/>
                  </a:lnTo>
                  <a:lnTo>
                    <a:pt x="550" y="132"/>
                  </a:lnTo>
                  <a:lnTo>
                    <a:pt x="550" y="136"/>
                  </a:lnTo>
                  <a:lnTo>
                    <a:pt x="546" y="136"/>
                  </a:lnTo>
                  <a:lnTo>
                    <a:pt x="542" y="136"/>
                  </a:lnTo>
                  <a:lnTo>
                    <a:pt x="546" y="132"/>
                  </a:lnTo>
                  <a:lnTo>
                    <a:pt x="550" y="132"/>
                  </a:lnTo>
                  <a:lnTo>
                    <a:pt x="546" y="128"/>
                  </a:lnTo>
                  <a:lnTo>
                    <a:pt x="542" y="128"/>
                  </a:lnTo>
                  <a:lnTo>
                    <a:pt x="542" y="132"/>
                  </a:lnTo>
                  <a:lnTo>
                    <a:pt x="538" y="132"/>
                  </a:lnTo>
                  <a:lnTo>
                    <a:pt x="534" y="132"/>
                  </a:lnTo>
                  <a:lnTo>
                    <a:pt x="534" y="128"/>
                  </a:lnTo>
                  <a:lnTo>
                    <a:pt x="538" y="120"/>
                  </a:lnTo>
                  <a:lnTo>
                    <a:pt x="542" y="120"/>
                  </a:lnTo>
                  <a:lnTo>
                    <a:pt x="546" y="120"/>
                  </a:lnTo>
                  <a:lnTo>
                    <a:pt x="550" y="120"/>
                  </a:lnTo>
                  <a:lnTo>
                    <a:pt x="554" y="120"/>
                  </a:lnTo>
                  <a:lnTo>
                    <a:pt x="558" y="120"/>
                  </a:lnTo>
                  <a:lnTo>
                    <a:pt x="562" y="120"/>
                  </a:lnTo>
                  <a:lnTo>
                    <a:pt x="566" y="120"/>
                  </a:lnTo>
                  <a:lnTo>
                    <a:pt x="570" y="120"/>
                  </a:lnTo>
                  <a:lnTo>
                    <a:pt x="574" y="124"/>
                  </a:lnTo>
                  <a:lnTo>
                    <a:pt x="578" y="124"/>
                  </a:lnTo>
                  <a:lnTo>
                    <a:pt x="578" y="128"/>
                  </a:lnTo>
                  <a:lnTo>
                    <a:pt x="582" y="128"/>
                  </a:lnTo>
                  <a:lnTo>
                    <a:pt x="578" y="132"/>
                  </a:lnTo>
                  <a:lnTo>
                    <a:pt x="582" y="136"/>
                  </a:lnTo>
                  <a:lnTo>
                    <a:pt x="582" y="132"/>
                  </a:lnTo>
                  <a:lnTo>
                    <a:pt x="586" y="132"/>
                  </a:lnTo>
                  <a:lnTo>
                    <a:pt x="590" y="128"/>
                  </a:lnTo>
                  <a:lnTo>
                    <a:pt x="594" y="128"/>
                  </a:lnTo>
                  <a:lnTo>
                    <a:pt x="598" y="128"/>
                  </a:lnTo>
                  <a:lnTo>
                    <a:pt x="602" y="132"/>
                  </a:lnTo>
                  <a:lnTo>
                    <a:pt x="606" y="132"/>
                  </a:lnTo>
                  <a:lnTo>
                    <a:pt x="602" y="136"/>
                  </a:lnTo>
                  <a:lnTo>
                    <a:pt x="606" y="136"/>
                  </a:lnTo>
                  <a:lnTo>
                    <a:pt x="610" y="136"/>
                  </a:lnTo>
                  <a:lnTo>
                    <a:pt x="614" y="136"/>
                  </a:lnTo>
                  <a:lnTo>
                    <a:pt x="614" y="140"/>
                  </a:lnTo>
                  <a:lnTo>
                    <a:pt x="618" y="140"/>
                  </a:lnTo>
                  <a:lnTo>
                    <a:pt x="622" y="140"/>
                  </a:lnTo>
                  <a:lnTo>
                    <a:pt x="618" y="144"/>
                  </a:lnTo>
                  <a:lnTo>
                    <a:pt x="622" y="144"/>
                  </a:lnTo>
                  <a:lnTo>
                    <a:pt x="626" y="144"/>
                  </a:lnTo>
                  <a:lnTo>
                    <a:pt x="626" y="148"/>
                  </a:lnTo>
                  <a:lnTo>
                    <a:pt x="622" y="148"/>
                  </a:lnTo>
                  <a:lnTo>
                    <a:pt x="622" y="152"/>
                  </a:lnTo>
                  <a:lnTo>
                    <a:pt x="626" y="152"/>
                  </a:lnTo>
                  <a:lnTo>
                    <a:pt x="626" y="156"/>
                  </a:lnTo>
                  <a:lnTo>
                    <a:pt x="630" y="156"/>
                  </a:lnTo>
                  <a:lnTo>
                    <a:pt x="634" y="156"/>
                  </a:lnTo>
                  <a:lnTo>
                    <a:pt x="634" y="160"/>
                  </a:lnTo>
                  <a:lnTo>
                    <a:pt x="638" y="160"/>
                  </a:lnTo>
                  <a:lnTo>
                    <a:pt x="634" y="160"/>
                  </a:lnTo>
                  <a:lnTo>
                    <a:pt x="634" y="164"/>
                  </a:lnTo>
                  <a:lnTo>
                    <a:pt x="630" y="168"/>
                  </a:lnTo>
                  <a:lnTo>
                    <a:pt x="626" y="168"/>
                  </a:lnTo>
                  <a:lnTo>
                    <a:pt x="622" y="168"/>
                  </a:lnTo>
                  <a:lnTo>
                    <a:pt x="618" y="168"/>
                  </a:lnTo>
                  <a:lnTo>
                    <a:pt x="614" y="168"/>
                  </a:lnTo>
                  <a:lnTo>
                    <a:pt x="610" y="164"/>
                  </a:lnTo>
                  <a:lnTo>
                    <a:pt x="606" y="160"/>
                  </a:lnTo>
                  <a:lnTo>
                    <a:pt x="606" y="156"/>
                  </a:lnTo>
                  <a:lnTo>
                    <a:pt x="602" y="156"/>
                  </a:lnTo>
                  <a:lnTo>
                    <a:pt x="598" y="156"/>
                  </a:lnTo>
                  <a:lnTo>
                    <a:pt x="594" y="152"/>
                  </a:lnTo>
                  <a:lnTo>
                    <a:pt x="586" y="152"/>
                  </a:lnTo>
                  <a:lnTo>
                    <a:pt x="582" y="152"/>
                  </a:lnTo>
                  <a:lnTo>
                    <a:pt x="582" y="156"/>
                  </a:lnTo>
                  <a:lnTo>
                    <a:pt x="578" y="156"/>
                  </a:lnTo>
                  <a:lnTo>
                    <a:pt x="578" y="152"/>
                  </a:lnTo>
                  <a:lnTo>
                    <a:pt x="574" y="152"/>
                  </a:lnTo>
                  <a:lnTo>
                    <a:pt x="570" y="152"/>
                  </a:lnTo>
                  <a:lnTo>
                    <a:pt x="566" y="152"/>
                  </a:lnTo>
                  <a:lnTo>
                    <a:pt x="562" y="152"/>
                  </a:lnTo>
                  <a:lnTo>
                    <a:pt x="562" y="156"/>
                  </a:lnTo>
                  <a:lnTo>
                    <a:pt x="558" y="156"/>
                  </a:lnTo>
                  <a:lnTo>
                    <a:pt x="554" y="156"/>
                  </a:lnTo>
                  <a:lnTo>
                    <a:pt x="554" y="152"/>
                  </a:lnTo>
                  <a:lnTo>
                    <a:pt x="550" y="152"/>
                  </a:lnTo>
                  <a:lnTo>
                    <a:pt x="546" y="152"/>
                  </a:lnTo>
                  <a:lnTo>
                    <a:pt x="546" y="148"/>
                  </a:lnTo>
                  <a:lnTo>
                    <a:pt x="542" y="148"/>
                  </a:lnTo>
                  <a:lnTo>
                    <a:pt x="542" y="144"/>
                  </a:lnTo>
                  <a:lnTo>
                    <a:pt x="546" y="144"/>
                  </a:lnTo>
                  <a:lnTo>
                    <a:pt x="550" y="144"/>
                  </a:lnTo>
                  <a:lnTo>
                    <a:pt x="554" y="144"/>
                  </a:lnTo>
                  <a:lnTo>
                    <a:pt x="558" y="144"/>
                  </a:lnTo>
                  <a:lnTo>
                    <a:pt x="562" y="144"/>
                  </a:lnTo>
                  <a:lnTo>
                    <a:pt x="566" y="148"/>
                  </a:lnTo>
                  <a:lnTo>
                    <a:pt x="566" y="144"/>
                  </a:lnTo>
                  <a:lnTo>
                    <a:pt x="570" y="144"/>
                  </a:lnTo>
                  <a:lnTo>
                    <a:pt x="566" y="144"/>
                  </a:lnTo>
                  <a:lnTo>
                    <a:pt x="562" y="144"/>
                  </a:lnTo>
                  <a:lnTo>
                    <a:pt x="558" y="144"/>
                  </a:lnTo>
                  <a:lnTo>
                    <a:pt x="562" y="140"/>
                  </a:lnTo>
                  <a:lnTo>
                    <a:pt x="566" y="140"/>
                  </a:lnTo>
                  <a:lnTo>
                    <a:pt x="570" y="140"/>
                  </a:lnTo>
                  <a:lnTo>
                    <a:pt x="570" y="136"/>
                  </a:lnTo>
                  <a:lnTo>
                    <a:pt x="566" y="136"/>
                  </a:lnTo>
                  <a:lnTo>
                    <a:pt x="566" y="140"/>
                  </a:lnTo>
                  <a:lnTo>
                    <a:pt x="562" y="140"/>
                  </a:lnTo>
                  <a:close/>
                  <a:moveTo>
                    <a:pt x="666" y="168"/>
                  </a:moveTo>
                  <a:lnTo>
                    <a:pt x="662" y="164"/>
                  </a:lnTo>
                  <a:lnTo>
                    <a:pt x="666" y="164"/>
                  </a:lnTo>
                  <a:lnTo>
                    <a:pt x="662" y="164"/>
                  </a:lnTo>
                  <a:lnTo>
                    <a:pt x="658" y="164"/>
                  </a:lnTo>
                  <a:lnTo>
                    <a:pt x="658" y="160"/>
                  </a:lnTo>
                  <a:lnTo>
                    <a:pt x="654" y="160"/>
                  </a:lnTo>
                  <a:lnTo>
                    <a:pt x="658" y="160"/>
                  </a:lnTo>
                  <a:lnTo>
                    <a:pt x="662" y="160"/>
                  </a:lnTo>
                  <a:lnTo>
                    <a:pt x="666" y="160"/>
                  </a:lnTo>
                  <a:lnTo>
                    <a:pt x="666" y="156"/>
                  </a:lnTo>
                  <a:lnTo>
                    <a:pt x="662" y="156"/>
                  </a:lnTo>
                  <a:lnTo>
                    <a:pt x="658" y="156"/>
                  </a:lnTo>
                  <a:lnTo>
                    <a:pt x="654" y="156"/>
                  </a:lnTo>
                  <a:lnTo>
                    <a:pt x="654" y="152"/>
                  </a:lnTo>
                  <a:lnTo>
                    <a:pt x="650" y="152"/>
                  </a:lnTo>
                  <a:lnTo>
                    <a:pt x="650" y="148"/>
                  </a:lnTo>
                  <a:lnTo>
                    <a:pt x="646" y="148"/>
                  </a:lnTo>
                  <a:lnTo>
                    <a:pt x="646" y="144"/>
                  </a:lnTo>
                  <a:lnTo>
                    <a:pt x="650" y="144"/>
                  </a:lnTo>
                  <a:lnTo>
                    <a:pt x="646" y="144"/>
                  </a:lnTo>
                  <a:lnTo>
                    <a:pt x="646" y="140"/>
                  </a:lnTo>
                  <a:lnTo>
                    <a:pt x="646" y="136"/>
                  </a:lnTo>
                  <a:lnTo>
                    <a:pt x="650" y="136"/>
                  </a:lnTo>
                  <a:lnTo>
                    <a:pt x="654" y="136"/>
                  </a:lnTo>
                  <a:lnTo>
                    <a:pt x="658" y="136"/>
                  </a:lnTo>
                  <a:lnTo>
                    <a:pt x="658" y="140"/>
                  </a:lnTo>
                  <a:lnTo>
                    <a:pt x="662" y="140"/>
                  </a:lnTo>
                  <a:lnTo>
                    <a:pt x="666" y="140"/>
                  </a:lnTo>
                  <a:lnTo>
                    <a:pt x="670" y="140"/>
                  </a:lnTo>
                  <a:lnTo>
                    <a:pt x="674" y="140"/>
                  </a:lnTo>
                  <a:lnTo>
                    <a:pt x="674" y="144"/>
                  </a:lnTo>
                  <a:lnTo>
                    <a:pt x="678" y="144"/>
                  </a:lnTo>
                  <a:lnTo>
                    <a:pt x="682" y="148"/>
                  </a:lnTo>
                  <a:lnTo>
                    <a:pt x="686" y="148"/>
                  </a:lnTo>
                  <a:lnTo>
                    <a:pt x="686" y="144"/>
                  </a:lnTo>
                  <a:lnTo>
                    <a:pt x="686" y="148"/>
                  </a:lnTo>
                  <a:lnTo>
                    <a:pt x="690" y="148"/>
                  </a:lnTo>
                  <a:lnTo>
                    <a:pt x="694" y="148"/>
                  </a:lnTo>
                  <a:lnTo>
                    <a:pt x="698" y="148"/>
                  </a:lnTo>
                  <a:lnTo>
                    <a:pt x="698" y="152"/>
                  </a:lnTo>
                  <a:lnTo>
                    <a:pt x="694" y="152"/>
                  </a:lnTo>
                  <a:lnTo>
                    <a:pt x="690" y="156"/>
                  </a:lnTo>
                  <a:lnTo>
                    <a:pt x="694" y="156"/>
                  </a:lnTo>
                  <a:lnTo>
                    <a:pt x="698" y="156"/>
                  </a:lnTo>
                  <a:lnTo>
                    <a:pt x="698" y="160"/>
                  </a:lnTo>
                  <a:lnTo>
                    <a:pt x="694" y="160"/>
                  </a:lnTo>
                  <a:lnTo>
                    <a:pt x="694" y="164"/>
                  </a:lnTo>
                  <a:lnTo>
                    <a:pt x="690" y="164"/>
                  </a:lnTo>
                  <a:lnTo>
                    <a:pt x="686" y="164"/>
                  </a:lnTo>
                  <a:lnTo>
                    <a:pt x="682" y="164"/>
                  </a:lnTo>
                  <a:lnTo>
                    <a:pt x="678" y="164"/>
                  </a:lnTo>
                  <a:lnTo>
                    <a:pt x="674" y="168"/>
                  </a:lnTo>
                  <a:lnTo>
                    <a:pt x="674" y="164"/>
                  </a:lnTo>
                  <a:lnTo>
                    <a:pt x="670" y="164"/>
                  </a:lnTo>
                  <a:lnTo>
                    <a:pt x="670" y="168"/>
                  </a:lnTo>
                  <a:lnTo>
                    <a:pt x="674" y="164"/>
                  </a:lnTo>
                  <a:lnTo>
                    <a:pt x="674" y="168"/>
                  </a:lnTo>
                  <a:lnTo>
                    <a:pt x="670" y="168"/>
                  </a:lnTo>
                  <a:lnTo>
                    <a:pt x="666" y="168"/>
                  </a:lnTo>
                  <a:close/>
                  <a:moveTo>
                    <a:pt x="470" y="152"/>
                  </a:moveTo>
                  <a:lnTo>
                    <a:pt x="466" y="152"/>
                  </a:lnTo>
                  <a:lnTo>
                    <a:pt x="462" y="152"/>
                  </a:lnTo>
                  <a:lnTo>
                    <a:pt x="458" y="152"/>
                  </a:lnTo>
                  <a:lnTo>
                    <a:pt x="454" y="152"/>
                  </a:lnTo>
                  <a:lnTo>
                    <a:pt x="450" y="148"/>
                  </a:lnTo>
                  <a:lnTo>
                    <a:pt x="450" y="152"/>
                  </a:lnTo>
                  <a:lnTo>
                    <a:pt x="446" y="152"/>
                  </a:lnTo>
                  <a:lnTo>
                    <a:pt x="442" y="152"/>
                  </a:lnTo>
                  <a:lnTo>
                    <a:pt x="439" y="152"/>
                  </a:lnTo>
                  <a:lnTo>
                    <a:pt x="435" y="152"/>
                  </a:lnTo>
                  <a:lnTo>
                    <a:pt x="431" y="152"/>
                  </a:lnTo>
                  <a:lnTo>
                    <a:pt x="427" y="152"/>
                  </a:lnTo>
                  <a:lnTo>
                    <a:pt x="423" y="152"/>
                  </a:lnTo>
                  <a:lnTo>
                    <a:pt x="419" y="152"/>
                  </a:lnTo>
                  <a:lnTo>
                    <a:pt x="419" y="148"/>
                  </a:lnTo>
                  <a:lnTo>
                    <a:pt x="423" y="148"/>
                  </a:lnTo>
                  <a:lnTo>
                    <a:pt x="427" y="148"/>
                  </a:lnTo>
                  <a:lnTo>
                    <a:pt x="431" y="148"/>
                  </a:lnTo>
                  <a:lnTo>
                    <a:pt x="435" y="144"/>
                  </a:lnTo>
                  <a:lnTo>
                    <a:pt x="439" y="144"/>
                  </a:lnTo>
                  <a:lnTo>
                    <a:pt x="442" y="144"/>
                  </a:lnTo>
                  <a:lnTo>
                    <a:pt x="446" y="144"/>
                  </a:lnTo>
                  <a:lnTo>
                    <a:pt x="450" y="140"/>
                  </a:lnTo>
                  <a:lnTo>
                    <a:pt x="454" y="140"/>
                  </a:lnTo>
                  <a:lnTo>
                    <a:pt x="458" y="140"/>
                  </a:lnTo>
                  <a:lnTo>
                    <a:pt x="462" y="140"/>
                  </a:lnTo>
                  <a:lnTo>
                    <a:pt x="466" y="140"/>
                  </a:lnTo>
                  <a:lnTo>
                    <a:pt x="470" y="140"/>
                  </a:lnTo>
                  <a:lnTo>
                    <a:pt x="474" y="144"/>
                  </a:lnTo>
                  <a:lnTo>
                    <a:pt x="478" y="144"/>
                  </a:lnTo>
                  <a:lnTo>
                    <a:pt x="478" y="148"/>
                  </a:lnTo>
                  <a:lnTo>
                    <a:pt x="478" y="152"/>
                  </a:lnTo>
                  <a:lnTo>
                    <a:pt x="474" y="152"/>
                  </a:lnTo>
                  <a:lnTo>
                    <a:pt x="470" y="152"/>
                  </a:lnTo>
                  <a:close/>
                  <a:moveTo>
                    <a:pt x="702" y="152"/>
                  </a:moveTo>
                  <a:lnTo>
                    <a:pt x="706" y="156"/>
                  </a:lnTo>
                  <a:lnTo>
                    <a:pt x="702" y="156"/>
                  </a:lnTo>
                  <a:lnTo>
                    <a:pt x="702" y="152"/>
                  </a:lnTo>
                  <a:close/>
                  <a:moveTo>
                    <a:pt x="578" y="152"/>
                  </a:moveTo>
                  <a:lnTo>
                    <a:pt x="578" y="156"/>
                  </a:lnTo>
                  <a:lnTo>
                    <a:pt x="574" y="156"/>
                  </a:lnTo>
                  <a:lnTo>
                    <a:pt x="574" y="160"/>
                  </a:lnTo>
                  <a:lnTo>
                    <a:pt x="570" y="160"/>
                  </a:lnTo>
                  <a:lnTo>
                    <a:pt x="570" y="156"/>
                  </a:lnTo>
                  <a:lnTo>
                    <a:pt x="574" y="156"/>
                  </a:lnTo>
                  <a:lnTo>
                    <a:pt x="574" y="152"/>
                  </a:lnTo>
                  <a:lnTo>
                    <a:pt x="578" y="152"/>
                  </a:lnTo>
                  <a:close/>
                  <a:moveTo>
                    <a:pt x="470" y="160"/>
                  </a:moveTo>
                  <a:lnTo>
                    <a:pt x="474" y="160"/>
                  </a:lnTo>
                  <a:lnTo>
                    <a:pt x="474" y="164"/>
                  </a:lnTo>
                  <a:lnTo>
                    <a:pt x="470" y="164"/>
                  </a:lnTo>
                  <a:lnTo>
                    <a:pt x="466" y="164"/>
                  </a:lnTo>
                  <a:lnTo>
                    <a:pt x="462" y="164"/>
                  </a:lnTo>
                  <a:lnTo>
                    <a:pt x="458" y="164"/>
                  </a:lnTo>
                  <a:lnTo>
                    <a:pt x="454" y="164"/>
                  </a:lnTo>
                  <a:lnTo>
                    <a:pt x="454" y="168"/>
                  </a:lnTo>
                  <a:lnTo>
                    <a:pt x="458" y="168"/>
                  </a:lnTo>
                  <a:lnTo>
                    <a:pt x="462" y="168"/>
                  </a:lnTo>
                  <a:lnTo>
                    <a:pt x="466" y="168"/>
                  </a:lnTo>
                  <a:lnTo>
                    <a:pt x="466" y="171"/>
                  </a:lnTo>
                  <a:lnTo>
                    <a:pt x="466" y="175"/>
                  </a:lnTo>
                  <a:lnTo>
                    <a:pt x="462" y="175"/>
                  </a:lnTo>
                  <a:lnTo>
                    <a:pt x="462" y="179"/>
                  </a:lnTo>
                  <a:lnTo>
                    <a:pt x="454" y="179"/>
                  </a:lnTo>
                  <a:lnTo>
                    <a:pt x="450" y="179"/>
                  </a:lnTo>
                  <a:lnTo>
                    <a:pt x="446" y="179"/>
                  </a:lnTo>
                  <a:lnTo>
                    <a:pt x="442" y="179"/>
                  </a:lnTo>
                  <a:lnTo>
                    <a:pt x="439" y="183"/>
                  </a:lnTo>
                  <a:lnTo>
                    <a:pt x="435" y="183"/>
                  </a:lnTo>
                  <a:lnTo>
                    <a:pt x="431" y="179"/>
                  </a:lnTo>
                  <a:lnTo>
                    <a:pt x="427" y="179"/>
                  </a:lnTo>
                  <a:lnTo>
                    <a:pt x="423" y="175"/>
                  </a:lnTo>
                  <a:lnTo>
                    <a:pt x="419" y="175"/>
                  </a:lnTo>
                  <a:lnTo>
                    <a:pt x="423" y="171"/>
                  </a:lnTo>
                  <a:lnTo>
                    <a:pt x="419" y="168"/>
                  </a:lnTo>
                  <a:lnTo>
                    <a:pt x="419" y="164"/>
                  </a:lnTo>
                  <a:lnTo>
                    <a:pt x="423" y="164"/>
                  </a:lnTo>
                  <a:lnTo>
                    <a:pt x="427" y="164"/>
                  </a:lnTo>
                  <a:lnTo>
                    <a:pt x="431" y="164"/>
                  </a:lnTo>
                  <a:lnTo>
                    <a:pt x="431" y="160"/>
                  </a:lnTo>
                  <a:lnTo>
                    <a:pt x="435" y="160"/>
                  </a:lnTo>
                  <a:lnTo>
                    <a:pt x="439" y="160"/>
                  </a:lnTo>
                  <a:lnTo>
                    <a:pt x="442" y="160"/>
                  </a:lnTo>
                  <a:lnTo>
                    <a:pt x="446" y="160"/>
                  </a:lnTo>
                  <a:lnTo>
                    <a:pt x="450" y="160"/>
                  </a:lnTo>
                  <a:lnTo>
                    <a:pt x="454" y="160"/>
                  </a:lnTo>
                  <a:lnTo>
                    <a:pt x="458" y="160"/>
                  </a:lnTo>
                  <a:lnTo>
                    <a:pt x="462" y="160"/>
                  </a:lnTo>
                  <a:lnTo>
                    <a:pt x="466" y="160"/>
                  </a:lnTo>
                  <a:lnTo>
                    <a:pt x="470" y="160"/>
                  </a:lnTo>
                  <a:close/>
                  <a:moveTo>
                    <a:pt x="407" y="171"/>
                  </a:moveTo>
                  <a:lnTo>
                    <a:pt x="403" y="171"/>
                  </a:lnTo>
                  <a:lnTo>
                    <a:pt x="403" y="168"/>
                  </a:lnTo>
                  <a:lnTo>
                    <a:pt x="399" y="168"/>
                  </a:lnTo>
                  <a:lnTo>
                    <a:pt x="395" y="168"/>
                  </a:lnTo>
                  <a:lnTo>
                    <a:pt x="391" y="164"/>
                  </a:lnTo>
                  <a:lnTo>
                    <a:pt x="395" y="164"/>
                  </a:lnTo>
                  <a:lnTo>
                    <a:pt x="399" y="160"/>
                  </a:lnTo>
                  <a:lnTo>
                    <a:pt x="403" y="160"/>
                  </a:lnTo>
                  <a:lnTo>
                    <a:pt x="407" y="164"/>
                  </a:lnTo>
                  <a:lnTo>
                    <a:pt x="411" y="164"/>
                  </a:lnTo>
                  <a:lnTo>
                    <a:pt x="415" y="164"/>
                  </a:lnTo>
                  <a:lnTo>
                    <a:pt x="415" y="168"/>
                  </a:lnTo>
                  <a:lnTo>
                    <a:pt x="411" y="168"/>
                  </a:lnTo>
                  <a:lnTo>
                    <a:pt x="411" y="171"/>
                  </a:lnTo>
                  <a:lnTo>
                    <a:pt x="407" y="171"/>
                  </a:lnTo>
                  <a:close/>
                  <a:moveTo>
                    <a:pt x="594" y="164"/>
                  </a:moveTo>
                  <a:lnTo>
                    <a:pt x="598" y="164"/>
                  </a:lnTo>
                  <a:lnTo>
                    <a:pt x="598" y="168"/>
                  </a:lnTo>
                  <a:lnTo>
                    <a:pt x="602" y="168"/>
                  </a:lnTo>
                  <a:lnTo>
                    <a:pt x="606" y="168"/>
                  </a:lnTo>
                  <a:lnTo>
                    <a:pt x="606" y="171"/>
                  </a:lnTo>
                  <a:lnTo>
                    <a:pt x="602" y="171"/>
                  </a:lnTo>
                  <a:lnTo>
                    <a:pt x="598" y="171"/>
                  </a:lnTo>
                  <a:lnTo>
                    <a:pt x="594" y="171"/>
                  </a:lnTo>
                  <a:lnTo>
                    <a:pt x="590" y="171"/>
                  </a:lnTo>
                  <a:lnTo>
                    <a:pt x="586" y="171"/>
                  </a:lnTo>
                  <a:lnTo>
                    <a:pt x="582" y="168"/>
                  </a:lnTo>
                  <a:lnTo>
                    <a:pt x="582" y="164"/>
                  </a:lnTo>
                  <a:lnTo>
                    <a:pt x="586" y="164"/>
                  </a:lnTo>
                  <a:lnTo>
                    <a:pt x="590" y="164"/>
                  </a:lnTo>
                  <a:lnTo>
                    <a:pt x="594" y="164"/>
                  </a:lnTo>
                  <a:close/>
                  <a:moveTo>
                    <a:pt x="722" y="171"/>
                  </a:moveTo>
                  <a:lnTo>
                    <a:pt x="726" y="171"/>
                  </a:lnTo>
                  <a:lnTo>
                    <a:pt x="722" y="171"/>
                  </a:lnTo>
                  <a:lnTo>
                    <a:pt x="718" y="175"/>
                  </a:lnTo>
                  <a:lnTo>
                    <a:pt x="718" y="179"/>
                  </a:lnTo>
                  <a:lnTo>
                    <a:pt x="714" y="179"/>
                  </a:lnTo>
                  <a:lnTo>
                    <a:pt x="706" y="179"/>
                  </a:lnTo>
                  <a:lnTo>
                    <a:pt x="706" y="175"/>
                  </a:lnTo>
                  <a:lnTo>
                    <a:pt x="698" y="175"/>
                  </a:lnTo>
                  <a:lnTo>
                    <a:pt x="694" y="175"/>
                  </a:lnTo>
                  <a:lnTo>
                    <a:pt x="694" y="179"/>
                  </a:lnTo>
                  <a:lnTo>
                    <a:pt x="690" y="175"/>
                  </a:lnTo>
                  <a:lnTo>
                    <a:pt x="686" y="175"/>
                  </a:lnTo>
                  <a:lnTo>
                    <a:pt x="682" y="175"/>
                  </a:lnTo>
                  <a:lnTo>
                    <a:pt x="678" y="175"/>
                  </a:lnTo>
                  <a:lnTo>
                    <a:pt x="674" y="171"/>
                  </a:lnTo>
                  <a:lnTo>
                    <a:pt x="678" y="171"/>
                  </a:lnTo>
                  <a:lnTo>
                    <a:pt x="678" y="168"/>
                  </a:lnTo>
                  <a:lnTo>
                    <a:pt x="682" y="168"/>
                  </a:lnTo>
                  <a:lnTo>
                    <a:pt x="686" y="168"/>
                  </a:lnTo>
                  <a:lnTo>
                    <a:pt x="690" y="168"/>
                  </a:lnTo>
                  <a:lnTo>
                    <a:pt x="694" y="168"/>
                  </a:lnTo>
                  <a:lnTo>
                    <a:pt x="698" y="168"/>
                  </a:lnTo>
                  <a:lnTo>
                    <a:pt x="702" y="168"/>
                  </a:lnTo>
                  <a:lnTo>
                    <a:pt x="706" y="168"/>
                  </a:lnTo>
                  <a:lnTo>
                    <a:pt x="710" y="168"/>
                  </a:lnTo>
                  <a:lnTo>
                    <a:pt x="714" y="168"/>
                  </a:lnTo>
                  <a:lnTo>
                    <a:pt x="718" y="168"/>
                  </a:lnTo>
                  <a:lnTo>
                    <a:pt x="722" y="168"/>
                  </a:lnTo>
                  <a:lnTo>
                    <a:pt x="722" y="171"/>
                  </a:lnTo>
                  <a:close/>
                  <a:moveTo>
                    <a:pt x="534" y="168"/>
                  </a:moveTo>
                  <a:lnTo>
                    <a:pt x="538" y="171"/>
                  </a:lnTo>
                  <a:lnTo>
                    <a:pt x="542" y="171"/>
                  </a:lnTo>
                  <a:lnTo>
                    <a:pt x="542" y="175"/>
                  </a:lnTo>
                  <a:lnTo>
                    <a:pt x="546" y="175"/>
                  </a:lnTo>
                  <a:lnTo>
                    <a:pt x="546" y="179"/>
                  </a:lnTo>
                  <a:lnTo>
                    <a:pt x="542" y="179"/>
                  </a:lnTo>
                  <a:lnTo>
                    <a:pt x="546" y="179"/>
                  </a:lnTo>
                  <a:lnTo>
                    <a:pt x="550" y="179"/>
                  </a:lnTo>
                  <a:lnTo>
                    <a:pt x="550" y="183"/>
                  </a:lnTo>
                  <a:lnTo>
                    <a:pt x="554" y="183"/>
                  </a:lnTo>
                  <a:lnTo>
                    <a:pt x="554" y="187"/>
                  </a:lnTo>
                  <a:lnTo>
                    <a:pt x="550" y="187"/>
                  </a:lnTo>
                  <a:lnTo>
                    <a:pt x="546" y="187"/>
                  </a:lnTo>
                  <a:lnTo>
                    <a:pt x="542" y="187"/>
                  </a:lnTo>
                  <a:lnTo>
                    <a:pt x="538" y="183"/>
                  </a:lnTo>
                  <a:lnTo>
                    <a:pt x="534" y="183"/>
                  </a:lnTo>
                  <a:lnTo>
                    <a:pt x="534" y="179"/>
                  </a:lnTo>
                  <a:lnTo>
                    <a:pt x="534" y="175"/>
                  </a:lnTo>
                  <a:lnTo>
                    <a:pt x="530" y="171"/>
                  </a:lnTo>
                  <a:lnTo>
                    <a:pt x="526" y="171"/>
                  </a:lnTo>
                  <a:lnTo>
                    <a:pt x="526" y="168"/>
                  </a:lnTo>
                  <a:lnTo>
                    <a:pt x="530" y="168"/>
                  </a:lnTo>
                  <a:lnTo>
                    <a:pt x="534" y="168"/>
                  </a:lnTo>
                  <a:close/>
                  <a:moveTo>
                    <a:pt x="766" y="183"/>
                  </a:moveTo>
                  <a:lnTo>
                    <a:pt x="762" y="183"/>
                  </a:lnTo>
                  <a:lnTo>
                    <a:pt x="758" y="183"/>
                  </a:lnTo>
                  <a:lnTo>
                    <a:pt x="754" y="179"/>
                  </a:lnTo>
                  <a:lnTo>
                    <a:pt x="754" y="175"/>
                  </a:lnTo>
                  <a:lnTo>
                    <a:pt x="754" y="171"/>
                  </a:lnTo>
                  <a:lnTo>
                    <a:pt x="758" y="171"/>
                  </a:lnTo>
                  <a:lnTo>
                    <a:pt x="762" y="171"/>
                  </a:lnTo>
                  <a:lnTo>
                    <a:pt x="766" y="171"/>
                  </a:lnTo>
                  <a:lnTo>
                    <a:pt x="770" y="171"/>
                  </a:lnTo>
                  <a:lnTo>
                    <a:pt x="770" y="175"/>
                  </a:lnTo>
                  <a:lnTo>
                    <a:pt x="774" y="175"/>
                  </a:lnTo>
                  <a:lnTo>
                    <a:pt x="778" y="179"/>
                  </a:lnTo>
                  <a:lnTo>
                    <a:pt x="778" y="183"/>
                  </a:lnTo>
                  <a:lnTo>
                    <a:pt x="774" y="183"/>
                  </a:lnTo>
                  <a:lnTo>
                    <a:pt x="770" y="183"/>
                  </a:lnTo>
                  <a:lnTo>
                    <a:pt x="766" y="183"/>
                  </a:lnTo>
                  <a:close/>
                  <a:moveTo>
                    <a:pt x="315" y="227"/>
                  </a:moveTo>
                  <a:lnTo>
                    <a:pt x="315" y="223"/>
                  </a:lnTo>
                  <a:lnTo>
                    <a:pt x="315" y="227"/>
                  </a:lnTo>
                  <a:lnTo>
                    <a:pt x="311" y="227"/>
                  </a:lnTo>
                  <a:lnTo>
                    <a:pt x="311" y="223"/>
                  </a:lnTo>
                  <a:lnTo>
                    <a:pt x="311" y="219"/>
                  </a:lnTo>
                  <a:lnTo>
                    <a:pt x="307" y="219"/>
                  </a:lnTo>
                  <a:lnTo>
                    <a:pt x="307" y="223"/>
                  </a:lnTo>
                  <a:lnTo>
                    <a:pt x="307" y="219"/>
                  </a:lnTo>
                  <a:lnTo>
                    <a:pt x="307" y="215"/>
                  </a:lnTo>
                  <a:lnTo>
                    <a:pt x="303" y="215"/>
                  </a:lnTo>
                  <a:lnTo>
                    <a:pt x="303" y="219"/>
                  </a:lnTo>
                  <a:lnTo>
                    <a:pt x="303" y="223"/>
                  </a:lnTo>
                  <a:lnTo>
                    <a:pt x="303" y="219"/>
                  </a:lnTo>
                  <a:lnTo>
                    <a:pt x="299" y="219"/>
                  </a:lnTo>
                  <a:lnTo>
                    <a:pt x="299" y="223"/>
                  </a:lnTo>
                  <a:lnTo>
                    <a:pt x="295" y="223"/>
                  </a:lnTo>
                  <a:lnTo>
                    <a:pt x="295" y="219"/>
                  </a:lnTo>
                  <a:lnTo>
                    <a:pt x="291" y="219"/>
                  </a:lnTo>
                  <a:lnTo>
                    <a:pt x="283" y="219"/>
                  </a:lnTo>
                  <a:lnTo>
                    <a:pt x="283" y="223"/>
                  </a:lnTo>
                  <a:lnTo>
                    <a:pt x="279" y="223"/>
                  </a:lnTo>
                  <a:lnTo>
                    <a:pt x="275" y="223"/>
                  </a:lnTo>
                  <a:lnTo>
                    <a:pt x="279" y="223"/>
                  </a:lnTo>
                  <a:lnTo>
                    <a:pt x="279" y="219"/>
                  </a:lnTo>
                  <a:lnTo>
                    <a:pt x="279" y="215"/>
                  </a:lnTo>
                  <a:lnTo>
                    <a:pt x="279" y="219"/>
                  </a:lnTo>
                  <a:lnTo>
                    <a:pt x="275" y="219"/>
                  </a:lnTo>
                  <a:lnTo>
                    <a:pt x="279" y="215"/>
                  </a:lnTo>
                  <a:lnTo>
                    <a:pt x="275" y="215"/>
                  </a:lnTo>
                  <a:lnTo>
                    <a:pt x="275" y="219"/>
                  </a:lnTo>
                  <a:lnTo>
                    <a:pt x="271" y="219"/>
                  </a:lnTo>
                  <a:lnTo>
                    <a:pt x="271" y="215"/>
                  </a:lnTo>
                  <a:lnTo>
                    <a:pt x="275" y="215"/>
                  </a:lnTo>
                  <a:lnTo>
                    <a:pt x="279" y="211"/>
                  </a:lnTo>
                  <a:lnTo>
                    <a:pt x="283" y="207"/>
                  </a:lnTo>
                  <a:lnTo>
                    <a:pt x="287" y="207"/>
                  </a:lnTo>
                  <a:lnTo>
                    <a:pt x="291" y="207"/>
                  </a:lnTo>
                  <a:lnTo>
                    <a:pt x="295" y="207"/>
                  </a:lnTo>
                  <a:lnTo>
                    <a:pt x="299" y="203"/>
                  </a:lnTo>
                  <a:lnTo>
                    <a:pt x="299" y="199"/>
                  </a:lnTo>
                  <a:lnTo>
                    <a:pt x="303" y="199"/>
                  </a:lnTo>
                  <a:lnTo>
                    <a:pt x="307" y="199"/>
                  </a:lnTo>
                  <a:lnTo>
                    <a:pt x="311" y="195"/>
                  </a:lnTo>
                  <a:lnTo>
                    <a:pt x="315" y="191"/>
                  </a:lnTo>
                  <a:lnTo>
                    <a:pt x="319" y="191"/>
                  </a:lnTo>
                  <a:lnTo>
                    <a:pt x="319" y="187"/>
                  </a:lnTo>
                  <a:lnTo>
                    <a:pt x="323" y="187"/>
                  </a:lnTo>
                  <a:lnTo>
                    <a:pt x="327" y="187"/>
                  </a:lnTo>
                  <a:lnTo>
                    <a:pt x="327" y="183"/>
                  </a:lnTo>
                  <a:lnTo>
                    <a:pt x="331" y="183"/>
                  </a:lnTo>
                  <a:lnTo>
                    <a:pt x="335" y="183"/>
                  </a:lnTo>
                  <a:lnTo>
                    <a:pt x="335" y="179"/>
                  </a:lnTo>
                  <a:lnTo>
                    <a:pt x="339" y="179"/>
                  </a:lnTo>
                  <a:lnTo>
                    <a:pt x="343" y="179"/>
                  </a:lnTo>
                  <a:lnTo>
                    <a:pt x="347" y="179"/>
                  </a:lnTo>
                  <a:lnTo>
                    <a:pt x="351" y="179"/>
                  </a:lnTo>
                  <a:lnTo>
                    <a:pt x="355" y="183"/>
                  </a:lnTo>
                  <a:lnTo>
                    <a:pt x="359" y="183"/>
                  </a:lnTo>
                  <a:lnTo>
                    <a:pt x="363" y="183"/>
                  </a:lnTo>
                  <a:lnTo>
                    <a:pt x="363" y="179"/>
                  </a:lnTo>
                  <a:lnTo>
                    <a:pt x="359" y="179"/>
                  </a:lnTo>
                  <a:lnTo>
                    <a:pt x="363" y="179"/>
                  </a:lnTo>
                  <a:lnTo>
                    <a:pt x="363" y="183"/>
                  </a:lnTo>
                  <a:lnTo>
                    <a:pt x="367" y="183"/>
                  </a:lnTo>
                  <a:lnTo>
                    <a:pt x="367" y="179"/>
                  </a:lnTo>
                  <a:lnTo>
                    <a:pt x="363" y="179"/>
                  </a:lnTo>
                  <a:lnTo>
                    <a:pt x="359" y="179"/>
                  </a:lnTo>
                  <a:lnTo>
                    <a:pt x="363" y="175"/>
                  </a:lnTo>
                  <a:lnTo>
                    <a:pt x="367" y="175"/>
                  </a:lnTo>
                  <a:lnTo>
                    <a:pt x="363" y="175"/>
                  </a:lnTo>
                  <a:lnTo>
                    <a:pt x="367" y="175"/>
                  </a:lnTo>
                  <a:lnTo>
                    <a:pt x="371" y="175"/>
                  </a:lnTo>
                  <a:lnTo>
                    <a:pt x="375" y="175"/>
                  </a:lnTo>
                  <a:lnTo>
                    <a:pt x="379" y="179"/>
                  </a:lnTo>
                  <a:lnTo>
                    <a:pt x="387" y="179"/>
                  </a:lnTo>
                  <a:lnTo>
                    <a:pt x="387" y="183"/>
                  </a:lnTo>
                  <a:lnTo>
                    <a:pt x="383" y="183"/>
                  </a:lnTo>
                  <a:lnTo>
                    <a:pt x="379" y="183"/>
                  </a:lnTo>
                  <a:lnTo>
                    <a:pt x="375" y="187"/>
                  </a:lnTo>
                  <a:lnTo>
                    <a:pt x="375" y="191"/>
                  </a:lnTo>
                  <a:lnTo>
                    <a:pt x="379" y="191"/>
                  </a:lnTo>
                  <a:lnTo>
                    <a:pt x="383" y="191"/>
                  </a:lnTo>
                  <a:lnTo>
                    <a:pt x="383" y="195"/>
                  </a:lnTo>
                  <a:lnTo>
                    <a:pt x="379" y="195"/>
                  </a:lnTo>
                  <a:lnTo>
                    <a:pt x="375" y="195"/>
                  </a:lnTo>
                  <a:lnTo>
                    <a:pt x="375" y="191"/>
                  </a:lnTo>
                  <a:lnTo>
                    <a:pt x="371" y="191"/>
                  </a:lnTo>
                  <a:lnTo>
                    <a:pt x="371" y="195"/>
                  </a:lnTo>
                  <a:lnTo>
                    <a:pt x="375" y="195"/>
                  </a:lnTo>
                  <a:lnTo>
                    <a:pt x="379" y="195"/>
                  </a:lnTo>
                  <a:lnTo>
                    <a:pt x="379" y="199"/>
                  </a:lnTo>
                  <a:lnTo>
                    <a:pt x="379" y="203"/>
                  </a:lnTo>
                  <a:lnTo>
                    <a:pt x="375" y="203"/>
                  </a:lnTo>
                  <a:lnTo>
                    <a:pt x="371" y="203"/>
                  </a:lnTo>
                  <a:lnTo>
                    <a:pt x="367" y="203"/>
                  </a:lnTo>
                  <a:lnTo>
                    <a:pt x="363" y="203"/>
                  </a:lnTo>
                  <a:lnTo>
                    <a:pt x="363" y="207"/>
                  </a:lnTo>
                  <a:lnTo>
                    <a:pt x="363" y="211"/>
                  </a:lnTo>
                  <a:lnTo>
                    <a:pt x="359" y="211"/>
                  </a:lnTo>
                  <a:lnTo>
                    <a:pt x="355" y="211"/>
                  </a:lnTo>
                  <a:lnTo>
                    <a:pt x="351" y="211"/>
                  </a:lnTo>
                  <a:lnTo>
                    <a:pt x="347" y="207"/>
                  </a:lnTo>
                  <a:lnTo>
                    <a:pt x="347" y="203"/>
                  </a:lnTo>
                  <a:lnTo>
                    <a:pt x="347" y="199"/>
                  </a:lnTo>
                  <a:lnTo>
                    <a:pt x="351" y="199"/>
                  </a:lnTo>
                  <a:lnTo>
                    <a:pt x="351" y="195"/>
                  </a:lnTo>
                  <a:lnTo>
                    <a:pt x="347" y="199"/>
                  </a:lnTo>
                  <a:lnTo>
                    <a:pt x="343" y="199"/>
                  </a:lnTo>
                  <a:lnTo>
                    <a:pt x="339" y="199"/>
                  </a:lnTo>
                  <a:lnTo>
                    <a:pt x="343" y="199"/>
                  </a:lnTo>
                  <a:lnTo>
                    <a:pt x="343" y="203"/>
                  </a:lnTo>
                  <a:lnTo>
                    <a:pt x="339" y="207"/>
                  </a:lnTo>
                  <a:lnTo>
                    <a:pt x="335" y="203"/>
                  </a:lnTo>
                  <a:lnTo>
                    <a:pt x="335" y="207"/>
                  </a:lnTo>
                  <a:lnTo>
                    <a:pt x="339" y="207"/>
                  </a:lnTo>
                  <a:lnTo>
                    <a:pt x="339" y="211"/>
                  </a:lnTo>
                  <a:lnTo>
                    <a:pt x="335" y="211"/>
                  </a:lnTo>
                  <a:lnTo>
                    <a:pt x="335" y="215"/>
                  </a:lnTo>
                  <a:lnTo>
                    <a:pt x="331" y="219"/>
                  </a:lnTo>
                  <a:lnTo>
                    <a:pt x="327" y="219"/>
                  </a:lnTo>
                  <a:lnTo>
                    <a:pt x="327" y="215"/>
                  </a:lnTo>
                  <a:lnTo>
                    <a:pt x="323" y="211"/>
                  </a:lnTo>
                  <a:lnTo>
                    <a:pt x="323" y="215"/>
                  </a:lnTo>
                  <a:lnTo>
                    <a:pt x="323" y="219"/>
                  </a:lnTo>
                  <a:lnTo>
                    <a:pt x="319" y="219"/>
                  </a:lnTo>
                  <a:lnTo>
                    <a:pt x="323" y="219"/>
                  </a:lnTo>
                  <a:lnTo>
                    <a:pt x="327" y="219"/>
                  </a:lnTo>
                  <a:lnTo>
                    <a:pt x="327" y="223"/>
                  </a:lnTo>
                  <a:lnTo>
                    <a:pt x="323" y="223"/>
                  </a:lnTo>
                  <a:lnTo>
                    <a:pt x="323" y="219"/>
                  </a:lnTo>
                  <a:lnTo>
                    <a:pt x="323" y="223"/>
                  </a:lnTo>
                  <a:lnTo>
                    <a:pt x="319" y="223"/>
                  </a:lnTo>
                  <a:lnTo>
                    <a:pt x="319" y="227"/>
                  </a:lnTo>
                  <a:lnTo>
                    <a:pt x="315" y="227"/>
                  </a:lnTo>
                  <a:close/>
                  <a:moveTo>
                    <a:pt x="754" y="183"/>
                  </a:moveTo>
                  <a:lnTo>
                    <a:pt x="758" y="183"/>
                  </a:lnTo>
                  <a:lnTo>
                    <a:pt x="762" y="183"/>
                  </a:lnTo>
                  <a:lnTo>
                    <a:pt x="762" y="187"/>
                  </a:lnTo>
                  <a:lnTo>
                    <a:pt x="758" y="187"/>
                  </a:lnTo>
                  <a:lnTo>
                    <a:pt x="754" y="187"/>
                  </a:lnTo>
                  <a:lnTo>
                    <a:pt x="754" y="183"/>
                  </a:lnTo>
                  <a:close/>
                  <a:moveTo>
                    <a:pt x="690" y="183"/>
                  </a:moveTo>
                  <a:lnTo>
                    <a:pt x="694" y="183"/>
                  </a:lnTo>
                  <a:lnTo>
                    <a:pt x="694" y="187"/>
                  </a:lnTo>
                  <a:lnTo>
                    <a:pt x="690" y="187"/>
                  </a:lnTo>
                  <a:lnTo>
                    <a:pt x="686" y="183"/>
                  </a:lnTo>
                  <a:lnTo>
                    <a:pt x="690" y="183"/>
                  </a:lnTo>
                  <a:close/>
                  <a:moveTo>
                    <a:pt x="558" y="187"/>
                  </a:moveTo>
                  <a:lnTo>
                    <a:pt x="554" y="187"/>
                  </a:lnTo>
                  <a:lnTo>
                    <a:pt x="558" y="187"/>
                  </a:lnTo>
                  <a:close/>
                  <a:moveTo>
                    <a:pt x="411" y="187"/>
                  </a:moveTo>
                  <a:lnTo>
                    <a:pt x="415" y="187"/>
                  </a:lnTo>
                  <a:lnTo>
                    <a:pt x="411" y="187"/>
                  </a:lnTo>
                  <a:close/>
                  <a:moveTo>
                    <a:pt x="917" y="251"/>
                  </a:moveTo>
                  <a:lnTo>
                    <a:pt x="921" y="251"/>
                  </a:lnTo>
                  <a:lnTo>
                    <a:pt x="917" y="251"/>
                  </a:lnTo>
                  <a:lnTo>
                    <a:pt x="921" y="251"/>
                  </a:lnTo>
                  <a:lnTo>
                    <a:pt x="925" y="251"/>
                  </a:lnTo>
                  <a:lnTo>
                    <a:pt x="929" y="251"/>
                  </a:lnTo>
                  <a:lnTo>
                    <a:pt x="933" y="251"/>
                  </a:lnTo>
                  <a:lnTo>
                    <a:pt x="933" y="255"/>
                  </a:lnTo>
                  <a:lnTo>
                    <a:pt x="929" y="255"/>
                  </a:lnTo>
                  <a:lnTo>
                    <a:pt x="925" y="255"/>
                  </a:lnTo>
                  <a:lnTo>
                    <a:pt x="921" y="255"/>
                  </a:lnTo>
                  <a:lnTo>
                    <a:pt x="917" y="255"/>
                  </a:lnTo>
                  <a:lnTo>
                    <a:pt x="917" y="251"/>
                  </a:lnTo>
                  <a:lnTo>
                    <a:pt x="917" y="255"/>
                  </a:lnTo>
                  <a:lnTo>
                    <a:pt x="921" y="255"/>
                  </a:lnTo>
                  <a:lnTo>
                    <a:pt x="921" y="259"/>
                  </a:lnTo>
                  <a:lnTo>
                    <a:pt x="921" y="263"/>
                  </a:lnTo>
                  <a:lnTo>
                    <a:pt x="917" y="263"/>
                  </a:lnTo>
                  <a:lnTo>
                    <a:pt x="913" y="263"/>
                  </a:lnTo>
                  <a:lnTo>
                    <a:pt x="909" y="263"/>
                  </a:lnTo>
                  <a:lnTo>
                    <a:pt x="905" y="263"/>
                  </a:lnTo>
                  <a:lnTo>
                    <a:pt x="901" y="263"/>
                  </a:lnTo>
                  <a:lnTo>
                    <a:pt x="897" y="263"/>
                  </a:lnTo>
                  <a:lnTo>
                    <a:pt x="897" y="267"/>
                  </a:lnTo>
                  <a:lnTo>
                    <a:pt x="893" y="267"/>
                  </a:lnTo>
                  <a:lnTo>
                    <a:pt x="889" y="263"/>
                  </a:lnTo>
                  <a:lnTo>
                    <a:pt x="885" y="263"/>
                  </a:lnTo>
                  <a:lnTo>
                    <a:pt x="881" y="263"/>
                  </a:lnTo>
                  <a:lnTo>
                    <a:pt x="877" y="263"/>
                  </a:lnTo>
                  <a:lnTo>
                    <a:pt x="877" y="259"/>
                  </a:lnTo>
                  <a:lnTo>
                    <a:pt x="877" y="255"/>
                  </a:lnTo>
                  <a:lnTo>
                    <a:pt x="873" y="255"/>
                  </a:lnTo>
                  <a:lnTo>
                    <a:pt x="869" y="251"/>
                  </a:lnTo>
                  <a:lnTo>
                    <a:pt x="869" y="255"/>
                  </a:lnTo>
                  <a:lnTo>
                    <a:pt x="873" y="255"/>
                  </a:lnTo>
                  <a:lnTo>
                    <a:pt x="873" y="259"/>
                  </a:lnTo>
                  <a:lnTo>
                    <a:pt x="869" y="263"/>
                  </a:lnTo>
                  <a:lnTo>
                    <a:pt x="865" y="263"/>
                  </a:lnTo>
                  <a:lnTo>
                    <a:pt x="861" y="263"/>
                  </a:lnTo>
                  <a:lnTo>
                    <a:pt x="857" y="263"/>
                  </a:lnTo>
                  <a:lnTo>
                    <a:pt x="853" y="263"/>
                  </a:lnTo>
                  <a:lnTo>
                    <a:pt x="849" y="263"/>
                  </a:lnTo>
                  <a:lnTo>
                    <a:pt x="845" y="263"/>
                  </a:lnTo>
                  <a:lnTo>
                    <a:pt x="849" y="259"/>
                  </a:lnTo>
                  <a:lnTo>
                    <a:pt x="845" y="259"/>
                  </a:lnTo>
                  <a:lnTo>
                    <a:pt x="845" y="263"/>
                  </a:lnTo>
                  <a:lnTo>
                    <a:pt x="841" y="263"/>
                  </a:lnTo>
                  <a:lnTo>
                    <a:pt x="841" y="259"/>
                  </a:lnTo>
                  <a:lnTo>
                    <a:pt x="837" y="259"/>
                  </a:lnTo>
                  <a:lnTo>
                    <a:pt x="837" y="263"/>
                  </a:lnTo>
                  <a:lnTo>
                    <a:pt x="841" y="263"/>
                  </a:lnTo>
                  <a:lnTo>
                    <a:pt x="837" y="263"/>
                  </a:lnTo>
                  <a:lnTo>
                    <a:pt x="833" y="263"/>
                  </a:lnTo>
                  <a:lnTo>
                    <a:pt x="829" y="263"/>
                  </a:lnTo>
                  <a:lnTo>
                    <a:pt x="825" y="263"/>
                  </a:lnTo>
                  <a:lnTo>
                    <a:pt x="821" y="263"/>
                  </a:lnTo>
                  <a:lnTo>
                    <a:pt x="821" y="259"/>
                  </a:lnTo>
                  <a:lnTo>
                    <a:pt x="821" y="263"/>
                  </a:lnTo>
                  <a:lnTo>
                    <a:pt x="821" y="267"/>
                  </a:lnTo>
                  <a:lnTo>
                    <a:pt x="817" y="267"/>
                  </a:lnTo>
                  <a:lnTo>
                    <a:pt x="813" y="267"/>
                  </a:lnTo>
                  <a:lnTo>
                    <a:pt x="813" y="263"/>
                  </a:lnTo>
                  <a:lnTo>
                    <a:pt x="809" y="267"/>
                  </a:lnTo>
                  <a:lnTo>
                    <a:pt x="805" y="267"/>
                  </a:lnTo>
                  <a:lnTo>
                    <a:pt x="805" y="263"/>
                  </a:lnTo>
                  <a:lnTo>
                    <a:pt x="805" y="267"/>
                  </a:lnTo>
                  <a:lnTo>
                    <a:pt x="801" y="267"/>
                  </a:lnTo>
                  <a:lnTo>
                    <a:pt x="797" y="263"/>
                  </a:lnTo>
                  <a:lnTo>
                    <a:pt x="794" y="263"/>
                  </a:lnTo>
                  <a:lnTo>
                    <a:pt x="797" y="259"/>
                  </a:lnTo>
                  <a:lnTo>
                    <a:pt x="797" y="255"/>
                  </a:lnTo>
                  <a:lnTo>
                    <a:pt x="794" y="255"/>
                  </a:lnTo>
                  <a:lnTo>
                    <a:pt x="794" y="251"/>
                  </a:lnTo>
                  <a:lnTo>
                    <a:pt x="794" y="255"/>
                  </a:lnTo>
                  <a:lnTo>
                    <a:pt x="790" y="255"/>
                  </a:lnTo>
                  <a:lnTo>
                    <a:pt x="790" y="259"/>
                  </a:lnTo>
                  <a:lnTo>
                    <a:pt x="790" y="255"/>
                  </a:lnTo>
                  <a:lnTo>
                    <a:pt x="786" y="255"/>
                  </a:lnTo>
                  <a:lnTo>
                    <a:pt x="786" y="259"/>
                  </a:lnTo>
                  <a:lnTo>
                    <a:pt x="782" y="259"/>
                  </a:lnTo>
                  <a:lnTo>
                    <a:pt x="782" y="255"/>
                  </a:lnTo>
                  <a:lnTo>
                    <a:pt x="782" y="259"/>
                  </a:lnTo>
                  <a:lnTo>
                    <a:pt x="786" y="259"/>
                  </a:lnTo>
                  <a:lnTo>
                    <a:pt x="786" y="263"/>
                  </a:lnTo>
                  <a:lnTo>
                    <a:pt x="782" y="263"/>
                  </a:lnTo>
                  <a:lnTo>
                    <a:pt x="778" y="263"/>
                  </a:lnTo>
                  <a:lnTo>
                    <a:pt x="774" y="263"/>
                  </a:lnTo>
                  <a:lnTo>
                    <a:pt x="770" y="263"/>
                  </a:lnTo>
                  <a:lnTo>
                    <a:pt x="766" y="263"/>
                  </a:lnTo>
                  <a:lnTo>
                    <a:pt x="762" y="263"/>
                  </a:lnTo>
                  <a:lnTo>
                    <a:pt x="762" y="259"/>
                  </a:lnTo>
                  <a:lnTo>
                    <a:pt x="758" y="259"/>
                  </a:lnTo>
                  <a:lnTo>
                    <a:pt x="758" y="255"/>
                  </a:lnTo>
                  <a:lnTo>
                    <a:pt x="762" y="255"/>
                  </a:lnTo>
                  <a:lnTo>
                    <a:pt x="758" y="255"/>
                  </a:lnTo>
                  <a:lnTo>
                    <a:pt x="754" y="255"/>
                  </a:lnTo>
                  <a:lnTo>
                    <a:pt x="754" y="259"/>
                  </a:lnTo>
                  <a:lnTo>
                    <a:pt x="754" y="255"/>
                  </a:lnTo>
                  <a:lnTo>
                    <a:pt x="754" y="259"/>
                  </a:lnTo>
                  <a:lnTo>
                    <a:pt x="750" y="259"/>
                  </a:lnTo>
                  <a:lnTo>
                    <a:pt x="746" y="259"/>
                  </a:lnTo>
                  <a:lnTo>
                    <a:pt x="742" y="259"/>
                  </a:lnTo>
                  <a:lnTo>
                    <a:pt x="742" y="255"/>
                  </a:lnTo>
                  <a:lnTo>
                    <a:pt x="742" y="251"/>
                  </a:lnTo>
                  <a:lnTo>
                    <a:pt x="738" y="251"/>
                  </a:lnTo>
                  <a:lnTo>
                    <a:pt x="738" y="247"/>
                  </a:lnTo>
                  <a:lnTo>
                    <a:pt x="742" y="247"/>
                  </a:lnTo>
                  <a:lnTo>
                    <a:pt x="738" y="247"/>
                  </a:lnTo>
                  <a:lnTo>
                    <a:pt x="734" y="243"/>
                  </a:lnTo>
                  <a:lnTo>
                    <a:pt x="734" y="239"/>
                  </a:lnTo>
                  <a:lnTo>
                    <a:pt x="734" y="235"/>
                  </a:lnTo>
                  <a:lnTo>
                    <a:pt x="738" y="235"/>
                  </a:lnTo>
                  <a:lnTo>
                    <a:pt x="742" y="235"/>
                  </a:lnTo>
                  <a:lnTo>
                    <a:pt x="742" y="231"/>
                  </a:lnTo>
                  <a:lnTo>
                    <a:pt x="738" y="227"/>
                  </a:lnTo>
                  <a:lnTo>
                    <a:pt x="738" y="223"/>
                  </a:lnTo>
                  <a:lnTo>
                    <a:pt x="734" y="223"/>
                  </a:lnTo>
                  <a:lnTo>
                    <a:pt x="734" y="219"/>
                  </a:lnTo>
                  <a:lnTo>
                    <a:pt x="730" y="219"/>
                  </a:lnTo>
                  <a:lnTo>
                    <a:pt x="730" y="215"/>
                  </a:lnTo>
                  <a:lnTo>
                    <a:pt x="726" y="215"/>
                  </a:lnTo>
                  <a:lnTo>
                    <a:pt x="726" y="211"/>
                  </a:lnTo>
                  <a:lnTo>
                    <a:pt x="722" y="211"/>
                  </a:lnTo>
                  <a:lnTo>
                    <a:pt x="718" y="211"/>
                  </a:lnTo>
                  <a:lnTo>
                    <a:pt x="714" y="211"/>
                  </a:lnTo>
                  <a:lnTo>
                    <a:pt x="714" y="215"/>
                  </a:lnTo>
                  <a:lnTo>
                    <a:pt x="710" y="211"/>
                  </a:lnTo>
                  <a:lnTo>
                    <a:pt x="706" y="211"/>
                  </a:lnTo>
                  <a:lnTo>
                    <a:pt x="702" y="211"/>
                  </a:lnTo>
                  <a:lnTo>
                    <a:pt x="698" y="211"/>
                  </a:lnTo>
                  <a:lnTo>
                    <a:pt x="694" y="215"/>
                  </a:lnTo>
                  <a:lnTo>
                    <a:pt x="690" y="215"/>
                  </a:lnTo>
                  <a:lnTo>
                    <a:pt x="690" y="211"/>
                  </a:lnTo>
                  <a:lnTo>
                    <a:pt x="694" y="211"/>
                  </a:lnTo>
                  <a:lnTo>
                    <a:pt x="698" y="211"/>
                  </a:lnTo>
                  <a:lnTo>
                    <a:pt x="694" y="211"/>
                  </a:lnTo>
                  <a:lnTo>
                    <a:pt x="690" y="211"/>
                  </a:lnTo>
                  <a:lnTo>
                    <a:pt x="686" y="211"/>
                  </a:lnTo>
                  <a:lnTo>
                    <a:pt x="686" y="207"/>
                  </a:lnTo>
                  <a:lnTo>
                    <a:pt x="682" y="207"/>
                  </a:lnTo>
                  <a:lnTo>
                    <a:pt x="678" y="207"/>
                  </a:lnTo>
                  <a:lnTo>
                    <a:pt x="682" y="207"/>
                  </a:lnTo>
                  <a:lnTo>
                    <a:pt x="686" y="207"/>
                  </a:lnTo>
                  <a:lnTo>
                    <a:pt x="686" y="203"/>
                  </a:lnTo>
                  <a:lnTo>
                    <a:pt x="682" y="203"/>
                  </a:lnTo>
                  <a:lnTo>
                    <a:pt x="678" y="203"/>
                  </a:lnTo>
                  <a:lnTo>
                    <a:pt x="674" y="203"/>
                  </a:lnTo>
                  <a:lnTo>
                    <a:pt x="674" y="199"/>
                  </a:lnTo>
                  <a:lnTo>
                    <a:pt x="670" y="199"/>
                  </a:lnTo>
                  <a:lnTo>
                    <a:pt x="666" y="199"/>
                  </a:lnTo>
                  <a:lnTo>
                    <a:pt x="666" y="195"/>
                  </a:lnTo>
                  <a:lnTo>
                    <a:pt x="670" y="199"/>
                  </a:lnTo>
                  <a:lnTo>
                    <a:pt x="674" y="199"/>
                  </a:lnTo>
                  <a:lnTo>
                    <a:pt x="678" y="199"/>
                  </a:lnTo>
                  <a:lnTo>
                    <a:pt x="674" y="195"/>
                  </a:lnTo>
                  <a:lnTo>
                    <a:pt x="670" y="195"/>
                  </a:lnTo>
                  <a:lnTo>
                    <a:pt x="666" y="195"/>
                  </a:lnTo>
                  <a:lnTo>
                    <a:pt x="670" y="191"/>
                  </a:lnTo>
                  <a:lnTo>
                    <a:pt x="674" y="191"/>
                  </a:lnTo>
                  <a:lnTo>
                    <a:pt x="678" y="191"/>
                  </a:lnTo>
                  <a:lnTo>
                    <a:pt x="682" y="191"/>
                  </a:lnTo>
                  <a:lnTo>
                    <a:pt x="686" y="187"/>
                  </a:lnTo>
                  <a:lnTo>
                    <a:pt x="686" y="191"/>
                  </a:lnTo>
                  <a:lnTo>
                    <a:pt x="690" y="191"/>
                  </a:lnTo>
                  <a:lnTo>
                    <a:pt x="694" y="191"/>
                  </a:lnTo>
                  <a:lnTo>
                    <a:pt x="698" y="191"/>
                  </a:lnTo>
                  <a:lnTo>
                    <a:pt x="702" y="191"/>
                  </a:lnTo>
                  <a:lnTo>
                    <a:pt x="706" y="195"/>
                  </a:lnTo>
                  <a:lnTo>
                    <a:pt x="710" y="195"/>
                  </a:lnTo>
                  <a:lnTo>
                    <a:pt x="710" y="191"/>
                  </a:lnTo>
                  <a:lnTo>
                    <a:pt x="714" y="191"/>
                  </a:lnTo>
                  <a:lnTo>
                    <a:pt x="714" y="195"/>
                  </a:lnTo>
                  <a:lnTo>
                    <a:pt x="718" y="195"/>
                  </a:lnTo>
                  <a:lnTo>
                    <a:pt x="722" y="199"/>
                  </a:lnTo>
                  <a:lnTo>
                    <a:pt x="722" y="203"/>
                  </a:lnTo>
                  <a:lnTo>
                    <a:pt x="718" y="207"/>
                  </a:lnTo>
                  <a:lnTo>
                    <a:pt x="718" y="211"/>
                  </a:lnTo>
                  <a:lnTo>
                    <a:pt x="718" y="207"/>
                  </a:lnTo>
                  <a:lnTo>
                    <a:pt x="722" y="207"/>
                  </a:lnTo>
                  <a:lnTo>
                    <a:pt x="726" y="203"/>
                  </a:lnTo>
                  <a:lnTo>
                    <a:pt x="730" y="203"/>
                  </a:lnTo>
                  <a:lnTo>
                    <a:pt x="734" y="203"/>
                  </a:lnTo>
                  <a:lnTo>
                    <a:pt x="738" y="203"/>
                  </a:lnTo>
                  <a:lnTo>
                    <a:pt x="742" y="203"/>
                  </a:lnTo>
                  <a:lnTo>
                    <a:pt x="742" y="199"/>
                  </a:lnTo>
                  <a:lnTo>
                    <a:pt x="746" y="199"/>
                  </a:lnTo>
                  <a:lnTo>
                    <a:pt x="750" y="199"/>
                  </a:lnTo>
                  <a:lnTo>
                    <a:pt x="754" y="199"/>
                  </a:lnTo>
                  <a:lnTo>
                    <a:pt x="758" y="203"/>
                  </a:lnTo>
                  <a:lnTo>
                    <a:pt x="762" y="203"/>
                  </a:lnTo>
                  <a:lnTo>
                    <a:pt x="766" y="203"/>
                  </a:lnTo>
                  <a:lnTo>
                    <a:pt x="766" y="207"/>
                  </a:lnTo>
                  <a:lnTo>
                    <a:pt x="762" y="207"/>
                  </a:lnTo>
                  <a:lnTo>
                    <a:pt x="758" y="207"/>
                  </a:lnTo>
                  <a:lnTo>
                    <a:pt x="754" y="207"/>
                  </a:lnTo>
                  <a:lnTo>
                    <a:pt x="750" y="207"/>
                  </a:lnTo>
                  <a:lnTo>
                    <a:pt x="754" y="207"/>
                  </a:lnTo>
                  <a:lnTo>
                    <a:pt x="758" y="207"/>
                  </a:lnTo>
                  <a:lnTo>
                    <a:pt x="762" y="207"/>
                  </a:lnTo>
                  <a:lnTo>
                    <a:pt x="766" y="207"/>
                  </a:lnTo>
                  <a:lnTo>
                    <a:pt x="766" y="211"/>
                  </a:lnTo>
                  <a:lnTo>
                    <a:pt x="770" y="211"/>
                  </a:lnTo>
                  <a:lnTo>
                    <a:pt x="774" y="211"/>
                  </a:lnTo>
                  <a:lnTo>
                    <a:pt x="778" y="211"/>
                  </a:lnTo>
                  <a:lnTo>
                    <a:pt x="782" y="211"/>
                  </a:lnTo>
                  <a:lnTo>
                    <a:pt x="786" y="215"/>
                  </a:lnTo>
                  <a:lnTo>
                    <a:pt x="782" y="215"/>
                  </a:lnTo>
                  <a:lnTo>
                    <a:pt x="778" y="215"/>
                  </a:lnTo>
                  <a:lnTo>
                    <a:pt x="774" y="215"/>
                  </a:lnTo>
                  <a:lnTo>
                    <a:pt x="766" y="215"/>
                  </a:lnTo>
                  <a:lnTo>
                    <a:pt x="770" y="215"/>
                  </a:lnTo>
                  <a:lnTo>
                    <a:pt x="766" y="215"/>
                  </a:lnTo>
                  <a:lnTo>
                    <a:pt x="762" y="215"/>
                  </a:lnTo>
                  <a:lnTo>
                    <a:pt x="758" y="215"/>
                  </a:lnTo>
                  <a:lnTo>
                    <a:pt x="754" y="215"/>
                  </a:lnTo>
                  <a:lnTo>
                    <a:pt x="750" y="215"/>
                  </a:lnTo>
                  <a:lnTo>
                    <a:pt x="750" y="211"/>
                  </a:lnTo>
                  <a:lnTo>
                    <a:pt x="746" y="211"/>
                  </a:lnTo>
                  <a:lnTo>
                    <a:pt x="746" y="215"/>
                  </a:lnTo>
                  <a:lnTo>
                    <a:pt x="750" y="215"/>
                  </a:lnTo>
                  <a:lnTo>
                    <a:pt x="754" y="215"/>
                  </a:lnTo>
                  <a:lnTo>
                    <a:pt x="758" y="215"/>
                  </a:lnTo>
                  <a:lnTo>
                    <a:pt x="762" y="219"/>
                  </a:lnTo>
                  <a:lnTo>
                    <a:pt x="758" y="219"/>
                  </a:lnTo>
                  <a:lnTo>
                    <a:pt x="762" y="219"/>
                  </a:lnTo>
                  <a:lnTo>
                    <a:pt x="766" y="219"/>
                  </a:lnTo>
                  <a:lnTo>
                    <a:pt x="770" y="219"/>
                  </a:lnTo>
                  <a:lnTo>
                    <a:pt x="766" y="219"/>
                  </a:lnTo>
                  <a:lnTo>
                    <a:pt x="762" y="219"/>
                  </a:lnTo>
                  <a:lnTo>
                    <a:pt x="758" y="219"/>
                  </a:lnTo>
                  <a:lnTo>
                    <a:pt x="754" y="219"/>
                  </a:lnTo>
                  <a:lnTo>
                    <a:pt x="758" y="223"/>
                  </a:lnTo>
                  <a:lnTo>
                    <a:pt x="754" y="223"/>
                  </a:lnTo>
                  <a:lnTo>
                    <a:pt x="754" y="227"/>
                  </a:lnTo>
                  <a:lnTo>
                    <a:pt x="754" y="223"/>
                  </a:lnTo>
                  <a:lnTo>
                    <a:pt x="758" y="223"/>
                  </a:lnTo>
                  <a:lnTo>
                    <a:pt x="758" y="219"/>
                  </a:lnTo>
                  <a:lnTo>
                    <a:pt x="762" y="219"/>
                  </a:lnTo>
                  <a:lnTo>
                    <a:pt x="762" y="223"/>
                  </a:lnTo>
                  <a:lnTo>
                    <a:pt x="766" y="223"/>
                  </a:lnTo>
                  <a:lnTo>
                    <a:pt x="762" y="223"/>
                  </a:lnTo>
                  <a:lnTo>
                    <a:pt x="766" y="223"/>
                  </a:lnTo>
                  <a:lnTo>
                    <a:pt x="770" y="223"/>
                  </a:lnTo>
                  <a:lnTo>
                    <a:pt x="770" y="219"/>
                  </a:lnTo>
                  <a:lnTo>
                    <a:pt x="774" y="219"/>
                  </a:lnTo>
                  <a:lnTo>
                    <a:pt x="774" y="223"/>
                  </a:lnTo>
                  <a:lnTo>
                    <a:pt x="778" y="223"/>
                  </a:lnTo>
                  <a:lnTo>
                    <a:pt x="774" y="227"/>
                  </a:lnTo>
                  <a:lnTo>
                    <a:pt x="778" y="227"/>
                  </a:lnTo>
                  <a:lnTo>
                    <a:pt x="778" y="223"/>
                  </a:lnTo>
                  <a:lnTo>
                    <a:pt x="782" y="227"/>
                  </a:lnTo>
                  <a:lnTo>
                    <a:pt x="786" y="227"/>
                  </a:lnTo>
                  <a:lnTo>
                    <a:pt x="782" y="231"/>
                  </a:lnTo>
                  <a:lnTo>
                    <a:pt x="778" y="231"/>
                  </a:lnTo>
                  <a:lnTo>
                    <a:pt x="774" y="235"/>
                  </a:lnTo>
                  <a:lnTo>
                    <a:pt x="778" y="231"/>
                  </a:lnTo>
                  <a:lnTo>
                    <a:pt x="778" y="235"/>
                  </a:lnTo>
                  <a:lnTo>
                    <a:pt x="778" y="231"/>
                  </a:lnTo>
                  <a:lnTo>
                    <a:pt x="782" y="231"/>
                  </a:lnTo>
                  <a:lnTo>
                    <a:pt x="786" y="235"/>
                  </a:lnTo>
                  <a:lnTo>
                    <a:pt x="786" y="239"/>
                  </a:lnTo>
                  <a:lnTo>
                    <a:pt x="790" y="239"/>
                  </a:lnTo>
                  <a:lnTo>
                    <a:pt x="790" y="235"/>
                  </a:lnTo>
                  <a:lnTo>
                    <a:pt x="790" y="231"/>
                  </a:lnTo>
                  <a:lnTo>
                    <a:pt x="794" y="231"/>
                  </a:lnTo>
                  <a:lnTo>
                    <a:pt x="797" y="231"/>
                  </a:lnTo>
                  <a:lnTo>
                    <a:pt x="797" y="235"/>
                  </a:lnTo>
                  <a:lnTo>
                    <a:pt x="801" y="235"/>
                  </a:lnTo>
                  <a:lnTo>
                    <a:pt x="805" y="235"/>
                  </a:lnTo>
                  <a:lnTo>
                    <a:pt x="809" y="235"/>
                  </a:lnTo>
                  <a:lnTo>
                    <a:pt x="809" y="231"/>
                  </a:lnTo>
                  <a:lnTo>
                    <a:pt x="813" y="231"/>
                  </a:lnTo>
                  <a:lnTo>
                    <a:pt x="817" y="231"/>
                  </a:lnTo>
                  <a:lnTo>
                    <a:pt x="817" y="235"/>
                  </a:lnTo>
                  <a:lnTo>
                    <a:pt x="821" y="235"/>
                  </a:lnTo>
                  <a:lnTo>
                    <a:pt x="825" y="235"/>
                  </a:lnTo>
                  <a:lnTo>
                    <a:pt x="825" y="239"/>
                  </a:lnTo>
                  <a:lnTo>
                    <a:pt x="821" y="239"/>
                  </a:lnTo>
                  <a:lnTo>
                    <a:pt x="825" y="239"/>
                  </a:lnTo>
                  <a:lnTo>
                    <a:pt x="829" y="239"/>
                  </a:lnTo>
                  <a:lnTo>
                    <a:pt x="833" y="239"/>
                  </a:lnTo>
                  <a:lnTo>
                    <a:pt x="837" y="239"/>
                  </a:lnTo>
                  <a:lnTo>
                    <a:pt x="833" y="235"/>
                  </a:lnTo>
                  <a:lnTo>
                    <a:pt x="829" y="235"/>
                  </a:lnTo>
                  <a:lnTo>
                    <a:pt x="833" y="235"/>
                  </a:lnTo>
                  <a:lnTo>
                    <a:pt x="837" y="235"/>
                  </a:lnTo>
                  <a:lnTo>
                    <a:pt x="841" y="235"/>
                  </a:lnTo>
                  <a:lnTo>
                    <a:pt x="845" y="231"/>
                  </a:lnTo>
                  <a:lnTo>
                    <a:pt x="849" y="231"/>
                  </a:lnTo>
                  <a:lnTo>
                    <a:pt x="853" y="231"/>
                  </a:lnTo>
                  <a:lnTo>
                    <a:pt x="857" y="231"/>
                  </a:lnTo>
                  <a:lnTo>
                    <a:pt x="861" y="227"/>
                  </a:lnTo>
                  <a:lnTo>
                    <a:pt x="865" y="227"/>
                  </a:lnTo>
                  <a:lnTo>
                    <a:pt x="869" y="227"/>
                  </a:lnTo>
                  <a:lnTo>
                    <a:pt x="873" y="227"/>
                  </a:lnTo>
                  <a:lnTo>
                    <a:pt x="877" y="227"/>
                  </a:lnTo>
                  <a:lnTo>
                    <a:pt x="881" y="227"/>
                  </a:lnTo>
                  <a:lnTo>
                    <a:pt x="885" y="227"/>
                  </a:lnTo>
                  <a:lnTo>
                    <a:pt x="889" y="227"/>
                  </a:lnTo>
                  <a:lnTo>
                    <a:pt x="893" y="227"/>
                  </a:lnTo>
                  <a:lnTo>
                    <a:pt x="897" y="227"/>
                  </a:lnTo>
                  <a:lnTo>
                    <a:pt x="901" y="227"/>
                  </a:lnTo>
                  <a:lnTo>
                    <a:pt x="905" y="227"/>
                  </a:lnTo>
                  <a:lnTo>
                    <a:pt x="905" y="231"/>
                  </a:lnTo>
                  <a:lnTo>
                    <a:pt x="909" y="231"/>
                  </a:lnTo>
                  <a:lnTo>
                    <a:pt x="913" y="231"/>
                  </a:lnTo>
                  <a:lnTo>
                    <a:pt x="917" y="231"/>
                  </a:lnTo>
                  <a:lnTo>
                    <a:pt x="921" y="231"/>
                  </a:lnTo>
                  <a:lnTo>
                    <a:pt x="925" y="235"/>
                  </a:lnTo>
                  <a:lnTo>
                    <a:pt x="921" y="235"/>
                  </a:lnTo>
                  <a:lnTo>
                    <a:pt x="917" y="235"/>
                  </a:lnTo>
                  <a:lnTo>
                    <a:pt x="921" y="235"/>
                  </a:lnTo>
                  <a:lnTo>
                    <a:pt x="925" y="235"/>
                  </a:lnTo>
                  <a:lnTo>
                    <a:pt x="929" y="235"/>
                  </a:lnTo>
                  <a:lnTo>
                    <a:pt x="929" y="239"/>
                  </a:lnTo>
                  <a:lnTo>
                    <a:pt x="929" y="243"/>
                  </a:lnTo>
                  <a:lnTo>
                    <a:pt x="933" y="243"/>
                  </a:lnTo>
                  <a:lnTo>
                    <a:pt x="929" y="243"/>
                  </a:lnTo>
                  <a:lnTo>
                    <a:pt x="925" y="247"/>
                  </a:lnTo>
                  <a:lnTo>
                    <a:pt x="925" y="243"/>
                  </a:lnTo>
                  <a:lnTo>
                    <a:pt x="925" y="247"/>
                  </a:lnTo>
                  <a:lnTo>
                    <a:pt x="921" y="247"/>
                  </a:lnTo>
                  <a:lnTo>
                    <a:pt x="917" y="247"/>
                  </a:lnTo>
                  <a:lnTo>
                    <a:pt x="917" y="251"/>
                  </a:lnTo>
                  <a:close/>
                  <a:moveTo>
                    <a:pt x="662" y="191"/>
                  </a:moveTo>
                  <a:lnTo>
                    <a:pt x="666" y="191"/>
                  </a:lnTo>
                  <a:lnTo>
                    <a:pt x="662" y="191"/>
                  </a:lnTo>
                  <a:lnTo>
                    <a:pt x="658" y="191"/>
                  </a:lnTo>
                  <a:lnTo>
                    <a:pt x="662" y="191"/>
                  </a:lnTo>
                  <a:close/>
                  <a:moveTo>
                    <a:pt x="407" y="199"/>
                  </a:moveTo>
                  <a:lnTo>
                    <a:pt x="399" y="199"/>
                  </a:lnTo>
                  <a:lnTo>
                    <a:pt x="395" y="199"/>
                  </a:lnTo>
                  <a:lnTo>
                    <a:pt x="395" y="195"/>
                  </a:lnTo>
                  <a:lnTo>
                    <a:pt x="399" y="195"/>
                  </a:lnTo>
                  <a:lnTo>
                    <a:pt x="403" y="195"/>
                  </a:lnTo>
                  <a:lnTo>
                    <a:pt x="407" y="195"/>
                  </a:lnTo>
                  <a:lnTo>
                    <a:pt x="411" y="195"/>
                  </a:lnTo>
                  <a:lnTo>
                    <a:pt x="415" y="195"/>
                  </a:lnTo>
                  <a:lnTo>
                    <a:pt x="415" y="199"/>
                  </a:lnTo>
                  <a:lnTo>
                    <a:pt x="411" y="199"/>
                  </a:lnTo>
                  <a:lnTo>
                    <a:pt x="407" y="199"/>
                  </a:lnTo>
                  <a:close/>
                  <a:moveTo>
                    <a:pt x="395" y="251"/>
                  </a:moveTo>
                  <a:lnTo>
                    <a:pt x="391" y="251"/>
                  </a:lnTo>
                  <a:lnTo>
                    <a:pt x="391" y="247"/>
                  </a:lnTo>
                  <a:lnTo>
                    <a:pt x="391" y="243"/>
                  </a:lnTo>
                  <a:lnTo>
                    <a:pt x="391" y="247"/>
                  </a:lnTo>
                  <a:lnTo>
                    <a:pt x="387" y="247"/>
                  </a:lnTo>
                  <a:lnTo>
                    <a:pt x="383" y="247"/>
                  </a:lnTo>
                  <a:lnTo>
                    <a:pt x="387" y="247"/>
                  </a:lnTo>
                  <a:lnTo>
                    <a:pt x="387" y="251"/>
                  </a:lnTo>
                  <a:lnTo>
                    <a:pt x="383" y="251"/>
                  </a:lnTo>
                  <a:lnTo>
                    <a:pt x="379" y="251"/>
                  </a:lnTo>
                  <a:lnTo>
                    <a:pt x="375" y="247"/>
                  </a:lnTo>
                  <a:lnTo>
                    <a:pt x="375" y="243"/>
                  </a:lnTo>
                  <a:lnTo>
                    <a:pt x="371" y="243"/>
                  </a:lnTo>
                  <a:lnTo>
                    <a:pt x="367" y="247"/>
                  </a:lnTo>
                  <a:lnTo>
                    <a:pt x="359" y="247"/>
                  </a:lnTo>
                  <a:lnTo>
                    <a:pt x="359" y="243"/>
                  </a:lnTo>
                  <a:lnTo>
                    <a:pt x="355" y="243"/>
                  </a:lnTo>
                  <a:lnTo>
                    <a:pt x="351" y="243"/>
                  </a:lnTo>
                  <a:lnTo>
                    <a:pt x="355" y="239"/>
                  </a:lnTo>
                  <a:lnTo>
                    <a:pt x="359" y="239"/>
                  </a:lnTo>
                  <a:lnTo>
                    <a:pt x="359" y="235"/>
                  </a:lnTo>
                  <a:lnTo>
                    <a:pt x="363" y="235"/>
                  </a:lnTo>
                  <a:lnTo>
                    <a:pt x="367" y="235"/>
                  </a:lnTo>
                  <a:lnTo>
                    <a:pt x="375" y="235"/>
                  </a:lnTo>
                  <a:lnTo>
                    <a:pt x="379" y="235"/>
                  </a:lnTo>
                  <a:lnTo>
                    <a:pt x="383" y="235"/>
                  </a:lnTo>
                  <a:lnTo>
                    <a:pt x="383" y="231"/>
                  </a:lnTo>
                  <a:lnTo>
                    <a:pt x="387" y="231"/>
                  </a:lnTo>
                  <a:lnTo>
                    <a:pt x="391" y="231"/>
                  </a:lnTo>
                  <a:lnTo>
                    <a:pt x="395" y="231"/>
                  </a:lnTo>
                  <a:lnTo>
                    <a:pt x="391" y="231"/>
                  </a:lnTo>
                  <a:lnTo>
                    <a:pt x="387" y="231"/>
                  </a:lnTo>
                  <a:lnTo>
                    <a:pt x="383" y="231"/>
                  </a:lnTo>
                  <a:lnTo>
                    <a:pt x="379" y="231"/>
                  </a:lnTo>
                  <a:lnTo>
                    <a:pt x="375" y="231"/>
                  </a:lnTo>
                  <a:lnTo>
                    <a:pt x="375" y="235"/>
                  </a:lnTo>
                  <a:lnTo>
                    <a:pt x="371" y="235"/>
                  </a:lnTo>
                  <a:lnTo>
                    <a:pt x="367" y="235"/>
                  </a:lnTo>
                  <a:lnTo>
                    <a:pt x="359" y="235"/>
                  </a:lnTo>
                  <a:lnTo>
                    <a:pt x="359" y="231"/>
                  </a:lnTo>
                  <a:lnTo>
                    <a:pt x="363" y="231"/>
                  </a:lnTo>
                  <a:lnTo>
                    <a:pt x="363" y="227"/>
                  </a:lnTo>
                  <a:lnTo>
                    <a:pt x="367" y="227"/>
                  </a:lnTo>
                  <a:lnTo>
                    <a:pt x="371" y="227"/>
                  </a:lnTo>
                  <a:lnTo>
                    <a:pt x="375" y="227"/>
                  </a:lnTo>
                  <a:lnTo>
                    <a:pt x="379" y="227"/>
                  </a:lnTo>
                  <a:lnTo>
                    <a:pt x="383" y="227"/>
                  </a:lnTo>
                  <a:lnTo>
                    <a:pt x="383" y="223"/>
                  </a:lnTo>
                  <a:lnTo>
                    <a:pt x="383" y="227"/>
                  </a:lnTo>
                  <a:lnTo>
                    <a:pt x="387" y="227"/>
                  </a:lnTo>
                  <a:lnTo>
                    <a:pt x="387" y="223"/>
                  </a:lnTo>
                  <a:lnTo>
                    <a:pt x="391" y="223"/>
                  </a:lnTo>
                  <a:lnTo>
                    <a:pt x="395" y="223"/>
                  </a:lnTo>
                  <a:lnTo>
                    <a:pt x="391" y="223"/>
                  </a:lnTo>
                  <a:lnTo>
                    <a:pt x="387" y="223"/>
                  </a:lnTo>
                  <a:lnTo>
                    <a:pt x="383" y="223"/>
                  </a:lnTo>
                  <a:lnTo>
                    <a:pt x="379" y="223"/>
                  </a:lnTo>
                  <a:lnTo>
                    <a:pt x="375" y="223"/>
                  </a:lnTo>
                  <a:lnTo>
                    <a:pt x="371" y="223"/>
                  </a:lnTo>
                  <a:lnTo>
                    <a:pt x="367" y="223"/>
                  </a:lnTo>
                  <a:lnTo>
                    <a:pt x="371" y="223"/>
                  </a:lnTo>
                  <a:lnTo>
                    <a:pt x="371" y="219"/>
                  </a:lnTo>
                  <a:lnTo>
                    <a:pt x="367" y="219"/>
                  </a:lnTo>
                  <a:lnTo>
                    <a:pt x="371" y="215"/>
                  </a:lnTo>
                  <a:lnTo>
                    <a:pt x="375" y="215"/>
                  </a:lnTo>
                  <a:lnTo>
                    <a:pt x="379" y="215"/>
                  </a:lnTo>
                  <a:lnTo>
                    <a:pt x="383" y="215"/>
                  </a:lnTo>
                  <a:lnTo>
                    <a:pt x="387" y="215"/>
                  </a:lnTo>
                  <a:lnTo>
                    <a:pt x="391" y="215"/>
                  </a:lnTo>
                  <a:lnTo>
                    <a:pt x="395" y="215"/>
                  </a:lnTo>
                  <a:lnTo>
                    <a:pt x="399" y="215"/>
                  </a:lnTo>
                  <a:lnTo>
                    <a:pt x="395" y="215"/>
                  </a:lnTo>
                  <a:lnTo>
                    <a:pt x="391" y="215"/>
                  </a:lnTo>
                  <a:lnTo>
                    <a:pt x="387" y="215"/>
                  </a:lnTo>
                  <a:lnTo>
                    <a:pt x="383" y="215"/>
                  </a:lnTo>
                  <a:lnTo>
                    <a:pt x="379" y="215"/>
                  </a:lnTo>
                  <a:lnTo>
                    <a:pt x="379" y="211"/>
                  </a:lnTo>
                  <a:lnTo>
                    <a:pt x="383" y="207"/>
                  </a:lnTo>
                  <a:lnTo>
                    <a:pt x="387" y="207"/>
                  </a:lnTo>
                  <a:lnTo>
                    <a:pt x="391" y="207"/>
                  </a:lnTo>
                  <a:lnTo>
                    <a:pt x="395" y="207"/>
                  </a:lnTo>
                  <a:lnTo>
                    <a:pt x="399" y="207"/>
                  </a:lnTo>
                  <a:lnTo>
                    <a:pt x="403" y="207"/>
                  </a:lnTo>
                  <a:lnTo>
                    <a:pt x="407" y="207"/>
                  </a:lnTo>
                  <a:lnTo>
                    <a:pt x="407" y="211"/>
                  </a:lnTo>
                  <a:lnTo>
                    <a:pt x="407" y="215"/>
                  </a:lnTo>
                  <a:lnTo>
                    <a:pt x="411" y="215"/>
                  </a:lnTo>
                  <a:lnTo>
                    <a:pt x="415" y="215"/>
                  </a:lnTo>
                  <a:lnTo>
                    <a:pt x="419" y="211"/>
                  </a:lnTo>
                  <a:lnTo>
                    <a:pt x="423" y="211"/>
                  </a:lnTo>
                  <a:lnTo>
                    <a:pt x="427" y="211"/>
                  </a:lnTo>
                  <a:lnTo>
                    <a:pt x="427" y="215"/>
                  </a:lnTo>
                  <a:lnTo>
                    <a:pt x="431" y="215"/>
                  </a:lnTo>
                  <a:lnTo>
                    <a:pt x="431" y="219"/>
                  </a:lnTo>
                  <a:lnTo>
                    <a:pt x="435" y="219"/>
                  </a:lnTo>
                  <a:lnTo>
                    <a:pt x="439" y="219"/>
                  </a:lnTo>
                  <a:lnTo>
                    <a:pt x="439" y="223"/>
                  </a:lnTo>
                  <a:lnTo>
                    <a:pt x="442" y="223"/>
                  </a:lnTo>
                  <a:lnTo>
                    <a:pt x="439" y="223"/>
                  </a:lnTo>
                  <a:lnTo>
                    <a:pt x="435" y="223"/>
                  </a:lnTo>
                  <a:lnTo>
                    <a:pt x="435" y="227"/>
                  </a:lnTo>
                  <a:lnTo>
                    <a:pt x="439" y="227"/>
                  </a:lnTo>
                  <a:lnTo>
                    <a:pt x="442" y="227"/>
                  </a:lnTo>
                  <a:lnTo>
                    <a:pt x="446" y="227"/>
                  </a:lnTo>
                  <a:lnTo>
                    <a:pt x="446" y="231"/>
                  </a:lnTo>
                  <a:lnTo>
                    <a:pt x="446" y="235"/>
                  </a:lnTo>
                  <a:lnTo>
                    <a:pt x="450" y="235"/>
                  </a:lnTo>
                  <a:lnTo>
                    <a:pt x="454" y="235"/>
                  </a:lnTo>
                  <a:lnTo>
                    <a:pt x="458" y="235"/>
                  </a:lnTo>
                  <a:lnTo>
                    <a:pt x="462" y="235"/>
                  </a:lnTo>
                  <a:lnTo>
                    <a:pt x="466" y="235"/>
                  </a:lnTo>
                  <a:lnTo>
                    <a:pt x="470" y="235"/>
                  </a:lnTo>
                  <a:lnTo>
                    <a:pt x="474" y="235"/>
                  </a:lnTo>
                  <a:lnTo>
                    <a:pt x="478" y="235"/>
                  </a:lnTo>
                  <a:lnTo>
                    <a:pt x="482" y="235"/>
                  </a:lnTo>
                  <a:lnTo>
                    <a:pt x="486" y="235"/>
                  </a:lnTo>
                  <a:lnTo>
                    <a:pt x="486" y="231"/>
                  </a:lnTo>
                  <a:lnTo>
                    <a:pt x="482" y="227"/>
                  </a:lnTo>
                  <a:lnTo>
                    <a:pt x="478" y="227"/>
                  </a:lnTo>
                  <a:lnTo>
                    <a:pt x="474" y="227"/>
                  </a:lnTo>
                  <a:lnTo>
                    <a:pt x="474" y="223"/>
                  </a:lnTo>
                  <a:lnTo>
                    <a:pt x="470" y="223"/>
                  </a:lnTo>
                  <a:lnTo>
                    <a:pt x="466" y="223"/>
                  </a:lnTo>
                  <a:lnTo>
                    <a:pt x="470" y="223"/>
                  </a:lnTo>
                  <a:lnTo>
                    <a:pt x="474" y="223"/>
                  </a:lnTo>
                  <a:lnTo>
                    <a:pt x="478" y="219"/>
                  </a:lnTo>
                  <a:lnTo>
                    <a:pt x="478" y="215"/>
                  </a:lnTo>
                  <a:lnTo>
                    <a:pt x="474" y="215"/>
                  </a:lnTo>
                  <a:lnTo>
                    <a:pt x="470" y="215"/>
                  </a:lnTo>
                  <a:lnTo>
                    <a:pt x="466" y="215"/>
                  </a:lnTo>
                  <a:lnTo>
                    <a:pt x="466" y="211"/>
                  </a:lnTo>
                  <a:lnTo>
                    <a:pt x="462" y="211"/>
                  </a:lnTo>
                  <a:lnTo>
                    <a:pt x="462" y="207"/>
                  </a:lnTo>
                  <a:lnTo>
                    <a:pt x="466" y="207"/>
                  </a:lnTo>
                  <a:lnTo>
                    <a:pt x="470" y="207"/>
                  </a:lnTo>
                  <a:lnTo>
                    <a:pt x="474" y="207"/>
                  </a:lnTo>
                  <a:lnTo>
                    <a:pt x="474" y="203"/>
                  </a:lnTo>
                  <a:lnTo>
                    <a:pt x="470" y="203"/>
                  </a:lnTo>
                  <a:lnTo>
                    <a:pt x="474" y="203"/>
                  </a:lnTo>
                  <a:lnTo>
                    <a:pt x="474" y="199"/>
                  </a:lnTo>
                  <a:lnTo>
                    <a:pt x="478" y="195"/>
                  </a:lnTo>
                  <a:lnTo>
                    <a:pt x="482" y="195"/>
                  </a:lnTo>
                  <a:lnTo>
                    <a:pt x="486" y="195"/>
                  </a:lnTo>
                  <a:lnTo>
                    <a:pt x="490" y="195"/>
                  </a:lnTo>
                  <a:lnTo>
                    <a:pt x="490" y="199"/>
                  </a:lnTo>
                  <a:lnTo>
                    <a:pt x="490" y="203"/>
                  </a:lnTo>
                  <a:lnTo>
                    <a:pt x="486" y="203"/>
                  </a:lnTo>
                  <a:lnTo>
                    <a:pt x="490" y="203"/>
                  </a:lnTo>
                  <a:lnTo>
                    <a:pt x="490" y="207"/>
                  </a:lnTo>
                  <a:lnTo>
                    <a:pt x="494" y="207"/>
                  </a:lnTo>
                  <a:lnTo>
                    <a:pt x="494" y="211"/>
                  </a:lnTo>
                  <a:lnTo>
                    <a:pt x="498" y="211"/>
                  </a:lnTo>
                  <a:lnTo>
                    <a:pt x="494" y="215"/>
                  </a:lnTo>
                  <a:lnTo>
                    <a:pt x="494" y="219"/>
                  </a:lnTo>
                  <a:lnTo>
                    <a:pt x="498" y="219"/>
                  </a:lnTo>
                  <a:lnTo>
                    <a:pt x="502" y="219"/>
                  </a:lnTo>
                  <a:lnTo>
                    <a:pt x="506" y="219"/>
                  </a:lnTo>
                  <a:lnTo>
                    <a:pt x="502" y="223"/>
                  </a:lnTo>
                  <a:lnTo>
                    <a:pt x="498" y="223"/>
                  </a:lnTo>
                  <a:lnTo>
                    <a:pt x="498" y="227"/>
                  </a:lnTo>
                  <a:lnTo>
                    <a:pt x="502" y="227"/>
                  </a:lnTo>
                  <a:lnTo>
                    <a:pt x="502" y="223"/>
                  </a:lnTo>
                  <a:lnTo>
                    <a:pt x="506" y="223"/>
                  </a:lnTo>
                  <a:lnTo>
                    <a:pt x="510" y="223"/>
                  </a:lnTo>
                  <a:lnTo>
                    <a:pt x="514" y="223"/>
                  </a:lnTo>
                  <a:lnTo>
                    <a:pt x="514" y="227"/>
                  </a:lnTo>
                  <a:lnTo>
                    <a:pt x="518" y="227"/>
                  </a:lnTo>
                  <a:lnTo>
                    <a:pt x="514" y="227"/>
                  </a:lnTo>
                  <a:lnTo>
                    <a:pt x="514" y="223"/>
                  </a:lnTo>
                  <a:lnTo>
                    <a:pt x="518" y="219"/>
                  </a:lnTo>
                  <a:lnTo>
                    <a:pt x="522" y="219"/>
                  </a:lnTo>
                  <a:lnTo>
                    <a:pt x="526" y="219"/>
                  </a:lnTo>
                  <a:lnTo>
                    <a:pt x="530" y="219"/>
                  </a:lnTo>
                  <a:lnTo>
                    <a:pt x="534" y="223"/>
                  </a:lnTo>
                  <a:lnTo>
                    <a:pt x="538" y="223"/>
                  </a:lnTo>
                  <a:lnTo>
                    <a:pt x="538" y="227"/>
                  </a:lnTo>
                  <a:lnTo>
                    <a:pt x="538" y="231"/>
                  </a:lnTo>
                  <a:lnTo>
                    <a:pt x="538" y="235"/>
                  </a:lnTo>
                  <a:lnTo>
                    <a:pt x="534" y="235"/>
                  </a:lnTo>
                  <a:lnTo>
                    <a:pt x="534" y="239"/>
                  </a:lnTo>
                  <a:lnTo>
                    <a:pt x="534" y="243"/>
                  </a:lnTo>
                  <a:lnTo>
                    <a:pt x="530" y="243"/>
                  </a:lnTo>
                  <a:lnTo>
                    <a:pt x="530" y="247"/>
                  </a:lnTo>
                  <a:lnTo>
                    <a:pt x="526" y="247"/>
                  </a:lnTo>
                  <a:lnTo>
                    <a:pt x="530" y="247"/>
                  </a:lnTo>
                  <a:lnTo>
                    <a:pt x="526" y="251"/>
                  </a:lnTo>
                  <a:lnTo>
                    <a:pt x="522" y="251"/>
                  </a:lnTo>
                  <a:lnTo>
                    <a:pt x="518" y="251"/>
                  </a:lnTo>
                  <a:lnTo>
                    <a:pt x="514" y="251"/>
                  </a:lnTo>
                  <a:lnTo>
                    <a:pt x="510" y="251"/>
                  </a:lnTo>
                  <a:lnTo>
                    <a:pt x="506" y="251"/>
                  </a:lnTo>
                  <a:lnTo>
                    <a:pt x="502" y="251"/>
                  </a:lnTo>
                  <a:lnTo>
                    <a:pt x="502" y="247"/>
                  </a:lnTo>
                  <a:lnTo>
                    <a:pt x="502" y="251"/>
                  </a:lnTo>
                  <a:lnTo>
                    <a:pt x="498" y="251"/>
                  </a:lnTo>
                  <a:lnTo>
                    <a:pt x="494" y="251"/>
                  </a:lnTo>
                  <a:lnTo>
                    <a:pt x="490" y="251"/>
                  </a:lnTo>
                  <a:lnTo>
                    <a:pt x="486" y="251"/>
                  </a:lnTo>
                  <a:lnTo>
                    <a:pt x="490" y="251"/>
                  </a:lnTo>
                  <a:lnTo>
                    <a:pt x="490" y="247"/>
                  </a:lnTo>
                  <a:lnTo>
                    <a:pt x="486" y="247"/>
                  </a:lnTo>
                  <a:lnTo>
                    <a:pt x="482" y="251"/>
                  </a:lnTo>
                  <a:lnTo>
                    <a:pt x="478" y="251"/>
                  </a:lnTo>
                  <a:lnTo>
                    <a:pt x="474" y="255"/>
                  </a:lnTo>
                  <a:lnTo>
                    <a:pt x="470" y="255"/>
                  </a:lnTo>
                  <a:lnTo>
                    <a:pt x="466" y="255"/>
                  </a:lnTo>
                  <a:lnTo>
                    <a:pt x="462" y="255"/>
                  </a:lnTo>
                  <a:lnTo>
                    <a:pt x="458" y="255"/>
                  </a:lnTo>
                  <a:lnTo>
                    <a:pt x="458" y="259"/>
                  </a:lnTo>
                  <a:lnTo>
                    <a:pt x="454" y="259"/>
                  </a:lnTo>
                  <a:lnTo>
                    <a:pt x="450" y="263"/>
                  </a:lnTo>
                  <a:lnTo>
                    <a:pt x="446" y="263"/>
                  </a:lnTo>
                  <a:lnTo>
                    <a:pt x="442" y="263"/>
                  </a:lnTo>
                  <a:lnTo>
                    <a:pt x="439" y="267"/>
                  </a:lnTo>
                  <a:lnTo>
                    <a:pt x="435" y="267"/>
                  </a:lnTo>
                  <a:lnTo>
                    <a:pt x="431" y="267"/>
                  </a:lnTo>
                  <a:lnTo>
                    <a:pt x="427" y="267"/>
                  </a:lnTo>
                  <a:lnTo>
                    <a:pt x="423" y="267"/>
                  </a:lnTo>
                  <a:lnTo>
                    <a:pt x="419" y="267"/>
                  </a:lnTo>
                  <a:lnTo>
                    <a:pt x="415" y="267"/>
                  </a:lnTo>
                  <a:lnTo>
                    <a:pt x="411" y="263"/>
                  </a:lnTo>
                  <a:lnTo>
                    <a:pt x="407" y="263"/>
                  </a:lnTo>
                  <a:lnTo>
                    <a:pt x="403" y="263"/>
                  </a:lnTo>
                  <a:lnTo>
                    <a:pt x="403" y="259"/>
                  </a:lnTo>
                  <a:lnTo>
                    <a:pt x="407" y="255"/>
                  </a:lnTo>
                  <a:lnTo>
                    <a:pt x="411" y="255"/>
                  </a:lnTo>
                  <a:lnTo>
                    <a:pt x="415" y="255"/>
                  </a:lnTo>
                  <a:lnTo>
                    <a:pt x="419" y="255"/>
                  </a:lnTo>
                  <a:lnTo>
                    <a:pt x="419" y="251"/>
                  </a:lnTo>
                  <a:lnTo>
                    <a:pt x="423" y="251"/>
                  </a:lnTo>
                  <a:lnTo>
                    <a:pt x="427" y="251"/>
                  </a:lnTo>
                  <a:lnTo>
                    <a:pt x="431" y="251"/>
                  </a:lnTo>
                  <a:lnTo>
                    <a:pt x="435" y="251"/>
                  </a:lnTo>
                  <a:lnTo>
                    <a:pt x="439" y="251"/>
                  </a:lnTo>
                  <a:lnTo>
                    <a:pt x="442" y="251"/>
                  </a:lnTo>
                  <a:lnTo>
                    <a:pt x="446" y="251"/>
                  </a:lnTo>
                  <a:lnTo>
                    <a:pt x="450" y="247"/>
                  </a:lnTo>
                  <a:lnTo>
                    <a:pt x="454" y="243"/>
                  </a:lnTo>
                  <a:lnTo>
                    <a:pt x="450" y="243"/>
                  </a:lnTo>
                  <a:lnTo>
                    <a:pt x="446" y="243"/>
                  </a:lnTo>
                  <a:lnTo>
                    <a:pt x="446" y="247"/>
                  </a:lnTo>
                  <a:lnTo>
                    <a:pt x="442" y="247"/>
                  </a:lnTo>
                  <a:lnTo>
                    <a:pt x="442" y="243"/>
                  </a:lnTo>
                  <a:lnTo>
                    <a:pt x="439" y="247"/>
                  </a:lnTo>
                  <a:lnTo>
                    <a:pt x="435" y="247"/>
                  </a:lnTo>
                  <a:lnTo>
                    <a:pt x="431" y="247"/>
                  </a:lnTo>
                  <a:lnTo>
                    <a:pt x="435" y="243"/>
                  </a:lnTo>
                  <a:lnTo>
                    <a:pt x="431" y="243"/>
                  </a:lnTo>
                  <a:lnTo>
                    <a:pt x="427" y="243"/>
                  </a:lnTo>
                  <a:lnTo>
                    <a:pt x="427" y="247"/>
                  </a:lnTo>
                  <a:lnTo>
                    <a:pt x="423" y="247"/>
                  </a:lnTo>
                  <a:lnTo>
                    <a:pt x="419" y="247"/>
                  </a:lnTo>
                  <a:lnTo>
                    <a:pt x="415" y="247"/>
                  </a:lnTo>
                  <a:lnTo>
                    <a:pt x="411" y="247"/>
                  </a:lnTo>
                  <a:lnTo>
                    <a:pt x="407" y="247"/>
                  </a:lnTo>
                  <a:lnTo>
                    <a:pt x="411" y="243"/>
                  </a:lnTo>
                  <a:lnTo>
                    <a:pt x="411" y="239"/>
                  </a:lnTo>
                  <a:lnTo>
                    <a:pt x="415" y="239"/>
                  </a:lnTo>
                  <a:lnTo>
                    <a:pt x="419" y="239"/>
                  </a:lnTo>
                  <a:lnTo>
                    <a:pt x="415" y="239"/>
                  </a:lnTo>
                  <a:lnTo>
                    <a:pt x="411" y="239"/>
                  </a:lnTo>
                  <a:lnTo>
                    <a:pt x="407" y="239"/>
                  </a:lnTo>
                  <a:lnTo>
                    <a:pt x="407" y="235"/>
                  </a:lnTo>
                  <a:lnTo>
                    <a:pt x="407" y="239"/>
                  </a:lnTo>
                  <a:lnTo>
                    <a:pt x="407" y="243"/>
                  </a:lnTo>
                  <a:lnTo>
                    <a:pt x="403" y="243"/>
                  </a:lnTo>
                  <a:lnTo>
                    <a:pt x="399" y="239"/>
                  </a:lnTo>
                  <a:lnTo>
                    <a:pt x="399" y="243"/>
                  </a:lnTo>
                  <a:lnTo>
                    <a:pt x="403" y="243"/>
                  </a:lnTo>
                  <a:lnTo>
                    <a:pt x="403" y="247"/>
                  </a:lnTo>
                  <a:lnTo>
                    <a:pt x="399" y="247"/>
                  </a:lnTo>
                  <a:lnTo>
                    <a:pt x="399" y="251"/>
                  </a:lnTo>
                  <a:lnTo>
                    <a:pt x="395" y="251"/>
                  </a:lnTo>
                  <a:close/>
                  <a:moveTo>
                    <a:pt x="774" y="207"/>
                  </a:moveTo>
                  <a:lnTo>
                    <a:pt x="770" y="207"/>
                  </a:lnTo>
                  <a:lnTo>
                    <a:pt x="770" y="203"/>
                  </a:lnTo>
                  <a:lnTo>
                    <a:pt x="766" y="203"/>
                  </a:lnTo>
                  <a:lnTo>
                    <a:pt x="766" y="199"/>
                  </a:lnTo>
                  <a:lnTo>
                    <a:pt x="762" y="199"/>
                  </a:lnTo>
                  <a:lnTo>
                    <a:pt x="766" y="199"/>
                  </a:lnTo>
                  <a:lnTo>
                    <a:pt x="766" y="195"/>
                  </a:lnTo>
                  <a:lnTo>
                    <a:pt x="770" y="195"/>
                  </a:lnTo>
                  <a:lnTo>
                    <a:pt x="774" y="195"/>
                  </a:lnTo>
                  <a:lnTo>
                    <a:pt x="774" y="199"/>
                  </a:lnTo>
                  <a:lnTo>
                    <a:pt x="778" y="199"/>
                  </a:lnTo>
                  <a:lnTo>
                    <a:pt x="774" y="199"/>
                  </a:lnTo>
                  <a:lnTo>
                    <a:pt x="774" y="203"/>
                  </a:lnTo>
                  <a:lnTo>
                    <a:pt x="774" y="207"/>
                  </a:lnTo>
                  <a:lnTo>
                    <a:pt x="778" y="207"/>
                  </a:lnTo>
                  <a:lnTo>
                    <a:pt x="774" y="207"/>
                  </a:lnTo>
                  <a:close/>
                  <a:moveTo>
                    <a:pt x="614" y="199"/>
                  </a:moveTo>
                  <a:lnTo>
                    <a:pt x="610" y="203"/>
                  </a:lnTo>
                  <a:lnTo>
                    <a:pt x="606" y="203"/>
                  </a:lnTo>
                  <a:lnTo>
                    <a:pt x="602" y="203"/>
                  </a:lnTo>
                  <a:lnTo>
                    <a:pt x="598" y="203"/>
                  </a:lnTo>
                  <a:lnTo>
                    <a:pt x="594" y="203"/>
                  </a:lnTo>
                  <a:lnTo>
                    <a:pt x="598" y="203"/>
                  </a:lnTo>
                  <a:lnTo>
                    <a:pt x="602" y="203"/>
                  </a:lnTo>
                  <a:lnTo>
                    <a:pt x="602" y="199"/>
                  </a:lnTo>
                  <a:lnTo>
                    <a:pt x="606" y="199"/>
                  </a:lnTo>
                  <a:lnTo>
                    <a:pt x="610" y="199"/>
                  </a:lnTo>
                  <a:lnTo>
                    <a:pt x="614" y="199"/>
                  </a:lnTo>
                  <a:lnTo>
                    <a:pt x="618" y="199"/>
                  </a:lnTo>
                  <a:lnTo>
                    <a:pt x="614" y="199"/>
                  </a:lnTo>
                  <a:close/>
                  <a:moveTo>
                    <a:pt x="626" y="199"/>
                  </a:moveTo>
                  <a:lnTo>
                    <a:pt x="630" y="199"/>
                  </a:lnTo>
                  <a:lnTo>
                    <a:pt x="626" y="199"/>
                  </a:lnTo>
                  <a:lnTo>
                    <a:pt x="622" y="199"/>
                  </a:lnTo>
                  <a:lnTo>
                    <a:pt x="618" y="199"/>
                  </a:lnTo>
                  <a:lnTo>
                    <a:pt x="622" y="199"/>
                  </a:lnTo>
                  <a:lnTo>
                    <a:pt x="626" y="199"/>
                  </a:lnTo>
                  <a:close/>
                  <a:moveTo>
                    <a:pt x="626" y="251"/>
                  </a:moveTo>
                  <a:lnTo>
                    <a:pt x="622" y="251"/>
                  </a:lnTo>
                  <a:lnTo>
                    <a:pt x="618" y="251"/>
                  </a:lnTo>
                  <a:lnTo>
                    <a:pt x="614" y="251"/>
                  </a:lnTo>
                  <a:lnTo>
                    <a:pt x="614" y="247"/>
                  </a:lnTo>
                  <a:lnTo>
                    <a:pt x="614" y="243"/>
                  </a:lnTo>
                  <a:lnTo>
                    <a:pt x="610" y="243"/>
                  </a:lnTo>
                  <a:lnTo>
                    <a:pt x="614" y="243"/>
                  </a:lnTo>
                  <a:lnTo>
                    <a:pt x="618" y="243"/>
                  </a:lnTo>
                  <a:lnTo>
                    <a:pt x="622" y="243"/>
                  </a:lnTo>
                  <a:lnTo>
                    <a:pt x="618" y="243"/>
                  </a:lnTo>
                  <a:lnTo>
                    <a:pt x="614" y="243"/>
                  </a:lnTo>
                  <a:lnTo>
                    <a:pt x="618" y="239"/>
                  </a:lnTo>
                  <a:lnTo>
                    <a:pt x="614" y="239"/>
                  </a:lnTo>
                  <a:lnTo>
                    <a:pt x="614" y="243"/>
                  </a:lnTo>
                  <a:lnTo>
                    <a:pt x="610" y="239"/>
                  </a:lnTo>
                  <a:lnTo>
                    <a:pt x="614" y="239"/>
                  </a:lnTo>
                  <a:lnTo>
                    <a:pt x="610" y="239"/>
                  </a:lnTo>
                  <a:lnTo>
                    <a:pt x="614" y="235"/>
                  </a:lnTo>
                  <a:lnTo>
                    <a:pt x="618" y="235"/>
                  </a:lnTo>
                  <a:lnTo>
                    <a:pt x="614" y="235"/>
                  </a:lnTo>
                  <a:lnTo>
                    <a:pt x="618" y="235"/>
                  </a:lnTo>
                  <a:lnTo>
                    <a:pt x="622" y="235"/>
                  </a:lnTo>
                  <a:lnTo>
                    <a:pt x="618" y="235"/>
                  </a:lnTo>
                  <a:lnTo>
                    <a:pt x="622" y="231"/>
                  </a:lnTo>
                  <a:lnTo>
                    <a:pt x="626" y="231"/>
                  </a:lnTo>
                  <a:lnTo>
                    <a:pt x="622" y="231"/>
                  </a:lnTo>
                  <a:lnTo>
                    <a:pt x="630" y="231"/>
                  </a:lnTo>
                  <a:lnTo>
                    <a:pt x="634" y="231"/>
                  </a:lnTo>
                  <a:lnTo>
                    <a:pt x="638" y="231"/>
                  </a:lnTo>
                  <a:lnTo>
                    <a:pt x="634" y="231"/>
                  </a:lnTo>
                  <a:lnTo>
                    <a:pt x="630" y="231"/>
                  </a:lnTo>
                  <a:lnTo>
                    <a:pt x="626" y="231"/>
                  </a:lnTo>
                  <a:lnTo>
                    <a:pt x="622" y="231"/>
                  </a:lnTo>
                  <a:lnTo>
                    <a:pt x="618" y="231"/>
                  </a:lnTo>
                  <a:lnTo>
                    <a:pt x="614" y="231"/>
                  </a:lnTo>
                  <a:lnTo>
                    <a:pt x="610" y="231"/>
                  </a:lnTo>
                  <a:lnTo>
                    <a:pt x="606" y="231"/>
                  </a:lnTo>
                  <a:lnTo>
                    <a:pt x="602" y="231"/>
                  </a:lnTo>
                  <a:lnTo>
                    <a:pt x="598" y="231"/>
                  </a:lnTo>
                  <a:lnTo>
                    <a:pt x="594" y="235"/>
                  </a:lnTo>
                  <a:lnTo>
                    <a:pt x="590" y="235"/>
                  </a:lnTo>
                  <a:lnTo>
                    <a:pt x="586" y="235"/>
                  </a:lnTo>
                  <a:lnTo>
                    <a:pt x="582" y="235"/>
                  </a:lnTo>
                  <a:lnTo>
                    <a:pt x="578" y="235"/>
                  </a:lnTo>
                  <a:lnTo>
                    <a:pt x="578" y="231"/>
                  </a:lnTo>
                  <a:lnTo>
                    <a:pt x="582" y="227"/>
                  </a:lnTo>
                  <a:lnTo>
                    <a:pt x="586" y="227"/>
                  </a:lnTo>
                  <a:lnTo>
                    <a:pt x="586" y="231"/>
                  </a:lnTo>
                  <a:lnTo>
                    <a:pt x="590" y="231"/>
                  </a:lnTo>
                  <a:lnTo>
                    <a:pt x="590" y="227"/>
                  </a:lnTo>
                  <a:lnTo>
                    <a:pt x="586" y="227"/>
                  </a:lnTo>
                  <a:lnTo>
                    <a:pt x="586" y="223"/>
                  </a:lnTo>
                  <a:lnTo>
                    <a:pt x="590" y="223"/>
                  </a:lnTo>
                  <a:lnTo>
                    <a:pt x="594" y="223"/>
                  </a:lnTo>
                  <a:lnTo>
                    <a:pt x="598" y="227"/>
                  </a:lnTo>
                  <a:lnTo>
                    <a:pt x="602" y="227"/>
                  </a:lnTo>
                  <a:lnTo>
                    <a:pt x="598" y="227"/>
                  </a:lnTo>
                  <a:lnTo>
                    <a:pt x="598" y="223"/>
                  </a:lnTo>
                  <a:lnTo>
                    <a:pt x="602" y="219"/>
                  </a:lnTo>
                  <a:lnTo>
                    <a:pt x="598" y="219"/>
                  </a:lnTo>
                  <a:lnTo>
                    <a:pt x="594" y="223"/>
                  </a:lnTo>
                  <a:lnTo>
                    <a:pt x="594" y="219"/>
                  </a:lnTo>
                  <a:lnTo>
                    <a:pt x="590" y="219"/>
                  </a:lnTo>
                  <a:lnTo>
                    <a:pt x="594" y="215"/>
                  </a:lnTo>
                  <a:lnTo>
                    <a:pt x="598" y="215"/>
                  </a:lnTo>
                  <a:lnTo>
                    <a:pt x="594" y="215"/>
                  </a:lnTo>
                  <a:lnTo>
                    <a:pt x="590" y="215"/>
                  </a:lnTo>
                  <a:lnTo>
                    <a:pt x="586" y="215"/>
                  </a:lnTo>
                  <a:lnTo>
                    <a:pt x="590" y="215"/>
                  </a:lnTo>
                  <a:lnTo>
                    <a:pt x="590" y="211"/>
                  </a:lnTo>
                  <a:lnTo>
                    <a:pt x="590" y="207"/>
                  </a:lnTo>
                  <a:lnTo>
                    <a:pt x="594" y="207"/>
                  </a:lnTo>
                  <a:lnTo>
                    <a:pt x="598" y="207"/>
                  </a:lnTo>
                  <a:lnTo>
                    <a:pt x="602" y="207"/>
                  </a:lnTo>
                  <a:lnTo>
                    <a:pt x="602" y="211"/>
                  </a:lnTo>
                  <a:lnTo>
                    <a:pt x="606" y="215"/>
                  </a:lnTo>
                  <a:lnTo>
                    <a:pt x="610" y="215"/>
                  </a:lnTo>
                  <a:lnTo>
                    <a:pt x="614" y="219"/>
                  </a:lnTo>
                  <a:lnTo>
                    <a:pt x="618" y="223"/>
                  </a:lnTo>
                  <a:lnTo>
                    <a:pt x="622" y="223"/>
                  </a:lnTo>
                  <a:lnTo>
                    <a:pt x="626" y="223"/>
                  </a:lnTo>
                  <a:lnTo>
                    <a:pt x="630" y="223"/>
                  </a:lnTo>
                  <a:lnTo>
                    <a:pt x="626" y="223"/>
                  </a:lnTo>
                  <a:lnTo>
                    <a:pt x="622" y="223"/>
                  </a:lnTo>
                  <a:lnTo>
                    <a:pt x="618" y="219"/>
                  </a:lnTo>
                  <a:lnTo>
                    <a:pt x="618" y="215"/>
                  </a:lnTo>
                  <a:lnTo>
                    <a:pt x="622" y="215"/>
                  </a:lnTo>
                  <a:lnTo>
                    <a:pt x="626" y="219"/>
                  </a:lnTo>
                  <a:lnTo>
                    <a:pt x="626" y="215"/>
                  </a:lnTo>
                  <a:lnTo>
                    <a:pt x="630" y="215"/>
                  </a:lnTo>
                  <a:lnTo>
                    <a:pt x="626" y="215"/>
                  </a:lnTo>
                  <a:lnTo>
                    <a:pt x="622" y="215"/>
                  </a:lnTo>
                  <a:lnTo>
                    <a:pt x="618" y="215"/>
                  </a:lnTo>
                  <a:lnTo>
                    <a:pt x="614" y="215"/>
                  </a:lnTo>
                  <a:lnTo>
                    <a:pt x="614" y="211"/>
                  </a:lnTo>
                  <a:lnTo>
                    <a:pt x="618" y="211"/>
                  </a:lnTo>
                  <a:lnTo>
                    <a:pt x="622" y="211"/>
                  </a:lnTo>
                  <a:lnTo>
                    <a:pt x="618" y="211"/>
                  </a:lnTo>
                  <a:lnTo>
                    <a:pt x="614" y="211"/>
                  </a:lnTo>
                  <a:lnTo>
                    <a:pt x="610" y="211"/>
                  </a:lnTo>
                  <a:lnTo>
                    <a:pt x="606" y="207"/>
                  </a:lnTo>
                  <a:lnTo>
                    <a:pt x="610" y="203"/>
                  </a:lnTo>
                  <a:lnTo>
                    <a:pt x="614" y="203"/>
                  </a:lnTo>
                  <a:lnTo>
                    <a:pt x="618" y="203"/>
                  </a:lnTo>
                  <a:lnTo>
                    <a:pt x="622" y="203"/>
                  </a:lnTo>
                  <a:lnTo>
                    <a:pt x="626" y="203"/>
                  </a:lnTo>
                  <a:lnTo>
                    <a:pt x="630" y="203"/>
                  </a:lnTo>
                  <a:lnTo>
                    <a:pt x="630" y="207"/>
                  </a:lnTo>
                  <a:lnTo>
                    <a:pt x="634" y="207"/>
                  </a:lnTo>
                  <a:lnTo>
                    <a:pt x="638" y="207"/>
                  </a:lnTo>
                  <a:lnTo>
                    <a:pt x="634" y="207"/>
                  </a:lnTo>
                  <a:lnTo>
                    <a:pt x="634" y="203"/>
                  </a:lnTo>
                  <a:lnTo>
                    <a:pt x="638" y="203"/>
                  </a:lnTo>
                  <a:lnTo>
                    <a:pt x="642" y="203"/>
                  </a:lnTo>
                  <a:lnTo>
                    <a:pt x="638" y="203"/>
                  </a:lnTo>
                  <a:lnTo>
                    <a:pt x="638" y="199"/>
                  </a:lnTo>
                  <a:lnTo>
                    <a:pt x="642" y="199"/>
                  </a:lnTo>
                  <a:lnTo>
                    <a:pt x="646" y="199"/>
                  </a:lnTo>
                  <a:lnTo>
                    <a:pt x="646" y="203"/>
                  </a:lnTo>
                  <a:lnTo>
                    <a:pt x="650" y="203"/>
                  </a:lnTo>
                  <a:lnTo>
                    <a:pt x="650" y="207"/>
                  </a:lnTo>
                  <a:lnTo>
                    <a:pt x="654" y="207"/>
                  </a:lnTo>
                  <a:lnTo>
                    <a:pt x="654" y="211"/>
                  </a:lnTo>
                  <a:lnTo>
                    <a:pt x="654" y="215"/>
                  </a:lnTo>
                  <a:lnTo>
                    <a:pt x="658" y="215"/>
                  </a:lnTo>
                  <a:lnTo>
                    <a:pt x="658" y="219"/>
                  </a:lnTo>
                  <a:lnTo>
                    <a:pt x="654" y="223"/>
                  </a:lnTo>
                  <a:lnTo>
                    <a:pt x="658" y="223"/>
                  </a:lnTo>
                  <a:lnTo>
                    <a:pt x="658" y="227"/>
                  </a:lnTo>
                  <a:lnTo>
                    <a:pt x="654" y="227"/>
                  </a:lnTo>
                  <a:lnTo>
                    <a:pt x="650" y="227"/>
                  </a:lnTo>
                  <a:lnTo>
                    <a:pt x="654" y="227"/>
                  </a:lnTo>
                  <a:lnTo>
                    <a:pt x="658" y="231"/>
                  </a:lnTo>
                  <a:lnTo>
                    <a:pt x="658" y="235"/>
                  </a:lnTo>
                  <a:lnTo>
                    <a:pt x="658" y="239"/>
                  </a:lnTo>
                  <a:lnTo>
                    <a:pt x="662" y="239"/>
                  </a:lnTo>
                  <a:lnTo>
                    <a:pt x="658" y="239"/>
                  </a:lnTo>
                  <a:lnTo>
                    <a:pt x="658" y="235"/>
                  </a:lnTo>
                  <a:lnTo>
                    <a:pt x="654" y="235"/>
                  </a:lnTo>
                  <a:lnTo>
                    <a:pt x="650" y="235"/>
                  </a:lnTo>
                  <a:lnTo>
                    <a:pt x="654" y="239"/>
                  </a:lnTo>
                  <a:lnTo>
                    <a:pt x="650" y="239"/>
                  </a:lnTo>
                  <a:lnTo>
                    <a:pt x="654" y="239"/>
                  </a:lnTo>
                  <a:lnTo>
                    <a:pt x="650" y="239"/>
                  </a:lnTo>
                  <a:lnTo>
                    <a:pt x="646" y="239"/>
                  </a:lnTo>
                  <a:lnTo>
                    <a:pt x="650" y="243"/>
                  </a:lnTo>
                  <a:lnTo>
                    <a:pt x="654" y="243"/>
                  </a:lnTo>
                  <a:lnTo>
                    <a:pt x="654" y="247"/>
                  </a:lnTo>
                  <a:lnTo>
                    <a:pt x="658" y="247"/>
                  </a:lnTo>
                  <a:lnTo>
                    <a:pt x="654" y="247"/>
                  </a:lnTo>
                  <a:lnTo>
                    <a:pt x="650" y="243"/>
                  </a:lnTo>
                  <a:lnTo>
                    <a:pt x="650" y="247"/>
                  </a:lnTo>
                  <a:lnTo>
                    <a:pt x="650" y="251"/>
                  </a:lnTo>
                  <a:lnTo>
                    <a:pt x="646" y="251"/>
                  </a:lnTo>
                  <a:lnTo>
                    <a:pt x="642" y="251"/>
                  </a:lnTo>
                  <a:lnTo>
                    <a:pt x="638" y="251"/>
                  </a:lnTo>
                  <a:lnTo>
                    <a:pt x="634" y="251"/>
                  </a:lnTo>
                  <a:lnTo>
                    <a:pt x="630" y="251"/>
                  </a:lnTo>
                  <a:lnTo>
                    <a:pt x="630" y="247"/>
                  </a:lnTo>
                  <a:lnTo>
                    <a:pt x="626" y="247"/>
                  </a:lnTo>
                  <a:lnTo>
                    <a:pt x="626" y="251"/>
                  </a:lnTo>
                  <a:lnTo>
                    <a:pt x="630" y="251"/>
                  </a:lnTo>
                  <a:lnTo>
                    <a:pt x="626" y="251"/>
                  </a:lnTo>
                  <a:close/>
                  <a:moveTo>
                    <a:pt x="558" y="199"/>
                  </a:moveTo>
                  <a:lnTo>
                    <a:pt x="558" y="203"/>
                  </a:lnTo>
                  <a:lnTo>
                    <a:pt x="562" y="203"/>
                  </a:lnTo>
                  <a:lnTo>
                    <a:pt x="558" y="203"/>
                  </a:lnTo>
                  <a:lnTo>
                    <a:pt x="562" y="203"/>
                  </a:lnTo>
                  <a:lnTo>
                    <a:pt x="566" y="203"/>
                  </a:lnTo>
                  <a:lnTo>
                    <a:pt x="566" y="207"/>
                  </a:lnTo>
                  <a:lnTo>
                    <a:pt x="570" y="207"/>
                  </a:lnTo>
                  <a:lnTo>
                    <a:pt x="574" y="207"/>
                  </a:lnTo>
                  <a:lnTo>
                    <a:pt x="574" y="211"/>
                  </a:lnTo>
                  <a:lnTo>
                    <a:pt x="570" y="211"/>
                  </a:lnTo>
                  <a:lnTo>
                    <a:pt x="566" y="211"/>
                  </a:lnTo>
                  <a:lnTo>
                    <a:pt x="562" y="211"/>
                  </a:lnTo>
                  <a:lnTo>
                    <a:pt x="558" y="211"/>
                  </a:lnTo>
                  <a:lnTo>
                    <a:pt x="554" y="211"/>
                  </a:lnTo>
                  <a:lnTo>
                    <a:pt x="554" y="207"/>
                  </a:lnTo>
                  <a:lnTo>
                    <a:pt x="550" y="207"/>
                  </a:lnTo>
                  <a:lnTo>
                    <a:pt x="550" y="203"/>
                  </a:lnTo>
                  <a:lnTo>
                    <a:pt x="554" y="203"/>
                  </a:lnTo>
                  <a:lnTo>
                    <a:pt x="554" y="199"/>
                  </a:lnTo>
                  <a:lnTo>
                    <a:pt x="558" y="199"/>
                  </a:lnTo>
                  <a:close/>
                  <a:moveTo>
                    <a:pt x="698" y="215"/>
                  </a:moveTo>
                  <a:lnTo>
                    <a:pt x="698" y="219"/>
                  </a:lnTo>
                  <a:lnTo>
                    <a:pt x="694" y="219"/>
                  </a:lnTo>
                  <a:lnTo>
                    <a:pt x="698" y="219"/>
                  </a:lnTo>
                  <a:lnTo>
                    <a:pt x="698" y="215"/>
                  </a:lnTo>
                  <a:close/>
                  <a:moveTo>
                    <a:pt x="355" y="219"/>
                  </a:moveTo>
                  <a:lnTo>
                    <a:pt x="355" y="223"/>
                  </a:lnTo>
                  <a:lnTo>
                    <a:pt x="351" y="223"/>
                  </a:lnTo>
                  <a:lnTo>
                    <a:pt x="347" y="227"/>
                  </a:lnTo>
                  <a:lnTo>
                    <a:pt x="347" y="231"/>
                  </a:lnTo>
                  <a:lnTo>
                    <a:pt x="343" y="231"/>
                  </a:lnTo>
                  <a:lnTo>
                    <a:pt x="343" y="235"/>
                  </a:lnTo>
                  <a:lnTo>
                    <a:pt x="339" y="235"/>
                  </a:lnTo>
                  <a:lnTo>
                    <a:pt x="335" y="235"/>
                  </a:lnTo>
                  <a:lnTo>
                    <a:pt x="331" y="235"/>
                  </a:lnTo>
                  <a:lnTo>
                    <a:pt x="327" y="231"/>
                  </a:lnTo>
                  <a:lnTo>
                    <a:pt x="331" y="231"/>
                  </a:lnTo>
                  <a:lnTo>
                    <a:pt x="331" y="227"/>
                  </a:lnTo>
                  <a:lnTo>
                    <a:pt x="335" y="227"/>
                  </a:lnTo>
                  <a:lnTo>
                    <a:pt x="335" y="223"/>
                  </a:lnTo>
                  <a:lnTo>
                    <a:pt x="339" y="223"/>
                  </a:lnTo>
                  <a:lnTo>
                    <a:pt x="343" y="223"/>
                  </a:lnTo>
                  <a:lnTo>
                    <a:pt x="347" y="223"/>
                  </a:lnTo>
                  <a:lnTo>
                    <a:pt x="347" y="219"/>
                  </a:lnTo>
                  <a:lnTo>
                    <a:pt x="351" y="219"/>
                  </a:lnTo>
                  <a:lnTo>
                    <a:pt x="355" y="219"/>
                  </a:lnTo>
                  <a:close/>
                  <a:moveTo>
                    <a:pt x="586" y="219"/>
                  </a:moveTo>
                  <a:lnTo>
                    <a:pt x="582" y="219"/>
                  </a:lnTo>
                  <a:lnTo>
                    <a:pt x="578" y="223"/>
                  </a:lnTo>
                  <a:lnTo>
                    <a:pt x="574" y="223"/>
                  </a:lnTo>
                  <a:lnTo>
                    <a:pt x="570" y="223"/>
                  </a:lnTo>
                  <a:lnTo>
                    <a:pt x="566" y="223"/>
                  </a:lnTo>
                  <a:lnTo>
                    <a:pt x="562" y="223"/>
                  </a:lnTo>
                  <a:lnTo>
                    <a:pt x="558" y="223"/>
                  </a:lnTo>
                  <a:lnTo>
                    <a:pt x="562" y="223"/>
                  </a:lnTo>
                  <a:lnTo>
                    <a:pt x="566" y="223"/>
                  </a:lnTo>
                  <a:lnTo>
                    <a:pt x="566" y="219"/>
                  </a:lnTo>
                  <a:lnTo>
                    <a:pt x="570" y="219"/>
                  </a:lnTo>
                  <a:lnTo>
                    <a:pt x="574" y="219"/>
                  </a:lnTo>
                  <a:lnTo>
                    <a:pt x="578" y="219"/>
                  </a:lnTo>
                  <a:lnTo>
                    <a:pt x="582" y="219"/>
                  </a:lnTo>
                  <a:lnTo>
                    <a:pt x="586" y="219"/>
                  </a:lnTo>
                  <a:close/>
                  <a:moveTo>
                    <a:pt x="590" y="223"/>
                  </a:moveTo>
                  <a:lnTo>
                    <a:pt x="586" y="223"/>
                  </a:lnTo>
                  <a:lnTo>
                    <a:pt x="582" y="223"/>
                  </a:lnTo>
                  <a:lnTo>
                    <a:pt x="582" y="227"/>
                  </a:lnTo>
                  <a:lnTo>
                    <a:pt x="578" y="227"/>
                  </a:lnTo>
                  <a:lnTo>
                    <a:pt x="574" y="227"/>
                  </a:lnTo>
                  <a:lnTo>
                    <a:pt x="570" y="227"/>
                  </a:lnTo>
                  <a:lnTo>
                    <a:pt x="574" y="223"/>
                  </a:lnTo>
                  <a:lnTo>
                    <a:pt x="578" y="223"/>
                  </a:lnTo>
                  <a:lnTo>
                    <a:pt x="582" y="223"/>
                  </a:lnTo>
                  <a:lnTo>
                    <a:pt x="586" y="223"/>
                  </a:lnTo>
                  <a:lnTo>
                    <a:pt x="586" y="219"/>
                  </a:lnTo>
                  <a:lnTo>
                    <a:pt x="590" y="223"/>
                  </a:lnTo>
                  <a:close/>
                  <a:moveTo>
                    <a:pt x="702" y="223"/>
                  </a:moveTo>
                  <a:lnTo>
                    <a:pt x="706" y="223"/>
                  </a:lnTo>
                  <a:lnTo>
                    <a:pt x="706" y="227"/>
                  </a:lnTo>
                  <a:lnTo>
                    <a:pt x="702" y="227"/>
                  </a:lnTo>
                  <a:lnTo>
                    <a:pt x="698" y="227"/>
                  </a:lnTo>
                  <a:lnTo>
                    <a:pt x="698" y="223"/>
                  </a:lnTo>
                  <a:lnTo>
                    <a:pt x="702" y="223"/>
                  </a:lnTo>
                  <a:lnTo>
                    <a:pt x="702" y="219"/>
                  </a:lnTo>
                  <a:lnTo>
                    <a:pt x="702" y="223"/>
                  </a:lnTo>
                  <a:close/>
                  <a:moveTo>
                    <a:pt x="674" y="227"/>
                  </a:moveTo>
                  <a:lnTo>
                    <a:pt x="670" y="227"/>
                  </a:lnTo>
                  <a:lnTo>
                    <a:pt x="674" y="227"/>
                  </a:lnTo>
                  <a:close/>
                  <a:moveTo>
                    <a:pt x="682" y="231"/>
                  </a:moveTo>
                  <a:lnTo>
                    <a:pt x="682" y="235"/>
                  </a:lnTo>
                  <a:lnTo>
                    <a:pt x="678" y="235"/>
                  </a:lnTo>
                  <a:lnTo>
                    <a:pt x="674" y="235"/>
                  </a:lnTo>
                  <a:lnTo>
                    <a:pt x="670" y="239"/>
                  </a:lnTo>
                  <a:lnTo>
                    <a:pt x="666" y="239"/>
                  </a:lnTo>
                  <a:lnTo>
                    <a:pt x="666" y="235"/>
                  </a:lnTo>
                  <a:lnTo>
                    <a:pt x="670" y="235"/>
                  </a:lnTo>
                  <a:lnTo>
                    <a:pt x="674" y="231"/>
                  </a:lnTo>
                  <a:lnTo>
                    <a:pt x="678" y="231"/>
                  </a:lnTo>
                  <a:lnTo>
                    <a:pt x="682" y="231"/>
                  </a:lnTo>
                  <a:close/>
                  <a:moveTo>
                    <a:pt x="682" y="255"/>
                  </a:moveTo>
                  <a:lnTo>
                    <a:pt x="678" y="251"/>
                  </a:lnTo>
                  <a:lnTo>
                    <a:pt x="674" y="251"/>
                  </a:lnTo>
                  <a:lnTo>
                    <a:pt x="670" y="251"/>
                  </a:lnTo>
                  <a:lnTo>
                    <a:pt x="670" y="247"/>
                  </a:lnTo>
                  <a:lnTo>
                    <a:pt x="674" y="247"/>
                  </a:lnTo>
                  <a:lnTo>
                    <a:pt x="674" y="243"/>
                  </a:lnTo>
                  <a:lnTo>
                    <a:pt x="678" y="243"/>
                  </a:lnTo>
                  <a:lnTo>
                    <a:pt x="682" y="243"/>
                  </a:lnTo>
                  <a:lnTo>
                    <a:pt x="678" y="239"/>
                  </a:lnTo>
                  <a:lnTo>
                    <a:pt x="682" y="239"/>
                  </a:lnTo>
                  <a:lnTo>
                    <a:pt x="678" y="239"/>
                  </a:lnTo>
                  <a:lnTo>
                    <a:pt x="682" y="239"/>
                  </a:lnTo>
                  <a:lnTo>
                    <a:pt x="686" y="239"/>
                  </a:lnTo>
                  <a:lnTo>
                    <a:pt x="682" y="239"/>
                  </a:lnTo>
                  <a:lnTo>
                    <a:pt x="682" y="235"/>
                  </a:lnTo>
                  <a:lnTo>
                    <a:pt x="686" y="235"/>
                  </a:lnTo>
                  <a:lnTo>
                    <a:pt x="690" y="235"/>
                  </a:lnTo>
                  <a:lnTo>
                    <a:pt x="690" y="231"/>
                  </a:lnTo>
                  <a:lnTo>
                    <a:pt x="694" y="231"/>
                  </a:lnTo>
                  <a:lnTo>
                    <a:pt x="698" y="231"/>
                  </a:lnTo>
                  <a:lnTo>
                    <a:pt x="702" y="231"/>
                  </a:lnTo>
                  <a:lnTo>
                    <a:pt x="706" y="231"/>
                  </a:lnTo>
                  <a:lnTo>
                    <a:pt x="706" y="235"/>
                  </a:lnTo>
                  <a:lnTo>
                    <a:pt x="710" y="235"/>
                  </a:lnTo>
                  <a:lnTo>
                    <a:pt x="710" y="239"/>
                  </a:lnTo>
                  <a:lnTo>
                    <a:pt x="714" y="239"/>
                  </a:lnTo>
                  <a:lnTo>
                    <a:pt x="718" y="243"/>
                  </a:lnTo>
                  <a:lnTo>
                    <a:pt x="718" y="247"/>
                  </a:lnTo>
                  <a:lnTo>
                    <a:pt x="718" y="251"/>
                  </a:lnTo>
                  <a:lnTo>
                    <a:pt x="722" y="255"/>
                  </a:lnTo>
                  <a:lnTo>
                    <a:pt x="718" y="259"/>
                  </a:lnTo>
                  <a:lnTo>
                    <a:pt x="714" y="259"/>
                  </a:lnTo>
                  <a:lnTo>
                    <a:pt x="710" y="259"/>
                  </a:lnTo>
                  <a:lnTo>
                    <a:pt x="706" y="259"/>
                  </a:lnTo>
                  <a:lnTo>
                    <a:pt x="702" y="259"/>
                  </a:lnTo>
                  <a:lnTo>
                    <a:pt x="694" y="259"/>
                  </a:lnTo>
                  <a:lnTo>
                    <a:pt x="690" y="255"/>
                  </a:lnTo>
                  <a:lnTo>
                    <a:pt x="686" y="255"/>
                  </a:lnTo>
                  <a:lnTo>
                    <a:pt x="682" y="255"/>
                  </a:lnTo>
                  <a:close/>
                  <a:moveTo>
                    <a:pt x="558" y="239"/>
                  </a:moveTo>
                  <a:lnTo>
                    <a:pt x="562" y="239"/>
                  </a:lnTo>
                  <a:lnTo>
                    <a:pt x="562" y="243"/>
                  </a:lnTo>
                  <a:lnTo>
                    <a:pt x="566" y="247"/>
                  </a:lnTo>
                  <a:lnTo>
                    <a:pt x="562" y="247"/>
                  </a:lnTo>
                  <a:lnTo>
                    <a:pt x="554" y="251"/>
                  </a:lnTo>
                  <a:lnTo>
                    <a:pt x="550" y="247"/>
                  </a:lnTo>
                  <a:lnTo>
                    <a:pt x="546" y="247"/>
                  </a:lnTo>
                  <a:lnTo>
                    <a:pt x="546" y="243"/>
                  </a:lnTo>
                  <a:lnTo>
                    <a:pt x="550" y="243"/>
                  </a:lnTo>
                  <a:lnTo>
                    <a:pt x="546" y="243"/>
                  </a:lnTo>
                  <a:lnTo>
                    <a:pt x="550" y="239"/>
                  </a:lnTo>
                  <a:lnTo>
                    <a:pt x="554" y="239"/>
                  </a:lnTo>
                  <a:lnTo>
                    <a:pt x="558" y="239"/>
                  </a:lnTo>
                  <a:close/>
                  <a:moveTo>
                    <a:pt x="686" y="259"/>
                  </a:moveTo>
                  <a:lnTo>
                    <a:pt x="690" y="259"/>
                  </a:lnTo>
                  <a:lnTo>
                    <a:pt x="690" y="263"/>
                  </a:lnTo>
                  <a:lnTo>
                    <a:pt x="694" y="263"/>
                  </a:lnTo>
                  <a:lnTo>
                    <a:pt x="690" y="263"/>
                  </a:lnTo>
                  <a:lnTo>
                    <a:pt x="686" y="263"/>
                  </a:lnTo>
                  <a:lnTo>
                    <a:pt x="682" y="263"/>
                  </a:lnTo>
                  <a:lnTo>
                    <a:pt x="686" y="259"/>
                  </a:lnTo>
                  <a:close/>
                  <a:moveTo>
                    <a:pt x="662" y="259"/>
                  </a:moveTo>
                  <a:lnTo>
                    <a:pt x="662" y="263"/>
                  </a:lnTo>
                  <a:lnTo>
                    <a:pt x="658" y="263"/>
                  </a:lnTo>
                  <a:lnTo>
                    <a:pt x="658" y="267"/>
                  </a:lnTo>
                  <a:lnTo>
                    <a:pt x="654" y="267"/>
                  </a:lnTo>
                  <a:lnTo>
                    <a:pt x="654" y="263"/>
                  </a:lnTo>
                  <a:lnTo>
                    <a:pt x="658" y="263"/>
                  </a:lnTo>
                  <a:lnTo>
                    <a:pt x="658" y="259"/>
                  </a:lnTo>
                  <a:lnTo>
                    <a:pt x="662" y="259"/>
                  </a:lnTo>
                  <a:close/>
                  <a:moveTo>
                    <a:pt x="267" y="355"/>
                  </a:moveTo>
                  <a:lnTo>
                    <a:pt x="263" y="355"/>
                  </a:lnTo>
                  <a:lnTo>
                    <a:pt x="263" y="351"/>
                  </a:lnTo>
                  <a:lnTo>
                    <a:pt x="259" y="347"/>
                  </a:lnTo>
                  <a:lnTo>
                    <a:pt x="259" y="343"/>
                  </a:lnTo>
                  <a:lnTo>
                    <a:pt x="255" y="343"/>
                  </a:lnTo>
                  <a:lnTo>
                    <a:pt x="251" y="343"/>
                  </a:lnTo>
                  <a:lnTo>
                    <a:pt x="247" y="343"/>
                  </a:lnTo>
                  <a:lnTo>
                    <a:pt x="247" y="339"/>
                  </a:lnTo>
                  <a:lnTo>
                    <a:pt x="243" y="339"/>
                  </a:lnTo>
                  <a:lnTo>
                    <a:pt x="239" y="339"/>
                  </a:lnTo>
                  <a:lnTo>
                    <a:pt x="239" y="335"/>
                  </a:lnTo>
                  <a:lnTo>
                    <a:pt x="243" y="339"/>
                  </a:lnTo>
                  <a:lnTo>
                    <a:pt x="243" y="335"/>
                  </a:lnTo>
                  <a:lnTo>
                    <a:pt x="239" y="335"/>
                  </a:lnTo>
                  <a:lnTo>
                    <a:pt x="235" y="335"/>
                  </a:lnTo>
                  <a:lnTo>
                    <a:pt x="231" y="335"/>
                  </a:lnTo>
                  <a:lnTo>
                    <a:pt x="227" y="335"/>
                  </a:lnTo>
                  <a:lnTo>
                    <a:pt x="231" y="335"/>
                  </a:lnTo>
                  <a:lnTo>
                    <a:pt x="231" y="331"/>
                  </a:lnTo>
                  <a:lnTo>
                    <a:pt x="231" y="327"/>
                  </a:lnTo>
                  <a:lnTo>
                    <a:pt x="235" y="327"/>
                  </a:lnTo>
                  <a:lnTo>
                    <a:pt x="235" y="323"/>
                  </a:lnTo>
                  <a:lnTo>
                    <a:pt x="239" y="323"/>
                  </a:lnTo>
                  <a:lnTo>
                    <a:pt x="239" y="319"/>
                  </a:lnTo>
                  <a:lnTo>
                    <a:pt x="243" y="319"/>
                  </a:lnTo>
                  <a:lnTo>
                    <a:pt x="243" y="315"/>
                  </a:lnTo>
                  <a:lnTo>
                    <a:pt x="243" y="311"/>
                  </a:lnTo>
                  <a:lnTo>
                    <a:pt x="247" y="311"/>
                  </a:lnTo>
                  <a:lnTo>
                    <a:pt x="251" y="311"/>
                  </a:lnTo>
                  <a:lnTo>
                    <a:pt x="251" y="307"/>
                  </a:lnTo>
                  <a:lnTo>
                    <a:pt x="247" y="307"/>
                  </a:lnTo>
                  <a:lnTo>
                    <a:pt x="243" y="307"/>
                  </a:lnTo>
                  <a:lnTo>
                    <a:pt x="243" y="303"/>
                  </a:lnTo>
                  <a:lnTo>
                    <a:pt x="247" y="303"/>
                  </a:lnTo>
                  <a:lnTo>
                    <a:pt x="247" y="299"/>
                  </a:lnTo>
                  <a:lnTo>
                    <a:pt x="251" y="299"/>
                  </a:lnTo>
                  <a:lnTo>
                    <a:pt x="251" y="295"/>
                  </a:lnTo>
                  <a:lnTo>
                    <a:pt x="255" y="295"/>
                  </a:lnTo>
                  <a:lnTo>
                    <a:pt x="255" y="291"/>
                  </a:lnTo>
                  <a:lnTo>
                    <a:pt x="255" y="287"/>
                  </a:lnTo>
                  <a:lnTo>
                    <a:pt x="259" y="287"/>
                  </a:lnTo>
                  <a:lnTo>
                    <a:pt x="259" y="283"/>
                  </a:lnTo>
                  <a:lnTo>
                    <a:pt x="255" y="283"/>
                  </a:lnTo>
                  <a:lnTo>
                    <a:pt x="251" y="279"/>
                  </a:lnTo>
                  <a:lnTo>
                    <a:pt x="251" y="275"/>
                  </a:lnTo>
                  <a:lnTo>
                    <a:pt x="247" y="271"/>
                  </a:lnTo>
                  <a:lnTo>
                    <a:pt x="243" y="271"/>
                  </a:lnTo>
                  <a:lnTo>
                    <a:pt x="247" y="267"/>
                  </a:lnTo>
                  <a:lnTo>
                    <a:pt x="251" y="267"/>
                  </a:lnTo>
                  <a:lnTo>
                    <a:pt x="255" y="267"/>
                  </a:lnTo>
                  <a:lnTo>
                    <a:pt x="259" y="267"/>
                  </a:lnTo>
                  <a:lnTo>
                    <a:pt x="263" y="267"/>
                  </a:lnTo>
                  <a:lnTo>
                    <a:pt x="267" y="267"/>
                  </a:lnTo>
                  <a:lnTo>
                    <a:pt x="271" y="267"/>
                  </a:lnTo>
                  <a:lnTo>
                    <a:pt x="275" y="267"/>
                  </a:lnTo>
                  <a:lnTo>
                    <a:pt x="279" y="267"/>
                  </a:lnTo>
                  <a:lnTo>
                    <a:pt x="283" y="267"/>
                  </a:lnTo>
                  <a:lnTo>
                    <a:pt x="287" y="263"/>
                  </a:lnTo>
                  <a:lnTo>
                    <a:pt x="291" y="263"/>
                  </a:lnTo>
                  <a:lnTo>
                    <a:pt x="295" y="263"/>
                  </a:lnTo>
                  <a:lnTo>
                    <a:pt x="299" y="263"/>
                  </a:lnTo>
                  <a:lnTo>
                    <a:pt x="303" y="263"/>
                  </a:lnTo>
                  <a:lnTo>
                    <a:pt x="303" y="267"/>
                  </a:lnTo>
                  <a:lnTo>
                    <a:pt x="307" y="267"/>
                  </a:lnTo>
                  <a:lnTo>
                    <a:pt x="311" y="271"/>
                  </a:lnTo>
                  <a:lnTo>
                    <a:pt x="315" y="271"/>
                  </a:lnTo>
                  <a:lnTo>
                    <a:pt x="319" y="271"/>
                  </a:lnTo>
                  <a:lnTo>
                    <a:pt x="323" y="271"/>
                  </a:lnTo>
                  <a:lnTo>
                    <a:pt x="323" y="275"/>
                  </a:lnTo>
                  <a:lnTo>
                    <a:pt x="319" y="275"/>
                  </a:lnTo>
                  <a:lnTo>
                    <a:pt x="319" y="279"/>
                  </a:lnTo>
                  <a:lnTo>
                    <a:pt x="323" y="279"/>
                  </a:lnTo>
                  <a:lnTo>
                    <a:pt x="323" y="275"/>
                  </a:lnTo>
                  <a:lnTo>
                    <a:pt x="327" y="271"/>
                  </a:lnTo>
                  <a:lnTo>
                    <a:pt x="331" y="271"/>
                  </a:lnTo>
                  <a:lnTo>
                    <a:pt x="331" y="275"/>
                  </a:lnTo>
                  <a:lnTo>
                    <a:pt x="331" y="279"/>
                  </a:lnTo>
                  <a:lnTo>
                    <a:pt x="335" y="279"/>
                  </a:lnTo>
                  <a:lnTo>
                    <a:pt x="335" y="275"/>
                  </a:lnTo>
                  <a:lnTo>
                    <a:pt x="335" y="271"/>
                  </a:lnTo>
                  <a:lnTo>
                    <a:pt x="339" y="271"/>
                  </a:lnTo>
                  <a:lnTo>
                    <a:pt x="347" y="271"/>
                  </a:lnTo>
                  <a:lnTo>
                    <a:pt x="351" y="271"/>
                  </a:lnTo>
                  <a:lnTo>
                    <a:pt x="355" y="271"/>
                  </a:lnTo>
                  <a:lnTo>
                    <a:pt x="359" y="271"/>
                  </a:lnTo>
                  <a:lnTo>
                    <a:pt x="359" y="275"/>
                  </a:lnTo>
                  <a:lnTo>
                    <a:pt x="367" y="275"/>
                  </a:lnTo>
                  <a:lnTo>
                    <a:pt x="367" y="279"/>
                  </a:lnTo>
                  <a:lnTo>
                    <a:pt x="371" y="279"/>
                  </a:lnTo>
                  <a:lnTo>
                    <a:pt x="371" y="283"/>
                  </a:lnTo>
                  <a:lnTo>
                    <a:pt x="375" y="283"/>
                  </a:lnTo>
                  <a:lnTo>
                    <a:pt x="379" y="283"/>
                  </a:lnTo>
                  <a:lnTo>
                    <a:pt x="379" y="287"/>
                  </a:lnTo>
                  <a:lnTo>
                    <a:pt x="383" y="287"/>
                  </a:lnTo>
                  <a:lnTo>
                    <a:pt x="387" y="291"/>
                  </a:lnTo>
                  <a:lnTo>
                    <a:pt x="387" y="295"/>
                  </a:lnTo>
                  <a:lnTo>
                    <a:pt x="383" y="295"/>
                  </a:lnTo>
                  <a:lnTo>
                    <a:pt x="379" y="299"/>
                  </a:lnTo>
                  <a:lnTo>
                    <a:pt x="375" y="299"/>
                  </a:lnTo>
                  <a:lnTo>
                    <a:pt x="371" y="299"/>
                  </a:lnTo>
                  <a:lnTo>
                    <a:pt x="367" y="303"/>
                  </a:lnTo>
                  <a:lnTo>
                    <a:pt x="363" y="303"/>
                  </a:lnTo>
                  <a:lnTo>
                    <a:pt x="359" y="303"/>
                  </a:lnTo>
                  <a:lnTo>
                    <a:pt x="359" y="307"/>
                  </a:lnTo>
                  <a:lnTo>
                    <a:pt x="355" y="307"/>
                  </a:lnTo>
                  <a:lnTo>
                    <a:pt x="351" y="307"/>
                  </a:lnTo>
                  <a:lnTo>
                    <a:pt x="351" y="311"/>
                  </a:lnTo>
                  <a:lnTo>
                    <a:pt x="347" y="311"/>
                  </a:lnTo>
                  <a:lnTo>
                    <a:pt x="343" y="311"/>
                  </a:lnTo>
                  <a:lnTo>
                    <a:pt x="339" y="315"/>
                  </a:lnTo>
                  <a:lnTo>
                    <a:pt x="335" y="315"/>
                  </a:lnTo>
                  <a:lnTo>
                    <a:pt x="331" y="319"/>
                  </a:lnTo>
                  <a:lnTo>
                    <a:pt x="327" y="323"/>
                  </a:lnTo>
                  <a:lnTo>
                    <a:pt x="327" y="327"/>
                  </a:lnTo>
                  <a:lnTo>
                    <a:pt x="323" y="327"/>
                  </a:lnTo>
                  <a:lnTo>
                    <a:pt x="323" y="331"/>
                  </a:lnTo>
                  <a:lnTo>
                    <a:pt x="319" y="331"/>
                  </a:lnTo>
                  <a:lnTo>
                    <a:pt x="315" y="327"/>
                  </a:lnTo>
                  <a:lnTo>
                    <a:pt x="315" y="331"/>
                  </a:lnTo>
                  <a:lnTo>
                    <a:pt x="315" y="335"/>
                  </a:lnTo>
                  <a:lnTo>
                    <a:pt x="311" y="335"/>
                  </a:lnTo>
                  <a:lnTo>
                    <a:pt x="311" y="339"/>
                  </a:lnTo>
                  <a:lnTo>
                    <a:pt x="311" y="343"/>
                  </a:lnTo>
                  <a:lnTo>
                    <a:pt x="311" y="347"/>
                  </a:lnTo>
                  <a:lnTo>
                    <a:pt x="307" y="351"/>
                  </a:lnTo>
                  <a:lnTo>
                    <a:pt x="303" y="351"/>
                  </a:lnTo>
                  <a:lnTo>
                    <a:pt x="299" y="351"/>
                  </a:lnTo>
                  <a:lnTo>
                    <a:pt x="295" y="351"/>
                  </a:lnTo>
                  <a:lnTo>
                    <a:pt x="291" y="351"/>
                  </a:lnTo>
                  <a:lnTo>
                    <a:pt x="287" y="351"/>
                  </a:lnTo>
                  <a:lnTo>
                    <a:pt x="287" y="355"/>
                  </a:lnTo>
                  <a:lnTo>
                    <a:pt x="283" y="355"/>
                  </a:lnTo>
                  <a:lnTo>
                    <a:pt x="283" y="359"/>
                  </a:lnTo>
                  <a:lnTo>
                    <a:pt x="279" y="359"/>
                  </a:lnTo>
                  <a:lnTo>
                    <a:pt x="275" y="359"/>
                  </a:lnTo>
                  <a:lnTo>
                    <a:pt x="275" y="363"/>
                  </a:lnTo>
                  <a:lnTo>
                    <a:pt x="271" y="363"/>
                  </a:lnTo>
                  <a:lnTo>
                    <a:pt x="271" y="359"/>
                  </a:lnTo>
                  <a:lnTo>
                    <a:pt x="267" y="359"/>
                  </a:lnTo>
                  <a:lnTo>
                    <a:pt x="267" y="355"/>
                  </a:lnTo>
                  <a:close/>
                  <a:moveTo>
                    <a:pt x="754" y="299"/>
                  </a:moveTo>
                  <a:lnTo>
                    <a:pt x="750" y="303"/>
                  </a:lnTo>
                  <a:lnTo>
                    <a:pt x="750" y="307"/>
                  </a:lnTo>
                  <a:lnTo>
                    <a:pt x="746" y="307"/>
                  </a:lnTo>
                  <a:lnTo>
                    <a:pt x="746" y="311"/>
                  </a:lnTo>
                  <a:lnTo>
                    <a:pt x="742" y="311"/>
                  </a:lnTo>
                  <a:lnTo>
                    <a:pt x="742" y="315"/>
                  </a:lnTo>
                  <a:lnTo>
                    <a:pt x="738" y="315"/>
                  </a:lnTo>
                  <a:lnTo>
                    <a:pt x="734" y="315"/>
                  </a:lnTo>
                  <a:lnTo>
                    <a:pt x="730" y="315"/>
                  </a:lnTo>
                  <a:lnTo>
                    <a:pt x="726" y="315"/>
                  </a:lnTo>
                  <a:lnTo>
                    <a:pt x="722" y="315"/>
                  </a:lnTo>
                  <a:lnTo>
                    <a:pt x="722" y="311"/>
                  </a:lnTo>
                  <a:lnTo>
                    <a:pt x="722" y="315"/>
                  </a:lnTo>
                  <a:lnTo>
                    <a:pt x="718" y="315"/>
                  </a:lnTo>
                  <a:lnTo>
                    <a:pt x="714" y="315"/>
                  </a:lnTo>
                  <a:lnTo>
                    <a:pt x="710" y="315"/>
                  </a:lnTo>
                  <a:lnTo>
                    <a:pt x="706" y="315"/>
                  </a:lnTo>
                  <a:lnTo>
                    <a:pt x="710" y="315"/>
                  </a:lnTo>
                  <a:lnTo>
                    <a:pt x="714" y="315"/>
                  </a:lnTo>
                  <a:lnTo>
                    <a:pt x="714" y="319"/>
                  </a:lnTo>
                  <a:lnTo>
                    <a:pt x="718" y="319"/>
                  </a:lnTo>
                  <a:lnTo>
                    <a:pt x="718" y="323"/>
                  </a:lnTo>
                  <a:lnTo>
                    <a:pt x="718" y="327"/>
                  </a:lnTo>
                  <a:lnTo>
                    <a:pt x="714" y="327"/>
                  </a:lnTo>
                  <a:lnTo>
                    <a:pt x="710" y="331"/>
                  </a:lnTo>
                  <a:lnTo>
                    <a:pt x="710" y="335"/>
                  </a:lnTo>
                  <a:lnTo>
                    <a:pt x="706" y="335"/>
                  </a:lnTo>
                  <a:lnTo>
                    <a:pt x="698" y="335"/>
                  </a:lnTo>
                  <a:lnTo>
                    <a:pt x="694" y="335"/>
                  </a:lnTo>
                  <a:lnTo>
                    <a:pt x="694" y="331"/>
                  </a:lnTo>
                  <a:lnTo>
                    <a:pt x="698" y="331"/>
                  </a:lnTo>
                  <a:lnTo>
                    <a:pt x="694" y="331"/>
                  </a:lnTo>
                  <a:lnTo>
                    <a:pt x="694" y="327"/>
                  </a:lnTo>
                  <a:lnTo>
                    <a:pt x="694" y="323"/>
                  </a:lnTo>
                  <a:lnTo>
                    <a:pt x="694" y="319"/>
                  </a:lnTo>
                  <a:lnTo>
                    <a:pt x="690" y="319"/>
                  </a:lnTo>
                  <a:lnTo>
                    <a:pt x="690" y="315"/>
                  </a:lnTo>
                  <a:lnTo>
                    <a:pt x="686" y="315"/>
                  </a:lnTo>
                  <a:lnTo>
                    <a:pt x="686" y="311"/>
                  </a:lnTo>
                  <a:lnTo>
                    <a:pt x="686" y="307"/>
                  </a:lnTo>
                  <a:lnTo>
                    <a:pt x="686" y="303"/>
                  </a:lnTo>
                  <a:lnTo>
                    <a:pt x="686" y="299"/>
                  </a:lnTo>
                  <a:lnTo>
                    <a:pt x="686" y="295"/>
                  </a:lnTo>
                  <a:lnTo>
                    <a:pt x="686" y="291"/>
                  </a:lnTo>
                  <a:lnTo>
                    <a:pt x="686" y="287"/>
                  </a:lnTo>
                  <a:lnTo>
                    <a:pt x="690" y="287"/>
                  </a:lnTo>
                  <a:lnTo>
                    <a:pt x="694" y="287"/>
                  </a:lnTo>
                  <a:lnTo>
                    <a:pt x="698" y="287"/>
                  </a:lnTo>
                  <a:lnTo>
                    <a:pt x="702" y="287"/>
                  </a:lnTo>
                  <a:lnTo>
                    <a:pt x="698" y="287"/>
                  </a:lnTo>
                  <a:lnTo>
                    <a:pt x="694" y="287"/>
                  </a:lnTo>
                  <a:lnTo>
                    <a:pt x="694" y="283"/>
                  </a:lnTo>
                  <a:lnTo>
                    <a:pt x="698" y="283"/>
                  </a:lnTo>
                  <a:lnTo>
                    <a:pt x="694" y="283"/>
                  </a:lnTo>
                  <a:lnTo>
                    <a:pt x="690" y="283"/>
                  </a:lnTo>
                  <a:lnTo>
                    <a:pt x="690" y="279"/>
                  </a:lnTo>
                  <a:lnTo>
                    <a:pt x="694" y="279"/>
                  </a:lnTo>
                  <a:lnTo>
                    <a:pt x="698" y="279"/>
                  </a:lnTo>
                  <a:lnTo>
                    <a:pt x="698" y="275"/>
                  </a:lnTo>
                  <a:lnTo>
                    <a:pt x="702" y="275"/>
                  </a:lnTo>
                  <a:lnTo>
                    <a:pt x="706" y="275"/>
                  </a:lnTo>
                  <a:lnTo>
                    <a:pt x="710" y="275"/>
                  </a:lnTo>
                  <a:lnTo>
                    <a:pt x="714" y="275"/>
                  </a:lnTo>
                  <a:lnTo>
                    <a:pt x="718" y="275"/>
                  </a:lnTo>
                  <a:lnTo>
                    <a:pt x="722" y="275"/>
                  </a:lnTo>
                  <a:lnTo>
                    <a:pt x="726" y="275"/>
                  </a:lnTo>
                  <a:lnTo>
                    <a:pt x="730" y="275"/>
                  </a:lnTo>
                  <a:lnTo>
                    <a:pt x="734" y="279"/>
                  </a:lnTo>
                  <a:lnTo>
                    <a:pt x="738" y="279"/>
                  </a:lnTo>
                  <a:lnTo>
                    <a:pt x="742" y="279"/>
                  </a:lnTo>
                  <a:lnTo>
                    <a:pt x="750" y="279"/>
                  </a:lnTo>
                  <a:lnTo>
                    <a:pt x="754" y="279"/>
                  </a:lnTo>
                  <a:lnTo>
                    <a:pt x="762" y="279"/>
                  </a:lnTo>
                  <a:lnTo>
                    <a:pt x="766" y="283"/>
                  </a:lnTo>
                  <a:lnTo>
                    <a:pt x="766" y="279"/>
                  </a:lnTo>
                  <a:lnTo>
                    <a:pt x="770" y="283"/>
                  </a:lnTo>
                  <a:lnTo>
                    <a:pt x="766" y="283"/>
                  </a:lnTo>
                  <a:lnTo>
                    <a:pt x="766" y="287"/>
                  </a:lnTo>
                  <a:lnTo>
                    <a:pt x="762" y="287"/>
                  </a:lnTo>
                  <a:lnTo>
                    <a:pt x="762" y="291"/>
                  </a:lnTo>
                  <a:lnTo>
                    <a:pt x="758" y="291"/>
                  </a:lnTo>
                  <a:lnTo>
                    <a:pt x="758" y="295"/>
                  </a:lnTo>
                  <a:lnTo>
                    <a:pt x="754" y="295"/>
                  </a:lnTo>
                  <a:lnTo>
                    <a:pt x="754" y="299"/>
                  </a:lnTo>
                  <a:close/>
                  <a:moveTo>
                    <a:pt x="770" y="279"/>
                  </a:moveTo>
                  <a:lnTo>
                    <a:pt x="766" y="279"/>
                  </a:lnTo>
                  <a:lnTo>
                    <a:pt x="770" y="279"/>
                  </a:lnTo>
                  <a:lnTo>
                    <a:pt x="770" y="275"/>
                  </a:lnTo>
                  <a:lnTo>
                    <a:pt x="774" y="275"/>
                  </a:lnTo>
                  <a:lnTo>
                    <a:pt x="774" y="279"/>
                  </a:lnTo>
                  <a:lnTo>
                    <a:pt x="770" y="279"/>
                  </a:lnTo>
                  <a:close/>
                  <a:moveTo>
                    <a:pt x="662" y="295"/>
                  </a:moveTo>
                  <a:lnTo>
                    <a:pt x="662" y="299"/>
                  </a:lnTo>
                  <a:lnTo>
                    <a:pt x="658" y="299"/>
                  </a:lnTo>
                  <a:lnTo>
                    <a:pt x="654" y="299"/>
                  </a:lnTo>
                  <a:lnTo>
                    <a:pt x="650" y="303"/>
                  </a:lnTo>
                  <a:lnTo>
                    <a:pt x="646" y="303"/>
                  </a:lnTo>
                  <a:lnTo>
                    <a:pt x="646" y="307"/>
                  </a:lnTo>
                  <a:lnTo>
                    <a:pt x="642" y="307"/>
                  </a:lnTo>
                  <a:lnTo>
                    <a:pt x="642" y="311"/>
                  </a:lnTo>
                  <a:lnTo>
                    <a:pt x="646" y="311"/>
                  </a:lnTo>
                  <a:lnTo>
                    <a:pt x="646" y="307"/>
                  </a:lnTo>
                  <a:lnTo>
                    <a:pt x="650" y="307"/>
                  </a:lnTo>
                  <a:lnTo>
                    <a:pt x="654" y="307"/>
                  </a:lnTo>
                  <a:lnTo>
                    <a:pt x="658" y="307"/>
                  </a:lnTo>
                  <a:lnTo>
                    <a:pt x="662" y="307"/>
                  </a:lnTo>
                  <a:lnTo>
                    <a:pt x="662" y="311"/>
                  </a:lnTo>
                  <a:lnTo>
                    <a:pt x="666" y="315"/>
                  </a:lnTo>
                  <a:lnTo>
                    <a:pt x="662" y="315"/>
                  </a:lnTo>
                  <a:lnTo>
                    <a:pt x="662" y="319"/>
                  </a:lnTo>
                  <a:lnTo>
                    <a:pt x="666" y="319"/>
                  </a:lnTo>
                  <a:lnTo>
                    <a:pt x="666" y="315"/>
                  </a:lnTo>
                  <a:lnTo>
                    <a:pt x="670" y="315"/>
                  </a:lnTo>
                  <a:lnTo>
                    <a:pt x="674" y="315"/>
                  </a:lnTo>
                  <a:lnTo>
                    <a:pt x="674" y="319"/>
                  </a:lnTo>
                  <a:lnTo>
                    <a:pt x="674" y="323"/>
                  </a:lnTo>
                  <a:lnTo>
                    <a:pt x="678" y="323"/>
                  </a:lnTo>
                  <a:lnTo>
                    <a:pt x="674" y="327"/>
                  </a:lnTo>
                  <a:lnTo>
                    <a:pt x="670" y="327"/>
                  </a:lnTo>
                  <a:lnTo>
                    <a:pt x="666" y="327"/>
                  </a:lnTo>
                  <a:lnTo>
                    <a:pt x="670" y="327"/>
                  </a:lnTo>
                  <a:lnTo>
                    <a:pt x="674" y="327"/>
                  </a:lnTo>
                  <a:lnTo>
                    <a:pt x="674" y="331"/>
                  </a:lnTo>
                  <a:lnTo>
                    <a:pt x="674" y="335"/>
                  </a:lnTo>
                  <a:lnTo>
                    <a:pt x="670" y="335"/>
                  </a:lnTo>
                  <a:lnTo>
                    <a:pt x="666" y="335"/>
                  </a:lnTo>
                  <a:lnTo>
                    <a:pt x="670" y="335"/>
                  </a:lnTo>
                  <a:lnTo>
                    <a:pt x="674" y="335"/>
                  </a:lnTo>
                  <a:lnTo>
                    <a:pt x="670" y="335"/>
                  </a:lnTo>
                  <a:lnTo>
                    <a:pt x="670" y="339"/>
                  </a:lnTo>
                  <a:lnTo>
                    <a:pt x="674" y="339"/>
                  </a:lnTo>
                  <a:lnTo>
                    <a:pt x="670" y="339"/>
                  </a:lnTo>
                  <a:lnTo>
                    <a:pt x="670" y="343"/>
                  </a:lnTo>
                  <a:lnTo>
                    <a:pt x="670" y="339"/>
                  </a:lnTo>
                  <a:lnTo>
                    <a:pt x="666" y="343"/>
                  </a:lnTo>
                  <a:lnTo>
                    <a:pt x="662" y="343"/>
                  </a:lnTo>
                  <a:lnTo>
                    <a:pt x="658" y="347"/>
                  </a:lnTo>
                  <a:lnTo>
                    <a:pt x="654" y="347"/>
                  </a:lnTo>
                  <a:lnTo>
                    <a:pt x="650" y="343"/>
                  </a:lnTo>
                  <a:lnTo>
                    <a:pt x="650" y="347"/>
                  </a:lnTo>
                  <a:lnTo>
                    <a:pt x="646" y="347"/>
                  </a:lnTo>
                  <a:lnTo>
                    <a:pt x="646" y="343"/>
                  </a:lnTo>
                  <a:lnTo>
                    <a:pt x="646" y="339"/>
                  </a:lnTo>
                  <a:lnTo>
                    <a:pt x="642" y="343"/>
                  </a:lnTo>
                  <a:lnTo>
                    <a:pt x="646" y="347"/>
                  </a:lnTo>
                  <a:lnTo>
                    <a:pt x="650" y="347"/>
                  </a:lnTo>
                  <a:lnTo>
                    <a:pt x="650" y="351"/>
                  </a:lnTo>
                  <a:lnTo>
                    <a:pt x="646" y="351"/>
                  </a:lnTo>
                  <a:lnTo>
                    <a:pt x="642" y="355"/>
                  </a:lnTo>
                  <a:lnTo>
                    <a:pt x="638" y="355"/>
                  </a:lnTo>
                  <a:lnTo>
                    <a:pt x="634" y="351"/>
                  </a:lnTo>
                  <a:lnTo>
                    <a:pt x="634" y="355"/>
                  </a:lnTo>
                  <a:lnTo>
                    <a:pt x="630" y="355"/>
                  </a:lnTo>
                  <a:lnTo>
                    <a:pt x="630" y="351"/>
                  </a:lnTo>
                  <a:lnTo>
                    <a:pt x="630" y="347"/>
                  </a:lnTo>
                  <a:lnTo>
                    <a:pt x="626" y="347"/>
                  </a:lnTo>
                  <a:lnTo>
                    <a:pt x="626" y="343"/>
                  </a:lnTo>
                  <a:lnTo>
                    <a:pt x="622" y="339"/>
                  </a:lnTo>
                  <a:lnTo>
                    <a:pt x="618" y="339"/>
                  </a:lnTo>
                  <a:lnTo>
                    <a:pt x="614" y="335"/>
                  </a:lnTo>
                  <a:lnTo>
                    <a:pt x="610" y="331"/>
                  </a:lnTo>
                  <a:lnTo>
                    <a:pt x="606" y="331"/>
                  </a:lnTo>
                  <a:lnTo>
                    <a:pt x="606" y="327"/>
                  </a:lnTo>
                  <a:lnTo>
                    <a:pt x="602" y="327"/>
                  </a:lnTo>
                  <a:lnTo>
                    <a:pt x="598" y="327"/>
                  </a:lnTo>
                  <a:lnTo>
                    <a:pt x="594" y="327"/>
                  </a:lnTo>
                  <a:lnTo>
                    <a:pt x="590" y="327"/>
                  </a:lnTo>
                  <a:lnTo>
                    <a:pt x="590" y="323"/>
                  </a:lnTo>
                  <a:lnTo>
                    <a:pt x="590" y="319"/>
                  </a:lnTo>
                  <a:lnTo>
                    <a:pt x="586" y="319"/>
                  </a:lnTo>
                  <a:lnTo>
                    <a:pt x="582" y="319"/>
                  </a:lnTo>
                  <a:lnTo>
                    <a:pt x="582" y="315"/>
                  </a:lnTo>
                  <a:lnTo>
                    <a:pt x="578" y="315"/>
                  </a:lnTo>
                  <a:lnTo>
                    <a:pt x="578" y="311"/>
                  </a:lnTo>
                  <a:lnTo>
                    <a:pt x="582" y="311"/>
                  </a:lnTo>
                  <a:lnTo>
                    <a:pt x="582" y="307"/>
                  </a:lnTo>
                  <a:lnTo>
                    <a:pt x="586" y="307"/>
                  </a:lnTo>
                  <a:lnTo>
                    <a:pt x="586" y="303"/>
                  </a:lnTo>
                  <a:lnTo>
                    <a:pt x="590" y="303"/>
                  </a:lnTo>
                  <a:lnTo>
                    <a:pt x="590" y="307"/>
                  </a:lnTo>
                  <a:lnTo>
                    <a:pt x="594" y="307"/>
                  </a:lnTo>
                  <a:lnTo>
                    <a:pt x="594" y="311"/>
                  </a:lnTo>
                  <a:lnTo>
                    <a:pt x="598" y="311"/>
                  </a:lnTo>
                  <a:lnTo>
                    <a:pt x="598" y="315"/>
                  </a:lnTo>
                  <a:lnTo>
                    <a:pt x="602" y="315"/>
                  </a:lnTo>
                  <a:lnTo>
                    <a:pt x="606" y="315"/>
                  </a:lnTo>
                  <a:lnTo>
                    <a:pt x="610" y="315"/>
                  </a:lnTo>
                  <a:lnTo>
                    <a:pt x="614" y="315"/>
                  </a:lnTo>
                  <a:lnTo>
                    <a:pt x="614" y="311"/>
                  </a:lnTo>
                  <a:lnTo>
                    <a:pt x="614" y="307"/>
                  </a:lnTo>
                  <a:lnTo>
                    <a:pt x="614" y="311"/>
                  </a:lnTo>
                  <a:lnTo>
                    <a:pt x="618" y="311"/>
                  </a:lnTo>
                  <a:lnTo>
                    <a:pt x="618" y="307"/>
                  </a:lnTo>
                  <a:lnTo>
                    <a:pt x="618" y="303"/>
                  </a:lnTo>
                  <a:lnTo>
                    <a:pt x="614" y="303"/>
                  </a:lnTo>
                  <a:lnTo>
                    <a:pt x="610" y="303"/>
                  </a:lnTo>
                  <a:lnTo>
                    <a:pt x="614" y="299"/>
                  </a:lnTo>
                  <a:lnTo>
                    <a:pt x="618" y="303"/>
                  </a:lnTo>
                  <a:lnTo>
                    <a:pt x="622" y="303"/>
                  </a:lnTo>
                  <a:lnTo>
                    <a:pt x="618" y="299"/>
                  </a:lnTo>
                  <a:lnTo>
                    <a:pt x="614" y="299"/>
                  </a:lnTo>
                  <a:lnTo>
                    <a:pt x="614" y="295"/>
                  </a:lnTo>
                  <a:lnTo>
                    <a:pt x="614" y="299"/>
                  </a:lnTo>
                  <a:lnTo>
                    <a:pt x="610" y="299"/>
                  </a:lnTo>
                  <a:lnTo>
                    <a:pt x="606" y="299"/>
                  </a:lnTo>
                  <a:lnTo>
                    <a:pt x="602" y="295"/>
                  </a:lnTo>
                  <a:lnTo>
                    <a:pt x="598" y="295"/>
                  </a:lnTo>
                  <a:lnTo>
                    <a:pt x="594" y="295"/>
                  </a:lnTo>
                  <a:lnTo>
                    <a:pt x="598" y="291"/>
                  </a:lnTo>
                  <a:lnTo>
                    <a:pt x="602" y="291"/>
                  </a:lnTo>
                  <a:lnTo>
                    <a:pt x="606" y="291"/>
                  </a:lnTo>
                  <a:lnTo>
                    <a:pt x="610" y="291"/>
                  </a:lnTo>
                  <a:lnTo>
                    <a:pt x="610" y="295"/>
                  </a:lnTo>
                  <a:lnTo>
                    <a:pt x="614" y="295"/>
                  </a:lnTo>
                  <a:lnTo>
                    <a:pt x="610" y="295"/>
                  </a:lnTo>
                  <a:lnTo>
                    <a:pt x="610" y="291"/>
                  </a:lnTo>
                  <a:lnTo>
                    <a:pt x="606" y="291"/>
                  </a:lnTo>
                  <a:lnTo>
                    <a:pt x="606" y="287"/>
                  </a:lnTo>
                  <a:lnTo>
                    <a:pt x="602" y="287"/>
                  </a:lnTo>
                  <a:lnTo>
                    <a:pt x="606" y="283"/>
                  </a:lnTo>
                  <a:lnTo>
                    <a:pt x="610" y="283"/>
                  </a:lnTo>
                  <a:lnTo>
                    <a:pt x="614" y="283"/>
                  </a:lnTo>
                  <a:lnTo>
                    <a:pt x="618" y="287"/>
                  </a:lnTo>
                  <a:lnTo>
                    <a:pt x="622" y="283"/>
                  </a:lnTo>
                  <a:lnTo>
                    <a:pt x="618" y="283"/>
                  </a:lnTo>
                  <a:lnTo>
                    <a:pt x="614" y="283"/>
                  </a:lnTo>
                  <a:lnTo>
                    <a:pt x="618" y="283"/>
                  </a:lnTo>
                  <a:lnTo>
                    <a:pt x="618" y="279"/>
                  </a:lnTo>
                  <a:lnTo>
                    <a:pt x="622" y="279"/>
                  </a:lnTo>
                  <a:lnTo>
                    <a:pt x="622" y="283"/>
                  </a:lnTo>
                  <a:lnTo>
                    <a:pt x="626" y="283"/>
                  </a:lnTo>
                  <a:lnTo>
                    <a:pt x="630" y="287"/>
                  </a:lnTo>
                  <a:lnTo>
                    <a:pt x="634" y="287"/>
                  </a:lnTo>
                  <a:lnTo>
                    <a:pt x="638" y="287"/>
                  </a:lnTo>
                  <a:lnTo>
                    <a:pt x="642" y="287"/>
                  </a:lnTo>
                  <a:lnTo>
                    <a:pt x="642" y="283"/>
                  </a:lnTo>
                  <a:lnTo>
                    <a:pt x="646" y="283"/>
                  </a:lnTo>
                  <a:lnTo>
                    <a:pt x="650" y="283"/>
                  </a:lnTo>
                  <a:lnTo>
                    <a:pt x="654" y="283"/>
                  </a:lnTo>
                  <a:lnTo>
                    <a:pt x="658" y="283"/>
                  </a:lnTo>
                  <a:lnTo>
                    <a:pt x="662" y="283"/>
                  </a:lnTo>
                  <a:lnTo>
                    <a:pt x="666" y="287"/>
                  </a:lnTo>
                  <a:lnTo>
                    <a:pt x="666" y="291"/>
                  </a:lnTo>
                  <a:lnTo>
                    <a:pt x="662" y="291"/>
                  </a:lnTo>
                  <a:lnTo>
                    <a:pt x="658" y="291"/>
                  </a:lnTo>
                  <a:lnTo>
                    <a:pt x="654" y="295"/>
                  </a:lnTo>
                  <a:lnTo>
                    <a:pt x="658" y="295"/>
                  </a:lnTo>
                  <a:lnTo>
                    <a:pt x="662" y="295"/>
                  </a:lnTo>
                  <a:close/>
                  <a:moveTo>
                    <a:pt x="1073" y="579"/>
                  </a:moveTo>
                  <a:lnTo>
                    <a:pt x="1069" y="579"/>
                  </a:lnTo>
                  <a:lnTo>
                    <a:pt x="1065" y="579"/>
                  </a:lnTo>
                  <a:lnTo>
                    <a:pt x="1061" y="575"/>
                  </a:lnTo>
                  <a:lnTo>
                    <a:pt x="1057" y="575"/>
                  </a:lnTo>
                  <a:lnTo>
                    <a:pt x="1061" y="575"/>
                  </a:lnTo>
                  <a:lnTo>
                    <a:pt x="1061" y="571"/>
                  </a:lnTo>
                  <a:lnTo>
                    <a:pt x="1057" y="571"/>
                  </a:lnTo>
                  <a:lnTo>
                    <a:pt x="1057" y="575"/>
                  </a:lnTo>
                  <a:lnTo>
                    <a:pt x="1053" y="571"/>
                  </a:lnTo>
                  <a:lnTo>
                    <a:pt x="1049" y="571"/>
                  </a:lnTo>
                  <a:lnTo>
                    <a:pt x="1049" y="567"/>
                  </a:lnTo>
                  <a:lnTo>
                    <a:pt x="1049" y="563"/>
                  </a:lnTo>
                  <a:lnTo>
                    <a:pt x="1045" y="563"/>
                  </a:lnTo>
                  <a:lnTo>
                    <a:pt x="1041" y="563"/>
                  </a:lnTo>
                  <a:lnTo>
                    <a:pt x="1045" y="563"/>
                  </a:lnTo>
                  <a:lnTo>
                    <a:pt x="1049" y="563"/>
                  </a:lnTo>
                  <a:lnTo>
                    <a:pt x="1053" y="563"/>
                  </a:lnTo>
                  <a:lnTo>
                    <a:pt x="1053" y="559"/>
                  </a:lnTo>
                  <a:lnTo>
                    <a:pt x="1057" y="559"/>
                  </a:lnTo>
                  <a:lnTo>
                    <a:pt x="1053" y="559"/>
                  </a:lnTo>
                  <a:lnTo>
                    <a:pt x="1049" y="559"/>
                  </a:lnTo>
                  <a:lnTo>
                    <a:pt x="1049" y="555"/>
                  </a:lnTo>
                  <a:lnTo>
                    <a:pt x="1045" y="555"/>
                  </a:lnTo>
                  <a:lnTo>
                    <a:pt x="1045" y="559"/>
                  </a:lnTo>
                  <a:lnTo>
                    <a:pt x="1041" y="555"/>
                  </a:lnTo>
                  <a:lnTo>
                    <a:pt x="1041" y="559"/>
                  </a:lnTo>
                  <a:lnTo>
                    <a:pt x="1037" y="555"/>
                  </a:lnTo>
                  <a:lnTo>
                    <a:pt x="1041" y="555"/>
                  </a:lnTo>
                  <a:lnTo>
                    <a:pt x="1041" y="551"/>
                  </a:lnTo>
                  <a:lnTo>
                    <a:pt x="1037" y="551"/>
                  </a:lnTo>
                  <a:lnTo>
                    <a:pt x="1037" y="555"/>
                  </a:lnTo>
                  <a:lnTo>
                    <a:pt x="1037" y="551"/>
                  </a:lnTo>
                  <a:lnTo>
                    <a:pt x="1033" y="551"/>
                  </a:lnTo>
                  <a:lnTo>
                    <a:pt x="1037" y="547"/>
                  </a:lnTo>
                  <a:lnTo>
                    <a:pt x="1033" y="547"/>
                  </a:lnTo>
                  <a:lnTo>
                    <a:pt x="1033" y="551"/>
                  </a:lnTo>
                  <a:lnTo>
                    <a:pt x="1033" y="547"/>
                  </a:lnTo>
                  <a:lnTo>
                    <a:pt x="1029" y="547"/>
                  </a:lnTo>
                  <a:lnTo>
                    <a:pt x="1029" y="543"/>
                  </a:lnTo>
                  <a:lnTo>
                    <a:pt x="1025" y="543"/>
                  </a:lnTo>
                  <a:lnTo>
                    <a:pt x="1021" y="539"/>
                  </a:lnTo>
                  <a:lnTo>
                    <a:pt x="1025" y="535"/>
                  </a:lnTo>
                  <a:lnTo>
                    <a:pt x="1025" y="531"/>
                  </a:lnTo>
                  <a:lnTo>
                    <a:pt x="1025" y="535"/>
                  </a:lnTo>
                  <a:lnTo>
                    <a:pt x="1021" y="535"/>
                  </a:lnTo>
                  <a:lnTo>
                    <a:pt x="1021" y="531"/>
                  </a:lnTo>
                  <a:lnTo>
                    <a:pt x="1017" y="531"/>
                  </a:lnTo>
                  <a:lnTo>
                    <a:pt x="1017" y="535"/>
                  </a:lnTo>
                  <a:lnTo>
                    <a:pt x="1013" y="535"/>
                  </a:lnTo>
                  <a:lnTo>
                    <a:pt x="1017" y="535"/>
                  </a:lnTo>
                  <a:lnTo>
                    <a:pt x="1013" y="539"/>
                  </a:lnTo>
                  <a:lnTo>
                    <a:pt x="1013" y="535"/>
                  </a:lnTo>
                  <a:lnTo>
                    <a:pt x="1013" y="531"/>
                  </a:lnTo>
                  <a:lnTo>
                    <a:pt x="1009" y="531"/>
                  </a:lnTo>
                  <a:lnTo>
                    <a:pt x="1009" y="535"/>
                  </a:lnTo>
                  <a:lnTo>
                    <a:pt x="1005" y="535"/>
                  </a:lnTo>
                  <a:lnTo>
                    <a:pt x="1005" y="531"/>
                  </a:lnTo>
                  <a:lnTo>
                    <a:pt x="1005" y="527"/>
                  </a:lnTo>
                  <a:lnTo>
                    <a:pt x="1001" y="527"/>
                  </a:lnTo>
                  <a:lnTo>
                    <a:pt x="1001" y="531"/>
                  </a:lnTo>
                  <a:lnTo>
                    <a:pt x="1001" y="527"/>
                  </a:lnTo>
                  <a:lnTo>
                    <a:pt x="997" y="527"/>
                  </a:lnTo>
                  <a:lnTo>
                    <a:pt x="1001" y="531"/>
                  </a:lnTo>
                  <a:lnTo>
                    <a:pt x="1005" y="531"/>
                  </a:lnTo>
                  <a:lnTo>
                    <a:pt x="1005" y="535"/>
                  </a:lnTo>
                  <a:lnTo>
                    <a:pt x="1005" y="539"/>
                  </a:lnTo>
                  <a:lnTo>
                    <a:pt x="1001" y="539"/>
                  </a:lnTo>
                  <a:lnTo>
                    <a:pt x="997" y="539"/>
                  </a:lnTo>
                  <a:lnTo>
                    <a:pt x="997" y="535"/>
                  </a:lnTo>
                  <a:lnTo>
                    <a:pt x="997" y="539"/>
                  </a:lnTo>
                  <a:lnTo>
                    <a:pt x="993" y="539"/>
                  </a:lnTo>
                  <a:lnTo>
                    <a:pt x="993" y="535"/>
                  </a:lnTo>
                  <a:lnTo>
                    <a:pt x="989" y="535"/>
                  </a:lnTo>
                  <a:lnTo>
                    <a:pt x="985" y="535"/>
                  </a:lnTo>
                  <a:lnTo>
                    <a:pt x="989" y="535"/>
                  </a:lnTo>
                  <a:lnTo>
                    <a:pt x="989" y="539"/>
                  </a:lnTo>
                  <a:lnTo>
                    <a:pt x="985" y="539"/>
                  </a:lnTo>
                  <a:lnTo>
                    <a:pt x="985" y="535"/>
                  </a:lnTo>
                  <a:lnTo>
                    <a:pt x="989" y="539"/>
                  </a:lnTo>
                  <a:lnTo>
                    <a:pt x="985" y="539"/>
                  </a:lnTo>
                  <a:lnTo>
                    <a:pt x="981" y="539"/>
                  </a:lnTo>
                  <a:lnTo>
                    <a:pt x="981" y="543"/>
                  </a:lnTo>
                  <a:lnTo>
                    <a:pt x="977" y="543"/>
                  </a:lnTo>
                  <a:lnTo>
                    <a:pt x="973" y="543"/>
                  </a:lnTo>
                  <a:lnTo>
                    <a:pt x="969" y="543"/>
                  </a:lnTo>
                  <a:lnTo>
                    <a:pt x="965" y="543"/>
                  </a:lnTo>
                  <a:lnTo>
                    <a:pt x="961" y="543"/>
                  </a:lnTo>
                  <a:lnTo>
                    <a:pt x="961" y="539"/>
                  </a:lnTo>
                  <a:lnTo>
                    <a:pt x="957" y="539"/>
                  </a:lnTo>
                  <a:lnTo>
                    <a:pt x="953" y="539"/>
                  </a:lnTo>
                  <a:lnTo>
                    <a:pt x="949" y="535"/>
                  </a:lnTo>
                  <a:lnTo>
                    <a:pt x="949" y="531"/>
                  </a:lnTo>
                  <a:lnTo>
                    <a:pt x="953" y="527"/>
                  </a:lnTo>
                  <a:lnTo>
                    <a:pt x="949" y="523"/>
                  </a:lnTo>
                  <a:lnTo>
                    <a:pt x="953" y="523"/>
                  </a:lnTo>
                  <a:lnTo>
                    <a:pt x="957" y="519"/>
                  </a:lnTo>
                  <a:lnTo>
                    <a:pt x="961" y="519"/>
                  </a:lnTo>
                  <a:lnTo>
                    <a:pt x="965" y="519"/>
                  </a:lnTo>
                  <a:lnTo>
                    <a:pt x="961" y="515"/>
                  </a:lnTo>
                  <a:lnTo>
                    <a:pt x="965" y="515"/>
                  </a:lnTo>
                  <a:lnTo>
                    <a:pt x="961" y="511"/>
                  </a:lnTo>
                  <a:lnTo>
                    <a:pt x="965" y="511"/>
                  </a:lnTo>
                  <a:lnTo>
                    <a:pt x="969" y="511"/>
                  </a:lnTo>
                  <a:lnTo>
                    <a:pt x="973" y="515"/>
                  </a:lnTo>
                  <a:lnTo>
                    <a:pt x="977" y="515"/>
                  </a:lnTo>
                  <a:lnTo>
                    <a:pt x="981" y="515"/>
                  </a:lnTo>
                  <a:lnTo>
                    <a:pt x="985" y="515"/>
                  </a:lnTo>
                  <a:lnTo>
                    <a:pt x="985" y="519"/>
                  </a:lnTo>
                  <a:lnTo>
                    <a:pt x="989" y="519"/>
                  </a:lnTo>
                  <a:lnTo>
                    <a:pt x="993" y="523"/>
                  </a:lnTo>
                  <a:lnTo>
                    <a:pt x="989" y="523"/>
                  </a:lnTo>
                  <a:lnTo>
                    <a:pt x="989" y="527"/>
                  </a:lnTo>
                  <a:lnTo>
                    <a:pt x="993" y="527"/>
                  </a:lnTo>
                  <a:lnTo>
                    <a:pt x="993" y="531"/>
                  </a:lnTo>
                  <a:lnTo>
                    <a:pt x="993" y="527"/>
                  </a:lnTo>
                  <a:lnTo>
                    <a:pt x="989" y="527"/>
                  </a:lnTo>
                  <a:lnTo>
                    <a:pt x="993" y="527"/>
                  </a:lnTo>
                  <a:lnTo>
                    <a:pt x="993" y="523"/>
                  </a:lnTo>
                  <a:lnTo>
                    <a:pt x="997" y="523"/>
                  </a:lnTo>
                  <a:lnTo>
                    <a:pt x="997" y="519"/>
                  </a:lnTo>
                  <a:lnTo>
                    <a:pt x="993" y="519"/>
                  </a:lnTo>
                  <a:lnTo>
                    <a:pt x="993" y="523"/>
                  </a:lnTo>
                  <a:lnTo>
                    <a:pt x="993" y="519"/>
                  </a:lnTo>
                  <a:lnTo>
                    <a:pt x="989" y="519"/>
                  </a:lnTo>
                  <a:lnTo>
                    <a:pt x="985" y="519"/>
                  </a:lnTo>
                  <a:lnTo>
                    <a:pt x="985" y="515"/>
                  </a:lnTo>
                  <a:lnTo>
                    <a:pt x="989" y="515"/>
                  </a:lnTo>
                  <a:lnTo>
                    <a:pt x="993" y="515"/>
                  </a:lnTo>
                  <a:lnTo>
                    <a:pt x="997" y="515"/>
                  </a:lnTo>
                  <a:lnTo>
                    <a:pt x="1001" y="515"/>
                  </a:lnTo>
                  <a:lnTo>
                    <a:pt x="1005" y="515"/>
                  </a:lnTo>
                  <a:lnTo>
                    <a:pt x="1009" y="511"/>
                  </a:lnTo>
                  <a:lnTo>
                    <a:pt x="1013" y="511"/>
                  </a:lnTo>
                  <a:lnTo>
                    <a:pt x="1017" y="511"/>
                  </a:lnTo>
                  <a:lnTo>
                    <a:pt x="1021" y="511"/>
                  </a:lnTo>
                  <a:lnTo>
                    <a:pt x="1021" y="507"/>
                  </a:lnTo>
                  <a:lnTo>
                    <a:pt x="1017" y="507"/>
                  </a:lnTo>
                  <a:lnTo>
                    <a:pt x="1017" y="503"/>
                  </a:lnTo>
                  <a:lnTo>
                    <a:pt x="1013" y="503"/>
                  </a:lnTo>
                  <a:lnTo>
                    <a:pt x="1013" y="499"/>
                  </a:lnTo>
                  <a:lnTo>
                    <a:pt x="1009" y="499"/>
                  </a:lnTo>
                  <a:lnTo>
                    <a:pt x="1009" y="495"/>
                  </a:lnTo>
                  <a:lnTo>
                    <a:pt x="1005" y="495"/>
                  </a:lnTo>
                  <a:lnTo>
                    <a:pt x="1009" y="491"/>
                  </a:lnTo>
                  <a:lnTo>
                    <a:pt x="1013" y="491"/>
                  </a:lnTo>
                  <a:lnTo>
                    <a:pt x="1017" y="487"/>
                  </a:lnTo>
                  <a:lnTo>
                    <a:pt x="1021" y="483"/>
                  </a:lnTo>
                  <a:lnTo>
                    <a:pt x="1025" y="479"/>
                  </a:lnTo>
                  <a:lnTo>
                    <a:pt x="1029" y="479"/>
                  </a:lnTo>
                  <a:lnTo>
                    <a:pt x="1029" y="475"/>
                  </a:lnTo>
                  <a:lnTo>
                    <a:pt x="1033" y="471"/>
                  </a:lnTo>
                  <a:lnTo>
                    <a:pt x="1037" y="471"/>
                  </a:lnTo>
                  <a:lnTo>
                    <a:pt x="1037" y="467"/>
                  </a:lnTo>
                  <a:lnTo>
                    <a:pt x="1041" y="467"/>
                  </a:lnTo>
                  <a:lnTo>
                    <a:pt x="1041" y="463"/>
                  </a:lnTo>
                  <a:lnTo>
                    <a:pt x="1037" y="463"/>
                  </a:lnTo>
                  <a:lnTo>
                    <a:pt x="1037" y="459"/>
                  </a:lnTo>
                  <a:lnTo>
                    <a:pt x="1037" y="455"/>
                  </a:lnTo>
                  <a:lnTo>
                    <a:pt x="1033" y="455"/>
                  </a:lnTo>
                  <a:lnTo>
                    <a:pt x="1033" y="451"/>
                  </a:lnTo>
                  <a:lnTo>
                    <a:pt x="1037" y="451"/>
                  </a:lnTo>
                  <a:lnTo>
                    <a:pt x="1033" y="451"/>
                  </a:lnTo>
                  <a:lnTo>
                    <a:pt x="1033" y="447"/>
                  </a:lnTo>
                  <a:lnTo>
                    <a:pt x="1029" y="447"/>
                  </a:lnTo>
                  <a:lnTo>
                    <a:pt x="1029" y="443"/>
                  </a:lnTo>
                  <a:lnTo>
                    <a:pt x="1029" y="439"/>
                  </a:lnTo>
                  <a:lnTo>
                    <a:pt x="1025" y="439"/>
                  </a:lnTo>
                  <a:lnTo>
                    <a:pt x="1021" y="439"/>
                  </a:lnTo>
                  <a:lnTo>
                    <a:pt x="1021" y="435"/>
                  </a:lnTo>
                  <a:lnTo>
                    <a:pt x="1025" y="435"/>
                  </a:lnTo>
                  <a:lnTo>
                    <a:pt x="1021" y="435"/>
                  </a:lnTo>
                  <a:lnTo>
                    <a:pt x="1021" y="439"/>
                  </a:lnTo>
                  <a:lnTo>
                    <a:pt x="1017" y="435"/>
                  </a:lnTo>
                  <a:lnTo>
                    <a:pt x="1017" y="431"/>
                  </a:lnTo>
                  <a:lnTo>
                    <a:pt x="1017" y="427"/>
                  </a:lnTo>
                  <a:lnTo>
                    <a:pt x="1013" y="427"/>
                  </a:lnTo>
                  <a:lnTo>
                    <a:pt x="1017" y="431"/>
                  </a:lnTo>
                  <a:lnTo>
                    <a:pt x="1013" y="431"/>
                  </a:lnTo>
                  <a:lnTo>
                    <a:pt x="1009" y="431"/>
                  </a:lnTo>
                  <a:lnTo>
                    <a:pt x="1005" y="427"/>
                  </a:lnTo>
                  <a:lnTo>
                    <a:pt x="1001" y="427"/>
                  </a:lnTo>
                  <a:lnTo>
                    <a:pt x="1001" y="423"/>
                  </a:lnTo>
                  <a:lnTo>
                    <a:pt x="1005" y="423"/>
                  </a:lnTo>
                  <a:lnTo>
                    <a:pt x="1001" y="423"/>
                  </a:lnTo>
                  <a:lnTo>
                    <a:pt x="1005" y="423"/>
                  </a:lnTo>
                  <a:lnTo>
                    <a:pt x="1001" y="423"/>
                  </a:lnTo>
                  <a:lnTo>
                    <a:pt x="1001" y="419"/>
                  </a:lnTo>
                  <a:lnTo>
                    <a:pt x="997" y="419"/>
                  </a:lnTo>
                  <a:lnTo>
                    <a:pt x="1001" y="419"/>
                  </a:lnTo>
                  <a:lnTo>
                    <a:pt x="1005" y="419"/>
                  </a:lnTo>
                  <a:lnTo>
                    <a:pt x="1005" y="415"/>
                  </a:lnTo>
                  <a:lnTo>
                    <a:pt x="1001" y="415"/>
                  </a:lnTo>
                  <a:lnTo>
                    <a:pt x="997" y="419"/>
                  </a:lnTo>
                  <a:lnTo>
                    <a:pt x="993" y="419"/>
                  </a:lnTo>
                  <a:lnTo>
                    <a:pt x="989" y="419"/>
                  </a:lnTo>
                  <a:lnTo>
                    <a:pt x="989" y="423"/>
                  </a:lnTo>
                  <a:lnTo>
                    <a:pt x="985" y="423"/>
                  </a:lnTo>
                  <a:lnTo>
                    <a:pt x="981" y="423"/>
                  </a:lnTo>
                  <a:lnTo>
                    <a:pt x="981" y="427"/>
                  </a:lnTo>
                  <a:lnTo>
                    <a:pt x="977" y="427"/>
                  </a:lnTo>
                  <a:lnTo>
                    <a:pt x="973" y="427"/>
                  </a:lnTo>
                  <a:lnTo>
                    <a:pt x="973" y="423"/>
                  </a:lnTo>
                  <a:lnTo>
                    <a:pt x="977" y="423"/>
                  </a:lnTo>
                  <a:lnTo>
                    <a:pt x="973" y="423"/>
                  </a:lnTo>
                  <a:lnTo>
                    <a:pt x="973" y="419"/>
                  </a:lnTo>
                  <a:lnTo>
                    <a:pt x="977" y="415"/>
                  </a:lnTo>
                  <a:lnTo>
                    <a:pt x="981" y="415"/>
                  </a:lnTo>
                  <a:lnTo>
                    <a:pt x="981" y="419"/>
                  </a:lnTo>
                  <a:lnTo>
                    <a:pt x="985" y="419"/>
                  </a:lnTo>
                  <a:lnTo>
                    <a:pt x="985" y="415"/>
                  </a:lnTo>
                  <a:lnTo>
                    <a:pt x="989" y="415"/>
                  </a:lnTo>
                  <a:lnTo>
                    <a:pt x="989" y="411"/>
                  </a:lnTo>
                  <a:lnTo>
                    <a:pt x="985" y="411"/>
                  </a:lnTo>
                  <a:lnTo>
                    <a:pt x="985" y="407"/>
                  </a:lnTo>
                  <a:lnTo>
                    <a:pt x="981" y="407"/>
                  </a:lnTo>
                  <a:lnTo>
                    <a:pt x="977" y="407"/>
                  </a:lnTo>
                  <a:lnTo>
                    <a:pt x="973" y="403"/>
                  </a:lnTo>
                  <a:lnTo>
                    <a:pt x="977" y="399"/>
                  </a:lnTo>
                  <a:lnTo>
                    <a:pt x="981" y="399"/>
                  </a:lnTo>
                  <a:lnTo>
                    <a:pt x="977" y="399"/>
                  </a:lnTo>
                  <a:lnTo>
                    <a:pt x="973" y="399"/>
                  </a:lnTo>
                  <a:lnTo>
                    <a:pt x="977" y="399"/>
                  </a:lnTo>
                  <a:lnTo>
                    <a:pt x="973" y="403"/>
                  </a:lnTo>
                  <a:lnTo>
                    <a:pt x="969" y="403"/>
                  </a:lnTo>
                  <a:lnTo>
                    <a:pt x="965" y="399"/>
                  </a:lnTo>
                  <a:lnTo>
                    <a:pt x="969" y="399"/>
                  </a:lnTo>
                  <a:lnTo>
                    <a:pt x="973" y="399"/>
                  </a:lnTo>
                  <a:lnTo>
                    <a:pt x="969" y="395"/>
                  </a:lnTo>
                  <a:lnTo>
                    <a:pt x="965" y="395"/>
                  </a:lnTo>
                  <a:lnTo>
                    <a:pt x="969" y="391"/>
                  </a:lnTo>
                  <a:lnTo>
                    <a:pt x="965" y="391"/>
                  </a:lnTo>
                  <a:lnTo>
                    <a:pt x="965" y="395"/>
                  </a:lnTo>
                  <a:lnTo>
                    <a:pt x="961" y="395"/>
                  </a:lnTo>
                  <a:lnTo>
                    <a:pt x="961" y="399"/>
                  </a:lnTo>
                  <a:lnTo>
                    <a:pt x="957" y="399"/>
                  </a:lnTo>
                  <a:lnTo>
                    <a:pt x="957" y="395"/>
                  </a:lnTo>
                  <a:lnTo>
                    <a:pt x="957" y="391"/>
                  </a:lnTo>
                  <a:lnTo>
                    <a:pt x="957" y="387"/>
                  </a:lnTo>
                  <a:lnTo>
                    <a:pt x="957" y="383"/>
                  </a:lnTo>
                  <a:lnTo>
                    <a:pt x="953" y="383"/>
                  </a:lnTo>
                  <a:lnTo>
                    <a:pt x="949" y="383"/>
                  </a:lnTo>
                  <a:lnTo>
                    <a:pt x="949" y="387"/>
                  </a:lnTo>
                  <a:lnTo>
                    <a:pt x="945" y="383"/>
                  </a:lnTo>
                  <a:lnTo>
                    <a:pt x="945" y="379"/>
                  </a:lnTo>
                  <a:lnTo>
                    <a:pt x="945" y="383"/>
                  </a:lnTo>
                  <a:lnTo>
                    <a:pt x="941" y="379"/>
                  </a:lnTo>
                  <a:lnTo>
                    <a:pt x="937" y="379"/>
                  </a:lnTo>
                  <a:lnTo>
                    <a:pt x="937" y="375"/>
                  </a:lnTo>
                  <a:lnTo>
                    <a:pt x="941" y="375"/>
                  </a:lnTo>
                  <a:lnTo>
                    <a:pt x="937" y="375"/>
                  </a:lnTo>
                  <a:lnTo>
                    <a:pt x="937" y="371"/>
                  </a:lnTo>
                  <a:lnTo>
                    <a:pt x="937" y="375"/>
                  </a:lnTo>
                  <a:lnTo>
                    <a:pt x="937" y="379"/>
                  </a:lnTo>
                  <a:lnTo>
                    <a:pt x="933" y="379"/>
                  </a:lnTo>
                  <a:lnTo>
                    <a:pt x="929" y="379"/>
                  </a:lnTo>
                  <a:lnTo>
                    <a:pt x="933" y="379"/>
                  </a:lnTo>
                  <a:lnTo>
                    <a:pt x="933" y="383"/>
                  </a:lnTo>
                  <a:lnTo>
                    <a:pt x="937" y="383"/>
                  </a:lnTo>
                  <a:lnTo>
                    <a:pt x="941" y="383"/>
                  </a:lnTo>
                  <a:lnTo>
                    <a:pt x="941" y="387"/>
                  </a:lnTo>
                  <a:lnTo>
                    <a:pt x="941" y="391"/>
                  </a:lnTo>
                  <a:lnTo>
                    <a:pt x="941" y="395"/>
                  </a:lnTo>
                  <a:lnTo>
                    <a:pt x="937" y="395"/>
                  </a:lnTo>
                  <a:lnTo>
                    <a:pt x="933" y="395"/>
                  </a:lnTo>
                  <a:lnTo>
                    <a:pt x="929" y="395"/>
                  </a:lnTo>
                  <a:lnTo>
                    <a:pt x="925" y="395"/>
                  </a:lnTo>
                  <a:lnTo>
                    <a:pt x="925" y="391"/>
                  </a:lnTo>
                  <a:lnTo>
                    <a:pt x="921" y="391"/>
                  </a:lnTo>
                  <a:lnTo>
                    <a:pt x="917" y="391"/>
                  </a:lnTo>
                  <a:lnTo>
                    <a:pt x="913" y="391"/>
                  </a:lnTo>
                  <a:lnTo>
                    <a:pt x="909" y="391"/>
                  </a:lnTo>
                  <a:lnTo>
                    <a:pt x="909" y="387"/>
                  </a:lnTo>
                  <a:lnTo>
                    <a:pt x="905" y="387"/>
                  </a:lnTo>
                  <a:lnTo>
                    <a:pt x="901" y="387"/>
                  </a:lnTo>
                  <a:lnTo>
                    <a:pt x="897" y="387"/>
                  </a:lnTo>
                  <a:lnTo>
                    <a:pt x="897" y="391"/>
                  </a:lnTo>
                  <a:lnTo>
                    <a:pt x="901" y="391"/>
                  </a:lnTo>
                  <a:lnTo>
                    <a:pt x="905" y="391"/>
                  </a:lnTo>
                  <a:lnTo>
                    <a:pt x="905" y="395"/>
                  </a:lnTo>
                  <a:lnTo>
                    <a:pt x="909" y="395"/>
                  </a:lnTo>
                  <a:lnTo>
                    <a:pt x="913" y="399"/>
                  </a:lnTo>
                  <a:lnTo>
                    <a:pt x="909" y="399"/>
                  </a:lnTo>
                  <a:lnTo>
                    <a:pt x="905" y="399"/>
                  </a:lnTo>
                  <a:lnTo>
                    <a:pt x="905" y="395"/>
                  </a:lnTo>
                  <a:lnTo>
                    <a:pt x="901" y="395"/>
                  </a:lnTo>
                  <a:lnTo>
                    <a:pt x="901" y="391"/>
                  </a:lnTo>
                  <a:lnTo>
                    <a:pt x="897" y="391"/>
                  </a:lnTo>
                  <a:lnTo>
                    <a:pt x="893" y="391"/>
                  </a:lnTo>
                  <a:lnTo>
                    <a:pt x="893" y="387"/>
                  </a:lnTo>
                  <a:lnTo>
                    <a:pt x="889" y="387"/>
                  </a:lnTo>
                  <a:lnTo>
                    <a:pt x="885" y="387"/>
                  </a:lnTo>
                  <a:lnTo>
                    <a:pt x="881" y="383"/>
                  </a:lnTo>
                  <a:lnTo>
                    <a:pt x="877" y="383"/>
                  </a:lnTo>
                  <a:lnTo>
                    <a:pt x="881" y="383"/>
                  </a:lnTo>
                  <a:lnTo>
                    <a:pt x="881" y="387"/>
                  </a:lnTo>
                  <a:lnTo>
                    <a:pt x="885" y="387"/>
                  </a:lnTo>
                  <a:lnTo>
                    <a:pt x="889" y="387"/>
                  </a:lnTo>
                  <a:lnTo>
                    <a:pt x="893" y="391"/>
                  </a:lnTo>
                  <a:lnTo>
                    <a:pt x="897" y="391"/>
                  </a:lnTo>
                  <a:lnTo>
                    <a:pt x="897" y="395"/>
                  </a:lnTo>
                  <a:lnTo>
                    <a:pt x="893" y="395"/>
                  </a:lnTo>
                  <a:lnTo>
                    <a:pt x="889" y="395"/>
                  </a:lnTo>
                  <a:lnTo>
                    <a:pt x="885" y="395"/>
                  </a:lnTo>
                  <a:lnTo>
                    <a:pt x="881" y="395"/>
                  </a:lnTo>
                  <a:lnTo>
                    <a:pt x="877" y="391"/>
                  </a:lnTo>
                  <a:lnTo>
                    <a:pt x="873" y="391"/>
                  </a:lnTo>
                  <a:lnTo>
                    <a:pt x="869" y="391"/>
                  </a:lnTo>
                  <a:lnTo>
                    <a:pt x="865" y="391"/>
                  </a:lnTo>
                  <a:lnTo>
                    <a:pt x="861" y="391"/>
                  </a:lnTo>
                  <a:lnTo>
                    <a:pt x="857" y="391"/>
                  </a:lnTo>
                  <a:lnTo>
                    <a:pt x="853" y="391"/>
                  </a:lnTo>
                  <a:lnTo>
                    <a:pt x="849" y="391"/>
                  </a:lnTo>
                  <a:lnTo>
                    <a:pt x="845" y="387"/>
                  </a:lnTo>
                  <a:lnTo>
                    <a:pt x="841" y="387"/>
                  </a:lnTo>
                  <a:lnTo>
                    <a:pt x="837" y="387"/>
                  </a:lnTo>
                  <a:lnTo>
                    <a:pt x="833" y="387"/>
                  </a:lnTo>
                  <a:lnTo>
                    <a:pt x="833" y="391"/>
                  </a:lnTo>
                  <a:lnTo>
                    <a:pt x="837" y="387"/>
                  </a:lnTo>
                  <a:lnTo>
                    <a:pt x="841" y="391"/>
                  </a:lnTo>
                  <a:lnTo>
                    <a:pt x="845" y="391"/>
                  </a:lnTo>
                  <a:lnTo>
                    <a:pt x="841" y="391"/>
                  </a:lnTo>
                  <a:lnTo>
                    <a:pt x="837" y="391"/>
                  </a:lnTo>
                  <a:lnTo>
                    <a:pt x="833" y="391"/>
                  </a:lnTo>
                  <a:lnTo>
                    <a:pt x="829" y="391"/>
                  </a:lnTo>
                  <a:lnTo>
                    <a:pt x="829" y="387"/>
                  </a:lnTo>
                  <a:lnTo>
                    <a:pt x="825" y="387"/>
                  </a:lnTo>
                  <a:lnTo>
                    <a:pt x="825" y="383"/>
                  </a:lnTo>
                  <a:lnTo>
                    <a:pt x="821" y="379"/>
                  </a:lnTo>
                  <a:lnTo>
                    <a:pt x="825" y="379"/>
                  </a:lnTo>
                  <a:lnTo>
                    <a:pt x="829" y="379"/>
                  </a:lnTo>
                  <a:lnTo>
                    <a:pt x="825" y="379"/>
                  </a:lnTo>
                  <a:lnTo>
                    <a:pt x="825" y="375"/>
                  </a:lnTo>
                  <a:lnTo>
                    <a:pt x="825" y="379"/>
                  </a:lnTo>
                  <a:lnTo>
                    <a:pt x="821" y="379"/>
                  </a:lnTo>
                  <a:lnTo>
                    <a:pt x="821" y="383"/>
                  </a:lnTo>
                  <a:lnTo>
                    <a:pt x="817" y="383"/>
                  </a:lnTo>
                  <a:lnTo>
                    <a:pt x="817" y="379"/>
                  </a:lnTo>
                  <a:lnTo>
                    <a:pt x="813" y="379"/>
                  </a:lnTo>
                  <a:lnTo>
                    <a:pt x="817" y="379"/>
                  </a:lnTo>
                  <a:lnTo>
                    <a:pt x="817" y="383"/>
                  </a:lnTo>
                  <a:lnTo>
                    <a:pt x="813" y="383"/>
                  </a:lnTo>
                  <a:lnTo>
                    <a:pt x="809" y="383"/>
                  </a:lnTo>
                  <a:lnTo>
                    <a:pt x="805" y="383"/>
                  </a:lnTo>
                  <a:lnTo>
                    <a:pt x="809" y="383"/>
                  </a:lnTo>
                  <a:lnTo>
                    <a:pt x="805" y="383"/>
                  </a:lnTo>
                  <a:lnTo>
                    <a:pt x="801" y="383"/>
                  </a:lnTo>
                  <a:lnTo>
                    <a:pt x="797" y="383"/>
                  </a:lnTo>
                  <a:lnTo>
                    <a:pt x="801" y="383"/>
                  </a:lnTo>
                  <a:lnTo>
                    <a:pt x="801" y="379"/>
                  </a:lnTo>
                  <a:lnTo>
                    <a:pt x="797" y="379"/>
                  </a:lnTo>
                  <a:lnTo>
                    <a:pt x="794" y="379"/>
                  </a:lnTo>
                  <a:lnTo>
                    <a:pt x="790" y="379"/>
                  </a:lnTo>
                  <a:lnTo>
                    <a:pt x="790" y="375"/>
                  </a:lnTo>
                  <a:lnTo>
                    <a:pt x="786" y="375"/>
                  </a:lnTo>
                  <a:lnTo>
                    <a:pt x="786" y="371"/>
                  </a:lnTo>
                  <a:lnTo>
                    <a:pt x="782" y="371"/>
                  </a:lnTo>
                  <a:lnTo>
                    <a:pt x="782" y="367"/>
                  </a:lnTo>
                  <a:lnTo>
                    <a:pt x="786" y="363"/>
                  </a:lnTo>
                  <a:lnTo>
                    <a:pt x="782" y="363"/>
                  </a:lnTo>
                  <a:lnTo>
                    <a:pt x="778" y="363"/>
                  </a:lnTo>
                  <a:lnTo>
                    <a:pt x="778" y="359"/>
                  </a:lnTo>
                  <a:lnTo>
                    <a:pt x="782" y="363"/>
                  </a:lnTo>
                  <a:lnTo>
                    <a:pt x="786" y="363"/>
                  </a:lnTo>
                  <a:lnTo>
                    <a:pt x="790" y="363"/>
                  </a:lnTo>
                  <a:lnTo>
                    <a:pt x="794" y="363"/>
                  </a:lnTo>
                  <a:lnTo>
                    <a:pt x="797" y="363"/>
                  </a:lnTo>
                  <a:lnTo>
                    <a:pt x="801" y="367"/>
                  </a:lnTo>
                  <a:lnTo>
                    <a:pt x="805" y="363"/>
                  </a:lnTo>
                  <a:lnTo>
                    <a:pt x="809" y="363"/>
                  </a:lnTo>
                  <a:lnTo>
                    <a:pt x="813" y="363"/>
                  </a:lnTo>
                  <a:lnTo>
                    <a:pt x="817" y="363"/>
                  </a:lnTo>
                  <a:lnTo>
                    <a:pt x="813" y="363"/>
                  </a:lnTo>
                  <a:lnTo>
                    <a:pt x="809" y="363"/>
                  </a:lnTo>
                  <a:lnTo>
                    <a:pt x="809" y="359"/>
                  </a:lnTo>
                  <a:lnTo>
                    <a:pt x="805" y="359"/>
                  </a:lnTo>
                  <a:lnTo>
                    <a:pt x="805" y="355"/>
                  </a:lnTo>
                  <a:lnTo>
                    <a:pt x="801" y="355"/>
                  </a:lnTo>
                  <a:lnTo>
                    <a:pt x="801" y="359"/>
                  </a:lnTo>
                  <a:lnTo>
                    <a:pt x="797" y="355"/>
                  </a:lnTo>
                  <a:lnTo>
                    <a:pt x="794" y="355"/>
                  </a:lnTo>
                  <a:lnTo>
                    <a:pt x="790" y="355"/>
                  </a:lnTo>
                  <a:lnTo>
                    <a:pt x="786" y="355"/>
                  </a:lnTo>
                  <a:lnTo>
                    <a:pt x="782" y="355"/>
                  </a:lnTo>
                  <a:lnTo>
                    <a:pt x="778" y="355"/>
                  </a:lnTo>
                  <a:lnTo>
                    <a:pt x="774" y="355"/>
                  </a:lnTo>
                  <a:lnTo>
                    <a:pt x="774" y="351"/>
                  </a:lnTo>
                  <a:lnTo>
                    <a:pt x="770" y="347"/>
                  </a:lnTo>
                  <a:lnTo>
                    <a:pt x="774" y="347"/>
                  </a:lnTo>
                  <a:lnTo>
                    <a:pt x="774" y="343"/>
                  </a:lnTo>
                  <a:lnTo>
                    <a:pt x="774" y="339"/>
                  </a:lnTo>
                  <a:lnTo>
                    <a:pt x="770" y="339"/>
                  </a:lnTo>
                  <a:lnTo>
                    <a:pt x="770" y="335"/>
                  </a:lnTo>
                  <a:lnTo>
                    <a:pt x="774" y="335"/>
                  </a:lnTo>
                  <a:lnTo>
                    <a:pt x="774" y="331"/>
                  </a:lnTo>
                  <a:lnTo>
                    <a:pt x="778" y="331"/>
                  </a:lnTo>
                  <a:lnTo>
                    <a:pt x="774" y="331"/>
                  </a:lnTo>
                  <a:lnTo>
                    <a:pt x="774" y="327"/>
                  </a:lnTo>
                  <a:lnTo>
                    <a:pt x="774" y="323"/>
                  </a:lnTo>
                  <a:lnTo>
                    <a:pt x="774" y="319"/>
                  </a:lnTo>
                  <a:lnTo>
                    <a:pt x="778" y="319"/>
                  </a:lnTo>
                  <a:lnTo>
                    <a:pt x="778" y="315"/>
                  </a:lnTo>
                  <a:lnTo>
                    <a:pt x="782" y="315"/>
                  </a:lnTo>
                  <a:lnTo>
                    <a:pt x="782" y="307"/>
                  </a:lnTo>
                  <a:lnTo>
                    <a:pt x="782" y="303"/>
                  </a:lnTo>
                  <a:lnTo>
                    <a:pt x="786" y="299"/>
                  </a:lnTo>
                  <a:lnTo>
                    <a:pt x="790" y="299"/>
                  </a:lnTo>
                  <a:lnTo>
                    <a:pt x="790" y="295"/>
                  </a:lnTo>
                  <a:lnTo>
                    <a:pt x="794" y="295"/>
                  </a:lnTo>
                  <a:lnTo>
                    <a:pt x="794" y="291"/>
                  </a:lnTo>
                  <a:lnTo>
                    <a:pt x="797" y="291"/>
                  </a:lnTo>
                  <a:lnTo>
                    <a:pt x="801" y="291"/>
                  </a:lnTo>
                  <a:lnTo>
                    <a:pt x="801" y="287"/>
                  </a:lnTo>
                  <a:lnTo>
                    <a:pt x="805" y="287"/>
                  </a:lnTo>
                  <a:lnTo>
                    <a:pt x="809" y="287"/>
                  </a:lnTo>
                  <a:lnTo>
                    <a:pt x="813" y="283"/>
                  </a:lnTo>
                  <a:lnTo>
                    <a:pt x="817" y="283"/>
                  </a:lnTo>
                  <a:lnTo>
                    <a:pt x="821" y="283"/>
                  </a:lnTo>
                  <a:lnTo>
                    <a:pt x="825" y="283"/>
                  </a:lnTo>
                  <a:lnTo>
                    <a:pt x="829" y="283"/>
                  </a:lnTo>
                  <a:lnTo>
                    <a:pt x="837" y="283"/>
                  </a:lnTo>
                  <a:lnTo>
                    <a:pt x="841" y="283"/>
                  </a:lnTo>
                  <a:lnTo>
                    <a:pt x="845" y="283"/>
                  </a:lnTo>
                  <a:lnTo>
                    <a:pt x="849" y="287"/>
                  </a:lnTo>
                  <a:lnTo>
                    <a:pt x="845" y="287"/>
                  </a:lnTo>
                  <a:lnTo>
                    <a:pt x="841" y="291"/>
                  </a:lnTo>
                  <a:lnTo>
                    <a:pt x="837" y="295"/>
                  </a:lnTo>
                  <a:lnTo>
                    <a:pt x="833" y="295"/>
                  </a:lnTo>
                  <a:lnTo>
                    <a:pt x="833" y="299"/>
                  </a:lnTo>
                  <a:lnTo>
                    <a:pt x="829" y="299"/>
                  </a:lnTo>
                  <a:lnTo>
                    <a:pt x="829" y="303"/>
                  </a:lnTo>
                  <a:lnTo>
                    <a:pt x="829" y="307"/>
                  </a:lnTo>
                  <a:lnTo>
                    <a:pt x="825" y="307"/>
                  </a:lnTo>
                  <a:lnTo>
                    <a:pt x="821" y="311"/>
                  </a:lnTo>
                  <a:lnTo>
                    <a:pt x="821" y="315"/>
                  </a:lnTo>
                  <a:lnTo>
                    <a:pt x="821" y="319"/>
                  </a:lnTo>
                  <a:lnTo>
                    <a:pt x="825" y="319"/>
                  </a:lnTo>
                  <a:lnTo>
                    <a:pt x="825" y="323"/>
                  </a:lnTo>
                  <a:lnTo>
                    <a:pt x="829" y="323"/>
                  </a:lnTo>
                  <a:lnTo>
                    <a:pt x="825" y="327"/>
                  </a:lnTo>
                  <a:lnTo>
                    <a:pt x="825" y="331"/>
                  </a:lnTo>
                  <a:lnTo>
                    <a:pt x="825" y="335"/>
                  </a:lnTo>
                  <a:lnTo>
                    <a:pt x="829" y="339"/>
                  </a:lnTo>
                  <a:lnTo>
                    <a:pt x="829" y="343"/>
                  </a:lnTo>
                  <a:lnTo>
                    <a:pt x="833" y="343"/>
                  </a:lnTo>
                  <a:lnTo>
                    <a:pt x="841" y="351"/>
                  </a:lnTo>
                  <a:lnTo>
                    <a:pt x="845" y="351"/>
                  </a:lnTo>
                  <a:lnTo>
                    <a:pt x="849" y="351"/>
                  </a:lnTo>
                  <a:lnTo>
                    <a:pt x="849" y="355"/>
                  </a:lnTo>
                  <a:lnTo>
                    <a:pt x="845" y="355"/>
                  </a:lnTo>
                  <a:lnTo>
                    <a:pt x="841" y="359"/>
                  </a:lnTo>
                  <a:lnTo>
                    <a:pt x="837" y="359"/>
                  </a:lnTo>
                  <a:lnTo>
                    <a:pt x="833" y="359"/>
                  </a:lnTo>
                  <a:lnTo>
                    <a:pt x="829" y="359"/>
                  </a:lnTo>
                  <a:lnTo>
                    <a:pt x="829" y="363"/>
                  </a:lnTo>
                  <a:lnTo>
                    <a:pt x="825" y="363"/>
                  </a:lnTo>
                  <a:lnTo>
                    <a:pt x="821" y="363"/>
                  </a:lnTo>
                  <a:lnTo>
                    <a:pt x="825" y="363"/>
                  </a:lnTo>
                  <a:lnTo>
                    <a:pt x="829" y="363"/>
                  </a:lnTo>
                  <a:lnTo>
                    <a:pt x="833" y="363"/>
                  </a:lnTo>
                  <a:lnTo>
                    <a:pt x="833" y="359"/>
                  </a:lnTo>
                  <a:lnTo>
                    <a:pt x="837" y="359"/>
                  </a:lnTo>
                  <a:lnTo>
                    <a:pt x="841" y="359"/>
                  </a:lnTo>
                  <a:lnTo>
                    <a:pt x="845" y="359"/>
                  </a:lnTo>
                  <a:lnTo>
                    <a:pt x="849" y="359"/>
                  </a:lnTo>
                  <a:lnTo>
                    <a:pt x="849" y="363"/>
                  </a:lnTo>
                  <a:lnTo>
                    <a:pt x="849" y="359"/>
                  </a:lnTo>
                  <a:lnTo>
                    <a:pt x="845" y="359"/>
                  </a:lnTo>
                  <a:lnTo>
                    <a:pt x="845" y="363"/>
                  </a:lnTo>
                  <a:lnTo>
                    <a:pt x="849" y="363"/>
                  </a:lnTo>
                  <a:lnTo>
                    <a:pt x="849" y="367"/>
                  </a:lnTo>
                  <a:lnTo>
                    <a:pt x="849" y="363"/>
                  </a:lnTo>
                  <a:lnTo>
                    <a:pt x="849" y="359"/>
                  </a:lnTo>
                  <a:lnTo>
                    <a:pt x="849" y="355"/>
                  </a:lnTo>
                  <a:lnTo>
                    <a:pt x="849" y="351"/>
                  </a:lnTo>
                  <a:lnTo>
                    <a:pt x="853" y="351"/>
                  </a:lnTo>
                  <a:lnTo>
                    <a:pt x="853" y="347"/>
                  </a:lnTo>
                  <a:lnTo>
                    <a:pt x="853" y="343"/>
                  </a:lnTo>
                  <a:lnTo>
                    <a:pt x="849" y="343"/>
                  </a:lnTo>
                  <a:lnTo>
                    <a:pt x="849" y="347"/>
                  </a:lnTo>
                  <a:lnTo>
                    <a:pt x="845" y="347"/>
                  </a:lnTo>
                  <a:lnTo>
                    <a:pt x="845" y="343"/>
                  </a:lnTo>
                  <a:lnTo>
                    <a:pt x="841" y="343"/>
                  </a:lnTo>
                  <a:lnTo>
                    <a:pt x="837" y="343"/>
                  </a:lnTo>
                  <a:lnTo>
                    <a:pt x="841" y="343"/>
                  </a:lnTo>
                  <a:lnTo>
                    <a:pt x="841" y="339"/>
                  </a:lnTo>
                  <a:lnTo>
                    <a:pt x="837" y="339"/>
                  </a:lnTo>
                  <a:lnTo>
                    <a:pt x="833" y="335"/>
                  </a:lnTo>
                  <a:lnTo>
                    <a:pt x="829" y="335"/>
                  </a:lnTo>
                  <a:lnTo>
                    <a:pt x="833" y="335"/>
                  </a:lnTo>
                  <a:lnTo>
                    <a:pt x="837" y="335"/>
                  </a:lnTo>
                  <a:lnTo>
                    <a:pt x="841" y="335"/>
                  </a:lnTo>
                  <a:lnTo>
                    <a:pt x="841" y="331"/>
                  </a:lnTo>
                  <a:lnTo>
                    <a:pt x="841" y="327"/>
                  </a:lnTo>
                  <a:lnTo>
                    <a:pt x="845" y="327"/>
                  </a:lnTo>
                  <a:lnTo>
                    <a:pt x="849" y="327"/>
                  </a:lnTo>
                  <a:lnTo>
                    <a:pt x="849" y="331"/>
                  </a:lnTo>
                  <a:lnTo>
                    <a:pt x="853" y="331"/>
                  </a:lnTo>
                  <a:lnTo>
                    <a:pt x="857" y="335"/>
                  </a:lnTo>
                  <a:lnTo>
                    <a:pt x="857" y="339"/>
                  </a:lnTo>
                  <a:lnTo>
                    <a:pt x="861" y="339"/>
                  </a:lnTo>
                  <a:lnTo>
                    <a:pt x="861" y="335"/>
                  </a:lnTo>
                  <a:lnTo>
                    <a:pt x="857" y="335"/>
                  </a:lnTo>
                  <a:lnTo>
                    <a:pt x="857" y="331"/>
                  </a:lnTo>
                  <a:lnTo>
                    <a:pt x="853" y="331"/>
                  </a:lnTo>
                  <a:lnTo>
                    <a:pt x="849" y="331"/>
                  </a:lnTo>
                  <a:lnTo>
                    <a:pt x="849" y="327"/>
                  </a:lnTo>
                  <a:lnTo>
                    <a:pt x="853" y="327"/>
                  </a:lnTo>
                  <a:lnTo>
                    <a:pt x="857" y="323"/>
                  </a:lnTo>
                  <a:lnTo>
                    <a:pt x="853" y="323"/>
                  </a:lnTo>
                  <a:lnTo>
                    <a:pt x="853" y="327"/>
                  </a:lnTo>
                  <a:lnTo>
                    <a:pt x="849" y="327"/>
                  </a:lnTo>
                  <a:lnTo>
                    <a:pt x="849" y="323"/>
                  </a:lnTo>
                  <a:lnTo>
                    <a:pt x="845" y="323"/>
                  </a:lnTo>
                  <a:lnTo>
                    <a:pt x="845" y="327"/>
                  </a:lnTo>
                  <a:lnTo>
                    <a:pt x="841" y="323"/>
                  </a:lnTo>
                  <a:lnTo>
                    <a:pt x="837" y="323"/>
                  </a:lnTo>
                  <a:lnTo>
                    <a:pt x="837" y="319"/>
                  </a:lnTo>
                  <a:lnTo>
                    <a:pt x="841" y="319"/>
                  </a:lnTo>
                  <a:lnTo>
                    <a:pt x="837" y="319"/>
                  </a:lnTo>
                  <a:lnTo>
                    <a:pt x="837" y="315"/>
                  </a:lnTo>
                  <a:lnTo>
                    <a:pt x="837" y="311"/>
                  </a:lnTo>
                  <a:lnTo>
                    <a:pt x="837" y="307"/>
                  </a:lnTo>
                  <a:lnTo>
                    <a:pt x="841" y="307"/>
                  </a:lnTo>
                  <a:lnTo>
                    <a:pt x="845" y="311"/>
                  </a:lnTo>
                  <a:lnTo>
                    <a:pt x="849" y="311"/>
                  </a:lnTo>
                  <a:lnTo>
                    <a:pt x="853" y="311"/>
                  </a:lnTo>
                  <a:lnTo>
                    <a:pt x="857" y="311"/>
                  </a:lnTo>
                  <a:lnTo>
                    <a:pt x="857" y="315"/>
                  </a:lnTo>
                  <a:lnTo>
                    <a:pt x="861" y="315"/>
                  </a:lnTo>
                  <a:lnTo>
                    <a:pt x="857" y="315"/>
                  </a:lnTo>
                  <a:lnTo>
                    <a:pt x="857" y="311"/>
                  </a:lnTo>
                  <a:lnTo>
                    <a:pt x="853" y="311"/>
                  </a:lnTo>
                  <a:lnTo>
                    <a:pt x="849" y="311"/>
                  </a:lnTo>
                  <a:lnTo>
                    <a:pt x="849" y="307"/>
                  </a:lnTo>
                  <a:lnTo>
                    <a:pt x="845" y="307"/>
                  </a:lnTo>
                  <a:lnTo>
                    <a:pt x="837" y="307"/>
                  </a:lnTo>
                  <a:lnTo>
                    <a:pt x="841" y="303"/>
                  </a:lnTo>
                  <a:lnTo>
                    <a:pt x="841" y="307"/>
                  </a:lnTo>
                  <a:lnTo>
                    <a:pt x="845" y="307"/>
                  </a:lnTo>
                  <a:lnTo>
                    <a:pt x="845" y="303"/>
                  </a:lnTo>
                  <a:lnTo>
                    <a:pt x="849" y="303"/>
                  </a:lnTo>
                  <a:lnTo>
                    <a:pt x="849" y="307"/>
                  </a:lnTo>
                  <a:lnTo>
                    <a:pt x="853" y="307"/>
                  </a:lnTo>
                  <a:lnTo>
                    <a:pt x="857" y="307"/>
                  </a:lnTo>
                  <a:lnTo>
                    <a:pt x="861" y="307"/>
                  </a:lnTo>
                  <a:lnTo>
                    <a:pt x="865" y="307"/>
                  </a:lnTo>
                  <a:lnTo>
                    <a:pt x="869" y="307"/>
                  </a:lnTo>
                  <a:lnTo>
                    <a:pt x="865" y="307"/>
                  </a:lnTo>
                  <a:lnTo>
                    <a:pt x="861" y="307"/>
                  </a:lnTo>
                  <a:lnTo>
                    <a:pt x="857" y="307"/>
                  </a:lnTo>
                  <a:lnTo>
                    <a:pt x="857" y="303"/>
                  </a:lnTo>
                  <a:lnTo>
                    <a:pt x="853" y="303"/>
                  </a:lnTo>
                  <a:lnTo>
                    <a:pt x="849" y="303"/>
                  </a:lnTo>
                  <a:lnTo>
                    <a:pt x="845" y="303"/>
                  </a:lnTo>
                  <a:lnTo>
                    <a:pt x="845" y="299"/>
                  </a:lnTo>
                  <a:lnTo>
                    <a:pt x="849" y="299"/>
                  </a:lnTo>
                  <a:lnTo>
                    <a:pt x="849" y="295"/>
                  </a:lnTo>
                  <a:lnTo>
                    <a:pt x="853" y="299"/>
                  </a:lnTo>
                  <a:lnTo>
                    <a:pt x="857" y="299"/>
                  </a:lnTo>
                  <a:lnTo>
                    <a:pt x="853" y="299"/>
                  </a:lnTo>
                  <a:lnTo>
                    <a:pt x="853" y="295"/>
                  </a:lnTo>
                  <a:lnTo>
                    <a:pt x="857" y="295"/>
                  </a:lnTo>
                  <a:lnTo>
                    <a:pt x="861" y="295"/>
                  </a:lnTo>
                  <a:lnTo>
                    <a:pt x="865" y="295"/>
                  </a:lnTo>
                  <a:lnTo>
                    <a:pt x="865" y="299"/>
                  </a:lnTo>
                  <a:lnTo>
                    <a:pt x="869" y="299"/>
                  </a:lnTo>
                  <a:lnTo>
                    <a:pt x="869" y="295"/>
                  </a:lnTo>
                  <a:lnTo>
                    <a:pt x="865" y="295"/>
                  </a:lnTo>
                  <a:lnTo>
                    <a:pt x="861" y="295"/>
                  </a:lnTo>
                  <a:lnTo>
                    <a:pt x="861" y="291"/>
                  </a:lnTo>
                  <a:lnTo>
                    <a:pt x="865" y="291"/>
                  </a:lnTo>
                  <a:lnTo>
                    <a:pt x="869" y="291"/>
                  </a:lnTo>
                  <a:lnTo>
                    <a:pt x="873" y="287"/>
                  </a:lnTo>
                  <a:lnTo>
                    <a:pt x="877" y="287"/>
                  </a:lnTo>
                  <a:lnTo>
                    <a:pt x="881" y="287"/>
                  </a:lnTo>
                  <a:lnTo>
                    <a:pt x="885" y="287"/>
                  </a:lnTo>
                  <a:lnTo>
                    <a:pt x="889" y="287"/>
                  </a:lnTo>
                  <a:lnTo>
                    <a:pt x="893" y="287"/>
                  </a:lnTo>
                  <a:lnTo>
                    <a:pt x="897" y="287"/>
                  </a:lnTo>
                  <a:lnTo>
                    <a:pt x="901" y="287"/>
                  </a:lnTo>
                  <a:lnTo>
                    <a:pt x="905" y="291"/>
                  </a:lnTo>
                  <a:lnTo>
                    <a:pt x="905" y="295"/>
                  </a:lnTo>
                  <a:lnTo>
                    <a:pt x="905" y="299"/>
                  </a:lnTo>
                  <a:lnTo>
                    <a:pt x="909" y="303"/>
                  </a:lnTo>
                  <a:lnTo>
                    <a:pt x="913" y="303"/>
                  </a:lnTo>
                  <a:lnTo>
                    <a:pt x="913" y="307"/>
                  </a:lnTo>
                  <a:lnTo>
                    <a:pt x="913" y="311"/>
                  </a:lnTo>
                  <a:lnTo>
                    <a:pt x="917" y="311"/>
                  </a:lnTo>
                  <a:lnTo>
                    <a:pt x="917" y="315"/>
                  </a:lnTo>
                  <a:lnTo>
                    <a:pt x="913" y="319"/>
                  </a:lnTo>
                  <a:lnTo>
                    <a:pt x="909" y="323"/>
                  </a:lnTo>
                  <a:lnTo>
                    <a:pt x="905" y="327"/>
                  </a:lnTo>
                  <a:lnTo>
                    <a:pt x="901" y="327"/>
                  </a:lnTo>
                  <a:lnTo>
                    <a:pt x="905" y="327"/>
                  </a:lnTo>
                  <a:lnTo>
                    <a:pt x="909" y="323"/>
                  </a:lnTo>
                  <a:lnTo>
                    <a:pt x="913" y="323"/>
                  </a:lnTo>
                  <a:lnTo>
                    <a:pt x="917" y="323"/>
                  </a:lnTo>
                  <a:lnTo>
                    <a:pt x="913" y="323"/>
                  </a:lnTo>
                  <a:lnTo>
                    <a:pt x="913" y="327"/>
                  </a:lnTo>
                  <a:lnTo>
                    <a:pt x="909" y="327"/>
                  </a:lnTo>
                  <a:lnTo>
                    <a:pt x="909" y="331"/>
                  </a:lnTo>
                  <a:lnTo>
                    <a:pt x="913" y="331"/>
                  </a:lnTo>
                  <a:lnTo>
                    <a:pt x="913" y="335"/>
                  </a:lnTo>
                  <a:lnTo>
                    <a:pt x="913" y="331"/>
                  </a:lnTo>
                  <a:lnTo>
                    <a:pt x="909" y="335"/>
                  </a:lnTo>
                  <a:lnTo>
                    <a:pt x="905" y="335"/>
                  </a:lnTo>
                  <a:lnTo>
                    <a:pt x="909" y="335"/>
                  </a:lnTo>
                  <a:lnTo>
                    <a:pt x="909" y="339"/>
                  </a:lnTo>
                  <a:lnTo>
                    <a:pt x="913" y="339"/>
                  </a:lnTo>
                  <a:lnTo>
                    <a:pt x="913" y="335"/>
                  </a:lnTo>
                  <a:lnTo>
                    <a:pt x="917" y="335"/>
                  </a:lnTo>
                  <a:lnTo>
                    <a:pt x="917" y="331"/>
                  </a:lnTo>
                  <a:lnTo>
                    <a:pt x="921" y="331"/>
                  </a:lnTo>
                  <a:lnTo>
                    <a:pt x="917" y="331"/>
                  </a:lnTo>
                  <a:lnTo>
                    <a:pt x="917" y="327"/>
                  </a:lnTo>
                  <a:lnTo>
                    <a:pt x="921" y="327"/>
                  </a:lnTo>
                  <a:lnTo>
                    <a:pt x="921" y="331"/>
                  </a:lnTo>
                  <a:lnTo>
                    <a:pt x="925" y="331"/>
                  </a:lnTo>
                  <a:lnTo>
                    <a:pt x="929" y="331"/>
                  </a:lnTo>
                  <a:lnTo>
                    <a:pt x="925" y="331"/>
                  </a:lnTo>
                  <a:lnTo>
                    <a:pt x="921" y="327"/>
                  </a:lnTo>
                  <a:lnTo>
                    <a:pt x="921" y="323"/>
                  </a:lnTo>
                  <a:lnTo>
                    <a:pt x="925" y="323"/>
                  </a:lnTo>
                  <a:lnTo>
                    <a:pt x="929" y="323"/>
                  </a:lnTo>
                  <a:lnTo>
                    <a:pt x="925" y="323"/>
                  </a:lnTo>
                  <a:lnTo>
                    <a:pt x="929" y="323"/>
                  </a:lnTo>
                  <a:lnTo>
                    <a:pt x="929" y="327"/>
                  </a:lnTo>
                  <a:lnTo>
                    <a:pt x="925" y="327"/>
                  </a:lnTo>
                  <a:lnTo>
                    <a:pt x="925" y="331"/>
                  </a:lnTo>
                  <a:lnTo>
                    <a:pt x="929" y="331"/>
                  </a:lnTo>
                  <a:lnTo>
                    <a:pt x="929" y="327"/>
                  </a:lnTo>
                  <a:lnTo>
                    <a:pt x="933" y="323"/>
                  </a:lnTo>
                  <a:lnTo>
                    <a:pt x="937" y="327"/>
                  </a:lnTo>
                  <a:lnTo>
                    <a:pt x="937" y="331"/>
                  </a:lnTo>
                  <a:lnTo>
                    <a:pt x="937" y="335"/>
                  </a:lnTo>
                  <a:lnTo>
                    <a:pt x="933" y="335"/>
                  </a:lnTo>
                  <a:lnTo>
                    <a:pt x="937" y="335"/>
                  </a:lnTo>
                  <a:lnTo>
                    <a:pt x="941" y="339"/>
                  </a:lnTo>
                  <a:lnTo>
                    <a:pt x="945" y="339"/>
                  </a:lnTo>
                  <a:lnTo>
                    <a:pt x="941" y="335"/>
                  </a:lnTo>
                  <a:lnTo>
                    <a:pt x="941" y="331"/>
                  </a:lnTo>
                  <a:lnTo>
                    <a:pt x="945" y="331"/>
                  </a:lnTo>
                  <a:lnTo>
                    <a:pt x="945" y="335"/>
                  </a:lnTo>
                  <a:lnTo>
                    <a:pt x="949" y="335"/>
                  </a:lnTo>
                  <a:lnTo>
                    <a:pt x="949" y="339"/>
                  </a:lnTo>
                  <a:lnTo>
                    <a:pt x="953" y="339"/>
                  </a:lnTo>
                  <a:lnTo>
                    <a:pt x="953" y="343"/>
                  </a:lnTo>
                  <a:lnTo>
                    <a:pt x="953" y="339"/>
                  </a:lnTo>
                  <a:lnTo>
                    <a:pt x="949" y="339"/>
                  </a:lnTo>
                  <a:lnTo>
                    <a:pt x="949" y="335"/>
                  </a:lnTo>
                  <a:lnTo>
                    <a:pt x="953" y="339"/>
                  </a:lnTo>
                  <a:lnTo>
                    <a:pt x="957" y="343"/>
                  </a:lnTo>
                  <a:lnTo>
                    <a:pt x="957" y="339"/>
                  </a:lnTo>
                  <a:lnTo>
                    <a:pt x="953" y="339"/>
                  </a:lnTo>
                  <a:lnTo>
                    <a:pt x="953" y="335"/>
                  </a:lnTo>
                  <a:lnTo>
                    <a:pt x="949" y="335"/>
                  </a:lnTo>
                  <a:lnTo>
                    <a:pt x="949" y="331"/>
                  </a:lnTo>
                  <a:lnTo>
                    <a:pt x="945" y="331"/>
                  </a:lnTo>
                  <a:lnTo>
                    <a:pt x="941" y="331"/>
                  </a:lnTo>
                  <a:lnTo>
                    <a:pt x="941" y="327"/>
                  </a:lnTo>
                  <a:lnTo>
                    <a:pt x="945" y="327"/>
                  </a:lnTo>
                  <a:lnTo>
                    <a:pt x="945" y="331"/>
                  </a:lnTo>
                  <a:lnTo>
                    <a:pt x="949" y="331"/>
                  </a:lnTo>
                  <a:lnTo>
                    <a:pt x="945" y="331"/>
                  </a:lnTo>
                  <a:lnTo>
                    <a:pt x="945" y="327"/>
                  </a:lnTo>
                  <a:lnTo>
                    <a:pt x="949" y="327"/>
                  </a:lnTo>
                  <a:lnTo>
                    <a:pt x="953" y="327"/>
                  </a:lnTo>
                  <a:lnTo>
                    <a:pt x="957" y="327"/>
                  </a:lnTo>
                  <a:lnTo>
                    <a:pt x="957" y="331"/>
                  </a:lnTo>
                  <a:lnTo>
                    <a:pt x="961" y="331"/>
                  </a:lnTo>
                  <a:lnTo>
                    <a:pt x="965" y="331"/>
                  </a:lnTo>
                  <a:lnTo>
                    <a:pt x="969" y="331"/>
                  </a:lnTo>
                  <a:lnTo>
                    <a:pt x="965" y="331"/>
                  </a:lnTo>
                  <a:lnTo>
                    <a:pt x="961" y="331"/>
                  </a:lnTo>
                  <a:lnTo>
                    <a:pt x="957" y="331"/>
                  </a:lnTo>
                  <a:lnTo>
                    <a:pt x="957" y="327"/>
                  </a:lnTo>
                  <a:lnTo>
                    <a:pt x="953" y="327"/>
                  </a:lnTo>
                  <a:lnTo>
                    <a:pt x="949" y="327"/>
                  </a:lnTo>
                  <a:lnTo>
                    <a:pt x="945" y="323"/>
                  </a:lnTo>
                  <a:lnTo>
                    <a:pt x="945" y="319"/>
                  </a:lnTo>
                  <a:lnTo>
                    <a:pt x="949" y="319"/>
                  </a:lnTo>
                  <a:lnTo>
                    <a:pt x="953" y="315"/>
                  </a:lnTo>
                  <a:lnTo>
                    <a:pt x="957" y="315"/>
                  </a:lnTo>
                  <a:lnTo>
                    <a:pt x="961" y="315"/>
                  </a:lnTo>
                  <a:lnTo>
                    <a:pt x="965" y="315"/>
                  </a:lnTo>
                  <a:lnTo>
                    <a:pt x="969" y="315"/>
                  </a:lnTo>
                  <a:lnTo>
                    <a:pt x="973" y="315"/>
                  </a:lnTo>
                  <a:lnTo>
                    <a:pt x="973" y="319"/>
                  </a:lnTo>
                  <a:lnTo>
                    <a:pt x="977" y="319"/>
                  </a:lnTo>
                  <a:lnTo>
                    <a:pt x="981" y="319"/>
                  </a:lnTo>
                  <a:lnTo>
                    <a:pt x="981" y="323"/>
                  </a:lnTo>
                  <a:lnTo>
                    <a:pt x="981" y="319"/>
                  </a:lnTo>
                  <a:lnTo>
                    <a:pt x="985" y="319"/>
                  </a:lnTo>
                  <a:lnTo>
                    <a:pt x="989" y="319"/>
                  </a:lnTo>
                  <a:lnTo>
                    <a:pt x="993" y="319"/>
                  </a:lnTo>
                  <a:lnTo>
                    <a:pt x="993" y="323"/>
                  </a:lnTo>
                  <a:lnTo>
                    <a:pt x="997" y="323"/>
                  </a:lnTo>
                  <a:lnTo>
                    <a:pt x="997" y="327"/>
                  </a:lnTo>
                  <a:lnTo>
                    <a:pt x="1001" y="327"/>
                  </a:lnTo>
                  <a:lnTo>
                    <a:pt x="997" y="331"/>
                  </a:lnTo>
                  <a:lnTo>
                    <a:pt x="993" y="331"/>
                  </a:lnTo>
                  <a:lnTo>
                    <a:pt x="989" y="331"/>
                  </a:lnTo>
                  <a:lnTo>
                    <a:pt x="985" y="331"/>
                  </a:lnTo>
                  <a:lnTo>
                    <a:pt x="985" y="335"/>
                  </a:lnTo>
                  <a:lnTo>
                    <a:pt x="981" y="335"/>
                  </a:lnTo>
                  <a:lnTo>
                    <a:pt x="977" y="339"/>
                  </a:lnTo>
                  <a:lnTo>
                    <a:pt x="981" y="335"/>
                  </a:lnTo>
                  <a:lnTo>
                    <a:pt x="985" y="335"/>
                  </a:lnTo>
                  <a:lnTo>
                    <a:pt x="985" y="331"/>
                  </a:lnTo>
                  <a:lnTo>
                    <a:pt x="989" y="331"/>
                  </a:lnTo>
                  <a:lnTo>
                    <a:pt x="993" y="331"/>
                  </a:lnTo>
                  <a:lnTo>
                    <a:pt x="997" y="335"/>
                  </a:lnTo>
                  <a:lnTo>
                    <a:pt x="993" y="335"/>
                  </a:lnTo>
                  <a:lnTo>
                    <a:pt x="989" y="335"/>
                  </a:lnTo>
                  <a:lnTo>
                    <a:pt x="989" y="339"/>
                  </a:lnTo>
                  <a:lnTo>
                    <a:pt x="985" y="343"/>
                  </a:lnTo>
                  <a:lnTo>
                    <a:pt x="981" y="343"/>
                  </a:lnTo>
                  <a:lnTo>
                    <a:pt x="985" y="343"/>
                  </a:lnTo>
                  <a:lnTo>
                    <a:pt x="989" y="339"/>
                  </a:lnTo>
                  <a:lnTo>
                    <a:pt x="989" y="335"/>
                  </a:lnTo>
                  <a:lnTo>
                    <a:pt x="993" y="335"/>
                  </a:lnTo>
                  <a:lnTo>
                    <a:pt x="997" y="335"/>
                  </a:lnTo>
                  <a:lnTo>
                    <a:pt x="997" y="331"/>
                  </a:lnTo>
                  <a:lnTo>
                    <a:pt x="1001" y="331"/>
                  </a:lnTo>
                  <a:lnTo>
                    <a:pt x="1005" y="331"/>
                  </a:lnTo>
                  <a:lnTo>
                    <a:pt x="1009" y="335"/>
                  </a:lnTo>
                  <a:lnTo>
                    <a:pt x="1013" y="335"/>
                  </a:lnTo>
                  <a:lnTo>
                    <a:pt x="1013" y="339"/>
                  </a:lnTo>
                  <a:lnTo>
                    <a:pt x="1009" y="339"/>
                  </a:lnTo>
                  <a:lnTo>
                    <a:pt x="1009" y="343"/>
                  </a:lnTo>
                  <a:lnTo>
                    <a:pt x="1005" y="339"/>
                  </a:lnTo>
                  <a:lnTo>
                    <a:pt x="1005" y="343"/>
                  </a:lnTo>
                  <a:lnTo>
                    <a:pt x="1001" y="343"/>
                  </a:lnTo>
                  <a:lnTo>
                    <a:pt x="997" y="343"/>
                  </a:lnTo>
                  <a:lnTo>
                    <a:pt x="993" y="343"/>
                  </a:lnTo>
                  <a:lnTo>
                    <a:pt x="997" y="343"/>
                  </a:lnTo>
                  <a:lnTo>
                    <a:pt x="1001" y="343"/>
                  </a:lnTo>
                  <a:lnTo>
                    <a:pt x="997" y="347"/>
                  </a:lnTo>
                  <a:lnTo>
                    <a:pt x="993" y="347"/>
                  </a:lnTo>
                  <a:lnTo>
                    <a:pt x="997" y="347"/>
                  </a:lnTo>
                  <a:lnTo>
                    <a:pt x="1001" y="347"/>
                  </a:lnTo>
                  <a:lnTo>
                    <a:pt x="1001" y="343"/>
                  </a:lnTo>
                  <a:lnTo>
                    <a:pt x="1005" y="343"/>
                  </a:lnTo>
                  <a:lnTo>
                    <a:pt x="1005" y="347"/>
                  </a:lnTo>
                  <a:lnTo>
                    <a:pt x="1001" y="347"/>
                  </a:lnTo>
                  <a:lnTo>
                    <a:pt x="997" y="347"/>
                  </a:lnTo>
                  <a:lnTo>
                    <a:pt x="997" y="351"/>
                  </a:lnTo>
                  <a:lnTo>
                    <a:pt x="997" y="347"/>
                  </a:lnTo>
                  <a:lnTo>
                    <a:pt x="1001" y="347"/>
                  </a:lnTo>
                  <a:lnTo>
                    <a:pt x="1001" y="351"/>
                  </a:lnTo>
                  <a:lnTo>
                    <a:pt x="1005" y="351"/>
                  </a:lnTo>
                  <a:lnTo>
                    <a:pt x="1001" y="355"/>
                  </a:lnTo>
                  <a:lnTo>
                    <a:pt x="997" y="359"/>
                  </a:lnTo>
                  <a:lnTo>
                    <a:pt x="1001" y="355"/>
                  </a:lnTo>
                  <a:lnTo>
                    <a:pt x="1005" y="355"/>
                  </a:lnTo>
                  <a:lnTo>
                    <a:pt x="1005" y="351"/>
                  </a:lnTo>
                  <a:lnTo>
                    <a:pt x="1001" y="351"/>
                  </a:lnTo>
                  <a:lnTo>
                    <a:pt x="1001" y="347"/>
                  </a:lnTo>
                  <a:lnTo>
                    <a:pt x="1005" y="347"/>
                  </a:lnTo>
                  <a:lnTo>
                    <a:pt x="1009" y="343"/>
                  </a:lnTo>
                  <a:lnTo>
                    <a:pt x="1013" y="343"/>
                  </a:lnTo>
                  <a:lnTo>
                    <a:pt x="1013" y="347"/>
                  </a:lnTo>
                  <a:lnTo>
                    <a:pt x="1009" y="347"/>
                  </a:lnTo>
                  <a:lnTo>
                    <a:pt x="1013" y="347"/>
                  </a:lnTo>
                  <a:lnTo>
                    <a:pt x="1013" y="343"/>
                  </a:lnTo>
                  <a:lnTo>
                    <a:pt x="1017" y="343"/>
                  </a:lnTo>
                  <a:lnTo>
                    <a:pt x="1021" y="343"/>
                  </a:lnTo>
                  <a:lnTo>
                    <a:pt x="1017" y="343"/>
                  </a:lnTo>
                  <a:lnTo>
                    <a:pt x="1017" y="347"/>
                  </a:lnTo>
                  <a:lnTo>
                    <a:pt x="1013" y="347"/>
                  </a:lnTo>
                  <a:lnTo>
                    <a:pt x="1013" y="351"/>
                  </a:lnTo>
                  <a:lnTo>
                    <a:pt x="1009" y="351"/>
                  </a:lnTo>
                  <a:lnTo>
                    <a:pt x="1013" y="351"/>
                  </a:lnTo>
                  <a:lnTo>
                    <a:pt x="1013" y="355"/>
                  </a:lnTo>
                  <a:lnTo>
                    <a:pt x="1009" y="355"/>
                  </a:lnTo>
                  <a:lnTo>
                    <a:pt x="1009" y="359"/>
                  </a:lnTo>
                  <a:lnTo>
                    <a:pt x="1013" y="359"/>
                  </a:lnTo>
                  <a:lnTo>
                    <a:pt x="1013" y="355"/>
                  </a:lnTo>
                  <a:lnTo>
                    <a:pt x="1013" y="351"/>
                  </a:lnTo>
                  <a:lnTo>
                    <a:pt x="1017" y="347"/>
                  </a:lnTo>
                  <a:lnTo>
                    <a:pt x="1021" y="347"/>
                  </a:lnTo>
                  <a:lnTo>
                    <a:pt x="1021" y="351"/>
                  </a:lnTo>
                  <a:lnTo>
                    <a:pt x="1021" y="355"/>
                  </a:lnTo>
                  <a:lnTo>
                    <a:pt x="1021" y="351"/>
                  </a:lnTo>
                  <a:lnTo>
                    <a:pt x="1025" y="351"/>
                  </a:lnTo>
                  <a:lnTo>
                    <a:pt x="1021" y="355"/>
                  </a:lnTo>
                  <a:lnTo>
                    <a:pt x="1017" y="355"/>
                  </a:lnTo>
                  <a:lnTo>
                    <a:pt x="1017" y="359"/>
                  </a:lnTo>
                  <a:lnTo>
                    <a:pt x="1017" y="363"/>
                  </a:lnTo>
                  <a:lnTo>
                    <a:pt x="1017" y="359"/>
                  </a:lnTo>
                  <a:lnTo>
                    <a:pt x="1021" y="355"/>
                  </a:lnTo>
                  <a:lnTo>
                    <a:pt x="1025" y="355"/>
                  </a:lnTo>
                  <a:lnTo>
                    <a:pt x="1029" y="355"/>
                  </a:lnTo>
                  <a:lnTo>
                    <a:pt x="1025" y="355"/>
                  </a:lnTo>
                  <a:lnTo>
                    <a:pt x="1025" y="359"/>
                  </a:lnTo>
                  <a:lnTo>
                    <a:pt x="1025" y="363"/>
                  </a:lnTo>
                  <a:lnTo>
                    <a:pt x="1021" y="363"/>
                  </a:lnTo>
                  <a:lnTo>
                    <a:pt x="1025" y="363"/>
                  </a:lnTo>
                  <a:lnTo>
                    <a:pt x="1025" y="359"/>
                  </a:lnTo>
                  <a:lnTo>
                    <a:pt x="1029" y="355"/>
                  </a:lnTo>
                  <a:lnTo>
                    <a:pt x="1029" y="359"/>
                  </a:lnTo>
                  <a:lnTo>
                    <a:pt x="1029" y="355"/>
                  </a:lnTo>
                  <a:lnTo>
                    <a:pt x="1029" y="351"/>
                  </a:lnTo>
                  <a:lnTo>
                    <a:pt x="1033" y="351"/>
                  </a:lnTo>
                  <a:lnTo>
                    <a:pt x="1033" y="347"/>
                  </a:lnTo>
                  <a:lnTo>
                    <a:pt x="1037" y="347"/>
                  </a:lnTo>
                  <a:lnTo>
                    <a:pt x="1037" y="343"/>
                  </a:lnTo>
                  <a:lnTo>
                    <a:pt x="1037" y="347"/>
                  </a:lnTo>
                  <a:lnTo>
                    <a:pt x="1041" y="347"/>
                  </a:lnTo>
                  <a:lnTo>
                    <a:pt x="1045" y="347"/>
                  </a:lnTo>
                  <a:lnTo>
                    <a:pt x="1049" y="347"/>
                  </a:lnTo>
                  <a:lnTo>
                    <a:pt x="1049" y="351"/>
                  </a:lnTo>
                  <a:lnTo>
                    <a:pt x="1053" y="351"/>
                  </a:lnTo>
                  <a:lnTo>
                    <a:pt x="1057" y="355"/>
                  </a:lnTo>
                  <a:lnTo>
                    <a:pt x="1057" y="359"/>
                  </a:lnTo>
                  <a:lnTo>
                    <a:pt x="1053" y="359"/>
                  </a:lnTo>
                  <a:lnTo>
                    <a:pt x="1053" y="363"/>
                  </a:lnTo>
                  <a:lnTo>
                    <a:pt x="1049" y="363"/>
                  </a:lnTo>
                  <a:lnTo>
                    <a:pt x="1049" y="359"/>
                  </a:lnTo>
                  <a:lnTo>
                    <a:pt x="1045" y="359"/>
                  </a:lnTo>
                  <a:lnTo>
                    <a:pt x="1041" y="363"/>
                  </a:lnTo>
                  <a:lnTo>
                    <a:pt x="1041" y="367"/>
                  </a:lnTo>
                  <a:lnTo>
                    <a:pt x="1037" y="367"/>
                  </a:lnTo>
                  <a:lnTo>
                    <a:pt x="1033" y="367"/>
                  </a:lnTo>
                  <a:lnTo>
                    <a:pt x="1037" y="367"/>
                  </a:lnTo>
                  <a:lnTo>
                    <a:pt x="1041" y="367"/>
                  </a:lnTo>
                  <a:lnTo>
                    <a:pt x="1037" y="371"/>
                  </a:lnTo>
                  <a:lnTo>
                    <a:pt x="1037" y="375"/>
                  </a:lnTo>
                  <a:lnTo>
                    <a:pt x="1033" y="375"/>
                  </a:lnTo>
                  <a:lnTo>
                    <a:pt x="1037" y="375"/>
                  </a:lnTo>
                  <a:lnTo>
                    <a:pt x="1037" y="371"/>
                  </a:lnTo>
                  <a:lnTo>
                    <a:pt x="1041" y="371"/>
                  </a:lnTo>
                  <a:lnTo>
                    <a:pt x="1045" y="371"/>
                  </a:lnTo>
                  <a:lnTo>
                    <a:pt x="1045" y="367"/>
                  </a:lnTo>
                  <a:lnTo>
                    <a:pt x="1049" y="367"/>
                  </a:lnTo>
                  <a:lnTo>
                    <a:pt x="1053" y="367"/>
                  </a:lnTo>
                  <a:lnTo>
                    <a:pt x="1057" y="363"/>
                  </a:lnTo>
                  <a:lnTo>
                    <a:pt x="1061" y="359"/>
                  </a:lnTo>
                  <a:lnTo>
                    <a:pt x="1065" y="359"/>
                  </a:lnTo>
                  <a:lnTo>
                    <a:pt x="1065" y="363"/>
                  </a:lnTo>
                  <a:lnTo>
                    <a:pt x="1065" y="367"/>
                  </a:lnTo>
                  <a:lnTo>
                    <a:pt x="1065" y="371"/>
                  </a:lnTo>
                  <a:lnTo>
                    <a:pt x="1061" y="371"/>
                  </a:lnTo>
                  <a:lnTo>
                    <a:pt x="1057" y="371"/>
                  </a:lnTo>
                  <a:lnTo>
                    <a:pt x="1057" y="375"/>
                  </a:lnTo>
                  <a:lnTo>
                    <a:pt x="1053" y="375"/>
                  </a:lnTo>
                  <a:lnTo>
                    <a:pt x="1049" y="375"/>
                  </a:lnTo>
                  <a:lnTo>
                    <a:pt x="1049" y="379"/>
                  </a:lnTo>
                  <a:lnTo>
                    <a:pt x="1049" y="383"/>
                  </a:lnTo>
                  <a:lnTo>
                    <a:pt x="1045" y="383"/>
                  </a:lnTo>
                  <a:lnTo>
                    <a:pt x="1049" y="383"/>
                  </a:lnTo>
                  <a:lnTo>
                    <a:pt x="1049" y="379"/>
                  </a:lnTo>
                  <a:lnTo>
                    <a:pt x="1053" y="375"/>
                  </a:lnTo>
                  <a:lnTo>
                    <a:pt x="1057" y="375"/>
                  </a:lnTo>
                  <a:lnTo>
                    <a:pt x="1057" y="379"/>
                  </a:lnTo>
                  <a:lnTo>
                    <a:pt x="1053" y="383"/>
                  </a:lnTo>
                  <a:lnTo>
                    <a:pt x="1053" y="387"/>
                  </a:lnTo>
                  <a:lnTo>
                    <a:pt x="1053" y="391"/>
                  </a:lnTo>
                  <a:lnTo>
                    <a:pt x="1053" y="387"/>
                  </a:lnTo>
                  <a:lnTo>
                    <a:pt x="1057" y="383"/>
                  </a:lnTo>
                  <a:lnTo>
                    <a:pt x="1057" y="379"/>
                  </a:lnTo>
                  <a:lnTo>
                    <a:pt x="1057" y="375"/>
                  </a:lnTo>
                  <a:lnTo>
                    <a:pt x="1061" y="375"/>
                  </a:lnTo>
                  <a:lnTo>
                    <a:pt x="1061" y="371"/>
                  </a:lnTo>
                  <a:lnTo>
                    <a:pt x="1065" y="371"/>
                  </a:lnTo>
                  <a:lnTo>
                    <a:pt x="1069" y="371"/>
                  </a:lnTo>
                  <a:lnTo>
                    <a:pt x="1069" y="367"/>
                  </a:lnTo>
                  <a:lnTo>
                    <a:pt x="1073" y="367"/>
                  </a:lnTo>
                  <a:lnTo>
                    <a:pt x="1077" y="367"/>
                  </a:lnTo>
                  <a:lnTo>
                    <a:pt x="1077" y="371"/>
                  </a:lnTo>
                  <a:lnTo>
                    <a:pt x="1073" y="371"/>
                  </a:lnTo>
                  <a:lnTo>
                    <a:pt x="1073" y="375"/>
                  </a:lnTo>
                  <a:lnTo>
                    <a:pt x="1069" y="375"/>
                  </a:lnTo>
                  <a:lnTo>
                    <a:pt x="1069" y="379"/>
                  </a:lnTo>
                  <a:lnTo>
                    <a:pt x="1069" y="375"/>
                  </a:lnTo>
                  <a:lnTo>
                    <a:pt x="1073" y="375"/>
                  </a:lnTo>
                  <a:lnTo>
                    <a:pt x="1073" y="371"/>
                  </a:lnTo>
                  <a:lnTo>
                    <a:pt x="1077" y="371"/>
                  </a:lnTo>
                  <a:lnTo>
                    <a:pt x="1081" y="371"/>
                  </a:lnTo>
                  <a:lnTo>
                    <a:pt x="1085" y="371"/>
                  </a:lnTo>
                  <a:lnTo>
                    <a:pt x="1089" y="371"/>
                  </a:lnTo>
                  <a:lnTo>
                    <a:pt x="1093" y="375"/>
                  </a:lnTo>
                  <a:lnTo>
                    <a:pt x="1097" y="375"/>
                  </a:lnTo>
                  <a:lnTo>
                    <a:pt x="1101" y="375"/>
                  </a:lnTo>
                  <a:lnTo>
                    <a:pt x="1101" y="379"/>
                  </a:lnTo>
                  <a:lnTo>
                    <a:pt x="1097" y="379"/>
                  </a:lnTo>
                  <a:lnTo>
                    <a:pt x="1093" y="379"/>
                  </a:lnTo>
                  <a:lnTo>
                    <a:pt x="1093" y="383"/>
                  </a:lnTo>
                  <a:lnTo>
                    <a:pt x="1089" y="383"/>
                  </a:lnTo>
                  <a:lnTo>
                    <a:pt x="1085" y="383"/>
                  </a:lnTo>
                  <a:lnTo>
                    <a:pt x="1081" y="383"/>
                  </a:lnTo>
                  <a:lnTo>
                    <a:pt x="1081" y="387"/>
                  </a:lnTo>
                  <a:lnTo>
                    <a:pt x="1077" y="387"/>
                  </a:lnTo>
                  <a:lnTo>
                    <a:pt x="1073" y="387"/>
                  </a:lnTo>
                  <a:lnTo>
                    <a:pt x="1073" y="391"/>
                  </a:lnTo>
                  <a:lnTo>
                    <a:pt x="1077" y="391"/>
                  </a:lnTo>
                  <a:lnTo>
                    <a:pt x="1073" y="391"/>
                  </a:lnTo>
                  <a:lnTo>
                    <a:pt x="1069" y="395"/>
                  </a:lnTo>
                  <a:lnTo>
                    <a:pt x="1073" y="395"/>
                  </a:lnTo>
                  <a:lnTo>
                    <a:pt x="1073" y="391"/>
                  </a:lnTo>
                  <a:lnTo>
                    <a:pt x="1077" y="391"/>
                  </a:lnTo>
                  <a:lnTo>
                    <a:pt x="1077" y="387"/>
                  </a:lnTo>
                  <a:lnTo>
                    <a:pt x="1081" y="387"/>
                  </a:lnTo>
                  <a:lnTo>
                    <a:pt x="1085" y="387"/>
                  </a:lnTo>
                  <a:lnTo>
                    <a:pt x="1089" y="387"/>
                  </a:lnTo>
                  <a:lnTo>
                    <a:pt x="1093" y="387"/>
                  </a:lnTo>
                  <a:lnTo>
                    <a:pt x="1097" y="387"/>
                  </a:lnTo>
                  <a:lnTo>
                    <a:pt x="1093" y="391"/>
                  </a:lnTo>
                  <a:lnTo>
                    <a:pt x="1089" y="391"/>
                  </a:lnTo>
                  <a:lnTo>
                    <a:pt x="1085" y="395"/>
                  </a:lnTo>
                  <a:lnTo>
                    <a:pt x="1081" y="395"/>
                  </a:lnTo>
                  <a:lnTo>
                    <a:pt x="1077" y="395"/>
                  </a:lnTo>
                  <a:lnTo>
                    <a:pt x="1073" y="399"/>
                  </a:lnTo>
                  <a:lnTo>
                    <a:pt x="1073" y="403"/>
                  </a:lnTo>
                  <a:lnTo>
                    <a:pt x="1077" y="399"/>
                  </a:lnTo>
                  <a:lnTo>
                    <a:pt x="1077" y="395"/>
                  </a:lnTo>
                  <a:lnTo>
                    <a:pt x="1081" y="395"/>
                  </a:lnTo>
                  <a:lnTo>
                    <a:pt x="1085" y="395"/>
                  </a:lnTo>
                  <a:lnTo>
                    <a:pt x="1089" y="395"/>
                  </a:lnTo>
                  <a:lnTo>
                    <a:pt x="1089" y="391"/>
                  </a:lnTo>
                  <a:lnTo>
                    <a:pt x="1093" y="391"/>
                  </a:lnTo>
                  <a:lnTo>
                    <a:pt x="1097" y="391"/>
                  </a:lnTo>
                  <a:lnTo>
                    <a:pt x="1101" y="391"/>
                  </a:lnTo>
                  <a:lnTo>
                    <a:pt x="1101" y="387"/>
                  </a:lnTo>
                  <a:lnTo>
                    <a:pt x="1101" y="383"/>
                  </a:lnTo>
                  <a:lnTo>
                    <a:pt x="1105" y="383"/>
                  </a:lnTo>
                  <a:lnTo>
                    <a:pt x="1109" y="383"/>
                  </a:lnTo>
                  <a:lnTo>
                    <a:pt x="1109" y="387"/>
                  </a:lnTo>
                  <a:lnTo>
                    <a:pt x="1113" y="387"/>
                  </a:lnTo>
                  <a:lnTo>
                    <a:pt x="1113" y="391"/>
                  </a:lnTo>
                  <a:lnTo>
                    <a:pt x="1117" y="391"/>
                  </a:lnTo>
                  <a:lnTo>
                    <a:pt x="1117" y="395"/>
                  </a:lnTo>
                  <a:lnTo>
                    <a:pt x="1117" y="399"/>
                  </a:lnTo>
                  <a:lnTo>
                    <a:pt x="1113" y="399"/>
                  </a:lnTo>
                  <a:lnTo>
                    <a:pt x="1109" y="399"/>
                  </a:lnTo>
                  <a:lnTo>
                    <a:pt x="1109" y="395"/>
                  </a:lnTo>
                  <a:lnTo>
                    <a:pt x="1105" y="395"/>
                  </a:lnTo>
                  <a:lnTo>
                    <a:pt x="1105" y="399"/>
                  </a:lnTo>
                  <a:lnTo>
                    <a:pt x="1101" y="399"/>
                  </a:lnTo>
                  <a:lnTo>
                    <a:pt x="1097" y="399"/>
                  </a:lnTo>
                  <a:lnTo>
                    <a:pt x="1093" y="403"/>
                  </a:lnTo>
                  <a:lnTo>
                    <a:pt x="1089" y="403"/>
                  </a:lnTo>
                  <a:lnTo>
                    <a:pt x="1085" y="403"/>
                  </a:lnTo>
                  <a:lnTo>
                    <a:pt x="1081" y="403"/>
                  </a:lnTo>
                  <a:lnTo>
                    <a:pt x="1077" y="403"/>
                  </a:lnTo>
                  <a:lnTo>
                    <a:pt x="1073" y="403"/>
                  </a:lnTo>
                  <a:lnTo>
                    <a:pt x="1077" y="403"/>
                  </a:lnTo>
                  <a:lnTo>
                    <a:pt x="1081" y="403"/>
                  </a:lnTo>
                  <a:lnTo>
                    <a:pt x="1085" y="403"/>
                  </a:lnTo>
                  <a:lnTo>
                    <a:pt x="1089" y="403"/>
                  </a:lnTo>
                  <a:lnTo>
                    <a:pt x="1093" y="403"/>
                  </a:lnTo>
                  <a:lnTo>
                    <a:pt x="1097" y="403"/>
                  </a:lnTo>
                  <a:lnTo>
                    <a:pt x="1101" y="403"/>
                  </a:lnTo>
                  <a:lnTo>
                    <a:pt x="1105" y="407"/>
                  </a:lnTo>
                  <a:lnTo>
                    <a:pt x="1109" y="407"/>
                  </a:lnTo>
                  <a:lnTo>
                    <a:pt x="1109" y="403"/>
                  </a:lnTo>
                  <a:lnTo>
                    <a:pt x="1113" y="407"/>
                  </a:lnTo>
                  <a:lnTo>
                    <a:pt x="1117" y="407"/>
                  </a:lnTo>
                  <a:lnTo>
                    <a:pt x="1121" y="407"/>
                  </a:lnTo>
                  <a:lnTo>
                    <a:pt x="1125" y="407"/>
                  </a:lnTo>
                  <a:lnTo>
                    <a:pt x="1125" y="411"/>
                  </a:lnTo>
                  <a:lnTo>
                    <a:pt x="1125" y="415"/>
                  </a:lnTo>
                  <a:lnTo>
                    <a:pt x="1121" y="415"/>
                  </a:lnTo>
                  <a:lnTo>
                    <a:pt x="1117" y="411"/>
                  </a:lnTo>
                  <a:lnTo>
                    <a:pt x="1113" y="411"/>
                  </a:lnTo>
                  <a:lnTo>
                    <a:pt x="1113" y="415"/>
                  </a:lnTo>
                  <a:lnTo>
                    <a:pt x="1109" y="415"/>
                  </a:lnTo>
                  <a:lnTo>
                    <a:pt x="1105" y="411"/>
                  </a:lnTo>
                  <a:lnTo>
                    <a:pt x="1101" y="411"/>
                  </a:lnTo>
                  <a:lnTo>
                    <a:pt x="1097" y="411"/>
                  </a:lnTo>
                  <a:lnTo>
                    <a:pt x="1093" y="411"/>
                  </a:lnTo>
                  <a:lnTo>
                    <a:pt x="1093" y="407"/>
                  </a:lnTo>
                  <a:lnTo>
                    <a:pt x="1089" y="407"/>
                  </a:lnTo>
                  <a:lnTo>
                    <a:pt x="1085" y="411"/>
                  </a:lnTo>
                  <a:lnTo>
                    <a:pt x="1089" y="411"/>
                  </a:lnTo>
                  <a:lnTo>
                    <a:pt x="1089" y="407"/>
                  </a:lnTo>
                  <a:lnTo>
                    <a:pt x="1093" y="411"/>
                  </a:lnTo>
                  <a:lnTo>
                    <a:pt x="1097" y="411"/>
                  </a:lnTo>
                  <a:lnTo>
                    <a:pt x="1101" y="411"/>
                  </a:lnTo>
                  <a:lnTo>
                    <a:pt x="1105" y="411"/>
                  </a:lnTo>
                  <a:lnTo>
                    <a:pt x="1101" y="411"/>
                  </a:lnTo>
                  <a:lnTo>
                    <a:pt x="1097" y="411"/>
                  </a:lnTo>
                  <a:lnTo>
                    <a:pt x="1093" y="411"/>
                  </a:lnTo>
                  <a:lnTo>
                    <a:pt x="1089" y="411"/>
                  </a:lnTo>
                  <a:lnTo>
                    <a:pt x="1093" y="411"/>
                  </a:lnTo>
                  <a:lnTo>
                    <a:pt x="1097" y="411"/>
                  </a:lnTo>
                  <a:lnTo>
                    <a:pt x="1093" y="415"/>
                  </a:lnTo>
                  <a:lnTo>
                    <a:pt x="1089" y="415"/>
                  </a:lnTo>
                  <a:lnTo>
                    <a:pt x="1089" y="419"/>
                  </a:lnTo>
                  <a:lnTo>
                    <a:pt x="1093" y="415"/>
                  </a:lnTo>
                  <a:lnTo>
                    <a:pt x="1097" y="415"/>
                  </a:lnTo>
                  <a:lnTo>
                    <a:pt x="1101" y="415"/>
                  </a:lnTo>
                  <a:lnTo>
                    <a:pt x="1105" y="415"/>
                  </a:lnTo>
                  <a:lnTo>
                    <a:pt x="1109" y="419"/>
                  </a:lnTo>
                  <a:lnTo>
                    <a:pt x="1105" y="419"/>
                  </a:lnTo>
                  <a:lnTo>
                    <a:pt x="1101" y="419"/>
                  </a:lnTo>
                  <a:lnTo>
                    <a:pt x="1097" y="419"/>
                  </a:lnTo>
                  <a:lnTo>
                    <a:pt x="1101" y="419"/>
                  </a:lnTo>
                  <a:lnTo>
                    <a:pt x="1105" y="419"/>
                  </a:lnTo>
                  <a:lnTo>
                    <a:pt x="1105" y="423"/>
                  </a:lnTo>
                  <a:lnTo>
                    <a:pt x="1101" y="423"/>
                  </a:lnTo>
                  <a:lnTo>
                    <a:pt x="1101" y="419"/>
                  </a:lnTo>
                  <a:lnTo>
                    <a:pt x="1097" y="419"/>
                  </a:lnTo>
                  <a:lnTo>
                    <a:pt x="1097" y="423"/>
                  </a:lnTo>
                  <a:lnTo>
                    <a:pt x="1101" y="423"/>
                  </a:lnTo>
                  <a:lnTo>
                    <a:pt x="1105" y="423"/>
                  </a:lnTo>
                  <a:lnTo>
                    <a:pt x="1109" y="423"/>
                  </a:lnTo>
                  <a:lnTo>
                    <a:pt x="1105" y="423"/>
                  </a:lnTo>
                  <a:lnTo>
                    <a:pt x="1101" y="423"/>
                  </a:lnTo>
                  <a:lnTo>
                    <a:pt x="1097" y="423"/>
                  </a:lnTo>
                  <a:lnTo>
                    <a:pt x="1093" y="423"/>
                  </a:lnTo>
                  <a:lnTo>
                    <a:pt x="1089" y="423"/>
                  </a:lnTo>
                  <a:lnTo>
                    <a:pt x="1085" y="423"/>
                  </a:lnTo>
                  <a:lnTo>
                    <a:pt x="1089" y="423"/>
                  </a:lnTo>
                  <a:lnTo>
                    <a:pt x="1085" y="423"/>
                  </a:lnTo>
                  <a:lnTo>
                    <a:pt x="1089" y="423"/>
                  </a:lnTo>
                  <a:lnTo>
                    <a:pt x="1101" y="427"/>
                  </a:lnTo>
                  <a:lnTo>
                    <a:pt x="1105" y="427"/>
                  </a:lnTo>
                  <a:lnTo>
                    <a:pt x="1101" y="427"/>
                  </a:lnTo>
                  <a:lnTo>
                    <a:pt x="1097" y="427"/>
                  </a:lnTo>
                  <a:lnTo>
                    <a:pt x="1093" y="427"/>
                  </a:lnTo>
                  <a:lnTo>
                    <a:pt x="1097" y="427"/>
                  </a:lnTo>
                  <a:lnTo>
                    <a:pt x="1097" y="431"/>
                  </a:lnTo>
                  <a:lnTo>
                    <a:pt x="1093" y="431"/>
                  </a:lnTo>
                  <a:lnTo>
                    <a:pt x="1097" y="431"/>
                  </a:lnTo>
                  <a:lnTo>
                    <a:pt x="1097" y="427"/>
                  </a:lnTo>
                  <a:lnTo>
                    <a:pt x="1101" y="427"/>
                  </a:lnTo>
                  <a:lnTo>
                    <a:pt x="1101" y="431"/>
                  </a:lnTo>
                  <a:lnTo>
                    <a:pt x="1105" y="431"/>
                  </a:lnTo>
                  <a:lnTo>
                    <a:pt x="1109" y="431"/>
                  </a:lnTo>
                  <a:lnTo>
                    <a:pt x="1113" y="431"/>
                  </a:lnTo>
                  <a:lnTo>
                    <a:pt x="1109" y="431"/>
                  </a:lnTo>
                  <a:lnTo>
                    <a:pt x="1109" y="435"/>
                  </a:lnTo>
                  <a:lnTo>
                    <a:pt x="1113" y="435"/>
                  </a:lnTo>
                  <a:lnTo>
                    <a:pt x="1113" y="431"/>
                  </a:lnTo>
                  <a:lnTo>
                    <a:pt x="1117" y="431"/>
                  </a:lnTo>
                  <a:lnTo>
                    <a:pt x="1117" y="435"/>
                  </a:lnTo>
                  <a:lnTo>
                    <a:pt x="1113" y="435"/>
                  </a:lnTo>
                  <a:lnTo>
                    <a:pt x="1117" y="435"/>
                  </a:lnTo>
                  <a:lnTo>
                    <a:pt x="1117" y="431"/>
                  </a:lnTo>
                  <a:lnTo>
                    <a:pt x="1121" y="431"/>
                  </a:lnTo>
                  <a:lnTo>
                    <a:pt x="1125" y="431"/>
                  </a:lnTo>
                  <a:lnTo>
                    <a:pt x="1125" y="435"/>
                  </a:lnTo>
                  <a:lnTo>
                    <a:pt x="1121" y="435"/>
                  </a:lnTo>
                  <a:lnTo>
                    <a:pt x="1117" y="435"/>
                  </a:lnTo>
                  <a:lnTo>
                    <a:pt x="1113" y="435"/>
                  </a:lnTo>
                  <a:lnTo>
                    <a:pt x="1109" y="435"/>
                  </a:lnTo>
                  <a:lnTo>
                    <a:pt x="1105" y="435"/>
                  </a:lnTo>
                  <a:lnTo>
                    <a:pt x="1105" y="439"/>
                  </a:lnTo>
                  <a:lnTo>
                    <a:pt x="1109" y="439"/>
                  </a:lnTo>
                  <a:lnTo>
                    <a:pt x="1109" y="435"/>
                  </a:lnTo>
                  <a:lnTo>
                    <a:pt x="1113" y="435"/>
                  </a:lnTo>
                  <a:lnTo>
                    <a:pt x="1113" y="439"/>
                  </a:lnTo>
                  <a:lnTo>
                    <a:pt x="1109" y="439"/>
                  </a:lnTo>
                  <a:lnTo>
                    <a:pt x="1113" y="439"/>
                  </a:lnTo>
                  <a:lnTo>
                    <a:pt x="1113" y="435"/>
                  </a:lnTo>
                  <a:lnTo>
                    <a:pt x="1117" y="435"/>
                  </a:lnTo>
                  <a:lnTo>
                    <a:pt x="1121" y="435"/>
                  </a:lnTo>
                  <a:lnTo>
                    <a:pt x="1117" y="435"/>
                  </a:lnTo>
                  <a:lnTo>
                    <a:pt x="1117" y="439"/>
                  </a:lnTo>
                  <a:lnTo>
                    <a:pt x="1113" y="439"/>
                  </a:lnTo>
                  <a:lnTo>
                    <a:pt x="1117" y="439"/>
                  </a:lnTo>
                  <a:lnTo>
                    <a:pt x="1113" y="439"/>
                  </a:lnTo>
                  <a:lnTo>
                    <a:pt x="1109" y="439"/>
                  </a:lnTo>
                  <a:lnTo>
                    <a:pt x="1113" y="439"/>
                  </a:lnTo>
                  <a:lnTo>
                    <a:pt x="1113" y="443"/>
                  </a:lnTo>
                  <a:lnTo>
                    <a:pt x="1117" y="439"/>
                  </a:lnTo>
                  <a:lnTo>
                    <a:pt x="1121" y="435"/>
                  </a:lnTo>
                  <a:lnTo>
                    <a:pt x="1121" y="439"/>
                  </a:lnTo>
                  <a:lnTo>
                    <a:pt x="1125" y="439"/>
                  </a:lnTo>
                  <a:lnTo>
                    <a:pt x="1121" y="443"/>
                  </a:lnTo>
                  <a:lnTo>
                    <a:pt x="1125" y="443"/>
                  </a:lnTo>
                  <a:lnTo>
                    <a:pt x="1125" y="439"/>
                  </a:lnTo>
                  <a:lnTo>
                    <a:pt x="1125" y="443"/>
                  </a:lnTo>
                  <a:lnTo>
                    <a:pt x="1125" y="447"/>
                  </a:lnTo>
                  <a:lnTo>
                    <a:pt x="1125" y="443"/>
                  </a:lnTo>
                  <a:lnTo>
                    <a:pt x="1125" y="439"/>
                  </a:lnTo>
                  <a:lnTo>
                    <a:pt x="1129" y="439"/>
                  </a:lnTo>
                  <a:lnTo>
                    <a:pt x="1129" y="443"/>
                  </a:lnTo>
                  <a:lnTo>
                    <a:pt x="1133" y="443"/>
                  </a:lnTo>
                  <a:lnTo>
                    <a:pt x="1129" y="443"/>
                  </a:lnTo>
                  <a:lnTo>
                    <a:pt x="1129" y="447"/>
                  </a:lnTo>
                  <a:lnTo>
                    <a:pt x="1125" y="447"/>
                  </a:lnTo>
                  <a:lnTo>
                    <a:pt x="1129" y="451"/>
                  </a:lnTo>
                  <a:lnTo>
                    <a:pt x="1129" y="447"/>
                  </a:lnTo>
                  <a:lnTo>
                    <a:pt x="1133" y="447"/>
                  </a:lnTo>
                  <a:lnTo>
                    <a:pt x="1137" y="443"/>
                  </a:lnTo>
                  <a:lnTo>
                    <a:pt x="1137" y="439"/>
                  </a:lnTo>
                  <a:lnTo>
                    <a:pt x="1137" y="443"/>
                  </a:lnTo>
                  <a:lnTo>
                    <a:pt x="1137" y="447"/>
                  </a:lnTo>
                  <a:lnTo>
                    <a:pt x="1133" y="447"/>
                  </a:lnTo>
                  <a:lnTo>
                    <a:pt x="1137" y="447"/>
                  </a:lnTo>
                  <a:lnTo>
                    <a:pt x="1137" y="451"/>
                  </a:lnTo>
                  <a:lnTo>
                    <a:pt x="1133" y="451"/>
                  </a:lnTo>
                  <a:lnTo>
                    <a:pt x="1133" y="455"/>
                  </a:lnTo>
                  <a:lnTo>
                    <a:pt x="1137" y="455"/>
                  </a:lnTo>
                  <a:lnTo>
                    <a:pt x="1137" y="451"/>
                  </a:lnTo>
                  <a:lnTo>
                    <a:pt x="1137" y="447"/>
                  </a:lnTo>
                  <a:lnTo>
                    <a:pt x="1141" y="443"/>
                  </a:lnTo>
                  <a:lnTo>
                    <a:pt x="1145" y="443"/>
                  </a:lnTo>
                  <a:lnTo>
                    <a:pt x="1145" y="447"/>
                  </a:lnTo>
                  <a:lnTo>
                    <a:pt x="1141" y="447"/>
                  </a:lnTo>
                  <a:lnTo>
                    <a:pt x="1141" y="451"/>
                  </a:lnTo>
                  <a:lnTo>
                    <a:pt x="1145" y="451"/>
                  </a:lnTo>
                  <a:lnTo>
                    <a:pt x="1145" y="455"/>
                  </a:lnTo>
                  <a:lnTo>
                    <a:pt x="1145" y="451"/>
                  </a:lnTo>
                  <a:lnTo>
                    <a:pt x="1141" y="451"/>
                  </a:lnTo>
                  <a:lnTo>
                    <a:pt x="1145" y="447"/>
                  </a:lnTo>
                  <a:lnTo>
                    <a:pt x="1148" y="447"/>
                  </a:lnTo>
                  <a:lnTo>
                    <a:pt x="1148" y="443"/>
                  </a:lnTo>
                  <a:lnTo>
                    <a:pt x="1152" y="447"/>
                  </a:lnTo>
                  <a:lnTo>
                    <a:pt x="1148" y="447"/>
                  </a:lnTo>
                  <a:lnTo>
                    <a:pt x="1148" y="451"/>
                  </a:lnTo>
                  <a:lnTo>
                    <a:pt x="1148" y="455"/>
                  </a:lnTo>
                  <a:lnTo>
                    <a:pt x="1148" y="451"/>
                  </a:lnTo>
                  <a:lnTo>
                    <a:pt x="1152" y="451"/>
                  </a:lnTo>
                  <a:lnTo>
                    <a:pt x="1152" y="455"/>
                  </a:lnTo>
                  <a:lnTo>
                    <a:pt x="1152" y="451"/>
                  </a:lnTo>
                  <a:lnTo>
                    <a:pt x="1156" y="451"/>
                  </a:lnTo>
                  <a:lnTo>
                    <a:pt x="1160" y="451"/>
                  </a:lnTo>
                  <a:lnTo>
                    <a:pt x="1156" y="451"/>
                  </a:lnTo>
                  <a:lnTo>
                    <a:pt x="1156" y="455"/>
                  </a:lnTo>
                  <a:lnTo>
                    <a:pt x="1156" y="451"/>
                  </a:lnTo>
                  <a:lnTo>
                    <a:pt x="1160" y="451"/>
                  </a:lnTo>
                  <a:lnTo>
                    <a:pt x="1164" y="455"/>
                  </a:lnTo>
                  <a:lnTo>
                    <a:pt x="1164" y="459"/>
                  </a:lnTo>
                  <a:lnTo>
                    <a:pt x="1160" y="459"/>
                  </a:lnTo>
                  <a:lnTo>
                    <a:pt x="1156" y="459"/>
                  </a:lnTo>
                  <a:lnTo>
                    <a:pt x="1160" y="459"/>
                  </a:lnTo>
                  <a:lnTo>
                    <a:pt x="1164" y="459"/>
                  </a:lnTo>
                  <a:lnTo>
                    <a:pt x="1164" y="463"/>
                  </a:lnTo>
                  <a:lnTo>
                    <a:pt x="1160" y="463"/>
                  </a:lnTo>
                  <a:lnTo>
                    <a:pt x="1156" y="463"/>
                  </a:lnTo>
                  <a:lnTo>
                    <a:pt x="1152" y="463"/>
                  </a:lnTo>
                  <a:lnTo>
                    <a:pt x="1156" y="463"/>
                  </a:lnTo>
                  <a:lnTo>
                    <a:pt x="1160" y="463"/>
                  </a:lnTo>
                  <a:lnTo>
                    <a:pt x="1156" y="463"/>
                  </a:lnTo>
                  <a:lnTo>
                    <a:pt x="1152" y="467"/>
                  </a:lnTo>
                  <a:lnTo>
                    <a:pt x="1156" y="467"/>
                  </a:lnTo>
                  <a:lnTo>
                    <a:pt x="1160" y="467"/>
                  </a:lnTo>
                  <a:lnTo>
                    <a:pt x="1160" y="463"/>
                  </a:lnTo>
                  <a:lnTo>
                    <a:pt x="1164" y="463"/>
                  </a:lnTo>
                  <a:lnTo>
                    <a:pt x="1164" y="467"/>
                  </a:lnTo>
                  <a:lnTo>
                    <a:pt x="1160" y="467"/>
                  </a:lnTo>
                  <a:lnTo>
                    <a:pt x="1156" y="467"/>
                  </a:lnTo>
                  <a:lnTo>
                    <a:pt x="1152" y="471"/>
                  </a:lnTo>
                  <a:lnTo>
                    <a:pt x="1156" y="471"/>
                  </a:lnTo>
                  <a:lnTo>
                    <a:pt x="1156" y="467"/>
                  </a:lnTo>
                  <a:lnTo>
                    <a:pt x="1160" y="467"/>
                  </a:lnTo>
                  <a:lnTo>
                    <a:pt x="1164" y="467"/>
                  </a:lnTo>
                  <a:lnTo>
                    <a:pt x="1168" y="467"/>
                  </a:lnTo>
                  <a:lnTo>
                    <a:pt x="1168" y="463"/>
                  </a:lnTo>
                  <a:lnTo>
                    <a:pt x="1172" y="467"/>
                  </a:lnTo>
                  <a:lnTo>
                    <a:pt x="1172" y="471"/>
                  </a:lnTo>
                  <a:lnTo>
                    <a:pt x="1168" y="471"/>
                  </a:lnTo>
                  <a:lnTo>
                    <a:pt x="1172" y="471"/>
                  </a:lnTo>
                  <a:lnTo>
                    <a:pt x="1172" y="467"/>
                  </a:lnTo>
                  <a:lnTo>
                    <a:pt x="1176" y="463"/>
                  </a:lnTo>
                  <a:lnTo>
                    <a:pt x="1180" y="463"/>
                  </a:lnTo>
                  <a:lnTo>
                    <a:pt x="1180" y="467"/>
                  </a:lnTo>
                  <a:lnTo>
                    <a:pt x="1176" y="467"/>
                  </a:lnTo>
                  <a:lnTo>
                    <a:pt x="1176" y="471"/>
                  </a:lnTo>
                  <a:lnTo>
                    <a:pt x="1172" y="475"/>
                  </a:lnTo>
                  <a:lnTo>
                    <a:pt x="1168" y="475"/>
                  </a:lnTo>
                  <a:lnTo>
                    <a:pt x="1172" y="475"/>
                  </a:lnTo>
                  <a:lnTo>
                    <a:pt x="1172" y="479"/>
                  </a:lnTo>
                  <a:lnTo>
                    <a:pt x="1176" y="475"/>
                  </a:lnTo>
                  <a:lnTo>
                    <a:pt x="1180" y="471"/>
                  </a:lnTo>
                  <a:lnTo>
                    <a:pt x="1184" y="471"/>
                  </a:lnTo>
                  <a:lnTo>
                    <a:pt x="1184" y="475"/>
                  </a:lnTo>
                  <a:lnTo>
                    <a:pt x="1184" y="479"/>
                  </a:lnTo>
                  <a:lnTo>
                    <a:pt x="1180" y="479"/>
                  </a:lnTo>
                  <a:lnTo>
                    <a:pt x="1184" y="479"/>
                  </a:lnTo>
                  <a:lnTo>
                    <a:pt x="1184" y="475"/>
                  </a:lnTo>
                  <a:lnTo>
                    <a:pt x="1184" y="471"/>
                  </a:lnTo>
                  <a:lnTo>
                    <a:pt x="1188" y="471"/>
                  </a:lnTo>
                  <a:lnTo>
                    <a:pt x="1188" y="475"/>
                  </a:lnTo>
                  <a:lnTo>
                    <a:pt x="1192" y="479"/>
                  </a:lnTo>
                  <a:lnTo>
                    <a:pt x="1188" y="475"/>
                  </a:lnTo>
                  <a:lnTo>
                    <a:pt x="1188" y="471"/>
                  </a:lnTo>
                  <a:lnTo>
                    <a:pt x="1192" y="471"/>
                  </a:lnTo>
                  <a:lnTo>
                    <a:pt x="1196" y="471"/>
                  </a:lnTo>
                  <a:lnTo>
                    <a:pt x="1192" y="475"/>
                  </a:lnTo>
                  <a:lnTo>
                    <a:pt x="1196" y="475"/>
                  </a:lnTo>
                  <a:lnTo>
                    <a:pt x="1196" y="471"/>
                  </a:lnTo>
                  <a:lnTo>
                    <a:pt x="1200" y="471"/>
                  </a:lnTo>
                  <a:lnTo>
                    <a:pt x="1200" y="475"/>
                  </a:lnTo>
                  <a:lnTo>
                    <a:pt x="1204" y="479"/>
                  </a:lnTo>
                  <a:lnTo>
                    <a:pt x="1208" y="483"/>
                  </a:lnTo>
                  <a:lnTo>
                    <a:pt x="1204" y="483"/>
                  </a:lnTo>
                  <a:lnTo>
                    <a:pt x="1200" y="483"/>
                  </a:lnTo>
                  <a:lnTo>
                    <a:pt x="1200" y="479"/>
                  </a:lnTo>
                  <a:lnTo>
                    <a:pt x="1196" y="479"/>
                  </a:lnTo>
                  <a:lnTo>
                    <a:pt x="1192" y="483"/>
                  </a:lnTo>
                  <a:lnTo>
                    <a:pt x="1196" y="483"/>
                  </a:lnTo>
                  <a:lnTo>
                    <a:pt x="1196" y="479"/>
                  </a:lnTo>
                  <a:lnTo>
                    <a:pt x="1196" y="483"/>
                  </a:lnTo>
                  <a:lnTo>
                    <a:pt x="1200" y="483"/>
                  </a:lnTo>
                  <a:lnTo>
                    <a:pt x="1200" y="487"/>
                  </a:lnTo>
                  <a:lnTo>
                    <a:pt x="1196" y="487"/>
                  </a:lnTo>
                  <a:lnTo>
                    <a:pt x="1200" y="487"/>
                  </a:lnTo>
                  <a:lnTo>
                    <a:pt x="1204" y="487"/>
                  </a:lnTo>
                  <a:lnTo>
                    <a:pt x="1200" y="487"/>
                  </a:lnTo>
                  <a:lnTo>
                    <a:pt x="1196" y="491"/>
                  </a:lnTo>
                  <a:lnTo>
                    <a:pt x="1192" y="491"/>
                  </a:lnTo>
                  <a:lnTo>
                    <a:pt x="1192" y="487"/>
                  </a:lnTo>
                  <a:lnTo>
                    <a:pt x="1188" y="487"/>
                  </a:lnTo>
                  <a:lnTo>
                    <a:pt x="1184" y="487"/>
                  </a:lnTo>
                  <a:lnTo>
                    <a:pt x="1188" y="487"/>
                  </a:lnTo>
                  <a:lnTo>
                    <a:pt x="1188" y="491"/>
                  </a:lnTo>
                  <a:lnTo>
                    <a:pt x="1192" y="491"/>
                  </a:lnTo>
                  <a:lnTo>
                    <a:pt x="1188" y="491"/>
                  </a:lnTo>
                  <a:lnTo>
                    <a:pt x="1184" y="491"/>
                  </a:lnTo>
                  <a:lnTo>
                    <a:pt x="1180" y="487"/>
                  </a:lnTo>
                  <a:lnTo>
                    <a:pt x="1184" y="491"/>
                  </a:lnTo>
                  <a:lnTo>
                    <a:pt x="1188" y="491"/>
                  </a:lnTo>
                  <a:lnTo>
                    <a:pt x="1192" y="495"/>
                  </a:lnTo>
                  <a:lnTo>
                    <a:pt x="1196" y="495"/>
                  </a:lnTo>
                  <a:lnTo>
                    <a:pt x="1192" y="499"/>
                  </a:lnTo>
                  <a:lnTo>
                    <a:pt x="1188" y="499"/>
                  </a:lnTo>
                  <a:lnTo>
                    <a:pt x="1188" y="495"/>
                  </a:lnTo>
                  <a:lnTo>
                    <a:pt x="1184" y="495"/>
                  </a:lnTo>
                  <a:lnTo>
                    <a:pt x="1180" y="495"/>
                  </a:lnTo>
                  <a:lnTo>
                    <a:pt x="1184" y="495"/>
                  </a:lnTo>
                  <a:lnTo>
                    <a:pt x="1184" y="499"/>
                  </a:lnTo>
                  <a:lnTo>
                    <a:pt x="1188" y="499"/>
                  </a:lnTo>
                  <a:lnTo>
                    <a:pt x="1192" y="503"/>
                  </a:lnTo>
                  <a:lnTo>
                    <a:pt x="1188" y="503"/>
                  </a:lnTo>
                  <a:lnTo>
                    <a:pt x="1184" y="503"/>
                  </a:lnTo>
                  <a:lnTo>
                    <a:pt x="1184" y="499"/>
                  </a:lnTo>
                  <a:lnTo>
                    <a:pt x="1180" y="499"/>
                  </a:lnTo>
                  <a:lnTo>
                    <a:pt x="1184" y="503"/>
                  </a:lnTo>
                  <a:lnTo>
                    <a:pt x="1188" y="503"/>
                  </a:lnTo>
                  <a:lnTo>
                    <a:pt x="1184" y="503"/>
                  </a:lnTo>
                  <a:lnTo>
                    <a:pt x="1184" y="507"/>
                  </a:lnTo>
                  <a:lnTo>
                    <a:pt x="1180" y="507"/>
                  </a:lnTo>
                  <a:lnTo>
                    <a:pt x="1180" y="503"/>
                  </a:lnTo>
                  <a:lnTo>
                    <a:pt x="1180" y="507"/>
                  </a:lnTo>
                  <a:lnTo>
                    <a:pt x="1176" y="507"/>
                  </a:lnTo>
                  <a:lnTo>
                    <a:pt x="1172" y="503"/>
                  </a:lnTo>
                  <a:lnTo>
                    <a:pt x="1176" y="507"/>
                  </a:lnTo>
                  <a:lnTo>
                    <a:pt x="1172" y="507"/>
                  </a:lnTo>
                  <a:lnTo>
                    <a:pt x="1168" y="507"/>
                  </a:lnTo>
                  <a:lnTo>
                    <a:pt x="1172" y="507"/>
                  </a:lnTo>
                  <a:lnTo>
                    <a:pt x="1176" y="507"/>
                  </a:lnTo>
                  <a:lnTo>
                    <a:pt x="1176" y="511"/>
                  </a:lnTo>
                  <a:lnTo>
                    <a:pt x="1172" y="511"/>
                  </a:lnTo>
                  <a:lnTo>
                    <a:pt x="1172" y="507"/>
                  </a:lnTo>
                  <a:lnTo>
                    <a:pt x="1172" y="511"/>
                  </a:lnTo>
                  <a:lnTo>
                    <a:pt x="1176" y="511"/>
                  </a:lnTo>
                  <a:lnTo>
                    <a:pt x="1172" y="511"/>
                  </a:lnTo>
                  <a:lnTo>
                    <a:pt x="1168" y="511"/>
                  </a:lnTo>
                  <a:lnTo>
                    <a:pt x="1172" y="511"/>
                  </a:lnTo>
                  <a:lnTo>
                    <a:pt x="1176" y="515"/>
                  </a:lnTo>
                  <a:lnTo>
                    <a:pt x="1172" y="519"/>
                  </a:lnTo>
                  <a:lnTo>
                    <a:pt x="1172" y="523"/>
                  </a:lnTo>
                  <a:lnTo>
                    <a:pt x="1172" y="527"/>
                  </a:lnTo>
                  <a:lnTo>
                    <a:pt x="1168" y="527"/>
                  </a:lnTo>
                  <a:lnTo>
                    <a:pt x="1168" y="523"/>
                  </a:lnTo>
                  <a:lnTo>
                    <a:pt x="1164" y="519"/>
                  </a:lnTo>
                  <a:lnTo>
                    <a:pt x="1164" y="523"/>
                  </a:lnTo>
                  <a:lnTo>
                    <a:pt x="1160" y="519"/>
                  </a:lnTo>
                  <a:lnTo>
                    <a:pt x="1164" y="519"/>
                  </a:lnTo>
                  <a:lnTo>
                    <a:pt x="1160" y="519"/>
                  </a:lnTo>
                  <a:lnTo>
                    <a:pt x="1160" y="515"/>
                  </a:lnTo>
                  <a:lnTo>
                    <a:pt x="1160" y="511"/>
                  </a:lnTo>
                  <a:lnTo>
                    <a:pt x="1156" y="515"/>
                  </a:lnTo>
                  <a:lnTo>
                    <a:pt x="1156" y="519"/>
                  </a:lnTo>
                  <a:lnTo>
                    <a:pt x="1152" y="519"/>
                  </a:lnTo>
                  <a:lnTo>
                    <a:pt x="1152" y="515"/>
                  </a:lnTo>
                  <a:lnTo>
                    <a:pt x="1152" y="519"/>
                  </a:lnTo>
                  <a:lnTo>
                    <a:pt x="1152" y="515"/>
                  </a:lnTo>
                  <a:lnTo>
                    <a:pt x="1156" y="515"/>
                  </a:lnTo>
                  <a:lnTo>
                    <a:pt x="1152" y="515"/>
                  </a:lnTo>
                  <a:lnTo>
                    <a:pt x="1156" y="511"/>
                  </a:lnTo>
                  <a:lnTo>
                    <a:pt x="1160" y="511"/>
                  </a:lnTo>
                  <a:lnTo>
                    <a:pt x="1156" y="511"/>
                  </a:lnTo>
                  <a:lnTo>
                    <a:pt x="1152" y="511"/>
                  </a:lnTo>
                  <a:lnTo>
                    <a:pt x="1148" y="511"/>
                  </a:lnTo>
                  <a:lnTo>
                    <a:pt x="1148" y="515"/>
                  </a:lnTo>
                  <a:lnTo>
                    <a:pt x="1148" y="511"/>
                  </a:lnTo>
                  <a:lnTo>
                    <a:pt x="1152" y="511"/>
                  </a:lnTo>
                  <a:lnTo>
                    <a:pt x="1152" y="507"/>
                  </a:lnTo>
                  <a:lnTo>
                    <a:pt x="1148" y="511"/>
                  </a:lnTo>
                  <a:lnTo>
                    <a:pt x="1145" y="511"/>
                  </a:lnTo>
                  <a:lnTo>
                    <a:pt x="1145" y="507"/>
                  </a:lnTo>
                  <a:lnTo>
                    <a:pt x="1148" y="507"/>
                  </a:lnTo>
                  <a:lnTo>
                    <a:pt x="1152" y="507"/>
                  </a:lnTo>
                  <a:lnTo>
                    <a:pt x="1152" y="503"/>
                  </a:lnTo>
                  <a:lnTo>
                    <a:pt x="1148" y="503"/>
                  </a:lnTo>
                  <a:lnTo>
                    <a:pt x="1148" y="507"/>
                  </a:lnTo>
                  <a:lnTo>
                    <a:pt x="1145" y="507"/>
                  </a:lnTo>
                  <a:lnTo>
                    <a:pt x="1145" y="503"/>
                  </a:lnTo>
                  <a:lnTo>
                    <a:pt x="1141" y="503"/>
                  </a:lnTo>
                  <a:lnTo>
                    <a:pt x="1145" y="503"/>
                  </a:lnTo>
                  <a:lnTo>
                    <a:pt x="1145" y="499"/>
                  </a:lnTo>
                  <a:lnTo>
                    <a:pt x="1148" y="499"/>
                  </a:lnTo>
                  <a:lnTo>
                    <a:pt x="1152" y="499"/>
                  </a:lnTo>
                  <a:lnTo>
                    <a:pt x="1152" y="495"/>
                  </a:lnTo>
                  <a:lnTo>
                    <a:pt x="1152" y="491"/>
                  </a:lnTo>
                  <a:lnTo>
                    <a:pt x="1156" y="491"/>
                  </a:lnTo>
                  <a:lnTo>
                    <a:pt x="1160" y="491"/>
                  </a:lnTo>
                  <a:lnTo>
                    <a:pt x="1160" y="487"/>
                  </a:lnTo>
                  <a:lnTo>
                    <a:pt x="1156" y="487"/>
                  </a:lnTo>
                  <a:lnTo>
                    <a:pt x="1152" y="491"/>
                  </a:lnTo>
                  <a:lnTo>
                    <a:pt x="1152" y="495"/>
                  </a:lnTo>
                  <a:lnTo>
                    <a:pt x="1148" y="495"/>
                  </a:lnTo>
                  <a:lnTo>
                    <a:pt x="1145" y="499"/>
                  </a:lnTo>
                  <a:lnTo>
                    <a:pt x="1137" y="499"/>
                  </a:lnTo>
                  <a:lnTo>
                    <a:pt x="1137" y="495"/>
                  </a:lnTo>
                  <a:lnTo>
                    <a:pt x="1141" y="495"/>
                  </a:lnTo>
                  <a:lnTo>
                    <a:pt x="1141" y="491"/>
                  </a:lnTo>
                  <a:lnTo>
                    <a:pt x="1145" y="487"/>
                  </a:lnTo>
                  <a:lnTo>
                    <a:pt x="1141" y="491"/>
                  </a:lnTo>
                  <a:lnTo>
                    <a:pt x="1137" y="495"/>
                  </a:lnTo>
                  <a:lnTo>
                    <a:pt x="1133" y="495"/>
                  </a:lnTo>
                  <a:lnTo>
                    <a:pt x="1133" y="491"/>
                  </a:lnTo>
                  <a:lnTo>
                    <a:pt x="1129" y="491"/>
                  </a:lnTo>
                  <a:lnTo>
                    <a:pt x="1125" y="487"/>
                  </a:lnTo>
                  <a:lnTo>
                    <a:pt x="1129" y="487"/>
                  </a:lnTo>
                  <a:lnTo>
                    <a:pt x="1125" y="487"/>
                  </a:lnTo>
                  <a:lnTo>
                    <a:pt x="1121" y="487"/>
                  </a:lnTo>
                  <a:lnTo>
                    <a:pt x="1121" y="483"/>
                  </a:lnTo>
                  <a:lnTo>
                    <a:pt x="1121" y="479"/>
                  </a:lnTo>
                  <a:lnTo>
                    <a:pt x="1121" y="483"/>
                  </a:lnTo>
                  <a:lnTo>
                    <a:pt x="1117" y="483"/>
                  </a:lnTo>
                  <a:lnTo>
                    <a:pt x="1113" y="483"/>
                  </a:lnTo>
                  <a:lnTo>
                    <a:pt x="1109" y="483"/>
                  </a:lnTo>
                  <a:lnTo>
                    <a:pt x="1113" y="483"/>
                  </a:lnTo>
                  <a:lnTo>
                    <a:pt x="1117" y="483"/>
                  </a:lnTo>
                  <a:lnTo>
                    <a:pt x="1117" y="487"/>
                  </a:lnTo>
                  <a:lnTo>
                    <a:pt x="1113" y="487"/>
                  </a:lnTo>
                  <a:lnTo>
                    <a:pt x="1117" y="487"/>
                  </a:lnTo>
                  <a:lnTo>
                    <a:pt x="1117" y="491"/>
                  </a:lnTo>
                  <a:lnTo>
                    <a:pt x="1113" y="491"/>
                  </a:lnTo>
                  <a:lnTo>
                    <a:pt x="1113" y="487"/>
                  </a:lnTo>
                  <a:lnTo>
                    <a:pt x="1109" y="487"/>
                  </a:lnTo>
                  <a:lnTo>
                    <a:pt x="1109" y="483"/>
                  </a:lnTo>
                  <a:lnTo>
                    <a:pt x="1105" y="483"/>
                  </a:lnTo>
                  <a:lnTo>
                    <a:pt x="1105" y="487"/>
                  </a:lnTo>
                  <a:lnTo>
                    <a:pt x="1109" y="487"/>
                  </a:lnTo>
                  <a:lnTo>
                    <a:pt x="1109" y="491"/>
                  </a:lnTo>
                  <a:lnTo>
                    <a:pt x="1113" y="491"/>
                  </a:lnTo>
                  <a:lnTo>
                    <a:pt x="1113" y="495"/>
                  </a:lnTo>
                  <a:lnTo>
                    <a:pt x="1117" y="495"/>
                  </a:lnTo>
                  <a:lnTo>
                    <a:pt x="1117" y="499"/>
                  </a:lnTo>
                  <a:lnTo>
                    <a:pt x="1113" y="499"/>
                  </a:lnTo>
                  <a:lnTo>
                    <a:pt x="1109" y="499"/>
                  </a:lnTo>
                  <a:lnTo>
                    <a:pt x="1105" y="499"/>
                  </a:lnTo>
                  <a:lnTo>
                    <a:pt x="1105" y="495"/>
                  </a:lnTo>
                  <a:lnTo>
                    <a:pt x="1101" y="495"/>
                  </a:lnTo>
                  <a:lnTo>
                    <a:pt x="1101" y="491"/>
                  </a:lnTo>
                  <a:lnTo>
                    <a:pt x="1097" y="491"/>
                  </a:lnTo>
                  <a:lnTo>
                    <a:pt x="1093" y="491"/>
                  </a:lnTo>
                  <a:lnTo>
                    <a:pt x="1097" y="491"/>
                  </a:lnTo>
                  <a:lnTo>
                    <a:pt x="1097" y="495"/>
                  </a:lnTo>
                  <a:lnTo>
                    <a:pt x="1101" y="495"/>
                  </a:lnTo>
                  <a:lnTo>
                    <a:pt x="1105" y="495"/>
                  </a:lnTo>
                  <a:lnTo>
                    <a:pt x="1105" y="499"/>
                  </a:lnTo>
                  <a:lnTo>
                    <a:pt x="1101" y="499"/>
                  </a:lnTo>
                  <a:lnTo>
                    <a:pt x="1101" y="495"/>
                  </a:lnTo>
                  <a:lnTo>
                    <a:pt x="1101" y="499"/>
                  </a:lnTo>
                  <a:lnTo>
                    <a:pt x="1101" y="503"/>
                  </a:lnTo>
                  <a:lnTo>
                    <a:pt x="1105" y="503"/>
                  </a:lnTo>
                  <a:lnTo>
                    <a:pt x="1109" y="503"/>
                  </a:lnTo>
                  <a:lnTo>
                    <a:pt x="1105" y="507"/>
                  </a:lnTo>
                  <a:lnTo>
                    <a:pt x="1105" y="511"/>
                  </a:lnTo>
                  <a:lnTo>
                    <a:pt x="1105" y="507"/>
                  </a:lnTo>
                  <a:lnTo>
                    <a:pt x="1109" y="507"/>
                  </a:lnTo>
                  <a:lnTo>
                    <a:pt x="1113" y="507"/>
                  </a:lnTo>
                  <a:lnTo>
                    <a:pt x="1117" y="507"/>
                  </a:lnTo>
                  <a:lnTo>
                    <a:pt x="1113" y="511"/>
                  </a:lnTo>
                  <a:lnTo>
                    <a:pt x="1117" y="511"/>
                  </a:lnTo>
                  <a:lnTo>
                    <a:pt x="1121" y="511"/>
                  </a:lnTo>
                  <a:lnTo>
                    <a:pt x="1117" y="515"/>
                  </a:lnTo>
                  <a:lnTo>
                    <a:pt x="1113" y="515"/>
                  </a:lnTo>
                  <a:lnTo>
                    <a:pt x="1117" y="515"/>
                  </a:lnTo>
                  <a:lnTo>
                    <a:pt x="1121" y="519"/>
                  </a:lnTo>
                  <a:lnTo>
                    <a:pt x="1117" y="519"/>
                  </a:lnTo>
                  <a:lnTo>
                    <a:pt x="1117" y="523"/>
                  </a:lnTo>
                  <a:lnTo>
                    <a:pt x="1121" y="519"/>
                  </a:lnTo>
                  <a:lnTo>
                    <a:pt x="1125" y="519"/>
                  </a:lnTo>
                  <a:lnTo>
                    <a:pt x="1121" y="523"/>
                  </a:lnTo>
                  <a:lnTo>
                    <a:pt x="1125" y="523"/>
                  </a:lnTo>
                  <a:lnTo>
                    <a:pt x="1125" y="527"/>
                  </a:lnTo>
                  <a:lnTo>
                    <a:pt x="1125" y="531"/>
                  </a:lnTo>
                  <a:lnTo>
                    <a:pt x="1125" y="527"/>
                  </a:lnTo>
                  <a:lnTo>
                    <a:pt x="1125" y="523"/>
                  </a:lnTo>
                  <a:lnTo>
                    <a:pt x="1129" y="523"/>
                  </a:lnTo>
                  <a:lnTo>
                    <a:pt x="1129" y="527"/>
                  </a:lnTo>
                  <a:lnTo>
                    <a:pt x="1133" y="527"/>
                  </a:lnTo>
                  <a:lnTo>
                    <a:pt x="1133" y="531"/>
                  </a:lnTo>
                  <a:lnTo>
                    <a:pt x="1133" y="527"/>
                  </a:lnTo>
                  <a:lnTo>
                    <a:pt x="1137" y="527"/>
                  </a:lnTo>
                  <a:lnTo>
                    <a:pt x="1133" y="531"/>
                  </a:lnTo>
                  <a:lnTo>
                    <a:pt x="1137" y="531"/>
                  </a:lnTo>
                  <a:lnTo>
                    <a:pt x="1137" y="527"/>
                  </a:lnTo>
                  <a:lnTo>
                    <a:pt x="1141" y="527"/>
                  </a:lnTo>
                  <a:lnTo>
                    <a:pt x="1141" y="531"/>
                  </a:lnTo>
                  <a:lnTo>
                    <a:pt x="1141" y="535"/>
                  </a:lnTo>
                  <a:lnTo>
                    <a:pt x="1145" y="535"/>
                  </a:lnTo>
                  <a:lnTo>
                    <a:pt x="1148" y="535"/>
                  </a:lnTo>
                  <a:lnTo>
                    <a:pt x="1148" y="539"/>
                  </a:lnTo>
                  <a:lnTo>
                    <a:pt x="1148" y="543"/>
                  </a:lnTo>
                  <a:lnTo>
                    <a:pt x="1145" y="543"/>
                  </a:lnTo>
                  <a:lnTo>
                    <a:pt x="1145" y="539"/>
                  </a:lnTo>
                  <a:lnTo>
                    <a:pt x="1141" y="539"/>
                  </a:lnTo>
                  <a:lnTo>
                    <a:pt x="1141" y="543"/>
                  </a:lnTo>
                  <a:lnTo>
                    <a:pt x="1145" y="543"/>
                  </a:lnTo>
                  <a:lnTo>
                    <a:pt x="1148" y="547"/>
                  </a:lnTo>
                  <a:lnTo>
                    <a:pt x="1152" y="547"/>
                  </a:lnTo>
                  <a:lnTo>
                    <a:pt x="1156" y="547"/>
                  </a:lnTo>
                  <a:lnTo>
                    <a:pt x="1156" y="551"/>
                  </a:lnTo>
                  <a:lnTo>
                    <a:pt x="1152" y="551"/>
                  </a:lnTo>
                  <a:lnTo>
                    <a:pt x="1148" y="551"/>
                  </a:lnTo>
                  <a:lnTo>
                    <a:pt x="1148" y="555"/>
                  </a:lnTo>
                  <a:lnTo>
                    <a:pt x="1152" y="555"/>
                  </a:lnTo>
                  <a:lnTo>
                    <a:pt x="1156" y="555"/>
                  </a:lnTo>
                  <a:lnTo>
                    <a:pt x="1156" y="559"/>
                  </a:lnTo>
                  <a:lnTo>
                    <a:pt x="1156" y="563"/>
                  </a:lnTo>
                  <a:lnTo>
                    <a:pt x="1156" y="567"/>
                  </a:lnTo>
                  <a:lnTo>
                    <a:pt x="1152" y="567"/>
                  </a:lnTo>
                  <a:lnTo>
                    <a:pt x="1152" y="563"/>
                  </a:lnTo>
                  <a:lnTo>
                    <a:pt x="1152" y="559"/>
                  </a:lnTo>
                  <a:lnTo>
                    <a:pt x="1148" y="559"/>
                  </a:lnTo>
                  <a:lnTo>
                    <a:pt x="1148" y="555"/>
                  </a:lnTo>
                  <a:lnTo>
                    <a:pt x="1145" y="555"/>
                  </a:lnTo>
                  <a:lnTo>
                    <a:pt x="1148" y="555"/>
                  </a:lnTo>
                  <a:lnTo>
                    <a:pt x="1148" y="559"/>
                  </a:lnTo>
                  <a:lnTo>
                    <a:pt x="1148" y="563"/>
                  </a:lnTo>
                  <a:lnTo>
                    <a:pt x="1152" y="567"/>
                  </a:lnTo>
                  <a:lnTo>
                    <a:pt x="1148" y="567"/>
                  </a:lnTo>
                  <a:lnTo>
                    <a:pt x="1148" y="571"/>
                  </a:lnTo>
                  <a:lnTo>
                    <a:pt x="1152" y="571"/>
                  </a:lnTo>
                  <a:lnTo>
                    <a:pt x="1152" y="575"/>
                  </a:lnTo>
                  <a:lnTo>
                    <a:pt x="1156" y="575"/>
                  </a:lnTo>
                  <a:lnTo>
                    <a:pt x="1152" y="579"/>
                  </a:lnTo>
                  <a:lnTo>
                    <a:pt x="1148" y="575"/>
                  </a:lnTo>
                  <a:lnTo>
                    <a:pt x="1145" y="575"/>
                  </a:lnTo>
                  <a:lnTo>
                    <a:pt x="1148" y="579"/>
                  </a:lnTo>
                  <a:lnTo>
                    <a:pt x="1148" y="583"/>
                  </a:lnTo>
                  <a:lnTo>
                    <a:pt x="1152" y="583"/>
                  </a:lnTo>
                  <a:lnTo>
                    <a:pt x="1148" y="583"/>
                  </a:lnTo>
                  <a:lnTo>
                    <a:pt x="1148" y="587"/>
                  </a:lnTo>
                  <a:lnTo>
                    <a:pt x="1145" y="583"/>
                  </a:lnTo>
                  <a:lnTo>
                    <a:pt x="1145" y="579"/>
                  </a:lnTo>
                  <a:lnTo>
                    <a:pt x="1141" y="579"/>
                  </a:lnTo>
                  <a:lnTo>
                    <a:pt x="1141" y="575"/>
                  </a:lnTo>
                  <a:lnTo>
                    <a:pt x="1137" y="575"/>
                  </a:lnTo>
                  <a:lnTo>
                    <a:pt x="1133" y="575"/>
                  </a:lnTo>
                  <a:lnTo>
                    <a:pt x="1133" y="571"/>
                  </a:lnTo>
                  <a:lnTo>
                    <a:pt x="1129" y="571"/>
                  </a:lnTo>
                  <a:lnTo>
                    <a:pt x="1133" y="575"/>
                  </a:lnTo>
                  <a:lnTo>
                    <a:pt x="1129" y="575"/>
                  </a:lnTo>
                  <a:lnTo>
                    <a:pt x="1129" y="571"/>
                  </a:lnTo>
                  <a:lnTo>
                    <a:pt x="1125" y="571"/>
                  </a:lnTo>
                  <a:lnTo>
                    <a:pt x="1125" y="567"/>
                  </a:lnTo>
                  <a:lnTo>
                    <a:pt x="1125" y="563"/>
                  </a:lnTo>
                  <a:lnTo>
                    <a:pt x="1125" y="567"/>
                  </a:lnTo>
                  <a:lnTo>
                    <a:pt x="1125" y="571"/>
                  </a:lnTo>
                  <a:lnTo>
                    <a:pt x="1125" y="575"/>
                  </a:lnTo>
                  <a:lnTo>
                    <a:pt x="1125" y="571"/>
                  </a:lnTo>
                  <a:lnTo>
                    <a:pt x="1125" y="567"/>
                  </a:lnTo>
                  <a:lnTo>
                    <a:pt x="1121" y="567"/>
                  </a:lnTo>
                  <a:lnTo>
                    <a:pt x="1121" y="571"/>
                  </a:lnTo>
                  <a:lnTo>
                    <a:pt x="1121" y="567"/>
                  </a:lnTo>
                  <a:lnTo>
                    <a:pt x="1121" y="563"/>
                  </a:lnTo>
                  <a:lnTo>
                    <a:pt x="1121" y="567"/>
                  </a:lnTo>
                  <a:lnTo>
                    <a:pt x="1117" y="567"/>
                  </a:lnTo>
                  <a:lnTo>
                    <a:pt x="1113" y="563"/>
                  </a:lnTo>
                  <a:lnTo>
                    <a:pt x="1109" y="559"/>
                  </a:lnTo>
                  <a:lnTo>
                    <a:pt x="1109" y="555"/>
                  </a:lnTo>
                  <a:lnTo>
                    <a:pt x="1105" y="555"/>
                  </a:lnTo>
                  <a:lnTo>
                    <a:pt x="1109" y="559"/>
                  </a:lnTo>
                  <a:lnTo>
                    <a:pt x="1109" y="563"/>
                  </a:lnTo>
                  <a:lnTo>
                    <a:pt x="1109" y="567"/>
                  </a:lnTo>
                  <a:lnTo>
                    <a:pt x="1109" y="563"/>
                  </a:lnTo>
                  <a:lnTo>
                    <a:pt x="1105" y="563"/>
                  </a:lnTo>
                  <a:lnTo>
                    <a:pt x="1105" y="559"/>
                  </a:lnTo>
                  <a:lnTo>
                    <a:pt x="1101" y="559"/>
                  </a:lnTo>
                  <a:lnTo>
                    <a:pt x="1097" y="559"/>
                  </a:lnTo>
                  <a:lnTo>
                    <a:pt x="1097" y="555"/>
                  </a:lnTo>
                  <a:lnTo>
                    <a:pt x="1093" y="555"/>
                  </a:lnTo>
                  <a:lnTo>
                    <a:pt x="1089" y="555"/>
                  </a:lnTo>
                  <a:lnTo>
                    <a:pt x="1093" y="559"/>
                  </a:lnTo>
                  <a:lnTo>
                    <a:pt x="1097" y="563"/>
                  </a:lnTo>
                  <a:lnTo>
                    <a:pt x="1101" y="567"/>
                  </a:lnTo>
                  <a:lnTo>
                    <a:pt x="1101" y="571"/>
                  </a:lnTo>
                  <a:lnTo>
                    <a:pt x="1105" y="571"/>
                  </a:lnTo>
                  <a:lnTo>
                    <a:pt x="1109" y="571"/>
                  </a:lnTo>
                  <a:lnTo>
                    <a:pt x="1109" y="575"/>
                  </a:lnTo>
                  <a:lnTo>
                    <a:pt x="1113" y="575"/>
                  </a:lnTo>
                  <a:lnTo>
                    <a:pt x="1109" y="575"/>
                  </a:lnTo>
                  <a:lnTo>
                    <a:pt x="1113" y="575"/>
                  </a:lnTo>
                  <a:lnTo>
                    <a:pt x="1117" y="579"/>
                  </a:lnTo>
                  <a:lnTo>
                    <a:pt x="1121" y="579"/>
                  </a:lnTo>
                  <a:lnTo>
                    <a:pt x="1121" y="583"/>
                  </a:lnTo>
                  <a:lnTo>
                    <a:pt x="1125" y="583"/>
                  </a:lnTo>
                  <a:lnTo>
                    <a:pt x="1129" y="587"/>
                  </a:lnTo>
                  <a:lnTo>
                    <a:pt x="1129" y="591"/>
                  </a:lnTo>
                  <a:lnTo>
                    <a:pt x="1133" y="591"/>
                  </a:lnTo>
                  <a:lnTo>
                    <a:pt x="1133" y="595"/>
                  </a:lnTo>
                  <a:lnTo>
                    <a:pt x="1137" y="595"/>
                  </a:lnTo>
                  <a:lnTo>
                    <a:pt x="1133" y="595"/>
                  </a:lnTo>
                  <a:lnTo>
                    <a:pt x="1133" y="599"/>
                  </a:lnTo>
                  <a:lnTo>
                    <a:pt x="1137" y="599"/>
                  </a:lnTo>
                  <a:lnTo>
                    <a:pt x="1137" y="603"/>
                  </a:lnTo>
                  <a:lnTo>
                    <a:pt x="1133" y="603"/>
                  </a:lnTo>
                  <a:lnTo>
                    <a:pt x="1129" y="603"/>
                  </a:lnTo>
                  <a:lnTo>
                    <a:pt x="1125" y="603"/>
                  </a:lnTo>
                  <a:lnTo>
                    <a:pt x="1125" y="599"/>
                  </a:lnTo>
                  <a:lnTo>
                    <a:pt x="1121" y="599"/>
                  </a:lnTo>
                  <a:lnTo>
                    <a:pt x="1117" y="599"/>
                  </a:lnTo>
                  <a:lnTo>
                    <a:pt x="1113" y="595"/>
                  </a:lnTo>
                  <a:lnTo>
                    <a:pt x="1109" y="595"/>
                  </a:lnTo>
                  <a:lnTo>
                    <a:pt x="1105" y="595"/>
                  </a:lnTo>
                  <a:lnTo>
                    <a:pt x="1101" y="595"/>
                  </a:lnTo>
                  <a:lnTo>
                    <a:pt x="1097" y="595"/>
                  </a:lnTo>
                  <a:lnTo>
                    <a:pt x="1097" y="591"/>
                  </a:lnTo>
                  <a:lnTo>
                    <a:pt x="1093" y="591"/>
                  </a:lnTo>
                  <a:lnTo>
                    <a:pt x="1089" y="591"/>
                  </a:lnTo>
                  <a:lnTo>
                    <a:pt x="1089" y="587"/>
                  </a:lnTo>
                  <a:lnTo>
                    <a:pt x="1085" y="587"/>
                  </a:lnTo>
                  <a:lnTo>
                    <a:pt x="1085" y="583"/>
                  </a:lnTo>
                  <a:lnTo>
                    <a:pt x="1085" y="587"/>
                  </a:lnTo>
                  <a:lnTo>
                    <a:pt x="1081" y="583"/>
                  </a:lnTo>
                  <a:lnTo>
                    <a:pt x="1081" y="579"/>
                  </a:lnTo>
                  <a:lnTo>
                    <a:pt x="1077" y="579"/>
                  </a:lnTo>
                  <a:lnTo>
                    <a:pt x="1073" y="579"/>
                  </a:lnTo>
                  <a:close/>
                  <a:moveTo>
                    <a:pt x="965" y="311"/>
                  </a:moveTo>
                  <a:lnTo>
                    <a:pt x="961" y="311"/>
                  </a:lnTo>
                  <a:lnTo>
                    <a:pt x="957" y="311"/>
                  </a:lnTo>
                  <a:lnTo>
                    <a:pt x="953" y="311"/>
                  </a:lnTo>
                  <a:lnTo>
                    <a:pt x="949" y="311"/>
                  </a:lnTo>
                  <a:lnTo>
                    <a:pt x="945" y="311"/>
                  </a:lnTo>
                  <a:lnTo>
                    <a:pt x="941" y="311"/>
                  </a:lnTo>
                  <a:lnTo>
                    <a:pt x="937" y="315"/>
                  </a:lnTo>
                  <a:lnTo>
                    <a:pt x="933" y="315"/>
                  </a:lnTo>
                  <a:lnTo>
                    <a:pt x="929" y="315"/>
                  </a:lnTo>
                  <a:lnTo>
                    <a:pt x="925" y="311"/>
                  </a:lnTo>
                  <a:lnTo>
                    <a:pt x="921" y="311"/>
                  </a:lnTo>
                  <a:lnTo>
                    <a:pt x="921" y="307"/>
                  </a:lnTo>
                  <a:lnTo>
                    <a:pt x="921" y="303"/>
                  </a:lnTo>
                  <a:lnTo>
                    <a:pt x="921" y="299"/>
                  </a:lnTo>
                  <a:lnTo>
                    <a:pt x="917" y="299"/>
                  </a:lnTo>
                  <a:lnTo>
                    <a:pt x="913" y="299"/>
                  </a:lnTo>
                  <a:lnTo>
                    <a:pt x="909" y="299"/>
                  </a:lnTo>
                  <a:lnTo>
                    <a:pt x="909" y="295"/>
                  </a:lnTo>
                  <a:lnTo>
                    <a:pt x="909" y="287"/>
                  </a:lnTo>
                  <a:lnTo>
                    <a:pt x="913" y="287"/>
                  </a:lnTo>
                  <a:lnTo>
                    <a:pt x="917" y="287"/>
                  </a:lnTo>
                  <a:lnTo>
                    <a:pt x="921" y="287"/>
                  </a:lnTo>
                  <a:lnTo>
                    <a:pt x="925" y="287"/>
                  </a:lnTo>
                  <a:lnTo>
                    <a:pt x="929" y="287"/>
                  </a:lnTo>
                  <a:lnTo>
                    <a:pt x="929" y="291"/>
                  </a:lnTo>
                  <a:lnTo>
                    <a:pt x="933" y="291"/>
                  </a:lnTo>
                  <a:lnTo>
                    <a:pt x="937" y="291"/>
                  </a:lnTo>
                  <a:lnTo>
                    <a:pt x="937" y="287"/>
                  </a:lnTo>
                  <a:lnTo>
                    <a:pt x="941" y="287"/>
                  </a:lnTo>
                  <a:lnTo>
                    <a:pt x="945" y="287"/>
                  </a:lnTo>
                  <a:lnTo>
                    <a:pt x="949" y="287"/>
                  </a:lnTo>
                  <a:lnTo>
                    <a:pt x="953" y="287"/>
                  </a:lnTo>
                  <a:lnTo>
                    <a:pt x="953" y="291"/>
                  </a:lnTo>
                  <a:lnTo>
                    <a:pt x="957" y="291"/>
                  </a:lnTo>
                  <a:lnTo>
                    <a:pt x="961" y="291"/>
                  </a:lnTo>
                  <a:lnTo>
                    <a:pt x="965" y="291"/>
                  </a:lnTo>
                  <a:lnTo>
                    <a:pt x="965" y="295"/>
                  </a:lnTo>
                  <a:lnTo>
                    <a:pt x="969" y="295"/>
                  </a:lnTo>
                  <a:lnTo>
                    <a:pt x="969" y="299"/>
                  </a:lnTo>
                  <a:lnTo>
                    <a:pt x="973" y="299"/>
                  </a:lnTo>
                  <a:lnTo>
                    <a:pt x="973" y="303"/>
                  </a:lnTo>
                  <a:lnTo>
                    <a:pt x="977" y="303"/>
                  </a:lnTo>
                  <a:lnTo>
                    <a:pt x="977" y="307"/>
                  </a:lnTo>
                  <a:lnTo>
                    <a:pt x="981" y="307"/>
                  </a:lnTo>
                  <a:lnTo>
                    <a:pt x="981" y="311"/>
                  </a:lnTo>
                  <a:lnTo>
                    <a:pt x="977" y="311"/>
                  </a:lnTo>
                  <a:lnTo>
                    <a:pt x="973" y="311"/>
                  </a:lnTo>
                  <a:lnTo>
                    <a:pt x="969" y="311"/>
                  </a:lnTo>
                  <a:lnTo>
                    <a:pt x="965" y="311"/>
                  </a:lnTo>
                  <a:close/>
                  <a:moveTo>
                    <a:pt x="542" y="311"/>
                  </a:moveTo>
                  <a:lnTo>
                    <a:pt x="538" y="307"/>
                  </a:lnTo>
                  <a:lnTo>
                    <a:pt x="538" y="311"/>
                  </a:lnTo>
                  <a:lnTo>
                    <a:pt x="542" y="311"/>
                  </a:lnTo>
                  <a:lnTo>
                    <a:pt x="538" y="311"/>
                  </a:lnTo>
                  <a:lnTo>
                    <a:pt x="534" y="307"/>
                  </a:lnTo>
                  <a:lnTo>
                    <a:pt x="530" y="303"/>
                  </a:lnTo>
                  <a:lnTo>
                    <a:pt x="526" y="303"/>
                  </a:lnTo>
                  <a:lnTo>
                    <a:pt x="526" y="299"/>
                  </a:lnTo>
                  <a:lnTo>
                    <a:pt x="522" y="295"/>
                  </a:lnTo>
                  <a:lnTo>
                    <a:pt x="518" y="295"/>
                  </a:lnTo>
                  <a:lnTo>
                    <a:pt x="514" y="295"/>
                  </a:lnTo>
                  <a:lnTo>
                    <a:pt x="514" y="291"/>
                  </a:lnTo>
                  <a:lnTo>
                    <a:pt x="518" y="287"/>
                  </a:lnTo>
                  <a:lnTo>
                    <a:pt x="522" y="287"/>
                  </a:lnTo>
                  <a:lnTo>
                    <a:pt x="526" y="287"/>
                  </a:lnTo>
                  <a:lnTo>
                    <a:pt x="530" y="287"/>
                  </a:lnTo>
                  <a:lnTo>
                    <a:pt x="534" y="287"/>
                  </a:lnTo>
                  <a:lnTo>
                    <a:pt x="538" y="287"/>
                  </a:lnTo>
                  <a:lnTo>
                    <a:pt x="542" y="287"/>
                  </a:lnTo>
                  <a:lnTo>
                    <a:pt x="546" y="287"/>
                  </a:lnTo>
                  <a:lnTo>
                    <a:pt x="550" y="291"/>
                  </a:lnTo>
                  <a:lnTo>
                    <a:pt x="550" y="295"/>
                  </a:lnTo>
                  <a:lnTo>
                    <a:pt x="550" y="299"/>
                  </a:lnTo>
                  <a:lnTo>
                    <a:pt x="546" y="303"/>
                  </a:lnTo>
                  <a:lnTo>
                    <a:pt x="546" y="307"/>
                  </a:lnTo>
                  <a:lnTo>
                    <a:pt x="542" y="307"/>
                  </a:lnTo>
                  <a:lnTo>
                    <a:pt x="542" y="311"/>
                  </a:lnTo>
                  <a:close/>
                  <a:moveTo>
                    <a:pt x="251" y="291"/>
                  </a:moveTo>
                  <a:lnTo>
                    <a:pt x="255" y="291"/>
                  </a:lnTo>
                  <a:lnTo>
                    <a:pt x="251" y="291"/>
                  </a:lnTo>
                  <a:close/>
                  <a:moveTo>
                    <a:pt x="506" y="291"/>
                  </a:moveTo>
                  <a:lnTo>
                    <a:pt x="502" y="291"/>
                  </a:lnTo>
                  <a:lnTo>
                    <a:pt x="498" y="291"/>
                  </a:lnTo>
                  <a:lnTo>
                    <a:pt x="502" y="291"/>
                  </a:lnTo>
                  <a:lnTo>
                    <a:pt x="506" y="291"/>
                  </a:lnTo>
                  <a:close/>
                  <a:moveTo>
                    <a:pt x="379" y="375"/>
                  </a:moveTo>
                  <a:lnTo>
                    <a:pt x="375" y="375"/>
                  </a:lnTo>
                  <a:lnTo>
                    <a:pt x="371" y="375"/>
                  </a:lnTo>
                  <a:lnTo>
                    <a:pt x="367" y="375"/>
                  </a:lnTo>
                  <a:lnTo>
                    <a:pt x="363" y="375"/>
                  </a:lnTo>
                  <a:lnTo>
                    <a:pt x="359" y="375"/>
                  </a:lnTo>
                  <a:lnTo>
                    <a:pt x="355" y="375"/>
                  </a:lnTo>
                  <a:lnTo>
                    <a:pt x="351" y="375"/>
                  </a:lnTo>
                  <a:lnTo>
                    <a:pt x="351" y="371"/>
                  </a:lnTo>
                  <a:lnTo>
                    <a:pt x="347" y="371"/>
                  </a:lnTo>
                  <a:lnTo>
                    <a:pt x="347" y="367"/>
                  </a:lnTo>
                  <a:lnTo>
                    <a:pt x="343" y="367"/>
                  </a:lnTo>
                  <a:lnTo>
                    <a:pt x="343" y="363"/>
                  </a:lnTo>
                  <a:lnTo>
                    <a:pt x="347" y="359"/>
                  </a:lnTo>
                  <a:lnTo>
                    <a:pt x="351" y="359"/>
                  </a:lnTo>
                  <a:lnTo>
                    <a:pt x="355" y="359"/>
                  </a:lnTo>
                  <a:lnTo>
                    <a:pt x="359" y="359"/>
                  </a:lnTo>
                  <a:lnTo>
                    <a:pt x="363" y="355"/>
                  </a:lnTo>
                  <a:lnTo>
                    <a:pt x="367" y="355"/>
                  </a:lnTo>
                  <a:lnTo>
                    <a:pt x="371" y="355"/>
                  </a:lnTo>
                  <a:lnTo>
                    <a:pt x="375" y="355"/>
                  </a:lnTo>
                  <a:lnTo>
                    <a:pt x="379" y="355"/>
                  </a:lnTo>
                  <a:lnTo>
                    <a:pt x="383" y="355"/>
                  </a:lnTo>
                  <a:lnTo>
                    <a:pt x="383" y="351"/>
                  </a:lnTo>
                  <a:lnTo>
                    <a:pt x="379" y="351"/>
                  </a:lnTo>
                  <a:lnTo>
                    <a:pt x="383" y="351"/>
                  </a:lnTo>
                  <a:lnTo>
                    <a:pt x="387" y="351"/>
                  </a:lnTo>
                  <a:lnTo>
                    <a:pt x="391" y="351"/>
                  </a:lnTo>
                  <a:lnTo>
                    <a:pt x="391" y="347"/>
                  </a:lnTo>
                  <a:lnTo>
                    <a:pt x="391" y="351"/>
                  </a:lnTo>
                  <a:lnTo>
                    <a:pt x="387" y="351"/>
                  </a:lnTo>
                  <a:lnTo>
                    <a:pt x="387" y="347"/>
                  </a:lnTo>
                  <a:lnTo>
                    <a:pt x="383" y="347"/>
                  </a:lnTo>
                  <a:lnTo>
                    <a:pt x="379" y="347"/>
                  </a:lnTo>
                  <a:lnTo>
                    <a:pt x="375" y="351"/>
                  </a:lnTo>
                  <a:lnTo>
                    <a:pt x="371" y="351"/>
                  </a:lnTo>
                  <a:lnTo>
                    <a:pt x="367" y="351"/>
                  </a:lnTo>
                  <a:lnTo>
                    <a:pt x="363" y="351"/>
                  </a:lnTo>
                  <a:lnTo>
                    <a:pt x="359" y="351"/>
                  </a:lnTo>
                  <a:lnTo>
                    <a:pt x="355" y="351"/>
                  </a:lnTo>
                  <a:lnTo>
                    <a:pt x="359" y="351"/>
                  </a:lnTo>
                  <a:lnTo>
                    <a:pt x="355" y="351"/>
                  </a:lnTo>
                  <a:lnTo>
                    <a:pt x="355" y="355"/>
                  </a:lnTo>
                  <a:lnTo>
                    <a:pt x="351" y="351"/>
                  </a:lnTo>
                  <a:lnTo>
                    <a:pt x="351" y="355"/>
                  </a:lnTo>
                  <a:lnTo>
                    <a:pt x="351" y="351"/>
                  </a:lnTo>
                  <a:lnTo>
                    <a:pt x="347" y="351"/>
                  </a:lnTo>
                  <a:lnTo>
                    <a:pt x="343" y="351"/>
                  </a:lnTo>
                  <a:lnTo>
                    <a:pt x="347" y="347"/>
                  </a:lnTo>
                  <a:lnTo>
                    <a:pt x="351" y="347"/>
                  </a:lnTo>
                  <a:lnTo>
                    <a:pt x="355" y="347"/>
                  </a:lnTo>
                  <a:lnTo>
                    <a:pt x="351" y="347"/>
                  </a:lnTo>
                  <a:lnTo>
                    <a:pt x="351" y="343"/>
                  </a:lnTo>
                  <a:lnTo>
                    <a:pt x="347" y="343"/>
                  </a:lnTo>
                  <a:lnTo>
                    <a:pt x="347" y="347"/>
                  </a:lnTo>
                  <a:lnTo>
                    <a:pt x="343" y="347"/>
                  </a:lnTo>
                  <a:lnTo>
                    <a:pt x="339" y="347"/>
                  </a:lnTo>
                  <a:lnTo>
                    <a:pt x="339" y="343"/>
                  </a:lnTo>
                  <a:lnTo>
                    <a:pt x="335" y="343"/>
                  </a:lnTo>
                  <a:lnTo>
                    <a:pt x="335" y="347"/>
                  </a:lnTo>
                  <a:lnTo>
                    <a:pt x="331" y="347"/>
                  </a:lnTo>
                  <a:lnTo>
                    <a:pt x="331" y="343"/>
                  </a:lnTo>
                  <a:lnTo>
                    <a:pt x="331" y="339"/>
                  </a:lnTo>
                  <a:lnTo>
                    <a:pt x="335" y="335"/>
                  </a:lnTo>
                  <a:lnTo>
                    <a:pt x="339" y="335"/>
                  </a:lnTo>
                  <a:lnTo>
                    <a:pt x="335" y="331"/>
                  </a:lnTo>
                  <a:lnTo>
                    <a:pt x="339" y="331"/>
                  </a:lnTo>
                  <a:lnTo>
                    <a:pt x="343" y="331"/>
                  </a:lnTo>
                  <a:lnTo>
                    <a:pt x="347" y="331"/>
                  </a:lnTo>
                  <a:lnTo>
                    <a:pt x="347" y="327"/>
                  </a:lnTo>
                  <a:lnTo>
                    <a:pt x="343" y="327"/>
                  </a:lnTo>
                  <a:lnTo>
                    <a:pt x="339" y="327"/>
                  </a:lnTo>
                  <a:lnTo>
                    <a:pt x="339" y="323"/>
                  </a:lnTo>
                  <a:lnTo>
                    <a:pt x="343" y="319"/>
                  </a:lnTo>
                  <a:lnTo>
                    <a:pt x="347" y="319"/>
                  </a:lnTo>
                  <a:lnTo>
                    <a:pt x="351" y="315"/>
                  </a:lnTo>
                  <a:lnTo>
                    <a:pt x="355" y="315"/>
                  </a:lnTo>
                  <a:lnTo>
                    <a:pt x="355" y="311"/>
                  </a:lnTo>
                  <a:lnTo>
                    <a:pt x="359" y="311"/>
                  </a:lnTo>
                  <a:lnTo>
                    <a:pt x="363" y="311"/>
                  </a:lnTo>
                  <a:lnTo>
                    <a:pt x="363" y="307"/>
                  </a:lnTo>
                  <a:lnTo>
                    <a:pt x="367" y="307"/>
                  </a:lnTo>
                  <a:lnTo>
                    <a:pt x="371" y="307"/>
                  </a:lnTo>
                  <a:lnTo>
                    <a:pt x="375" y="303"/>
                  </a:lnTo>
                  <a:lnTo>
                    <a:pt x="379" y="303"/>
                  </a:lnTo>
                  <a:lnTo>
                    <a:pt x="383" y="303"/>
                  </a:lnTo>
                  <a:lnTo>
                    <a:pt x="387" y="299"/>
                  </a:lnTo>
                  <a:lnTo>
                    <a:pt x="391" y="299"/>
                  </a:lnTo>
                  <a:lnTo>
                    <a:pt x="395" y="299"/>
                  </a:lnTo>
                  <a:lnTo>
                    <a:pt x="399" y="295"/>
                  </a:lnTo>
                  <a:lnTo>
                    <a:pt x="403" y="299"/>
                  </a:lnTo>
                  <a:lnTo>
                    <a:pt x="407" y="299"/>
                  </a:lnTo>
                  <a:lnTo>
                    <a:pt x="407" y="303"/>
                  </a:lnTo>
                  <a:lnTo>
                    <a:pt x="411" y="303"/>
                  </a:lnTo>
                  <a:lnTo>
                    <a:pt x="407" y="307"/>
                  </a:lnTo>
                  <a:lnTo>
                    <a:pt x="407" y="311"/>
                  </a:lnTo>
                  <a:lnTo>
                    <a:pt x="407" y="315"/>
                  </a:lnTo>
                  <a:lnTo>
                    <a:pt x="403" y="315"/>
                  </a:lnTo>
                  <a:lnTo>
                    <a:pt x="403" y="319"/>
                  </a:lnTo>
                  <a:lnTo>
                    <a:pt x="399" y="319"/>
                  </a:lnTo>
                  <a:lnTo>
                    <a:pt x="403" y="319"/>
                  </a:lnTo>
                  <a:lnTo>
                    <a:pt x="407" y="319"/>
                  </a:lnTo>
                  <a:lnTo>
                    <a:pt x="411" y="315"/>
                  </a:lnTo>
                  <a:lnTo>
                    <a:pt x="411" y="319"/>
                  </a:lnTo>
                  <a:lnTo>
                    <a:pt x="415" y="315"/>
                  </a:lnTo>
                  <a:lnTo>
                    <a:pt x="415" y="319"/>
                  </a:lnTo>
                  <a:lnTo>
                    <a:pt x="411" y="319"/>
                  </a:lnTo>
                  <a:lnTo>
                    <a:pt x="415" y="319"/>
                  </a:lnTo>
                  <a:lnTo>
                    <a:pt x="415" y="315"/>
                  </a:lnTo>
                  <a:lnTo>
                    <a:pt x="419" y="315"/>
                  </a:lnTo>
                  <a:lnTo>
                    <a:pt x="415" y="315"/>
                  </a:lnTo>
                  <a:lnTo>
                    <a:pt x="419" y="311"/>
                  </a:lnTo>
                  <a:lnTo>
                    <a:pt x="419" y="307"/>
                  </a:lnTo>
                  <a:lnTo>
                    <a:pt x="423" y="307"/>
                  </a:lnTo>
                  <a:lnTo>
                    <a:pt x="427" y="307"/>
                  </a:lnTo>
                  <a:lnTo>
                    <a:pt x="431" y="307"/>
                  </a:lnTo>
                  <a:lnTo>
                    <a:pt x="431" y="311"/>
                  </a:lnTo>
                  <a:lnTo>
                    <a:pt x="435" y="311"/>
                  </a:lnTo>
                  <a:lnTo>
                    <a:pt x="439" y="311"/>
                  </a:lnTo>
                  <a:lnTo>
                    <a:pt x="442" y="311"/>
                  </a:lnTo>
                  <a:lnTo>
                    <a:pt x="446" y="311"/>
                  </a:lnTo>
                  <a:lnTo>
                    <a:pt x="446" y="315"/>
                  </a:lnTo>
                  <a:lnTo>
                    <a:pt x="450" y="315"/>
                  </a:lnTo>
                  <a:lnTo>
                    <a:pt x="450" y="319"/>
                  </a:lnTo>
                  <a:lnTo>
                    <a:pt x="446" y="323"/>
                  </a:lnTo>
                  <a:lnTo>
                    <a:pt x="442" y="323"/>
                  </a:lnTo>
                  <a:lnTo>
                    <a:pt x="442" y="327"/>
                  </a:lnTo>
                  <a:lnTo>
                    <a:pt x="439" y="327"/>
                  </a:lnTo>
                  <a:lnTo>
                    <a:pt x="442" y="327"/>
                  </a:lnTo>
                  <a:lnTo>
                    <a:pt x="446" y="327"/>
                  </a:lnTo>
                  <a:lnTo>
                    <a:pt x="442" y="327"/>
                  </a:lnTo>
                  <a:lnTo>
                    <a:pt x="446" y="323"/>
                  </a:lnTo>
                  <a:lnTo>
                    <a:pt x="450" y="323"/>
                  </a:lnTo>
                  <a:lnTo>
                    <a:pt x="450" y="327"/>
                  </a:lnTo>
                  <a:lnTo>
                    <a:pt x="450" y="323"/>
                  </a:lnTo>
                  <a:lnTo>
                    <a:pt x="454" y="323"/>
                  </a:lnTo>
                  <a:lnTo>
                    <a:pt x="458" y="323"/>
                  </a:lnTo>
                  <a:lnTo>
                    <a:pt x="454" y="323"/>
                  </a:lnTo>
                  <a:lnTo>
                    <a:pt x="458" y="319"/>
                  </a:lnTo>
                  <a:lnTo>
                    <a:pt x="462" y="319"/>
                  </a:lnTo>
                  <a:lnTo>
                    <a:pt x="458" y="323"/>
                  </a:lnTo>
                  <a:lnTo>
                    <a:pt x="462" y="323"/>
                  </a:lnTo>
                  <a:lnTo>
                    <a:pt x="462" y="319"/>
                  </a:lnTo>
                  <a:lnTo>
                    <a:pt x="466" y="323"/>
                  </a:lnTo>
                  <a:lnTo>
                    <a:pt x="470" y="323"/>
                  </a:lnTo>
                  <a:lnTo>
                    <a:pt x="466" y="323"/>
                  </a:lnTo>
                  <a:lnTo>
                    <a:pt x="466" y="319"/>
                  </a:lnTo>
                  <a:lnTo>
                    <a:pt x="470" y="319"/>
                  </a:lnTo>
                  <a:lnTo>
                    <a:pt x="470" y="323"/>
                  </a:lnTo>
                  <a:lnTo>
                    <a:pt x="470" y="319"/>
                  </a:lnTo>
                  <a:lnTo>
                    <a:pt x="466" y="319"/>
                  </a:lnTo>
                  <a:lnTo>
                    <a:pt x="462" y="315"/>
                  </a:lnTo>
                  <a:lnTo>
                    <a:pt x="466" y="315"/>
                  </a:lnTo>
                  <a:lnTo>
                    <a:pt x="470" y="315"/>
                  </a:lnTo>
                  <a:lnTo>
                    <a:pt x="466" y="315"/>
                  </a:lnTo>
                  <a:lnTo>
                    <a:pt x="466" y="311"/>
                  </a:lnTo>
                  <a:lnTo>
                    <a:pt x="462" y="311"/>
                  </a:lnTo>
                  <a:lnTo>
                    <a:pt x="458" y="311"/>
                  </a:lnTo>
                  <a:lnTo>
                    <a:pt x="458" y="307"/>
                  </a:lnTo>
                  <a:lnTo>
                    <a:pt x="462" y="307"/>
                  </a:lnTo>
                  <a:lnTo>
                    <a:pt x="466" y="307"/>
                  </a:lnTo>
                  <a:lnTo>
                    <a:pt x="470" y="307"/>
                  </a:lnTo>
                  <a:lnTo>
                    <a:pt x="474" y="311"/>
                  </a:lnTo>
                  <a:lnTo>
                    <a:pt x="478" y="315"/>
                  </a:lnTo>
                  <a:lnTo>
                    <a:pt x="482" y="315"/>
                  </a:lnTo>
                  <a:lnTo>
                    <a:pt x="482" y="319"/>
                  </a:lnTo>
                  <a:lnTo>
                    <a:pt x="486" y="319"/>
                  </a:lnTo>
                  <a:lnTo>
                    <a:pt x="490" y="319"/>
                  </a:lnTo>
                  <a:lnTo>
                    <a:pt x="490" y="323"/>
                  </a:lnTo>
                  <a:lnTo>
                    <a:pt x="490" y="327"/>
                  </a:lnTo>
                  <a:lnTo>
                    <a:pt x="490" y="331"/>
                  </a:lnTo>
                  <a:lnTo>
                    <a:pt x="494" y="331"/>
                  </a:lnTo>
                  <a:lnTo>
                    <a:pt x="494" y="335"/>
                  </a:lnTo>
                  <a:lnTo>
                    <a:pt x="494" y="339"/>
                  </a:lnTo>
                  <a:lnTo>
                    <a:pt x="494" y="343"/>
                  </a:lnTo>
                  <a:lnTo>
                    <a:pt x="498" y="343"/>
                  </a:lnTo>
                  <a:lnTo>
                    <a:pt x="498" y="347"/>
                  </a:lnTo>
                  <a:lnTo>
                    <a:pt x="502" y="347"/>
                  </a:lnTo>
                  <a:lnTo>
                    <a:pt x="502" y="343"/>
                  </a:lnTo>
                  <a:lnTo>
                    <a:pt x="506" y="343"/>
                  </a:lnTo>
                  <a:lnTo>
                    <a:pt x="506" y="339"/>
                  </a:lnTo>
                  <a:lnTo>
                    <a:pt x="510" y="339"/>
                  </a:lnTo>
                  <a:lnTo>
                    <a:pt x="506" y="335"/>
                  </a:lnTo>
                  <a:lnTo>
                    <a:pt x="502" y="335"/>
                  </a:lnTo>
                  <a:lnTo>
                    <a:pt x="506" y="335"/>
                  </a:lnTo>
                  <a:lnTo>
                    <a:pt x="506" y="331"/>
                  </a:lnTo>
                  <a:lnTo>
                    <a:pt x="502" y="331"/>
                  </a:lnTo>
                  <a:lnTo>
                    <a:pt x="502" y="327"/>
                  </a:lnTo>
                  <a:lnTo>
                    <a:pt x="502" y="323"/>
                  </a:lnTo>
                  <a:lnTo>
                    <a:pt x="502" y="319"/>
                  </a:lnTo>
                  <a:lnTo>
                    <a:pt x="498" y="319"/>
                  </a:lnTo>
                  <a:lnTo>
                    <a:pt x="498" y="315"/>
                  </a:lnTo>
                  <a:lnTo>
                    <a:pt x="498" y="311"/>
                  </a:lnTo>
                  <a:lnTo>
                    <a:pt x="498" y="307"/>
                  </a:lnTo>
                  <a:lnTo>
                    <a:pt x="494" y="303"/>
                  </a:lnTo>
                  <a:lnTo>
                    <a:pt x="498" y="303"/>
                  </a:lnTo>
                  <a:lnTo>
                    <a:pt x="502" y="303"/>
                  </a:lnTo>
                  <a:lnTo>
                    <a:pt x="498" y="303"/>
                  </a:lnTo>
                  <a:lnTo>
                    <a:pt x="498" y="299"/>
                  </a:lnTo>
                  <a:lnTo>
                    <a:pt x="502" y="299"/>
                  </a:lnTo>
                  <a:lnTo>
                    <a:pt x="506" y="299"/>
                  </a:lnTo>
                  <a:lnTo>
                    <a:pt x="510" y="299"/>
                  </a:lnTo>
                  <a:lnTo>
                    <a:pt x="510" y="303"/>
                  </a:lnTo>
                  <a:lnTo>
                    <a:pt x="514" y="303"/>
                  </a:lnTo>
                  <a:lnTo>
                    <a:pt x="514" y="299"/>
                  </a:lnTo>
                  <a:lnTo>
                    <a:pt x="518" y="299"/>
                  </a:lnTo>
                  <a:lnTo>
                    <a:pt x="518" y="303"/>
                  </a:lnTo>
                  <a:lnTo>
                    <a:pt x="522" y="303"/>
                  </a:lnTo>
                  <a:lnTo>
                    <a:pt x="526" y="303"/>
                  </a:lnTo>
                  <a:lnTo>
                    <a:pt x="530" y="307"/>
                  </a:lnTo>
                  <a:lnTo>
                    <a:pt x="534" y="307"/>
                  </a:lnTo>
                  <a:lnTo>
                    <a:pt x="534" y="311"/>
                  </a:lnTo>
                  <a:lnTo>
                    <a:pt x="538" y="311"/>
                  </a:lnTo>
                  <a:lnTo>
                    <a:pt x="538" y="315"/>
                  </a:lnTo>
                  <a:lnTo>
                    <a:pt x="538" y="319"/>
                  </a:lnTo>
                  <a:lnTo>
                    <a:pt x="542" y="319"/>
                  </a:lnTo>
                  <a:lnTo>
                    <a:pt x="542" y="323"/>
                  </a:lnTo>
                  <a:lnTo>
                    <a:pt x="538" y="323"/>
                  </a:lnTo>
                  <a:lnTo>
                    <a:pt x="542" y="323"/>
                  </a:lnTo>
                  <a:lnTo>
                    <a:pt x="542" y="327"/>
                  </a:lnTo>
                  <a:lnTo>
                    <a:pt x="542" y="331"/>
                  </a:lnTo>
                  <a:lnTo>
                    <a:pt x="546" y="331"/>
                  </a:lnTo>
                  <a:lnTo>
                    <a:pt x="542" y="331"/>
                  </a:lnTo>
                  <a:lnTo>
                    <a:pt x="542" y="335"/>
                  </a:lnTo>
                  <a:lnTo>
                    <a:pt x="546" y="335"/>
                  </a:lnTo>
                  <a:lnTo>
                    <a:pt x="546" y="339"/>
                  </a:lnTo>
                  <a:lnTo>
                    <a:pt x="550" y="339"/>
                  </a:lnTo>
                  <a:lnTo>
                    <a:pt x="550" y="343"/>
                  </a:lnTo>
                  <a:lnTo>
                    <a:pt x="554" y="347"/>
                  </a:lnTo>
                  <a:lnTo>
                    <a:pt x="554" y="351"/>
                  </a:lnTo>
                  <a:lnTo>
                    <a:pt x="554" y="355"/>
                  </a:lnTo>
                  <a:lnTo>
                    <a:pt x="550" y="355"/>
                  </a:lnTo>
                  <a:lnTo>
                    <a:pt x="554" y="355"/>
                  </a:lnTo>
                  <a:lnTo>
                    <a:pt x="554" y="359"/>
                  </a:lnTo>
                  <a:lnTo>
                    <a:pt x="550" y="359"/>
                  </a:lnTo>
                  <a:lnTo>
                    <a:pt x="550" y="363"/>
                  </a:lnTo>
                  <a:lnTo>
                    <a:pt x="554" y="363"/>
                  </a:lnTo>
                  <a:lnTo>
                    <a:pt x="558" y="367"/>
                  </a:lnTo>
                  <a:lnTo>
                    <a:pt x="558" y="371"/>
                  </a:lnTo>
                  <a:lnTo>
                    <a:pt x="562" y="371"/>
                  </a:lnTo>
                  <a:lnTo>
                    <a:pt x="566" y="375"/>
                  </a:lnTo>
                  <a:lnTo>
                    <a:pt x="570" y="375"/>
                  </a:lnTo>
                  <a:lnTo>
                    <a:pt x="574" y="375"/>
                  </a:lnTo>
                  <a:lnTo>
                    <a:pt x="574" y="379"/>
                  </a:lnTo>
                  <a:lnTo>
                    <a:pt x="574" y="375"/>
                  </a:lnTo>
                  <a:lnTo>
                    <a:pt x="574" y="371"/>
                  </a:lnTo>
                  <a:lnTo>
                    <a:pt x="578" y="375"/>
                  </a:lnTo>
                  <a:lnTo>
                    <a:pt x="578" y="379"/>
                  </a:lnTo>
                  <a:lnTo>
                    <a:pt x="582" y="379"/>
                  </a:lnTo>
                  <a:lnTo>
                    <a:pt x="586" y="379"/>
                  </a:lnTo>
                  <a:lnTo>
                    <a:pt x="586" y="383"/>
                  </a:lnTo>
                  <a:lnTo>
                    <a:pt x="590" y="383"/>
                  </a:lnTo>
                  <a:lnTo>
                    <a:pt x="594" y="383"/>
                  </a:lnTo>
                  <a:lnTo>
                    <a:pt x="594" y="387"/>
                  </a:lnTo>
                  <a:lnTo>
                    <a:pt x="598" y="387"/>
                  </a:lnTo>
                  <a:lnTo>
                    <a:pt x="602" y="387"/>
                  </a:lnTo>
                  <a:lnTo>
                    <a:pt x="606" y="387"/>
                  </a:lnTo>
                  <a:lnTo>
                    <a:pt x="606" y="391"/>
                  </a:lnTo>
                  <a:lnTo>
                    <a:pt x="606" y="395"/>
                  </a:lnTo>
                  <a:lnTo>
                    <a:pt x="606" y="399"/>
                  </a:lnTo>
                  <a:lnTo>
                    <a:pt x="602" y="399"/>
                  </a:lnTo>
                  <a:lnTo>
                    <a:pt x="598" y="399"/>
                  </a:lnTo>
                  <a:lnTo>
                    <a:pt x="598" y="395"/>
                  </a:lnTo>
                  <a:lnTo>
                    <a:pt x="598" y="399"/>
                  </a:lnTo>
                  <a:lnTo>
                    <a:pt x="594" y="399"/>
                  </a:lnTo>
                  <a:lnTo>
                    <a:pt x="590" y="399"/>
                  </a:lnTo>
                  <a:lnTo>
                    <a:pt x="590" y="395"/>
                  </a:lnTo>
                  <a:lnTo>
                    <a:pt x="586" y="395"/>
                  </a:lnTo>
                  <a:lnTo>
                    <a:pt x="582" y="399"/>
                  </a:lnTo>
                  <a:lnTo>
                    <a:pt x="578" y="399"/>
                  </a:lnTo>
                  <a:lnTo>
                    <a:pt x="582" y="399"/>
                  </a:lnTo>
                  <a:lnTo>
                    <a:pt x="582" y="403"/>
                  </a:lnTo>
                  <a:lnTo>
                    <a:pt x="578" y="403"/>
                  </a:lnTo>
                  <a:lnTo>
                    <a:pt x="574" y="403"/>
                  </a:lnTo>
                  <a:lnTo>
                    <a:pt x="570" y="399"/>
                  </a:lnTo>
                  <a:lnTo>
                    <a:pt x="566" y="399"/>
                  </a:lnTo>
                  <a:lnTo>
                    <a:pt x="566" y="403"/>
                  </a:lnTo>
                  <a:lnTo>
                    <a:pt x="570" y="403"/>
                  </a:lnTo>
                  <a:lnTo>
                    <a:pt x="574" y="403"/>
                  </a:lnTo>
                  <a:lnTo>
                    <a:pt x="574" y="407"/>
                  </a:lnTo>
                  <a:lnTo>
                    <a:pt x="574" y="411"/>
                  </a:lnTo>
                  <a:lnTo>
                    <a:pt x="570" y="411"/>
                  </a:lnTo>
                  <a:lnTo>
                    <a:pt x="570" y="415"/>
                  </a:lnTo>
                  <a:lnTo>
                    <a:pt x="574" y="415"/>
                  </a:lnTo>
                  <a:lnTo>
                    <a:pt x="574" y="411"/>
                  </a:lnTo>
                  <a:lnTo>
                    <a:pt x="578" y="407"/>
                  </a:lnTo>
                  <a:lnTo>
                    <a:pt x="582" y="407"/>
                  </a:lnTo>
                  <a:lnTo>
                    <a:pt x="582" y="403"/>
                  </a:lnTo>
                  <a:lnTo>
                    <a:pt x="586" y="403"/>
                  </a:lnTo>
                  <a:lnTo>
                    <a:pt x="590" y="403"/>
                  </a:lnTo>
                  <a:lnTo>
                    <a:pt x="590" y="407"/>
                  </a:lnTo>
                  <a:lnTo>
                    <a:pt x="590" y="411"/>
                  </a:lnTo>
                  <a:lnTo>
                    <a:pt x="586" y="411"/>
                  </a:lnTo>
                  <a:lnTo>
                    <a:pt x="586" y="415"/>
                  </a:lnTo>
                  <a:lnTo>
                    <a:pt x="590" y="415"/>
                  </a:lnTo>
                  <a:lnTo>
                    <a:pt x="590" y="411"/>
                  </a:lnTo>
                  <a:lnTo>
                    <a:pt x="594" y="411"/>
                  </a:lnTo>
                  <a:lnTo>
                    <a:pt x="594" y="415"/>
                  </a:lnTo>
                  <a:lnTo>
                    <a:pt x="594" y="419"/>
                  </a:lnTo>
                  <a:lnTo>
                    <a:pt x="590" y="419"/>
                  </a:lnTo>
                  <a:lnTo>
                    <a:pt x="586" y="419"/>
                  </a:lnTo>
                  <a:lnTo>
                    <a:pt x="582" y="419"/>
                  </a:lnTo>
                  <a:lnTo>
                    <a:pt x="582" y="423"/>
                  </a:lnTo>
                  <a:lnTo>
                    <a:pt x="578" y="423"/>
                  </a:lnTo>
                  <a:lnTo>
                    <a:pt x="574" y="423"/>
                  </a:lnTo>
                  <a:lnTo>
                    <a:pt x="570" y="423"/>
                  </a:lnTo>
                  <a:lnTo>
                    <a:pt x="566" y="423"/>
                  </a:lnTo>
                  <a:lnTo>
                    <a:pt x="562" y="423"/>
                  </a:lnTo>
                  <a:lnTo>
                    <a:pt x="558" y="423"/>
                  </a:lnTo>
                  <a:lnTo>
                    <a:pt x="554" y="419"/>
                  </a:lnTo>
                  <a:lnTo>
                    <a:pt x="550" y="423"/>
                  </a:lnTo>
                  <a:lnTo>
                    <a:pt x="546" y="423"/>
                  </a:lnTo>
                  <a:lnTo>
                    <a:pt x="542" y="419"/>
                  </a:lnTo>
                  <a:lnTo>
                    <a:pt x="546" y="415"/>
                  </a:lnTo>
                  <a:lnTo>
                    <a:pt x="542" y="415"/>
                  </a:lnTo>
                  <a:lnTo>
                    <a:pt x="538" y="415"/>
                  </a:lnTo>
                  <a:lnTo>
                    <a:pt x="534" y="415"/>
                  </a:lnTo>
                  <a:lnTo>
                    <a:pt x="530" y="415"/>
                  </a:lnTo>
                  <a:lnTo>
                    <a:pt x="526" y="415"/>
                  </a:lnTo>
                  <a:lnTo>
                    <a:pt x="522" y="411"/>
                  </a:lnTo>
                  <a:lnTo>
                    <a:pt x="526" y="411"/>
                  </a:lnTo>
                  <a:lnTo>
                    <a:pt x="526" y="407"/>
                  </a:lnTo>
                  <a:lnTo>
                    <a:pt x="522" y="407"/>
                  </a:lnTo>
                  <a:lnTo>
                    <a:pt x="522" y="403"/>
                  </a:lnTo>
                  <a:lnTo>
                    <a:pt x="518" y="403"/>
                  </a:lnTo>
                  <a:lnTo>
                    <a:pt x="518" y="407"/>
                  </a:lnTo>
                  <a:lnTo>
                    <a:pt x="514" y="407"/>
                  </a:lnTo>
                  <a:lnTo>
                    <a:pt x="514" y="411"/>
                  </a:lnTo>
                  <a:lnTo>
                    <a:pt x="514" y="415"/>
                  </a:lnTo>
                  <a:lnTo>
                    <a:pt x="510" y="415"/>
                  </a:lnTo>
                  <a:lnTo>
                    <a:pt x="510" y="419"/>
                  </a:lnTo>
                  <a:lnTo>
                    <a:pt x="506" y="419"/>
                  </a:lnTo>
                  <a:lnTo>
                    <a:pt x="502" y="419"/>
                  </a:lnTo>
                  <a:lnTo>
                    <a:pt x="498" y="419"/>
                  </a:lnTo>
                  <a:lnTo>
                    <a:pt x="494" y="419"/>
                  </a:lnTo>
                  <a:lnTo>
                    <a:pt x="490" y="419"/>
                  </a:lnTo>
                  <a:lnTo>
                    <a:pt x="490" y="423"/>
                  </a:lnTo>
                  <a:lnTo>
                    <a:pt x="486" y="423"/>
                  </a:lnTo>
                  <a:lnTo>
                    <a:pt x="482" y="427"/>
                  </a:lnTo>
                  <a:lnTo>
                    <a:pt x="478" y="427"/>
                  </a:lnTo>
                  <a:lnTo>
                    <a:pt x="474" y="427"/>
                  </a:lnTo>
                  <a:lnTo>
                    <a:pt x="470" y="427"/>
                  </a:lnTo>
                  <a:lnTo>
                    <a:pt x="466" y="427"/>
                  </a:lnTo>
                  <a:lnTo>
                    <a:pt x="462" y="427"/>
                  </a:lnTo>
                  <a:lnTo>
                    <a:pt x="462" y="431"/>
                  </a:lnTo>
                  <a:lnTo>
                    <a:pt x="462" y="427"/>
                  </a:lnTo>
                  <a:lnTo>
                    <a:pt x="458" y="427"/>
                  </a:lnTo>
                  <a:lnTo>
                    <a:pt x="458" y="431"/>
                  </a:lnTo>
                  <a:lnTo>
                    <a:pt x="454" y="431"/>
                  </a:lnTo>
                  <a:lnTo>
                    <a:pt x="454" y="427"/>
                  </a:lnTo>
                  <a:lnTo>
                    <a:pt x="454" y="431"/>
                  </a:lnTo>
                  <a:lnTo>
                    <a:pt x="450" y="431"/>
                  </a:lnTo>
                  <a:lnTo>
                    <a:pt x="446" y="431"/>
                  </a:lnTo>
                  <a:lnTo>
                    <a:pt x="450" y="431"/>
                  </a:lnTo>
                  <a:lnTo>
                    <a:pt x="446" y="431"/>
                  </a:lnTo>
                  <a:lnTo>
                    <a:pt x="442" y="431"/>
                  </a:lnTo>
                  <a:lnTo>
                    <a:pt x="439" y="431"/>
                  </a:lnTo>
                  <a:lnTo>
                    <a:pt x="435" y="431"/>
                  </a:lnTo>
                  <a:lnTo>
                    <a:pt x="431" y="431"/>
                  </a:lnTo>
                  <a:lnTo>
                    <a:pt x="427" y="431"/>
                  </a:lnTo>
                  <a:lnTo>
                    <a:pt x="423" y="431"/>
                  </a:lnTo>
                  <a:lnTo>
                    <a:pt x="419" y="431"/>
                  </a:lnTo>
                  <a:lnTo>
                    <a:pt x="423" y="431"/>
                  </a:lnTo>
                  <a:lnTo>
                    <a:pt x="419" y="431"/>
                  </a:lnTo>
                  <a:lnTo>
                    <a:pt x="419" y="427"/>
                  </a:lnTo>
                  <a:lnTo>
                    <a:pt x="415" y="427"/>
                  </a:lnTo>
                  <a:lnTo>
                    <a:pt x="415" y="423"/>
                  </a:lnTo>
                  <a:lnTo>
                    <a:pt x="415" y="419"/>
                  </a:lnTo>
                  <a:lnTo>
                    <a:pt x="415" y="415"/>
                  </a:lnTo>
                  <a:lnTo>
                    <a:pt x="415" y="411"/>
                  </a:lnTo>
                  <a:lnTo>
                    <a:pt x="415" y="415"/>
                  </a:lnTo>
                  <a:lnTo>
                    <a:pt x="415" y="411"/>
                  </a:lnTo>
                  <a:lnTo>
                    <a:pt x="411" y="411"/>
                  </a:lnTo>
                  <a:lnTo>
                    <a:pt x="403" y="411"/>
                  </a:lnTo>
                  <a:lnTo>
                    <a:pt x="399" y="411"/>
                  </a:lnTo>
                  <a:lnTo>
                    <a:pt x="395" y="411"/>
                  </a:lnTo>
                  <a:lnTo>
                    <a:pt x="391" y="411"/>
                  </a:lnTo>
                  <a:lnTo>
                    <a:pt x="387" y="411"/>
                  </a:lnTo>
                  <a:lnTo>
                    <a:pt x="383" y="411"/>
                  </a:lnTo>
                  <a:lnTo>
                    <a:pt x="379" y="411"/>
                  </a:lnTo>
                  <a:lnTo>
                    <a:pt x="375" y="407"/>
                  </a:lnTo>
                  <a:lnTo>
                    <a:pt x="371" y="407"/>
                  </a:lnTo>
                  <a:lnTo>
                    <a:pt x="367" y="407"/>
                  </a:lnTo>
                  <a:lnTo>
                    <a:pt x="371" y="403"/>
                  </a:lnTo>
                  <a:lnTo>
                    <a:pt x="367" y="403"/>
                  </a:lnTo>
                  <a:lnTo>
                    <a:pt x="363" y="403"/>
                  </a:lnTo>
                  <a:lnTo>
                    <a:pt x="367" y="403"/>
                  </a:lnTo>
                  <a:lnTo>
                    <a:pt x="367" y="399"/>
                  </a:lnTo>
                  <a:lnTo>
                    <a:pt x="363" y="399"/>
                  </a:lnTo>
                  <a:lnTo>
                    <a:pt x="359" y="399"/>
                  </a:lnTo>
                  <a:lnTo>
                    <a:pt x="359" y="395"/>
                  </a:lnTo>
                  <a:lnTo>
                    <a:pt x="359" y="391"/>
                  </a:lnTo>
                  <a:lnTo>
                    <a:pt x="355" y="391"/>
                  </a:lnTo>
                  <a:lnTo>
                    <a:pt x="359" y="391"/>
                  </a:lnTo>
                  <a:lnTo>
                    <a:pt x="359" y="387"/>
                  </a:lnTo>
                  <a:lnTo>
                    <a:pt x="363" y="387"/>
                  </a:lnTo>
                  <a:lnTo>
                    <a:pt x="371" y="387"/>
                  </a:lnTo>
                  <a:lnTo>
                    <a:pt x="375" y="387"/>
                  </a:lnTo>
                  <a:lnTo>
                    <a:pt x="379" y="383"/>
                  </a:lnTo>
                  <a:lnTo>
                    <a:pt x="383" y="383"/>
                  </a:lnTo>
                  <a:lnTo>
                    <a:pt x="387" y="383"/>
                  </a:lnTo>
                  <a:lnTo>
                    <a:pt x="391" y="383"/>
                  </a:lnTo>
                  <a:lnTo>
                    <a:pt x="395" y="383"/>
                  </a:lnTo>
                  <a:lnTo>
                    <a:pt x="399" y="383"/>
                  </a:lnTo>
                  <a:lnTo>
                    <a:pt x="403" y="383"/>
                  </a:lnTo>
                  <a:lnTo>
                    <a:pt x="407" y="383"/>
                  </a:lnTo>
                  <a:lnTo>
                    <a:pt x="411" y="383"/>
                  </a:lnTo>
                  <a:lnTo>
                    <a:pt x="415" y="383"/>
                  </a:lnTo>
                  <a:lnTo>
                    <a:pt x="419" y="383"/>
                  </a:lnTo>
                  <a:lnTo>
                    <a:pt x="423" y="383"/>
                  </a:lnTo>
                  <a:lnTo>
                    <a:pt x="427" y="387"/>
                  </a:lnTo>
                  <a:lnTo>
                    <a:pt x="431" y="387"/>
                  </a:lnTo>
                  <a:lnTo>
                    <a:pt x="431" y="383"/>
                  </a:lnTo>
                  <a:lnTo>
                    <a:pt x="435" y="383"/>
                  </a:lnTo>
                  <a:lnTo>
                    <a:pt x="439" y="383"/>
                  </a:lnTo>
                  <a:lnTo>
                    <a:pt x="442" y="383"/>
                  </a:lnTo>
                  <a:lnTo>
                    <a:pt x="446" y="383"/>
                  </a:lnTo>
                  <a:lnTo>
                    <a:pt x="442" y="379"/>
                  </a:lnTo>
                  <a:lnTo>
                    <a:pt x="442" y="383"/>
                  </a:lnTo>
                  <a:lnTo>
                    <a:pt x="439" y="379"/>
                  </a:lnTo>
                  <a:lnTo>
                    <a:pt x="435" y="379"/>
                  </a:lnTo>
                  <a:lnTo>
                    <a:pt x="431" y="375"/>
                  </a:lnTo>
                  <a:lnTo>
                    <a:pt x="427" y="375"/>
                  </a:lnTo>
                  <a:lnTo>
                    <a:pt x="423" y="375"/>
                  </a:lnTo>
                  <a:lnTo>
                    <a:pt x="419" y="375"/>
                  </a:lnTo>
                  <a:lnTo>
                    <a:pt x="415" y="371"/>
                  </a:lnTo>
                  <a:lnTo>
                    <a:pt x="415" y="375"/>
                  </a:lnTo>
                  <a:lnTo>
                    <a:pt x="415" y="371"/>
                  </a:lnTo>
                  <a:lnTo>
                    <a:pt x="411" y="371"/>
                  </a:lnTo>
                  <a:lnTo>
                    <a:pt x="407" y="371"/>
                  </a:lnTo>
                  <a:lnTo>
                    <a:pt x="403" y="371"/>
                  </a:lnTo>
                  <a:lnTo>
                    <a:pt x="403" y="375"/>
                  </a:lnTo>
                  <a:lnTo>
                    <a:pt x="399" y="375"/>
                  </a:lnTo>
                  <a:lnTo>
                    <a:pt x="395" y="375"/>
                  </a:lnTo>
                  <a:lnTo>
                    <a:pt x="391" y="375"/>
                  </a:lnTo>
                  <a:lnTo>
                    <a:pt x="387" y="375"/>
                  </a:lnTo>
                  <a:lnTo>
                    <a:pt x="379" y="375"/>
                  </a:lnTo>
                  <a:close/>
                  <a:moveTo>
                    <a:pt x="670" y="303"/>
                  </a:moveTo>
                  <a:lnTo>
                    <a:pt x="674" y="307"/>
                  </a:lnTo>
                  <a:lnTo>
                    <a:pt x="670" y="307"/>
                  </a:lnTo>
                  <a:lnTo>
                    <a:pt x="670" y="311"/>
                  </a:lnTo>
                  <a:lnTo>
                    <a:pt x="666" y="311"/>
                  </a:lnTo>
                  <a:lnTo>
                    <a:pt x="666" y="307"/>
                  </a:lnTo>
                  <a:lnTo>
                    <a:pt x="662" y="307"/>
                  </a:lnTo>
                  <a:lnTo>
                    <a:pt x="662" y="303"/>
                  </a:lnTo>
                  <a:lnTo>
                    <a:pt x="666" y="303"/>
                  </a:lnTo>
                  <a:lnTo>
                    <a:pt x="670" y="303"/>
                  </a:lnTo>
                  <a:close/>
                  <a:moveTo>
                    <a:pt x="670" y="311"/>
                  </a:moveTo>
                  <a:lnTo>
                    <a:pt x="670" y="315"/>
                  </a:lnTo>
                  <a:lnTo>
                    <a:pt x="666" y="315"/>
                  </a:lnTo>
                  <a:lnTo>
                    <a:pt x="666" y="311"/>
                  </a:lnTo>
                  <a:lnTo>
                    <a:pt x="670" y="311"/>
                  </a:lnTo>
                  <a:close/>
                  <a:moveTo>
                    <a:pt x="1001" y="331"/>
                  </a:moveTo>
                  <a:lnTo>
                    <a:pt x="1005" y="331"/>
                  </a:lnTo>
                  <a:lnTo>
                    <a:pt x="1001" y="331"/>
                  </a:lnTo>
                  <a:close/>
                  <a:moveTo>
                    <a:pt x="1025" y="343"/>
                  </a:moveTo>
                  <a:lnTo>
                    <a:pt x="1025" y="347"/>
                  </a:lnTo>
                  <a:lnTo>
                    <a:pt x="1021" y="347"/>
                  </a:lnTo>
                  <a:lnTo>
                    <a:pt x="1025" y="347"/>
                  </a:lnTo>
                  <a:lnTo>
                    <a:pt x="1025" y="343"/>
                  </a:lnTo>
                  <a:close/>
                  <a:moveTo>
                    <a:pt x="1029" y="347"/>
                  </a:moveTo>
                  <a:lnTo>
                    <a:pt x="1033" y="347"/>
                  </a:lnTo>
                  <a:lnTo>
                    <a:pt x="1033" y="343"/>
                  </a:lnTo>
                  <a:lnTo>
                    <a:pt x="1033" y="347"/>
                  </a:lnTo>
                  <a:lnTo>
                    <a:pt x="1029" y="347"/>
                  </a:lnTo>
                  <a:close/>
                  <a:moveTo>
                    <a:pt x="1029" y="355"/>
                  </a:moveTo>
                  <a:lnTo>
                    <a:pt x="1025" y="355"/>
                  </a:lnTo>
                  <a:lnTo>
                    <a:pt x="1025" y="351"/>
                  </a:lnTo>
                  <a:lnTo>
                    <a:pt x="1025" y="347"/>
                  </a:lnTo>
                  <a:lnTo>
                    <a:pt x="1029" y="347"/>
                  </a:lnTo>
                  <a:lnTo>
                    <a:pt x="1029" y="351"/>
                  </a:lnTo>
                  <a:lnTo>
                    <a:pt x="1025" y="351"/>
                  </a:lnTo>
                  <a:lnTo>
                    <a:pt x="1029" y="351"/>
                  </a:lnTo>
                  <a:lnTo>
                    <a:pt x="1029" y="347"/>
                  </a:lnTo>
                  <a:lnTo>
                    <a:pt x="1029" y="351"/>
                  </a:lnTo>
                  <a:lnTo>
                    <a:pt x="1033" y="351"/>
                  </a:lnTo>
                  <a:lnTo>
                    <a:pt x="1029" y="351"/>
                  </a:lnTo>
                  <a:lnTo>
                    <a:pt x="1029" y="355"/>
                  </a:lnTo>
                  <a:close/>
                  <a:moveTo>
                    <a:pt x="1057" y="359"/>
                  </a:moveTo>
                  <a:lnTo>
                    <a:pt x="1057" y="363"/>
                  </a:lnTo>
                  <a:lnTo>
                    <a:pt x="1057" y="359"/>
                  </a:lnTo>
                  <a:close/>
                  <a:moveTo>
                    <a:pt x="1049" y="363"/>
                  </a:moveTo>
                  <a:lnTo>
                    <a:pt x="1053" y="363"/>
                  </a:lnTo>
                  <a:lnTo>
                    <a:pt x="1053" y="367"/>
                  </a:lnTo>
                  <a:lnTo>
                    <a:pt x="1049" y="367"/>
                  </a:lnTo>
                  <a:lnTo>
                    <a:pt x="1045" y="367"/>
                  </a:lnTo>
                  <a:lnTo>
                    <a:pt x="1041" y="367"/>
                  </a:lnTo>
                  <a:lnTo>
                    <a:pt x="1045" y="367"/>
                  </a:lnTo>
                  <a:lnTo>
                    <a:pt x="1045" y="363"/>
                  </a:lnTo>
                  <a:lnTo>
                    <a:pt x="1049" y="363"/>
                  </a:lnTo>
                  <a:close/>
                  <a:moveTo>
                    <a:pt x="614" y="371"/>
                  </a:moveTo>
                  <a:lnTo>
                    <a:pt x="614" y="375"/>
                  </a:lnTo>
                  <a:lnTo>
                    <a:pt x="618" y="375"/>
                  </a:lnTo>
                  <a:lnTo>
                    <a:pt x="618" y="379"/>
                  </a:lnTo>
                  <a:lnTo>
                    <a:pt x="614" y="379"/>
                  </a:lnTo>
                  <a:lnTo>
                    <a:pt x="614" y="375"/>
                  </a:lnTo>
                  <a:lnTo>
                    <a:pt x="610" y="375"/>
                  </a:lnTo>
                  <a:lnTo>
                    <a:pt x="610" y="371"/>
                  </a:lnTo>
                  <a:lnTo>
                    <a:pt x="614" y="371"/>
                  </a:lnTo>
                  <a:close/>
                  <a:moveTo>
                    <a:pt x="195" y="375"/>
                  </a:moveTo>
                  <a:lnTo>
                    <a:pt x="191" y="375"/>
                  </a:lnTo>
                  <a:lnTo>
                    <a:pt x="191" y="371"/>
                  </a:lnTo>
                  <a:lnTo>
                    <a:pt x="195" y="375"/>
                  </a:lnTo>
                  <a:close/>
                  <a:moveTo>
                    <a:pt x="813" y="387"/>
                  </a:moveTo>
                  <a:lnTo>
                    <a:pt x="817" y="387"/>
                  </a:lnTo>
                  <a:lnTo>
                    <a:pt x="821" y="387"/>
                  </a:lnTo>
                  <a:lnTo>
                    <a:pt x="825" y="387"/>
                  </a:lnTo>
                  <a:lnTo>
                    <a:pt x="825" y="391"/>
                  </a:lnTo>
                  <a:lnTo>
                    <a:pt x="821" y="391"/>
                  </a:lnTo>
                  <a:lnTo>
                    <a:pt x="817" y="391"/>
                  </a:lnTo>
                  <a:lnTo>
                    <a:pt x="813" y="391"/>
                  </a:lnTo>
                  <a:lnTo>
                    <a:pt x="813" y="387"/>
                  </a:lnTo>
                  <a:lnTo>
                    <a:pt x="809" y="387"/>
                  </a:lnTo>
                  <a:lnTo>
                    <a:pt x="813" y="387"/>
                  </a:lnTo>
                  <a:close/>
                  <a:moveTo>
                    <a:pt x="682" y="423"/>
                  </a:moveTo>
                  <a:lnTo>
                    <a:pt x="686" y="419"/>
                  </a:lnTo>
                  <a:lnTo>
                    <a:pt x="686" y="423"/>
                  </a:lnTo>
                  <a:lnTo>
                    <a:pt x="690" y="423"/>
                  </a:lnTo>
                  <a:lnTo>
                    <a:pt x="690" y="419"/>
                  </a:lnTo>
                  <a:lnTo>
                    <a:pt x="694" y="423"/>
                  </a:lnTo>
                  <a:lnTo>
                    <a:pt x="690" y="423"/>
                  </a:lnTo>
                  <a:lnTo>
                    <a:pt x="690" y="427"/>
                  </a:lnTo>
                  <a:lnTo>
                    <a:pt x="686" y="427"/>
                  </a:lnTo>
                  <a:lnTo>
                    <a:pt x="686" y="423"/>
                  </a:lnTo>
                  <a:lnTo>
                    <a:pt x="682" y="427"/>
                  </a:lnTo>
                  <a:lnTo>
                    <a:pt x="678" y="431"/>
                  </a:lnTo>
                  <a:lnTo>
                    <a:pt x="674" y="431"/>
                  </a:lnTo>
                  <a:lnTo>
                    <a:pt x="670" y="431"/>
                  </a:lnTo>
                  <a:lnTo>
                    <a:pt x="666" y="431"/>
                  </a:lnTo>
                  <a:lnTo>
                    <a:pt x="662" y="431"/>
                  </a:lnTo>
                  <a:lnTo>
                    <a:pt x="658" y="431"/>
                  </a:lnTo>
                  <a:lnTo>
                    <a:pt x="654" y="427"/>
                  </a:lnTo>
                  <a:lnTo>
                    <a:pt x="650" y="427"/>
                  </a:lnTo>
                  <a:lnTo>
                    <a:pt x="646" y="427"/>
                  </a:lnTo>
                  <a:lnTo>
                    <a:pt x="646" y="423"/>
                  </a:lnTo>
                  <a:lnTo>
                    <a:pt x="642" y="423"/>
                  </a:lnTo>
                  <a:lnTo>
                    <a:pt x="638" y="423"/>
                  </a:lnTo>
                  <a:lnTo>
                    <a:pt x="638" y="419"/>
                  </a:lnTo>
                  <a:lnTo>
                    <a:pt x="634" y="419"/>
                  </a:lnTo>
                  <a:lnTo>
                    <a:pt x="634" y="423"/>
                  </a:lnTo>
                  <a:lnTo>
                    <a:pt x="630" y="423"/>
                  </a:lnTo>
                  <a:lnTo>
                    <a:pt x="630" y="419"/>
                  </a:lnTo>
                  <a:lnTo>
                    <a:pt x="626" y="419"/>
                  </a:lnTo>
                  <a:lnTo>
                    <a:pt x="626" y="415"/>
                  </a:lnTo>
                  <a:lnTo>
                    <a:pt x="630" y="415"/>
                  </a:lnTo>
                  <a:lnTo>
                    <a:pt x="634" y="415"/>
                  </a:lnTo>
                  <a:lnTo>
                    <a:pt x="638" y="415"/>
                  </a:lnTo>
                  <a:lnTo>
                    <a:pt x="638" y="411"/>
                  </a:lnTo>
                  <a:lnTo>
                    <a:pt x="642" y="411"/>
                  </a:lnTo>
                  <a:lnTo>
                    <a:pt x="646" y="411"/>
                  </a:lnTo>
                  <a:lnTo>
                    <a:pt x="642" y="407"/>
                  </a:lnTo>
                  <a:lnTo>
                    <a:pt x="646" y="407"/>
                  </a:lnTo>
                  <a:lnTo>
                    <a:pt x="642" y="403"/>
                  </a:lnTo>
                  <a:lnTo>
                    <a:pt x="646" y="403"/>
                  </a:lnTo>
                  <a:lnTo>
                    <a:pt x="650" y="407"/>
                  </a:lnTo>
                  <a:lnTo>
                    <a:pt x="646" y="403"/>
                  </a:lnTo>
                  <a:lnTo>
                    <a:pt x="646" y="399"/>
                  </a:lnTo>
                  <a:lnTo>
                    <a:pt x="646" y="395"/>
                  </a:lnTo>
                  <a:lnTo>
                    <a:pt x="650" y="395"/>
                  </a:lnTo>
                  <a:lnTo>
                    <a:pt x="654" y="395"/>
                  </a:lnTo>
                  <a:lnTo>
                    <a:pt x="658" y="395"/>
                  </a:lnTo>
                  <a:lnTo>
                    <a:pt x="658" y="399"/>
                  </a:lnTo>
                  <a:lnTo>
                    <a:pt x="662" y="399"/>
                  </a:lnTo>
                  <a:lnTo>
                    <a:pt x="658" y="399"/>
                  </a:lnTo>
                  <a:lnTo>
                    <a:pt x="658" y="403"/>
                  </a:lnTo>
                  <a:lnTo>
                    <a:pt x="662" y="399"/>
                  </a:lnTo>
                  <a:lnTo>
                    <a:pt x="662" y="403"/>
                  </a:lnTo>
                  <a:lnTo>
                    <a:pt x="666" y="403"/>
                  </a:lnTo>
                  <a:lnTo>
                    <a:pt x="670" y="407"/>
                  </a:lnTo>
                  <a:lnTo>
                    <a:pt x="674" y="407"/>
                  </a:lnTo>
                  <a:lnTo>
                    <a:pt x="678" y="407"/>
                  </a:lnTo>
                  <a:lnTo>
                    <a:pt x="678" y="411"/>
                  </a:lnTo>
                  <a:lnTo>
                    <a:pt x="678" y="415"/>
                  </a:lnTo>
                  <a:lnTo>
                    <a:pt x="678" y="419"/>
                  </a:lnTo>
                  <a:lnTo>
                    <a:pt x="678" y="415"/>
                  </a:lnTo>
                  <a:lnTo>
                    <a:pt x="678" y="411"/>
                  </a:lnTo>
                  <a:lnTo>
                    <a:pt x="682" y="411"/>
                  </a:lnTo>
                  <a:lnTo>
                    <a:pt x="682" y="415"/>
                  </a:lnTo>
                  <a:lnTo>
                    <a:pt x="682" y="419"/>
                  </a:lnTo>
                  <a:lnTo>
                    <a:pt x="682" y="423"/>
                  </a:lnTo>
                  <a:close/>
                  <a:moveTo>
                    <a:pt x="881" y="395"/>
                  </a:moveTo>
                  <a:lnTo>
                    <a:pt x="885" y="395"/>
                  </a:lnTo>
                  <a:lnTo>
                    <a:pt x="881" y="395"/>
                  </a:lnTo>
                  <a:close/>
                  <a:moveTo>
                    <a:pt x="869" y="395"/>
                  </a:moveTo>
                  <a:lnTo>
                    <a:pt x="865" y="399"/>
                  </a:lnTo>
                  <a:lnTo>
                    <a:pt x="869" y="399"/>
                  </a:lnTo>
                  <a:lnTo>
                    <a:pt x="865" y="399"/>
                  </a:lnTo>
                  <a:lnTo>
                    <a:pt x="865" y="395"/>
                  </a:lnTo>
                  <a:lnTo>
                    <a:pt x="869" y="395"/>
                  </a:lnTo>
                  <a:close/>
                  <a:moveTo>
                    <a:pt x="925" y="399"/>
                  </a:moveTo>
                  <a:lnTo>
                    <a:pt x="925" y="395"/>
                  </a:lnTo>
                  <a:lnTo>
                    <a:pt x="929" y="395"/>
                  </a:lnTo>
                  <a:lnTo>
                    <a:pt x="933" y="395"/>
                  </a:lnTo>
                  <a:lnTo>
                    <a:pt x="933" y="399"/>
                  </a:lnTo>
                  <a:lnTo>
                    <a:pt x="929" y="399"/>
                  </a:lnTo>
                  <a:lnTo>
                    <a:pt x="929" y="403"/>
                  </a:lnTo>
                  <a:lnTo>
                    <a:pt x="925" y="403"/>
                  </a:lnTo>
                  <a:lnTo>
                    <a:pt x="925" y="399"/>
                  </a:lnTo>
                  <a:lnTo>
                    <a:pt x="921" y="399"/>
                  </a:lnTo>
                  <a:lnTo>
                    <a:pt x="921" y="403"/>
                  </a:lnTo>
                  <a:lnTo>
                    <a:pt x="925" y="403"/>
                  </a:lnTo>
                  <a:lnTo>
                    <a:pt x="921" y="403"/>
                  </a:lnTo>
                  <a:lnTo>
                    <a:pt x="917" y="403"/>
                  </a:lnTo>
                  <a:lnTo>
                    <a:pt x="917" y="399"/>
                  </a:lnTo>
                  <a:lnTo>
                    <a:pt x="913" y="399"/>
                  </a:lnTo>
                  <a:lnTo>
                    <a:pt x="909" y="399"/>
                  </a:lnTo>
                  <a:lnTo>
                    <a:pt x="913" y="399"/>
                  </a:lnTo>
                  <a:lnTo>
                    <a:pt x="917" y="399"/>
                  </a:lnTo>
                  <a:lnTo>
                    <a:pt x="917" y="395"/>
                  </a:lnTo>
                  <a:lnTo>
                    <a:pt x="921" y="395"/>
                  </a:lnTo>
                  <a:lnTo>
                    <a:pt x="921" y="399"/>
                  </a:lnTo>
                  <a:lnTo>
                    <a:pt x="925" y="399"/>
                  </a:lnTo>
                  <a:close/>
                  <a:moveTo>
                    <a:pt x="881" y="395"/>
                  </a:moveTo>
                  <a:lnTo>
                    <a:pt x="885" y="395"/>
                  </a:lnTo>
                  <a:lnTo>
                    <a:pt x="885" y="399"/>
                  </a:lnTo>
                  <a:lnTo>
                    <a:pt x="881" y="399"/>
                  </a:lnTo>
                  <a:lnTo>
                    <a:pt x="877" y="395"/>
                  </a:lnTo>
                  <a:lnTo>
                    <a:pt x="881" y="395"/>
                  </a:lnTo>
                  <a:close/>
                  <a:moveTo>
                    <a:pt x="949" y="399"/>
                  </a:moveTo>
                  <a:lnTo>
                    <a:pt x="953" y="399"/>
                  </a:lnTo>
                  <a:lnTo>
                    <a:pt x="953" y="403"/>
                  </a:lnTo>
                  <a:lnTo>
                    <a:pt x="949" y="403"/>
                  </a:lnTo>
                  <a:lnTo>
                    <a:pt x="945" y="403"/>
                  </a:lnTo>
                  <a:lnTo>
                    <a:pt x="941" y="403"/>
                  </a:lnTo>
                  <a:lnTo>
                    <a:pt x="941" y="407"/>
                  </a:lnTo>
                  <a:lnTo>
                    <a:pt x="941" y="403"/>
                  </a:lnTo>
                  <a:lnTo>
                    <a:pt x="945" y="403"/>
                  </a:lnTo>
                  <a:lnTo>
                    <a:pt x="945" y="399"/>
                  </a:lnTo>
                  <a:lnTo>
                    <a:pt x="949" y="399"/>
                  </a:lnTo>
                  <a:close/>
                  <a:moveTo>
                    <a:pt x="80" y="419"/>
                  </a:moveTo>
                  <a:lnTo>
                    <a:pt x="84" y="419"/>
                  </a:lnTo>
                  <a:lnTo>
                    <a:pt x="80" y="415"/>
                  </a:lnTo>
                  <a:lnTo>
                    <a:pt x="76" y="415"/>
                  </a:lnTo>
                  <a:lnTo>
                    <a:pt x="76" y="411"/>
                  </a:lnTo>
                  <a:lnTo>
                    <a:pt x="80" y="411"/>
                  </a:lnTo>
                  <a:lnTo>
                    <a:pt x="80" y="415"/>
                  </a:lnTo>
                  <a:lnTo>
                    <a:pt x="84" y="415"/>
                  </a:lnTo>
                  <a:lnTo>
                    <a:pt x="80" y="415"/>
                  </a:lnTo>
                  <a:lnTo>
                    <a:pt x="80" y="411"/>
                  </a:lnTo>
                  <a:lnTo>
                    <a:pt x="76" y="411"/>
                  </a:lnTo>
                  <a:lnTo>
                    <a:pt x="80" y="411"/>
                  </a:lnTo>
                  <a:lnTo>
                    <a:pt x="84" y="407"/>
                  </a:lnTo>
                  <a:lnTo>
                    <a:pt x="84" y="411"/>
                  </a:lnTo>
                  <a:lnTo>
                    <a:pt x="88" y="411"/>
                  </a:lnTo>
                  <a:lnTo>
                    <a:pt x="88" y="407"/>
                  </a:lnTo>
                  <a:lnTo>
                    <a:pt x="91" y="403"/>
                  </a:lnTo>
                  <a:lnTo>
                    <a:pt x="95" y="403"/>
                  </a:lnTo>
                  <a:lnTo>
                    <a:pt x="95" y="407"/>
                  </a:lnTo>
                  <a:lnTo>
                    <a:pt x="99" y="407"/>
                  </a:lnTo>
                  <a:lnTo>
                    <a:pt x="99" y="403"/>
                  </a:lnTo>
                  <a:lnTo>
                    <a:pt x="99" y="399"/>
                  </a:lnTo>
                  <a:lnTo>
                    <a:pt x="103" y="399"/>
                  </a:lnTo>
                  <a:lnTo>
                    <a:pt x="103" y="403"/>
                  </a:lnTo>
                  <a:lnTo>
                    <a:pt x="107" y="403"/>
                  </a:lnTo>
                  <a:lnTo>
                    <a:pt x="107" y="407"/>
                  </a:lnTo>
                  <a:lnTo>
                    <a:pt x="103" y="407"/>
                  </a:lnTo>
                  <a:lnTo>
                    <a:pt x="103" y="411"/>
                  </a:lnTo>
                  <a:lnTo>
                    <a:pt x="99" y="411"/>
                  </a:lnTo>
                  <a:lnTo>
                    <a:pt x="99" y="415"/>
                  </a:lnTo>
                  <a:lnTo>
                    <a:pt x="95" y="415"/>
                  </a:lnTo>
                  <a:lnTo>
                    <a:pt x="95" y="419"/>
                  </a:lnTo>
                  <a:lnTo>
                    <a:pt x="99" y="423"/>
                  </a:lnTo>
                  <a:lnTo>
                    <a:pt x="103" y="427"/>
                  </a:lnTo>
                  <a:lnTo>
                    <a:pt x="99" y="427"/>
                  </a:lnTo>
                  <a:lnTo>
                    <a:pt x="95" y="423"/>
                  </a:lnTo>
                  <a:lnTo>
                    <a:pt x="95" y="419"/>
                  </a:lnTo>
                  <a:lnTo>
                    <a:pt x="91" y="419"/>
                  </a:lnTo>
                  <a:lnTo>
                    <a:pt x="88" y="419"/>
                  </a:lnTo>
                  <a:lnTo>
                    <a:pt x="84" y="419"/>
                  </a:lnTo>
                  <a:lnTo>
                    <a:pt x="80" y="419"/>
                  </a:lnTo>
                  <a:lnTo>
                    <a:pt x="76" y="419"/>
                  </a:lnTo>
                  <a:lnTo>
                    <a:pt x="76" y="415"/>
                  </a:lnTo>
                  <a:lnTo>
                    <a:pt x="76" y="419"/>
                  </a:lnTo>
                  <a:lnTo>
                    <a:pt x="80" y="419"/>
                  </a:lnTo>
                  <a:close/>
                  <a:moveTo>
                    <a:pt x="1105" y="399"/>
                  </a:moveTo>
                  <a:lnTo>
                    <a:pt x="1109" y="399"/>
                  </a:lnTo>
                  <a:lnTo>
                    <a:pt x="1109" y="403"/>
                  </a:lnTo>
                  <a:lnTo>
                    <a:pt x="1105" y="403"/>
                  </a:lnTo>
                  <a:lnTo>
                    <a:pt x="1101" y="403"/>
                  </a:lnTo>
                  <a:lnTo>
                    <a:pt x="1105" y="399"/>
                  </a:lnTo>
                  <a:close/>
                  <a:moveTo>
                    <a:pt x="28" y="403"/>
                  </a:moveTo>
                  <a:lnTo>
                    <a:pt x="24" y="403"/>
                  </a:lnTo>
                  <a:lnTo>
                    <a:pt x="28" y="403"/>
                  </a:lnTo>
                  <a:lnTo>
                    <a:pt x="28" y="399"/>
                  </a:lnTo>
                  <a:lnTo>
                    <a:pt x="32" y="403"/>
                  </a:lnTo>
                  <a:lnTo>
                    <a:pt x="28" y="403"/>
                  </a:lnTo>
                  <a:close/>
                  <a:moveTo>
                    <a:pt x="690" y="403"/>
                  </a:moveTo>
                  <a:lnTo>
                    <a:pt x="690" y="407"/>
                  </a:lnTo>
                  <a:lnTo>
                    <a:pt x="686" y="411"/>
                  </a:lnTo>
                  <a:lnTo>
                    <a:pt x="686" y="407"/>
                  </a:lnTo>
                  <a:lnTo>
                    <a:pt x="686" y="403"/>
                  </a:lnTo>
                  <a:lnTo>
                    <a:pt x="682" y="403"/>
                  </a:lnTo>
                  <a:lnTo>
                    <a:pt x="682" y="407"/>
                  </a:lnTo>
                  <a:lnTo>
                    <a:pt x="682" y="403"/>
                  </a:lnTo>
                  <a:lnTo>
                    <a:pt x="682" y="399"/>
                  </a:lnTo>
                  <a:lnTo>
                    <a:pt x="686" y="399"/>
                  </a:lnTo>
                  <a:lnTo>
                    <a:pt x="686" y="403"/>
                  </a:lnTo>
                  <a:lnTo>
                    <a:pt x="690" y="403"/>
                  </a:lnTo>
                  <a:close/>
                  <a:moveTo>
                    <a:pt x="1113" y="403"/>
                  </a:moveTo>
                  <a:lnTo>
                    <a:pt x="1109" y="403"/>
                  </a:lnTo>
                  <a:lnTo>
                    <a:pt x="1113" y="403"/>
                  </a:lnTo>
                  <a:lnTo>
                    <a:pt x="1117" y="403"/>
                  </a:lnTo>
                  <a:lnTo>
                    <a:pt x="1113" y="403"/>
                  </a:lnTo>
                  <a:close/>
                  <a:moveTo>
                    <a:pt x="606" y="403"/>
                  </a:moveTo>
                  <a:lnTo>
                    <a:pt x="606" y="407"/>
                  </a:lnTo>
                  <a:lnTo>
                    <a:pt x="602" y="407"/>
                  </a:lnTo>
                  <a:lnTo>
                    <a:pt x="602" y="403"/>
                  </a:lnTo>
                  <a:lnTo>
                    <a:pt x="598" y="403"/>
                  </a:lnTo>
                  <a:lnTo>
                    <a:pt x="602" y="403"/>
                  </a:lnTo>
                  <a:lnTo>
                    <a:pt x="606" y="403"/>
                  </a:lnTo>
                  <a:close/>
                  <a:moveTo>
                    <a:pt x="965" y="407"/>
                  </a:moveTo>
                  <a:lnTo>
                    <a:pt x="969" y="407"/>
                  </a:lnTo>
                  <a:lnTo>
                    <a:pt x="973" y="407"/>
                  </a:lnTo>
                  <a:lnTo>
                    <a:pt x="973" y="411"/>
                  </a:lnTo>
                  <a:lnTo>
                    <a:pt x="969" y="411"/>
                  </a:lnTo>
                  <a:lnTo>
                    <a:pt x="969" y="415"/>
                  </a:lnTo>
                  <a:lnTo>
                    <a:pt x="965" y="415"/>
                  </a:lnTo>
                  <a:lnTo>
                    <a:pt x="961" y="411"/>
                  </a:lnTo>
                  <a:lnTo>
                    <a:pt x="961" y="407"/>
                  </a:lnTo>
                  <a:lnTo>
                    <a:pt x="965" y="407"/>
                  </a:lnTo>
                  <a:close/>
                  <a:moveTo>
                    <a:pt x="945" y="407"/>
                  </a:moveTo>
                  <a:lnTo>
                    <a:pt x="949" y="407"/>
                  </a:lnTo>
                  <a:lnTo>
                    <a:pt x="949" y="411"/>
                  </a:lnTo>
                  <a:lnTo>
                    <a:pt x="945" y="411"/>
                  </a:lnTo>
                  <a:lnTo>
                    <a:pt x="945" y="415"/>
                  </a:lnTo>
                  <a:lnTo>
                    <a:pt x="941" y="419"/>
                  </a:lnTo>
                  <a:lnTo>
                    <a:pt x="937" y="419"/>
                  </a:lnTo>
                  <a:lnTo>
                    <a:pt x="937" y="423"/>
                  </a:lnTo>
                  <a:lnTo>
                    <a:pt x="933" y="423"/>
                  </a:lnTo>
                  <a:lnTo>
                    <a:pt x="933" y="419"/>
                  </a:lnTo>
                  <a:lnTo>
                    <a:pt x="933" y="415"/>
                  </a:lnTo>
                  <a:lnTo>
                    <a:pt x="937" y="415"/>
                  </a:lnTo>
                  <a:lnTo>
                    <a:pt x="941" y="415"/>
                  </a:lnTo>
                  <a:lnTo>
                    <a:pt x="941" y="411"/>
                  </a:lnTo>
                  <a:lnTo>
                    <a:pt x="941" y="407"/>
                  </a:lnTo>
                  <a:lnTo>
                    <a:pt x="945" y="407"/>
                  </a:lnTo>
                  <a:close/>
                  <a:moveTo>
                    <a:pt x="594" y="423"/>
                  </a:moveTo>
                  <a:lnTo>
                    <a:pt x="594" y="427"/>
                  </a:lnTo>
                  <a:lnTo>
                    <a:pt x="594" y="431"/>
                  </a:lnTo>
                  <a:lnTo>
                    <a:pt x="590" y="431"/>
                  </a:lnTo>
                  <a:lnTo>
                    <a:pt x="590" y="427"/>
                  </a:lnTo>
                  <a:lnTo>
                    <a:pt x="586" y="427"/>
                  </a:lnTo>
                  <a:lnTo>
                    <a:pt x="586" y="423"/>
                  </a:lnTo>
                  <a:lnTo>
                    <a:pt x="590" y="423"/>
                  </a:lnTo>
                  <a:lnTo>
                    <a:pt x="594" y="423"/>
                  </a:lnTo>
                  <a:close/>
                  <a:moveTo>
                    <a:pt x="997" y="427"/>
                  </a:moveTo>
                  <a:lnTo>
                    <a:pt x="1001" y="431"/>
                  </a:lnTo>
                  <a:lnTo>
                    <a:pt x="1001" y="435"/>
                  </a:lnTo>
                  <a:lnTo>
                    <a:pt x="997" y="435"/>
                  </a:lnTo>
                  <a:lnTo>
                    <a:pt x="993" y="435"/>
                  </a:lnTo>
                  <a:lnTo>
                    <a:pt x="993" y="431"/>
                  </a:lnTo>
                  <a:lnTo>
                    <a:pt x="993" y="427"/>
                  </a:lnTo>
                  <a:lnTo>
                    <a:pt x="997" y="427"/>
                  </a:lnTo>
                  <a:close/>
                  <a:moveTo>
                    <a:pt x="1001" y="427"/>
                  </a:moveTo>
                  <a:lnTo>
                    <a:pt x="1005" y="427"/>
                  </a:lnTo>
                  <a:lnTo>
                    <a:pt x="1005" y="431"/>
                  </a:lnTo>
                  <a:lnTo>
                    <a:pt x="1001" y="431"/>
                  </a:lnTo>
                  <a:lnTo>
                    <a:pt x="1001" y="427"/>
                  </a:lnTo>
                  <a:close/>
                  <a:moveTo>
                    <a:pt x="941" y="435"/>
                  </a:moveTo>
                  <a:lnTo>
                    <a:pt x="941" y="431"/>
                  </a:lnTo>
                  <a:lnTo>
                    <a:pt x="937" y="431"/>
                  </a:lnTo>
                  <a:lnTo>
                    <a:pt x="941" y="431"/>
                  </a:lnTo>
                  <a:lnTo>
                    <a:pt x="941" y="427"/>
                  </a:lnTo>
                  <a:lnTo>
                    <a:pt x="945" y="427"/>
                  </a:lnTo>
                  <a:lnTo>
                    <a:pt x="945" y="431"/>
                  </a:lnTo>
                  <a:lnTo>
                    <a:pt x="941" y="431"/>
                  </a:lnTo>
                  <a:lnTo>
                    <a:pt x="945" y="431"/>
                  </a:lnTo>
                  <a:lnTo>
                    <a:pt x="941" y="431"/>
                  </a:lnTo>
                  <a:lnTo>
                    <a:pt x="941" y="435"/>
                  </a:lnTo>
                  <a:close/>
                  <a:moveTo>
                    <a:pt x="550" y="431"/>
                  </a:moveTo>
                  <a:lnTo>
                    <a:pt x="554" y="431"/>
                  </a:lnTo>
                  <a:lnTo>
                    <a:pt x="554" y="435"/>
                  </a:lnTo>
                  <a:lnTo>
                    <a:pt x="550" y="435"/>
                  </a:lnTo>
                  <a:lnTo>
                    <a:pt x="546" y="435"/>
                  </a:lnTo>
                  <a:lnTo>
                    <a:pt x="546" y="431"/>
                  </a:lnTo>
                  <a:lnTo>
                    <a:pt x="542" y="431"/>
                  </a:lnTo>
                  <a:lnTo>
                    <a:pt x="546" y="431"/>
                  </a:lnTo>
                  <a:lnTo>
                    <a:pt x="550" y="431"/>
                  </a:lnTo>
                  <a:close/>
                  <a:moveTo>
                    <a:pt x="1009" y="431"/>
                  </a:moveTo>
                  <a:lnTo>
                    <a:pt x="1009" y="435"/>
                  </a:lnTo>
                  <a:lnTo>
                    <a:pt x="1013" y="435"/>
                  </a:lnTo>
                  <a:lnTo>
                    <a:pt x="1013" y="439"/>
                  </a:lnTo>
                  <a:lnTo>
                    <a:pt x="1009" y="439"/>
                  </a:lnTo>
                  <a:lnTo>
                    <a:pt x="1009" y="435"/>
                  </a:lnTo>
                  <a:lnTo>
                    <a:pt x="1009" y="431"/>
                  </a:lnTo>
                  <a:close/>
                  <a:moveTo>
                    <a:pt x="937" y="435"/>
                  </a:moveTo>
                  <a:lnTo>
                    <a:pt x="941" y="435"/>
                  </a:lnTo>
                  <a:lnTo>
                    <a:pt x="941" y="439"/>
                  </a:lnTo>
                  <a:lnTo>
                    <a:pt x="937" y="439"/>
                  </a:lnTo>
                  <a:lnTo>
                    <a:pt x="933" y="439"/>
                  </a:lnTo>
                  <a:lnTo>
                    <a:pt x="933" y="435"/>
                  </a:lnTo>
                  <a:lnTo>
                    <a:pt x="937" y="435"/>
                  </a:lnTo>
                  <a:close/>
                  <a:moveTo>
                    <a:pt x="973" y="467"/>
                  </a:moveTo>
                  <a:lnTo>
                    <a:pt x="969" y="463"/>
                  </a:lnTo>
                  <a:lnTo>
                    <a:pt x="965" y="463"/>
                  </a:lnTo>
                  <a:lnTo>
                    <a:pt x="965" y="459"/>
                  </a:lnTo>
                  <a:lnTo>
                    <a:pt x="965" y="455"/>
                  </a:lnTo>
                  <a:lnTo>
                    <a:pt x="965" y="451"/>
                  </a:lnTo>
                  <a:lnTo>
                    <a:pt x="965" y="447"/>
                  </a:lnTo>
                  <a:lnTo>
                    <a:pt x="969" y="439"/>
                  </a:lnTo>
                  <a:lnTo>
                    <a:pt x="973" y="439"/>
                  </a:lnTo>
                  <a:lnTo>
                    <a:pt x="981" y="435"/>
                  </a:lnTo>
                  <a:lnTo>
                    <a:pt x="985" y="435"/>
                  </a:lnTo>
                  <a:lnTo>
                    <a:pt x="989" y="435"/>
                  </a:lnTo>
                  <a:lnTo>
                    <a:pt x="993" y="439"/>
                  </a:lnTo>
                  <a:lnTo>
                    <a:pt x="997" y="439"/>
                  </a:lnTo>
                  <a:lnTo>
                    <a:pt x="997" y="443"/>
                  </a:lnTo>
                  <a:lnTo>
                    <a:pt x="997" y="447"/>
                  </a:lnTo>
                  <a:lnTo>
                    <a:pt x="997" y="451"/>
                  </a:lnTo>
                  <a:lnTo>
                    <a:pt x="997" y="455"/>
                  </a:lnTo>
                  <a:lnTo>
                    <a:pt x="997" y="459"/>
                  </a:lnTo>
                  <a:lnTo>
                    <a:pt x="993" y="463"/>
                  </a:lnTo>
                  <a:lnTo>
                    <a:pt x="989" y="463"/>
                  </a:lnTo>
                  <a:lnTo>
                    <a:pt x="985" y="463"/>
                  </a:lnTo>
                  <a:lnTo>
                    <a:pt x="981" y="463"/>
                  </a:lnTo>
                  <a:lnTo>
                    <a:pt x="977" y="463"/>
                  </a:lnTo>
                  <a:lnTo>
                    <a:pt x="977" y="467"/>
                  </a:lnTo>
                  <a:lnTo>
                    <a:pt x="973" y="467"/>
                  </a:lnTo>
                  <a:close/>
                  <a:moveTo>
                    <a:pt x="825" y="439"/>
                  </a:moveTo>
                  <a:lnTo>
                    <a:pt x="825" y="443"/>
                  </a:lnTo>
                  <a:lnTo>
                    <a:pt x="825" y="447"/>
                  </a:lnTo>
                  <a:lnTo>
                    <a:pt x="825" y="451"/>
                  </a:lnTo>
                  <a:lnTo>
                    <a:pt x="821" y="451"/>
                  </a:lnTo>
                  <a:lnTo>
                    <a:pt x="817" y="451"/>
                  </a:lnTo>
                  <a:lnTo>
                    <a:pt x="817" y="447"/>
                  </a:lnTo>
                  <a:lnTo>
                    <a:pt x="817" y="443"/>
                  </a:lnTo>
                  <a:lnTo>
                    <a:pt x="817" y="439"/>
                  </a:lnTo>
                  <a:lnTo>
                    <a:pt x="821" y="439"/>
                  </a:lnTo>
                  <a:lnTo>
                    <a:pt x="821" y="435"/>
                  </a:lnTo>
                  <a:lnTo>
                    <a:pt x="825" y="439"/>
                  </a:lnTo>
                  <a:close/>
                  <a:moveTo>
                    <a:pt x="1141" y="439"/>
                  </a:moveTo>
                  <a:lnTo>
                    <a:pt x="1141" y="443"/>
                  </a:lnTo>
                  <a:lnTo>
                    <a:pt x="1141" y="439"/>
                  </a:lnTo>
                  <a:close/>
                  <a:moveTo>
                    <a:pt x="1017" y="443"/>
                  </a:moveTo>
                  <a:lnTo>
                    <a:pt x="1021" y="443"/>
                  </a:lnTo>
                  <a:lnTo>
                    <a:pt x="1021" y="447"/>
                  </a:lnTo>
                  <a:lnTo>
                    <a:pt x="1025" y="451"/>
                  </a:lnTo>
                  <a:lnTo>
                    <a:pt x="1021" y="451"/>
                  </a:lnTo>
                  <a:lnTo>
                    <a:pt x="1017" y="451"/>
                  </a:lnTo>
                  <a:lnTo>
                    <a:pt x="1013" y="451"/>
                  </a:lnTo>
                  <a:lnTo>
                    <a:pt x="1009" y="451"/>
                  </a:lnTo>
                  <a:lnTo>
                    <a:pt x="1005" y="451"/>
                  </a:lnTo>
                  <a:lnTo>
                    <a:pt x="1005" y="447"/>
                  </a:lnTo>
                  <a:lnTo>
                    <a:pt x="1001" y="447"/>
                  </a:lnTo>
                  <a:lnTo>
                    <a:pt x="1001" y="443"/>
                  </a:lnTo>
                  <a:lnTo>
                    <a:pt x="1005" y="443"/>
                  </a:lnTo>
                  <a:lnTo>
                    <a:pt x="1009" y="443"/>
                  </a:lnTo>
                  <a:lnTo>
                    <a:pt x="1009" y="439"/>
                  </a:lnTo>
                  <a:lnTo>
                    <a:pt x="1009" y="443"/>
                  </a:lnTo>
                  <a:lnTo>
                    <a:pt x="1013" y="443"/>
                  </a:lnTo>
                  <a:lnTo>
                    <a:pt x="1017" y="443"/>
                  </a:lnTo>
                  <a:close/>
                  <a:moveTo>
                    <a:pt x="486" y="447"/>
                  </a:moveTo>
                  <a:lnTo>
                    <a:pt x="482" y="447"/>
                  </a:lnTo>
                  <a:lnTo>
                    <a:pt x="486" y="447"/>
                  </a:lnTo>
                  <a:close/>
                  <a:moveTo>
                    <a:pt x="454" y="447"/>
                  </a:moveTo>
                  <a:lnTo>
                    <a:pt x="450" y="447"/>
                  </a:lnTo>
                  <a:lnTo>
                    <a:pt x="454" y="447"/>
                  </a:lnTo>
                  <a:close/>
                  <a:moveTo>
                    <a:pt x="494" y="459"/>
                  </a:moveTo>
                  <a:lnTo>
                    <a:pt x="490" y="459"/>
                  </a:lnTo>
                  <a:lnTo>
                    <a:pt x="490" y="455"/>
                  </a:lnTo>
                  <a:lnTo>
                    <a:pt x="494" y="455"/>
                  </a:lnTo>
                  <a:lnTo>
                    <a:pt x="494" y="459"/>
                  </a:lnTo>
                  <a:close/>
                  <a:moveTo>
                    <a:pt x="502" y="459"/>
                  </a:moveTo>
                  <a:lnTo>
                    <a:pt x="502" y="463"/>
                  </a:lnTo>
                  <a:lnTo>
                    <a:pt x="498" y="463"/>
                  </a:lnTo>
                  <a:lnTo>
                    <a:pt x="498" y="459"/>
                  </a:lnTo>
                  <a:lnTo>
                    <a:pt x="502" y="459"/>
                  </a:lnTo>
                  <a:close/>
                  <a:moveTo>
                    <a:pt x="1180" y="471"/>
                  </a:moveTo>
                  <a:lnTo>
                    <a:pt x="1184" y="471"/>
                  </a:lnTo>
                  <a:lnTo>
                    <a:pt x="1184" y="467"/>
                  </a:lnTo>
                  <a:lnTo>
                    <a:pt x="1188" y="467"/>
                  </a:lnTo>
                  <a:lnTo>
                    <a:pt x="1184" y="467"/>
                  </a:lnTo>
                  <a:lnTo>
                    <a:pt x="1184" y="471"/>
                  </a:lnTo>
                  <a:lnTo>
                    <a:pt x="1180" y="471"/>
                  </a:lnTo>
                  <a:close/>
                  <a:moveTo>
                    <a:pt x="1121" y="487"/>
                  </a:moveTo>
                  <a:lnTo>
                    <a:pt x="1125" y="487"/>
                  </a:lnTo>
                  <a:lnTo>
                    <a:pt x="1125" y="491"/>
                  </a:lnTo>
                  <a:lnTo>
                    <a:pt x="1121" y="487"/>
                  </a:lnTo>
                  <a:close/>
                  <a:moveTo>
                    <a:pt x="877" y="491"/>
                  </a:moveTo>
                  <a:lnTo>
                    <a:pt x="873" y="491"/>
                  </a:lnTo>
                  <a:lnTo>
                    <a:pt x="873" y="487"/>
                  </a:lnTo>
                  <a:lnTo>
                    <a:pt x="873" y="491"/>
                  </a:lnTo>
                  <a:lnTo>
                    <a:pt x="877" y="491"/>
                  </a:lnTo>
                  <a:close/>
                  <a:moveTo>
                    <a:pt x="865" y="499"/>
                  </a:moveTo>
                  <a:lnTo>
                    <a:pt x="865" y="503"/>
                  </a:lnTo>
                  <a:lnTo>
                    <a:pt x="869" y="503"/>
                  </a:lnTo>
                  <a:lnTo>
                    <a:pt x="873" y="503"/>
                  </a:lnTo>
                  <a:lnTo>
                    <a:pt x="873" y="507"/>
                  </a:lnTo>
                  <a:lnTo>
                    <a:pt x="869" y="507"/>
                  </a:lnTo>
                  <a:lnTo>
                    <a:pt x="865" y="507"/>
                  </a:lnTo>
                  <a:lnTo>
                    <a:pt x="865" y="503"/>
                  </a:lnTo>
                  <a:lnTo>
                    <a:pt x="861" y="503"/>
                  </a:lnTo>
                  <a:lnTo>
                    <a:pt x="861" y="499"/>
                  </a:lnTo>
                  <a:lnTo>
                    <a:pt x="857" y="499"/>
                  </a:lnTo>
                  <a:lnTo>
                    <a:pt x="857" y="495"/>
                  </a:lnTo>
                  <a:lnTo>
                    <a:pt x="853" y="495"/>
                  </a:lnTo>
                  <a:lnTo>
                    <a:pt x="857" y="495"/>
                  </a:lnTo>
                  <a:lnTo>
                    <a:pt x="861" y="495"/>
                  </a:lnTo>
                  <a:lnTo>
                    <a:pt x="865" y="499"/>
                  </a:lnTo>
                  <a:close/>
                  <a:moveTo>
                    <a:pt x="849" y="499"/>
                  </a:moveTo>
                  <a:lnTo>
                    <a:pt x="849" y="503"/>
                  </a:lnTo>
                  <a:lnTo>
                    <a:pt x="853" y="503"/>
                  </a:lnTo>
                  <a:lnTo>
                    <a:pt x="853" y="507"/>
                  </a:lnTo>
                  <a:lnTo>
                    <a:pt x="849" y="511"/>
                  </a:lnTo>
                  <a:lnTo>
                    <a:pt x="849" y="507"/>
                  </a:lnTo>
                  <a:lnTo>
                    <a:pt x="845" y="503"/>
                  </a:lnTo>
                  <a:lnTo>
                    <a:pt x="845" y="499"/>
                  </a:lnTo>
                  <a:lnTo>
                    <a:pt x="845" y="495"/>
                  </a:lnTo>
                  <a:lnTo>
                    <a:pt x="849" y="499"/>
                  </a:lnTo>
                  <a:close/>
                  <a:moveTo>
                    <a:pt x="825" y="531"/>
                  </a:moveTo>
                  <a:lnTo>
                    <a:pt x="829" y="531"/>
                  </a:lnTo>
                  <a:lnTo>
                    <a:pt x="829" y="527"/>
                  </a:lnTo>
                  <a:lnTo>
                    <a:pt x="829" y="523"/>
                  </a:lnTo>
                  <a:lnTo>
                    <a:pt x="829" y="519"/>
                  </a:lnTo>
                  <a:lnTo>
                    <a:pt x="829" y="515"/>
                  </a:lnTo>
                  <a:lnTo>
                    <a:pt x="829" y="511"/>
                  </a:lnTo>
                  <a:lnTo>
                    <a:pt x="833" y="503"/>
                  </a:lnTo>
                  <a:lnTo>
                    <a:pt x="837" y="503"/>
                  </a:lnTo>
                  <a:lnTo>
                    <a:pt x="837" y="499"/>
                  </a:lnTo>
                  <a:lnTo>
                    <a:pt x="841" y="499"/>
                  </a:lnTo>
                  <a:lnTo>
                    <a:pt x="841" y="503"/>
                  </a:lnTo>
                  <a:lnTo>
                    <a:pt x="837" y="503"/>
                  </a:lnTo>
                  <a:lnTo>
                    <a:pt x="841" y="503"/>
                  </a:lnTo>
                  <a:lnTo>
                    <a:pt x="845" y="503"/>
                  </a:lnTo>
                  <a:lnTo>
                    <a:pt x="845" y="507"/>
                  </a:lnTo>
                  <a:lnTo>
                    <a:pt x="845" y="511"/>
                  </a:lnTo>
                  <a:lnTo>
                    <a:pt x="841" y="507"/>
                  </a:lnTo>
                  <a:lnTo>
                    <a:pt x="841" y="511"/>
                  </a:lnTo>
                  <a:lnTo>
                    <a:pt x="845" y="511"/>
                  </a:lnTo>
                  <a:lnTo>
                    <a:pt x="845" y="515"/>
                  </a:lnTo>
                  <a:lnTo>
                    <a:pt x="849" y="519"/>
                  </a:lnTo>
                  <a:lnTo>
                    <a:pt x="849" y="515"/>
                  </a:lnTo>
                  <a:lnTo>
                    <a:pt x="853" y="511"/>
                  </a:lnTo>
                  <a:lnTo>
                    <a:pt x="857" y="511"/>
                  </a:lnTo>
                  <a:lnTo>
                    <a:pt x="857" y="515"/>
                  </a:lnTo>
                  <a:lnTo>
                    <a:pt x="861" y="515"/>
                  </a:lnTo>
                  <a:lnTo>
                    <a:pt x="857" y="515"/>
                  </a:lnTo>
                  <a:lnTo>
                    <a:pt x="861" y="519"/>
                  </a:lnTo>
                  <a:lnTo>
                    <a:pt x="865" y="519"/>
                  </a:lnTo>
                  <a:lnTo>
                    <a:pt x="869" y="519"/>
                  </a:lnTo>
                  <a:lnTo>
                    <a:pt x="873" y="519"/>
                  </a:lnTo>
                  <a:lnTo>
                    <a:pt x="873" y="523"/>
                  </a:lnTo>
                  <a:lnTo>
                    <a:pt x="877" y="527"/>
                  </a:lnTo>
                  <a:lnTo>
                    <a:pt x="881" y="527"/>
                  </a:lnTo>
                  <a:lnTo>
                    <a:pt x="881" y="531"/>
                  </a:lnTo>
                  <a:lnTo>
                    <a:pt x="885" y="531"/>
                  </a:lnTo>
                  <a:lnTo>
                    <a:pt x="889" y="531"/>
                  </a:lnTo>
                  <a:lnTo>
                    <a:pt x="893" y="531"/>
                  </a:lnTo>
                  <a:lnTo>
                    <a:pt x="893" y="535"/>
                  </a:lnTo>
                  <a:lnTo>
                    <a:pt x="897" y="535"/>
                  </a:lnTo>
                  <a:lnTo>
                    <a:pt x="897" y="539"/>
                  </a:lnTo>
                  <a:lnTo>
                    <a:pt x="897" y="543"/>
                  </a:lnTo>
                  <a:lnTo>
                    <a:pt x="897" y="547"/>
                  </a:lnTo>
                  <a:lnTo>
                    <a:pt x="893" y="547"/>
                  </a:lnTo>
                  <a:lnTo>
                    <a:pt x="893" y="551"/>
                  </a:lnTo>
                  <a:lnTo>
                    <a:pt x="897" y="547"/>
                  </a:lnTo>
                  <a:lnTo>
                    <a:pt x="901" y="547"/>
                  </a:lnTo>
                  <a:lnTo>
                    <a:pt x="905" y="547"/>
                  </a:lnTo>
                  <a:lnTo>
                    <a:pt x="909" y="551"/>
                  </a:lnTo>
                  <a:lnTo>
                    <a:pt x="909" y="547"/>
                  </a:lnTo>
                  <a:lnTo>
                    <a:pt x="913" y="547"/>
                  </a:lnTo>
                  <a:lnTo>
                    <a:pt x="913" y="551"/>
                  </a:lnTo>
                  <a:lnTo>
                    <a:pt x="917" y="551"/>
                  </a:lnTo>
                  <a:lnTo>
                    <a:pt x="913" y="551"/>
                  </a:lnTo>
                  <a:lnTo>
                    <a:pt x="917" y="551"/>
                  </a:lnTo>
                  <a:lnTo>
                    <a:pt x="917" y="555"/>
                  </a:lnTo>
                  <a:lnTo>
                    <a:pt x="921" y="555"/>
                  </a:lnTo>
                  <a:lnTo>
                    <a:pt x="917" y="555"/>
                  </a:lnTo>
                  <a:lnTo>
                    <a:pt x="913" y="559"/>
                  </a:lnTo>
                  <a:lnTo>
                    <a:pt x="909" y="559"/>
                  </a:lnTo>
                  <a:lnTo>
                    <a:pt x="909" y="563"/>
                  </a:lnTo>
                  <a:lnTo>
                    <a:pt x="905" y="563"/>
                  </a:lnTo>
                  <a:lnTo>
                    <a:pt x="901" y="563"/>
                  </a:lnTo>
                  <a:lnTo>
                    <a:pt x="897" y="559"/>
                  </a:lnTo>
                  <a:lnTo>
                    <a:pt x="893" y="559"/>
                  </a:lnTo>
                  <a:lnTo>
                    <a:pt x="893" y="555"/>
                  </a:lnTo>
                  <a:lnTo>
                    <a:pt x="889" y="555"/>
                  </a:lnTo>
                  <a:lnTo>
                    <a:pt x="889" y="559"/>
                  </a:lnTo>
                  <a:lnTo>
                    <a:pt x="885" y="559"/>
                  </a:lnTo>
                  <a:lnTo>
                    <a:pt x="885" y="555"/>
                  </a:lnTo>
                  <a:lnTo>
                    <a:pt x="885" y="551"/>
                  </a:lnTo>
                  <a:lnTo>
                    <a:pt x="881" y="551"/>
                  </a:lnTo>
                  <a:lnTo>
                    <a:pt x="877" y="551"/>
                  </a:lnTo>
                  <a:lnTo>
                    <a:pt x="873" y="547"/>
                  </a:lnTo>
                  <a:lnTo>
                    <a:pt x="877" y="547"/>
                  </a:lnTo>
                  <a:lnTo>
                    <a:pt x="877" y="543"/>
                  </a:lnTo>
                  <a:lnTo>
                    <a:pt x="873" y="543"/>
                  </a:lnTo>
                  <a:lnTo>
                    <a:pt x="873" y="547"/>
                  </a:lnTo>
                  <a:lnTo>
                    <a:pt x="869" y="547"/>
                  </a:lnTo>
                  <a:lnTo>
                    <a:pt x="865" y="547"/>
                  </a:lnTo>
                  <a:lnTo>
                    <a:pt x="865" y="551"/>
                  </a:lnTo>
                  <a:lnTo>
                    <a:pt x="869" y="551"/>
                  </a:lnTo>
                  <a:lnTo>
                    <a:pt x="869" y="555"/>
                  </a:lnTo>
                  <a:lnTo>
                    <a:pt x="865" y="555"/>
                  </a:lnTo>
                  <a:lnTo>
                    <a:pt x="861" y="559"/>
                  </a:lnTo>
                  <a:lnTo>
                    <a:pt x="857" y="559"/>
                  </a:lnTo>
                  <a:lnTo>
                    <a:pt x="857" y="563"/>
                  </a:lnTo>
                  <a:lnTo>
                    <a:pt x="853" y="563"/>
                  </a:lnTo>
                  <a:lnTo>
                    <a:pt x="853" y="567"/>
                  </a:lnTo>
                  <a:lnTo>
                    <a:pt x="849" y="567"/>
                  </a:lnTo>
                  <a:lnTo>
                    <a:pt x="849" y="571"/>
                  </a:lnTo>
                  <a:lnTo>
                    <a:pt x="845" y="571"/>
                  </a:lnTo>
                  <a:lnTo>
                    <a:pt x="841" y="571"/>
                  </a:lnTo>
                  <a:lnTo>
                    <a:pt x="837" y="571"/>
                  </a:lnTo>
                  <a:lnTo>
                    <a:pt x="837" y="567"/>
                  </a:lnTo>
                  <a:lnTo>
                    <a:pt x="837" y="563"/>
                  </a:lnTo>
                  <a:lnTo>
                    <a:pt x="837" y="559"/>
                  </a:lnTo>
                  <a:lnTo>
                    <a:pt x="837" y="555"/>
                  </a:lnTo>
                  <a:lnTo>
                    <a:pt x="833" y="555"/>
                  </a:lnTo>
                  <a:lnTo>
                    <a:pt x="829" y="559"/>
                  </a:lnTo>
                  <a:lnTo>
                    <a:pt x="825" y="559"/>
                  </a:lnTo>
                  <a:lnTo>
                    <a:pt x="821" y="559"/>
                  </a:lnTo>
                  <a:lnTo>
                    <a:pt x="817" y="559"/>
                  </a:lnTo>
                  <a:lnTo>
                    <a:pt x="813" y="559"/>
                  </a:lnTo>
                  <a:lnTo>
                    <a:pt x="813" y="555"/>
                  </a:lnTo>
                  <a:lnTo>
                    <a:pt x="817" y="551"/>
                  </a:lnTo>
                  <a:lnTo>
                    <a:pt x="821" y="551"/>
                  </a:lnTo>
                  <a:lnTo>
                    <a:pt x="825" y="547"/>
                  </a:lnTo>
                  <a:lnTo>
                    <a:pt x="829" y="547"/>
                  </a:lnTo>
                  <a:lnTo>
                    <a:pt x="829" y="543"/>
                  </a:lnTo>
                  <a:lnTo>
                    <a:pt x="825" y="543"/>
                  </a:lnTo>
                  <a:lnTo>
                    <a:pt x="825" y="539"/>
                  </a:lnTo>
                  <a:lnTo>
                    <a:pt x="825" y="535"/>
                  </a:lnTo>
                  <a:lnTo>
                    <a:pt x="825" y="531"/>
                  </a:lnTo>
                  <a:close/>
                  <a:moveTo>
                    <a:pt x="873" y="503"/>
                  </a:moveTo>
                  <a:lnTo>
                    <a:pt x="869" y="503"/>
                  </a:lnTo>
                  <a:lnTo>
                    <a:pt x="869" y="499"/>
                  </a:lnTo>
                  <a:lnTo>
                    <a:pt x="873" y="499"/>
                  </a:lnTo>
                  <a:lnTo>
                    <a:pt x="873" y="503"/>
                  </a:lnTo>
                  <a:close/>
                  <a:moveTo>
                    <a:pt x="1192" y="503"/>
                  </a:moveTo>
                  <a:lnTo>
                    <a:pt x="1192" y="507"/>
                  </a:lnTo>
                  <a:lnTo>
                    <a:pt x="1192" y="503"/>
                  </a:lnTo>
                  <a:lnTo>
                    <a:pt x="1192" y="507"/>
                  </a:lnTo>
                  <a:lnTo>
                    <a:pt x="1188" y="507"/>
                  </a:lnTo>
                  <a:lnTo>
                    <a:pt x="1188" y="503"/>
                  </a:lnTo>
                  <a:lnTo>
                    <a:pt x="1192" y="503"/>
                  </a:lnTo>
                  <a:close/>
                  <a:moveTo>
                    <a:pt x="1145" y="531"/>
                  </a:moveTo>
                  <a:lnTo>
                    <a:pt x="1148" y="531"/>
                  </a:lnTo>
                  <a:lnTo>
                    <a:pt x="1145" y="535"/>
                  </a:lnTo>
                  <a:lnTo>
                    <a:pt x="1141" y="535"/>
                  </a:lnTo>
                  <a:lnTo>
                    <a:pt x="1145" y="531"/>
                  </a:lnTo>
                  <a:close/>
                  <a:moveTo>
                    <a:pt x="957" y="551"/>
                  </a:moveTo>
                  <a:lnTo>
                    <a:pt x="953" y="551"/>
                  </a:lnTo>
                  <a:lnTo>
                    <a:pt x="953" y="547"/>
                  </a:lnTo>
                  <a:lnTo>
                    <a:pt x="957" y="547"/>
                  </a:lnTo>
                  <a:lnTo>
                    <a:pt x="961" y="547"/>
                  </a:lnTo>
                  <a:lnTo>
                    <a:pt x="957" y="551"/>
                  </a:lnTo>
                  <a:close/>
                  <a:moveTo>
                    <a:pt x="1037" y="555"/>
                  </a:moveTo>
                  <a:lnTo>
                    <a:pt x="1037" y="559"/>
                  </a:lnTo>
                  <a:lnTo>
                    <a:pt x="1033" y="559"/>
                  </a:lnTo>
                  <a:lnTo>
                    <a:pt x="1037" y="555"/>
                  </a:lnTo>
                  <a:close/>
                  <a:moveTo>
                    <a:pt x="973" y="563"/>
                  </a:moveTo>
                  <a:lnTo>
                    <a:pt x="977" y="563"/>
                  </a:lnTo>
                  <a:lnTo>
                    <a:pt x="973" y="563"/>
                  </a:lnTo>
                  <a:lnTo>
                    <a:pt x="973" y="567"/>
                  </a:lnTo>
                  <a:lnTo>
                    <a:pt x="969" y="563"/>
                  </a:lnTo>
                  <a:lnTo>
                    <a:pt x="965" y="563"/>
                  </a:lnTo>
                  <a:lnTo>
                    <a:pt x="965" y="559"/>
                  </a:lnTo>
                  <a:lnTo>
                    <a:pt x="961" y="559"/>
                  </a:lnTo>
                  <a:lnTo>
                    <a:pt x="961" y="555"/>
                  </a:lnTo>
                  <a:lnTo>
                    <a:pt x="965" y="559"/>
                  </a:lnTo>
                  <a:lnTo>
                    <a:pt x="969" y="559"/>
                  </a:lnTo>
                  <a:lnTo>
                    <a:pt x="973" y="559"/>
                  </a:lnTo>
                  <a:lnTo>
                    <a:pt x="973" y="563"/>
                  </a:lnTo>
                  <a:close/>
                  <a:moveTo>
                    <a:pt x="1160" y="559"/>
                  </a:moveTo>
                  <a:lnTo>
                    <a:pt x="1160" y="563"/>
                  </a:lnTo>
                  <a:lnTo>
                    <a:pt x="1164" y="567"/>
                  </a:lnTo>
                  <a:lnTo>
                    <a:pt x="1160" y="567"/>
                  </a:lnTo>
                  <a:lnTo>
                    <a:pt x="1160" y="563"/>
                  </a:lnTo>
                  <a:lnTo>
                    <a:pt x="1156" y="559"/>
                  </a:lnTo>
                  <a:lnTo>
                    <a:pt x="1160" y="559"/>
                  </a:lnTo>
                  <a:close/>
                  <a:moveTo>
                    <a:pt x="1152" y="559"/>
                  </a:moveTo>
                  <a:lnTo>
                    <a:pt x="1152" y="563"/>
                  </a:lnTo>
                  <a:lnTo>
                    <a:pt x="1148" y="563"/>
                  </a:lnTo>
                  <a:lnTo>
                    <a:pt x="1148" y="559"/>
                  </a:lnTo>
                  <a:lnTo>
                    <a:pt x="1152" y="559"/>
                  </a:lnTo>
                  <a:close/>
                  <a:moveTo>
                    <a:pt x="949" y="563"/>
                  </a:moveTo>
                  <a:lnTo>
                    <a:pt x="953" y="563"/>
                  </a:lnTo>
                  <a:lnTo>
                    <a:pt x="957" y="563"/>
                  </a:lnTo>
                  <a:lnTo>
                    <a:pt x="961" y="567"/>
                  </a:lnTo>
                  <a:lnTo>
                    <a:pt x="961" y="571"/>
                  </a:lnTo>
                  <a:lnTo>
                    <a:pt x="957" y="571"/>
                  </a:lnTo>
                  <a:lnTo>
                    <a:pt x="953" y="571"/>
                  </a:lnTo>
                  <a:lnTo>
                    <a:pt x="949" y="567"/>
                  </a:lnTo>
                  <a:lnTo>
                    <a:pt x="945" y="567"/>
                  </a:lnTo>
                  <a:lnTo>
                    <a:pt x="945" y="563"/>
                  </a:lnTo>
                  <a:lnTo>
                    <a:pt x="949" y="563"/>
                  </a:lnTo>
                  <a:close/>
                  <a:moveTo>
                    <a:pt x="889" y="575"/>
                  </a:moveTo>
                  <a:lnTo>
                    <a:pt x="893" y="575"/>
                  </a:lnTo>
                  <a:lnTo>
                    <a:pt x="893" y="579"/>
                  </a:lnTo>
                  <a:lnTo>
                    <a:pt x="893" y="583"/>
                  </a:lnTo>
                  <a:lnTo>
                    <a:pt x="889" y="583"/>
                  </a:lnTo>
                  <a:lnTo>
                    <a:pt x="889" y="587"/>
                  </a:lnTo>
                  <a:lnTo>
                    <a:pt x="885" y="587"/>
                  </a:lnTo>
                  <a:lnTo>
                    <a:pt x="885" y="591"/>
                  </a:lnTo>
                  <a:lnTo>
                    <a:pt x="881" y="591"/>
                  </a:lnTo>
                  <a:lnTo>
                    <a:pt x="877" y="595"/>
                  </a:lnTo>
                  <a:lnTo>
                    <a:pt x="873" y="595"/>
                  </a:lnTo>
                  <a:lnTo>
                    <a:pt x="869" y="595"/>
                  </a:lnTo>
                  <a:lnTo>
                    <a:pt x="865" y="595"/>
                  </a:lnTo>
                  <a:lnTo>
                    <a:pt x="865" y="591"/>
                  </a:lnTo>
                  <a:lnTo>
                    <a:pt x="861" y="587"/>
                  </a:lnTo>
                  <a:lnTo>
                    <a:pt x="865" y="587"/>
                  </a:lnTo>
                  <a:lnTo>
                    <a:pt x="869" y="583"/>
                  </a:lnTo>
                  <a:lnTo>
                    <a:pt x="869" y="579"/>
                  </a:lnTo>
                  <a:lnTo>
                    <a:pt x="873" y="575"/>
                  </a:lnTo>
                  <a:lnTo>
                    <a:pt x="873" y="579"/>
                  </a:lnTo>
                  <a:lnTo>
                    <a:pt x="877" y="579"/>
                  </a:lnTo>
                  <a:lnTo>
                    <a:pt x="881" y="579"/>
                  </a:lnTo>
                  <a:lnTo>
                    <a:pt x="881" y="575"/>
                  </a:lnTo>
                  <a:lnTo>
                    <a:pt x="885" y="575"/>
                  </a:lnTo>
                  <a:lnTo>
                    <a:pt x="889" y="575"/>
                  </a:lnTo>
                  <a:close/>
                  <a:moveTo>
                    <a:pt x="1005" y="579"/>
                  </a:moveTo>
                  <a:lnTo>
                    <a:pt x="1009" y="583"/>
                  </a:lnTo>
                  <a:lnTo>
                    <a:pt x="1013" y="583"/>
                  </a:lnTo>
                  <a:lnTo>
                    <a:pt x="1009" y="583"/>
                  </a:lnTo>
                  <a:lnTo>
                    <a:pt x="1005" y="583"/>
                  </a:lnTo>
                  <a:lnTo>
                    <a:pt x="1005" y="579"/>
                  </a:lnTo>
                  <a:close/>
                  <a:moveTo>
                    <a:pt x="1152" y="583"/>
                  </a:moveTo>
                  <a:lnTo>
                    <a:pt x="1152" y="587"/>
                  </a:lnTo>
                  <a:lnTo>
                    <a:pt x="1148" y="587"/>
                  </a:lnTo>
                  <a:lnTo>
                    <a:pt x="1148" y="583"/>
                  </a:lnTo>
                  <a:lnTo>
                    <a:pt x="1152" y="583"/>
                  </a:lnTo>
                  <a:close/>
                  <a:moveTo>
                    <a:pt x="1160" y="587"/>
                  </a:moveTo>
                  <a:lnTo>
                    <a:pt x="1156" y="591"/>
                  </a:lnTo>
                  <a:lnTo>
                    <a:pt x="1152" y="591"/>
                  </a:lnTo>
                  <a:lnTo>
                    <a:pt x="1152" y="587"/>
                  </a:lnTo>
                  <a:lnTo>
                    <a:pt x="1148" y="587"/>
                  </a:lnTo>
                  <a:lnTo>
                    <a:pt x="1152" y="587"/>
                  </a:lnTo>
                  <a:lnTo>
                    <a:pt x="1156" y="587"/>
                  </a:lnTo>
                  <a:lnTo>
                    <a:pt x="1160" y="587"/>
                  </a:lnTo>
                  <a:close/>
                  <a:moveTo>
                    <a:pt x="929" y="603"/>
                  </a:moveTo>
                  <a:lnTo>
                    <a:pt x="929" y="606"/>
                  </a:lnTo>
                  <a:lnTo>
                    <a:pt x="925" y="610"/>
                  </a:lnTo>
                  <a:lnTo>
                    <a:pt x="925" y="606"/>
                  </a:lnTo>
                  <a:lnTo>
                    <a:pt x="921" y="606"/>
                  </a:lnTo>
                  <a:lnTo>
                    <a:pt x="917" y="603"/>
                  </a:lnTo>
                  <a:lnTo>
                    <a:pt x="917" y="599"/>
                  </a:lnTo>
                  <a:lnTo>
                    <a:pt x="917" y="595"/>
                  </a:lnTo>
                  <a:lnTo>
                    <a:pt x="921" y="595"/>
                  </a:lnTo>
                  <a:lnTo>
                    <a:pt x="921" y="591"/>
                  </a:lnTo>
                  <a:lnTo>
                    <a:pt x="925" y="591"/>
                  </a:lnTo>
                  <a:lnTo>
                    <a:pt x="929" y="591"/>
                  </a:lnTo>
                  <a:lnTo>
                    <a:pt x="929" y="587"/>
                  </a:lnTo>
                  <a:lnTo>
                    <a:pt x="929" y="591"/>
                  </a:lnTo>
                  <a:lnTo>
                    <a:pt x="933" y="591"/>
                  </a:lnTo>
                  <a:lnTo>
                    <a:pt x="933" y="595"/>
                  </a:lnTo>
                  <a:lnTo>
                    <a:pt x="933" y="599"/>
                  </a:lnTo>
                  <a:lnTo>
                    <a:pt x="929" y="603"/>
                  </a:lnTo>
                  <a:close/>
                  <a:moveTo>
                    <a:pt x="1148" y="603"/>
                  </a:moveTo>
                  <a:lnTo>
                    <a:pt x="1152" y="603"/>
                  </a:lnTo>
                  <a:lnTo>
                    <a:pt x="1152" y="606"/>
                  </a:lnTo>
                  <a:lnTo>
                    <a:pt x="1148" y="603"/>
                  </a:lnTo>
                  <a:lnTo>
                    <a:pt x="1145" y="603"/>
                  </a:lnTo>
                  <a:lnTo>
                    <a:pt x="1148" y="599"/>
                  </a:lnTo>
                  <a:lnTo>
                    <a:pt x="1148" y="603"/>
                  </a:lnTo>
                  <a:close/>
                  <a:moveTo>
                    <a:pt x="726" y="603"/>
                  </a:moveTo>
                  <a:lnTo>
                    <a:pt x="722" y="603"/>
                  </a:lnTo>
                  <a:lnTo>
                    <a:pt x="726" y="603"/>
                  </a:lnTo>
                  <a:close/>
                  <a:moveTo>
                    <a:pt x="1156" y="610"/>
                  </a:moveTo>
                  <a:lnTo>
                    <a:pt x="1152" y="610"/>
                  </a:lnTo>
                  <a:lnTo>
                    <a:pt x="1156" y="610"/>
                  </a:lnTo>
                  <a:lnTo>
                    <a:pt x="1152" y="614"/>
                  </a:lnTo>
                  <a:lnTo>
                    <a:pt x="1148" y="614"/>
                  </a:lnTo>
                  <a:lnTo>
                    <a:pt x="1148" y="610"/>
                  </a:lnTo>
                  <a:lnTo>
                    <a:pt x="1145" y="610"/>
                  </a:lnTo>
                  <a:lnTo>
                    <a:pt x="1141" y="610"/>
                  </a:lnTo>
                  <a:lnTo>
                    <a:pt x="1145" y="606"/>
                  </a:lnTo>
                  <a:lnTo>
                    <a:pt x="1148" y="606"/>
                  </a:lnTo>
                  <a:lnTo>
                    <a:pt x="1152" y="606"/>
                  </a:lnTo>
                  <a:lnTo>
                    <a:pt x="1156" y="610"/>
                  </a:lnTo>
                  <a:close/>
                  <a:moveTo>
                    <a:pt x="949" y="626"/>
                  </a:moveTo>
                  <a:lnTo>
                    <a:pt x="949" y="630"/>
                  </a:lnTo>
                  <a:lnTo>
                    <a:pt x="945" y="630"/>
                  </a:lnTo>
                  <a:lnTo>
                    <a:pt x="941" y="630"/>
                  </a:lnTo>
                  <a:lnTo>
                    <a:pt x="945" y="630"/>
                  </a:lnTo>
                  <a:lnTo>
                    <a:pt x="945" y="626"/>
                  </a:lnTo>
                  <a:lnTo>
                    <a:pt x="949" y="626"/>
                  </a:lnTo>
                  <a:close/>
                  <a:moveTo>
                    <a:pt x="1105" y="634"/>
                  </a:moveTo>
                  <a:lnTo>
                    <a:pt x="1109" y="638"/>
                  </a:lnTo>
                  <a:lnTo>
                    <a:pt x="1105" y="638"/>
                  </a:lnTo>
                  <a:lnTo>
                    <a:pt x="1105" y="642"/>
                  </a:lnTo>
                  <a:lnTo>
                    <a:pt x="1101" y="642"/>
                  </a:lnTo>
                  <a:lnTo>
                    <a:pt x="1097" y="642"/>
                  </a:lnTo>
                  <a:lnTo>
                    <a:pt x="1101" y="642"/>
                  </a:lnTo>
                  <a:lnTo>
                    <a:pt x="1101" y="638"/>
                  </a:lnTo>
                  <a:lnTo>
                    <a:pt x="1101" y="634"/>
                  </a:lnTo>
                  <a:lnTo>
                    <a:pt x="1105" y="634"/>
                  </a:lnTo>
                  <a:close/>
                  <a:moveTo>
                    <a:pt x="925" y="650"/>
                  </a:moveTo>
                  <a:lnTo>
                    <a:pt x="925" y="654"/>
                  </a:lnTo>
                  <a:lnTo>
                    <a:pt x="921" y="654"/>
                  </a:lnTo>
                  <a:lnTo>
                    <a:pt x="921" y="650"/>
                  </a:lnTo>
                  <a:lnTo>
                    <a:pt x="925" y="650"/>
                  </a:lnTo>
                  <a:close/>
                  <a:moveTo>
                    <a:pt x="1085" y="670"/>
                  </a:moveTo>
                  <a:lnTo>
                    <a:pt x="1085" y="674"/>
                  </a:lnTo>
                  <a:lnTo>
                    <a:pt x="1085" y="670"/>
                  </a:lnTo>
                  <a:close/>
                  <a:moveTo>
                    <a:pt x="1196" y="698"/>
                  </a:moveTo>
                  <a:lnTo>
                    <a:pt x="1196" y="702"/>
                  </a:lnTo>
                  <a:lnTo>
                    <a:pt x="1192" y="702"/>
                  </a:lnTo>
                  <a:lnTo>
                    <a:pt x="1192" y="698"/>
                  </a:lnTo>
                  <a:lnTo>
                    <a:pt x="1196" y="698"/>
                  </a:lnTo>
                  <a:close/>
                  <a:moveTo>
                    <a:pt x="1200" y="702"/>
                  </a:moveTo>
                  <a:lnTo>
                    <a:pt x="1196" y="702"/>
                  </a:lnTo>
                  <a:lnTo>
                    <a:pt x="1196" y="698"/>
                  </a:lnTo>
                  <a:lnTo>
                    <a:pt x="1200" y="698"/>
                  </a:lnTo>
                  <a:lnTo>
                    <a:pt x="1200" y="702"/>
                  </a:lnTo>
                  <a:close/>
                  <a:moveTo>
                    <a:pt x="929" y="706"/>
                  </a:moveTo>
                  <a:lnTo>
                    <a:pt x="929" y="710"/>
                  </a:lnTo>
                  <a:lnTo>
                    <a:pt x="925" y="710"/>
                  </a:lnTo>
                  <a:lnTo>
                    <a:pt x="925" y="706"/>
                  </a:lnTo>
                  <a:lnTo>
                    <a:pt x="929" y="706"/>
                  </a:lnTo>
                  <a:close/>
                  <a:moveTo>
                    <a:pt x="1200" y="710"/>
                  </a:moveTo>
                  <a:lnTo>
                    <a:pt x="1200" y="714"/>
                  </a:lnTo>
                  <a:lnTo>
                    <a:pt x="1200" y="710"/>
                  </a:lnTo>
                  <a:close/>
                  <a:moveTo>
                    <a:pt x="1204" y="722"/>
                  </a:moveTo>
                  <a:lnTo>
                    <a:pt x="1204" y="726"/>
                  </a:lnTo>
                  <a:lnTo>
                    <a:pt x="1200" y="726"/>
                  </a:lnTo>
                  <a:lnTo>
                    <a:pt x="1204" y="726"/>
                  </a:lnTo>
                  <a:lnTo>
                    <a:pt x="1204" y="730"/>
                  </a:lnTo>
                  <a:lnTo>
                    <a:pt x="1204" y="726"/>
                  </a:lnTo>
                  <a:lnTo>
                    <a:pt x="1200" y="726"/>
                  </a:lnTo>
                  <a:lnTo>
                    <a:pt x="1200" y="722"/>
                  </a:lnTo>
                  <a:lnTo>
                    <a:pt x="1204" y="722"/>
                  </a:lnTo>
                  <a:close/>
                  <a:moveTo>
                    <a:pt x="925" y="722"/>
                  </a:moveTo>
                  <a:lnTo>
                    <a:pt x="925" y="726"/>
                  </a:lnTo>
                  <a:lnTo>
                    <a:pt x="925" y="722"/>
                  </a:lnTo>
                  <a:close/>
                  <a:moveTo>
                    <a:pt x="929" y="726"/>
                  </a:moveTo>
                  <a:lnTo>
                    <a:pt x="929" y="730"/>
                  </a:lnTo>
                  <a:lnTo>
                    <a:pt x="929" y="726"/>
                  </a:lnTo>
                  <a:close/>
                  <a:moveTo>
                    <a:pt x="925" y="750"/>
                  </a:moveTo>
                  <a:lnTo>
                    <a:pt x="925" y="746"/>
                  </a:lnTo>
                  <a:lnTo>
                    <a:pt x="929" y="746"/>
                  </a:lnTo>
                  <a:lnTo>
                    <a:pt x="929" y="742"/>
                  </a:lnTo>
                  <a:lnTo>
                    <a:pt x="925" y="746"/>
                  </a:lnTo>
                  <a:lnTo>
                    <a:pt x="921" y="746"/>
                  </a:lnTo>
                  <a:lnTo>
                    <a:pt x="925" y="746"/>
                  </a:lnTo>
                  <a:lnTo>
                    <a:pt x="925" y="742"/>
                  </a:lnTo>
                  <a:lnTo>
                    <a:pt x="929" y="738"/>
                  </a:lnTo>
                  <a:lnTo>
                    <a:pt x="929" y="734"/>
                  </a:lnTo>
                  <a:lnTo>
                    <a:pt x="929" y="730"/>
                  </a:lnTo>
                  <a:lnTo>
                    <a:pt x="933" y="730"/>
                  </a:lnTo>
                  <a:lnTo>
                    <a:pt x="933" y="734"/>
                  </a:lnTo>
                  <a:lnTo>
                    <a:pt x="929" y="738"/>
                  </a:lnTo>
                  <a:lnTo>
                    <a:pt x="933" y="738"/>
                  </a:lnTo>
                  <a:lnTo>
                    <a:pt x="933" y="734"/>
                  </a:lnTo>
                  <a:lnTo>
                    <a:pt x="933" y="730"/>
                  </a:lnTo>
                  <a:lnTo>
                    <a:pt x="937" y="730"/>
                  </a:lnTo>
                  <a:lnTo>
                    <a:pt x="937" y="734"/>
                  </a:lnTo>
                  <a:lnTo>
                    <a:pt x="941" y="734"/>
                  </a:lnTo>
                  <a:lnTo>
                    <a:pt x="937" y="738"/>
                  </a:lnTo>
                  <a:lnTo>
                    <a:pt x="937" y="742"/>
                  </a:lnTo>
                  <a:lnTo>
                    <a:pt x="937" y="746"/>
                  </a:lnTo>
                  <a:lnTo>
                    <a:pt x="933" y="746"/>
                  </a:lnTo>
                  <a:lnTo>
                    <a:pt x="937" y="746"/>
                  </a:lnTo>
                  <a:lnTo>
                    <a:pt x="937" y="742"/>
                  </a:lnTo>
                  <a:lnTo>
                    <a:pt x="937" y="738"/>
                  </a:lnTo>
                  <a:lnTo>
                    <a:pt x="937" y="734"/>
                  </a:lnTo>
                  <a:lnTo>
                    <a:pt x="937" y="738"/>
                  </a:lnTo>
                  <a:lnTo>
                    <a:pt x="933" y="746"/>
                  </a:lnTo>
                  <a:lnTo>
                    <a:pt x="937" y="742"/>
                  </a:lnTo>
                  <a:lnTo>
                    <a:pt x="937" y="738"/>
                  </a:lnTo>
                  <a:lnTo>
                    <a:pt x="933" y="738"/>
                  </a:lnTo>
                  <a:lnTo>
                    <a:pt x="933" y="742"/>
                  </a:lnTo>
                  <a:lnTo>
                    <a:pt x="933" y="746"/>
                  </a:lnTo>
                  <a:lnTo>
                    <a:pt x="929" y="746"/>
                  </a:lnTo>
                  <a:lnTo>
                    <a:pt x="925" y="750"/>
                  </a:lnTo>
                  <a:close/>
                  <a:moveTo>
                    <a:pt x="921" y="738"/>
                  </a:moveTo>
                  <a:lnTo>
                    <a:pt x="925" y="734"/>
                  </a:lnTo>
                  <a:lnTo>
                    <a:pt x="929" y="734"/>
                  </a:lnTo>
                  <a:lnTo>
                    <a:pt x="929" y="730"/>
                  </a:lnTo>
                  <a:lnTo>
                    <a:pt x="929" y="734"/>
                  </a:lnTo>
                  <a:lnTo>
                    <a:pt x="929" y="738"/>
                  </a:lnTo>
                  <a:lnTo>
                    <a:pt x="925" y="738"/>
                  </a:lnTo>
                  <a:lnTo>
                    <a:pt x="921" y="738"/>
                  </a:lnTo>
                  <a:close/>
                  <a:moveTo>
                    <a:pt x="937" y="742"/>
                  </a:moveTo>
                  <a:lnTo>
                    <a:pt x="941" y="738"/>
                  </a:lnTo>
                  <a:lnTo>
                    <a:pt x="941" y="734"/>
                  </a:lnTo>
                  <a:lnTo>
                    <a:pt x="945" y="738"/>
                  </a:lnTo>
                  <a:lnTo>
                    <a:pt x="941" y="738"/>
                  </a:lnTo>
                  <a:lnTo>
                    <a:pt x="941" y="742"/>
                  </a:lnTo>
                  <a:lnTo>
                    <a:pt x="937" y="742"/>
                  </a:lnTo>
                  <a:close/>
                  <a:moveTo>
                    <a:pt x="1200" y="734"/>
                  </a:moveTo>
                  <a:lnTo>
                    <a:pt x="1204" y="734"/>
                  </a:lnTo>
                  <a:lnTo>
                    <a:pt x="1204" y="738"/>
                  </a:lnTo>
                  <a:lnTo>
                    <a:pt x="1200" y="738"/>
                  </a:lnTo>
                  <a:lnTo>
                    <a:pt x="1200" y="734"/>
                  </a:lnTo>
                  <a:close/>
                  <a:moveTo>
                    <a:pt x="1208" y="738"/>
                  </a:moveTo>
                  <a:lnTo>
                    <a:pt x="1212" y="742"/>
                  </a:lnTo>
                  <a:lnTo>
                    <a:pt x="1208" y="742"/>
                  </a:lnTo>
                  <a:lnTo>
                    <a:pt x="1208" y="738"/>
                  </a:lnTo>
                  <a:close/>
                  <a:moveTo>
                    <a:pt x="937" y="742"/>
                  </a:moveTo>
                  <a:lnTo>
                    <a:pt x="937" y="746"/>
                  </a:lnTo>
                  <a:lnTo>
                    <a:pt x="937" y="750"/>
                  </a:lnTo>
                  <a:lnTo>
                    <a:pt x="937" y="746"/>
                  </a:lnTo>
                  <a:lnTo>
                    <a:pt x="937" y="742"/>
                  </a:lnTo>
                  <a:close/>
                  <a:moveTo>
                    <a:pt x="163" y="766"/>
                  </a:moveTo>
                  <a:lnTo>
                    <a:pt x="163" y="770"/>
                  </a:lnTo>
                  <a:lnTo>
                    <a:pt x="159" y="774"/>
                  </a:lnTo>
                  <a:lnTo>
                    <a:pt x="159" y="770"/>
                  </a:lnTo>
                  <a:lnTo>
                    <a:pt x="163" y="770"/>
                  </a:lnTo>
                  <a:lnTo>
                    <a:pt x="163" y="766"/>
                  </a:lnTo>
                  <a:close/>
                  <a:moveTo>
                    <a:pt x="937" y="770"/>
                  </a:moveTo>
                  <a:lnTo>
                    <a:pt x="933" y="770"/>
                  </a:lnTo>
                  <a:lnTo>
                    <a:pt x="929" y="770"/>
                  </a:lnTo>
                  <a:lnTo>
                    <a:pt x="925" y="774"/>
                  </a:lnTo>
                  <a:lnTo>
                    <a:pt x="925" y="770"/>
                  </a:lnTo>
                  <a:lnTo>
                    <a:pt x="929" y="770"/>
                  </a:lnTo>
                  <a:lnTo>
                    <a:pt x="933" y="770"/>
                  </a:lnTo>
                  <a:lnTo>
                    <a:pt x="937" y="770"/>
                  </a:lnTo>
                  <a:close/>
                  <a:moveTo>
                    <a:pt x="155" y="774"/>
                  </a:moveTo>
                  <a:lnTo>
                    <a:pt x="155" y="778"/>
                  </a:lnTo>
                  <a:lnTo>
                    <a:pt x="151" y="778"/>
                  </a:lnTo>
                  <a:lnTo>
                    <a:pt x="151" y="774"/>
                  </a:lnTo>
                  <a:lnTo>
                    <a:pt x="155" y="774"/>
                  </a:lnTo>
                  <a:close/>
                  <a:moveTo>
                    <a:pt x="119" y="798"/>
                  </a:moveTo>
                  <a:lnTo>
                    <a:pt x="119" y="794"/>
                  </a:lnTo>
                  <a:lnTo>
                    <a:pt x="119" y="790"/>
                  </a:lnTo>
                  <a:lnTo>
                    <a:pt x="119" y="786"/>
                  </a:lnTo>
                  <a:lnTo>
                    <a:pt x="123" y="786"/>
                  </a:lnTo>
                  <a:lnTo>
                    <a:pt x="127" y="786"/>
                  </a:lnTo>
                  <a:lnTo>
                    <a:pt x="127" y="790"/>
                  </a:lnTo>
                  <a:lnTo>
                    <a:pt x="123" y="790"/>
                  </a:lnTo>
                  <a:lnTo>
                    <a:pt x="127" y="790"/>
                  </a:lnTo>
                  <a:lnTo>
                    <a:pt x="131" y="786"/>
                  </a:lnTo>
                  <a:lnTo>
                    <a:pt x="131" y="790"/>
                  </a:lnTo>
                  <a:lnTo>
                    <a:pt x="135" y="790"/>
                  </a:lnTo>
                  <a:lnTo>
                    <a:pt x="135" y="794"/>
                  </a:lnTo>
                  <a:lnTo>
                    <a:pt x="131" y="794"/>
                  </a:lnTo>
                  <a:lnTo>
                    <a:pt x="127" y="798"/>
                  </a:lnTo>
                  <a:lnTo>
                    <a:pt x="131" y="798"/>
                  </a:lnTo>
                  <a:lnTo>
                    <a:pt x="135" y="794"/>
                  </a:lnTo>
                  <a:lnTo>
                    <a:pt x="135" y="790"/>
                  </a:lnTo>
                  <a:lnTo>
                    <a:pt x="139" y="790"/>
                  </a:lnTo>
                  <a:lnTo>
                    <a:pt x="139" y="786"/>
                  </a:lnTo>
                  <a:lnTo>
                    <a:pt x="139" y="790"/>
                  </a:lnTo>
                  <a:lnTo>
                    <a:pt x="139" y="794"/>
                  </a:lnTo>
                  <a:lnTo>
                    <a:pt x="135" y="798"/>
                  </a:lnTo>
                  <a:lnTo>
                    <a:pt x="135" y="802"/>
                  </a:lnTo>
                  <a:lnTo>
                    <a:pt x="135" y="806"/>
                  </a:lnTo>
                  <a:lnTo>
                    <a:pt x="131" y="806"/>
                  </a:lnTo>
                  <a:lnTo>
                    <a:pt x="131" y="810"/>
                  </a:lnTo>
                  <a:lnTo>
                    <a:pt x="135" y="810"/>
                  </a:lnTo>
                  <a:lnTo>
                    <a:pt x="131" y="810"/>
                  </a:lnTo>
                  <a:lnTo>
                    <a:pt x="127" y="810"/>
                  </a:lnTo>
                  <a:lnTo>
                    <a:pt x="127" y="806"/>
                  </a:lnTo>
                  <a:lnTo>
                    <a:pt x="123" y="806"/>
                  </a:lnTo>
                  <a:lnTo>
                    <a:pt x="127" y="806"/>
                  </a:lnTo>
                  <a:lnTo>
                    <a:pt x="131" y="806"/>
                  </a:lnTo>
                  <a:lnTo>
                    <a:pt x="127" y="802"/>
                  </a:lnTo>
                  <a:lnTo>
                    <a:pt x="123" y="802"/>
                  </a:lnTo>
                  <a:lnTo>
                    <a:pt x="119" y="802"/>
                  </a:lnTo>
                  <a:lnTo>
                    <a:pt x="119" y="798"/>
                  </a:lnTo>
                  <a:lnTo>
                    <a:pt x="123" y="798"/>
                  </a:lnTo>
                  <a:lnTo>
                    <a:pt x="119" y="798"/>
                  </a:lnTo>
                  <a:close/>
                  <a:moveTo>
                    <a:pt x="159" y="790"/>
                  </a:moveTo>
                  <a:lnTo>
                    <a:pt x="163" y="790"/>
                  </a:lnTo>
                  <a:lnTo>
                    <a:pt x="159" y="794"/>
                  </a:lnTo>
                  <a:lnTo>
                    <a:pt x="159" y="790"/>
                  </a:lnTo>
                  <a:lnTo>
                    <a:pt x="159" y="794"/>
                  </a:lnTo>
                  <a:lnTo>
                    <a:pt x="159" y="790"/>
                  </a:lnTo>
                  <a:lnTo>
                    <a:pt x="155" y="790"/>
                  </a:lnTo>
                  <a:lnTo>
                    <a:pt x="155" y="794"/>
                  </a:lnTo>
                  <a:lnTo>
                    <a:pt x="155" y="790"/>
                  </a:lnTo>
                  <a:lnTo>
                    <a:pt x="159" y="790"/>
                  </a:lnTo>
                  <a:lnTo>
                    <a:pt x="159" y="786"/>
                  </a:lnTo>
                  <a:lnTo>
                    <a:pt x="159" y="790"/>
                  </a:lnTo>
                  <a:close/>
                  <a:moveTo>
                    <a:pt x="163" y="794"/>
                  </a:moveTo>
                  <a:lnTo>
                    <a:pt x="163" y="798"/>
                  </a:lnTo>
                  <a:lnTo>
                    <a:pt x="163" y="802"/>
                  </a:lnTo>
                  <a:lnTo>
                    <a:pt x="163" y="798"/>
                  </a:lnTo>
                  <a:lnTo>
                    <a:pt x="159" y="798"/>
                  </a:lnTo>
                  <a:lnTo>
                    <a:pt x="163" y="794"/>
                  </a:lnTo>
                  <a:close/>
                  <a:moveTo>
                    <a:pt x="183" y="798"/>
                  </a:moveTo>
                  <a:lnTo>
                    <a:pt x="179" y="798"/>
                  </a:lnTo>
                  <a:lnTo>
                    <a:pt x="179" y="802"/>
                  </a:lnTo>
                  <a:lnTo>
                    <a:pt x="179" y="806"/>
                  </a:lnTo>
                  <a:lnTo>
                    <a:pt x="179" y="798"/>
                  </a:lnTo>
                  <a:lnTo>
                    <a:pt x="183" y="798"/>
                  </a:lnTo>
                  <a:close/>
                  <a:moveTo>
                    <a:pt x="159" y="798"/>
                  </a:moveTo>
                  <a:lnTo>
                    <a:pt x="163" y="798"/>
                  </a:lnTo>
                  <a:lnTo>
                    <a:pt x="163" y="802"/>
                  </a:lnTo>
                  <a:lnTo>
                    <a:pt x="167" y="802"/>
                  </a:lnTo>
                  <a:lnTo>
                    <a:pt x="167" y="806"/>
                  </a:lnTo>
                  <a:lnTo>
                    <a:pt x="171" y="810"/>
                  </a:lnTo>
                  <a:lnTo>
                    <a:pt x="167" y="810"/>
                  </a:lnTo>
                  <a:lnTo>
                    <a:pt x="163" y="806"/>
                  </a:lnTo>
                  <a:lnTo>
                    <a:pt x="159" y="806"/>
                  </a:lnTo>
                  <a:lnTo>
                    <a:pt x="159" y="802"/>
                  </a:lnTo>
                  <a:lnTo>
                    <a:pt x="159" y="798"/>
                  </a:lnTo>
                  <a:close/>
                  <a:moveTo>
                    <a:pt x="183" y="802"/>
                  </a:moveTo>
                  <a:lnTo>
                    <a:pt x="183" y="806"/>
                  </a:lnTo>
                  <a:lnTo>
                    <a:pt x="179" y="806"/>
                  </a:lnTo>
                  <a:lnTo>
                    <a:pt x="179" y="802"/>
                  </a:lnTo>
                  <a:lnTo>
                    <a:pt x="183" y="802"/>
                  </a:lnTo>
                  <a:close/>
                  <a:moveTo>
                    <a:pt x="925" y="806"/>
                  </a:moveTo>
                  <a:lnTo>
                    <a:pt x="921" y="806"/>
                  </a:lnTo>
                  <a:lnTo>
                    <a:pt x="925" y="806"/>
                  </a:lnTo>
                  <a:close/>
                  <a:moveTo>
                    <a:pt x="179" y="806"/>
                  </a:moveTo>
                  <a:lnTo>
                    <a:pt x="179" y="810"/>
                  </a:lnTo>
                  <a:lnTo>
                    <a:pt x="175" y="810"/>
                  </a:lnTo>
                  <a:lnTo>
                    <a:pt x="175" y="806"/>
                  </a:lnTo>
                  <a:lnTo>
                    <a:pt x="179" y="806"/>
                  </a:lnTo>
                  <a:close/>
                  <a:moveTo>
                    <a:pt x="905" y="810"/>
                  </a:moveTo>
                  <a:lnTo>
                    <a:pt x="909" y="810"/>
                  </a:lnTo>
                  <a:lnTo>
                    <a:pt x="909" y="814"/>
                  </a:lnTo>
                  <a:lnTo>
                    <a:pt x="913" y="818"/>
                  </a:lnTo>
                  <a:lnTo>
                    <a:pt x="913" y="822"/>
                  </a:lnTo>
                  <a:lnTo>
                    <a:pt x="913" y="818"/>
                  </a:lnTo>
                  <a:lnTo>
                    <a:pt x="909" y="818"/>
                  </a:lnTo>
                  <a:lnTo>
                    <a:pt x="905" y="818"/>
                  </a:lnTo>
                  <a:lnTo>
                    <a:pt x="901" y="818"/>
                  </a:lnTo>
                  <a:lnTo>
                    <a:pt x="897" y="814"/>
                  </a:lnTo>
                  <a:lnTo>
                    <a:pt x="893" y="814"/>
                  </a:lnTo>
                  <a:lnTo>
                    <a:pt x="893" y="810"/>
                  </a:lnTo>
                  <a:lnTo>
                    <a:pt x="897" y="810"/>
                  </a:lnTo>
                  <a:lnTo>
                    <a:pt x="901" y="810"/>
                  </a:lnTo>
                  <a:lnTo>
                    <a:pt x="901" y="806"/>
                  </a:lnTo>
                  <a:lnTo>
                    <a:pt x="901" y="810"/>
                  </a:lnTo>
                  <a:lnTo>
                    <a:pt x="905" y="810"/>
                  </a:lnTo>
                  <a:close/>
                  <a:moveTo>
                    <a:pt x="175" y="810"/>
                  </a:moveTo>
                  <a:lnTo>
                    <a:pt x="175" y="814"/>
                  </a:lnTo>
                  <a:lnTo>
                    <a:pt x="175" y="810"/>
                  </a:lnTo>
                  <a:lnTo>
                    <a:pt x="171" y="810"/>
                  </a:lnTo>
                  <a:lnTo>
                    <a:pt x="175" y="810"/>
                  </a:lnTo>
                  <a:close/>
                  <a:moveTo>
                    <a:pt x="179" y="818"/>
                  </a:moveTo>
                  <a:lnTo>
                    <a:pt x="183" y="822"/>
                  </a:lnTo>
                  <a:lnTo>
                    <a:pt x="183" y="826"/>
                  </a:lnTo>
                  <a:lnTo>
                    <a:pt x="179" y="822"/>
                  </a:lnTo>
                  <a:lnTo>
                    <a:pt x="175" y="818"/>
                  </a:lnTo>
                  <a:lnTo>
                    <a:pt x="179" y="818"/>
                  </a:lnTo>
                  <a:close/>
                  <a:moveTo>
                    <a:pt x="195" y="818"/>
                  </a:moveTo>
                  <a:lnTo>
                    <a:pt x="191" y="818"/>
                  </a:lnTo>
                  <a:lnTo>
                    <a:pt x="191" y="822"/>
                  </a:lnTo>
                  <a:lnTo>
                    <a:pt x="191" y="818"/>
                  </a:lnTo>
                  <a:lnTo>
                    <a:pt x="195" y="818"/>
                  </a:lnTo>
                  <a:close/>
                  <a:moveTo>
                    <a:pt x="191" y="818"/>
                  </a:moveTo>
                  <a:lnTo>
                    <a:pt x="191" y="822"/>
                  </a:lnTo>
                  <a:lnTo>
                    <a:pt x="191" y="826"/>
                  </a:lnTo>
                  <a:lnTo>
                    <a:pt x="187" y="826"/>
                  </a:lnTo>
                  <a:lnTo>
                    <a:pt x="191" y="822"/>
                  </a:lnTo>
                  <a:lnTo>
                    <a:pt x="191" y="818"/>
                  </a:lnTo>
                  <a:close/>
                  <a:moveTo>
                    <a:pt x="143" y="818"/>
                  </a:moveTo>
                  <a:lnTo>
                    <a:pt x="143" y="822"/>
                  </a:lnTo>
                  <a:lnTo>
                    <a:pt x="139" y="818"/>
                  </a:lnTo>
                  <a:lnTo>
                    <a:pt x="143" y="818"/>
                  </a:lnTo>
                  <a:close/>
                  <a:moveTo>
                    <a:pt x="187" y="822"/>
                  </a:moveTo>
                  <a:lnTo>
                    <a:pt x="187" y="826"/>
                  </a:lnTo>
                  <a:lnTo>
                    <a:pt x="183" y="826"/>
                  </a:lnTo>
                  <a:lnTo>
                    <a:pt x="183" y="822"/>
                  </a:lnTo>
                  <a:lnTo>
                    <a:pt x="187" y="822"/>
                  </a:lnTo>
                  <a:close/>
                  <a:moveTo>
                    <a:pt x="187" y="826"/>
                  </a:moveTo>
                  <a:lnTo>
                    <a:pt x="187" y="830"/>
                  </a:lnTo>
                  <a:lnTo>
                    <a:pt x="183" y="826"/>
                  </a:lnTo>
                  <a:lnTo>
                    <a:pt x="187" y="826"/>
                  </a:lnTo>
                  <a:close/>
                  <a:moveTo>
                    <a:pt x="203" y="834"/>
                  </a:moveTo>
                  <a:lnTo>
                    <a:pt x="199" y="834"/>
                  </a:lnTo>
                  <a:lnTo>
                    <a:pt x="199" y="838"/>
                  </a:lnTo>
                  <a:lnTo>
                    <a:pt x="199" y="834"/>
                  </a:lnTo>
                  <a:lnTo>
                    <a:pt x="199" y="830"/>
                  </a:lnTo>
                  <a:lnTo>
                    <a:pt x="203" y="830"/>
                  </a:lnTo>
                  <a:lnTo>
                    <a:pt x="203" y="826"/>
                  </a:lnTo>
                  <a:lnTo>
                    <a:pt x="207" y="826"/>
                  </a:lnTo>
                  <a:lnTo>
                    <a:pt x="207" y="830"/>
                  </a:lnTo>
                  <a:lnTo>
                    <a:pt x="203" y="830"/>
                  </a:lnTo>
                  <a:lnTo>
                    <a:pt x="203" y="834"/>
                  </a:lnTo>
                  <a:close/>
                  <a:moveTo>
                    <a:pt x="195" y="826"/>
                  </a:moveTo>
                  <a:lnTo>
                    <a:pt x="195" y="830"/>
                  </a:lnTo>
                  <a:lnTo>
                    <a:pt x="191" y="830"/>
                  </a:lnTo>
                  <a:lnTo>
                    <a:pt x="195" y="830"/>
                  </a:lnTo>
                  <a:lnTo>
                    <a:pt x="195" y="826"/>
                  </a:lnTo>
                  <a:close/>
                  <a:moveTo>
                    <a:pt x="151" y="834"/>
                  </a:moveTo>
                  <a:lnTo>
                    <a:pt x="151" y="838"/>
                  </a:lnTo>
                  <a:lnTo>
                    <a:pt x="147" y="834"/>
                  </a:lnTo>
                  <a:lnTo>
                    <a:pt x="151" y="834"/>
                  </a:lnTo>
                  <a:close/>
                  <a:moveTo>
                    <a:pt x="933" y="834"/>
                  </a:moveTo>
                  <a:lnTo>
                    <a:pt x="933" y="838"/>
                  </a:lnTo>
                  <a:lnTo>
                    <a:pt x="929" y="838"/>
                  </a:lnTo>
                  <a:lnTo>
                    <a:pt x="929" y="834"/>
                  </a:lnTo>
                  <a:lnTo>
                    <a:pt x="933" y="834"/>
                  </a:lnTo>
                  <a:close/>
                  <a:moveTo>
                    <a:pt x="195" y="842"/>
                  </a:moveTo>
                  <a:lnTo>
                    <a:pt x="195" y="846"/>
                  </a:lnTo>
                  <a:lnTo>
                    <a:pt x="199" y="846"/>
                  </a:lnTo>
                  <a:lnTo>
                    <a:pt x="199" y="850"/>
                  </a:lnTo>
                  <a:lnTo>
                    <a:pt x="195" y="850"/>
                  </a:lnTo>
                  <a:lnTo>
                    <a:pt x="195" y="846"/>
                  </a:lnTo>
                  <a:lnTo>
                    <a:pt x="195" y="842"/>
                  </a:lnTo>
                  <a:close/>
                  <a:moveTo>
                    <a:pt x="1272" y="934"/>
                  </a:moveTo>
                  <a:lnTo>
                    <a:pt x="1268" y="934"/>
                  </a:lnTo>
                  <a:lnTo>
                    <a:pt x="1264" y="934"/>
                  </a:lnTo>
                  <a:lnTo>
                    <a:pt x="1260" y="934"/>
                  </a:lnTo>
                  <a:lnTo>
                    <a:pt x="1256" y="934"/>
                  </a:lnTo>
                  <a:lnTo>
                    <a:pt x="1256" y="930"/>
                  </a:lnTo>
                  <a:lnTo>
                    <a:pt x="1252" y="934"/>
                  </a:lnTo>
                  <a:lnTo>
                    <a:pt x="1244" y="934"/>
                  </a:lnTo>
                  <a:lnTo>
                    <a:pt x="1240" y="934"/>
                  </a:lnTo>
                  <a:lnTo>
                    <a:pt x="1236" y="934"/>
                  </a:lnTo>
                  <a:lnTo>
                    <a:pt x="1236" y="930"/>
                  </a:lnTo>
                  <a:lnTo>
                    <a:pt x="1236" y="926"/>
                  </a:lnTo>
                  <a:lnTo>
                    <a:pt x="1240" y="922"/>
                  </a:lnTo>
                  <a:lnTo>
                    <a:pt x="1244" y="918"/>
                  </a:lnTo>
                  <a:lnTo>
                    <a:pt x="1248" y="914"/>
                  </a:lnTo>
                  <a:lnTo>
                    <a:pt x="1248" y="918"/>
                  </a:lnTo>
                  <a:lnTo>
                    <a:pt x="1248" y="914"/>
                  </a:lnTo>
                  <a:lnTo>
                    <a:pt x="1244" y="914"/>
                  </a:lnTo>
                  <a:lnTo>
                    <a:pt x="1240" y="914"/>
                  </a:lnTo>
                  <a:lnTo>
                    <a:pt x="1236" y="914"/>
                  </a:lnTo>
                  <a:lnTo>
                    <a:pt x="1240" y="910"/>
                  </a:lnTo>
                  <a:lnTo>
                    <a:pt x="1244" y="910"/>
                  </a:lnTo>
                  <a:lnTo>
                    <a:pt x="1240" y="910"/>
                  </a:lnTo>
                  <a:lnTo>
                    <a:pt x="1244" y="914"/>
                  </a:lnTo>
                  <a:lnTo>
                    <a:pt x="1244" y="910"/>
                  </a:lnTo>
                  <a:lnTo>
                    <a:pt x="1248" y="906"/>
                  </a:lnTo>
                  <a:lnTo>
                    <a:pt x="1248" y="902"/>
                  </a:lnTo>
                  <a:lnTo>
                    <a:pt x="1252" y="898"/>
                  </a:lnTo>
                  <a:lnTo>
                    <a:pt x="1252" y="902"/>
                  </a:lnTo>
                  <a:lnTo>
                    <a:pt x="1256" y="902"/>
                  </a:lnTo>
                  <a:lnTo>
                    <a:pt x="1256" y="906"/>
                  </a:lnTo>
                  <a:lnTo>
                    <a:pt x="1256" y="902"/>
                  </a:lnTo>
                  <a:lnTo>
                    <a:pt x="1252" y="902"/>
                  </a:lnTo>
                  <a:lnTo>
                    <a:pt x="1256" y="902"/>
                  </a:lnTo>
                  <a:lnTo>
                    <a:pt x="1256" y="898"/>
                  </a:lnTo>
                  <a:lnTo>
                    <a:pt x="1252" y="898"/>
                  </a:lnTo>
                  <a:lnTo>
                    <a:pt x="1252" y="894"/>
                  </a:lnTo>
                  <a:lnTo>
                    <a:pt x="1256" y="890"/>
                  </a:lnTo>
                  <a:lnTo>
                    <a:pt x="1260" y="894"/>
                  </a:lnTo>
                  <a:lnTo>
                    <a:pt x="1256" y="890"/>
                  </a:lnTo>
                  <a:lnTo>
                    <a:pt x="1256" y="886"/>
                  </a:lnTo>
                  <a:lnTo>
                    <a:pt x="1260" y="886"/>
                  </a:lnTo>
                  <a:lnTo>
                    <a:pt x="1260" y="878"/>
                  </a:lnTo>
                  <a:lnTo>
                    <a:pt x="1264" y="874"/>
                  </a:lnTo>
                  <a:lnTo>
                    <a:pt x="1264" y="870"/>
                  </a:lnTo>
                  <a:lnTo>
                    <a:pt x="1264" y="866"/>
                  </a:lnTo>
                  <a:lnTo>
                    <a:pt x="1268" y="866"/>
                  </a:lnTo>
                  <a:lnTo>
                    <a:pt x="1264" y="866"/>
                  </a:lnTo>
                  <a:lnTo>
                    <a:pt x="1268" y="866"/>
                  </a:lnTo>
                  <a:lnTo>
                    <a:pt x="1268" y="862"/>
                  </a:lnTo>
                  <a:lnTo>
                    <a:pt x="1272" y="862"/>
                  </a:lnTo>
                  <a:lnTo>
                    <a:pt x="1272" y="858"/>
                  </a:lnTo>
                  <a:lnTo>
                    <a:pt x="1272" y="854"/>
                  </a:lnTo>
                  <a:lnTo>
                    <a:pt x="1276" y="850"/>
                  </a:lnTo>
                  <a:lnTo>
                    <a:pt x="1280" y="850"/>
                  </a:lnTo>
                  <a:lnTo>
                    <a:pt x="1280" y="846"/>
                  </a:lnTo>
                  <a:lnTo>
                    <a:pt x="1284" y="846"/>
                  </a:lnTo>
                  <a:lnTo>
                    <a:pt x="1288" y="846"/>
                  </a:lnTo>
                  <a:lnTo>
                    <a:pt x="1292" y="846"/>
                  </a:lnTo>
                  <a:lnTo>
                    <a:pt x="1288" y="846"/>
                  </a:lnTo>
                  <a:lnTo>
                    <a:pt x="1292" y="846"/>
                  </a:lnTo>
                  <a:lnTo>
                    <a:pt x="1296" y="846"/>
                  </a:lnTo>
                  <a:lnTo>
                    <a:pt x="1296" y="850"/>
                  </a:lnTo>
                  <a:lnTo>
                    <a:pt x="1292" y="850"/>
                  </a:lnTo>
                  <a:lnTo>
                    <a:pt x="1288" y="850"/>
                  </a:lnTo>
                  <a:lnTo>
                    <a:pt x="1284" y="850"/>
                  </a:lnTo>
                  <a:lnTo>
                    <a:pt x="1284" y="854"/>
                  </a:lnTo>
                  <a:lnTo>
                    <a:pt x="1288" y="854"/>
                  </a:lnTo>
                  <a:lnTo>
                    <a:pt x="1292" y="854"/>
                  </a:lnTo>
                  <a:lnTo>
                    <a:pt x="1292" y="858"/>
                  </a:lnTo>
                  <a:lnTo>
                    <a:pt x="1288" y="858"/>
                  </a:lnTo>
                  <a:lnTo>
                    <a:pt x="1284" y="862"/>
                  </a:lnTo>
                  <a:lnTo>
                    <a:pt x="1284" y="866"/>
                  </a:lnTo>
                  <a:lnTo>
                    <a:pt x="1284" y="862"/>
                  </a:lnTo>
                  <a:lnTo>
                    <a:pt x="1284" y="866"/>
                  </a:lnTo>
                  <a:lnTo>
                    <a:pt x="1284" y="870"/>
                  </a:lnTo>
                  <a:lnTo>
                    <a:pt x="1280" y="870"/>
                  </a:lnTo>
                  <a:lnTo>
                    <a:pt x="1280" y="874"/>
                  </a:lnTo>
                  <a:lnTo>
                    <a:pt x="1280" y="878"/>
                  </a:lnTo>
                  <a:lnTo>
                    <a:pt x="1276" y="878"/>
                  </a:lnTo>
                  <a:lnTo>
                    <a:pt x="1276" y="882"/>
                  </a:lnTo>
                  <a:lnTo>
                    <a:pt x="1276" y="886"/>
                  </a:lnTo>
                  <a:lnTo>
                    <a:pt x="1272" y="886"/>
                  </a:lnTo>
                  <a:lnTo>
                    <a:pt x="1276" y="886"/>
                  </a:lnTo>
                  <a:lnTo>
                    <a:pt x="1272" y="890"/>
                  </a:lnTo>
                  <a:lnTo>
                    <a:pt x="1276" y="890"/>
                  </a:lnTo>
                  <a:lnTo>
                    <a:pt x="1276" y="886"/>
                  </a:lnTo>
                  <a:lnTo>
                    <a:pt x="1280" y="882"/>
                  </a:lnTo>
                  <a:lnTo>
                    <a:pt x="1284" y="878"/>
                  </a:lnTo>
                  <a:lnTo>
                    <a:pt x="1284" y="882"/>
                  </a:lnTo>
                  <a:lnTo>
                    <a:pt x="1288" y="882"/>
                  </a:lnTo>
                  <a:lnTo>
                    <a:pt x="1292" y="882"/>
                  </a:lnTo>
                  <a:lnTo>
                    <a:pt x="1296" y="882"/>
                  </a:lnTo>
                  <a:lnTo>
                    <a:pt x="1292" y="882"/>
                  </a:lnTo>
                  <a:lnTo>
                    <a:pt x="1292" y="886"/>
                  </a:lnTo>
                  <a:lnTo>
                    <a:pt x="1288" y="886"/>
                  </a:lnTo>
                  <a:lnTo>
                    <a:pt x="1284" y="890"/>
                  </a:lnTo>
                  <a:lnTo>
                    <a:pt x="1288" y="886"/>
                  </a:lnTo>
                  <a:lnTo>
                    <a:pt x="1288" y="890"/>
                  </a:lnTo>
                  <a:lnTo>
                    <a:pt x="1284" y="890"/>
                  </a:lnTo>
                  <a:lnTo>
                    <a:pt x="1284" y="894"/>
                  </a:lnTo>
                  <a:lnTo>
                    <a:pt x="1288" y="894"/>
                  </a:lnTo>
                  <a:lnTo>
                    <a:pt x="1288" y="890"/>
                  </a:lnTo>
                  <a:lnTo>
                    <a:pt x="1292" y="894"/>
                  </a:lnTo>
                  <a:lnTo>
                    <a:pt x="1296" y="894"/>
                  </a:lnTo>
                  <a:lnTo>
                    <a:pt x="1296" y="890"/>
                  </a:lnTo>
                  <a:lnTo>
                    <a:pt x="1296" y="894"/>
                  </a:lnTo>
                  <a:lnTo>
                    <a:pt x="1296" y="898"/>
                  </a:lnTo>
                  <a:lnTo>
                    <a:pt x="1296" y="894"/>
                  </a:lnTo>
                  <a:lnTo>
                    <a:pt x="1296" y="890"/>
                  </a:lnTo>
                  <a:lnTo>
                    <a:pt x="1300" y="890"/>
                  </a:lnTo>
                  <a:lnTo>
                    <a:pt x="1300" y="894"/>
                  </a:lnTo>
                  <a:lnTo>
                    <a:pt x="1296" y="898"/>
                  </a:lnTo>
                  <a:lnTo>
                    <a:pt x="1296" y="902"/>
                  </a:lnTo>
                  <a:lnTo>
                    <a:pt x="1296" y="898"/>
                  </a:lnTo>
                  <a:lnTo>
                    <a:pt x="1300" y="898"/>
                  </a:lnTo>
                  <a:lnTo>
                    <a:pt x="1300" y="894"/>
                  </a:lnTo>
                  <a:lnTo>
                    <a:pt x="1300" y="898"/>
                  </a:lnTo>
                  <a:lnTo>
                    <a:pt x="1304" y="898"/>
                  </a:lnTo>
                  <a:lnTo>
                    <a:pt x="1308" y="894"/>
                  </a:lnTo>
                  <a:lnTo>
                    <a:pt x="1308" y="890"/>
                  </a:lnTo>
                  <a:lnTo>
                    <a:pt x="1308" y="894"/>
                  </a:lnTo>
                  <a:lnTo>
                    <a:pt x="1308" y="898"/>
                  </a:lnTo>
                  <a:lnTo>
                    <a:pt x="1312" y="894"/>
                  </a:lnTo>
                  <a:lnTo>
                    <a:pt x="1316" y="894"/>
                  </a:lnTo>
                  <a:lnTo>
                    <a:pt x="1320" y="894"/>
                  </a:lnTo>
                  <a:lnTo>
                    <a:pt x="1324" y="898"/>
                  </a:lnTo>
                  <a:lnTo>
                    <a:pt x="1324" y="902"/>
                  </a:lnTo>
                  <a:lnTo>
                    <a:pt x="1320" y="902"/>
                  </a:lnTo>
                  <a:lnTo>
                    <a:pt x="1320" y="906"/>
                  </a:lnTo>
                  <a:lnTo>
                    <a:pt x="1316" y="906"/>
                  </a:lnTo>
                  <a:lnTo>
                    <a:pt x="1320" y="906"/>
                  </a:lnTo>
                  <a:lnTo>
                    <a:pt x="1320" y="910"/>
                  </a:lnTo>
                  <a:lnTo>
                    <a:pt x="1316" y="910"/>
                  </a:lnTo>
                  <a:lnTo>
                    <a:pt x="1320" y="910"/>
                  </a:lnTo>
                  <a:lnTo>
                    <a:pt x="1316" y="910"/>
                  </a:lnTo>
                  <a:lnTo>
                    <a:pt x="1320" y="910"/>
                  </a:lnTo>
                  <a:lnTo>
                    <a:pt x="1324" y="910"/>
                  </a:lnTo>
                  <a:lnTo>
                    <a:pt x="1320" y="910"/>
                  </a:lnTo>
                  <a:lnTo>
                    <a:pt x="1316" y="914"/>
                  </a:lnTo>
                  <a:lnTo>
                    <a:pt x="1320" y="914"/>
                  </a:lnTo>
                  <a:lnTo>
                    <a:pt x="1324" y="914"/>
                  </a:lnTo>
                  <a:lnTo>
                    <a:pt x="1324" y="910"/>
                  </a:lnTo>
                  <a:lnTo>
                    <a:pt x="1328" y="910"/>
                  </a:lnTo>
                  <a:lnTo>
                    <a:pt x="1328" y="914"/>
                  </a:lnTo>
                  <a:lnTo>
                    <a:pt x="1328" y="910"/>
                  </a:lnTo>
                  <a:lnTo>
                    <a:pt x="1332" y="910"/>
                  </a:lnTo>
                  <a:lnTo>
                    <a:pt x="1332" y="914"/>
                  </a:lnTo>
                  <a:lnTo>
                    <a:pt x="1332" y="918"/>
                  </a:lnTo>
                  <a:lnTo>
                    <a:pt x="1328" y="918"/>
                  </a:lnTo>
                  <a:lnTo>
                    <a:pt x="1324" y="918"/>
                  </a:lnTo>
                  <a:lnTo>
                    <a:pt x="1320" y="922"/>
                  </a:lnTo>
                  <a:lnTo>
                    <a:pt x="1316" y="922"/>
                  </a:lnTo>
                  <a:lnTo>
                    <a:pt x="1320" y="922"/>
                  </a:lnTo>
                  <a:lnTo>
                    <a:pt x="1320" y="926"/>
                  </a:lnTo>
                  <a:lnTo>
                    <a:pt x="1316" y="926"/>
                  </a:lnTo>
                  <a:lnTo>
                    <a:pt x="1320" y="926"/>
                  </a:lnTo>
                  <a:lnTo>
                    <a:pt x="1324" y="926"/>
                  </a:lnTo>
                  <a:lnTo>
                    <a:pt x="1320" y="930"/>
                  </a:lnTo>
                  <a:lnTo>
                    <a:pt x="1320" y="934"/>
                  </a:lnTo>
                  <a:lnTo>
                    <a:pt x="1324" y="934"/>
                  </a:lnTo>
                  <a:lnTo>
                    <a:pt x="1324" y="930"/>
                  </a:lnTo>
                  <a:lnTo>
                    <a:pt x="1328" y="926"/>
                  </a:lnTo>
                  <a:lnTo>
                    <a:pt x="1328" y="922"/>
                  </a:lnTo>
                  <a:lnTo>
                    <a:pt x="1328" y="926"/>
                  </a:lnTo>
                  <a:lnTo>
                    <a:pt x="1332" y="922"/>
                  </a:lnTo>
                  <a:lnTo>
                    <a:pt x="1336" y="922"/>
                  </a:lnTo>
                  <a:lnTo>
                    <a:pt x="1332" y="922"/>
                  </a:lnTo>
                  <a:lnTo>
                    <a:pt x="1332" y="926"/>
                  </a:lnTo>
                  <a:lnTo>
                    <a:pt x="1332" y="930"/>
                  </a:lnTo>
                  <a:lnTo>
                    <a:pt x="1328" y="934"/>
                  </a:lnTo>
                  <a:lnTo>
                    <a:pt x="1328" y="938"/>
                  </a:lnTo>
                  <a:lnTo>
                    <a:pt x="1332" y="938"/>
                  </a:lnTo>
                  <a:lnTo>
                    <a:pt x="1332" y="934"/>
                  </a:lnTo>
                  <a:lnTo>
                    <a:pt x="1336" y="930"/>
                  </a:lnTo>
                  <a:lnTo>
                    <a:pt x="1336" y="934"/>
                  </a:lnTo>
                  <a:lnTo>
                    <a:pt x="1336" y="938"/>
                  </a:lnTo>
                  <a:lnTo>
                    <a:pt x="1336" y="942"/>
                  </a:lnTo>
                  <a:lnTo>
                    <a:pt x="1332" y="942"/>
                  </a:lnTo>
                  <a:lnTo>
                    <a:pt x="1332" y="946"/>
                  </a:lnTo>
                  <a:lnTo>
                    <a:pt x="1332" y="950"/>
                  </a:lnTo>
                  <a:lnTo>
                    <a:pt x="1332" y="954"/>
                  </a:lnTo>
                  <a:lnTo>
                    <a:pt x="1328" y="954"/>
                  </a:lnTo>
                  <a:lnTo>
                    <a:pt x="1324" y="954"/>
                  </a:lnTo>
                  <a:lnTo>
                    <a:pt x="1320" y="954"/>
                  </a:lnTo>
                  <a:lnTo>
                    <a:pt x="1320" y="950"/>
                  </a:lnTo>
                  <a:lnTo>
                    <a:pt x="1324" y="950"/>
                  </a:lnTo>
                  <a:lnTo>
                    <a:pt x="1320" y="946"/>
                  </a:lnTo>
                  <a:lnTo>
                    <a:pt x="1324" y="946"/>
                  </a:lnTo>
                  <a:lnTo>
                    <a:pt x="1324" y="942"/>
                  </a:lnTo>
                  <a:lnTo>
                    <a:pt x="1320" y="946"/>
                  </a:lnTo>
                  <a:lnTo>
                    <a:pt x="1316" y="950"/>
                  </a:lnTo>
                  <a:lnTo>
                    <a:pt x="1312" y="950"/>
                  </a:lnTo>
                  <a:lnTo>
                    <a:pt x="1312" y="946"/>
                  </a:lnTo>
                  <a:lnTo>
                    <a:pt x="1316" y="946"/>
                  </a:lnTo>
                  <a:lnTo>
                    <a:pt x="1316" y="942"/>
                  </a:lnTo>
                  <a:lnTo>
                    <a:pt x="1320" y="938"/>
                  </a:lnTo>
                  <a:lnTo>
                    <a:pt x="1316" y="938"/>
                  </a:lnTo>
                  <a:lnTo>
                    <a:pt x="1316" y="934"/>
                  </a:lnTo>
                  <a:lnTo>
                    <a:pt x="1320" y="934"/>
                  </a:lnTo>
                  <a:lnTo>
                    <a:pt x="1316" y="934"/>
                  </a:lnTo>
                  <a:lnTo>
                    <a:pt x="1316" y="930"/>
                  </a:lnTo>
                  <a:lnTo>
                    <a:pt x="1312" y="930"/>
                  </a:lnTo>
                  <a:lnTo>
                    <a:pt x="1312" y="934"/>
                  </a:lnTo>
                  <a:lnTo>
                    <a:pt x="1308" y="934"/>
                  </a:lnTo>
                  <a:lnTo>
                    <a:pt x="1308" y="938"/>
                  </a:lnTo>
                  <a:lnTo>
                    <a:pt x="1312" y="934"/>
                  </a:lnTo>
                  <a:lnTo>
                    <a:pt x="1308" y="934"/>
                  </a:lnTo>
                  <a:lnTo>
                    <a:pt x="1308" y="938"/>
                  </a:lnTo>
                  <a:lnTo>
                    <a:pt x="1304" y="938"/>
                  </a:lnTo>
                  <a:lnTo>
                    <a:pt x="1300" y="942"/>
                  </a:lnTo>
                  <a:lnTo>
                    <a:pt x="1300" y="946"/>
                  </a:lnTo>
                  <a:lnTo>
                    <a:pt x="1296" y="950"/>
                  </a:lnTo>
                  <a:lnTo>
                    <a:pt x="1292" y="950"/>
                  </a:lnTo>
                  <a:lnTo>
                    <a:pt x="1288" y="950"/>
                  </a:lnTo>
                  <a:lnTo>
                    <a:pt x="1288" y="946"/>
                  </a:lnTo>
                  <a:lnTo>
                    <a:pt x="1292" y="946"/>
                  </a:lnTo>
                  <a:lnTo>
                    <a:pt x="1296" y="942"/>
                  </a:lnTo>
                  <a:lnTo>
                    <a:pt x="1296" y="938"/>
                  </a:lnTo>
                  <a:lnTo>
                    <a:pt x="1300" y="938"/>
                  </a:lnTo>
                  <a:lnTo>
                    <a:pt x="1304" y="934"/>
                  </a:lnTo>
                  <a:lnTo>
                    <a:pt x="1300" y="934"/>
                  </a:lnTo>
                  <a:lnTo>
                    <a:pt x="1300" y="930"/>
                  </a:lnTo>
                  <a:lnTo>
                    <a:pt x="1304" y="930"/>
                  </a:lnTo>
                  <a:lnTo>
                    <a:pt x="1300" y="930"/>
                  </a:lnTo>
                  <a:lnTo>
                    <a:pt x="1300" y="934"/>
                  </a:lnTo>
                  <a:lnTo>
                    <a:pt x="1296" y="934"/>
                  </a:lnTo>
                  <a:lnTo>
                    <a:pt x="1296" y="930"/>
                  </a:lnTo>
                  <a:lnTo>
                    <a:pt x="1296" y="934"/>
                  </a:lnTo>
                  <a:lnTo>
                    <a:pt x="1296" y="938"/>
                  </a:lnTo>
                  <a:lnTo>
                    <a:pt x="1292" y="938"/>
                  </a:lnTo>
                  <a:lnTo>
                    <a:pt x="1288" y="938"/>
                  </a:lnTo>
                  <a:lnTo>
                    <a:pt x="1288" y="934"/>
                  </a:lnTo>
                  <a:lnTo>
                    <a:pt x="1288" y="938"/>
                  </a:lnTo>
                  <a:lnTo>
                    <a:pt x="1284" y="938"/>
                  </a:lnTo>
                  <a:lnTo>
                    <a:pt x="1284" y="934"/>
                  </a:lnTo>
                  <a:lnTo>
                    <a:pt x="1288" y="934"/>
                  </a:lnTo>
                  <a:lnTo>
                    <a:pt x="1292" y="934"/>
                  </a:lnTo>
                  <a:lnTo>
                    <a:pt x="1288" y="934"/>
                  </a:lnTo>
                  <a:lnTo>
                    <a:pt x="1288" y="930"/>
                  </a:lnTo>
                  <a:lnTo>
                    <a:pt x="1288" y="926"/>
                  </a:lnTo>
                  <a:lnTo>
                    <a:pt x="1288" y="930"/>
                  </a:lnTo>
                  <a:lnTo>
                    <a:pt x="1284" y="930"/>
                  </a:lnTo>
                  <a:lnTo>
                    <a:pt x="1284" y="934"/>
                  </a:lnTo>
                  <a:lnTo>
                    <a:pt x="1280" y="934"/>
                  </a:lnTo>
                  <a:lnTo>
                    <a:pt x="1276" y="934"/>
                  </a:lnTo>
                  <a:lnTo>
                    <a:pt x="1272" y="934"/>
                  </a:lnTo>
                  <a:close/>
                  <a:moveTo>
                    <a:pt x="203" y="874"/>
                  </a:moveTo>
                  <a:lnTo>
                    <a:pt x="203" y="870"/>
                  </a:lnTo>
                  <a:lnTo>
                    <a:pt x="203" y="866"/>
                  </a:lnTo>
                  <a:lnTo>
                    <a:pt x="199" y="866"/>
                  </a:lnTo>
                  <a:lnTo>
                    <a:pt x="203" y="866"/>
                  </a:lnTo>
                  <a:lnTo>
                    <a:pt x="203" y="870"/>
                  </a:lnTo>
                  <a:lnTo>
                    <a:pt x="195" y="870"/>
                  </a:lnTo>
                  <a:lnTo>
                    <a:pt x="191" y="870"/>
                  </a:lnTo>
                  <a:lnTo>
                    <a:pt x="191" y="866"/>
                  </a:lnTo>
                  <a:lnTo>
                    <a:pt x="191" y="862"/>
                  </a:lnTo>
                  <a:lnTo>
                    <a:pt x="195" y="862"/>
                  </a:lnTo>
                  <a:lnTo>
                    <a:pt x="199" y="862"/>
                  </a:lnTo>
                  <a:lnTo>
                    <a:pt x="203" y="862"/>
                  </a:lnTo>
                  <a:lnTo>
                    <a:pt x="203" y="866"/>
                  </a:lnTo>
                  <a:lnTo>
                    <a:pt x="207" y="866"/>
                  </a:lnTo>
                  <a:lnTo>
                    <a:pt x="211" y="866"/>
                  </a:lnTo>
                  <a:lnTo>
                    <a:pt x="215" y="870"/>
                  </a:lnTo>
                  <a:lnTo>
                    <a:pt x="219" y="870"/>
                  </a:lnTo>
                  <a:lnTo>
                    <a:pt x="223" y="870"/>
                  </a:lnTo>
                  <a:lnTo>
                    <a:pt x="227" y="870"/>
                  </a:lnTo>
                  <a:lnTo>
                    <a:pt x="227" y="874"/>
                  </a:lnTo>
                  <a:lnTo>
                    <a:pt x="231" y="874"/>
                  </a:lnTo>
                  <a:lnTo>
                    <a:pt x="235" y="874"/>
                  </a:lnTo>
                  <a:lnTo>
                    <a:pt x="235" y="878"/>
                  </a:lnTo>
                  <a:lnTo>
                    <a:pt x="239" y="878"/>
                  </a:lnTo>
                  <a:lnTo>
                    <a:pt x="239" y="882"/>
                  </a:lnTo>
                  <a:lnTo>
                    <a:pt x="243" y="886"/>
                  </a:lnTo>
                  <a:lnTo>
                    <a:pt x="243" y="890"/>
                  </a:lnTo>
                  <a:lnTo>
                    <a:pt x="243" y="894"/>
                  </a:lnTo>
                  <a:lnTo>
                    <a:pt x="247" y="894"/>
                  </a:lnTo>
                  <a:lnTo>
                    <a:pt x="251" y="898"/>
                  </a:lnTo>
                  <a:lnTo>
                    <a:pt x="255" y="898"/>
                  </a:lnTo>
                  <a:lnTo>
                    <a:pt x="259" y="898"/>
                  </a:lnTo>
                  <a:lnTo>
                    <a:pt x="259" y="902"/>
                  </a:lnTo>
                  <a:lnTo>
                    <a:pt x="263" y="906"/>
                  </a:lnTo>
                  <a:lnTo>
                    <a:pt x="263" y="910"/>
                  </a:lnTo>
                  <a:lnTo>
                    <a:pt x="263" y="914"/>
                  </a:lnTo>
                  <a:lnTo>
                    <a:pt x="263" y="910"/>
                  </a:lnTo>
                  <a:lnTo>
                    <a:pt x="267" y="910"/>
                  </a:lnTo>
                  <a:lnTo>
                    <a:pt x="267" y="914"/>
                  </a:lnTo>
                  <a:lnTo>
                    <a:pt x="267" y="918"/>
                  </a:lnTo>
                  <a:lnTo>
                    <a:pt x="267" y="914"/>
                  </a:lnTo>
                  <a:lnTo>
                    <a:pt x="263" y="918"/>
                  </a:lnTo>
                  <a:lnTo>
                    <a:pt x="259" y="918"/>
                  </a:lnTo>
                  <a:lnTo>
                    <a:pt x="251" y="914"/>
                  </a:lnTo>
                  <a:lnTo>
                    <a:pt x="247" y="914"/>
                  </a:lnTo>
                  <a:lnTo>
                    <a:pt x="247" y="910"/>
                  </a:lnTo>
                  <a:lnTo>
                    <a:pt x="243" y="910"/>
                  </a:lnTo>
                  <a:lnTo>
                    <a:pt x="239" y="910"/>
                  </a:lnTo>
                  <a:lnTo>
                    <a:pt x="239" y="906"/>
                  </a:lnTo>
                  <a:lnTo>
                    <a:pt x="243" y="906"/>
                  </a:lnTo>
                  <a:lnTo>
                    <a:pt x="243" y="902"/>
                  </a:lnTo>
                  <a:lnTo>
                    <a:pt x="243" y="898"/>
                  </a:lnTo>
                  <a:lnTo>
                    <a:pt x="243" y="902"/>
                  </a:lnTo>
                  <a:lnTo>
                    <a:pt x="239" y="902"/>
                  </a:lnTo>
                  <a:lnTo>
                    <a:pt x="239" y="906"/>
                  </a:lnTo>
                  <a:lnTo>
                    <a:pt x="235" y="902"/>
                  </a:lnTo>
                  <a:lnTo>
                    <a:pt x="235" y="906"/>
                  </a:lnTo>
                  <a:lnTo>
                    <a:pt x="231" y="902"/>
                  </a:lnTo>
                  <a:lnTo>
                    <a:pt x="231" y="898"/>
                  </a:lnTo>
                  <a:lnTo>
                    <a:pt x="227" y="898"/>
                  </a:lnTo>
                  <a:lnTo>
                    <a:pt x="227" y="894"/>
                  </a:lnTo>
                  <a:lnTo>
                    <a:pt x="223" y="894"/>
                  </a:lnTo>
                  <a:lnTo>
                    <a:pt x="219" y="894"/>
                  </a:lnTo>
                  <a:lnTo>
                    <a:pt x="219" y="890"/>
                  </a:lnTo>
                  <a:lnTo>
                    <a:pt x="223" y="890"/>
                  </a:lnTo>
                  <a:lnTo>
                    <a:pt x="227" y="890"/>
                  </a:lnTo>
                  <a:lnTo>
                    <a:pt x="223" y="890"/>
                  </a:lnTo>
                  <a:lnTo>
                    <a:pt x="219" y="890"/>
                  </a:lnTo>
                  <a:lnTo>
                    <a:pt x="219" y="886"/>
                  </a:lnTo>
                  <a:lnTo>
                    <a:pt x="215" y="886"/>
                  </a:lnTo>
                  <a:lnTo>
                    <a:pt x="215" y="882"/>
                  </a:lnTo>
                  <a:lnTo>
                    <a:pt x="211" y="882"/>
                  </a:lnTo>
                  <a:lnTo>
                    <a:pt x="211" y="886"/>
                  </a:lnTo>
                  <a:lnTo>
                    <a:pt x="207" y="882"/>
                  </a:lnTo>
                  <a:lnTo>
                    <a:pt x="207" y="878"/>
                  </a:lnTo>
                  <a:lnTo>
                    <a:pt x="211" y="878"/>
                  </a:lnTo>
                  <a:lnTo>
                    <a:pt x="207" y="878"/>
                  </a:lnTo>
                  <a:lnTo>
                    <a:pt x="207" y="882"/>
                  </a:lnTo>
                  <a:lnTo>
                    <a:pt x="203" y="878"/>
                  </a:lnTo>
                  <a:lnTo>
                    <a:pt x="199" y="878"/>
                  </a:lnTo>
                  <a:lnTo>
                    <a:pt x="199" y="874"/>
                  </a:lnTo>
                  <a:lnTo>
                    <a:pt x="195" y="874"/>
                  </a:lnTo>
                  <a:lnTo>
                    <a:pt x="199" y="870"/>
                  </a:lnTo>
                  <a:lnTo>
                    <a:pt x="203" y="870"/>
                  </a:lnTo>
                  <a:lnTo>
                    <a:pt x="203" y="874"/>
                  </a:lnTo>
                  <a:close/>
                  <a:moveTo>
                    <a:pt x="223" y="862"/>
                  </a:moveTo>
                  <a:lnTo>
                    <a:pt x="223" y="866"/>
                  </a:lnTo>
                  <a:lnTo>
                    <a:pt x="219" y="866"/>
                  </a:lnTo>
                  <a:lnTo>
                    <a:pt x="219" y="862"/>
                  </a:lnTo>
                  <a:lnTo>
                    <a:pt x="223" y="862"/>
                  </a:lnTo>
                  <a:close/>
                  <a:moveTo>
                    <a:pt x="235" y="874"/>
                  </a:moveTo>
                  <a:lnTo>
                    <a:pt x="239" y="874"/>
                  </a:lnTo>
                  <a:lnTo>
                    <a:pt x="239" y="878"/>
                  </a:lnTo>
                  <a:lnTo>
                    <a:pt x="239" y="882"/>
                  </a:lnTo>
                  <a:lnTo>
                    <a:pt x="239" y="878"/>
                  </a:lnTo>
                  <a:lnTo>
                    <a:pt x="235" y="878"/>
                  </a:lnTo>
                  <a:lnTo>
                    <a:pt x="235" y="874"/>
                  </a:lnTo>
                  <a:close/>
                  <a:moveTo>
                    <a:pt x="1172" y="886"/>
                  </a:moveTo>
                  <a:lnTo>
                    <a:pt x="1176" y="886"/>
                  </a:lnTo>
                  <a:lnTo>
                    <a:pt x="1180" y="886"/>
                  </a:lnTo>
                  <a:lnTo>
                    <a:pt x="1184" y="890"/>
                  </a:lnTo>
                  <a:lnTo>
                    <a:pt x="1188" y="890"/>
                  </a:lnTo>
                  <a:lnTo>
                    <a:pt x="1188" y="894"/>
                  </a:lnTo>
                  <a:lnTo>
                    <a:pt x="1192" y="894"/>
                  </a:lnTo>
                  <a:lnTo>
                    <a:pt x="1196" y="894"/>
                  </a:lnTo>
                  <a:lnTo>
                    <a:pt x="1196" y="898"/>
                  </a:lnTo>
                  <a:lnTo>
                    <a:pt x="1200" y="898"/>
                  </a:lnTo>
                  <a:lnTo>
                    <a:pt x="1200" y="902"/>
                  </a:lnTo>
                  <a:lnTo>
                    <a:pt x="1196" y="902"/>
                  </a:lnTo>
                  <a:lnTo>
                    <a:pt x="1192" y="902"/>
                  </a:lnTo>
                  <a:lnTo>
                    <a:pt x="1188" y="902"/>
                  </a:lnTo>
                  <a:lnTo>
                    <a:pt x="1184" y="898"/>
                  </a:lnTo>
                  <a:lnTo>
                    <a:pt x="1180" y="898"/>
                  </a:lnTo>
                  <a:lnTo>
                    <a:pt x="1176" y="898"/>
                  </a:lnTo>
                  <a:lnTo>
                    <a:pt x="1172" y="894"/>
                  </a:lnTo>
                  <a:lnTo>
                    <a:pt x="1168" y="890"/>
                  </a:lnTo>
                  <a:lnTo>
                    <a:pt x="1164" y="890"/>
                  </a:lnTo>
                  <a:lnTo>
                    <a:pt x="1164" y="886"/>
                  </a:lnTo>
                  <a:lnTo>
                    <a:pt x="1160" y="886"/>
                  </a:lnTo>
                  <a:lnTo>
                    <a:pt x="1156" y="882"/>
                  </a:lnTo>
                  <a:lnTo>
                    <a:pt x="1160" y="882"/>
                  </a:lnTo>
                  <a:lnTo>
                    <a:pt x="1164" y="882"/>
                  </a:lnTo>
                  <a:lnTo>
                    <a:pt x="1172" y="886"/>
                  </a:lnTo>
                  <a:close/>
                  <a:moveTo>
                    <a:pt x="215" y="882"/>
                  </a:moveTo>
                  <a:lnTo>
                    <a:pt x="215" y="886"/>
                  </a:lnTo>
                  <a:lnTo>
                    <a:pt x="219" y="890"/>
                  </a:lnTo>
                  <a:lnTo>
                    <a:pt x="215" y="890"/>
                  </a:lnTo>
                  <a:lnTo>
                    <a:pt x="211" y="886"/>
                  </a:lnTo>
                  <a:lnTo>
                    <a:pt x="215" y="882"/>
                  </a:lnTo>
                  <a:close/>
                  <a:moveTo>
                    <a:pt x="255" y="894"/>
                  </a:moveTo>
                  <a:lnTo>
                    <a:pt x="251" y="890"/>
                  </a:lnTo>
                  <a:lnTo>
                    <a:pt x="247" y="886"/>
                  </a:lnTo>
                  <a:lnTo>
                    <a:pt x="251" y="886"/>
                  </a:lnTo>
                  <a:lnTo>
                    <a:pt x="255" y="890"/>
                  </a:lnTo>
                  <a:lnTo>
                    <a:pt x="255" y="894"/>
                  </a:lnTo>
                  <a:close/>
                  <a:moveTo>
                    <a:pt x="223" y="894"/>
                  </a:moveTo>
                  <a:lnTo>
                    <a:pt x="227" y="894"/>
                  </a:lnTo>
                  <a:lnTo>
                    <a:pt x="227" y="898"/>
                  </a:lnTo>
                  <a:lnTo>
                    <a:pt x="223" y="898"/>
                  </a:lnTo>
                  <a:lnTo>
                    <a:pt x="223" y="894"/>
                  </a:lnTo>
                  <a:close/>
                  <a:moveTo>
                    <a:pt x="263" y="902"/>
                  </a:moveTo>
                  <a:lnTo>
                    <a:pt x="263" y="906"/>
                  </a:lnTo>
                  <a:lnTo>
                    <a:pt x="267" y="906"/>
                  </a:lnTo>
                  <a:lnTo>
                    <a:pt x="263" y="906"/>
                  </a:lnTo>
                  <a:lnTo>
                    <a:pt x="263" y="902"/>
                  </a:lnTo>
                  <a:close/>
                  <a:moveTo>
                    <a:pt x="263" y="906"/>
                  </a:moveTo>
                  <a:lnTo>
                    <a:pt x="267" y="906"/>
                  </a:lnTo>
                  <a:lnTo>
                    <a:pt x="267" y="910"/>
                  </a:lnTo>
                  <a:lnTo>
                    <a:pt x="263" y="910"/>
                  </a:lnTo>
                  <a:lnTo>
                    <a:pt x="263" y="906"/>
                  </a:lnTo>
                  <a:close/>
                  <a:moveTo>
                    <a:pt x="1156" y="926"/>
                  </a:moveTo>
                  <a:lnTo>
                    <a:pt x="1156" y="930"/>
                  </a:lnTo>
                  <a:lnTo>
                    <a:pt x="1152" y="930"/>
                  </a:lnTo>
                  <a:lnTo>
                    <a:pt x="1156" y="930"/>
                  </a:lnTo>
                  <a:lnTo>
                    <a:pt x="1156" y="926"/>
                  </a:lnTo>
                  <a:close/>
                  <a:moveTo>
                    <a:pt x="1204" y="934"/>
                  </a:moveTo>
                  <a:lnTo>
                    <a:pt x="1200" y="934"/>
                  </a:lnTo>
                  <a:lnTo>
                    <a:pt x="1204" y="934"/>
                  </a:lnTo>
                  <a:lnTo>
                    <a:pt x="1200" y="934"/>
                  </a:lnTo>
                  <a:lnTo>
                    <a:pt x="1196" y="938"/>
                  </a:lnTo>
                  <a:lnTo>
                    <a:pt x="1200" y="938"/>
                  </a:lnTo>
                  <a:lnTo>
                    <a:pt x="1200" y="934"/>
                  </a:lnTo>
                  <a:lnTo>
                    <a:pt x="1200" y="938"/>
                  </a:lnTo>
                  <a:lnTo>
                    <a:pt x="1196" y="938"/>
                  </a:lnTo>
                  <a:lnTo>
                    <a:pt x="1196" y="942"/>
                  </a:lnTo>
                  <a:lnTo>
                    <a:pt x="1200" y="942"/>
                  </a:lnTo>
                  <a:lnTo>
                    <a:pt x="1196" y="942"/>
                  </a:lnTo>
                  <a:lnTo>
                    <a:pt x="1196" y="938"/>
                  </a:lnTo>
                  <a:lnTo>
                    <a:pt x="1200" y="934"/>
                  </a:lnTo>
                  <a:lnTo>
                    <a:pt x="1204" y="934"/>
                  </a:lnTo>
                  <a:close/>
                  <a:moveTo>
                    <a:pt x="1192" y="962"/>
                  </a:moveTo>
                  <a:lnTo>
                    <a:pt x="1188" y="962"/>
                  </a:lnTo>
                  <a:lnTo>
                    <a:pt x="1188" y="966"/>
                  </a:lnTo>
                  <a:lnTo>
                    <a:pt x="1184" y="966"/>
                  </a:lnTo>
                  <a:lnTo>
                    <a:pt x="1188" y="966"/>
                  </a:lnTo>
                  <a:lnTo>
                    <a:pt x="1188" y="970"/>
                  </a:lnTo>
                  <a:lnTo>
                    <a:pt x="1184" y="970"/>
                  </a:lnTo>
                  <a:lnTo>
                    <a:pt x="1180" y="970"/>
                  </a:lnTo>
                  <a:lnTo>
                    <a:pt x="1180" y="966"/>
                  </a:lnTo>
                  <a:lnTo>
                    <a:pt x="1176" y="966"/>
                  </a:lnTo>
                  <a:lnTo>
                    <a:pt x="1180" y="962"/>
                  </a:lnTo>
                  <a:lnTo>
                    <a:pt x="1176" y="966"/>
                  </a:lnTo>
                  <a:lnTo>
                    <a:pt x="1172" y="966"/>
                  </a:lnTo>
                  <a:lnTo>
                    <a:pt x="1168" y="962"/>
                  </a:lnTo>
                  <a:lnTo>
                    <a:pt x="1164" y="962"/>
                  </a:lnTo>
                  <a:lnTo>
                    <a:pt x="1164" y="958"/>
                  </a:lnTo>
                  <a:lnTo>
                    <a:pt x="1164" y="954"/>
                  </a:lnTo>
                  <a:lnTo>
                    <a:pt x="1160" y="954"/>
                  </a:lnTo>
                  <a:lnTo>
                    <a:pt x="1160" y="950"/>
                  </a:lnTo>
                  <a:lnTo>
                    <a:pt x="1164" y="946"/>
                  </a:lnTo>
                  <a:lnTo>
                    <a:pt x="1164" y="950"/>
                  </a:lnTo>
                  <a:lnTo>
                    <a:pt x="1164" y="954"/>
                  </a:lnTo>
                  <a:lnTo>
                    <a:pt x="1168" y="954"/>
                  </a:lnTo>
                  <a:lnTo>
                    <a:pt x="1168" y="958"/>
                  </a:lnTo>
                  <a:lnTo>
                    <a:pt x="1172" y="958"/>
                  </a:lnTo>
                  <a:lnTo>
                    <a:pt x="1176" y="958"/>
                  </a:lnTo>
                  <a:lnTo>
                    <a:pt x="1180" y="958"/>
                  </a:lnTo>
                  <a:lnTo>
                    <a:pt x="1184" y="958"/>
                  </a:lnTo>
                  <a:lnTo>
                    <a:pt x="1188" y="958"/>
                  </a:lnTo>
                  <a:lnTo>
                    <a:pt x="1192" y="958"/>
                  </a:lnTo>
                  <a:lnTo>
                    <a:pt x="1196" y="958"/>
                  </a:lnTo>
                  <a:lnTo>
                    <a:pt x="1192" y="962"/>
                  </a:lnTo>
                  <a:close/>
                  <a:moveTo>
                    <a:pt x="1216" y="978"/>
                  </a:moveTo>
                  <a:lnTo>
                    <a:pt x="1212" y="978"/>
                  </a:lnTo>
                  <a:lnTo>
                    <a:pt x="1208" y="978"/>
                  </a:lnTo>
                  <a:lnTo>
                    <a:pt x="1204" y="978"/>
                  </a:lnTo>
                  <a:lnTo>
                    <a:pt x="1204" y="974"/>
                  </a:lnTo>
                  <a:lnTo>
                    <a:pt x="1204" y="970"/>
                  </a:lnTo>
                  <a:lnTo>
                    <a:pt x="1204" y="966"/>
                  </a:lnTo>
                  <a:lnTo>
                    <a:pt x="1204" y="962"/>
                  </a:lnTo>
                  <a:lnTo>
                    <a:pt x="1208" y="958"/>
                  </a:lnTo>
                  <a:lnTo>
                    <a:pt x="1212" y="954"/>
                  </a:lnTo>
                  <a:lnTo>
                    <a:pt x="1212" y="950"/>
                  </a:lnTo>
                  <a:lnTo>
                    <a:pt x="1216" y="950"/>
                  </a:lnTo>
                  <a:lnTo>
                    <a:pt x="1216" y="946"/>
                  </a:lnTo>
                  <a:lnTo>
                    <a:pt x="1220" y="946"/>
                  </a:lnTo>
                  <a:lnTo>
                    <a:pt x="1216" y="950"/>
                  </a:lnTo>
                  <a:lnTo>
                    <a:pt x="1220" y="950"/>
                  </a:lnTo>
                  <a:lnTo>
                    <a:pt x="1220" y="954"/>
                  </a:lnTo>
                  <a:lnTo>
                    <a:pt x="1216" y="962"/>
                  </a:lnTo>
                  <a:lnTo>
                    <a:pt x="1216" y="966"/>
                  </a:lnTo>
                  <a:lnTo>
                    <a:pt x="1216" y="962"/>
                  </a:lnTo>
                  <a:lnTo>
                    <a:pt x="1220" y="962"/>
                  </a:lnTo>
                  <a:lnTo>
                    <a:pt x="1216" y="966"/>
                  </a:lnTo>
                  <a:lnTo>
                    <a:pt x="1212" y="966"/>
                  </a:lnTo>
                  <a:lnTo>
                    <a:pt x="1212" y="970"/>
                  </a:lnTo>
                  <a:lnTo>
                    <a:pt x="1208" y="970"/>
                  </a:lnTo>
                  <a:lnTo>
                    <a:pt x="1212" y="970"/>
                  </a:lnTo>
                  <a:lnTo>
                    <a:pt x="1212" y="966"/>
                  </a:lnTo>
                  <a:lnTo>
                    <a:pt x="1216" y="966"/>
                  </a:lnTo>
                  <a:lnTo>
                    <a:pt x="1212" y="970"/>
                  </a:lnTo>
                  <a:lnTo>
                    <a:pt x="1208" y="970"/>
                  </a:lnTo>
                  <a:lnTo>
                    <a:pt x="1212" y="970"/>
                  </a:lnTo>
                  <a:lnTo>
                    <a:pt x="1212" y="974"/>
                  </a:lnTo>
                  <a:lnTo>
                    <a:pt x="1208" y="974"/>
                  </a:lnTo>
                  <a:lnTo>
                    <a:pt x="1212" y="974"/>
                  </a:lnTo>
                  <a:lnTo>
                    <a:pt x="1216" y="974"/>
                  </a:lnTo>
                  <a:lnTo>
                    <a:pt x="1216" y="970"/>
                  </a:lnTo>
                  <a:lnTo>
                    <a:pt x="1220" y="970"/>
                  </a:lnTo>
                  <a:lnTo>
                    <a:pt x="1216" y="970"/>
                  </a:lnTo>
                  <a:lnTo>
                    <a:pt x="1212" y="970"/>
                  </a:lnTo>
                  <a:lnTo>
                    <a:pt x="1216" y="970"/>
                  </a:lnTo>
                  <a:lnTo>
                    <a:pt x="1216" y="966"/>
                  </a:lnTo>
                  <a:lnTo>
                    <a:pt x="1220" y="966"/>
                  </a:lnTo>
                  <a:lnTo>
                    <a:pt x="1220" y="962"/>
                  </a:lnTo>
                  <a:lnTo>
                    <a:pt x="1220" y="966"/>
                  </a:lnTo>
                  <a:lnTo>
                    <a:pt x="1216" y="966"/>
                  </a:lnTo>
                  <a:lnTo>
                    <a:pt x="1220" y="962"/>
                  </a:lnTo>
                  <a:lnTo>
                    <a:pt x="1224" y="962"/>
                  </a:lnTo>
                  <a:lnTo>
                    <a:pt x="1224" y="966"/>
                  </a:lnTo>
                  <a:lnTo>
                    <a:pt x="1228" y="966"/>
                  </a:lnTo>
                  <a:lnTo>
                    <a:pt x="1228" y="970"/>
                  </a:lnTo>
                  <a:lnTo>
                    <a:pt x="1224" y="970"/>
                  </a:lnTo>
                  <a:lnTo>
                    <a:pt x="1224" y="974"/>
                  </a:lnTo>
                  <a:lnTo>
                    <a:pt x="1220" y="974"/>
                  </a:lnTo>
                  <a:lnTo>
                    <a:pt x="1220" y="978"/>
                  </a:lnTo>
                  <a:lnTo>
                    <a:pt x="1216" y="978"/>
                  </a:lnTo>
                  <a:close/>
                  <a:moveTo>
                    <a:pt x="1061" y="946"/>
                  </a:moveTo>
                  <a:lnTo>
                    <a:pt x="1061" y="950"/>
                  </a:lnTo>
                  <a:lnTo>
                    <a:pt x="1057" y="950"/>
                  </a:lnTo>
                  <a:lnTo>
                    <a:pt x="1061" y="946"/>
                  </a:lnTo>
                  <a:close/>
                  <a:moveTo>
                    <a:pt x="1212" y="978"/>
                  </a:moveTo>
                  <a:lnTo>
                    <a:pt x="1212" y="982"/>
                  </a:lnTo>
                  <a:lnTo>
                    <a:pt x="1208" y="982"/>
                  </a:lnTo>
                  <a:lnTo>
                    <a:pt x="1208" y="978"/>
                  </a:lnTo>
                  <a:lnTo>
                    <a:pt x="1212" y="978"/>
                  </a:lnTo>
                  <a:close/>
                  <a:moveTo>
                    <a:pt x="1125" y="994"/>
                  </a:moveTo>
                  <a:lnTo>
                    <a:pt x="1125" y="998"/>
                  </a:lnTo>
                  <a:lnTo>
                    <a:pt x="1121" y="998"/>
                  </a:lnTo>
                  <a:lnTo>
                    <a:pt x="1121" y="994"/>
                  </a:lnTo>
                  <a:lnTo>
                    <a:pt x="1125" y="994"/>
                  </a:lnTo>
                  <a:close/>
                  <a:moveTo>
                    <a:pt x="877" y="84"/>
                  </a:moveTo>
                  <a:lnTo>
                    <a:pt x="873" y="84"/>
                  </a:lnTo>
                  <a:lnTo>
                    <a:pt x="873" y="80"/>
                  </a:lnTo>
                  <a:lnTo>
                    <a:pt x="877" y="80"/>
                  </a:lnTo>
                  <a:lnTo>
                    <a:pt x="881" y="80"/>
                  </a:lnTo>
                  <a:lnTo>
                    <a:pt x="885" y="80"/>
                  </a:lnTo>
                  <a:lnTo>
                    <a:pt x="885" y="76"/>
                  </a:lnTo>
                  <a:lnTo>
                    <a:pt x="889" y="76"/>
                  </a:lnTo>
                  <a:lnTo>
                    <a:pt x="893" y="76"/>
                  </a:lnTo>
                  <a:lnTo>
                    <a:pt x="897" y="76"/>
                  </a:lnTo>
                  <a:lnTo>
                    <a:pt x="893" y="72"/>
                  </a:lnTo>
                  <a:lnTo>
                    <a:pt x="893" y="76"/>
                  </a:lnTo>
                  <a:lnTo>
                    <a:pt x="889" y="76"/>
                  </a:lnTo>
                  <a:lnTo>
                    <a:pt x="885" y="76"/>
                  </a:lnTo>
                  <a:lnTo>
                    <a:pt x="877" y="76"/>
                  </a:lnTo>
                  <a:lnTo>
                    <a:pt x="873" y="80"/>
                  </a:lnTo>
                  <a:lnTo>
                    <a:pt x="869" y="80"/>
                  </a:lnTo>
                  <a:lnTo>
                    <a:pt x="869" y="76"/>
                  </a:lnTo>
                  <a:lnTo>
                    <a:pt x="873" y="76"/>
                  </a:lnTo>
                  <a:lnTo>
                    <a:pt x="877" y="76"/>
                  </a:lnTo>
                  <a:lnTo>
                    <a:pt x="873" y="72"/>
                  </a:lnTo>
                  <a:lnTo>
                    <a:pt x="873" y="76"/>
                  </a:lnTo>
                  <a:lnTo>
                    <a:pt x="869" y="76"/>
                  </a:lnTo>
                  <a:lnTo>
                    <a:pt x="865" y="76"/>
                  </a:lnTo>
                  <a:lnTo>
                    <a:pt x="865" y="80"/>
                  </a:lnTo>
                  <a:lnTo>
                    <a:pt x="865" y="84"/>
                  </a:lnTo>
                  <a:lnTo>
                    <a:pt x="861" y="84"/>
                  </a:lnTo>
                  <a:lnTo>
                    <a:pt x="857" y="84"/>
                  </a:lnTo>
                  <a:lnTo>
                    <a:pt x="853" y="84"/>
                  </a:lnTo>
                  <a:lnTo>
                    <a:pt x="849" y="84"/>
                  </a:lnTo>
                  <a:lnTo>
                    <a:pt x="845" y="84"/>
                  </a:lnTo>
                  <a:lnTo>
                    <a:pt x="841" y="84"/>
                  </a:lnTo>
                  <a:lnTo>
                    <a:pt x="837" y="84"/>
                  </a:lnTo>
                  <a:lnTo>
                    <a:pt x="833" y="84"/>
                  </a:lnTo>
                  <a:lnTo>
                    <a:pt x="837" y="80"/>
                  </a:lnTo>
                  <a:lnTo>
                    <a:pt x="833" y="80"/>
                  </a:lnTo>
                  <a:lnTo>
                    <a:pt x="833" y="84"/>
                  </a:lnTo>
                  <a:lnTo>
                    <a:pt x="829" y="84"/>
                  </a:lnTo>
                  <a:lnTo>
                    <a:pt x="825" y="84"/>
                  </a:lnTo>
                  <a:lnTo>
                    <a:pt x="821" y="80"/>
                  </a:lnTo>
                  <a:lnTo>
                    <a:pt x="825" y="76"/>
                  </a:lnTo>
                  <a:lnTo>
                    <a:pt x="829" y="76"/>
                  </a:lnTo>
                  <a:lnTo>
                    <a:pt x="829" y="72"/>
                  </a:lnTo>
                  <a:lnTo>
                    <a:pt x="833" y="72"/>
                  </a:lnTo>
                  <a:lnTo>
                    <a:pt x="837" y="72"/>
                  </a:lnTo>
                  <a:lnTo>
                    <a:pt x="837" y="68"/>
                  </a:lnTo>
                  <a:lnTo>
                    <a:pt x="845" y="68"/>
                  </a:lnTo>
                  <a:lnTo>
                    <a:pt x="849" y="68"/>
                  </a:lnTo>
                  <a:lnTo>
                    <a:pt x="857" y="68"/>
                  </a:lnTo>
                  <a:lnTo>
                    <a:pt x="861" y="68"/>
                  </a:lnTo>
                  <a:lnTo>
                    <a:pt x="865" y="68"/>
                  </a:lnTo>
                  <a:lnTo>
                    <a:pt x="869" y="64"/>
                  </a:lnTo>
                  <a:lnTo>
                    <a:pt x="873" y="64"/>
                  </a:lnTo>
                  <a:lnTo>
                    <a:pt x="877" y="64"/>
                  </a:lnTo>
                  <a:lnTo>
                    <a:pt x="881" y="64"/>
                  </a:lnTo>
                  <a:lnTo>
                    <a:pt x="885" y="64"/>
                  </a:lnTo>
                  <a:lnTo>
                    <a:pt x="881" y="64"/>
                  </a:lnTo>
                  <a:lnTo>
                    <a:pt x="877" y="64"/>
                  </a:lnTo>
                  <a:lnTo>
                    <a:pt x="873" y="64"/>
                  </a:lnTo>
                  <a:lnTo>
                    <a:pt x="869" y="64"/>
                  </a:lnTo>
                  <a:lnTo>
                    <a:pt x="865" y="64"/>
                  </a:lnTo>
                  <a:lnTo>
                    <a:pt x="861" y="64"/>
                  </a:lnTo>
                  <a:lnTo>
                    <a:pt x="857" y="64"/>
                  </a:lnTo>
                  <a:lnTo>
                    <a:pt x="853" y="64"/>
                  </a:lnTo>
                  <a:lnTo>
                    <a:pt x="849" y="68"/>
                  </a:lnTo>
                  <a:lnTo>
                    <a:pt x="845" y="68"/>
                  </a:lnTo>
                  <a:lnTo>
                    <a:pt x="841" y="68"/>
                  </a:lnTo>
                  <a:lnTo>
                    <a:pt x="837" y="68"/>
                  </a:lnTo>
                  <a:lnTo>
                    <a:pt x="833" y="68"/>
                  </a:lnTo>
                  <a:lnTo>
                    <a:pt x="829" y="68"/>
                  </a:lnTo>
                  <a:lnTo>
                    <a:pt x="825" y="72"/>
                  </a:lnTo>
                  <a:lnTo>
                    <a:pt x="817" y="76"/>
                  </a:lnTo>
                  <a:lnTo>
                    <a:pt x="813" y="80"/>
                  </a:lnTo>
                  <a:lnTo>
                    <a:pt x="809" y="80"/>
                  </a:lnTo>
                  <a:lnTo>
                    <a:pt x="805" y="80"/>
                  </a:lnTo>
                  <a:lnTo>
                    <a:pt x="801" y="80"/>
                  </a:lnTo>
                  <a:lnTo>
                    <a:pt x="797" y="80"/>
                  </a:lnTo>
                  <a:lnTo>
                    <a:pt x="797" y="76"/>
                  </a:lnTo>
                  <a:lnTo>
                    <a:pt x="794" y="76"/>
                  </a:lnTo>
                  <a:lnTo>
                    <a:pt x="790" y="76"/>
                  </a:lnTo>
                  <a:lnTo>
                    <a:pt x="786" y="76"/>
                  </a:lnTo>
                  <a:lnTo>
                    <a:pt x="782" y="72"/>
                  </a:lnTo>
                  <a:lnTo>
                    <a:pt x="786" y="72"/>
                  </a:lnTo>
                  <a:lnTo>
                    <a:pt x="790" y="68"/>
                  </a:lnTo>
                  <a:lnTo>
                    <a:pt x="794" y="68"/>
                  </a:lnTo>
                  <a:lnTo>
                    <a:pt x="797" y="68"/>
                  </a:lnTo>
                  <a:lnTo>
                    <a:pt x="801" y="68"/>
                  </a:lnTo>
                  <a:lnTo>
                    <a:pt x="805" y="68"/>
                  </a:lnTo>
                  <a:lnTo>
                    <a:pt x="809" y="68"/>
                  </a:lnTo>
                  <a:lnTo>
                    <a:pt x="813" y="68"/>
                  </a:lnTo>
                  <a:lnTo>
                    <a:pt x="817" y="68"/>
                  </a:lnTo>
                  <a:lnTo>
                    <a:pt x="821" y="68"/>
                  </a:lnTo>
                  <a:lnTo>
                    <a:pt x="825" y="68"/>
                  </a:lnTo>
                  <a:lnTo>
                    <a:pt x="829" y="68"/>
                  </a:lnTo>
                  <a:lnTo>
                    <a:pt x="833" y="64"/>
                  </a:lnTo>
                  <a:lnTo>
                    <a:pt x="837" y="64"/>
                  </a:lnTo>
                  <a:lnTo>
                    <a:pt x="841" y="64"/>
                  </a:lnTo>
                  <a:lnTo>
                    <a:pt x="841" y="60"/>
                  </a:lnTo>
                  <a:lnTo>
                    <a:pt x="845" y="60"/>
                  </a:lnTo>
                  <a:lnTo>
                    <a:pt x="849" y="60"/>
                  </a:lnTo>
                  <a:lnTo>
                    <a:pt x="845" y="60"/>
                  </a:lnTo>
                  <a:lnTo>
                    <a:pt x="841" y="60"/>
                  </a:lnTo>
                  <a:lnTo>
                    <a:pt x="837" y="60"/>
                  </a:lnTo>
                  <a:lnTo>
                    <a:pt x="833" y="60"/>
                  </a:lnTo>
                  <a:lnTo>
                    <a:pt x="829" y="64"/>
                  </a:lnTo>
                  <a:lnTo>
                    <a:pt x="825" y="64"/>
                  </a:lnTo>
                  <a:lnTo>
                    <a:pt x="821" y="64"/>
                  </a:lnTo>
                  <a:lnTo>
                    <a:pt x="817" y="64"/>
                  </a:lnTo>
                  <a:lnTo>
                    <a:pt x="813" y="64"/>
                  </a:lnTo>
                  <a:lnTo>
                    <a:pt x="813" y="68"/>
                  </a:lnTo>
                  <a:lnTo>
                    <a:pt x="805" y="68"/>
                  </a:lnTo>
                  <a:lnTo>
                    <a:pt x="801" y="68"/>
                  </a:lnTo>
                  <a:lnTo>
                    <a:pt x="797" y="68"/>
                  </a:lnTo>
                  <a:lnTo>
                    <a:pt x="794" y="68"/>
                  </a:lnTo>
                  <a:lnTo>
                    <a:pt x="790" y="68"/>
                  </a:lnTo>
                  <a:lnTo>
                    <a:pt x="786" y="68"/>
                  </a:lnTo>
                  <a:lnTo>
                    <a:pt x="782" y="68"/>
                  </a:lnTo>
                  <a:lnTo>
                    <a:pt x="778" y="68"/>
                  </a:lnTo>
                  <a:lnTo>
                    <a:pt x="774" y="68"/>
                  </a:lnTo>
                  <a:lnTo>
                    <a:pt x="770" y="68"/>
                  </a:lnTo>
                  <a:lnTo>
                    <a:pt x="766" y="64"/>
                  </a:lnTo>
                  <a:lnTo>
                    <a:pt x="770" y="60"/>
                  </a:lnTo>
                  <a:lnTo>
                    <a:pt x="774" y="60"/>
                  </a:lnTo>
                  <a:lnTo>
                    <a:pt x="778" y="60"/>
                  </a:lnTo>
                  <a:lnTo>
                    <a:pt x="778" y="64"/>
                  </a:lnTo>
                  <a:lnTo>
                    <a:pt x="782" y="64"/>
                  </a:lnTo>
                  <a:lnTo>
                    <a:pt x="782" y="60"/>
                  </a:lnTo>
                  <a:lnTo>
                    <a:pt x="786" y="60"/>
                  </a:lnTo>
                  <a:lnTo>
                    <a:pt x="782" y="60"/>
                  </a:lnTo>
                  <a:lnTo>
                    <a:pt x="778" y="60"/>
                  </a:lnTo>
                  <a:lnTo>
                    <a:pt x="774" y="60"/>
                  </a:lnTo>
                  <a:lnTo>
                    <a:pt x="774" y="56"/>
                  </a:lnTo>
                  <a:lnTo>
                    <a:pt x="778" y="56"/>
                  </a:lnTo>
                  <a:lnTo>
                    <a:pt x="782" y="56"/>
                  </a:lnTo>
                  <a:lnTo>
                    <a:pt x="786" y="56"/>
                  </a:lnTo>
                  <a:lnTo>
                    <a:pt x="790" y="52"/>
                  </a:lnTo>
                  <a:lnTo>
                    <a:pt x="794" y="52"/>
                  </a:lnTo>
                  <a:lnTo>
                    <a:pt x="797" y="52"/>
                  </a:lnTo>
                  <a:lnTo>
                    <a:pt x="801" y="52"/>
                  </a:lnTo>
                  <a:lnTo>
                    <a:pt x="805" y="52"/>
                  </a:lnTo>
                  <a:lnTo>
                    <a:pt x="809" y="52"/>
                  </a:lnTo>
                  <a:lnTo>
                    <a:pt x="813" y="52"/>
                  </a:lnTo>
                  <a:lnTo>
                    <a:pt x="809" y="52"/>
                  </a:lnTo>
                  <a:lnTo>
                    <a:pt x="805" y="52"/>
                  </a:lnTo>
                  <a:lnTo>
                    <a:pt x="801" y="52"/>
                  </a:lnTo>
                  <a:lnTo>
                    <a:pt x="797" y="52"/>
                  </a:lnTo>
                  <a:lnTo>
                    <a:pt x="794" y="52"/>
                  </a:lnTo>
                  <a:lnTo>
                    <a:pt x="790" y="52"/>
                  </a:lnTo>
                  <a:lnTo>
                    <a:pt x="786" y="52"/>
                  </a:lnTo>
                  <a:lnTo>
                    <a:pt x="782" y="52"/>
                  </a:lnTo>
                  <a:lnTo>
                    <a:pt x="778" y="52"/>
                  </a:lnTo>
                  <a:lnTo>
                    <a:pt x="778" y="56"/>
                  </a:lnTo>
                  <a:lnTo>
                    <a:pt x="770" y="56"/>
                  </a:lnTo>
                  <a:lnTo>
                    <a:pt x="766" y="56"/>
                  </a:lnTo>
                  <a:lnTo>
                    <a:pt x="762" y="56"/>
                  </a:lnTo>
                  <a:lnTo>
                    <a:pt x="766" y="56"/>
                  </a:lnTo>
                  <a:lnTo>
                    <a:pt x="762" y="56"/>
                  </a:lnTo>
                  <a:lnTo>
                    <a:pt x="758" y="56"/>
                  </a:lnTo>
                  <a:lnTo>
                    <a:pt x="758" y="52"/>
                  </a:lnTo>
                  <a:lnTo>
                    <a:pt x="762" y="52"/>
                  </a:lnTo>
                  <a:lnTo>
                    <a:pt x="766" y="52"/>
                  </a:lnTo>
                  <a:lnTo>
                    <a:pt x="770" y="52"/>
                  </a:lnTo>
                  <a:lnTo>
                    <a:pt x="774" y="48"/>
                  </a:lnTo>
                  <a:lnTo>
                    <a:pt x="778" y="48"/>
                  </a:lnTo>
                  <a:lnTo>
                    <a:pt x="774" y="48"/>
                  </a:lnTo>
                  <a:lnTo>
                    <a:pt x="770" y="48"/>
                  </a:lnTo>
                  <a:lnTo>
                    <a:pt x="766" y="48"/>
                  </a:lnTo>
                  <a:lnTo>
                    <a:pt x="762" y="48"/>
                  </a:lnTo>
                  <a:lnTo>
                    <a:pt x="758" y="48"/>
                  </a:lnTo>
                  <a:lnTo>
                    <a:pt x="758" y="52"/>
                  </a:lnTo>
                  <a:lnTo>
                    <a:pt x="754" y="52"/>
                  </a:lnTo>
                  <a:lnTo>
                    <a:pt x="750" y="52"/>
                  </a:lnTo>
                  <a:lnTo>
                    <a:pt x="750" y="48"/>
                  </a:lnTo>
                  <a:lnTo>
                    <a:pt x="746" y="48"/>
                  </a:lnTo>
                  <a:lnTo>
                    <a:pt x="742" y="48"/>
                  </a:lnTo>
                  <a:lnTo>
                    <a:pt x="746" y="48"/>
                  </a:lnTo>
                  <a:lnTo>
                    <a:pt x="746" y="44"/>
                  </a:lnTo>
                  <a:lnTo>
                    <a:pt x="750" y="44"/>
                  </a:lnTo>
                  <a:lnTo>
                    <a:pt x="754" y="44"/>
                  </a:lnTo>
                  <a:lnTo>
                    <a:pt x="758" y="44"/>
                  </a:lnTo>
                  <a:lnTo>
                    <a:pt x="758" y="40"/>
                  </a:lnTo>
                  <a:lnTo>
                    <a:pt x="762" y="40"/>
                  </a:lnTo>
                  <a:lnTo>
                    <a:pt x="766" y="40"/>
                  </a:lnTo>
                  <a:lnTo>
                    <a:pt x="770" y="40"/>
                  </a:lnTo>
                  <a:lnTo>
                    <a:pt x="774" y="40"/>
                  </a:lnTo>
                  <a:lnTo>
                    <a:pt x="778" y="40"/>
                  </a:lnTo>
                  <a:lnTo>
                    <a:pt x="782" y="44"/>
                  </a:lnTo>
                  <a:lnTo>
                    <a:pt x="782" y="40"/>
                  </a:lnTo>
                  <a:lnTo>
                    <a:pt x="786" y="40"/>
                  </a:lnTo>
                  <a:lnTo>
                    <a:pt x="786" y="36"/>
                  </a:lnTo>
                  <a:lnTo>
                    <a:pt x="790" y="36"/>
                  </a:lnTo>
                  <a:lnTo>
                    <a:pt x="794" y="36"/>
                  </a:lnTo>
                  <a:lnTo>
                    <a:pt x="797" y="36"/>
                  </a:lnTo>
                  <a:lnTo>
                    <a:pt x="801" y="32"/>
                  </a:lnTo>
                  <a:lnTo>
                    <a:pt x="805" y="36"/>
                  </a:lnTo>
                  <a:lnTo>
                    <a:pt x="805" y="32"/>
                  </a:lnTo>
                  <a:lnTo>
                    <a:pt x="809" y="32"/>
                  </a:lnTo>
                  <a:lnTo>
                    <a:pt x="809" y="36"/>
                  </a:lnTo>
                  <a:lnTo>
                    <a:pt x="813" y="36"/>
                  </a:lnTo>
                  <a:lnTo>
                    <a:pt x="813" y="40"/>
                  </a:lnTo>
                  <a:lnTo>
                    <a:pt x="817" y="40"/>
                  </a:lnTo>
                  <a:lnTo>
                    <a:pt x="821" y="40"/>
                  </a:lnTo>
                  <a:lnTo>
                    <a:pt x="817" y="40"/>
                  </a:lnTo>
                  <a:lnTo>
                    <a:pt x="813" y="40"/>
                  </a:lnTo>
                  <a:lnTo>
                    <a:pt x="813" y="36"/>
                  </a:lnTo>
                  <a:lnTo>
                    <a:pt x="817" y="36"/>
                  </a:lnTo>
                  <a:lnTo>
                    <a:pt x="821" y="36"/>
                  </a:lnTo>
                  <a:lnTo>
                    <a:pt x="825" y="36"/>
                  </a:lnTo>
                  <a:lnTo>
                    <a:pt x="829" y="36"/>
                  </a:lnTo>
                  <a:lnTo>
                    <a:pt x="833" y="36"/>
                  </a:lnTo>
                  <a:lnTo>
                    <a:pt x="837" y="36"/>
                  </a:lnTo>
                  <a:lnTo>
                    <a:pt x="837" y="40"/>
                  </a:lnTo>
                  <a:lnTo>
                    <a:pt x="841" y="40"/>
                  </a:lnTo>
                  <a:lnTo>
                    <a:pt x="837" y="40"/>
                  </a:lnTo>
                  <a:lnTo>
                    <a:pt x="837" y="36"/>
                  </a:lnTo>
                  <a:lnTo>
                    <a:pt x="841" y="36"/>
                  </a:lnTo>
                  <a:lnTo>
                    <a:pt x="845" y="36"/>
                  </a:lnTo>
                  <a:lnTo>
                    <a:pt x="845" y="40"/>
                  </a:lnTo>
                  <a:lnTo>
                    <a:pt x="849" y="40"/>
                  </a:lnTo>
                  <a:lnTo>
                    <a:pt x="845" y="40"/>
                  </a:lnTo>
                  <a:lnTo>
                    <a:pt x="845" y="36"/>
                  </a:lnTo>
                  <a:lnTo>
                    <a:pt x="849" y="36"/>
                  </a:lnTo>
                  <a:lnTo>
                    <a:pt x="849" y="40"/>
                  </a:lnTo>
                  <a:lnTo>
                    <a:pt x="853" y="40"/>
                  </a:lnTo>
                  <a:lnTo>
                    <a:pt x="849" y="36"/>
                  </a:lnTo>
                  <a:lnTo>
                    <a:pt x="845" y="36"/>
                  </a:lnTo>
                  <a:lnTo>
                    <a:pt x="841" y="36"/>
                  </a:lnTo>
                  <a:lnTo>
                    <a:pt x="837" y="36"/>
                  </a:lnTo>
                  <a:lnTo>
                    <a:pt x="833" y="36"/>
                  </a:lnTo>
                  <a:lnTo>
                    <a:pt x="833" y="32"/>
                  </a:lnTo>
                  <a:lnTo>
                    <a:pt x="829" y="32"/>
                  </a:lnTo>
                  <a:lnTo>
                    <a:pt x="825" y="32"/>
                  </a:lnTo>
                  <a:lnTo>
                    <a:pt x="821" y="32"/>
                  </a:lnTo>
                  <a:lnTo>
                    <a:pt x="817" y="32"/>
                  </a:lnTo>
                  <a:lnTo>
                    <a:pt x="817" y="28"/>
                  </a:lnTo>
                  <a:lnTo>
                    <a:pt x="821" y="28"/>
                  </a:lnTo>
                  <a:lnTo>
                    <a:pt x="825" y="28"/>
                  </a:lnTo>
                  <a:lnTo>
                    <a:pt x="829" y="28"/>
                  </a:lnTo>
                  <a:lnTo>
                    <a:pt x="833" y="28"/>
                  </a:lnTo>
                  <a:lnTo>
                    <a:pt x="837" y="28"/>
                  </a:lnTo>
                  <a:lnTo>
                    <a:pt x="841" y="28"/>
                  </a:lnTo>
                  <a:lnTo>
                    <a:pt x="837" y="24"/>
                  </a:lnTo>
                  <a:lnTo>
                    <a:pt x="841" y="24"/>
                  </a:lnTo>
                  <a:lnTo>
                    <a:pt x="837" y="24"/>
                  </a:lnTo>
                  <a:lnTo>
                    <a:pt x="833" y="24"/>
                  </a:lnTo>
                  <a:lnTo>
                    <a:pt x="833" y="20"/>
                  </a:lnTo>
                  <a:lnTo>
                    <a:pt x="837" y="20"/>
                  </a:lnTo>
                  <a:lnTo>
                    <a:pt x="841" y="20"/>
                  </a:lnTo>
                  <a:lnTo>
                    <a:pt x="845" y="20"/>
                  </a:lnTo>
                  <a:lnTo>
                    <a:pt x="853" y="20"/>
                  </a:lnTo>
                  <a:lnTo>
                    <a:pt x="853" y="24"/>
                  </a:lnTo>
                  <a:lnTo>
                    <a:pt x="849" y="24"/>
                  </a:lnTo>
                  <a:lnTo>
                    <a:pt x="853" y="24"/>
                  </a:lnTo>
                  <a:lnTo>
                    <a:pt x="857" y="24"/>
                  </a:lnTo>
                  <a:lnTo>
                    <a:pt x="861" y="24"/>
                  </a:lnTo>
                  <a:lnTo>
                    <a:pt x="865" y="24"/>
                  </a:lnTo>
                  <a:lnTo>
                    <a:pt x="869" y="28"/>
                  </a:lnTo>
                  <a:lnTo>
                    <a:pt x="873" y="28"/>
                  </a:lnTo>
                  <a:lnTo>
                    <a:pt x="873" y="32"/>
                  </a:lnTo>
                  <a:lnTo>
                    <a:pt x="877" y="32"/>
                  </a:lnTo>
                  <a:lnTo>
                    <a:pt x="877" y="36"/>
                  </a:lnTo>
                  <a:lnTo>
                    <a:pt x="881" y="36"/>
                  </a:lnTo>
                  <a:lnTo>
                    <a:pt x="885" y="36"/>
                  </a:lnTo>
                  <a:lnTo>
                    <a:pt x="889" y="36"/>
                  </a:lnTo>
                  <a:lnTo>
                    <a:pt x="893" y="36"/>
                  </a:lnTo>
                  <a:lnTo>
                    <a:pt x="889" y="36"/>
                  </a:lnTo>
                  <a:lnTo>
                    <a:pt x="885" y="32"/>
                  </a:lnTo>
                  <a:lnTo>
                    <a:pt x="881" y="32"/>
                  </a:lnTo>
                  <a:lnTo>
                    <a:pt x="877" y="32"/>
                  </a:lnTo>
                  <a:lnTo>
                    <a:pt x="877" y="28"/>
                  </a:lnTo>
                  <a:lnTo>
                    <a:pt x="881" y="28"/>
                  </a:lnTo>
                  <a:lnTo>
                    <a:pt x="885" y="28"/>
                  </a:lnTo>
                  <a:lnTo>
                    <a:pt x="889" y="28"/>
                  </a:lnTo>
                  <a:lnTo>
                    <a:pt x="889" y="32"/>
                  </a:lnTo>
                  <a:lnTo>
                    <a:pt x="893" y="32"/>
                  </a:lnTo>
                  <a:lnTo>
                    <a:pt x="897" y="32"/>
                  </a:lnTo>
                  <a:lnTo>
                    <a:pt x="901" y="32"/>
                  </a:lnTo>
                  <a:lnTo>
                    <a:pt x="905" y="36"/>
                  </a:lnTo>
                  <a:lnTo>
                    <a:pt x="909" y="36"/>
                  </a:lnTo>
                  <a:lnTo>
                    <a:pt x="913" y="36"/>
                  </a:lnTo>
                  <a:lnTo>
                    <a:pt x="917" y="36"/>
                  </a:lnTo>
                  <a:lnTo>
                    <a:pt x="921" y="36"/>
                  </a:lnTo>
                  <a:lnTo>
                    <a:pt x="925" y="40"/>
                  </a:lnTo>
                  <a:lnTo>
                    <a:pt x="929" y="40"/>
                  </a:lnTo>
                  <a:lnTo>
                    <a:pt x="929" y="44"/>
                  </a:lnTo>
                  <a:lnTo>
                    <a:pt x="933" y="44"/>
                  </a:lnTo>
                  <a:lnTo>
                    <a:pt x="929" y="40"/>
                  </a:lnTo>
                  <a:lnTo>
                    <a:pt x="925" y="36"/>
                  </a:lnTo>
                  <a:lnTo>
                    <a:pt x="921" y="36"/>
                  </a:lnTo>
                  <a:lnTo>
                    <a:pt x="917" y="36"/>
                  </a:lnTo>
                  <a:lnTo>
                    <a:pt x="913" y="36"/>
                  </a:lnTo>
                  <a:lnTo>
                    <a:pt x="909" y="36"/>
                  </a:lnTo>
                  <a:lnTo>
                    <a:pt x="909" y="32"/>
                  </a:lnTo>
                  <a:lnTo>
                    <a:pt x="905" y="32"/>
                  </a:lnTo>
                  <a:lnTo>
                    <a:pt x="901" y="32"/>
                  </a:lnTo>
                  <a:lnTo>
                    <a:pt x="897" y="28"/>
                  </a:lnTo>
                  <a:lnTo>
                    <a:pt x="893" y="28"/>
                  </a:lnTo>
                  <a:lnTo>
                    <a:pt x="889" y="28"/>
                  </a:lnTo>
                  <a:lnTo>
                    <a:pt x="885" y="28"/>
                  </a:lnTo>
                  <a:lnTo>
                    <a:pt x="885" y="24"/>
                  </a:lnTo>
                  <a:lnTo>
                    <a:pt x="881" y="24"/>
                  </a:lnTo>
                  <a:lnTo>
                    <a:pt x="885" y="20"/>
                  </a:lnTo>
                  <a:lnTo>
                    <a:pt x="889" y="20"/>
                  </a:lnTo>
                  <a:lnTo>
                    <a:pt x="897" y="20"/>
                  </a:lnTo>
                  <a:lnTo>
                    <a:pt x="901" y="20"/>
                  </a:lnTo>
                  <a:lnTo>
                    <a:pt x="897" y="20"/>
                  </a:lnTo>
                  <a:lnTo>
                    <a:pt x="893" y="20"/>
                  </a:lnTo>
                  <a:lnTo>
                    <a:pt x="889" y="20"/>
                  </a:lnTo>
                  <a:lnTo>
                    <a:pt x="889" y="16"/>
                  </a:lnTo>
                  <a:lnTo>
                    <a:pt x="885" y="16"/>
                  </a:lnTo>
                  <a:lnTo>
                    <a:pt x="889" y="16"/>
                  </a:lnTo>
                  <a:lnTo>
                    <a:pt x="893" y="16"/>
                  </a:lnTo>
                  <a:lnTo>
                    <a:pt x="901" y="16"/>
                  </a:lnTo>
                  <a:lnTo>
                    <a:pt x="905" y="20"/>
                  </a:lnTo>
                  <a:lnTo>
                    <a:pt x="909" y="20"/>
                  </a:lnTo>
                  <a:lnTo>
                    <a:pt x="913" y="20"/>
                  </a:lnTo>
                  <a:lnTo>
                    <a:pt x="909" y="16"/>
                  </a:lnTo>
                  <a:lnTo>
                    <a:pt x="905" y="16"/>
                  </a:lnTo>
                  <a:lnTo>
                    <a:pt x="905" y="12"/>
                  </a:lnTo>
                  <a:lnTo>
                    <a:pt x="901" y="12"/>
                  </a:lnTo>
                  <a:lnTo>
                    <a:pt x="897" y="12"/>
                  </a:lnTo>
                  <a:lnTo>
                    <a:pt x="901" y="12"/>
                  </a:lnTo>
                  <a:lnTo>
                    <a:pt x="901" y="8"/>
                  </a:lnTo>
                  <a:lnTo>
                    <a:pt x="909" y="12"/>
                  </a:lnTo>
                  <a:lnTo>
                    <a:pt x="917" y="12"/>
                  </a:lnTo>
                  <a:lnTo>
                    <a:pt x="921" y="12"/>
                  </a:lnTo>
                  <a:lnTo>
                    <a:pt x="921" y="16"/>
                  </a:lnTo>
                  <a:lnTo>
                    <a:pt x="925" y="16"/>
                  </a:lnTo>
                  <a:lnTo>
                    <a:pt x="925" y="12"/>
                  </a:lnTo>
                  <a:lnTo>
                    <a:pt x="929" y="16"/>
                  </a:lnTo>
                  <a:lnTo>
                    <a:pt x="933" y="16"/>
                  </a:lnTo>
                  <a:lnTo>
                    <a:pt x="937" y="16"/>
                  </a:lnTo>
                  <a:lnTo>
                    <a:pt x="941" y="16"/>
                  </a:lnTo>
                  <a:lnTo>
                    <a:pt x="945" y="16"/>
                  </a:lnTo>
                  <a:lnTo>
                    <a:pt x="941" y="16"/>
                  </a:lnTo>
                  <a:lnTo>
                    <a:pt x="937" y="16"/>
                  </a:lnTo>
                  <a:lnTo>
                    <a:pt x="933" y="16"/>
                  </a:lnTo>
                  <a:lnTo>
                    <a:pt x="933" y="12"/>
                  </a:lnTo>
                  <a:lnTo>
                    <a:pt x="929" y="12"/>
                  </a:lnTo>
                  <a:lnTo>
                    <a:pt x="925" y="12"/>
                  </a:lnTo>
                  <a:lnTo>
                    <a:pt x="921" y="12"/>
                  </a:lnTo>
                  <a:lnTo>
                    <a:pt x="925" y="12"/>
                  </a:lnTo>
                  <a:lnTo>
                    <a:pt x="929" y="12"/>
                  </a:lnTo>
                  <a:lnTo>
                    <a:pt x="925" y="8"/>
                  </a:lnTo>
                  <a:lnTo>
                    <a:pt x="921" y="8"/>
                  </a:lnTo>
                  <a:lnTo>
                    <a:pt x="917" y="8"/>
                  </a:lnTo>
                  <a:lnTo>
                    <a:pt x="921" y="8"/>
                  </a:lnTo>
                  <a:lnTo>
                    <a:pt x="925" y="4"/>
                  </a:lnTo>
                  <a:lnTo>
                    <a:pt x="929" y="4"/>
                  </a:lnTo>
                  <a:lnTo>
                    <a:pt x="933" y="4"/>
                  </a:lnTo>
                  <a:lnTo>
                    <a:pt x="937" y="4"/>
                  </a:lnTo>
                  <a:lnTo>
                    <a:pt x="937" y="8"/>
                  </a:lnTo>
                  <a:lnTo>
                    <a:pt x="941" y="8"/>
                  </a:lnTo>
                  <a:lnTo>
                    <a:pt x="945" y="8"/>
                  </a:lnTo>
                  <a:lnTo>
                    <a:pt x="949" y="8"/>
                  </a:lnTo>
                  <a:lnTo>
                    <a:pt x="949" y="12"/>
                  </a:lnTo>
                  <a:lnTo>
                    <a:pt x="953" y="8"/>
                  </a:lnTo>
                  <a:lnTo>
                    <a:pt x="949" y="8"/>
                  </a:lnTo>
                  <a:lnTo>
                    <a:pt x="953" y="8"/>
                  </a:lnTo>
                  <a:lnTo>
                    <a:pt x="957" y="8"/>
                  </a:lnTo>
                  <a:lnTo>
                    <a:pt x="961" y="8"/>
                  </a:lnTo>
                  <a:lnTo>
                    <a:pt x="965" y="8"/>
                  </a:lnTo>
                  <a:lnTo>
                    <a:pt x="969" y="12"/>
                  </a:lnTo>
                  <a:lnTo>
                    <a:pt x="973" y="12"/>
                  </a:lnTo>
                  <a:lnTo>
                    <a:pt x="973" y="16"/>
                  </a:lnTo>
                  <a:lnTo>
                    <a:pt x="977" y="16"/>
                  </a:lnTo>
                  <a:lnTo>
                    <a:pt x="981" y="16"/>
                  </a:lnTo>
                  <a:lnTo>
                    <a:pt x="985" y="16"/>
                  </a:lnTo>
                  <a:lnTo>
                    <a:pt x="985" y="20"/>
                  </a:lnTo>
                  <a:lnTo>
                    <a:pt x="981" y="20"/>
                  </a:lnTo>
                  <a:lnTo>
                    <a:pt x="981" y="24"/>
                  </a:lnTo>
                  <a:lnTo>
                    <a:pt x="981" y="20"/>
                  </a:lnTo>
                  <a:lnTo>
                    <a:pt x="985" y="20"/>
                  </a:lnTo>
                  <a:lnTo>
                    <a:pt x="989" y="16"/>
                  </a:lnTo>
                  <a:lnTo>
                    <a:pt x="993" y="16"/>
                  </a:lnTo>
                  <a:lnTo>
                    <a:pt x="989" y="16"/>
                  </a:lnTo>
                  <a:lnTo>
                    <a:pt x="985" y="16"/>
                  </a:lnTo>
                  <a:lnTo>
                    <a:pt x="981" y="16"/>
                  </a:lnTo>
                  <a:lnTo>
                    <a:pt x="981" y="12"/>
                  </a:lnTo>
                  <a:lnTo>
                    <a:pt x="977" y="12"/>
                  </a:lnTo>
                  <a:lnTo>
                    <a:pt x="981" y="12"/>
                  </a:lnTo>
                  <a:lnTo>
                    <a:pt x="985" y="12"/>
                  </a:lnTo>
                  <a:lnTo>
                    <a:pt x="981" y="12"/>
                  </a:lnTo>
                  <a:lnTo>
                    <a:pt x="977" y="12"/>
                  </a:lnTo>
                  <a:lnTo>
                    <a:pt x="973" y="8"/>
                  </a:lnTo>
                  <a:lnTo>
                    <a:pt x="969" y="8"/>
                  </a:lnTo>
                  <a:lnTo>
                    <a:pt x="965" y="8"/>
                  </a:lnTo>
                  <a:lnTo>
                    <a:pt x="961" y="4"/>
                  </a:lnTo>
                  <a:lnTo>
                    <a:pt x="965" y="4"/>
                  </a:lnTo>
                  <a:lnTo>
                    <a:pt x="969" y="4"/>
                  </a:lnTo>
                  <a:lnTo>
                    <a:pt x="973" y="4"/>
                  </a:lnTo>
                  <a:lnTo>
                    <a:pt x="977" y="4"/>
                  </a:lnTo>
                  <a:lnTo>
                    <a:pt x="981" y="4"/>
                  </a:lnTo>
                  <a:lnTo>
                    <a:pt x="985" y="4"/>
                  </a:lnTo>
                  <a:lnTo>
                    <a:pt x="989" y="4"/>
                  </a:lnTo>
                  <a:lnTo>
                    <a:pt x="993" y="4"/>
                  </a:lnTo>
                  <a:lnTo>
                    <a:pt x="997" y="4"/>
                  </a:lnTo>
                  <a:lnTo>
                    <a:pt x="1001" y="4"/>
                  </a:lnTo>
                  <a:lnTo>
                    <a:pt x="1005" y="4"/>
                  </a:lnTo>
                  <a:lnTo>
                    <a:pt x="1009" y="4"/>
                  </a:lnTo>
                  <a:lnTo>
                    <a:pt x="1013" y="4"/>
                  </a:lnTo>
                  <a:lnTo>
                    <a:pt x="1017" y="8"/>
                  </a:lnTo>
                  <a:lnTo>
                    <a:pt x="1021" y="12"/>
                  </a:lnTo>
                  <a:lnTo>
                    <a:pt x="1025" y="12"/>
                  </a:lnTo>
                  <a:lnTo>
                    <a:pt x="1029" y="12"/>
                  </a:lnTo>
                  <a:lnTo>
                    <a:pt x="1033" y="12"/>
                  </a:lnTo>
                  <a:lnTo>
                    <a:pt x="1033" y="16"/>
                  </a:lnTo>
                  <a:lnTo>
                    <a:pt x="1037" y="12"/>
                  </a:lnTo>
                  <a:lnTo>
                    <a:pt x="1033" y="12"/>
                  </a:lnTo>
                  <a:lnTo>
                    <a:pt x="1029" y="12"/>
                  </a:lnTo>
                  <a:lnTo>
                    <a:pt x="1025" y="12"/>
                  </a:lnTo>
                  <a:lnTo>
                    <a:pt x="1021" y="8"/>
                  </a:lnTo>
                  <a:lnTo>
                    <a:pt x="1025" y="4"/>
                  </a:lnTo>
                  <a:lnTo>
                    <a:pt x="1029" y="4"/>
                  </a:lnTo>
                  <a:lnTo>
                    <a:pt x="1033" y="0"/>
                  </a:lnTo>
                  <a:lnTo>
                    <a:pt x="1037" y="0"/>
                  </a:lnTo>
                  <a:lnTo>
                    <a:pt x="1041" y="0"/>
                  </a:lnTo>
                  <a:lnTo>
                    <a:pt x="1045" y="0"/>
                  </a:lnTo>
                  <a:lnTo>
                    <a:pt x="1049" y="0"/>
                  </a:lnTo>
                  <a:lnTo>
                    <a:pt x="1049" y="4"/>
                  </a:lnTo>
                  <a:lnTo>
                    <a:pt x="1049" y="8"/>
                  </a:lnTo>
                  <a:lnTo>
                    <a:pt x="1053" y="8"/>
                  </a:lnTo>
                  <a:lnTo>
                    <a:pt x="1057" y="8"/>
                  </a:lnTo>
                  <a:lnTo>
                    <a:pt x="1061" y="8"/>
                  </a:lnTo>
                  <a:lnTo>
                    <a:pt x="1057" y="8"/>
                  </a:lnTo>
                  <a:lnTo>
                    <a:pt x="1053" y="4"/>
                  </a:lnTo>
                  <a:lnTo>
                    <a:pt x="1057" y="0"/>
                  </a:lnTo>
                  <a:lnTo>
                    <a:pt x="1061" y="0"/>
                  </a:lnTo>
                  <a:lnTo>
                    <a:pt x="1065" y="0"/>
                  </a:lnTo>
                  <a:lnTo>
                    <a:pt x="1069" y="0"/>
                  </a:lnTo>
                  <a:lnTo>
                    <a:pt x="1073" y="0"/>
                  </a:lnTo>
                  <a:lnTo>
                    <a:pt x="1077" y="0"/>
                  </a:lnTo>
                  <a:lnTo>
                    <a:pt x="1081" y="0"/>
                  </a:lnTo>
                  <a:lnTo>
                    <a:pt x="1081" y="4"/>
                  </a:lnTo>
                  <a:lnTo>
                    <a:pt x="1077" y="4"/>
                  </a:lnTo>
                  <a:lnTo>
                    <a:pt x="1081" y="4"/>
                  </a:lnTo>
                  <a:lnTo>
                    <a:pt x="1085" y="4"/>
                  </a:lnTo>
                  <a:lnTo>
                    <a:pt x="1089" y="4"/>
                  </a:lnTo>
                  <a:lnTo>
                    <a:pt x="1093" y="4"/>
                  </a:lnTo>
                  <a:lnTo>
                    <a:pt x="1097" y="4"/>
                  </a:lnTo>
                  <a:lnTo>
                    <a:pt x="1101" y="4"/>
                  </a:lnTo>
                  <a:lnTo>
                    <a:pt x="1101" y="8"/>
                  </a:lnTo>
                  <a:lnTo>
                    <a:pt x="1105" y="8"/>
                  </a:lnTo>
                  <a:lnTo>
                    <a:pt x="1105" y="4"/>
                  </a:lnTo>
                  <a:lnTo>
                    <a:pt x="1109" y="4"/>
                  </a:lnTo>
                  <a:lnTo>
                    <a:pt x="1113" y="4"/>
                  </a:lnTo>
                  <a:lnTo>
                    <a:pt x="1113" y="8"/>
                  </a:lnTo>
                  <a:lnTo>
                    <a:pt x="1117" y="8"/>
                  </a:lnTo>
                  <a:lnTo>
                    <a:pt x="1117" y="4"/>
                  </a:lnTo>
                  <a:lnTo>
                    <a:pt x="1121" y="4"/>
                  </a:lnTo>
                  <a:lnTo>
                    <a:pt x="1121" y="8"/>
                  </a:lnTo>
                  <a:lnTo>
                    <a:pt x="1125" y="8"/>
                  </a:lnTo>
                  <a:lnTo>
                    <a:pt x="1129" y="8"/>
                  </a:lnTo>
                  <a:lnTo>
                    <a:pt x="1121" y="12"/>
                  </a:lnTo>
                  <a:lnTo>
                    <a:pt x="1117" y="12"/>
                  </a:lnTo>
                  <a:lnTo>
                    <a:pt x="1113" y="12"/>
                  </a:lnTo>
                  <a:lnTo>
                    <a:pt x="1109" y="12"/>
                  </a:lnTo>
                  <a:lnTo>
                    <a:pt x="1105" y="12"/>
                  </a:lnTo>
                  <a:lnTo>
                    <a:pt x="1105" y="16"/>
                  </a:lnTo>
                  <a:lnTo>
                    <a:pt x="1101" y="16"/>
                  </a:lnTo>
                  <a:lnTo>
                    <a:pt x="1097" y="16"/>
                  </a:lnTo>
                  <a:lnTo>
                    <a:pt x="1093" y="16"/>
                  </a:lnTo>
                  <a:lnTo>
                    <a:pt x="1097" y="16"/>
                  </a:lnTo>
                  <a:lnTo>
                    <a:pt x="1101" y="16"/>
                  </a:lnTo>
                  <a:lnTo>
                    <a:pt x="1105" y="16"/>
                  </a:lnTo>
                  <a:lnTo>
                    <a:pt x="1109" y="16"/>
                  </a:lnTo>
                  <a:lnTo>
                    <a:pt x="1113" y="16"/>
                  </a:lnTo>
                  <a:lnTo>
                    <a:pt x="1117" y="16"/>
                  </a:lnTo>
                  <a:lnTo>
                    <a:pt x="1121" y="12"/>
                  </a:lnTo>
                  <a:lnTo>
                    <a:pt x="1125" y="12"/>
                  </a:lnTo>
                  <a:lnTo>
                    <a:pt x="1133" y="12"/>
                  </a:lnTo>
                  <a:lnTo>
                    <a:pt x="1137" y="8"/>
                  </a:lnTo>
                  <a:lnTo>
                    <a:pt x="1141" y="8"/>
                  </a:lnTo>
                  <a:lnTo>
                    <a:pt x="1145" y="8"/>
                  </a:lnTo>
                  <a:lnTo>
                    <a:pt x="1141" y="12"/>
                  </a:lnTo>
                  <a:lnTo>
                    <a:pt x="1145" y="12"/>
                  </a:lnTo>
                  <a:lnTo>
                    <a:pt x="1148" y="12"/>
                  </a:lnTo>
                  <a:lnTo>
                    <a:pt x="1145" y="12"/>
                  </a:lnTo>
                  <a:lnTo>
                    <a:pt x="1145" y="8"/>
                  </a:lnTo>
                  <a:lnTo>
                    <a:pt x="1148" y="8"/>
                  </a:lnTo>
                  <a:lnTo>
                    <a:pt x="1145" y="8"/>
                  </a:lnTo>
                  <a:lnTo>
                    <a:pt x="1148" y="8"/>
                  </a:lnTo>
                  <a:lnTo>
                    <a:pt x="1152" y="8"/>
                  </a:lnTo>
                  <a:lnTo>
                    <a:pt x="1156" y="8"/>
                  </a:lnTo>
                  <a:lnTo>
                    <a:pt x="1152" y="8"/>
                  </a:lnTo>
                  <a:lnTo>
                    <a:pt x="1152" y="12"/>
                  </a:lnTo>
                  <a:lnTo>
                    <a:pt x="1156" y="12"/>
                  </a:lnTo>
                  <a:lnTo>
                    <a:pt x="1160" y="12"/>
                  </a:lnTo>
                  <a:lnTo>
                    <a:pt x="1164" y="8"/>
                  </a:lnTo>
                  <a:lnTo>
                    <a:pt x="1168" y="8"/>
                  </a:lnTo>
                  <a:lnTo>
                    <a:pt x="1172" y="8"/>
                  </a:lnTo>
                  <a:lnTo>
                    <a:pt x="1172" y="12"/>
                  </a:lnTo>
                  <a:lnTo>
                    <a:pt x="1168" y="12"/>
                  </a:lnTo>
                  <a:lnTo>
                    <a:pt x="1172" y="16"/>
                  </a:lnTo>
                  <a:lnTo>
                    <a:pt x="1176" y="16"/>
                  </a:lnTo>
                  <a:lnTo>
                    <a:pt x="1180" y="16"/>
                  </a:lnTo>
                  <a:lnTo>
                    <a:pt x="1180" y="20"/>
                  </a:lnTo>
                  <a:lnTo>
                    <a:pt x="1176" y="20"/>
                  </a:lnTo>
                  <a:lnTo>
                    <a:pt x="1176" y="24"/>
                  </a:lnTo>
                  <a:lnTo>
                    <a:pt x="1180" y="24"/>
                  </a:lnTo>
                  <a:lnTo>
                    <a:pt x="1180" y="20"/>
                  </a:lnTo>
                  <a:lnTo>
                    <a:pt x="1184" y="20"/>
                  </a:lnTo>
                  <a:lnTo>
                    <a:pt x="1188" y="20"/>
                  </a:lnTo>
                  <a:lnTo>
                    <a:pt x="1192" y="20"/>
                  </a:lnTo>
                  <a:lnTo>
                    <a:pt x="1188" y="20"/>
                  </a:lnTo>
                  <a:lnTo>
                    <a:pt x="1192" y="20"/>
                  </a:lnTo>
                  <a:lnTo>
                    <a:pt x="1196" y="20"/>
                  </a:lnTo>
                  <a:lnTo>
                    <a:pt x="1200" y="20"/>
                  </a:lnTo>
                  <a:lnTo>
                    <a:pt x="1204" y="20"/>
                  </a:lnTo>
                  <a:lnTo>
                    <a:pt x="1204" y="24"/>
                  </a:lnTo>
                  <a:lnTo>
                    <a:pt x="1208" y="24"/>
                  </a:lnTo>
                  <a:lnTo>
                    <a:pt x="1208" y="28"/>
                  </a:lnTo>
                  <a:lnTo>
                    <a:pt x="1204" y="32"/>
                  </a:lnTo>
                  <a:lnTo>
                    <a:pt x="1200" y="32"/>
                  </a:lnTo>
                  <a:lnTo>
                    <a:pt x="1196" y="32"/>
                  </a:lnTo>
                  <a:lnTo>
                    <a:pt x="1192" y="36"/>
                  </a:lnTo>
                  <a:lnTo>
                    <a:pt x="1188" y="36"/>
                  </a:lnTo>
                  <a:lnTo>
                    <a:pt x="1180" y="40"/>
                  </a:lnTo>
                  <a:lnTo>
                    <a:pt x="1176" y="40"/>
                  </a:lnTo>
                  <a:lnTo>
                    <a:pt x="1172" y="40"/>
                  </a:lnTo>
                  <a:lnTo>
                    <a:pt x="1168" y="40"/>
                  </a:lnTo>
                  <a:lnTo>
                    <a:pt x="1168" y="44"/>
                  </a:lnTo>
                  <a:lnTo>
                    <a:pt x="1164" y="44"/>
                  </a:lnTo>
                  <a:lnTo>
                    <a:pt x="1160" y="44"/>
                  </a:lnTo>
                  <a:lnTo>
                    <a:pt x="1164" y="44"/>
                  </a:lnTo>
                  <a:lnTo>
                    <a:pt x="1160" y="44"/>
                  </a:lnTo>
                  <a:lnTo>
                    <a:pt x="1156" y="44"/>
                  </a:lnTo>
                  <a:lnTo>
                    <a:pt x="1152" y="44"/>
                  </a:lnTo>
                  <a:lnTo>
                    <a:pt x="1148" y="44"/>
                  </a:lnTo>
                  <a:lnTo>
                    <a:pt x="1145" y="44"/>
                  </a:lnTo>
                  <a:lnTo>
                    <a:pt x="1141" y="48"/>
                  </a:lnTo>
                  <a:lnTo>
                    <a:pt x="1137" y="48"/>
                  </a:lnTo>
                  <a:lnTo>
                    <a:pt x="1133" y="48"/>
                  </a:lnTo>
                  <a:lnTo>
                    <a:pt x="1137" y="48"/>
                  </a:lnTo>
                  <a:lnTo>
                    <a:pt x="1141" y="48"/>
                  </a:lnTo>
                  <a:lnTo>
                    <a:pt x="1145" y="48"/>
                  </a:lnTo>
                  <a:lnTo>
                    <a:pt x="1141" y="48"/>
                  </a:lnTo>
                  <a:lnTo>
                    <a:pt x="1137" y="48"/>
                  </a:lnTo>
                  <a:lnTo>
                    <a:pt x="1133" y="48"/>
                  </a:lnTo>
                  <a:lnTo>
                    <a:pt x="1129" y="48"/>
                  </a:lnTo>
                  <a:lnTo>
                    <a:pt x="1125" y="48"/>
                  </a:lnTo>
                  <a:lnTo>
                    <a:pt x="1121" y="48"/>
                  </a:lnTo>
                  <a:lnTo>
                    <a:pt x="1117" y="48"/>
                  </a:lnTo>
                  <a:lnTo>
                    <a:pt x="1113" y="48"/>
                  </a:lnTo>
                  <a:lnTo>
                    <a:pt x="1109" y="48"/>
                  </a:lnTo>
                  <a:lnTo>
                    <a:pt x="1105" y="52"/>
                  </a:lnTo>
                  <a:lnTo>
                    <a:pt x="1101" y="52"/>
                  </a:lnTo>
                  <a:lnTo>
                    <a:pt x="1097" y="48"/>
                  </a:lnTo>
                  <a:lnTo>
                    <a:pt x="1093" y="48"/>
                  </a:lnTo>
                  <a:lnTo>
                    <a:pt x="1089" y="48"/>
                  </a:lnTo>
                  <a:lnTo>
                    <a:pt x="1085" y="44"/>
                  </a:lnTo>
                  <a:lnTo>
                    <a:pt x="1085" y="48"/>
                  </a:lnTo>
                  <a:lnTo>
                    <a:pt x="1089" y="48"/>
                  </a:lnTo>
                  <a:lnTo>
                    <a:pt x="1093" y="48"/>
                  </a:lnTo>
                  <a:lnTo>
                    <a:pt x="1097" y="48"/>
                  </a:lnTo>
                  <a:lnTo>
                    <a:pt x="1097" y="52"/>
                  </a:lnTo>
                  <a:lnTo>
                    <a:pt x="1101" y="52"/>
                  </a:lnTo>
                  <a:lnTo>
                    <a:pt x="1097" y="52"/>
                  </a:lnTo>
                  <a:lnTo>
                    <a:pt x="1093" y="52"/>
                  </a:lnTo>
                  <a:lnTo>
                    <a:pt x="1097" y="52"/>
                  </a:lnTo>
                  <a:lnTo>
                    <a:pt x="1101" y="52"/>
                  </a:lnTo>
                  <a:lnTo>
                    <a:pt x="1105" y="52"/>
                  </a:lnTo>
                  <a:lnTo>
                    <a:pt x="1109" y="52"/>
                  </a:lnTo>
                  <a:lnTo>
                    <a:pt x="1113" y="52"/>
                  </a:lnTo>
                  <a:lnTo>
                    <a:pt x="1117" y="52"/>
                  </a:lnTo>
                  <a:lnTo>
                    <a:pt x="1121" y="52"/>
                  </a:lnTo>
                  <a:lnTo>
                    <a:pt x="1125" y="52"/>
                  </a:lnTo>
                  <a:lnTo>
                    <a:pt x="1121" y="52"/>
                  </a:lnTo>
                  <a:lnTo>
                    <a:pt x="1117" y="56"/>
                  </a:lnTo>
                  <a:lnTo>
                    <a:pt x="1113" y="56"/>
                  </a:lnTo>
                  <a:lnTo>
                    <a:pt x="1109" y="56"/>
                  </a:lnTo>
                  <a:lnTo>
                    <a:pt x="1105" y="56"/>
                  </a:lnTo>
                  <a:lnTo>
                    <a:pt x="1101" y="56"/>
                  </a:lnTo>
                  <a:lnTo>
                    <a:pt x="1101" y="60"/>
                  </a:lnTo>
                  <a:lnTo>
                    <a:pt x="1097" y="60"/>
                  </a:lnTo>
                  <a:lnTo>
                    <a:pt x="1093" y="60"/>
                  </a:lnTo>
                  <a:lnTo>
                    <a:pt x="1089" y="60"/>
                  </a:lnTo>
                  <a:lnTo>
                    <a:pt x="1085" y="60"/>
                  </a:lnTo>
                  <a:lnTo>
                    <a:pt x="1081" y="60"/>
                  </a:lnTo>
                  <a:lnTo>
                    <a:pt x="1085" y="60"/>
                  </a:lnTo>
                  <a:lnTo>
                    <a:pt x="1081" y="60"/>
                  </a:lnTo>
                  <a:lnTo>
                    <a:pt x="1077" y="64"/>
                  </a:lnTo>
                  <a:lnTo>
                    <a:pt x="1073" y="64"/>
                  </a:lnTo>
                  <a:lnTo>
                    <a:pt x="1077" y="64"/>
                  </a:lnTo>
                  <a:lnTo>
                    <a:pt x="1081" y="64"/>
                  </a:lnTo>
                  <a:lnTo>
                    <a:pt x="1077" y="64"/>
                  </a:lnTo>
                  <a:lnTo>
                    <a:pt x="1073" y="64"/>
                  </a:lnTo>
                  <a:lnTo>
                    <a:pt x="1077" y="64"/>
                  </a:lnTo>
                  <a:lnTo>
                    <a:pt x="1081" y="64"/>
                  </a:lnTo>
                  <a:lnTo>
                    <a:pt x="1085" y="64"/>
                  </a:lnTo>
                  <a:lnTo>
                    <a:pt x="1093" y="60"/>
                  </a:lnTo>
                  <a:lnTo>
                    <a:pt x="1101" y="60"/>
                  </a:lnTo>
                  <a:lnTo>
                    <a:pt x="1105" y="60"/>
                  </a:lnTo>
                  <a:lnTo>
                    <a:pt x="1109" y="60"/>
                  </a:lnTo>
                  <a:lnTo>
                    <a:pt x="1109" y="56"/>
                  </a:lnTo>
                  <a:lnTo>
                    <a:pt x="1113" y="56"/>
                  </a:lnTo>
                  <a:lnTo>
                    <a:pt x="1117" y="56"/>
                  </a:lnTo>
                  <a:lnTo>
                    <a:pt x="1121" y="56"/>
                  </a:lnTo>
                  <a:lnTo>
                    <a:pt x="1125" y="56"/>
                  </a:lnTo>
                  <a:lnTo>
                    <a:pt x="1129" y="56"/>
                  </a:lnTo>
                  <a:lnTo>
                    <a:pt x="1133" y="56"/>
                  </a:lnTo>
                  <a:lnTo>
                    <a:pt x="1137" y="52"/>
                  </a:lnTo>
                  <a:lnTo>
                    <a:pt x="1141" y="52"/>
                  </a:lnTo>
                  <a:lnTo>
                    <a:pt x="1145" y="52"/>
                  </a:lnTo>
                  <a:lnTo>
                    <a:pt x="1148" y="52"/>
                  </a:lnTo>
                  <a:lnTo>
                    <a:pt x="1156" y="52"/>
                  </a:lnTo>
                  <a:lnTo>
                    <a:pt x="1156" y="56"/>
                  </a:lnTo>
                  <a:lnTo>
                    <a:pt x="1152" y="56"/>
                  </a:lnTo>
                  <a:lnTo>
                    <a:pt x="1148" y="60"/>
                  </a:lnTo>
                  <a:lnTo>
                    <a:pt x="1145" y="60"/>
                  </a:lnTo>
                  <a:lnTo>
                    <a:pt x="1141" y="60"/>
                  </a:lnTo>
                  <a:lnTo>
                    <a:pt x="1137" y="60"/>
                  </a:lnTo>
                  <a:lnTo>
                    <a:pt x="1133" y="64"/>
                  </a:lnTo>
                  <a:lnTo>
                    <a:pt x="1129" y="64"/>
                  </a:lnTo>
                  <a:lnTo>
                    <a:pt x="1129" y="68"/>
                  </a:lnTo>
                  <a:lnTo>
                    <a:pt x="1125" y="68"/>
                  </a:lnTo>
                  <a:lnTo>
                    <a:pt x="1121" y="68"/>
                  </a:lnTo>
                  <a:lnTo>
                    <a:pt x="1117" y="72"/>
                  </a:lnTo>
                  <a:lnTo>
                    <a:pt x="1113" y="72"/>
                  </a:lnTo>
                  <a:lnTo>
                    <a:pt x="1109" y="72"/>
                  </a:lnTo>
                  <a:lnTo>
                    <a:pt x="1113" y="72"/>
                  </a:lnTo>
                  <a:lnTo>
                    <a:pt x="1109" y="72"/>
                  </a:lnTo>
                  <a:lnTo>
                    <a:pt x="1105" y="72"/>
                  </a:lnTo>
                  <a:lnTo>
                    <a:pt x="1105" y="76"/>
                  </a:lnTo>
                  <a:lnTo>
                    <a:pt x="1101" y="76"/>
                  </a:lnTo>
                  <a:lnTo>
                    <a:pt x="1093" y="80"/>
                  </a:lnTo>
                  <a:lnTo>
                    <a:pt x="1089" y="80"/>
                  </a:lnTo>
                  <a:lnTo>
                    <a:pt x="1089" y="84"/>
                  </a:lnTo>
                  <a:lnTo>
                    <a:pt x="1085" y="84"/>
                  </a:lnTo>
                  <a:lnTo>
                    <a:pt x="1085" y="88"/>
                  </a:lnTo>
                  <a:lnTo>
                    <a:pt x="1081" y="88"/>
                  </a:lnTo>
                  <a:lnTo>
                    <a:pt x="1077" y="88"/>
                  </a:lnTo>
                  <a:lnTo>
                    <a:pt x="1073" y="88"/>
                  </a:lnTo>
                  <a:lnTo>
                    <a:pt x="1069" y="88"/>
                  </a:lnTo>
                  <a:lnTo>
                    <a:pt x="1069" y="84"/>
                  </a:lnTo>
                  <a:lnTo>
                    <a:pt x="1065" y="84"/>
                  </a:lnTo>
                  <a:lnTo>
                    <a:pt x="1061" y="84"/>
                  </a:lnTo>
                  <a:lnTo>
                    <a:pt x="1065" y="84"/>
                  </a:lnTo>
                  <a:lnTo>
                    <a:pt x="1069" y="84"/>
                  </a:lnTo>
                  <a:lnTo>
                    <a:pt x="1069" y="88"/>
                  </a:lnTo>
                  <a:lnTo>
                    <a:pt x="1069" y="92"/>
                  </a:lnTo>
                  <a:lnTo>
                    <a:pt x="1073" y="92"/>
                  </a:lnTo>
                  <a:lnTo>
                    <a:pt x="1077" y="92"/>
                  </a:lnTo>
                  <a:lnTo>
                    <a:pt x="1073" y="92"/>
                  </a:lnTo>
                  <a:lnTo>
                    <a:pt x="1073" y="96"/>
                  </a:lnTo>
                  <a:lnTo>
                    <a:pt x="1069" y="96"/>
                  </a:lnTo>
                  <a:lnTo>
                    <a:pt x="1065" y="92"/>
                  </a:lnTo>
                  <a:lnTo>
                    <a:pt x="1061" y="96"/>
                  </a:lnTo>
                  <a:lnTo>
                    <a:pt x="1057" y="96"/>
                  </a:lnTo>
                  <a:lnTo>
                    <a:pt x="1053" y="96"/>
                  </a:lnTo>
                  <a:lnTo>
                    <a:pt x="1049" y="96"/>
                  </a:lnTo>
                  <a:lnTo>
                    <a:pt x="1045" y="96"/>
                  </a:lnTo>
                  <a:lnTo>
                    <a:pt x="1041" y="96"/>
                  </a:lnTo>
                  <a:lnTo>
                    <a:pt x="1041" y="92"/>
                  </a:lnTo>
                  <a:lnTo>
                    <a:pt x="1037" y="92"/>
                  </a:lnTo>
                  <a:lnTo>
                    <a:pt x="1041" y="96"/>
                  </a:lnTo>
                  <a:lnTo>
                    <a:pt x="1045" y="96"/>
                  </a:lnTo>
                  <a:lnTo>
                    <a:pt x="1041" y="96"/>
                  </a:lnTo>
                  <a:lnTo>
                    <a:pt x="1037" y="96"/>
                  </a:lnTo>
                  <a:lnTo>
                    <a:pt x="1037" y="100"/>
                  </a:lnTo>
                  <a:lnTo>
                    <a:pt x="1041" y="100"/>
                  </a:lnTo>
                  <a:lnTo>
                    <a:pt x="1045" y="100"/>
                  </a:lnTo>
                  <a:lnTo>
                    <a:pt x="1049" y="100"/>
                  </a:lnTo>
                  <a:lnTo>
                    <a:pt x="1053" y="100"/>
                  </a:lnTo>
                  <a:lnTo>
                    <a:pt x="1053" y="96"/>
                  </a:lnTo>
                  <a:lnTo>
                    <a:pt x="1057" y="96"/>
                  </a:lnTo>
                  <a:lnTo>
                    <a:pt x="1061" y="96"/>
                  </a:lnTo>
                  <a:lnTo>
                    <a:pt x="1065" y="96"/>
                  </a:lnTo>
                  <a:lnTo>
                    <a:pt x="1065" y="100"/>
                  </a:lnTo>
                  <a:lnTo>
                    <a:pt x="1061" y="100"/>
                  </a:lnTo>
                  <a:lnTo>
                    <a:pt x="1057" y="100"/>
                  </a:lnTo>
                  <a:lnTo>
                    <a:pt x="1053" y="104"/>
                  </a:lnTo>
                  <a:lnTo>
                    <a:pt x="1057" y="104"/>
                  </a:lnTo>
                  <a:lnTo>
                    <a:pt x="1061" y="104"/>
                  </a:lnTo>
                  <a:lnTo>
                    <a:pt x="1057" y="108"/>
                  </a:lnTo>
                  <a:lnTo>
                    <a:pt x="1053" y="108"/>
                  </a:lnTo>
                  <a:lnTo>
                    <a:pt x="1049" y="108"/>
                  </a:lnTo>
                  <a:lnTo>
                    <a:pt x="1045" y="108"/>
                  </a:lnTo>
                  <a:lnTo>
                    <a:pt x="1041" y="112"/>
                  </a:lnTo>
                  <a:lnTo>
                    <a:pt x="1037" y="112"/>
                  </a:lnTo>
                  <a:lnTo>
                    <a:pt x="1037" y="108"/>
                  </a:lnTo>
                  <a:lnTo>
                    <a:pt x="1037" y="112"/>
                  </a:lnTo>
                  <a:lnTo>
                    <a:pt x="1033" y="112"/>
                  </a:lnTo>
                  <a:lnTo>
                    <a:pt x="1029" y="108"/>
                  </a:lnTo>
                  <a:lnTo>
                    <a:pt x="1029" y="104"/>
                  </a:lnTo>
                  <a:lnTo>
                    <a:pt x="1025" y="104"/>
                  </a:lnTo>
                  <a:lnTo>
                    <a:pt x="1021" y="104"/>
                  </a:lnTo>
                  <a:lnTo>
                    <a:pt x="1017" y="104"/>
                  </a:lnTo>
                  <a:lnTo>
                    <a:pt x="1013" y="104"/>
                  </a:lnTo>
                  <a:lnTo>
                    <a:pt x="1009" y="104"/>
                  </a:lnTo>
                  <a:lnTo>
                    <a:pt x="1005" y="104"/>
                  </a:lnTo>
                  <a:lnTo>
                    <a:pt x="1001" y="104"/>
                  </a:lnTo>
                  <a:lnTo>
                    <a:pt x="1001" y="108"/>
                  </a:lnTo>
                  <a:lnTo>
                    <a:pt x="1005" y="108"/>
                  </a:lnTo>
                  <a:lnTo>
                    <a:pt x="1009" y="108"/>
                  </a:lnTo>
                  <a:lnTo>
                    <a:pt x="1013" y="108"/>
                  </a:lnTo>
                  <a:lnTo>
                    <a:pt x="1017" y="108"/>
                  </a:lnTo>
                  <a:lnTo>
                    <a:pt x="1021" y="108"/>
                  </a:lnTo>
                  <a:lnTo>
                    <a:pt x="1025" y="108"/>
                  </a:lnTo>
                  <a:lnTo>
                    <a:pt x="1025" y="112"/>
                  </a:lnTo>
                  <a:lnTo>
                    <a:pt x="1025" y="116"/>
                  </a:lnTo>
                  <a:lnTo>
                    <a:pt x="1021" y="116"/>
                  </a:lnTo>
                  <a:lnTo>
                    <a:pt x="1017" y="116"/>
                  </a:lnTo>
                  <a:lnTo>
                    <a:pt x="1013" y="116"/>
                  </a:lnTo>
                  <a:lnTo>
                    <a:pt x="1009" y="116"/>
                  </a:lnTo>
                  <a:lnTo>
                    <a:pt x="1005" y="116"/>
                  </a:lnTo>
                  <a:lnTo>
                    <a:pt x="1001" y="116"/>
                  </a:lnTo>
                  <a:lnTo>
                    <a:pt x="997" y="116"/>
                  </a:lnTo>
                  <a:lnTo>
                    <a:pt x="1001" y="116"/>
                  </a:lnTo>
                  <a:lnTo>
                    <a:pt x="1001" y="120"/>
                  </a:lnTo>
                  <a:lnTo>
                    <a:pt x="997" y="120"/>
                  </a:lnTo>
                  <a:lnTo>
                    <a:pt x="993" y="120"/>
                  </a:lnTo>
                  <a:lnTo>
                    <a:pt x="989" y="120"/>
                  </a:lnTo>
                  <a:lnTo>
                    <a:pt x="985" y="116"/>
                  </a:lnTo>
                  <a:lnTo>
                    <a:pt x="985" y="120"/>
                  </a:lnTo>
                  <a:lnTo>
                    <a:pt x="985" y="116"/>
                  </a:lnTo>
                  <a:lnTo>
                    <a:pt x="981" y="116"/>
                  </a:lnTo>
                  <a:lnTo>
                    <a:pt x="977" y="116"/>
                  </a:lnTo>
                  <a:lnTo>
                    <a:pt x="973" y="116"/>
                  </a:lnTo>
                  <a:lnTo>
                    <a:pt x="969" y="116"/>
                  </a:lnTo>
                  <a:lnTo>
                    <a:pt x="965" y="116"/>
                  </a:lnTo>
                  <a:lnTo>
                    <a:pt x="969" y="116"/>
                  </a:lnTo>
                  <a:lnTo>
                    <a:pt x="973" y="116"/>
                  </a:lnTo>
                  <a:lnTo>
                    <a:pt x="977" y="116"/>
                  </a:lnTo>
                  <a:lnTo>
                    <a:pt x="981" y="116"/>
                  </a:lnTo>
                  <a:lnTo>
                    <a:pt x="981" y="120"/>
                  </a:lnTo>
                  <a:lnTo>
                    <a:pt x="985" y="120"/>
                  </a:lnTo>
                  <a:lnTo>
                    <a:pt x="981" y="120"/>
                  </a:lnTo>
                  <a:lnTo>
                    <a:pt x="977" y="120"/>
                  </a:lnTo>
                  <a:lnTo>
                    <a:pt x="973" y="120"/>
                  </a:lnTo>
                  <a:lnTo>
                    <a:pt x="969" y="120"/>
                  </a:lnTo>
                  <a:lnTo>
                    <a:pt x="965" y="120"/>
                  </a:lnTo>
                  <a:lnTo>
                    <a:pt x="965" y="116"/>
                  </a:lnTo>
                  <a:lnTo>
                    <a:pt x="961" y="116"/>
                  </a:lnTo>
                  <a:lnTo>
                    <a:pt x="965" y="120"/>
                  </a:lnTo>
                  <a:lnTo>
                    <a:pt x="961" y="120"/>
                  </a:lnTo>
                  <a:lnTo>
                    <a:pt x="957" y="120"/>
                  </a:lnTo>
                  <a:lnTo>
                    <a:pt x="953" y="120"/>
                  </a:lnTo>
                  <a:lnTo>
                    <a:pt x="957" y="120"/>
                  </a:lnTo>
                  <a:lnTo>
                    <a:pt x="961" y="120"/>
                  </a:lnTo>
                  <a:lnTo>
                    <a:pt x="961" y="124"/>
                  </a:lnTo>
                  <a:lnTo>
                    <a:pt x="965" y="124"/>
                  </a:lnTo>
                  <a:lnTo>
                    <a:pt x="961" y="124"/>
                  </a:lnTo>
                  <a:lnTo>
                    <a:pt x="965" y="124"/>
                  </a:lnTo>
                  <a:lnTo>
                    <a:pt x="969" y="124"/>
                  </a:lnTo>
                  <a:lnTo>
                    <a:pt x="973" y="124"/>
                  </a:lnTo>
                  <a:lnTo>
                    <a:pt x="981" y="124"/>
                  </a:lnTo>
                  <a:lnTo>
                    <a:pt x="985" y="124"/>
                  </a:lnTo>
                  <a:lnTo>
                    <a:pt x="989" y="124"/>
                  </a:lnTo>
                  <a:lnTo>
                    <a:pt x="993" y="124"/>
                  </a:lnTo>
                  <a:lnTo>
                    <a:pt x="997" y="124"/>
                  </a:lnTo>
                  <a:lnTo>
                    <a:pt x="1001" y="124"/>
                  </a:lnTo>
                  <a:lnTo>
                    <a:pt x="1005" y="124"/>
                  </a:lnTo>
                  <a:lnTo>
                    <a:pt x="1001" y="124"/>
                  </a:lnTo>
                  <a:lnTo>
                    <a:pt x="1001" y="128"/>
                  </a:lnTo>
                  <a:lnTo>
                    <a:pt x="1005" y="128"/>
                  </a:lnTo>
                  <a:lnTo>
                    <a:pt x="1009" y="128"/>
                  </a:lnTo>
                  <a:lnTo>
                    <a:pt x="1005" y="128"/>
                  </a:lnTo>
                  <a:lnTo>
                    <a:pt x="1005" y="132"/>
                  </a:lnTo>
                  <a:lnTo>
                    <a:pt x="1001" y="132"/>
                  </a:lnTo>
                  <a:lnTo>
                    <a:pt x="997" y="132"/>
                  </a:lnTo>
                  <a:lnTo>
                    <a:pt x="993" y="128"/>
                  </a:lnTo>
                  <a:lnTo>
                    <a:pt x="989" y="128"/>
                  </a:lnTo>
                  <a:lnTo>
                    <a:pt x="985" y="128"/>
                  </a:lnTo>
                  <a:lnTo>
                    <a:pt x="985" y="124"/>
                  </a:lnTo>
                  <a:lnTo>
                    <a:pt x="981" y="124"/>
                  </a:lnTo>
                  <a:lnTo>
                    <a:pt x="977" y="124"/>
                  </a:lnTo>
                  <a:lnTo>
                    <a:pt x="969" y="124"/>
                  </a:lnTo>
                  <a:lnTo>
                    <a:pt x="965" y="124"/>
                  </a:lnTo>
                  <a:lnTo>
                    <a:pt x="961" y="124"/>
                  </a:lnTo>
                  <a:lnTo>
                    <a:pt x="957" y="124"/>
                  </a:lnTo>
                  <a:lnTo>
                    <a:pt x="949" y="124"/>
                  </a:lnTo>
                  <a:lnTo>
                    <a:pt x="949" y="128"/>
                  </a:lnTo>
                  <a:lnTo>
                    <a:pt x="953" y="124"/>
                  </a:lnTo>
                  <a:lnTo>
                    <a:pt x="957" y="124"/>
                  </a:lnTo>
                  <a:lnTo>
                    <a:pt x="961" y="124"/>
                  </a:lnTo>
                  <a:lnTo>
                    <a:pt x="965" y="128"/>
                  </a:lnTo>
                  <a:lnTo>
                    <a:pt x="969" y="128"/>
                  </a:lnTo>
                  <a:lnTo>
                    <a:pt x="973" y="128"/>
                  </a:lnTo>
                  <a:lnTo>
                    <a:pt x="977" y="128"/>
                  </a:lnTo>
                  <a:lnTo>
                    <a:pt x="981" y="128"/>
                  </a:lnTo>
                  <a:lnTo>
                    <a:pt x="977" y="128"/>
                  </a:lnTo>
                  <a:lnTo>
                    <a:pt x="973" y="128"/>
                  </a:lnTo>
                  <a:lnTo>
                    <a:pt x="969" y="128"/>
                  </a:lnTo>
                  <a:lnTo>
                    <a:pt x="965" y="128"/>
                  </a:lnTo>
                  <a:lnTo>
                    <a:pt x="961" y="128"/>
                  </a:lnTo>
                  <a:lnTo>
                    <a:pt x="961" y="132"/>
                  </a:lnTo>
                  <a:lnTo>
                    <a:pt x="957" y="132"/>
                  </a:lnTo>
                  <a:lnTo>
                    <a:pt x="957" y="128"/>
                  </a:lnTo>
                  <a:lnTo>
                    <a:pt x="953" y="128"/>
                  </a:lnTo>
                  <a:lnTo>
                    <a:pt x="949" y="128"/>
                  </a:lnTo>
                  <a:lnTo>
                    <a:pt x="945" y="128"/>
                  </a:lnTo>
                  <a:lnTo>
                    <a:pt x="941" y="128"/>
                  </a:lnTo>
                  <a:lnTo>
                    <a:pt x="945" y="128"/>
                  </a:lnTo>
                  <a:lnTo>
                    <a:pt x="949" y="128"/>
                  </a:lnTo>
                  <a:lnTo>
                    <a:pt x="953" y="128"/>
                  </a:lnTo>
                  <a:lnTo>
                    <a:pt x="957" y="128"/>
                  </a:lnTo>
                  <a:lnTo>
                    <a:pt x="957" y="132"/>
                  </a:lnTo>
                  <a:lnTo>
                    <a:pt x="953" y="132"/>
                  </a:lnTo>
                  <a:lnTo>
                    <a:pt x="953" y="136"/>
                  </a:lnTo>
                  <a:lnTo>
                    <a:pt x="949" y="136"/>
                  </a:lnTo>
                  <a:lnTo>
                    <a:pt x="949" y="140"/>
                  </a:lnTo>
                  <a:lnTo>
                    <a:pt x="949" y="136"/>
                  </a:lnTo>
                  <a:lnTo>
                    <a:pt x="953" y="136"/>
                  </a:lnTo>
                  <a:lnTo>
                    <a:pt x="953" y="132"/>
                  </a:lnTo>
                  <a:lnTo>
                    <a:pt x="957" y="132"/>
                  </a:lnTo>
                  <a:lnTo>
                    <a:pt x="961" y="132"/>
                  </a:lnTo>
                  <a:lnTo>
                    <a:pt x="965" y="132"/>
                  </a:lnTo>
                  <a:lnTo>
                    <a:pt x="969" y="132"/>
                  </a:lnTo>
                  <a:lnTo>
                    <a:pt x="973" y="132"/>
                  </a:lnTo>
                  <a:lnTo>
                    <a:pt x="977" y="132"/>
                  </a:lnTo>
                  <a:lnTo>
                    <a:pt x="985" y="132"/>
                  </a:lnTo>
                  <a:lnTo>
                    <a:pt x="989" y="132"/>
                  </a:lnTo>
                  <a:lnTo>
                    <a:pt x="985" y="132"/>
                  </a:lnTo>
                  <a:lnTo>
                    <a:pt x="981" y="132"/>
                  </a:lnTo>
                  <a:lnTo>
                    <a:pt x="981" y="136"/>
                  </a:lnTo>
                  <a:lnTo>
                    <a:pt x="977" y="136"/>
                  </a:lnTo>
                  <a:lnTo>
                    <a:pt x="981" y="136"/>
                  </a:lnTo>
                  <a:lnTo>
                    <a:pt x="985" y="136"/>
                  </a:lnTo>
                  <a:lnTo>
                    <a:pt x="993" y="136"/>
                  </a:lnTo>
                  <a:lnTo>
                    <a:pt x="997" y="136"/>
                  </a:lnTo>
                  <a:lnTo>
                    <a:pt x="1001" y="136"/>
                  </a:lnTo>
                  <a:lnTo>
                    <a:pt x="1001" y="140"/>
                  </a:lnTo>
                  <a:lnTo>
                    <a:pt x="1001" y="144"/>
                  </a:lnTo>
                  <a:lnTo>
                    <a:pt x="997" y="144"/>
                  </a:lnTo>
                  <a:lnTo>
                    <a:pt x="993" y="144"/>
                  </a:lnTo>
                  <a:lnTo>
                    <a:pt x="993" y="148"/>
                  </a:lnTo>
                  <a:lnTo>
                    <a:pt x="985" y="148"/>
                  </a:lnTo>
                  <a:lnTo>
                    <a:pt x="981" y="144"/>
                  </a:lnTo>
                  <a:lnTo>
                    <a:pt x="977" y="144"/>
                  </a:lnTo>
                  <a:lnTo>
                    <a:pt x="973" y="144"/>
                  </a:lnTo>
                  <a:lnTo>
                    <a:pt x="973" y="148"/>
                  </a:lnTo>
                  <a:lnTo>
                    <a:pt x="977" y="148"/>
                  </a:lnTo>
                  <a:lnTo>
                    <a:pt x="981" y="148"/>
                  </a:lnTo>
                  <a:lnTo>
                    <a:pt x="985" y="148"/>
                  </a:lnTo>
                  <a:lnTo>
                    <a:pt x="989" y="148"/>
                  </a:lnTo>
                  <a:lnTo>
                    <a:pt x="993" y="148"/>
                  </a:lnTo>
                  <a:lnTo>
                    <a:pt x="997" y="152"/>
                  </a:lnTo>
                  <a:lnTo>
                    <a:pt x="993" y="152"/>
                  </a:lnTo>
                  <a:lnTo>
                    <a:pt x="993" y="156"/>
                  </a:lnTo>
                  <a:lnTo>
                    <a:pt x="989" y="156"/>
                  </a:lnTo>
                  <a:lnTo>
                    <a:pt x="985" y="156"/>
                  </a:lnTo>
                  <a:lnTo>
                    <a:pt x="981" y="156"/>
                  </a:lnTo>
                  <a:lnTo>
                    <a:pt x="977" y="156"/>
                  </a:lnTo>
                  <a:lnTo>
                    <a:pt x="973" y="156"/>
                  </a:lnTo>
                  <a:lnTo>
                    <a:pt x="969" y="156"/>
                  </a:lnTo>
                  <a:lnTo>
                    <a:pt x="973" y="156"/>
                  </a:lnTo>
                  <a:lnTo>
                    <a:pt x="977" y="156"/>
                  </a:lnTo>
                  <a:lnTo>
                    <a:pt x="985" y="156"/>
                  </a:lnTo>
                  <a:lnTo>
                    <a:pt x="989" y="156"/>
                  </a:lnTo>
                  <a:lnTo>
                    <a:pt x="989" y="160"/>
                  </a:lnTo>
                  <a:lnTo>
                    <a:pt x="985" y="160"/>
                  </a:lnTo>
                  <a:lnTo>
                    <a:pt x="985" y="164"/>
                  </a:lnTo>
                  <a:lnTo>
                    <a:pt x="981" y="160"/>
                  </a:lnTo>
                  <a:lnTo>
                    <a:pt x="977" y="160"/>
                  </a:lnTo>
                  <a:lnTo>
                    <a:pt x="977" y="164"/>
                  </a:lnTo>
                  <a:lnTo>
                    <a:pt x="973" y="164"/>
                  </a:lnTo>
                  <a:lnTo>
                    <a:pt x="969" y="164"/>
                  </a:lnTo>
                  <a:lnTo>
                    <a:pt x="965" y="164"/>
                  </a:lnTo>
                  <a:lnTo>
                    <a:pt x="957" y="164"/>
                  </a:lnTo>
                  <a:lnTo>
                    <a:pt x="953" y="164"/>
                  </a:lnTo>
                  <a:lnTo>
                    <a:pt x="949" y="164"/>
                  </a:lnTo>
                  <a:lnTo>
                    <a:pt x="949" y="160"/>
                  </a:lnTo>
                  <a:lnTo>
                    <a:pt x="945" y="164"/>
                  </a:lnTo>
                  <a:lnTo>
                    <a:pt x="949" y="164"/>
                  </a:lnTo>
                  <a:lnTo>
                    <a:pt x="949" y="168"/>
                  </a:lnTo>
                  <a:lnTo>
                    <a:pt x="953" y="168"/>
                  </a:lnTo>
                  <a:lnTo>
                    <a:pt x="953" y="171"/>
                  </a:lnTo>
                  <a:lnTo>
                    <a:pt x="957" y="171"/>
                  </a:lnTo>
                  <a:lnTo>
                    <a:pt x="953" y="175"/>
                  </a:lnTo>
                  <a:lnTo>
                    <a:pt x="949" y="179"/>
                  </a:lnTo>
                  <a:lnTo>
                    <a:pt x="941" y="183"/>
                  </a:lnTo>
                  <a:lnTo>
                    <a:pt x="941" y="179"/>
                  </a:lnTo>
                  <a:lnTo>
                    <a:pt x="937" y="179"/>
                  </a:lnTo>
                  <a:lnTo>
                    <a:pt x="937" y="183"/>
                  </a:lnTo>
                  <a:lnTo>
                    <a:pt x="933" y="183"/>
                  </a:lnTo>
                  <a:lnTo>
                    <a:pt x="929" y="183"/>
                  </a:lnTo>
                  <a:lnTo>
                    <a:pt x="925" y="183"/>
                  </a:lnTo>
                  <a:lnTo>
                    <a:pt x="921" y="183"/>
                  </a:lnTo>
                  <a:lnTo>
                    <a:pt x="917" y="183"/>
                  </a:lnTo>
                  <a:lnTo>
                    <a:pt x="913" y="179"/>
                  </a:lnTo>
                  <a:lnTo>
                    <a:pt x="909" y="179"/>
                  </a:lnTo>
                  <a:lnTo>
                    <a:pt x="905" y="179"/>
                  </a:lnTo>
                  <a:lnTo>
                    <a:pt x="901" y="179"/>
                  </a:lnTo>
                  <a:lnTo>
                    <a:pt x="901" y="175"/>
                  </a:lnTo>
                  <a:lnTo>
                    <a:pt x="897" y="175"/>
                  </a:lnTo>
                  <a:lnTo>
                    <a:pt x="893" y="171"/>
                  </a:lnTo>
                  <a:lnTo>
                    <a:pt x="897" y="175"/>
                  </a:lnTo>
                  <a:lnTo>
                    <a:pt x="897" y="179"/>
                  </a:lnTo>
                  <a:lnTo>
                    <a:pt x="901" y="179"/>
                  </a:lnTo>
                  <a:lnTo>
                    <a:pt x="905" y="179"/>
                  </a:lnTo>
                  <a:lnTo>
                    <a:pt x="905" y="183"/>
                  </a:lnTo>
                  <a:lnTo>
                    <a:pt x="901" y="183"/>
                  </a:lnTo>
                  <a:lnTo>
                    <a:pt x="893" y="183"/>
                  </a:lnTo>
                  <a:lnTo>
                    <a:pt x="889" y="183"/>
                  </a:lnTo>
                  <a:lnTo>
                    <a:pt x="893" y="183"/>
                  </a:lnTo>
                  <a:lnTo>
                    <a:pt x="893" y="187"/>
                  </a:lnTo>
                  <a:lnTo>
                    <a:pt x="897" y="187"/>
                  </a:lnTo>
                  <a:lnTo>
                    <a:pt x="897" y="183"/>
                  </a:lnTo>
                  <a:lnTo>
                    <a:pt x="901" y="183"/>
                  </a:lnTo>
                  <a:lnTo>
                    <a:pt x="905" y="183"/>
                  </a:lnTo>
                  <a:lnTo>
                    <a:pt x="909" y="183"/>
                  </a:lnTo>
                  <a:lnTo>
                    <a:pt x="913" y="183"/>
                  </a:lnTo>
                  <a:lnTo>
                    <a:pt x="917" y="183"/>
                  </a:lnTo>
                  <a:lnTo>
                    <a:pt x="921" y="183"/>
                  </a:lnTo>
                  <a:lnTo>
                    <a:pt x="921" y="187"/>
                  </a:lnTo>
                  <a:lnTo>
                    <a:pt x="917" y="187"/>
                  </a:lnTo>
                  <a:lnTo>
                    <a:pt x="921" y="187"/>
                  </a:lnTo>
                  <a:lnTo>
                    <a:pt x="925" y="183"/>
                  </a:lnTo>
                  <a:lnTo>
                    <a:pt x="929" y="183"/>
                  </a:lnTo>
                  <a:lnTo>
                    <a:pt x="933" y="183"/>
                  </a:lnTo>
                  <a:lnTo>
                    <a:pt x="937" y="187"/>
                  </a:lnTo>
                  <a:lnTo>
                    <a:pt x="937" y="191"/>
                  </a:lnTo>
                  <a:lnTo>
                    <a:pt x="933" y="191"/>
                  </a:lnTo>
                  <a:lnTo>
                    <a:pt x="933" y="195"/>
                  </a:lnTo>
                  <a:lnTo>
                    <a:pt x="933" y="191"/>
                  </a:lnTo>
                  <a:lnTo>
                    <a:pt x="937" y="191"/>
                  </a:lnTo>
                  <a:lnTo>
                    <a:pt x="941" y="195"/>
                  </a:lnTo>
                  <a:lnTo>
                    <a:pt x="945" y="195"/>
                  </a:lnTo>
                  <a:lnTo>
                    <a:pt x="945" y="191"/>
                  </a:lnTo>
                  <a:lnTo>
                    <a:pt x="949" y="191"/>
                  </a:lnTo>
                  <a:lnTo>
                    <a:pt x="953" y="191"/>
                  </a:lnTo>
                  <a:lnTo>
                    <a:pt x="957" y="199"/>
                  </a:lnTo>
                  <a:lnTo>
                    <a:pt x="957" y="203"/>
                  </a:lnTo>
                  <a:lnTo>
                    <a:pt x="953" y="203"/>
                  </a:lnTo>
                  <a:lnTo>
                    <a:pt x="949" y="203"/>
                  </a:lnTo>
                  <a:lnTo>
                    <a:pt x="949" y="207"/>
                  </a:lnTo>
                  <a:lnTo>
                    <a:pt x="945" y="207"/>
                  </a:lnTo>
                  <a:lnTo>
                    <a:pt x="945" y="203"/>
                  </a:lnTo>
                  <a:lnTo>
                    <a:pt x="941" y="203"/>
                  </a:lnTo>
                  <a:lnTo>
                    <a:pt x="941" y="207"/>
                  </a:lnTo>
                  <a:lnTo>
                    <a:pt x="937" y="207"/>
                  </a:lnTo>
                  <a:lnTo>
                    <a:pt x="933" y="207"/>
                  </a:lnTo>
                  <a:lnTo>
                    <a:pt x="933" y="211"/>
                  </a:lnTo>
                  <a:lnTo>
                    <a:pt x="929" y="211"/>
                  </a:lnTo>
                  <a:lnTo>
                    <a:pt x="925" y="211"/>
                  </a:lnTo>
                  <a:lnTo>
                    <a:pt x="925" y="215"/>
                  </a:lnTo>
                  <a:lnTo>
                    <a:pt x="921" y="215"/>
                  </a:lnTo>
                  <a:lnTo>
                    <a:pt x="917" y="215"/>
                  </a:lnTo>
                  <a:lnTo>
                    <a:pt x="913" y="215"/>
                  </a:lnTo>
                  <a:lnTo>
                    <a:pt x="909" y="215"/>
                  </a:lnTo>
                  <a:lnTo>
                    <a:pt x="905" y="215"/>
                  </a:lnTo>
                  <a:lnTo>
                    <a:pt x="909" y="211"/>
                  </a:lnTo>
                  <a:lnTo>
                    <a:pt x="913" y="207"/>
                  </a:lnTo>
                  <a:lnTo>
                    <a:pt x="909" y="207"/>
                  </a:lnTo>
                  <a:lnTo>
                    <a:pt x="905" y="207"/>
                  </a:lnTo>
                  <a:lnTo>
                    <a:pt x="905" y="203"/>
                  </a:lnTo>
                  <a:lnTo>
                    <a:pt x="901" y="207"/>
                  </a:lnTo>
                  <a:lnTo>
                    <a:pt x="897" y="207"/>
                  </a:lnTo>
                  <a:lnTo>
                    <a:pt x="893" y="207"/>
                  </a:lnTo>
                  <a:lnTo>
                    <a:pt x="893" y="203"/>
                  </a:lnTo>
                  <a:lnTo>
                    <a:pt x="897" y="203"/>
                  </a:lnTo>
                  <a:lnTo>
                    <a:pt x="897" y="199"/>
                  </a:lnTo>
                  <a:lnTo>
                    <a:pt x="893" y="199"/>
                  </a:lnTo>
                  <a:lnTo>
                    <a:pt x="893" y="203"/>
                  </a:lnTo>
                  <a:lnTo>
                    <a:pt x="889" y="203"/>
                  </a:lnTo>
                  <a:lnTo>
                    <a:pt x="885" y="203"/>
                  </a:lnTo>
                  <a:lnTo>
                    <a:pt x="885" y="199"/>
                  </a:lnTo>
                  <a:lnTo>
                    <a:pt x="881" y="195"/>
                  </a:lnTo>
                  <a:lnTo>
                    <a:pt x="881" y="199"/>
                  </a:lnTo>
                  <a:lnTo>
                    <a:pt x="885" y="199"/>
                  </a:lnTo>
                  <a:lnTo>
                    <a:pt x="885" y="203"/>
                  </a:lnTo>
                  <a:lnTo>
                    <a:pt x="889" y="203"/>
                  </a:lnTo>
                  <a:lnTo>
                    <a:pt x="889" y="207"/>
                  </a:lnTo>
                  <a:lnTo>
                    <a:pt x="885" y="207"/>
                  </a:lnTo>
                  <a:lnTo>
                    <a:pt x="881" y="211"/>
                  </a:lnTo>
                  <a:lnTo>
                    <a:pt x="881" y="207"/>
                  </a:lnTo>
                  <a:lnTo>
                    <a:pt x="877" y="207"/>
                  </a:lnTo>
                  <a:lnTo>
                    <a:pt x="877" y="203"/>
                  </a:lnTo>
                  <a:lnTo>
                    <a:pt x="873" y="203"/>
                  </a:lnTo>
                  <a:lnTo>
                    <a:pt x="873" y="199"/>
                  </a:lnTo>
                  <a:lnTo>
                    <a:pt x="869" y="199"/>
                  </a:lnTo>
                  <a:lnTo>
                    <a:pt x="873" y="203"/>
                  </a:lnTo>
                  <a:lnTo>
                    <a:pt x="873" y="207"/>
                  </a:lnTo>
                  <a:lnTo>
                    <a:pt x="869" y="207"/>
                  </a:lnTo>
                  <a:lnTo>
                    <a:pt x="865" y="207"/>
                  </a:lnTo>
                  <a:lnTo>
                    <a:pt x="861" y="207"/>
                  </a:lnTo>
                  <a:lnTo>
                    <a:pt x="861" y="203"/>
                  </a:lnTo>
                  <a:lnTo>
                    <a:pt x="857" y="203"/>
                  </a:lnTo>
                  <a:lnTo>
                    <a:pt x="857" y="207"/>
                  </a:lnTo>
                  <a:lnTo>
                    <a:pt x="861" y="207"/>
                  </a:lnTo>
                  <a:lnTo>
                    <a:pt x="857" y="207"/>
                  </a:lnTo>
                  <a:lnTo>
                    <a:pt x="853" y="207"/>
                  </a:lnTo>
                  <a:lnTo>
                    <a:pt x="849" y="207"/>
                  </a:lnTo>
                  <a:lnTo>
                    <a:pt x="849" y="203"/>
                  </a:lnTo>
                  <a:lnTo>
                    <a:pt x="845" y="203"/>
                  </a:lnTo>
                  <a:lnTo>
                    <a:pt x="845" y="207"/>
                  </a:lnTo>
                  <a:lnTo>
                    <a:pt x="849" y="207"/>
                  </a:lnTo>
                  <a:lnTo>
                    <a:pt x="857" y="211"/>
                  </a:lnTo>
                  <a:lnTo>
                    <a:pt x="853" y="211"/>
                  </a:lnTo>
                  <a:lnTo>
                    <a:pt x="849" y="211"/>
                  </a:lnTo>
                  <a:lnTo>
                    <a:pt x="845" y="211"/>
                  </a:lnTo>
                  <a:lnTo>
                    <a:pt x="841" y="211"/>
                  </a:lnTo>
                  <a:lnTo>
                    <a:pt x="837" y="211"/>
                  </a:lnTo>
                  <a:lnTo>
                    <a:pt x="833" y="211"/>
                  </a:lnTo>
                  <a:lnTo>
                    <a:pt x="829" y="211"/>
                  </a:lnTo>
                  <a:lnTo>
                    <a:pt x="825" y="211"/>
                  </a:lnTo>
                  <a:lnTo>
                    <a:pt x="825" y="207"/>
                  </a:lnTo>
                  <a:lnTo>
                    <a:pt x="829" y="207"/>
                  </a:lnTo>
                  <a:lnTo>
                    <a:pt x="825" y="203"/>
                  </a:lnTo>
                  <a:lnTo>
                    <a:pt x="821" y="203"/>
                  </a:lnTo>
                  <a:lnTo>
                    <a:pt x="825" y="203"/>
                  </a:lnTo>
                  <a:lnTo>
                    <a:pt x="825" y="207"/>
                  </a:lnTo>
                  <a:lnTo>
                    <a:pt x="821" y="207"/>
                  </a:lnTo>
                  <a:lnTo>
                    <a:pt x="821" y="211"/>
                  </a:lnTo>
                  <a:lnTo>
                    <a:pt x="817" y="211"/>
                  </a:lnTo>
                  <a:lnTo>
                    <a:pt x="813" y="207"/>
                  </a:lnTo>
                  <a:lnTo>
                    <a:pt x="809" y="207"/>
                  </a:lnTo>
                  <a:lnTo>
                    <a:pt x="809" y="203"/>
                  </a:lnTo>
                  <a:lnTo>
                    <a:pt x="809" y="207"/>
                  </a:lnTo>
                  <a:lnTo>
                    <a:pt x="809" y="211"/>
                  </a:lnTo>
                  <a:lnTo>
                    <a:pt x="805" y="211"/>
                  </a:lnTo>
                  <a:lnTo>
                    <a:pt x="805" y="207"/>
                  </a:lnTo>
                  <a:lnTo>
                    <a:pt x="805" y="211"/>
                  </a:lnTo>
                  <a:lnTo>
                    <a:pt x="801" y="211"/>
                  </a:lnTo>
                  <a:lnTo>
                    <a:pt x="797" y="211"/>
                  </a:lnTo>
                  <a:lnTo>
                    <a:pt x="794" y="207"/>
                  </a:lnTo>
                  <a:lnTo>
                    <a:pt x="797" y="207"/>
                  </a:lnTo>
                  <a:lnTo>
                    <a:pt x="794" y="203"/>
                  </a:lnTo>
                  <a:lnTo>
                    <a:pt x="794" y="199"/>
                  </a:lnTo>
                  <a:lnTo>
                    <a:pt x="794" y="195"/>
                  </a:lnTo>
                  <a:lnTo>
                    <a:pt x="790" y="199"/>
                  </a:lnTo>
                  <a:lnTo>
                    <a:pt x="794" y="199"/>
                  </a:lnTo>
                  <a:lnTo>
                    <a:pt x="794" y="203"/>
                  </a:lnTo>
                  <a:lnTo>
                    <a:pt x="794" y="207"/>
                  </a:lnTo>
                  <a:lnTo>
                    <a:pt x="790" y="207"/>
                  </a:lnTo>
                  <a:lnTo>
                    <a:pt x="794" y="207"/>
                  </a:lnTo>
                  <a:lnTo>
                    <a:pt x="794" y="203"/>
                  </a:lnTo>
                  <a:lnTo>
                    <a:pt x="790" y="203"/>
                  </a:lnTo>
                  <a:lnTo>
                    <a:pt x="790" y="207"/>
                  </a:lnTo>
                  <a:lnTo>
                    <a:pt x="786" y="207"/>
                  </a:lnTo>
                  <a:lnTo>
                    <a:pt x="782" y="207"/>
                  </a:lnTo>
                  <a:lnTo>
                    <a:pt x="778" y="203"/>
                  </a:lnTo>
                  <a:lnTo>
                    <a:pt x="782" y="199"/>
                  </a:lnTo>
                  <a:lnTo>
                    <a:pt x="778" y="199"/>
                  </a:lnTo>
                  <a:lnTo>
                    <a:pt x="778" y="195"/>
                  </a:lnTo>
                  <a:lnTo>
                    <a:pt x="782" y="195"/>
                  </a:lnTo>
                  <a:lnTo>
                    <a:pt x="786" y="195"/>
                  </a:lnTo>
                  <a:lnTo>
                    <a:pt x="786" y="191"/>
                  </a:lnTo>
                  <a:lnTo>
                    <a:pt x="790" y="191"/>
                  </a:lnTo>
                  <a:lnTo>
                    <a:pt x="794" y="187"/>
                  </a:lnTo>
                  <a:lnTo>
                    <a:pt x="797" y="187"/>
                  </a:lnTo>
                  <a:lnTo>
                    <a:pt x="801" y="187"/>
                  </a:lnTo>
                  <a:lnTo>
                    <a:pt x="805" y="187"/>
                  </a:lnTo>
                  <a:lnTo>
                    <a:pt x="809" y="187"/>
                  </a:lnTo>
                  <a:lnTo>
                    <a:pt x="813" y="187"/>
                  </a:lnTo>
                  <a:lnTo>
                    <a:pt x="809" y="187"/>
                  </a:lnTo>
                  <a:lnTo>
                    <a:pt x="813" y="187"/>
                  </a:lnTo>
                  <a:lnTo>
                    <a:pt x="817" y="187"/>
                  </a:lnTo>
                  <a:lnTo>
                    <a:pt x="821" y="187"/>
                  </a:lnTo>
                  <a:lnTo>
                    <a:pt x="817" y="183"/>
                  </a:lnTo>
                  <a:lnTo>
                    <a:pt x="813" y="183"/>
                  </a:lnTo>
                  <a:lnTo>
                    <a:pt x="817" y="183"/>
                  </a:lnTo>
                  <a:lnTo>
                    <a:pt x="813" y="183"/>
                  </a:lnTo>
                  <a:lnTo>
                    <a:pt x="813" y="179"/>
                  </a:lnTo>
                  <a:lnTo>
                    <a:pt x="817" y="179"/>
                  </a:lnTo>
                  <a:lnTo>
                    <a:pt x="813" y="179"/>
                  </a:lnTo>
                  <a:lnTo>
                    <a:pt x="809" y="179"/>
                  </a:lnTo>
                  <a:lnTo>
                    <a:pt x="805" y="179"/>
                  </a:lnTo>
                  <a:lnTo>
                    <a:pt x="805" y="175"/>
                  </a:lnTo>
                  <a:lnTo>
                    <a:pt x="801" y="171"/>
                  </a:lnTo>
                  <a:lnTo>
                    <a:pt x="797" y="171"/>
                  </a:lnTo>
                  <a:lnTo>
                    <a:pt x="797" y="168"/>
                  </a:lnTo>
                  <a:lnTo>
                    <a:pt x="801" y="168"/>
                  </a:lnTo>
                  <a:lnTo>
                    <a:pt x="805" y="168"/>
                  </a:lnTo>
                  <a:lnTo>
                    <a:pt x="805" y="164"/>
                  </a:lnTo>
                  <a:lnTo>
                    <a:pt x="813" y="164"/>
                  </a:lnTo>
                  <a:lnTo>
                    <a:pt x="817" y="164"/>
                  </a:lnTo>
                  <a:lnTo>
                    <a:pt x="821" y="164"/>
                  </a:lnTo>
                  <a:lnTo>
                    <a:pt x="825" y="168"/>
                  </a:lnTo>
                  <a:lnTo>
                    <a:pt x="829" y="168"/>
                  </a:lnTo>
                  <a:lnTo>
                    <a:pt x="833" y="171"/>
                  </a:lnTo>
                  <a:lnTo>
                    <a:pt x="837" y="175"/>
                  </a:lnTo>
                  <a:lnTo>
                    <a:pt x="837" y="179"/>
                  </a:lnTo>
                  <a:lnTo>
                    <a:pt x="833" y="179"/>
                  </a:lnTo>
                  <a:lnTo>
                    <a:pt x="837" y="179"/>
                  </a:lnTo>
                  <a:lnTo>
                    <a:pt x="837" y="175"/>
                  </a:lnTo>
                  <a:lnTo>
                    <a:pt x="841" y="179"/>
                  </a:lnTo>
                  <a:lnTo>
                    <a:pt x="845" y="179"/>
                  </a:lnTo>
                  <a:lnTo>
                    <a:pt x="849" y="179"/>
                  </a:lnTo>
                  <a:lnTo>
                    <a:pt x="849" y="183"/>
                  </a:lnTo>
                  <a:lnTo>
                    <a:pt x="853" y="183"/>
                  </a:lnTo>
                  <a:lnTo>
                    <a:pt x="853" y="179"/>
                  </a:lnTo>
                  <a:lnTo>
                    <a:pt x="857" y="179"/>
                  </a:lnTo>
                  <a:lnTo>
                    <a:pt x="861" y="179"/>
                  </a:lnTo>
                  <a:lnTo>
                    <a:pt x="865" y="179"/>
                  </a:lnTo>
                  <a:lnTo>
                    <a:pt x="869" y="179"/>
                  </a:lnTo>
                  <a:lnTo>
                    <a:pt x="865" y="179"/>
                  </a:lnTo>
                  <a:lnTo>
                    <a:pt x="865" y="175"/>
                  </a:lnTo>
                  <a:lnTo>
                    <a:pt x="869" y="175"/>
                  </a:lnTo>
                  <a:lnTo>
                    <a:pt x="873" y="175"/>
                  </a:lnTo>
                  <a:lnTo>
                    <a:pt x="877" y="171"/>
                  </a:lnTo>
                  <a:lnTo>
                    <a:pt x="881" y="168"/>
                  </a:lnTo>
                  <a:lnTo>
                    <a:pt x="885" y="164"/>
                  </a:lnTo>
                  <a:lnTo>
                    <a:pt x="885" y="160"/>
                  </a:lnTo>
                  <a:lnTo>
                    <a:pt x="889" y="160"/>
                  </a:lnTo>
                  <a:lnTo>
                    <a:pt x="885" y="160"/>
                  </a:lnTo>
                  <a:lnTo>
                    <a:pt x="881" y="160"/>
                  </a:lnTo>
                  <a:lnTo>
                    <a:pt x="881" y="164"/>
                  </a:lnTo>
                  <a:lnTo>
                    <a:pt x="877" y="164"/>
                  </a:lnTo>
                  <a:lnTo>
                    <a:pt x="877" y="168"/>
                  </a:lnTo>
                  <a:lnTo>
                    <a:pt x="873" y="168"/>
                  </a:lnTo>
                  <a:lnTo>
                    <a:pt x="873" y="171"/>
                  </a:lnTo>
                  <a:lnTo>
                    <a:pt x="869" y="171"/>
                  </a:lnTo>
                  <a:lnTo>
                    <a:pt x="869" y="175"/>
                  </a:lnTo>
                  <a:lnTo>
                    <a:pt x="865" y="175"/>
                  </a:lnTo>
                  <a:lnTo>
                    <a:pt x="861" y="175"/>
                  </a:lnTo>
                  <a:lnTo>
                    <a:pt x="857" y="175"/>
                  </a:lnTo>
                  <a:lnTo>
                    <a:pt x="853" y="175"/>
                  </a:lnTo>
                  <a:lnTo>
                    <a:pt x="849" y="175"/>
                  </a:lnTo>
                  <a:lnTo>
                    <a:pt x="849" y="171"/>
                  </a:lnTo>
                  <a:lnTo>
                    <a:pt x="853" y="171"/>
                  </a:lnTo>
                  <a:lnTo>
                    <a:pt x="857" y="171"/>
                  </a:lnTo>
                  <a:lnTo>
                    <a:pt x="853" y="168"/>
                  </a:lnTo>
                  <a:lnTo>
                    <a:pt x="853" y="171"/>
                  </a:lnTo>
                  <a:lnTo>
                    <a:pt x="849" y="171"/>
                  </a:lnTo>
                  <a:lnTo>
                    <a:pt x="845" y="171"/>
                  </a:lnTo>
                  <a:lnTo>
                    <a:pt x="841" y="171"/>
                  </a:lnTo>
                  <a:lnTo>
                    <a:pt x="841" y="168"/>
                  </a:lnTo>
                  <a:lnTo>
                    <a:pt x="845" y="168"/>
                  </a:lnTo>
                  <a:lnTo>
                    <a:pt x="841" y="168"/>
                  </a:lnTo>
                  <a:lnTo>
                    <a:pt x="841" y="164"/>
                  </a:lnTo>
                  <a:lnTo>
                    <a:pt x="845" y="164"/>
                  </a:lnTo>
                  <a:lnTo>
                    <a:pt x="849" y="164"/>
                  </a:lnTo>
                  <a:lnTo>
                    <a:pt x="853" y="164"/>
                  </a:lnTo>
                  <a:lnTo>
                    <a:pt x="857" y="164"/>
                  </a:lnTo>
                  <a:lnTo>
                    <a:pt x="853" y="164"/>
                  </a:lnTo>
                  <a:lnTo>
                    <a:pt x="849" y="164"/>
                  </a:lnTo>
                  <a:lnTo>
                    <a:pt x="845" y="164"/>
                  </a:lnTo>
                  <a:lnTo>
                    <a:pt x="841" y="164"/>
                  </a:lnTo>
                  <a:lnTo>
                    <a:pt x="837" y="164"/>
                  </a:lnTo>
                  <a:lnTo>
                    <a:pt x="841" y="160"/>
                  </a:lnTo>
                  <a:lnTo>
                    <a:pt x="845" y="160"/>
                  </a:lnTo>
                  <a:lnTo>
                    <a:pt x="849" y="160"/>
                  </a:lnTo>
                  <a:lnTo>
                    <a:pt x="853" y="160"/>
                  </a:lnTo>
                  <a:lnTo>
                    <a:pt x="857" y="160"/>
                  </a:lnTo>
                  <a:lnTo>
                    <a:pt x="853" y="160"/>
                  </a:lnTo>
                  <a:lnTo>
                    <a:pt x="849" y="160"/>
                  </a:lnTo>
                  <a:lnTo>
                    <a:pt x="845" y="160"/>
                  </a:lnTo>
                  <a:lnTo>
                    <a:pt x="845" y="156"/>
                  </a:lnTo>
                  <a:lnTo>
                    <a:pt x="849" y="156"/>
                  </a:lnTo>
                  <a:lnTo>
                    <a:pt x="853" y="156"/>
                  </a:lnTo>
                  <a:lnTo>
                    <a:pt x="857" y="156"/>
                  </a:lnTo>
                  <a:lnTo>
                    <a:pt x="861" y="156"/>
                  </a:lnTo>
                  <a:lnTo>
                    <a:pt x="857" y="156"/>
                  </a:lnTo>
                  <a:lnTo>
                    <a:pt x="853" y="156"/>
                  </a:lnTo>
                  <a:lnTo>
                    <a:pt x="849" y="156"/>
                  </a:lnTo>
                  <a:lnTo>
                    <a:pt x="849" y="152"/>
                  </a:lnTo>
                  <a:lnTo>
                    <a:pt x="853" y="152"/>
                  </a:lnTo>
                  <a:lnTo>
                    <a:pt x="849" y="152"/>
                  </a:lnTo>
                  <a:lnTo>
                    <a:pt x="849" y="148"/>
                  </a:lnTo>
                  <a:lnTo>
                    <a:pt x="849" y="144"/>
                  </a:lnTo>
                  <a:lnTo>
                    <a:pt x="853" y="144"/>
                  </a:lnTo>
                  <a:lnTo>
                    <a:pt x="849" y="148"/>
                  </a:lnTo>
                  <a:lnTo>
                    <a:pt x="849" y="152"/>
                  </a:lnTo>
                  <a:lnTo>
                    <a:pt x="845" y="152"/>
                  </a:lnTo>
                  <a:lnTo>
                    <a:pt x="845" y="156"/>
                  </a:lnTo>
                  <a:lnTo>
                    <a:pt x="841" y="160"/>
                  </a:lnTo>
                  <a:lnTo>
                    <a:pt x="837" y="160"/>
                  </a:lnTo>
                  <a:lnTo>
                    <a:pt x="833" y="160"/>
                  </a:lnTo>
                  <a:lnTo>
                    <a:pt x="829" y="160"/>
                  </a:lnTo>
                  <a:lnTo>
                    <a:pt x="829" y="156"/>
                  </a:lnTo>
                  <a:lnTo>
                    <a:pt x="833" y="156"/>
                  </a:lnTo>
                  <a:lnTo>
                    <a:pt x="833" y="152"/>
                  </a:lnTo>
                  <a:lnTo>
                    <a:pt x="829" y="152"/>
                  </a:lnTo>
                  <a:lnTo>
                    <a:pt x="829" y="156"/>
                  </a:lnTo>
                  <a:lnTo>
                    <a:pt x="825" y="156"/>
                  </a:lnTo>
                  <a:lnTo>
                    <a:pt x="821" y="156"/>
                  </a:lnTo>
                  <a:lnTo>
                    <a:pt x="821" y="160"/>
                  </a:lnTo>
                  <a:lnTo>
                    <a:pt x="817" y="160"/>
                  </a:lnTo>
                  <a:lnTo>
                    <a:pt x="813" y="160"/>
                  </a:lnTo>
                  <a:lnTo>
                    <a:pt x="809" y="160"/>
                  </a:lnTo>
                  <a:lnTo>
                    <a:pt x="809" y="156"/>
                  </a:lnTo>
                  <a:lnTo>
                    <a:pt x="813" y="156"/>
                  </a:lnTo>
                  <a:lnTo>
                    <a:pt x="809" y="156"/>
                  </a:lnTo>
                  <a:lnTo>
                    <a:pt x="809" y="152"/>
                  </a:lnTo>
                  <a:lnTo>
                    <a:pt x="809" y="148"/>
                  </a:lnTo>
                  <a:lnTo>
                    <a:pt x="813" y="148"/>
                  </a:lnTo>
                  <a:lnTo>
                    <a:pt x="813" y="144"/>
                  </a:lnTo>
                  <a:lnTo>
                    <a:pt x="817" y="144"/>
                  </a:lnTo>
                  <a:lnTo>
                    <a:pt x="813" y="144"/>
                  </a:lnTo>
                  <a:lnTo>
                    <a:pt x="817" y="140"/>
                  </a:lnTo>
                  <a:lnTo>
                    <a:pt x="821" y="136"/>
                  </a:lnTo>
                  <a:lnTo>
                    <a:pt x="825" y="136"/>
                  </a:lnTo>
                  <a:lnTo>
                    <a:pt x="829" y="136"/>
                  </a:lnTo>
                  <a:lnTo>
                    <a:pt x="833" y="136"/>
                  </a:lnTo>
                  <a:lnTo>
                    <a:pt x="837" y="136"/>
                  </a:lnTo>
                  <a:lnTo>
                    <a:pt x="841" y="136"/>
                  </a:lnTo>
                  <a:lnTo>
                    <a:pt x="841" y="132"/>
                  </a:lnTo>
                  <a:lnTo>
                    <a:pt x="845" y="132"/>
                  </a:lnTo>
                  <a:lnTo>
                    <a:pt x="849" y="136"/>
                  </a:lnTo>
                  <a:lnTo>
                    <a:pt x="853" y="136"/>
                  </a:lnTo>
                  <a:lnTo>
                    <a:pt x="857" y="136"/>
                  </a:lnTo>
                  <a:lnTo>
                    <a:pt x="861" y="136"/>
                  </a:lnTo>
                  <a:lnTo>
                    <a:pt x="865" y="136"/>
                  </a:lnTo>
                  <a:lnTo>
                    <a:pt x="869" y="136"/>
                  </a:lnTo>
                  <a:lnTo>
                    <a:pt x="873" y="136"/>
                  </a:lnTo>
                  <a:lnTo>
                    <a:pt x="873" y="140"/>
                  </a:lnTo>
                  <a:lnTo>
                    <a:pt x="877" y="140"/>
                  </a:lnTo>
                  <a:lnTo>
                    <a:pt x="881" y="140"/>
                  </a:lnTo>
                  <a:lnTo>
                    <a:pt x="885" y="144"/>
                  </a:lnTo>
                  <a:lnTo>
                    <a:pt x="889" y="144"/>
                  </a:lnTo>
                  <a:lnTo>
                    <a:pt x="885" y="144"/>
                  </a:lnTo>
                  <a:lnTo>
                    <a:pt x="885" y="140"/>
                  </a:lnTo>
                  <a:lnTo>
                    <a:pt x="889" y="140"/>
                  </a:lnTo>
                  <a:lnTo>
                    <a:pt x="885" y="140"/>
                  </a:lnTo>
                  <a:lnTo>
                    <a:pt x="881" y="140"/>
                  </a:lnTo>
                  <a:lnTo>
                    <a:pt x="877" y="140"/>
                  </a:lnTo>
                  <a:lnTo>
                    <a:pt x="877" y="136"/>
                  </a:lnTo>
                  <a:lnTo>
                    <a:pt x="873" y="136"/>
                  </a:lnTo>
                  <a:lnTo>
                    <a:pt x="877" y="136"/>
                  </a:lnTo>
                  <a:lnTo>
                    <a:pt x="881" y="136"/>
                  </a:lnTo>
                  <a:lnTo>
                    <a:pt x="885" y="136"/>
                  </a:lnTo>
                  <a:lnTo>
                    <a:pt x="889" y="136"/>
                  </a:lnTo>
                  <a:lnTo>
                    <a:pt x="893" y="136"/>
                  </a:lnTo>
                  <a:lnTo>
                    <a:pt x="897" y="136"/>
                  </a:lnTo>
                  <a:lnTo>
                    <a:pt x="893" y="136"/>
                  </a:lnTo>
                  <a:lnTo>
                    <a:pt x="897" y="136"/>
                  </a:lnTo>
                  <a:lnTo>
                    <a:pt x="897" y="132"/>
                  </a:lnTo>
                  <a:lnTo>
                    <a:pt x="901" y="132"/>
                  </a:lnTo>
                  <a:lnTo>
                    <a:pt x="901" y="128"/>
                  </a:lnTo>
                  <a:lnTo>
                    <a:pt x="897" y="128"/>
                  </a:lnTo>
                  <a:lnTo>
                    <a:pt x="893" y="132"/>
                  </a:lnTo>
                  <a:lnTo>
                    <a:pt x="889" y="132"/>
                  </a:lnTo>
                  <a:lnTo>
                    <a:pt x="889" y="136"/>
                  </a:lnTo>
                  <a:lnTo>
                    <a:pt x="885" y="136"/>
                  </a:lnTo>
                  <a:lnTo>
                    <a:pt x="881" y="136"/>
                  </a:lnTo>
                  <a:lnTo>
                    <a:pt x="881" y="132"/>
                  </a:lnTo>
                  <a:lnTo>
                    <a:pt x="877" y="132"/>
                  </a:lnTo>
                  <a:lnTo>
                    <a:pt x="873" y="132"/>
                  </a:lnTo>
                  <a:lnTo>
                    <a:pt x="869" y="132"/>
                  </a:lnTo>
                  <a:lnTo>
                    <a:pt x="865" y="132"/>
                  </a:lnTo>
                  <a:lnTo>
                    <a:pt x="861" y="132"/>
                  </a:lnTo>
                  <a:lnTo>
                    <a:pt x="857" y="132"/>
                  </a:lnTo>
                  <a:lnTo>
                    <a:pt x="853" y="132"/>
                  </a:lnTo>
                  <a:lnTo>
                    <a:pt x="849" y="132"/>
                  </a:lnTo>
                  <a:lnTo>
                    <a:pt x="849" y="128"/>
                  </a:lnTo>
                  <a:lnTo>
                    <a:pt x="853" y="128"/>
                  </a:lnTo>
                  <a:lnTo>
                    <a:pt x="861" y="128"/>
                  </a:lnTo>
                  <a:lnTo>
                    <a:pt x="865" y="128"/>
                  </a:lnTo>
                  <a:lnTo>
                    <a:pt x="865" y="132"/>
                  </a:lnTo>
                  <a:lnTo>
                    <a:pt x="869" y="132"/>
                  </a:lnTo>
                  <a:lnTo>
                    <a:pt x="873" y="128"/>
                  </a:lnTo>
                  <a:lnTo>
                    <a:pt x="869" y="128"/>
                  </a:lnTo>
                  <a:lnTo>
                    <a:pt x="865" y="128"/>
                  </a:lnTo>
                  <a:lnTo>
                    <a:pt x="861" y="128"/>
                  </a:lnTo>
                  <a:lnTo>
                    <a:pt x="861" y="124"/>
                  </a:lnTo>
                  <a:lnTo>
                    <a:pt x="857" y="124"/>
                  </a:lnTo>
                  <a:lnTo>
                    <a:pt x="857" y="120"/>
                  </a:lnTo>
                  <a:lnTo>
                    <a:pt x="853" y="120"/>
                  </a:lnTo>
                  <a:lnTo>
                    <a:pt x="853" y="116"/>
                  </a:lnTo>
                  <a:lnTo>
                    <a:pt x="849" y="116"/>
                  </a:lnTo>
                  <a:lnTo>
                    <a:pt x="845" y="112"/>
                  </a:lnTo>
                  <a:lnTo>
                    <a:pt x="841" y="112"/>
                  </a:lnTo>
                  <a:lnTo>
                    <a:pt x="841" y="108"/>
                  </a:lnTo>
                  <a:lnTo>
                    <a:pt x="837" y="108"/>
                  </a:lnTo>
                  <a:lnTo>
                    <a:pt x="833" y="108"/>
                  </a:lnTo>
                  <a:lnTo>
                    <a:pt x="829" y="108"/>
                  </a:lnTo>
                  <a:lnTo>
                    <a:pt x="825" y="108"/>
                  </a:lnTo>
                  <a:lnTo>
                    <a:pt x="825" y="104"/>
                  </a:lnTo>
                  <a:lnTo>
                    <a:pt x="825" y="100"/>
                  </a:lnTo>
                  <a:lnTo>
                    <a:pt x="829" y="100"/>
                  </a:lnTo>
                  <a:lnTo>
                    <a:pt x="833" y="100"/>
                  </a:lnTo>
                  <a:lnTo>
                    <a:pt x="833" y="104"/>
                  </a:lnTo>
                  <a:lnTo>
                    <a:pt x="837" y="104"/>
                  </a:lnTo>
                  <a:lnTo>
                    <a:pt x="841" y="104"/>
                  </a:lnTo>
                  <a:lnTo>
                    <a:pt x="837" y="100"/>
                  </a:lnTo>
                  <a:lnTo>
                    <a:pt x="829" y="100"/>
                  </a:lnTo>
                  <a:lnTo>
                    <a:pt x="825" y="100"/>
                  </a:lnTo>
                  <a:lnTo>
                    <a:pt x="821" y="100"/>
                  </a:lnTo>
                  <a:lnTo>
                    <a:pt x="821" y="96"/>
                  </a:lnTo>
                  <a:lnTo>
                    <a:pt x="825" y="92"/>
                  </a:lnTo>
                  <a:lnTo>
                    <a:pt x="829" y="88"/>
                  </a:lnTo>
                  <a:lnTo>
                    <a:pt x="833" y="88"/>
                  </a:lnTo>
                  <a:lnTo>
                    <a:pt x="837" y="92"/>
                  </a:lnTo>
                  <a:lnTo>
                    <a:pt x="841" y="92"/>
                  </a:lnTo>
                  <a:lnTo>
                    <a:pt x="845" y="92"/>
                  </a:lnTo>
                  <a:lnTo>
                    <a:pt x="849" y="92"/>
                  </a:lnTo>
                  <a:lnTo>
                    <a:pt x="853" y="92"/>
                  </a:lnTo>
                  <a:lnTo>
                    <a:pt x="857" y="92"/>
                  </a:lnTo>
                  <a:lnTo>
                    <a:pt x="861" y="92"/>
                  </a:lnTo>
                  <a:lnTo>
                    <a:pt x="865" y="92"/>
                  </a:lnTo>
                  <a:lnTo>
                    <a:pt x="869" y="92"/>
                  </a:lnTo>
                  <a:lnTo>
                    <a:pt x="869" y="96"/>
                  </a:lnTo>
                  <a:lnTo>
                    <a:pt x="873" y="96"/>
                  </a:lnTo>
                  <a:lnTo>
                    <a:pt x="877" y="96"/>
                  </a:lnTo>
                  <a:lnTo>
                    <a:pt x="877" y="100"/>
                  </a:lnTo>
                  <a:lnTo>
                    <a:pt x="881" y="100"/>
                  </a:lnTo>
                  <a:lnTo>
                    <a:pt x="885" y="100"/>
                  </a:lnTo>
                  <a:lnTo>
                    <a:pt x="889" y="104"/>
                  </a:lnTo>
                  <a:lnTo>
                    <a:pt x="893" y="104"/>
                  </a:lnTo>
                  <a:lnTo>
                    <a:pt x="893" y="108"/>
                  </a:lnTo>
                  <a:lnTo>
                    <a:pt x="897" y="108"/>
                  </a:lnTo>
                  <a:lnTo>
                    <a:pt x="897" y="112"/>
                  </a:lnTo>
                  <a:lnTo>
                    <a:pt x="901" y="112"/>
                  </a:lnTo>
                  <a:lnTo>
                    <a:pt x="905" y="112"/>
                  </a:lnTo>
                  <a:lnTo>
                    <a:pt x="909" y="112"/>
                  </a:lnTo>
                  <a:lnTo>
                    <a:pt x="913" y="112"/>
                  </a:lnTo>
                  <a:lnTo>
                    <a:pt x="917" y="112"/>
                  </a:lnTo>
                  <a:lnTo>
                    <a:pt x="921" y="112"/>
                  </a:lnTo>
                  <a:lnTo>
                    <a:pt x="925" y="112"/>
                  </a:lnTo>
                  <a:lnTo>
                    <a:pt x="925" y="108"/>
                  </a:lnTo>
                  <a:lnTo>
                    <a:pt x="921" y="108"/>
                  </a:lnTo>
                  <a:lnTo>
                    <a:pt x="917" y="108"/>
                  </a:lnTo>
                  <a:lnTo>
                    <a:pt x="917" y="112"/>
                  </a:lnTo>
                  <a:lnTo>
                    <a:pt x="913" y="112"/>
                  </a:lnTo>
                  <a:lnTo>
                    <a:pt x="909" y="112"/>
                  </a:lnTo>
                  <a:lnTo>
                    <a:pt x="905" y="108"/>
                  </a:lnTo>
                  <a:lnTo>
                    <a:pt x="901" y="108"/>
                  </a:lnTo>
                  <a:lnTo>
                    <a:pt x="897" y="104"/>
                  </a:lnTo>
                  <a:lnTo>
                    <a:pt x="901" y="104"/>
                  </a:lnTo>
                  <a:lnTo>
                    <a:pt x="901" y="100"/>
                  </a:lnTo>
                  <a:lnTo>
                    <a:pt x="897" y="100"/>
                  </a:lnTo>
                  <a:lnTo>
                    <a:pt x="893" y="100"/>
                  </a:lnTo>
                  <a:lnTo>
                    <a:pt x="889" y="100"/>
                  </a:lnTo>
                  <a:lnTo>
                    <a:pt x="885" y="100"/>
                  </a:lnTo>
                  <a:lnTo>
                    <a:pt x="881" y="96"/>
                  </a:lnTo>
                  <a:lnTo>
                    <a:pt x="877" y="92"/>
                  </a:lnTo>
                  <a:lnTo>
                    <a:pt x="873" y="92"/>
                  </a:lnTo>
                  <a:lnTo>
                    <a:pt x="873" y="88"/>
                  </a:lnTo>
                  <a:lnTo>
                    <a:pt x="877" y="88"/>
                  </a:lnTo>
                  <a:lnTo>
                    <a:pt x="881" y="88"/>
                  </a:lnTo>
                  <a:lnTo>
                    <a:pt x="885" y="88"/>
                  </a:lnTo>
                  <a:lnTo>
                    <a:pt x="889" y="88"/>
                  </a:lnTo>
                  <a:lnTo>
                    <a:pt x="893" y="88"/>
                  </a:lnTo>
                  <a:lnTo>
                    <a:pt x="897" y="88"/>
                  </a:lnTo>
                  <a:lnTo>
                    <a:pt x="901" y="88"/>
                  </a:lnTo>
                  <a:lnTo>
                    <a:pt x="905" y="88"/>
                  </a:lnTo>
                  <a:lnTo>
                    <a:pt x="909" y="88"/>
                  </a:lnTo>
                  <a:lnTo>
                    <a:pt x="909" y="84"/>
                  </a:lnTo>
                  <a:lnTo>
                    <a:pt x="913" y="84"/>
                  </a:lnTo>
                  <a:lnTo>
                    <a:pt x="917" y="84"/>
                  </a:lnTo>
                  <a:lnTo>
                    <a:pt x="921" y="84"/>
                  </a:lnTo>
                  <a:lnTo>
                    <a:pt x="925" y="84"/>
                  </a:lnTo>
                  <a:lnTo>
                    <a:pt x="929" y="84"/>
                  </a:lnTo>
                  <a:lnTo>
                    <a:pt x="933" y="84"/>
                  </a:lnTo>
                  <a:lnTo>
                    <a:pt x="937" y="84"/>
                  </a:lnTo>
                  <a:lnTo>
                    <a:pt x="941" y="84"/>
                  </a:lnTo>
                  <a:lnTo>
                    <a:pt x="945" y="84"/>
                  </a:lnTo>
                  <a:lnTo>
                    <a:pt x="949" y="84"/>
                  </a:lnTo>
                  <a:lnTo>
                    <a:pt x="953" y="84"/>
                  </a:lnTo>
                  <a:lnTo>
                    <a:pt x="953" y="80"/>
                  </a:lnTo>
                  <a:lnTo>
                    <a:pt x="949" y="80"/>
                  </a:lnTo>
                  <a:lnTo>
                    <a:pt x="941" y="80"/>
                  </a:lnTo>
                  <a:lnTo>
                    <a:pt x="937" y="80"/>
                  </a:lnTo>
                  <a:lnTo>
                    <a:pt x="933" y="80"/>
                  </a:lnTo>
                  <a:lnTo>
                    <a:pt x="929" y="80"/>
                  </a:lnTo>
                  <a:lnTo>
                    <a:pt x="925" y="80"/>
                  </a:lnTo>
                  <a:lnTo>
                    <a:pt x="929" y="80"/>
                  </a:lnTo>
                  <a:lnTo>
                    <a:pt x="933" y="80"/>
                  </a:lnTo>
                  <a:lnTo>
                    <a:pt x="937" y="76"/>
                  </a:lnTo>
                  <a:lnTo>
                    <a:pt x="941" y="76"/>
                  </a:lnTo>
                  <a:lnTo>
                    <a:pt x="945" y="76"/>
                  </a:lnTo>
                  <a:lnTo>
                    <a:pt x="949" y="76"/>
                  </a:lnTo>
                  <a:lnTo>
                    <a:pt x="953" y="76"/>
                  </a:lnTo>
                  <a:lnTo>
                    <a:pt x="957" y="76"/>
                  </a:lnTo>
                  <a:lnTo>
                    <a:pt x="965" y="72"/>
                  </a:lnTo>
                  <a:lnTo>
                    <a:pt x="969" y="72"/>
                  </a:lnTo>
                  <a:lnTo>
                    <a:pt x="973" y="72"/>
                  </a:lnTo>
                  <a:lnTo>
                    <a:pt x="977" y="72"/>
                  </a:lnTo>
                  <a:lnTo>
                    <a:pt x="973" y="72"/>
                  </a:lnTo>
                  <a:lnTo>
                    <a:pt x="969" y="72"/>
                  </a:lnTo>
                  <a:lnTo>
                    <a:pt x="965" y="72"/>
                  </a:lnTo>
                  <a:lnTo>
                    <a:pt x="961" y="72"/>
                  </a:lnTo>
                  <a:lnTo>
                    <a:pt x="957" y="72"/>
                  </a:lnTo>
                  <a:lnTo>
                    <a:pt x="953" y="72"/>
                  </a:lnTo>
                  <a:lnTo>
                    <a:pt x="945" y="72"/>
                  </a:lnTo>
                  <a:lnTo>
                    <a:pt x="941" y="72"/>
                  </a:lnTo>
                  <a:lnTo>
                    <a:pt x="937" y="72"/>
                  </a:lnTo>
                  <a:lnTo>
                    <a:pt x="937" y="68"/>
                  </a:lnTo>
                  <a:lnTo>
                    <a:pt x="941" y="68"/>
                  </a:lnTo>
                  <a:lnTo>
                    <a:pt x="945" y="68"/>
                  </a:lnTo>
                  <a:lnTo>
                    <a:pt x="945" y="64"/>
                  </a:lnTo>
                  <a:lnTo>
                    <a:pt x="949" y="64"/>
                  </a:lnTo>
                  <a:lnTo>
                    <a:pt x="953" y="60"/>
                  </a:lnTo>
                  <a:lnTo>
                    <a:pt x="957" y="60"/>
                  </a:lnTo>
                  <a:lnTo>
                    <a:pt x="961" y="60"/>
                  </a:lnTo>
                  <a:lnTo>
                    <a:pt x="965" y="56"/>
                  </a:lnTo>
                  <a:lnTo>
                    <a:pt x="969" y="56"/>
                  </a:lnTo>
                  <a:lnTo>
                    <a:pt x="973" y="56"/>
                  </a:lnTo>
                  <a:lnTo>
                    <a:pt x="969" y="56"/>
                  </a:lnTo>
                  <a:lnTo>
                    <a:pt x="965" y="56"/>
                  </a:lnTo>
                  <a:lnTo>
                    <a:pt x="961" y="56"/>
                  </a:lnTo>
                  <a:lnTo>
                    <a:pt x="957" y="56"/>
                  </a:lnTo>
                  <a:lnTo>
                    <a:pt x="953" y="60"/>
                  </a:lnTo>
                  <a:lnTo>
                    <a:pt x="949" y="60"/>
                  </a:lnTo>
                  <a:lnTo>
                    <a:pt x="945" y="60"/>
                  </a:lnTo>
                  <a:lnTo>
                    <a:pt x="945" y="64"/>
                  </a:lnTo>
                  <a:lnTo>
                    <a:pt x="941" y="64"/>
                  </a:lnTo>
                  <a:lnTo>
                    <a:pt x="937" y="64"/>
                  </a:lnTo>
                  <a:lnTo>
                    <a:pt x="933" y="64"/>
                  </a:lnTo>
                  <a:lnTo>
                    <a:pt x="929" y="64"/>
                  </a:lnTo>
                  <a:lnTo>
                    <a:pt x="933" y="64"/>
                  </a:lnTo>
                  <a:lnTo>
                    <a:pt x="937" y="64"/>
                  </a:lnTo>
                  <a:lnTo>
                    <a:pt x="937" y="68"/>
                  </a:lnTo>
                  <a:lnTo>
                    <a:pt x="933" y="68"/>
                  </a:lnTo>
                  <a:lnTo>
                    <a:pt x="937" y="68"/>
                  </a:lnTo>
                  <a:lnTo>
                    <a:pt x="933" y="72"/>
                  </a:lnTo>
                  <a:lnTo>
                    <a:pt x="929" y="76"/>
                  </a:lnTo>
                  <a:lnTo>
                    <a:pt x="925" y="76"/>
                  </a:lnTo>
                  <a:lnTo>
                    <a:pt x="921" y="76"/>
                  </a:lnTo>
                  <a:lnTo>
                    <a:pt x="917" y="76"/>
                  </a:lnTo>
                  <a:lnTo>
                    <a:pt x="913" y="76"/>
                  </a:lnTo>
                  <a:lnTo>
                    <a:pt x="913" y="80"/>
                  </a:lnTo>
                  <a:lnTo>
                    <a:pt x="909" y="80"/>
                  </a:lnTo>
                  <a:lnTo>
                    <a:pt x="901" y="80"/>
                  </a:lnTo>
                  <a:lnTo>
                    <a:pt x="897" y="80"/>
                  </a:lnTo>
                  <a:lnTo>
                    <a:pt x="893" y="80"/>
                  </a:lnTo>
                  <a:lnTo>
                    <a:pt x="885" y="84"/>
                  </a:lnTo>
                  <a:lnTo>
                    <a:pt x="881" y="84"/>
                  </a:lnTo>
                  <a:lnTo>
                    <a:pt x="877" y="8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2" name="Freeform 59"/>
            <p:cNvSpPr>
              <a:spLocks/>
            </p:cNvSpPr>
            <p:nvPr>
              <p:custDataLst>
                <p:tags r:id="rId254"/>
              </p:custDataLst>
            </p:nvPr>
          </p:nvSpPr>
          <p:spPr bwMode="gray">
            <a:xfrm>
              <a:off x="2446595" y="4290443"/>
              <a:ext cx="77119" cy="88984"/>
            </a:xfrm>
            <a:custGeom>
              <a:avLst/>
              <a:gdLst/>
              <a:ahLst/>
              <a:cxnLst>
                <a:cxn ang="0">
                  <a:pos x="8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20" y="4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32" y="8"/>
                </a:cxn>
                <a:cxn ang="0">
                  <a:pos x="32" y="8"/>
                </a:cxn>
                <a:cxn ang="0">
                  <a:pos x="36" y="4"/>
                </a:cxn>
                <a:cxn ang="0">
                  <a:pos x="36" y="8"/>
                </a:cxn>
                <a:cxn ang="0">
                  <a:pos x="36" y="8"/>
                </a:cxn>
                <a:cxn ang="0">
                  <a:pos x="40" y="16"/>
                </a:cxn>
                <a:cxn ang="0">
                  <a:pos x="44" y="24"/>
                </a:cxn>
                <a:cxn ang="0">
                  <a:pos x="48" y="28"/>
                </a:cxn>
                <a:cxn ang="0">
                  <a:pos x="52" y="32"/>
                </a:cxn>
                <a:cxn ang="0">
                  <a:pos x="48" y="32"/>
                </a:cxn>
                <a:cxn ang="0">
                  <a:pos x="48" y="28"/>
                </a:cxn>
                <a:cxn ang="0">
                  <a:pos x="44" y="40"/>
                </a:cxn>
                <a:cxn ang="0">
                  <a:pos x="48" y="44"/>
                </a:cxn>
                <a:cxn ang="0">
                  <a:pos x="44" y="44"/>
                </a:cxn>
                <a:cxn ang="0">
                  <a:pos x="44" y="48"/>
                </a:cxn>
                <a:cxn ang="0">
                  <a:pos x="44" y="52"/>
                </a:cxn>
                <a:cxn ang="0">
                  <a:pos x="44" y="52"/>
                </a:cxn>
                <a:cxn ang="0">
                  <a:pos x="44" y="56"/>
                </a:cxn>
                <a:cxn ang="0">
                  <a:pos x="44" y="60"/>
                </a:cxn>
                <a:cxn ang="0">
                  <a:pos x="44" y="56"/>
                </a:cxn>
                <a:cxn ang="0">
                  <a:pos x="40" y="52"/>
                </a:cxn>
                <a:cxn ang="0">
                  <a:pos x="40" y="48"/>
                </a:cxn>
                <a:cxn ang="0">
                  <a:pos x="40" y="44"/>
                </a:cxn>
                <a:cxn ang="0">
                  <a:pos x="36" y="48"/>
                </a:cxn>
                <a:cxn ang="0">
                  <a:pos x="40" y="48"/>
                </a:cxn>
                <a:cxn ang="0">
                  <a:pos x="40" y="52"/>
                </a:cxn>
                <a:cxn ang="0">
                  <a:pos x="40" y="52"/>
                </a:cxn>
                <a:cxn ang="0">
                  <a:pos x="36" y="52"/>
                </a:cxn>
                <a:cxn ang="0">
                  <a:pos x="32" y="48"/>
                </a:cxn>
                <a:cxn ang="0">
                  <a:pos x="36" y="40"/>
                </a:cxn>
                <a:cxn ang="0">
                  <a:pos x="32" y="36"/>
                </a:cxn>
                <a:cxn ang="0">
                  <a:pos x="28" y="32"/>
                </a:cxn>
                <a:cxn ang="0">
                  <a:pos x="24" y="32"/>
                </a:cxn>
                <a:cxn ang="0">
                  <a:pos x="20" y="28"/>
                </a:cxn>
                <a:cxn ang="0">
                  <a:pos x="20" y="28"/>
                </a:cxn>
                <a:cxn ang="0">
                  <a:pos x="16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6" y="24"/>
                </a:cxn>
              </a:cxnLst>
              <a:rect l="0" t="0" r="r" b="b"/>
              <a:pathLst>
                <a:path w="52" h="60">
                  <a:moveTo>
                    <a:pt x="12" y="28"/>
                  </a:move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3" name="Freeform 60"/>
            <p:cNvSpPr>
              <a:spLocks noEditPoints="1"/>
            </p:cNvSpPr>
            <p:nvPr>
              <p:custDataLst>
                <p:tags r:id="rId255"/>
              </p:custDataLst>
            </p:nvPr>
          </p:nvSpPr>
          <p:spPr bwMode="gray">
            <a:xfrm>
              <a:off x="2470324" y="3959720"/>
              <a:ext cx="243222" cy="93433"/>
            </a:xfrm>
            <a:custGeom>
              <a:avLst/>
              <a:gdLst/>
              <a:ahLst/>
              <a:cxnLst>
                <a:cxn ang="0">
                  <a:pos x="88" y="28"/>
                </a:cxn>
                <a:cxn ang="0">
                  <a:pos x="80" y="28"/>
                </a:cxn>
                <a:cxn ang="0">
                  <a:pos x="72" y="24"/>
                </a:cxn>
                <a:cxn ang="0">
                  <a:pos x="64" y="20"/>
                </a:cxn>
                <a:cxn ang="0">
                  <a:pos x="52" y="20"/>
                </a:cxn>
                <a:cxn ang="0">
                  <a:pos x="44" y="20"/>
                </a:cxn>
                <a:cxn ang="0">
                  <a:pos x="40" y="12"/>
                </a:cxn>
                <a:cxn ang="0">
                  <a:pos x="48" y="8"/>
                </a:cxn>
                <a:cxn ang="0">
                  <a:pos x="36" y="8"/>
                </a:cxn>
                <a:cxn ang="0">
                  <a:pos x="28" y="12"/>
                </a:cxn>
                <a:cxn ang="0">
                  <a:pos x="24" y="20"/>
                </a:cxn>
                <a:cxn ang="0">
                  <a:pos x="16" y="20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12" y="8"/>
                </a:cxn>
                <a:cxn ang="0">
                  <a:pos x="24" y="4"/>
                </a:cxn>
                <a:cxn ang="0">
                  <a:pos x="36" y="0"/>
                </a:cxn>
                <a:cxn ang="0">
                  <a:pos x="48" y="0"/>
                </a:cxn>
                <a:cxn ang="0">
                  <a:pos x="56" y="4"/>
                </a:cxn>
                <a:cxn ang="0">
                  <a:pos x="64" y="0"/>
                </a:cxn>
                <a:cxn ang="0">
                  <a:pos x="72" y="4"/>
                </a:cxn>
                <a:cxn ang="0">
                  <a:pos x="80" y="8"/>
                </a:cxn>
                <a:cxn ang="0">
                  <a:pos x="84" y="16"/>
                </a:cxn>
                <a:cxn ang="0">
                  <a:pos x="96" y="16"/>
                </a:cxn>
                <a:cxn ang="0">
                  <a:pos x="104" y="24"/>
                </a:cxn>
                <a:cxn ang="0">
                  <a:pos x="112" y="28"/>
                </a:cxn>
                <a:cxn ang="0">
                  <a:pos x="112" y="24"/>
                </a:cxn>
                <a:cxn ang="0">
                  <a:pos x="116" y="28"/>
                </a:cxn>
                <a:cxn ang="0">
                  <a:pos x="116" y="28"/>
                </a:cxn>
                <a:cxn ang="0">
                  <a:pos x="120" y="36"/>
                </a:cxn>
                <a:cxn ang="0">
                  <a:pos x="128" y="36"/>
                </a:cxn>
                <a:cxn ang="0">
                  <a:pos x="136" y="40"/>
                </a:cxn>
                <a:cxn ang="0">
                  <a:pos x="136" y="44"/>
                </a:cxn>
                <a:cxn ang="0">
                  <a:pos x="144" y="48"/>
                </a:cxn>
                <a:cxn ang="0">
                  <a:pos x="148" y="48"/>
                </a:cxn>
                <a:cxn ang="0">
                  <a:pos x="156" y="51"/>
                </a:cxn>
                <a:cxn ang="0">
                  <a:pos x="164" y="55"/>
                </a:cxn>
                <a:cxn ang="0">
                  <a:pos x="152" y="59"/>
                </a:cxn>
                <a:cxn ang="0">
                  <a:pos x="140" y="63"/>
                </a:cxn>
                <a:cxn ang="0">
                  <a:pos x="132" y="59"/>
                </a:cxn>
                <a:cxn ang="0">
                  <a:pos x="120" y="59"/>
                </a:cxn>
                <a:cxn ang="0">
                  <a:pos x="120" y="63"/>
                </a:cxn>
                <a:cxn ang="0">
                  <a:pos x="112" y="63"/>
                </a:cxn>
                <a:cxn ang="0">
                  <a:pos x="112" y="59"/>
                </a:cxn>
                <a:cxn ang="0">
                  <a:pos x="116" y="51"/>
                </a:cxn>
                <a:cxn ang="0">
                  <a:pos x="112" y="48"/>
                </a:cxn>
                <a:cxn ang="0">
                  <a:pos x="104" y="44"/>
                </a:cxn>
                <a:cxn ang="0">
                  <a:pos x="100" y="40"/>
                </a:cxn>
                <a:cxn ang="0">
                  <a:pos x="96" y="32"/>
                </a:cxn>
                <a:cxn ang="0">
                  <a:pos x="80" y="8"/>
                </a:cxn>
                <a:cxn ang="0">
                  <a:pos x="96" y="16"/>
                </a:cxn>
                <a:cxn ang="0">
                  <a:pos x="92" y="12"/>
                </a:cxn>
                <a:cxn ang="0">
                  <a:pos x="96" y="12"/>
                </a:cxn>
                <a:cxn ang="0">
                  <a:pos x="100" y="16"/>
                </a:cxn>
                <a:cxn ang="0">
                  <a:pos x="104" y="16"/>
                </a:cxn>
                <a:cxn ang="0">
                  <a:pos x="104" y="16"/>
                </a:cxn>
                <a:cxn ang="0">
                  <a:pos x="108" y="24"/>
                </a:cxn>
                <a:cxn ang="0">
                  <a:pos x="108" y="24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32" y="28"/>
                </a:cxn>
                <a:cxn ang="0">
                  <a:pos x="32" y="32"/>
                </a:cxn>
              </a:cxnLst>
              <a:rect l="0" t="0" r="r" b="b"/>
              <a:pathLst>
                <a:path w="164" h="63">
                  <a:moveTo>
                    <a:pt x="96" y="32"/>
                  </a:moveTo>
                  <a:lnTo>
                    <a:pt x="92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0" y="28"/>
                  </a:lnTo>
                  <a:lnTo>
                    <a:pt x="76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0"/>
                  </a:lnTo>
                  <a:lnTo>
                    <a:pt x="64" y="20"/>
                  </a:lnTo>
                  <a:lnTo>
                    <a:pt x="60" y="20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4" y="16"/>
                  </a:lnTo>
                  <a:lnTo>
                    <a:pt x="88" y="16"/>
                  </a:lnTo>
                  <a:lnTo>
                    <a:pt x="92" y="16"/>
                  </a:lnTo>
                  <a:lnTo>
                    <a:pt x="96" y="16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08" y="28"/>
                  </a:lnTo>
                  <a:lnTo>
                    <a:pt x="112" y="28"/>
                  </a:lnTo>
                  <a:lnTo>
                    <a:pt x="116" y="28"/>
                  </a:lnTo>
                  <a:lnTo>
                    <a:pt x="112" y="28"/>
                  </a:lnTo>
                  <a:lnTo>
                    <a:pt x="112" y="24"/>
                  </a:lnTo>
                  <a:lnTo>
                    <a:pt x="108" y="24"/>
                  </a:lnTo>
                  <a:lnTo>
                    <a:pt x="112" y="24"/>
                  </a:lnTo>
                  <a:lnTo>
                    <a:pt x="116" y="28"/>
                  </a:lnTo>
                  <a:lnTo>
                    <a:pt x="112" y="28"/>
                  </a:lnTo>
                  <a:lnTo>
                    <a:pt x="116" y="32"/>
                  </a:lnTo>
                  <a:lnTo>
                    <a:pt x="116" y="28"/>
                  </a:lnTo>
                  <a:lnTo>
                    <a:pt x="120" y="28"/>
                  </a:lnTo>
                  <a:lnTo>
                    <a:pt x="120" y="32"/>
                  </a:lnTo>
                  <a:lnTo>
                    <a:pt x="120" y="36"/>
                  </a:lnTo>
                  <a:lnTo>
                    <a:pt x="124" y="32"/>
                  </a:lnTo>
                  <a:lnTo>
                    <a:pt x="124" y="36"/>
                  </a:lnTo>
                  <a:lnTo>
                    <a:pt x="128" y="36"/>
                  </a:lnTo>
                  <a:lnTo>
                    <a:pt x="132" y="36"/>
                  </a:lnTo>
                  <a:lnTo>
                    <a:pt x="132" y="40"/>
                  </a:lnTo>
                  <a:lnTo>
                    <a:pt x="136" y="40"/>
                  </a:lnTo>
                  <a:lnTo>
                    <a:pt x="140" y="40"/>
                  </a:lnTo>
                  <a:lnTo>
                    <a:pt x="140" y="44"/>
                  </a:lnTo>
                  <a:lnTo>
                    <a:pt x="136" y="44"/>
                  </a:lnTo>
                  <a:lnTo>
                    <a:pt x="136" y="48"/>
                  </a:lnTo>
                  <a:lnTo>
                    <a:pt x="140" y="48"/>
                  </a:lnTo>
                  <a:lnTo>
                    <a:pt x="144" y="48"/>
                  </a:lnTo>
                  <a:lnTo>
                    <a:pt x="144" y="44"/>
                  </a:lnTo>
                  <a:lnTo>
                    <a:pt x="144" y="48"/>
                  </a:lnTo>
                  <a:lnTo>
                    <a:pt x="148" y="48"/>
                  </a:lnTo>
                  <a:lnTo>
                    <a:pt x="152" y="48"/>
                  </a:lnTo>
                  <a:lnTo>
                    <a:pt x="156" y="48"/>
                  </a:lnTo>
                  <a:lnTo>
                    <a:pt x="156" y="51"/>
                  </a:lnTo>
                  <a:lnTo>
                    <a:pt x="160" y="55"/>
                  </a:lnTo>
                  <a:lnTo>
                    <a:pt x="160" y="51"/>
                  </a:lnTo>
                  <a:lnTo>
                    <a:pt x="164" y="55"/>
                  </a:lnTo>
                  <a:lnTo>
                    <a:pt x="160" y="59"/>
                  </a:lnTo>
                  <a:lnTo>
                    <a:pt x="156" y="59"/>
                  </a:lnTo>
                  <a:lnTo>
                    <a:pt x="152" y="59"/>
                  </a:lnTo>
                  <a:lnTo>
                    <a:pt x="148" y="59"/>
                  </a:lnTo>
                  <a:lnTo>
                    <a:pt x="144" y="63"/>
                  </a:lnTo>
                  <a:lnTo>
                    <a:pt x="140" y="63"/>
                  </a:lnTo>
                  <a:lnTo>
                    <a:pt x="140" y="59"/>
                  </a:lnTo>
                  <a:lnTo>
                    <a:pt x="136" y="59"/>
                  </a:lnTo>
                  <a:lnTo>
                    <a:pt x="132" y="59"/>
                  </a:lnTo>
                  <a:lnTo>
                    <a:pt x="128" y="59"/>
                  </a:lnTo>
                  <a:lnTo>
                    <a:pt x="124" y="59"/>
                  </a:lnTo>
                  <a:lnTo>
                    <a:pt x="120" y="59"/>
                  </a:lnTo>
                  <a:lnTo>
                    <a:pt x="120" y="63"/>
                  </a:lnTo>
                  <a:lnTo>
                    <a:pt x="120" y="59"/>
                  </a:lnTo>
                  <a:lnTo>
                    <a:pt x="120" y="63"/>
                  </a:lnTo>
                  <a:lnTo>
                    <a:pt x="116" y="59"/>
                  </a:lnTo>
                  <a:lnTo>
                    <a:pt x="116" y="63"/>
                  </a:lnTo>
                  <a:lnTo>
                    <a:pt x="112" y="63"/>
                  </a:lnTo>
                  <a:lnTo>
                    <a:pt x="108" y="63"/>
                  </a:lnTo>
                  <a:lnTo>
                    <a:pt x="108" y="59"/>
                  </a:lnTo>
                  <a:lnTo>
                    <a:pt x="112" y="59"/>
                  </a:lnTo>
                  <a:lnTo>
                    <a:pt x="112" y="55"/>
                  </a:lnTo>
                  <a:lnTo>
                    <a:pt x="116" y="55"/>
                  </a:lnTo>
                  <a:lnTo>
                    <a:pt x="116" y="51"/>
                  </a:lnTo>
                  <a:lnTo>
                    <a:pt x="120" y="51"/>
                  </a:lnTo>
                  <a:lnTo>
                    <a:pt x="116" y="48"/>
                  </a:lnTo>
                  <a:lnTo>
                    <a:pt x="112" y="48"/>
                  </a:lnTo>
                  <a:lnTo>
                    <a:pt x="108" y="48"/>
                  </a:lnTo>
                  <a:lnTo>
                    <a:pt x="108" y="44"/>
                  </a:lnTo>
                  <a:lnTo>
                    <a:pt x="104" y="44"/>
                  </a:lnTo>
                  <a:lnTo>
                    <a:pt x="104" y="48"/>
                  </a:lnTo>
                  <a:lnTo>
                    <a:pt x="100" y="44"/>
                  </a:lnTo>
                  <a:lnTo>
                    <a:pt x="100" y="40"/>
                  </a:lnTo>
                  <a:lnTo>
                    <a:pt x="96" y="40"/>
                  </a:lnTo>
                  <a:lnTo>
                    <a:pt x="96" y="36"/>
                  </a:lnTo>
                  <a:lnTo>
                    <a:pt x="96" y="32"/>
                  </a:lnTo>
                  <a:close/>
                  <a:moveTo>
                    <a:pt x="84" y="12"/>
                  </a:moveTo>
                  <a:lnTo>
                    <a:pt x="84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12"/>
                  </a:lnTo>
                  <a:close/>
                  <a:moveTo>
                    <a:pt x="96" y="16"/>
                  </a:moveTo>
                  <a:lnTo>
                    <a:pt x="100" y="12"/>
                  </a:lnTo>
                  <a:lnTo>
                    <a:pt x="96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100" y="12"/>
                  </a:lnTo>
                  <a:lnTo>
                    <a:pt x="96" y="12"/>
                  </a:lnTo>
                  <a:lnTo>
                    <a:pt x="96" y="16"/>
                  </a:lnTo>
                  <a:close/>
                  <a:moveTo>
                    <a:pt x="104" y="16"/>
                  </a:moveTo>
                  <a:lnTo>
                    <a:pt x="100" y="16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4" y="16"/>
                  </a:lnTo>
                  <a:close/>
                  <a:moveTo>
                    <a:pt x="108" y="20"/>
                  </a:moveTo>
                  <a:lnTo>
                    <a:pt x="104" y="20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08" y="20"/>
                  </a:lnTo>
                  <a:close/>
                  <a:moveTo>
                    <a:pt x="108" y="24"/>
                  </a:moveTo>
                  <a:lnTo>
                    <a:pt x="104" y="20"/>
                  </a:lnTo>
                  <a:lnTo>
                    <a:pt x="108" y="20"/>
                  </a:lnTo>
                  <a:lnTo>
                    <a:pt x="108" y="24"/>
                  </a:lnTo>
                  <a:close/>
                  <a:moveTo>
                    <a:pt x="28" y="32"/>
                  </a:move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32"/>
                  </a:lnTo>
                  <a:lnTo>
                    <a:pt x="32" y="32"/>
                  </a:lnTo>
                  <a:lnTo>
                    <a:pt x="28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4" name="Freeform 61"/>
            <p:cNvSpPr>
              <a:spLocks noEditPoints="1"/>
            </p:cNvSpPr>
            <p:nvPr>
              <p:custDataLst>
                <p:tags r:id="rId256"/>
              </p:custDataLst>
            </p:nvPr>
          </p:nvSpPr>
          <p:spPr bwMode="gray">
            <a:xfrm>
              <a:off x="2761005" y="4047221"/>
              <a:ext cx="83052" cy="65255"/>
            </a:xfrm>
            <a:custGeom>
              <a:avLst/>
              <a:gdLst/>
              <a:ahLst/>
              <a:cxnLst>
                <a:cxn ang="0">
                  <a:pos x="28" y="32"/>
                </a:cxn>
                <a:cxn ang="0">
                  <a:pos x="24" y="32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36"/>
                </a:cxn>
                <a:cxn ang="0">
                  <a:pos x="12" y="40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8" y="8"/>
                </a:cxn>
                <a:cxn ang="0">
                  <a:pos x="28" y="4"/>
                </a:cxn>
                <a:cxn ang="0">
                  <a:pos x="32" y="8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40" y="12"/>
                </a:cxn>
                <a:cxn ang="0">
                  <a:pos x="44" y="12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40" y="16"/>
                </a:cxn>
                <a:cxn ang="0">
                  <a:pos x="40" y="16"/>
                </a:cxn>
                <a:cxn ang="0">
                  <a:pos x="44" y="20"/>
                </a:cxn>
                <a:cxn ang="0">
                  <a:pos x="48" y="20"/>
                </a:cxn>
                <a:cxn ang="0">
                  <a:pos x="52" y="24"/>
                </a:cxn>
                <a:cxn ang="0">
                  <a:pos x="56" y="28"/>
                </a:cxn>
                <a:cxn ang="0">
                  <a:pos x="52" y="32"/>
                </a:cxn>
                <a:cxn ang="0">
                  <a:pos x="52" y="32"/>
                </a:cxn>
                <a:cxn ang="0">
                  <a:pos x="48" y="32"/>
                </a:cxn>
                <a:cxn ang="0">
                  <a:pos x="48" y="32"/>
                </a:cxn>
                <a:cxn ang="0">
                  <a:pos x="44" y="32"/>
                </a:cxn>
                <a:cxn ang="0">
                  <a:pos x="36" y="28"/>
                </a:cxn>
                <a:cxn ang="0">
                  <a:pos x="32" y="28"/>
                </a:cxn>
                <a:cxn ang="0">
                  <a:pos x="52" y="36"/>
                </a:cxn>
                <a:cxn ang="0">
                  <a:pos x="48" y="36"/>
                </a:cxn>
                <a:cxn ang="0">
                  <a:pos x="52" y="36"/>
                </a:cxn>
              </a:cxnLst>
              <a:rect l="0" t="0" r="r" b="b"/>
              <a:pathLst>
                <a:path w="56" h="44">
                  <a:moveTo>
                    <a:pt x="28" y="28"/>
                  </a:move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8"/>
                  </a:lnTo>
                  <a:lnTo>
                    <a:pt x="56" y="28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28" y="28"/>
                  </a:lnTo>
                  <a:close/>
                  <a:moveTo>
                    <a:pt x="52" y="36"/>
                  </a:move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5" name="Freeform 62"/>
            <p:cNvSpPr>
              <a:spLocks/>
            </p:cNvSpPr>
            <p:nvPr>
              <p:custDataLst>
                <p:tags r:id="rId257"/>
              </p:custDataLst>
            </p:nvPr>
          </p:nvSpPr>
          <p:spPr bwMode="gray">
            <a:xfrm>
              <a:off x="2353162" y="4201460"/>
              <a:ext cx="51907" cy="35594"/>
            </a:xfrm>
            <a:custGeom>
              <a:avLst/>
              <a:gdLst/>
              <a:ahLst/>
              <a:cxnLst>
                <a:cxn ang="0">
                  <a:pos x="35" y="16"/>
                </a:cxn>
                <a:cxn ang="0">
                  <a:pos x="35" y="16"/>
                </a:cxn>
                <a:cxn ang="0">
                  <a:pos x="35" y="20"/>
                </a:cxn>
                <a:cxn ang="0">
                  <a:pos x="35" y="20"/>
                </a:cxn>
                <a:cxn ang="0">
                  <a:pos x="35" y="20"/>
                </a:cxn>
                <a:cxn ang="0">
                  <a:pos x="35" y="24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24" y="24"/>
                </a:cxn>
                <a:cxn ang="0">
                  <a:pos x="24" y="20"/>
                </a:cxn>
                <a:cxn ang="0">
                  <a:pos x="24" y="20"/>
                </a:cxn>
                <a:cxn ang="0">
                  <a:pos x="24" y="24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16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4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4" y="12"/>
                </a:cxn>
                <a:cxn ang="0">
                  <a:pos x="27" y="12"/>
                </a:cxn>
                <a:cxn ang="0">
                  <a:pos x="27" y="12"/>
                </a:cxn>
                <a:cxn ang="0">
                  <a:pos x="27" y="8"/>
                </a:cxn>
                <a:cxn ang="0">
                  <a:pos x="31" y="8"/>
                </a:cxn>
                <a:cxn ang="0">
                  <a:pos x="31" y="12"/>
                </a:cxn>
                <a:cxn ang="0">
                  <a:pos x="31" y="12"/>
                </a:cxn>
                <a:cxn ang="0">
                  <a:pos x="35" y="12"/>
                </a:cxn>
              </a:cxnLst>
              <a:rect l="0" t="0" r="r" b="b"/>
              <a:pathLst>
                <a:path w="35" h="24">
                  <a:moveTo>
                    <a:pt x="35" y="12"/>
                  </a:moveTo>
                  <a:lnTo>
                    <a:pt x="35" y="12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6" name="Freeform 63"/>
            <p:cNvSpPr>
              <a:spLocks noEditPoints="1"/>
            </p:cNvSpPr>
            <p:nvPr>
              <p:custDataLst>
                <p:tags r:id="rId258"/>
              </p:custDataLst>
            </p:nvPr>
          </p:nvSpPr>
          <p:spPr bwMode="gray">
            <a:xfrm>
              <a:off x="2737276" y="1816693"/>
              <a:ext cx="1365901" cy="993653"/>
            </a:xfrm>
            <a:custGeom>
              <a:avLst/>
              <a:gdLst/>
              <a:ahLst/>
              <a:cxnLst>
                <a:cxn ang="0">
                  <a:pos x="506" y="16"/>
                </a:cxn>
                <a:cxn ang="0">
                  <a:pos x="303" y="52"/>
                </a:cxn>
                <a:cxn ang="0">
                  <a:pos x="833" y="144"/>
                </a:cxn>
                <a:cxn ang="0">
                  <a:pos x="36" y="195"/>
                </a:cxn>
                <a:cxn ang="0">
                  <a:pos x="802" y="235"/>
                </a:cxn>
                <a:cxn ang="0">
                  <a:pos x="251" y="307"/>
                </a:cxn>
                <a:cxn ang="0">
                  <a:pos x="259" y="315"/>
                </a:cxn>
                <a:cxn ang="0">
                  <a:pos x="750" y="415"/>
                </a:cxn>
                <a:cxn ang="0">
                  <a:pos x="463" y="599"/>
                </a:cxn>
                <a:cxn ang="0">
                  <a:pos x="451" y="662"/>
                </a:cxn>
                <a:cxn ang="0">
                  <a:pos x="339" y="419"/>
                </a:cxn>
                <a:cxn ang="0">
                  <a:pos x="335" y="391"/>
                </a:cxn>
                <a:cxn ang="0">
                  <a:pos x="295" y="347"/>
                </a:cxn>
                <a:cxn ang="0">
                  <a:pos x="271" y="339"/>
                </a:cxn>
                <a:cxn ang="0">
                  <a:pos x="239" y="275"/>
                </a:cxn>
                <a:cxn ang="0">
                  <a:pos x="123" y="231"/>
                </a:cxn>
                <a:cxn ang="0">
                  <a:pos x="36" y="207"/>
                </a:cxn>
                <a:cxn ang="0">
                  <a:pos x="68" y="191"/>
                </a:cxn>
                <a:cxn ang="0">
                  <a:pos x="56" y="152"/>
                </a:cxn>
                <a:cxn ang="0">
                  <a:pos x="123" y="84"/>
                </a:cxn>
                <a:cxn ang="0">
                  <a:pos x="227" y="64"/>
                </a:cxn>
                <a:cxn ang="0">
                  <a:pos x="331" y="56"/>
                </a:cxn>
                <a:cxn ang="0">
                  <a:pos x="455" y="44"/>
                </a:cxn>
                <a:cxn ang="0">
                  <a:pos x="439" y="24"/>
                </a:cxn>
                <a:cxn ang="0">
                  <a:pos x="474" y="16"/>
                </a:cxn>
                <a:cxn ang="0">
                  <a:pos x="578" y="0"/>
                </a:cxn>
                <a:cxn ang="0">
                  <a:pos x="626" y="16"/>
                </a:cxn>
                <a:cxn ang="0">
                  <a:pos x="710" y="16"/>
                </a:cxn>
                <a:cxn ang="0">
                  <a:pos x="654" y="48"/>
                </a:cxn>
                <a:cxn ang="0">
                  <a:pos x="694" y="72"/>
                </a:cxn>
                <a:cxn ang="0">
                  <a:pos x="798" y="72"/>
                </a:cxn>
                <a:cxn ang="0">
                  <a:pos x="849" y="92"/>
                </a:cxn>
                <a:cxn ang="0">
                  <a:pos x="798" y="124"/>
                </a:cxn>
                <a:cxn ang="0">
                  <a:pos x="778" y="176"/>
                </a:cxn>
                <a:cxn ang="0">
                  <a:pos x="802" y="207"/>
                </a:cxn>
                <a:cxn ang="0">
                  <a:pos x="774" y="239"/>
                </a:cxn>
                <a:cxn ang="0">
                  <a:pos x="794" y="263"/>
                </a:cxn>
                <a:cxn ang="0">
                  <a:pos x="754" y="315"/>
                </a:cxn>
                <a:cxn ang="0">
                  <a:pos x="698" y="319"/>
                </a:cxn>
                <a:cxn ang="0">
                  <a:pos x="754" y="359"/>
                </a:cxn>
                <a:cxn ang="0">
                  <a:pos x="734" y="375"/>
                </a:cxn>
                <a:cxn ang="0">
                  <a:pos x="674" y="379"/>
                </a:cxn>
                <a:cxn ang="0">
                  <a:pos x="758" y="407"/>
                </a:cxn>
                <a:cxn ang="0">
                  <a:pos x="638" y="455"/>
                </a:cxn>
                <a:cxn ang="0">
                  <a:pos x="566" y="507"/>
                </a:cxn>
                <a:cxn ang="0">
                  <a:pos x="490" y="535"/>
                </a:cxn>
                <a:cxn ang="0">
                  <a:pos x="467" y="591"/>
                </a:cxn>
                <a:cxn ang="0">
                  <a:pos x="459" y="642"/>
                </a:cxn>
                <a:cxn ang="0">
                  <a:pos x="423" y="646"/>
                </a:cxn>
                <a:cxn ang="0">
                  <a:pos x="383" y="638"/>
                </a:cxn>
                <a:cxn ang="0">
                  <a:pos x="347" y="591"/>
                </a:cxn>
                <a:cxn ang="0">
                  <a:pos x="323" y="559"/>
                </a:cxn>
                <a:cxn ang="0">
                  <a:pos x="319" y="543"/>
                </a:cxn>
                <a:cxn ang="0">
                  <a:pos x="299" y="511"/>
                </a:cxn>
                <a:cxn ang="0">
                  <a:pos x="303" y="495"/>
                </a:cxn>
                <a:cxn ang="0">
                  <a:pos x="319" y="467"/>
                </a:cxn>
                <a:cxn ang="0">
                  <a:pos x="299" y="467"/>
                </a:cxn>
                <a:cxn ang="0">
                  <a:pos x="295" y="451"/>
                </a:cxn>
                <a:cxn ang="0">
                  <a:pos x="822" y="223"/>
                </a:cxn>
                <a:cxn ang="0">
                  <a:pos x="754" y="331"/>
                </a:cxn>
                <a:cxn ang="0">
                  <a:pos x="706" y="383"/>
                </a:cxn>
                <a:cxn ang="0">
                  <a:pos x="299" y="403"/>
                </a:cxn>
                <a:cxn ang="0">
                  <a:pos x="295" y="459"/>
                </a:cxn>
              </a:cxnLst>
              <a:rect l="0" t="0" r="r" b="b"/>
              <a:pathLst>
                <a:path w="921" h="670">
                  <a:moveTo>
                    <a:pt x="506" y="8"/>
                  </a:moveTo>
                  <a:lnTo>
                    <a:pt x="510" y="8"/>
                  </a:lnTo>
                  <a:lnTo>
                    <a:pt x="514" y="8"/>
                  </a:lnTo>
                  <a:lnTo>
                    <a:pt x="514" y="12"/>
                  </a:lnTo>
                  <a:lnTo>
                    <a:pt x="510" y="12"/>
                  </a:lnTo>
                  <a:lnTo>
                    <a:pt x="506" y="8"/>
                  </a:lnTo>
                  <a:close/>
                  <a:moveTo>
                    <a:pt x="514" y="16"/>
                  </a:moveTo>
                  <a:lnTo>
                    <a:pt x="510" y="16"/>
                  </a:lnTo>
                  <a:lnTo>
                    <a:pt x="506" y="16"/>
                  </a:lnTo>
                  <a:lnTo>
                    <a:pt x="502" y="16"/>
                  </a:lnTo>
                  <a:lnTo>
                    <a:pt x="502" y="12"/>
                  </a:lnTo>
                  <a:lnTo>
                    <a:pt x="498" y="12"/>
                  </a:lnTo>
                  <a:lnTo>
                    <a:pt x="494" y="12"/>
                  </a:lnTo>
                  <a:lnTo>
                    <a:pt x="490" y="12"/>
                  </a:lnTo>
                  <a:lnTo>
                    <a:pt x="490" y="8"/>
                  </a:lnTo>
                  <a:lnTo>
                    <a:pt x="494" y="8"/>
                  </a:lnTo>
                  <a:lnTo>
                    <a:pt x="498" y="12"/>
                  </a:lnTo>
                  <a:lnTo>
                    <a:pt x="502" y="12"/>
                  </a:lnTo>
                  <a:lnTo>
                    <a:pt x="506" y="12"/>
                  </a:lnTo>
                  <a:lnTo>
                    <a:pt x="510" y="12"/>
                  </a:lnTo>
                  <a:lnTo>
                    <a:pt x="510" y="16"/>
                  </a:lnTo>
                  <a:lnTo>
                    <a:pt x="514" y="16"/>
                  </a:lnTo>
                  <a:lnTo>
                    <a:pt x="518" y="16"/>
                  </a:lnTo>
                  <a:lnTo>
                    <a:pt x="514" y="16"/>
                  </a:lnTo>
                  <a:close/>
                  <a:moveTo>
                    <a:pt x="478" y="12"/>
                  </a:moveTo>
                  <a:lnTo>
                    <a:pt x="474" y="12"/>
                  </a:lnTo>
                  <a:lnTo>
                    <a:pt x="478" y="8"/>
                  </a:lnTo>
                  <a:lnTo>
                    <a:pt x="482" y="12"/>
                  </a:lnTo>
                  <a:lnTo>
                    <a:pt x="478" y="12"/>
                  </a:lnTo>
                  <a:close/>
                  <a:moveTo>
                    <a:pt x="463" y="12"/>
                  </a:moveTo>
                  <a:lnTo>
                    <a:pt x="467" y="12"/>
                  </a:lnTo>
                  <a:lnTo>
                    <a:pt x="471" y="12"/>
                  </a:lnTo>
                  <a:lnTo>
                    <a:pt x="467" y="12"/>
                  </a:lnTo>
                  <a:lnTo>
                    <a:pt x="463" y="12"/>
                  </a:lnTo>
                  <a:close/>
                  <a:moveTo>
                    <a:pt x="474" y="12"/>
                  </a:moveTo>
                  <a:lnTo>
                    <a:pt x="478" y="12"/>
                  </a:lnTo>
                  <a:lnTo>
                    <a:pt x="482" y="12"/>
                  </a:lnTo>
                  <a:lnTo>
                    <a:pt x="478" y="12"/>
                  </a:lnTo>
                  <a:lnTo>
                    <a:pt x="474" y="12"/>
                  </a:lnTo>
                  <a:close/>
                  <a:moveTo>
                    <a:pt x="522" y="16"/>
                  </a:moveTo>
                  <a:lnTo>
                    <a:pt x="518" y="16"/>
                  </a:lnTo>
                  <a:lnTo>
                    <a:pt x="522" y="16"/>
                  </a:lnTo>
                  <a:lnTo>
                    <a:pt x="526" y="16"/>
                  </a:lnTo>
                  <a:lnTo>
                    <a:pt x="530" y="16"/>
                  </a:lnTo>
                  <a:lnTo>
                    <a:pt x="526" y="16"/>
                  </a:lnTo>
                  <a:lnTo>
                    <a:pt x="522" y="16"/>
                  </a:lnTo>
                  <a:close/>
                  <a:moveTo>
                    <a:pt x="502" y="20"/>
                  </a:moveTo>
                  <a:lnTo>
                    <a:pt x="498" y="20"/>
                  </a:lnTo>
                  <a:lnTo>
                    <a:pt x="494" y="20"/>
                  </a:lnTo>
                  <a:lnTo>
                    <a:pt x="490" y="20"/>
                  </a:lnTo>
                  <a:lnTo>
                    <a:pt x="486" y="20"/>
                  </a:lnTo>
                  <a:lnTo>
                    <a:pt x="482" y="16"/>
                  </a:lnTo>
                  <a:lnTo>
                    <a:pt x="478" y="16"/>
                  </a:lnTo>
                  <a:lnTo>
                    <a:pt x="482" y="16"/>
                  </a:lnTo>
                  <a:lnTo>
                    <a:pt x="486" y="16"/>
                  </a:lnTo>
                  <a:lnTo>
                    <a:pt x="490" y="16"/>
                  </a:lnTo>
                  <a:lnTo>
                    <a:pt x="494" y="20"/>
                  </a:lnTo>
                  <a:lnTo>
                    <a:pt x="498" y="20"/>
                  </a:lnTo>
                  <a:lnTo>
                    <a:pt x="502" y="20"/>
                  </a:lnTo>
                  <a:close/>
                  <a:moveTo>
                    <a:pt x="506" y="20"/>
                  </a:moveTo>
                  <a:lnTo>
                    <a:pt x="502" y="20"/>
                  </a:lnTo>
                  <a:lnTo>
                    <a:pt x="498" y="20"/>
                  </a:lnTo>
                  <a:lnTo>
                    <a:pt x="498" y="16"/>
                  </a:lnTo>
                  <a:lnTo>
                    <a:pt x="494" y="16"/>
                  </a:lnTo>
                  <a:lnTo>
                    <a:pt x="490" y="16"/>
                  </a:lnTo>
                  <a:lnTo>
                    <a:pt x="494" y="16"/>
                  </a:lnTo>
                  <a:lnTo>
                    <a:pt x="498" y="16"/>
                  </a:lnTo>
                  <a:lnTo>
                    <a:pt x="502" y="16"/>
                  </a:lnTo>
                  <a:lnTo>
                    <a:pt x="506" y="16"/>
                  </a:lnTo>
                  <a:lnTo>
                    <a:pt x="510" y="16"/>
                  </a:lnTo>
                  <a:lnTo>
                    <a:pt x="510" y="20"/>
                  </a:lnTo>
                  <a:lnTo>
                    <a:pt x="506" y="20"/>
                  </a:lnTo>
                  <a:close/>
                  <a:moveTo>
                    <a:pt x="395" y="24"/>
                  </a:moveTo>
                  <a:lnTo>
                    <a:pt x="391" y="24"/>
                  </a:lnTo>
                  <a:lnTo>
                    <a:pt x="395" y="24"/>
                  </a:lnTo>
                  <a:lnTo>
                    <a:pt x="399" y="24"/>
                  </a:lnTo>
                  <a:lnTo>
                    <a:pt x="403" y="24"/>
                  </a:lnTo>
                  <a:lnTo>
                    <a:pt x="399" y="24"/>
                  </a:lnTo>
                  <a:lnTo>
                    <a:pt x="395" y="24"/>
                  </a:lnTo>
                  <a:close/>
                  <a:moveTo>
                    <a:pt x="375" y="28"/>
                  </a:moveTo>
                  <a:lnTo>
                    <a:pt x="371" y="28"/>
                  </a:lnTo>
                  <a:lnTo>
                    <a:pt x="371" y="24"/>
                  </a:lnTo>
                  <a:lnTo>
                    <a:pt x="375" y="24"/>
                  </a:lnTo>
                  <a:lnTo>
                    <a:pt x="379" y="24"/>
                  </a:lnTo>
                  <a:lnTo>
                    <a:pt x="383" y="24"/>
                  </a:lnTo>
                  <a:lnTo>
                    <a:pt x="387" y="24"/>
                  </a:lnTo>
                  <a:lnTo>
                    <a:pt x="387" y="28"/>
                  </a:lnTo>
                  <a:lnTo>
                    <a:pt x="383" y="28"/>
                  </a:lnTo>
                  <a:lnTo>
                    <a:pt x="379" y="28"/>
                  </a:lnTo>
                  <a:lnTo>
                    <a:pt x="375" y="28"/>
                  </a:lnTo>
                  <a:close/>
                  <a:moveTo>
                    <a:pt x="423" y="52"/>
                  </a:moveTo>
                  <a:lnTo>
                    <a:pt x="419" y="48"/>
                  </a:lnTo>
                  <a:lnTo>
                    <a:pt x="415" y="48"/>
                  </a:lnTo>
                  <a:lnTo>
                    <a:pt x="415" y="44"/>
                  </a:lnTo>
                  <a:lnTo>
                    <a:pt x="411" y="44"/>
                  </a:lnTo>
                  <a:lnTo>
                    <a:pt x="407" y="44"/>
                  </a:lnTo>
                  <a:lnTo>
                    <a:pt x="403" y="44"/>
                  </a:lnTo>
                  <a:lnTo>
                    <a:pt x="399" y="44"/>
                  </a:lnTo>
                  <a:lnTo>
                    <a:pt x="395" y="40"/>
                  </a:lnTo>
                  <a:lnTo>
                    <a:pt x="391" y="40"/>
                  </a:lnTo>
                  <a:lnTo>
                    <a:pt x="391" y="36"/>
                  </a:lnTo>
                  <a:lnTo>
                    <a:pt x="387" y="36"/>
                  </a:lnTo>
                  <a:lnTo>
                    <a:pt x="387" y="32"/>
                  </a:lnTo>
                  <a:lnTo>
                    <a:pt x="383" y="32"/>
                  </a:lnTo>
                  <a:lnTo>
                    <a:pt x="387" y="32"/>
                  </a:lnTo>
                  <a:lnTo>
                    <a:pt x="391" y="32"/>
                  </a:lnTo>
                  <a:lnTo>
                    <a:pt x="395" y="32"/>
                  </a:lnTo>
                  <a:lnTo>
                    <a:pt x="399" y="32"/>
                  </a:lnTo>
                  <a:lnTo>
                    <a:pt x="403" y="32"/>
                  </a:lnTo>
                  <a:lnTo>
                    <a:pt x="407" y="32"/>
                  </a:lnTo>
                  <a:lnTo>
                    <a:pt x="411" y="32"/>
                  </a:lnTo>
                  <a:lnTo>
                    <a:pt x="419" y="36"/>
                  </a:lnTo>
                  <a:lnTo>
                    <a:pt x="423" y="36"/>
                  </a:lnTo>
                  <a:lnTo>
                    <a:pt x="427" y="36"/>
                  </a:lnTo>
                  <a:lnTo>
                    <a:pt x="427" y="40"/>
                  </a:lnTo>
                  <a:lnTo>
                    <a:pt x="431" y="40"/>
                  </a:lnTo>
                  <a:lnTo>
                    <a:pt x="431" y="44"/>
                  </a:lnTo>
                  <a:lnTo>
                    <a:pt x="427" y="44"/>
                  </a:lnTo>
                  <a:lnTo>
                    <a:pt x="423" y="44"/>
                  </a:lnTo>
                  <a:lnTo>
                    <a:pt x="423" y="48"/>
                  </a:lnTo>
                  <a:lnTo>
                    <a:pt x="427" y="48"/>
                  </a:lnTo>
                  <a:lnTo>
                    <a:pt x="427" y="52"/>
                  </a:lnTo>
                  <a:lnTo>
                    <a:pt x="423" y="52"/>
                  </a:lnTo>
                  <a:close/>
                  <a:moveTo>
                    <a:pt x="375" y="40"/>
                  </a:moveTo>
                  <a:lnTo>
                    <a:pt x="371" y="36"/>
                  </a:lnTo>
                  <a:lnTo>
                    <a:pt x="367" y="36"/>
                  </a:lnTo>
                  <a:lnTo>
                    <a:pt x="371" y="36"/>
                  </a:lnTo>
                  <a:lnTo>
                    <a:pt x="375" y="36"/>
                  </a:lnTo>
                  <a:lnTo>
                    <a:pt x="379" y="36"/>
                  </a:lnTo>
                  <a:lnTo>
                    <a:pt x="375" y="40"/>
                  </a:lnTo>
                  <a:close/>
                  <a:moveTo>
                    <a:pt x="331" y="52"/>
                  </a:moveTo>
                  <a:lnTo>
                    <a:pt x="327" y="52"/>
                  </a:lnTo>
                  <a:lnTo>
                    <a:pt x="323" y="52"/>
                  </a:lnTo>
                  <a:lnTo>
                    <a:pt x="319" y="52"/>
                  </a:lnTo>
                  <a:lnTo>
                    <a:pt x="315" y="52"/>
                  </a:lnTo>
                  <a:lnTo>
                    <a:pt x="311" y="52"/>
                  </a:lnTo>
                  <a:lnTo>
                    <a:pt x="307" y="52"/>
                  </a:lnTo>
                  <a:lnTo>
                    <a:pt x="303" y="52"/>
                  </a:lnTo>
                  <a:lnTo>
                    <a:pt x="303" y="48"/>
                  </a:lnTo>
                  <a:lnTo>
                    <a:pt x="299" y="48"/>
                  </a:lnTo>
                  <a:lnTo>
                    <a:pt x="299" y="44"/>
                  </a:lnTo>
                  <a:lnTo>
                    <a:pt x="303" y="44"/>
                  </a:lnTo>
                  <a:lnTo>
                    <a:pt x="307" y="44"/>
                  </a:lnTo>
                  <a:lnTo>
                    <a:pt x="311" y="44"/>
                  </a:lnTo>
                  <a:lnTo>
                    <a:pt x="307" y="44"/>
                  </a:lnTo>
                  <a:lnTo>
                    <a:pt x="311" y="44"/>
                  </a:lnTo>
                  <a:lnTo>
                    <a:pt x="311" y="48"/>
                  </a:lnTo>
                  <a:lnTo>
                    <a:pt x="315" y="48"/>
                  </a:lnTo>
                  <a:lnTo>
                    <a:pt x="319" y="48"/>
                  </a:lnTo>
                  <a:lnTo>
                    <a:pt x="327" y="52"/>
                  </a:lnTo>
                  <a:lnTo>
                    <a:pt x="331" y="52"/>
                  </a:lnTo>
                  <a:close/>
                  <a:moveTo>
                    <a:pt x="315" y="44"/>
                  </a:moveTo>
                  <a:lnTo>
                    <a:pt x="319" y="44"/>
                  </a:lnTo>
                  <a:lnTo>
                    <a:pt x="319" y="48"/>
                  </a:lnTo>
                  <a:lnTo>
                    <a:pt x="315" y="48"/>
                  </a:lnTo>
                  <a:lnTo>
                    <a:pt x="315" y="44"/>
                  </a:lnTo>
                  <a:close/>
                  <a:moveTo>
                    <a:pt x="818" y="52"/>
                  </a:moveTo>
                  <a:lnTo>
                    <a:pt x="814" y="48"/>
                  </a:lnTo>
                  <a:lnTo>
                    <a:pt x="810" y="48"/>
                  </a:lnTo>
                  <a:lnTo>
                    <a:pt x="810" y="44"/>
                  </a:lnTo>
                  <a:lnTo>
                    <a:pt x="814" y="44"/>
                  </a:lnTo>
                  <a:lnTo>
                    <a:pt x="814" y="48"/>
                  </a:lnTo>
                  <a:lnTo>
                    <a:pt x="818" y="52"/>
                  </a:lnTo>
                  <a:lnTo>
                    <a:pt x="822" y="52"/>
                  </a:lnTo>
                  <a:lnTo>
                    <a:pt x="818" y="52"/>
                  </a:lnTo>
                  <a:close/>
                  <a:moveTo>
                    <a:pt x="798" y="56"/>
                  </a:moveTo>
                  <a:lnTo>
                    <a:pt x="794" y="52"/>
                  </a:lnTo>
                  <a:lnTo>
                    <a:pt x="790" y="52"/>
                  </a:lnTo>
                  <a:lnTo>
                    <a:pt x="790" y="48"/>
                  </a:lnTo>
                  <a:lnTo>
                    <a:pt x="794" y="48"/>
                  </a:lnTo>
                  <a:lnTo>
                    <a:pt x="798" y="48"/>
                  </a:lnTo>
                  <a:lnTo>
                    <a:pt x="798" y="52"/>
                  </a:lnTo>
                  <a:lnTo>
                    <a:pt x="802" y="52"/>
                  </a:lnTo>
                  <a:lnTo>
                    <a:pt x="806" y="52"/>
                  </a:lnTo>
                  <a:lnTo>
                    <a:pt x="806" y="56"/>
                  </a:lnTo>
                  <a:lnTo>
                    <a:pt x="802" y="56"/>
                  </a:lnTo>
                  <a:lnTo>
                    <a:pt x="798" y="56"/>
                  </a:lnTo>
                  <a:close/>
                  <a:moveTo>
                    <a:pt x="822" y="64"/>
                  </a:moveTo>
                  <a:lnTo>
                    <a:pt x="818" y="64"/>
                  </a:lnTo>
                  <a:lnTo>
                    <a:pt x="814" y="60"/>
                  </a:lnTo>
                  <a:lnTo>
                    <a:pt x="818" y="60"/>
                  </a:lnTo>
                  <a:lnTo>
                    <a:pt x="822" y="60"/>
                  </a:lnTo>
                  <a:lnTo>
                    <a:pt x="825" y="60"/>
                  </a:lnTo>
                  <a:lnTo>
                    <a:pt x="825" y="64"/>
                  </a:lnTo>
                  <a:lnTo>
                    <a:pt x="829" y="64"/>
                  </a:lnTo>
                  <a:lnTo>
                    <a:pt x="825" y="64"/>
                  </a:lnTo>
                  <a:lnTo>
                    <a:pt x="822" y="64"/>
                  </a:lnTo>
                  <a:close/>
                  <a:moveTo>
                    <a:pt x="790" y="64"/>
                  </a:moveTo>
                  <a:lnTo>
                    <a:pt x="786" y="60"/>
                  </a:lnTo>
                  <a:lnTo>
                    <a:pt x="790" y="60"/>
                  </a:lnTo>
                  <a:lnTo>
                    <a:pt x="794" y="64"/>
                  </a:lnTo>
                  <a:lnTo>
                    <a:pt x="798" y="64"/>
                  </a:lnTo>
                  <a:lnTo>
                    <a:pt x="794" y="64"/>
                  </a:lnTo>
                  <a:lnTo>
                    <a:pt x="790" y="64"/>
                  </a:lnTo>
                  <a:close/>
                  <a:moveTo>
                    <a:pt x="92" y="96"/>
                  </a:moveTo>
                  <a:lnTo>
                    <a:pt x="96" y="96"/>
                  </a:lnTo>
                  <a:lnTo>
                    <a:pt x="100" y="96"/>
                  </a:lnTo>
                  <a:lnTo>
                    <a:pt x="96" y="96"/>
                  </a:lnTo>
                  <a:lnTo>
                    <a:pt x="92" y="96"/>
                  </a:lnTo>
                  <a:close/>
                  <a:moveTo>
                    <a:pt x="814" y="140"/>
                  </a:moveTo>
                  <a:lnTo>
                    <a:pt x="814" y="144"/>
                  </a:lnTo>
                  <a:lnTo>
                    <a:pt x="810" y="144"/>
                  </a:lnTo>
                  <a:lnTo>
                    <a:pt x="810" y="140"/>
                  </a:lnTo>
                  <a:lnTo>
                    <a:pt x="814" y="140"/>
                  </a:lnTo>
                  <a:close/>
                  <a:moveTo>
                    <a:pt x="837" y="140"/>
                  </a:moveTo>
                  <a:lnTo>
                    <a:pt x="837" y="144"/>
                  </a:lnTo>
                  <a:lnTo>
                    <a:pt x="833" y="144"/>
                  </a:lnTo>
                  <a:lnTo>
                    <a:pt x="833" y="148"/>
                  </a:lnTo>
                  <a:lnTo>
                    <a:pt x="829" y="148"/>
                  </a:lnTo>
                  <a:lnTo>
                    <a:pt x="829" y="144"/>
                  </a:lnTo>
                  <a:lnTo>
                    <a:pt x="833" y="140"/>
                  </a:lnTo>
                  <a:lnTo>
                    <a:pt x="837" y="140"/>
                  </a:lnTo>
                  <a:close/>
                  <a:moveTo>
                    <a:pt x="829" y="156"/>
                  </a:moveTo>
                  <a:lnTo>
                    <a:pt x="825" y="152"/>
                  </a:lnTo>
                  <a:lnTo>
                    <a:pt x="829" y="152"/>
                  </a:lnTo>
                  <a:lnTo>
                    <a:pt x="829" y="156"/>
                  </a:lnTo>
                  <a:close/>
                  <a:moveTo>
                    <a:pt x="825" y="156"/>
                  </a:moveTo>
                  <a:lnTo>
                    <a:pt x="825" y="160"/>
                  </a:lnTo>
                  <a:lnTo>
                    <a:pt x="822" y="160"/>
                  </a:lnTo>
                  <a:lnTo>
                    <a:pt x="822" y="156"/>
                  </a:lnTo>
                  <a:lnTo>
                    <a:pt x="825" y="156"/>
                  </a:lnTo>
                  <a:close/>
                  <a:moveTo>
                    <a:pt x="814" y="164"/>
                  </a:moveTo>
                  <a:lnTo>
                    <a:pt x="818" y="168"/>
                  </a:lnTo>
                  <a:lnTo>
                    <a:pt x="814" y="168"/>
                  </a:lnTo>
                  <a:lnTo>
                    <a:pt x="810" y="168"/>
                  </a:lnTo>
                  <a:lnTo>
                    <a:pt x="810" y="164"/>
                  </a:lnTo>
                  <a:lnTo>
                    <a:pt x="814" y="164"/>
                  </a:lnTo>
                  <a:close/>
                  <a:moveTo>
                    <a:pt x="810" y="168"/>
                  </a:moveTo>
                  <a:lnTo>
                    <a:pt x="806" y="168"/>
                  </a:lnTo>
                  <a:lnTo>
                    <a:pt x="806" y="164"/>
                  </a:lnTo>
                  <a:lnTo>
                    <a:pt x="810" y="164"/>
                  </a:lnTo>
                  <a:lnTo>
                    <a:pt x="810" y="168"/>
                  </a:lnTo>
                  <a:close/>
                  <a:moveTo>
                    <a:pt x="814" y="172"/>
                  </a:moveTo>
                  <a:lnTo>
                    <a:pt x="814" y="168"/>
                  </a:lnTo>
                  <a:lnTo>
                    <a:pt x="818" y="168"/>
                  </a:lnTo>
                  <a:lnTo>
                    <a:pt x="814" y="172"/>
                  </a:lnTo>
                  <a:close/>
                  <a:moveTo>
                    <a:pt x="798" y="172"/>
                  </a:moveTo>
                  <a:lnTo>
                    <a:pt x="794" y="172"/>
                  </a:lnTo>
                  <a:lnTo>
                    <a:pt x="790" y="172"/>
                  </a:lnTo>
                  <a:lnTo>
                    <a:pt x="794" y="172"/>
                  </a:lnTo>
                  <a:lnTo>
                    <a:pt x="798" y="172"/>
                  </a:lnTo>
                  <a:close/>
                  <a:moveTo>
                    <a:pt x="818" y="172"/>
                  </a:moveTo>
                  <a:lnTo>
                    <a:pt x="818" y="176"/>
                  </a:lnTo>
                  <a:lnTo>
                    <a:pt x="814" y="176"/>
                  </a:lnTo>
                  <a:lnTo>
                    <a:pt x="814" y="172"/>
                  </a:lnTo>
                  <a:lnTo>
                    <a:pt x="818" y="172"/>
                  </a:lnTo>
                  <a:lnTo>
                    <a:pt x="822" y="172"/>
                  </a:lnTo>
                  <a:lnTo>
                    <a:pt x="818" y="172"/>
                  </a:lnTo>
                  <a:close/>
                  <a:moveTo>
                    <a:pt x="786" y="176"/>
                  </a:moveTo>
                  <a:lnTo>
                    <a:pt x="786" y="180"/>
                  </a:lnTo>
                  <a:lnTo>
                    <a:pt x="782" y="180"/>
                  </a:lnTo>
                  <a:lnTo>
                    <a:pt x="782" y="176"/>
                  </a:lnTo>
                  <a:lnTo>
                    <a:pt x="786" y="176"/>
                  </a:lnTo>
                  <a:close/>
                  <a:moveTo>
                    <a:pt x="802" y="187"/>
                  </a:moveTo>
                  <a:lnTo>
                    <a:pt x="802" y="191"/>
                  </a:lnTo>
                  <a:lnTo>
                    <a:pt x="798" y="187"/>
                  </a:lnTo>
                  <a:lnTo>
                    <a:pt x="794" y="187"/>
                  </a:lnTo>
                  <a:lnTo>
                    <a:pt x="798" y="187"/>
                  </a:lnTo>
                  <a:lnTo>
                    <a:pt x="802" y="187"/>
                  </a:lnTo>
                  <a:close/>
                  <a:moveTo>
                    <a:pt x="806" y="191"/>
                  </a:moveTo>
                  <a:lnTo>
                    <a:pt x="802" y="191"/>
                  </a:lnTo>
                  <a:lnTo>
                    <a:pt x="806" y="191"/>
                  </a:lnTo>
                  <a:close/>
                  <a:moveTo>
                    <a:pt x="104" y="191"/>
                  </a:moveTo>
                  <a:lnTo>
                    <a:pt x="100" y="191"/>
                  </a:lnTo>
                  <a:lnTo>
                    <a:pt x="96" y="191"/>
                  </a:lnTo>
                  <a:lnTo>
                    <a:pt x="100" y="191"/>
                  </a:lnTo>
                  <a:lnTo>
                    <a:pt x="104" y="191"/>
                  </a:lnTo>
                  <a:close/>
                  <a:moveTo>
                    <a:pt x="28" y="195"/>
                  </a:moveTo>
                  <a:lnTo>
                    <a:pt x="28" y="191"/>
                  </a:lnTo>
                  <a:lnTo>
                    <a:pt x="32" y="191"/>
                  </a:lnTo>
                  <a:lnTo>
                    <a:pt x="36" y="191"/>
                  </a:lnTo>
                  <a:lnTo>
                    <a:pt x="36" y="195"/>
                  </a:lnTo>
                  <a:lnTo>
                    <a:pt x="40" y="195"/>
                  </a:lnTo>
                  <a:lnTo>
                    <a:pt x="44" y="195"/>
                  </a:lnTo>
                  <a:lnTo>
                    <a:pt x="40" y="195"/>
                  </a:lnTo>
                  <a:lnTo>
                    <a:pt x="36" y="195"/>
                  </a:lnTo>
                  <a:lnTo>
                    <a:pt x="32" y="195"/>
                  </a:lnTo>
                  <a:lnTo>
                    <a:pt x="28" y="195"/>
                  </a:lnTo>
                  <a:lnTo>
                    <a:pt x="24" y="195"/>
                  </a:lnTo>
                  <a:lnTo>
                    <a:pt x="28" y="195"/>
                  </a:lnTo>
                  <a:close/>
                  <a:moveTo>
                    <a:pt x="12" y="195"/>
                  </a:moveTo>
                  <a:lnTo>
                    <a:pt x="16" y="195"/>
                  </a:lnTo>
                  <a:lnTo>
                    <a:pt x="20" y="195"/>
                  </a:lnTo>
                  <a:lnTo>
                    <a:pt x="24" y="195"/>
                  </a:lnTo>
                  <a:lnTo>
                    <a:pt x="20" y="199"/>
                  </a:lnTo>
                  <a:lnTo>
                    <a:pt x="16" y="199"/>
                  </a:lnTo>
                  <a:lnTo>
                    <a:pt x="12" y="199"/>
                  </a:lnTo>
                  <a:lnTo>
                    <a:pt x="12" y="195"/>
                  </a:lnTo>
                  <a:lnTo>
                    <a:pt x="8" y="195"/>
                  </a:lnTo>
                  <a:lnTo>
                    <a:pt x="12" y="195"/>
                  </a:lnTo>
                  <a:close/>
                  <a:moveTo>
                    <a:pt x="806" y="211"/>
                  </a:moveTo>
                  <a:lnTo>
                    <a:pt x="810" y="211"/>
                  </a:lnTo>
                  <a:lnTo>
                    <a:pt x="806" y="215"/>
                  </a:lnTo>
                  <a:lnTo>
                    <a:pt x="806" y="211"/>
                  </a:lnTo>
                  <a:close/>
                  <a:moveTo>
                    <a:pt x="806" y="215"/>
                  </a:moveTo>
                  <a:lnTo>
                    <a:pt x="810" y="215"/>
                  </a:lnTo>
                  <a:lnTo>
                    <a:pt x="806" y="215"/>
                  </a:lnTo>
                  <a:close/>
                  <a:moveTo>
                    <a:pt x="786" y="219"/>
                  </a:moveTo>
                  <a:lnTo>
                    <a:pt x="782" y="219"/>
                  </a:lnTo>
                  <a:lnTo>
                    <a:pt x="778" y="219"/>
                  </a:lnTo>
                  <a:lnTo>
                    <a:pt x="782" y="219"/>
                  </a:lnTo>
                  <a:lnTo>
                    <a:pt x="786" y="219"/>
                  </a:lnTo>
                  <a:close/>
                  <a:moveTo>
                    <a:pt x="52" y="219"/>
                  </a:moveTo>
                  <a:lnTo>
                    <a:pt x="48" y="219"/>
                  </a:lnTo>
                  <a:lnTo>
                    <a:pt x="44" y="219"/>
                  </a:lnTo>
                  <a:lnTo>
                    <a:pt x="48" y="219"/>
                  </a:lnTo>
                  <a:lnTo>
                    <a:pt x="52" y="219"/>
                  </a:lnTo>
                  <a:close/>
                  <a:moveTo>
                    <a:pt x="790" y="223"/>
                  </a:moveTo>
                  <a:lnTo>
                    <a:pt x="790" y="227"/>
                  </a:lnTo>
                  <a:lnTo>
                    <a:pt x="790" y="223"/>
                  </a:lnTo>
                  <a:lnTo>
                    <a:pt x="786" y="223"/>
                  </a:lnTo>
                  <a:lnTo>
                    <a:pt x="790" y="223"/>
                  </a:lnTo>
                  <a:lnTo>
                    <a:pt x="790" y="219"/>
                  </a:lnTo>
                  <a:lnTo>
                    <a:pt x="790" y="223"/>
                  </a:lnTo>
                  <a:close/>
                  <a:moveTo>
                    <a:pt x="44" y="223"/>
                  </a:moveTo>
                  <a:lnTo>
                    <a:pt x="48" y="223"/>
                  </a:lnTo>
                  <a:lnTo>
                    <a:pt x="44" y="223"/>
                  </a:lnTo>
                  <a:close/>
                  <a:moveTo>
                    <a:pt x="798" y="223"/>
                  </a:moveTo>
                  <a:lnTo>
                    <a:pt x="802" y="223"/>
                  </a:lnTo>
                  <a:lnTo>
                    <a:pt x="802" y="227"/>
                  </a:lnTo>
                  <a:lnTo>
                    <a:pt x="798" y="227"/>
                  </a:lnTo>
                  <a:lnTo>
                    <a:pt x="798" y="223"/>
                  </a:lnTo>
                  <a:lnTo>
                    <a:pt x="794" y="227"/>
                  </a:lnTo>
                  <a:lnTo>
                    <a:pt x="794" y="223"/>
                  </a:lnTo>
                  <a:lnTo>
                    <a:pt x="798" y="223"/>
                  </a:lnTo>
                  <a:close/>
                  <a:moveTo>
                    <a:pt x="786" y="227"/>
                  </a:moveTo>
                  <a:lnTo>
                    <a:pt x="790" y="227"/>
                  </a:lnTo>
                  <a:lnTo>
                    <a:pt x="794" y="227"/>
                  </a:lnTo>
                  <a:lnTo>
                    <a:pt x="794" y="231"/>
                  </a:lnTo>
                  <a:lnTo>
                    <a:pt x="794" y="227"/>
                  </a:lnTo>
                  <a:lnTo>
                    <a:pt x="790" y="227"/>
                  </a:lnTo>
                  <a:lnTo>
                    <a:pt x="786" y="227"/>
                  </a:lnTo>
                  <a:close/>
                  <a:moveTo>
                    <a:pt x="798" y="227"/>
                  </a:moveTo>
                  <a:lnTo>
                    <a:pt x="794" y="227"/>
                  </a:lnTo>
                  <a:lnTo>
                    <a:pt x="798" y="227"/>
                  </a:lnTo>
                  <a:lnTo>
                    <a:pt x="802" y="227"/>
                  </a:lnTo>
                  <a:lnTo>
                    <a:pt x="798" y="227"/>
                  </a:lnTo>
                  <a:close/>
                  <a:moveTo>
                    <a:pt x="119" y="235"/>
                  </a:moveTo>
                  <a:lnTo>
                    <a:pt x="123" y="235"/>
                  </a:lnTo>
                  <a:lnTo>
                    <a:pt x="119" y="235"/>
                  </a:lnTo>
                  <a:lnTo>
                    <a:pt x="116" y="235"/>
                  </a:lnTo>
                  <a:lnTo>
                    <a:pt x="119" y="235"/>
                  </a:lnTo>
                  <a:close/>
                  <a:moveTo>
                    <a:pt x="802" y="239"/>
                  </a:moveTo>
                  <a:lnTo>
                    <a:pt x="798" y="239"/>
                  </a:lnTo>
                  <a:lnTo>
                    <a:pt x="802" y="235"/>
                  </a:lnTo>
                  <a:lnTo>
                    <a:pt x="802" y="239"/>
                  </a:lnTo>
                  <a:close/>
                  <a:moveTo>
                    <a:pt x="798" y="263"/>
                  </a:moveTo>
                  <a:lnTo>
                    <a:pt x="802" y="267"/>
                  </a:lnTo>
                  <a:lnTo>
                    <a:pt x="798" y="267"/>
                  </a:lnTo>
                  <a:lnTo>
                    <a:pt x="802" y="267"/>
                  </a:lnTo>
                  <a:lnTo>
                    <a:pt x="806" y="271"/>
                  </a:lnTo>
                  <a:lnTo>
                    <a:pt x="802" y="275"/>
                  </a:lnTo>
                  <a:lnTo>
                    <a:pt x="798" y="275"/>
                  </a:lnTo>
                  <a:lnTo>
                    <a:pt x="794" y="275"/>
                  </a:lnTo>
                  <a:lnTo>
                    <a:pt x="794" y="271"/>
                  </a:lnTo>
                  <a:lnTo>
                    <a:pt x="794" y="267"/>
                  </a:lnTo>
                  <a:lnTo>
                    <a:pt x="794" y="263"/>
                  </a:lnTo>
                  <a:lnTo>
                    <a:pt x="798" y="263"/>
                  </a:lnTo>
                  <a:close/>
                  <a:moveTo>
                    <a:pt x="825" y="275"/>
                  </a:moveTo>
                  <a:lnTo>
                    <a:pt x="822" y="275"/>
                  </a:lnTo>
                  <a:lnTo>
                    <a:pt x="825" y="275"/>
                  </a:lnTo>
                  <a:lnTo>
                    <a:pt x="829" y="275"/>
                  </a:lnTo>
                  <a:lnTo>
                    <a:pt x="825" y="275"/>
                  </a:lnTo>
                  <a:close/>
                  <a:moveTo>
                    <a:pt x="822" y="279"/>
                  </a:moveTo>
                  <a:lnTo>
                    <a:pt x="818" y="279"/>
                  </a:lnTo>
                  <a:lnTo>
                    <a:pt x="814" y="279"/>
                  </a:lnTo>
                  <a:lnTo>
                    <a:pt x="818" y="275"/>
                  </a:lnTo>
                  <a:lnTo>
                    <a:pt x="822" y="275"/>
                  </a:lnTo>
                  <a:lnTo>
                    <a:pt x="822" y="279"/>
                  </a:lnTo>
                  <a:close/>
                  <a:moveTo>
                    <a:pt x="243" y="279"/>
                  </a:moveTo>
                  <a:lnTo>
                    <a:pt x="239" y="279"/>
                  </a:lnTo>
                  <a:lnTo>
                    <a:pt x="243" y="279"/>
                  </a:lnTo>
                  <a:close/>
                  <a:moveTo>
                    <a:pt x="235" y="279"/>
                  </a:moveTo>
                  <a:lnTo>
                    <a:pt x="239" y="279"/>
                  </a:lnTo>
                  <a:lnTo>
                    <a:pt x="243" y="279"/>
                  </a:lnTo>
                  <a:lnTo>
                    <a:pt x="247" y="279"/>
                  </a:lnTo>
                  <a:lnTo>
                    <a:pt x="251" y="279"/>
                  </a:lnTo>
                  <a:lnTo>
                    <a:pt x="247" y="279"/>
                  </a:lnTo>
                  <a:lnTo>
                    <a:pt x="243" y="279"/>
                  </a:lnTo>
                  <a:lnTo>
                    <a:pt x="239" y="283"/>
                  </a:lnTo>
                  <a:lnTo>
                    <a:pt x="235" y="279"/>
                  </a:lnTo>
                  <a:close/>
                  <a:moveTo>
                    <a:pt x="786" y="283"/>
                  </a:moveTo>
                  <a:lnTo>
                    <a:pt x="790" y="283"/>
                  </a:lnTo>
                  <a:lnTo>
                    <a:pt x="794" y="283"/>
                  </a:lnTo>
                  <a:lnTo>
                    <a:pt x="794" y="287"/>
                  </a:lnTo>
                  <a:lnTo>
                    <a:pt x="798" y="287"/>
                  </a:lnTo>
                  <a:lnTo>
                    <a:pt x="802" y="287"/>
                  </a:lnTo>
                  <a:lnTo>
                    <a:pt x="802" y="291"/>
                  </a:lnTo>
                  <a:lnTo>
                    <a:pt x="798" y="291"/>
                  </a:lnTo>
                  <a:lnTo>
                    <a:pt x="794" y="291"/>
                  </a:lnTo>
                  <a:lnTo>
                    <a:pt x="790" y="291"/>
                  </a:lnTo>
                  <a:lnTo>
                    <a:pt x="786" y="291"/>
                  </a:lnTo>
                  <a:lnTo>
                    <a:pt x="782" y="291"/>
                  </a:lnTo>
                  <a:lnTo>
                    <a:pt x="778" y="291"/>
                  </a:lnTo>
                  <a:lnTo>
                    <a:pt x="774" y="291"/>
                  </a:lnTo>
                  <a:lnTo>
                    <a:pt x="774" y="287"/>
                  </a:lnTo>
                  <a:lnTo>
                    <a:pt x="774" y="283"/>
                  </a:lnTo>
                  <a:lnTo>
                    <a:pt x="778" y="283"/>
                  </a:lnTo>
                  <a:lnTo>
                    <a:pt x="782" y="283"/>
                  </a:lnTo>
                  <a:lnTo>
                    <a:pt x="786" y="283"/>
                  </a:lnTo>
                  <a:close/>
                  <a:moveTo>
                    <a:pt x="251" y="299"/>
                  </a:moveTo>
                  <a:lnTo>
                    <a:pt x="247" y="299"/>
                  </a:lnTo>
                  <a:lnTo>
                    <a:pt x="251" y="299"/>
                  </a:lnTo>
                  <a:lnTo>
                    <a:pt x="255" y="299"/>
                  </a:lnTo>
                  <a:lnTo>
                    <a:pt x="259" y="299"/>
                  </a:lnTo>
                  <a:lnTo>
                    <a:pt x="255" y="299"/>
                  </a:lnTo>
                  <a:lnTo>
                    <a:pt x="251" y="299"/>
                  </a:lnTo>
                  <a:close/>
                  <a:moveTo>
                    <a:pt x="251" y="303"/>
                  </a:moveTo>
                  <a:lnTo>
                    <a:pt x="247" y="307"/>
                  </a:lnTo>
                  <a:lnTo>
                    <a:pt x="243" y="307"/>
                  </a:lnTo>
                  <a:lnTo>
                    <a:pt x="243" y="303"/>
                  </a:lnTo>
                  <a:lnTo>
                    <a:pt x="247" y="303"/>
                  </a:lnTo>
                  <a:lnTo>
                    <a:pt x="251" y="303"/>
                  </a:lnTo>
                  <a:close/>
                  <a:moveTo>
                    <a:pt x="251" y="307"/>
                  </a:moveTo>
                  <a:lnTo>
                    <a:pt x="247" y="307"/>
                  </a:lnTo>
                  <a:lnTo>
                    <a:pt x="251" y="307"/>
                  </a:lnTo>
                  <a:lnTo>
                    <a:pt x="251" y="303"/>
                  </a:lnTo>
                  <a:lnTo>
                    <a:pt x="255" y="303"/>
                  </a:lnTo>
                  <a:lnTo>
                    <a:pt x="255" y="307"/>
                  </a:lnTo>
                  <a:lnTo>
                    <a:pt x="251" y="307"/>
                  </a:lnTo>
                  <a:close/>
                  <a:moveTo>
                    <a:pt x="259" y="307"/>
                  </a:moveTo>
                  <a:lnTo>
                    <a:pt x="263" y="307"/>
                  </a:lnTo>
                  <a:lnTo>
                    <a:pt x="263" y="311"/>
                  </a:lnTo>
                  <a:lnTo>
                    <a:pt x="259" y="311"/>
                  </a:lnTo>
                  <a:lnTo>
                    <a:pt x="263" y="311"/>
                  </a:lnTo>
                  <a:lnTo>
                    <a:pt x="259" y="311"/>
                  </a:lnTo>
                  <a:lnTo>
                    <a:pt x="255" y="307"/>
                  </a:lnTo>
                  <a:lnTo>
                    <a:pt x="259" y="307"/>
                  </a:lnTo>
                  <a:close/>
                  <a:moveTo>
                    <a:pt x="259" y="311"/>
                  </a:moveTo>
                  <a:lnTo>
                    <a:pt x="255" y="311"/>
                  </a:lnTo>
                  <a:lnTo>
                    <a:pt x="259" y="311"/>
                  </a:lnTo>
                  <a:close/>
                  <a:moveTo>
                    <a:pt x="734" y="311"/>
                  </a:moveTo>
                  <a:lnTo>
                    <a:pt x="738" y="311"/>
                  </a:lnTo>
                  <a:lnTo>
                    <a:pt x="742" y="315"/>
                  </a:lnTo>
                  <a:lnTo>
                    <a:pt x="746" y="315"/>
                  </a:lnTo>
                  <a:lnTo>
                    <a:pt x="750" y="315"/>
                  </a:lnTo>
                  <a:lnTo>
                    <a:pt x="754" y="315"/>
                  </a:lnTo>
                  <a:lnTo>
                    <a:pt x="754" y="319"/>
                  </a:lnTo>
                  <a:lnTo>
                    <a:pt x="746" y="319"/>
                  </a:lnTo>
                  <a:lnTo>
                    <a:pt x="746" y="315"/>
                  </a:lnTo>
                  <a:lnTo>
                    <a:pt x="742" y="315"/>
                  </a:lnTo>
                  <a:lnTo>
                    <a:pt x="738" y="315"/>
                  </a:lnTo>
                  <a:lnTo>
                    <a:pt x="734" y="315"/>
                  </a:lnTo>
                  <a:lnTo>
                    <a:pt x="730" y="315"/>
                  </a:lnTo>
                  <a:lnTo>
                    <a:pt x="726" y="315"/>
                  </a:lnTo>
                  <a:lnTo>
                    <a:pt x="730" y="315"/>
                  </a:lnTo>
                  <a:lnTo>
                    <a:pt x="734" y="315"/>
                  </a:lnTo>
                  <a:lnTo>
                    <a:pt x="738" y="315"/>
                  </a:lnTo>
                  <a:lnTo>
                    <a:pt x="742" y="315"/>
                  </a:lnTo>
                  <a:lnTo>
                    <a:pt x="742" y="319"/>
                  </a:lnTo>
                  <a:lnTo>
                    <a:pt x="746" y="319"/>
                  </a:lnTo>
                  <a:lnTo>
                    <a:pt x="750" y="319"/>
                  </a:lnTo>
                  <a:lnTo>
                    <a:pt x="754" y="319"/>
                  </a:lnTo>
                  <a:lnTo>
                    <a:pt x="758" y="319"/>
                  </a:lnTo>
                  <a:lnTo>
                    <a:pt x="754" y="319"/>
                  </a:lnTo>
                  <a:lnTo>
                    <a:pt x="750" y="319"/>
                  </a:lnTo>
                  <a:lnTo>
                    <a:pt x="750" y="323"/>
                  </a:lnTo>
                  <a:lnTo>
                    <a:pt x="746" y="323"/>
                  </a:lnTo>
                  <a:lnTo>
                    <a:pt x="742" y="323"/>
                  </a:lnTo>
                  <a:lnTo>
                    <a:pt x="738" y="323"/>
                  </a:lnTo>
                  <a:lnTo>
                    <a:pt x="734" y="323"/>
                  </a:lnTo>
                  <a:lnTo>
                    <a:pt x="730" y="323"/>
                  </a:lnTo>
                  <a:lnTo>
                    <a:pt x="726" y="319"/>
                  </a:lnTo>
                  <a:lnTo>
                    <a:pt x="722" y="319"/>
                  </a:lnTo>
                  <a:lnTo>
                    <a:pt x="718" y="319"/>
                  </a:lnTo>
                  <a:lnTo>
                    <a:pt x="714" y="319"/>
                  </a:lnTo>
                  <a:lnTo>
                    <a:pt x="718" y="315"/>
                  </a:lnTo>
                  <a:lnTo>
                    <a:pt x="722" y="315"/>
                  </a:lnTo>
                  <a:lnTo>
                    <a:pt x="722" y="311"/>
                  </a:lnTo>
                  <a:lnTo>
                    <a:pt x="726" y="311"/>
                  </a:lnTo>
                  <a:lnTo>
                    <a:pt x="730" y="311"/>
                  </a:lnTo>
                  <a:lnTo>
                    <a:pt x="734" y="311"/>
                  </a:lnTo>
                  <a:close/>
                  <a:moveTo>
                    <a:pt x="263" y="315"/>
                  </a:moveTo>
                  <a:lnTo>
                    <a:pt x="267" y="311"/>
                  </a:lnTo>
                  <a:lnTo>
                    <a:pt x="267" y="315"/>
                  </a:lnTo>
                  <a:lnTo>
                    <a:pt x="263" y="315"/>
                  </a:lnTo>
                  <a:close/>
                  <a:moveTo>
                    <a:pt x="259" y="311"/>
                  </a:moveTo>
                  <a:lnTo>
                    <a:pt x="259" y="315"/>
                  </a:lnTo>
                  <a:lnTo>
                    <a:pt x="255" y="315"/>
                  </a:lnTo>
                  <a:lnTo>
                    <a:pt x="255" y="311"/>
                  </a:lnTo>
                  <a:lnTo>
                    <a:pt x="259" y="311"/>
                  </a:lnTo>
                  <a:close/>
                  <a:moveTo>
                    <a:pt x="263" y="315"/>
                  </a:moveTo>
                  <a:lnTo>
                    <a:pt x="259" y="315"/>
                  </a:lnTo>
                  <a:lnTo>
                    <a:pt x="263" y="315"/>
                  </a:lnTo>
                  <a:close/>
                  <a:moveTo>
                    <a:pt x="259" y="315"/>
                  </a:moveTo>
                  <a:lnTo>
                    <a:pt x="259" y="319"/>
                  </a:lnTo>
                  <a:lnTo>
                    <a:pt x="255" y="319"/>
                  </a:lnTo>
                  <a:lnTo>
                    <a:pt x="255" y="315"/>
                  </a:lnTo>
                  <a:lnTo>
                    <a:pt x="259" y="315"/>
                  </a:lnTo>
                  <a:close/>
                  <a:moveTo>
                    <a:pt x="267" y="327"/>
                  </a:moveTo>
                  <a:lnTo>
                    <a:pt x="267" y="323"/>
                  </a:lnTo>
                  <a:lnTo>
                    <a:pt x="263" y="323"/>
                  </a:lnTo>
                  <a:lnTo>
                    <a:pt x="267" y="323"/>
                  </a:lnTo>
                  <a:lnTo>
                    <a:pt x="271" y="323"/>
                  </a:lnTo>
                  <a:lnTo>
                    <a:pt x="271" y="327"/>
                  </a:lnTo>
                  <a:lnTo>
                    <a:pt x="267" y="327"/>
                  </a:lnTo>
                  <a:close/>
                  <a:moveTo>
                    <a:pt x="730" y="327"/>
                  </a:moveTo>
                  <a:lnTo>
                    <a:pt x="730" y="331"/>
                  </a:lnTo>
                  <a:lnTo>
                    <a:pt x="726" y="331"/>
                  </a:lnTo>
                  <a:lnTo>
                    <a:pt x="722" y="327"/>
                  </a:lnTo>
                  <a:lnTo>
                    <a:pt x="726" y="327"/>
                  </a:lnTo>
                  <a:lnTo>
                    <a:pt x="730" y="327"/>
                  </a:lnTo>
                  <a:close/>
                  <a:moveTo>
                    <a:pt x="263" y="327"/>
                  </a:moveTo>
                  <a:lnTo>
                    <a:pt x="267" y="327"/>
                  </a:lnTo>
                  <a:lnTo>
                    <a:pt x="263" y="327"/>
                  </a:lnTo>
                  <a:close/>
                  <a:moveTo>
                    <a:pt x="271" y="327"/>
                  </a:moveTo>
                  <a:lnTo>
                    <a:pt x="271" y="331"/>
                  </a:lnTo>
                  <a:lnTo>
                    <a:pt x="267" y="331"/>
                  </a:lnTo>
                  <a:lnTo>
                    <a:pt x="267" y="335"/>
                  </a:lnTo>
                  <a:lnTo>
                    <a:pt x="263" y="335"/>
                  </a:lnTo>
                  <a:lnTo>
                    <a:pt x="259" y="335"/>
                  </a:lnTo>
                  <a:lnTo>
                    <a:pt x="263" y="331"/>
                  </a:lnTo>
                  <a:lnTo>
                    <a:pt x="267" y="331"/>
                  </a:lnTo>
                  <a:lnTo>
                    <a:pt x="267" y="327"/>
                  </a:lnTo>
                  <a:lnTo>
                    <a:pt x="271" y="327"/>
                  </a:lnTo>
                  <a:close/>
                  <a:moveTo>
                    <a:pt x="263" y="331"/>
                  </a:moveTo>
                  <a:lnTo>
                    <a:pt x="259" y="331"/>
                  </a:lnTo>
                  <a:lnTo>
                    <a:pt x="255" y="335"/>
                  </a:lnTo>
                  <a:lnTo>
                    <a:pt x="255" y="331"/>
                  </a:lnTo>
                  <a:lnTo>
                    <a:pt x="259" y="331"/>
                  </a:lnTo>
                  <a:lnTo>
                    <a:pt x="263" y="331"/>
                  </a:lnTo>
                  <a:close/>
                  <a:moveTo>
                    <a:pt x="271" y="331"/>
                  </a:moveTo>
                  <a:lnTo>
                    <a:pt x="275" y="331"/>
                  </a:lnTo>
                  <a:lnTo>
                    <a:pt x="271" y="331"/>
                  </a:lnTo>
                  <a:close/>
                  <a:moveTo>
                    <a:pt x="271" y="331"/>
                  </a:moveTo>
                  <a:lnTo>
                    <a:pt x="271" y="335"/>
                  </a:lnTo>
                  <a:lnTo>
                    <a:pt x="267" y="335"/>
                  </a:lnTo>
                  <a:lnTo>
                    <a:pt x="267" y="331"/>
                  </a:lnTo>
                  <a:lnTo>
                    <a:pt x="271" y="331"/>
                  </a:lnTo>
                  <a:close/>
                  <a:moveTo>
                    <a:pt x="271" y="335"/>
                  </a:moveTo>
                  <a:lnTo>
                    <a:pt x="267" y="335"/>
                  </a:lnTo>
                  <a:lnTo>
                    <a:pt x="271" y="335"/>
                  </a:lnTo>
                  <a:close/>
                  <a:moveTo>
                    <a:pt x="271" y="339"/>
                  </a:moveTo>
                  <a:lnTo>
                    <a:pt x="271" y="343"/>
                  </a:lnTo>
                  <a:lnTo>
                    <a:pt x="267" y="343"/>
                  </a:lnTo>
                  <a:lnTo>
                    <a:pt x="267" y="347"/>
                  </a:lnTo>
                  <a:lnTo>
                    <a:pt x="263" y="347"/>
                  </a:lnTo>
                  <a:lnTo>
                    <a:pt x="263" y="343"/>
                  </a:lnTo>
                  <a:lnTo>
                    <a:pt x="267" y="343"/>
                  </a:lnTo>
                  <a:lnTo>
                    <a:pt x="271" y="343"/>
                  </a:lnTo>
                  <a:lnTo>
                    <a:pt x="271" y="339"/>
                  </a:lnTo>
                  <a:close/>
                  <a:moveTo>
                    <a:pt x="718" y="375"/>
                  </a:moveTo>
                  <a:lnTo>
                    <a:pt x="722" y="379"/>
                  </a:lnTo>
                  <a:lnTo>
                    <a:pt x="718" y="375"/>
                  </a:lnTo>
                  <a:close/>
                  <a:moveTo>
                    <a:pt x="331" y="395"/>
                  </a:moveTo>
                  <a:lnTo>
                    <a:pt x="327" y="395"/>
                  </a:lnTo>
                  <a:lnTo>
                    <a:pt x="327" y="391"/>
                  </a:lnTo>
                  <a:lnTo>
                    <a:pt x="323" y="391"/>
                  </a:lnTo>
                  <a:lnTo>
                    <a:pt x="327" y="391"/>
                  </a:lnTo>
                  <a:lnTo>
                    <a:pt x="331" y="395"/>
                  </a:lnTo>
                  <a:close/>
                  <a:moveTo>
                    <a:pt x="754" y="415"/>
                  </a:moveTo>
                  <a:lnTo>
                    <a:pt x="750" y="415"/>
                  </a:lnTo>
                  <a:lnTo>
                    <a:pt x="746" y="415"/>
                  </a:lnTo>
                  <a:lnTo>
                    <a:pt x="750" y="415"/>
                  </a:lnTo>
                  <a:lnTo>
                    <a:pt x="754" y="415"/>
                  </a:lnTo>
                  <a:close/>
                  <a:moveTo>
                    <a:pt x="319" y="443"/>
                  </a:moveTo>
                  <a:lnTo>
                    <a:pt x="315" y="447"/>
                  </a:lnTo>
                  <a:lnTo>
                    <a:pt x="311" y="447"/>
                  </a:lnTo>
                  <a:lnTo>
                    <a:pt x="311" y="443"/>
                  </a:lnTo>
                  <a:lnTo>
                    <a:pt x="315" y="443"/>
                  </a:lnTo>
                  <a:lnTo>
                    <a:pt x="319" y="443"/>
                  </a:lnTo>
                  <a:lnTo>
                    <a:pt x="315" y="443"/>
                  </a:lnTo>
                  <a:lnTo>
                    <a:pt x="315" y="447"/>
                  </a:lnTo>
                  <a:lnTo>
                    <a:pt x="319" y="443"/>
                  </a:lnTo>
                  <a:close/>
                  <a:moveTo>
                    <a:pt x="303" y="447"/>
                  </a:moveTo>
                  <a:lnTo>
                    <a:pt x="303" y="451"/>
                  </a:lnTo>
                  <a:lnTo>
                    <a:pt x="299" y="451"/>
                  </a:lnTo>
                  <a:lnTo>
                    <a:pt x="303" y="447"/>
                  </a:lnTo>
                  <a:close/>
                  <a:moveTo>
                    <a:pt x="626" y="455"/>
                  </a:moveTo>
                  <a:lnTo>
                    <a:pt x="622" y="455"/>
                  </a:lnTo>
                  <a:lnTo>
                    <a:pt x="626" y="455"/>
                  </a:lnTo>
                  <a:lnTo>
                    <a:pt x="622" y="455"/>
                  </a:lnTo>
                  <a:lnTo>
                    <a:pt x="626" y="455"/>
                  </a:lnTo>
                  <a:close/>
                  <a:moveTo>
                    <a:pt x="303" y="491"/>
                  </a:moveTo>
                  <a:lnTo>
                    <a:pt x="299" y="491"/>
                  </a:lnTo>
                  <a:lnTo>
                    <a:pt x="295" y="491"/>
                  </a:lnTo>
                  <a:lnTo>
                    <a:pt x="299" y="491"/>
                  </a:lnTo>
                  <a:lnTo>
                    <a:pt x="303" y="491"/>
                  </a:lnTo>
                  <a:close/>
                  <a:moveTo>
                    <a:pt x="546" y="519"/>
                  </a:moveTo>
                  <a:lnTo>
                    <a:pt x="546" y="515"/>
                  </a:lnTo>
                  <a:lnTo>
                    <a:pt x="546" y="519"/>
                  </a:lnTo>
                  <a:close/>
                  <a:moveTo>
                    <a:pt x="546" y="523"/>
                  </a:moveTo>
                  <a:lnTo>
                    <a:pt x="542" y="523"/>
                  </a:lnTo>
                  <a:lnTo>
                    <a:pt x="542" y="519"/>
                  </a:lnTo>
                  <a:lnTo>
                    <a:pt x="546" y="523"/>
                  </a:lnTo>
                  <a:close/>
                  <a:moveTo>
                    <a:pt x="299" y="523"/>
                  </a:moveTo>
                  <a:lnTo>
                    <a:pt x="303" y="523"/>
                  </a:lnTo>
                  <a:lnTo>
                    <a:pt x="303" y="527"/>
                  </a:lnTo>
                  <a:lnTo>
                    <a:pt x="299" y="523"/>
                  </a:lnTo>
                  <a:close/>
                  <a:moveTo>
                    <a:pt x="482" y="559"/>
                  </a:moveTo>
                  <a:lnTo>
                    <a:pt x="486" y="559"/>
                  </a:lnTo>
                  <a:lnTo>
                    <a:pt x="490" y="559"/>
                  </a:lnTo>
                  <a:lnTo>
                    <a:pt x="486" y="559"/>
                  </a:lnTo>
                  <a:lnTo>
                    <a:pt x="482" y="559"/>
                  </a:lnTo>
                  <a:close/>
                  <a:moveTo>
                    <a:pt x="482" y="587"/>
                  </a:moveTo>
                  <a:lnTo>
                    <a:pt x="482" y="583"/>
                  </a:lnTo>
                  <a:lnTo>
                    <a:pt x="478" y="583"/>
                  </a:lnTo>
                  <a:lnTo>
                    <a:pt x="474" y="583"/>
                  </a:lnTo>
                  <a:lnTo>
                    <a:pt x="474" y="579"/>
                  </a:lnTo>
                  <a:lnTo>
                    <a:pt x="471" y="579"/>
                  </a:lnTo>
                  <a:lnTo>
                    <a:pt x="474" y="579"/>
                  </a:lnTo>
                  <a:lnTo>
                    <a:pt x="478" y="579"/>
                  </a:lnTo>
                  <a:lnTo>
                    <a:pt x="478" y="583"/>
                  </a:lnTo>
                  <a:lnTo>
                    <a:pt x="482" y="583"/>
                  </a:lnTo>
                  <a:lnTo>
                    <a:pt x="482" y="587"/>
                  </a:lnTo>
                  <a:close/>
                  <a:moveTo>
                    <a:pt x="482" y="587"/>
                  </a:moveTo>
                  <a:lnTo>
                    <a:pt x="478" y="587"/>
                  </a:lnTo>
                  <a:lnTo>
                    <a:pt x="482" y="587"/>
                  </a:lnTo>
                  <a:close/>
                  <a:moveTo>
                    <a:pt x="335" y="587"/>
                  </a:moveTo>
                  <a:lnTo>
                    <a:pt x="339" y="587"/>
                  </a:lnTo>
                  <a:lnTo>
                    <a:pt x="335" y="587"/>
                  </a:lnTo>
                  <a:close/>
                  <a:moveTo>
                    <a:pt x="478" y="587"/>
                  </a:moveTo>
                  <a:lnTo>
                    <a:pt x="474" y="587"/>
                  </a:lnTo>
                  <a:lnTo>
                    <a:pt x="478" y="587"/>
                  </a:lnTo>
                  <a:lnTo>
                    <a:pt x="478" y="591"/>
                  </a:lnTo>
                  <a:lnTo>
                    <a:pt x="478" y="587"/>
                  </a:lnTo>
                  <a:close/>
                  <a:moveTo>
                    <a:pt x="474" y="595"/>
                  </a:moveTo>
                  <a:lnTo>
                    <a:pt x="474" y="591"/>
                  </a:lnTo>
                  <a:lnTo>
                    <a:pt x="478" y="591"/>
                  </a:lnTo>
                  <a:lnTo>
                    <a:pt x="474" y="595"/>
                  </a:lnTo>
                  <a:close/>
                  <a:moveTo>
                    <a:pt x="463" y="599"/>
                  </a:moveTo>
                  <a:lnTo>
                    <a:pt x="463" y="595"/>
                  </a:lnTo>
                  <a:lnTo>
                    <a:pt x="467" y="595"/>
                  </a:lnTo>
                  <a:lnTo>
                    <a:pt x="471" y="595"/>
                  </a:lnTo>
                  <a:lnTo>
                    <a:pt x="471" y="599"/>
                  </a:lnTo>
                  <a:lnTo>
                    <a:pt x="471" y="595"/>
                  </a:lnTo>
                  <a:lnTo>
                    <a:pt x="467" y="595"/>
                  </a:lnTo>
                  <a:lnTo>
                    <a:pt x="467" y="599"/>
                  </a:lnTo>
                  <a:lnTo>
                    <a:pt x="471" y="599"/>
                  </a:lnTo>
                  <a:lnTo>
                    <a:pt x="467" y="599"/>
                  </a:lnTo>
                  <a:lnTo>
                    <a:pt x="463" y="599"/>
                  </a:lnTo>
                  <a:close/>
                  <a:moveTo>
                    <a:pt x="467" y="603"/>
                  </a:moveTo>
                  <a:lnTo>
                    <a:pt x="463" y="603"/>
                  </a:lnTo>
                  <a:lnTo>
                    <a:pt x="467" y="599"/>
                  </a:lnTo>
                  <a:lnTo>
                    <a:pt x="467" y="603"/>
                  </a:lnTo>
                  <a:close/>
                  <a:moveTo>
                    <a:pt x="355" y="619"/>
                  </a:moveTo>
                  <a:lnTo>
                    <a:pt x="355" y="615"/>
                  </a:lnTo>
                  <a:lnTo>
                    <a:pt x="355" y="619"/>
                  </a:lnTo>
                  <a:close/>
                  <a:moveTo>
                    <a:pt x="467" y="622"/>
                  </a:moveTo>
                  <a:lnTo>
                    <a:pt x="467" y="619"/>
                  </a:lnTo>
                  <a:lnTo>
                    <a:pt x="467" y="622"/>
                  </a:lnTo>
                  <a:close/>
                  <a:moveTo>
                    <a:pt x="371" y="630"/>
                  </a:moveTo>
                  <a:lnTo>
                    <a:pt x="367" y="630"/>
                  </a:lnTo>
                  <a:lnTo>
                    <a:pt x="371" y="630"/>
                  </a:lnTo>
                  <a:close/>
                  <a:moveTo>
                    <a:pt x="375" y="638"/>
                  </a:moveTo>
                  <a:lnTo>
                    <a:pt x="379" y="638"/>
                  </a:lnTo>
                  <a:lnTo>
                    <a:pt x="375" y="638"/>
                  </a:lnTo>
                  <a:lnTo>
                    <a:pt x="371" y="638"/>
                  </a:lnTo>
                  <a:lnTo>
                    <a:pt x="375" y="638"/>
                  </a:lnTo>
                  <a:close/>
                  <a:moveTo>
                    <a:pt x="407" y="642"/>
                  </a:moveTo>
                  <a:lnTo>
                    <a:pt x="403" y="642"/>
                  </a:lnTo>
                  <a:lnTo>
                    <a:pt x="403" y="646"/>
                  </a:lnTo>
                  <a:lnTo>
                    <a:pt x="399" y="646"/>
                  </a:lnTo>
                  <a:lnTo>
                    <a:pt x="395" y="646"/>
                  </a:lnTo>
                  <a:lnTo>
                    <a:pt x="399" y="646"/>
                  </a:lnTo>
                  <a:lnTo>
                    <a:pt x="399" y="642"/>
                  </a:lnTo>
                  <a:lnTo>
                    <a:pt x="403" y="642"/>
                  </a:lnTo>
                  <a:lnTo>
                    <a:pt x="407" y="642"/>
                  </a:lnTo>
                  <a:close/>
                  <a:moveTo>
                    <a:pt x="455" y="642"/>
                  </a:moveTo>
                  <a:lnTo>
                    <a:pt x="459" y="642"/>
                  </a:lnTo>
                  <a:lnTo>
                    <a:pt x="455" y="642"/>
                  </a:lnTo>
                  <a:close/>
                  <a:moveTo>
                    <a:pt x="383" y="646"/>
                  </a:moveTo>
                  <a:lnTo>
                    <a:pt x="379" y="646"/>
                  </a:lnTo>
                  <a:lnTo>
                    <a:pt x="375" y="646"/>
                  </a:lnTo>
                  <a:lnTo>
                    <a:pt x="379" y="642"/>
                  </a:lnTo>
                  <a:lnTo>
                    <a:pt x="383" y="642"/>
                  </a:lnTo>
                  <a:lnTo>
                    <a:pt x="383" y="646"/>
                  </a:lnTo>
                  <a:close/>
                  <a:moveTo>
                    <a:pt x="411" y="646"/>
                  </a:moveTo>
                  <a:lnTo>
                    <a:pt x="407" y="646"/>
                  </a:lnTo>
                  <a:lnTo>
                    <a:pt x="407" y="650"/>
                  </a:lnTo>
                  <a:lnTo>
                    <a:pt x="407" y="646"/>
                  </a:lnTo>
                  <a:lnTo>
                    <a:pt x="411" y="646"/>
                  </a:lnTo>
                  <a:close/>
                  <a:moveTo>
                    <a:pt x="411" y="646"/>
                  </a:moveTo>
                  <a:lnTo>
                    <a:pt x="411" y="650"/>
                  </a:lnTo>
                  <a:lnTo>
                    <a:pt x="407" y="650"/>
                  </a:lnTo>
                  <a:lnTo>
                    <a:pt x="411" y="646"/>
                  </a:lnTo>
                  <a:close/>
                  <a:moveTo>
                    <a:pt x="423" y="654"/>
                  </a:moveTo>
                  <a:lnTo>
                    <a:pt x="423" y="658"/>
                  </a:lnTo>
                  <a:lnTo>
                    <a:pt x="419" y="658"/>
                  </a:lnTo>
                  <a:lnTo>
                    <a:pt x="419" y="654"/>
                  </a:lnTo>
                  <a:lnTo>
                    <a:pt x="423" y="654"/>
                  </a:lnTo>
                  <a:close/>
                  <a:moveTo>
                    <a:pt x="447" y="666"/>
                  </a:moveTo>
                  <a:lnTo>
                    <a:pt x="443" y="666"/>
                  </a:lnTo>
                  <a:lnTo>
                    <a:pt x="439" y="662"/>
                  </a:lnTo>
                  <a:lnTo>
                    <a:pt x="439" y="658"/>
                  </a:lnTo>
                  <a:lnTo>
                    <a:pt x="443" y="662"/>
                  </a:lnTo>
                  <a:lnTo>
                    <a:pt x="447" y="662"/>
                  </a:lnTo>
                  <a:lnTo>
                    <a:pt x="451" y="662"/>
                  </a:lnTo>
                  <a:lnTo>
                    <a:pt x="451" y="666"/>
                  </a:lnTo>
                  <a:lnTo>
                    <a:pt x="451" y="662"/>
                  </a:lnTo>
                  <a:lnTo>
                    <a:pt x="447" y="662"/>
                  </a:lnTo>
                  <a:lnTo>
                    <a:pt x="447" y="666"/>
                  </a:lnTo>
                  <a:close/>
                  <a:moveTo>
                    <a:pt x="435" y="658"/>
                  </a:moveTo>
                  <a:lnTo>
                    <a:pt x="435" y="662"/>
                  </a:lnTo>
                  <a:lnTo>
                    <a:pt x="439" y="662"/>
                  </a:lnTo>
                  <a:lnTo>
                    <a:pt x="435" y="662"/>
                  </a:lnTo>
                  <a:lnTo>
                    <a:pt x="435" y="658"/>
                  </a:lnTo>
                  <a:close/>
                  <a:moveTo>
                    <a:pt x="435" y="662"/>
                  </a:moveTo>
                  <a:lnTo>
                    <a:pt x="435" y="666"/>
                  </a:lnTo>
                  <a:lnTo>
                    <a:pt x="431" y="666"/>
                  </a:lnTo>
                  <a:lnTo>
                    <a:pt x="431" y="662"/>
                  </a:lnTo>
                  <a:lnTo>
                    <a:pt x="435" y="662"/>
                  </a:lnTo>
                  <a:close/>
                  <a:moveTo>
                    <a:pt x="447" y="666"/>
                  </a:moveTo>
                  <a:lnTo>
                    <a:pt x="447" y="662"/>
                  </a:lnTo>
                  <a:lnTo>
                    <a:pt x="451" y="662"/>
                  </a:lnTo>
                  <a:lnTo>
                    <a:pt x="447" y="666"/>
                  </a:lnTo>
                  <a:close/>
                  <a:moveTo>
                    <a:pt x="435" y="666"/>
                  </a:moveTo>
                  <a:lnTo>
                    <a:pt x="435" y="662"/>
                  </a:lnTo>
                  <a:lnTo>
                    <a:pt x="439" y="662"/>
                  </a:lnTo>
                  <a:lnTo>
                    <a:pt x="439" y="666"/>
                  </a:lnTo>
                  <a:lnTo>
                    <a:pt x="435" y="666"/>
                  </a:lnTo>
                  <a:close/>
                  <a:moveTo>
                    <a:pt x="439" y="670"/>
                  </a:moveTo>
                  <a:lnTo>
                    <a:pt x="439" y="666"/>
                  </a:lnTo>
                  <a:lnTo>
                    <a:pt x="443" y="666"/>
                  </a:lnTo>
                  <a:lnTo>
                    <a:pt x="443" y="670"/>
                  </a:lnTo>
                  <a:lnTo>
                    <a:pt x="439" y="670"/>
                  </a:lnTo>
                  <a:close/>
                  <a:moveTo>
                    <a:pt x="335" y="443"/>
                  </a:moveTo>
                  <a:lnTo>
                    <a:pt x="335" y="439"/>
                  </a:lnTo>
                  <a:lnTo>
                    <a:pt x="339" y="439"/>
                  </a:lnTo>
                  <a:lnTo>
                    <a:pt x="335" y="439"/>
                  </a:lnTo>
                  <a:lnTo>
                    <a:pt x="331" y="439"/>
                  </a:lnTo>
                  <a:lnTo>
                    <a:pt x="331" y="443"/>
                  </a:lnTo>
                  <a:lnTo>
                    <a:pt x="331" y="439"/>
                  </a:lnTo>
                  <a:lnTo>
                    <a:pt x="327" y="439"/>
                  </a:lnTo>
                  <a:lnTo>
                    <a:pt x="331" y="439"/>
                  </a:lnTo>
                  <a:lnTo>
                    <a:pt x="335" y="435"/>
                  </a:lnTo>
                  <a:lnTo>
                    <a:pt x="331" y="435"/>
                  </a:lnTo>
                  <a:lnTo>
                    <a:pt x="331" y="431"/>
                  </a:lnTo>
                  <a:lnTo>
                    <a:pt x="335" y="431"/>
                  </a:lnTo>
                  <a:lnTo>
                    <a:pt x="335" y="435"/>
                  </a:lnTo>
                  <a:lnTo>
                    <a:pt x="335" y="431"/>
                  </a:lnTo>
                  <a:lnTo>
                    <a:pt x="339" y="431"/>
                  </a:lnTo>
                  <a:lnTo>
                    <a:pt x="339" y="435"/>
                  </a:lnTo>
                  <a:lnTo>
                    <a:pt x="343" y="435"/>
                  </a:lnTo>
                  <a:lnTo>
                    <a:pt x="339" y="435"/>
                  </a:lnTo>
                  <a:lnTo>
                    <a:pt x="343" y="435"/>
                  </a:lnTo>
                  <a:lnTo>
                    <a:pt x="343" y="431"/>
                  </a:lnTo>
                  <a:lnTo>
                    <a:pt x="343" y="435"/>
                  </a:lnTo>
                  <a:lnTo>
                    <a:pt x="347" y="435"/>
                  </a:lnTo>
                  <a:lnTo>
                    <a:pt x="347" y="431"/>
                  </a:lnTo>
                  <a:lnTo>
                    <a:pt x="343" y="431"/>
                  </a:lnTo>
                  <a:lnTo>
                    <a:pt x="339" y="431"/>
                  </a:lnTo>
                  <a:lnTo>
                    <a:pt x="343" y="431"/>
                  </a:lnTo>
                  <a:lnTo>
                    <a:pt x="347" y="431"/>
                  </a:lnTo>
                  <a:lnTo>
                    <a:pt x="347" y="427"/>
                  </a:lnTo>
                  <a:lnTo>
                    <a:pt x="343" y="427"/>
                  </a:lnTo>
                  <a:lnTo>
                    <a:pt x="339" y="427"/>
                  </a:lnTo>
                  <a:lnTo>
                    <a:pt x="343" y="427"/>
                  </a:lnTo>
                  <a:lnTo>
                    <a:pt x="343" y="423"/>
                  </a:lnTo>
                  <a:lnTo>
                    <a:pt x="339" y="423"/>
                  </a:lnTo>
                  <a:lnTo>
                    <a:pt x="339" y="427"/>
                  </a:lnTo>
                  <a:lnTo>
                    <a:pt x="335" y="431"/>
                  </a:lnTo>
                  <a:lnTo>
                    <a:pt x="331" y="431"/>
                  </a:lnTo>
                  <a:lnTo>
                    <a:pt x="331" y="427"/>
                  </a:lnTo>
                  <a:lnTo>
                    <a:pt x="335" y="427"/>
                  </a:lnTo>
                  <a:lnTo>
                    <a:pt x="335" y="423"/>
                  </a:lnTo>
                  <a:lnTo>
                    <a:pt x="339" y="419"/>
                  </a:lnTo>
                  <a:lnTo>
                    <a:pt x="343" y="419"/>
                  </a:lnTo>
                  <a:lnTo>
                    <a:pt x="339" y="419"/>
                  </a:lnTo>
                  <a:lnTo>
                    <a:pt x="335" y="419"/>
                  </a:lnTo>
                  <a:lnTo>
                    <a:pt x="335" y="415"/>
                  </a:lnTo>
                  <a:lnTo>
                    <a:pt x="339" y="415"/>
                  </a:lnTo>
                  <a:lnTo>
                    <a:pt x="339" y="419"/>
                  </a:lnTo>
                  <a:lnTo>
                    <a:pt x="343" y="419"/>
                  </a:lnTo>
                  <a:lnTo>
                    <a:pt x="343" y="415"/>
                  </a:lnTo>
                  <a:lnTo>
                    <a:pt x="339" y="415"/>
                  </a:lnTo>
                  <a:lnTo>
                    <a:pt x="335" y="415"/>
                  </a:lnTo>
                  <a:lnTo>
                    <a:pt x="339" y="415"/>
                  </a:lnTo>
                  <a:lnTo>
                    <a:pt x="339" y="411"/>
                  </a:lnTo>
                  <a:lnTo>
                    <a:pt x="343" y="415"/>
                  </a:lnTo>
                  <a:lnTo>
                    <a:pt x="347" y="415"/>
                  </a:lnTo>
                  <a:lnTo>
                    <a:pt x="343" y="411"/>
                  </a:lnTo>
                  <a:lnTo>
                    <a:pt x="339" y="411"/>
                  </a:lnTo>
                  <a:lnTo>
                    <a:pt x="339" y="407"/>
                  </a:lnTo>
                  <a:lnTo>
                    <a:pt x="343" y="407"/>
                  </a:lnTo>
                  <a:lnTo>
                    <a:pt x="339" y="407"/>
                  </a:lnTo>
                  <a:lnTo>
                    <a:pt x="335" y="407"/>
                  </a:lnTo>
                  <a:lnTo>
                    <a:pt x="331" y="407"/>
                  </a:lnTo>
                  <a:lnTo>
                    <a:pt x="327" y="407"/>
                  </a:lnTo>
                  <a:lnTo>
                    <a:pt x="331" y="407"/>
                  </a:lnTo>
                  <a:lnTo>
                    <a:pt x="335" y="407"/>
                  </a:lnTo>
                  <a:lnTo>
                    <a:pt x="331" y="403"/>
                  </a:lnTo>
                  <a:lnTo>
                    <a:pt x="327" y="403"/>
                  </a:lnTo>
                  <a:lnTo>
                    <a:pt x="327" y="407"/>
                  </a:lnTo>
                  <a:lnTo>
                    <a:pt x="323" y="407"/>
                  </a:lnTo>
                  <a:lnTo>
                    <a:pt x="319" y="407"/>
                  </a:lnTo>
                  <a:lnTo>
                    <a:pt x="315" y="407"/>
                  </a:lnTo>
                  <a:lnTo>
                    <a:pt x="311" y="407"/>
                  </a:lnTo>
                  <a:lnTo>
                    <a:pt x="311" y="403"/>
                  </a:lnTo>
                  <a:lnTo>
                    <a:pt x="307" y="403"/>
                  </a:lnTo>
                  <a:lnTo>
                    <a:pt x="307" y="399"/>
                  </a:lnTo>
                  <a:lnTo>
                    <a:pt x="303" y="399"/>
                  </a:lnTo>
                  <a:lnTo>
                    <a:pt x="299" y="399"/>
                  </a:lnTo>
                  <a:lnTo>
                    <a:pt x="295" y="395"/>
                  </a:lnTo>
                  <a:lnTo>
                    <a:pt x="291" y="395"/>
                  </a:lnTo>
                  <a:lnTo>
                    <a:pt x="287" y="395"/>
                  </a:lnTo>
                  <a:lnTo>
                    <a:pt x="283" y="395"/>
                  </a:lnTo>
                  <a:lnTo>
                    <a:pt x="283" y="391"/>
                  </a:lnTo>
                  <a:lnTo>
                    <a:pt x="279" y="387"/>
                  </a:lnTo>
                  <a:lnTo>
                    <a:pt x="283" y="387"/>
                  </a:lnTo>
                  <a:lnTo>
                    <a:pt x="283" y="383"/>
                  </a:lnTo>
                  <a:lnTo>
                    <a:pt x="287" y="383"/>
                  </a:lnTo>
                  <a:lnTo>
                    <a:pt x="291" y="383"/>
                  </a:lnTo>
                  <a:lnTo>
                    <a:pt x="295" y="387"/>
                  </a:lnTo>
                  <a:lnTo>
                    <a:pt x="299" y="387"/>
                  </a:lnTo>
                  <a:lnTo>
                    <a:pt x="303" y="387"/>
                  </a:lnTo>
                  <a:lnTo>
                    <a:pt x="307" y="387"/>
                  </a:lnTo>
                  <a:lnTo>
                    <a:pt x="311" y="387"/>
                  </a:lnTo>
                  <a:lnTo>
                    <a:pt x="315" y="391"/>
                  </a:lnTo>
                  <a:lnTo>
                    <a:pt x="319" y="391"/>
                  </a:lnTo>
                  <a:lnTo>
                    <a:pt x="323" y="395"/>
                  </a:lnTo>
                  <a:lnTo>
                    <a:pt x="327" y="395"/>
                  </a:lnTo>
                  <a:lnTo>
                    <a:pt x="331" y="395"/>
                  </a:lnTo>
                  <a:lnTo>
                    <a:pt x="335" y="395"/>
                  </a:lnTo>
                  <a:lnTo>
                    <a:pt x="335" y="399"/>
                  </a:lnTo>
                  <a:lnTo>
                    <a:pt x="339" y="399"/>
                  </a:lnTo>
                  <a:lnTo>
                    <a:pt x="339" y="395"/>
                  </a:lnTo>
                  <a:lnTo>
                    <a:pt x="339" y="391"/>
                  </a:lnTo>
                  <a:lnTo>
                    <a:pt x="339" y="395"/>
                  </a:lnTo>
                  <a:lnTo>
                    <a:pt x="335" y="395"/>
                  </a:lnTo>
                  <a:lnTo>
                    <a:pt x="331" y="395"/>
                  </a:lnTo>
                  <a:lnTo>
                    <a:pt x="335" y="395"/>
                  </a:lnTo>
                  <a:lnTo>
                    <a:pt x="331" y="391"/>
                  </a:lnTo>
                  <a:lnTo>
                    <a:pt x="327" y="391"/>
                  </a:lnTo>
                  <a:lnTo>
                    <a:pt x="331" y="391"/>
                  </a:lnTo>
                  <a:lnTo>
                    <a:pt x="335" y="391"/>
                  </a:lnTo>
                  <a:lnTo>
                    <a:pt x="335" y="387"/>
                  </a:lnTo>
                  <a:lnTo>
                    <a:pt x="335" y="391"/>
                  </a:lnTo>
                  <a:lnTo>
                    <a:pt x="339" y="391"/>
                  </a:lnTo>
                  <a:lnTo>
                    <a:pt x="335" y="387"/>
                  </a:lnTo>
                  <a:lnTo>
                    <a:pt x="331" y="387"/>
                  </a:lnTo>
                  <a:lnTo>
                    <a:pt x="327" y="387"/>
                  </a:lnTo>
                  <a:lnTo>
                    <a:pt x="327" y="383"/>
                  </a:lnTo>
                  <a:lnTo>
                    <a:pt x="331" y="383"/>
                  </a:lnTo>
                  <a:lnTo>
                    <a:pt x="335" y="387"/>
                  </a:lnTo>
                  <a:lnTo>
                    <a:pt x="339" y="387"/>
                  </a:lnTo>
                  <a:lnTo>
                    <a:pt x="335" y="387"/>
                  </a:lnTo>
                  <a:lnTo>
                    <a:pt x="335" y="383"/>
                  </a:lnTo>
                  <a:lnTo>
                    <a:pt x="331" y="383"/>
                  </a:lnTo>
                  <a:lnTo>
                    <a:pt x="327" y="383"/>
                  </a:lnTo>
                  <a:lnTo>
                    <a:pt x="323" y="383"/>
                  </a:lnTo>
                  <a:lnTo>
                    <a:pt x="323" y="379"/>
                  </a:lnTo>
                  <a:lnTo>
                    <a:pt x="319" y="379"/>
                  </a:lnTo>
                  <a:lnTo>
                    <a:pt x="323" y="379"/>
                  </a:lnTo>
                  <a:lnTo>
                    <a:pt x="327" y="379"/>
                  </a:lnTo>
                  <a:lnTo>
                    <a:pt x="331" y="379"/>
                  </a:lnTo>
                  <a:lnTo>
                    <a:pt x="335" y="379"/>
                  </a:lnTo>
                  <a:lnTo>
                    <a:pt x="331" y="379"/>
                  </a:lnTo>
                  <a:lnTo>
                    <a:pt x="327" y="379"/>
                  </a:lnTo>
                  <a:lnTo>
                    <a:pt x="327" y="375"/>
                  </a:lnTo>
                  <a:lnTo>
                    <a:pt x="331" y="375"/>
                  </a:lnTo>
                  <a:lnTo>
                    <a:pt x="327" y="375"/>
                  </a:lnTo>
                  <a:lnTo>
                    <a:pt x="323" y="375"/>
                  </a:lnTo>
                  <a:lnTo>
                    <a:pt x="319" y="375"/>
                  </a:lnTo>
                  <a:lnTo>
                    <a:pt x="315" y="375"/>
                  </a:lnTo>
                  <a:lnTo>
                    <a:pt x="319" y="375"/>
                  </a:lnTo>
                  <a:lnTo>
                    <a:pt x="319" y="371"/>
                  </a:lnTo>
                  <a:lnTo>
                    <a:pt x="323" y="371"/>
                  </a:lnTo>
                  <a:lnTo>
                    <a:pt x="319" y="371"/>
                  </a:lnTo>
                  <a:lnTo>
                    <a:pt x="315" y="371"/>
                  </a:lnTo>
                  <a:lnTo>
                    <a:pt x="315" y="375"/>
                  </a:lnTo>
                  <a:lnTo>
                    <a:pt x="311" y="375"/>
                  </a:lnTo>
                  <a:lnTo>
                    <a:pt x="311" y="371"/>
                  </a:lnTo>
                  <a:lnTo>
                    <a:pt x="315" y="371"/>
                  </a:lnTo>
                  <a:lnTo>
                    <a:pt x="315" y="367"/>
                  </a:lnTo>
                  <a:lnTo>
                    <a:pt x="319" y="367"/>
                  </a:lnTo>
                  <a:lnTo>
                    <a:pt x="323" y="367"/>
                  </a:lnTo>
                  <a:lnTo>
                    <a:pt x="327" y="367"/>
                  </a:lnTo>
                  <a:lnTo>
                    <a:pt x="323" y="367"/>
                  </a:lnTo>
                  <a:lnTo>
                    <a:pt x="319" y="367"/>
                  </a:lnTo>
                  <a:lnTo>
                    <a:pt x="315" y="367"/>
                  </a:lnTo>
                  <a:lnTo>
                    <a:pt x="311" y="367"/>
                  </a:lnTo>
                  <a:lnTo>
                    <a:pt x="307" y="367"/>
                  </a:lnTo>
                  <a:lnTo>
                    <a:pt x="303" y="367"/>
                  </a:lnTo>
                  <a:lnTo>
                    <a:pt x="307" y="367"/>
                  </a:lnTo>
                  <a:lnTo>
                    <a:pt x="307" y="363"/>
                  </a:lnTo>
                  <a:lnTo>
                    <a:pt x="311" y="363"/>
                  </a:lnTo>
                  <a:lnTo>
                    <a:pt x="315" y="363"/>
                  </a:lnTo>
                  <a:lnTo>
                    <a:pt x="319" y="363"/>
                  </a:lnTo>
                  <a:lnTo>
                    <a:pt x="323" y="363"/>
                  </a:lnTo>
                  <a:lnTo>
                    <a:pt x="323" y="359"/>
                  </a:lnTo>
                  <a:lnTo>
                    <a:pt x="319" y="359"/>
                  </a:lnTo>
                  <a:lnTo>
                    <a:pt x="319" y="363"/>
                  </a:lnTo>
                  <a:lnTo>
                    <a:pt x="315" y="363"/>
                  </a:lnTo>
                  <a:lnTo>
                    <a:pt x="311" y="363"/>
                  </a:lnTo>
                  <a:lnTo>
                    <a:pt x="307" y="363"/>
                  </a:lnTo>
                  <a:lnTo>
                    <a:pt x="307" y="359"/>
                  </a:lnTo>
                  <a:lnTo>
                    <a:pt x="303" y="359"/>
                  </a:lnTo>
                  <a:lnTo>
                    <a:pt x="299" y="359"/>
                  </a:lnTo>
                  <a:lnTo>
                    <a:pt x="303" y="359"/>
                  </a:lnTo>
                  <a:lnTo>
                    <a:pt x="303" y="355"/>
                  </a:lnTo>
                  <a:lnTo>
                    <a:pt x="307" y="351"/>
                  </a:lnTo>
                  <a:lnTo>
                    <a:pt x="303" y="355"/>
                  </a:lnTo>
                  <a:lnTo>
                    <a:pt x="299" y="355"/>
                  </a:lnTo>
                  <a:lnTo>
                    <a:pt x="295" y="355"/>
                  </a:lnTo>
                  <a:lnTo>
                    <a:pt x="295" y="351"/>
                  </a:lnTo>
                  <a:lnTo>
                    <a:pt x="295" y="347"/>
                  </a:lnTo>
                  <a:lnTo>
                    <a:pt x="291" y="347"/>
                  </a:lnTo>
                  <a:lnTo>
                    <a:pt x="291" y="343"/>
                  </a:lnTo>
                  <a:lnTo>
                    <a:pt x="295" y="343"/>
                  </a:lnTo>
                  <a:lnTo>
                    <a:pt x="291" y="343"/>
                  </a:lnTo>
                  <a:lnTo>
                    <a:pt x="287" y="343"/>
                  </a:lnTo>
                  <a:lnTo>
                    <a:pt x="291" y="347"/>
                  </a:lnTo>
                  <a:lnTo>
                    <a:pt x="291" y="351"/>
                  </a:lnTo>
                  <a:lnTo>
                    <a:pt x="295" y="351"/>
                  </a:lnTo>
                  <a:lnTo>
                    <a:pt x="295" y="355"/>
                  </a:lnTo>
                  <a:lnTo>
                    <a:pt x="295" y="359"/>
                  </a:lnTo>
                  <a:lnTo>
                    <a:pt x="291" y="359"/>
                  </a:lnTo>
                  <a:lnTo>
                    <a:pt x="287" y="359"/>
                  </a:lnTo>
                  <a:lnTo>
                    <a:pt x="291" y="359"/>
                  </a:lnTo>
                  <a:lnTo>
                    <a:pt x="291" y="363"/>
                  </a:lnTo>
                  <a:lnTo>
                    <a:pt x="287" y="363"/>
                  </a:lnTo>
                  <a:lnTo>
                    <a:pt x="287" y="359"/>
                  </a:lnTo>
                  <a:lnTo>
                    <a:pt x="287" y="363"/>
                  </a:lnTo>
                  <a:lnTo>
                    <a:pt x="291" y="363"/>
                  </a:lnTo>
                  <a:lnTo>
                    <a:pt x="291" y="367"/>
                  </a:lnTo>
                  <a:lnTo>
                    <a:pt x="287" y="367"/>
                  </a:lnTo>
                  <a:lnTo>
                    <a:pt x="283" y="367"/>
                  </a:lnTo>
                  <a:lnTo>
                    <a:pt x="283" y="371"/>
                  </a:lnTo>
                  <a:lnTo>
                    <a:pt x="279" y="371"/>
                  </a:lnTo>
                  <a:lnTo>
                    <a:pt x="275" y="371"/>
                  </a:lnTo>
                  <a:lnTo>
                    <a:pt x="271" y="367"/>
                  </a:lnTo>
                  <a:lnTo>
                    <a:pt x="267" y="367"/>
                  </a:lnTo>
                  <a:lnTo>
                    <a:pt x="271" y="367"/>
                  </a:lnTo>
                  <a:lnTo>
                    <a:pt x="267" y="367"/>
                  </a:lnTo>
                  <a:lnTo>
                    <a:pt x="263" y="367"/>
                  </a:lnTo>
                  <a:lnTo>
                    <a:pt x="263" y="363"/>
                  </a:lnTo>
                  <a:lnTo>
                    <a:pt x="259" y="359"/>
                  </a:lnTo>
                  <a:lnTo>
                    <a:pt x="263" y="359"/>
                  </a:lnTo>
                  <a:lnTo>
                    <a:pt x="267" y="359"/>
                  </a:lnTo>
                  <a:lnTo>
                    <a:pt x="267" y="355"/>
                  </a:lnTo>
                  <a:lnTo>
                    <a:pt x="271" y="355"/>
                  </a:lnTo>
                  <a:lnTo>
                    <a:pt x="275" y="355"/>
                  </a:lnTo>
                  <a:lnTo>
                    <a:pt x="279" y="351"/>
                  </a:lnTo>
                  <a:lnTo>
                    <a:pt x="279" y="347"/>
                  </a:lnTo>
                  <a:lnTo>
                    <a:pt x="283" y="347"/>
                  </a:lnTo>
                  <a:lnTo>
                    <a:pt x="279" y="347"/>
                  </a:lnTo>
                  <a:lnTo>
                    <a:pt x="279" y="351"/>
                  </a:lnTo>
                  <a:lnTo>
                    <a:pt x="275" y="351"/>
                  </a:lnTo>
                  <a:lnTo>
                    <a:pt x="275" y="355"/>
                  </a:lnTo>
                  <a:lnTo>
                    <a:pt x="271" y="355"/>
                  </a:lnTo>
                  <a:lnTo>
                    <a:pt x="267" y="355"/>
                  </a:lnTo>
                  <a:lnTo>
                    <a:pt x="267" y="351"/>
                  </a:lnTo>
                  <a:lnTo>
                    <a:pt x="263" y="351"/>
                  </a:lnTo>
                  <a:lnTo>
                    <a:pt x="267" y="351"/>
                  </a:lnTo>
                  <a:lnTo>
                    <a:pt x="267" y="347"/>
                  </a:lnTo>
                  <a:lnTo>
                    <a:pt x="275" y="343"/>
                  </a:lnTo>
                  <a:lnTo>
                    <a:pt x="271" y="343"/>
                  </a:lnTo>
                  <a:lnTo>
                    <a:pt x="275" y="343"/>
                  </a:lnTo>
                  <a:lnTo>
                    <a:pt x="275" y="339"/>
                  </a:lnTo>
                  <a:lnTo>
                    <a:pt x="271" y="339"/>
                  </a:lnTo>
                  <a:lnTo>
                    <a:pt x="275" y="339"/>
                  </a:lnTo>
                  <a:lnTo>
                    <a:pt x="271" y="339"/>
                  </a:lnTo>
                  <a:lnTo>
                    <a:pt x="267" y="343"/>
                  </a:lnTo>
                  <a:lnTo>
                    <a:pt x="267" y="339"/>
                  </a:lnTo>
                  <a:lnTo>
                    <a:pt x="263" y="339"/>
                  </a:lnTo>
                  <a:lnTo>
                    <a:pt x="263" y="335"/>
                  </a:lnTo>
                  <a:lnTo>
                    <a:pt x="267" y="335"/>
                  </a:lnTo>
                  <a:lnTo>
                    <a:pt x="267" y="339"/>
                  </a:lnTo>
                  <a:lnTo>
                    <a:pt x="271" y="339"/>
                  </a:lnTo>
                  <a:lnTo>
                    <a:pt x="279" y="339"/>
                  </a:lnTo>
                  <a:lnTo>
                    <a:pt x="283" y="339"/>
                  </a:lnTo>
                  <a:lnTo>
                    <a:pt x="279" y="339"/>
                  </a:lnTo>
                  <a:lnTo>
                    <a:pt x="275" y="339"/>
                  </a:lnTo>
                  <a:lnTo>
                    <a:pt x="275" y="335"/>
                  </a:lnTo>
                  <a:lnTo>
                    <a:pt x="271" y="339"/>
                  </a:lnTo>
                  <a:lnTo>
                    <a:pt x="271" y="335"/>
                  </a:lnTo>
                  <a:lnTo>
                    <a:pt x="275" y="335"/>
                  </a:lnTo>
                  <a:lnTo>
                    <a:pt x="279" y="335"/>
                  </a:lnTo>
                  <a:lnTo>
                    <a:pt x="275" y="335"/>
                  </a:lnTo>
                  <a:lnTo>
                    <a:pt x="275" y="331"/>
                  </a:lnTo>
                  <a:lnTo>
                    <a:pt x="279" y="331"/>
                  </a:lnTo>
                  <a:lnTo>
                    <a:pt x="275" y="331"/>
                  </a:lnTo>
                  <a:lnTo>
                    <a:pt x="275" y="327"/>
                  </a:lnTo>
                  <a:lnTo>
                    <a:pt x="279" y="327"/>
                  </a:lnTo>
                  <a:lnTo>
                    <a:pt x="275" y="327"/>
                  </a:lnTo>
                  <a:lnTo>
                    <a:pt x="275" y="323"/>
                  </a:lnTo>
                  <a:lnTo>
                    <a:pt x="271" y="323"/>
                  </a:lnTo>
                  <a:lnTo>
                    <a:pt x="267" y="323"/>
                  </a:lnTo>
                  <a:lnTo>
                    <a:pt x="263" y="323"/>
                  </a:lnTo>
                  <a:lnTo>
                    <a:pt x="263" y="319"/>
                  </a:lnTo>
                  <a:lnTo>
                    <a:pt x="267" y="319"/>
                  </a:lnTo>
                  <a:lnTo>
                    <a:pt x="271" y="319"/>
                  </a:lnTo>
                  <a:lnTo>
                    <a:pt x="267" y="315"/>
                  </a:lnTo>
                  <a:lnTo>
                    <a:pt x="267" y="311"/>
                  </a:lnTo>
                  <a:lnTo>
                    <a:pt x="271" y="311"/>
                  </a:lnTo>
                  <a:lnTo>
                    <a:pt x="271" y="315"/>
                  </a:lnTo>
                  <a:lnTo>
                    <a:pt x="271" y="311"/>
                  </a:lnTo>
                  <a:lnTo>
                    <a:pt x="267" y="311"/>
                  </a:lnTo>
                  <a:lnTo>
                    <a:pt x="263" y="311"/>
                  </a:lnTo>
                  <a:lnTo>
                    <a:pt x="263" y="307"/>
                  </a:lnTo>
                  <a:lnTo>
                    <a:pt x="259" y="307"/>
                  </a:lnTo>
                  <a:lnTo>
                    <a:pt x="255" y="307"/>
                  </a:lnTo>
                  <a:lnTo>
                    <a:pt x="255" y="303"/>
                  </a:lnTo>
                  <a:lnTo>
                    <a:pt x="259" y="303"/>
                  </a:lnTo>
                  <a:lnTo>
                    <a:pt x="255" y="303"/>
                  </a:lnTo>
                  <a:lnTo>
                    <a:pt x="259" y="303"/>
                  </a:lnTo>
                  <a:lnTo>
                    <a:pt x="263" y="303"/>
                  </a:lnTo>
                  <a:lnTo>
                    <a:pt x="259" y="303"/>
                  </a:lnTo>
                  <a:lnTo>
                    <a:pt x="259" y="299"/>
                  </a:lnTo>
                  <a:lnTo>
                    <a:pt x="263" y="299"/>
                  </a:lnTo>
                  <a:lnTo>
                    <a:pt x="259" y="299"/>
                  </a:lnTo>
                  <a:lnTo>
                    <a:pt x="259" y="295"/>
                  </a:lnTo>
                  <a:lnTo>
                    <a:pt x="255" y="295"/>
                  </a:lnTo>
                  <a:lnTo>
                    <a:pt x="259" y="295"/>
                  </a:lnTo>
                  <a:lnTo>
                    <a:pt x="255" y="295"/>
                  </a:lnTo>
                  <a:lnTo>
                    <a:pt x="251" y="295"/>
                  </a:lnTo>
                  <a:lnTo>
                    <a:pt x="251" y="291"/>
                  </a:lnTo>
                  <a:lnTo>
                    <a:pt x="255" y="291"/>
                  </a:lnTo>
                  <a:lnTo>
                    <a:pt x="255" y="287"/>
                  </a:lnTo>
                  <a:lnTo>
                    <a:pt x="251" y="287"/>
                  </a:lnTo>
                  <a:lnTo>
                    <a:pt x="247" y="291"/>
                  </a:lnTo>
                  <a:lnTo>
                    <a:pt x="243" y="291"/>
                  </a:lnTo>
                  <a:lnTo>
                    <a:pt x="239" y="291"/>
                  </a:lnTo>
                  <a:lnTo>
                    <a:pt x="235" y="291"/>
                  </a:lnTo>
                  <a:lnTo>
                    <a:pt x="239" y="291"/>
                  </a:lnTo>
                  <a:lnTo>
                    <a:pt x="243" y="291"/>
                  </a:lnTo>
                  <a:lnTo>
                    <a:pt x="247" y="291"/>
                  </a:lnTo>
                  <a:lnTo>
                    <a:pt x="247" y="287"/>
                  </a:lnTo>
                  <a:lnTo>
                    <a:pt x="251" y="287"/>
                  </a:lnTo>
                  <a:lnTo>
                    <a:pt x="247" y="287"/>
                  </a:lnTo>
                  <a:lnTo>
                    <a:pt x="247" y="283"/>
                  </a:lnTo>
                  <a:lnTo>
                    <a:pt x="251" y="283"/>
                  </a:lnTo>
                  <a:lnTo>
                    <a:pt x="255" y="283"/>
                  </a:lnTo>
                  <a:lnTo>
                    <a:pt x="251" y="283"/>
                  </a:lnTo>
                  <a:lnTo>
                    <a:pt x="247" y="283"/>
                  </a:lnTo>
                  <a:lnTo>
                    <a:pt x="243" y="283"/>
                  </a:lnTo>
                  <a:lnTo>
                    <a:pt x="247" y="283"/>
                  </a:lnTo>
                  <a:lnTo>
                    <a:pt x="251" y="283"/>
                  </a:lnTo>
                  <a:lnTo>
                    <a:pt x="255" y="279"/>
                  </a:lnTo>
                  <a:lnTo>
                    <a:pt x="251" y="279"/>
                  </a:lnTo>
                  <a:lnTo>
                    <a:pt x="247" y="279"/>
                  </a:lnTo>
                  <a:lnTo>
                    <a:pt x="247" y="275"/>
                  </a:lnTo>
                  <a:lnTo>
                    <a:pt x="243" y="275"/>
                  </a:lnTo>
                  <a:lnTo>
                    <a:pt x="239" y="275"/>
                  </a:lnTo>
                  <a:lnTo>
                    <a:pt x="239" y="271"/>
                  </a:lnTo>
                  <a:lnTo>
                    <a:pt x="243" y="271"/>
                  </a:lnTo>
                  <a:lnTo>
                    <a:pt x="243" y="267"/>
                  </a:lnTo>
                  <a:lnTo>
                    <a:pt x="239" y="267"/>
                  </a:lnTo>
                  <a:lnTo>
                    <a:pt x="235" y="267"/>
                  </a:lnTo>
                  <a:lnTo>
                    <a:pt x="231" y="267"/>
                  </a:lnTo>
                  <a:lnTo>
                    <a:pt x="227" y="267"/>
                  </a:lnTo>
                  <a:lnTo>
                    <a:pt x="227" y="263"/>
                  </a:lnTo>
                  <a:lnTo>
                    <a:pt x="223" y="263"/>
                  </a:lnTo>
                  <a:lnTo>
                    <a:pt x="227" y="263"/>
                  </a:lnTo>
                  <a:lnTo>
                    <a:pt x="227" y="259"/>
                  </a:lnTo>
                  <a:lnTo>
                    <a:pt x="223" y="259"/>
                  </a:lnTo>
                  <a:lnTo>
                    <a:pt x="223" y="255"/>
                  </a:lnTo>
                  <a:lnTo>
                    <a:pt x="219" y="255"/>
                  </a:lnTo>
                  <a:lnTo>
                    <a:pt x="215" y="255"/>
                  </a:lnTo>
                  <a:lnTo>
                    <a:pt x="219" y="255"/>
                  </a:lnTo>
                  <a:lnTo>
                    <a:pt x="223" y="255"/>
                  </a:lnTo>
                  <a:lnTo>
                    <a:pt x="223" y="251"/>
                  </a:lnTo>
                  <a:lnTo>
                    <a:pt x="219" y="251"/>
                  </a:lnTo>
                  <a:lnTo>
                    <a:pt x="219" y="247"/>
                  </a:lnTo>
                  <a:lnTo>
                    <a:pt x="223" y="247"/>
                  </a:lnTo>
                  <a:lnTo>
                    <a:pt x="219" y="247"/>
                  </a:lnTo>
                  <a:lnTo>
                    <a:pt x="219" y="243"/>
                  </a:lnTo>
                  <a:lnTo>
                    <a:pt x="215" y="243"/>
                  </a:lnTo>
                  <a:lnTo>
                    <a:pt x="215" y="247"/>
                  </a:lnTo>
                  <a:lnTo>
                    <a:pt x="211" y="247"/>
                  </a:lnTo>
                  <a:lnTo>
                    <a:pt x="207" y="243"/>
                  </a:lnTo>
                  <a:lnTo>
                    <a:pt x="211" y="243"/>
                  </a:lnTo>
                  <a:lnTo>
                    <a:pt x="211" y="239"/>
                  </a:lnTo>
                  <a:lnTo>
                    <a:pt x="207" y="239"/>
                  </a:lnTo>
                  <a:lnTo>
                    <a:pt x="203" y="239"/>
                  </a:lnTo>
                  <a:lnTo>
                    <a:pt x="203" y="243"/>
                  </a:lnTo>
                  <a:lnTo>
                    <a:pt x="199" y="243"/>
                  </a:lnTo>
                  <a:lnTo>
                    <a:pt x="199" y="239"/>
                  </a:lnTo>
                  <a:lnTo>
                    <a:pt x="203" y="239"/>
                  </a:lnTo>
                  <a:lnTo>
                    <a:pt x="199" y="239"/>
                  </a:lnTo>
                  <a:lnTo>
                    <a:pt x="195" y="239"/>
                  </a:lnTo>
                  <a:lnTo>
                    <a:pt x="195" y="235"/>
                  </a:lnTo>
                  <a:lnTo>
                    <a:pt x="191" y="235"/>
                  </a:lnTo>
                  <a:lnTo>
                    <a:pt x="187" y="235"/>
                  </a:lnTo>
                  <a:lnTo>
                    <a:pt x="183" y="235"/>
                  </a:lnTo>
                  <a:lnTo>
                    <a:pt x="183" y="231"/>
                  </a:lnTo>
                  <a:lnTo>
                    <a:pt x="175" y="231"/>
                  </a:lnTo>
                  <a:lnTo>
                    <a:pt x="171" y="231"/>
                  </a:lnTo>
                  <a:lnTo>
                    <a:pt x="167" y="231"/>
                  </a:lnTo>
                  <a:lnTo>
                    <a:pt x="163" y="231"/>
                  </a:lnTo>
                  <a:lnTo>
                    <a:pt x="163" y="227"/>
                  </a:lnTo>
                  <a:lnTo>
                    <a:pt x="159" y="227"/>
                  </a:lnTo>
                  <a:lnTo>
                    <a:pt x="159" y="231"/>
                  </a:lnTo>
                  <a:lnTo>
                    <a:pt x="159" y="227"/>
                  </a:lnTo>
                  <a:lnTo>
                    <a:pt x="155" y="227"/>
                  </a:lnTo>
                  <a:lnTo>
                    <a:pt x="155" y="231"/>
                  </a:lnTo>
                  <a:lnTo>
                    <a:pt x="151" y="231"/>
                  </a:lnTo>
                  <a:lnTo>
                    <a:pt x="155" y="227"/>
                  </a:lnTo>
                  <a:lnTo>
                    <a:pt x="151" y="227"/>
                  </a:lnTo>
                  <a:lnTo>
                    <a:pt x="147" y="227"/>
                  </a:lnTo>
                  <a:lnTo>
                    <a:pt x="143" y="227"/>
                  </a:lnTo>
                  <a:lnTo>
                    <a:pt x="139" y="231"/>
                  </a:lnTo>
                  <a:lnTo>
                    <a:pt x="135" y="231"/>
                  </a:lnTo>
                  <a:lnTo>
                    <a:pt x="131" y="231"/>
                  </a:lnTo>
                  <a:lnTo>
                    <a:pt x="131" y="227"/>
                  </a:lnTo>
                  <a:lnTo>
                    <a:pt x="127" y="231"/>
                  </a:lnTo>
                  <a:lnTo>
                    <a:pt x="127" y="227"/>
                  </a:lnTo>
                  <a:lnTo>
                    <a:pt x="127" y="231"/>
                  </a:lnTo>
                  <a:lnTo>
                    <a:pt x="123" y="231"/>
                  </a:lnTo>
                  <a:lnTo>
                    <a:pt x="127" y="231"/>
                  </a:lnTo>
                  <a:lnTo>
                    <a:pt x="127" y="235"/>
                  </a:lnTo>
                  <a:lnTo>
                    <a:pt x="123" y="235"/>
                  </a:lnTo>
                  <a:lnTo>
                    <a:pt x="123" y="231"/>
                  </a:lnTo>
                  <a:lnTo>
                    <a:pt x="119" y="231"/>
                  </a:lnTo>
                  <a:lnTo>
                    <a:pt x="119" y="235"/>
                  </a:lnTo>
                  <a:lnTo>
                    <a:pt x="119" y="231"/>
                  </a:lnTo>
                  <a:lnTo>
                    <a:pt x="116" y="231"/>
                  </a:lnTo>
                  <a:lnTo>
                    <a:pt x="119" y="231"/>
                  </a:lnTo>
                  <a:lnTo>
                    <a:pt x="116" y="231"/>
                  </a:lnTo>
                  <a:lnTo>
                    <a:pt x="116" y="235"/>
                  </a:lnTo>
                  <a:lnTo>
                    <a:pt x="112" y="235"/>
                  </a:lnTo>
                  <a:lnTo>
                    <a:pt x="108" y="235"/>
                  </a:lnTo>
                  <a:lnTo>
                    <a:pt x="108" y="231"/>
                  </a:lnTo>
                  <a:lnTo>
                    <a:pt x="112" y="231"/>
                  </a:lnTo>
                  <a:lnTo>
                    <a:pt x="108" y="231"/>
                  </a:lnTo>
                  <a:lnTo>
                    <a:pt x="112" y="231"/>
                  </a:lnTo>
                  <a:lnTo>
                    <a:pt x="112" y="227"/>
                  </a:lnTo>
                  <a:lnTo>
                    <a:pt x="108" y="227"/>
                  </a:lnTo>
                  <a:lnTo>
                    <a:pt x="104" y="227"/>
                  </a:lnTo>
                  <a:lnTo>
                    <a:pt x="100" y="231"/>
                  </a:lnTo>
                  <a:lnTo>
                    <a:pt x="100" y="235"/>
                  </a:lnTo>
                  <a:lnTo>
                    <a:pt x="96" y="231"/>
                  </a:lnTo>
                  <a:lnTo>
                    <a:pt x="92" y="231"/>
                  </a:lnTo>
                  <a:lnTo>
                    <a:pt x="92" y="227"/>
                  </a:lnTo>
                  <a:lnTo>
                    <a:pt x="88" y="231"/>
                  </a:lnTo>
                  <a:lnTo>
                    <a:pt x="92" y="231"/>
                  </a:lnTo>
                  <a:lnTo>
                    <a:pt x="92" y="235"/>
                  </a:lnTo>
                  <a:lnTo>
                    <a:pt x="96" y="235"/>
                  </a:lnTo>
                  <a:lnTo>
                    <a:pt x="100" y="239"/>
                  </a:lnTo>
                  <a:lnTo>
                    <a:pt x="96" y="239"/>
                  </a:lnTo>
                  <a:lnTo>
                    <a:pt x="92" y="239"/>
                  </a:lnTo>
                  <a:lnTo>
                    <a:pt x="88" y="235"/>
                  </a:lnTo>
                  <a:lnTo>
                    <a:pt x="84" y="235"/>
                  </a:lnTo>
                  <a:lnTo>
                    <a:pt x="80" y="235"/>
                  </a:lnTo>
                  <a:lnTo>
                    <a:pt x="76" y="235"/>
                  </a:lnTo>
                  <a:lnTo>
                    <a:pt x="72" y="235"/>
                  </a:lnTo>
                  <a:lnTo>
                    <a:pt x="68" y="235"/>
                  </a:lnTo>
                  <a:lnTo>
                    <a:pt x="68" y="231"/>
                  </a:lnTo>
                  <a:lnTo>
                    <a:pt x="64" y="231"/>
                  </a:lnTo>
                  <a:lnTo>
                    <a:pt x="60" y="231"/>
                  </a:lnTo>
                  <a:lnTo>
                    <a:pt x="60" y="227"/>
                  </a:lnTo>
                  <a:lnTo>
                    <a:pt x="56" y="227"/>
                  </a:lnTo>
                  <a:lnTo>
                    <a:pt x="52" y="227"/>
                  </a:lnTo>
                  <a:lnTo>
                    <a:pt x="52" y="223"/>
                  </a:lnTo>
                  <a:lnTo>
                    <a:pt x="56" y="223"/>
                  </a:lnTo>
                  <a:lnTo>
                    <a:pt x="60" y="223"/>
                  </a:lnTo>
                  <a:lnTo>
                    <a:pt x="64" y="219"/>
                  </a:lnTo>
                  <a:lnTo>
                    <a:pt x="68" y="219"/>
                  </a:lnTo>
                  <a:lnTo>
                    <a:pt x="76" y="219"/>
                  </a:lnTo>
                  <a:lnTo>
                    <a:pt x="76" y="215"/>
                  </a:lnTo>
                  <a:lnTo>
                    <a:pt x="72" y="215"/>
                  </a:lnTo>
                  <a:lnTo>
                    <a:pt x="68" y="215"/>
                  </a:lnTo>
                  <a:lnTo>
                    <a:pt x="68" y="219"/>
                  </a:lnTo>
                  <a:lnTo>
                    <a:pt x="64" y="219"/>
                  </a:lnTo>
                  <a:lnTo>
                    <a:pt x="64" y="215"/>
                  </a:lnTo>
                  <a:lnTo>
                    <a:pt x="60" y="215"/>
                  </a:lnTo>
                  <a:lnTo>
                    <a:pt x="56" y="215"/>
                  </a:lnTo>
                  <a:lnTo>
                    <a:pt x="52" y="215"/>
                  </a:lnTo>
                  <a:lnTo>
                    <a:pt x="48" y="215"/>
                  </a:lnTo>
                  <a:lnTo>
                    <a:pt x="44" y="215"/>
                  </a:lnTo>
                  <a:lnTo>
                    <a:pt x="44" y="211"/>
                  </a:lnTo>
                  <a:lnTo>
                    <a:pt x="48" y="211"/>
                  </a:lnTo>
                  <a:lnTo>
                    <a:pt x="48" y="207"/>
                  </a:lnTo>
                  <a:lnTo>
                    <a:pt x="52" y="207"/>
                  </a:lnTo>
                  <a:lnTo>
                    <a:pt x="48" y="207"/>
                  </a:lnTo>
                  <a:lnTo>
                    <a:pt x="44" y="211"/>
                  </a:lnTo>
                  <a:lnTo>
                    <a:pt x="40" y="211"/>
                  </a:lnTo>
                  <a:lnTo>
                    <a:pt x="40" y="215"/>
                  </a:lnTo>
                  <a:lnTo>
                    <a:pt x="36" y="215"/>
                  </a:lnTo>
                  <a:lnTo>
                    <a:pt x="36" y="211"/>
                  </a:lnTo>
                  <a:lnTo>
                    <a:pt x="32" y="211"/>
                  </a:lnTo>
                  <a:lnTo>
                    <a:pt x="36" y="207"/>
                  </a:lnTo>
                  <a:lnTo>
                    <a:pt x="32" y="211"/>
                  </a:lnTo>
                  <a:lnTo>
                    <a:pt x="32" y="207"/>
                  </a:lnTo>
                  <a:lnTo>
                    <a:pt x="28" y="207"/>
                  </a:lnTo>
                  <a:lnTo>
                    <a:pt x="24" y="207"/>
                  </a:lnTo>
                  <a:lnTo>
                    <a:pt x="24" y="203"/>
                  </a:lnTo>
                  <a:lnTo>
                    <a:pt x="28" y="203"/>
                  </a:lnTo>
                  <a:lnTo>
                    <a:pt x="32" y="203"/>
                  </a:lnTo>
                  <a:lnTo>
                    <a:pt x="36" y="199"/>
                  </a:lnTo>
                  <a:lnTo>
                    <a:pt x="40" y="199"/>
                  </a:lnTo>
                  <a:lnTo>
                    <a:pt x="44" y="199"/>
                  </a:lnTo>
                  <a:lnTo>
                    <a:pt x="48" y="199"/>
                  </a:lnTo>
                  <a:lnTo>
                    <a:pt x="52" y="199"/>
                  </a:lnTo>
                  <a:lnTo>
                    <a:pt x="56" y="199"/>
                  </a:lnTo>
                  <a:lnTo>
                    <a:pt x="60" y="199"/>
                  </a:lnTo>
                  <a:lnTo>
                    <a:pt x="60" y="203"/>
                  </a:lnTo>
                  <a:lnTo>
                    <a:pt x="64" y="203"/>
                  </a:lnTo>
                  <a:lnTo>
                    <a:pt x="68" y="203"/>
                  </a:lnTo>
                  <a:lnTo>
                    <a:pt x="72" y="203"/>
                  </a:lnTo>
                  <a:lnTo>
                    <a:pt x="76" y="203"/>
                  </a:lnTo>
                  <a:lnTo>
                    <a:pt x="76" y="199"/>
                  </a:lnTo>
                  <a:lnTo>
                    <a:pt x="80" y="199"/>
                  </a:lnTo>
                  <a:lnTo>
                    <a:pt x="80" y="203"/>
                  </a:lnTo>
                  <a:lnTo>
                    <a:pt x="84" y="203"/>
                  </a:lnTo>
                  <a:lnTo>
                    <a:pt x="88" y="203"/>
                  </a:lnTo>
                  <a:lnTo>
                    <a:pt x="92" y="203"/>
                  </a:lnTo>
                  <a:lnTo>
                    <a:pt x="96" y="203"/>
                  </a:lnTo>
                  <a:lnTo>
                    <a:pt x="100" y="203"/>
                  </a:lnTo>
                  <a:lnTo>
                    <a:pt x="104" y="203"/>
                  </a:lnTo>
                  <a:lnTo>
                    <a:pt x="104" y="199"/>
                  </a:lnTo>
                  <a:lnTo>
                    <a:pt x="100" y="203"/>
                  </a:lnTo>
                  <a:lnTo>
                    <a:pt x="96" y="203"/>
                  </a:lnTo>
                  <a:lnTo>
                    <a:pt x="92" y="203"/>
                  </a:lnTo>
                  <a:lnTo>
                    <a:pt x="88" y="203"/>
                  </a:lnTo>
                  <a:lnTo>
                    <a:pt x="84" y="203"/>
                  </a:lnTo>
                  <a:lnTo>
                    <a:pt x="84" y="199"/>
                  </a:lnTo>
                  <a:lnTo>
                    <a:pt x="80" y="199"/>
                  </a:lnTo>
                  <a:lnTo>
                    <a:pt x="76" y="199"/>
                  </a:lnTo>
                  <a:lnTo>
                    <a:pt x="72" y="199"/>
                  </a:lnTo>
                  <a:lnTo>
                    <a:pt x="68" y="199"/>
                  </a:lnTo>
                  <a:lnTo>
                    <a:pt x="64" y="199"/>
                  </a:lnTo>
                  <a:lnTo>
                    <a:pt x="60" y="199"/>
                  </a:lnTo>
                  <a:lnTo>
                    <a:pt x="64" y="199"/>
                  </a:lnTo>
                  <a:lnTo>
                    <a:pt x="68" y="195"/>
                  </a:lnTo>
                  <a:lnTo>
                    <a:pt x="72" y="195"/>
                  </a:lnTo>
                  <a:lnTo>
                    <a:pt x="76" y="195"/>
                  </a:lnTo>
                  <a:lnTo>
                    <a:pt x="80" y="195"/>
                  </a:lnTo>
                  <a:lnTo>
                    <a:pt x="84" y="195"/>
                  </a:lnTo>
                  <a:lnTo>
                    <a:pt x="88" y="195"/>
                  </a:lnTo>
                  <a:lnTo>
                    <a:pt x="92" y="195"/>
                  </a:lnTo>
                  <a:lnTo>
                    <a:pt x="96" y="195"/>
                  </a:lnTo>
                  <a:lnTo>
                    <a:pt x="96" y="199"/>
                  </a:lnTo>
                  <a:lnTo>
                    <a:pt x="100" y="199"/>
                  </a:lnTo>
                  <a:lnTo>
                    <a:pt x="104" y="199"/>
                  </a:lnTo>
                  <a:lnTo>
                    <a:pt x="100" y="199"/>
                  </a:lnTo>
                  <a:lnTo>
                    <a:pt x="96" y="195"/>
                  </a:lnTo>
                  <a:lnTo>
                    <a:pt x="100" y="195"/>
                  </a:lnTo>
                  <a:lnTo>
                    <a:pt x="104" y="195"/>
                  </a:lnTo>
                  <a:lnTo>
                    <a:pt x="104" y="191"/>
                  </a:lnTo>
                  <a:lnTo>
                    <a:pt x="104" y="187"/>
                  </a:lnTo>
                  <a:lnTo>
                    <a:pt x="100" y="187"/>
                  </a:lnTo>
                  <a:lnTo>
                    <a:pt x="96" y="187"/>
                  </a:lnTo>
                  <a:lnTo>
                    <a:pt x="92" y="187"/>
                  </a:lnTo>
                  <a:lnTo>
                    <a:pt x="88" y="187"/>
                  </a:lnTo>
                  <a:lnTo>
                    <a:pt x="88" y="191"/>
                  </a:lnTo>
                  <a:lnTo>
                    <a:pt x="84" y="191"/>
                  </a:lnTo>
                  <a:lnTo>
                    <a:pt x="80" y="191"/>
                  </a:lnTo>
                  <a:lnTo>
                    <a:pt x="76" y="191"/>
                  </a:lnTo>
                  <a:lnTo>
                    <a:pt x="72" y="191"/>
                  </a:lnTo>
                  <a:lnTo>
                    <a:pt x="68" y="191"/>
                  </a:lnTo>
                  <a:lnTo>
                    <a:pt x="72" y="191"/>
                  </a:lnTo>
                  <a:lnTo>
                    <a:pt x="68" y="191"/>
                  </a:lnTo>
                  <a:lnTo>
                    <a:pt x="68" y="187"/>
                  </a:lnTo>
                  <a:lnTo>
                    <a:pt x="64" y="187"/>
                  </a:lnTo>
                  <a:lnTo>
                    <a:pt x="64" y="191"/>
                  </a:lnTo>
                  <a:lnTo>
                    <a:pt x="68" y="191"/>
                  </a:lnTo>
                  <a:lnTo>
                    <a:pt x="64" y="191"/>
                  </a:lnTo>
                  <a:lnTo>
                    <a:pt x="60" y="191"/>
                  </a:lnTo>
                  <a:lnTo>
                    <a:pt x="60" y="195"/>
                  </a:lnTo>
                  <a:lnTo>
                    <a:pt x="56" y="195"/>
                  </a:lnTo>
                  <a:lnTo>
                    <a:pt x="56" y="191"/>
                  </a:lnTo>
                  <a:lnTo>
                    <a:pt x="52" y="191"/>
                  </a:lnTo>
                  <a:lnTo>
                    <a:pt x="48" y="191"/>
                  </a:lnTo>
                  <a:lnTo>
                    <a:pt x="44" y="191"/>
                  </a:lnTo>
                  <a:lnTo>
                    <a:pt x="40" y="191"/>
                  </a:lnTo>
                  <a:lnTo>
                    <a:pt x="44" y="187"/>
                  </a:lnTo>
                  <a:lnTo>
                    <a:pt x="48" y="187"/>
                  </a:lnTo>
                  <a:lnTo>
                    <a:pt x="52" y="187"/>
                  </a:lnTo>
                  <a:lnTo>
                    <a:pt x="52" y="184"/>
                  </a:lnTo>
                  <a:lnTo>
                    <a:pt x="52" y="187"/>
                  </a:lnTo>
                  <a:lnTo>
                    <a:pt x="48" y="187"/>
                  </a:lnTo>
                  <a:lnTo>
                    <a:pt x="44" y="187"/>
                  </a:lnTo>
                  <a:lnTo>
                    <a:pt x="40" y="187"/>
                  </a:lnTo>
                  <a:lnTo>
                    <a:pt x="36" y="187"/>
                  </a:lnTo>
                  <a:lnTo>
                    <a:pt x="36" y="184"/>
                  </a:lnTo>
                  <a:lnTo>
                    <a:pt x="40" y="184"/>
                  </a:lnTo>
                  <a:lnTo>
                    <a:pt x="44" y="184"/>
                  </a:lnTo>
                  <a:lnTo>
                    <a:pt x="40" y="184"/>
                  </a:lnTo>
                  <a:lnTo>
                    <a:pt x="36" y="184"/>
                  </a:lnTo>
                  <a:lnTo>
                    <a:pt x="32" y="184"/>
                  </a:lnTo>
                  <a:lnTo>
                    <a:pt x="28" y="184"/>
                  </a:lnTo>
                  <a:lnTo>
                    <a:pt x="24" y="184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4" y="180"/>
                  </a:lnTo>
                  <a:lnTo>
                    <a:pt x="24" y="184"/>
                  </a:lnTo>
                  <a:lnTo>
                    <a:pt x="20" y="184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2" y="180"/>
                  </a:lnTo>
                  <a:lnTo>
                    <a:pt x="8" y="176"/>
                  </a:lnTo>
                  <a:lnTo>
                    <a:pt x="12" y="176"/>
                  </a:lnTo>
                  <a:lnTo>
                    <a:pt x="8" y="176"/>
                  </a:lnTo>
                  <a:lnTo>
                    <a:pt x="4" y="176"/>
                  </a:lnTo>
                  <a:lnTo>
                    <a:pt x="0" y="172"/>
                  </a:lnTo>
                  <a:lnTo>
                    <a:pt x="4" y="172"/>
                  </a:lnTo>
                  <a:lnTo>
                    <a:pt x="4" y="168"/>
                  </a:lnTo>
                  <a:lnTo>
                    <a:pt x="8" y="168"/>
                  </a:lnTo>
                  <a:lnTo>
                    <a:pt x="4" y="168"/>
                  </a:lnTo>
                  <a:lnTo>
                    <a:pt x="4" y="164"/>
                  </a:lnTo>
                  <a:lnTo>
                    <a:pt x="8" y="164"/>
                  </a:lnTo>
                  <a:lnTo>
                    <a:pt x="4" y="164"/>
                  </a:lnTo>
                  <a:lnTo>
                    <a:pt x="8" y="160"/>
                  </a:lnTo>
                  <a:lnTo>
                    <a:pt x="12" y="160"/>
                  </a:lnTo>
                  <a:lnTo>
                    <a:pt x="16" y="160"/>
                  </a:lnTo>
                  <a:lnTo>
                    <a:pt x="20" y="160"/>
                  </a:lnTo>
                  <a:lnTo>
                    <a:pt x="24" y="160"/>
                  </a:lnTo>
                  <a:lnTo>
                    <a:pt x="28" y="160"/>
                  </a:lnTo>
                  <a:lnTo>
                    <a:pt x="32" y="160"/>
                  </a:lnTo>
                  <a:lnTo>
                    <a:pt x="32" y="156"/>
                  </a:lnTo>
                  <a:lnTo>
                    <a:pt x="36" y="156"/>
                  </a:lnTo>
                  <a:lnTo>
                    <a:pt x="40" y="156"/>
                  </a:lnTo>
                  <a:lnTo>
                    <a:pt x="44" y="156"/>
                  </a:lnTo>
                  <a:lnTo>
                    <a:pt x="48" y="156"/>
                  </a:lnTo>
                  <a:lnTo>
                    <a:pt x="44" y="156"/>
                  </a:lnTo>
                  <a:lnTo>
                    <a:pt x="44" y="152"/>
                  </a:lnTo>
                  <a:lnTo>
                    <a:pt x="48" y="152"/>
                  </a:lnTo>
                  <a:lnTo>
                    <a:pt x="52" y="152"/>
                  </a:lnTo>
                  <a:lnTo>
                    <a:pt x="56" y="152"/>
                  </a:lnTo>
                  <a:lnTo>
                    <a:pt x="60" y="152"/>
                  </a:lnTo>
                  <a:lnTo>
                    <a:pt x="64" y="152"/>
                  </a:lnTo>
                  <a:lnTo>
                    <a:pt x="60" y="152"/>
                  </a:lnTo>
                  <a:lnTo>
                    <a:pt x="60" y="148"/>
                  </a:lnTo>
                  <a:lnTo>
                    <a:pt x="64" y="148"/>
                  </a:lnTo>
                  <a:lnTo>
                    <a:pt x="72" y="144"/>
                  </a:lnTo>
                  <a:lnTo>
                    <a:pt x="76" y="144"/>
                  </a:lnTo>
                  <a:lnTo>
                    <a:pt x="80" y="148"/>
                  </a:lnTo>
                  <a:lnTo>
                    <a:pt x="80" y="144"/>
                  </a:lnTo>
                  <a:lnTo>
                    <a:pt x="84" y="144"/>
                  </a:lnTo>
                  <a:lnTo>
                    <a:pt x="88" y="144"/>
                  </a:lnTo>
                  <a:lnTo>
                    <a:pt x="92" y="144"/>
                  </a:lnTo>
                  <a:lnTo>
                    <a:pt x="96" y="144"/>
                  </a:lnTo>
                  <a:lnTo>
                    <a:pt x="100" y="144"/>
                  </a:lnTo>
                  <a:lnTo>
                    <a:pt x="104" y="144"/>
                  </a:lnTo>
                  <a:lnTo>
                    <a:pt x="108" y="144"/>
                  </a:lnTo>
                  <a:lnTo>
                    <a:pt x="112" y="140"/>
                  </a:lnTo>
                  <a:lnTo>
                    <a:pt x="116" y="136"/>
                  </a:lnTo>
                  <a:lnTo>
                    <a:pt x="119" y="136"/>
                  </a:lnTo>
                  <a:lnTo>
                    <a:pt x="119" y="132"/>
                  </a:lnTo>
                  <a:lnTo>
                    <a:pt x="123" y="132"/>
                  </a:lnTo>
                  <a:lnTo>
                    <a:pt x="123" y="128"/>
                  </a:lnTo>
                  <a:lnTo>
                    <a:pt x="119" y="128"/>
                  </a:lnTo>
                  <a:lnTo>
                    <a:pt x="119" y="124"/>
                  </a:lnTo>
                  <a:lnTo>
                    <a:pt x="119" y="120"/>
                  </a:lnTo>
                  <a:lnTo>
                    <a:pt x="119" y="116"/>
                  </a:lnTo>
                  <a:lnTo>
                    <a:pt x="123" y="116"/>
                  </a:lnTo>
                  <a:lnTo>
                    <a:pt x="131" y="116"/>
                  </a:lnTo>
                  <a:lnTo>
                    <a:pt x="131" y="112"/>
                  </a:lnTo>
                  <a:lnTo>
                    <a:pt x="135" y="112"/>
                  </a:lnTo>
                  <a:lnTo>
                    <a:pt x="139" y="112"/>
                  </a:lnTo>
                  <a:lnTo>
                    <a:pt x="135" y="112"/>
                  </a:lnTo>
                  <a:lnTo>
                    <a:pt x="131" y="112"/>
                  </a:lnTo>
                  <a:lnTo>
                    <a:pt x="131" y="108"/>
                  </a:lnTo>
                  <a:lnTo>
                    <a:pt x="131" y="112"/>
                  </a:lnTo>
                  <a:lnTo>
                    <a:pt x="127" y="112"/>
                  </a:lnTo>
                  <a:lnTo>
                    <a:pt x="123" y="112"/>
                  </a:lnTo>
                  <a:lnTo>
                    <a:pt x="123" y="116"/>
                  </a:lnTo>
                  <a:lnTo>
                    <a:pt x="119" y="116"/>
                  </a:lnTo>
                  <a:lnTo>
                    <a:pt x="119" y="112"/>
                  </a:lnTo>
                  <a:lnTo>
                    <a:pt x="116" y="112"/>
                  </a:lnTo>
                  <a:lnTo>
                    <a:pt x="116" y="116"/>
                  </a:lnTo>
                  <a:lnTo>
                    <a:pt x="112" y="116"/>
                  </a:lnTo>
                  <a:lnTo>
                    <a:pt x="108" y="116"/>
                  </a:lnTo>
                  <a:lnTo>
                    <a:pt x="104" y="116"/>
                  </a:lnTo>
                  <a:lnTo>
                    <a:pt x="104" y="112"/>
                  </a:lnTo>
                  <a:lnTo>
                    <a:pt x="100" y="112"/>
                  </a:lnTo>
                  <a:lnTo>
                    <a:pt x="96" y="112"/>
                  </a:lnTo>
                  <a:lnTo>
                    <a:pt x="96" y="116"/>
                  </a:lnTo>
                  <a:lnTo>
                    <a:pt x="92" y="116"/>
                  </a:lnTo>
                  <a:lnTo>
                    <a:pt x="88" y="116"/>
                  </a:lnTo>
                  <a:lnTo>
                    <a:pt x="88" y="112"/>
                  </a:lnTo>
                  <a:lnTo>
                    <a:pt x="84" y="112"/>
                  </a:lnTo>
                  <a:lnTo>
                    <a:pt x="84" y="108"/>
                  </a:lnTo>
                  <a:lnTo>
                    <a:pt x="84" y="104"/>
                  </a:lnTo>
                  <a:lnTo>
                    <a:pt x="88" y="104"/>
                  </a:lnTo>
                  <a:lnTo>
                    <a:pt x="92" y="104"/>
                  </a:lnTo>
                  <a:lnTo>
                    <a:pt x="96" y="100"/>
                  </a:lnTo>
                  <a:lnTo>
                    <a:pt x="100" y="100"/>
                  </a:lnTo>
                  <a:lnTo>
                    <a:pt x="100" y="96"/>
                  </a:lnTo>
                  <a:lnTo>
                    <a:pt x="104" y="96"/>
                  </a:lnTo>
                  <a:lnTo>
                    <a:pt x="108" y="96"/>
                  </a:lnTo>
                  <a:lnTo>
                    <a:pt x="112" y="96"/>
                  </a:lnTo>
                  <a:lnTo>
                    <a:pt x="112" y="92"/>
                  </a:lnTo>
                  <a:lnTo>
                    <a:pt x="116" y="92"/>
                  </a:lnTo>
                  <a:lnTo>
                    <a:pt x="119" y="92"/>
                  </a:lnTo>
                  <a:lnTo>
                    <a:pt x="119" y="88"/>
                  </a:lnTo>
                  <a:lnTo>
                    <a:pt x="123" y="88"/>
                  </a:lnTo>
                  <a:lnTo>
                    <a:pt x="123" y="84"/>
                  </a:lnTo>
                  <a:lnTo>
                    <a:pt x="127" y="84"/>
                  </a:lnTo>
                  <a:lnTo>
                    <a:pt x="131" y="84"/>
                  </a:lnTo>
                  <a:lnTo>
                    <a:pt x="135" y="84"/>
                  </a:lnTo>
                  <a:lnTo>
                    <a:pt x="139" y="84"/>
                  </a:lnTo>
                  <a:lnTo>
                    <a:pt x="139" y="80"/>
                  </a:lnTo>
                  <a:lnTo>
                    <a:pt x="143" y="80"/>
                  </a:lnTo>
                  <a:lnTo>
                    <a:pt x="143" y="84"/>
                  </a:lnTo>
                  <a:lnTo>
                    <a:pt x="147" y="88"/>
                  </a:lnTo>
                  <a:lnTo>
                    <a:pt x="151" y="92"/>
                  </a:lnTo>
                  <a:lnTo>
                    <a:pt x="155" y="92"/>
                  </a:lnTo>
                  <a:lnTo>
                    <a:pt x="151" y="92"/>
                  </a:lnTo>
                  <a:lnTo>
                    <a:pt x="151" y="88"/>
                  </a:lnTo>
                  <a:lnTo>
                    <a:pt x="147" y="88"/>
                  </a:lnTo>
                  <a:lnTo>
                    <a:pt x="147" y="84"/>
                  </a:lnTo>
                  <a:lnTo>
                    <a:pt x="147" y="80"/>
                  </a:lnTo>
                  <a:lnTo>
                    <a:pt x="151" y="76"/>
                  </a:lnTo>
                  <a:lnTo>
                    <a:pt x="155" y="76"/>
                  </a:lnTo>
                  <a:lnTo>
                    <a:pt x="155" y="80"/>
                  </a:lnTo>
                  <a:lnTo>
                    <a:pt x="159" y="80"/>
                  </a:lnTo>
                  <a:lnTo>
                    <a:pt x="163" y="80"/>
                  </a:lnTo>
                  <a:lnTo>
                    <a:pt x="167" y="80"/>
                  </a:lnTo>
                  <a:lnTo>
                    <a:pt x="171" y="84"/>
                  </a:lnTo>
                  <a:lnTo>
                    <a:pt x="175" y="84"/>
                  </a:lnTo>
                  <a:lnTo>
                    <a:pt x="175" y="80"/>
                  </a:lnTo>
                  <a:lnTo>
                    <a:pt x="179" y="80"/>
                  </a:lnTo>
                  <a:lnTo>
                    <a:pt x="183" y="80"/>
                  </a:lnTo>
                  <a:lnTo>
                    <a:pt x="179" y="80"/>
                  </a:lnTo>
                  <a:lnTo>
                    <a:pt x="179" y="76"/>
                  </a:lnTo>
                  <a:lnTo>
                    <a:pt x="175" y="72"/>
                  </a:lnTo>
                  <a:lnTo>
                    <a:pt x="179" y="72"/>
                  </a:lnTo>
                  <a:lnTo>
                    <a:pt x="183" y="72"/>
                  </a:lnTo>
                  <a:lnTo>
                    <a:pt x="183" y="68"/>
                  </a:lnTo>
                  <a:lnTo>
                    <a:pt x="179" y="68"/>
                  </a:lnTo>
                  <a:lnTo>
                    <a:pt x="179" y="64"/>
                  </a:lnTo>
                  <a:lnTo>
                    <a:pt x="175" y="64"/>
                  </a:lnTo>
                  <a:lnTo>
                    <a:pt x="175" y="60"/>
                  </a:lnTo>
                  <a:lnTo>
                    <a:pt x="179" y="60"/>
                  </a:lnTo>
                  <a:lnTo>
                    <a:pt x="183" y="56"/>
                  </a:lnTo>
                  <a:lnTo>
                    <a:pt x="187" y="56"/>
                  </a:lnTo>
                  <a:lnTo>
                    <a:pt x="191" y="56"/>
                  </a:lnTo>
                  <a:lnTo>
                    <a:pt x="195" y="56"/>
                  </a:lnTo>
                  <a:lnTo>
                    <a:pt x="199" y="56"/>
                  </a:lnTo>
                  <a:lnTo>
                    <a:pt x="203" y="56"/>
                  </a:lnTo>
                  <a:lnTo>
                    <a:pt x="207" y="56"/>
                  </a:lnTo>
                  <a:lnTo>
                    <a:pt x="211" y="56"/>
                  </a:lnTo>
                  <a:lnTo>
                    <a:pt x="215" y="56"/>
                  </a:lnTo>
                  <a:lnTo>
                    <a:pt x="215" y="60"/>
                  </a:lnTo>
                  <a:lnTo>
                    <a:pt x="215" y="64"/>
                  </a:lnTo>
                  <a:lnTo>
                    <a:pt x="219" y="64"/>
                  </a:lnTo>
                  <a:lnTo>
                    <a:pt x="227" y="64"/>
                  </a:lnTo>
                  <a:lnTo>
                    <a:pt x="227" y="68"/>
                  </a:lnTo>
                  <a:lnTo>
                    <a:pt x="231" y="68"/>
                  </a:lnTo>
                  <a:lnTo>
                    <a:pt x="231" y="64"/>
                  </a:lnTo>
                  <a:lnTo>
                    <a:pt x="231" y="68"/>
                  </a:lnTo>
                  <a:lnTo>
                    <a:pt x="235" y="68"/>
                  </a:lnTo>
                  <a:lnTo>
                    <a:pt x="239" y="68"/>
                  </a:lnTo>
                  <a:lnTo>
                    <a:pt x="239" y="72"/>
                  </a:lnTo>
                  <a:lnTo>
                    <a:pt x="243" y="72"/>
                  </a:lnTo>
                  <a:lnTo>
                    <a:pt x="247" y="72"/>
                  </a:lnTo>
                  <a:lnTo>
                    <a:pt x="247" y="76"/>
                  </a:lnTo>
                  <a:lnTo>
                    <a:pt x="251" y="76"/>
                  </a:lnTo>
                  <a:lnTo>
                    <a:pt x="251" y="72"/>
                  </a:lnTo>
                  <a:lnTo>
                    <a:pt x="247" y="72"/>
                  </a:lnTo>
                  <a:lnTo>
                    <a:pt x="243" y="72"/>
                  </a:lnTo>
                  <a:lnTo>
                    <a:pt x="239" y="72"/>
                  </a:lnTo>
                  <a:lnTo>
                    <a:pt x="239" y="68"/>
                  </a:lnTo>
                  <a:lnTo>
                    <a:pt x="235" y="68"/>
                  </a:lnTo>
                  <a:lnTo>
                    <a:pt x="231" y="64"/>
                  </a:lnTo>
                  <a:lnTo>
                    <a:pt x="227" y="64"/>
                  </a:lnTo>
                  <a:lnTo>
                    <a:pt x="223" y="64"/>
                  </a:lnTo>
                  <a:lnTo>
                    <a:pt x="223" y="60"/>
                  </a:lnTo>
                  <a:lnTo>
                    <a:pt x="219" y="56"/>
                  </a:lnTo>
                  <a:lnTo>
                    <a:pt x="215" y="56"/>
                  </a:lnTo>
                  <a:lnTo>
                    <a:pt x="211" y="56"/>
                  </a:lnTo>
                  <a:lnTo>
                    <a:pt x="207" y="56"/>
                  </a:lnTo>
                  <a:lnTo>
                    <a:pt x="207" y="52"/>
                  </a:lnTo>
                  <a:lnTo>
                    <a:pt x="203" y="52"/>
                  </a:lnTo>
                  <a:lnTo>
                    <a:pt x="207" y="52"/>
                  </a:lnTo>
                  <a:lnTo>
                    <a:pt x="211" y="52"/>
                  </a:lnTo>
                  <a:lnTo>
                    <a:pt x="215" y="48"/>
                  </a:lnTo>
                  <a:lnTo>
                    <a:pt x="219" y="48"/>
                  </a:lnTo>
                  <a:lnTo>
                    <a:pt x="223" y="48"/>
                  </a:lnTo>
                  <a:lnTo>
                    <a:pt x="227" y="48"/>
                  </a:lnTo>
                  <a:lnTo>
                    <a:pt x="231" y="48"/>
                  </a:lnTo>
                  <a:lnTo>
                    <a:pt x="235" y="48"/>
                  </a:lnTo>
                  <a:lnTo>
                    <a:pt x="239" y="48"/>
                  </a:lnTo>
                  <a:lnTo>
                    <a:pt x="243" y="48"/>
                  </a:lnTo>
                  <a:lnTo>
                    <a:pt x="247" y="44"/>
                  </a:lnTo>
                  <a:lnTo>
                    <a:pt x="251" y="44"/>
                  </a:lnTo>
                  <a:lnTo>
                    <a:pt x="251" y="48"/>
                  </a:lnTo>
                  <a:lnTo>
                    <a:pt x="255" y="48"/>
                  </a:lnTo>
                  <a:lnTo>
                    <a:pt x="255" y="44"/>
                  </a:lnTo>
                  <a:lnTo>
                    <a:pt x="259" y="44"/>
                  </a:lnTo>
                  <a:lnTo>
                    <a:pt x="263" y="44"/>
                  </a:lnTo>
                  <a:lnTo>
                    <a:pt x="267" y="44"/>
                  </a:lnTo>
                  <a:lnTo>
                    <a:pt x="267" y="48"/>
                  </a:lnTo>
                  <a:lnTo>
                    <a:pt x="271" y="48"/>
                  </a:lnTo>
                  <a:lnTo>
                    <a:pt x="271" y="44"/>
                  </a:lnTo>
                  <a:lnTo>
                    <a:pt x="267" y="44"/>
                  </a:lnTo>
                  <a:lnTo>
                    <a:pt x="263" y="44"/>
                  </a:lnTo>
                  <a:lnTo>
                    <a:pt x="271" y="44"/>
                  </a:lnTo>
                  <a:lnTo>
                    <a:pt x="275" y="40"/>
                  </a:lnTo>
                  <a:lnTo>
                    <a:pt x="279" y="40"/>
                  </a:lnTo>
                  <a:lnTo>
                    <a:pt x="283" y="40"/>
                  </a:lnTo>
                  <a:lnTo>
                    <a:pt x="287" y="44"/>
                  </a:lnTo>
                  <a:lnTo>
                    <a:pt x="291" y="44"/>
                  </a:lnTo>
                  <a:lnTo>
                    <a:pt x="295" y="48"/>
                  </a:lnTo>
                  <a:lnTo>
                    <a:pt x="295" y="56"/>
                  </a:lnTo>
                  <a:lnTo>
                    <a:pt x="295" y="60"/>
                  </a:lnTo>
                  <a:lnTo>
                    <a:pt x="291" y="60"/>
                  </a:lnTo>
                  <a:lnTo>
                    <a:pt x="291" y="64"/>
                  </a:lnTo>
                  <a:lnTo>
                    <a:pt x="291" y="68"/>
                  </a:lnTo>
                  <a:lnTo>
                    <a:pt x="295" y="68"/>
                  </a:lnTo>
                  <a:lnTo>
                    <a:pt x="295" y="64"/>
                  </a:lnTo>
                  <a:lnTo>
                    <a:pt x="299" y="60"/>
                  </a:lnTo>
                  <a:lnTo>
                    <a:pt x="303" y="60"/>
                  </a:lnTo>
                  <a:lnTo>
                    <a:pt x="303" y="56"/>
                  </a:lnTo>
                  <a:lnTo>
                    <a:pt x="303" y="52"/>
                  </a:lnTo>
                  <a:lnTo>
                    <a:pt x="307" y="52"/>
                  </a:lnTo>
                  <a:lnTo>
                    <a:pt x="311" y="52"/>
                  </a:lnTo>
                  <a:lnTo>
                    <a:pt x="319" y="56"/>
                  </a:lnTo>
                  <a:lnTo>
                    <a:pt x="323" y="56"/>
                  </a:lnTo>
                  <a:lnTo>
                    <a:pt x="327" y="56"/>
                  </a:lnTo>
                  <a:lnTo>
                    <a:pt x="331" y="56"/>
                  </a:lnTo>
                  <a:lnTo>
                    <a:pt x="335" y="60"/>
                  </a:lnTo>
                  <a:lnTo>
                    <a:pt x="339" y="60"/>
                  </a:lnTo>
                  <a:lnTo>
                    <a:pt x="343" y="60"/>
                  </a:lnTo>
                  <a:lnTo>
                    <a:pt x="343" y="64"/>
                  </a:lnTo>
                  <a:lnTo>
                    <a:pt x="347" y="64"/>
                  </a:lnTo>
                  <a:lnTo>
                    <a:pt x="351" y="64"/>
                  </a:lnTo>
                  <a:lnTo>
                    <a:pt x="355" y="64"/>
                  </a:lnTo>
                  <a:lnTo>
                    <a:pt x="351" y="64"/>
                  </a:lnTo>
                  <a:lnTo>
                    <a:pt x="347" y="60"/>
                  </a:lnTo>
                  <a:lnTo>
                    <a:pt x="343" y="60"/>
                  </a:lnTo>
                  <a:lnTo>
                    <a:pt x="339" y="60"/>
                  </a:lnTo>
                  <a:lnTo>
                    <a:pt x="339" y="56"/>
                  </a:lnTo>
                  <a:lnTo>
                    <a:pt x="335" y="56"/>
                  </a:lnTo>
                  <a:lnTo>
                    <a:pt x="331" y="56"/>
                  </a:lnTo>
                  <a:lnTo>
                    <a:pt x="335" y="56"/>
                  </a:lnTo>
                  <a:lnTo>
                    <a:pt x="339" y="56"/>
                  </a:lnTo>
                  <a:lnTo>
                    <a:pt x="343" y="56"/>
                  </a:lnTo>
                  <a:lnTo>
                    <a:pt x="347" y="56"/>
                  </a:lnTo>
                  <a:lnTo>
                    <a:pt x="351" y="56"/>
                  </a:lnTo>
                  <a:lnTo>
                    <a:pt x="355" y="56"/>
                  </a:lnTo>
                  <a:lnTo>
                    <a:pt x="351" y="52"/>
                  </a:lnTo>
                  <a:lnTo>
                    <a:pt x="347" y="52"/>
                  </a:lnTo>
                  <a:lnTo>
                    <a:pt x="343" y="52"/>
                  </a:lnTo>
                  <a:lnTo>
                    <a:pt x="343" y="48"/>
                  </a:lnTo>
                  <a:lnTo>
                    <a:pt x="339" y="48"/>
                  </a:lnTo>
                  <a:lnTo>
                    <a:pt x="335" y="48"/>
                  </a:lnTo>
                  <a:lnTo>
                    <a:pt x="335" y="44"/>
                  </a:lnTo>
                  <a:lnTo>
                    <a:pt x="335" y="40"/>
                  </a:lnTo>
                  <a:lnTo>
                    <a:pt x="331" y="40"/>
                  </a:lnTo>
                  <a:lnTo>
                    <a:pt x="331" y="36"/>
                  </a:lnTo>
                  <a:lnTo>
                    <a:pt x="335" y="36"/>
                  </a:lnTo>
                  <a:lnTo>
                    <a:pt x="339" y="36"/>
                  </a:lnTo>
                  <a:lnTo>
                    <a:pt x="343" y="36"/>
                  </a:lnTo>
                  <a:lnTo>
                    <a:pt x="347" y="36"/>
                  </a:lnTo>
                  <a:lnTo>
                    <a:pt x="351" y="36"/>
                  </a:lnTo>
                  <a:lnTo>
                    <a:pt x="355" y="36"/>
                  </a:lnTo>
                  <a:lnTo>
                    <a:pt x="359" y="36"/>
                  </a:lnTo>
                  <a:lnTo>
                    <a:pt x="363" y="36"/>
                  </a:lnTo>
                  <a:lnTo>
                    <a:pt x="363" y="40"/>
                  </a:lnTo>
                  <a:lnTo>
                    <a:pt x="367" y="40"/>
                  </a:lnTo>
                  <a:lnTo>
                    <a:pt x="371" y="40"/>
                  </a:lnTo>
                  <a:lnTo>
                    <a:pt x="371" y="44"/>
                  </a:lnTo>
                  <a:lnTo>
                    <a:pt x="375" y="44"/>
                  </a:lnTo>
                  <a:lnTo>
                    <a:pt x="379" y="44"/>
                  </a:lnTo>
                  <a:lnTo>
                    <a:pt x="383" y="44"/>
                  </a:lnTo>
                  <a:lnTo>
                    <a:pt x="387" y="44"/>
                  </a:lnTo>
                  <a:lnTo>
                    <a:pt x="387" y="48"/>
                  </a:lnTo>
                  <a:lnTo>
                    <a:pt x="391" y="48"/>
                  </a:lnTo>
                  <a:lnTo>
                    <a:pt x="395" y="48"/>
                  </a:lnTo>
                  <a:lnTo>
                    <a:pt x="399" y="48"/>
                  </a:lnTo>
                  <a:lnTo>
                    <a:pt x="403" y="48"/>
                  </a:lnTo>
                  <a:lnTo>
                    <a:pt x="403" y="52"/>
                  </a:lnTo>
                  <a:lnTo>
                    <a:pt x="407" y="52"/>
                  </a:lnTo>
                  <a:lnTo>
                    <a:pt x="411" y="52"/>
                  </a:lnTo>
                  <a:lnTo>
                    <a:pt x="411" y="56"/>
                  </a:lnTo>
                  <a:lnTo>
                    <a:pt x="407" y="56"/>
                  </a:lnTo>
                  <a:lnTo>
                    <a:pt x="411" y="56"/>
                  </a:lnTo>
                  <a:lnTo>
                    <a:pt x="415" y="56"/>
                  </a:lnTo>
                  <a:lnTo>
                    <a:pt x="419" y="56"/>
                  </a:lnTo>
                  <a:lnTo>
                    <a:pt x="419" y="60"/>
                  </a:lnTo>
                  <a:lnTo>
                    <a:pt x="423" y="60"/>
                  </a:lnTo>
                  <a:lnTo>
                    <a:pt x="427" y="60"/>
                  </a:lnTo>
                  <a:lnTo>
                    <a:pt x="431" y="60"/>
                  </a:lnTo>
                  <a:lnTo>
                    <a:pt x="435" y="60"/>
                  </a:lnTo>
                  <a:lnTo>
                    <a:pt x="435" y="56"/>
                  </a:lnTo>
                  <a:lnTo>
                    <a:pt x="431" y="56"/>
                  </a:lnTo>
                  <a:lnTo>
                    <a:pt x="427" y="56"/>
                  </a:lnTo>
                  <a:lnTo>
                    <a:pt x="431" y="56"/>
                  </a:lnTo>
                  <a:lnTo>
                    <a:pt x="431" y="52"/>
                  </a:lnTo>
                  <a:lnTo>
                    <a:pt x="427" y="52"/>
                  </a:lnTo>
                  <a:lnTo>
                    <a:pt x="423" y="52"/>
                  </a:lnTo>
                  <a:lnTo>
                    <a:pt x="427" y="52"/>
                  </a:lnTo>
                  <a:lnTo>
                    <a:pt x="431" y="52"/>
                  </a:lnTo>
                  <a:lnTo>
                    <a:pt x="431" y="48"/>
                  </a:lnTo>
                  <a:lnTo>
                    <a:pt x="427" y="48"/>
                  </a:lnTo>
                  <a:lnTo>
                    <a:pt x="427" y="44"/>
                  </a:lnTo>
                  <a:lnTo>
                    <a:pt x="431" y="44"/>
                  </a:lnTo>
                  <a:lnTo>
                    <a:pt x="435" y="44"/>
                  </a:lnTo>
                  <a:lnTo>
                    <a:pt x="439" y="44"/>
                  </a:lnTo>
                  <a:lnTo>
                    <a:pt x="443" y="44"/>
                  </a:lnTo>
                  <a:lnTo>
                    <a:pt x="447" y="44"/>
                  </a:lnTo>
                  <a:lnTo>
                    <a:pt x="451" y="44"/>
                  </a:lnTo>
                  <a:lnTo>
                    <a:pt x="455" y="44"/>
                  </a:lnTo>
                  <a:lnTo>
                    <a:pt x="459" y="44"/>
                  </a:lnTo>
                  <a:lnTo>
                    <a:pt x="463" y="44"/>
                  </a:lnTo>
                  <a:lnTo>
                    <a:pt x="459" y="44"/>
                  </a:lnTo>
                  <a:lnTo>
                    <a:pt x="455" y="44"/>
                  </a:lnTo>
                  <a:lnTo>
                    <a:pt x="451" y="44"/>
                  </a:lnTo>
                  <a:lnTo>
                    <a:pt x="447" y="44"/>
                  </a:lnTo>
                  <a:lnTo>
                    <a:pt x="443" y="44"/>
                  </a:lnTo>
                  <a:lnTo>
                    <a:pt x="443" y="40"/>
                  </a:lnTo>
                  <a:lnTo>
                    <a:pt x="439" y="40"/>
                  </a:lnTo>
                  <a:lnTo>
                    <a:pt x="443" y="40"/>
                  </a:lnTo>
                  <a:lnTo>
                    <a:pt x="439" y="40"/>
                  </a:lnTo>
                  <a:lnTo>
                    <a:pt x="435" y="36"/>
                  </a:lnTo>
                  <a:lnTo>
                    <a:pt x="431" y="36"/>
                  </a:lnTo>
                  <a:lnTo>
                    <a:pt x="427" y="36"/>
                  </a:lnTo>
                  <a:lnTo>
                    <a:pt x="427" y="32"/>
                  </a:lnTo>
                  <a:lnTo>
                    <a:pt x="423" y="32"/>
                  </a:lnTo>
                  <a:lnTo>
                    <a:pt x="419" y="32"/>
                  </a:lnTo>
                  <a:lnTo>
                    <a:pt x="415" y="28"/>
                  </a:lnTo>
                  <a:lnTo>
                    <a:pt x="411" y="28"/>
                  </a:lnTo>
                  <a:lnTo>
                    <a:pt x="415" y="28"/>
                  </a:lnTo>
                  <a:lnTo>
                    <a:pt x="419" y="28"/>
                  </a:lnTo>
                  <a:lnTo>
                    <a:pt x="423" y="28"/>
                  </a:lnTo>
                  <a:lnTo>
                    <a:pt x="427" y="28"/>
                  </a:lnTo>
                  <a:lnTo>
                    <a:pt x="431" y="28"/>
                  </a:lnTo>
                  <a:lnTo>
                    <a:pt x="435" y="28"/>
                  </a:lnTo>
                  <a:lnTo>
                    <a:pt x="439" y="28"/>
                  </a:lnTo>
                  <a:lnTo>
                    <a:pt x="443" y="28"/>
                  </a:lnTo>
                  <a:lnTo>
                    <a:pt x="447" y="28"/>
                  </a:lnTo>
                  <a:lnTo>
                    <a:pt x="451" y="28"/>
                  </a:lnTo>
                  <a:lnTo>
                    <a:pt x="455" y="28"/>
                  </a:lnTo>
                  <a:lnTo>
                    <a:pt x="459" y="28"/>
                  </a:lnTo>
                  <a:lnTo>
                    <a:pt x="463" y="28"/>
                  </a:lnTo>
                  <a:lnTo>
                    <a:pt x="467" y="28"/>
                  </a:lnTo>
                  <a:lnTo>
                    <a:pt x="467" y="32"/>
                  </a:lnTo>
                  <a:lnTo>
                    <a:pt x="471" y="32"/>
                  </a:lnTo>
                  <a:lnTo>
                    <a:pt x="471" y="36"/>
                  </a:lnTo>
                  <a:lnTo>
                    <a:pt x="474" y="36"/>
                  </a:lnTo>
                  <a:lnTo>
                    <a:pt x="474" y="32"/>
                  </a:lnTo>
                  <a:lnTo>
                    <a:pt x="471" y="28"/>
                  </a:lnTo>
                  <a:lnTo>
                    <a:pt x="474" y="28"/>
                  </a:lnTo>
                  <a:lnTo>
                    <a:pt x="478" y="28"/>
                  </a:lnTo>
                  <a:lnTo>
                    <a:pt x="478" y="32"/>
                  </a:lnTo>
                  <a:lnTo>
                    <a:pt x="486" y="32"/>
                  </a:lnTo>
                  <a:lnTo>
                    <a:pt x="490" y="32"/>
                  </a:lnTo>
                  <a:lnTo>
                    <a:pt x="490" y="36"/>
                  </a:lnTo>
                  <a:lnTo>
                    <a:pt x="494" y="36"/>
                  </a:lnTo>
                  <a:lnTo>
                    <a:pt x="498" y="36"/>
                  </a:lnTo>
                  <a:lnTo>
                    <a:pt x="498" y="40"/>
                  </a:lnTo>
                  <a:lnTo>
                    <a:pt x="502" y="40"/>
                  </a:lnTo>
                  <a:lnTo>
                    <a:pt x="502" y="36"/>
                  </a:lnTo>
                  <a:lnTo>
                    <a:pt x="498" y="36"/>
                  </a:lnTo>
                  <a:lnTo>
                    <a:pt x="498" y="32"/>
                  </a:lnTo>
                  <a:lnTo>
                    <a:pt x="502" y="32"/>
                  </a:lnTo>
                  <a:lnTo>
                    <a:pt x="498" y="32"/>
                  </a:lnTo>
                  <a:lnTo>
                    <a:pt x="498" y="28"/>
                  </a:lnTo>
                  <a:lnTo>
                    <a:pt x="494" y="28"/>
                  </a:lnTo>
                  <a:lnTo>
                    <a:pt x="490" y="28"/>
                  </a:lnTo>
                  <a:lnTo>
                    <a:pt x="486" y="28"/>
                  </a:lnTo>
                  <a:lnTo>
                    <a:pt x="482" y="28"/>
                  </a:lnTo>
                  <a:lnTo>
                    <a:pt x="478" y="28"/>
                  </a:lnTo>
                  <a:lnTo>
                    <a:pt x="474" y="28"/>
                  </a:lnTo>
                  <a:lnTo>
                    <a:pt x="474" y="24"/>
                  </a:lnTo>
                  <a:lnTo>
                    <a:pt x="467" y="24"/>
                  </a:lnTo>
                  <a:lnTo>
                    <a:pt x="463" y="24"/>
                  </a:lnTo>
                  <a:lnTo>
                    <a:pt x="459" y="24"/>
                  </a:lnTo>
                  <a:lnTo>
                    <a:pt x="455" y="24"/>
                  </a:lnTo>
                  <a:lnTo>
                    <a:pt x="447" y="24"/>
                  </a:lnTo>
                  <a:lnTo>
                    <a:pt x="443" y="24"/>
                  </a:lnTo>
                  <a:lnTo>
                    <a:pt x="439" y="24"/>
                  </a:lnTo>
                  <a:lnTo>
                    <a:pt x="435" y="24"/>
                  </a:lnTo>
                  <a:lnTo>
                    <a:pt x="431" y="24"/>
                  </a:lnTo>
                  <a:lnTo>
                    <a:pt x="427" y="24"/>
                  </a:lnTo>
                  <a:lnTo>
                    <a:pt x="423" y="24"/>
                  </a:lnTo>
                  <a:lnTo>
                    <a:pt x="427" y="24"/>
                  </a:lnTo>
                  <a:lnTo>
                    <a:pt x="423" y="24"/>
                  </a:lnTo>
                  <a:lnTo>
                    <a:pt x="419" y="24"/>
                  </a:lnTo>
                  <a:lnTo>
                    <a:pt x="415" y="24"/>
                  </a:lnTo>
                  <a:lnTo>
                    <a:pt x="411" y="24"/>
                  </a:lnTo>
                  <a:lnTo>
                    <a:pt x="407" y="24"/>
                  </a:lnTo>
                  <a:lnTo>
                    <a:pt x="403" y="24"/>
                  </a:lnTo>
                  <a:lnTo>
                    <a:pt x="399" y="24"/>
                  </a:lnTo>
                  <a:lnTo>
                    <a:pt x="395" y="20"/>
                  </a:lnTo>
                  <a:lnTo>
                    <a:pt x="403" y="20"/>
                  </a:lnTo>
                  <a:lnTo>
                    <a:pt x="407" y="24"/>
                  </a:lnTo>
                  <a:lnTo>
                    <a:pt x="407" y="20"/>
                  </a:lnTo>
                  <a:lnTo>
                    <a:pt x="403" y="20"/>
                  </a:lnTo>
                  <a:lnTo>
                    <a:pt x="399" y="20"/>
                  </a:lnTo>
                  <a:lnTo>
                    <a:pt x="403" y="20"/>
                  </a:lnTo>
                  <a:lnTo>
                    <a:pt x="407" y="20"/>
                  </a:lnTo>
                  <a:lnTo>
                    <a:pt x="407" y="16"/>
                  </a:lnTo>
                  <a:lnTo>
                    <a:pt x="411" y="16"/>
                  </a:lnTo>
                  <a:lnTo>
                    <a:pt x="411" y="20"/>
                  </a:lnTo>
                  <a:lnTo>
                    <a:pt x="415" y="20"/>
                  </a:lnTo>
                  <a:lnTo>
                    <a:pt x="419" y="20"/>
                  </a:lnTo>
                  <a:lnTo>
                    <a:pt x="423" y="20"/>
                  </a:lnTo>
                  <a:lnTo>
                    <a:pt x="423" y="24"/>
                  </a:lnTo>
                  <a:lnTo>
                    <a:pt x="427" y="24"/>
                  </a:lnTo>
                  <a:lnTo>
                    <a:pt x="427" y="20"/>
                  </a:lnTo>
                  <a:lnTo>
                    <a:pt x="431" y="20"/>
                  </a:lnTo>
                  <a:lnTo>
                    <a:pt x="431" y="24"/>
                  </a:lnTo>
                  <a:lnTo>
                    <a:pt x="439" y="24"/>
                  </a:lnTo>
                  <a:lnTo>
                    <a:pt x="443" y="24"/>
                  </a:lnTo>
                  <a:lnTo>
                    <a:pt x="447" y="24"/>
                  </a:lnTo>
                  <a:lnTo>
                    <a:pt x="443" y="24"/>
                  </a:lnTo>
                  <a:lnTo>
                    <a:pt x="439" y="24"/>
                  </a:lnTo>
                  <a:lnTo>
                    <a:pt x="435" y="24"/>
                  </a:lnTo>
                  <a:lnTo>
                    <a:pt x="435" y="20"/>
                  </a:lnTo>
                  <a:lnTo>
                    <a:pt x="431" y="20"/>
                  </a:lnTo>
                  <a:lnTo>
                    <a:pt x="427" y="20"/>
                  </a:lnTo>
                  <a:lnTo>
                    <a:pt x="423" y="20"/>
                  </a:lnTo>
                  <a:lnTo>
                    <a:pt x="419" y="20"/>
                  </a:lnTo>
                  <a:lnTo>
                    <a:pt x="415" y="16"/>
                  </a:lnTo>
                  <a:lnTo>
                    <a:pt x="419" y="16"/>
                  </a:lnTo>
                  <a:lnTo>
                    <a:pt x="423" y="16"/>
                  </a:lnTo>
                  <a:lnTo>
                    <a:pt x="427" y="16"/>
                  </a:lnTo>
                  <a:lnTo>
                    <a:pt x="431" y="16"/>
                  </a:lnTo>
                  <a:lnTo>
                    <a:pt x="435" y="16"/>
                  </a:lnTo>
                  <a:lnTo>
                    <a:pt x="439" y="16"/>
                  </a:lnTo>
                  <a:lnTo>
                    <a:pt x="443" y="16"/>
                  </a:lnTo>
                  <a:lnTo>
                    <a:pt x="447" y="16"/>
                  </a:lnTo>
                  <a:lnTo>
                    <a:pt x="451" y="16"/>
                  </a:lnTo>
                  <a:lnTo>
                    <a:pt x="455" y="16"/>
                  </a:lnTo>
                  <a:lnTo>
                    <a:pt x="451" y="16"/>
                  </a:lnTo>
                  <a:lnTo>
                    <a:pt x="447" y="16"/>
                  </a:lnTo>
                  <a:lnTo>
                    <a:pt x="443" y="16"/>
                  </a:lnTo>
                  <a:lnTo>
                    <a:pt x="439" y="16"/>
                  </a:lnTo>
                  <a:lnTo>
                    <a:pt x="439" y="12"/>
                  </a:lnTo>
                  <a:lnTo>
                    <a:pt x="443" y="12"/>
                  </a:lnTo>
                  <a:lnTo>
                    <a:pt x="447" y="12"/>
                  </a:lnTo>
                  <a:lnTo>
                    <a:pt x="451" y="12"/>
                  </a:lnTo>
                  <a:lnTo>
                    <a:pt x="455" y="12"/>
                  </a:lnTo>
                  <a:lnTo>
                    <a:pt x="451" y="12"/>
                  </a:lnTo>
                  <a:lnTo>
                    <a:pt x="455" y="12"/>
                  </a:lnTo>
                  <a:lnTo>
                    <a:pt x="459" y="12"/>
                  </a:lnTo>
                  <a:lnTo>
                    <a:pt x="463" y="12"/>
                  </a:lnTo>
                  <a:lnTo>
                    <a:pt x="467" y="12"/>
                  </a:lnTo>
                  <a:lnTo>
                    <a:pt x="471" y="12"/>
                  </a:lnTo>
                  <a:lnTo>
                    <a:pt x="474" y="16"/>
                  </a:lnTo>
                  <a:lnTo>
                    <a:pt x="471" y="16"/>
                  </a:lnTo>
                  <a:lnTo>
                    <a:pt x="474" y="16"/>
                  </a:lnTo>
                  <a:lnTo>
                    <a:pt x="478" y="16"/>
                  </a:lnTo>
                  <a:lnTo>
                    <a:pt x="482" y="16"/>
                  </a:lnTo>
                  <a:lnTo>
                    <a:pt x="482" y="20"/>
                  </a:lnTo>
                  <a:lnTo>
                    <a:pt x="486" y="20"/>
                  </a:lnTo>
                  <a:lnTo>
                    <a:pt x="490" y="20"/>
                  </a:lnTo>
                  <a:lnTo>
                    <a:pt x="498" y="20"/>
                  </a:lnTo>
                  <a:lnTo>
                    <a:pt x="502" y="20"/>
                  </a:lnTo>
                  <a:lnTo>
                    <a:pt x="506" y="20"/>
                  </a:lnTo>
                  <a:lnTo>
                    <a:pt x="514" y="24"/>
                  </a:lnTo>
                  <a:lnTo>
                    <a:pt x="514" y="28"/>
                  </a:lnTo>
                  <a:lnTo>
                    <a:pt x="518" y="28"/>
                  </a:lnTo>
                  <a:lnTo>
                    <a:pt x="522" y="28"/>
                  </a:lnTo>
                  <a:lnTo>
                    <a:pt x="518" y="28"/>
                  </a:lnTo>
                  <a:lnTo>
                    <a:pt x="518" y="24"/>
                  </a:lnTo>
                  <a:lnTo>
                    <a:pt x="514" y="24"/>
                  </a:lnTo>
                  <a:lnTo>
                    <a:pt x="510" y="20"/>
                  </a:lnTo>
                  <a:lnTo>
                    <a:pt x="514" y="20"/>
                  </a:lnTo>
                  <a:lnTo>
                    <a:pt x="518" y="20"/>
                  </a:lnTo>
                  <a:lnTo>
                    <a:pt x="522" y="20"/>
                  </a:lnTo>
                  <a:lnTo>
                    <a:pt x="526" y="20"/>
                  </a:lnTo>
                  <a:lnTo>
                    <a:pt x="534" y="20"/>
                  </a:lnTo>
                  <a:lnTo>
                    <a:pt x="538" y="20"/>
                  </a:lnTo>
                  <a:lnTo>
                    <a:pt x="542" y="20"/>
                  </a:lnTo>
                  <a:lnTo>
                    <a:pt x="538" y="20"/>
                  </a:lnTo>
                  <a:lnTo>
                    <a:pt x="534" y="20"/>
                  </a:lnTo>
                  <a:lnTo>
                    <a:pt x="526" y="20"/>
                  </a:lnTo>
                  <a:lnTo>
                    <a:pt x="522" y="20"/>
                  </a:lnTo>
                  <a:lnTo>
                    <a:pt x="518" y="20"/>
                  </a:lnTo>
                  <a:lnTo>
                    <a:pt x="518" y="16"/>
                  </a:lnTo>
                  <a:lnTo>
                    <a:pt x="522" y="16"/>
                  </a:lnTo>
                  <a:lnTo>
                    <a:pt x="526" y="16"/>
                  </a:lnTo>
                  <a:lnTo>
                    <a:pt x="530" y="16"/>
                  </a:lnTo>
                  <a:lnTo>
                    <a:pt x="534" y="16"/>
                  </a:lnTo>
                  <a:lnTo>
                    <a:pt x="538" y="16"/>
                  </a:lnTo>
                  <a:lnTo>
                    <a:pt x="542" y="16"/>
                  </a:lnTo>
                  <a:lnTo>
                    <a:pt x="546" y="16"/>
                  </a:lnTo>
                  <a:lnTo>
                    <a:pt x="542" y="16"/>
                  </a:lnTo>
                  <a:lnTo>
                    <a:pt x="538" y="16"/>
                  </a:lnTo>
                  <a:lnTo>
                    <a:pt x="534" y="16"/>
                  </a:lnTo>
                  <a:lnTo>
                    <a:pt x="530" y="12"/>
                  </a:lnTo>
                  <a:lnTo>
                    <a:pt x="526" y="12"/>
                  </a:lnTo>
                  <a:lnTo>
                    <a:pt x="522" y="12"/>
                  </a:lnTo>
                  <a:lnTo>
                    <a:pt x="518" y="12"/>
                  </a:lnTo>
                  <a:lnTo>
                    <a:pt x="518" y="8"/>
                  </a:lnTo>
                  <a:lnTo>
                    <a:pt x="522" y="8"/>
                  </a:lnTo>
                  <a:lnTo>
                    <a:pt x="526" y="8"/>
                  </a:lnTo>
                  <a:lnTo>
                    <a:pt x="530" y="8"/>
                  </a:lnTo>
                  <a:lnTo>
                    <a:pt x="534" y="8"/>
                  </a:lnTo>
                  <a:lnTo>
                    <a:pt x="530" y="8"/>
                  </a:lnTo>
                  <a:lnTo>
                    <a:pt x="530" y="4"/>
                  </a:lnTo>
                  <a:lnTo>
                    <a:pt x="534" y="4"/>
                  </a:lnTo>
                  <a:lnTo>
                    <a:pt x="538" y="4"/>
                  </a:lnTo>
                  <a:lnTo>
                    <a:pt x="542" y="4"/>
                  </a:lnTo>
                  <a:lnTo>
                    <a:pt x="546" y="8"/>
                  </a:lnTo>
                  <a:lnTo>
                    <a:pt x="550" y="8"/>
                  </a:lnTo>
                  <a:lnTo>
                    <a:pt x="554" y="8"/>
                  </a:lnTo>
                  <a:lnTo>
                    <a:pt x="550" y="8"/>
                  </a:lnTo>
                  <a:lnTo>
                    <a:pt x="550" y="4"/>
                  </a:lnTo>
                  <a:lnTo>
                    <a:pt x="546" y="4"/>
                  </a:lnTo>
                  <a:lnTo>
                    <a:pt x="550" y="4"/>
                  </a:lnTo>
                  <a:lnTo>
                    <a:pt x="554" y="4"/>
                  </a:lnTo>
                  <a:lnTo>
                    <a:pt x="558" y="4"/>
                  </a:lnTo>
                  <a:lnTo>
                    <a:pt x="562" y="4"/>
                  </a:lnTo>
                  <a:lnTo>
                    <a:pt x="566" y="4"/>
                  </a:lnTo>
                  <a:lnTo>
                    <a:pt x="570" y="4"/>
                  </a:lnTo>
                  <a:lnTo>
                    <a:pt x="574" y="0"/>
                  </a:lnTo>
                  <a:lnTo>
                    <a:pt x="578" y="0"/>
                  </a:lnTo>
                  <a:lnTo>
                    <a:pt x="582" y="0"/>
                  </a:lnTo>
                  <a:lnTo>
                    <a:pt x="582" y="4"/>
                  </a:lnTo>
                  <a:lnTo>
                    <a:pt x="582" y="0"/>
                  </a:lnTo>
                  <a:lnTo>
                    <a:pt x="586" y="0"/>
                  </a:lnTo>
                  <a:lnTo>
                    <a:pt x="586" y="4"/>
                  </a:lnTo>
                  <a:lnTo>
                    <a:pt x="590" y="4"/>
                  </a:lnTo>
                  <a:lnTo>
                    <a:pt x="594" y="4"/>
                  </a:lnTo>
                  <a:lnTo>
                    <a:pt x="590" y="4"/>
                  </a:lnTo>
                  <a:lnTo>
                    <a:pt x="590" y="0"/>
                  </a:lnTo>
                  <a:lnTo>
                    <a:pt x="594" y="0"/>
                  </a:lnTo>
                  <a:lnTo>
                    <a:pt x="598" y="0"/>
                  </a:lnTo>
                  <a:lnTo>
                    <a:pt x="602" y="0"/>
                  </a:lnTo>
                  <a:lnTo>
                    <a:pt x="606" y="0"/>
                  </a:lnTo>
                  <a:lnTo>
                    <a:pt x="610" y="0"/>
                  </a:lnTo>
                  <a:lnTo>
                    <a:pt x="614" y="0"/>
                  </a:lnTo>
                  <a:lnTo>
                    <a:pt x="618" y="0"/>
                  </a:lnTo>
                  <a:lnTo>
                    <a:pt x="614" y="0"/>
                  </a:lnTo>
                  <a:lnTo>
                    <a:pt x="618" y="0"/>
                  </a:lnTo>
                  <a:lnTo>
                    <a:pt x="622" y="0"/>
                  </a:lnTo>
                  <a:lnTo>
                    <a:pt x="626" y="0"/>
                  </a:lnTo>
                  <a:lnTo>
                    <a:pt x="630" y="0"/>
                  </a:lnTo>
                  <a:lnTo>
                    <a:pt x="634" y="0"/>
                  </a:lnTo>
                  <a:lnTo>
                    <a:pt x="638" y="0"/>
                  </a:lnTo>
                  <a:lnTo>
                    <a:pt x="642" y="0"/>
                  </a:lnTo>
                  <a:lnTo>
                    <a:pt x="646" y="0"/>
                  </a:lnTo>
                  <a:lnTo>
                    <a:pt x="654" y="0"/>
                  </a:lnTo>
                  <a:lnTo>
                    <a:pt x="658" y="4"/>
                  </a:lnTo>
                  <a:lnTo>
                    <a:pt x="662" y="4"/>
                  </a:lnTo>
                  <a:lnTo>
                    <a:pt x="666" y="4"/>
                  </a:lnTo>
                  <a:lnTo>
                    <a:pt x="670" y="4"/>
                  </a:lnTo>
                  <a:lnTo>
                    <a:pt x="674" y="4"/>
                  </a:lnTo>
                  <a:lnTo>
                    <a:pt x="670" y="4"/>
                  </a:lnTo>
                  <a:lnTo>
                    <a:pt x="666" y="4"/>
                  </a:lnTo>
                  <a:lnTo>
                    <a:pt x="670" y="8"/>
                  </a:lnTo>
                  <a:lnTo>
                    <a:pt x="674" y="8"/>
                  </a:lnTo>
                  <a:lnTo>
                    <a:pt x="678" y="8"/>
                  </a:lnTo>
                  <a:lnTo>
                    <a:pt x="674" y="4"/>
                  </a:lnTo>
                  <a:lnTo>
                    <a:pt x="678" y="4"/>
                  </a:lnTo>
                  <a:lnTo>
                    <a:pt x="682" y="4"/>
                  </a:lnTo>
                  <a:lnTo>
                    <a:pt x="686" y="4"/>
                  </a:lnTo>
                  <a:lnTo>
                    <a:pt x="690" y="4"/>
                  </a:lnTo>
                  <a:lnTo>
                    <a:pt x="694" y="4"/>
                  </a:lnTo>
                  <a:lnTo>
                    <a:pt x="698" y="8"/>
                  </a:lnTo>
                  <a:lnTo>
                    <a:pt x="706" y="8"/>
                  </a:lnTo>
                  <a:lnTo>
                    <a:pt x="710" y="8"/>
                  </a:lnTo>
                  <a:lnTo>
                    <a:pt x="714" y="8"/>
                  </a:lnTo>
                  <a:lnTo>
                    <a:pt x="718" y="12"/>
                  </a:lnTo>
                  <a:lnTo>
                    <a:pt x="714" y="12"/>
                  </a:lnTo>
                  <a:lnTo>
                    <a:pt x="710" y="12"/>
                  </a:lnTo>
                  <a:lnTo>
                    <a:pt x="706" y="12"/>
                  </a:lnTo>
                  <a:lnTo>
                    <a:pt x="702" y="16"/>
                  </a:lnTo>
                  <a:lnTo>
                    <a:pt x="698" y="16"/>
                  </a:lnTo>
                  <a:lnTo>
                    <a:pt x="694" y="16"/>
                  </a:lnTo>
                  <a:lnTo>
                    <a:pt x="690" y="16"/>
                  </a:lnTo>
                  <a:lnTo>
                    <a:pt x="686" y="16"/>
                  </a:lnTo>
                  <a:lnTo>
                    <a:pt x="682" y="16"/>
                  </a:lnTo>
                  <a:lnTo>
                    <a:pt x="678" y="16"/>
                  </a:lnTo>
                  <a:lnTo>
                    <a:pt x="674" y="16"/>
                  </a:lnTo>
                  <a:lnTo>
                    <a:pt x="670" y="16"/>
                  </a:lnTo>
                  <a:lnTo>
                    <a:pt x="662" y="16"/>
                  </a:lnTo>
                  <a:lnTo>
                    <a:pt x="658" y="16"/>
                  </a:lnTo>
                  <a:lnTo>
                    <a:pt x="654" y="16"/>
                  </a:lnTo>
                  <a:lnTo>
                    <a:pt x="650" y="16"/>
                  </a:lnTo>
                  <a:lnTo>
                    <a:pt x="646" y="16"/>
                  </a:lnTo>
                  <a:lnTo>
                    <a:pt x="642" y="16"/>
                  </a:lnTo>
                  <a:lnTo>
                    <a:pt x="638" y="16"/>
                  </a:lnTo>
                  <a:lnTo>
                    <a:pt x="634" y="16"/>
                  </a:lnTo>
                  <a:lnTo>
                    <a:pt x="630" y="16"/>
                  </a:lnTo>
                  <a:lnTo>
                    <a:pt x="626" y="16"/>
                  </a:lnTo>
                  <a:lnTo>
                    <a:pt x="626" y="20"/>
                  </a:lnTo>
                  <a:lnTo>
                    <a:pt x="622" y="20"/>
                  </a:lnTo>
                  <a:lnTo>
                    <a:pt x="618" y="20"/>
                  </a:lnTo>
                  <a:lnTo>
                    <a:pt x="614" y="16"/>
                  </a:lnTo>
                  <a:lnTo>
                    <a:pt x="610" y="16"/>
                  </a:lnTo>
                  <a:lnTo>
                    <a:pt x="602" y="16"/>
                  </a:lnTo>
                  <a:lnTo>
                    <a:pt x="598" y="16"/>
                  </a:lnTo>
                  <a:lnTo>
                    <a:pt x="602" y="16"/>
                  </a:lnTo>
                  <a:lnTo>
                    <a:pt x="606" y="16"/>
                  </a:lnTo>
                  <a:lnTo>
                    <a:pt x="610" y="16"/>
                  </a:lnTo>
                  <a:lnTo>
                    <a:pt x="614" y="20"/>
                  </a:lnTo>
                  <a:lnTo>
                    <a:pt x="610" y="20"/>
                  </a:lnTo>
                  <a:lnTo>
                    <a:pt x="606" y="20"/>
                  </a:lnTo>
                  <a:lnTo>
                    <a:pt x="602" y="20"/>
                  </a:lnTo>
                  <a:lnTo>
                    <a:pt x="598" y="20"/>
                  </a:lnTo>
                  <a:lnTo>
                    <a:pt x="594" y="20"/>
                  </a:lnTo>
                  <a:lnTo>
                    <a:pt x="590" y="24"/>
                  </a:lnTo>
                  <a:lnTo>
                    <a:pt x="586" y="24"/>
                  </a:lnTo>
                  <a:lnTo>
                    <a:pt x="582" y="24"/>
                  </a:lnTo>
                  <a:lnTo>
                    <a:pt x="578" y="24"/>
                  </a:lnTo>
                  <a:lnTo>
                    <a:pt x="574" y="24"/>
                  </a:lnTo>
                  <a:lnTo>
                    <a:pt x="570" y="24"/>
                  </a:lnTo>
                  <a:lnTo>
                    <a:pt x="566" y="24"/>
                  </a:lnTo>
                  <a:lnTo>
                    <a:pt x="570" y="24"/>
                  </a:lnTo>
                  <a:lnTo>
                    <a:pt x="566" y="28"/>
                  </a:lnTo>
                  <a:lnTo>
                    <a:pt x="570" y="28"/>
                  </a:lnTo>
                  <a:lnTo>
                    <a:pt x="570" y="24"/>
                  </a:lnTo>
                  <a:lnTo>
                    <a:pt x="574" y="24"/>
                  </a:lnTo>
                  <a:lnTo>
                    <a:pt x="578" y="24"/>
                  </a:lnTo>
                  <a:lnTo>
                    <a:pt x="582" y="24"/>
                  </a:lnTo>
                  <a:lnTo>
                    <a:pt x="586" y="24"/>
                  </a:lnTo>
                  <a:lnTo>
                    <a:pt x="590" y="24"/>
                  </a:lnTo>
                  <a:lnTo>
                    <a:pt x="594" y="24"/>
                  </a:lnTo>
                  <a:lnTo>
                    <a:pt x="594" y="28"/>
                  </a:lnTo>
                  <a:lnTo>
                    <a:pt x="590" y="28"/>
                  </a:lnTo>
                  <a:lnTo>
                    <a:pt x="594" y="28"/>
                  </a:lnTo>
                  <a:lnTo>
                    <a:pt x="594" y="24"/>
                  </a:lnTo>
                  <a:lnTo>
                    <a:pt x="598" y="24"/>
                  </a:lnTo>
                  <a:lnTo>
                    <a:pt x="598" y="20"/>
                  </a:lnTo>
                  <a:lnTo>
                    <a:pt x="602" y="20"/>
                  </a:lnTo>
                  <a:lnTo>
                    <a:pt x="606" y="20"/>
                  </a:lnTo>
                  <a:lnTo>
                    <a:pt x="614" y="20"/>
                  </a:lnTo>
                  <a:lnTo>
                    <a:pt x="618" y="20"/>
                  </a:lnTo>
                  <a:lnTo>
                    <a:pt x="622" y="20"/>
                  </a:lnTo>
                  <a:lnTo>
                    <a:pt x="626" y="20"/>
                  </a:lnTo>
                  <a:lnTo>
                    <a:pt x="626" y="24"/>
                  </a:lnTo>
                  <a:lnTo>
                    <a:pt x="626" y="20"/>
                  </a:lnTo>
                  <a:lnTo>
                    <a:pt x="630" y="20"/>
                  </a:lnTo>
                  <a:lnTo>
                    <a:pt x="634" y="20"/>
                  </a:lnTo>
                  <a:lnTo>
                    <a:pt x="638" y="20"/>
                  </a:lnTo>
                  <a:lnTo>
                    <a:pt x="638" y="16"/>
                  </a:lnTo>
                  <a:lnTo>
                    <a:pt x="642" y="16"/>
                  </a:lnTo>
                  <a:lnTo>
                    <a:pt x="646" y="16"/>
                  </a:lnTo>
                  <a:lnTo>
                    <a:pt x="650" y="16"/>
                  </a:lnTo>
                  <a:lnTo>
                    <a:pt x="654" y="16"/>
                  </a:lnTo>
                  <a:lnTo>
                    <a:pt x="658" y="16"/>
                  </a:lnTo>
                  <a:lnTo>
                    <a:pt x="662" y="16"/>
                  </a:lnTo>
                  <a:lnTo>
                    <a:pt x="666" y="16"/>
                  </a:lnTo>
                  <a:lnTo>
                    <a:pt x="670" y="16"/>
                  </a:lnTo>
                  <a:lnTo>
                    <a:pt x="674" y="16"/>
                  </a:lnTo>
                  <a:lnTo>
                    <a:pt x="678" y="20"/>
                  </a:lnTo>
                  <a:lnTo>
                    <a:pt x="682" y="20"/>
                  </a:lnTo>
                  <a:lnTo>
                    <a:pt x="682" y="16"/>
                  </a:lnTo>
                  <a:lnTo>
                    <a:pt x="686" y="20"/>
                  </a:lnTo>
                  <a:lnTo>
                    <a:pt x="694" y="20"/>
                  </a:lnTo>
                  <a:lnTo>
                    <a:pt x="702" y="20"/>
                  </a:lnTo>
                  <a:lnTo>
                    <a:pt x="702" y="16"/>
                  </a:lnTo>
                  <a:lnTo>
                    <a:pt x="706" y="16"/>
                  </a:lnTo>
                  <a:lnTo>
                    <a:pt x="710" y="16"/>
                  </a:lnTo>
                  <a:lnTo>
                    <a:pt x="714" y="16"/>
                  </a:lnTo>
                  <a:lnTo>
                    <a:pt x="718" y="16"/>
                  </a:lnTo>
                  <a:lnTo>
                    <a:pt x="722" y="16"/>
                  </a:lnTo>
                  <a:lnTo>
                    <a:pt x="726" y="16"/>
                  </a:lnTo>
                  <a:lnTo>
                    <a:pt x="730" y="16"/>
                  </a:lnTo>
                  <a:lnTo>
                    <a:pt x="726" y="16"/>
                  </a:lnTo>
                  <a:lnTo>
                    <a:pt x="726" y="20"/>
                  </a:lnTo>
                  <a:lnTo>
                    <a:pt x="730" y="20"/>
                  </a:lnTo>
                  <a:lnTo>
                    <a:pt x="726" y="24"/>
                  </a:lnTo>
                  <a:lnTo>
                    <a:pt x="722" y="24"/>
                  </a:lnTo>
                  <a:lnTo>
                    <a:pt x="718" y="28"/>
                  </a:lnTo>
                  <a:lnTo>
                    <a:pt x="714" y="28"/>
                  </a:lnTo>
                  <a:lnTo>
                    <a:pt x="718" y="28"/>
                  </a:lnTo>
                  <a:lnTo>
                    <a:pt x="722" y="28"/>
                  </a:lnTo>
                  <a:lnTo>
                    <a:pt x="726" y="28"/>
                  </a:lnTo>
                  <a:lnTo>
                    <a:pt x="726" y="24"/>
                  </a:lnTo>
                  <a:lnTo>
                    <a:pt x="730" y="24"/>
                  </a:lnTo>
                  <a:lnTo>
                    <a:pt x="734" y="24"/>
                  </a:lnTo>
                  <a:lnTo>
                    <a:pt x="738" y="24"/>
                  </a:lnTo>
                  <a:lnTo>
                    <a:pt x="742" y="24"/>
                  </a:lnTo>
                  <a:lnTo>
                    <a:pt x="746" y="24"/>
                  </a:lnTo>
                  <a:lnTo>
                    <a:pt x="742" y="24"/>
                  </a:lnTo>
                  <a:lnTo>
                    <a:pt x="742" y="28"/>
                  </a:lnTo>
                  <a:lnTo>
                    <a:pt x="746" y="28"/>
                  </a:lnTo>
                  <a:lnTo>
                    <a:pt x="746" y="24"/>
                  </a:lnTo>
                  <a:lnTo>
                    <a:pt x="750" y="24"/>
                  </a:lnTo>
                  <a:lnTo>
                    <a:pt x="754" y="24"/>
                  </a:lnTo>
                  <a:lnTo>
                    <a:pt x="754" y="28"/>
                  </a:lnTo>
                  <a:lnTo>
                    <a:pt x="758" y="28"/>
                  </a:lnTo>
                  <a:lnTo>
                    <a:pt x="762" y="28"/>
                  </a:lnTo>
                  <a:lnTo>
                    <a:pt x="766" y="28"/>
                  </a:lnTo>
                  <a:lnTo>
                    <a:pt x="770" y="28"/>
                  </a:lnTo>
                  <a:lnTo>
                    <a:pt x="774" y="32"/>
                  </a:lnTo>
                  <a:lnTo>
                    <a:pt x="778" y="32"/>
                  </a:lnTo>
                  <a:lnTo>
                    <a:pt x="782" y="32"/>
                  </a:lnTo>
                  <a:lnTo>
                    <a:pt x="782" y="36"/>
                  </a:lnTo>
                  <a:lnTo>
                    <a:pt x="774" y="36"/>
                  </a:lnTo>
                  <a:lnTo>
                    <a:pt x="770" y="36"/>
                  </a:lnTo>
                  <a:lnTo>
                    <a:pt x="770" y="40"/>
                  </a:lnTo>
                  <a:lnTo>
                    <a:pt x="766" y="40"/>
                  </a:lnTo>
                  <a:lnTo>
                    <a:pt x="770" y="40"/>
                  </a:lnTo>
                  <a:lnTo>
                    <a:pt x="766" y="40"/>
                  </a:lnTo>
                  <a:lnTo>
                    <a:pt x="766" y="44"/>
                  </a:lnTo>
                  <a:lnTo>
                    <a:pt x="762" y="44"/>
                  </a:lnTo>
                  <a:lnTo>
                    <a:pt x="758" y="44"/>
                  </a:lnTo>
                  <a:lnTo>
                    <a:pt x="754" y="44"/>
                  </a:lnTo>
                  <a:lnTo>
                    <a:pt x="750" y="44"/>
                  </a:lnTo>
                  <a:lnTo>
                    <a:pt x="746" y="44"/>
                  </a:lnTo>
                  <a:lnTo>
                    <a:pt x="738" y="44"/>
                  </a:lnTo>
                  <a:lnTo>
                    <a:pt x="734" y="44"/>
                  </a:lnTo>
                  <a:lnTo>
                    <a:pt x="734" y="48"/>
                  </a:lnTo>
                  <a:lnTo>
                    <a:pt x="730" y="48"/>
                  </a:lnTo>
                  <a:lnTo>
                    <a:pt x="726" y="48"/>
                  </a:lnTo>
                  <a:lnTo>
                    <a:pt x="722" y="48"/>
                  </a:lnTo>
                  <a:lnTo>
                    <a:pt x="714" y="48"/>
                  </a:lnTo>
                  <a:lnTo>
                    <a:pt x="710" y="48"/>
                  </a:lnTo>
                  <a:lnTo>
                    <a:pt x="702" y="48"/>
                  </a:lnTo>
                  <a:lnTo>
                    <a:pt x="698" y="48"/>
                  </a:lnTo>
                  <a:lnTo>
                    <a:pt x="694" y="48"/>
                  </a:lnTo>
                  <a:lnTo>
                    <a:pt x="690" y="48"/>
                  </a:lnTo>
                  <a:lnTo>
                    <a:pt x="686" y="48"/>
                  </a:lnTo>
                  <a:lnTo>
                    <a:pt x="682" y="48"/>
                  </a:lnTo>
                  <a:lnTo>
                    <a:pt x="678" y="48"/>
                  </a:lnTo>
                  <a:lnTo>
                    <a:pt x="674" y="48"/>
                  </a:lnTo>
                  <a:lnTo>
                    <a:pt x="670" y="48"/>
                  </a:lnTo>
                  <a:lnTo>
                    <a:pt x="666" y="48"/>
                  </a:lnTo>
                  <a:lnTo>
                    <a:pt x="662" y="48"/>
                  </a:lnTo>
                  <a:lnTo>
                    <a:pt x="658" y="48"/>
                  </a:lnTo>
                  <a:lnTo>
                    <a:pt x="654" y="48"/>
                  </a:lnTo>
                  <a:lnTo>
                    <a:pt x="650" y="48"/>
                  </a:lnTo>
                  <a:lnTo>
                    <a:pt x="646" y="48"/>
                  </a:lnTo>
                  <a:lnTo>
                    <a:pt x="642" y="48"/>
                  </a:lnTo>
                  <a:lnTo>
                    <a:pt x="638" y="48"/>
                  </a:lnTo>
                  <a:lnTo>
                    <a:pt x="634" y="48"/>
                  </a:lnTo>
                  <a:lnTo>
                    <a:pt x="630" y="48"/>
                  </a:lnTo>
                  <a:lnTo>
                    <a:pt x="626" y="48"/>
                  </a:lnTo>
                  <a:lnTo>
                    <a:pt x="630" y="48"/>
                  </a:lnTo>
                  <a:lnTo>
                    <a:pt x="634" y="48"/>
                  </a:lnTo>
                  <a:lnTo>
                    <a:pt x="642" y="48"/>
                  </a:lnTo>
                  <a:lnTo>
                    <a:pt x="650" y="48"/>
                  </a:lnTo>
                  <a:lnTo>
                    <a:pt x="654" y="48"/>
                  </a:lnTo>
                  <a:lnTo>
                    <a:pt x="650" y="48"/>
                  </a:lnTo>
                  <a:lnTo>
                    <a:pt x="646" y="52"/>
                  </a:lnTo>
                  <a:lnTo>
                    <a:pt x="642" y="52"/>
                  </a:lnTo>
                  <a:lnTo>
                    <a:pt x="638" y="52"/>
                  </a:lnTo>
                  <a:lnTo>
                    <a:pt x="634" y="52"/>
                  </a:lnTo>
                  <a:lnTo>
                    <a:pt x="630" y="52"/>
                  </a:lnTo>
                  <a:lnTo>
                    <a:pt x="626" y="56"/>
                  </a:lnTo>
                  <a:lnTo>
                    <a:pt x="622" y="56"/>
                  </a:lnTo>
                  <a:lnTo>
                    <a:pt x="618" y="56"/>
                  </a:lnTo>
                  <a:lnTo>
                    <a:pt x="614" y="56"/>
                  </a:lnTo>
                  <a:lnTo>
                    <a:pt x="610" y="56"/>
                  </a:lnTo>
                  <a:lnTo>
                    <a:pt x="606" y="56"/>
                  </a:lnTo>
                  <a:lnTo>
                    <a:pt x="606" y="60"/>
                  </a:lnTo>
                  <a:lnTo>
                    <a:pt x="602" y="60"/>
                  </a:lnTo>
                  <a:lnTo>
                    <a:pt x="606" y="64"/>
                  </a:lnTo>
                  <a:lnTo>
                    <a:pt x="610" y="64"/>
                  </a:lnTo>
                  <a:lnTo>
                    <a:pt x="614" y="64"/>
                  </a:lnTo>
                  <a:lnTo>
                    <a:pt x="614" y="60"/>
                  </a:lnTo>
                  <a:lnTo>
                    <a:pt x="622" y="60"/>
                  </a:lnTo>
                  <a:lnTo>
                    <a:pt x="626" y="60"/>
                  </a:lnTo>
                  <a:lnTo>
                    <a:pt x="630" y="56"/>
                  </a:lnTo>
                  <a:lnTo>
                    <a:pt x="634" y="56"/>
                  </a:lnTo>
                  <a:lnTo>
                    <a:pt x="638" y="56"/>
                  </a:lnTo>
                  <a:lnTo>
                    <a:pt x="642" y="56"/>
                  </a:lnTo>
                  <a:lnTo>
                    <a:pt x="646" y="56"/>
                  </a:lnTo>
                  <a:lnTo>
                    <a:pt x="654" y="56"/>
                  </a:lnTo>
                  <a:lnTo>
                    <a:pt x="658" y="56"/>
                  </a:lnTo>
                  <a:lnTo>
                    <a:pt x="666" y="52"/>
                  </a:lnTo>
                  <a:lnTo>
                    <a:pt x="670" y="52"/>
                  </a:lnTo>
                  <a:lnTo>
                    <a:pt x="674" y="52"/>
                  </a:lnTo>
                  <a:lnTo>
                    <a:pt x="682" y="52"/>
                  </a:lnTo>
                  <a:lnTo>
                    <a:pt x="686" y="52"/>
                  </a:lnTo>
                  <a:lnTo>
                    <a:pt x="690" y="52"/>
                  </a:lnTo>
                  <a:lnTo>
                    <a:pt x="694" y="52"/>
                  </a:lnTo>
                  <a:lnTo>
                    <a:pt x="698" y="52"/>
                  </a:lnTo>
                  <a:lnTo>
                    <a:pt x="702" y="52"/>
                  </a:lnTo>
                  <a:lnTo>
                    <a:pt x="706" y="52"/>
                  </a:lnTo>
                  <a:lnTo>
                    <a:pt x="710" y="52"/>
                  </a:lnTo>
                  <a:lnTo>
                    <a:pt x="718" y="52"/>
                  </a:lnTo>
                  <a:lnTo>
                    <a:pt x="722" y="52"/>
                  </a:lnTo>
                  <a:lnTo>
                    <a:pt x="722" y="60"/>
                  </a:lnTo>
                  <a:lnTo>
                    <a:pt x="718" y="60"/>
                  </a:lnTo>
                  <a:lnTo>
                    <a:pt x="714" y="64"/>
                  </a:lnTo>
                  <a:lnTo>
                    <a:pt x="710" y="64"/>
                  </a:lnTo>
                  <a:lnTo>
                    <a:pt x="706" y="64"/>
                  </a:lnTo>
                  <a:lnTo>
                    <a:pt x="702" y="64"/>
                  </a:lnTo>
                  <a:lnTo>
                    <a:pt x="702" y="68"/>
                  </a:lnTo>
                  <a:lnTo>
                    <a:pt x="698" y="68"/>
                  </a:lnTo>
                  <a:lnTo>
                    <a:pt x="694" y="68"/>
                  </a:lnTo>
                  <a:lnTo>
                    <a:pt x="690" y="68"/>
                  </a:lnTo>
                  <a:lnTo>
                    <a:pt x="686" y="68"/>
                  </a:lnTo>
                  <a:lnTo>
                    <a:pt x="690" y="72"/>
                  </a:lnTo>
                  <a:lnTo>
                    <a:pt x="694" y="72"/>
                  </a:lnTo>
                  <a:lnTo>
                    <a:pt x="690" y="72"/>
                  </a:lnTo>
                  <a:lnTo>
                    <a:pt x="686" y="72"/>
                  </a:lnTo>
                  <a:lnTo>
                    <a:pt x="690" y="72"/>
                  </a:lnTo>
                  <a:lnTo>
                    <a:pt x="694" y="72"/>
                  </a:lnTo>
                  <a:lnTo>
                    <a:pt x="698" y="72"/>
                  </a:lnTo>
                  <a:lnTo>
                    <a:pt x="702" y="72"/>
                  </a:lnTo>
                  <a:lnTo>
                    <a:pt x="702" y="68"/>
                  </a:lnTo>
                  <a:lnTo>
                    <a:pt x="706" y="68"/>
                  </a:lnTo>
                  <a:lnTo>
                    <a:pt x="710" y="68"/>
                  </a:lnTo>
                  <a:lnTo>
                    <a:pt x="718" y="64"/>
                  </a:lnTo>
                  <a:lnTo>
                    <a:pt x="722" y="64"/>
                  </a:lnTo>
                  <a:lnTo>
                    <a:pt x="726" y="64"/>
                  </a:lnTo>
                  <a:lnTo>
                    <a:pt x="730" y="64"/>
                  </a:lnTo>
                  <a:lnTo>
                    <a:pt x="734" y="60"/>
                  </a:lnTo>
                  <a:lnTo>
                    <a:pt x="738" y="64"/>
                  </a:lnTo>
                  <a:lnTo>
                    <a:pt x="738" y="60"/>
                  </a:lnTo>
                  <a:lnTo>
                    <a:pt x="742" y="60"/>
                  </a:lnTo>
                  <a:lnTo>
                    <a:pt x="738" y="60"/>
                  </a:lnTo>
                  <a:lnTo>
                    <a:pt x="738" y="56"/>
                  </a:lnTo>
                  <a:lnTo>
                    <a:pt x="742" y="52"/>
                  </a:lnTo>
                  <a:lnTo>
                    <a:pt x="746" y="52"/>
                  </a:lnTo>
                  <a:lnTo>
                    <a:pt x="750" y="52"/>
                  </a:lnTo>
                  <a:lnTo>
                    <a:pt x="754" y="52"/>
                  </a:lnTo>
                  <a:lnTo>
                    <a:pt x="758" y="52"/>
                  </a:lnTo>
                  <a:lnTo>
                    <a:pt x="762" y="52"/>
                  </a:lnTo>
                  <a:lnTo>
                    <a:pt x="766" y="52"/>
                  </a:lnTo>
                  <a:lnTo>
                    <a:pt x="770" y="52"/>
                  </a:lnTo>
                  <a:lnTo>
                    <a:pt x="770" y="56"/>
                  </a:lnTo>
                  <a:lnTo>
                    <a:pt x="774" y="60"/>
                  </a:lnTo>
                  <a:lnTo>
                    <a:pt x="770" y="68"/>
                  </a:lnTo>
                  <a:lnTo>
                    <a:pt x="766" y="72"/>
                  </a:lnTo>
                  <a:lnTo>
                    <a:pt x="766" y="76"/>
                  </a:lnTo>
                  <a:lnTo>
                    <a:pt x="762" y="76"/>
                  </a:lnTo>
                  <a:lnTo>
                    <a:pt x="758" y="76"/>
                  </a:lnTo>
                  <a:lnTo>
                    <a:pt x="762" y="76"/>
                  </a:lnTo>
                  <a:lnTo>
                    <a:pt x="758" y="80"/>
                  </a:lnTo>
                  <a:lnTo>
                    <a:pt x="754" y="80"/>
                  </a:lnTo>
                  <a:lnTo>
                    <a:pt x="750" y="84"/>
                  </a:lnTo>
                  <a:lnTo>
                    <a:pt x="746" y="84"/>
                  </a:lnTo>
                  <a:lnTo>
                    <a:pt x="742" y="88"/>
                  </a:lnTo>
                  <a:lnTo>
                    <a:pt x="746" y="88"/>
                  </a:lnTo>
                  <a:lnTo>
                    <a:pt x="746" y="92"/>
                  </a:lnTo>
                  <a:lnTo>
                    <a:pt x="742" y="92"/>
                  </a:lnTo>
                  <a:lnTo>
                    <a:pt x="738" y="92"/>
                  </a:lnTo>
                  <a:lnTo>
                    <a:pt x="734" y="96"/>
                  </a:lnTo>
                  <a:lnTo>
                    <a:pt x="738" y="96"/>
                  </a:lnTo>
                  <a:lnTo>
                    <a:pt x="742" y="96"/>
                  </a:lnTo>
                  <a:lnTo>
                    <a:pt x="738" y="96"/>
                  </a:lnTo>
                  <a:lnTo>
                    <a:pt x="734" y="100"/>
                  </a:lnTo>
                  <a:lnTo>
                    <a:pt x="738" y="100"/>
                  </a:lnTo>
                  <a:lnTo>
                    <a:pt x="738" y="96"/>
                  </a:lnTo>
                  <a:lnTo>
                    <a:pt x="742" y="96"/>
                  </a:lnTo>
                  <a:lnTo>
                    <a:pt x="746" y="96"/>
                  </a:lnTo>
                  <a:lnTo>
                    <a:pt x="746" y="92"/>
                  </a:lnTo>
                  <a:lnTo>
                    <a:pt x="750" y="92"/>
                  </a:lnTo>
                  <a:lnTo>
                    <a:pt x="750" y="88"/>
                  </a:lnTo>
                  <a:lnTo>
                    <a:pt x="754" y="88"/>
                  </a:lnTo>
                  <a:lnTo>
                    <a:pt x="758" y="88"/>
                  </a:lnTo>
                  <a:lnTo>
                    <a:pt x="762" y="84"/>
                  </a:lnTo>
                  <a:lnTo>
                    <a:pt x="766" y="80"/>
                  </a:lnTo>
                  <a:lnTo>
                    <a:pt x="770" y="80"/>
                  </a:lnTo>
                  <a:lnTo>
                    <a:pt x="770" y="76"/>
                  </a:lnTo>
                  <a:lnTo>
                    <a:pt x="774" y="76"/>
                  </a:lnTo>
                  <a:lnTo>
                    <a:pt x="778" y="76"/>
                  </a:lnTo>
                  <a:lnTo>
                    <a:pt x="782" y="72"/>
                  </a:lnTo>
                  <a:lnTo>
                    <a:pt x="786" y="68"/>
                  </a:lnTo>
                  <a:lnTo>
                    <a:pt x="790" y="68"/>
                  </a:lnTo>
                  <a:lnTo>
                    <a:pt x="794" y="64"/>
                  </a:lnTo>
                  <a:lnTo>
                    <a:pt x="798" y="64"/>
                  </a:lnTo>
                  <a:lnTo>
                    <a:pt x="802" y="64"/>
                  </a:lnTo>
                  <a:lnTo>
                    <a:pt x="798" y="64"/>
                  </a:lnTo>
                  <a:lnTo>
                    <a:pt x="798" y="68"/>
                  </a:lnTo>
                  <a:lnTo>
                    <a:pt x="798" y="72"/>
                  </a:lnTo>
                  <a:lnTo>
                    <a:pt x="802" y="72"/>
                  </a:lnTo>
                  <a:lnTo>
                    <a:pt x="802" y="68"/>
                  </a:lnTo>
                  <a:lnTo>
                    <a:pt x="810" y="68"/>
                  </a:lnTo>
                  <a:lnTo>
                    <a:pt x="814" y="68"/>
                  </a:lnTo>
                  <a:lnTo>
                    <a:pt x="818" y="68"/>
                  </a:lnTo>
                  <a:lnTo>
                    <a:pt x="822" y="68"/>
                  </a:lnTo>
                  <a:lnTo>
                    <a:pt x="825" y="68"/>
                  </a:lnTo>
                  <a:lnTo>
                    <a:pt x="825" y="72"/>
                  </a:lnTo>
                  <a:lnTo>
                    <a:pt x="829" y="72"/>
                  </a:lnTo>
                  <a:lnTo>
                    <a:pt x="833" y="68"/>
                  </a:lnTo>
                  <a:lnTo>
                    <a:pt x="837" y="68"/>
                  </a:lnTo>
                  <a:lnTo>
                    <a:pt x="837" y="64"/>
                  </a:lnTo>
                  <a:lnTo>
                    <a:pt x="833" y="64"/>
                  </a:lnTo>
                  <a:lnTo>
                    <a:pt x="833" y="60"/>
                  </a:lnTo>
                  <a:lnTo>
                    <a:pt x="837" y="60"/>
                  </a:lnTo>
                  <a:lnTo>
                    <a:pt x="837" y="64"/>
                  </a:lnTo>
                  <a:lnTo>
                    <a:pt x="841" y="64"/>
                  </a:lnTo>
                  <a:lnTo>
                    <a:pt x="841" y="60"/>
                  </a:lnTo>
                  <a:lnTo>
                    <a:pt x="837" y="60"/>
                  </a:lnTo>
                  <a:lnTo>
                    <a:pt x="837" y="56"/>
                  </a:lnTo>
                  <a:lnTo>
                    <a:pt x="841" y="56"/>
                  </a:lnTo>
                  <a:lnTo>
                    <a:pt x="841" y="60"/>
                  </a:lnTo>
                  <a:lnTo>
                    <a:pt x="841" y="56"/>
                  </a:lnTo>
                  <a:lnTo>
                    <a:pt x="845" y="56"/>
                  </a:lnTo>
                  <a:lnTo>
                    <a:pt x="849" y="56"/>
                  </a:lnTo>
                  <a:lnTo>
                    <a:pt x="853" y="56"/>
                  </a:lnTo>
                  <a:lnTo>
                    <a:pt x="857" y="56"/>
                  </a:lnTo>
                  <a:lnTo>
                    <a:pt x="861" y="56"/>
                  </a:lnTo>
                  <a:lnTo>
                    <a:pt x="865" y="56"/>
                  </a:lnTo>
                  <a:lnTo>
                    <a:pt x="869" y="56"/>
                  </a:lnTo>
                  <a:lnTo>
                    <a:pt x="873" y="56"/>
                  </a:lnTo>
                  <a:lnTo>
                    <a:pt x="877" y="56"/>
                  </a:lnTo>
                  <a:lnTo>
                    <a:pt x="881" y="56"/>
                  </a:lnTo>
                  <a:lnTo>
                    <a:pt x="885" y="56"/>
                  </a:lnTo>
                  <a:lnTo>
                    <a:pt x="889" y="56"/>
                  </a:lnTo>
                  <a:lnTo>
                    <a:pt x="893" y="56"/>
                  </a:lnTo>
                  <a:lnTo>
                    <a:pt x="893" y="60"/>
                  </a:lnTo>
                  <a:lnTo>
                    <a:pt x="897" y="60"/>
                  </a:lnTo>
                  <a:lnTo>
                    <a:pt x="901" y="60"/>
                  </a:lnTo>
                  <a:lnTo>
                    <a:pt x="905" y="60"/>
                  </a:lnTo>
                  <a:lnTo>
                    <a:pt x="909" y="60"/>
                  </a:lnTo>
                  <a:lnTo>
                    <a:pt x="913" y="60"/>
                  </a:lnTo>
                  <a:lnTo>
                    <a:pt x="913" y="64"/>
                  </a:lnTo>
                  <a:lnTo>
                    <a:pt x="917" y="64"/>
                  </a:lnTo>
                  <a:lnTo>
                    <a:pt x="921" y="64"/>
                  </a:lnTo>
                  <a:lnTo>
                    <a:pt x="917" y="68"/>
                  </a:lnTo>
                  <a:lnTo>
                    <a:pt x="913" y="68"/>
                  </a:lnTo>
                  <a:lnTo>
                    <a:pt x="913" y="72"/>
                  </a:lnTo>
                  <a:lnTo>
                    <a:pt x="909" y="72"/>
                  </a:lnTo>
                  <a:lnTo>
                    <a:pt x="905" y="72"/>
                  </a:lnTo>
                  <a:lnTo>
                    <a:pt x="905" y="76"/>
                  </a:lnTo>
                  <a:lnTo>
                    <a:pt x="901" y="76"/>
                  </a:lnTo>
                  <a:lnTo>
                    <a:pt x="897" y="76"/>
                  </a:lnTo>
                  <a:lnTo>
                    <a:pt x="893" y="80"/>
                  </a:lnTo>
                  <a:lnTo>
                    <a:pt x="889" y="80"/>
                  </a:lnTo>
                  <a:lnTo>
                    <a:pt x="885" y="80"/>
                  </a:lnTo>
                  <a:lnTo>
                    <a:pt x="881" y="80"/>
                  </a:lnTo>
                  <a:lnTo>
                    <a:pt x="877" y="80"/>
                  </a:lnTo>
                  <a:lnTo>
                    <a:pt x="877" y="84"/>
                  </a:lnTo>
                  <a:lnTo>
                    <a:pt x="881" y="84"/>
                  </a:lnTo>
                  <a:lnTo>
                    <a:pt x="881" y="88"/>
                  </a:lnTo>
                  <a:lnTo>
                    <a:pt x="877" y="88"/>
                  </a:lnTo>
                  <a:lnTo>
                    <a:pt x="873" y="88"/>
                  </a:lnTo>
                  <a:lnTo>
                    <a:pt x="869" y="88"/>
                  </a:lnTo>
                  <a:lnTo>
                    <a:pt x="865" y="92"/>
                  </a:lnTo>
                  <a:lnTo>
                    <a:pt x="861" y="92"/>
                  </a:lnTo>
                  <a:lnTo>
                    <a:pt x="857" y="92"/>
                  </a:lnTo>
                  <a:lnTo>
                    <a:pt x="853" y="92"/>
                  </a:lnTo>
                  <a:lnTo>
                    <a:pt x="849" y="92"/>
                  </a:lnTo>
                  <a:lnTo>
                    <a:pt x="845" y="92"/>
                  </a:lnTo>
                  <a:lnTo>
                    <a:pt x="841" y="92"/>
                  </a:lnTo>
                  <a:lnTo>
                    <a:pt x="837" y="92"/>
                  </a:lnTo>
                  <a:lnTo>
                    <a:pt x="833" y="92"/>
                  </a:lnTo>
                  <a:lnTo>
                    <a:pt x="829" y="92"/>
                  </a:lnTo>
                  <a:lnTo>
                    <a:pt x="829" y="96"/>
                  </a:lnTo>
                  <a:lnTo>
                    <a:pt x="825" y="96"/>
                  </a:lnTo>
                  <a:lnTo>
                    <a:pt x="822" y="96"/>
                  </a:lnTo>
                  <a:lnTo>
                    <a:pt x="818" y="96"/>
                  </a:lnTo>
                  <a:lnTo>
                    <a:pt x="814" y="96"/>
                  </a:lnTo>
                  <a:lnTo>
                    <a:pt x="810" y="96"/>
                  </a:lnTo>
                  <a:lnTo>
                    <a:pt x="806" y="96"/>
                  </a:lnTo>
                  <a:lnTo>
                    <a:pt x="802" y="96"/>
                  </a:lnTo>
                  <a:lnTo>
                    <a:pt x="798" y="96"/>
                  </a:lnTo>
                  <a:lnTo>
                    <a:pt x="794" y="96"/>
                  </a:lnTo>
                  <a:lnTo>
                    <a:pt x="790" y="100"/>
                  </a:lnTo>
                  <a:lnTo>
                    <a:pt x="786" y="100"/>
                  </a:lnTo>
                  <a:lnTo>
                    <a:pt x="786" y="96"/>
                  </a:lnTo>
                  <a:lnTo>
                    <a:pt x="782" y="96"/>
                  </a:lnTo>
                  <a:lnTo>
                    <a:pt x="782" y="100"/>
                  </a:lnTo>
                  <a:lnTo>
                    <a:pt x="786" y="100"/>
                  </a:lnTo>
                  <a:lnTo>
                    <a:pt x="790" y="100"/>
                  </a:lnTo>
                  <a:lnTo>
                    <a:pt x="794" y="100"/>
                  </a:lnTo>
                  <a:lnTo>
                    <a:pt x="798" y="100"/>
                  </a:lnTo>
                  <a:lnTo>
                    <a:pt x="798" y="96"/>
                  </a:lnTo>
                  <a:lnTo>
                    <a:pt x="802" y="96"/>
                  </a:lnTo>
                  <a:lnTo>
                    <a:pt x="806" y="96"/>
                  </a:lnTo>
                  <a:lnTo>
                    <a:pt x="810" y="96"/>
                  </a:lnTo>
                  <a:lnTo>
                    <a:pt x="814" y="96"/>
                  </a:lnTo>
                  <a:lnTo>
                    <a:pt x="818" y="96"/>
                  </a:lnTo>
                  <a:lnTo>
                    <a:pt x="822" y="100"/>
                  </a:lnTo>
                  <a:lnTo>
                    <a:pt x="825" y="100"/>
                  </a:lnTo>
                  <a:lnTo>
                    <a:pt x="829" y="100"/>
                  </a:lnTo>
                  <a:lnTo>
                    <a:pt x="833" y="100"/>
                  </a:lnTo>
                  <a:lnTo>
                    <a:pt x="837" y="96"/>
                  </a:lnTo>
                  <a:lnTo>
                    <a:pt x="841" y="96"/>
                  </a:lnTo>
                  <a:lnTo>
                    <a:pt x="845" y="96"/>
                  </a:lnTo>
                  <a:lnTo>
                    <a:pt x="845" y="100"/>
                  </a:lnTo>
                  <a:lnTo>
                    <a:pt x="849" y="100"/>
                  </a:lnTo>
                  <a:lnTo>
                    <a:pt x="853" y="100"/>
                  </a:lnTo>
                  <a:lnTo>
                    <a:pt x="857" y="100"/>
                  </a:lnTo>
                  <a:lnTo>
                    <a:pt x="861" y="100"/>
                  </a:lnTo>
                  <a:lnTo>
                    <a:pt x="857" y="100"/>
                  </a:lnTo>
                  <a:lnTo>
                    <a:pt x="857" y="104"/>
                  </a:lnTo>
                  <a:lnTo>
                    <a:pt x="853" y="104"/>
                  </a:lnTo>
                  <a:lnTo>
                    <a:pt x="849" y="104"/>
                  </a:lnTo>
                  <a:lnTo>
                    <a:pt x="853" y="104"/>
                  </a:lnTo>
                  <a:lnTo>
                    <a:pt x="849" y="108"/>
                  </a:lnTo>
                  <a:lnTo>
                    <a:pt x="845" y="108"/>
                  </a:lnTo>
                  <a:lnTo>
                    <a:pt x="841" y="108"/>
                  </a:lnTo>
                  <a:lnTo>
                    <a:pt x="837" y="108"/>
                  </a:lnTo>
                  <a:lnTo>
                    <a:pt x="833" y="108"/>
                  </a:lnTo>
                  <a:lnTo>
                    <a:pt x="829" y="108"/>
                  </a:lnTo>
                  <a:lnTo>
                    <a:pt x="825" y="108"/>
                  </a:lnTo>
                  <a:lnTo>
                    <a:pt x="822" y="108"/>
                  </a:lnTo>
                  <a:lnTo>
                    <a:pt x="818" y="108"/>
                  </a:lnTo>
                  <a:lnTo>
                    <a:pt x="814" y="108"/>
                  </a:lnTo>
                  <a:lnTo>
                    <a:pt x="810" y="108"/>
                  </a:lnTo>
                  <a:lnTo>
                    <a:pt x="806" y="108"/>
                  </a:lnTo>
                  <a:lnTo>
                    <a:pt x="802" y="108"/>
                  </a:lnTo>
                  <a:lnTo>
                    <a:pt x="802" y="112"/>
                  </a:lnTo>
                  <a:lnTo>
                    <a:pt x="798" y="112"/>
                  </a:lnTo>
                  <a:lnTo>
                    <a:pt x="794" y="112"/>
                  </a:lnTo>
                  <a:lnTo>
                    <a:pt x="798" y="112"/>
                  </a:lnTo>
                  <a:lnTo>
                    <a:pt x="794" y="116"/>
                  </a:lnTo>
                  <a:lnTo>
                    <a:pt x="790" y="120"/>
                  </a:lnTo>
                  <a:lnTo>
                    <a:pt x="794" y="120"/>
                  </a:lnTo>
                  <a:lnTo>
                    <a:pt x="798" y="120"/>
                  </a:lnTo>
                  <a:lnTo>
                    <a:pt x="798" y="124"/>
                  </a:lnTo>
                  <a:lnTo>
                    <a:pt x="802" y="124"/>
                  </a:lnTo>
                  <a:lnTo>
                    <a:pt x="802" y="120"/>
                  </a:lnTo>
                  <a:lnTo>
                    <a:pt x="806" y="120"/>
                  </a:lnTo>
                  <a:lnTo>
                    <a:pt x="802" y="120"/>
                  </a:lnTo>
                  <a:lnTo>
                    <a:pt x="798" y="120"/>
                  </a:lnTo>
                  <a:lnTo>
                    <a:pt x="802" y="116"/>
                  </a:lnTo>
                  <a:lnTo>
                    <a:pt x="806" y="116"/>
                  </a:lnTo>
                  <a:lnTo>
                    <a:pt x="810" y="116"/>
                  </a:lnTo>
                  <a:lnTo>
                    <a:pt x="810" y="112"/>
                  </a:lnTo>
                  <a:lnTo>
                    <a:pt x="814" y="112"/>
                  </a:lnTo>
                  <a:lnTo>
                    <a:pt x="818" y="112"/>
                  </a:lnTo>
                  <a:lnTo>
                    <a:pt x="822" y="112"/>
                  </a:lnTo>
                  <a:lnTo>
                    <a:pt x="825" y="112"/>
                  </a:lnTo>
                  <a:lnTo>
                    <a:pt x="829" y="112"/>
                  </a:lnTo>
                  <a:lnTo>
                    <a:pt x="833" y="112"/>
                  </a:lnTo>
                  <a:lnTo>
                    <a:pt x="837" y="112"/>
                  </a:lnTo>
                  <a:lnTo>
                    <a:pt x="841" y="112"/>
                  </a:lnTo>
                  <a:lnTo>
                    <a:pt x="841" y="116"/>
                  </a:lnTo>
                  <a:lnTo>
                    <a:pt x="837" y="116"/>
                  </a:lnTo>
                  <a:lnTo>
                    <a:pt x="833" y="120"/>
                  </a:lnTo>
                  <a:lnTo>
                    <a:pt x="833" y="124"/>
                  </a:lnTo>
                  <a:lnTo>
                    <a:pt x="829" y="124"/>
                  </a:lnTo>
                  <a:lnTo>
                    <a:pt x="825" y="124"/>
                  </a:lnTo>
                  <a:lnTo>
                    <a:pt x="822" y="124"/>
                  </a:lnTo>
                  <a:lnTo>
                    <a:pt x="818" y="124"/>
                  </a:lnTo>
                  <a:lnTo>
                    <a:pt x="814" y="124"/>
                  </a:lnTo>
                  <a:lnTo>
                    <a:pt x="810" y="124"/>
                  </a:lnTo>
                  <a:lnTo>
                    <a:pt x="810" y="128"/>
                  </a:lnTo>
                  <a:lnTo>
                    <a:pt x="806" y="128"/>
                  </a:lnTo>
                  <a:lnTo>
                    <a:pt x="810" y="128"/>
                  </a:lnTo>
                  <a:lnTo>
                    <a:pt x="810" y="132"/>
                  </a:lnTo>
                  <a:lnTo>
                    <a:pt x="806" y="132"/>
                  </a:lnTo>
                  <a:lnTo>
                    <a:pt x="806" y="136"/>
                  </a:lnTo>
                  <a:lnTo>
                    <a:pt x="806" y="140"/>
                  </a:lnTo>
                  <a:lnTo>
                    <a:pt x="806" y="144"/>
                  </a:lnTo>
                  <a:lnTo>
                    <a:pt x="806" y="140"/>
                  </a:lnTo>
                  <a:lnTo>
                    <a:pt x="810" y="136"/>
                  </a:lnTo>
                  <a:lnTo>
                    <a:pt x="814" y="136"/>
                  </a:lnTo>
                  <a:lnTo>
                    <a:pt x="818" y="136"/>
                  </a:lnTo>
                  <a:lnTo>
                    <a:pt x="818" y="140"/>
                  </a:lnTo>
                  <a:lnTo>
                    <a:pt x="814" y="140"/>
                  </a:lnTo>
                  <a:lnTo>
                    <a:pt x="818" y="140"/>
                  </a:lnTo>
                  <a:lnTo>
                    <a:pt x="814" y="140"/>
                  </a:lnTo>
                  <a:lnTo>
                    <a:pt x="810" y="140"/>
                  </a:lnTo>
                  <a:lnTo>
                    <a:pt x="810" y="144"/>
                  </a:lnTo>
                  <a:lnTo>
                    <a:pt x="806" y="144"/>
                  </a:lnTo>
                  <a:lnTo>
                    <a:pt x="802" y="144"/>
                  </a:lnTo>
                  <a:lnTo>
                    <a:pt x="802" y="148"/>
                  </a:lnTo>
                  <a:lnTo>
                    <a:pt x="802" y="152"/>
                  </a:lnTo>
                  <a:lnTo>
                    <a:pt x="798" y="152"/>
                  </a:lnTo>
                  <a:lnTo>
                    <a:pt x="794" y="152"/>
                  </a:lnTo>
                  <a:lnTo>
                    <a:pt x="790" y="152"/>
                  </a:lnTo>
                  <a:lnTo>
                    <a:pt x="786" y="152"/>
                  </a:lnTo>
                  <a:lnTo>
                    <a:pt x="786" y="156"/>
                  </a:lnTo>
                  <a:lnTo>
                    <a:pt x="790" y="156"/>
                  </a:lnTo>
                  <a:lnTo>
                    <a:pt x="786" y="156"/>
                  </a:lnTo>
                  <a:lnTo>
                    <a:pt x="782" y="156"/>
                  </a:lnTo>
                  <a:lnTo>
                    <a:pt x="782" y="160"/>
                  </a:lnTo>
                  <a:lnTo>
                    <a:pt x="786" y="160"/>
                  </a:lnTo>
                  <a:lnTo>
                    <a:pt x="786" y="156"/>
                  </a:lnTo>
                  <a:lnTo>
                    <a:pt x="790" y="156"/>
                  </a:lnTo>
                  <a:lnTo>
                    <a:pt x="790" y="160"/>
                  </a:lnTo>
                  <a:lnTo>
                    <a:pt x="786" y="160"/>
                  </a:lnTo>
                  <a:lnTo>
                    <a:pt x="786" y="164"/>
                  </a:lnTo>
                  <a:lnTo>
                    <a:pt x="782" y="168"/>
                  </a:lnTo>
                  <a:lnTo>
                    <a:pt x="782" y="172"/>
                  </a:lnTo>
                  <a:lnTo>
                    <a:pt x="778" y="172"/>
                  </a:lnTo>
                  <a:lnTo>
                    <a:pt x="774" y="172"/>
                  </a:lnTo>
                  <a:lnTo>
                    <a:pt x="778" y="176"/>
                  </a:lnTo>
                  <a:lnTo>
                    <a:pt x="782" y="176"/>
                  </a:lnTo>
                  <a:lnTo>
                    <a:pt x="778" y="176"/>
                  </a:lnTo>
                  <a:lnTo>
                    <a:pt x="774" y="180"/>
                  </a:lnTo>
                  <a:lnTo>
                    <a:pt x="778" y="180"/>
                  </a:lnTo>
                  <a:lnTo>
                    <a:pt x="774" y="184"/>
                  </a:lnTo>
                  <a:lnTo>
                    <a:pt x="770" y="187"/>
                  </a:lnTo>
                  <a:lnTo>
                    <a:pt x="774" y="187"/>
                  </a:lnTo>
                  <a:lnTo>
                    <a:pt x="778" y="187"/>
                  </a:lnTo>
                  <a:lnTo>
                    <a:pt x="782" y="187"/>
                  </a:lnTo>
                  <a:lnTo>
                    <a:pt x="778" y="187"/>
                  </a:lnTo>
                  <a:lnTo>
                    <a:pt x="778" y="191"/>
                  </a:lnTo>
                  <a:lnTo>
                    <a:pt x="782" y="187"/>
                  </a:lnTo>
                  <a:lnTo>
                    <a:pt x="782" y="184"/>
                  </a:lnTo>
                  <a:lnTo>
                    <a:pt x="786" y="180"/>
                  </a:lnTo>
                  <a:lnTo>
                    <a:pt x="790" y="176"/>
                  </a:lnTo>
                  <a:lnTo>
                    <a:pt x="794" y="180"/>
                  </a:lnTo>
                  <a:lnTo>
                    <a:pt x="798" y="180"/>
                  </a:lnTo>
                  <a:lnTo>
                    <a:pt x="802" y="184"/>
                  </a:lnTo>
                  <a:lnTo>
                    <a:pt x="806" y="184"/>
                  </a:lnTo>
                  <a:lnTo>
                    <a:pt x="810" y="184"/>
                  </a:lnTo>
                  <a:lnTo>
                    <a:pt x="814" y="184"/>
                  </a:lnTo>
                  <a:lnTo>
                    <a:pt x="818" y="187"/>
                  </a:lnTo>
                  <a:lnTo>
                    <a:pt x="814" y="187"/>
                  </a:lnTo>
                  <a:lnTo>
                    <a:pt x="814" y="191"/>
                  </a:lnTo>
                  <a:lnTo>
                    <a:pt x="810" y="187"/>
                  </a:lnTo>
                  <a:lnTo>
                    <a:pt x="802" y="187"/>
                  </a:lnTo>
                  <a:lnTo>
                    <a:pt x="802" y="184"/>
                  </a:lnTo>
                  <a:lnTo>
                    <a:pt x="798" y="184"/>
                  </a:lnTo>
                  <a:lnTo>
                    <a:pt x="798" y="187"/>
                  </a:lnTo>
                  <a:lnTo>
                    <a:pt x="794" y="187"/>
                  </a:lnTo>
                  <a:lnTo>
                    <a:pt x="790" y="187"/>
                  </a:lnTo>
                  <a:lnTo>
                    <a:pt x="794" y="187"/>
                  </a:lnTo>
                  <a:lnTo>
                    <a:pt x="798" y="187"/>
                  </a:lnTo>
                  <a:lnTo>
                    <a:pt x="798" y="191"/>
                  </a:lnTo>
                  <a:lnTo>
                    <a:pt x="794" y="191"/>
                  </a:lnTo>
                  <a:lnTo>
                    <a:pt x="798" y="191"/>
                  </a:lnTo>
                  <a:lnTo>
                    <a:pt x="794" y="191"/>
                  </a:lnTo>
                  <a:lnTo>
                    <a:pt x="790" y="191"/>
                  </a:lnTo>
                  <a:lnTo>
                    <a:pt x="786" y="191"/>
                  </a:lnTo>
                  <a:lnTo>
                    <a:pt x="790" y="191"/>
                  </a:lnTo>
                  <a:lnTo>
                    <a:pt x="794" y="191"/>
                  </a:lnTo>
                  <a:lnTo>
                    <a:pt x="798" y="191"/>
                  </a:lnTo>
                  <a:lnTo>
                    <a:pt x="802" y="195"/>
                  </a:lnTo>
                  <a:lnTo>
                    <a:pt x="798" y="195"/>
                  </a:lnTo>
                  <a:lnTo>
                    <a:pt x="794" y="195"/>
                  </a:lnTo>
                  <a:lnTo>
                    <a:pt x="790" y="195"/>
                  </a:lnTo>
                  <a:lnTo>
                    <a:pt x="794" y="195"/>
                  </a:lnTo>
                  <a:lnTo>
                    <a:pt x="798" y="195"/>
                  </a:lnTo>
                  <a:lnTo>
                    <a:pt x="802" y="195"/>
                  </a:lnTo>
                  <a:lnTo>
                    <a:pt x="806" y="195"/>
                  </a:lnTo>
                  <a:lnTo>
                    <a:pt x="810" y="195"/>
                  </a:lnTo>
                  <a:lnTo>
                    <a:pt x="810" y="199"/>
                  </a:lnTo>
                  <a:lnTo>
                    <a:pt x="814" y="199"/>
                  </a:lnTo>
                  <a:lnTo>
                    <a:pt x="818" y="199"/>
                  </a:lnTo>
                  <a:lnTo>
                    <a:pt x="818" y="195"/>
                  </a:lnTo>
                  <a:lnTo>
                    <a:pt x="822" y="195"/>
                  </a:lnTo>
                  <a:lnTo>
                    <a:pt x="825" y="195"/>
                  </a:lnTo>
                  <a:lnTo>
                    <a:pt x="829" y="199"/>
                  </a:lnTo>
                  <a:lnTo>
                    <a:pt x="829" y="203"/>
                  </a:lnTo>
                  <a:lnTo>
                    <a:pt x="829" y="207"/>
                  </a:lnTo>
                  <a:lnTo>
                    <a:pt x="829" y="211"/>
                  </a:lnTo>
                  <a:lnTo>
                    <a:pt x="825" y="211"/>
                  </a:lnTo>
                  <a:lnTo>
                    <a:pt x="825" y="215"/>
                  </a:lnTo>
                  <a:lnTo>
                    <a:pt x="822" y="211"/>
                  </a:lnTo>
                  <a:lnTo>
                    <a:pt x="818" y="211"/>
                  </a:lnTo>
                  <a:lnTo>
                    <a:pt x="814" y="211"/>
                  </a:lnTo>
                  <a:lnTo>
                    <a:pt x="810" y="211"/>
                  </a:lnTo>
                  <a:lnTo>
                    <a:pt x="806" y="207"/>
                  </a:lnTo>
                  <a:lnTo>
                    <a:pt x="802" y="207"/>
                  </a:lnTo>
                  <a:lnTo>
                    <a:pt x="798" y="207"/>
                  </a:lnTo>
                  <a:lnTo>
                    <a:pt x="790" y="207"/>
                  </a:lnTo>
                  <a:lnTo>
                    <a:pt x="786" y="207"/>
                  </a:lnTo>
                  <a:lnTo>
                    <a:pt x="790" y="207"/>
                  </a:lnTo>
                  <a:lnTo>
                    <a:pt x="794" y="207"/>
                  </a:lnTo>
                  <a:lnTo>
                    <a:pt x="794" y="211"/>
                  </a:lnTo>
                  <a:lnTo>
                    <a:pt x="790" y="211"/>
                  </a:lnTo>
                  <a:lnTo>
                    <a:pt x="786" y="211"/>
                  </a:lnTo>
                  <a:lnTo>
                    <a:pt x="782" y="211"/>
                  </a:lnTo>
                  <a:lnTo>
                    <a:pt x="778" y="211"/>
                  </a:lnTo>
                  <a:lnTo>
                    <a:pt x="782" y="211"/>
                  </a:lnTo>
                  <a:lnTo>
                    <a:pt x="786" y="211"/>
                  </a:lnTo>
                  <a:lnTo>
                    <a:pt x="790" y="211"/>
                  </a:lnTo>
                  <a:lnTo>
                    <a:pt x="786" y="211"/>
                  </a:lnTo>
                  <a:lnTo>
                    <a:pt x="786" y="215"/>
                  </a:lnTo>
                  <a:lnTo>
                    <a:pt x="786" y="211"/>
                  </a:lnTo>
                  <a:lnTo>
                    <a:pt x="782" y="211"/>
                  </a:lnTo>
                  <a:lnTo>
                    <a:pt x="782" y="215"/>
                  </a:lnTo>
                  <a:lnTo>
                    <a:pt x="778" y="219"/>
                  </a:lnTo>
                  <a:lnTo>
                    <a:pt x="774" y="219"/>
                  </a:lnTo>
                  <a:lnTo>
                    <a:pt x="774" y="215"/>
                  </a:lnTo>
                  <a:lnTo>
                    <a:pt x="770" y="211"/>
                  </a:lnTo>
                  <a:lnTo>
                    <a:pt x="766" y="211"/>
                  </a:lnTo>
                  <a:lnTo>
                    <a:pt x="766" y="215"/>
                  </a:lnTo>
                  <a:lnTo>
                    <a:pt x="762" y="215"/>
                  </a:lnTo>
                  <a:lnTo>
                    <a:pt x="766" y="219"/>
                  </a:lnTo>
                  <a:lnTo>
                    <a:pt x="766" y="223"/>
                  </a:lnTo>
                  <a:lnTo>
                    <a:pt x="766" y="219"/>
                  </a:lnTo>
                  <a:lnTo>
                    <a:pt x="770" y="219"/>
                  </a:lnTo>
                  <a:lnTo>
                    <a:pt x="774" y="219"/>
                  </a:lnTo>
                  <a:lnTo>
                    <a:pt x="778" y="223"/>
                  </a:lnTo>
                  <a:lnTo>
                    <a:pt x="774" y="223"/>
                  </a:lnTo>
                  <a:lnTo>
                    <a:pt x="770" y="223"/>
                  </a:lnTo>
                  <a:lnTo>
                    <a:pt x="774" y="223"/>
                  </a:lnTo>
                  <a:lnTo>
                    <a:pt x="778" y="223"/>
                  </a:lnTo>
                  <a:lnTo>
                    <a:pt x="774" y="223"/>
                  </a:lnTo>
                  <a:lnTo>
                    <a:pt x="770" y="223"/>
                  </a:lnTo>
                  <a:lnTo>
                    <a:pt x="766" y="223"/>
                  </a:lnTo>
                  <a:lnTo>
                    <a:pt x="770" y="223"/>
                  </a:lnTo>
                  <a:lnTo>
                    <a:pt x="774" y="223"/>
                  </a:lnTo>
                  <a:lnTo>
                    <a:pt x="778" y="223"/>
                  </a:lnTo>
                  <a:lnTo>
                    <a:pt x="778" y="227"/>
                  </a:lnTo>
                  <a:lnTo>
                    <a:pt x="778" y="231"/>
                  </a:lnTo>
                  <a:lnTo>
                    <a:pt x="782" y="227"/>
                  </a:lnTo>
                  <a:lnTo>
                    <a:pt x="786" y="227"/>
                  </a:lnTo>
                  <a:lnTo>
                    <a:pt x="786" y="231"/>
                  </a:lnTo>
                  <a:lnTo>
                    <a:pt x="790" y="231"/>
                  </a:lnTo>
                  <a:lnTo>
                    <a:pt x="794" y="231"/>
                  </a:lnTo>
                  <a:lnTo>
                    <a:pt x="798" y="231"/>
                  </a:lnTo>
                  <a:lnTo>
                    <a:pt x="794" y="231"/>
                  </a:lnTo>
                  <a:lnTo>
                    <a:pt x="790" y="231"/>
                  </a:lnTo>
                  <a:lnTo>
                    <a:pt x="786" y="227"/>
                  </a:lnTo>
                  <a:lnTo>
                    <a:pt x="790" y="227"/>
                  </a:lnTo>
                  <a:lnTo>
                    <a:pt x="794" y="227"/>
                  </a:lnTo>
                  <a:lnTo>
                    <a:pt x="794" y="231"/>
                  </a:lnTo>
                  <a:lnTo>
                    <a:pt x="798" y="231"/>
                  </a:lnTo>
                  <a:lnTo>
                    <a:pt x="802" y="231"/>
                  </a:lnTo>
                  <a:lnTo>
                    <a:pt x="802" y="227"/>
                  </a:lnTo>
                  <a:lnTo>
                    <a:pt x="806" y="231"/>
                  </a:lnTo>
                  <a:lnTo>
                    <a:pt x="806" y="235"/>
                  </a:lnTo>
                  <a:lnTo>
                    <a:pt x="802" y="235"/>
                  </a:lnTo>
                  <a:lnTo>
                    <a:pt x="798" y="235"/>
                  </a:lnTo>
                  <a:lnTo>
                    <a:pt x="798" y="239"/>
                  </a:lnTo>
                  <a:lnTo>
                    <a:pt x="794" y="239"/>
                  </a:lnTo>
                  <a:lnTo>
                    <a:pt x="790" y="235"/>
                  </a:lnTo>
                  <a:lnTo>
                    <a:pt x="782" y="235"/>
                  </a:lnTo>
                  <a:lnTo>
                    <a:pt x="782" y="239"/>
                  </a:lnTo>
                  <a:lnTo>
                    <a:pt x="778" y="239"/>
                  </a:lnTo>
                  <a:lnTo>
                    <a:pt x="774" y="239"/>
                  </a:lnTo>
                  <a:lnTo>
                    <a:pt x="774" y="235"/>
                  </a:lnTo>
                  <a:lnTo>
                    <a:pt x="774" y="239"/>
                  </a:lnTo>
                  <a:lnTo>
                    <a:pt x="778" y="239"/>
                  </a:lnTo>
                  <a:lnTo>
                    <a:pt x="782" y="239"/>
                  </a:lnTo>
                  <a:lnTo>
                    <a:pt x="786" y="239"/>
                  </a:lnTo>
                  <a:lnTo>
                    <a:pt x="790" y="239"/>
                  </a:lnTo>
                  <a:lnTo>
                    <a:pt x="794" y="239"/>
                  </a:lnTo>
                  <a:lnTo>
                    <a:pt x="798" y="239"/>
                  </a:lnTo>
                  <a:lnTo>
                    <a:pt x="802" y="239"/>
                  </a:lnTo>
                  <a:lnTo>
                    <a:pt x="806" y="239"/>
                  </a:lnTo>
                  <a:lnTo>
                    <a:pt x="810" y="243"/>
                  </a:lnTo>
                  <a:lnTo>
                    <a:pt x="810" y="247"/>
                  </a:lnTo>
                  <a:lnTo>
                    <a:pt x="810" y="251"/>
                  </a:lnTo>
                  <a:lnTo>
                    <a:pt x="814" y="255"/>
                  </a:lnTo>
                  <a:lnTo>
                    <a:pt x="810" y="255"/>
                  </a:lnTo>
                  <a:lnTo>
                    <a:pt x="810" y="259"/>
                  </a:lnTo>
                  <a:lnTo>
                    <a:pt x="810" y="263"/>
                  </a:lnTo>
                  <a:lnTo>
                    <a:pt x="806" y="263"/>
                  </a:lnTo>
                  <a:lnTo>
                    <a:pt x="802" y="263"/>
                  </a:lnTo>
                  <a:lnTo>
                    <a:pt x="802" y="259"/>
                  </a:lnTo>
                  <a:lnTo>
                    <a:pt x="802" y="255"/>
                  </a:lnTo>
                  <a:lnTo>
                    <a:pt x="798" y="255"/>
                  </a:lnTo>
                  <a:lnTo>
                    <a:pt x="794" y="255"/>
                  </a:lnTo>
                  <a:lnTo>
                    <a:pt x="794" y="259"/>
                  </a:lnTo>
                  <a:lnTo>
                    <a:pt x="790" y="259"/>
                  </a:lnTo>
                  <a:lnTo>
                    <a:pt x="786" y="255"/>
                  </a:lnTo>
                  <a:lnTo>
                    <a:pt x="782" y="251"/>
                  </a:lnTo>
                  <a:lnTo>
                    <a:pt x="778" y="251"/>
                  </a:lnTo>
                  <a:lnTo>
                    <a:pt x="778" y="247"/>
                  </a:lnTo>
                  <a:lnTo>
                    <a:pt x="774" y="247"/>
                  </a:lnTo>
                  <a:lnTo>
                    <a:pt x="770" y="247"/>
                  </a:lnTo>
                  <a:lnTo>
                    <a:pt x="766" y="247"/>
                  </a:lnTo>
                  <a:lnTo>
                    <a:pt x="770" y="247"/>
                  </a:lnTo>
                  <a:lnTo>
                    <a:pt x="774" y="247"/>
                  </a:lnTo>
                  <a:lnTo>
                    <a:pt x="774" y="251"/>
                  </a:lnTo>
                  <a:lnTo>
                    <a:pt x="778" y="251"/>
                  </a:lnTo>
                  <a:lnTo>
                    <a:pt x="782" y="251"/>
                  </a:lnTo>
                  <a:lnTo>
                    <a:pt x="778" y="251"/>
                  </a:lnTo>
                  <a:lnTo>
                    <a:pt x="774" y="251"/>
                  </a:lnTo>
                  <a:lnTo>
                    <a:pt x="770" y="251"/>
                  </a:lnTo>
                  <a:lnTo>
                    <a:pt x="766" y="251"/>
                  </a:lnTo>
                  <a:lnTo>
                    <a:pt x="770" y="251"/>
                  </a:lnTo>
                  <a:lnTo>
                    <a:pt x="774" y="251"/>
                  </a:lnTo>
                  <a:lnTo>
                    <a:pt x="778" y="251"/>
                  </a:lnTo>
                  <a:lnTo>
                    <a:pt x="782" y="255"/>
                  </a:lnTo>
                  <a:lnTo>
                    <a:pt x="786" y="255"/>
                  </a:lnTo>
                  <a:lnTo>
                    <a:pt x="790" y="259"/>
                  </a:lnTo>
                  <a:lnTo>
                    <a:pt x="794" y="259"/>
                  </a:lnTo>
                  <a:lnTo>
                    <a:pt x="794" y="263"/>
                  </a:lnTo>
                  <a:lnTo>
                    <a:pt x="790" y="263"/>
                  </a:lnTo>
                  <a:lnTo>
                    <a:pt x="786" y="263"/>
                  </a:lnTo>
                  <a:lnTo>
                    <a:pt x="782" y="263"/>
                  </a:lnTo>
                  <a:lnTo>
                    <a:pt x="782" y="267"/>
                  </a:lnTo>
                  <a:lnTo>
                    <a:pt x="778" y="267"/>
                  </a:lnTo>
                  <a:lnTo>
                    <a:pt x="774" y="267"/>
                  </a:lnTo>
                  <a:lnTo>
                    <a:pt x="774" y="263"/>
                  </a:lnTo>
                  <a:lnTo>
                    <a:pt x="770" y="263"/>
                  </a:lnTo>
                  <a:lnTo>
                    <a:pt x="766" y="263"/>
                  </a:lnTo>
                  <a:lnTo>
                    <a:pt x="766" y="259"/>
                  </a:lnTo>
                  <a:lnTo>
                    <a:pt x="766" y="263"/>
                  </a:lnTo>
                  <a:lnTo>
                    <a:pt x="770" y="263"/>
                  </a:lnTo>
                  <a:lnTo>
                    <a:pt x="774" y="263"/>
                  </a:lnTo>
                  <a:lnTo>
                    <a:pt x="774" y="267"/>
                  </a:lnTo>
                  <a:lnTo>
                    <a:pt x="778" y="267"/>
                  </a:lnTo>
                  <a:lnTo>
                    <a:pt x="782" y="267"/>
                  </a:lnTo>
                  <a:lnTo>
                    <a:pt x="782" y="263"/>
                  </a:lnTo>
                  <a:lnTo>
                    <a:pt x="786" y="263"/>
                  </a:lnTo>
                  <a:lnTo>
                    <a:pt x="790" y="263"/>
                  </a:lnTo>
                  <a:lnTo>
                    <a:pt x="794" y="263"/>
                  </a:lnTo>
                  <a:lnTo>
                    <a:pt x="794" y="267"/>
                  </a:lnTo>
                  <a:lnTo>
                    <a:pt x="790" y="271"/>
                  </a:lnTo>
                  <a:lnTo>
                    <a:pt x="794" y="271"/>
                  </a:lnTo>
                  <a:lnTo>
                    <a:pt x="794" y="275"/>
                  </a:lnTo>
                  <a:lnTo>
                    <a:pt x="790" y="275"/>
                  </a:lnTo>
                  <a:lnTo>
                    <a:pt x="786" y="275"/>
                  </a:lnTo>
                  <a:lnTo>
                    <a:pt x="790" y="275"/>
                  </a:lnTo>
                  <a:lnTo>
                    <a:pt x="794" y="275"/>
                  </a:lnTo>
                  <a:lnTo>
                    <a:pt x="798" y="275"/>
                  </a:lnTo>
                  <a:lnTo>
                    <a:pt x="802" y="275"/>
                  </a:lnTo>
                  <a:lnTo>
                    <a:pt x="806" y="279"/>
                  </a:lnTo>
                  <a:lnTo>
                    <a:pt x="810" y="275"/>
                  </a:lnTo>
                  <a:lnTo>
                    <a:pt x="814" y="275"/>
                  </a:lnTo>
                  <a:lnTo>
                    <a:pt x="814" y="279"/>
                  </a:lnTo>
                  <a:lnTo>
                    <a:pt x="818" y="279"/>
                  </a:lnTo>
                  <a:lnTo>
                    <a:pt x="818" y="283"/>
                  </a:lnTo>
                  <a:lnTo>
                    <a:pt x="814" y="283"/>
                  </a:lnTo>
                  <a:lnTo>
                    <a:pt x="814" y="287"/>
                  </a:lnTo>
                  <a:lnTo>
                    <a:pt x="810" y="287"/>
                  </a:lnTo>
                  <a:lnTo>
                    <a:pt x="806" y="287"/>
                  </a:lnTo>
                  <a:lnTo>
                    <a:pt x="802" y="287"/>
                  </a:lnTo>
                  <a:lnTo>
                    <a:pt x="798" y="287"/>
                  </a:lnTo>
                  <a:lnTo>
                    <a:pt x="798" y="283"/>
                  </a:lnTo>
                  <a:lnTo>
                    <a:pt x="794" y="283"/>
                  </a:lnTo>
                  <a:lnTo>
                    <a:pt x="790" y="283"/>
                  </a:lnTo>
                  <a:lnTo>
                    <a:pt x="786" y="283"/>
                  </a:lnTo>
                  <a:lnTo>
                    <a:pt x="782" y="283"/>
                  </a:lnTo>
                  <a:lnTo>
                    <a:pt x="778" y="283"/>
                  </a:lnTo>
                  <a:lnTo>
                    <a:pt x="774" y="283"/>
                  </a:lnTo>
                  <a:lnTo>
                    <a:pt x="774" y="279"/>
                  </a:lnTo>
                  <a:lnTo>
                    <a:pt x="770" y="279"/>
                  </a:lnTo>
                  <a:lnTo>
                    <a:pt x="774" y="279"/>
                  </a:lnTo>
                  <a:lnTo>
                    <a:pt x="774" y="283"/>
                  </a:lnTo>
                  <a:lnTo>
                    <a:pt x="774" y="287"/>
                  </a:lnTo>
                  <a:lnTo>
                    <a:pt x="770" y="287"/>
                  </a:lnTo>
                  <a:lnTo>
                    <a:pt x="766" y="287"/>
                  </a:lnTo>
                  <a:lnTo>
                    <a:pt x="770" y="287"/>
                  </a:lnTo>
                  <a:lnTo>
                    <a:pt x="770" y="291"/>
                  </a:lnTo>
                  <a:lnTo>
                    <a:pt x="766" y="291"/>
                  </a:lnTo>
                  <a:lnTo>
                    <a:pt x="770" y="295"/>
                  </a:lnTo>
                  <a:lnTo>
                    <a:pt x="774" y="295"/>
                  </a:lnTo>
                  <a:lnTo>
                    <a:pt x="774" y="299"/>
                  </a:lnTo>
                  <a:lnTo>
                    <a:pt x="774" y="303"/>
                  </a:lnTo>
                  <a:lnTo>
                    <a:pt x="778" y="303"/>
                  </a:lnTo>
                  <a:lnTo>
                    <a:pt x="774" y="299"/>
                  </a:lnTo>
                  <a:lnTo>
                    <a:pt x="774" y="295"/>
                  </a:lnTo>
                  <a:lnTo>
                    <a:pt x="778" y="291"/>
                  </a:lnTo>
                  <a:lnTo>
                    <a:pt x="778" y="295"/>
                  </a:lnTo>
                  <a:lnTo>
                    <a:pt x="782" y="295"/>
                  </a:lnTo>
                  <a:lnTo>
                    <a:pt x="786" y="295"/>
                  </a:lnTo>
                  <a:lnTo>
                    <a:pt x="790" y="299"/>
                  </a:lnTo>
                  <a:lnTo>
                    <a:pt x="794" y="299"/>
                  </a:lnTo>
                  <a:lnTo>
                    <a:pt x="798" y="299"/>
                  </a:lnTo>
                  <a:lnTo>
                    <a:pt x="798" y="303"/>
                  </a:lnTo>
                  <a:lnTo>
                    <a:pt x="794" y="303"/>
                  </a:lnTo>
                  <a:lnTo>
                    <a:pt x="794" y="307"/>
                  </a:lnTo>
                  <a:lnTo>
                    <a:pt x="798" y="307"/>
                  </a:lnTo>
                  <a:lnTo>
                    <a:pt x="794" y="311"/>
                  </a:lnTo>
                  <a:lnTo>
                    <a:pt x="790" y="311"/>
                  </a:lnTo>
                  <a:lnTo>
                    <a:pt x="786" y="311"/>
                  </a:lnTo>
                  <a:lnTo>
                    <a:pt x="782" y="311"/>
                  </a:lnTo>
                  <a:lnTo>
                    <a:pt x="778" y="311"/>
                  </a:lnTo>
                  <a:lnTo>
                    <a:pt x="774" y="311"/>
                  </a:lnTo>
                  <a:lnTo>
                    <a:pt x="774" y="315"/>
                  </a:lnTo>
                  <a:lnTo>
                    <a:pt x="770" y="315"/>
                  </a:lnTo>
                  <a:lnTo>
                    <a:pt x="766" y="315"/>
                  </a:lnTo>
                  <a:lnTo>
                    <a:pt x="762" y="315"/>
                  </a:lnTo>
                  <a:lnTo>
                    <a:pt x="758" y="315"/>
                  </a:lnTo>
                  <a:lnTo>
                    <a:pt x="754" y="315"/>
                  </a:lnTo>
                  <a:lnTo>
                    <a:pt x="754" y="311"/>
                  </a:lnTo>
                  <a:lnTo>
                    <a:pt x="750" y="311"/>
                  </a:lnTo>
                  <a:lnTo>
                    <a:pt x="746" y="311"/>
                  </a:lnTo>
                  <a:lnTo>
                    <a:pt x="746" y="307"/>
                  </a:lnTo>
                  <a:lnTo>
                    <a:pt x="742" y="307"/>
                  </a:lnTo>
                  <a:lnTo>
                    <a:pt x="742" y="303"/>
                  </a:lnTo>
                  <a:lnTo>
                    <a:pt x="746" y="303"/>
                  </a:lnTo>
                  <a:lnTo>
                    <a:pt x="750" y="303"/>
                  </a:lnTo>
                  <a:lnTo>
                    <a:pt x="754" y="307"/>
                  </a:lnTo>
                  <a:lnTo>
                    <a:pt x="758" y="307"/>
                  </a:lnTo>
                  <a:lnTo>
                    <a:pt x="762" y="307"/>
                  </a:lnTo>
                  <a:lnTo>
                    <a:pt x="766" y="307"/>
                  </a:lnTo>
                  <a:lnTo>
                    <a:pt x="770" y="307"/>
                  </a:lnTo>
                  <a:lnTo>
                    <a:pt x="766" y="307"/>
                  </a:lnTo>
                  <a:lnTo>
                    <a:pt x="762" y="307"/>
                  </a:lnTo>
                  <a:lnTo>
                    <a:pt x="758" y="307"/>
                  </a:lnTo>
                  <a:lnTo>
                    <a:pt x="754" y="303"/>
                  </a:lnTo>
                  <a:lnTo>
                    <a:pt x="750" y="303"/>
                  </a:lnTo>
                  <a:lnTo>
                    <a:pt x="746" y="303"/>
                  </a:lnTo>
                  <a:lnTo>
                    <a:pt x="742" y="303"/>
                  </a:lnTo>
                  <a:lnTo>
                    <a:pt x="742" y="299"/>
                  </a:lnTo>
                  <a:lnTo>
                    <a:pt x="738" y="299"/>
                  </a:lnTo>
                  <a:lnTo>
                    <a:pt x="738" y="303"/>
                  </a:lnTo>
                  <a:lnTo>
                    <a:pt x="734" y="303"/>
                  </a:lnTo>
                  <a:lnTo>
                    <a:pt x="734" y="307"/>
                  </a:lnTo>
                  <a:lnTo>
                    <a:pt x="730" y="307"/>
                  </a:lnTo>
                  <a:lnTo>
                    <a:pt x="726" y="307"/>
                  </a:lnTo>
                  <a:lnTo>
                    <a:pt x="726" y="303"/>
                  </a:lnTo>
                  <a:lnTo>
                    <a:pt x="722" y="303"/>
                  </a:lnTo>
                  <a:lnTo>
                    <a:pt x="722" y="299"/>
                  </a:lnTo>
                  <a:lnTo>
                    <a:pt x="718" y="299"/>
                  </a:lnTo>
                  <a:lnTo>
                    <a:pt x="718" y="295"/>
                  </a:lnTo>
                  <a:lnTo>
                    <a:pt x="714" y="295"/>
                  </a:lnTo>
                  <a:lnTo>
                    <a:pt x="714" y="299"/>
                  </a:lnTo>
                  <a:lnTo>
                    <a:pt x="718" y="299"/>
                  </a:lnTo>
                  <a:lnTo>
                    <a:pt x="722" y="303"/>
                  </a:lnTo>
                  <a:lnTo>
                    <a:pt x="726" y="303"/>
                  </a:lnTo>
                  <a:lnTo>
                    <a:pt x="726" y="307"/>
                  </a:lnTo>
                  <a:lnTo>
                    <a:pt x="730" y="307"/>
                  </a:lnTo>
                  <a:lnTo>
                    <a:pt x="730" y="311"/>
                  </a:lnTo>
                  <a:lnTo>
                    <a:pt x="726" y="311"/>
                  </a:lnTo>
                  <a:lnTo>
                    <a:pt x="722" y="311"/>
                  </a:lnTo>
                  <a:lnTo>
                    <a:pt x="718" y="311"/>
                  </a:lnTo>
                  <a:lnTo>
                    <a:pt x="718" y="315"/>
                  </a:lnTo>
                  <a:lnTo>
                    <a:pt x="714" y="315"/>
                  </a:lnTo>
                  <a:lnTo>
                    <a:pt x="710" y="315"/>
                  </a:lnTo>
                  <a:lnTo>
                    <a:pt x="706" y="315"/>
                  </a:lnTo>
                  <a:lnTo>
                    <a:pt x="702" y="315"/>
                  </a:lnTo>
                  <a:lnTo>
                    <a:pt x="698" y="315"/>
                  </a:lnTo>
                  <a:lnTo>
                    <a:pt x="698" y="311"/>
                  </a:lnTo>
                  <a:lnTo>
                    <a:pt x="694" y="311"/>
                  </a:lnTo>
                  <a:lnTo>
                    <a:pt x="690" y="311"/>
                  </a:lnTo>
                  <a:lnTo>
                    <a:pt x="694" y="315"/>
                  </a:lnTo>
                  <a:lnTo>
                    <a:pt x="698" y="315"/>
                  </a:lnTo>
                  <a:lnTo>
                    <a:pt x="702" y="315"/>
                  </a:lnTo>
                  <a:lnTo>
                    <a:pt x="706" y="315"/>
                  </a:lnTo>
                  <a:lnTo>
                    <a:pt x="702" y="315"/>
                  </a:lnTo>
                  <a:lnTo>
                    <a:pt x="702" y="319"/>
                  </a:lnTo>
                  <a:lnTo>
                    <a:pt x="698" y="319"/>
                  </a:lnTo>
                  <a:lnTo>
                    <a:pt x="694" y="319"/>
                  </a:lnTo>
                  <a:lnTo>
                    <a:pt x="690" y="319"/>
                  </a:lnTo>
                  <a:lnTo>
                    <a:pt x="686" y="319"/>
                  </a:lnTo>
                  <a:lnTo>
                    <a:pt x="690" y="319"/>
                  </a:lnTo>
                  <a:lnTo>
                    <a:pt x="690" y="323"/>
                  </a:lnTo>
                  <a:lnTo>
                    <a:pt x="690" y="327"/>
                  </a:lnTo>
                  <a:lnTo>
                    <a:pt x="690" y="323"/>
                  </a:lnTo>
                  <a:lnTo>
                    <a:pt x="690" y="319"/>
                  </a:lnTo>
                  <a:lnTo>
                    <a:pt x="694" y="319"/>
                  </a:lnTo>
                  <a:lnTo>
                    <a:pt x="698" y="319"/>
                  </a:lnTo>
                  <a:lnTo>
                    <a:pt x="702" y="319"/>
                  </a:lnTo>
                  <a:lnTo>
                    <a:pt x="706" y="319"/>
                  </a:lnTo>
                  <a:lnTo>
                    <a:pt x="710" y="319"/>
                  </a:lnTo>
                  <a:lnTo>
                    <a:pt x="714" y="319"/>
                  </a:lnTo>
                  <a:lnTo>
                    <a:pt x="718" y="319"/>
                  </a:lnTo>
                  <a:lnTo>
                    <a:pt x="722" y="319"/>
                  </a:lnTo>
                  <a:lnTo>
                    <a:pt x="722" y="323"/>
                  </a:lnTo>
                  <a:lnTo>
                    <a:pt x="726" y="319"/>
                  </a:lnTo>
                  <a:lnTo>
                    <a:pt x="726" y="323"/>
                  </a:lnTo>
                  <a:lnTo>
                    <a:pt x="726" y="327"/>
                  </a:lnTo>
                  <a:lnTo>
                    <a:pt x="722" y="327"/>
                  </a:lnTo>
                  <a:lnTo>
                    <a:pt x="718" y="327"/>
                  </a:lnTo>
                  <a:lnTo>
                    <a:pt x="714" y="327"/>
                  </a:lnTo>
                  <a:lnTo>
                    <a:pt x="710" y="331"/>
                  </a:lnTo>
                  <a:lnTo>
                    <a:pt x="706" y="331"/>
                  </a:lnTo>
                  <a:lnTo>
                    <a:pt x="702" y="327"/>
                  </a:lnTo>
                  <a:lnTo>
                    <a:pt x="698" y="327"/>
                  </a:lnTo>
                  <a:lnTo>
                    <a:pt x="694" y="327"/>
                  </a:lnTo>
                  <a:lnTo>
                    <a:pt x="690" y="327"/>
                  </a:lnTo>
                  <a:lnTo>
                    <a:pt x="694" y="327"/>
                  </a:lnTo>
                  <a:lnTo>
                    <a:pt x="698" y="327"/>
                  </a:lnTo>
                  <a:lnTo>
                    <a:pt x="702" y="327"/>
                  </a:lnTo>
                  <a:lnTo>
                    <a:pt x="706" y="331"/>
                  </a:lnTo>
                  <a:lnTo>
                    <a:pt x="702" y="331"/>
                  </a:lnTo>
                  <a:lnTo>
                    <a:pt x="698" y="331"/>
                  </a:lnTo>
                  <a:lnTo>
                    <a:pt x="702" y="331"/>
                  </a:lnTo>
                  <a:lnTo>
                    <a:pt x="706" y="331"/>
                  </a:lnTo>
                  <a:lnTo>
                    <a:pt x="706" y="335"/>
                  </a:lnTo>
                  <a:lnTo>
                    <a:pt x="706" y="331"/>
                  </a:lnTo>
                  <a:lnTo>
                    <a:pt x="710" y="331"/>
                  </a:lnTo>
                  <a:lnTo>
                    <a:pt x="714" y="331"/>
                  </a:lnTo>
                  <a:lnTo>
                    <a:pt x="718" y="327"/>
                  </a:lnTo>
                  <a:lnTo>
                    <a:pt x="722" y="331"/>
                  </a:lnTo>
                  <a:lnTo>
                    <a:pt x="726" y="331"/>
                  </a:lnTo>
                  <a:lnTo>
                    <a:pt x="730" y="331"/>
                  </a:lnTo>
                  <a:lnTo>
                    <a:pt x="730" y="335"/>
                  </a:lnTo>
                  <a:lnTo>
                    <a:pt x="734" y="335"/>
                  </a:lnTo>
                  <a:lnTo>
                    <a:pt x="730" y="339"/>
                  </a:lnTo>
                  <a:lnTo>
                    <a:pt x="726" y="339"/>
                  </a:lnTo>
                  <a:lnTo>
                    <a:pt x="722" y="339"/>
                  </a:lnTo>
                  <a:lnTo>
                    <a:pt x="718" y="339"/>
                  </a:lnTo>
                  <a:lnTo>
                    <a:pt x="714" y="339"/>
                  </a:lnTo>
                  <a:lnTo>
                    <a:pt x="718" y="339"/>
                  </a:lnTo>
                  <a:lnTo>
                    <a:pt x="722" y="339"/>
                  </a:lnTo>
                  <a:lnTo>
                    <a:pt x="722" y="343"/>
                  </a:lnTo>
                  <a:lnTo>
                    <a:pt x="718" y="343"/>
                  </a:lnTo>
                  <a:lnTo>
                    <a:pt x="718" y="347"/>
                  </a:lnTo>
                  <a:lnTo>
                    <a:pt x="722" y="347"/>
                  </a:lnTo>
                  <a:lnTo>
                    <a:pt x="722" y="343"/>
                  </a:lnTo>
                  <a:lnTo>
                    <a:pt x="726" y="343"/>
                  </a:lnTo>
                  <a:lnTo>
                    <a:pt x="726" y="339"/>
                  </a:lnTo>
                  <a:lnTo>
                    <a:pt x="730" y="339"/>
                  </a:lnTo>
                  <a:lnTo>
                    <a:pt x="734" y="339"/>
                  </a:lnTo>
                  <a:lnTo>
                    <a:pt x="734" y="343"/>
                  </a:lnTo>
                  <a:lnTo>
                    <a:pt x="738" y="343"/>
                  </a:lnTo>
                  <a:lnTo>
                    <a:pt x="742" y="343"/>
                  </a:lnTo>
                  <a:lnTo>
                    <a:pt x="746" y="343"/>
                  </a:lnTo>
                  <a:lnTo>
                    <a:pt x="746" y="347"/>
                  </a:lnTo>
                  <a:lnTo>
                    <a:pt x="750" y="347"/>
                  </a:lnTo>
                  <a:lnTo>
                    <a:pt x="754" y="347"/>
                  </a:lnTo>
                  <a:lnTo>
                    <a:pt x="754" y="351"/>
                  </a:lnTo>
                  <a:lnTo>
                    <a:pt x="758" y="351"/>
                  </a:lnTo>
                  <a:lnTo>
                    <a:pt x="762" y="351"/>
                  </a:lnTo>
                  <a:lnTo>
                    <a:pt x="762" y="355"/>
                  </a:lnTo>
                  <a:lnTo>
                    <a:pt x="766" y="355"/>
                  </a:lnTo>
                  <a:lnTo>
                    <a:pt x="762" y="355"/>
                  </a:lnTo>
                  <a:lnTo>
                    <a:pt x="762" y="359"/>
                  </a:lnTo>
                  <a:lnTo>
                    <a:pt x="758" y="359"/>
                  </a:lnTo>
                  <a:lnTo>
                    <a:pt x="754" y="359"/>
                  </a:lnTo>
                  <a:lnTo>
                    <a:pt x="754" y="363"/>
                  </a:lnTo>
                  <a:lnTo>
                    <a:pt x="758" y="363"/>
                  </a:lnTo>
                  <a:lnTo>
                    <a:pt x="758" y="359"/>
                  </a:lnTo>
                  <a:lnTo>
                    <a:pt x="762" y="359"/>
                  </a:lnTo>
                  <a:lnTo>
                    <a:pt x="766" y="359"/>
                  </a:lnTo>
                  <a:lnTo>
                    <a:pt x="762" y="359"/>
                  </a:lnTo>
                  <a:lnTo>
                    <a:pt x="762" y="363"/>
                  </a:lnTo>
                  <a:lnTo>
                    <a:pt x="766" y="363"/>
                  </a:lnTo>
                  <a:lnTo>
                    <a:pt x="766" y="359"/>
                  </a:lnTo>
                  <a:lnTo>
                    <a:pt x="770" y="359"/>
                  </a:lnTo>
                  <a:lnTo>
                    <a:pt x="774" y="359"/>
                  </a:lnTo>
                  <a:lnTo>
                    <a:pt x="770" y="359"/>
                  </a:lnTo>
                  <a:lnTo>
                    <a:pt x="770" y="363"/>
                  </a:lnTo>
                  <a:lnTo>
                    <a:pt x="766" y="363"/>
                  </a:lnTo>
                  <a:lnTo>
                    <a:pt x="762" y="367"/>
                  </a:lnTo>
                  <a:lnTo>
                    <a:pt x="766" y="367"/>
                  </a:lnTo>
                  <a:lnTo>
                    <a:pt x="766" y="371"/>
                  </a:lnTo>
                  <a:lnTo>
                    <a:pt x="766" y="367"/>
                  </a:lnTo>
                  <a:lnTo>
                    <a:pt x="770" y="367"/>
                  </a:lnTo>
                  <a:lnTo>
                    <a:pt x="774" y="367"/>
                  </a:lnTo>
                  <a:lnTo>
                    <a:pt x="778" y="367"/>
                  </a:lnTo>
                  <a:lnTo>
                    <a:pt x="774" y="367"/>
                  </a:lnTo>
                  <a:lnTo>
                    <a:pt x="774" y="371"/>
                  </a:lnTo>
                  <a:lnTo>
                    <a:pt x="778" y="371"/>
                  </a:lnTo>
                  <a:lnTo>
                    <a:pt x="774" y="371"/>
                  </a:lnTo>
                  <a:lnTo>
                    <a:pt x="778" y="371"/>
                  </a:lnTo>
                  <a:lnTo>
                    <a:pt x="778" y="375"/>
                  </a:lnTo>
                  <a:lnTo>
                    <a:pt x="774" y="375"/>
                  </a:lnTo>
                  <a:lnTo>
                    <a:pt x="774" y="379"/>
                  </a:lnTo>
                  <a:lnTo>
                    <a:pt x="770" y="379"/>
                  </a:lnTo>
                  <a:lnTo>
                    <a:pt x="766" y="379"/>
                  </a:lnTo>
                  <a:lnTo>
                    <a:pt x="770" y="379"/>
                  </a:lnTo>
                  <a:lnTo>
                    <a:pt x="774" y="379"/>
                  </a:lnTo>
                  <a:lnTo>
                    <a:pt x="778" y="379"/>
                  </a:lnTo>
                  <a:lnTo>
                    <a:pt x="778" y="383"/>
                  </a:lnTo>
                  <a:lnTo>
                    <a:pt x="774" y="383"/>
                  </a:lnTo>
                  <a:lnTo>
                    <a:pt x="774" y="387"/>
                  </a:lnTo>
                  <a:lnTo>
                    <a:pt x="774" y="383"/>
                  </a:lnTo>
                  <a:lnTo>
                    <a:pt x="774" y="387"/>
                  </a:lnTo>
                  <a:lnTo>
                    <a:pt x="778" y="387"/>
                  </a:lnTo>
                  <a:lnTo>
                    <a:pt x="778" y="383"/>
                  </a:lnTo>
                  <a:lnTo>
                    <a:pt x="778" y="387"/>
                  </a:lnTo>
                  <a:lnTo>
                    <a:pt x="774" y="387"/>
                  </a:lnTo>
                  <a:lnTo>
                    <a:pt x="778" y="387"/>
                  </a:lnTo>
                  <a:lnTo>
                    <a:pt x="774" y="391"/>
                  </a:lnTo>
                  <a:lnTo>
                    <a:pt x="778" y="391"/>
                  </a:lnTo>
                  <a:lnTo>
                    <a:pt x="782" y="391"/>
                  </a:lnTo>
                  <a:lnTo>
                    <a:pt x="778" y="395"/>
                  </a:lnTo>
                  <a:lnTo>
                    <a:pt x="774" y="395"/>
                  </a:lnTo>
                  <a:lnTo>
                    <a:pt x="770" y="395"/>
                  </a:lnTo>
                  <a:lnTo>
                    <a:pt x="766" y="395"/>
                  </a:lnTo>
                  <a:lnTo>
                    <a:pt x="766" y="391"/>
                  </a:lnTo>
                  <a:lnTo>
                    <a:pt x="766" y="387"/>
                  </a:lnTo>
                  <a:lnTo>
                    <a:pt x="766" y="383"/>
                  </a:lnTo>
                  <a:lnTo>
                    <a:pt x="762" y="383"/>
                  </a:lnTo>
                  <a:lnTo>
                    <a:pt x="762" y="387"/>
                  </a:lnTo>
                  <a:lnTo>
                    <a:pt x="762" y="391"/>
                  </a:lnTo>
                  <a:lnTo>
                    <a:pt x="762" y="395"/>
                  </a:lnTo>
                  <a:lnTo>
                    <a:pt x="758" y="395"/>
                  </a:lnTo>
                  <a:lnTo>
                    <a:pt x="754" y="395"/>
                  </a:lnTo>
                  <a:lnTo>
                    <a:pt x="750" y="395"/>
                  </a:lnTo>
                  <a:lnTo>
                    <a:pt x="746" y="391"/>
                  </a:lnTo>
                  <a:lnTo>
                    <a:pt x="742" y="391"/>
                  </a:lnTo>
                  <a:lnTo>
                    <a:pt x="742" y="387"/>
                  </a:lnTo>
                  <a:lnTo>
                    <a:pt x="738" y="387"/>
                  </a:lnTo>
                  <a:lnTo>
                    <a:pt x="738" y="383"/>
                  </a:lnTo>
                  <a:lnTo>
                    <a:pt x="738" y="379"/>
                  </a:lnTo>
                  <a:lnTo>
                    <a:pt x="738" y="375"/>
                  </a:lnTo>
                  <a:lnTo>
                    <a:pt x="734" y="375"/>
                  </a:lnTo>
                  <a:lnTo>
                    <a:pt x="730" y="371"/>
                  </a:lnTo>
                  <a:lnTo>
                    <a:pt x="726" y="371"/>
                  </a:lnTo>
                  <a:lnTo>
                    <a:pt x="722" y="371"/>
                  </a:lnTo>
                  <a:lnTo>
                    <a:pt x="722" y="367"/>
                  </a:lnTo>
                  <a:lnTo>
                    <a:pt x="718" y="367"/>
                  </a:lnTo>
                  <a:lnTo>
                    <a:pt x="718" y="363"/>
                  </a:lnTo>
                  <a:lnTo>
                    <a:pt x="714" y="363"/>
                  </a:lnTo>
                  <a:lnTo>
                    <a:pt x="706" y="363"/>
                  </a:lnTo>
                  <a:lnTo>
                    <a:pt x="702" y="363"/>
                  </a:lnTo>
                  <a:lnTo>
                    <a:pt x="698" y="363"/>
                  </a:lnTo>
                  <a:lnTo>
                    <a:pt x="694" y="359"/>
                  </a:lnTo>
                  <a:lnTo>
                    <a:pt x="690" y="359"/>
                  </a:lnTo>
                  <a:lnTo>
                    <a:pt x="690" y="355"/>
                  </a:lnTo>
                  <a:lnTo>
                    <a:pt x="686" y="355"/>
                  </a:lnTo>
                  <a:lnTo>
                    <a:pt x="686" y="351"/>
                  </a:lnTo>
                  <a:lnTo>
                    <a:pt x="682" y="351"/>
                  </a:lnTo>
                  <a:lnTo>
                    <a:pt x="678" y="351"/>
                  </a:lnTo>
                  <a:lnTo>
                    <a:pt x="674" y="347"/>
                  </a:lnTo>
                  <a:lnTo>
                    <a:pt x="670" y="347"/>
                  </a:lnTo>
                  <a:lnTo>
                    <a:pt x="670" y="351"/>
                  </a:lnTo>
                  <a:lnTo>
                    <a:pt x="674" y="351"/>
                  </a:lnTo>
                  <a:lnTo>
                    <a:pt x="674" y="355"/>
                  </a:lnTo>
                  <a:lnTo>
                    <a:pt x="678" y="355"/>
                  </a:lnTo>
                  <a:lnTo>
                    <a:pt x="682" y="355"/>
                  </a:lnTo>
                  <a:lnTo>
                    <a:pt x="686" y="359"/>
                  </a:lnTo>
                  <a:lnTo>
                    <a:pt x="690" y="359"/>
                  </a:lnTo>
                  <a:lnTo>
                    <a:pt x="690" y="363"/>
                  </a:lnTo>
                  <a:lnTo>
                    <a:pt x="686" y="363"/>
                  </a:lnTo>
                  <a:lnTo>
                    <a:pt x="682" y="363"/>
                  </a:lnTo>
                  <a:lnTo>
                    <a:pt x="678" y="363"/>
                  </a:lnTo>
                  <a:lnTo>
                    <a:pt x="674" y="363"/>
                  </a:lnTo>
                  <a:lnTo>
                    <a:pt x="678" y="363"/>
                  </a:lnTo>
                  <a:lnTo>
                    <a:pt x="682" y="363"/>
                  </a:lnTo>
                  <a:lnTo>
                    <a:pt x="686" y="363"/>
                  </a:lnTo>
                  <a:lnTo>
                    <a:pt x="690" y="363"/>
                  </a:lnTo>
                  <a:lnTo>
                    <a:pt x="694" y="363"/>
                  </a:lnTo>
                  <a:lnTo>
                    <a:pt x="690" y="363"/>
                  </a:lnTo>
                  <a:lnTo>
                    <a:pt x="690" y="367"/>
                  </a:lnTo>
                  <a:lnTo>
                    <a:pt x="694" y="367"/>
                  </a:lnTo>
                  <a:lnTo>
                    <a:pt x="694" y="363"/>
                  </a:lnTo>
                  <a:lnTo>
                    <a:pt x="698" y="363"/>
                  </a:lnTo>
                  <a:lnTo>
                    <a:pt x="698" y="367"/>
                  </a:lnTo>
                  <a:lnTo>
                    <a:pt x="702" y="367"/>
                  </a:lnTo>
                  <a:lnTo>
                    <a:pt x="706" y="367"/>
                  </a:lnTo>
                  <a:lnTo>
                    <a:pt x="710" y="367"/>
                  </a:lnTo>
                  <a:lnTo>
                    <a:pt x="714" y="367"/>
                  </a:lnTo>
                  <a:lnTo>
                    <a:pt x="718" y="367"/>
                  </a:lnTo>
                  <a:lnTo>
                    <a:pt x="722" y="371"/>
                  </a:lnTo>
                  <a:lnTo>
                    <a:pt x="718" y="375"/>
                  </a:lnTo>
                  <a:lnTo>
                    <a:pt x="718" y="371"/>
                  </a:lnTo>
                  <a:lnTo>
                    <a:pt x="714" y="371"/>
                  </a:lnTo>
                  <a:lnTo>
                    <a:pt x="718" y="375"/>
                  </a:lnTo>
                  <a:lnTo>
                    <a:pt x="710" y="379"/>
                  </a:lnTo>
                  <a:lnTo>
                    <a:pt x="706" y="379"/>
                  </a:lnTo>
                  <a:lnTo>
                    <a:pt x="698" y="383"/>
                  </a:lnTo>
                  <a:lnTo>
                    <a:pt x="698" y="379"/>
                  </a:lnTo>
                  <a:lnTo>
                    <a:pt x="694" y="383"/>
                  </a:lnTo>
                  <a:lnTo>
                    <a:pt x="690" y="383"/>
                  </a:lnTo>
                  <a:lnTo>
                    <a:pt x="690" y="379"/>
                  </a:lnTo>
                  <a:lnTo>
                    <a:pt x="686" y="379"/>
                  </a:lnTo>
                  <a:lnTo>
                    <a:pt x="686" y="375"/>
                  </a:lnTo>
                  <a:lnTo>
                    <a:pt x="682" y="375"/>
                  </a:lnTo>
                  <a:lnTo>
                    <a:pt x="682" y="379"/>
                  </a:lnTo>
                  <a:lnTo>
                    <a:pt x="686" y="379"/>
                  </a:lnTo>
                  <a:lnTo>
                    <a:pt x="686" y="383"/>
                  </a:lnTo>
                  <a:lnTo>
                    <a:pt x="686" y="379"/>
                  </a:lnTo>
                  <a:lnTo>
                    <a:pt x="682" y="379"/>
                  </a:lnTo>
                  <a:lnTo>
                    <a:pt x="678" y="379"/>
                  </a:lnTo>
                  <a:lnTo>
                    <a:pt x="674" y="379"/>
                  </a:lnTo>
                  <a:lnTo>
                    <a:pt x="678" y="379"/>
                  </a:lnTo>
                  <a:lnTo>
                    <a:pt x="678" y="383"/>
                  </a:lnTo>
                  <a:lnTo>
                    <a:pt x="682" y="383"/>
                  </a:lnTo>
                  <a:lnTo>
                    <a:pt x="682" y="387"/>
                  </a:lnTo>
                  <a:lnTo>
                    <a:pt x="678" y="391"/>
                  </a:lnTo>
                  <a:lnTo>
                    <a:pt x="674" y="391"/>
                  </a:lnTo>
                  <a:lnTo>
                    <a:pt x="670" y="391"/>
                  </a:lnTo>
                  <a:lnTo>
                    <a:pt x="666" y="395"/>
                  </a:lnTo>
                  <a:lnTo>
                    <a:pt x="662" y="395"/>
                  </a:lnTo>
                  <a:lnTo>
                    <a:pt x="666" y="395"/>
                  </a:lnTo>
                  <a:lnTo>
                    <a:pt x="670" y="395"/>
                  </a:lnTo>
                  <a:lnTo>
                    <a:pt x="674" y="395"/>
                  </a:lnTo>
                  <a:lnTo>
                    <a:pt x="678" y="391"/>
                  </a:lnTo>
                  <a:lnTo>
                    <a:pt x="678" y="395"/>
                  </a:lnTo>
                  <a:lnTo>
                    <a:pt x="674" y="395"/>
                  </a:lnTo>
                  <a:lnTo>
                    <a:pt x="678" y="395"/>
                  </a:lnTo>
                  <a:lnTo>
                    <a:pt x="682" y="395"/>
                  </a:lnTo>
                  <a:lnTo>
                    <a:pt x="686" y="395"/>
                  </a:lnTo>
                  <a:lnTo>
                    <a:pt x="694" y="395"/>
                  </a:lnTo>
                  <a:lnTo>
                    <a:pt x="698" y="395"/>
                  </a:lnTo>
                  <a:lnTo>
                    <a:pt x="702" y="395"/>
                  </a:lnTo>
                  <a:lnTo>
                    <a:pt x="706" y="395"/>
                  </a:lnTo>
                  <a:lnTo>
                    <a:pt x="706" y="399"/>
                  </a:lnTo>
                  <a:lnTo>
                    <a:pt x="702" y="399"/>
                  </a:lnTo>
                  <a:lnTo>
                    <a:pt x="698" y="399"/>
                  </a:lnTo>
                  <a:lnTo>
                    <a:pt x="694" y="399"/>
                  </a:lnTo>
                  <a:lnTo>
                    <a:pt x="690" y="399"/>
                  </a:lnTo>
                  <a:lnTo>
                    <a:pt x="690" y="403"/>
                  </a:lnTo>
                  <a:lnTo>
                    <a:pt x="686" y="403"/>
                  </a:lnTo>
                  <a:lnTo>
                    <a:pt x="682" y="403"/>
                  </a:lnTo>
                  <a:lnTo>
                    <a:pt x="678" y="403"/>
                  </a:lnTo>
                  <a:lnTo>
                    <a:pt x="674" y="403"/>
                  </a:lnTo>
                  <a:lnTo>
                    <a:pt x="674" y="407"/>
                  </a:lnTo>
                  <a:lnTo>
                    <a:pt x="678" y="403"/>
                  </a:lnTo>
                  <a:lnTo>
                    <a:pt x="678" y="407"/>
                  </a:lnTo>
                  <a:lnTo>
                    <a:pt x="682" y="407"/>
                  </a:lnTo>
                  <a:lnTo>
                    <a:pt x="686" y="407"/>
                  </a:lnTo>
                  <a:lnTo>
                    <a:pt x="690" y="407"/>
                  </a:lnTo>
                  <a:lnTo>
                    <a:pt x="694" y="403"/>
                  </a:lnTo>
                  <a:lnTo>
                    <a:pt x="698" y="399"/>
                  </a:lnTo>
                  <a:lnTo>
                    <a:pt x="702" y="399"/>
                  </a:lnTo>
                  <a:lnTo>
                    <a:pt x="702" y="403"/>
                  </a:lnTo>
                  <a:lnTo>
                    <a:pt x="706" y="403"/>
                  </a:lnTo>
                  <a:lnTo>
                    <a:pt x="710" y="399"/>
                  </a:lnTo>
                  <a:lnTo>
                    <a:pt x="714" y="399"/>
                  </a:lnTo>
                  <a:lnTo>
                    <a:pt x="718" y="399"/>
                  </a:lnTo>
                  <a:lnTo>
                    <a:pt x="722" y="395"/>
                  </a:lnTo>
                  <a:lnTo>
                    <a:pt x="722" y="399"/>
                  </a:lnTo>
                  <a:lnTo>
                    <a:pt x="726" y="399"/>
                  </a:lnTo>
                  <a:lnTo>
                    <a:pt x="726" y="395"/>
                  </a:lnTo>
                  <a:lnTo>
                    <a:pt x="726" y="399"/>
                  </a:lnTo>
                  <a:lnTo>
                    <a:pt x="730" y="399"/>
                  </a:lnTo>
                  <a:lnTo>
                    <a:pt x="734" y="399"/>
                  </a:lnTo>
                  <a:lnTo>
                    <a:pt x="742" y="403"/>
                  </a:lnTo>
                  <a:lnTo>
                    <a:pt x="746" y="403"/>
                  </a:lnTo>
                  <a:lnTo>
                    <a:pt x="750" y="403"/>
                  </a:lnTo>
                  <a:lnTo>
                    <a:pt x="754" y="403"/>
                  </a:lnTo>
                  <a:lnTo>
                    <a:pt x="758" y="403"/>
                  </a:lnTo>
                  <a:lnTo>
                    <a:pt x="762" y="403"/>
                  </a:lnTo>
                  <a:lnTo>
                    <a:pt x="766" y="403"/>
                  </a:lnTo>
                  <a:lnTo>
                    <a:pt x="770" y="403"/>
                  </a:lnTo>
                  <a:lnTo>
                    <a:pt x="770" y="407"/>
                  </a:lnTo>
                  <a:lnTo>
                    <a:pt x="766" y="407"/>
                  </a:lnTo>
                  <a:lnTo>
                    <a:pt x="762" y="407"/>
                  </a:lnTo>
                  <a:lnTo>
                    <a:pt x="758" y="407"/>
                  </a:lnTo>
                  <a:lnTo>
                    <a:pt x="758" y="411"/>
                  </a:lnTo>
                  <a:lnTo>
                    <a:pt x="762" y="411"/>
                  </a:lnTo>
                  <a:lnTo>
                    <a:pt x="758" y="411"/>
                  </a:lnTo>
                  <a:lnTo>
                    <a:pt x="758" y="407"/>
                  </a:lnTo>
                  <a:lnTo>
                    <a:pt x="754" y="407"/>
                  </a:lnTo>
                  <a:lnTo>
                    <a:pt x="754" y="411"/>
                  </a:lnTo>
                  <a:lnTo>
                    <a:pt x="758" y="411"/>
                  </a:lnTo>
                  <a:lnTo>
                    <a:pt x="754" y="411"/>
                  </a:lnTo>
                  <a:lnTo>
                    <a:pt x="758" y="411"/>
                  </a:lnTo>
                  <a:lnTo>
                    <a:pt x="758" y="415"/>
                  </a:lnTo>
                  <a:lnTo>
                    <a:pt x="754" y="415"/>
                  </a:lnTo>
                  <a:lnTo>
                    <a:pt x="754" y="411"/>
                  </a:lnTo>
                  <a:lnTo>
                    <a:pt x="750" y="411"/>
                  </a:lnTo>
                  <a:lnTo>
                    <a:pt x="754" y="411"/>
                  </a:lnTo>
                  <a:lnTo>
                    <a:pt x="754" y="415"/>
                  </a:lnTo>
                  <a:lnTo>
                    <a:pt x="750" y="415"/>
                  </a:lnTo>
                  <a:lnTo>
                    <a:pt x="746" y="415"/>
                  </a:lnTo>
                  <a:lnTo>
                    <a:pt x="742" y="415"/>
                  </a:lnTo>
                  <a:lnTo>
                    <a:pt x="746" y="415"/>
                  </a:lnTo>
                  <a:lnTo>
                    <a:pt x="750" y="415"/>
                  </a:lnTo>
                  <a:lnTo>
                    <a:pt x="746" y="419"/>
                  </a:lnTo>
                  <a:lnTo>
                    <a:pt x="742" y="419"/>
                  </a:lnTo>
                  <a:lnTo>
                    <a:pt x="738" y="419"/>
                  </a:lnTo>
                  <a:lnTo>
                    <a:pt x="742" y="419"/>
                  </a:lnTo>
                  <a:lnTo>
                    <a:pt x="738" y="423"/>
                  </a:lnTo>
                  <a:lnTo>
                    <a:pt x="734" y="423"/>
                  </a:lnTo>
                  <a:lnTo>
                    <a:pt x="730" y="423"/>
                  </a:lnTo>
                  <a:lnTo>
                    <a:pt x="734" y="427"/>
                  </a:lnTo>
                  <a:lnTo>
                    <a:pt x="730" y="427"/>
                  </a:lnTo>
                  <a:lnTo>
                    <a:pt x="726" y="427"/>
                  </a:lnTo>
                  <a:lnTo>
                    <a:pt x="722" y="427"/>
                  </a:lnTo>
                  <a:lnTo>
                    <a:pt x="726" y="427"/>
                  </a:lnTo>
                  <a:lnTo>
                    <a:pt x="726" y="431"/>
                  </a:lnTo>
                  <a:lnTo>
                    <a:pt x="722" y="431"/>
                  </a:lnTo>
                  <a:lnTo>
                    <a:pt x="722" y="435"/>
                  </a:lnTo>
                  <a:lnTo>
                    <a:pt x="718" y="431"/>
                  </a:lnTo>
                  <a:lnTo>
                    <a:pt x="718" y="435"/>
                  </a:lnTo>
                  <a:lnTo>
                    <a:pt x="714" y="435"/>
                  </a:lnTo>
                  <a:lnTo>
                    <a:pt x="718" y="435"/>
                  </a:lnTo>
                  <a:lnTo>
                    <a:pt x="718" y="439"/>
                  </a:lnTo>
                  <a:lnTo>
                    <a:pt x="714" y="439"/>
                  </a:lnTo>
                  <a:lnTo>
                    <a:pt x="710" y="439"/>
                  </a:lnTo>
                  <a:lnTo>
                    <a:pt x="706" y="443"/>
                  </a:lnTo>
                  <a:lnTo>
                    <a:pt x="702" y="443"/>
                  </a:lnTo>
                  <a:lnTo>
                    <a:pt x="698" y="443"/>
                  </a:lnTo>
                  <a:lnTo>
                    <a:pt x="694" y="447"/>
                  </a:lnTo>
                  <a:lnTo>
                    <a:pt x="694" y="443"/>
                  </a:lnTo>
                  <a:lnTo>
                    <a:pt x="690" y="443"/>
                  </a:lnTo>
                  <a:lnTo>
                    <a:pt x="690" y="447"/>
                  </a:lnTo>
                  <a:lnTo>
                    <a:pt x="694" y="447"/>
                  </a:lnTo>
                  <a:lnTo>
                    <a:pt x="690" y="447"/>
                  </a:lnTo>
                  <a:lnTo>
                    <a:pt x="686" y="447"/>
                  </a:lnTo>
                  <a:lnTo>
                    <a:pt x="682" y="447"/>
                  </a:lnTo>
                  <a:lnTo>
                    <a:pt x="678" y="451"/>
                  </a:lnTo>
                  <a:lnTo>
                    <a:pt x="674" y="447"/>
                  </a:lnTo>
                  <a:lnTo>
                    <a:pt x="670" y="451"/>
                  </a:lnTo>
                  <a:lnTo>
                    <a:pt x="666" y="451"/>
                  </a:lnTo>
                  <a:lnTo>
                    <a:pt x="662" y="451"/>
                  </a:lnTo>
                  <a:lnTo>
                    <a:pt x="666" y="451"/>
                  </a:lnTo>
                  <a:lnTo>
                    <a:pt x="666" y="455"/>
                  </a:lnTo>
                  <a:lnTo>
                    <a:pt x="662" y="455"/>
                  </a:lnTo>
                  <a:lnTo>
                    <a:pt x="662" y="451"/>
                  </a:lnTo>
                  <a:lnTo>
                    <a:pt x="662" y="455"/>
                  </a:lnTo>
                  <a:lnTo>
                    <a:pt x="658" y="455"/>
                  </a:lnTo>
                  <a:lnTo>
                    <a:pt x="654" y="451"/>
                  </a:lnTo>
                  <a:lnTo>
                    <a:pt x="650" y="451"/>
                  </a:lnTo>
                  <a:lnTo>
                    <a:pt x="646" y="455"/>
                  </a:lnTo>
                  <a:lnTo>
                    <a:pt x="650" y="455"/>
                  </a:lnTo>
                  <a:lnTo>
                    <a:pt x="650" y="459"/>
                  </a:lnTo>
                  <a:lnTo>
                    <a:pt x="646" y="459"/>
                  </a:lnTo>
                  <a:lnTo>
                    <a:pt x="646" y="455"/>
                  </a:lnTo>
                  <a:lnTo>
                    <a:pt x="642" y="455"/>
                  </a:lnTo>
                  <a:lnTo>
                    <a:pt x="638" y="455"/>
                  </a:lnTo>
                  <a:lnTo>
                    <a:pt x="642" y="455"/>
                  </a:lnTo>
                  <a:lnTo>
                    <a:pt x="646" y="459"/>
                  </a:lnTo>
                  <a:lnTo>
                    <a:pt x="642" y="459"/>
                  </a:lnTo>
                  <a:lnTo>
                    <a:pt x="638" y="459"/>
                  </a:lnTo>
                  <a:lnTo>
                    <a:pt x="634" y="459"/>
                  </a:lnTo>
                  <a:lnTo>
                    <a:pt x="630" y="459"/>
                  </a:lnTo>
                  <a:lnTo>
                    <a:pt x="630" y="455"/>
                  </a:lnTo>
                  <a:lnTo>
                    <a:pt x="626" y="459"/>
                  </a:lnTo>
                  <a:lnTo>
                    <a:pt x="630" y="459"/>
                  </a:lnTo>
                  <a:lnTo>
                    <a:pt x="626" y="459"/>
                  </a:lnTo>
                  <a:lnTo>
                    <a:pt x="626" y="455"/>
                  </a:lnTo>
                  <a:lnTo>
                    <a:pt x="622" y="455"/>
                  </a:lnTo>
                  <a:lnTo>
                    <a:pt x="618" y="455"/>
                  </a:lnTo>
                  <a:lnTo>
                    <a:pt x="618" y="451"/>
                  </a:lnTo>
                  <a:lnTo>
                    <a:pt x="614" y="451"/>
                  </a:lnTo>
                  <a:lnTo>
                    <a:pt x="614" y="447"/>
                  </a:lnTo>
                  <a:lnTo>
                    <a:pt x="614" y="443"/>
                  </a:lnTo>
                  <a:lnTo>
                    <a:pt x="614" y="447"/>
                  </a:lnTo>
                  <a:lnTo>
                    <a:pt x="610" y="447"/>
                  </a:lnTo>
                  <a:lnTo>
                    <a:pt x="614" y="447"/>
                  </a:lnTo>
                  <a:lnTo>
                    <a:pt x="614" y="451"/>
                  </a:lnTo>
                  <a:lnTo>
                    <a:pt x="618" y="451"/>
                  </a:lnTo>
                  <a:lnTo>
                    <a:pt x="618" y="455"/>
                  </a:lnTo>
                  <a:lnTo>
                    <a:pt x="614" y="455"/>
                  </a:lnTo>
                  <a:lnTo>
                    <a:pt x="618" y="455"/>
                  </a:lnTo>
                  <a:lnTo>
                    <a:pt x="622" y="459"/>
                  </a:lnTo>
                  <a:lnTo>
                    <a:pt x="618" y="459"/>
                  </a:lnTo>
                  <a:lnTo>
                    <a:pt x="618" y="463"/>
                  </a:lnTo>
                  <a:lnTo>
                    <a:pt x="614" y="463"/>
                  </a:lnTo>
                  <a:lnTo>
                    <a:pt x="610" y="463"/>
                  </a:lnTo>
                  <a:lnTo>
                    <a:pt x="614" y="463"/>
                  </a:lnTo>
                  <a:lnTo>
                    <a:pt x="614" y="467"/>
                  </a:lnTo>
                  <a:lnTo>
                    <a:pt x="610" y="467"/>
                  </a:lnTo>
                  <a:lnTo>
                    <a:pt x="606" y="467"/>
                  </a:lnTo>
                  <a:lnTo>
                    <a:pt x="606" y="471"/>
                  </a:lnTo>
                  <a:lnTo>
                    <a:pt x="602" y="471"/>
                  </a:lnTo>
                  <a:lnTo>
                    <a:pt x="602" y="467"/>
                  </a:lnTo>
                  <a:lnTo>
                    <a:pt x="602" y="471"/>
                  </a:lnTo>
                  <a:lnTo>
                    <a:pt x="606" y="471"/>
                  </a:lnTo>
                  <a:lnTo>
                    <a:pt x="602" y="471"/>
                  </a:lnTo>
                  <a:lnTo>
                    <a:pt x="602" y="475"/>
                  </a:lnTo>
                  <a:lnTo>
                    <a:pt x="602" y="479"/>
                  </a:lnTo>
                  <a:lnTo>
                    <a:pt x="598" y="479"/>
                  </a:lnTo>
                  <a:lnTo>
                    <a:pt x="598" y="483"/>
                  </a:lnTo>
                  <a:lnTo>
                    <a:pt x="594" y="483"/>
                  </a:lnTo>
                  <a:lnTo>
                    <a:pt x="594" y="487"/>
                  </a:lnTo>
                  <a:lnTo>
                    <a:pt x="590" y="487"/>
                  </a:lnTo>
                  <a:lnTo>
                    <a:pt x="590" y="491"/>
                  </a:lnTo>
                  <a:lnTo>
                    <a:pt x="590" y="495"/>
                  </a:lnTo>
                  <a:lnTo>
                    <a:pt x="586" y="499"/>
                  </a:lnTo>
                  <a:lnTo>
                    <a:pt x="586" y="495"/>
                  </a:lnTo>
                  <a:lnTo>
                    <a:pt x="586" y="499"/>
                  </a:lnTo>
                  <a:lnTo>
                    <a:pt x="582" y="499"/>
                  </a:lnTo>
                  <a:lnTo>
                    <a:pt x="582" y="495"/>
                  </a:lnTo>
                  <a:lnTo>
                    <a:pt x="586" y="495"/>
                  </a:lnTo>
                  <a:lnTo>
                    <a:pt x="582" y="495"/>
                  </a:lnTo>
                  <a:lnTo>
                    <a:pt x="582" y="499"/>
                  </a:lnTo>
                  <a:lnTo>
                    <a:pt x="582" y="503"/>
                  </a:lnTo>
                  <a:lnTo>
                    <a:pt x="578" y="503"/>
                  </a:lnTo>
                  <a:lnTo>
                    <a:pt x="578" y="507"/>
                  </a:lnTo>
                  <a:lnTo>
                    <a:pt x="574" y="507"/>
                  </a:lnTo>
                  <a:lnTo>
                    <a:pt x="574" y="503"/>
                  </a:lnTo>
                  <a:lnTo>
                    <a:pt x="570" y="503"/>
                  </a:lnTo>
                  <a:lnTo>
                    <a:pt x="570" y="507"/>
                  </a:lnTo>
                  <a:lnTo>
                    <a:pt x="574" y="507"/>
                  </a:lnTo>
                  <a:lnTo>
                    <a:pt x="570" y="507"/>
                  </a:lnTo>
                  <a:lnTo>
                    <a:pt x="566" y="507"/>
                  </a:lnTo>
                  <a:lnTo>
                    <a:pt x="562" y="503"/>
                  </a:lnTo>
                  <a:lnTo>
                    <a:pt x="566" y="507"/>
                  </a:lnTo>
                  <a:lnTo>
                    <a:pt x="566" y="511"/>
                  </a:lnTo>
                  <a:lnTo>
                    <a:pt x="562" y="511"/>
                  </a:lnTo>
                  <a:lnTo>
                    <a:pt x="562" y="515"/>
                  </a:lnTo>
                  <a:lnTo>
                    <a:pt x="558" y="515"/>
                  </a:lnTo>
                  <a:lnTo>
                    <a:pt x="554" y="515"/>
                  </a:lnTo>
                  <a:lnTo>
                    <a:pt x="554" y="511"/>
                  </a:lnTo>
                  <a:lnTo>
                    <a:pt x="550" y="511"/>
                  </a:lnTo>
                  <a:lnTo>
                    <a:pt x="554" y="511"/>
                  </a:lnTo>
                  <a:lnTo>
                    <a:pt x="550" y="515"/>
                  </a:lnTo>
                  <a:lnTo>
                    <a:pt x="546" y="515"/>
                  </a:lnTo>
                  <a:lnTo>
                    <a:pt x="546" y="519"/>
                  </a:lnTo>
                  <a:lnTo>
                    <a:pt x="542" y="519"/>
                  </a:lnTo>
                  <a:lnTo>
                    <a:pt x="542" y="515"/>
                  </a:lnTo>
                  <a:lnTo>
                    <a:pt x="542" y="511"/>
                  </a:lnTo>
                  <a:lnTo>
                    <a:pt x="542" y="515"/>
                  </a:lnTo>
                  <a:lnTo>
                    <a:pt x="542" y="519"/>
                  </a:lnTo>
                  <a:lnTo>
                    <a:pt x="538" y="519"/>
                  </a:lnTo>
                  <a:lnTo>
                    <a:pt x="538" y="515"/>
                  </a:lnTo>
                  <a:lnTo>
                    <a:pt x="534" y="515"/>
                  </a:lnTo>
                  <a:lnTo>
                    <a:pt x="534" y="511"/>
                  </a:lnTo>
                  <a:lnTo>
                    <a:pt x="538" y="507"/>
                  </a:lnTo>
                  <a:lnTo>
                    <a:pt x="542" y="507"/>
                  </a:lnTo>
                  <a:lnTo>
                    <a:pt x="542" y="503"/>
                  </a:lnTo>
                  <a:lnTo>
                    <a:pt x="538" y="503"/>
                  </a:lnTo>
                  <a:lnTo>
                    <a:pt x="538" y="507"/>
                  </a:lnTo>
                  <a:lnTo>
                    <a:pt x="534" y="507"/>
                  </a:lnTo>
                  <a:lnTo>
                    <a:pt x="534" y="503"/>
                  </a:lnTo>
                  <a:lnTo>
                    <a:pt x="530" y="503"/>
                  </a:lnTo>
                  <a:lnTo>
                    <a:pt x="526" y="503"/>
                  </a:lnTo>
                  <a:lnTo>
                    <a:pt x="530" y="503"/>
                  </a:lnTo>
                  <a:lnTo>
                    <a:pt x="530" y="507"/>
                  </a:lnTo>
                  <a:lnTo>
                    <a:pt x="534" y="507"/>
                  </a:lnTo>
                  <a:lnTo>
                    <a:pt x="530" y="507"/>
                  </a:lnTo>
                  <a:lnTo>
                    <a:pt x="530" y="511"/>
                  </a:lnTo>
                  <a:lnTo>
                    <a:pt x="530" y="515"/>
                  </a:lnTo>
                  <a:lnTo>
                    <a:pt x="526" y="515"/>
                  </a:lnTo>
                  <a:lnTo>
                    <a:pt x="522" y="515"/>
                  </a:lnTo>
                  <a:lnTo>
                    <a:pt x="522" y="511"/>
                  </a:lnTo>
                  <a:lnTo>
                    <a:pt x="522" y="515"/>
                  </a:lnTo>
                  <a:lnTo>
                    <a:pt x="526" y="519"/>
                  </a:lnTo>
                  <a:lnTo>
                    <a:pt x="526" y="523"/>
                  </a:lnTo>
                  <a:lnTo>
                    <a:pt x="522" y="523"/>
                  </a:lnTo>
                  <a:lnTo>
                    <a:pt x="518" y="523"/>
                  </a:lnTo>
                  <a:lnTo>
                    <a:pt x="522" y="523"/>
                  </a:lnTo>
                  <a:lnTo>
                    <a:pt x="518" y="523"/>
                  </a:lnTo>
                  <a:lnTo>
                    <a:pt x="514" y="523"/>
                  </a:lnTo>
                  <a:lnTo>
                    <a:pt x="510" y="523"/>
                  </a:lnTo>
                  <a:lnTo>
                    <a:pt x="510" y="519"/>
                  </a:lnTo>
                  <a:lnTo>
                    <a:pt x="510" y="523"/>
                  </a:lnTo>
                  <a:lnTo>
                    <a:pt x="510" y="527"/>
                  </a:lnTo>
                  <a:lnTo>
                    <a:pt x="506" y="527"/>
                  </a:lnTo>
                  <a:lnTo>
                    <a:pt x="506" y="523"/>
                  </a:lnTo>
                  <a:lnTo>
                    <a:pt x="502" y="523"/>
                  </a:lnTo>
                  <a:lnTo>
                    <a:pt x="502" y="527"/>
                  </a:lnTo>
                  <a:lnTo>
                    <a:pt x="498" y="527"/>
                  </a:lnTo>
                  <a:lnTo>
                    <a:pt x="498" y="523"/>
                  </a:lnTo>
                  <a:lnTo>
                    <a:pt x="494" y="527"/>
                  </a:lnTo>
                  <a:lnTo>
                    <a:pt x="498" y="527"/>
                  </a:lnTo>
                  <a:lnTo>
                    <a:pt x="502" y="527"/>
                  </a:lnTo>
                  <a:lnTo>
                    <a:pt x="502" y="531"/>
                  </a:lnTo>
                  <a:lnTo>
                    <a:pt x="502" y="527"/>
                  </a:lnTo>
                  <a:lnTo>
                    <a:pt x="498" y="531"/>
                  </a:lnTo>
                  <a:lnTo>
                    <a:pt x="502" y="531"/>
                  </a:lnTo>
                  <a:lnTo>
                    <a:pt x="502" y="535"/>
                  </a:lnTo>
                  <a:lnTo>
                    <a:pt x="498" y="535"/>
                  </a:lnTo>
                  <a:lnTo>
                    <a:pt x="498" y="539"/>
                  </a:lnTo>
                  <a:lnTo>
                    <a:pt x="494" y="539"/>
                  </a:lnTo>
                  <a:lnTo>
                    <a:pt x="490" y="539"/>
                  </a:lnTo>
                  <a:lnTo>
                    <a:pt x="490" y="535"/>
                  </a:lnTo>
                  <a:lnTo>
                    <a:pt x="490" y="539"/>
                  </a:lnTo>
                  <a:lnTo>
                    <a:pt x="482" y="539"/>
                  </a:lnTo>
                  <a:lnTo>
                    <a:pt x="482" y="543"/>
                  </a:lnTo>
                  <a:lnTo>
                    <a:pt x="486" y="543"/>
                  </a:lnTo>
                  <a:lnTo>
                    <a:pt x="486" y="547"/>
                  </a:lnTo>
                  <a:lnTo>
                    <a:pt x="490" y="547"/>
                  </a:lnTo>
                  <a:lnTo>
                    <a:pt x="490" y="551"/>
                  </a:lnTo>
                  <a:lnTo>
                    <a:pt x="490" y="555"/>
                  </a:lnTo>
                  <a:lnTo>
                    <a:pt x="494" y="555"/>
                  </a:lnTo>
                  <a:lnTo>
                    <a:pt x="490" y="555"/>
                  </a:lnTo>
                  <a:lnTo>
                    <a:pt x="486" y="555"/>
                  </a:lnTo>
                  <a:lnTo>
                    <a:pt x="482" y="559"/>
                  </a:lnTo>
                  <a:lnTo>
                    <a:pt x="478" y="555"/>
                  </a:lnTo>
                  <a:lnTo>
                    <a:pt x="474" y="555"/>
                  </a:lnTo>
                  <a:lnTo>
                    <a:pt x="474" y="559"/>
                  </a:lnTo>
                  <a:lnTo>
                    <a:pt x="478" y="559"/>
                  </a:lnTo>
                  <a:lnTo>
                    <a:pt x="482" y="563"/>
                  </a:lnTo>
                  <a:lnTo>
                    <a:pt x="486" y="563"/>
                  </a:lnTo>
                  <a:lnTo>
                    <a:pt x="486" y="559"/>
                  </a:lnTo>
                  <a:lnTo>
                    <a:pt x="490" y="563"/>
                  </a:lnTo>
                  <a:lnTo>
                    <a:pt x="486" y="567"/>
                  </a:lnTo>
                  <a:lnTo>
                    <a:pt x="490" y="567"/>
                  </a:lnTo>
                  <a:lnTo>
                    <a:pt x="490" y="571"/>
                  </a:lnTo>
                  <a:lnTo>
                    <a:pt x="490" y="575"/>
                  </a:lnTo>
                  <a:lnTo>
                    <a:pt x="486" y="575"/>
                  </a:lnTo>
                  <a:lnTo>
                    <a:pt x="486" y="571"/>
                  </a:lnTo>
                  <a:lnTo>
                    <a:pt x="482" y="571"/>
                  </a:lnTo>
                  <a:lnTo>
                    <a:pt x="478" y="571"/>
                  </a:lnTo>
                  <a:lnTo>
                    <a:pt x="474" y="571"/>
                  </a:lnTo>
                  <a:lnTo>
                    <a:pt x="478" y="571"/>
                  </a:lnTo>
                  <a:lnTo>
                    <a:pt x="482" y="571"/>
                  </a:lnTo>
                  <a:lnTo>
                    <a:pt x="482" y="575"/>
                  </a:lnTo>
                  <a:lnTo>
                    <a:pt x="486" y="575"/>
                  </a:lnTo>
                  <a:lnTo>
                    <a:pt x="486" y="579"/>
                  </a:lnTo>
                  <a:lnTo>
                    <a:pt x="486" y="575"/>
                  </a:lnTo>
                  <a:lnTo>
                    <a:pt x="482" y="575"/>
                  </a:lnTo>
                  <a:lnTo>
                    <a:pt x="482" y="579"/>
                  </a:lnTo>
                  <a:lnTo>
                    <a:pt x="478" y="579"/>
                  </a:lnTo>
                  <a:lnTo>
                    <a:pt x="478" y="575"/>
                  </a:lnTo>
                  <a:lnTo>
                    <a:pt x="478" y="579"/>
                  </a:lnTo>
                  <a:lnTo>
                    <a:pt x="482" y="579"/>
                  </a:lnTo>
                  <a:lnTo>
                    <a:pt x="478" y="579"/>
                  </a:lnTo>
                  <a:lnTo>
                    <a:pt x="474" y="579"/>
                  </a:lnTo>
                  <a:lnTo>
                    <a:pt x="478" y="579"/>
                  </a:lnTo>
                  <a:lnTo>
                    <a:pt x="482" y="583"/>
                  </a:lnTo>
                  <a:lnTo>
                    <a:pt x="478" y="583"/>
                  </a:lnTo>
                  <a:lnTo>
                    <a:pt x="478" y="579"/>
                  </a:lnTo>
                  <a:lnTo>
                    <a:pt x="474" y="579"/>
                  </a:lnTo>
                  <a:lnTo>
                    <a:pt x="471" y="579"/>
                  </a:lnTo>
                  <a:lnTo>
                    <a:pt x="474" y="583"/>
                  </a:lnTo>
                  <a:lnTo>
                    <a:pt x="478" y="583"/>
                  </a:lnTo>
                  <a:lnTo>
                    <a:pt x="478" y="587"/>
                  </a:lnTo>
                  <a:lnTo>
                    <a:pt x="474" y="587"/>
                  </a:lnTo>
                  <a:lnTo>
                    <a:pt x="471" y="587"/>
                  </a:lnTo>
                  <a:lnTo>
                    <a:pt x="471" y="583"/>
                  </a:lnTo>
                  <a:lnTo>
                    <a:pt x="471" y="587"/>
                  </a:lnTo>
                  <a:lnTo>
                    <a:pt x="474" y="587"/>
                  </a:lnTo>
                  <a:lnTo>
                    <a:pt x="474" y="591"/>
                  </a:lnTo>
                  <a:lnTo>
                    <a:pt x="471" y="591"/>
                  </a:lnTo>
                  <a:lnTo>
                    <a:pt x="471" y="587"/>
                  </a:lnTo>
                  <a:lnTo>
                    <a:pt x="467" y="587"/>
                  </a:lnTo>
                  <a:lnTo>
                    <a:pt x="471" y="591"/>
                  </a:lnTo>
                  <a:lnTo>
                    <a:pt x="474" y="591"/>
                  </a:lnTo>
                  <a:lnTo>
                    <a:pt x="474" y="595"/>
                  </a:lnTo>
                  <a:lnTo>
                    <a:pt x="471" y="595"/>
                  </a:lnTo>
                  <a:lnTo>
                    <a:pt x="467" y="595"/>
                  </a:lnTo>
                  <a:lnTo>
                    <a:pt x="463" y="595"/>
                  </a:lnTo>
                  <a:lnTo>
                    <a:pt x="463" y="591"/>
                  </a:lnTo>
                  <a:lnTo>
                    <a:pt x="467" y="591"/>
                  </a:lnTo>
                  <a:lnTo>
                    <a:pt x="463" y="591"/>
                  </a:lnTo>
                  <a:lnTo>
                    <a:pt x="463" y="595"/>
                  </a:lnTo>
                  <a:lnTo>
                    <a:pt x="463" y="599"/>
                  </a:lnTo>
                  <a:lnTo>
                    <a:pt x="459" y="595"/>
                  </a:lnTo>
                  <a:lnTo>
                    <a:pt x="459" y="599"/>
                  </a:lnTo>
                  <a:lnTo>
                    <a:pt x="455" y="599"/>
                  </a:lnTo>
                  <a:lnTo>
                    <a:pt x="451" y="595"/>
                  </a:lnTo>
                  <a:lnTo>
                    <a:pt x="451" y="599"/>
                  </a:lnTo>
                  <a:lnTo>
                    <a:pt x="455" y="599"/>
                  </a:lnTo>
                  <a:lnTo>
                    <a:pt x="459" y="599"/>
                  </a:lnTo>
                  <a:lnTo>
                    <a:pt x="463" y="603"/>
                  </a:lnTo>
                  <a:lnTo>
                    <a:pt x="467" y="603"/>
                  </a:lnTo>
                  <a:lnTo>
                    <a:pt x="467" y="607"/>
                  </a:lnTo>
                  <a:lnTo>
                    <a:pt x="463" y="607"/>
                  </a:lnTo>
                  <a:lnTo>
                    <a:pt x="463" y="603"/>
                  </a:lnTo>
                  <a:lnTo>
                    <a:pt x="459" y="603"/>
                  </a:lnTo>
                  <a:lnTo>
                    <a:pt x="455" y="603"/>
                  </a:lnTo>
                  <a:lnTo>
                    <a:pt x="459" y="603"/>
                  </a:lnTo>
                  <a:lnTo>
                    <a:pt x="459" y="607"/>
                  </a:lnTo>
                  <a:lnTo>
                    <a:pt x="463" y="607"/>
                  </a:lnTo>
                  <a:lnTo>
                    <a:pt x="467" y="611"/>
                  </a:lnTo>
                  <a:lnTo>
                    <a:pt x="463" y="611"/>
                  </a:lnTo>
                  <a:lnTo>
                    <a:pt x="463" y="615"/>
                  </a:lnTo>
                  <a:lnTo>
                    <a:pt x="467" y="615"/>
                  </a:lnTo>
                  <a:lnTo>
                    <a:pt x="467" y="619"/>
                  </a:lnTo>
                  <a:lnTo>
                    <a:pt x="463" y="619"/>
                  </a:lnTo>
                  <a:lnTo>
                    <a:pt x="467" y="619"/>
                  </a:lnTo>
                  <a:lnTo>
                    <a:pt x="463" y="622"/>
                  </a:lnTo>
                  <a:lnTo>
                    <a:pt x="459" y="622"/>
                  </a:lnTo>
                  <a:lnTo>
                    <a:pt x="459" y="619"/>
                  </a:lnTo>
                  <a:lnTo>
                    <a:pt x="455" y="619"/>
                  </a:lnTo>
                  <a:lnTo>
                    <a:pt x="455" y="622"/>
                  </a:lnTo>
                  <a:lnTo>
                    <a:pt x="459" y="619"/>
                  </a:lnTo>
                  <a:lnTo>
                    <a:pt x="459" y="622"/>
                  </a:lnTo>
                  <a:lnTo>
                    <a:pt x="463" y="622"/>
                  </a:lnTo>
                  <a:lnTo>
                    <a:pt x="463" y="626"/>
                  </a:lnTo>
                  <a:lnTo>
                    <a:pt x="459" y="626"/>
                  </a:lnTo>
                  <a:lnTo>
                    <a:pt x="455" y="626"/>
                  </a:lnTo>
                  <a:lnTo>
                    <a:pt x="459" y="626"/>
                  </a:lnTo>
                  <a:lnTo>
                    <a:pt x="463" y="626"/>
                  </a:lnTo>
                  <a:lnTo>
                    <a:pt x="463" y="630"/>
                  </a:lnTo>
                  <a:lnTo>
                    <a:pt x="459" y="630"/>
                  </a:lnTo>
                  <a:lnTo>
                    <a:pt x="459" y="634"/>
                  </a:lnTo>
                  <a:lnTo>
                    <a:pt x="459" y="630"/>
                  </a:lnTo>
                  <a:lnTo>
                    <a:pt x="455" y="630"/>
                  </a:lnTo>
                  <a:lnTo>
                    <a:pt x="451" y="630"/>
                  </a:lnTo>
                  <a:lnTo>
                    <a:pt x="455" y="630"/>
                  </a:lnTo>
                  <a:lnTo>
                    <a:pt x="459" y="634"/>
                  </a:lnTo>
                  <a:lnTo>
                    <a:pt x="455" y="634"/>
                  </a:lnTo>
                  <a:lnTo>
                    <a:pt x="459" y="634"/>
                  </a:lnTo>
                  <a:lnTo>
                    <a:pt x="455" y="634"/>
                  </a:lnTo>
                  <a:lnTo>
                    <a:pt x="451" y="634"/>
                  </a:lnTo>
                  <a:lnTo>
                    <a:pt x="455" y="634"/>
                  </a:lnTo>
                  <a:lnTo>
                    <a:pt x="459" y="634"/>
                  </a:lnTo>
                  <a:lnTo>
                    <a:pt x="459" y="638"/>
                  </a:lnTo>
                  <a:lnTo>
                    <a:pt x="455" y="638"/>
                  </a:lnTo>
                  <a:lnTo>
                    <a:pt x="451" y="638"/>
                  </a:lnTo>
                  <a:lnTo>
                    <a:pt x="447" y="634"/>
                  </a:lnTo>
                  <a:lnTo>
                    <a:pt x="447" y="638"/>
                  </a:lnTo>
                  <a:lnTo>
                    <a:pt x="451" y="638"/>
                  </a:lnTo>
                  <a:lnTo>
                    <a:pt x="455" y="638"/>
                  </a:lnTo>
                  <a:lnTo>
                    <a:pt x="459" y="638"/>
                  </a:lnTo>
                  <a:lnTo>
                    <a:pt x="459" y="642"/>
                  </a:lnTo>
                  <a:lnTo>
                    <a:pt x="455" y="642"/>
                  </a:lnTo>
                  <a:lnTo>
                    <a:pt x="451" y="642"/>
                  </a:lnTo>
                  <a:lnTo>
                    <a:pt x="447" y="642"/>
                  </a:lnTo>
                  <a:lnTo>
                    <a:pt x="451" y="642"/>
                  </a:lnTo>
                  <a:lnTo>
                    <a:pt x="455" y="642"/>
                  </a:lnTo>
                  <a:lnTo>
                    <a:pt x="459" y="642"/>
                  </a:lnTo>
                  <a:lnTo>
                    <a:pt x="459" y="646"/>
                  </a:lnTo>
                  <a:lnTo>
                    <a:pt x="455" y="646"/>
                  </a:lnTo>
                  <a:lnTo>
                    <a:pt x="455" y="642"/>
                  </a:lnTo>
                  <a:lnTo>
                    <a:pt x="451" y="642"/>
                  </a:lnTo>
                  <a:lnTo>
                    <a:pt x="447" y="642"/>
                  </a:lnTo>
                  <a:lnTo>
                    <a:pt x="451" y="646"/>
                  </a:lnTo>
                  <a:lnTo>
                    <a:pt x="455" y="646"/>
                  </a:lnTo>
                  <a:lnTo>
                    <a:pt x="459" y="646"/>
                  </a:lnTo>
                  <a:lnTo>
                    <a:pt x="455" y="646"/>
                  </a:lnTo>
                  <a:lnTo>
                    <a:pt x="451" y="646"/>
                  </a:lnTo>
                  <a:lnTo>
                    <a:pt x="455" y="646"/>
                  </a:lnTo>
                  <a:lnTo>
                    <a:pt x="455" y="650"/>
                  </a:lnTo>
                  <a:lnTo>
                    <a:pt x="455" y="646"/>
                  </a:lnTo>
                  <a:lnTo>
                    <a:pt x="459" y="646"/>
                  </a:lnTo>
                  <a:lnTo>
                    <a:pt x="455" y="650"/>
                  </a:lnTo>
                  <a:lnTo>
                    <a:pt x="451" y="650"/>
                  </a:lnTo>
                  <a:lnTo>
                    <a:pt x="451" y="654"/>
                  </a:lnTo>
                  <a:lnTo>
                    <a:pt x="447" y="650"/>
                  </a:lnTo>
                  <a:lnTo>
                    <a:pt x="443" y="650"/>
                  </a:lnTo>
                  <a:lnTo>
                    <a:pt x="443" y="646"/>
                  </a:lnTo>
                  <a:lnTo>
                    <a:pt x="443" y="650"/>
                  </a:lnTo>
                  <a:lnTo>
                    <a:pt x="439" y="650"/>
                  </a:lnTo>
                  <a:lnTo>
                    <a:pt x="435" y="650"/>
                  </a:lnTo>
                  <a:lnTo>
                    <a:pt x="439" y="650"/>
                  </a:lnTo>
                  <a:lnTo>
                    <a:pt x="447" y="650"/>
                  </a:lnTo>
                  <a:lnTo>
                    <a:pt x="451" y="654"/>
                  </a:lnTo>
                  <a:lnTo>
                    <a:pt x="447" y="654"/>
                  </a:lnTo>
                  <a:lnTo>
                    <a:pt x="447" y="658"/>
                  </a:lnTo>
                  <a:lnTo>
                    <a:pt x="447" y="654"/>
                  </a:lnTo>
                  <a:lnTo>
                    <a:pt x="451" y="654"/>
                  </a:lnTo>
                  <a:lnTo>
                    <a:pt x="451" y="658"/>
                  </a:lnTo>
                  <a:lnTo>
                    <a:pt x="451" y="662"/>
                  </a:lnTo>
                  <a:lnTo>
                    <a:pt x="447" y="662"/>
                  </a:lnTo>
                  <a:lnTo>
                    <a:pt x="443" y="662"/>
                  </a:lnTo>
                  <a:lnTo>
                    <a:pt x="443" y="658"/>
                  </a:lnTo>
                  <a:lnTo>
                    <a:pt x="439" y="658"/>
                  </a:lnTo>
                  <a:lnTo>
                    <a:pt x="439" y="654"/>
                  </a:lnTo>
                  <a:lnTo>
                    <a:pt x="439" y="658"/>
                  </a:lnTo>
                  <a:lnTo>
                    <a:pt x="435" y="658"/>
                  </a:lnTo>
                  <a:lnTo>
                    <a:pt x="435" y="662"/>
                  </a:lnTo>
                  <a:lnTo>
                    <a:pt x="431" y="658"/>
                  </a:lnTo>
                  <a:lnTo>
                    <a:pt x="431" y="662"/>
                  </a:lnTo>
                  <a:lnTo>
                    <a:pt x="431" y="666"/>
                  </a:lnTo>
                  <a:lnTo>
                    <a:pt x="427" y="662"/>
                  </a:lnTo>
                  <a:lnTo>
                    <a:pt x="423" y="662"/>
                  </a:lnTo>
                  <a:lnTo>
                    <a:pt x="423" y="658"/>
                  </a:lnTo>
                  <a:lnTo>
                    <a:pt x="427" y="658"/>
                  </a:lnTo>
                  <a:lnTo>
                    <a:pt x="427" y="654"/>
                  </a:lnTo>
                  <a:lnTo>
                    <a:pt x="431" y="654"/>
                  </a:lnTo>
                  <a:lnTo>
                    <a:pt x="431" y="650"/>
                  </a:lnTo>
                  <a:lnTo>
                    <a:pt x="427" y="658"/>
                  </a:lnTo>
                  <a:lnTo>
                    <a:pt x="423" y="658"/>
                  </a:lnTo>
                  <a:lnTo>
                    <a:pt x="423" y="662"/>
                  </a:lnTo>
                  <a:lnTo>
                    <a:pt x="419" y="662"/>
                  </a:lnTo>
                  <a:lnTo>
                    <a:pt x="423" y="658"/>
                  </a:lnTo>
                  <a:lnTo>
                    <a:pt x="419" y="658"/>
                  </a:lnTo>
                  <a:lnTo>
                    <a:pt x="423" y="658"/>
                  </a:lnTo>
                  <a:lnTo>
                    <a:pt x="423" y="654"/>
                  </a:lnTo>
                  <a:lnTo>
                    <a:pt x="427" y="654"/>
                  </a:lnTo>
                  <a:lnTo>
                    <a:pt x="427" y="646"/>
                  </a:lnTo>
                  <a:lnTo>
                    <a:pt x="431" y="646"/>
                  </a:lnTo>
                  <a:lnTo>
                    <a:pt x="427" y="646"/>
                  </a:lnTo>
                  <a:lnTo>
                    <a:pt x="427" y="650"/>
                  </a:lnTo>
                  <a:lnTo>
                    <a:pt x="423" y="650"/>
                  </a:lnTo>
                  <a:lnTo>
                    <a:pt x="423" y="654"/>
                  </a:lnTo>
                  <a:lnTo>
                    <a:pt x="419" y="654"/>
                  </a:lnTo>
                  <a:lnTo>
                    <a:pt x="419" y="650"/>
                  </a:lnTo>
                  <a:lnTo>
                    <a:pt x="423" y="650"/>
                  </a:lnTo>
                  <a:lnTo>
                    <a:pt x="423" y="646"/>
                  </a:lnTo>
                  <a:lnTo>
                    <a:pt x="423" y="650"/>
                  </a:lnTo>
                  <a:lnTo>
                    <a:pt x="419" y="650"/>
                  </a:lnTo>
                  <a:lnTo>
                    <a:pt x="415" y="650"/>
                  </a:lnTo>
                  <a:lnTo>
                    <a:pt x="419" y="650"/>
                  </a:lnTo>
                  <a:lnTo>
                    <a:pt x="419" y="646"/>
                  </a:lnTo>
                  <a:lnTo>
                    <a:pt x="419" y="650"/>
                  </a:lnTo>
                  <a:lnTo>
                    <a:pt x="415" y="650"/>
                  </a:lnTo>
                  <a:lnTo>
                    <a:pt x="415" y="654"/>
                  </a:lnTo>
                  <a:lnTo>
                    <a:pt x="411" y="650"/>
                  </a:lnTo>
                  <a:lnTo>
                    <a:pt x="415" y="650"/>
                  </a:lnTo>
                  <a:lnTo>
                    <a:pt x="411" y="650"/>
                  </a:lnTo>
                  <a:lnTo>
                    <a:pt x="415" y="646"/>
                  </a:lnTo>
                  <a:lnTo>
                    <a:pt x="411" y="646"/>
                  </a:lnTo>
                  <a:lnTo>
                    <a:pt x="415" y="646"/>
                  </a:lnTo>
                  <a:lnTo>
                    <a:pt x="419" y="642"/>
                  </a:lnTo>
                  <a:lnTo>
                    <a:pt x="419" y="638"/>
                  </a:lnTo>
                  <a:lnTo>
                    <a:pt x="419" y="642"/>
                  </a:lnTo>
                  <a:lnTo>
                    <a:pt x="415" y="642"/>
                  </a:lnTo>
                  <a:lnTo>
                    <a:pt x="415" y="646"/>
                  </a:lnTo>
                  <a:lnTo>
                    <a:pt x="411" y="646"/>
                  </a:lnTo>
                  <a:lnTo>
                    <a:pt x="411" y="642"/>
                  </a:lnTo>
                  <a:lnTo>
                    <a:pt x="411" y="646"/>
                  </a:lnTo>
                  <a:lnTo>
                    <a:pt x="407" y="646"/>
                  </a:lnTo>
                  <a:lnTo>
                    <a:pt x="407" y="642"/>
                  </a:lnTo>
                  <a:lnTo>
                    <a:pt x="411" y="642"/>
                  </a:lnTo>
                  <a:lnTo>
                    <a:pt x="407" y="642"/>
                  </a:lnTo>
                  <a:lnTo>
                    <a:pt x="407" y="646"/>
                  </a:lnTo>
                  <a:lnTo>
                    <a:pt x="407" y="642"/>
                  </a:lnTo>
                  <a:lnTo>
                    <a:pt x="411" y="642"/>
                  </a:lnTo>
                  <a:lnTo>
                    <a:pt x="415" y="642"/>
                  </a:lnTo>
                  <a:lnTo>
                    <a:pt x="415" y="638"/>
                  </a:lnTo>
                  <a:lnTo>
                    <a:pt x="419" y="638"/>
                  </a:lnTo>
                  <a:lnTo>
                    <a:pt x="419" y="634"/>
                  </a:lnTo>
                  <a:lnTo>
                    <a:pt x="419" y="638"/>
                  </a:lnTo>
                  <a:lnTo>
                    <a:pt x="419" y="634"/>
                  </a:lnTo>
                  <a:lnTo>
                    <a:pt x="415" y="634"/>
                  </a:lnTo>
                  <a:lnTo>
                    <a:pt x="415" y="638"/>
                  </a:lnTo>
                  <a:lnTo>
                    <a:pt x="411" y="642"/>
                  </a:lnTo>
                  <a:lnTo>
                    <a:pt x="411" y="638"/>
                  </a:lnTo>
                  <a:lnTo>
                    <a:pt x="411" y="642"/>
                  </a:lnTo>
                  <a:lnTo>
                    <a:pt x="407" y="642"/>
                  </a:lnTo>
                  <a:lnTo>
                    <a:pt x="407" y="638"/>
                  </a:lnTo>
                  <a:lnTo>
                    <a:pt x="411" y="638"/>
                  </a:lnTo>
                  <a:lnTo>
                    <a:pt x="415" y="634"/>
                  </a:lnTo>
                  <a:lnTo>
                    <a:pt x="411" y="634"/>
                  </a:lnTo>
                  <a:lnTo>
                    <a:pt x="411" y="630"/>
                  </a:lnTo>
                  <a:lnTo>
                    <a:pt x="415" y="630"/>
                  </a:lnTo>
                  <a:lnTo>
                    <a:pt x="411" y="630"/>
                  </a:lnTo>
                  <a:lnTo>
                    <a:pt x="407" y="634"/>
                  </a:lnTo>
                  <a:lnTo>
                    <a:pt x="411" y="634"/>
                  </a:lnTo>
                  <a:lnTo>
                    <a:pt x="411" y="638"/>
                  </a:lnTo>
                  <a:lnTo>
                    <a:pt x="407" y="638"/>
                  </a:lnTo>
                  <a:lnTo>
                    <a:pt x="403" y="638"/>
                  </a:lnTo>
                  <a:lnTo>
                    <a:pt x="399" y="638"/>
                  </a:lnTo>
                  <a:lnTo>
                    <a:pt x="399" y="642"/>
                  </a:lnTo>
                  <a:lnTo>
                    <a:pt x="395" y="642"/>
                  </a:lnTo>
                  <a:lnTo>
                    <a:pt x="399" y="642"/>
                  </a:lnTo>
                  <a:lnTo>
                    <a:pt x="395" y="646"/>
                  </a:lnTo>
                  <a:lnTo>
                    <a:pt x="395" y="642"/>
                  </a:lnTo>
                  <a:lnTo>
                    <a:pt x="395" y="638"/>
                  </a:lnTo>
                  <a:lnTo>
                    <a:pt x="391" y="642"/>
                  </a:lnTo>
                  <a:lnTo>
                    <a:pt x="387" y="642"/>
                  </a:lnTo>
                  <a:lnTo>
                    <a:pt x="383" y="642"/>
                  </a:lnTo>
                  <a:lnTo>
                    <a:pt x="387" y="642"/>
                  </a:lnTo>
                  <a:lnTo>
                    <a:pt x="383" y="642"/>
                  </a:lnTo>
                  <a:lnTo>
                    <a:pt x="379" y="642"/>
                  </a:lnTo>
                  <a:lnTo>
                    <a:pt x="375" y="642"/>
                  </a:lnTo>
                  <a:lnTo>
                    <a:pt x="379" y="642"/>
                  </a:lnTo>
                  <a:lnTo>
                    <a:pt x="383" y="638"/>
                  </a:lnTo>
                  <a:lnTo>
                    <a:pt x="379" y="638"/>
                  </a:lnTo>
                  <a:lnTo>
                    <a:pt x="375" y="642"/>
                  </a:lnTo>
                  <a:lnTo>
                    <a:pt x="375" y="638"/>
                  </a:lnTo>
                  <a:lnTo>
                    <a:pt x="371" y="638"/>
                  </a:lnTo>
                  <a:lnTo>
                    <a:pt x="375" y="638"/>
                  </a:lnTo>
                  <a:lnTo>
                    <a:pt x="379" y="638"/>
                  </a:lnTo>
                  <a:lnTo>
                    <a:pt x="375" y="638"/>
                  </a:lnTo>
                  <a:lnTo>
                    <a:pt x="375" y="634"/>
                  </a:lnTo>
                  <a:lnTo>
                    <a:pt x="379" y="630"/>
                  </a:lnTo>
                  <a:lnTo>
                    <a:pt x="375" y="630"/>
                  </a:lnTo>
                  <a:lnTo>
                    <a:pt x="375" y="634"/>
                  </a:lnTo>
                  <a:lnTo>
                    <a:pt x="375" y="638"/>
                  </a:lnTo>
                  <a:lnTo>
                    <a:pt x="371" y="634"/>
                  </a:lnTo>
                  <a:lnTo>
                    <a:pt x="375" y="634"/>
                  </a:lnTo>
                  <a:lnTo>
                    <a:pt x="371" y="634"/>
                  </a:lnTo>
                  <a:lnTo>
                    <a:pt x="367" y="634"/>
                  </a:lnTo>
                  <a:lnTo>
                    <a:pt x="371" y="634"/>
                  </a:lnTo>
                  <a:lnTo>
                    <a:pt x="371" y="630"/>
                  </a:lnTo>
                  <a:lnTo>
                    <a:pt x="367" y="630"/>
                  </a:lnTo>
                  <a:lnTo>
                    <a:pt x="363" y="630"/>
                  </a:lnTo>
                  <a:lnTo>
                    <a:pt x="367" y="626"/>
                  </a:lnTo>
                  <a:lnTo>
                    <a:pt x="371" y="626"/>
                  </a:lnTo>
                  <a:lnTo>
                    <a:pt x="375" y="626"/>
                  </a:lnTo>
                  <a:lnTo>
                    <a:pt x="371" y="626"/>
                  </a:lnTo>
                  <a:lnTo>
                    <a:pt x="367" y="626"/>
                  </a:lnTo>
                  <a:lnTo>
                    <a:pt x="363" y="626"/>
                  </a:lnTo>
                  <a:lnTo>
                    <a:pt x="359" y="626"/>
                  </a:lnTo>
                  <a:lnTo>
                    <a:pt x="363" y="626"/>
                  </a:lnTo>
                  <a:lnTo>
                    <a:pt x="367" y="626"/>
                  </a:lnTo>
                  <a:lnTo>
                    <a:pt x="371" y="622"/>
                  </a:lnTo>
                  <a:lnTo>
                    <a:pt x="367" y="622"/>
                  </a:lnTo>
                  <a:lnTo>
                    <a:pt x="363" y="626"/>
                  </a:lnTo>
                  <a:lnTo>
                    <a:pt x="363" y="622"/>
                  </a:lnTo>
                  <a:lnTo>
                    <a:pt x="359" y="622"/>
                  </a:lnTo>
                  <a:lnTo>
                    <a:pt x="363" y="619"/>
                  </a:lnTo>
                  <a:lnTo>
                    <a:pt x="363" y="615"/>
                  </a:lnTo>
                  <a:lnTo>
                    <a:pt x="367" y="615"/>
                  </a:lnTo>
                  <a:lnTo>
                    <a:pt x="363" y="615"/>
                  </a:lnTo>
                  <a:lnTo>
                    <a:pt x="359" y="619"/>
                  </a:lnTo>
                  <a:lnTo>
                    <a:pt x="359" y="622"/>
                  </a:lnTo>
                  <a:lnTo>
                    <a:pt x="359" y="619"/>
                  </a:lnTo>
                  <a:lnTo>
                    <a:pt x="355" y="619"/>
                  </a:lnTo>
                  <a:lnTo>
                    <a:pt x="359" y="615"/>
                  </a:lnTo>
                  <a:lnTo>
                    <a:pt x="363" y="615"/>
                  </a:lnTo>
                  <a:lnTo>
                    <a:pt x="367" y="615"/>
                  </a:lnTo>
                  <a:lnTo>
                    <a:pt x="363" y="615"/>
                  </a:lnTo>
                  <a:lnTo>
                    <a:pt x="363" y="611"/>
                  </a:lnTo>
                  <a:lnTo>
                    <a:pt x="359" y="611"/>
                  </a:lnTo>
                  <a:lnTo>
                    <a:pt x="359" y="615"/>
                  </a:lnTo>
                  <a:lnTo>
                    <a:pt x="355" y="615"/>
                  </a:lnTo>
                  <a:lnTo>
                    <a:pt x="351" y="615"/>
                  </a:lnTo>
                  <a:lnTo>
                    <a:pt x="351" y="611"/>
                  </a:lnTo>
                  <a:lnTo>
                    <a:pt x="355" y="611"/>
                  </a:lnTo>
                  <a:lnTo>
                    <a:pt x="355" y="615"/>
                  </a:lnTo>
                  <a:lnTo>
                    <a:pt x="359" y="611"/>
                  </a:lnTo>
                  <a:lnTo>
                    <a:pt x="355" y="611"/>
                  </a:lnTo>
                  <a:lnTo>
                    <a:pt x="359" y="611"/>
                  </a:lnTo>
                  <a:lnTo>
                    <a:pt x="359" y="607"/>
                  </a:lnTo>
                  <a:lnTo>
                    <a:pt x="355" y="611"/>
                  </a:lnTo>
                  <a:lnTo>
                    <a:pt x="351" y="607"/>
                  </a:lnTo>
                  <a:lnTo>
                    <a:pt x="351" y="611"/>
                  </a:lnTo>
                  <a:lnTo>
                    <a:pt x="351" y="607"/>
                  </a:lnTo>
                  <a:lnTo>
                    <a:pt x="347" y="607"/>
                  </a:lnTo>
                  <a:lnTo>
                    <a:pt x="343" y="603"/>
                  </a:lnTo>
                  <a:lnTo>
                    <a:pt x="343" y="599"/>
                  </a:lnTo>
                  <a:lnTo>
                    <a:pt x="347" y="595"/>
                  </a:lnTo>
                  <a:lnTo>
                    <a:pt x="343" y="599"/>
                  </a:lnTo>
                  <a:lnTo>
                    <a:pt x="343" y="595"/>
                  </a:lnTo>
                  <a:lnTo>
                    <a:pt x="347" y="591"/>
                  </a:lnTo>
                  <a:lnTo>
                    <a:pt x="351" y="591"/>
                  </a:lnTo>
                  <a:lnTo>
                    <a:pt x="351" y="587"/>
                  </a:lnTo>
                  <a:lnTo>
                    <a:pt x="351" y="591"/>
                  </a:lnTo>
                  <a:lnTo>
                    <a:pt x="347" y="591"/>
                  </a:lnTo>
                  <a:lnTo>
                    <a:pt x="343" y="595"/>
                  </a:lnTo>
                  <a:lnTo>
                    <a:pt x="343" y="591"/>
                  </a:lnTo>
                  <a:lnTo>
                    <a:pt x="347" y="591"/>
                  </a:lnTo>
                  <a:lnTo>
                    <a:pt x="343" y="591"/>
                  </a:lnTo>
                  <a:lnTo>
                    <a:pt x="339" y="591"/>
                  </a:lnTo>
                  <a:lnTo>
                    <a:pt x="339" y="587"/>
                  </a:lnTo>
                  <a:lnTo>
                    <a:pt x="343" y="587"/>
                  </a:lnTo>
                  <a:lnTo>
                    <a:pt x="347" y="583"/>
                  </a:lnTo>
                  <a:lnTo>
                    <a:pt x="343" y="583"/>
                  </a:lnTo>
                  <a:lnTo>
                    <a:pt x="343" y="587"/>
                  </a:lnTo>
                  <a:lnTo>
                    <a:pt x="339" y="587"/>
                  </a:lnTo>
                  <a:lnTo>
                    <a:pt x="339" y="583"/>
                  </a:lnTo>
                  <a:lnTo>
                    <a:pt x="335" y="587"/>
                  </a:lnTo>
                  <a:lnTo>
                    <a:pt x="335" y="583"/>
                  </a:lnTo>
                  <a:lnTo>
                    <a:pt x="335" y="587"/>
                  </a:lnTo>
                  <a:lnTo>
                    <a:pt x="331" y="587"/>
                  </a:lnTo>
                  <a:lnTo>
                    <a:pt x="331" y="583"/>
                  </a:lnTo>
                  <a:lnTo>
                    <a:pt x="335" y="583"/>
                  </a:lnTo>
                  <a:lnTo>
                    <a:pt x="339" y="583"/>
                  </a:lnTo>
                  <a:lnTo>
                    <a:pt x="343" y="579"/>
                  </a:lnTo>
                  <a:lnTo>
                    <a:pt x="339" y="579"/>
                  </a:lnTo>
                  <a:lnTo>
                    <a:pt x="335" y="579"/>
                  </a:lnTo>
                  <a:lnTo>
                    <a:pt x="331" y="579"/>
                  </a:lnTo>
                  <a:lnTo>
                    <a:pt x="335" y="579"/>
                  </a:lnTo>
                  <a:lnTo>
                    <a:pt x="335" y="575"/>
                  </a:lnTo>
                  <a:lnTo>
                    <a:pt x="331" y="575"/>
                  </a:lnTo>
                  <a:lnTo>
                    <a:pt x="331" y="579"/>
                  </a:lnTo>
                  <a:lnTo>
                    <a:pt x="331" y="575"/>
                  </a:lnTo>
                  <a:lnTo>
                    <a:pt x="335" y="575"/>
                  </a:lnTo>
                  <a:lnTo>
                    <a:pt x="339" y="575"/>
                  </a:lnTo>
                  <a:lnTo>
                    <a:pt x="335" y="575"/>
                  </a:lnTo>
                  <a:lnTo>
                    <a:pt x="331" y="575"/>
                  </a:lnTo>
                  <a:lnTo>
                    <a:pt x="331" y="579"/>
                  </a:lnTo>
                  <a:lnTo>
                    <a:pt x="327" y="575"/>
                  </a:lnTo>
                  <a:lnTo>
                    <a:pt x="323" y="575"/>
                  </a:lnTo>
                  <a:lnTo>
                    <a:pt x="323" y="571"/>
                  </a:lnTo>
                  <a:lnTo>
                    <a:pt x="327" y="571"/>
                  </a:lnTo>
                  <a:lnTo>
                    <a:pt x="331" y="571"/>
                  </a:lnTo>
                  <a:lnTo>
                    <a:pt x="331" y="567"/>
                  </a:lnTo>
                  <a:lnTo>
                    <a:pt x="335" y="567"/>
                  </a:lnTo>
                  <a:lnTo>
                    <a:pt x="331" y="567"/>
                  </a:lnTo>
                  <a:lnTo>
                    <a:pt x="327" y="567"/>
                  </a:lnTo>
                  <a:lnTo>
                    <a:pt x="327" y="571"/>
                  </a:lnTo>
                  <a:lnTo>
                    <a:pt x="327" y="567"/>
                  </a:lnTo>
                  <a:lnTo>
                    <a:pt x="323" y="567"/>
                  </a:lnTo>
                  <a:lnTo>
                    <a:pt x="323" y="563"/>
                  </a:lnTo>
                  <a:lnTo>
                    <a:pt x="327" y="563"/>
                  </a:lnTo>
                  <a:lnTo>
                    <a:pt x="335" y="563"/>
                  </a:lnTo>
                  <a:lnTo>
                    <a:pt x="339" y="563"/>
                  </a:lnTo>
                  <a:lnTo>
                    <a:pt x="339" y="559"/>
                  </a:lnTo>
                  <a:lnTo>
                    <a:pt x="339" y="563"/>
                  </a:lnTo>
                  <a:lnTo>
                    <a:pt x="343" y="559"/>
                  </a:lnTo>
                  <a:lnTo>
                    <a:pt x="347" y="559"/>
                  </a:lnTo>
                  <a:lnTo>
                    <a:pt x="343" y="559"/>
                  </a:lnTo>
                  <a:lnTo>
                    <a:pt x="339" y="559"/>
                  </a:lnTo>
                  <a:lnTo>
                    <a:pt x="335" y="559"/>
                  </a:lnTo>
                  <a:lnTo>
                    <a:pt x="335" y="563"/>
                  </a:lnTo>
                  <a:lnTo>
                    <a:pt x="331" y="563"/>
                  </a:lnTo>
                  <a:lnTo>
                    <a:pt x="327" y="563"/>
                  </a:lnTo>
                  <a:lnTo>
                    <a:pt x="323" y="563"/>
                  </a:lnTo>
                  <a:lnTo>
                    <a:pt x="323" y="559"/>
                  </a:lnTo>
                  <a:lnTo>
                    <a:pt x="327" y="559"/>
                  </a:lnTo>
                  <a:lnTo>
                    <a:pt x="327" y="563"/>
                  </a:lnTo>
                  <a:lnTo>
                    <a:pt x="327" y="559"/>
                  </a:lnTo>
                  <a:lnTo>
                    <a:pt x="323" y="559"/>
                  </a:lnTo>
                  <a:lnTo>
                    <a:pt x="323" y="563"/>
                  </a:lnTo>
                  <a:lnTo>
                    <a:pt x="323" y="559"/>
                  </a:lnTo>
                  <a:lnTo>
                    <a:pt x="327" y="559"/>
                  </a:lnTo>
                  <a:lnTo>
                    <a:pt x="331" y="559"/>
                  </a:lnTo>
                  <a:lnTo>
                    <a:pt x="335" y="559"/>
                  </a:lnTo>
                  <a:lnTo>
                    <a:pt x="331" y="559"/>
                  </a:lnTo>
                  <a:lnTo>
                    <a:pt x="335" y="555"/>
                  </a:lnTo>
                  <a:lnTo>
                    <a:pt x="339" y="555"/>
                  </a:lnTo>
                  <a:lnTo>
                    <a:pt x="343" y="555"/>
                  </a:lnTo>
                  <a:lnTo>
                    <a:pt x="347" y="555"/>
                  </a:lnTo>
                  <a:lnTo>
                    <a:pt x="347" y="551"/>
                  </a:lnTo>
                  <a:lnTo>
                    <a:pt x="343" y="551"/>
                  </a:lnTo>
                  <a:lnTo>
                    <a:pt x="343" y="555"/>
                  </a:lnTo>
                  <a:lnTo>
                    <a:pt x="339" y="555"/>
                  </a:lnTo>
                  <a:lnTo>
                    <a:pt x="339" y="551"/>
                  </a:lnTo>
                  <a:lnTo>
                    <a:pt x="343" y="551"/>
                  </a:lnTo>
                  <a:lnTo>
                    <a:pt x="339" y="551"/>
                  </a:lnTo>
                  <a:lnTo>
                    <a:pt x="335" y="551"/>
                  </a:lnTo>
                  <a:lnTo>
                    <a:pt x="335" y="547"/>
                  </a:lnTo>
                  <a:lnTo>
                    <a:pt x="339" y="547"/>
                  </a:lnTo>
                  <a:lnTo>
                    <a:pt x="343" y="547"/>
                  </a:lnTo>
                  <a:lnTo>
                    <a:pt x="339" y="547"/>
                  </a:lnTo>
                  <a:lnTo>
                    <a:pt x="343" y="547"/>
                  </a:lnTo>
                  <a:lnTo>
                    <a:pt x="343" y="551"/>
                  </a:lnTo>
                  <a:lnTo>
                    <a:pt x="347" y="551"/>
                  </a:lnTo>
                  <a:lnTo>
                    <a:pt x="347" y="555"/>
                  </a:lnTo>
                  <a:lnTo>
                    <a:pt x="351" y="555"/>
                  </a:lnTo>
                  <a:lnTo>
                    <a:pt x="355" y="555"/>
                  </a:lnTo>
                  <a:lnTo>
                    <a:pt x="351" y="555"/>
                  </a:lnTo>
                  <a:lnTo>
                    <a:pt x="347" y="551"/>
                  </a:lnTo>
                  <a:lnTo>
                    <a:pt x="347" y="547"/>
                  </a:lnTo>
                  <a:lnTo>
                    <a:pt x="343" y="547"/>
                  </a:lnTo>
                  <a:lnTo>
                    <a:pt x="347" y="543"/>
                  </a:lnTo>
                  <a:lnTo>
                    <a:pt x="343" y="543"/>
                  </a:lnTo>
                  <a:lnTo>
                    <a:pt x="343" y="547"/>
                  </a:lnTo>
                  <a:lnTo>
                    <a:pt x="339" y="547"/>
                  </a:lnTo>
                  <a:lnTo>
                    <a:pt x="339" y="543"/>
                  </a:lnTo>
                  <a:lnTo>
                    <a:pt x="339" y="539"/>
                  </a:lnTo>
                  <a:lnTo>
                    <a:pt x="335" y="539"/>
                  </a:lnTo>
                  <a:lnTo>
                    <a:pt x="335" y="535"/>
                  </a:lnTo>
                  <a:lnTo>
                    <a:pt x="335" y="539"/>
                  </a:lnTo>
                  <a:lnTo>
                    <a:pt x="339" y="543"/>
                  </a:lnTo>
                  <a:lnTo>
                    <a:pt x="339" y="547"/>
                  </a:lnTo>
                  <a:lnTo>
                    <a:pt x="335" y="547"/>
                  </a:lnTo>
                  <a:lnTo>
                    <a:pt x="331" y="547"/>
                  </a:lnTo>
                  <a:lnTo>
                    <a:pt x="331" y="551"/>
                  </a:lnTo>
                  <a:lnTo>
                    <a:pt x="331" y="547"/>
                  </a:lnTo>
                  <a:lnTo>
                    <a:pt x="331" y="543"/>
                  </a:lnTo>
                  <a:lnTo>
                    <a:pt x="331" y="547"/>
                  </a:lnTo>
                  <a:lnTo>
                    <a:pt x="327" y="547"/>
                  </a:lnTo>
                  <a:lnTo>
                    <a:pt x="327" y="551"/>
                  </a:lnTo>
                  <a:lnTo>
                    <a:pt x="323" y="555"/>
                  </a:lnTo>
                  <a:lnTo>
                    <a:pt x="323" y="559"/>
                  </a:lnTo>
                  <a:lnTo>
                    <a:pt x="319" y="559"/>
                  </a:lnTo>
                  <a:lnTo>
                    <a:pt x="319" y="555"/>
                  </a:lnTo>
                  <a:lnTo>
                    <a:pt x="315" y="555"/>
                  </a:lnTo>
                  <a:lnTo>
                    <a:pt x="315" y="551"/>
                  </a:lnTo>
                  <a:lnTo>
                    <a:pt x="315" y="547"/>
                  </a:lnTo>
                  <a:lnTo>
                    <a:pt x="319" y="543"/>
                  </a:lnTo>
                  <a:lnTo>
                    <a:pt x="323" y="543"/>
                  </a:lnTo>
                  <a:lnTo>
                    <a:pt x="327" y="543"/>
                  </a:lnTo>
                  <a:lnTo>
                    <a:pt x="327" y="539"/>
                  </a:lnTo>
                  <a:lnTo>
                    <a:pt x="331" y="539"/>
                  </a:lnTo>
                  <a:lnTo>
                    <a:pt x="327" y="539"/>
                  </a:lnTo>
                  <a:lnTo>
                    <a:pt x="323" y="543"/>
                  </a:lnTo>
                  <a:lnTo>
                    <a:pt x="323" y="539"/>
                  </a:lnTo>
                  <a:lnTo>
                    <a:pt x="319" y="543"/>
                  </a:lnTo>
                  <a:lnTo>
                    <a:pt x="315" y="543"/>
                  </a:lnTo>
                  <a:lnTo>
                    <a:pt x="319" y="543"/>
                  </a:lnTo>
                  <a:lnTo>
                    <a:pt x="315" y="543"/>
                  </a:lnTo>
                  <a:lnTo>
                    <a:pt x="315" y="539"/>
                  </a:lnTo>
                  <a:lnTo>
                    <a:pt x="319" y="539"/>
                  </a:lnTo>
                  <a:lnTo>
                    <a:pt x="315" y="539"/>
                  </a:lnTo>
                  <a:lnTo>
                    <a:pt x="315" y="535"/>
                  </a:lnTo>
                  <a:lnTo>
                    <a:pt x="315" y="531"/>
                  </a:lnTo>
                  <a:lnTo>
                    <a:pt x="315" y="535"/>
                  </a:lnTo>
                  <a:lnTo>
                    <a:pt x="311" y="535"/>
                  </a:lnTo>
                  <a:lnTo>
                    <a:pt x="315" y="535"/>
                  </a:lnTo>
                  <a:lnTo>
                    <a:pt x="315" y="531"/>
                  </a:lnTo>
                  <a:lnTo>
                    <a:pt x="311" y="531"/>
                  </a:lnTo>
                  <a:lnTo>
                    <a:pt x="311" y="535"/>
                  </a:lnTo>
                  <a:lnTo>
                    <a:pt x="311" y="531"/>
                  </a:lnTo>
                  <a:lnTo>
                    <a:pt x="315" y="527"/>
                  </a:lnTo>
                  <a:lnTo>
                    <a:pt x="319" y="527"/>
                  </a:lnTo>
                  <a:lnTo>
                    <a:pt x="319" y="523"/>
                  </a:lnTo>
                  <a:lnTo>
                    <a:pt x="323" y="523"/>
                  </a:lnTo>
                  <a:lnTo>
                    <a:pt x="319" y="523"/>
                  </a:lnTo>
                  <a:lnTo>
                    <a:pt x="323" y="523"/>
                  </a:lnTo>
                  <a:lnTo>
                    <a:pt x="323" y="519"/>
                  </a:lnTo>
                  <a:lnTo>
                    <a:pt x="327" y="519"/>
                  </a:lnTo>
                  <a:lnTo>
                    <a:pt x="331" y="519"/>
                  </a:lnTo>
                  <a:lnTo>
                    <a:pt x="335" y="519"/>
                  </a:lnTo>
                  <a:lnTo>
                    <a:pt x="335" y="523"/>
                  </a:lnTo>
                  <a:lnTo>
                    <a:pt x="339" y="523"/>
                  </a:lnTo>
                  <a:lnTo>
                    <a:pt x="339" y="519"/>
                  </a:lnTo>
                  <a:lnTo>
                    <a:pt x="335" y="519"/>
                  </a:lnTo>
                  <a:lnTo>
                    <a:pt x="331" y="519"/>
                  </a:lnTo>
                  <a:lnTo>
                    <a:pt x="327" y="519"/>
                  </a:lnTo>
                  <a:lnTo>
                    <a:pt x="323" y="519"/>
                  </a:lnTo>
                  <a:lnTo>
                    <a:pt x="319" y="523"/>
                  </a:lnTo>
                  <a:lnTo>
                    <a:pt x="319" y="527"/>
                  </a:lnTo>
                  <a:lnTo>
                    <a:pt x="315" y="527"/>
                  </a:lnTo>
                  <a:lnTo>
                    <a:pt x="311" y="527"/>
                  </a:lnTo>
                  <a:lnTo>
                    <a:pt x="311" y="531"/>
                  </a:lnTo>
                  <a:lnTo>
                    <a:pt x="307" y="527"/>
                  </a:lnTo>
                  <a:lnTo>
                    <a:pt x="311" y="523"/>
                  </a:lnTo>
                  <a:lnTo>
                    <a:pt x="307" y="523"/>
                  </a:lnTo>
                  <a:lnTo>
                    <a:pt x="307" y="527"/>
                  </a:lnTo>
                  <a:lnTo>
                    <a:pt x="307" y="523"/>
                  </a:lnTo>
                  <a:lnTo>
                    <a:pt x="307" y="519"/>
                  </a:lnTo>
                  <a:lnTo>
                    <a:pt x="307" y="523"/>
                  </a:lnTo>
                  <a:lnTo>
                    <a:pt x="303" y="523"/>
                  </a:lnTo>
                  <a:lnTo>
                    <a:pt x="299" y="523"/>
                  </a:lnTo>
                  <a:lnTo>
                    <a:pt x="299" y="519"/>
                  </a:lnTo>
                  <a:lnTo>
                    <a:pt x="303" y="519"/>
                  </a:lnTo>
                  <a:lnTo>
                    <a:pt x="299" y="519"/>
                  </a:lnTo>
                  <a:lnTo>
                    <a:pt x="303" y="519"/>
                  </a:lnTo>
                  <a:lnTo>
                    <a:pt x="303" y="515"/>
                  </a:lnTo>
                  <a:lnTo>
                    <a:pt x="307" y="515"/>
                  </a:lnTo>
                  <a:lnTo>
                    <a:pt x="311" y="515"/>
                  </a:lnTo>
                  <a:lnTo>
                    <a:pt x="315" y="515"/>
                  </a:lnTo>
                  <a:lnTo>
                    <a:pt x="319" y="515"/>
                  </a:lnTo>
                  <a:lnTo>
                    <a:pt x="319" y="511"/>
                  </a:lnTo>
                  <a:lnTo>
                    <a:pt x="315" y="515"/>
                  </a:lnTo>
                  <a:lnTo>
                    <a:pt x="311" y="515"/>
                  </a:lnTo>
                  <a:lnTo>
                    <a:pt x="307" y="515"/>
                  </a:lnTo>
                  <a:lnTo>
                    <a:pt x="303" y="515"/>
                  </a:lnTo>
                  <a:lnTo>
                    <a:pt x="299" y="519"/>
                  </a:lnTo>
                  <a:lnTo>
                    <a:pt x="299" y="515"/>
                  </a:lnTo>
                  <a:lnTo>
                    <a:pt x="303" y="515"/>
                  </a:lnTo>
                  <a:lnTo>
                    <a:pt x="303" y="511"/>
                  </a:lnTo>
                  <a:lnTo>
                    <a:pt x="303" y="515"/>
                  </a:lnTo>
                  <a:lnTo>
                    <a:pt x="299" y="515"/>
                  </a:lnTo>
                  <a:lnTo>
                    <a:pt x="295" y="515"/>
                  </a:lnTo>
                  <a:lnTo>
                    <a:pt x="299" y="515"/>
                  </a:lnTo>
                  <a:lnTo>
                    <a:pt x="299" y="511"/>
                  </a:lnTo>
                  <a:lnTo>
                    <a:pt x="299" y="515"/>
                  </a:lnTo>
                  <a:lnTo>
                    <a:pt x="299" y="511"/>
                  </a:lnTo>
                  <a:lnTo>
                    <a:pt x="295" y="511"/>
                  </a:lnTo>
                  <a:lnTo>
                    <a:pt x="299" y="511"/>
                  </a:lnTo>
                  <a:lnTo>
                    <a:pt x="303" y="511"/>
                  </a:lnTo>
                  <a:lnTo>
                    <a:pt x="303" y="507"/>
                  </a:lnTo>
                  <a:lnTo>
                    <a:pt x="307" y="507"/>
                  </a:lnTo>
                  <a:lnTo>
                    <a:pt x="307" y="503"/>
                  </a:lnTo>
                  <a:lnTo>
                    <a:pt x="311" y="503"/>
                  </a:lnTo>
                  <a:lnTo>
                    <a:pt x="315" y="503"/>
                  </a:lnTo>
                  <a:lnTo>
                    <a:pt x="315" y="499"/>
                  </a:lnTo>
                  <a:lnTo>
                    <a:pt x="319" y="499"/>
                  </a:lnTo>
                  <a:lnTo>
                    <a:pt x="319" y="495"/>
                  </a:lnTo>
                  <a:lnTo>
                    <a:pt x="323" y="495"/>
                  </a:lnTo>
                  <a:lnTo>
                    <a:pt x="327" y="495"/>
                  </a:lnTo>
                  <a:lnTo>
                    <a:pt x="327" y="491"/>
                  </a:lnTo>
                  <a:lnTo>
                    <a:pt x="331" y="491"/>
                  </a:lnTo>
                  <a:lnTo>
                    <a:pt x="335" y="491"/>
                  </a:lnTo>
                  <a:lnTo>
                    <a:pt x="339" y="491"/>
                  </a:lnTo>
                  <a:lnTo>
                    <a:pt x="343" y="491"/>
                  </a:lnTo>
                  <a:lnTo>
                    <a:pt x="339" y="491"/>
                  </a:lnTo>
                  <a:lnTo>
                    <a:pt x="335" y="491"/>
                  </a:lnTo>
                  <a:lnTo>
                    <a:pt x="331" y="491"/>
                  </a:lnTo>
                  <a:lnTo>
                    <a:pt x="335" y="491"/>
                  </a:lnTo>
                  <a:lnTo>
                    <a:pt x="335" y="487"/>
                  </a:lnTo>
                  <a:lnTo>
                    <a:pt x="339" y="487"/>
                  </a:lnTo>
                  <a:lnTo>
                    <a:pt x="343" y="487"/>
                  </a:lnTo>
                  <a:lnTo>
                    <a:pt x="347" y="487"/>
                  </a:lnTo>
                  <a:lnTo>
                    <a:pt x="343" y="487"/>
                  </a:lnTo>
                  <a:lnTo>
                    <a:pt x="339" y="487"/>
                  </a:lnTo>
                  <a:lnTo>
                    <a:pt x="343" y="487"/>
                  </a:lnTo>
                  <a:lnTo>
                    <a:pt x="339" y="487"/>
                  </a:lnTo>
                  <a:lnTo>
                    <a:pt x="335" y="487"/>
                  </a:lnTo>
                  <a:lnTo>
                    <a:pt x="331" y="487"/>
                  </a:lnTo>
                  <a:lnTo>
                    <a:pt x="331" y="491"/>
                  </a:lnTo>
                  <a:lnTo>
                    <a:pt x="327" y="491"/>
                  </a:lnTo>
                  <a:lnTo>
                    <a:pt x="323" y="491"/>
                  </a:lnTo>
                  <a:lnTo>
                    <a:pt x="323" y="495"/>
                  </a:lnTo>
                  <a:lnTo>
                    <a:pt x="319" y="495"/>
                  </a:lnTo>
                  <a:lnTo>
                    <a:pt x="319" y="499"/>
                  </a:lnTo>
                  <a:lnTo>
                    <a:pt x="315" y="499"/>
                  </a:lnTo>
                  <a:lnTo>
                    <a:pt x="311" y="503"/>
                  </a:lnTo>
                  <a:lnTo>
                    <a:pt x="307" y="503"/>
                  </a:lnTo>
                  <a:lnTo>
                    <a:pt x="307" y="507"/>
                  </a:lnTo>
                  <a:lnTo>
                    <a:pt x="303" y="507"/>
                  </a:lnTo>
                  <a:lnTo>
                    <a:pt x="299" y="511"/>
                  </a:lnTo>
                  <a:lnTo>
                    <a:pt x="295" y="511"/>
                  </a:lnTo>
                  <a:lnTo>
                    <a:pt x="295" y="507"/>
                  </a:lnTo>
                  <a:lnTo>
                    <a:pt x="299" y="507"/>
                  </a:lnTo>
                  <a:lnTo>
                    <a:pt x="295" y="507"/>
                  </a:lnTo>
                  <a:lnTo>
                    <a:pt x="291" y="507"/>
                  </a:lnTo>
                  <a:lnTo>
                    <a:pt x="291" y="503"/>
                  </a:lnTo>
                  <a:lnTo>
                    <a:pt x="291" y="499"/>
                  </a:lnTo>
                  <a:lnTo>
                    <a:pt x="295" y="499"/>
                  </a:lnTo>
                  <a:lnTo>
                    <a:pt x="299" y="499"/>
                  </a:lnTo>
                  <a:lnTo>
                    <a:pt x="303" y="499"/>
                  </a:lnTo>
                  <a:lnTo>
                    <a:pt x="307" y="499"/>
                  </a:lnTo>
                  <a:lnTo>
                    <a:pt x="311" y="499"/>
                  </a:lnTo>
                  <a:lnTo>
                    <a:pt x="307" y="499"/>
                  </a:lnTo>
                  <a:lnTo>
                    <a:pt x="303" y="499"/>
                  </a:lnTo>
                  <a:lnTo>
                    <a:pt x="299" y="499"/>
                  </a:lnTo>
                  <a:lnTo>
                    <a:pt x="295" y="499"/>
                  </a:lnTo>
                  <a:lnTo>
                    <a:pt x="295" y="495"/>
                  </a:lnTo>
                  <a:lnTo>
                    <a:pt x="299" y="495"/>
                  </a:lnTo>
                  <a:lnTo>
                    <a:pt x="303" y="495"/>
                  </a:lnTo>
                  <a:lnTo>
                    <a:pt x="307" y="495"/>
                  </a:lnTo>
                  <a:lnTo>
                    <a:pt x="303" y="495"/>
                  </a:lnTo>
                  <a:lnTo>
                    <a:pt x="299" y="495"/>
                  </a:lnTo>
                  <a:lnTo>
                    <a:pt x="303" y="495"/>
                  </a:lnTo>
                  <a:lnTo>
                    <a:pt x="303" y="491"/>
                  </a:lnTo>
                  <a:lnTo>
                    <a:pt x="303" y="495"/>
                  </a:lnTo>
                  <a:lnTo>
                    <a:pt x="299" y="495"/>
                  </a:lnTo>
                  <a:lnTo>
                    <a:pt x="303" y="495"/>
                  </a:lnTo>
                  <a:lnTo>
                    <a:pt x="303" y="491"/>
                  </a:lnTo>
                  <a:lnTo>
                    <a:pt x="307" y="491"/>
                  </a:lnTo>
                  <a:lnTo>
                    <a:pt x="311" y="491"/>
                  </a:lnTo>
                  <a:lnTo>
                    <a:pt x="315" y="491"/>
                  </a:lnTo>
                  <a:lnTo>
                    <a:pt x="311" y="491"/>
                  </a:lnTo>
                  <a:lnTo>
                    <a:pt x="307" y="491"/>
                  </a:lnTo>
                  <a:lnTo>
                    <a:pt x="303" y="491"/>
                  </a:lnTo>
                  <a:lnTo>
                    <a:pt x="299" y="491"/>
                  </a:lnTo>
                  <a:lnTo>
                    <a:pt x="295" y="491"/>
                  </a:lnTo>
                  <a:lnTo>
                    <a:pt x="291" y="491"/>
                  </a:lnTo>
                  <a:lnTo>
                    <a:pt x="291" y="487"/>
                  </a:lnTo>
                  <a:lnTo>
                    <a:pt x="295" y="487"/>
                  </a:lnTo>
                  <a:lnTo>
                    <a:pt x="299" y="487"/>
                  </a:lnTo>
                  <a:lnTo>
                    <a:pt x="295" y="487"/>
                  </a:lnTo>
                  <a:lnTo>
                    <a:pt x="291" y="487"/>
                  </a:lnTo>
                  <a:lnTo>
                    <a:pt x="295" y="487"/>
                  </a:lnTo>
                  <a:lnTo>
                    <a:pt x="295" y="483"/>
                  </a:lnTo>
                  <a:lnTo>
                    <a:pt x="291" y="487"/>
                  </a:lnTo>
                  <a:lnTo>
                    <a:pt x="287" y="487"/>
                  </a:lnTo>
                  <a:lnTo>
                    <a:pt x="287" y="483"/>
                  </a:lnTo>
                  <a:lnTo>
                    <a:pt x="291" y="483"/>
                  </a:lnTo>
                  <a:lnTo>
                    <a:pt x="295" y="483"/>
                  </a:lnTo>
                  <a:lnTo>
                    <a:pt x="295" y="479"/>
                  </a:lnTo>
                  <a:lnTo>
                    <a:pt x="299" y="479"/>
                  </a:lnTo>
                  <a:lnTo>
                    <a:pt x="303" y="479"/>
                  </a:lnTo>
                  <a:lnTo>
                    <a:pt x="307" y="479"/>
                  </a:lnTo>
                  <a:lnTo>
                    <a:pt x="311" y="479"/>
                  </a:lnTo>
                  <a:lnTo>
                    <a:pt x="315" y="479"/>
                  </a:lnTo>
                  <a:lnTo>
                    <a:pt x="319" y="479"/>
                  </a:lnTo>
                  <a:lnTo>
                    <a:pt x="323" y="479"/>
                  </a:lnTo>
                  <a:lnTo>
                    <a:pt x="327" y="479"/>
                  </a:lnTo>
                  <a:lnTo>
                    <a:pt x="327" y="483"/>
                  </a:lnTo>
                  <a:lnTo>
                    <a:pt x="331" y="483"/>
                  </a:lnTo>
                  <a:lnTo>
                    <a:pt x="335" y="483"/>
                  </a:lnTo>
                  <a:lnTo>
                    <a:pt x="339" y="483"/>
                  </a:lnTo>
                  <a:lnTo>
                    <a:pt x="343" y="483"/>
                  </a:lnTo>
                  <a:lnTo>
                    <a:pt x="339" y="483"/>
                  </a:lnTo>
                  <a:lnTo>
                    <a:pt x="335" y="483"/>
                  </a:lnTo>
                  <a:lnTo>
                    <a:pt x="331" y="483"/>
                  </a:lnTo>
                  <a:lnTo>
                    <a:pt x="327" y="479"/>
                  </a:lnTo>
                  <a:lnTo>
                    <a:pt x="323" y="479"/>
                  </a:lnTo>
                  <a:lnTo>
                    <a:pt x="327" y="479"/>
                  </a:lnTo>
                  <a:lnTo>
                    <a:pt x="331" y="475"/>
                  </a:lnTo>
                  <a:lnTo>
                    <a:pt x="327" y="475"/>
                  </a:lnTo>
                  <a:lnTo>
                    <a:pt x="323" y="479"/>
                  </a:lnTo>
                  <a:lnTo>
                    <a:pt x="319" y="479"/>
                  </a:lnTo>
                  <a:lnTo>
                    <a:pt x="315" y="479"/>
                  </a:lnTo>
                  <a:lnTo>
                    <a:pt x="315" y="475"/>
                  </a:lnTo>
                  <a:lnTo>
                    <a:pt x="307" y="479"/>
                  </a:lnTo>
                  <a:lnTo>
                    <a:pt x="303" y="479"/>
                  </a:lnTo>
                  <a:lnTo>
                    <a:pt x="299" y="479"/>
                  </a:lnTo>
                  <a:lnTo>
                    <a:pt x="295" y="479"/>
                  </a:lnTo>
                  <a:lnTo>
                    <a:pt x="291" y="483"/>
                  </a:lnTo>
                  <a:lnTo>
                    <a:pt x="291" y="479"/>
                  </a:lnTo>
                  <a:lnTo>
                    <a:pt x="291" y="475"/>
                  </a:lnTo>
                  <a:lnTo>
                    <a:pt x="295" y="475"/>
                  </a:lnTo>
                  <a:lnTo>
                    <a:pt x="299" y="471"/>
                  </a:lnTo>
                  <a:lnTo>
                    <a:pt x="303" y="471"/>
                  </a:lnTo>
                  <a:lnTo>
                    <a:pt x="299" y="471"/>
                  </a:lnTo>
                  <a:lnTo>
                    <a:pt x="303" y="471"/>
                  </a:lnTo>
                  <a:lnTo>
                    <a:pt x="303" y="467"/>
                  </a:lnTo>
                  <a:lnTo>
                    <a:pt x="307" y="467"/>
                  </a:lnTo>
                  <a:lnTo>
                    <a:pt x="311" y="467"/>
                  </a:lnTo>
                  <a:lnTo>
                    <a:pt x="307" y="467"/>
                  </a:lnTo>
                  <a:lnTo>
                    <a:pt x="311" y="467"/>
                  </a:lnTo>
                  <a:lnTo>
                    <a:pt x="315" y="467"/>
                  </a:lnTo>
                  <a:lnTo>
                    <a:pt x="319" y="467"/>
                  </a:lnTo>
                  <a:lnTo>
                    <a:pt x="319" y="471"/>
                  </a:lnTo>
                  <a:lnTo>
                    <a:pt x="323" y="471"/>
                  </a:lnTo>
                  <a:lnTo>
                    <a:pt x="327" y="471"/>
                  </a:lnTo>
                  <a:lnTo>
                    <a:pt x="331" y="471"/>
                  </a:lnTo>
                  <a:lnTo>
                    <a:pt x="335" y="471"/>
                  </a:lnTo>
                  <a:lnTo>
                    <a:pt x="335" y="475"/>
                  </a:lnTo>
                  <a:lnTo>
                    <a:pt x="339" y="475"/>
                  </a:lnTo>
                  <a:lnTo>
                    <a:pt x="343" y="475"/>
                  </a:lnTo>
                  <a:lnTo>
                    <a:pt x="347" y="475"/>
                  </a:lnTo>
                  <a:lnTo>
                    <a:pt x="343" y="475"/>
                  </a:lnTo>
                  <a:lnTo>
                    <a:pt x="339" y="475"/>
                  </a:lnTo>
                  <a:lnTo>
                    <a:pt x="339" y="471"/>
                  </a:lnTo>
                  <a:lnTo>
                    <a:pt x="335" y="471"/>
                  </a:lnTo>
                  <a:lnTo>
                    <a:pt x="339" y="471"/>
                  </a:lnTo>
                  <a:lnTo>
                    <a:pt x="343" y="471"/>
                  </a:lnTo>
                  <a:lnTo>
                    <a:pt x="343" y="467"/>
                  </a:lnTo>
                  <a:lnTo>
                    <a:pt x="347" y="467"/>
                  </a:lnTo>
                  <a:lnTo>
                    <a:pt x="347" y="471"/>
                  </a:lnTo>
                  <a:lnTo>
                    <a:pt x="347" y="467"/>
                  </a:lnTo>
                  <a:lnTo>
                    <a:pt x="343" y="467"/>
                  </a:lnTo>
                  <a:lnTo>
                    <a:pt x="339" y="467"/>
                  </a:lnTo>
                  <a:lnTo>
                    <a:pt x="339" y="471"/>
                  </a:lnTo>
                  <a:lnTo>
                    <a:pt x="335" y="471"/>
                  </a:lnTo>
                  <a:lnTo>
                    <a:pt x="331" y="471"/>
                  </a:lnTo>
                  <a:lnTo>
                    <a:pt x="331" y="467"/>
                  </a:lnTo>
                  <a:lnTo>
                    <a:pt x="335" y="467"/>
                  </a:lnTo>
                  <a:lnTo>
                    <a:pt x="339" y="467"/>
                  </a:lnTo>
                  <a:lnTo>
                    <a:pt x="343" y="467"/>
                  </a:lnTo>
                  <a:lnTo>
                    <a:pt x="343" y="463"/>
                  </a:lnTo>
                  <a:lnTo>
                    <a:pt x="335" y="463"/>
                  </a:lnTo>
                  <a:lnTo>
                    <a:pt x="339" y="463"/>
                  </a:lnTo>
                  <a:lnTo>
                    <a:pt x="339" y="467"/>
                  </a:lnTo>
                  <a:lnTo>
                    <a:pt x="335" y="467"/>
                  </a:lnTo>
                  <a:lnTo>
                    <a:pt x="331" y="467"/>
                  </a:lnTo>
                  <a:lnTo>
                    <a:pt x="327" y="463"/>
                  </a:lnTo>
                  <a:lnTo>
                    <a:pt x="331" y="463"/>
                  </a:lnTo>
                  <a:lnTo>
                    <a:pt x="335" y="463"/>
                  </a:lnTo>
                  <a:lnTo>
                    <a:pt x="331" y="463"/>
                  </a:lnTo>
                  <a:lnTo>
                    <a:pt x="327" y="463"/>
                  </a:lnTo>
                  <a:lnTo>
                    <a:pt x="323" y="463"/>
                  </a:lnTo>
                  <a:lnTo>
                    <a:pt x="327" y="463"/>
                  </a:lnTo>
                  <a:lnTo>
                    <a:pt x="327" y="467"/>
                  </a:lnTo>
                  <a:lnTo>
                    <a:pt x="323" y="467"/>
                  </a:lnTo>
                  <a:lnTo>
                    <a:pt x="327" y="467"/>
                  </a:lnTo>
                  <a:lnTo>
                    <a:pt x="323" y="467"/>
                  </a:lnTo>
                  <a:lnTo>
                    <a:pt x="319" y="467"/>
                  </a:lnTo>
                  <a:lnTo>
                    <a:pt x="323" y="467"/>
                  </a:lnTo>
                  <a:lnTo>
                    <a:pt x="319" y="467"/>
                  </a:lnTo>
                  <a:lnTo>
                    <a:pt x="315" y="467"/>
                  </a:lnTo>
                  <a:lnTo>
                    <a:pt x="311" y="467"/>
                  </a:lnTo>
                  <a:lnTo>
                    <a:pt x="315" y="463"/>
                  </a:lnTo>
                  <a:lnTo>
                    <a:pt x="319" y="463"/>
                  </a:lnTo>
                  <a:lnTo>
                    <a:pt x="323" y="463"/>
                  </a:lnTo>
                  <a:lnTo>
                    <a:pt x="319" y="463"/>
                  </a:lnTo>
                  <a:lnTo>
                    <a:pt x="315" y="463"/>
                  </a:lnTo>
                  <a:lnTo>
                    <a:pt x="311" y="463"/>
                  </a:lnTo>
                  <a:lnTo>
                    <a:pt x="311" y="467"/>
                  </a:lnTo>
                  <a:lnTo>
                    <a:pt x="307" y="467"/>
                  </a:lnTo>
                  <a:lnTo>
                    <a:pt x="303" y="467"/>
                  </a:lnTo>
                  <a:lnTo>
                    <a:pt x="299" y="471"/>
                  </a:lnTo>
                  <a:lnTo>
                    <a:pt x="295" y="475"/>
                  </a:lnTo>
                  <a:lnTo>
                    <a:pt x="291" y="475"/>
                  </a:lnTo>
                  <a:lnTo>
                    <a:pt x="291" y="471"/>
                  </a:lnTo>
                  <a:lnTo>
                    <a:pt x="295" y="471"/>
                  </a:lnTo>
                  <a:lnTo>
                    <a:pt x="295" y="467"/>
                  </a:lnTo>
                  <a:lnTo>
                    <a:pt x="291" y="467"/>
                  </a:lnTo>
                  <a:lnTo>
                    <a:pt x="295" y="463"/>
                  </a:lnTo>
                  <a:lnTo>
                    <a:pt x="295" y="467"/>
                  </a:lnTo>
                  <a:lnTo>
                    <a:pt x="299" y="467"/>
                  </a:lnTo>
                  <a:lnTo>
                    <a:pt x="295" y="467"/>
                  </a:lnTo>
                  <a:lnTo>
                    <a:pt x="295" y="463"/>
                  </a:lnTo>
                  <a:lnTo>
                    <a:pt x="299" y="463"/>
                  </a:lnTo>
                  <a:lnTo>
                    <a:pt x="299" y="467"/>
                  </a:lnTo>
                  <a:lnTo>
                    <a:pt x="299" y="463"/>
                  </a:lnTo>
                  <a:lnTo>
                    <a:pt x="303" y="463"/>
                  </a:lnTo>
                  <a:lnTo>
                    <a:pt x="299" y="463"/>
                  </a:lnTo>
                  <a:lnTo>
                    <a:pt x="303" y="463"/>
                  </a:lnTo>
                  <a:lnTo>
                    <a:pt x="303" y="459"/>
                  </a:lnTo>
                  <a:lnTo>
                    <a:pt x="299" y="463"/>
                  </a:lnTo>
                  <a:lnTo>
                    <a:pt x="299" y="459"/>
                  </a:lnTo>
                  <a:lnTo>
                    <a:pt x="303" y="459"/>
                  </a:lnTo>
                  <a:lnTo>
                    <a:pt x="307" y="463"/>
                  </a:lnTo>
                  <a:lnTo>
                    <a:pt x="311" y="463"/>
                  </a:lnTo>
                  <a:lnTo>
                    <a:pt x="315" y="463"/>
                  </a:lnTo>
                  <a:lnTo>
                    <a:pt x="311" y="463"/>
                  </a:lnTo>
                  <a:lnTo>
                    <a:pt x="307" y="463"/>
                  </a:lnTo>
                  <a:lnTo>
                    <a:pt x="307" y="459"/>
                  </a:lnTo>
                  <a:lnTo>
                    <a:pt x="303" y="459"/>
                  </a:lnTo>
                  <a:lnTo>
                    <a:pt x="299" y="459"/>
                  </a:lnTo>
                  <a:lnTo>
                    <a:pt x="295" y="455"/>
                  </a:lnTo>
                  <a:lnTo>
                    <a:pt x="299" y="455"/>
                  </a:lnTo>
                  <a:lnTo>
                    <a:pt x="303" y="455"/>
                  </a:lnTo>
                  <a:lnTo>
                    <a:pt x="307" y="459"/>
                  </a:lnTo>
                  <a:lnTo>
                    <a:pt x="311" y="459"/>
                  </a:lnTo>
                  <a:lnTo>
                    <a:pt x="307" y="459"/>
                  </a:lnTo>
                  <a:lnTo>
                    <a:pt x="307" y="455"/>
                  </a:lnTo>
                  <a:lnTo>
                    <a:pt x="311" y="455"/>
                  </a:lnTo>
                  <a:lnTo>
                    <a:pt x="311" y="459"/>
                  </a:lnTo>
                  <a:lnTo>
                    <a:pt x="315" y="459"/>
                  </a:lnTo>
                  <a:lnTo>
                    <a:pt x="319" y="459"/>
                  </a:lnTo>
                  <a:lnTo>
                    <a:pt x="323" y="459"/>
                  </a:lnTo>
                  <a:lnTo>
                    <a:pt x="327" y="459"/>
                  </a:lnTo>
                  <a:lnTo>
                    <a:pt x="331" y="459"/>
                  </a:lnTo>
                  <a:lnTo>
                    <a:pt x="339" y="463"/>
                  </a:lnTo>
                  <a:lnTo>
                    <a:pt x="343" y="463"/>
                  </a:lnTo>
                  <a:lnTo>
                    <a:pt x="347" y="463"/>
                  </a:lnTo>
                  <a:lnTo>
                    <a:pt x="343" y="463"/>
                  </a:lnTo>
                  <a:lnTo>
                    <a:pt x="339" y="463"/>
                  </a:lnTo>
                  <a:lnTo>
                    <a:pt x="339" y="459"/>
                  </a:lnTo>
                  <a:lnTo>
                    <a:pt x="335" y="459"/>
                  </a:lnTo>
                  <a:lnTo>
                    <a:pt x="331" y="459"/>
                  </a:lnTo>
                  <a:lnTo>
                    <a:pt x="327" y="455"/>
                  </a:lnTo>
                  <a:lnTo>
                    <a:pt x="331" y="455"/>
                  </a:lnTo>
                  <a:lnTo>
                    <a:pt x="335" y="455"/>
                  </a:lnTo>
                  <a:lnTo>
                    <a:pt x="331" y="455"/>
                  </a:lnTo>
                  <a:lnTo>
                    <a:pt x="331" y="451"/>
                  </a:lnTo>
                  <a:lnTo>
                    <a:pt x="335" y="447"/>
                  </a:lnTo>
                  <a:lnTo>
                    <a:pt x="331" y="451"/>
                  </a:lnTo>
                  <a:lnTo>
                    <a:pt x="327" y="451"/>
                  </a:lnTo>
                  <a:lnTo>
                    <a:pt x="323" y="451"/>
                  </a:lnTo>
                  <a:lnTo>
                    <a:pt x="327" y="451"/>
                  </a:lnTo>
                  <a:lnTo>
                    <a:pt x="331" y="451"/>
                  </a:lnTo>
                  <a:lnTo>
                    <a:pt x="327" y="455"/>
                  </a:lnTo>
                  <a:lnTo>
                    <a:pt x="323" y="455"/>
                  </a:lnTo>
                  <a:lnTo>
                    <a:pt x="319" y="455"/>
                  </a:lnTo>
                  <a:lnTo>
                    <a:pt x="315" y="455"/>
                  </a:lnTo>
                  <a:lnTo>
                    <a:pt x="311" y="455"/>
                  </a:lnTo>
                  <a:lnTo>
                    <a:pt x="307" y="455"/>
                  </a:lnTo>
                  <a:lnTo>
                    <a:pt x="303" y="455"/>
                  </a:lnTo>
                  <a:lnTo>
                    <a:pt x="303" y="451"/>
                  </a:lnTo>
                  <a:lnTo>
                    <a:pt x="307" y="451"/>
                  </a:lnTo>
                  <a:lnTo>
                    <a:pt x="303" y="451"/>
                  </a:lnTo>
                  <a:lnTo>
                    <a:pt x="303" y="455"/>
                  </a:lnTo>
                  <a:lnTo>
                    <a:pt x="299" y="455"/>
                  </a:lnTo>
                  <a:lnTo>
                    <a:pt x="299" y="451"/>
                  </a:lnTo>
                  <a:lnTo>
                    <a:pt x="299" y="455"/>
                  </a:lnTo>
                  <a:lnTo>
                    <a:pt x="295" y="455"/>
                  </a:lnTo>
                  <a:lnTo>
                    <a:pt x="295" y="451"/>
                  </a:lnTo>
                  <a:lnTo>
                    <a:pt x="299" y="451"/>
                  </a:lnTo>
                  <a:lnTo>
                    <a:pt x="303" y="451"/>
                  </a:lnTo>
                  <a:lnTo>
                    <a:pt x="307" y="447"/>
                  </a:lnTo>
                  <a:lnTo>
                    <a:pt x="311" y="447"/>
                  </a:lnTo>
                  <a:lnTo>
                    <a:pt x="315" y="447"/>
                  </a:lnTo>
                  <a:lnTo>
                    <a:pt x="319" y="447"/>
                  </a:lnTo>
                  <a:lnTo>
                    <a:pt x="323" y="447"/>
                  </a:lnTo>
                  <a:lnTo>
                    <a:pt x="327" y="447"/>
                  </a:lnTo>
                  <a:lnTo>
                    <a:pt x="331" y="447"/>
                  </a:lnTo>
                  <a:lnTo>
                    <a:pt x="331" y="443"/>
                  </a:lnTo>
                  <a:lnTo>
                    <a:pt x="335" y="443"/>
                  </a:lnTo>
                  <a:close/>
                  <a:moveTo>
                    <a:pt x="818" y="112"/>
                  </a:moveTo>
                  <a:lnTo>
                    <a:pt x="814" y="112"/>
                  </a:lnTo>
                  <a:lnTo>
                    <a:pt x="810" y="112"/>
                  </a:lnTo>
                  <a:lnTo>
                    <a:pt x="806" y="112"/>
                  </a:lnTo>
                  <a:lnTo>
                    <a:pt x="802" y="116"/>
                  </a:lnTo>
                  <a:lnTo>
                    <a:pt x="802" y="112"/>
                  </a:lnTo>
                  <a:lnTo>
                    <a:pt x="806" y="108"/>
                  </a:lnTo>
                  <a:lnTo>
                    <a:pt x="810" y="108"/>
                  </a:lnTo>
                  <a:lnTo>
                    <a:pt x="818" y="112"/>
                  </a:lnTo>
                  <a:close/>
                  <a:moveTo>
                    <a:pt x="810" y="156"/>
                  </a:moveTo>
                  <a:lnTo>
                    <a:pt x="806" y="156"/>
                  </a:lnTo>
                  <a:lnTo>
                    <a:pt x="806" y="152"/>
                  </a:lnTo>
                  <a:lnTo>
                    <a:pt x="810" y="148"/>
                  </a:lnTo>
                  <a:lnTo>
                    <a:pt x="814" y="148"/>
                  </a:lnTo>
                  <a:lnTo>
                    <a:pt x="814" y="152"/>
                  </a:lnTo>
                  <a:lnTo>
                    <a:pt x="810" y="152"/>
                  </a:lnTo>
                  <a:lnTo>
                    <a:pt x="814" y="152"/>
                  </a:lnTo>
                  <a:lnTo>
                    <a:pt x="814" y="156"/>
                  </a:lnTo>
                  <a:lnTo>
                    <a:pt x="810" y="156"/>
                  </a:lnTo>
                  <a:close/>
                  <a:moveTo>
                    <a:pt x="806" y="180"/>
                  </a:moveTo>
                  <a:lnTo>
                    <a:pt x="810" y="180"/>
                  </a:lnTo>
                  <a:lnTo>
                    <a:pt x="814" y="180"/>
                  </a:lnTo>
                  <a:lnTo>
                    <a:pt x="814" y="184"/>
                  </a:lnTo>
                  <a:lnTo>
                    <a:pt x="810" y="184"/>
                  </a:lnTo>
                  <a:lnTo>
                    <a:pt x="806" y="184"/>
                  </a:lnTo>
                  <a:lnTo>
                    <a:pt x="802" y="180"/>
                  </a:lnTo>
                  <a:lnTo>
                    <a:pt x="798" y="180"/>
                  </a:lnTo>
                  <a:lnTo>
                    <a:pt x="794" y="180"/>
                  </a:lnTo>
                  <a:lnTo>
                    <a:pt x="798" y="180"/>
                  </a:lnTo>
                  <a:lnTo>
                    <a:pt x="802" y="180"/>
                  </a:lnTo>
                  <a:lnTo>
                    <a:pt x="806" y="180"/>
                  </a:lnTo>
                  <a:close/>
                  <a:moveTo>
                    <a:pt x="837" y="180"/>
                  </a:moveTo>
                  <a:lnTo>
                    <a:pt x="837" y="184"/>
                  </a:lnTo>
                  <a:lnTo>
                    <a:pt x="837" y="187"/>
                  </a:lnTo>
                  <a:lnTo>
                    <a:pt x="833" y="187"/>
                  </a:lnTo>
                  <a:lnTo>
                    <a:pt x="829" y="187"/>
                  </a:lnTo>
                  <a:lnTo>
                    <a:pt x="829" y="184"/>
                  </a:lnTo>
                  <a:lnTo>
                    <a:pt x="833" y="184"/>
                  </a:lnTo>
                  <a:lnTo>
                    <a:pt x="833" y="180"/>
                  </a:lnTo>
                  <a:lnTo>
                    <a:pt x="837" y="180"/>
                  </a:lnTo>
                  <a:close/>
                  <a:moveTo>
                    <a:pt x="822" y="231"/>
                  </a:moveTo>
                  <a:lnTo>
                    <a:pt x="825" y="235"/>
                  </a:lnTo>
                  <a:lnTo>
                    <a:pt x="825" y="239"/>
                  </a:lnTo>
                  <a:lnTo>
                    <a:pt x="822" y="239"/>
                  </a:lnTo>
                  <a:lnTo>
                    <a:pt x="822" y="235"/>
                  </a:lnTo>
                  <a:lnTo>
                    <a:pt x="822" y="231"/>
                  </a:lnTo>
                  <a:lnTo>
                    <a:pt x="818" y="231"/>
                  </a:lnTo>
                  <a:lnTo>
                    <a:pt x="818" y="227"/>
                  </a:lnTo>
                  <a:lnTo>
                    <a:pt x="818" y="223"/>
                  </a:lnTo>
                  <a:lnTo>
                    <a:pt x="814" y="223"/>
                  </a:lnTo>
                  <a:lnTo>
                    <a:pt x="814" y="219"/>
                  </a:lnTo>
                  <a:lnTo>
                    <a:pt x="818" y="219"/>
                  </a:lnTo>
                  <a:lnTo>
                    <a:pt x="822" y="219"/>
                  </a:lnTo>
                  <a:lnTo>
                    <a:pt x="818" y="219"/>
                  </a:lnTo>
                  <a:lnTo>
                    <a:pt x="818" y="215"/>
                  </a:lnTo>
                  <a:lnTo>
                    <a:pt x="822" y="215"/>
                  </a:lnTo>
                  <a:lnTo>
                    <a:pt x="822" y="219"/>
                  </a:lnTo>
                  <a:lnTo>
                    <a:pt x="822" y="223"/>
                  </a:lnTo>
                  <a:lnTo>
                    <a:pt x="822" y="227"/>
                  </a:lnTo>
                  <a:lnTo>
                    <a:pt x="822" y="231"/>
                  </a:lnTo>
                  <a:close/>
                  <a:moveTo>
                    <a:pt x="833" y="255"/>
                  </a:moveTo>
                  <a:lnTo>
                    <a:pt x="833" y="259"/>
                  </a:lnTo>
                  <a:lnTo>
                    <a:pt x="829" y="259"/>
                  </a:lnTo>
                  <a:lnTo>
                    <a:pt x="833" y="263"/>
                  </a:lnTo>
                  <a:lnTo>
                    <a:pt x="837" y="263"/>
                  </a:lnTo>
                  <a:lnTo>
                    <a:pt x="841" y="263"/>
                  </a:lnTo>
                  <a:lnTo>
                    <a:pt x="841" y="267"/>
                  </a:lnTo>
                  <a:lnTo>
                    <a:pt x="837" y="267"/>
                  </a:lnTo>
                  <a:lnTo>
                    <a:pt x="833" y="267"/>
                  </a:lnTo>
                  <a:lnTo>
                    <a:pt x="833" y="263"/>
                  </a:lnTo>
                  <a:lnTo>
                    <a:pt x="829" y="263"/>
                  </a:lnTo>
                  <a:lnTo>
                    <a:pt x="829" y="267"/>
                  </a:lnTo>
                  <a:lnTo>
                    <a:pt x="825" y="267"/>
                  </a:lnTo>
                  <a:lnTo>
                    <a:pt x="822" y="267"/>
                  </a:lnTo>
                  <a:lnTo>
                    <a:pt x="818" y="267"/>
                  </a:lnTo>
                  <a:lnTo>
                    <a:pt x="818" y="263"/>
                  </a:lnTo>
                  <a:lnTo>
                    <a:pt x="822" y="263"/>
                  </a:lnTo>
                  <a:lnTo>
                    <a:pt x="822" y="259"/>
                  </a:lnTo>
                  <a:lnTo>
                    <a:pt x="818" y="259"/>
                  </a:lnTo>
                  <a:lnTo>
                    <a:pt x="822" y="255"/>
                  </a:lnTo>
                  <a:lnTo>
                    <a:pt x="825" y="255"/>
                  </a:lnTo>
                  <a:lnTo>
                    <a:pt x="825" y="259"/>
                  </a:lnTo>
                  <a:lnTo>
                    <a:pt x="829" y="259"/>
                  </a:lnTo>
                  <a:lnTo>
                    <a:pt x="829" y="255"/>
                  </a:lnTo>
                  <a:lnTo>
                    <a:pt x="833" y="255"/>
                  </a:lnTo>
                  <a:close/>
                  <a:moveTo>
                    <a:pt x="774" y="331"/>
                  </a:moveTo>
                  <a:lnTo>
                    <a:pt x="770" y="331"/>
                  </a:lnTo>
                  <a:lnTo>
                    <a:pt x="766" y="331"/>
                  </a:lnTo>
                  <a:lnTo>
                    <a:pt x="762" y="331"/>
                  </a:lnTo>
                  <a:lnTo>
                    <a:pt x="762" y="327"/>
                  </a:lnTo>
                  <a:lnTo>
                    <a:pt x="758" y="327"/>
                  </a:lnTo>
                  <a:lnTo>
                    <a:pt x="754" y="327"/>
                  </a:lnTo>
                  <a:lnTo>
                    <a:pt x="750" y="327"/>
                  </a:lnTo>
                  <a:lnTo>
                    <a:pt x="746" y="327"/>
                  </a:lnTo>
                  <a:lnTo>
                    <a:pt x="742" y="327"/>
                  </a:lnTo>
                  <a:lnTo>
                    <a:pt x="738" y="327"/>
                  </a:lnTo>
                  <a:lnTo>
                    <a:pt x="734" y="327"/>
                  </a:lnTo>
                  <a:lnTo>
                    <a:pt x="734" y="323"/>
                  </a:lnTo>
                  <a:lnTo>
                    <a:pt x="738" y="323"/>
                  </a:lnTo>
                  <a:lnTo>
                    <a:pt x="742" y="323"/>
                  </a:lnTo>
                  <a:lnTo>
                    <a:pt x="746" y="323"/>
                  </a:lnTo>
                  <a:lnTo>
                    <a:pt x="750" y="323"/>
                  </a:lnTo>
                  <a:lnTo>
                    <a:pt x="754" y="323"/>
                  </a:lnTo>
                  <a:lnTo>
                    <a:pt x="758" y="323"/>
                  </a:lnTo>
                  <a:lnTo>
                    <a:pt x="762" y="323"/>
                  </a:lnTo>
                  <a:lnTo>
                    <a:pt x="766" y="323"/>
                  </a:lnTo>
                  <a:lnTo>
                    <a:pt x="770" y="323"/>
                  </a:lnTo>
                  <a:lnTo>
                    <a:pt x="770" y="327"/>
                  </a:lnTo>
                  <a:lnTo>
                    <a:pt x="774" y="327"/>
                  </a:lnTo>
                  <a:lnTo>
                    <a:pt x="770" y="327"/>
                  </a:lnTo>
                  <a:lnTo>
                    <a:pt x="770" y="331"/>
                  </a:lnTo>
                  <a:lnTo>
                    <a:pt x="774" y="331"/>
                  </a:lnTo>
                  <a:close/>
                  <a:moveTo>
                    <a:pt x="766" y="347"/>
                  </a:moveTo>
                  <a:lnTo>
                    <a:pt x="762" y="347"/>
                  </a:lnTo>
                  <a:lnTo>
                    <a:pt x="758" y="343"/>
                  </a:lnTo>
                  <a:lnTo>
                    <a:pt x="754" y="343"/>
                  </a:lnTo>
                  <a:lnTo>
                    <a:pt x="750" y="339"/>
                  </a:lnTo>
                  <a:lnTo>
                    <a:pt x="742" y="339"/>
                  </a:lnTo>
                  <a:lnTo>
                    <a:pt x="742" y="335"/>
                  </a:lnTo>
                  <a:lnTo>
                    <a:pt x="738" y="335"/>
                  </a:lnTo>
                  <a:lnTo>
                    <a:pt x="734" y="327"/>
                  </a:lnTo>
                  <a:lnTo>
                    <a:pt x="738" y="327"/>
                  </a:lnTo>
                  <a:lnTo>
                    <a:pt x="742" y="327"/>
                  </a:lnTo>
                  <a:lnTo>
                    <a:pt x="746" y="327"/>
                  </a:lnTo>
                  <a:lnTo>
                    <a:pt x="750" y="327"/>
                  </a:lnTo>
                  <a:lnTo>
                    <a:pt x="754" y="327"/>
                  </a:lnTo>
                  <a:lnTo>
                    <a:pt x="754" y="331"/>
                  </a:lnTo>
                  <a:lnTo>
                    <a:pt x="758" y="331"/>
                  </a:lnTo>
                  <a:lnTo>
                    <a:pt x="762" y="331"/>
                  </a:lnTo>
                  <a:lnTo>
                    <a:pt x="762" y="335"/>
                  </a:lnTo>
                  <a:lnTo>
                    <a:pt x="766" y="335"/>
                  </a:lnTo>
                  <a:lnTo>
                    <a:pt x="770" y="335"/>
                  </a:lnTo>
                  <a:lnTo>
                    <a:pt x="774" y="339"/>
                  </a:lnTo>
                  <a:lnTo>
                    <a:pt x="770" y="339"/>
                  </a:lnTo>
                  <a:lnTo>
                    <a:pt x="766" y="339"/>
                  </a:lnTo>
                  <a:lnTo>
                    <a:pt x="762" y="339"/>
                  </a:lnTo>
                  <a:lnTo>
                    <a:pt x="762" y="343"/>
                  </a:lnTo>
                  <a:lnTo>
                    <a:pt x="766" y="343"/>
                  </a:lnTo>
                  <a:lnTo>
                    <a:pt x="770" y="343"/>
                  </a:lnTo>
                  <a:lnTo>
                    <a:pt x="770" y="347"/>
                  </a:lnTo>
                  <a:lnTo>
                    <a:pt x="766" y="347"/>
                  </a:lnTo>
                  <a:close/>
                  <a:moveTo>
                    <a:pt x="263" y="355"/>
                  </a:moveTo>
                  <a:lnTo>
                    <a:pt x="267" y="355"/>
                  </a:lnTo>
                  <a:lnTo>
                    <a:pt x="263" y="355"/>
                  </a:lnTo>
                  <a:lnTo>
                    <a:pt x="259" y="355"/>
                  </a:lnTo>
                  <a:lnTo>
                    <a:pt x="263" y="355"/>
                  </a:lnTo>
                  <a:close/>
                  <a:moveTo>
                    <a:pt x="299" y="363"/>
                  </a:moveTo>
                  <a:lnTo>
                    <a:pt x="295" y="363"/>
                  </a:lnTo>
                  <a:lnTo>
                    <a:pt x="295" y="359"/>
                  </a:lnTo>
                  <a:lnTo>
                    <a:pt x="299" y="359"/>
                  </a:lnTo>
                  <a:lnTo>
                    <a:pt x="303" y="363"/>
                  </a:lnTo>
                  <a:lnTo>
                    <a:pt x="307" y="363"/>
                  </a:lnTo>
                  <a:lnTo>
                    <a:pt x="307" y="359"/>
                  </a:lnTo>
                  <a:lnTo>
                    <a:pt x="307" y="363"/>
                  </a:lnTo>
                  <a:lnTo>
                    <a:pt x="303" y="363"/>
                  </a:lnTo>
                  <a:lnTo>
                    <a:pt x="299" y="363"/>
                  </a:lnTo>
                  <a:close/>
                  <a:moveTo>
                    <a:pt x="299" y="371"/>
                  </a:moveTo>
                  <a:lnTo>
                    <a:pt x="303" y="371"/>
                  </a:lnTo>
                  <a:lnTo>
                    <a:pt x="303" y="367"/>
                  </a:lnTo>
                  <a:lnTo>
                    <a:pt x="307" y="371"/>
                  </a:lnTo>
                  <a:lnTo>
                    <a:pt x="311" y="371"/>
                  </a:lnTo>
                  <a:lnTo>
                    <a:pt x="307" y="371"/>
                  </a:lnTo>
                  <a:lnTo>
                    <a:pt x="307" y="375"/>
                  </a:lnTo>
                  <a:lnTo>
                    <a:pt x="303" y="375"/>
                  </a:lnTo>
                  <a:lnTo>
                    <a:pt x="299" y="375"/>
                  </a:lnTo>
                  <a:lnTo>
                    <a:pt x="299" y="371"/>
                  </a:lnTo>
                  <a:close/>
                  <a:moveTo>
                    <a:pt x="295" y="371"/>
                  </a:moveTo>
                  <a:lnTo>
                    <a:pt x="295" y="375"/>
                  </a:lnTo>
                  <a:lnTo>
                    <a:pt x="295" y="379"/>
                  </a:lnTo>
                  <a:lnTo>
                    <a:pt x="291" y="379"/>
                  </a:lnTo>
                  <a:lnTo>
                    <a:pt x="287" y="375"/>
                  </a:lnTo>
                  <a:lnTo>
                    <a:pt x="291" y="375"/>
                  </a:lnTo>
                  <a:lnTo>
                    <a:pt x="291" y="371"/>
                  </a:lnTo>
                  <a:lnTo>
                    <a:pt x="295" y="371"/>
                  </a:lnTo>
                  <a:close/>
                  <a:moveTo>
                    <a:pt x="718" y="379"/>
                  </a:moveTo>
                  <a:lnTo>
                    <a:pt x="722" y="383"/>
                  </a:lnTo>
                  <a:lnTo>
                    <a:pt x="722" y="387"/>
                  </a:lnTo>
                  <a:lnTo>
                    <a:pt x="718" y="391"/>
                  </a:lnTo>
                  <a:lnTo>
                    <a:pt x="714" y="391"/>
                  </a:lnTo>
                  <a:lnTo>
                    <a:pt x="710" y="391"/>
                  </a:lnTo>
                  <a:lnTo>
                    <a:pt x="706" y="391"/>
                  </a:lnTo>
                  <a:lnTo>
                    <a:pt x="702" y="391"/>
                  </a:lnTo>
                  <a:lnTo>
                    <a:pt x="698" y="391"/>
                  </a:lnTo>
                  <a:lnTo>
                    <a:pt x="694" y="395"/>
                  </a:lnTo>
                  <a:lnTo>
                    <a:pt x="686" y="395"/>
                  </a:lnTo>
                  <a:lnTo>
                    <a:pt x="682" y="395"/>
                  </a:lnTo>
                  <a:lnTo>
                    <a:pt x="678" y="395"/>
                  </a:lnTo>
                  <a:lnTo>
                    <a:pt x="678" y="391"/>
                  </a:lnTo>
                  <a:lnTo>
                    <a:pt x="682" y="391"/>
                  </a:lnTo>
                  <a:lnTo>
                    <a:pt x="686" y="391"/>
                  </a:lnTo>
                  <a:lnTo>
                    <a:pt x="686" y="387"/>
                  </a:lnTo>
                  <a:lnTo>
                    <a:pt x="690" y="387"/>
                  </a:lnTo>
                  <a:lnTo>
                    <a:pt x="694" y="383"/>
                  </a:lnTo>
                  <a:lnTo>
                    <a:pt x="698" y="383"/>
                  </a:lnTo>
                  <a:lnTo>
                    <a:pt x="702" y="383"/>
                  </a:lnTo>
                  <a:lnTo>
                    <a:pt x="706" y="383"/>
                  </a:lnTo>
                  <a:lnTo>
                    <a:pt x="706" y="379"/>
                  </a:lnTo>
                  <a:lnTo>
                    <a:pt x="710" y="379"/>
                  </a:lnTo>
                  <a:lnTo>
                    <a:pt x="714" y="379"/>
                  </a:lnTo>
                  <a:lnTo>
                    <a:pt x="718" y="379"/>
                  </a:lnTo>
                  <a:close/>
                  <a:moveTo>
                    <a:pt x="319" y="379"/>
                  </a:moveTo>
                  <a:lnTo>
                    <a:pt x="323" y="383"/>
                  </a:lnTo>
                  <a:lnTo>
                    <a:pt x="319" y="383"/>
                  </a:lnTo>
                  <a:lnTo>
                    <a:pt x="315" y="383"/>
                  </a:lnTo>
                  <a:lnTo>
                    <a:pt x="315" y="379"/>
                  </a:lnTo>
                  <a:lnTo>
                    <a:pt x="319" y="379"/>
                  </a:lnTo>
                  <a:close/>
                  <a:moveTo>
                    <a:pt x="694" y="383"/>
                  </a:moveTo>
                  <a:lnTo>
                    <a:pt x="690" y="383"/>
                  </a:lnTo>
                  <a:lnTo>
                    <a:pt x="686" y="387"/>
                  </a:lnTo>
                  <a:lnTo>
                    <a:pt x="686" y="383"/>
                  </a:lnTo>
                  <a:lnTo>
                    <a:pt x="690" y="383"/>
                  </a:lnTo>
                  <a:lnTo>
                    <a:pt x="694" y="383"/>
                  </a:lnTo>
                  <a:close/>
                  <a:moveTo>
                    <a:pt x="323" y="391"/>
                  </a:moveTo>
                  <a:lnTo>
                    <a:pt x="323" y="387"/>
                  </a:lnTo>
                  <a:lnTo>
                    <a:pt x="319" y="387"/>
                  </a:lnTo>
                  <a:lnTo>
                    <a:pt x="323" y="387"/>
                  </a:lnTo>
                  <a:lnTo>
                    <a:pt x="327" y="387"/>
                  </a:lnTo>
                  <a:lnTo>
                    <a:pt x="323" y="391"/>
                  </a:lnTo>
                  <a:close/>
                  <a:moveTo>
                    <a:pt x="710" y="391"/>
                  </a:moveTo>
                  <a:lnTo>
                    <a:pt x="710" y="395"/>
                  </a:lnTo>
                  <a:lnTo>
                    <a:pt x="706" y="395"/>
                  </a:lnTo>
                  <a:lnTo>
                    <a:pt x="706" y="391"/>
                  </a:lnTo>
                  <a:lnTo>
                    <a:pt x="710" y="391"/>
                  </a:lnTo>
                  <a:close/>
                  <a:moveTo>
                    <a:pt x="271" y="395"/>
                  </a:moveTo>
                  <a:lnTo>
                    <a:pt x="275" y="395"/>
                  </a:lnTo>
                  <a:lnTo>
                    <a:pt x="279" y="395"/>
                  </a:lnTo>
                  <a:lnTo>
                    <a:pt x="275" y="395"/>
                  </a:lnTo>
                  <a:lnTo>
                    <a:pt x="271" y="395"/>
                  </a:lnTo>
                  <a:close/>
                  <a:moveTo>
                    <a:pt x="283" y="423"/>
                  </a:moveTo>
                  <a:lnTo>
                    <a:pt x="287" y="423"/>
                  </a:lnTo>
                  <a:lnTo>
                    <a:pt x="291" y="423"/>
                  </a:lnTo>
                  <a:lnTo>
                    <a:pt x="295" y="423"/>
                  </a:lnTo>
                  <a:lnTo>
                    <a:pt x="295" y="419"/>
                  </a:lnTo>
                  <a:lnTo>
                    <a:pt x="299" y="419"/>
                  </a:lnTo>
                  <a:lnTo>
                    <a:pt x="295" y="419"/>
                  </a:lnTo>
                  <a:lnTo>
                    <a:pt x="291" y="419"/>
                  </a:lnTo>
                  <a:lnTo>
                    <a:pt x="291" y="423"/>
                  </a:lnTo>
                  <a:lnTo>
                    <a:pt x="291" y="419"/>
                  </a:lnTo>
                  <a:lnTo>
                    <a:pt x="287" y="419"/>
                  </a:lnTo>
                  <a:lnTo>
                    <a:pt x="291" y="419"/>
                  </a:lnTo>
                  <a:lnTo>
                    <a:pt x="287" y="419"/>
                  </a:lnTo>
                  <a:lnTo>
                    <a:pt x="279" y="419"/>
                  </a:lnTo>
                  <a:lnTo>
                    <a:pt x="275" y="419"/>
                  </a:lnTo>
                  <a:lnTo>
                    <a:pt x="271" y="415"/>
                  </a:lnTo>
                  <a:lnTo>
                    <a:pt x="275" y="415"/>
                  </a:lnTo>
                  <a:lnTo>
                    <a:pt x="279" y="415"/>
                  </a:lnTo>
                  <a:lnTo>
                    <a:pt x="283" y="415"/>
                  </a:lnTo>
                  <a:lnTo>
                    <a:pt x="279" y="415"/>
                  </a:lnTo>
                  <a:lnTo>
                    <a:pt x="279" y="411"/>
                  </a:lnTo>
                  <a:lnTo>
                    <a:pt x="275" y="411"/>
                  </a:lnTo>
                  <a:lnTo>
                    <a:pt x="275" y="407"/>
                  </a:lnTo>
                  <a:lnTo>
                    <a:pt x="279" y="407"/>
                  </a:lnTo>
                  <a:lnTo>
                    <a:pt x="283" y="407"/>
                  </a:lnTo>
                  <a:lnTo>
                    <a:pt x="283" y="411"/>
                  </a:lnTo>
                  <a:lnTo>
                    <a:pt x="283" y="407"/>
                  </a:lnTo>
                  <a:lnTo>
                    <a:pt x="279" y="407"/>
                  </a:lnTo>
                  <a:lnTo>
                    <a:pt x="275" y="407"/>
                  </a:lnTo>
                  <a:lnTo>
                    <a:pt x="275" y="403"/>
                  </a:lnTo>
                  <a:lnTo>
                    <a:pt x="275" y="399"/>
                  </a:lnTo>
                  <a:lnTo>
                    <a:pt x="279" y="399"/>
                  </a:lnTo>
                  <a:lnTo>
                    <a:pt x="283" y="399"/>
                  </a:lnTo>
                  <a:lnTo>
                    <a:pt x="287" y="399"/>
                  </a:lnTo>
                  <a:lnTo>
                    <a:pt x="291" y="399"/>
                  </a:lnTo>
                  <a:lnTo>
                    <a:pt x="295" y="399"/>
                  </a:lnTo>
                  <a:lnTo>
                    <a:pt x="299" y="403"/>
                  </a:lnTo>
                  <a:lnTo>
                    <a:pt x="303" y="403"/>
                  </a:lnTo>
                  <a:lnTo>
                    <a:pt x="303" y="407"/>
                  </a:lnTo>
                  <a:lnTo>
                    <a:pt x="307" y="407"/>
                  </a:lnTo>
                  <a:lnTo>
                    <a:pt x="307" y="411"/>
                  </a:lnTo>
                  <a:lnTo>
                    <a:pt x="311" y="411"/>
                  </a:lnTo>
                  <a:lnTo>
                    <a:pt x="315" y="411"/>
                  </a:lnTo>
                  <a:lnTo>
                    <a:pt x="319" y="411"/>
                  </a:lnTo>
                  <a:lnTo>
                    <a:pt x="319" y="415"/>
                  </a:lnTo>
                  <a:lnTo>
                    <a:pt x="319" y="419"/>
                  </a:lnTo>
                  <a:lnTo>
                    <a:pt x="315" y="419"/>
                  </a:lnTo>
                  <a:lnTo>
                    <a:pt x="315" y="423"/>
                  </a:lnTo>
                  <a:lnTo>
                    <a:pt x="311" y="423"/>
                  </a:lnTo>
                  <a:lnTo>
                    <a:pt x="307" y="423"/>
                  </a:lnTo>
                  <a:lnTo>
                    <a:pt x="303" y="423"/>
                  </a:lnTo>
                  <a:lnTo>
                    <a:pt x="299" y="427"/>
                  </a:lnTo>
                  <a:lnTo>
                    <a:pt x="295" y="427"/>
                  </a:lnTo>
                  <a:lnTo>
                    <a:pt x="291" y="427"/>
                  </a:lnTo>
                  <a:lnTo>
                    <a:pt x="287" y="427"/>
                  </a:lnTo>
                  <a:lnTo>
                    <a:pt x="287" y="423"/>
                  </a:lnTo>
                  <a:lnTo>
                    <a:pt x="283" y="423"/>
                  </a:lnTo>
                  <a:close/>
                  <a:moveTo>
                    <a:pt x="331" y="411"/>
                  </a:moveTo>
                  <a:lnTo>
                    <a:pt x="335" y="411"/>
                  </a:lnTo>
                  <a:lnTo>
                    <a:pt x="339" y="411"/>
                  </a:lnTo>
                  <a:lnTo>
                    <a:pt x="335" y="415"/>
                  </a:lnTo>
                  <a:lnTo>
                    <a:pt x="335" y="419"/>
                  </a:lnTo>
                  <a:lnTo>
                    <a:pt x="331" y="419"/>
                  </a:lnTo>
                  <a:lnTo>
                    <a:pt x="327" y="415"/>
                  </a:lnTo>
                  <a:lnTo>
                    <a:pt x="327" y="411"/>
                  </a:lnTo>
                  <a:lnTo>
                    <a:pt x="331" y="411"/>
                  </a:lnTo>
                  <a:lnTo>
                    <a:pt x="327" y="411"/>
                  </a:lnTo>
                  <a:lnTo>
                    <a:pt x="331" y="411"/>
                  </a:lnTo>
                  <a:lnTo>
                    <a:pt x="331" y="407"/>
                  </a:lnTo>
                  <a:lnTo>
                    <a:pt x="331" y="411"/>
                  </a:lnTo>
                  <a:close/>
                  <a:moveTo>
                    <a:pt x="315" y="443"/>
                  </a:moveTo>
                  <a:lnTo>
                    <a:pt x="311" y="443"/>
                  </a:lnTo>
                  <a:lnTo>
                    <a:pt x="307" y="443"/>
                  </a:lnTo>
                  <a:lnTo>
                    <a:pt x="303" y="443"/>
                  </a:lnTo>
                  <a:lnTo>
                    <a:pt x="303" y="447"/>
                  </a:lnTo>
                  <a:lnTo>
                    <a:pt x="299" y="447"/>
                  </a:lnTo>
                  <a:lnTo>
                    <a:pt x="303" y="443"/>
                  </a:lnTo>
                  <a:lnTo>
                    <a:pt x="307" y="443"/>
                  </a:lnTo>
                  <a:lnTo>
                    <a:pt x="303" y="443"/>
                  </a:lnTo>
                  <a:lnTo>
                    <a:pt x="307" y="443"/>
                  </a:lnTo>
                  <a:lnTo>
                    <a:pt x="311" y="443"/>
                  </a:lnTo>
                  <a:lnTo>
                    <a:pt x="315" y="443"/>
                  </a:lnTo>
                  <a:close/>
                  <a:moveTo>
                    <a:pt x="315" y="455"/>
                  </a:moveTo>
                  <a:lnTo>
                    <a:pt x="319" y="455"/>
                  </a:lnTo>
                  <a:lnTo>
                    <a:pt x="323" y="455"/>
                  </a:lnTo>
                  <a:lnTo>
                    <a:pt x="327" y="455"/>
                  </a:lnTo>
                  <a:lnTo>
                    <a:pt x="323" y="455"/>
                  </a:lnTo>
                  <a:lnTo>
                    <a:pt x="319" y="455"/>
                  </a:lnTo>
                  <a:lnTo>
                    <a:pt x="319" y="459"/>
                  </a:lnTo>
                  <a:lnTo>
                    <a:pt x="315" y="459"/>
                  </a:lnTo>
                  <a:lnTo>
                    <a:pt x="311" y="455"/>
                  </a:lnTo>
                  <a:lnTo>
                    <a:pt x="315" y="455"/>
                  </a:lnTo>
                  <a:close/>
                  <a:moveTo>
                    <a:pt x="654" y="455"/>
                  </a:moveTo>
                  <a:lnTo>
                    <a:pt x="654" y="459"/>
                  </a:lnTo>
                  <a:lnTo>
                    <a:pt x="654" y="455"/>
                  </a:lnTo>
                  <a:lnTo>
                    <a:pt x="650" y="455"/>
                  </a:lnTo>
                  <a:lnTo>
                    <a:pt x="654" y="455"/>
                  </a:lnTo>
                  <a:close/>
                  <a:moveTo>
                    <a:pt x="319" y="459"/>
                  </a:moveTo>
                  <a:lnTo>
                    <a:pt x="327" y="455"/>
                  </a:lnTo>
                  <a:lnTo>
                    <a:pt x="331" y="459"/>
                  </a:lnTo>
                  <a:lnTo>
                    <a:pt x="327" y="459"/>
                  </a:lnTo>
                  <a:lnTo>
                    <a:pt x="323" y="459"/>
                  </a:lnTo>
                  <a:lnTo>
                    <a:pt x="319" y="459"/>
                  </a:lnTo>
                  <a:close/>
                  <a:moveTo>
                    <a:pt x="295" y="459"/>
                  </a:moveTo>
                  <a:lnTo>
                    <a:pt x="299" y="459"/>
                  </a:lnTo>
                  <a:lnTo>
                    <a:pt x="295" y="459"/>
                  </a:lnTo>
                  <a:close/>
                  <a:moveTo>
                    <a:pt x="291" y="471"/>
                  </a:moveTo>
                  <a:lnTo>
                    <a:pt x="291" y="467"/>
                  </a:lnTo>
                  <a:lnTo>
                    <a:pt x="295" y="467"/>
                  </a:lnTo>
                  <a:lnTo>
                    <a:pt x="291" y="471"/>
                  </a:lnTo>
                  <a:close/>
                  <a:moveTo>
                    <a:pt x="291" y="511"/>
                  </a:moveTo>
                  <a:lnTo>
                    <a:pt x="295" y="511"/>
                  </a:lnTo>
                  <a:lnTo>
                    <a:pt x="291" y="511"/>
                  </a:lnTo>
                  <a:close/>
                  <a:moveTo>
                    <a:pt x="550" y="519"/>
                  </a:moveTo>
                  <a:lnTo>
                    <a:pt x="550" y="515"/>
                  </a:lnTo>
                  <a:lnTo>
                    <a:pt x="550" y="519"/>
                  </a:lnTo>
                  <a:close/>
                  <a:moveTo>
                    <a:pt x="554" y="519"/>
                  </a:moveTo>
                  <a:lnTo>
                    <a:pt x="554" y="515"/>
                  </a:lnTo>
                  <a:lnTo>
                    <a:pt x="558" y="515"/>
                  </a:lnTo>
                  <a:lnTo>
                    <a:pt x="558" y="519"/>
                  </a:lnTo>
                  <a:lnTo>
                    <a:pt x="554" y="519"/>
                  </a:lnTo>
                  <a:close/>
                  <a:moveTo>
                    <a:pt x="534" y="523"/>
                  </a:moveTo>
                  <a:lnTo>
                    <a:pt x="530" y="523"/>
                  </a:lnTo>
                  <a:lnTo>
                    <a:pt x="530" y="519"/>
                  </a:lnTo>
                  <a:lnTo>
                    <a:pt x="530" y="515"/>
                  </a:lnTo>
                  <a:lnTo>
                    <a:pt x="534" y="515"/>
                  </a:lnTo>
                  <a:lnTo>
                    <a:pt x="538" y="515"/>
                  </a:lnTo>
                  <a:lnTo>
                    <a:pt x="538" y="519"/>
                  </a:lnTo>
                  <a:lnTo>
                    <a:pt x="542" y="519"/>
                  </a:lnTo>
                  <a:lnTo>
                    <a:pt x="538" y="519"/>
                  </a:lnTo>
                  <a:lnTo>
                    <a:pt x="538" y="523"/>
                  </a:lnTo>
                  <a:lnTo>
                    <a:pt x="534" y="523"/>
                  </a:lnTo>
                  <a:close/>
                  <a:moveTo>
                    <a:pt x="506" y="531"/>
                  </a:moveTo>
                  <a:lnTo>
                    <a:pt x="502" y="531"/>
                  </a:lnTo>
                  <a:lnTo>
                    <a:pt x="506" y="531"/>
                  </a:lnTo>
                  <a:close/>
                  <a:moveTo>
                    <a:pt x="494" y="555"/>
                  </a:moveTo>
                  <a:lnTo>
                    <a:pt x="494" y="551"/>
                  </a:lnTo>
                  <a:lnTo>
                    <a:pt x="490" y="551"/>
                  </a:lnTo>
                  <a:lnTo>
                    <a:pt x="490" y="547"/>
                  </a:lnTo>
                  <a:lnTo>
                    <a:pt x="486" y="543"/>
                  </a:lnTo>
                  <a:lnTo>
                    <a:pt x="490" y="543"/>
                  </a:lnTo>
                  <a:lnTo>
                    <a:pt x="494" y="547"/>
                  </a:lnTo>
                  <a:lnTo>
                    <a:pt x="490" y="547"/>
                  </a:lnTo>
                  <a:lnTo>
                    <a:pt x="494" y="551"/>
                  </a:lnTo>
                  <a:lnTo>
                    <a:pt x="498" y="551"/>
                  </a:lnTo>
                  <a:lnTo>
                    <a:pt x="498" y="555"/>
                  </a:lnTo>
                  <a:lnTo>
                    <a:pt x="494" y="555"/>
                  </a:lnTo>
                  <a:close/>
                  <a:moveTo>
                    <a:pt x="331" y="551"/>
                  </a:moveTo>
                  <a:lnTo>
                    <a:pt x="331" y="555"/>
                  </a:lnTo>
                  <a:lnTo>
                    <a:pt x="327" y="555"/>
                  </a:lnTo>
                  <a:lnTo>
                    <a:pt x="327" y="551"/>
                  </a:lnTo>
                  <a:lnTo>
                    <a:pt x="331" y="551"/>
                  </a:lnTo>
                  <a:close/>
                  <a:moveTo>
                    <a:pt x="335" y="551"/>
                  </a:moveTo>
                  <a:lnTo>
                    <a:pt x="335" y="555"/>
                  </a:lnTo>
                  <a:lnTo>
                    <a:pt x="331" y="555"/>
                  </a:lnTo>
                  <a:lnTo>
                    <a:pt x="331" y="559"/>
                  </a:lnTo>
                  <a:lnTo>
                    <a:pt x="327" y="559"/>
                  </a:lnTo>
                  <a:lnTo>
                    <a:pt x="331" y="555"/>
                  </a:lnTo>
                  <a:lnTo>
                    <a:pt x="331" y="551"/>
                  </a:lnTo>
                  <a:lnTo>
                    <a:pt x="335" y="551"/>
                  </a:lnTo>
                  <a:close/>
                  <a:moveTo>
                    <a:pt x="327" y="555"/>
                  </a:moveTo>
                  <a:lnTo>
                    <a:pt x="327" y="559"/>
                  </a:lnTo>
                  <a:lnTo>
                    <a:pt x="323" y="559"/>
                  </a:lnTo>
                  <a:lnTo>
                    <a:pt x="327" y="555"/>
                  </a:lnTo>
                  <a:close/>
                  <a:moveTo>
                    <a:pt x="482" y="559"/>
                  </a:moveTo>
                  <a:lnTo>
                    <a:pt x="478" y="559"/>
                  </a:lnTo>
                  <a:lnTo>
                    <a:pt x="478" y="555"/>
                  </a:lnTo>
                  <a:lnTo>
                    <a:pt x="482" y="55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7" name="Freeform 64"/>
            <p:cNvSpPr>
              <a:spLocks/>
            </p:cNvSpPr>
            <p:nvPr>
              <p:custDataLst>
                <p:tags r:id="rId259"/>
              </p:custDataLst>
            </p:nvPr>
          </p:nvSpPr>
          <p:spPr bwMode="gray">
            <a:xfrm>
              <a:off x="2305704" y="4106544"/>
              <a:ext cx="87500" cy="112713"/>
            </a:xfrm>
            <a:custGeom>
              <a:avLst/>
              <a:gdLst/>
              <a:ahLst/>
              <a:cxnLst>
                <a:cxn ang="0">
                  <a:pos x="40" y="64"/>
                </a:cxn>
                <a:cxn ang="0">
                  <a:pos x="40" y="68"/>
                </a:cxn>
                <a:cxn ang="0">
                  <a:pos x="40" y="68"/>
                </a:cxn>
                <a:cxn ang="0">
                  <a:pos x="40" y="68"/>
                </a:cxn>
                <a:cxn ang="0">
                  <a:pos x="36" y="72"/>
                </a:cxn>
                <a:cxn ang="0">
                  <a:pos x="32" y="76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2"/>
                </a:cxn>
                <a:cxn ang="0">
                  <a:pos x="24" y="72"/>
                </a:cxn>
                <a:cxn ang="0">
                  <a:pos x="16" y="72"/>
                </a:cxn>
                <a:cxn ang="0">
                  <a:pos x="12" y="72"/>
                </a:cxn>
                <a:cxn ang="0">
                  <a:pos x="8" y="72"/>
                </a:cxn>
                <a:cxn ang="0">
                  <a:pos x="8" y="68"/>
                </a:cxn>
                <a:cxn ang="0">
                  <a:pos x="4" y="68"/>
                </a:cxn>
                <a:cxn ang="0">
                  <a:pos x="0" y="64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0" y="56"/>
                </a:cxn>
                <a:cxn ang="0">
                  <a:pos x="0" y="48"/>
                </a:cxn>
                <a:cxn ang="0">
                  <a:pos x="8" y="32"/>
                </a:cxn>
                <a:cxn ang="0">
                  <a:pos x="20" y="32"/>
                </a:cxn>
                <a:cxn ang="0">
                  <a:pos x="28" y="32"/>
                </a:cxn>
                <a:cxn ang="0">
                  <a:pos x="28" y="32"/>
                </a:cxn>
                <a:cxn ang="0">
                  <a:pos x="28" y="28"/>
                </a:cxn>
                <a:cxn ang="0">
                  <a:pos x="24" y="28"/>
                </a:cxn>
                <a:cxn ang="0">
                  <a:pos x="24" y="24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16" y="16"/>
                </a:cxn>
                <a:cxn ang="0">
                  <a:pos x="12" y="12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44" y="0"/>
                </a:cxn>
                <a:cxn ang="0">
                  <a:pos x="48" y="16"/>
                </a:cxn>
                <a:cxn ang="0">
                  <a:pos x="44" y="36"/>
                </a:cxn>
                <a:cxn ang="0">
                  <a:pos x="52" y="36"/>
                </a:cxn>
                <a:cxn ang="0">
                  <a:pos x="52" y="36"/>
                </a:cxn>
                <a:cxn ang="0">
                  <a:pos x="56" y="40"/>
                </a:cxn>
                <a:cxn ang="0">
                  <a:pos x="56" y="36"/>
                </a:cxn>
                <a:cxn ang="0">
                  <a:pos x="59" y="40"/>
                </a:cxn>
                <a:cxn ang="0">
                  <a:pos x="59" y="40"/>
                </a:cxn>
                <a:cxn ang="0">
                  <a:pos x="56" y="48"/>
                </a:cxn>
                <a:cxn ang="0">
                  <a:pos x="48" y="52"/>
                </a:cxn>
                <a:cxn ang="0">
                  <a:pos x="48" y="52"/>
                </a:cxn>
                <a:cxn ang="0">
                  <a:pos x="44" y="56"/>
                </a:cxn>
                <a:cxn ang="0">
                  <a:pos x="48" y="60"/>
                </a:cxn>
                <a:cxn ang="0">
                  <a:pos x="44" y="64"/>
                </a:cxn>
              </a:cxnLst>
              <a:rect l="0" t="0" r="r" b="b"/>
              <a:pathLst>
                <a:path w="59" h="76">
                  <a:moveTo>
                    <a:pt x="44" y="64"/>
                  </a:moveTo>
                  <a:lnTo>
                    <a:pt x="44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20" y="12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16"/>
                  </a:lnTo>
                  <a:lnTo>
                    <a:pt x="48" y="28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9" y="36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4" y="6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8" name="Freeform 65"/>
            <p:cNvSpPr>
              <a:spLocks noEditPoints="1"/>
            </p:cNvSpPr>
            <p:nvPr>
              <p:custDataLst>
                <p:tags r:id="rId260"/>
              </p:custDataLst>
            </p:nvPr>
          </p:nvSpPr>
          <p:spPr bwMode="gray">
            <a:xfrm>
              <a:off x="2701682" y="4047221"/>
              <a:ext cx="65255" cy="53390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28" y="0"/>
                </a:cxn>
                <a:cxn ang="0">
                  <a:pos x="28" y="0"/>
                </a:cxn>
                <a:cxn ang="0">
                  <a:pos x="20" y="8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6" y="4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12"/>
                </a:cxn>
                <a:cxn ang="0">
                  <a:pos x="44" y="16"/>
                </a:cxn>
                <a:cxn ang="0">
                  <a:pos x="44" y="20"/>
                </a:cxn>
                <a:cxn ang="0">
                  <a:pos x="44" y="24"/>
                </a:cxn>
                <a:cxn ang="0">
                  <a:pos x="44" y="24"/>
                </a:cxn>
                <a:cxn ang="0">
                  <a:pos x="40" y="24"/>
                </a:cxn>
                <a:cxn ang="0">
                  <a:pos x="40" y="24"/>
                </a:cxn>
                <a:cxn ang="0">
                  <a:pos x="40" y="28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36"/>
                </a:cxn>
                <a:cxn ang="0">
                  <a:pos x="40" y="36"/>
                </a:cxn>
                <a:cxn ang="0">
                  <a:pos x="36" y="32"/>
                </a:cxn>
                <a:cxn ang="0">
                  <a:pos x="32" y="32"/>
                </a:cxn>
                <a:cxn ang="0">
                  <a:pos x="28" y="36"/>
                </a:cxn>
                <a:cxn ang="0">
                  <a:pos x="28" y="36"/>
                </a:cxn>
                <a:cxn ang="0">
                  <a:pos x="24" y="36"/>
                </a:cxn>
                <a:cxn ang="0">
                  <a:pos x="20" y="32"/>
                </a:cxn>
                <a:cxn ang="0">
                  <a:pos x="12" y="36"/>
                </a:cxn>
                <a:cxn ang="0">
                  <a:pos x="12" y="36"/>
                </a:cxn>
                <a:cxn ang="0">
                  <a:pos x="12" y="36"/>
                </a:cxn>
                <a:cxn ang="0">
                  <a:pos x="12" y="36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0" y="32"/>
                </a:cxn>
                <a:cxn ang="0">
                  <a:pos x="4" y="24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16" y="28"/>
                </a:cxn>
                <a:cxn ang="0">
                  <a:pos x="12" y="28"/>
                </a:cxn>
                <a:cxn ang="0">
                  <a:pos x="16" y="28"/>
                </a:cxn>
                <a:cxn ang="0">
                  <a:pos x="20" y="28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28" y="28"/>
                </a:cxn>
                <a:cxn ang="0">
                  <a:pos x="32" y="28"/>
                </a:cxn>
                <a:cxn ang="0">
                  <a:pos x="32" y="28"/>
                </a:cxn>
                <a:cxn ang="0">
                  <a:pos x="32" y="24"/>
                </a:cxn>
                <a:cxn ang="0">
                  <a:pos x="32" y="24"/>
                </a:cxn>
                <a:cxn ang="0">
                  <a:pos x="28" y="20"/>
                </a:cxn>
                <a:cxn ang="0">
                  <a:pos x="28" y="12"/>
                </a:cxn>
                <a:cxn ang="0">
                  <a:pos x="24" y="8"/>
                </a:cxn>
                <a:cxn ang="0">
                  <a:pos x="24" y="24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8" y="24"/>
                </a:cxn>
                <a:cxn ang="0">
                  <a:pos x="28" y="24"/>
                </a:cxn>
              </a:cxnLst>
              <a:rect l="0" t="0" r="r" b="b"/>
              <a:pathLst>
                <a:path w="44" h="36">
                  <a:moveTo>
                    <a:pt x="28" y="0"/>
                  </a:moveTo>
                  <a:lnTo>
                    <a:pt x="28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close/>
                  <a:moveTo>
                    <a:pt x="24" y="8"/>
                  </a:move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close/>
                  <a:moveTo>
                    <a:pt x="28" y="24"/>
                  </a:moveTo>
                  <a:lnTo>
                    <a:pt x="2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9" name="Freeform 66"/>
            <p:cNvSpPr>
              <a:spLocks noEditPoints="1"/>
            </p:cNvSpPr>
            <p:nvPr>
              <p:custDataLst>
                <p:tags r:id="rId261"/>
              </p:custDataLst>
            </p:nvPr>
          </p:nvSpPr>
          <p:spPr bwMode="gray">
            <a:xfrm>
              <a:off x="2370958" y="4148069"/>
              <a:ext cx="140891" cy="94916"/>
            </a:xfrm>
            <a:custGeom>
              <a:avLst/>
              <a:gdLst/>
              <a:ahLst/>
              <a:cxnLst>
                <a:cxn ang="0">
                  <a:pos x="39" y="56"/>
                </a:cxn>
                <a:cxn ang="0">
                  <a:pos x="35" y="60"/>
                </a:cxn>
                <a:cxn ang="0">
                  <a:pos x="35" y="64"/>
                </a:cxn>
                <a:cxn ang="0">
                  <a:pos x="27" y="60"/>
                </a:cxn>
                <a:cxn ang="0">
                  <a:pos x="27" y="56"/>
                </a:cxn>
                <a:cxn ang="0">
                  <a:pos x="27" y="56"/>
                </a:cxn>
                <a:cxn ang="0">
                  <a:pos x="23" y="56"/>
                </a:cxn>
                <a:cxn ang="0">
                  <a:pos x="23" y="56"/>
                </a:cxn>
                <a:cxn ang="0">
                  <a:pos x="23" y="48"/>
                </a:cxn>
                <a:cxn ang="0">
                  <a:pos x="19" y="48"/>
                </a:cxn>
                <a:cxn ang="0">
                  <a:pos x="19" y="44"/>
                </a:cxn>
                <a:cxn ang="0">
                  <a:pos x="15" y="48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4" y="40"/>
                </a:cxn>
                <a:cxn ang="0">
                  <a:pos x="0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12" y="16"/>
                </a:cxn>
                <a:cxn ang="0">
                  <a:pos x="15" y="12"/>
                </a:cxn>
                <a:cxn ang="0">
                  <a:pos x="19" y="8"/>
                </a:cxn>
                <a:cxn ang="0">
                  <a:pos x="23" y="8"/>
                </a:cxn>
                <a:cxn ang="0">
                  <a:pos x="31" y="8"/>
                </a:cxn>
                <a:cxn ang="0">
                  <a:pos x="39" y="12"/>
                </a:cxn>
                <a:cxn ang="0">
                  <a:pos x="43" y="12"/>
                </a:cxn>
                <a:cxn ang="0">
                  <a:pos x="47" y="8"/>
                </a:cxn>
                <a:cxn ang="0">
                  <a:pos x="51" y="8"/>
                </a:cxn>
                <a:cxn ang="0">
                  <a:pos x="51" y="8"/>
                </a:cxn>
                <a:cxn ang="0">
                  <a:pos x="55" y="8"/>
                </a:cxn>
                <a:cxn ang="0">
                  <a:pos x="63" y="8"/>
                </a:cxn>
                <a:cxn ang="0">
                  <a:pos x="71" y="8"/>
                </a:cxn>
                <a:cxn ang="0">
                  <a:pos x="71" y="8"/>
                </a:cxn>
                <a:cxn ang="0">
                  <a:pos x="83" y="16"/>
                </a:cxn>
                <a:cxn ang="0">
                  <a:pos x="79" y="20"/>
                </a:cxn>
                <a:cxn ang="0">
                  <a:pos x="79" y="20"/>
                </a:cxn>
                <a:cxn ang="0">
                  <a:pos x="83" y="20"/>
                </a:cxn>
                <a:cxn ang="0">
                  <a:pos x="87" y="20"/>
                </a:cxn>
                <a:cxn ang="0">
                  <a:pos x="87" y="24"/>
                </a:cxn>
                <a:cxn ang="0">
                  <a:pos x="87" y="20"/>
                </a:cxn>
                <a:cxn ang="0">
                  <a:pos x="91" y="20"/>
                </a:cxn>
                <a:cxn ang="0">
                  <a:pos x="91" y="24"/>
                </a:cxn>
                <a:cxn ang="0">
                  <a:pos x="91" y="24"/>
                </a:cxn>
                <a:cxn ang="0">
                  <a:pos x="83" y="28"/>
                </a:cxn>
                <a:cxn ang="0">
                  <a:pos x="71" y="32"/>
                </a:cxn>
                <a:cxn ang="0">
                  <a:pos x="63" y="32"/>
                </a:cxn>
                <a:cxn ang="0">
                  <a:pos x="63" y="36"/>
                </a:cxn>
                <a:cxn ang="0">
                  <a:pos x="63" y="40"/>
                </a:cxn>
                <a:cxn ang="0">
                  <a:pos x="59" y="40"/>
                </a:cxn>
                <a:cxn ang="0">
                  <a:pos x="55" y="48"/>
                </a:cxn>
                <a:cxn ang="0">
                  <a:pos x="51" y="44"/>
                </a:cxn>
                <a:cxn ang="0">
                  <a:pos x="47" y="44"/>
                </a:cxn>
                <a:cxn ang="0">
                  <a:pos x="39" y="48"/>
                </a:cxn>
                <a:cxn ang="0">
                  <a:pos x="39" y="0"/>
                </a:cxn>
                <a:cxn ang="0">
                  <a:pos x="43" y="0"/>
                </a:cxn>
                <a:cxn ang="0">
                  <a:pos x="39" y="0"/>
                </a:cxn>
              </a:cxnLst>
              <a:rect l="0" t="0" r="r" b="b"/>
              <a:pathLst>
                <a:path w="95" h="64">
                  <a:moveTo>
                    <a:pt x="39" y="48"/>
                  </a:moveTo>
                  <a:lnTo>
                    <a:pt x="39" y="52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5" y="56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4"/>
                  </a:lnTo>
                  <a:lnTo>
                    <a:pt x="35" y="64"/>
                  </a:lnTo>
                  <a:lnTo>
                    <a:pt x="35" y="64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1" y="60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7" y="8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31" y="8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7" y="8"/>
                  </a:lnTo>
                  <a:lnTo>
                    <a:pt x="71" y="8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75" y="12"/>
                  </a:lnTo>
                  <a:lnTo>
                    <a:pt x="71" y="8"/>
                  </a:lnTo>
                  <a:lnTo>
                    <a:pt x="71" y="8"/>
                  </a:lnTo>
                  <a:lnTo>
                    <a:pt x="75" y="12"/>
                  </a:lnTo>
                  <a:lnTo>
                    <a:pt x="79" y="12"/>
                  </a:lnTo>
                  <a:lnTo>
                    <a:pt x="79" y="12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5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87" y="24"/>
                  </a:lnTo>
                  <a:lnTo>
                    <a:pt x="87" y="28"/>
                  </a:lnTo>
                  <a:lnTo>
                    <a:pt x="87" y="28"/>
                  </a:lnTo>
                  <a:lnTo>
                    <a:pt x="83" y="28"/>
                  </a:lnTo>
                  <a:lnTo>
                    <a:pt x="83" y="28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5" y="32"/>
                  </a:lnTo>
                  <a:lnTo>
                    <a:pt x="75" y="32"/>
                  </a:lnTo>
                  <a:lnTo>
                    <a:pt x="71" y="32"/>
                  </a:lnTo>
                  <a:lnTo>
                    <a:pt x="71" y="32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40"/>
                  </a:lnTo>
                  <a:lnTo>
                    <a:pt x="63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8"/>
                  </a:lnTo>
                  <a:close/>
                  <a:moveTo>
                    <a:pt x="39" y="0"/>
                  </a:move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0" name="Freeform 67"/>
            <p:cNvSpPr>
              <a:spLocks/>
            </p:cNvSpPr>
            <p:nvPr>
              <p:custDataLst>
                <p:tags r:id="rId262"/>
              </p:custDataLst>
            </p:nvPr>
          </p:nvSpPr>
          <p:spPr bwMode="gray">
            <a:xfrm>
              <a:off x="2618631" y="4088747"/>
              <a:ext cx="47458" cy="23729"/>
            </a:xfrm>
            <a:custGeom>
              <a:avLst/>
              <a:gdLst/>
              <a:ahLst/>
              <a:cxnLst>
                <a:cxn ang="0">
                  <a:pos x="24" y="12"/>
                </a:cxn>
                <a:cxn ang="0">
                  <a:pos x="24" y="12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32" y="8"/>
                </a:cxn>
                <a:cxn ang="0">
                  <a:pos x="32" y="12"/>
                </a:cxn>
                <a:cxn ang="0">
                  <a:pos x="28" y="12"/>
                </a:cxn>
                <a:cxn ang="0">
                  <a:pos x="24" y="12"/>
                </a:cxn>
              </a:cxnLst>
              <a:rect l="0" t="0" r="r" b="b"/>
              <a:pathLst>
                <a:path w="32" h="16">
                  <a:moveTo>
                    <a:pt x="24" y="12"/>
                  </a:move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1" name="Freeform 68"/>
            <p:cNvSpPr>
              <a:spLocks noEditPoints="1"/>
            </p:cNvSpPr>
            <p:nvPr>
              <p:custDataLst>
                <p:tags r:id="rId263"/>
              </p:custDataLst>
            </p:nvPr>
          </p:nvSpPr>
          <p:spPr bwMode="gray">
            <a:xfrm>
              <a:off x="1719894" y="3680904"/>
              <a:ext cx="708905" cy="514623"/>
            </a:xfrm>
            <a:custGeom>
              <a:avLst/>
              <a:gdLst/>
              <a:ahLst/>
              <a:cxnLst>
                <a:cxn ang="0">
                  <a:pos x="96" y="144"/>
                </a:cxn>
                <a:cxn ang="0">
                  <a:pos x="80" y="120"/>
                </a:cxn>
                <a:cxn ang="0">
                  <a:pos x="64" y="112"/>
                </a:cxn>
                <a:cxn ang="0">
                  <a:pos x="60" y="96"/>
                </a:cxn>
                <a:cxn ang="0">
                  <a:pos x="52" y="68"/>
                </a:cxn>
                <a:cxn ang="0">
                  <a:pos x="36" y="40"/>
                </a:cxn>
                <a:cxn ang="0">
                  <a:pos x="20" y="4"/>
                </a:cxn>
                <a:cxn ang="0">
                  <a:pos x="56" y="8"/>
                </a:cxn>
                <a:cxn ang="0">
                  <a:pos x="111" y="28"/>
                </a:cxn>
                <a:cxn ang="0">
                  <a:pos x="167" y="20"/>
                </a:cxn>
                <a:cxn ang="0">
                  <a:pos x="195" y="40"/>
                </a:cxn>
                <a:cxn ang="0">
                  <a:pos x="223" y="72"/>
                </a:cxn>
                <a:cxn ang="0">
                  <a:pos x="247" y="60"/>
                </a:cxn>
                <a:cxn ang="0">
                  <a:pos x="275" y="88"/>
                </a:cxn>
                <a:cxn ang="0">
                  <a:pos x="295" y="124"/>
                </a:cxn>
                <a:cxn ang="0">
                  <a:pos x="319" y="140"/>
                </a:cxn>
                <a:cxn ang="0">
                  <a:pos x="311" y="184"/>
                </a:cxn>
                <a:cxn ang="0">
                  <a:pos x="315" y="224"/>
                </a:cxn>
                <a:cxn ang="0">
                  <a:pos x="315" y="228"/>
                </a:cxn>
                <a:cxn ang="0">
                  <a:pos x="339" y="267"/>
                </a:cxn>
                <a:cxn ang="0">
                  <a:pos x="375" y="279"/>
                </a:cxn>
                <a:cxn ang="0">
                  <a:pos x="399" y="275"/>
                </a:cxn>
                <a:cxn ang="0">
                  <a:pos x="419" y="255"/>
                </a:cxn>
                <a:cxn ang="0">
                  <a:pos x="431" y="224"/>
                </a:cxn>
                <a:cxn ang="0">
                  <a:pos x="462" y="220"/>
                </a:cxn>
                <a:cxn ang="0">
                  <a:pos x="474" y="236"/>
                </a:cxn>
                <a:cxn ang="0">
                  <a:pos x="462" y="259"/>
                </a:cxn>
                <a:cxn ang="0">
                  <a:pos x="458" y="267"/>
                </a:cxn>
                <a:cxn ang="0">
                  <a:pos x="439" y="287"/>
                </a:cxn>
                <a:cxn ang="0">
                  <a:pos x="419" y="311"/>
                </a:cxn>
                <a:cxn ang="0">
                  <a:pos x="395" y="343"/>
                </a:cxn>
                <a:cxn ang="0">
                  <a:pos x="371" y="323"/>
                </a:cxn>
                <a:cxn ang="0">
                  <a:pos x="355" y="315"/>
                </a:cxn>
                <a:cxn ang="0">
                  <a:pos x="319" y="323"/>
                </a:cxn>
                <a:cxn ang="0">
                  <a:pos x="283" y="307"/>
                </a:cxn>
                <a:cxn ang="0">
                  <a:pos x="247" y="287"/>
                </a:cxn>
                <a:cxn ang="0">
                  <a:pos x="219" y="267"/>
                </a:cxn>
                <a:cxn ang="0">
                  <a:pos x="191" y="243"/>
                </a:cxn>
                <a:cxn ang="0">
                  <a:pos x="195" y="212"/>
                </a:cxn>
                <a:cxn ang="0">
                  <a:pos x="175" y="176"/>
                </a:cxn>
                <a:cxn ang="0">
                  <a:pos x="155" y="160"/>
                </a:cxn>
                <a:cxn ang="0">
                  <a:pos x="139" y="144"/>
                </a:cxn>
                <a:cxn ang="0">
                  <a:pos x="139" y="128"/>
                </a:cxn>
                <a:cxn ang="0">
                  <a:pos x="115" y="96"/>
                </a:cxn>
                <a:cxn ang="0">
                  <a:pos x="92" y="76"/>
                </a:cxn>
                <a:cxn ang="0">
                  <a:pos x="80" y="36"/>
                </a:cxn>
                <a:cxn ang="0">
                  <a:pos x="52" y="20"/>
                </a:cxn>
                <a:cxn ang="0">
                  <a:pos x="56" y="48"/>
                </a:cxn>
                <a:cxn ang="0">
                  <a:pos x="76" y="76"/>
                </a:cxn>
                <a:cxn ang="0">
                  <a:pos x="96" y="116"/>
                </a:cxn>
                <a:cxn ang="0">
                  <a:pos x="107" y="136"/>
                </a:cxn>
                <a:cxn ang="0">
                  <a:pos x="119" y="168"/>
                </a:cxn>
                <a:cxn ang="0">
                  <a:pos x="131" y="188"/>
                </a:cxn>
                <a:cxn ang="0">
                  <a:pos x="115" y="152"/>
                </a:cxn>
                <a:cxn ang="0">
                  <a:pos x="92" y="152"/>
                </a:cxn>
                <a:cxn ang="0">
                  <a:pos x="76" y="64"/>
                </a:cxn>
                <a:cxn ang="0">
                  <a:pos x="0" y="76"/>
                </a:cxn>
                <a:cxn ang="0">
                  <a:pos x="107" y="136"/>
                </a:cxn>
                <a:cxn ang="0">
                  <a:pos x="175" y="220"/>
                </a:cxn>
                <a:cxn ang="0">
                  <a:pos x="478" y="239"/>
                </a:cxn>
              </a:cxnLst>
              <a:rect l="0" t="0" r="r" b="b"/>
              <a:pathLst>
                <a:path w="478" h="347">
                  <a:moveTo>
                    <a:pt x="103" y="164"/>
                  </a:moveTo>
                  <a:lnTo>
                    <a:pt x="99" y="164"/>
                  </a:lnTo>
                  <a:lnTo>
                    <a:pt x="99" y="160"/>
                  </a:lnTo>
                  <a:lnTo>
                    <a:pt x="96" y="160"/>
                  </a:lnTo>
                  <a:lnTo>
                    <a:pt x="96" y="156"/>
                  </a:lnTo>
                  <a:lnTo>
                    <a:pt x="96" y="152"/>
                  </a:lnTo>
                  <a:lnTo>
                    <a:pt x="92" y="152"/>
                  </a:lnTo>
                  <a:lnTo>
                    <a:pt x="92" y="156"/>
                  </a:lnTo>
                  <a:lnTo>
                    <a:pt x="92" y="152"/>
                  </a:lnTo>
                  <a:lnTo>
                    <a:pt x="92" y="148"/>
                  </a:lnTo>
                  <a:lnTo>
                    <a:pt x="96" y="148"/>
                  </a:lnTo>
                  <a:lnTo>
                    <a:pt x="96" y="144"/>
                  </a:lnTo>
                  <a:lnTo>
                    <a:pt x="96" y="140"/>
                  </a:lnTo>
                  <a:lnTo>
                    <a:pt x="96" y="144"/>
                  </a:lnTo>
                  <a:lnTo>
                    <a:pt x="96" y="140"/>
                  </a:lnTo>
                  <a:lnTo>
                    <a:pt x="96" y="136"/>
                  </a:lnTo>
                  <a:lnTo>
                    <a:pt x="92" y="136"/>
                  </a:lnTo>
                  <a:lnTo>
                    <a:pt x="92" y="132"/>
                  </a:lnTo>
                  <a:lnTo>
                    <a:pt x="92" y="128"/>
                  </a:lnTo>
                  <a:lnTo>
                    <a:pt x="88" y="128"/>
                  </a:lnTo>
                  <a:lnTo>
                    <a:pt x="84" y="128"/>
                  </a:lnTo>
                  <a:lnTo>
                    <a:pt x="84" y="124"/>
                  </a:lnTo>
                  <a:lnTo>
                    <a:pt x="80" y="124"/>
                  </a:lnTo>
                  <a:lnTo>
                    <a:pt x="80" y="120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80" y="116"/>
                  </a:lnTo>
                  <a:lnTo>
                    <a:pt x="76" y="116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72" y="120"/>
                  </a:lnTo>
                  <a:lnTo>
                    <a:pt x="68" y="116"/>
                  </a:lnTo>
                  <a:lnTo>
                    <a:pt x="68" y="112"/>
                  </a:lnTo>
                  <a:lnTo>
                    <a:pt x="64" y="116"/>
                  </a:lnTo>
                  <a:lnTo>
                    <a:pt x="64" y="112"/>
                  </a:lnTo>
                  <a:lnTo>
                    <a:pt x="60" y="112"/>
                  </a:lnTo>
                  <a:lnTo>
                    <a:pt x="60" y="108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48" y="100"/>
                  </a:lnTo>
                  <a:lnTo>
                    <a:pt x="52" y="96"/>
                  </a:lnTo>
                  <a:lnTo>
                    <a:pt x="52" y="100"/>
                  </a:lnTo>
                  <a:lnTo>
                    <a:pt x="56" y="100"/>
                  </a:lnTo>
                  <a:lnTo>
                    <a:pt x="60" y="100"/>
                  </a:lnTo>
                  <a:lnTo>
                    <a:pt x="64" y="100"/>
                  </a:lnTo>
                  <a:lnTo>
                    <a:pt x="60" y="96"/>
                  </a:lnTo>
                  <a:lnTo>
                    <a:pt x="64" y="96"/>
                  </a:lnTo>
                  <a:lnTo>
                    <a:pt x="64" y="92"/>
                  </a:lnTo>
                  <a:lnTo>
                    <a:pt x="64" y="96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4" y="84"/>
                  </a:lnTo>
                  <a:lnTo>
                    <a:pt x="64" y="80"/>
                  </a:lnTo>
                  <a:lnTo>
                    <a:pt x="60" y="80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0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4" y="24"/>
                  </a:lnTo>
                  <a:lnTo>
                    <a:pt x="28" y="20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4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24"/>
                  </a:lnTo>
                  <a:lnTo>
                    <a:pt x="103" y="28"/>
                  </a:lnTo>
                  <a:lnTo>
                    <a:pt x="111" y="28"/>
                  </a:lnTo>
                  <a:lnTo>
                    <a:pt x="119" y="28"/>
                  </a:lnTo>
                  <a:lnTo>
                    <a:pt x="123" y="28"/>
                  </a:lnTo>
                  <a:lnTo>
                    <a:pt x="127" y="28"/>
                  </a:lnTo>
                  <a:lnTo>
                    <a:pt x="131" y="28"/>
                  </a:lnTo>
                  <a:lnTo>
                    <a:pt x="139" y="28"/>
                  </a:lnTo>
                  <a:lnTo>
                    <a:pt x="143" y="28"/>
                  </a:lnTo>
                  <a:lnTo>
                    <a:pt x="151" y="28"/>
                  </a:lnTo>
                  <a:lnTo>
                    <a:pt x="151" y="24"/>
                  </a:lnTo>
                  <a:lnTo>
                    <a:pt x="151" y="20"/>
                  </a:lnTo>
                  <a:lnTo>
                    <a:pt x="159" y="20"/>
                  </a:lnTo>
                  <a:lnTo>
                    <a:pt x="163" y="20"/>
                  </a:lnTo>
                  <a:lnTo>
                    <a:pt x="167" y="20"/>
                  </a:lnTo>
                  <a:lnTo>
                    <a:pt x="171" y="20"/>
                  </a:lnTo>
                  <a:lnTo>
                    <a:pt x="175" y="20"/>
                  </a:lnTo>
                  <a:lnTo>
                    <a:pt x="179" y="20"/>
                  </a:lnTo>
                  <a:lnTo>
                    <a:pt x="179" y="24"/>
                  </a:lnTo>
                  <a:lnTo>
                    <a:pt x="183" y="24"/>
                  </a:lnTo>
                  <a:lnTo>
                    <a:pt x="183" y="28"/>
                  </a:lnTo>
                  <a:lnTo>
                    <a:pt x="187" y="28"/>
                  </a:lnTo>
                  <a:lnTo>
                    <a:pt x="187" y="32"/>
                  </a:lnTo>
                  <a:lnTo>
                    <a:pt x="191" y="32"/>
                  </a:lnTo>
                  <a:lnTo>
                    <a:pt x="191" y="36"/>
                  </a:lnTo>
                  <a:lnTo>
                    <a:pt x="195" y="36"/>
                  </a:lnTo>
                  <a:lnTo>
                    <a:pt x="195" y="40"/>
                  </a:lnTo>
                  <a:lnTo>
                    <a:pt x="199" y="40"/>
                  </a:lnTo>
                  <a:lnTo>
                    <a:pt x="203" y="44"/>
                  </a:lnTo>
                  <a:lnTo>
                    <a:pt x="203" y="48"/>
                  </a:lnTo>
                  <a:lnTo>
                    <a:pt x="207" y="52"/>
                  </a:lnTo>
                  <a:lnTo>
                    <a:pt x="207" y="56"/>
                  </a:lnTo>
                  <a:lnTo>
                    <a:pt x="207" y="60"/>
                  </a:lnTo>
                  <a:lnTo>
                    <a:pt x="211" y="64"/>
                  </a:lnTo>
                  <a:lnTo>
                    <a:pt x="215" y="64"/>
                  </a:lnTo>
                  <a:lnTo>
                    <a:pt x="215" y="68"/>
                  </a:lnTo>
                  <a:lnTo>
                    <a:pt x="219" y="68"/>
                  </a:lnTo>
                  <a:lnTo>
                    <a:pt x="219" y="72"/>
                  </a:lnTo>
                  <a:lnTo>
                    <a:pt x="223" y="72"/>
                  </a:lnTo>
                  <a:lnTo>
                    <a:pt x="227" y="76"/>
                  </a:lnTo>
                  <a:lnTo>
                    <a:pt x="231" y="76"/>
                  </a:lnTo>
                  <a:lnTo>
                    <a:pt x="231" y="72"/>
                  </a:lnTo>
                  <a:lnTo>
                    <a:pt x="235" y="72"/>
                  </a:lnTo>
                  <a:lnTo>
                    <a:pt x="235" y="68"/>
                  </a:lnTo>
                  <a:lnTo>
                    <a:pt x="235" y="64"/>
                  </a:lnTo>
                  <a:lnTo>
                    <a:pt x="235" y="60"/>
                  </a:lnTo>
                  <a:lnTo>
                    <a:pt x="239" y="60"/>
                  </a:lnTo>
                  <a:lnTo>
                    <a:pt x="243" y="60"/>
                  </a:lnTo>
                  <a:lnTo>
                    <a:pt x="243" y="56"/>
                  </a:lnTo>
                  <a:lnTo>
                    <a:pt x="243" y="60"/>
                  </a:lnTo>
                  <a:lnTo>
                    <a:pt x="247" y="60"/>
                  </a:lnTo>
                  <a:lnTo>
                    <a:pt x="251" y="60"/>
                  </a:lnTo>
                  <a:lnTo>
                    <a:pt x="255" y="60"/>
                  </a:lnTo>
                  <a:lnTo>
                    <a:pt x="255" y="64"/>
                  </a:lnTo>
                  <a:lnTo>
                    <a:pt x="259" y="64"/>
                  </a:lnTo>
                  <a:lnTo>
                    <a:pt x="263" y="64"/>
                  </a:lnTo>
                  <a:lnTo>
                    <a:pt x="263" y="68"/>
                  </a:lnTo>
                  <a:lnTo>
                    <a:pt x="267" y="72"/>
                  </a:lnTo>
                  <a:lnTo>
                    <a:pt x="267" y="76"/>
                  </a:lnTo>
                  <a:lnTo>
                    <a:pt x="271" y="80"/>
                  </a:lnTo>
                  <a:lnTo>
                    <a:pt x="271" y="84"/>
                  </a:lnTo>
                  <a:lnTo>
                    <a:pt x="271" y="88"/>
                  </a:lnTo>
                  <a:lnTo>
                    <a:pt x="275" y="88"/>
                  </a:lnTo>
                  <a:lnTo>
                    <a:pt x="275" y="92"/>
                  </a:lnTo>
                  <a:lnTo>
                    <a:pt x="279" y="96"/>
                  </a:lnTo>
                  <a:lnTo>
                    <a:pt x="279" y="100"/>
                  </a:lnTo>
                  <a:lnTo>
                    <a:pt x="283" y="100"/>
                  </a:lnTo>
                  <a:lnTo>
                    <a:pt x="283" y="104"/>
                  </a:lnTo>
                  <a:lnTo>
                    <a:pt x="287" y="104"/>
                  </a:lnTo>
                  <a:lnTo>
                    <a:pt x="287" y="108"/>
                  </a:lnTo>
                  <a:lnTo>
                    <a:pt x="287" y="112"/>
                  </a:lnTo>
                  <a:lnTo>
                    <a:pt x="287" y="116"/>
                  </a:lnTo>
                  <a:lnTo>
                    <a:pt x="291" y="120"/>
                  </a:lnTo>
                  <a:lnTo>
                    <a:pt x="291" y="124"/>
                  </a:lnTo>
                  <a:lnTo>
                    <a:pt x="295" y="124"/>
                  </a:lnTo>
                  <a:lnTo>
                    <a:pt x="295" y="128"/>
                  </a:lnTo>
                  <a:lnTo>
                    <a:pt x="299" y="128"/>
                  </a:lnTo>
                  <a:lnTo>
                    <a:pt x="303" y="128"/>
                  </a:lnTo>
                  <a:lnTo>
                    <a:pt x="303" y="132"/>
                  </a:lnTo>
                  <a:lnTo>
                    <a:pt x="307" y="132"/>
                  </a:lnTo>
                  <a:lnTo>
                    <a:pt x="311" y="132"/>
                  </a:lnTo>
                  <a:lnTo>
                    <a:pt x="315" y="132"/>
                  </a:lnTo>
                  <a:lnTo>
                    <a:pt x="315" y="136"/>
                  </a:lnTo>
                  <a:lnTo>
                    <a:pt x="319" y="136"/>
                  </a:lnTo>
                  <a:lnTo>
                    <a:pt x="319" y="132"/>
                  </a:lnTo>
                  <a:lnTo>
                    <a:pt x="319" y="136"/>
                  </a:lnTo>
                  <a:lnTo>
                    <a:pt x="319" y="140"/>
                  </a:lnTo>
                  <a:lnTo>
                    <a:pt x="319" y="144"/>
                  </a:lnTo>
                  <a:lnTo>
                    <a:pt x="315" y="148"/>
                  </a:lnTo>
                  <a:lnTo>
                    <a:pt x="315" y="152"/>
                  </a:lnTo>
                  <a:lnTo>
                    <a:pt x="315" y="156"/>
                  </a:lnTo>
                  <a:lnTo>
                    <a:pt x="315" y="160"/>
                  </a:lnTo>
                  <a:lnTo>
                    <a:pt x="311" y="160"/>
                  </a:lnTo>
                  <a:lnTo>
                    <a:pt x="311" y="164"/>
                  </a:lnTo>
                  <a:lnTo>
                    <a:pt x="311" y="168"/>
                  </a:lnTo>
                  <a:lnTo>
                    <a:pt x="311" y="172"/>
                  </a:lnTo>
                  <a:lnTo>
                    <a:pt x="311" y="176"/>
                  </a:lnTo>
                  <a:lnTo>
                    <a:pt x="311" y="180"/>
                  </a:lnTo>
                  <a:lnTo>
                    <a:pt x="311" y="184"/>
                  </a:lnTo>
                  <a:lnTo>
                    <a:pt x="311" y="188"/>
                  </a:lnTo>
                  <a:lnTo>
                    <a:pt x="311" y="192"/>
                  </a:lnTo>
                  <a:lnTo>
                    <a:pt x="311" y="196"/>
                  </a:lnTo>
                  <a:lnTo>
                    <a:pt x="311" y="200"/>
                  </a:lnTo>
                  <a:lnTo>
                    <a:pt x="311" y="204"/>
                  </a:lnTo>
                  <a:lnTo>
                    <a:pt x="311" y="208"/>
                  </a:lnTo>
                  <a:lnTo>
                    <a:pt x="311" y="212"/>
                  </a:lnTo>
                  <a:lnTo>
                    <a:pt x="315" y="212"/>
                  </a:lnTo>
                  <a:lnTo>
                    <a:pt x="315" y="216"/>
                  </a:lnTo>
                  <a:lnTo>
                    <a:pt x="319" y="216"/>
                  </a:lnTo>
                  <a:lnTo>
                    <a:pt x="319" y="220"/>
                  </a:lnTo>
                  <a:lnTo>
                    <a:pt x="315" y="224"/>
                  </a:lnTo>
                  <a:lnTo>
                    <a:pt x="315" y="220"/>
                  </a:lnTo>
                  <a:lnTo>
                    <a:pt x="319" y="220"/>
                  </a:lnTo>
                  <a:lnTo>
                    <a:pt x="315" y="220"/>
                  </a:lnTo>
                  <a:lnTo>
                    <a:pt x="315" y="216"/>
                  </a:lnTo>
                  <a:lnTo>
                    <a:pt x="315" y="212"/>
                  </a:lnTo>
                  <a:lnTo>
                    <a:pt x="311" y="212"/>
                  </a:lnTo>
                  <a:lnTo>
                    <a:pt x="311" y="208"/>
                  </a:lnTo>
                  <a:lnTo>
                    <a:pt x="311" y="212"/>
                  </a:lnTo>
                  <a:lnTo>
                    <a:pt x="311" y="216"/>
                  </a:lnTo>
                  <a:lnTo>
                    <a:pt x="315" y="220"/>
                  </a:lnTo>
                  <a:lnTo>
                    <a:pt x="315" y="224"/>
                  </a:lnTo>
                  <a:lnTo>
                    <a:pt x="315" y="228"/>
                  </a:lnTo>
                  <a:lnTo>
                    <a:pt x="319" y="228"/>
                  </a:lnTo>
                  <a:lnTo>
                    <a:pt x="319" y="232"/>
                  </a:lnTo>
                  <a:lnTo>
                    <a:pt x="319" y="236"/>
                  </a:lnTo>
                  <a:lnTo>
                    <a:pt x="323" y="236"/>
                  </a:lnTo>
                  <a:lnTo>
                    <a:pt x="327" y="243"/>
                  </a:lnTo>
                  <a:lnTo>
                    <a:pt x="331" y="247"/>
                  </a:lnTo>
                  <a:lnTo>
                    <a:pt x="331" y="251"/>
                  </a:lnTo>
                  <a:lnTo>
                    <a:pt x="331" y="255"/>
                  </a:lnTo>
                  <a:lnTo>
                    <a:pt x="335" y="259"/>
                  </a:lnTo>
                  <a:lnTo>
                    <a:pt x="335" y="263"/>
                  </a:lnTo>
                  <a:lnTo>
                    <a:pt x="339" y="263"/>
                  </a:lnTo>
                  <a:lnTo>
                    <a:pt x="339" y="267"/>
                  </a:lnTo>
                  <a:lnTo>
                    <a:pt x="339" y="271"/>
                  </a:lnTo>
                  <a:lnTo>
                    <a:pt x="343" y="271"/>
                  </a:lnTo>
                  <a:lnTo>
                    <a:pt x="347" y="271"/>
                  </a:lnTo>
                  <a:lnTo>
                    <a:pt x="351" y="271"/>
                  </a:lnTo>
                  <a:lnTo>
                    <a:pt x="351" y="275"/>
                  </a:lnTo>
                  <a:lnTo>
                    <a:pt x="355" y="275"/>
                  </a:lnTo>
                  <a:lnTo>
                    <a:pt x="355" y="279"/>
                  </a:lnTo>
                  <a:lnTo>
                    <a:pt x="359" y="283"/>
                  </a:lnTo>
                  <a:lnTo>
                    <a:pt x="363" y="283"/>
                  </a:lnTo>
                  <a:lnTo>
                    <a:pt x="367" y="279"/>
                  </a:lnTo>
                  <a:lnTo>
                    <a:pt x="371" y="279"/>
                  </a:lnTo>
                  <a:lnTo>
                    <a:pt x="375" y="279"/>
                  </a:lnTo>
                  <a:lnTo>
                    <a:pt x="375" y="275"/>
                  </a:lnTo>
                  <a:lnTo>
                    <a:pt x="371" y="279"/>
                  </a:lnTo>
                  <a:lnTo>
                    <a:pt x="375" y="275"/>
                  </a:lnTo>
                  <a:lnTo>
                    <a:pt x="379" y="275"/>
                  </a:lnTo>
                  <a:lnTo>
                    <a:pt x="379" y="279"/>
                  </a:lnTo>
                  <a:lnTo>
                    <a:pt x="383" y="279"/>
                  </a:lnTo>
                  <a:lnTo>
                    <a:pt x="383" y="275"/>
                  </a:lnTo>
                  <a:lnTo>
                    <a:pt x="387" y="275"/>
                  </a:lnTo>
                  <a:lnTo>
                    <a:pt x="391" y="271"/>
                  </a:lnTo>
                  <a:lnTo>
                    <a:pt x="395" y="271"/>
                  </a:lnTo>
                  <a:lnTo>
                    <a:pt x="399" y="271"/>
                  </a:lnTo>
                  <a:lnTo>
                    <a:pt x="399" y="275"/>
                  </a:lnTo>
                  <a:lnTo>
                    <a:pt x="403" y="275"/>
                  </a:lnTo>
                  <a:lnTo>
                    <a:pt x="399" y="275"/>
                  </a:lnTo>
                  <a:lnTo>
                    <a:pt x="403" y="279"/>
                  </a:lnTo>
                  <a:lnTo>
                    <a:pt x="403" y="275"/>
                  </a:lnTo>
                  <a:lnTo>
                    <a:pt x="407" y="275"/>
                  </a:lnTo>
                  <a:lnTo>
                    <a:pt x="411" y="271"/>
                  </a:lnTo>
                  <a:lnTo>
                    <a:pt x="407" y="271"/>
                  </a:lnTo>
                  <a:lnTo>
                    <a:pt x="407" y="267"/>
                  </a:lnTo>
                  <a:lnTo>
                    <a:pt x="411" y="267"/>
                  </a:lnTo>
                  <a:lnTo>
                    <a:pt x="415" y="263"/>
                  </a:lnTo>
                  <a:lnTo>
                    <a:pt x="419" y="259"/>
                  </a:lnTo>
                  <a:lnTo>
                    <a:pt x="419" y="255"/>
                  </a:lnTo>
                  <a:lnTo>
                    <a:pt x="419" y="251"/>
                  </a:lnTo>
                  <a:lnTo>
                    <a:pt x="423" y="247"/>
                  </a:lnTo>
                  <a:lnTo>
                    <a:pt x="423" y="243"/>
                  </a:lnTo>
                  <a:lnTo>
                    <a:pt x="423" y="239"/>
                  </a:lnTo>
                  <a:lnTo>
                    <a:pt x="423" y="236"/>
                  </a:lnTo>
                  <a:lnTo>
                    <a:pt x="423" y="232"/>
                  </a:lnTo>
                  <a:lnTo>
                    <a:pt x="423" y="228"/>
                  </a:lnTo>
                  <a:lnTo>
                    <a:pt x="423" y="232"/>
                  </a:lnTo>
                  <a:lnTo>
                    <a:pt x="423" y="228"/>
                  </a:lnTo>
                  <a:lnTo>
                    <a:pt x="427" y="228"/>
                  </a:lnTo>
                  <a:lnTo>
                    <a:pt x="427" y="224"/>
                  </a:lnTo>
                  <a:lnTo>
                    <a:pt x="431" y="224"/>
                  </a:lnTo>
                  <a:lnTo>
                    <a:pt x="435" y="224"/>
                  </a:lnTo>
                  <a:lnTo>
                    <a:pt x="439" y="224"/>
                  </a:lnTo>
                  <a:lnTo>
                    <a:pt x="443" y="220"/>
                  </a:lnTo>
                  <a:lnTo>
                    <a:pt x="447" y="220"/>
                  </a:lnTo>
                  <a:lnTo>
                    <a:pt x="451" y="220"/>
                  </a:lnTo>
                  <a:lnTo>
                    <a:pt x="454" y="220"/>
                  </a:lnTo>
                  <a:lnTo>
                    <a:pt x="458" y="216"/>
                  </a:lnTo>
                  <a:lnTo>
                    <a:pt x="454" y="216"/>
                  </a:lnTo>
                  <a:lnTo>
                    <a:pt x="454" y="220"/>
                  </a:lnTo>
                  <a:lnTo>
                    <a:pt x="454" y="216"/>
                  </a:lnTo>
                  <a:lnTo>
                    <a:pt x="458" y="216"/>
                  </a:lnTo>
                  <a:lnTo>
                    <a:pt x="462" y="220"/>
                  </a:lnTo>
                  <a:lnTo>
                    <a:pt x="466" y="220"/>
                  </a:lnTo>
                  <a:lnTo>
                    <a:pt x="470" y="220"/>
                  </a:lnTo>
                  <a:lnTo>
                    <a:pt x="466" y="220"/>
                  </a:lnTo>
                  <a:lnTo>
                    <a:pt x="470" y="220"/>
                  </a:lnTo>
                  <a:lnTo>
                    <a:pt x="470" y="216"/>
                  </a:lnTo>
                  <a:lnTo>
                    <a:pt x="474" y="216"/>
                  </a:lnTo>
                  <a:lnTo>
                    <a:pt x="474" y="220"/>
                  </a:lnTo>
                  <a:lnTo>
                    <a:pt x="478" y="220"/>
                  </a:lnTo>
                  <a:lnTo>
                    <a:pt x="478" y="224"/>
                  </a:lnTo>
                  <a:lnTo>
                    <a:pt x="478" y="228"/>
                  </a:lnTo>
                  <a:lnTo>
                    <a:pt x="474" y="232"/>
                  </a:lnTo>
                  <a:lnTo>
                    <a:pt x="474" y="236"/>
                  </a:lnTo>
                  <a:lnTo>
                    <a:pt x="470" y="236"/>
                  </a:lnTo>
                  <a:lnTo>
                    <a:pt x="470" y="239"/>
                  </a:lnTo>
                  <a:lnTo>
                    <a:pt x="466" y="243"/>
                  </a:lnTo>
                  <a:lnTo>
                    <a:pt x="466" y="247"/>
                  </a:lnTo>
                  <a:lnTo>
                    <a:pt x="466" y="251"/>
                  </a:lnTo>
                  <a:lnTo>
                    <a:pt x="466" y="247"/>
                  </a:lnTo>
                  <a:lnTo>
                    <a:pt x="466" y="251"/>
                  </a:lnTo>
                  <a:lnTo>
                    <a:pt x="462" y="251"/>
                  </a:lnTo>
                  <a:lnTo>
                    <a:pt x="462" y="255"/>
                  </a:lnTo>
                  <a:lnTo>
                    <a:pt x="466" y="255"/>
                  </a:lnTo>
                  <a:lnTo>
                    <a:pt x="466" y="259"/>
                  </a:lnTo>
                  <a:lnTo>
                    <a:pt x="462" y="259"/>
                  </a:lnTo>
                  <a:lnTo>
                    <a:pt x="462" y="263"/>
                  </a:lnTo>
                  <a:lnTo>
                    <a:pt x="466" y="259"/>
                  </a:lnTo>
                  <a:lnTo>
                    <a:pt x="466" y="263"/>
                  </a:lnTo>
                  <a:lnTo>
                    <a:pt x="466" y="267"/>
                  </a:lnTo>
                  <a:lnTo>
                    <a:pt x="462" y="267"/>
                  </a:lnTo>
                  <a:lnTo>
                    <a:pt x="462" y="271"/>
                  </a:lnTo>
                  <a:lnTo>
                    <a:pt x="462" y="275"/>
                  </a:lnTo>
                  <a:lnTo>
                    <a:pt x="462" y="279"/>
                  </a:lnTo>
                  <a:lnTo>
                    <a:pt x="458" y="279"/>
                  </a:lnTo>
                  <a:lnTo>
                    <a:pt x="458" y="275"/>
                  </a:lnTo>
                  <a:lnTo>
                    <a:pt x="458" y="271"/>
                  </a:lnTo>
                  <a:lnTo>
                    <a:pt x="458" y="267"/>
                  </a:lnTo>
                  <a:lnTo>
                    <a:pt x="458" y="271"/>
                  </a:lnTo>
                  <a:lnTo>
                    <a:pt x="454" y="271"/>
                  </a:lnTo>
                  <a:lnTo>
                    <a:pt x="454" y="275"/>
                  </a:lnTo>
                  <a:lnTo>
                    <a:pt x="451" y="275"/>
                  </a:lnTo>
                  <a:lnTo>
                    <a:pt x="451" y="279"/>
                  </a:lnTo>
                  <a:lnTo>
                    <a:pt x="447" y="279"/>
                  </a:lnTo>
                  <a:lnTo>
                    <a:pt x="447" y="283"/>
                  </a:lnTo>
                  <a:lnTo>
                    <a:pt x="447" y="287"/>
                  </a:lnTo>
                  <a:lnTo>
                    <a:pt x="443" y="287"/>
                  </a:lnTo>
                  <a:lnTo>
                    <a:pt x="443" y="283"/>
                  </a:lnTo>
                  <a:lnTo>
                    <a:pt x="443" y="287"/>
                  </a:lnTo>
                  <a:lnTo>
                    <a:pt x="439" y="287"/>
                  </a:lnTo>
                  <a:lnTo>
                    <a:pt x="431" y="287"/>
                  </a:lnTo>
                  <a:lnTo>
                    <a:pt x="427" y="287"/>
                  </a:lnTo>
                  <a:lnTo>
                    <a:pt x="419" y="287"/>
                  </a:lnTo>
                  <a:lnTo>
                    <a:pt x="415" y="287"/>
                  </a:lnTo>
                  <a:lnTo>
                    <a:pt x="415" y="291"/>
                  </a:lnTo>
                  <a:lnTo>
                    <a:pt x="415" y="299"/>
                  </a:lnTo>
                  <a:lnTo>
                    <a:pt x="407" y="299"/>
                  </a:lnTo>
                  <a:lnTo>
                    <a:pt x="411" y="299"/>
                  </a:lnTo>
                  <a:lnTo>
                    <a:pt x="411" y="303"/>
                  </a:lnTo>
                  <a:lnTo>
                    <a:pt x="415" y="307"/>
                  </a:lnTo>
                  <a:lnTo>
                    <a:pt x="419" y="307"/>
                  </a:lnTo>
                  <a:lnTo>
                    <a:pt x="419" y="311"/>
                  </a:lnTo>
                  <a:lnTo>
                    <a:pt x="419" y="315"/>
                  </a:lnTo>
                  <a:lnTo>
                    <a:pt x="423" y="315"/>
                  </a:lnTo>
                  <a:lnTo>
                    <a:pt x="423" y="319"/>
                  </a:lnTo>
                  <a:lnTo>
                    <a:pt x="419" y="319"/>
                  </a:lnTo>
                  <a:lnTo>
                    <a:pt x="415" y="319"/>
                  </a:lnTo>
                  <a:lnTo>
                    <a:pt x="407" y="319"/>
                  </a:lnTo>
                  <a:lnTo>
                    <a:pt x="403" y="319"/>
                  </a:lnTo>
                  <a:lnTo>
                    <a:pt x="403" y="323"/>
                  </a:lnTo>
                  <a:lnTo>
                    <a:pt x="395" y="331"/>
                  </a:lnTo>
                  <a:lnTo>
                    <a:pt x="395" y="335"/>
                  </a:lnTo>
                  <a:lnTo>
                    <a:pt x="399" y="339"/>
                  </a:lnTo>
                  <a:lnTo>
                    <a:pt x="395" y="343"/>
                  </a:lnTo>
                  <a:lnTo>
                    <a:pt x="395" y="347"/>
                  </a:lnTo>
                  <a:lnTo>
                    <a:pt x="391" y="347"/>
                  </a:lnTo>
                  <a:lnTo>
                    <a:pt x="391" y="343"/>
                  </a:lnTo>
                  <a:lnTo>
                    <a:pt x="387" y="343"/>
                  </a:lnTo>
                  <a:lnTo>
                    <a:pt x="387" y="339"/>
                  </a:lnTo>
                  <a:lnTo>
                    <a:pt x="387" y="335"/>
                  </a:lnTo>
                  <a:lnTo>
                    <a:pt x="383" y="335"/>
                  </a:lnTo>
                  <a:lnTo>
                    <a:pt x="383" y="331"/>
                  </a:lnTo>
                  <a:lnTo>
                    <a:pt x="379" y="331"/>
                  </a:lnTo>
                  <a:lnTo>
                    <a:pt x="379" y="327"/>
                  </a:lnTo>
                  <a:lnTo>
                    <a:pt x="375" y="327"/>
                  </a:lnTo>
                  <a:lnTo>
                    <a:pt x="371" y="323"/>
                  </a:lnTo>
                  <a:lnTo>
                    <a:pt x="371" y="319"/>
                  </a:lnTo>
                  <a:lnTo>
                    <a:pt x="367" y="319"/>
                  </a:lnTo>
                  <a:lnTo>
                    <a:pt x="363" y="319"/>
                  </a:lnTo>
                  <a:lnTo>
                    <a:pt x="363" y="315"/>
                  </a:lnTo>
                  <a:lnTo>
                    <a:pt x="363" y="319"/>
                  </a:lnTo>
                  <a:lnTo>
                    <a:pt x="367" y="319"/>
                  </a:lnTo>
                  <a:lnTo>
                    <a:pt x="367" y="323"/>
                  </a:lnTo>
                  <a:lnTo>
                    <a:pt x="363" y="319"/>
                  </a:lnTo>
                  <a:lnTo>
                    <a:pt x="359" y="319"/>
                  </a:lnTo>
                  <a:lnTo>
                    <a:pt x="359" y="315"/>
                  </a:lnTo>
                  <a:lnTo>
                    <a:pt x="355" y="319"/>
                  </a:lnTo>
                  <a:lnTo>
                    <a:pt x="355" y="315"/>
                  </a:lnTo>
                  <a:lnTo>
                    <a:pt x="351" y="315"/>
                  </a:lnTo>
                  <a:lnTo>
                    <a:pt x="351" y="319"/>
                  </a:lnTo>
                  <a:lnTo>
                    <a:pt x="355" y="319"/>
                  </a:lnTo>
                  <a:lnTo>
                    <a:pt x="351" y="319"/>
                  </a:lnTo>
                  <a:lnTo>
                    <a:pt x="347" y="323"/>
                  </a:lnTo>
                  <a:lnTo>
                    <a:pt x="343" y="323"/>
                  </a:lnTo>
                  <a:lnTo>
                    <a:pt x="339" y="327"/>
                  </a:lnTo>
                  <a:lnTo>
                    <a:pt x="335" y="327"/>
                  </a:lnTo>
                  <a:lnTo>
                    <a:pt x="331" y="327"/>
                  </a:lnTo>
                  <a:lnTo>
                    <a:pt x="327" y="327"/>
                  </a:lnTo>
                  <a:lnTo>
                    <a:pt x="323" y="323"/>
                  </a:lnTo>
                  <a:lnTo>
                    <a:pt x="319" y="323"/>
                  </a:lnTo>
                  <a:lnTo>
                    <a:pt x="315" y="323"/>
                  </a:lnTo>
                  <a:lnTo>
                    <a:pt x="311" y="323"/>
                  </a:lnTo>
                  <a:lnTo>
                    <a:pt x="307" y="319"/>
                  </a:lnTo>
                  <a:lnTo>
                    <a:pt x="303" y="319"/>
                  </a:lnTo>
                  <a:lnTo>
                    <a:pt x="303" y="315"/>
                  </a:lnTo>
                  <a:lnTo>
                    <a:pt x="299" y="315"/>
                  </a:lnTo>
                  <a:lnTo>
                    <a:pt x="295" y="315"/>
                  </a:lnTo>
                  <a:lnTo>
                    <a:pt x="295" y="311"/>
                  </a:lnTo>
                  <a:lnTo>
                    <a:pt x="291" y="311"/>
                  </a:lnTo>
                  <a:lnTo>
                    <a:pt x="287" y="311"/>
                  </a:lnTo>
                  <a:lnTo>
                    <a:pt x="283" y="311"/>
                  </a:lnTo>
                  <a:lnTo>
                    <a:pt x="283" y="307"/>
                  </a:lnTo>
                  <a:lnTo>
                    <a:pt x="279" y="307"/>
                  </a:lnTo>
                  <a:lnTo>
                    <a:pt x="275" y="303"/>
                  </a:lnTo>
                  <a:lnTo>
                    <a:pt x="271" y="303"/>
                  </a:lnTo>
                  <a:lnTo>
                    <a:pt x="267" y="299"/>
                  </a:lnTo>
                  <a:lnTo>
                    <a:pt x="263" y="299"/>
                  </a:lnTo>
                  <a:lnTo>
                    <a:pt x="259" y="299"/>
                  </a:lnTo>
                  <a:lnTo>
                    <a:pt x="259" y="295"/>
                  </a:lnTo>
                  <a:lnTo>
                    <a:pt x="255" y="295"/>
                  </a:lnTo>
                  <a:lnTo>
                    <a:pt x="255" y="291"/>
                  </a:lnTo>
                  <a:lnTo>
                    <a:pt x="251" y="291"/>
                  </a:lnTo>
                  <a:lnTo>
                    <a:pt x="251" y="287"/>
                  </a:lnTo>
                  <a:lnTo>
                    <a:pt x="247" y="287"/>
                  </a:lnTo>
                  <a:lnTo>
                    <a:pt x="247" y="283"/>
                  </a:lnTo>
                  <a:lnTo>
                    <a:pt x="247" y="287"/>
                  </a:lnTo>
                  <a:lnTo>
                    <a:pt x="243" y="287"/>
                  </a:lnTo>
                  <a:lnTo>
                    <a:pt x="239" y="283"/>
                  </a:lnTo>
                  <a:lnTo>
                    <a:pt x="235" y="283"/>
                  </a:lnTo>
                  <a:lnTo>
                    <a:pt x="231" y="283"/>
                  </a:lnTo>
                  <a:lnTo>
                    <a:pt x="231" y="279"/>
                  </a:lnTo>
                  <a:lnTo>
                    <a:pt x="227" y="279"/>
                  </a:lnTo>
                  <a:lnTo>
                    <a:pt x="223" y="279"/>
                  </a:lnTo>
                  <a:lnTo>
                    <a:pt x="223" y="275"/>
                  </a:lnTo>
                  <a:lnTo>
                    <a:pt x="219" y="271"/>
                  </a:lnTo>
                  <a:lnTo>
                    <a:pt x="219" y="267"/>
                  </a:lnTo>
                  <a:lnTo>
                    <a:pt x="215" y="267"/>
                  </a:lnTo>
                  <a:lnTo>
                    <a:pt x="211" y="267"/>
                  </a:lnTo>
                  <a:lnTo>
                    <a:pt x="211" y="263"/>
                  </a:lnTo>
                  <a:lnTo>
                    <a:pt x="207" y="263"/>
                  </a:lnTo>
                  <a:lnTo>
                    <a:pt x="203" y="259"/>
                  </a:lnTo>
                  <a:lnTo>
                    <a:pt x="199" y="259"/>
                  </a:lnTo>
                  <a:lnTo>
                    <a:pt x="199" y="255"/>
                  </a:lnTo>
                  <a:lnTo>
                    <a:pt x="199" y="251"/>
                  </a:lnTo>
                  <a:lnTo>
                    <a:pt x="195" y="251"/>
                  </a:lnTo>
                  <a:lnTo>
                    <a:pt x="195" y="247"/>
                  </a:lnTo>
                  <a:lnTo>
                    <a:pt x="191" y="247"/>
                  </a:lnTo>
                  <a:lnTo>
                    <a:pt x="191" y="243"/>
                  </a:lnTo>
                  <a:lnTo>
                    <a:pt x="191" y="239"/>
                  </a:lnTo>
                  <a:lnTo>
                    <a:pt x="195" y="239"/>
                  </a:lnTo>
                  <a:lnTo>
                    <a:pt x="195" y="236"/>
                  </a:lnTo>
                  <a:lnTo>
                    <a:pt x="199" y="236"/>
                  </a:lnTo>
                  <a:lnTo>
                    <a:pt x="195" y="232"/>
                  </a:lnTo>
                  <a:lnTo>
                    <a:pt x="195" y="228"/>
                  </a:lnTo>
                  <a:lnTo>
                    <a:pt x="199" y="228"/>
                  </a:lnTo>
                  <a:lnTo>
                    <a:pt x="199" y="224"/>
                  </a:lnTo>
                  <a:lnTo>
                    <a:pt x="199" y="220"/>
                  </a:lnTo>
                  <a:lnTo>
                    <a:pt x="195" y="220"/>
                  </a:lnTo>
                  <a:lnTo>
                    <a:pt x="195" y="216"/>
                  </a:lnTo>
                  <a:lnTo>
                    <a:pt x="195" y="212"/>
                  </a:lnTo>
                  <a:lnTo>
                    <a:pt x="191" y="212"/>
                  </a:lnTo>
                  <a:lnTo>
                    <a:pt x="191" y="208"/>
                  </a:lnTo>
                  <a:lnTo>
                    <a:pt x="191" y="204"/>
                  </a:lnTo>
                  <a:lnTo>
                    <a:pt x="191" y="200"/>
                  </a:lnTo>
                  <a:lnTo>
                    <a:pt x="191" y="196"/>
                  </a:lnTo>
                  <a:lnTo>
                    <a:pt x="187" y="196"/>
                  </a:lnTo>
                  <a:lnTo>
                    <a:pt x="183" y="192"/>
                  </a:lnTo>
                  <a:lnTo>
                    <a:pt x="183" y="188"/>
                  </a:lnTo>
                  <a:lnTo>
                    <a:pt x="179" y="188"/>
                  </a:lnTo>
                  <a:lnTo>
                    <a:pt x="179" y="184"/>
                  </a:lnTo>
                  <a:lnTo>
                    <a:pt x="175" y="180"/>
                  </a:lnTo>
                  <a:lnTo>
                    <a:pt x="175" y="176"/>
                  </a:lnTo>
                  <a:lnTo>
                    <a:pt x="171" y="176"/>
                  </a:lnTo>
                  <a:lnTo>
                    <a:pt x="171" y="172"/>
                  </a:lnTo>
                  <a:lnTo>
                    <a:pt x="163" y="168"/>
                  </a:lnTo>
                  <a:lnTo>
                    <a:pt x="163" y="164"/>
                  </a:lnTo>
                  <a:lnTo>
                    <a:pt x="159" y="164"/>
                  </a:lnTo>
                  <a:lnTo>
                    <a:pt x="163" y="164"/>
                  </a:lnTo>
                  <a:lnTo>
                    <a:pt x="163" y="160"/>
                  </a:lnTo>
                  <a:lnTo>
                    <a:pt x="159" y="164"/>
                  </a:lnTo>
                  <a:lnTo>
                    <a:pt x="159" y="160"/>
                  </a:lnTo>
                  <a:lnTo>
                    <a:pt x="155" y="160"/>
                  </a:lnTo>
                  <a:lnTo>
                    <a:pt x="159" y="160"/>
                  </a:lnTo>
                  <a:lnTo>
                    <a:pt x="155" y="160"/>
                  </a:lnTo>
                  <a:lnTo>
                    <a:pt x="155" y="156"/>
                  </a:lnTo>
                  <a:lnTo>
                    <a:pt x="155" y="152"/>
                  </a:lnTo>
                  <a:lnTo>
                    <a:pt x="155" y="156"/>
                  </a:lnTo>
                  <a:lnTo>
                    <a:pt x="151" y="152"/>
                  </a:lnTo>
                  <a:lnTo>
                    <a:pt x="155" y="152"/>
                  </a:lnTo>
                  <a:lnTo>
                    <a:pt x="151" y="148"/>
                  </a:lnTo>
                  <a:lnTo>
                    <a:pt x="147" y="148"/>
                  </a:lnTo>
                  <a:lnTo>
                    <a:pt x="147" y="144"/>
                  </a:lnTo>
                  <a:lnTo>
                    <a:pt x="143" y="144"/>
                  </a:lnTo>
                  <a:lnTo>
                    <a:pt x="143" y="140"/>
                  </a:lnTo>
                  <a:lnTo>
                    <a:pt x="143" y="144"/>
                  </a:lnTo>
                  <a:lnTo>
                    <a:pt x="139" y="144"/>
                  </a:lnTo>
                  <a:lnTo>
                    <a:pt x="139" y="140"/>
                  </a:lnTo>
                  <a:lnTo>
                    <a:pt x="143" y="140"/>
                  </a:lnTo>
                  <a:lnTo>
                    <a:pt x="143" y="136"/>
                  </a:lnTo>
                  <a:lnTo>
                    <a:pt x="143" y="140"/>
                  </a:lnTo>
                  <a:lnTo>
                    <a:pt x="139" y="140"/>
                  </a:lnTo>
                  <a:lnTo>
                    <a:pt x="135" y="140"/>
                  </a:lnTo>
                  <a:lnTo>
                    <a:pt x="135" y="136"/>
                  </a:lnTo>
                  <a:lnTo>
                    <a:pt x="135" y="132"/>
                  </a:lnTo>
                  <a:lnTo>
                    <a:pt x="135" y="128"/>
                  </a:lnTo>
                  <a:lnTo>
                    <a:pt x="135" y="132"/>
                  </a:lnTo>
                  <a:lnTo>
                    <a:pt x="135" y="128"/>
                  </a:lnTo>
                  <a:lnTo>
                    <a:pt x="139" y="128"/>
                  </a:lnTo>
                  <a:lnTo>
                    <a:pt x="135" y="124"/>
                  </a:lnTo>
                  <a:lnTo>
                    <a:pt x="135" y="120"/>
                  </a:lnTo>
                  <a:lnTo>
                    <a:pt x="131" y="120"/>
                  </a:lnTo>
                  <a:lnTo>
                    <a:pt x="127" y="120"/>
                  </a:lnTo>
                  <a:lnTo>
                    <a:pt x="127" y="116"/>
                  </a:lnTo>
                  <a:lnTo>
                    <a:pt x="127" y="112"/>
                  </a:lnTo>
                  <a:lnTo>
                    <a:pt x="123" y="112"/>
                  </a:lnTo>
                  <a:lnTo>
                    <a:pt x="119" y="112"/>
                  </a:lnTo>
                  <a:lnTo>
                    <a:pt x="119" y="108"/>
                  </a:lnTo>
                  <a:lnTo>
                    <a:pt x="115" y="104"/>
                  </a:lnTo>
                  <a:lnTo>
                    <a:pt x="115" y="100"/>
                  </a:lnTo>
                  <a:lnTo>
                    <a:pt x="115" y="96"/>
                  </a:lnTo>
                  <a:lnTo>
                    <a:pt x="119" y="96"/>
                  </a:lnTo>
                  <a:lnTo>
                    <a:pt x="115" y="96"/>
                  </a:lnTo>
                  <a:lnTo>
                    <a:pt x="111" y="96"/>
                  </a:lnTo>
                  <a:lnTo>
                    <a:pt x="107" y="96"/>
                  </a:lnTo>
                  <a:lnTo>
                    <a:pt x="107" y="92"/>
                  </a:lnTo>
                  <a:lnTo>
                    <a:pt x="103" y="92"/>
                  </a:lnTo>
                  <a:lnTo>
                    <a:pt x="103" y="88"/>
                  </a:lnTo>
                  <a:lnTo>
                    <a:pt x="99" y="84"/>
                  </a:lnTo>
                  <a:lnTo>
                    <a:pt x="99" y="80"/>
                  </a:lnTo>
                  <a:lnTo>
                    <a:pt x="96" y="80"/>
                  </a:lnTo>
                  <a:lnTo>
                    <a:pt x="96" y="76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92" y="68"/>
                  </a:lnTo>
                  <a:lnTo>
                    <a:pt x="88" y="68"/>
                  </a:lnTo>
                  <a:lnTo>
                    <a:pt x="92" y="64"/>
                  </a:lnTo>
                  <a:lnTo>
                    <a:pt x="88" y="64"/>
                  </a:lnTo>
                  <a:lnTo>
                    <a:pt x="88" y="60"/>
                  </a:lnTo>
                  <a:lnTo>
                    <a:pt x="84" y="56"/>
                  </a:lnTo>
                  <a:lnTo>
                    <a:pt x="84" y="52"/>
                  </a:lnTo>
                  <a:lnTo>
                    <a:pt x="84" y="48"/>
                  </a:lnTo>
                  <a:lnTo>
                    <a:pt x="80" y="44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0" y="32"/>
                  </a:lnTo>
                  <a:lnTo>
                    <a:pt x="76" y="32"/>
                  </a:lnTo>
                  <a:lnTo>
                    <a:pt x="72" y="32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0" y="24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4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60" y="56"/>
                  </a:lnTo>
                  <a:lnTo>
                    <a:pt x="60" y="60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72" y="68"/>
                  </a:lnTo>
                  <a:lnTo>
                    <a:pt x="72" y="72"/>
                  </a:lnTo>
                  <a:lnTo>
                    <a:pt x="72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84"/>
                  </a:lnTo>
                  <a:lnTo>
                    <a:pt x="84" y="88"/>
                  </a:lnTo>
                  <a:lnTo>
                    <a:pt x="84" y="92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8" y="100"/>
                  </a:lnTo>
                  <a:lnTo>
                    <a:pt x="92" y="104"/>
                  </a:lnTo>
                  <a:lnTo>
                    <a:pt x="92" y="108"/>
                  </a:lnTo>
                  <a:lnTo>
                    <a:pt x="96" y="112"/>
                  </a:lnTo>
                  <a:lnTo>
                    <a:pt x="96" y="116"/>
                  </a:lnTo>
                  <a:lnTo>
                    <a:pt x="96" y="120"/>
                  </a:lnTo>
                  <a:lnTo>
                    <a:pt x="99" y="120"/>
                  </a:lnTo>
                  <a:lnTo>
                    <a:pt x="99" y="124"/>
                  </a:lnTo>
                  <a:lnTo>
                    <a:pt x="99" y="120"/>
                  </a:lnTo>
                  <a:lnTo>
                    <a:pt x="99" y="116"/>
                  </a:lnTo>
                  <a:lnTo>
                    <a:pt x="99" y="120"/>
                  </a:lnTo>
                  <a:lnTo>
                    <a:pt x="103" y="120"/>
                  </a:lnTo>
                  <a:lnTo>
                    <a:pt x="103" y="124"/>
                  </a:lnTo>
                  <a:lnTo>
                    <a:pt x="103" y="128"/>
                  </a:lnTo>
                  <a:lnTo>
                    <a:pt x="103" y="132"/>
                  </a:lnTo>
                  <a:lnTo>
                    <a:pt x="103" y="136"/>
                  </a:lnTo>
                  <a:lnTo>
                    <a:pt x="107" y="136"/>
                  </a:lnTo>
                  <a:lnTo>
                    <a:pt x="107" y="140"/>
                  </a:lnTo>
                  <a:lnTo>
                    <a:pt x="111" y="144"/>
                  </a:lnTo>
                  <a:lnTo>
                    <a:pt x="111" y="148"/>
                  </a:lnTo>
                  <a:lnTo>
                    <a:pt x="111" y="152"/>
                  </a:lnTo>
                  <a:lnTo>
                    <a:pt x="115" y="152"/>
                  </a:lnTo>
                  <a:lnTo>
                    <a:pt x="115" y="156"/>
                  </a:lnTo>
                  <a:lnTo>
                    <a:pt x="115" y="160"/>
                  </a:lnTo>
                  <a:lnTo>
                    <a:pt x="115" y="164"/>
                  </a:lnTo>
                  <a:lnTo>
                    <a:pt x="115" y="168"/>
                  </a:lnTo>
                  <a:lnTo>
                    <a:pt x="119" y="168"/>
                  </a:lnTo>
                  <a:lnTo>
                    <a:pt x="123" y="168"/>
                  </a:lnTo>
                  <a:lnTo>
                    <a:pt x="119" y="168"/>
                  </a:lnTo>
                  <a:lnTo>
                    <a:pt x="119" y="164"/>
                  </a:lnTo>
                  <a:lnTo>
                    <a:pt x="123" y="164"/>
                  </a:lnTo>
                  <a:lnTo>
                    <a:pt x="123" y="168"/>
                  </a:lnTo>
                  <a:lnTo>
                    <a:pt x="127" y="168"/>
                  </a:lnTo>
                  <a:lnTo>
                    <a:pt x="127" y="172"/>
                  </a:lnTo>
                  <a:lnTo>
                    <a:pt x="127" y="176"/>
                  </a:lnTo>
                  <a:lnTo>
                    <a:pt x="131" y="176"/>
                  </a:lnTo>
                  <a:lnTo>
                    <a:pt x="131" y="180"/>
                  </a:lnTo>
                  <a:lnTo>
                    <a:pt x="135" y="180"/>
                  </a:lnTo>
                  <a:lnTo>
                    <a:pt x="135" y="184"/>
                  </a:lnTo>
                  <a:lnTo>
                    <a:pt x="135" y="188"/>
                  </a:lnTo>
                  <a:lnTo>
                    <a:pt x="131" y="188"/>
                  </a:lnTo>
                  <a:lnTo>
                    <a:pt x="131" y="192"/>
                  </a:lnTo>
                  <a:lnTo>
                    <a:pt x="127" y="192"/>
                  </a:lnTo>
                  <a:lnTo>
                    <a:pt x="123" y="192"/>
                  </a:lnTo>
                  <a:lnTo>
                    <a:pt x="123" y="188"/>
                  </a:lnTo>
                  <a:lnTo>
                    <a:pt x="123" y="184"/>
                  </a:lnTo>
                  <a:lnTo>
                    <a:pt x="119" y="180"/>
                  </a:lnTo>
                  <a:lnTo>
                    <a:pt x="115" y="176"/>
                  </a:lnTo>
                  <a:lnTo>
                    <a:pt x="111" y="172"/>
                  </a:lnTo>
                  <a:lnTo>
                    <a:pt x="111" y="168"/>
                  </a:lnTo>
                  <a:lnTo>
                    <a:pt x="107" y="168"/>
                  </a:lnTo>
                  <a:lnTo>
                    <a:pt x="103" y="164"/>
                  </a:lnTo>
                  <a:close/>
                  <a:moveTo>
                    <a:pt x="115" y="152"/>
                  </a:moveTo>
                  <a:lnTo>
                    <a:pt x="119" y="156"/>
                  </a:lnTo>
                  <a:lnTo>
                    <a:pt x="115" y="156"/>
                  </a:lnTo>
                  <a:lnTo>
                    <a:pt x="115" y="152"/>
                  </a:lnTo>
                  <a:close/>
                  <a:moveTo>
                    <a:pt x="92" y="148"/>
                  </a:moveTo>
                  <a:lnTo>
                    <a:pt x="96" y="148"/>
                  </a:lnTo>
                  <a:lnTo>
                    <a:pt x="92" y="148"/>
                  </a:lnTo>
                  <a:lnTo>
                    <a:pt x="92" y="152"/>
                  </a:lnTo>
                  <a:lnTo>
                    <a:pt x="92" y="156"/>
                  </a:lnTo>
                  <a:lnTo>
                    <a:pt x="96" y="160"/>
                  </a:lnTo>
                  <a:lnTo>
                    <a:pt x="92" y="160"/>
                  </a:lnTo>
                  <a:lnTo>
                    <a:pt x="92" y="156"/>
                  </a:lnTo>
                  <a:lnTo>
                    <a:pt x="92" y="152"/>
                  </a:lnTo>
                  <a:lnTo>
                    <a:pt x="92" y="148"/>
                  </a:lnTo>
                  <a:close/>
                  <a:moveTo>
                    <a:pt x="111" y="271"/>
                  </a:moveTo>
                  <a:lnTo>
                    <a:pt x="107" y="271"/>
                  </a:lnTo>
                  <a:lnTo>
                    <a:pt x="111" y="271"/>
                  </a:lnTo>
                  <a:lnTo>
                    <a:pt x="111" y="267"/>
                  </a:lnTo>
                  <a:lnTo>
                    <a:pt x="111" y="271"/>
                  </a:lnTo>
                  <a:close/>
                  <a:moveTo>
                    <a:pt x="80" y="76"/>
                  </a:moveTo>
                  <a:lnTo>
                    <a:pt x="76" y="76"/>
                  </a:lnTo>
                  <a:lnTo>
                    <a:pt x="76" y="72"/>
                  </a:lnTo>
                  <a:lnTo>
                    <a:pt x="72" y="68"/>
                  </a:lnTo>
                  <a:lnTo>
                    <a:pt x="72" y="64"/>
                  </a:lnTo>
                  <a:lnTo>
                    <a:pt x="76" y="64"/>
                  </a:lnTo>
                  <a:lnTo>
                    <a:pt x="76" y="68"/>
                  </a:lnTo>
                  <a:lnTo>
                    <a:pt x="76" y="72"/>
                  </a:lnTo>
                  <a:lnTo>
                    <a:pt x="80" y="72"/>
                  </a:lnTo>
                  <a:lnTo>
                    <a:pt x="80" y="76"/>
                  </a:lnTo>
                  <a:close/>
                  <a:moveTo>
                    <a:pt x="92" y="80"/>
                  </a:moveTo>
                  <a:lnTo>
                    <a:pt x="88" y="80"/>
                  </a:lnTo>
                  <a:lnTo>
                    <a:pt x="88" y="76"/>
                  </a:lnTo>
                  <a:lnTo>
                    <a:pt x="88" y="72"/>
                  </a:lnTo>
                  <a:lnTo>
                    <a:pt x="92" y="72"/>
                  </a:lnTo>
                  <a:lnTo>
                    <a:pt x="92" y="76"/>
                  </a:lnTo>
                  <a:lnTo>
                    <a:pt x="92" y="80"/>
                  </a:lnTo>
                  <a:close/>
                  <a:moveTo>
                    <a:pt x="0" y="76"/>
                  </a:moveTo>
                  <a:lnTo>
                    <a:pt x="0" y="72"/>
                  </a:lnTo>
                  <a:lnTo>
                    <a:pt x="0" y="76"/>
                  </a:lnTo>
                  <a:close/>
                  <a:moveTo>
                    <a:pt x="48" y="96"/>
                  </a:moveTo>
                  <a:lnTo>
                    <a:pt x="48" y="92"/>
                  </a:lnTo>
                  <a:lnTo>
                    <a:pt x="44" y="92"/>
                  </a:lnTo>
                  <a:lnTo>
                    <a:pt x="48" y="92"/>
                  </a:lnTo>
                  <a:lnTo>
                    <a:pt x="48" y="88"/>
                  </a:lnTo>
                  <a:lnTo>
                    <a:pt x="48" y="92"/>
                  </a:lnTo>
                  <a:lnTo>
                    <a:pt x="48" y="96"/>
                  </a:lnTo>
                  <a:close/>
                  <a:moveTo>
                    <a:pt x="107" y="136"/>
                  </a:moveTo>
                  <a:lnTo>
                    <a:pt x="107" y="132"/>
                  </a:lnTo>
                  <a:lnTo>
                    <a:pt x="107" y="136"/>
                  </a:lnTo>
                  <a:close/>
                  <a:moveTo>
                    <a:pt x="119" y="164"/>
                  </a:moveTo>
                  <a:lnTo>
                    <a:pt x="119" y="160"/>
                  </a:lnTo>
                  <a:lnTo>
                    <a:pt x="119" y="164"/>
                  </a:lnTo>
                  <a:close/>
                  <a:moveTo>
                    <a:pt x="99" y="164"/>
                  </a:moveTo>
                  <a:lnTo>
                    <a:pt x="96" y="164"/>
                  </a:lnTo>
                  <a:lnTo>
                    <a:pt x="96" y="160"/>
                  </a:lnTo>
                  <a:lnTo>
                    <a:pt x="99" y="160"/>
                  </a:lnTo>
                  <a:lnTo>
                    <a:pt x="99" y="164"/>
                  </a:lnTo>
                  <a:close/>
                  <a:moveTo>
                    <a:pt x="127" y="168"/>
                  </a:moveTo>
                  <a:lnTo>
                    <a:pt x="127" y="164"/>
                  </a:lnTo>
                  <a:lnTo>
                    <a:pt x="127" y="168"/>
                  </a:lnTo>
                  <a:close/>
                  <a:moveTo>
                    <a:pt x="175" y="220"/>
                  </a:moveTo>
                  <a:lnTo>
                    <a:pt x="175" y="216"/>
                  </a:lnTo>
                  <a:lnTo>
                    <a:pt x="179" y="216"/>
                  </a:lnTo>
                  <a:lnTo>
                    <a:pt x="179" y="220"/>
                  </a:lnTo>
                  <a:lnTo>
                    <a:pt x="175" y="220"/>
                  </a:lnTo>
                  <a:close/>
                  <a:moveTo>
                    <a:pt x="179" y="220"/>
                  </a:moveTo>
                  <a:lnTo>
                    <a:pt x="183" y="220"/>
                  </a:lnTo>
                  <a:lnTo>
                    <a:pt x="179" y="220"/>
                  </a:lnTo>
                  <a:close/>
                  <a:moveTo>
                    <a:pt x="474" y="243"/>
                  </a:moveTo>
                  <a:lnTo>
                    <a:pt x="474" y="239"/>
                  </a:lnTo>
                  <a:lnTo>
                    <a:pt x="474" y="236"/>
                  </a:lnTo>
                  <a:lnTo>
                    <a:pt x="478" y="236"/>
                  </a:lnTo>
                  <a:lnTo>
                    <a:pt x="478" y="239"/>
                  </a:lnTo>
                  <a:lnTo>
                    <a:pt x="474" y="239"/>
                  </a:lnTo>
                  <a:lnTo>
                    <a:pt x="474" y="243"/>
                  </a:lnTo>
                  <a:close/>
                  <a:moveTo>
                    <a:pt x="403" y="271"/>
                  </a:moveTo>
                  <a:lnTo>
                    <a:pt x="399" y="271"/>
                  </a:lnTo>
                  <a:lnTo>
                    <a:pt x="403" y="271"/>
                  </a:lnTo>
                  <a:lnTo>
                    <a:pt x="407" y="271"/>
                  </a:lnTo>
                  <a:lnTo>
                    <a:pt x="403" y="27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2" name="Freeform 69"/>
            <p:cNvSpPr>
              <a:spLocks noEditPoints="1"/>
            </p:cNvSpPr>
            <p:nvPr>
              <p:custDataLst>
                <p:tags r:id="rId264"/>
              </p:custDataLst>
            </p:nvPr>
          </p:nvSpPr>
          <p:spPr bwMode="gray">
            <a:xfrm>
              <a:off x="2826259" y="4260782"/>
              <a:ext cx="17797" cy="5932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</a:cxnLst>
              <a:rect l="0" t="0" r="r" b="b"/>
              <a:pathLst>
                <a:path w="12" h="4"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3" name="Freeform 70"/>
            <p:cNvSpPr>
              <a:spLocks/>
            </p:cNvSpPr>
            <p:nvPr>
              <p:custDataLst>
                <p:tags r:id="rId265"/>
              </p:custDataLst>
            </p:nvPr>
          </p:nvSpPr>
          <p:spPr bwMode="gray">
            <a:xfrm>
              <a:off x="2405069" y="4183663"/>
              <a:ext cx="106781" cy="118645"/>
            </a:xfrm>
            <a:custGeom>
              <a:avLst/>
              <a:gdLst/>
              <a:ahLst/>
              <a:cxnLst>
                <a:cxn ang="0">
                  <a:pos x="68" y="4"/>
                </a:cxn>
                <a:cxn ang="0">
                  <a:pos x="68" y="8"/>
                </a:cxn>
                <a:cxn ang="0">
                  <a:pos x="68" y="12"/>
                </a:cxn>
                <a:cxn ang="0">
                  <a:pos x="68" y="20"/>
                </a:cxn>
                <a:cxn ang="0">
                  <a:pos x="64" y="24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64" y="44"/>
                </a:cxn>
                <a:cxn ang="0">
                  <a:pos x="64" y="48"/>
                </a:cxn>
                <a:cxn ang="0">
                  <a:pos x="64" y="48"/>
                </a:cxn>
                <a:cxn ang="0">
                  <a:pos x="64" y="48"/>
                </a:cxn>
                <a:cxn ang="0">
                  <a:pos x="64" y="44"/>
                </a:cxn>
                <a:cxn ang="0">
                  <a:pos x="60" y="48"/>
                </a:cxn>
                <a:cxn ang="0">
                  <a:pos x="60" y="56"/>
                </a:cxn>
                <a:cxn ang="0">
                  <a:pos x="60" y="60"/>
                </a:cxn>
                <a:cxn ang="0">
                  <a:pos x="60" y="60"/>
                </a:cxn>
                <a:cxn ang="0">
                  <a:pos x="64" y="64"/>
                </a:cxn>
                <a:cxn ang="0">
                  <a:pos x="60" y="68"/>
                </a:cxn>
                <a:cxn ang="0">
                  <a:pos x="60" y="72"/>
                </a:cxn>
                <a:cxn ang="0">
                  <a:pos x="60" y="76"/>
                </a:cxn>
                <a:cxn ang="0">
                  <a:pos x="64" y="80"/>
                </a:cxn>
                <a:cxn ang="0">
                  <a:pos x="60" y="80"/>
                </a:cxn>
                <a:cxn ang="0">
                  <a:pos x="56" y="80"/>
                </a:cxn>
                <a:cxn ang="0">
                  <a:pos x="52" y="80"/>
                </a:cxn>
                <a:cxn ang="0">
                  <a:pos x="40" y="76"/>
                </a:cxn>
                <a:cxn ang="0">
                  <a:pos x="40" y="76"/>
                </a:cxn>
                <a:cxn ang="0">
                  <a:pos x="32" y="72"/>
                </a:cxn>
                <a:cxn ang="0">
                  <a:pos x="28" y="72"/>
                </a:cxn>
                <a:cxn ang="0">
                  <a:pos x="24" y="68"/>
                </a:cxn>
                <a:cxn ang="0">
                  <a:pos x="20" y="60"/>
                </a:cxn>
                <a:cxn ang="0">
                  <a:pos x="16" y="56"/>
                </a:cxn>
                <a:cxn ang="0">
                  <a:pos x="16" y="52"/>
                </a:cxn>
                <a:cxn ang="0">
                  <a:pos x="12" y="48"/>
                </a:cxn>
                <a:cxn ang="0">
                  <a:pos x="4" y="44"/>
                </a:cxn>
                <a:cxn ang="0">
                  <a:pos x="0" y="40"/>
                </a:cxn>
                <a:cxn ang="0">
                  <a:pos x="4" y="40"/>
                </a:cxn>
                <a:cxn ang="0">
                  <a:pos x="8" y="40"/>
                </a:cxn>
                <a:cxn ang="0">
                  <a:pos x="12" y="40"/>
                </a:cxn>
                <a:cxn ang="0">
                  <a:pos x="12" y="36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24"/>
                </a:cxn>
                <a:cxn ang="0">
                  <a:pos x="24" y="20"/>
                </a:cxn>
                <a:cxn ang="0">
                  <a:pos x="28" y="20"/>
                </a:cxn>
                <a:cxn ang="0">
                  <a:pos x="32" y="24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0" y="8"/>
                </a:cxn>
                <a:cxn ang="0">
                  <a:pos x="48" y="8"/>
                </a:cxn>
                <a:cxn ang="0">
                  <a:pos x="56" y="8"/>
                </a:cxn>
                <a:cxn ang="0">
                  <a:pos x="64" y="4"/>
                </a:cxn>
                <a:cxn ang="0">
                  <a:pos x="68" y="0"/>
                </a:cxn>
              </a:cxnLst>
              <a:rect l="0" t="0" r="r" b="b"/>
              <a:pathLst>
                <a:path w="72" h="80">
                  <a:moveTo>
                    <a:pt x="72" y="0"/>
                  </a:move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4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2" y="80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4" name="Freeform 71"/>
            <p:cNvSpPr>
              <a:spLocks noEditPoints="1"/>
            </p:cNvSpPr>
            <p:nvPr>
              <p:custDataLst>
                <p:tags r:id="rId266"/>
              </p:custDataLst>
            </p:nvPr>
          </p:nvSpPr>
          <p:spPr bwMode="gray">
            <a:xfrm>
              <a:off x="2511850" y="4331969"/>
              <a:ext cx="130510" cy="65255"/>
            </a:xfrm>
            <a:custGeom>
              <a:avLst/>
              <a:gdLst/>
              <a:ahLst/>
              <a:cxnLst>
                <a:cxn ang="0">
                  <a:pos x="40" y="24"/>
                </a:cxn>
                <a:cxn ang="0">
                  <a:pos x="40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36" y="44"/>
                </a:cxn>
                <a:cxn ang="0">
                  <a:pos x="32" y="44"/>
                </a:cxn>
                <a:cxn ang="0">
                  <a:pos x="32" y="36"/>
                </a:cxn>
                <a:cxn ang="0">
                  <a:pos x="28" y="32"/>
                </a:cxn>
                <a:cxn ang="0">
                  <a:pos x="24" y="36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12" y="28"/>
                </a:cxn>
                <a:cxn ang="0">
                  <a:pos x="8" y="28"/>
                </a:cxn>
                <a:cxn ang="0">
                  <a:pos x="4" y="24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0" y="16"/>
                </a:cxn>
                <a:cxn ang="0">
                  <a:pos x="0" y="12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0" y="16"/>
                </a:cxn>
                <a:cxn ang="0">
                  <a:pos x="28" y="16"/>
                </a:cxn>
                <a:cxn ang="0">
                  <a:pos x="32" y="16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52" y="4"/>
                </a:cxn>
                <a:cxn ang="0">
                  <a:pos x="60" y="4"/>
                </a:cxn>
                <a:cxn ang="0">
                  <a:pos x="60" y="4"/>
                </a:cxn>
                <a:cxn ang="0">
                  <a:pos x="68" y="4"/>
                </a:cxn>
                <a:cxn ang="0">
                  <a:pos x="76" y="12"/>
                </a:cxn>
                <a:cxn ang="0">
                  <a:pos x="84" y="16"/>
                </a:cxn>
                <a:cxn ang="0">
                  <a:pos x="84" y="20"/>
                </a:cxn>
                <a:cxn ang="0">
                  <a:pos x="84" y="24"/>
                </a:cxn>
                <a:cxn ang="0">
                  <a:pos x="88" y="28"/>
                </a:cxn>
                <a:cxn ang="0">
                  <a:pos x="88" y="36"/>
                </a:cxn>
                <a:cxn ang="0">
                  <a:pos x="80" y="36"/>
                </a:cxn>
                <a:cxn ang="0">
                  <a:pos x="80" y="40"/>
                </a:cxn>
                <a:cxn ang="0">
                  <a:pos x="72" y="40"/>
                </a:cxn>
                <a:cxn ang="0">
                  <a:pos x="72" y="32"/>
                </a:cxn>
                <a:cxn ang="0">
                  <a:pos x="72" y="32"/>
                </a:cxn>
                <a:cxn ang="0">
                  <a:pos x="72" y="28"/>
                </a:cxn>
                <a:cxn ang="0">
                  <a:pos x="76" y="28"/>
                </a:cxn>
                <a:cxn ang="0">
                  <a:pos x="80" y="28"/>
                </a:cxn>
                <a:cxn ang="0">
                  <a:pos x="76" y="24"/>
                </a:cxn>
                <a:cxn ang="0">
                  <a:pos x="68" y="24"/>
                </a:cxn>
                <a:cxn ang="0">
                  <a:pos x="64" y="16"/>
                </a:cxn>
                <a:cxn ang="0">
                  <a:pos x="60" y="12"/>
                </a:cxn>
                <a:cxn ang="0">
                  <a:pos x="60" y="12"/>
                </a:cxn>
                <a:cxn ang="0">
                  <a:pos x="52" y="12"/>
                </a:cxn>
                <a:cxn ang="0">
                  <a:pos x="48" y="16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64" y="24"/>
                </a:cxn>
                <a:cxn ang="0">
                  <a:pos x="20" y="36"/>
                </a:cxn>
                <a:cxn ang="0">
                  <a:pos x="20" y="44"/>
                </a:cxn>
                <a:cxn ang="0">
                  <a:pos x="20" y="44"/>
                </a:cxn>
                <a:cxn ang="0">
                  <a:pos x="16" y="40"/>
                </a:cxn>
              </a:cxnLst>
              <a:rect l="0" t="0" r="r" b="b"/>
              <a:pathLst>
                <a:path w="88" h="44">
                  <a:moveTo>
                    <a:pt x="44" y="24"/>
                  </a:move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6" y="24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4"/>
                  </a:lnTo>
                  <a:close/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close/>
                  <a:moveTo>
                    <a:pt x="64" y="24"/>
                  </a:move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4" y="24"/>
                  </a:lnTo>
                  <a:close/>
                  <a:moveTo>
                    <a:pt x="20" y="36"/>
                  </a:move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36"/>
                  </a:lnTo>
                  <a:lnTo>
                    <a:pt x="20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5" name="Freeform 72"/>
            <p:cNvSpPr>
              <a:spLocks noEditPoints="1"/>
            </p:cNvSpPr>
            <p:nvPr>
              <p:custDataLst>
                <p:tags r:id="rId267"/>
              </p:custDataLst>
            </p:nvPr>
          </p:nvSpPr>
          <p:spPr bwMode="gray">
            <a:xfrm>
              <a:off x="2867785" y="4088747"/>
              <a:ext cx="41526" cy="17797"/>
            </a:xfrm>
            <a:custGeom>
              <a:avLst/>
              <a:gdLst/>
              <a:ahLst/>
              <a:cxnLst>
                <a:cxn ang="0">
                  <a:pos x="20" y="8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4" y="8"/>
                </a:cxn>
              </a:cxnLst>
              <a:rect l="0" t="0" r="r" b="b"/>
              <a:pathLst>
                <a:path w="28" h="12">
                  <a:moveTo>
                    <a:pt x="20" y="8"/>
                  </a:move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8"/>
                  </a:lnTo>
                  <a:lnTo>
                    <a:pt x="20" y="8"/>
                  </a:lnTo>
                  <a:close/>
                  <a:moveTo>
                    <a:pt x="24" y="8"/>
                  </a:move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4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6" name="Freeform 73"/>
            <p:cNvSpPr>
              <a:spLocks noEditPoints="1"/>
            </p:cNvSpPr>
            <p:nvPr>
              <p:custDataLst>
                <p:tags r:id="rId268"/>
              </p:custDataLst>
            </p:nvPr>
          </p:nvSpPr>
          <p:spPr bwMode="gray">
            <a:xfrm>
              <a:off x="3109524" y="3243400"/>
              <a:ext cx="5932" cy="1186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</a:cxnLst>
              <a:rect l="0" t="0" r="r" b="b"/>
              <a:pathLst>
                <a:path w="4" h="8">
                  <a:moveTo>
                    <a:pt x="0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7" name="Freeform 74"/>
            <p:cNvSpPr>
              <a:spLocks noEditPoints="1"/>
            </p:cNvSpPr>
            <p:nvPr>
              <p:custDataLst>
                <p:tags r:id="rId269"/>
              </p:custDataLst>
            </p:nvPr>
          </p:nvSpPr>
          <p:spPr bwMode="gray">
            <a:xfrm>
              <a:off x="2600834" y="3852939"/>
              <a:ext cx="142374" cy="172035"/>
            </a:xfrm>
            <a:custGeom>
              <a:avLst/>
              <a:gdLst/>
              <a:ahLst/>
              <a:cxnLst>
                <a:cxn ang="0">
                  <a:pos x="56" y="52"/>
                </a:cxn>
                <a:cxn ang="0">
                  <a:pos x="52" y="48"/>
                </a:cxn>
                <a:cxn ang="0">
                  <a:pos x="68" y="56"/>
                </a:cxn>
                <a:cxn ang="0">
                  <a:pos x="68" y="56"/>
                </a:cxn>
                <a:cxn ang="0">
                  <a:pos x="88" y="88"/>
                </a:cxn>
                <a:cxn ang="0">
                  <a:pos x="96" y="88"/>
                </a:cxn>
                <a:cxn ang="0">
                  <a:pos x="24" y="0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6"/>
                </a:cxn>
                <a:cxn ang="0">
                  <a:pos x="28" y="12"/>
                </a:cxn>
                <a:cxn ang="0">
                  <a:pos x="24" y="4"/>
                </a:cxn>
                <a:cxn ang="0">
                  <a:pos x="16" y="0"/>
                </a:cxn>
                <a:cxn ang="0">
                  <a:pos x="4" y="4"/>
                </a:cxn>
                <a:cxn ang="0">
                  <a:pos x="16" y="4"/>
                </a:cxn>
                <a:cxn ang="0">
                  <a:pos x="4" y="8"/>
                </a:cxn>
                <a:cxn ang="0">
                  <a:pos x="40" y="28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4" y="36"/>
                </a:cxn>
                <a:cxn ang="0">
                  <a:pos x="40" y="28"/>
                </a:cxn>
                <a:cxn ang="0">
                  <a:pos x="12" y="32"/>
                </a:cxn>
                <a:cxn ang="0">
                  <a:pos x="16" y="40"/>
                </a:cxn>
                <a:cxn ang="0">
                  <a:pos x="20" y="48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24" y="36"/>
                </a:cxn>
                <a:cxn ang="0">
                  <a:pos x="20" y="52"/>
                </a:cxn>
                <a:cxn ang="0">
                  <a:pos x="24" y="52"/>
                </a:cxn>
                <a:cxn ang="0">
                  <a:pos x="20" y="60"/>
                </a:cxn>
                <a:cxn ang="0">
                  <a:pos x="16" y="56"/>
                </a:cxn>
                <a:cxn ang="0">
                  <a:pos x="48" y="64"/>
                </a:cxn>
                <a:cxn ang="0">
                  <a:pos x="48" y="60"/>
                </a:cxn>
                <a:cxn ang="0">
                  <a:pos x="60" y="72"/>
                </a:cxn>
                <a:cxn ang="0">
                  <a:pos x="64" y="72"/>
                </a:cxn>
                <a:cxn ang="0">
                  <a:pos x="56" y="64"/>
                </a:cxn>
                <a:cxn ang="0">
                  <a:pos x="72" y="76"/>
                </a:cxn>
                <a:cxn ang="0">
                  <a:pos x="72" y="92"/>
                </a:cxn>
                <a:cxn ang="0">
                  <a:pos x="76" y="84"/>
                </a:cxn>
                <a:cxn ang="0">
                  <a:pos x="76" y="80"/>
                </a:cxn>
                <a:cxn ang="0">
                  <a:pos x="76" y="88"/>
                </a:cxn>
                <a:cxn ang="0">
                  <a:pos x="80" y="116"/>
                </a:cxn>
                <a:cxn ang="0">
                  <a:pos x="84" y="108"/>
                </a:cxn>
                <a:cxn ang="0">
                  <a:pos x="88" y="108"/>
                </a:cxn>
                <a:cxn ang="0">
                  <a:pos x="88" y="112"/>
                </a:cxn>
                <a:cxn ang="0">
                  <a:pos x="84" y="112"/>
                </a:cxn>
              </a:cxnLst>
              <a:rect l="0" t="0" r="r" b="b"/>
              <a:pathLst>
                <a:path w="96" h="116">
                  <a:moveTo>
                    <a:pt x="56" y="52"/>
                  </a:moveTo>
                  <a:lnTo>
                    <a:pt x="52" y="52"/>
                  </a:lnTo>
                  <a:lnTo>
                    <a:pt x="56" y="52"/>
                  </a:lnTo>
                  <a:lnTo>
                    <a:pt x="52" y="48"/>
                  </a:lnTo>
                  <a:lnTo>
                    <a:pt x="52" y="44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56" y="52"/>
                  </a:lnTo>
                  <a:close/>
                  <a:moveTo>
                    <a:pt x="68" y="56"/>
                  </a:moveTo>
                  <a:lnTo>
                    <a:pt x="68" y="52"/>
                  </a:lnTo>
                  <a:lnTo>
                    <a:pt x="72" y="56"/>
                  </a:lnTo>
                  <a:lnTo>
                    <a:pt x="68" y="56"/>
                  </a:lnTo>
                  <a:close/>
                  <a:moveTo>
                    <a:pt x="96" y="88"/>
                  </a:moveTo>
                  <a:lnTo>
                    <a:pt x="92" y="88"/>
                  </a:lnTo>
                  <a:lnTo>
                    <a:pt x="88" y="88"/>
                  </a:lnTo>
                  <a:lnTo>
                    <a:pt x="88" y="84"/>
                  </a:lnTo>
                  <a:lnTo>
                    <a:pt x="92" y="84"/>
                  </a:lnTo>
                  <a:lnTo>
                    <a:pt x="96" y="88"/>
                  </a:lnTo>
                  <a:close/>
                  <a:moveTo>
                    <a:pt x="16" y="0"/>
                  </a:moveTo>
                  <a:lnTo>
                    <a:pt x="20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16" y="0"/>
                  </a:lnTo>
                  <a:close/>
                  <a:moveTo>
                    <a:pt x="4" y="8"/>
                  </a:moveTo>
                  <a:lnTo>
                    <a:pt x="0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2" y="4"/>
                  </a:lnTo>
                  <a:lnTo>
                    <a:pt x="8" y="8"/>
                  </a:lnTo>
                  <a:lnTo>
                    <a:pt x="4" y="8"/>
                  </a:lnTo>
                  <a:close/>
                  <a:moveTo>
                    <a:pt x="36" y="24"/>
                  </a:moveTo>
                  <a:lnTo>
                    <a:pt x="36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36" y="28"/>
                  </a:lnTo>
                  <a:lnTo>
                    <a:pt x="36" y="24"/>
                  </a:lnTo>
                  <a:close/>
                  <a:moveTo>
                    <a:pt x="12" y="32"/>
                  </a:moveTo>
                  <a:lnTo>
                    <a:pt x="16" y="32"/>
                  </a:lnTo>
                  <a:lnTo>
                    <a:pt x="16" y="36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0" y="44"/>
                  </a:lnTo>
                  <a:lnTo>
                    <a:pt x="20" y="48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2"/>
                  </a:lnTo>
                  <a:close/>
                  <a:moveTo>
                    <a:pt x="24" y="36"/>
                  </a:moveTo>
                  <a:lnTo>
                    <a:pt x="28" y="36"/>
                  </a:lnTo>
                  <a:lnTo>
                    <a:pt x="24" y="36"/>
                  </a:lnTo>
                  <a:close/>
                  <a:moveTo>
                    <a:pt x="20" y="52"/>
                  </a:moveTo>
                  <a:lnTo>
                    <a:pt x="20" y="56"/>
                  </a:lnTo>
                  <a:lnTo>
                    <a:pt x="20" y="52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4" y="60"/>
                  </a:lnTo>
                  <a:lnTo>
                    <a:pt x="20" y="60"/>
                  </a:lnTo>
                  <a:lnTo>
                    <a:pt x="24" y="60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20" y="52"/>
                  </a:lnTo>
                  <a:close/>
                  <a:moveTo>
                    <a:pt x="48" y="60"/>
                  </a:moveTo>
                  <a:lnTo>
                    <a:pt x="48" y="64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60"/>
                  </a:lnTo>
                  <a:close/>
                  <a:moveTo>
                    <a:pt x="56" y="64"/>
                  </a:move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56" y="64"/>
                  </a:lnTo>
                  <a:close/>
                  <a:moveTo>
                    <a:pt x="76" y="80"/>
                  </a:moveTo>
                  <a:lnTo>
                    <a:pt x="72" y="80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76" y="80"/>
                  </a:lnTo>
                  <a:close/>
                  <a:moveTo>
                    <a:pt x="72" y="92"/>
                  </a:moveTo>
                  <a:lnTo>
                    <a:pt x="72" y="88"/>
                  </a:lnTo>
                  <a:lnTo>
                    <a:pt x="76" y="88"/>
                  </a:lnTo>
                  <a:lnTo>
                    <a:pt x="76" y="84"/>
                  </a:lnTo>
                  <a:lnTo>
                    <a:pt x="80" y="84"/>
                  </a:lnTo>
                  <a:lnTo>
                    <a:pt x="76" y="84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84"/>
                  </a:lnTo>
                  <a:lnTo>
                    <a:pt x="76" y="88"/>
                  </a:lnTo>
                  <a:lnTo>
                    <a:pt x="72" y="88"/>
                  </a:lnTo>
                  <a:lnTo>
                    <a:pt x="72" y="92"/>
                  </a:lnTo>
                  <a:close/>
                  <a:moveTo>
                    <a:pt x="80" y="116"/>
                  </a:moveTo>
                  <a:lnTo>
                    <a:pt x="80" y="112"/>
                  </a:lnTo>
                  <a:lnTo>
                    <a:pt x="84" y="112"/>
                  </a:lnTo>
                  <a:lnTo>
                    <a:pt x="84" y="108"/>
                  </a:lnTo>
                  <a:lnTo>
                    <a:pt x="88" y="108"/>
                  </a:lnTo>
                  <a:lnTo>
                    <a:pt x="88" y="112"/>
                  </a:lnTo>
                  <a:lnTo>
                    <a:pt x="88" y="108"/>
                  </a:lnTo>
                  <a:lnTo>
                    <a:pt x="92" y="108"/>
                  </a:lnTo>
                  <a:lnTo>
                    <a:pt x="92" y="112"/>
                  </a:lnTo>
                  <a:lnTo>
                    <a:pt x="88" y="112"/>
                  </a:lnTo>
                  <a:lnTo>
                    <a:pt x="88" y="116"/>
                  </a:lnTo>
                  <a:lnTo>
                    <a:pt x="84" y="116"/>
                  </a:lnTo>
                  <a:lnTo>
                    <a:pt x="84" y="112"/>
                  </a:lnTo>
                  <a:lnTo>
                    <a:pt x="80" y="1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8" name="Freeform 75"/>
            <p:cNvSpPr>
              <a:spLocks noEditPoints="1"/>
            </p:cNvSpPr>
            <p:nvPr>
              <p:custDataLst>
                <p:tags r:id="rId270"/>
              </p:custDataLst>
            </p:nvPr>
          </p:nvSpPr>
          <p:spPr bwMode="gray">
            <a:xfrm>
              <a:off x="2984947" y="4284511"/>
              <a:ext cx="29661" cy="35594"/>
            </a:xfrm>
            <a:custGeom>
              <a:avLst/>
              <a:gdLst/>
              <a:ahLst/>
              <a:cxnLst>
                <a:cxn ang="0">
                  <a:pos x="16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16" y="4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16" y="20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2" y="12"/>
                </a:cxn>
              </a:cxnLst>
              <a:rect l="0" t="0" r="r" b="b"/>
              <a:pathLst>
                <a:path w="20" h="24">
                  <a:moveTo>
                    <a:pt x="16" y="4"/>
                  </a:move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6" y="4"/>
                  </a:lnTo>
                  <a:lnTo>
                    <a:pt x="16" y="4"/>
                  </a:lnTo>
                  <a:close/>
                  <a:moveTo>
                    <a:pt x="12" y="12"/>
                  </a:move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9" name="Freeform 76"/>
            <p:cNvSpPr>
              <a:spLocks noEditPoints="1"/>
            </p:cNvSpPr>
            <p:nvPr>
              <p:custDataLst>
                <p:tags r:id="rId271"/>
              </p:custDataLst>
            </p:nvPr>
          </p:nvSpPr>
          <p:spPr bwMode="gray">
            <a:xfrm>
              <a:off x="2761005" y="3995313"/>
              <a:ext cx="17797" cy="11865"/>
            </a:xfrm>
            <a:custGeom>
              <a:avLst/>
              <a:gdLst/>
              <a:ahLst/>
              <a:cxnLst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</a:cxnLst>
              <a:rect l="0" t="0" r="r" b="b"/>
              <a:pathLst>
                <a:path w="12" h="8">
                  <a:moveTo>
                    <a:pt x="12" y="8"/>
                  </a:move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0" name="Freeform 77"/>
            <p:cNvSpPr>
              <a:spLocks/>
            </p:cNvSpPr>
            <p:nvPr>
              <p:custDataLst>
                <p:tags r:id="rId272"/>
              </p:custDataLst>
            </p:nvPr>
          </p:nvSpPr>
          <p:spPr bwMode="gray">
            <a:xfrm>
              <a:off x="4807633" y="3385775"/>
              <a:ext cx="41526" cy="87500"/>
            </a:xfrm>
            <a:custGeom>
              <a:avLst/>
              <a:gdLst/>
              <a:ahLst/>
              <a:cxnLst>
                <a:cxn ang="0">
                  <a:pos x="4" y="15"/>
                </a:cxn>
                <a:cxn ang="0">
                  <a:pos x="4" y="15"/>
                </a:cxn>
                <a:cxn ang="0">
                  <a:pos x="4" y="15"/>
                </a:cxn>
                <a:cxn ang="0">
                  <a:pos x="4" y="11"/>
                </a:cxn>
                <a:cxn ang="0">
                  <a:pos x="0" y="7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3"/>
                </a:cxn>
                <a:cxn ang="0">
                  <a:pos x="20" y="7"/>
                </a:cxn>
                <a:cxn ang="0">
                  <a:pos x="20" y="11"/>
                </a:cxn>
                <a:cxn ang="0">
                  <a:pos x="20" y="11"/>
                </a:cxn>
                <a:cxn ang="0">
                  <a:pos x="20" y="15"/>
                </a:cxn>
                <a:cxn ang="0">
                  <a:pos x="20" y="19"/>
                </a:cxn>
                <a:cxn ang="0">
                  <a:pos x="20" y="23"/>
                </a:cxn>
                <a:cxn ang="0">
                  <a:pos x="20" y="23"/>
                </a:cxn>
                <a:cxn ang="0">
                  <a:pos x="20" y="27"/>
                </a:cxn>
                <a:cxn ang="0">
                  <a:pos x="20" y="31"/>
                </a:cxn>
                <a:cxn ang="0">
                  <a:pos x="24" y="35"/>
                </a:cxn>
                <a:cxn ang="0">
                  <a:pos x="28" y="35"/>
                </a:cxn>
                <a:cxn ang="0">
                  <a:pos x="28" y="35"/>
                </a:cxn>
                <a:cxn ang="0">
                  <a:pos x="28" y="39"/>
                </a:cxn>
                <a:cxn ang="0">
                  <a:pos x="24" y="43"/>
                </a:cxn>
                <a:cxn ang="0">
                  <a:pos x="24" y="43"/>
                </a:cxn>
                <a:cxn ang="0">
                  <a:pos x="24" y="47"/>
                </a:cxn>
                <a:cxn ang="0">
                  <a:pos x="20" y="51"/>
                </a:cxn>
                <a:cxn ang="0">
                  <a:pos x="20" y="51"/>
                </a:cxn>
                <a:cxn ang="0">
                  <a:pos x="20" y="51"/>
                </a:cxn>
                <a:cxn ang="0">
                  <a:pos x="16" y="55"/>
                </a:cxn>
                <a:cxn ang="0">
                  <a:pos x="16" y="55"/>
                </a:cxn>
                <a:cxn ang="0">
                  <a:pos x="16" y="55"/>
                </a:cxn>
                <a:cxn ang="0">
                  <a:pos x="16" y="59"/>
                </a:cxn>
                <a:cxn ang="0">
                  <a:pos x="16" y="59"/>
                </a:cxn>
                <a:cxn ang="0">
                  <a:pos x="12" y="59"/>
                </a:cxn>
                <a:cxn ang="0">
                  <a:pos x="12" y="59"/>
                </a:cxn>
                <a:cxn ang="0">
                  <a:pos x="8" y="51"/>
                </a:cxn>
                <a:cxn ang="0">
                  <a:pos x="8" y="51"/>
                </a:cxn>
                <a:cxn ang="0">
                  <a:pos x="4" y="47"/>
                </a:cxn>
                <a:cxn ang="0">
                  <a:pos x="0" y="43"/>
                </a:cxn>
                <a:cxn ang="0">
                  <a:pos x="4" y="43"/>
                </a:cxn>
                <a:cxn ang="0">
                  <a:pos x="4" y="47"/>
                </a:cxn>
                <a:cxn ang="0">
                  <a:pos x="4" y="43"/>
                </a:cxn>
                <a:cxn ang="0">
                  <a:pos x="4" y="39"/>
                </a:cxn>
                <a:cxn ang="0">
                  <a:pos x="0" y="39"/>
                </a:cxn>
                <a:cxn ang="0">
                  <a:pos x="4" y="35"/>
                </a:cxn>
                <a:cxn ang="0">
                  <a:pos x="4" y="35"/>
                </a:cxn>
                <a:cxn ang="0">
                  <a:pos x="4" y="31"/>
                </a:cxn>
                <a:cxn ang="0">
                  <a:pos x="4" y="27"/>
                </a:cxn>
                <a:cxn ang="0">
                  <a:pos x="4" y="27"/>
                </a:cxn>
                <a:cxn ang="0">
                  <a:pos x="4" y="19"/>
                </a:cxn>
                <a:cxn ang="0">
                  <a:pos x="4" y="19"/>
                </a:cxn>
              </a:cxnLst>
              <a:rect l="0" t="0" r="r" b="b"/>
              <a:pathLst>
                <a:path w="28" h="59">
                  <a:moveTo>
                    <a:pt x="4" y="19"/>
                  </a:moveTo>
                  <a:lnTo>
                    <a:pt x="4" y="19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4" y="11"/>
                  </a:lnTo>
                  <a:lnTo>
                    <a:pt x="4" y="7"/>
                  </a:lnTo>
                  <a:lnTo>
                    <a:pt x="4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4" y="3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16" y="51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9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4" y="51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4" y="43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3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1" name="Freeform 78"/>
            <p:cNvSpPr>
              <a:spLocks/>
            </p:cNvSpPr>
            <p:nvPr>
              <p:custDataLst>
                <p:tags r:id="rId273"/>
              </p:custDataLst>
            </p:nvPr>
          </p:nvSpPr>
          <p:spPr bwMode="gray">
            <a:xfrm>
              <a:off x="4405722" y="3385775"/>
              <a:ext cx="11865" cy="444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8" h="3">
                  <a:moveTo>
                    <a:pt x="0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2" name="Freeform 79"/>
            <p:cNvSpPr>
              <a:spLocks/>
            </p:cNvSpPr>
            <p:nvPr>
              <p:custDataLst>
                <p:tags r:id="rId274"/>
              </p:custDataLst>
            </p:nvPr>
          </p:nvSpPr>
          <p:spPr bwMode="gray">
            <a:xfrm>
              <a:off x="4588139" y="3178146"/>
              <a:ext cx="172035" cy="83052"/>
            </a:xfrm>
            <a:custGeom>
              <a:avLst/>
              <a:gdLst/>
              <a:ahLst/>
              <a:cxnLst>
                <a:cxn ang="0">
                  <a:pos x="12" y="44"/>
                </a:cxn>
                <a:cxn ang="0">
                  <a:pos x="8" y="48"/>
                </a:cxn>
                <a:cxn ang="0">
                  <a:pos x="4" y="44"/>
                </a:cxn>
                <a:cxn ang="0">
                  <a:pos x="4" y="44"/>
                </a:cxn>
                <a:cxn ang="0">
                  <a:pos x="4" y="36"/>
                </a:cxn>
                <a:cxn ang="0">
                  <a:pos x="0" y="32"/>
                </a:cxn>
                <a:cxn ang="0">
                  <a:pos x="4" y="32"/>
                </a:cxn>
                <a:cxn ang="0">
                  <a:pos x="12" y="40"/>
                </a:cxn>
                <a:cxn ang="0">
                  <a:pos x="16" y="36"/>
                </a:cxn>
                <a:cxn ang="0">
                  <a:pos x="20" y="32"/>
                </a:cxn>
                <a:cxn ang="0">
                  <a:pos x="28" y="32"/>
                </a:cxn>
                <a:cxn ang="0">
                  <a:pos x="40" y="32"/>
                </a:cxn>
                <a:cxn ang="0">
                  <a:pos x="40" y="32"/>
                </a:cxn>
                <a:cxn ang="0">
                  <a:pos x="48" y="32"/>
                </a:cxn>
                <a:cxn ang="0">
                  <a:pos x="52" y="36"/>
                </a:cxn>
                <a:cxn ang="0">
                  <a:pos x="52" y="28"/>
                </a:cxn>
                <a:cxn ang="0">
                  <a:pos x="52" y="24"/>
                </a:cxn>
                <a:cxn ang="0">
                  <a:pos x="48" y="20"/>
                </a:cxn>
                <a:cxn ang="0">
                  <a:pos x="56" y="16"/>
                </a:cxn>
                <a:cxn ang="0">
                  <a:pos x="60" y="12"/>
                </a:cxn>
                <a:cxn ang="0">
                  <a:pos x="64" y="12"/>
                </a:cxn>
                <a:cxn ang="0">
                  <a:pos x="68" y="8"/>
                </a:cxn>
                <a:cxn ang="0">
                  <a:pos x="76" y="8"/>
                </a:cxn>
                <a:cxn ang="0">
                  <a:pos x="80" y="8"/>
                </a:cxn>
                <a:cxn ang="0">
                  <a:pos x="84" y="4"/>
                </a:cxn>
                <a:cxn ang="0">
                  <a:pos x="88" y="0"/>
                </a:cxn>
                <a:cxn ang="0">
                  <a:pos x="92" y="4"/>
                </a:cxn>
                <a:cxn ang="0">
                  <a:pos x="100" y="4"/>
                </a:cxn>
                <a:cxn ang="0">
                  <a:pos x="104" y="8"/>
                </a:cxn>
                <a:cxn ang="0">
                  <a:pos x="108" y="8"/>
                </a:cxn>
                <a:cxn ang="0">
                  <a:pos x="112" y="8"/>
                </a:cxn>
                <a:cxn ang="0">
                  <a:pos x="112" y="16"/>
                </a:cxn>
                <a:cxn ang="0">
                  <a:pos x="116" y="20"/>
                </a:cxn>
                <a:cxn ang="0">
                  <a:pos x="116" y="24"/>
                </a:cxn>
                <a:cxn ang="0">
                  <a:pos x="116" y="28"/>
                </a:cxn>
                <a:cxn ang="0">
                  <a:pos x="108" y="28"/>
                </a:cxn>
                <a:cxn ang="0">
                  <a:pos x="108" y="32"/>
                </a:cxn>
                <a:cxn ang="0">
                  <a:pos x="108" y="36"/>
                </a:cxn>
                <a:cxn ang="0">
                  <a:pos x="108" y="40"/>
                </a:cxn>
                <a:cxn ang="0">
                  <a:pos x="104" y="44"/>
                </a:cxn>
                <a:cxn ang="0">
                  <a:pos x="100" y="48"/>
                </a:cxn>
                <a:cxn ang="0">
                  <a:pos x="96" y="52"/>
                </a:cxn>
                <a:cxn ang="0">
                  <a:pos x="84" y="52"/>
                </a:cxn>
                <a:cxn ang="0">
                  <a:pos x="76" y="56"/>
                </a:cxn>
                <a:cxn ang="0">
                  <a:pos x="68" y="56"/>
                </a:cxn>
                <a:cxn ang="0">
                  <a:pos x="60" y="56"/>
                </a:cxn>
                <a:cxn ang="0">
                  <a:pos x="48" y="52"/>
                </a:cxn>
                <a:cxn ang="0">
                  <a:pos x="44" y="52"/>
                </a:cxn>
                <a:cxn ang="0">
                  <a:pos x="40" y="44"/>
                </a:cxn>
                <a:cxn ang="0">
                  <a:pos x="40" y="44"/>
                </a:cxn>
                <a:cxn ang="0">
                  <a:pos x="32" y="44"/>
                </a:cxn>
                <a:cxn ang="0">
                  <a:pos x="24" y="48"/>
                </a:cxn>
                <a:cxn ang="0">
                  <a:pos x="20" y="48"/>
                </a:cxn>
                <a:cxn ang="0">
                  <a:pos x="16" y="48"/>
                </a:cxn>
              </a:cxnLst>
              <a:rect l="0" t="0" r="r" b="b"/>
              <a:pathLst>
                <a:path w="116" h="56">
                  <a:moveTo>
                    <a:pt x="16" y="48"/>
                  </a:moveTo>
                  <a:lnTo>
                    <a:pt x="16" y="48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6" y="12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100" y="4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08" y="4"/>
                  </a:lnTo>
                  <a:lnTo>
                    <a:pt x="108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16" y="20"/>
                  </a:lnTo>
                  <a:lnTo>
                    <a:pt x="116" y="20"/>
                  </a:lnTo>
                  <a:lnTo>
                    <a:pt x="116" y="20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28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4" y="28"/>
                  </a:lnTo>
                  <a:lnTo>
                    <a:pt x="104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4" y="36"/>
                  </a:lnTo>
                  <a:lnTo>
                    <a:pt x="104" y="36"/>
                  </a:lnTo>
                  <a:lnTo>
                    <a:pt x="108" y="40"/>
                  </a:lnTo>
                  <a:lnTo>
                    <a:pt x="108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0" y="48"/>
                  </a:lnTo>
                  <a:lnTo>
                    <a:pt x="100" y="48"/>
                  </a:lnTo>
                  <a:lnTo>
                    <a:pt x="100" y="48"/>
                  </a:lnTo>
                  <a:lnTo>
                    <a:pt x="100" y="48"/>
                  </a:lnTo>
                  <a:lnTo>
                    <a:pt x="100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2" y="52"/>
                  </a:lnTo>
                  <a:lnTo>
                    <a:pt x="88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24" y="44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3" name="Freeform 80"/>
            <p:cNvSpPr>
              <a:spLocks/>
            </p:cNvSpPr>
            <p:nvPr>
              <p:custDataLst>
                <p:tags r:id="rId275"/>
              </p:custDataLst>
            </p:nvPr>
          </p:nvSpPr>
          <p:spPr bwMode="gray">
            <a:xfrm>
              <a:off x="4896617" y="2934923"/>
              <a:ext cx="212078" cy="172035"/>
            </a:xfrm>
            <a:custGeom>
              <a:avLst/>
              <a:gdLst/>
              <a:ahLst/>
              <a:cxnLst>
                <a:cxn ang="0">
                  <a:pos x="28" y="100"/>
                </a:cxn>
                <a:cxn ang="0">
                  <a:pos x="16" y="104"/>
                </a:cxn>
                <a:cxn ang="0">
                  <a:pos x="12" y="108"/>
                </a:cxn>
                <a:cxn ang="0">
                  <a:pos x="4" y="108"/>
                </a:cxn>
                <a:cxn ang="0">
                  <a:pos x="8" y="96"/>
                </a:cxn>
                <a:cxn ang="0">
                  <a:pos x="0" y="88"/>
                </a:cxn>
                <a:cxn ang="0">
                  <a:pos x="8" y="84"/>
                </a:cxn>
                <a:cxn ang="0">
                  <a:pos x="12" y="80"/>
                </a:cxn>
                <a:cxn ang="0">
                  <a:pos x="8" y="64"/>
                </a:cxn>
                <a:cxn ang="0">
                  <a:pos x="4" y="56"/>
                </a:cxn>
                <a:cxn ang="0">
                  <a:pos x="8" y="52"/>
                </a:cxn>
                <a:cxn ang="0">
                  <a:pos x="16" y="52"/>
                </a:cxn>
                <a:cxn ang="0">
                  <a:pos x="20" y="52"/>
                </a:cxn>
                <a:cxn ang="0">
                  <a:pos x="24" y="48"/>
                </a:cxn>
                <a:cxn ang="0">
                  <a:pos x="32" y="48"/>
                </a:cxn>
                <a:cxn ang="0">
                  <a:pos x="36" y="48"/>
                </a:cxn>
                <a:cxn ang="0">
                  <a:pos x="40" y="44"/>
                </a:cxn>
                <a:cxn ang="0">
                  <a:pos x="40" y="40"/>
                </a:cxn>
                <a:cxn ang="0">
                  <a:pos x="40" y="32"/>
                </a:cxn>
                <a:cxn ang="0">
                  <a:pos x="48" y="24"/>
                </a:cxn>
                <a:cxn ang="0">
                  <a:pos x="52" y="20"/>
                </a:cxn>
                <a:cxn ang="0">
                  <a:pos x="52" y="12"/>
                </a:cxn>
                <a:cxn ang="0">
                  <a:pos x="56" y="12"/>
                </a:cxn>
                <a:cxn ang="0">
                  <a:pos x="68" y="12"/>
                </a:cxn>
                <a:cxn ang="0">
                  <a:pos x="72" y="4"/>
                </a:cxn>
                <a:cxn ang="0">
                  <a:pos x="79" y="4"/>
                </a:cxn>
                <a:cxn ang="0">
                  <a:pos x="83" y="8"/>
                </a:cxn>
                <a:cxn ang="0">
                  <a:pos x="95" y="8"/>
                </a:cxn>
                <a:cxn ang="0">
                  <a:pos x="103" y="8"/>
                </a:cxn>
                <a:cxn ang="0">
                  <a:pos x="115" y="16"/>
                </a:cxn>
                <a:cxn ang="0">
                  <a:pos x="115" y="20"/>
                </a:cxn>
                <a:cxn ang="0">
                  <a:pos x="119" y="28"/>
                </a:cxn>
                <a:cxn ang="0">
                  <a:pos x="115" y="36"/>
                </a:cxn>
                <a:cxn ang="0">
                  <a:pos x="119" y="40"/>
                </a:cxn>
                <a:cxn ang="0">
                  <a:pos x="127" y="48"/>
                </a:cxn>
                <a:cxn ang="0">
                  <a:pos x="131" y="56"/>
                </a:cxn>
                <a:cxn ang="0">
                  <a:pos x="139" y="60"/>
                </a:cxn>
                <a:cxn ang="0">
                  <a:pos x="143" y="64"/>
                </a:cxn>
                <a:cxn ang="0">
                  <a:pos x="139" y="72"/>
                </a:cxn>
                <a:cxn ang="0">
                  <a:pos x="131" y="72"/>
                </a:cxn>
                <a:cxn ang="0">
                  <a:pos x="123" y="76"/>
                </a:cxn>
                <a:cxn ang="0">
                  <a:pos x="127" y="80"/>
                </a:cxn>
                <a:cxn ang="0">
                  <a:pos x="127" y="92"/>
                </a:cxn>
                <a:cxn ang="0">
                  <a:pos x="127" y="96"/>
                </a:cxn>
                <a:cxn ang="0">
                  <a:pos x="119" y="96"/>
                </a:cxn>
                <a:cxn ang="0">
                  <a:pos x="111" y="100"/>
                </a:cxn>
                <a:cxn ang="0">
                  <a:pos x="111" y="112"/>
                </a:cxn>
                <a:cxn ang="0">
                  <a:pos x="103" y="108"/>
                </a:cxn>
                <a:cxn ang="0">
                  <a:pos x="99" y="112"/>
                </a:cxn>
                <a:cxn ang="0">
                  <a:pos x="91" y="108"/>
                </a:cxn>
                <a:cxn ang="0">
                  <a:pos x="83" y="108"/>
                </a:cxn>
                <a:cxn ang="0">
                  <a:pos x="83" y="108"/>
                </a:cxn>
                <a:cxn ang="0">
                  <a:pos x="75" y="108"/>
                </a:cxn>
                <a:cxn ang="0">
                  <a:pos x="72" y="108"/>
                </a:cxn>
                <a:cxn ang="0">
                  <a:pos x="68" y="108"/>
                </a:cxn>
                <a:cxn ang="0">
                  <a:pos x="64" y="108"/>
                </a:cxn>
                <a:cxn ang="0">
                  <a:pos x="56" y="104"/>
                </a:cxn>
                <a:cxn ang="0">
                  <a:pos x="52" y="100"/>
                </a:cxn>
                <a:cxn ang="0">
                  <a:pos x="48" y="100"/>
                </a:cxn>
                <a:cxn ang="0">
                  <a:pos x="40" y="100"/>
                </a:cxn>
              </a:cxnLst>
              <a:rect l="0" t="0" r="r" b="b"/>
              <a:pathLst>
                <a:path w="143" h="116">
                  <a:moveTo>
                    <a:pt x="36" y="100"/>
                  </a:moveTo>
                  <a:lnTo>
                    <a:pt x="36" y="100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28" y="100"/>
                  </a:lnTo>
                  <a:lnTo>
                    <a:pt x="28" y="100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4"/>
                  </a:lnTo>
                  <a:lnTo>
                    <a:pt x="16" y="104"/>
                  </a:lnTo>
                  <a:lnTo>
                    <a:pt x="16" y="104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8" y="104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4" y="108"/>
                  </a:lnTo>
                  <a:lnTo>
                    <a:pt x="4" y="108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8" y="100"/>
                  </a:lnTo>
                  <a:lnTo>
                    <a:pt x="8" y="100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4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3" y="8"/>
                  </a:lnTo>
                  <a:lnTo>
                    <a:pt x="83" y="8"/>
                  </a:lnTo>
                  <a:lnTo>
                    <a:pt x="83" y="8"/>
                  </a:lnTo>
                  <a:lnTo>
                    <a:pt x="87" y="8"/>
                  </a:lnTo>
                  <a:lnTo>
                    <a:pt x="87" y="4"/>
                  </a:lnTo>
                  <a:lnTo>
                    <a:pt x="87" y="4"/>
                  </a:lnTo>
                  <a:lnTo>
                    <a:pt x="87" y="4"/>
                  </a:lnTo>
                  <a:lnTo>
                    <a:pt x="91" y="4"/>
                  </a:lnTo>
                  <a:lnTo>
                    <a:pt x="91" y="4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1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99" y="8"/>
                  </a:lnTo>
                  <a:lnTo>
                    <a:pt x="103" y="8"/>
                  </a:lnTo>
                  <a:lnTo>
                    <a:pt x="103" y="8"/>
                  </a:lnTo>
                  <a:lnTo>
                    <a:pt x="107" y="8"/>
                  </a:lnTo>
                  <a:lnTo>
                    <a:pt x="111" y="12"/>
                  </a:lnTo>
                  <a:lnTo>
                    <a:pt x="111" y="12"/>
                  </a:lnTo>
                  <a:lnTo>
                    <a:pt x="111" y="12"/>
                  </a:lnTo>
                  <a:lnTo>
                    <a:pt x="111" y="12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9" y="24"/>
                  </a:lnTo>
                  <a:lnTo>
                    <a:pt x="119" y="28"/>
                  </a:lnTo>
                  <a:lnTo>
                    <a:pt x="115" y="28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23" y="40"/>
                  </a:lnTo>
                  <a:lnTo>
                    <a:pt x="123" y="44"/>
                  </a:lnTo>
                  <a:lnTo>
                    <a:pt x="123" y="44"/>
                  </a:lnTo>
                  <a:lnTo>
                    <a:pt x="123" y="48"/>
                  </a:lnTo>
                  <a:lnTo>
                    <a:pt x="127" y="48"/>
                  </a:lnTo>
                  <a:lnTo>
                    <a:pt x="127" y="48"/>
                  </a:lnTo>
                  <a:lnTo>
                    <a:pt x="127" y="48"/>
                  </a:lnTo>
                  <a:lnTo>
                    <a:pt x="127" y="48"/>
                  </a:lnTo>
                  <a:lnTo>
                    <a:pt x="131" y="48"/>
                  </a:lnTo>
                  <a:lnTo>
                    <a:pt x="131" y="52"/>
                  </a:lnTo>
                  <a:lnTo>
                    <a:pt x="131" y="52"/>
                  </a:lnTo>
                  <a:lnTo>
                    <a:pt x="131" y="52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5" y="56"/>
                  </a:lnTo>
                  <a:lnTo>
                    <a:pt x="139" y="56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8"/>
                  </a:lnTo>
                  <a:lnTo>
                    <a:pt x="143" y="68"/>
                  </a:lnTo>
                  <a:lnTo>
                    <a:pt x="139" y="72"/>
                  </a:lnTo>
                  <a:lnTo>
                    <a:pt x="139" y="72"/>
                  </a:lnTo>
                  <a:lnTo>
                    <a:pt x="139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27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6"/>
                  </a:lnTo>
                  <a:lnTo>
                    <a:pt x="123" y="76"/>
                  </a:lnTo>
                  <a:lnTo>
                    <a:pt x="123" y="76"/>
                  </a:lnTo>
                  <a:lnTo>
                    <a:pt x="123" y="76"/>
                  </a:lnTo>
                  <a:lnTo>
                    <a:pt x="123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7" y="92"/>
                  </a:lnTo>
                  <a:lnTo>
                    <a:pt x="127" y="92"/>
                  </a:lnTo>
                  <a:lnTo>
                    <a:pt x="127" y="92"/>
                  </a:lnTo>
                  <a:lnTo>
                    <a:pt x="131" y="92"/>
                  </a:lnTo>
                  <a:lnTo>
                    <a:pt x="131" y="96"/>
                  </a:lnTo>
                  <a:lnTo>
                    <a:pt x="131" y="96"/>
                  </a:lnTo>
                  <a:lnTo>
                    <a:pt x="131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3" y="96"/>
                  </a:lnTo>
                  <a:lnTo>
                    <a:pt x="123" y="96"/>
                  </a:lnTo>
                  <a:lnTo>
                    <a:pt x="123" y="96"/>
                  </a:lnTo>
                  <a:lnTo>
                    <a:pt x="123" y="96"/>
                  </a:lnTo>
                  <a:lnTo>
                    <a:pt x="123" y="96"/>
                  </a:lnTo>
                  <a:lnTo>
                    <a:pt x="119" y="96"/>
                  </a:lnTo>
                  <a:lnTo>
                    <a:pt x="119" y="96"/>
                  </a:lnTo>
                  <a:lnTo>
                    <a:pt x="115" y="96"/>
                  </a:lnTo>
                  <a:lnTo>
                    <a:pt x="115" y="96"/>
                  </a:lnTo>
                  <a:lnTo>
                    <a:pt x="115" y="96"/>
                  </a:lnTo>
                  <a:lnTo>
                    <a:pt x="115" y="96"/>
                  </a:lnTo>
                  <a:lnTo>
                    <a:pt x="115" y="100"/>
                  </a:lnTo>
                  <a:lnTo>
                    <a:pt x="115" y="100"/>
                  </a:lnTo>
                  <a:lnTo>
                    <a:pt x="115" y="100"/>
                  </a:lnTo>
                  <a:lnTo>
                    <a:pt x="111" y="100"/>
                  </a:lnTo>
                  <a:lnTo>
                    <a:pt x="111" y="104"/>
                  </a:lnTo>
                  <a:lnTo>
                    <a:pt x="111" y="104"/>
                  </a:lnTo>
                  <a:lnTo>
                    <a:pt x="111" y="104"/>
                  </a:lnTo>
                  <a:lnTo>
                    <a:pt x="111" y="108"/>
                  </a:lnTo>
                  <a:lnTo>
                    <a:pt x="111" y="108"/>
                  </a:lnTo>
                  <a:lnTo>
                    <a:pt x="111" y="112"/>
                  </a:lnTo>
                  <a:lnTo>
                    <a:pt x="111" y="112"/>
                  </a:lnTo>
                  <a:lnTo>
                    <a:pt x="111" y="112"/>
                  </a:lnTo>
                  <a:lnTo>
                    <a:pt x="111" y="112"/>
                  </a:lnTo>
                  <a:lnTo>
                    <a:pt x="111" y="116"/>
                  </a:lnTo>
                  <a:lnTo>
                    <a:pt x="111" y="112"/>
                  </a:lnTo>
                  <a:lnTo>
                    <a:pt x="107" y="112"/>
                  </a:lnTo>
                  <a:lnTo>
                    <a:pt x="107" y="112"/>
                  </a:lnTo>
                  <a:lnTo>
                    <a:pt x="107" y="108"/>
                  </a:lnTo>
                  <a:lnTo>
                    <a:pt x="107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99" y="112"/>
                  </a:lnTo>
                  <a:lnTo>
                    <a:pt x="99" y="112"/>
                  </a:lnTo>
                  <a:lnTo>
                    <a:pt x="99" y="112"/>
                  </a:lnTo>
                  <a:lnTo>
                    <a:pt x="99" y="112"/>
                  </a:lnTo>
                  <a:lnTo>
                    <a:pt x="99" y="108"/>
                  </a:lnTo>
                  <a:lnTo>
                    <a:pt x="99" y="108"/>
                  </a:lnTo>
                  <a:lnTo>
                    <a:pt x="95" y="108"/>
                  </a:lnTo>
                  <a:lnTo>
                    <a:pt x="95" y="112"/>
                  </a:lnTo>
                  <a:lnTo>
                    <a:pt x="91" y="112"/>
                  </a:lnTo>
                  <a:lnTo>
                    <a:pt x="91" y="112"/>
                  </a:lnTo>
                  <a:lnTo>
                    <a:pt x="91" y="112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87" y="108"/>
                  </a:lnTo>
                  <a:lnTo>
                    <a:pt x="87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79" y="108"/>
                  </a:lnTo>
                  <a:lnTo>
                    <a:pt x="79" y="108"/>
                  </a:lnTo>
                  <a:lnTo>
                    <a:pt x="79" y="108"/>
                  </a:lnTo>
                  <a:lnTo>
                    <a:pt x="75" y="108"/>
                  </a:lnTo>
                  <a:lnTo>
                    <a:pt x="75" y="104"/>
                  </a:lnTo>
                  <a:lnTo>
                    <a:pt x="75" y="104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4" name="Freeform 81"/>
            <p:cNvSpPr>
              <a:spLocks/>
            </p:cNvSpPr>
            <p:nvPr>
              <p:custDataLst>
                <p:tags r:id="rId276"/>
              </p:custDataLst>
            </p:nvPr>
          </p:nvSpPr>
          <p:spPr bwMode="gray">
            <a:xfrm>
              <a:off x="4435383" y="3095094"/>
              <a:ext cx="81568" cy="65255"/>
            </a:xfrm>
            <a:custGeom>
              <a:avLst/>
              <a:gdLst/>
              <a:ahLst/>
              <a:cxnLst>
                <a:cxn ang="0">
                  <a:pos x="24" y="28"/>
                </a:cxn>
                <a:cxn ang="0">
                  <a:pos x="20" y="28"/>
                </a:cxn>
                <a:cxn ang="0">
                  <a:pos x="16" y="24"/>
                </a:cxn>
                <a:cxn ang="0">
                  <a:pos x="12" y="24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4" y="8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32" y="0"/>
                </a:cxn>
                <a:cxn ang="0">
                  <a:pos x="35" y="4"/>
                </a:cxn>
                <a:cxn ang="0">
                  <a:pos x="35" y="0"/>
                </a:cxn>
                <a:cxn ang="0">
                  <a:pos x="39" y="4"/>
                </a:cxn>
                <a:cxn ang="0">
                  <a:pos x="39" y="8"/>
                </a:cxn>
                <a:cxn ang="0">
                  <a:pos x="43" y="8"/>
                </a:cxn>
                <a:cxn ang="0">
                  <a:pos x="47" y="8"/>
                </a:cxn>
                <a:cxn ang="0">
                  <a:pos x="47" y="12"/>
                </a:cxn>
                <a:cxn ang="0">
                  <a:pos x="47" y="16"/>
                </a:cxn>
                <a:cxn ang="0">
                  <a:pos x="47" y="16"/>
                </a:cxn>
                <a:cxn ang="0">
                  <a:pos x="47" y="16"/>
                </a:cxn>
                <a:cxn ang="0">
                  <a:pos x="51" y="20"/>
                </a:cxn>
                <a:cxn ang="0">
                  <a:pos x="55" y="24"/>
                </a:cxn>
                <a:cxn ang="0">
                  <a:pos x="55" y="28"/>
                </a:cxn>
                <a:cxn ang="0">
                  <a:pos x="51" y="32"/>
                </a:cxn>
                <a:cxn ang="0">
                  <a:pos x="51" y="32"/>
                </a:cxn>
                <a:cxn ang="0">
                  <a:pos x="47" y="32"/>
                </a:cxn>
                <a:cxn ang="0">
                  <a:pos x="47" y="40"/>
                </a:cxn>
                <a:cxn ang="0">
                  <a:pos x="47" y="40"/>
                </a:cxn>
                <a:cxn ang="0">
                  <a:pos x="47" y="44"/>
                </a:cxn>
                <a:cxn ang="0">
                  <a:pos x="43" y="44"/>
                </a:cxn>
                <a:cxn ang="0">
                  <a:pos x="43" y="44"/>
                </a:cxn>
                <a:cxn ang="0">
                  <a:pos x="39" y="44"/>
                </a:cxn>
                <a:cxn ang="0">
                  <a:pos x="35" y="40"/>
                </a:cxn>
                <a:cxn ang="0">
                  <a:pos x="32" y="32"/>
                </a:cxn>
                <a:cxn ang="0">
                  <a:pos x="32" y="32"/>
                </a:cxn>
                <a:cxn ang="0">
                  <a:pos x="28" y="36"/>
                </a:cxn>
                <a:cxn ang="0">
                  <a:pos x="24" y="36"/>
                </a:cxn>
              </a:cxnLst>
              <a:rect l="0" t="0" r="r" b="b"/>
              <a:pathLst>
                <a:path w="55" h="44">
                  <a:moveTo>
                    <a:pt x="24" y="36"/>
                  </a:moveTo>
                  <a:lnTo>
                    <a:pt x="24" y="36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3" y="4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20"/>
                  </a:lnTo>
                  <a:lnTo>
                    <a:pt x="47" y="16"/>
                  </a:lnTo>
                  <a:lnTo>
                    <a:pt x="51" y="16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5" y="20"/>
                  </a:lnTo>
                  <a:lnTo>
                    <a:pt x="55" y="20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1" y="28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47" y="32"/>
                  </a:lnTo>
                  <a:lnTo>
                    <a:pt x="47" y="32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5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5" name="Freeform 82"/>
            <p:cNvSpPr>
              <a:spLocks/>
            </p:cNvSpPr>
            <p:nvPr>
              <p:custDataLst>
                <p:tags r:id="rId277"/>
              </p:custDataLst>
            </p:nvPr>
          </p:nvSpPr>
          <p:spPr bwMode="gray">
            <a:xfrm>
              <a:off x="4730513" y="3302723"/>
              <a:ext cx="83052" cy="83052"/>
            </a:xfrm>
            <a:custGeom>
              <a:avLst/>
              <a:gdLst/>
              <a:ahLst/>
              <a:cxnLst>
                <a:cxn ang="0">
                  <a:pos x="28" y="48"/>
                </a:cxn>
                <a:cxn ang="0">
                  <a:pos x="28" y="44"/>
                </a:cxn>
                <a:cxn ang="0">
                  <a:pos x="24" y="40"/>
                </a:cxn>
                <a:cxn ang="0">
                  <a:pos x="20" y="36"/>
                </a:cxn>
                <a:cxn ang="0">
                  <a:pos x="20" y="36"/>
                </a:cxn>
                <a:cxn ang="0">
                  <a:pos x="16" y="32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40" y="0"/>
                </a:cxn>
                <a:cxn ang="0">
                  <a:pos x="44" y="4"/>
                </a:cxn>
                <a:cxn ang="0">
                  <a:pos x="48" y="8"/>
                </a:cxn>
                <a:cxn ang="0">
                  <a:pos x="52" y="4"/>
                </a:cxn>
                <a:cxn ang="0">
                  <a:pos x="52" y="8"/>
                </a:cxn>
                <a:cxn ang="0">
                  <a:pos x="52" y="16"/>
                </a:cxn>
                <a:cxn ang="0">
                  <a:pos x="52" y="20"/>
                </a:cxn>
                <a:cxn ang="0">
                  <a:pos x="56" y="24"/>
                </a:cxn>
                <a:cxn ang="0">
                  <a:pos x="56" y="28"/>
                </a:cxn>
                <a:cxn ang="0">
                  <a:pos x="52" y="24"/>
                </a:cxn>
                <a:cxn ang="0">
                  <a:pos x="56" y="32"/>
                </a:cxn>
                <a:cxn ang="0">
                  <a:pos x="56" y="32"/>
                </a:cxn>
                <a:cxn ang="0">
                  <a:pos x="52" y="36"/>
                </a:cxn>
                <a:cxn ang="0">
                  <a:pos x="48" y="36"/>
                </a:cxn>
                <a:cxn ang="0">
                  <a:pos x="48" y="36"/>
                </a:cxn>
                <a:cxn ang="0">
                  <a:pos x="48" y="40"/>
                </a:cxn>
                <a:cxn ang="0">
                  <a:pos x="48" y="40"/>
                </a:cxn>
                <a:cxn ang="0">
                  <a:pos x="44" y="44"/>
                </a:cxn>
                <a:cxn ang="0">
                  <a:pos x="40" y="48"/>
                </a:cxn>
                <a:cxn ang="0">
                  <a:pos x="40" y="52"/>
                </a:cxn>
                <a:cxn ang="0">
                  <a:pos x="40" y="56"/>
                </a:cxn>
                <a:cxn ang="0">
                  <a:pos x="40" y="56"/>
                </a:cxn>
                <a:cxn ang="0">
                  <a:pos x="36" y="56"/>
                </a:cxn>
                <a:cxn ang="0">
                  <a:pos x="32" y="52"/>
                </a:cxn>
                <a:cxn ang="0">
                  <a:pos x="32" y="48"/>
                </a:cxn>
                <a:cxn ang="0">
                  <a:pos x="28" y="48"/>
                </a:cxn>
              </a:cxnLst>
              <a:rect l="0" t="0" r="r" b="b"/>
              <a:pathLst>
                <a:path w="56" h="56">
                  <a:moveTo>
                    <a:pt x="28" y="48"/>
                  </a:move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8"/>
                  </a:lnTo>
                  <a:lnTo>
                    <a:pt x="56" y="28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6" y="28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6" name="Freeform 83"/>
            <p:cNvSpPr>
              <a:spLocks/>
            </p:cNvSpPr>
            <p:nvPr>
              <p:custDataLst>
                <p:tags r:id="rId278"/>
              </p:custDataLst>
            </p:nvPr>
          </p:nvSpPr>
          <p:spPr bwMode="gray">
            <a:xfrm>
              <a:off x="4878820" y="3332384"/>
              <a:ext cx="140891" cy="93433"/>
            </a:xfrm>
            <a:custGeom>
              <a:avLst/>
              <a:gdLst/>
              <a:ahLst/>
              <a:cxnLst>
                <a:cxn ang="0">
                  <a:pos x="8" y="55"/>
                </a:cxn>
                <a:cxn ang="0">
                  <a:pos x="8" y="51"/>
                </a:cxn>
                <a:cxn ang="0">
                  <a:pos x="8" y="47"/>
                </a:cxn>
                <a:cxn ang="0">
                  <a:pos x="0" y="39"/>
                </a:cxn>
                <a:cxn ang="0">
                  <a:pos x="4" y="36"/>
                </a:cxn>
                <a:cxn ang="0">
                  <a:pos x="0" y="32"/>
                </a:cxn>
                <a:cxn ang="0">
                  <a:pos x="4" y="28"/>
                </a:cxn>
                <a:cxn ang="0">
                  <a:pos x="8" y="24"/>
                </a:cxn>
                <a:cxn ang="0">
                  <a:pos x="4" y="20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40" y="12"/>
                </a:cxn>
                <a:cxn ang="0">
                  <a:pos x="44" y="12"/>
                </a:cxn>
                <a:cxn ang="0">
                  <a:pos x="48" y="12"/>
                </a:cxn>
                <a:cxn ang="0">
                  <a:pos x="52" y="8"/>
                </a:cxn>
                <a:cxn ang="0">
                  <a:pos x="60" y="4"/>
                </a:cxn>
                <a:cxn ang="0">
                  <a:pos x="68" y="4"/>
                </a:cxn>
                <a:cxn ang="0">
                  <a:pos x="72" y="4"/>
                </a:cxn>
                <a:cxn ang="0">
                  <a:pos x="72" y="4"/>
                </a:cxn>
                <a:cxn ang="0">
                  <a:pos x="80" y="4"/>
                </a:cxn>
                <a:cxn ang="0">
                  <a:pos x="80" y="8"/>
                </a:cxn>
                <a:cxn ang="0">
                  <a:pos x="84" y="8"/>
                </a:cxn>
                <a:cxn ang="0">
                  <a:pos x="87" y="12"/>
                </a:cxn>
                <a:cxn ang="0">
                  <a:pos x="91" y="12"/>
                </a:cxn>
                <a:cxn ang="0">
                  <a:pos x="95" y="16"/>
                </a:cxn>
                <a:cxn ang="0">
                  <a:pos x="91" y="20"/>
                </a:cxn>
                <a:cxn ang="0">
                  <a:pos x="91" y="16"/>
                </a:cxn>
                <a:cxn ang="0">
                  <a:pos x="87" y="20"/>
                </a:cxn>
                <a:cxn ang="0">
                  <a:pos x="84" y="28"/>
                </a:cxn>
                <a:cxn ang="0">
                  <a:pos x="84" y="32"/>
                </a:cxn>
                <a:cxn ang="0">
                  <a:pos x="80" y="36"/>
                </a:cxn>
                <a:cxn ang="0">
                  <a:pos x="76" y="39"/>
                </a:cxn>
                <a:cxn ang="0">
                  <a:pos x="80" y="39"/>
                </a:cxn>
                <a:cxn ang="0">
                  <a:pos x="84" y="43"/>
                </a:cxn>
                <a:cxn ang="0">
                  <a:pos x="84" y="47"/>
                </a:cxn>
                <a:cxn ang="0">
                  <a:pos x="80" y="47"/>
                </a:cxn>
                <a:cxn ang="0">
                  <a:pos x="76" y="47"/>
                </a:cxn>
                <a:cxn ang="0">
                  <a:pos x="72" y="43"/>
                </a:cxn>
                <a:cxn ang="0">
                  <a:pos x="64" y="47"/>
                </a:cxn>
                <a:cxn ang="0">
                  <a:pos x="64" y="51"/>
                </a:cxn>
                <a:cxn ang="0">
                  <a:pos x="60" y="51"/>
                </a:cxn>
                <a:cxn ang="0">
                  <a:pos x="60" y="51"/>
                </a:cxn>
                <a:cxn ang="0">
                  <a:pos x="56" y="55"/>
                </a:cxn>
                <a:cxn ang="0">
                  <a:pos x="56" y="59"/>
                </a:cxn>
                <a:cxn ang="0">
                  <a:pos x="48" y="63"/>
                </a:cxn>
                <a:cxn ang="0">
                  <a:pos x="44" y="63"/>
                </a:cxn>
                <a:cxn ang="0">
                  <a:pos x="40" y="59"/>
                </a:cxn>
                <a:cxn ang="0">
                  <a:pos x="36" y="59"/>
                </a:cxn>
                <a:cxn ang="0">
                  <a:pos x="28" y="55"/>
                </a:cxn>
                <a:cxn ang="0">
                  <a:pos x="24" y="59"/>
                </a:cxn>
                <a:cxn ang="0">
                  <a:pos x="20" y="59"/>
                </a:cxn>
                <a:cxn ang="0">
                  <a:pos x="12" y="59"/>
                </a:cxn>
                <a:cxn ang="0">
                  <a:pos x="12" y="63"/>
                </a:cxn>
              </a:cxnLst>
              <a:rect l="0" t="0" r="r" b="b"/>
              <a:pathLst>
                <a:path w="95" h="63">
                  <a:moveTo>
                    <a:pt x="8" y="59"/>
                  </a:moveTo>
                  <a:lnTo>
                    <a:pt x="8" y="59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4" y="47"/>
                  </a:lnTo>
                  <a:lnTo>
                    <a:pt x="4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4" y="39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4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7" y="8"/>
                  </a:lnTo>
                  <a:lnTo>
                    <a:pt x="87" y="12"/>
                  </a:lnTo>
                  <a:lnTo>
                    <a:pt x="87" y="12"/>
                  </a:lnTo>
                  <a:lnTo>
                    <a:pt x="87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16"/>
                  </a:lnTo>
                  <a:lnTo>
                    <a:pt x="87" y="16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3"/>
                  </a:lnTo>
                  <a:lnTo>
                    <a:pt x="72" y="43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68" y="47"/>
                  </a:lnTo>
                  <a:lnTo>
                    <a:pt x="68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5"/>
                  </a:lnTo>
                  <a:lnTo>
                    <a:pt x="60" y="55"/>
                  </a:lnTo>
                  <a:lnTo>
                    <a:pt x="60" y="55"/>
                  </a:lnTo>
                  <a:lnTo>
                    <a:pt x="60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59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0" y="63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2" y="59"/>
                  </a:lnTo>
                  <a:lnTo>
                    <a:pt x="32" y="59"/>
                  </a:lnTo>
                  <a:lnTo>
                    <a:pt x="32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4" y="55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8" y="59"/>
                  </a:lnTo>
                  <a:lnTo>
                    <a:pt x="8" y="5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7" name="Freeform 84"/>
            <p:cNvSpPr>
              <a:spLocks noEditPoints="1"/>
            </p:cNvSpPr>
            <p:nvPr>
              <p:custDataLst>
                <p:tags r:id="rId279"/>
              </p:custDataLst>
            </p:nvPr>
          </p:nvSpPr>
          <p:spPr bwMode="gray">
            <a:xfrm>
              <a:off x="4677123" y="3261197"/>
              <a:ext cx="136442" cy="129026"/>
            </a:xfrm>
            <a:custGeom>
              <a:avLst/>
              <a:gdLst/>
              <a:ahLst/>
              <a:cxnLst>
                <a:cxn ang="0">
                  <a:pos x="72" y="80"/>
                </a:cxn>
                <a:cxn ang="0">
                  <a:pos x="76" y="84"/>
                </a:cxn>
                <a:cxn ang="0">
                  <a:pos x="60" y="76"/>
                </a:cxn>
                <a:cxn ang="0">
                  <a:pos x="64" y="76"/>
                </a:cxn>
                <a:cxn ang="0">
                  <a:pos x="20" y="28"/>
                </a:cxn>
                <a:cxn ang="0">
                  <a:pos x="16" y="36"/>
                </a:cxn>
                <a:cxn ang="0">
                  <a:pos x="16" y="28"/>
                </a:cxn>
                <a:cxn ang="0">
                  <a:pos x="16" y="36"/>
                </a:cxn>
                <a:cxn ang="0">
                  <a:pos x="12" y="40"/>
                </a:cxn>
                <a:cxn ang="0">
                  <a:pos x="24" y="40"/>
                </a:cxn>
                <a:cxn ang="0">
                  <a:pos x="24" y="44"/>
                </a:cxn>
                <a:cxn ang="0">
                  <a:pos x="24" y="52"/>
                </a:cxn>
                <a:cxn ang="0">
                  <a:pos x="24" y="56"/>
                </a:cxn>
                <a:cxn ang="0">
                  <a:pos x="48" y="68"/>
                </a:cxn>
                <a:cxn ang="0">
                  <a:pos x="52" y="72"/>
                </a:cxn>
                <a:cxn ang="0">
                  <a:pos x="52" y="72"/>
                </a:cxn>
                <a:cxn ang="0">
                  <a:pos x="44" y="72"/>
                </a:cxn>
                <a:cxn ang="0">
                  <a:pos x="48" y="76"/>
                </a:cxn>
                <a:cxn ang="0">
                  <a:pos x="64" y="80"/>
                </a:cxn>
                <a:cxn ang="0">
                  <a:pos x="60" y="76"/>
                </a:cxn>
                <a:cxn ang="0">
                  <a:pos x="52" y="68"/>
                </a:cxn>
                <a:cxn ang="0">
                  <a:pos x="36" y="64"/>
                </a:cxn>
                <a:cxn ang="0">
                  <a:pos x="32" y="56"/>
                </a:cxn>
                <a:cxn ang="0">
                  <a:pos x="24" y="48"/>
                </a:cxn>
                <a:cxn ang="0">
                  <a:pos x="24" y="44"/>
                </a:cxn>
                <a:cxn ang="0">
                  <a:pos x="24" y="32"/>
                </a:cxn>
                <a:cxn ang="0">
                  <a:pos x="12" y="24"/>
                </a:cxn>
                <a:cxn ang="0">
                  <a:pos x="8" y="36"/>
                </a:cxn>
                <a:cxn ang="0">
                  <a:pos x="4" y="28"/>
                </a:cxn>
                <a:cxn ang="0">
                  <a:pos x="4" y="20"/>
                </a:cxn>
                <a:cxn ang="0">
                  <a:pos x="16" y="20"/>
                </a:cxn>
                <a:cxn ang="0">
                  <a:pos x="20" y="24"/>
                </a:cxn>
                <a:cxn ang="0">
                  <a:pos x="28" y="20"/>
                </a:cxn>
                <a:cxn ang="0">
                  <a:pos x="36" y="12"/>
                </a:cxn>
                <a:cxn ang="0">
                  <a:pos x="36" y="4"/>
                </a:cxn>
                <a:cxn ang="0">
                  <a:pos x="48" y="0"/>
                </a:cxn>
                <a:cxn ang="0">
                  <a:pos x="60" y="12"/>
                </a:cxn>
                <a:cxn ang="0">
                  <a:pos x="72" y="16"/>
                </a:cxn>
                <a:cxn ang="0">
                  <a:pos x="84" y="16"/>
                </a:cxn>
                <a:cxn ang="0">
                  <a:pos x="88" y="28"/>
                </a:cxn>
                <a:cxn ang="0">
                  <a:pos x="84" y="32"/>
                </a:cxn>
                <a:cxn ang="0">
                  <a:pos x="76" y="28"/>
                </a:cxn>
                <a:cxn ang="0">
                  <a:pos x="64" y="32"/>
                </a:cxn>
                <a:cxn ang="0">
                  <a:pos x="52" y="28"/>
                </a:cxn>
                <a:cxn ang="0">
                  <a:pos x="40" y="32"/>
                </a:cxn>
                <a:cxn ang="0">
                  <a:pos x="36" y="36"/>
                </a:cxn>
                <a:cxn ang="0">
                  <a:pos x="40" y="48"/>
                </a:cxn>
                <a:cxn ang="0">
                  <a:pos x="48" y="56"/>
                </a:cxn>
                <a:cxn ang="0">
                  <a:pos x="60" y="64"/>
                </a:cxn>
                <a:cxn ang="0">
                  <a:pos x="64" y="72"/>
                </a:cxn>
              </a:cxnLst>
              <a:rect l="0" t="0" r="r" b="b"/>
              <a:pathLst>
                <a:path w="92" h="87">
                  <a:moveTo>
                    <a:pt x="64" y="76"/>
                  </a:moveTo>
                  <a:lnTo>
                    <a:pt x="68" y="76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72" y="84"/>
                  </a:lnTo>
                  <a:lnTo>
                    <a:pt x="76" y="84"/>
                  </a:lnTo>
                  <a:lnTo>
                    <a:pt x="76" y="87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68" y="80"/>
                  </a:lnTo>
                  <a:lnTo>
                    <a:pt x="64" y="80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60" y="76"/>
                  </a:lnTo>
                  <a:lnTo>
                    <a:pt x="64" y="76"/>
                  </a:lnTo>
                  <a:close/>
                  <a:moveTo>
                    <a:pt x="20" y="32"/>
                  </a:moveTo>
                  <a:lnTo>
                    <a:pt x="16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32"/>
                  </a:lnTo>
                  <a:close/>
                  <a:moveTo>
                    <a:pt x="16" y="40"/>
                  </a:moveTo>
                  <a:lnTo>
                    <a:pt x="12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6"/>
                  </a:lnTo>
                  <a:lnTo>
                    <a:pt x="16" y="40"/>
                  </a:lnTo>
                  <a:close/>
                  <a:moveTo>
                    <a:pt x="16" y="44"/>
                  </a:moveTo>
                  <a:lnTo>
                    <a:pt x="16" y="40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44"/>
                  </a:lnTo>
                  <a:close/>
                  <a:moveTo>
                    <a:pt x="20" y="40"/>
                  </a:moveTo>
                  <a:lnTo>
                    <a:pt x="24" y="40"/>
                  </a:lnTo>
                  <a:lnTo>
                    <a:pt x="24" y="44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0" y="40"/>
                  </a:lnTo>
                  <a:close/>
                  <a:moveTo>
                    <a:pt x="28" y="56"/>
                  </a:moveTo>
                  <a:lnTo>
                    <a:pt x="24" y="56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8" y="56"/>
                  </a:lnTo>
                  <a:close/>
                  <a:moveTo>
                    <a:pt x="48" y="68"/>
                  </a:moveTo>
                  <a:lnTo>
                    <a:pt x="44" y="68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48" y="68"/>
                  </a:lnTo>
                  <a:close/>
                  <a:moveTo>
                    <a:pt x="56" y="72"/>
                  </a:moveTo>
                  <a:lnTo>
                    <a:pt x="52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8" y="72"/>
                  </a:lnTo>
                  <a:lnTo>
                    <a:pt x="52" y="72"/>
                  </a:lnTo>
                  <a:lnTo>
                    <a:pt x="56" y="72"/>
                  </a:lnTo>
                  <a:close/>
                  <a:moveTo>
                    <a:pt x="40" y="76"/>
                  </a:moveTo>
                  <a:lnTo>
                    <a:pt x="40" y="72"/>
                  </a:lnTo>
                  <a:lnTo>
                    <a:pt x="44" y="72"/>
                  </a:lnTo>
                  <a:lnTo>
                    <a:pt x="44" y="76"/>
                  </a:lnTo>
                  <a:lnTo>
                    <a:pt x="40" y="76"/>
                  </a:lnTo>
                  <a:close/>
                  <a:moveTo>
                    <a:pt x="52" y="76"/>
                  </a:moveTo>
                  <a:lnTo>
                    <a:pt x="48" y="76"/>
                  </a:lnTo>
                  <a:lnTo>
                    <a:pt x="52" y="76"/>
                  </a:lnTo>
                  <a:lnTo>
                    <a:pt x="56" y="76"/>
                  </a:lnTo>
                  <a:lnTo>
                    <a:pt x="52" y="76"/>
                  </a:lnTo>
                  <a:close/>
                  <a:moveTo>
                    <a:pt x="64" y="80"/>
                  </a:moveTo>
                  <a:lnTo>
                    <a:pt x="60" y="80"/>
                  </a:lnTo>
                  <a:lnTo>
                    <a:pt x="64" y="80"/>
                  </a:lnTo>
                  <a:close/>
                  <a:moveTo>
                    <a:pt x="64" y="76"/>
                  </a:moveTo>
                  <a:lnTo>
                    <a:pt x="60" y="76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2" y="56"/>
                  </a:lnTo>
                  <a:lnTo>
                    <a:pt x="28" y="56"/>
                  </a:lnTo>
                  <a:lnTo>
                    <a:pt x="28" y="52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8" y="48"/>
                  </a:lnTo>
                  <a:lnTo>
                    <a:pt x="32" y="48"/>
                  </a:lnTo>
                  <a:lnTo>
                    <a:pt x="28" y="44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4" y="32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4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12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88" y="28"/>
                  </a:lnTo>
                  <a:lnTo>
                    <a:pt x="92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4" y="36"/>
                  </a:lnTo>
                  <a:lnTo>
                    <a:pt x="80" y="36"/>
                  </a:lnTo>
                  <a:lnTo>
                    <a:pt x="80" y="32"/>
                  </a:lnTo>
                  <a:lnTo>
                    <a:pt x="76" y="28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68" y="32"/>
                  </a:lnTo>
                  <a:lnTo>
                    <a:pt x="64" y="32"/>
                  </a:lnTo>
                  <a:lnTo>
                    <a:pt x="64" y="28"/>
                  </a:lnTo>
                  <a:lnTo>
                    <a:pt x="60" y="28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36" y="28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40" y="40"/>
                  </a:lnTo>
                  <a:lnTo>
                    <a:pt x="40" y="44"/>
                  </a:lnTo>
                  <a:lnTo>
                    <a:pt x="40" y="48"/>
                  </a:lnTo>
                  <a:lnTo>
                    <a:pt x="44" y="48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52" y="60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8" name="Freeform 85"/>
            <p:cNvSpPr>
              <a:spLocks/>
            </p:cNvSpPr>
            <p:nvPr>
              <p:custDataLst>
                <p:tags r:id="rId280"/>
              </p:custDataLst>
            </p:nvPr>
          </p:nvSpPr>
          <p:spPr bwMode="gray">
            <a:xfrm>
              <a:off x="4647462" y="3112891"/>
              <a:ext cx="154239" cy="83052"/>
            </a:xfrm>
            <a:custGeom>
              <a:avLst/>
              <a:gdLst/>
              <a:ahLst/>
              <a:cxnLst>
                <a:cxn ang="0">
                  <a:pos x="88" y="44"/>
                </a:cxn>
                <a:cxn ang="0">
                  <a:pos x="84" y="48"/>
                </a:cxn>
                <a:cxn ang="0">
                  <a:pos x="76" y="48"/>
                </a:cxn>
                <a:cxn ang="0">
                  <a:pos x="72" y="52"/>
                </a:cxn>
                <a:cxn ang="0">
                  <a:pos x="72" y="52"/>
                </a:cxn>
                <a:cxn ang="0">
                  <a:pos x="64" y="48"/>
                </a:cxn>
                <a:cxn ang="0">
                  <a:pos x="60" y="52"/>
                </a:cxn>
                <a:cxn ang="0">
                  <a:pos x="56" y="48"/>
                </a:cxn>
                <a:cxn ang="0">
                  <a:pos x="52" y="48"/>
                </a:cxn>
                <a:cxn ang="0">
                  <a:pos x="48" y="44"/>
                </a:cxn>
                <a:cxn ang="0">
                  <a:pos x="44" y="44"/>
                </a:cxn>
                <a:cxn ang="0">
                  <a:pos x="40" y="48"/>
                </a:cxn>
                <a:cxn ang="0">
                  <a:pos x="40" y="56"/>
                </a:cxn>
                <a:cxn ang="0">
                  <a:pos x="36" y="56"/>
                </a:cxn>
                <a:cxn ang="0">
                  <a:pos x="28" y="52"/>
                </a:cxn>
                <a:cxn ang="0">
                  <a:pos x="24" y="48"/>
                </a:cxn>
                <a:cxn ang="0">
                  <a:pos x="24" y="48"/>
                </a:cxn>
                <a:cxn ang="0">
                  <a:pos x="20" y="44"/>
                </a:cxn>
                <a:cxn ang="0">
                  <a:pos x="12" y="40"/>
                </a:cxn>
                <a:cxn ang="0">
                  <a:pos x="8" y="32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8" y="4"/>
                </a:cxn>
                <a:cxn ang="0">
                  <a:pos x="32" y="0"/>
                </a:cxn>
                <a:cxn ang="0">
                  <a:pos x="36" y="0"/>
                </a:cxn>
                <a:cxn ang="0">
                  <a:pos x="40" y="4"/>
                </a:cxn>
                <a:cxn ang="0">
                  <a:pos x="40" y="4"/>
                </a:cxn>
                <a:cxn ang="0">
                  <a:pos x="48" y="0"/>
                </a:cxn>
                <a:cxn ang="0">
                  <a:pos x="48" y="4"/>
                </a:cxn>
                <a:cxn ang="0">
                  <a:pos x="52" y="4"/>
                </a:cxn>
                <a:cxn ang="0">
                  <a:pos x="60" y="8"/>
                </a:cxn>
                <a:cxn ang="0">
                  <a:pos x="64" y="8"/>
                </a:cxn>
                <a:cxn ang="0">
                  <a:pos x="64" y="12"/>
                </a:cxn>
                <a:cxn ang="0">
                  <a:pos x="64" y="16"/>
                </a:cxn>
                <a:cxn ang="0">
                  <a:pos x="68" y="20"/>
                </a:cxn>
                <a:cxn ang="0">
                  <a:pos x="72" y="20"/>
                </a:cxn>
                <a:cxn ang="0">
                  <a:pos x="76" y="20"/>
                </a:cxn>
                <a:cxn ang="0">
                  <a:pos x="72" y="12"/>
                </a:cxn>
                <a:cxn ang="0">
                  <a:pos x="76" y="16"/>
                </a:cxn>
                <a:cxn ang="0">
                  <a:pos x="84" y="16"/>
                </a:cxn>
                <a:cxn ang="0">
                  <a:pos x="84" y="16"/>
                </a:cxn>
                <a:cxn ang="0">
                  <a:pos x="84" y="20"/>
                </a:cxn>
                <a:cxn ang="0">
                  <a:pos x="92" y="20"/>
                </a:cxn>
                <a:cxn ang="0">
                  <a:pos x="100" y="24"/>
                </a:cxn>
                <a:cxn ang="0">
                  <a:pos x="100" y="32"/>
                </a:cxn>
                <a:cxn ang="0">
                  <a:pos x="100" y="32"/>
                </a:cxn>
                <a:cxn ang="0">
                  <a:pos x="92" y="40"/>
                </a:cxn>
                <a:cxn ang="0">
                  <a:pos x="92" y="40"/>
                </a:cxn>
              </a:cxnLst>
              <a:rect l="0" t="0" r="r" b="b"/>
              <a:pathLst>
                <a:path w="104" h="56">
                  <a:moveTo>
                    <a:pt x="92" y="40"/>
                  </a:move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88" y="44"/>
                  </a:lnTo>
                  <a:lnTo>
                    <a:pt x="88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4" y="52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6" y="20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6" y="12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96" y="36"/>
                  </a:lnTo>
                  <a:lnTo>
                    <a:pt x="96" y="36"/>
                  </a:lnTo>
                  <a:lnTo>
                    <a:pt x="96" y="36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9" name="Denmark"/>
            <p:cNvSpPr>
              <a:spLocks noEditPoints="1"/>
            </p:cNvSpPr>
            <p:nvPr>
              <p:custDataLst>
                <p:tags r:id="rId281"/>
              </p:custDataLst>
            </p:nvPr>
          </p:nvSpPr>
          <p:spPr bwMode="gray">
            <a:xfrm>
              <a:off x="4558478" y="2881533"/>
              <a:ext cx="154239" cy="112713"/>
            </a:xfrm>
            <a:custGeom>
              <a:avLst/>
              <a:gdLst/>
              <a:ahLst/>
              <a:cxnLst>
                <a:cxn ang="0">
                  <a:pos x="4" y="24"/>
                </a:cxn>
                <a:cxn ang="0">
                  <a:pos x="8" y="16"/>
                </a:cxn>
                <a:cxn ang="0">
                  <a:pos x="24" y="12"/>
                </a:cxn>
                <a:cxn ang="0">
                  <a:pos x="36" y="4"/>
                </a:cxn>
                <a:cxn ang="0">
                  <a:pos x="32" y="16"/>
                </a:cxn>
                <a:cxn ang="0">
                  <a:pos x="16" y="16"/>
                </a:cxn>
                <a:cxn ang="0">
                  <a:pos x="4" y="24"/>
                </a:cxn>
                <a:cxn ang="0">
                  <a:pos x="24" y="64"/>
                </a:cxn>
                <a:cxn ang="0">
                  <a:pos x="16" y="68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0" y="40"/>
                </a:cxn>
                <a:cxn ang="0">
                  <a:pos x="4" y="40"/>
                </a:cxn>
                <a:cxn ang="0">
                  <a:pos x="0" y="28"/>
                </a:cxn>
                <a:cxn ang="0">
                  <a:pos x="12" y="24"/>
                </a:cxn>
                <a:cxn ang="0">
                  <a:pos x="16" y="28"/>
                </a:cxn>
                <a:cxn ang="0">
                  <a:pos x="24" y="16"/>
                </a:cxn>
                <a:cxn ang="0">
                  <a:pos x="24" y="28"/>
                </a:cxn>
                <a:cxn ang="0">
                  <a:pos x="32" y="32"/>
                </a:cxn>
                <a:cxn ang="0">
                  <a:pos x="40" y="32"/>
                </a:cxn>
                <a:cxn ang="0">
                  <a:pos x="36" y="36"/>
                </a:cxn>
                <a:cxn ang="0">
                  <a:pos x="24" y="44"/>
                </a:cxn>
                <a:cxn ang="0">
                  <a:pos x="24" y="48"/>
                </a:cxn>
                <a:cxn ang="0">
                  <a:pos x="44" y="12"/>
                </a:cxn>
                <a:cxn ang="0">
                  <a:pos x="12" y="24"/>
                </a:cxn>
                <a:cxn ang="0">
                  <a:pos x="64" y="56"/>
                </a:cxn>
                <a:cxn ang="0">
                  <a:pos x="56" y="60"/>
                </a:cxn>
                <a:cxn ang="0">
                  <a:pos x="44" y="52"/>
                </a:cxn>
                <a:cxn ang="0">
                  <a:pos x="52" y="44"/>
                </a:cxn>
                <a:cxn ang="0">
                  <a:pos x="56" y="44"/>
                </a:cxn>
                <a:cxn ang="0">
                  <a:pos x="60" y="44"/>
                </a:cxn>
                <a:cxn ang="0">
                  <a:pos x="56" y="44"/>
                </a:cxn>
                <a:cxn ang="0">
                  <a:pos x="68" y="44"/>
                </a:cxn>
                <a:cxn ang="0">
                  <a:pos x="36" y="48"/>
                </a:cxn>
                <a:cxn ang="0">
                  <a:pos x="32" y="52"/>
                </a:cxn>
                <a:cxn ang="0">
                  <a:pos x="40" y="56"/>
                </a:cxn>
                <a:cxn ang="0">
                  <a:pos x="28" y="64"/>
                </a:cxn>
                <a:cxn ang="0">
                  <a:pos x="24" y="52"/>
                </a:cxn>
                <a:cxn ang="0">
                  <a:pos x="100" y="56"/>
                </a:cxn>
                <a:cxn ang="0">
                  <a:pos x="36" y="68"/>
                </a:cxn>
                <a:cxn ang="0">
                  <a:pos x="44" y="64"/>
                </a:cxn>
                <a:cxn ang="0">
                  <a:pos x="28" y="68"/>
                </a:cxn>
                <a:cxn ang="0">
                  <a:pos x="28" y="64"/>
                </a:cxn>
                <a:cxn ang="0">
                  <a:pos x="36" y="68"/>
                </a:cxn>
                <a:cxn ang="0">
                  <a:pos x="68" y="68"/>
                </a:cxn>
                <a:cxn ang="0">
                  <a:pos x="32" y="68"/>
                </a:cxn>
                <a:cxn ang="0">
                  <a:pos x="56" y="68"/>
                </a:cxn>
                <a:cxn ang="0">
                  <a:pos x="56" y="72"/>
                </a:cxn>
                <a:cxn ang="0">
                  <a:pos x="56" y="68"/>
                </a:cxn>
                <a:cxn ang="0">
                  <a:pos x="52" y="68"/>
                </a:cxn>
                <a:cxn ang="0">
                  <a:pos x="44" y="72"/>
                </a:cxn>
              </a:cxnLst>
              <a:rect l="0" t="0" r="r" b="b"/>
              <a:pathLst>
                <a:path w="104" h="76">
                  <a:moveTo>
                    <a:pt x="4" y="24"/>
                  </a:moveTo>
                  <a:lnTo>
                    <a:pt x="8" y="24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28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4"/>
                  </a:lnTo>
                  <a:lnTo>
                    <a:pt x="4" y="24"/>
                  </a:lnTo>
                  <a:close/>
                  <a:moveTo>
                    <a:pt x="20" y="56"/>
                  </a:moveTo>
                  <a:lnTo>
                    <a:pt x="24" y="60"/>
                  </a:lnTo>
                  <a:lnTo>
                    <a:pt x="20" y="60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44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2" y="32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40"/>
                  </a:lnTo>
                  <a:lnTo>
                    <a:pt x="32" y="44"/>
                  </a:lnTo>
                  <a:lnTo>
                    <a:pt x="28" y="44"/>
                  </a:lnTo>
                  <a:lnTo>
                    <a:pt x="24" y="44"/>
                  </a:lnTo>
                  <a:lnTo>
                    <a:pt x="28" y="44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0" y="56"/>
                  </a:lnTo>
                  <a:close/>
                  <a:moveTo>
                    <a:pt x="44" y="12"/>
                  </a:moveTo>
                  <a:lnTo>
                    <a:pt x="40" y="12"/>
                  </a:lnTo>
                  <a:lnTo>
                    <a:pt x="44" y="12"/>
                  </a:lnTo>
                  <a:close/>
                  <a:moveTo>
                    <a:pt x="8" y="24"/>
                  </a:moveTo>
                  <a:lnTo>
                    <a:pt x="4" y="24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8" y="24"/>
                  </a:lnTo>
                  <a:close/>
                  <a:moveTo>
                    <a:pt x="64" y="52"/>
                  </a:moveTo>
                  <a:lnTo>
                    <a:pt x="60" y="52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0" y="60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56" y="60"/>
                  </a:lnTo>
                  <a:lnTo>
                    <a:pt x="52" y="60"/>
                  </a:lnTo>
                  <a:lnTo>
                    <a:pt x="48" y="60"/>
                  </a:lnTo>
                  <a:lnTo>
                    <a:pt x="44" y="56"/>
                  </a:lnTo>
                  <a:lnTo>
                    <a:pt x="48" y="56"/>
                  </a:lnTo>
                  <a:lnTo>
                    <a:pt x="44" y="52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4" y="48"/>
                  </a:lnTo>
                  <a:lnTo>
                    <a:pt x="48" y="48"/>
                  </a:lnTo>
                  <a:lnTo>
                    <a:pt x="52" y="44"/>
                  </a:lnTo>
                  <a:lnTo>
                    <a:pt x="48" y="44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52" y="44"/>
                  </a:lnTo>
                  <a:lnTo>
                    <a:pt x="56" y="44"/>
                  </a:lnTo>
                  <a:lnTo>
                    <a:pt x="52" y="44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60" y="48"/>
                  </a:lnTo>
                  <a:lnTo>
                    <a:pt x="60" y="44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60" y="40"/>
                  </a:lnTo>
                  <a:lnTo>
                    <a:pt x="64" y="40"/>
                  </a:lnTo>
                  <a:lnTo>
                    <a:pt x="68" y="40"/>
                  </a:lnTo>
                  <a:lnTo>
                    <a:pt x="68" y="44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4" y="52"/>
                  </a:lnTo>
                  <a:close/>
                  <a:moveTo>
                    <a:pt x="36" y="44"/>
                  </a:moveTo>
                  <a:lnTo>
                    <a:pt x="36" y="48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6" y="44"/>
                  </a:lnTo>
                  <a:close/>
                  <a:moveTo>
                    <a:pt x="28" y="52"/>
                  </a:moveTo>
                  <a:lnTo>
                    <a:pt x="32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32" y="64"/>
                  </a:lnTo>
                  <a:lnTo>
                    <a:pt x="28" y="64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8" y="56"/>
                  </a:lnTo>
                  <a:lnTo>
                    <a:pt x="24" y="56"/>
                  </a:lnTo>
                  <a:lnTo>
                    <a:pt x="24" y="52"/>
                  </a:lnTo>
                  <a:lnTo>
                    <a:pt x="28" y="52"/>
                  </a:lnTo>
                  <a:close/>
                  <a:moveTo>
                    <a:pt x="104" y="64"/>
                  </a:moveTo>
                  <a:lnTo>
                    <a:pt x="100" y="64"/>
                  </a:lnTo>
                  <a:lnTo>
                    <a:pt x="100" y="60"/>
                  </a:lnTo>
                  <a:lnTo>
                    <a:pt x="100" y="56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4" y="64"/>
                  </a:lnTo>
                  <a:close/>
                  <a:moveTo>
                    <a:pt x="40" y="72"/>
                  </a:moveTo>
                  <a:lnTo>
                    <a:pt x="36" y="68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72"/>
                  </a:lnTo>
                  <a:close/>
                  <a:moveTo>
                    <a:pt x="28" y="64"/>
                  </a:moveTo>
                  <a:lnTo>
                    <a:pt x="28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8" y="64"/>
                  </a:lnTo>
                  <a:close/>
                  <a:moveTo>
                    <a:pt x="36" y="68"/>
                  </a:moveTo>
                  <a:lnTo>
                    <a:pt x="36" y="64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36" y="68"/>
                  </a:lnTo>
                  <a:close/>
                  <a:moveTo>
                    <a:pt x="60" y="68"/>
                  </a:moveTo>
                  <a:lnTo>
                    <a:pt x="60" y="64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4" y="68"/>
                  </a:lnTo>
                  <a:lnTo>
                    <a:pt x="60" y="68"/>
                  </a:lnTo>
                  <a:close/>
                  <a:moveTo>
                    <a:pt x="32" y="68"/>
                  </a:moveTo>
                  <a:lnTo>
                    <a:pt x="32" y="64"/>
                  </a:lnTo>
                  <a:lnTo>
                    <a:pt x="32" y="68"/>
                  </a:lnTo>
                  <a:lnTo>
                    <a:pt x="36" y="68"/>
                  </a:lnTo>
                  <a:lnTo>
                    <a:pt x="32" y="68"/>
                  </a:lnTo>
                  <a:close/>
                  <a:moveTo>
                    <a:pt x="56" y="68"/>
                  </a:moveTo>
                  <a:lnTo>
                    <a:pt x="60" y="68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56" y="68"/>
                  </a:lnTo>
                  <a:close/>
                  <a:moveTo>
                    <a:pt x="44" y="68"/>
                  </a:moveTo>
                  <a:lnTo>
                    <a:pt x="44" y="64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6" y="68"/>
                  </a:lnTo>
                  <a:lnTo>
                    <a:pt x="56" y="72"/>
                  </a:lnTo>
                  <a:lnTo>
                    <a:pt x="52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4" y="68"/>
                  </a:lnTo>
                  <a:close/>
                </a:path>
              </a:pathLst>
            </a:custGeom>
            <a:solidFill>
              <a:schemeClr val="accent1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0" name="Freeform 87"/>
            <p:cNvSpPr>
              <a:spLocks noEditPoints="1"/>
            </p:cNvSpPr>
            <p:nvPr>
              <p:custDataLst>
                <p:tags r:id="rId282"/>
              </p:custDataLst>
            </p:nvPr>
          </p:nvSpPr>
          <p:spPr bwMode="gray">
            <a:xfrm>
              <a:off x="4866955" y="2810346"/>
              <a:ext cx="140891" cy="77119"/>
            </a:xfrm>
            <a:custGeom>
              <a:avLst/>
              <a:gdLst/>
              <a:ahLst/>
              <a:cxnLst>
                <a:cxn ang="0">
                  <a:pos x="95" y="12"/>
                </a:cxn>
                <a:cxn ang="0">
                  <a:pos x="92" y="12"/>
                </a:cxn>
                <a:cxn ang="0">
                  <a:pos x="88" y="20"/>
                </a:cxn>
                <a:cxn ang="0">
                  <a:pos x="84" y="24"/>
                </a:cxn>
                <a:cxn ang="0">
                  <a:pos x="88" y="32"/>
                </a:cxn>
                <a:cxn ang="0">
                  <a:pos x="88" y="40"/>
                </a:cxn>
                <a:cxn ang="0">
                  <a:pos x="92" y="44"/>
                </a:cxn>
                <a:cxn ang="0">
                  <a:pos x="88" y="48"/>
                </a:cxn>
                <a:cxn ang="0">
                  <a:pos x="80" y="52"/>
                </a:cxn>
                <a:cxn ang="0">
                  <a:pos x="72" y="52"/>
                </a:cxn>
                <a:cxn ang="0">
                  <a:pos x="64" y="48"/>
                </a:cxn>
                <a:cxn ang="0">
                  <a:pos x="56" y="40"/>
                </a:cxn>
                <a:cxn ang="0">
                  <a:pos x="52" y="40"/>
                </a:cxn>
                <a:cxn ang="0">
                  <a:pos x="48" y="40"/>
                </a:cxn>
                <a:cxn ang="0">
                  <a:pos x="36" y="44"/>
                </a:cxn>
                <a:cxn ang="0">
                  <a:pos x="40" y="40"/>
                </a:cxn>
                <a:cxn ang="0">
                  <a:pos x="40" y="36"/>
                </a:cxn>
                <a:cxn ang="0">
                  <a:pos x="36" y="32"/>
                </a:cxn>
                <a:cxn ang="0">
                  <a:pos x="32" y="36"/>
                </a:cxn>
                <a:cxn ang="0">
                  <a:pos x="28" y="32"/>
                </a:cxn>
                <a:cxn ang="0">
                  <a:pos x="28" y="24"/>
                </a:cxn>
                <a:cxn ang="0">
                  <a:pos x="24" y="20"/>
                </a:cxn>
                <a:cxn ang="0">
                  <a:pos x="28" y="16"/>
                </a:cxn>
                <a:cxn ang="0">
                  <a:pos x="24" y="16"/>
                </a:cxn>
                <a:cxn ang="0">
                  <a:pos x="28" y="12"/>
                </a:cxn>
                <a:cxn ang="0">
                  <a:pos x="32" y="12"/>
                </a:cxn>
                <a:cxn ang="0">
                  <a:pos x="36" y="8"/>
                </a:cxn>
                <a:cxn ang="0">
                  <a:pos x="40" y="8"/>
                </a:cxn>
                <a:cxn ang="0">
                  <a:pos x="48" y="4"/>
                </a:cxn>
                <a:cxn ang="0">
                  <a:pos x="52" y="8"/>
                </a:cxn>
                <a:cxn ang="0">
                  <a:pos x="60" y="4"/>
                </a:cxn>
                <a:cxn ang="0">
                  <a:pos x="64" y="4"/>
                </a:cxn>
                <a:cxn ang="0">
                  <a:pos x="72" y="4"/>
                </a:cxn>
                <a:cxn ang="0">
                  <a:pos x="76" y="8"/>
                </a:cxn>
                <a:cxn ang="0">
                  <a:pos x="80" y="8"/>
                </a:cxn>
                <a:cxn ang="0">
                  <a:pos x="92" y="8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16" y="20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20" y="16"/>
                </a:cxn>
                <a:cxn ang="0">
                  <a:pos x="24" y="28"/>
                </a:cxn>
                <a:cxn ang="0">
                  <a:pos x="20" y="28"/>
                </a:cxn>
                <a:cxn ang="0">
                  <a:pos x="20" y="24"/>
                </a:cxn>
                <a:cxn ang="0">
                  <a:pos x="4" y="40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12" y="28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8" y="36"/>
                </a:cxn>
                <a:cxn ang="0">
                  <a:pos x="4" y="44"/>
                </a:cxn>
              </a:cxnLst>
              <a:rect l="0" t="0" r="r" b="b"/>
              <a:pathLst>
                <a:path w="95" h="52">
                  <a:moveTo>
                    <a:pt x="92" y="8"/>
                  </a:moveTo>
                  <a:lnTo>
                    <a:pt x="92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88" y="44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4" y="48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4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40" y="44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close/>
                  <a:moveTo>
                    <a:pt x="12" y="24"/>
                  </a:move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close/>
                  <a:moveTo>
                    <a:pt x="20" y="16"/>
                  </a:move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close/>
                  <a:moveTo>
                    <a:pt x="20" y="24"/>
                  </a:move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close/>
                  <a:moveTo>
                    <a:pt x="4" y="44"/>
                  </a:moveTo>
                  <a:lnTo>
                    <a:pt x="4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1" name="Freeform 88"/>
            <p:cNvSpPr>
              <a:spLocks noEditPoints="1"/>
            </p:cNvSpPr>
            <p:nvPr>
              <p:custDataLst>
                <p:tags r:id="rId283"/>
              </p:custDataLst>
            </p:nvPr>
          </p:nvSpPr>
          <p:spPr bwMode="gray">
            <a:xfrm>
              <a:off x="4209958" y="2716912"/>
              <a:ext cx="23729" cy="34110"/>
            </a:xfrm>
            <a:custGeom>
              <a:avLst/>
              <a:gdLst/>
              <a:ahLst/>
              <a:cxnLst>
                <a:cxn ang="0">
                  <a:pos x="12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5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12" y="23"/>
                </a:cxn>
                <a:cxn ang="0">
                  <a:pos x="8" y="19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12" y="19"/>
                </a:cxn>
                <a:cxn ang="0">
                  <a:pos x="12" y="23"/>
                </a:cxn>
                <a:cxn ang="0">
                  <a:pos x="12" y="23"/>
                </a:cxn>
              </a:cxnLst>
              <a:rect l="0" t="0" r="r" b="b"/>
              <a:pathLst>
                <a:path w="16" h="23">
                  <a:moveTo>
                    <a:pt x="12" y="15"/>
                  </a:moveTo>
                  <a:lnTo>
                    <a:pt x="12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5"/>
                  </a:lnTo>
                  <a:close/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2" y="4"/>
                  </a:lnTo>
                  <a:close/>
                  <a:moveTo>
                    <a:pt x="12" y="8"/>
                  </a:moveTo>
                  <a:lnTo>
                    <a:pt x="12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close/>
                  <a:moveTo>
                    <a:pt x="12" y="12"/>
                  </a:move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12"/>
                  </a:lnTo>
                  <a:close/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close/>
                  <a:moveTo>
                    <a:pt x="12" y="23"/>
                  </a:moveTo>
                  <a:lnTo>
                    <a:pt x="12" y="23"/>
                  </a:lnTo>
                  <a:lnTo>
                    <a:pt x="12" y="23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9"/>
                  </a:lnTo>
                  <a:lnTo>
                    <a:pt x="12" y="19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2" name="Freeform 89"/>
            <p:cNvSpPr>
              <a:spLocks noEditPoints="1"/>
            </p:cNvSpPr>
            <p:nvPr>
              <p:custDataLst>
                <p:tags r:id="rId284"/>
              </p:custDataLst>
            </p:nvPr>
          </p:nvSpPr>
          <p:spPr bwMode="gray">
            <a:xfrm>
              <a:off x="4813565" y="2414367"/>
              <a:ext cx="271400" cy="395978"/>
            </a:xfrm>
            <a:custGeom>
              <a:avLst/>
              <a:gdLst/>
              <a:ahLst/>
              <a:cxnLst>
                <a:cxn ang="0">
                  <a:pos x="44" y="255"/>
                </a:cxn>
                <a:cxn ang="0">
                  <a:pos x="36" y="251"/>
                </a:cxn>
                <a:cxn ang="0">
                  <a:pos x="28" y="235"/>
                </a:cxn>
                <a:cxn ang="0">
                  <a:pos x="32" y="223"/>
                </a:cxn>
                <a:cxn ang="0">
                  <a:pos x="28" y="208"/>
                </a:cxn>
                <a:cxn ang="0">
                  <a:pos x="28" y="192"/>
                </a:cxn>
                <a:cxn ang="0">
                  <a:pos x="32" y="184"/>
                </a:cxn>
                <a:cxn ang="0">
                  <a:pos x="40" y="176"/>
                </a:cxn>
                <a:cxn ang="0">
                  <a:pos x="52" y="168"/>
                </a:cxn>
                <a:cxn ang="0">
                  <a:pos x="68" y="156"/>
                </a:cxn>
                <a:cxn ang="0">
                  <a:pos x="80" y="140"/>
                </a:cxn>
                <a:cxn ang="0">
                  <a:pos x="88" y="132"/>
                </a:cxn>
                <a:cxn ang="0">
                  <a:pos x="84" y="120"/>
                </a:cxn>
                <a:cxn ang="0">
                  <a:pos x="72" y="116"/>
                </a:cxn>
                <a:cxn ang="0">
                  <a:pos x="68" y="96"/>
                </a:cxn>
                <a:cxn ang="0">
                  <a:pos x="64" y="72"/>
                </a:cxn>
                <a:cxn ang="0">
                  <a:pos x="60" y="56"/>
                </a:cxn>
                <a:cxn ang="0">
                  <a:pos x="32" y="44"/>
                </a:cxn>
                <a:cxn ang="0">
                  <a:pos x="16" y="28"/>
                </a:cxn>
                <a:cxn ang="0">
                  <a:pos x="28" y="24"/>
                </a:cxn>
                <a:cxn ang="0">
                  <a:pos x="44" y="40"/>
                </a:cxn>
                <a:cxn ang="0">
                  <a:pos x="64" y="36"/>
                </a:cxn>
                <a:cxn ang="0">
                  <a:pos x="84" y="44"/>
                </a:cxn>
                <a:cxn ang="0">
                  <a:pos x="92" y="36"/>
                </a:cxn>
                <a:cxn ang="0">
                  <a:pos x="96" y="16"/>
                </a:cxn>
                <a:cxn ang="0">
                  <a:pos x="104" y="4"/>
                </a:cxn>
                <a:cxn ang="0">
                  <a:pos x="124" y="0"/>
                </a:cxn>
                <a:cxn ang="0">
                  <a:pos x="139" y="12"/>
                </a:cxn>
                <a:cxn ang="0">
                  <a:pos x="143" y="24"/>
                </a:cxn>
                <a:cxn ang="0">
                  <a:pos x="135" y="32"/>
                </a:cxn>
                <a:cxn ang="0">
                  <a:pos x="139" y="52"/>
                </a:cxn>
                <a:cxn ang="0">
                  <a:pos x="159" y="68"/>
                </a:cxn>
                <a:cxn ang="0">
                  <a:pos x="143" y="88"/>
                </a:cxn>
                <a:cxn ang="0">
                  <a:pos x="155" y="108"/>
                </a:cxn>
                <a:cxn ang="0">
                  <a:pos x="155" y="124"/>
                </a:cxn>
                <a:cxn ang="0">
                  <a:pos x="151" y="136"/>
                </a:cxn>
                <a:cxn ang="0">
                  <a:pos x="159" y="148"/>
                </a:cxn>
                <a:cxn ang="0">
                  <a:pos x="167" y="164"/>
                </a:cxn>
                <a:cxn ang="0">
                  <a:pos x="171" y="176"/>
                </a:cxn>
                <a:cxn ang="0">
                  <a:pos x="179" y="192"/>
                </a:cxn>
                <a:cxn ang="0">
                  <a:pos x="167" y="208"/>
                </a:cxn>
                <a:cxn ang="0">
                  <a:pos x="151" y="227"/>
                </a:cxn>
                <a:cxn ang="0">
                  <a:pos x="135" y="239"/>
                </a:cxn>
                <a:cxn ang="0">
                  <a:pos x="120" y="251"/>
                </a:cxn>
                <a:cxn ang="0">
                  <a:pos x="108" y="247"/>
                </a:cxn>
                <a:cxn ang="0">
                  <a:pos x="104" y="251"/>
                </a:cxn>
                <a:cxn ang="0">
                  <a:pos x="92" y="255"/>
                </a:cxn>
                <a:cxn ang="0">
                  <a:pos x="84" y="255"/>
                </a:cxn>
                <a:cxn ang="0">
                  <a:pos x="72" y="259"/>
                </a:cxn>
                <a:cxn ang="0">
                  <a:pos x="56" y="263"/>
                </a:cxn>
                <a:cxn ang="0">
                  <a:pos x="56" y="263"/>
                </a:cxn>
                <a:cxn ang="0">
                  <a:pos x="80" y="136"/>
                </a:cxn>
                <a:cxn ang="0">
                  <a:pos x="28" y="184"/>
                </a:cxn>
                <a:cxn ang="0">
                  <a:pos x="4" y="259"/>
                </a:cxn>
                <a:cxn ang="0">
                  <a:pos x="4" y="251"/>
                </a:cxn>
                <a:cxn ang="0">
                  <a:pos x="44" y="255"/>
                </a:cxn>
                <a:cxn ang="0">
                  <a:pos x="48" y="263"/>
                </a:cxn>
                <a:cxn ang="0">
                  <a:pos x="52" y="259"/>
                </a:cxn>
                <a:cxn ang="0">
                  <a:pos x="36" y="255"/>
                </a:cxn>
                <a:cxn ang="0">
                  <a:pos x="52" y="263"/>
                </a:cxn>
              </a:cxnLst>
              <a:rect l="0" t="0" r="r" b="b"/>
              <a:pathLst>
                <a:path w="183" h="267">
                  <a:moveTo>
                    <a:pt x="52" y="259"/>
                  </a:moveTo>
                  <a:lnTo>
                    <a:pt x="52" y="255"/>
                  </a:lnTo>
                  <a:lnTo>
                    <a:pt x="56" y="251"/>
                  </a:lnTo>
                  <a:lnTo>
                    <a:pt x="52" y="255"/>
                  </a:lnTo>
                  <a:lnTo>
                    <a:pt x="48" y="255"/>
                  </a:lnTo>
                  <a:lnTo>
                    <a:pt x="44" y="255"/>
                  </a:lnTo>
                  <a:lnTo>
                    <a:pt x="48" y="255"/>
                  </a:lnTo>
                  <a:lnTo>
                    <a:pt x="48" y="251"/>
                  </a:lnTo>
                  <a:lnTo>
                    <a:pt x="44" y="251"/>
                  </a:lnTo>
                  <a:lnTo>
                    <a:pt x="40" y="251"/>
                  </a:lnTo>
                  <a:lnTo>
                    <a:pt x="36" y="247"/>
                  </a:lnTo>
                  <a:lnTo>
                    <a:pt x="36" y="251"/>
                  </a:lnTo>
                  <a:lnTo>
                    <a:pt x="36" y="247"/>
                  </a:lnTo>
                  <a:lnTo>
                    <a:pt x="32" y="247"/>
                  </a:lnTo>
                  <a:lnTo>
                    <a:pt x="28" y="247"/>
                  </a:lnTo>
                  <a:lnTo>
                    <a:pt x="28" y="243"/>
                  </a:lnTo>
                  <a:lnTo>
                    <a:pt x="28" y="239"/>
                  </a:lnTo>
                  <a:lnTo>
                    <a:pt x="28" y="235"/>
                  </a:lnTo>
                  <a:lnTo>
                    <a:pt x="28" y="231"/>
                  </a:lnTo>
                  <a:lnTo>
                    <a:pt x="32" y="231"/>
                  </a:lnTo>
                  <a:lnTo>
                    <a:pt x="32" y="227"/>
                  </a:lnTo>
                  <a:lnTo>
                    <a:pt x="32" y="223"/>
                  </a:lnTo>
                  <a:lnTo>
                    <a:pt x="28" y="223"/>
                  </a:lnTo>
                  <a:lnTo>
                    <a:pt x="32" y="223"/>
                  </a:lnTo>
                  <a:lnTo>
                    <a:pt x="32" y="219"/>
                  </a:lnTo>
                  <a:lnTo>
                    <a:pt x="28" y="219"/>
                  </a:lnTo>
                  <a:lnTo>
                    <a:pt x="32" y="216"/>
                  </a:lnTo>
                  <a:lnTo>
                    <a:pt x="28" y="216"/>
                  </a:lnTo>
                  <a:lnTo>
                    <a:pt x="28" y="212"/>
                  </a:lnTo>
                  <a:lnTo>
                    <a:pt x="28" y="208"/>
                  </a:lnTo>
                  <a:lnTo>
                    <a:pt x="28" y="204"/>
                  </a:lnTo>
                  <a:lnTo>
                    <a:pt x="24" y="204"/>
                  </a:lnTo>
                  <a:lnTo>
                    <a:pt x="24" y="200"/>
                  </a:lnTo>
                  <a:lnTo>
                    <a:pt x="24" y="196"/>
                  </a:lnTo>
                  <a:lnTo>
                    <a:pt x="24" y="192"/>
                  </a:lnTo>
                  <a:lnTo>
                    <a:pt x="28" y="192"/>
                  </a:lnTo>
                  <a:lnTo>
                    <a:pt x="28" y="188"/>
                  </a:lnTo>
                  <a:lnTo>
                    <a:pt x="32" y="184"/>
                  </a:lnTo>
                  <a:lnTo>
                    <a:pt x="32" y="188"/>
                  </a:lnTo>
                  <a:lnTo>
                    <a:pt x="32" y="184"/>
                  </a:lnTo>
                  <a:lnTo>
                    <a:pt x="32" y="180"/>
                  </a:lnTo>
                  <a:lnTo>
                    <a:pt x="32" y="184"/>
                  </a:lnTo>
                  <a:lnTo>
                    <a:pt x="36" y="180"/>
                  </a:lnTo>
                  <a:lnTo>
                    <a:pt x="36" y="184"/>
                  </a:lnTo>
                  <a:lnTo>
                    <a:pt x="40" y="180"/>
                  </a:lnTo>
                  <a:lnTo>
                    <a:pt x="44" y="180"/>
                  </a:lnTo>
                  <a:lnTo>
                    <a:pt x="44" y="176"/>
                  </a:lnTo>
                  <a:lnTo>
                    <a:pt x="40" y="176"/>
                  </a:lnTo>
                  <a:lnTo>
                    <a:pt x="44" y="176"/>
                  </a:lnTo>
                  <a:lnTo>
                    <a:pt x="44" y="172"/>
                  </a:lnTo>
                  <a:lnTo>
                    <a:pt x="48" y="168"/>
                  </a:lnTo>
                  <a:lnTo>
                    <a:pt x="48" y="172"/>
                  </a:lnTo>
                  <a:lnTo>
                    <a:pt x="52" y="172"/>
                  </a:lnTo>
                  <a:lnTo>
                    <a:pt x="52" y="168"/>
                  </a:lnTo>
                  <a:lnTo>
                    <a:pt x="56" y="164"/>
                  </a:lnTo>
                  <a:lnTo>
                    <a:pt x="60" y="164"/>
                  </a:lnTo>
                  <a:lnTo>
                    <a:pt x="60" y="160"/>
                  </a:lnTo>
                  <a:lnTo>
                    <a:pt x="64" y="160"/>
                  </a:lnTo>
                  <a:lnTo>
                    <a:pt x="64" y="156"/>
                  </a:lnTo>
                  <a:lnTo>
                    <a:pt x="68" y="156"/>
                  </a:lnTo>
                  <a:lnTo>
                    <a:pt x="68" y="152"/>
                  </a:lnTo>
                  <a:lnTo>
                    <a:pt x="72" y="152"/>
                  </a:lnTo>
                  <a:lnTo>
                    <a:pt x="72" y="148"/>
                  </a:lnTo>
                  <a:lnTo>
                    <a:pt x="76" y="144"/>
                  </a:lnTo>
                  <a:lnTo>
                    <a:pt x="76" y="140"/>
                  </a:lnTo>
                  <a:lnTo>
                    <a:pt x="80" y="140"/>
                  </a:lnTo>
                  <a:lnTo>
                    <a:pt x="84" y="140"/>
                  </a:lnTo>
                  <a:lnTo>
                    <a:pt x="88" y="140"/>
                  </a:lnTo>
                  <a:lnTo>
                    <a:pt x="88" y="136"/>
                  </a:lnTo>
                  <a:lnTo>
                    <a:pt x="92" y="136"/>
                  </a:lnTo>
                  <a:lnTo>
                    <a:pt x="88" y="136"/>
                  </a:lnTo>
                  <a:lnTo>
                    <a:pt x="88" y="132"/>
                  </a:lnTo>
                  <a:lnTo>
                    <a:pt x="88" y="128"/>
                  </a:lnTo>
                  <a:lnTo>
                    <a:pt x="88" y="124"/>
                  </a:lnTo>
                  <a:lnTo>
                    <a:pt x="88" y="120"/>
                  </a:lnTo>
                  <a:lnTo>
                    <a:pt x="84" y="120"/>
                  </a:lnTo>
                  <a:lnTo>
                    <a:pt x="84" y="124"/>
                  </a:lnTo>
                  <a:lnTo>
                    <a:pt x="84" y="120"/>
                  </a:lnTo>
                  <a:lnTo>
                    <a:pt x="80" y="120"/>
                  </a:lnTo>
                  <a:lnTo>
                    <a:pt x="76" y="116"/>
                  </a:lnTo>
                  <a:lnTo>
                    <a:pt x="80" y="112"/>
                  </a:lnTo>
                  <a:lnTo>
                    <a:pt x="76" y="112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68" y="108"/>
                  </a:lnTo>
                  <a:lnTo>
                    <a:pt x="64" y="108"/>
                  </a:lnTo>
                  <a:lnTo>
                    <a:pt x="64" y="104"/>
                  </a:lnTo>
                  <a:lnTo>
                    <a:pt x="64" y="100"/>
                  </a:lnTo>
                  <a:lnTo>
                    <a:pt x="64" y="96"/>
                  </a:lnTo>
                  <a:lnTo>
                    <a:pt x="68" y="96"/>
                  </a:lnTo>
                  <a:lnTo>
                    <a:pt x="68" y="92"/>
                  </a:lnTo>
                  <a:lnTo>
                    <a:pt x="68" y="88"/>
                  </a:lnTo>
                  <a:lnTo>
                    <a:pt x="64" y="84"/>
                  </a:lnTo>
                  <a:lnTo>
                    <a:pt x="60" y="80"/>
                  </a:lnTo>
                  <a:lnTo>
                    <a:pt x="64" y="76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64" y="60"/>
                  </a:lnTo>
                  <a:lnTo>
                    <a:pt x="60" y="56"/>
                  </a:lnTo>
                  <a:lnTo>
                    <a:pt x="52" y="48"/>
                  </a:lnTo>
                  <a:lnTo>
                    <a:pt x="48" y="48"/>
                  </a:lnTo>
                  <a:lnTo>
                    <a:pt x="44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0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8" y="36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60" y="40"/>
                  </a:lnTo>
                  <a:lnTo>
                    <a:pt x="64" y="40"/>
                  </a:lnTo>
                  <a:lnTo>
                    <a:pt x="64" y="36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6" y="40"/>
                  </a:lnTo>
                  <a:lnTo>
                    <a:pt x="80" y="40"/>
                  </a:lnTo>
                  <a:lnTo>
                    <a:pt x="84" y="44"/>
                  </a:lnTo>
                  <a:lnTo>
                    <a:pt x="84" y="40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96" y="28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0" y="12"/>
                  </a:lnTo>
                  <a:lnTo>
                    <a:pt x="96" y="12"/>
                  </a:lnTo>
                  <a:lnTo>
                    <a:pt x="100" y="12"/>
                  </a:lnTo>
                  <a:lnTo>
                    <a:pt x="104" y="8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6" y="8"/>
                  </a:lnTo>
                  <a:lnTo>
                    <a:pt x="116" y="4"/>
                  </a:lnTo>
                  <a:lnTo>
                    <a:pt x="120" y="4"/>
                  </a:lnTo>
                  <a:lnTo>
                    <a:pt x="124" y="0"/>
                  </a:lnTo>
                  <a:lnTo>
                    <a:pt x="128" y="0"/>
                  </a:lnTo>
                  <a:lnTo>
                    <a:pt x="128" y="4"/>
                  </a:lnTo>
                  <a:lnTo>
                    <a:pt x="131" y="4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12"/>
                  </a:lnTo>
                  <a:lnTo>
                    <a:pt x="143" y="12"/>
                  </a:lnTo>
                  <a:lnTo>
                    <a:pt x="147" y="12"/>
                  </a:lnTo>
                  <a:lnTo>
                    <a:pt x="147" y="16"/>
                  </a:lnTo>
                  <a:lnTo>
                    <a:pt x="147" y="20"/>
                  </a:lnTo>
                  <a:lnTo>
                    <a:pt x="143" y="20"/>
                  </a:lnTo>
                  <a:lnTo>
                    <a:pt x="143" y="24"/>
                  </a:lnTo>
                  <a:lnTo>
                    <a:pt x="139" y="24"/>
                  </a:lnTo>
                  <a:lnTo>
                    <a:pt x="139" y="28"/>
                  </a:lnTo>
                  <a:lnTo>
                    <a:pt x="143" y="28"/>
                  </a:lnTo>
                  <a:lnTo>
                    <a:pt x="143" y="32"/>
                  </a:lnTo>
                  <a:lnTo>
                    <a:pt x="139" y="32"/>
                  </a:lnTo>
                  <a:lnTo>
                    <a:pt x="135" y="32"/>
                  </a:lnTo>
                  <a:lnTo>
                    <a:pt x="135" y="36"/>
                  </a:lnTo>
                  <a:lnTo>
                    <a:pt x="139" y="36"/>
                  </a:lnTo>
                  <a:lnTo>
                    <a:pt x="139" y="40"/>
                  </a:lnTo>
                  <a:lnTo>
                    <a:pt x="135" y="44"/>
                  </a:lnTo>
                  <a:lnTo>
                    <a:pt x="135" y="48"/>
                  </a:lnTo>
                  <a:lnTo>
                    <a:pt x="139" y="52"/>
                  </a:lnTo>
                  <a:lnTo>
                    <a:pt x="147" y="56"/>
                  </a:lnTo>
                  <a:lnTo>
                    <a:pt x="151" y="56"/>
                  </a:lnTo>
                  <a:lnTo>
                    <a:pt x="151" y="60"/>
                  </a:lnTo>
                  <a:lnTo>
                    <a:pt x="155" y="64"/>
                  </a:lnTo>
                  <a:lnTo>
                    <a:pt x="159" y="64"/>
                  </a:lnTo>
                  <a:lnTo>
                    <a:pt x="159" y="68"/>
                  </a:lnTo>
                  <a:lnTo>
                    <a:pt x="159" y="72"/>
                  </a:lnTo>
                  <a:lnTo>
                    <a:pt x="155" y="72"/>
                  </a:lnTo>
                  <a:lnTo>
                    <a:pt x="151" y="76"/>
                  </a:lnTo>
                  <a:lnTo>
                    <a:pt x="147" y="84"/>
                  </a:lnTo>
                  <a:lnTo>
                    <a:pt x="143" y="84"/>
                  </a:lnTo>
                  <a:lnTo>
                    <a:pt x="143" y="88"/>
                  </a:lnTo>
                  <a:lnTo>
                    <a:pt x="147" y="88"/>
                  </a:lnTo>
                  <a:lnTo>
                    <a:pt x="147" y="92"/>
                  </a:lnTo>
                  <a:lnTo>
                    <a:pt x="151" y="96"/>
                  </a:lnTo>
                  <a:lnTo>
                    <a:pt x="151" y="100"/>
                  </a:lnTo>
                  <a:lnTo>
                    <a:pt x="155" y="104"/>
                  </a:lnTo>
                  <a:lnTo>
                    <a:pt x="155" y="108"/>
                  </a:lnTo>
                  <a:lnTo>
                    <a:pt x="159" y="108"/>
                  </a:lnTo>
                  <a:lnTo>
                    <a:pt x="159" y="112"/>
                  </a:lnTo>
                  <a:lnTo>
                    <a:pt x="159" y="116"/>
                  </a:lnTo>
                  <a:lnTo>
                    <a:pt x="159" y="120"/>
                  </a:lnTo>
                  <a:lnTo>
                    <a:pt x="155" y="120"/>
                  </a:lnTo>
                  <a:lnTo>
                    <a:pt x="155" y="124"/>
                  </a:lnTo>
                  <a:lnTo>
                    <a:pt x="155" y="128"/>
                  </a:lnTo>
                  <a:lnTo>
                    <a:pt x="151" y="128"/>
                  </a:lnTo>
                  <a:lnTo>
                    <a:pt x="151" y="132"/>
                  </a:lnTo>
                  <a:lnTo>
                    <a:pt x="155" y="132"/>
                  </a:lnTo>
                  <a:lnTo>
                    <a:pt x="155" y="136"/>
                  </a:lnTo>
                  <a:lnTo>
                    <a:pt x="151" y="136"/>
                  </a:lnTo>
                  <a:lnTo>
                    <a:pt x="151" y="140"/>
                  </a:lnTo>
                  <a:lnTo>
                    <a:pt x="155" y="140"/>
                  </a:lnTo>
                  <a:lnTo>
                    <a:pt x="159" y="140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59" y="148"/>
                  </a:lnTo>
                  <a:lnTo>
                    <a:pt x="159" y="152"/>
                  </a:lnTo>
                  <a:lnTo>
                    <a:pt x="163" y="152"/>
                  </a:lnTo>
                  <a:lnTo>
                    <a:pt x="163" y="156"/>
                  </a:lnTo>
                  <a:lnTo>
                    <a:pt x="167" y="156"/>
                  </a:lnTo>
                  <a:lnTo>
                    <a:pt x="167" y="160"/>
                  </a:lnTo>
                  <a:lnTo>
                    <a:pt x="167" y="164"/>
                  </a:lnTo>
                  <a:lnTo>
                    <a:pt x="163" y="164"/>
                  </a:lnTo>
                  <a:lnTo>
                    <a:pt x="163" y="168"/>
                  </a:lnTo>
                  <a:lnTo>
                    <a:pt x="159" y="168"/>
                  </a:lnTo>
                  <a:lnTo>
                    <a:pt x="163" y="172"/>
                  </a:lnTo>
                  <a:lnTo>
                    <a:pt x="167" y="176"/>
                  </a:lnTo>
                  <a:lnTo>
                    <a:pt x="171" y="176"/>
                  </a:lnTo>
                  <a:lnTo>
                    <a:pt x="171" y="180"/>
                  </a:lnTo>
                  <a:lnTo>
                    <a:pt x="175" y="180"/>
                  </a:lnTo>
                  <a:lnTo>
                    <a:pt x="179" y="184"/>
                  </a:lnTo>
                  <a:lnTo>
                    <a:pt x="183" y="188"/>
                  </a:lnTo>
                  <a:lnTo>
                    <a:pt x="183" y="192"/>
                  </a:lnTo>
                  <a:lnTo>
                    <a:pt x="179" y="192"/>
                  </a:lnTo>
                  <a:lnTo>
                    <a:pt x="179" y="196"/>
                  </a:lnTo>
                  <a:lnTo>
                    <a:pt x="179" y="200"/>
                  </a:lnTo>
                  <a:lnTo>
                    <a:pt x="175" y="204"/>
                  </a:lnTo>
                  <a:lnTo>
                    <a:pt x="171" y="204"/>
                  </a:lnTo>
                  <a:lnTo>
                    <a:pt x="171" y="208"/>
                  </a:lnTo>
                  <a:lnTo>
                    <a:pt x="167" y="208"/>
                  </a:lnTo>
                  <a:lnTo>
                    <a:pt x="163" y="212"/>
                  </a:lnTo>
                  <a:lnTo>
                    <a:pt x="163" y="216"/>
                  </a:lnTo>
                  <a:lnTo>
                    <a:pt x="159" y="216"/>
                  </a:lnTo>
                  <a:lnTo>
                    <a:pt x="159" y="219"/>
                  </a:lnTo>
                  <a:lnTo>
                    <a:pt x="155" y="223"/>
                  </a:lnTo>
                  <a:lnTo>
                    <a:pt x="151" y="227"/>
                  </a:lnTo>
                  <a:lnTo>
                    <a:pt x="147" y="227"/>
                  </a:lnTo>
                  <a:lnTo>
                    <a:pt x="147" y="231"/>
                  </a:lnTo>
                  <a:lnTo>
                    <a:pt x="143" y="231"/>
                  </a:lnTo>
                  <a:lnTo>
                    <a:pt x="139" y="235"/>
                  </a:lnTo>
                  <a:lnTo>
                    <a:pt x="139" y="239"/>
                  </a:lnTo>
                  <a:lnTo>
                    <a:pt x="135" y="239"/>
                  </a:lnTo>
                  <a:lnTo>
                    <a:pt x="131" y="239"/>
                  </a:lnTo>
                  <a:lnTo>
                    <a:pt x="131" y="243"/>
                  </a:lnTo>
                  <a:lnTo>
                    <a:pt x="128" y="247"/>
                  </a:lnTo>
                  <a:lnTo>
                    <a:pt x="124" y="247"/>
                  </a:lnTo>
                  <a:lnTo>
                    <a:pt x="120" y="247"/>
                  </a:lnTo>
                  <a:lnTo>
                    <a:pt x="120" y="251"/>
                  </a:lnTo>
                  <a:lnTo>
                    <a:pt x="120" y="247"/>
                  </a:lnTo>
                  <a:lnTo>
                    <a:pt x="116" y="247"/>
                  </a:lnTo>
                  <a:lnTo>
                    <a:pt x="112" y="251"/>
                  </a:lnTo>
                  <a:lnTo>
                    <a:pt x="108" y="251"/>
                  </a:lnTo>
                  <a:lnTo>
                    <a:pt x="104" y="251"/>
                  </a:lnTo>
                  <a:lnTo>
                    <a:pt x="108" y="247"/>
                  </a:lnTo>
                  <a:lnTo>
                    <a:pt x="112" y="247"/>
                  </a:lnTo>
                  <a:lnTo>
                    <a:pt x="108" y="247"/>
                  </a:lnTo>
                  <a:lnTo>
                    <a:pt x="108" y="243"/>
                  </a:lnTo>
                  <a:lnTo>
                    <a:pt x="108" y="247"/>
                  </a:lnTo>
                  <a:lnTo>
                    <a:pt x="104" y="247"/>
                  </a:lnTo>
                  <a:lnTo>
                    <a:pt x="104" y="251"/>
                  </a:lnTo>
                  <a:lnTo>
                    <a:pt x="100" y="251"/>
                  </a:lnTo>
                  <a:lnTo>
                    <a:pt x="100" y="255"/>
                  </a:lnTo>
                  <a:lnTo>
                    <a:pt x="100" y="251"/>
                  </a:lnTo>
                  <a:lnTo>
                    <a:pt x="96" y="251"/>
                  </a:lnTo>
                  <a:lnTo>
                    <a:pt x="96" y="255"/>
                  </a:lnTo>
                  <a:lnTo>
                    <a:pt x="92" y="255"/>
                  </a:lnTo>
                  <a:lnTo>
                    <a:pt x="92" y="251"/>
                  </a:lnTo>
                  <a:lnTo>
                    <a:pt x="92" y="255"/>
                  </a:lnTo>
                  <a:lnTo>
                    <a:pt x="88" y="255"/>
                  </a:lnTo>
                  <a:lnTo>
                    <a:pt x="84" y="255"/>
                  </a:lnTo>
                  <a:lnTo>
                    <a:pt x="88" y="255"/>
                  </a:lnTo>
                  <a:lnTo>
                    <a:pt x="84" y="255"/>
                  </a:lnTo>
                  <a:lnTo>
                    <a:pt x="84" y="259"/>
                  </a:lnTo>
                  <a:lnTo>
                    <a:pt x="80" y="259"/>
                  </a:lnTo>
                  <a:lnTo>
                    <a:pt x="76" y="259"/>
                  </a:lnTo>
                  <a:lnTo>
                    <a:pt x="76" y="263"/>
                  </a:lnTo>
                  <a:lnTo>
                    <a:pt x="76" y="259"/>
                  </a:lnTo>
                  <a:lnTo>
                    <a:pt x="72" y="259"/>
                  </a:lnTo>
                  <a:lnTo>
                    <a:pt x="68" y="259"/>
                  </a:lnTo>
                  <a:lnTo>
                    <a:pt x="64" y="263"/>
                  </a:lnTo>
                  <a:lnTo>
                    <a:pt x="60" y="263"/>
                  </a:lnTo>
                  <a:lnTo>
                    <a:pt x="60" y="259"/>
                  </a:lnTo>
                  <a:lnTo>
                    <a:pt x="60" y="263"/>
                  </a:lnTo>
                  <a:lnTo>
                    <a:pt x="56" y="263"/>
                  </a:lnTo>
                  <a:lnTo>
                    <a:pt x="52" y="267"/>
                  </a:lnTo>
                  <a:lnTo>
                    <a:pt x="52" y="263"/>
                  </a:lnTo>
                  <a:lnTo>
                    <a:pt x="56" y="263"/>
                  </a:lnTo>
                  <a:lnTo>
                    <a:pt x="60" y="259"/>
                  </a:lnTo>
                  <a:lnTo>
                    <a:pt x="56" y="259"/>
                  </a:lnTo>
                  <a:lnTo>
                    <a:pt x="56" y="263"/>
                  </a:lnTo>
                  <a:lnTo>
                    <a:pt x="56" y="259"/>
                  </a:lnTo>
                  <a:lnTo>
                    <a:pt x="52" y="259"/>
                  </a:lnTo>
                  <a:close/>
                  <a:moveTo>
                    <a:pt x="84" y="136"/>
                  </a:moveTo>
                  <a:lnTo>
                    <a:pt x="80" y="136"/>
                  </a:lnTo>
                  <a:lnTo>
                    <a:pt x="76" y="136"/>
                  </a:lnTo>
                  <a:lnTo>
                    <a:pt x="80" y="136"/>
                  </a:lnTo>
                  <a:lnTo>
                    <a:pt x="84" y="136"/>
                  </a:lnTo>
                  <a:close/>
                  <a:moveTo>
                    <a:pt x="52" y="168"/>
                  </a:moveTo>
                  <a:lnTo>
                    <a:pt x="48" y="168"/>
                  </a:lnTo>
                  <a:lnTo>
                    <a:pt x="52" y="164"/>
                  </a:lnTo>
                  <a:lnTo>
                    <a:pt x="52" y="168"/>
                  </a:lnTo>
                  <a:close/>
                  <a:moveTo>
                    <a:pt x="28" y="184"/>
                  </a:moveTo>
                  <a:lnTo>
                    <a:pt x="24" y="184"/>
                  </a:lnTo>
                  <a:lnTo>
                    <a:pt x="24" y="180"/>
                  </a:lnTo>
                  <a:lnTo>
                    <a:pt x="28" y="180"/>
                  </a:lnTo>
                  <a:lnTo>
                    <a:pt x="28" y="184"/>
                  </a:lnTo>
                  <a:close/>
                  <a:moveTo>
                    <a:pt x="8" y="259"/>
                  </a:moveTo>
                  <a:lnTo>
                    <a:pt x="4" y="259"/>
                  </a:lnTo>
                  <a:lnTo>
                    <a:pt x="4" y="255"/>
                  </a:lnTo>
                  <a:lnTo>
                    <a:pt x="8" y="255"/>
                  </a:lnTo>
                  <a:lnTo>
                    <a:pt x="8" y="251"/>
                  </a:lnTo>
                  <a:lnTo>
                    <a:pt x="4" y="251"/>
                  </a:lnTo>
                  <a:lnTo>
                    <a:pt x="4" y="255"/>
                  </a:lnTo>
                  <a:lnTo>
                    <a:pt x="4" y="251"/>
                  </a:lnTo>
                  <a:lnTo>
                    <a:pt x="8" y="251"/>
                  </a:lnTo>
                  <a:lnTo>
                    <a:pt x="12" y="255"/>
                  </a:lnTo>
                  <a:lnTo>
                    <a:pt x="8" y="255"/>
                  </a:lnTo>
                  <a:lnTo>
                    <a:pt x="8" y="259"/>
                  </a:lnTo>
                  <a:close/>
                  <a:moveTo>
                    <a:pt x="40" y="255"/>
                  </a:moveTo>
                  <a:lnTo>
                    <a:pt x="44" y="255"/>
                  </a:lnTo>
                  <a:lnTo>
                    <a:pt x="40" y="255"/>
                  </a:lnTo>
                  <a:close/>
                  <a:moveTo>
                    <a:pt x="0" y="259"/>
                  </a:moveTo>
                  <a:lnTo>
                    <a:pt x="0" y="255"/>
                  </a:lnTo>
                  <a:lnTo>
                    <a:pt x="4" y="255"/>
                  </a:lnTo>
                  <a:lnTo>
                    <a:pt x="0" y="259"/>
                  </a:lnTo>
                  <a:close/>
                  <a:moveTo>
                    <a:pt x="48" y="263"/>
                  </a:moveTo>
                  <a:lnTo>
                    <a:pt x="48" y="259"/>
                  </a:lnTo>
                  <a:lnTo>
                    <a:pt x="44" y="259"/>
                  </a:lnTo>
                  <a:lnTo>
                    <a:pt x="44" y="255"/>
                  </a:lnTo>
                  <a:lnTo>
                    <a:pt x="48" y="255"/>
                  </a:lnTo>
                  <a:lnTo>
                    <a:pt x="52" y="255"/>
                  </a:lnTo>
                  <a:lnTo>
                    <a:pt x="52" y="259"/>
                  </a:lnTo>
                  <a:lnTo>
                    <a:pt x="48" y="259"/>
                  </a:lnTo>
                  <a:lnTo>
                    <a:pt x="48" y="263"/>
                  </a:lnTo>
                  <a:close/>
                  <a:moveTo>
                    <a:pt x="36" y="259"/>
                  </a:moveTo>
                  <a:lnTo>
                    <a:pt x="32" y="259"/>
                  </a:lnTo>
                  <a:lnTo>
                    <a:pt x="32" y="255"/>
                  </a:lnTo>
                  <a:lnTo>
                    <a:pt x="36" y="255"/>
                  </a:lnTo>
                  <a:lnTo>
                    <a:pt x="36" y="259"/>
                  </a:lnTo>
                  <a:close/>
                  <a:moveTo>
                    <a:pt x="8" y="259"/>
                  </a:moveTo>
                  <a:lnTo>
                    <a:pt x="12" y="259"/>
                  </a:lnTo>
                  <a:lnTo>
                    <a:pt x="12" y="263"/>
                  </a:lnTo>
                  <a:lnTo>
                    <a:pt x="8" y="259"/>
                  </a:lnTo>
                  <a:close/>
                  <a:moveTo>
                    <a:pt x="52" y="263"/>
                  </a:moveTo>
                  <a:lnTo>
                    <a:pt x="56" y="263"/>
                  </a:lnTo>
                  <a:lnTo>
                    <a:pt x="52" y="263"/>
                  </a:lnTo>
                  <a:close/>
                  <a:moveTo>
                    <a:pt x="60" y="263"/>
                  </a:moveTo>
                  <a:lnTo>
                    <a:pt x="64" y="263"/>
                  </a:lnTo>
                  <a:lnTo>
                    <a:pt x="60" y="26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3" name="Freeform 90"/>
            <p:cNvSpPr>
              <a:spLocks noEditPoints="1"/>
            </p:cNvSpPr>
            <p:nvPr>
              <p:custDataLst>
                <p:tags r:id="rId285"/>
              </p:custDataLst>
            </p:nvPr>
          </p:nvSpPr>
          <p:spPr bwMode="gray">
            <a:xfrm>
              <a:off x="4269280" y="3112891"/>
              <a:ext cx="318858" cy="306994"/>
            </a:xfrm>
            <a:custGeom>
              <a:avLst/>
              <a:gdLst/>
              <a:ahLst/>
              <a:cxnLst>
                <a:cxn ang="0">
                  <a:pos x="84" y="180"/>
                </a:cxn>
                <a:cxn ang="0">
                  <a:pos x="76" y="180"/>
                </a:cxn>
                <a:cxn ang="0">
                  <a:pos x="52" y="172"/>
                </a:cxn>
                <a:cxn ang="0">
                  <a:pos x="48" y="168"/>
                </a:cxn>
                <a:cxn ang="0">
                  <a:pos x="52" y="148"/>
                </a:cxn>
                <a:cxn ang="0">
                  <a:pos x="52" y="136"/>
                </a:cxn>
                <a:cxn ang="0">
                  <a:pos x="60" y="124"/>
                </a:cxn>
                <a:cxn ang="0">
                  <a:pos x="60" y="124"/>
                </a:cxn>
                <a:cxn ang="0">
                  <a:pos x="56" y="112"/>
                </a:cxn>
                <a:cxn ang="0">
                  <a:pos x="44" y="100"/>
                </a:cxn>
                <a:cxn ang="0">
                  <a:pos x="44" y="84"/>
                </a:cxn>
                <a:cxn ang="0">
                  <a:pos x="36" y="76"/>
                </a:cxn>
                <a:cxn ang="0">
                  <a:pos x="24" y="76"/>
                </a:cxn>
                <a:cxn ang="0">
                  <a:pos x="12" y="68"/>
                </a:cxn>
                <a:cxn ang="0">
                  <a:pos x="0" y="68"/>
                </a:cxn>
                <a:cxn ang="0">
                  <a:pos x="0" y="60"/>
                </a:cxn>
                <a:cxn ang="0">
                  <a:pos x="4" y="56"/>
                </a:cxn>
                <a:cxn ang="0">
                  <a:pos x="16" y="52"/>
                </a:cxn>
                <a:cxn ang="0">
                  <a:pos x="36" y="52"/>
                </a:cxn>
                <a:cxn ang="0">
                  <a:pos x="48" y="52"/>
                </a:cxn>
                <a:cxn ang="0">
                  <a:pos x="44" y="36"/>
                </a:cxn>
                <a:cxn ang="0">
                  <a:pos x="52" y="28"/>
                </a:cxn>
                <a:cxn ang="0">
                  <a:pos x="68" y="36"/>
                </a:cxn>
                <a:cxn ang="0">
                  <a:pos x="76" y="36"/>
                </a:cxn>
                <a:cxn ang="0">
                  <a:pos x="84" y="24"/>
                </a:cxn>
                <a:cxn ang="0">
                  <a:pos x="96" y="12"/>
                </a:cxn>
                <a:cxn ang="0">
                  <a:pos x="112" y="0"/>
                </a:cxn>
                <a:cxn ang="0">
                  <a:pos x="120" y="8"/>
                </a:cxn>
                <a:cxn ang="0">
                  <a:pos x="136" y="16"/>
                </a:cxn>
                <a:cxn ang="0">
                  <a:pos x="147" y="20"/>
                </a:cxn>
                <a:cxn ang="0">
                  <a:pos x="155" y="32"/>
                </a:cxn>
                <a:cxn ang="0">
                  <a:pos x="167" y="36"/>
                </a:cxn>
                <a:cxn ang="0">
                  <a:pos x="183" y="44"/>
                </a:cxn>
                <a:cxn ang="0">
                  <a:pos x="191" y="52"/>
                </a:cxn>
                <a:cxn ang="0">
                  <a:pos x="187" y="72"/>
                </a:cxn>
                <a:cxn ang="0">
                  <a:pos x="179" y="80"/>
                </a:cxn>
                <a:cxn ang="0">
                  <a:pos x="171" y="92"/>
                </a:cxn>
                <a:cxn ang="0">
                  <a:pos x="163" y="104"/>
                </a:cxn>
                <a:cxn ang="0">
                  <a:pos x="175" y="100"/>
                </a:cxn>
                <a:cxn ang="0">
                  <a:pos x="175" y="120"/>
                </a:cxn>
                <a:cxn ang="0">
                  <a:pos x="171" y="132"/>
                </a:cxn>
                <a:cxn ang="0">
                  <a:pos x="179" y="148"/>
                </a:cxn>
                <a:cxn ang="0">
                  <a:pos x="183" y="156"/>
                </a:cxn>
                <a:cxn ang="0">
                  <a:pos x="175" y="164"/>
                </a:cxn>
                <a:cxn ang="0">
                  <a:pos x="155" y="172"/>
                </a:cxn>
                <a:cxn ang="0">
                  <a:pos x="147" y="164"/>
                </a:cxn>
                <a:cxn ang="0">
                  <a:pos x="136" y="164"/>
                </a:cxn>
                <a:cxn ang="0">
                  <a:pos x="116" y="176"/>
                </a:cxn>
                <a:cxn ang="0">
                  <a:pos x="112" y="187"/>
                </a:cxn>
                <a:cxn ang="0">
                  <a:pos x="52" y="112"/>
                </a:cxn>
                <a:cxn ang="0">
                  <a:pos x="24" y="84"/>
                </a:cxn>
                <a:cxn ang="0">
                  <a:pos x="52" y="108"/>
                </a:cxn>
                <a:cxn ang="0">
                  <a:pos x="207" y="180"/>
                </a:cxn>
                <a:cxn ang="0">
                  <a:pos x="215" y="191"/>
                </a:cxn>
                <a:cxn ang="0">
                  <a:pos x="207" y="207"/>
                </a:cxn>
              </a:cxnLst>
              <a:rect l="0" t="0" r="r" b="b"/>
              <a:pathLst>
                <a:path w="215" h="207">
                  <a:moveTo>
                    <a:pt x="100" y="184"/>
                  </a:moveTo>
                  <a:lnTo>
                    <a:pt x="96" y="184"/>
                  </a:lnTo>
                  <a:lnTo>
                    <a:pt x="92" y="184"/>
                  </a:lnTo>
                  <a:lnTo>
                    <a:pt x="92" y="180"/>
                  </a:lnTo>
                  <a:lnTo>
                    <a:pt x="88" y="180"/>
                  </a:lnTo>
                  <a:lnTo>
                    <a:pt x="84" y="180"/>
                  </a:lnTo>
                  <a:lnTo>
                    <a:pt x="84" y="176"/>
                  </a:lnTo>
                  <a:lnTo>
                    <a:pt x="84" y="180"/>
                  </a:lnTo>
                  <a:lnTo>
                    <a:pt x="80" y="180"/>
                  </a:lnTo>
                  <a:lnTo>
                    <a:pt x="84" y="180"/>
                  </a:lnTo>
                  <a:lnTo>
                    <a:pt x="80" y="180"/>
                  </a:lnTo>
                  <a:lnTo>
                    <a:pt x="76" y="180"/>
                  </a:lnTo>
                  <a:lnTo>
                    <a:pt x="72" y="180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0" y="176"/>
                  </a:lnTo>
                  <a:lnTo>
                    <a:pt x="56" y="176"/>
                  </a:lnTo>
                  <a:lnTo>
                    <a:pt x="52" y="172"/>
                  </a:lnTo>
                  <a:lnTo>
                    <a:pt x="52" y="176"/>
                  </a:lnTo>
                  <a:lnTo>
                    <a:pt x="52" y="172"/>
                  </a:lnTo>
                  <a:lnTo>
                    <a:pt x="48" y="172"/>
                  </a:lnTo>
                  <a:lnTo>
                    <a:pt x="52" y="172"/>
                  </a:lnTo>
                  <a:lnTo>
                    <a:pt x="52" y="168"/>
                  </a:lnTo>
                  <a:lnTo>
                    <a:pt x="48" y="168"/>
                  </a:lnTo>
                  <a:lnTo>
                    <a:pt x="44" y="168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52" y="160"/>
                  </a:lnTo>
                  <a:lnTo>
                    <a:pt x="52" y="152"/>
                  </a:lnTo>
                  <a:lnTo>
                    <a:pt x="52" y="148"/>
                  </a:lnTo>
                  <a:lnTo>
                    <a:pt x="52" y="144"/>
                  </a:lnTo>
                  <a:lnTo>
                    <a:pt x="52" y="140"/>
                  </a:lnTo>
                  <a:lnTo>
                    <a:pt x="56" y="140"/>
                  </a:lnTo>
                  <a:lnTo>
                    <a:pt x="56" y="136"/>
                  </a:lnTo>
                  <a:lnTo>
                    <a:pt x="52" y="140"/>
                  </a:lnTo>
                  <a:lnTo>
                    <a:pt x="52" y="136"/>
                  </a:lnTo>
                  <a:lnTo>
                    <a:pt x="52" y="132"/>
                  </a:lnTo>
                  <a:lnTo>
                    <a:pt x="56" y="128"/>
                  </a:lnTo>
                  <a:lnTo>
                    <a:pt x="56" y="124"/>
                  </a:lnTo>
                  <a:lnTo>
                    <a:pt x="56" y="120"/>
                  </a:lnTo>
                  <a:lnTo>
                    <a:pt x="56" y="124"/>
                  </a:lnTo>
                  <a:lnTo>
                    <a:pt x="60" y="124"/>
                  </a:lnTo>
                  <a:lnTo>
                    <a:pt x="60" y="128"/>
                  </a:lnTo>
                  <a:lnTo>
                    <a:pt x="60" y="132"/>
                  </a:lnTo>
                  <a:lnTo>
                    <a:pt x="64" y="136"/>
                  </a:lnTo>
                  <a:lnTo>
                    <a:pt x="64" y="132"/>
                  </a:lnTo>
                  <a:lnTo>
                    <a:pt x="60" y="128"/>
                  </a:lnTo>
                  <a:lnTo>
                    <a:pt x="60" y="124"/>
                  </a:lnTo>
                  <a:lnTo>
                    <a:pt x="60" y="120"/>
                  </a:lnTo>
                  <a:lnTo>
                    <a:pt x="56" y="120"/>
                  </a:lnTo>
                  <a:lnTo>
                    <a:pt x="56" y="116"/>
                  </a:lnTo>
                  <a:lnTo>
                    <a:pt x="52" y="116"/>
                  </a:lnTo>
                  <a:lnTo>
                    <a:pt x="56" y="116"/>
                  </a:lnTo>
                  <a:lnTo>
                    <a:pt x="56" y="112"/>
                  </a:lnTo>
                  <a:lnTo>
                    <a:pt x="56" y="108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0"/>
                  </a:lnTo>
                  <a:lnTo>
                    <a:pt x="44" y="100"/>
                  </a:lnTo>
                  <a:lnTo>
                    <a:pt x="44" y="96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40" y="88"/>
                  </a:lnTo>
                  <a:lnTo>
                    <a:pt x="40" y="84"/>
                  </a:lnTo>
                  <a:lnTo>
                    <a:pt x="44" y="84"/>
                  </a:lnTo>
                  <a:lnTo>
                    <a:pt x="40" y="84"/>
                  </a:lnTo>
                  <a:lnTo>
                    <a:pt x="36" y="84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2" y="76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8" y="68"/>
                  </a:lnTo>
                  <a:lnTo>
                    <a:pt x="8" y="72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4" y="64"/>
                  </a:lnTo>
                  <a:lnTo>
                    <a:pt x="8" y="64"/>
                  </a:lnTo>
                  <a:lnTo>
                    <a:pt x="4" y="60"/>
                  </a:lnTo>
                  <a:lnTo>
                    <a:pt x="4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6" y="52"/>
                  </a:lnTo>
                  <a:lnTo>
                    <a:pt x="20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8" y="52"/>
                  </a:lnTo>
                  <a:lnTo>
                    <a:pt x="32" y="56"/>
                  </a:lnTo>
                  <a:lnTo>
                    <a:pt x="36" y="52"/>
                  </a:lnTo>
                  <a:lnTo>
                    <a:pt x="40" y="52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48"/>
                  </a:lnTo>
                  <a:lnTo>
                    <a:pt x="48" y="44"/>
                  </a:lnTo>
                  <a:lnTo>
                    <a:pt x="48" y="40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60" y="36"/>
                  </a:lnTo>
                  <a:lnTo>
                    <a:pt x="64" y="36"/>
                  </a:lnTo>
                  <a:lnTo>
                    <a:pt x="68" y="36"/>
                  </a:lnTo>
                  <a:lnTo>
                    <a:pt x="68" y="40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76" y="36"/>
                  </a:lnTo>
                  <a:lnTo>
                    <a:pt x="72" y="36"/>
                  </a:lnTo>
                  <a:lnTo>
                    <a:pt x="72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96" y="16"/>
                  </a:lnTo>
                  <a:lnTo>
                    <a:pt x="96" y="12"/>
                  </a:lnTo>
                  <a:lnTo>
                    <a:pt x="96" y="8"/>
                  </a:lnTo>
                  <a:lnTo>
                    <a:pt x="96" y="4"/>
                  </a:lnTo>
                  <a:lnTo>
                    <a:pt x="100" y="0"/>
                  </a:lnTo>
                  <a:lnTo>
                    <a:pt x="104" y="0"/>
                  </a:lnTo>
                  <a:lnTo>
                    <a:pt x="108" y="0"/>
                  </a:lnTo>
                  <a:lnTo>
                    <a:pt x="112" y="0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16" y="4"/>
                  </a:lnTo>
                  <a:lnTo>
                    <a:pt x="120" y="4"/>
                  </a:lnTo>
                  <a:lnTo>
                    <a:pt x="120" y="8"/>
                  </a:lnTo>
                  <a:lnTo>
                    <a:pt x="120" y="12"/>
                  </a:lnTo>
                  <a:lnTo>
                    <a:pt x="124" y="12"/>
                  </a:lnTo>
                  <a:lnTo>
                    <a:pt x="128" y="12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20"/>
                  </a:lnTo>
                  <a:lnTo>
                    <a:pt x="136" y="24"/>
                  </a:lnTo>
                  <a:lnTo>
                    <a:pt x="140" y="24"/>
                  </a:lnTo>
                  <a:lnTo>
                    <a:pt x="144" y="24"/>
                  </a:lnTo>
                  <a:lnTo>
                    <a:pt x="144" y="20"/>
                  </a:lnTo>
                  <a:lnTo>
                    <a:pt x="147" y="20"/>
                  </a:lnTo>
                  <a:lnTo>
                    <a:pt x="144" y="20"/>
                  </a:lnTo>
                  <a:lnTo>
                    <a:pt x="144" y="24"/>
                  </a:lnTo>
                  <a:lnTo>
                    <a:pt x="144" y="28"/>
                  </a:lnTo>
                  <a:lnTo>
                    <a:pt x="147" y="28"/>
                  </a:lnTo>
                  <a:lnTo>
                    <a:pt x="151" y="32"/>
                  </a:lnTo>
                  <a:lnTo>
                    <a:pt x="155" y="32"/>
                  </a:lnTo>
                  <a:lnTo>
                    <a:pt x="159" y="32"/>
                  </a:lnTo>
                  <a:lnTo>
                    <a:pt x="159" y="36"/>
                  </a:lnTo>
                  <a:lnTo>
                    <a:pt x="163" y="36"/>
                  </a:lnTo>
                  <a:lnTo>
                    <a:pt x="163" y="32"/>
                  </a:lnTo>
                  <a:lnTo>
                    <a:pt x="167" y="32"/>
                  </a:lnTo>
                  <a:lnTo>
                    <a:pt x="167" y="36"/>
                  </a:lnTo>
                  <a:lnTo>
                    <a:pt x="171" y="36"/>
                  </a:lnTo>
                  <a:lnTo>
                    <a:pt x="171" y="40"/>
                  </a:lnTo>
                  <a:lnTo>
                    <a:pt x="175" y="40"/>
                  </a:lnTo>
                  <a:lnTo>
                    <a:pt x="179" y="40"/>
                  </a:lnTo>
                  <a:lnTo>
                    <a:pt x="179" y="44"/>
                  </a:lnTo>
                  <a:lnTo>
                    <a:pt x="183" y="44"/>
                  </a:lnTo>
                  <a:lnTo>
                    <a:pt x="183" y="40"/>
                  </a:lnTo>
                  <a:lnTo>
                    <a:pt x="187" y="44"/>
                  </a:lnTo>
                  <a:lnTo>
                    <a:pt x="191" y="44"/>
                  </a:lnTo>
                  <a:lnTo>
                    <a:pt x="195" y="44"/>
                  </a:lnTo>
                  <a:lnTo>
                    <a:pt x="195" y="48"/>
                  </a:lnTo>
                  <a:lnTo>
                    <a:pt x="191" y="52"/>
                  </a:lnTo>
                  <a:lnTo>
                    <a:pt x="191" y="56"/>
                  </a:lnTo>
                  <a:lnTo>
                    <a:pt x="187" y="56"/>
                  </a:lnTo>
                  <a:lnTo>
                    <a:pt x="187" y="60"/>
                  </a:lnTo>
                  <a:lnTo>
                    <a:pt x="187" y="64"/>
                  </a:lnTo>
                  <a:lnTo>
                    <a:pt x="187" y="68"/>
                  </a:lnTo>
                  <a:lnTo>
                    <a:pt x="187" y="72"/>
                  </a:lnTo>
                  <a:lnTo>
                    <a:pt x="187" y="76"/>
                  </a:lnTo>
                  <a:lnTo>
                    <a:pt x="183" y="76"/>
                  </a:lnTo>
                  <a:lnTo>
                    <a:pt x="183" y="80"/>
                  </a:lnTo>
                  <a:lnTo>
                    <a:pt x="179" y="80"/>
                  </a:lnTo>
                  <a:lnTo>
                    <a:pt x="179" y="76"/>
                  </a:lnTo>
                  <a:lnTo>
                    <a:pt x="179" y="80"/>
                  </a:lnTo>
                  <a:lnTo>
                    <a:pt x="175" y="80"/>
                  </a:lnTo>
                  <a:lnTo>
                    <a:pt x="179" y="80"/>
                  </a:lnTo>
                  <a:lnTo>
                    <a:pt x="175" y="84"/>
                  </a:lnTo>
                  <a:lnTo>
                    <a:pt x="175" y="88"/>
                  </a:lnTo>
                  <a:lnTo>
                    <a:pt x="171" y="88"/>
                  </a:lnTo>
                  <a:lnTo>
                    <a:pt x="171" y="92"/>
                  </a:lnTo>
                  <a:lnTo>
                    <a:pt x="167" y="92"/>
                  </a:lnTo>
                  <a:lnTo>
                    <a:pt x="171" y="92"/>
                  </a:lnTo>
                  <a:lnTo>
                    <a:pt x="167" y="96"/>
                  </a:lnTo>
                  <a:lnTo>
                    <a:pt x="163" y="96"/>
                  </a:lnTo>
                  <a:lnTo>
                    <a:pt x="163" y="100"/>
                  </a:lnTo>
                  <a:lnTo>
                    <a:pt x="163" y="104"/>
                  </a:lnTo>
                  <a:lnTo>
                    <a:pt x="163" y="108"/>
                  </a:lnTo>
                  <a:lnTo>
                    <a:pt x="167" y="108"/>
                  </a:lnTo>
                  <a:lnTo>
                    <a:pt x="167" y="104"/>
                  </a:lnTo>
                  <a:lnTo>
                    <a:pt x="167" y="100"/>
                  </a:lnTo>
                  <a:lnTo>
                    <a:pt x="171" y="100"/>
                  </a:lnTo>
                  <a:lnTo>
                    <a:pt x="175" y="100"/>
                  </a:lnTo>
                  <a:lnTo>
                    <a:pt x="175" y="104"/>
                  </a:lnTo>
                  <a:lnTo>
                    <a:pt x="175" y="108"/>
                  </a:lnTo>
                  <a:lnTo>
                    <a:pt x="179" y="112"/>
                  </a:lnTo>
                  <a:lnTo>
                    <a:pt x="175" y="112"/>
                  </a:lnTo>
                  <a:lnTo>
                    <a:pt x="175" y="116"/>
                  </a:lnTo>
                  <a:lnTo>
                    <a:pt x="175" y="120"/>
                  </a:lnTo>
                  <a:lnTo>
                    <a:pt x="179" y="120"/>
                  </a:lnTo>
                  <a:lnTo>
                    <a:pt x="179" y="124"/>
                  </a:lnTo>
                  <a:lnTo>
                    <a:pt x="179" y="128"/>
                  </a:lnTo>
                  <a:lnTo>
                    <a:pt x="175" y="128"/>
                  </a:lnTo>
                  <a:lnTo>
                    <a:pt x="171" y="128"/>
                  </a:lnTo>
                  <a:lnTo>
                    <a:pt x="171" y="132"/>
                  </a:lnTo>
                  <a:lnTo>
                    <a:pt x="175" y="136"/>
                  </a:lnTo>
                  <a:lnTo>
                    <a:pt x="179" y="136"/>
                  </a:lnTo>
                  <a:lnTo>
                    <a:pt x="175" y="140"/>
                  </a:lnTo>
                  <a:lnTo>
                    <a:pt x="175" y="144"/>
                  </a:lnTo>
                  <a:lnTo>
                    <a:pt x="175" y="148"/>
                  </a:lnTo>
                  <a:lnTo>
                    <a:pt x="179" y="148"/>
                  </a:lnTo>
                  <a:lnTo>
                    <a:pt x="183" y="152"/>
                  </a:lnTo>
                  <a:lnTo>
                    <a:pt x="187" y="152"/>
                  </a:lnTo>
                  <a:lnTo>
                    <a:pt x="187" y="148"/>
                  </a:lnTo>
                  <a:lnTo>
                    <a:pt x="187" y="152"/>
                  </a:lnTo>
                  <a:lnTo>
                    <a:pt x="187" y="156"/>
                  </a:lnTo>
                  <a:lnTo>
                    <a:pt x="183" y="156"/>
                  </a:lnTo>
                  <a:lnTo>
                    <a:pt x="187" y="156"/>
                  </a:lnTo>
                  <a:lnTo>
                    <a:pt x="187" y="160"/>
                  </a:lnTo>
                  <a:lnTo>
                    <a:pt x="183" y="160"/>
                  </a:lnTo>
                  <a:lnTo>
                    <a:pt x="179" y="160"/>
                  </a:lnTo>
                  <a:lnTo>
                    <a:pt x="179" y="164"/>
                  </a:lnTo>
                  <a:lnTo>
                    <a:pt x="175" y="164"/>
                  </a:lnTo>
                  <a:lnTo>
                    <a:pt x="171" y="168"/>
                  </a:lnTo>
                  <a:lnTo>
                    <a:pt x="171" y="172"/>
                  </a:lnTo>
                  <a:lnTo>
                    <a:pt x="167" y="172"/>
                  </a:lnTo>
                  <a:lnTo>
                    <a:pt x="163" y="172"/>
                  </a:lnTo>
                  <a:lnTo>
                    <a:pt x="159" y="172"/>
                  </a:lnTo>
                  <a:lnTo>
                    <a:pt x="155" y="172"/>
                  </a:lnTo>
                  <a:lnTo>
                    <a:pt x="151" y="172"/>
                  </a:lnTo>
                  <a:lnTo>
                    <a:pt x="151" y="168"/>
                  </a:lnTo>
                  <a:lnTo>
                    <a:pt x="147" y="168"/>
                  </a:lnTo>
                  <a:lnTo>
                    <a:pt x="151" y="168"/>
                  </a:lnTo>
                  <a:lnTo>
                    <a:pt x="151" y="164"/>
                  </a:lnTo>
                  <a:lnTo>
                    <a:pt x="147" y="164"/>
                  </a:lnTo>
                  <a:lnTo>
                    <a:pt x="144" y="168"/>
                  </a:lnTo>
                  <a:lnTo>
                    <a:pt x="144" y="164"/>
                  </a:lnTo>
                  <a:lnTo>
                    <a:pt x="144" y="168"/>
                  </a:lnTo>
                  <a:lnTo>
                    <a:pt x="140" y="168"/>
                  </a:lnTo>
                  <a:lnTo>
                    <a:pt x="140" y="164"/>
                  </a:lnTo>
                  <a:lnTo>
                    <a:pt x="136" y="164"/>
                  </a:lnTo>
                  <a:lnTo>
                    <a:pt x="132" y="164"/>
                  </a:lnTo>
                  <a:lnTo>
                    <a:pt x="128" y="168"/>
                  </a:lnTo>
                  <a:lnTo>
                    <a:pt x="124" y="168"/>
                  </a:lnTo>
                  <a:lnTo>
                    <a:pt x="120" y="172"/>
                  </a:lnTo>
                  <a:lnTo>
                    <a:pt x="120" y="176"/>
                  </a:lnTo>
                  <a:lnTo>
                    <a:pt x="116" y="176"/>
                  </a:lnTo>
                  <a:lnTo>
                    <a:pt x="116" y="180"/>
                  </a:lnTo>
                  <a:lnTo>
                    <a:pt x="120" y="180"/>
                  </a:lnTo>
                  <a:lnTo>
                    <a:pt x="120" y="184"/>
                  </a:lnTo>
                  <a:lnTo>
                    <a:pt x="120" y="187"/>
                  </a:lnTo>
                  <a:lnTo>
                    <a:pt x="116" y="184"/>
                  </a:lnTo>
                  <a:lnTo>
                    <a:pt x="112" y="187"/>
                  </a:lnTo>
                  <a:lnTo>
                    <a:pt x="108" y="187"/>
                  </a:lnTo>
                  <a:lnTo>
                    <a:pt x="104" y="187"/>
                  </a:lnTo>
                  <a:lnTo>
                    <a:pt x="100" y="187"/>
                  </a:lnTo>
                  <a:lnTo>
                    <a:pt x="100" y="184"/>
                  </a:lnTo>
                  <a:close/>
                  <a:moveTo>
                    <a:pt x="52" y="116"/>
                  </a:moveTo>
                  <a:lnTo>
                    <a:pt x="52" y="112"/>
                  </a:lnTo>
                  <a:lnTo>
                    <a:pt x="52" y="108"/>
                  </a:lnTo>
                  <a:lnTo>
                    <a:pt x="52" y="112"/>
                  </a:lnTo>
                  <a:lnTo>
                    <a:pt x="56" y="112"/>
                  </a:lnTo>
                  <a:lnTo>
                    <a:pt x="56" y="116"/>
                  </a:lnTo>
                  <a:lnTo>
                    <a:pt x="52" y="116"/>
                  </a:lnTo>
                  <a:close/>
                  <a:moveTo>
                    <a:pt x="24" y="84"/>
                  </a:moveTo>
                  <a:lnTo>
                    <a:pt x="24" y="80"/>
                  </a:lnTo>
                  <a:lnTo>
                    <a:pt x="24" y="84"/>
                  </a:lnTo>
                  <a:close/>
                  <a:moveTo>
                    <a:pt x="52" y="108"/>
                  </a:moveTo>
                  <a:lnTo>
                    <a:pt x="48" y="108"/>
                  </a:lnTo>
                  <a:lnTo>
                    <a:pt x="48" y="104"/>
                  </a:lnTo>
                  <a:lnTo>
                    <a:pt x="52" y="108"/>
                  </a:lnTo>
                  <a:close/>
                  <a:moveTo>
                    <a:pt x="203" y="195"/>
                  </a:moveTo>
                  <a:lnTo>
                    <a:pt x="203" y="191"/>
                  </a:lnTo>
                  <a:lnTo>
                    <a:pt x="203" y="187"/>
                  </a:lnTo>
                  <a:lnTo>
                    <a:pt x="203" y="184"/>
                  </a:lnTo>
                  <a:lnTo>
                    <a:pt x="207" y="184"/>
                  </a:lnTo>
                  <a:lnTo>
                    <a:pt x="207" y="180"/>
                  </a:lnTo>
                  <a:lnTo>
                    <a:pt x="211" y="180"/>
                  </a:lnTo>
                  <a:lnTo>
                    <a:pt x="211" y="176"/>
                  </a:lnTo>
                  <a:lnTo>
                    <a:pt x="215" y="176"/>
                  </a:lnTo>
                  <a:lnTo>
                    <a:pt x="215" y="180"/>
                  </a:lnTo>
                  <a:lnTo>
                    <a:pt x="215" y="184"/>
                  </a:lnTo>
                  <a:lnTo>
                    <a:pt x="215" y="191"/>
                  </a:lnTo>
                  <a:lnTo>
                    <a:pt x="215" y="195"/>
                  </a:lnTo>
                  <a:lnTo>
                    <a:pt x="215" y="199"/>
                  </a:lnTo>
                  <a:lnTo>
                    <a:pt x="215" y="203"/>
                  </a:lnTo>
                  <a:lnTo>
                    <a:pt x="211" y="203"/>
                  </a:lnTo>
                  <a:lnTo>
                    <a:pt x="211" y="207"/>
                  </a:lnTo>
                  <a:lnTo>
                    <a:pt x="207" y="207"/>
                  </a:lnTo>
                  <a:lnTo>
                    <a:pt x="203" y="203"/>
                  </a:lnTo>
                  <a:lnTo>
                    <a:pt x="207" y="203"/>
                  </a:lnTo>
                  <a:lnTo>
                    <a:pt x="203" y="203"/>
                  </a:lnTo>
                  <a:lnTo>
                    <a:pt x="203" y="199"/>
                  </a:lnTo>
                  <a:lnTo>
                    <a:pt x="203" y="19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4" name="Freeform 91"/>
            <p:cNvSpPr>
              <a:spLocks noEditPoints="1"/>
            </p:cNvSpPr>
            <p:nvPr>
              <p:custDataLst>
                <p:tags r:id="rId286"/>
              </p:custDataLst>
            </p:nvPr>
          </p:nvSpPr>
          <p:spPr bwMode="gray">
            <a:xfrm>
              <a:off x="4505088" y="2976449"/>
              <a:ext cx="207629" cy="261019"/>
            </a:xfrm>
            <a:custGeom>
              <a:avLst/>
              <a:gdLst/>
              <a:ahLst/>
              <a:cxnLst>
                <a:cxn ang="0">
                  <a:pos x="28" y="152"/>
                </a:cxn>
                <a:cxn ang="0">
                  <a:pos x="36" y="136"/>
                </a:cxn>
                <a:cxn ang="0">
                  <a:pos x="20" y="136"/>
                </a:cxn>
                <a:cxn ang="0">
                  <a:pos x="8" y="128"/>
                </a:cxn>
                <a:cxn ang="0">
                  <a:pos x="4" y="116"/>
                </a:cxn>
                <a:cxn ang="0">
                  <a:pos x="8" y="100"/>
                </a:cxn>
                <a:cxn ang="0">
                  <a:pos x="4" y="92"/>
                </a:cxn>
                <a:cxn ang="0">
                  <a:pos x="4" y="80"/>
                </a:cxn>
                <a:cxn ang="0">
                  <a:pos x="16" y="72"/>
                </a:cxn>
                <a:cxn ang="0">
                  <a:pos x="16" y="60"/>
                </a:cxn>
                <a:cxn ang="0">
                  <a:pos x="20" y="52"/>
                </a:cxn>
                <a:cxn ang="0">
                  <a:pos x="20" y="40"/>
                </a:cxn>
                <a:cxn ang="0">
                  <a:pos x="32" y="32"/>
                </a:cxn>
                <a:cxn ang="0">
                  <a:pos x="36" y="32"/>
                </a:cxn>
                <a:cxn ang="0">
                  <a:pos x="44" y="36"/>
                </a:cxn>
                <a:cxn ang="0">
                  <a:pos x="52" y="28"/>
                </a:cxn>
                <a:cxn ang="0">
                  <a:pos x="56" y="32"/>
                </a:cxn>
                <a:cxn ang="0">
                  <a:pos x="48" y="20"/>
                </a:cxn>
                <a:cxn ang="0">
                  <a:pos x="48" y="16"/>
                </a:cxn>
                <a:cxn ang="0">
                  <a:pos x="40" y="4"/>
                </a:cxn>
                <a:cxn ang="0">
                  <a:pos x="40" y="0"/>
                </a:cxn>
                <a:cxn ang="0">
                  <a:pos x="56" y="4"/>
                </a:cxn>
                <a:cxn ang="0">
                  <a:pos x="60" y="12"/>
                </a:cxn>
                <a:cxn ang="0">
                  <a:pos x="80" y="16"/>
                </a:cxn>
                <a:cxn ang="0">
                  <a:pos x="80" y="24"/>
                </a:cxn>
                <a:cxn ang="0">
                  <a:pos x="92" y="20"/>
                </a:cxn>
                <a:cxn ang="0">
                  <a:pos x="108" y="12"/>
                </a:cxn>
                <a:cxn ang="0">
                  <a:pos x="100" y="16"/>
                </a:cxn>
                <a:cxn ang="0">
                  <a:pos x="116" y="20"/>
                </a:cxn>
                <a:cxn ang="0">
                  <a:pos x="124" y="28"/>
                </a:cxn>
                <a:cxn ang="0">
                  <a:pos x="132" y="40"/>
                </a:cxn>
                <a:cxn ang="0">
                  <a:pos x="132" y="56"/>
                </a:cxn>
                <a:cxn ang="0">
                  <a:pos x="136" y="64"/>
                </a:cxn>
                <a:cxn ang="0">
                  <a:pos x="136" y="80"/>
                </a:cxn>
                <a:cxn ang="0">
                  <a:pos x="136" y="96"/>
                </a:cxn>
                <a:cxn ang="0">
                  <a:pos x="132" y="92"/>
                </a:cxn>
                <a:cxn ang="0">
                  <a:pos x="112" y="100"/>
                </a:cxn>
                <a:cxn ang="0">
                  <a:pos x="100" y="112"/>
                </a:cxn>
                <a:cxn ang="0">
                  <a:pos x="104" y="116"/>
                </a:cxn>
                <a:cxn ang="0">
                  <a:pos x="108" y="128"/>
                </a:cxn>
                <a:cxn ang="0">
                  <a:pos x="120" y="144"/>
                </a:cxn>
                <a:cxn ang="0">
                  <a:pos x="108" y="152"/>
                </a:cxn>
                <a:cxn ang="0">
                  <a:pos x="108" y="164"/>
                </a:cxn>
                <a:cxn ang="0">
                  <a:pos x="108" y="168"/>
                </a:cxn>
                <a:cxn ang="0">
                  <a:pos x="88" y="168"/>
                </a:cxn>
                <a:cxn ang="0">
                  <a:pos x="72" y="168"/>
                </a:cxn>
                <a:cxn ang="0">
                  <a:pos x="64" y="168"/>
                </a:cxn>
                <a:cxn ang="0">
                  <a:pos x="48" y="164"/>
                </a:cxn>
                <a:cxn ang="0">
                  <a:pos x="44" y="164"/>
                </a:cxn>
                <a:cxn ang="0">
                  <a:pos x="36" y="168"/>
                </a:cxn>
                <a:cxn ang="0">
                  <a:pos x="120" y="28"/>
                </a:cxn>
                <a:cxn ang="0">
                  <a:pos x="124" y="20"/>
                </a:cxn>
                <a:cxn ang="0">
                  <a:pos x="84" y="16"/>
                </a:cxn>
                <a:cxn ang="0">
                  <a:pos x="40" y="8"/>
                </a:cxn>
                <a:cxn ang="0">
                  <a:pos x="116" y="12"/>
                </a:cxn>
                <a:cxn ang="0">
                  <a:pos x="120" y="12"/>
                </a:cxn>
              </a:cxnLst>
              <a:rect l="0" t="0" r="r" b="b"/>
              <a:pathLst>
                <a:path w="140" h="176">
                  <a:moveTo>
                    <a:pt x="28" y="168"/>
                  </a:moveTo>
                  <a:lnTo>
                    <a:pt x="28" y="164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8" y="152"/>
                  </a:lnTo>
                  <a:lnTo>
                    <a:pt x="28" y="148"/>
                  </a:lnTo>
                  <a:lnTo>
                    <a:pt x="32" y="148"/>
                  </a:lnTo>
                  <a:lnTo>
                    <a:pt x="32" y="144"/>
                  </a:lnTo>
                  <a:lnTo>
                    <a:pt x="36" y="140"/>
                  </a:lnTo>
                  <a:lnTo>
                    <a:pt x="36" y="136"/>
                  </a:lnTo>
                  <a:lnTo>
                    <a:pt x="32" y="136"/>
                  </a:lnTo>
                  <a:lnTo>
                    <a:pt x="28" y="136"/>
                  </a:lnTo>
                  <a:lnTo>
                    <a:pt x="24" y="132"/>
                  </a:lnTo>
                  <a:lnTo>
                    <a:pt x="24" y="136"/>
                  </a:lnTo>
                  <a:lnTo>
                    <a:pt x="20" y="136"/>
                  </a:lnTo>
                  <a:lnTo>
                    <a:pt x="20" y="132"/>
                  </a:lnTo>
                  <a:lnTo>
                    <a:pt x="16" y="132"/>
                  </a:lnTo>
                  <a:lnTo>
                    <a:pt x="12" y="132"/>
                  </a:lnTo>
                  <a:lnTo>
                    <a:pt x="12" y="128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12" y="120"/>
                  </a:lnTo>
                  <a:lnTo>
                    <a:pt x="8" y="120"/>
                  </a:lnTo>
                  <a:lnTo>
                    <a:pt x="8" y="116"/>
                  </a:lnTo>
                  <a:lnTo>
                    <a:pt x="4" y="116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8" y="108"/>
                  </a:lnTo>
                  <a:lnTo>
                    <a:pt x="8" y="104"/>
                  </a:lnTo>
                  <a:lnTo>
                    <a:pt x="8" y="100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4" y="92"/>
                  </a:lnTo>
                  <a:lnTo>
                    <a:pt x="0" y="92"/>
                  </a:lnTo>
                  <a:lnTo>
                    <a:pt x="4" y="92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4" y="36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6" y="28"/>
                  </a:lnTo>
                  <a:lnTo>
                    <a:pt x="56" y="32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44" y="20"/>
                  </a:lnTo>
                  <a:lnTo>
                    <a:pt x="48" y="20"/>
                  </a:lnTo>
                  <a:lnTo>
                    <a:pt x="48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20"/>
                  </a:lnTo>
                  <a:lnTo>
                    <a:pt x="76" y="24"/>
                  </a:lnTo>
                  <a:lnTo>
                    <a:pt x="76" y="28"/>
                  </a:lnTo>
                  <a:lnTo>
                    <a:pt x="76" y="24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8" y="24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100" y="16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04" y="16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0" y="16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16" y="24"/>
                  </a:lnTo>
                  <a:lnTo>
                    <a:pt x="116" y="20"/>
                  </a:lnTo>
                  <a:lnTo>
                    <a:pt x="120" y="20"/>
                  </a:lnTo>
                  <a:lnTo>
                    <a:pt x="120" y="24"/>
                  </a:lnTo>
                  <a:lnTo>
                    <a:pt x="124" y="28"/>
                  </a:lnTo>
                  <a:lnTo>
                    <a:pt x="120" y="28"/>
                  </a:lnTo>
                  <a:lnTo>
                    <a:pt x="124" y="28"/>
                  </a:lnTo>
                  <a:lnTo>
                    <a:pt x="128" y="32"/>
                  </a:lnTo>
                  <a:lnTo>
                    <a:pt x="128" y="36"/>
                  </a:lnTo>
                  <a:lnTo>
                    <a:pt x="132" y="40"/>
                  </a:lnTo>
                  <a:lnTo>
                    <a:pt x="132" y="44"/>
                  </a:lnTo>
                  <a:lnTo>
                    <a:pt x="128" y="48"/>
                  </a:lnTo>
                  <a:lnTo>
                    <a:pt x="128" y="52"/>
                  </a:lnTo>
                  <a:lnTo>
                    <a:pt x="132" y="52"/>
                  </a:lnTo>
                  <a:lnTo>
                    <a:pt x="132" y="56"/>
                  </a:lnTo>
                  <a:lnTo>
                    <a:pt x="136" y="56"/>
                  </a:lnTo>
                  <a:lnTo>
                    <a:pt x="136" y="60"/>
                  </a:lnTo>
                  <a:lnTo>
                    <a:pt x="132" y="60"/>
                  </a:lnTo>
                  <a:lnTo>
                    <a:pt x="132" y="64"/>
                  </a:lnTo>
                  <a:lnTo>
                    <a:pt x="136" y="64"/>
                  </a:lnTo>
                  <a:lnTo>
                    <a:pt x="136" y="68"/>
                  </a:lnTo>
                  <a:lnTo>
                    <a:pt x="136" y="72"/>
                  </a:lnTo>
                  <a:lnTo>
                    <a:pt x="132" y="72"/>
                  </a:lnTo>
                  <a:lnTo>
                    <a:pt x="136" y="76"/>
                  </a:lnTo>
                  <a:lnTo>
                    <a:pt x="136" y="80"/>
                  </a:lnTo>
                  <a:lnTo>
                    <a:pt x="140" y="80"/>
                  </a:lnTo>
                  <a:lnTo>
                    <a:pt x="140" y="84"/>
                  </a:lnTo>
                  <a:lnTo>
                    <a:pt x="140" y="88"/>
                  </a:lnTo>
                  <a:lnTo>
                    <a:pt x="140" y="92"/>
                  </a:lnTo>
                  <a:lnTo>
                    <a:pt x="136" y="96"/>
                  </a:lnTo>
                  <a:lnTo>
                    <a:pt x="132" y="96"/>
                  </a:lnTo>
                  <a:lnTo>
                    <a:pt x="136" y="96"/>
                  </a:lnTo>
                  <a:lnTo>
                    <a:pt x="132" y="92"/>
                  </a:lnTo>
                  <a:lnTo>
                    <a:pt x="128" y="92"/>
                  </a:lnTo>
                  <a:lnTo>
                    <a:pt x="132" y="92"/>
                  </a:lnTo>
                  <a:lnTo>
                    <a:pt x="128" y="96"/>
                  </a:lnTo>
                  <a:lnTo>
                    <a:pt x="124" y="96"/>
                  </a:lnTo>
                  <a:lnTo>
                    <a:pt x="120" y="100"/>
                  </a:lnTo>
                  <a:lnTo>
                    <a:pt x="116" y="100"/>
                  </a:lnTo>
                  <a:lnTo>
                    <a:pt x="112" y="100"/>
                  </a:lnTo>
                  <a:lnTo>
                    <a:pt x="112" y="104"/>
                  </a:lnTo>
                  <a:lnTo>
                    <a:pt x="108" y="104"/>
                  </a:lnTo>
                  <a:lnTo>
                    <a:pt x="104" y="104"/>
                  </a:lnTo>
                  <a:lnTo>
                    <a:pt x="100" y="108"/>
                  </a:lnTo>
                  <a:lnTo>
                    <a:pt x="100" y="112"/>
                  </a:lnTo>
                  <a:lnTo>
                    <a:pt x="96" y="108"/>
                  </a:lnTo>
                  <a:lnTo>
                    <a:pt x="96" y="112"/>
                  </a:lnTo>
                  <a:lnTo>
                    <a:pt x="100" y="112"/>
                  </a:lnTo>
                  <a:lnTo>
                    <a:pt x="100" y="116"/>
                  </a:lnTo>
                  <a:lnTo>
                    <a:pt x="104" y="116"/>
                  </a:lnTo>
                  <a:lnTo>
                    <a:pt x="100" y="120"/>
                  </a:lnTo>
                  <a:lnTo>
                    <a:pt x="100" y="124"/>
                  </a:lnTo>
                  <a:lnTo>
                    <a:pt x="104" y="124"/>
                  </a:lnTo>
                  <a:lnTo>
                    <a:pt x="104" y="128"/>
                  </a:lnTo>
                  <a:lnTo>
                    <a:pt x="108" y="128"/>
                  </a:lnTo>
                  <a:lnTo>
                    <a:pt x="108" y="132"/>
                  </a:lnTo>
                  <a:lnTo>
                    <a:pt x="112" y="132"/>
                  </a:lnTo>
                  <a:lnTo>
                    <a:pt x="116" y="136"/>
                  </a:lnTo>
                  <a:lnTo>
                    <a:pt x="120" y="140"/>
                  </a:lnTo>
                  <a:lnTo>
                    <a:pt x="120" y="144"/>
                  </a:lnTo>
                  <a:lnTo>
                    <a:pt x="120" y="148"/>
                  </a:lnTo>
                  <a:lnTo>
                    <a:pt x="116" y="148"/>
                  </a:lnTo>
                  <a:lnTo>
                    <a:pt x="116" y="152"/>
                  </a:lnTo>
                  <a:lnTo>
                    <a:pt x="112" y="152"/>
                  </a:lnTo>
                  <a:lnTo>
                    <a:pt x="108" y="152"/>
                  </a:lnTo>
                  <a:lnTo>
                    <a:pt x="108" y="156"/>
                  </a:lnTo>
                  <a:lnTo>
                    <a:pt x="104" y="156"/>
                  </a:lnTo>
                  <a:lnTo>
                    <a:pt x="108" y="156"/>
                  </a:lnTo>
                  <a:lnTo>
                    <a:pt x="108" y="160"/>
                  </a:lnTo>
                  <a:lnTo>
                    <a:pt x="108" y="164"/>
                  </a:lnTo>
                  <a:lnTo>
                    <a:pt x="112" y="164"/>
                  </a:lnTo>
                  <a:lnTo>
                    <a:pt x="112" y="168"/>
                  </a:lnTo>
                  <a:lnTo>
                    <a:pt x="112" y="172"/>
                  </a:lnTo>
                  <a:lnTo>
                    <a:pt x="108" y="172"/>
                  </a:lnTo>
                  <a:lnTo>
                    <a:pt x="108" y="168"/>
                  </a:lnTo>
                  <a:lnTo>
                    <a:pt x="104" y="168"/>
                  </a:lnTo>
                  <a:lnTo>
                    <a:pt x="100" y="168"/>
                  </a:lnTo>
                  <a:lnTo>
                    <a:pt x="96" y="168"/>
                  </a:lnTo>
                  <a:lnTo>
                    <a:pt x="92" y="168"/>
                  </a:lnTo>
                  <a:lnTo>
                    <a:pt x="88" y="168"/>
                  </a:lnTo>
                  <a:lnTo>
                    <a:pt x="84" y="168"/>
                  </a:lnTo>
                  <a:lnTo>
                    <a:pt x="84" y="172"/>
                  </a:lnTo>
                  <a:lnTo>
                    <a:pt x="80" y="172"/>
                  </a:lnTo>
                  <a:lnTo>
                    <a:pt x="76" y="168"/>
                  </a:lnTo>
                  <a:lnTo>
                    <a:pt x="72" y="168"/>
                  </a:lnTo>
                  <a:lnTo>
                    <a:pt x="72" y="172"/>
                  </a:lnTo>
                  <a:lnTo>
                    <a:pt x="68" y="176"/>
                  </a:lnTo>
                  <a:lnTo>
                    <a:pt x="68" y="172"/>
                  </a:lnTo>
                  <a:lnTo>
                    <a:pt x="64" y="172"/>
                  </a:lnTo>
                  <a:lnTo>
                    <a:pt x="64" y="168"/>
                  </a:lnTo>
                  <a:lnTo>
                    <a:pt x="60" y="168"/>
                  </a:lnTo>
                  <a:lnTo>
                    <a:pt x="56" y="168"/>
                  </a:lnTo>
                  <a:lnTo>
                    <a:pt x="52" y="168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44" y="164"/>
                  </a:lnTo>
                  <a:lnTo>
                    <a:pt x="44" y="168"/>
                  </a:lnTo>
                  <a:lnTo>
                    <a:pt x="44" y="164"/>
                  </a:lnTo>
                  <a:lnTo>
                    <a:pt x="40" y="164"/>
                  </a:lnTo>
                  <a:lnTo>
                    <a:pt x="40" y="168"/>
                  </a:lnTo>
                  <a:lnTo>
                    <a:pt x="44" y="168"/>
                  </a:lnTo>
                  <a:lnTo>
                    <a:pt x="40" y="168"/>
                  </a:lnTo>
                  <a:lnTo>
                    <a:pt x="36" y="168"/>
                  </a:lnTo>
                  <a:lnTo>
                    <a:pt x="32" y="168"/>
                  </a:lnTo>
                  <a:lnTo>
                    <a:pt x="28" y="168"/>
                  </a:lnTo>
                  <a:close/>
                  <a:moveTo>
                    <a:pt x="128" y="28"/>
                  </a:moveTo>
                  <a:lnTo>
                    <a:pt x="124" y="28"/>
                  </a:lnTo>
                  <a:lnTo>
                    <a:pt x="120" y="28"/>
                  </a:lnTo>
                  <a:lnTo>
                    <a:pt x="124" y="28"/>
                  </a:lnTo>
                  <a:lnTo>
                    <a:pt x="124" y="24"/>
                  </a:lnTo>
                  <a:lnTo>
                    <a:pt x="120" y="24"/>
                  </a:lnTo>
                  <a:lnTo>
                    <a:pt x="120" y="20"/>
                  </a:lnTo>
                  <a:lnTo>
                    <a:pt x="124" y="20"/>
                  </a:lnTo>
                  <a:lnTo>
                    <a:pt x="124" y="24"/>
                  </a:lnTo>
                  <a:lnTo>
                    <a:pt x="128" y="24"/>
                  </a:lnTo>
                  <a:lnTo>
                    <a:pt x="128" y="28"/>
                  </a:lnTo>
                  <a:close/>
                  <a:moveTo>
                    <a:pt x="84" y="12"/>
                  </a:moveTo>
                  <a:lnTo>
                    <a:pt x="84" y="16"/>
                  </a:lnTo>
                  <a:lnTo>
                    <a:pt x="80" y="16"/>
                  </a:lnTo>
                  <a:lnTo>
                    <a:pt x="80" y="12"/>
                  </a:lnTo>
                  <a:lnTo>
                    <a:pt x="84" y="12"/>
                  </a:lnTo>
                  <a:close/>
                  <a:moveTo>
                    <a:pt x="44" y="8"/>
                  </a:moveTo>
                  <a:lnTo>
                    <a:pt x="40" y="8"/>
                  </a:lnTo>
                  <a:lnTo>
                    <a:pt x="44" y="8"/>
                  </a:lnTo>
                  <a:close/>
                  <a:moveTo>
                    <a:pt x="112" y="20"/>
                  </a:moveTo>
                  <a:lnTo>
                    <a:pt x="112" y="16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12" y="12"/>
                  </a:lnTo>
                  <a:lnTo>
                    <a:pt x="112" y="8"/>
                  </a:lnTo>
                  <a:lnTo>
                    <a:pt x="116" y="8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16" y="16"/>
                  </a:lnTo>
                  <a:lnTo>
                    <a:pt x="116" y="20"/>
                  </a:lnTo>
                  <a:lnTo>
                    <a:pt x="112" y="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5" name="Freeform 92"/>
            <p:cNvSpPr>
              <a:spLocks noEditPoints="1"/>
            </p:cNvSpPr>
            <p:nvPr>
              <p:custDataLst>
                <p:tags r:id="rId287"/>
              </p:custDataLst>
            </p:nvPr>
          </p:nvSpPr>
          <p:spPr bwMode="gray">
            <a:xfrm>
              <a:off x="4819497" y="3408020"/>
              <a:ext cx="188349" cy="207629"/>
            </a:xfrm>
            <a:custGeom>
              <a:avLst/>
              <a:gdLst/>
              <a:ahLst/>
              <a:cxnLst>
                <a:cxn ang="0">
                  <a:pos x="12" y="52"/>
                </a:cxn>
                <a:cxn ang="0">
                  <a:pos x="8" y="44"/>
                </a:cxn>
                <a:cxn ang="0">
                  <a:pos x="20" y="24"/>
                </a:cxn>
                <a:cxn ang="0">
                  <a:pos x="40" y="12"/>
                </a:cxn>
                <a:cxn ang="0">
                  <a:pos x="56" y="8"/>
                </a:cxn>
                <a:cxn ang="0">
                  <a:pos x="76" y="8"/>
                </a:cxn>
                <a:cxn ang="0">
                  <a:pos x="96" y="12"/>
                </a:cxn>
                <a:cxn ang="0">
                  <a:pos x="104" y="8"/>
                </a:cxn>
                <a:cxn ang="0">
                  <a:pos x="96" y="20"/>
                </a:cxn>
                <a:cxn ang="0">
                  <a:pos x="72" y="16"/>
                </a:cxn>
                <a:cxn ang="0">
                  <a:pos x="60" y="24"/>
                </a:cxn>
                <a:cxn ang="0">
                  <a:pos x="68" y="32"/>
                </a:cxn>
                <a:cxn ang="0">
                  <a:pos x="56" y="32"/>
                </a:cxn>
                <a:cxn ang="0">
                  <a:pos x="52" y="32"/>
                </a:cxn>
                <a:cxn ang="0">
                  <a:pos x="48" y="44"/>
                </a:cxn>
                <a:cxn ang="0">
                  <a:pos x="48" y="56"/>
                </a:cxn>
                <a:cxn ang="0">
                  <a:pos x="44" y="60"/>
                </a:cxn>
                <a:cxn ang="0">
                  <a:pos x="52" y="64"/>
                </a:cxn>
                <a:cxn ang="0">
                  <a:pos x="60" y="72"/>
                </a:cxn>
                <a:cxn ang="0">
                  <a:pos x="60" y="84"/>
                </a:cxn>
                <a:cxn ang="0">
                  <a:pos x="52" y="84"/>
                </a:cxn>
                <a:cxn ang="0">
                  <a:pos x="44" y="92"/>
                </a:cxn>
                <a:cxn ang="0">
                  <a:pos x="48" y="108"/>
                </a:cxn>
                <a:cxn ang="0">
                  <a:pos x="40" y="108"/>
                </a:cxn>
                <a:cxn ang="0">
                  <a:pos x="28" y="100"/>
                </a:cxn>
                <a:cxn ang="0">
                  <a:pos x="20" y="80"/>
                </a:cxn>
                <a:cxn ang="0">
                  <a:pos x="36" y="76"/>
                </a:cxn>
                <a:cxn ang="0">
                  <a:pos x="48" y="76"/>
                </a:cxn>
                <a:cxn ang="0">
                  <a:pos x="32" y="72"/>
                </a:cxn>
                <a:cxn ang="0">
                  <a:pos x="16" y="60"/>
                </a:cxn>
                <a:cxn ang="0">
                  <a:pos x="76" y="24"/>
                </a:cxn>
                <a:cxn ang="0">
                  <a:pos x="84" y="40"/>
                </a:cxn>
                <a:cxn ang="0">
                  <a:pos x="0" y="40"/>
                </a:cxn>
                <a:cxn ang="0">
                  <a:pos x="0" y="44"/>
                </a:cxn>
                <a:cxn ang="0">
                  <a:pos x="96" y="56"/>
                </a:cxn>
                <a:cxn ang="0">
                  <a:pos x="64" y="72"/>
                </a:cxn>
                <a:cxn ang="0">
                  <a:pos x="52" y="60"/>
                </a:cxn>
                <a:cxn ang="0">
                  <a:pos x="68" y="68"/>
                </a:cxn>
                <a:cxn ang="0">
                  <a:pos x="68" y="72"/>
                </a:cxn>
                <a:cxn ang="0">
                  <a:pos x="16" y="64"/>
                </a:cxn>
                <a:cxn ang="0">
                  <a:pos x="92" y="76"/>
                </a:cxn>
                <a:cxn ang="0">
                  <a:pos x="16" y="72"/>
                </a:cxn>
                <a:cxn ang="0">
                  <a:pos x="16" y="76"/>
                </a:cxn>
                <a:cxn ang="0">
                  <a:pos x="76" y="84"/>
                </a:cxn>
                <a:cxn ang="0">
                  <a:pos x="12" y="80"/>
                </a:cxn>
                <a:cxn ang="0">
                  <a:pos x="108" y="84"/>
                </a:cxn>
                <a:cxn ang="0">
                  <a:pos x="100" y="84"/>
                </a:cxn>
                <a:cxn ang="0">
                  <a:pos x="68" y="88"/>
                </a:cxn>
                <a:cxn ang="0">
                  <a:pos x="72" y="92"/>
                </a:cxn>
                <a:cxn ang="0">
                  <a:pos x="88" y="100"/>
                </a:cxn>
                <a:cxn ang="0">
                  <a:pos x="108" y="96"/>
                </a:cxn>
                <a:cxn ang="0">
                  <a:pos x="112" y="100"/>
                </a:cxn>
                <a:cxn ang="0">
                  <a:pos x="84" y="104"/>
                </a:cxn>
                <a:cxn ang="0">
                  <a:pos x="127" y="112"/>
                </a:cxn>
                <a:cxn ang="0">
                  <a:pos x="127" y="112"/>
                </a:cxn>
                <a:cxn ang="0">
                  <a:pos x="112" y="124"/>
                </a:cxn>
                <a:cxn ang="0">
                  <a:pos x="64" y="128"/>
                </a:cxn>
                <a:cxn ang="0">
                  <a:pos x="84" y="132"/>
                </a:cxn>
                <a:cxn ang="0">
                  <a:pos x="100" y="140"/>
                </a:cxn>
                <a:cxn ang="0">
                  <a:pos x="72" y="136"/>
                </a:cxn>
              </a:cxnLst>
              <a:rect l="0" t="0" r="r" b="b"/>
              <a:pathLst>
                <a:path w="127" h="140">
                  <a:moveTo>
                    <a:pt x="20" y="56"/>
                  </a:moveTo>
                  <a:lnTo>
                    <a:pt x="20" y="60"/>
                  </a:lnTo>
                  <a:lnTo>
                    <a:pt x="16" y="56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12"/>
                  </a:lnTo>
                  <a:lnTo>
                    <a:pt x="48" y="8"/>
                  </a:lnTo>
                  <a:lnTo>
                    <a:pt x="52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92" y="8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8"/>
                  </a:lnTo>
                  <a:lnTo>
                    <a:pt x="96" y="4"/>
                  </a:lnTo>
                  <a:lnTo>
                    <a:pt x="96" y="0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4" y="4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0" y="12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96" y="20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2" y="20"/>
                  </a:lnTo>
                  <a:lnTo>
                    <a:pt x="88" y="20"/>
                  </a:lnTo>
                  <a:lnTo>
                    <a:pt x="84" y="20"/>
                  </a:lnTo>
                  <a:lnTo>
                    <a:pt x="80" y="16"/>
                  </a:lnTo>
                  <a:lnTo>
                    <a:pt x="76" y="20"/>
                  </a:lnTo>
                  <a:lnTo>
                    <a:pt x="72" y="20"/>
                  </a:lnTo>
                  <a:lnTo>
                    <a:pt x="72" y="16"/>
                  </a:lnTo>
                  <a:lnTo>
                    <a:pt x="72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0" y="20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8" y="32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68" y="36"/>
                  </a:lnTo>
                  <a:lnTo>
                    <a:pt x="68" y="32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60" y="36"/>
                  </a:lnTo>
                  <a:lnTo>
                    <a:pt x="60" y="40"/>
                  </a:lnTo>
                  <a:lnTo>
                    <a:pt x="56" y="40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52" y="32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8" y="44"/>
                  </a:lnTo>
                  <a:lnTo>
                    <a:pt x="48" y="48"/>
                  </a:lnTo>
                  <a:lnTo>
                    <a:pt x="52" y="48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52" y="64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84"/>
                  </a:lnTo>
                  <a:lnTo>
                    <a:pt x="60" y="84"/>
                  </a:lnTo>
                  <a:lnTo>
                    <a:pt x="56" y="80"/>
                  </a:lnTo>
                  <a:lnTo>
                    <a:pt x="60" y="80"/>
                  </a:lnTo>
                  <a:lnTo>
                    <a:pt x="56" y="80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84"/>
                  </a:lnTo>
                  <a:lnTo>
                    <a:pt x="52" y="84"/>
                  </a:lnTo>
                  <a:lnTo>
                    <a:pt x="52" y="88"/>
                  </a:lnTo>
                  <a:lnTo>
                    <a:pt x="56" y="88"/>
                  </a:lnTo>
                  <a:lnTo>
                    <a:pt x="56" y="92"/>
                  </a:lnTo>
                  <a:lnTo>
                    <a:pt x="52" y="92"/>
                  </a:lnTo>
                  <a:lnTo>
                    <a:pt x="48" y="88"/>
                  </a:lnTo>
                  <a:lnTo>
                    <a:pt x="44" y="88"/>
                  </a:lnTo>
                  <a:lnTo>
                    <a:pt x="44" y="92"/>
                  </a:lnTo>
                  <a:lnTo>
                    <a:pt x="48" y="92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48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8"/>
                  </a:lnTo>
                  <a:lnTo>
                    <a:pt x="52" y="108"/>
                  </a:lnTo>
                  <a:lnTo>
                    <a:pt x="52" y="112"/>
                  </a:lnTo>
                  <a:lnTo>
                    <a:pt x="48" y="108"/>
                  </a:lnTo>
                  <a:lnTo>
                    <a:pt x="44" y="104"/>
                  </a:lnTo>
                  <a:lnTo>
                    <a:pt x="40" y="108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0" y="104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32" y="100"/>
                  </a:lnTo>
                  <a:lnTo>
                    <a:pt x="32" y="104"/>
                  </a:lnTo>
                  <a:lnTo>
                    <a:pt x="28" y="104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28" y="92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8" y="76"/>
                  </a:lnTo>
                  <a:lnTo>
                    <a:pt x="28" y="72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36" y="76"/>
                  </a:lnTo>
                  <a:lnTo>
                    <a:pt x="40" y="76"/>
                  </a:lnTo>
                  <a:lnTo>
                    <a:pt x="44" y="76"/>
                  </a:lnTo>
                  <a:lnTo>
                    <a:pt x="44" y="80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40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28" y="72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0" y="56"/>
                  </a:lnTo>
                  <a:close/>
                  <a:moveTo>
                    <a:pt x="76" y="24"/>
                  </a:moveTo>
                  <a:lnTo>
                    <a:pt x="72" y="24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24"/>
                  </a:lnTo>
                  <a:close/>
                  <a:moveTo>
                    <a:pt x="88" y="28"/>
                  </a:moveTo>
                  <a:lnTo>
                    <a:pt x="92" y="28"/>
                  </a:lnTo>
                  <a:lnTo>
                    <a:pt x="88" y="28"/>
                  </a:lnTo>
                  <a:close/>
                  <a:moveTo>
                    <a:pt x="88" y="36"/>
                  </a:moveTo>
                  <a:lnTo>
                    <a:pt x="84" y="40"/>
                  </a:lnTo>
                  <a:lnTo>
                    <a:pt x="84" y="44"/>
                  </a:lnTo>
                  <a:lnTo>
                    <a:pt x="84" y="40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36"/>
                  </a:lnTo>
                  <a:lnTo>
                    <a:pt x="88" y="36"/>
                  </a:lnTo>
                  <a:close/>
                  <a:moveTo>
                    <a:pt x="0" y="40"/>
                  </a:moveTo>
                  <a:lnTo>
                    <a:pt x="4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8"/>
                  </a:lnTo>
                  <a:lnTo>
                    <a:pt x="4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0"/>
                  </a:lnTo>
                  <a:close/>
                  <a:moveTo>
                    <a:pt x="100" y="52"/>
                  </a:moveTo>
                  <a:lnTo>
                    <a:pt x="104" y="56"/>
                  </a:lnTo>
                  <a:lnTo>
                    <a:pt x="104" y="60"/>
                  </a:lnTo>
                  <a:lnTo>
                    <a:pt x="100" y="60"/>
                  </a:lnTo>
                  <a:lnTo>
                    <a:pt x="96" y="60"/>
                  </a:lnTo>
                  <a:lnTo>
                    <a:pt x="96" y="56"/>
                  </a:lnTo>
                  <a:lnTo>
                    <a:pt x="100" y="56"/>
                  </a:lnTo>
                  <a:lnTo>
                    <a:pt x="96" y="56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96" y="52"/>
                  </a:lnTo>
                  <a:lnTo>
                    <a:pt x="100" y="52"/>
                  </a:lnTo>
                  <a:close/>
                  <a:moveTo>
                    <a:pt x="64" y="72"/>
                  </a:moveTo>
                  <a:lnTo>
                    <a:pt x="60" y="72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52" y="60"/>
                  </a:lnTo>
                  <a:lnTo>
                    <a:pt x="48" y="60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4" y="72"/>
                  </a:lnTo>
                  <a:close/>
                  <a:moveTo>
                    <a:pt x="72" y="64"/>
                  </a:moveTo>
                  <a:lnTo>
                    <a:pt x="72" y="60"/>
                  </a:lnTo>
                  <a:lnTo>
                    <a:pt x="76" y="64"/>
                  </a:lnTo>
                  <a:lnTo>
                    <a:pt x="72" y="64"/>
                  </a:lnTo>
                  <a:close/>
                  <a:moveTo>
                    <a:pt x="16" y="60"/>
                  </a:moveTo>
                  <a:lnTo>
                    <a:pt x="16" y="64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6" y="60"/>
                  </a:lnTo>
                  <a:close/>
                  <a:moveTo>
                    <a:pt x="96" y="76"/>
                  </a:moveTo>
                  <a:lnTo>
                    <a:pt x="92" y="76"/>
                  </a:lnTo>
                  <a:lnTo>
                    <a:pt x="92" y="72"/>
                  </a:lnTo>
                  <a:lnTo>
                    <a:pt x="96" y="72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96" y="76"/>
                  </a:lnTo>
                  <a:close/>
                  <a:moveTo>
                    <a:pt x="16" y="72"/>
                  </a:moveTo>
                  <a:lnTo>
                    <a:pt x="12" y="72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72"/>
                  </a:lnTo>
                  <a:close/>
                  <a:moveTo>
                    <a:pt x="12" y="68"/>
                  </a:moveTo>
                  <a:lnTo>
                    <a:pt x="12" y="72"/>
                  </a:lnTo>
                  <a:lnTo>
                    <a:pt x="16" y="76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68"/>
                  </a:lnTo>
                  <a:close/>
                  <a:moveTo>
                    <a:pt x="80" y="84"/>
                  </a:moveTo>
                  <a:lnTo>
                    <a:pt x="76" y="84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84"/>
                  </a:lnTo>
                  <a:close/>
                  <a:moveTo>
                    <a:pt x="16" y="88"/>
                  </a:moveTo>
                  <a:lnTo>
                    <a:pt x="16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84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6" y="88"/>
                  </a:lnTo>
                  <a:close/>
                  <a:moveTo>
                    <a:pt x="108" y="88"/>
                  </a:moveTo>
                  <a:lnTo>
                    <a:pt x="108" y="84"/>
                  </a:lnTo>
                  <a:lnTo>
                    <a:pt x="104" y="84"/>
                  </a:lnTo>
                  <a:lnTo>
                    <a:pt x="108" y="84"/>
                  </a:lnTo>
                  <a:lnTo>
                    <a:pt x="112" y="84"/>
                  </a:lnTo>
                  <a:lnTo>
                    <a:pt x="108" y="84"/>
                  </a:lnTo>
                  <a:lnTo>
                    <a:pt x="108" y="88"/>
                  </a:lnTo>
                  <a:close/>
                  <a:moveTo>
                    <a:pt x="96" y="88"/>
                  </a:moveTo>
                  <a:lnTo>
                    <a:pt x="100" y="84"/>
                  </a:lnTo>
                  <a:lnTo>
                    <a:pt x="100" y="88"/>
                  </a:lnTo>
                  <a:lnTo>
                    <a:pt x="96" y="88"/>
                  </a:lnTo>
                  <a:close/>
                  <a:moveTo>
                    <a:pt x="68" y="88"/>
                  </a:moveTo>
                  <a:lnTo>
                    <a:pt x="68" y="84"/>
                  </a:lnTo>
                  <a:lnTo>
                    <a:pt x="72" y="84"/>
                  </a:lnTo>
                  <a:lnTo>
                    <a:pt x="72" y="88"/>
                  </a:lnTo>
                  <a:lnTo>
                    <a:pt x="68" y="88"/>
                  </a:lnTo>
                  <a:close/>
                  <a:moveTo>
                    <a:pt x="80" y="84"/>
                  </a:moveTo>
                  <a:lnTo>
                    <a:pt x="80" y="88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80" y="84"/>
                  </a:lnTo>
                  <a:close/>
                  <a:moveTo>
                    <a:pt x="72" y="88"/>
                  </a:moveTo>
                  <a:lnTo>
                    <a:pt x="72" y="92"/>
                  </a:lnTo>
                  <a:lnTo>
                    <a:pt x="68" y="92"/>
                  </a:lnTo>
                  <a:lnTo>
                    <a:pt x="72" y="92"/>
                  </a:lnTo>
                  <a:lnTo>
                    <a:pt x="72" y="88"/>
                  </a:lnTo>
                  <a:close/>
                  <a:moveTo>
                    <a:pt x="88" y="100"/>
                  </a:moveTo>
                  <a:lnTo>
                    <a:pt x="84" y="96"/>
                  </a:lnTo>
                  <a:lnTo>
                    <a:pt x="88" y="96"/>
                  </a:lnTo>
                  <a:lnTo>
                    <a:pt x="88" y="100"/>
                  </a:lnTo>
                  <a:close/>
                  <a:moveTo>
                    <a:pt x="84" y="100"/>
                  </a:moveTo>
                  <a:lnTo>
                    <a:pt x="80" y="100"/>
                  </a:lnTo>
                  <a:lnTo>
                    <a:pt x="80" y="96"/>
                  </a:lnTo>
                  <a:lnTo>
                    <a:pt x="84" y="96"/>
                  </a:lnTo>
                  <a:lnTo>
                    <a:pt x="84" y="100"/>
                  </a:lnTo>
                  <a:close/>
                  <a:moveTo>
                    <a:pt x="108" y="100"/>
                  </a:moveTo>
                  <a:lnTo>
                    <a:pt x="108" y="96"/>
                  </a:lnTo>
                  <a:lnTo>
                    <a:pt x="108" y="100"/>
                  </a:lnTo>
                  <a:lnTo>
                    <a:pt x="112" y="100"/>
                  </a:lnTo>
                  <a:lnTo>
                    <a:pt x="108" y="100"/>
                  </a:lnTo>
                  <a:close/>
                  <a:moveTo>
                    <a:pt x="108" y="108"/>
                  </a:moveTo>
                  <a:lnTo>
                    <a:pt x="108" y="104"/>
                  </a:lnTo>
                  <a:lnTo>
                    <a:pt x="112" y="104"/>
                  </a:lnTo>
                  <a:lnTo>
                    <a:pt x="112" y="100"/>
                  </a:lnTo>
                  <a:lnTo>
                    <a:pt x="116" y="100"/>
                  </a:lnTo>
                  <a:lnTo>
                    <a:pt x="116" y="104"/>
                  </a:lnTo>
                  <a:lnTo>
                    <a:pt x="112" y="104"/>
                  </a:lnTo>
                  <a:lnTo>
                    <a:pt x="108" y="104"/>
                  </a:lnTo>
                  <a:lnTo>
                    <a:pt x="108" y="108"/>
                  </a:lnTo>
                  <a:close/>
                  <a:moveTo>
                    <a:pt x="84" y="108"/>
                  </a:moveTo>
                  <a:lnTo>
                    <a:pt x="84" y="104"/>
                  </a:lnTo>
                  <a:lnTo>
                    <a:pt x="84" y="108"/>
                  </a:lnTo>
                  <a:close/>
                  <a:moveTo>
                    <a:pt x="68" y="108"/>
                  </a:moveTo>
                  <a:lnTo>
                    <a:pt x="68" y="104"/>
                  </a:lnTo>
                  <a:lnTo>
                    <a:pt x="72" y="104"/>
                  </a:lnTo>
                  <a:lnTo>
                    <a:pt x="72" y="108"/>
                  </a:lnTo>
                  <a:lnTo>
                    <a:pt x="68" y="108"/>
                  </a:lnTo>
                  <a:close/>
                  <a:moveTo>
                    <a:pt x="127" y="112"/>
                  </a:moveTo>
                  <a:lnTo>
                    <a:pt x="127" y="116"/>
                  </a:lnTo>
                  <a:lnTo>
                    <a:pt x="124" y="120"/>
                  </a:lnTo>
                  <a:lnTo>
                    <a:pt x="120" y="120"/>
                  </a:lnTo>
                  <a:lnTo>
                    <a:pt x="120" y="116"/>
                  </a:lnTo>
                  <a:lnTo>
                    <a:pt x="124" y="116"/>
                  </a:lnTo>
                  <a:lnTo>
                    <a:pt x="124" y="112"/>
                  </a:lnTo>
                  <a:lnTo>
                    <a:pt x="127" y="112"/>
                  </a:lnTo>
                  <a:close/>
                  <a:moveTo>
                    <a:pt x="48" y="112"/>
                  </a:moveTo>
                  <a:lnTo>
                    <a:pt x="52" y="116"/>
                  </a:lnTo>
                  <a:lnTo>
                    <a:pt x="48" y="116"/>
                  </a:lnTo>
                  <a:lnTo>
                    <a:pt x="48" y="112"/>
                  </a:lnTo>
                  <a:close/>
                  <a:moveTo>
                    <a:pt x="112" y="132"/>
                  </a:moveTo>
                  <a:lnTo>
                    <a:pt x="112" y="128"/>
                  </a:lnTo>
                  <a:lnTo>
                    <a:pt x="112" y="124"/>
                  </a:lnTo>
                  <a:lnTo>
                    <a:pt x="112" y="128"/>
                  </a:lnTo>
                  <a:lnTo>
                    <a:pt x="112" y="132"/>
                  </a:lnTo>
                  <a:close/>
                  <a:moveTo>
                    <a:pt x="60" y="136"/>
                  </a:moveTo>
                  <a:lnTo>
                    <a:pt x="56" y="136"/>
                  </a:lnTo>
                  <a:lnTo>
                    <a:pt x="56" y="128"/>
                  </a:lnTo>
                  <a:lnTo>
                    <a:pt x="60" y="128"/>
                  </a:lnTo>
                  <a:lnTo>
                    <a:pt x="64" y="128"/>
                  </a:lnTo>
                  <a:lnTo>
                    <a:pt x="68" y="128"/>
                  </a:lnTo>
                  <a:lnTo>
                    <a:pt x="64" y="132"/>
                  </a:lnTo>
                  <a:lnTo>
                    <a:pt x="68" y="132"/>
                  </a:lnTo>
                  <a:lnTo>
                    <a:pt x="72" y="132"/>
                  </a:lnTo>
                  <a:lnTo>
                    <a:pt x="76" y="132"/>
                  </a:lnTo>
                  <a:lnTo>
                    <a:pt x="80" y="132"/>
                  </a:lnTo>
                  <a:lnTo>
                    <a:pt x="84" y="132"/>
                  </a:lnTo>
                  <a:lnTo>
                    <a:pt x="88" y="136"/>
                  </a:lnTo>
                  <a:lnTo>
                    <a:pt x="88" y="132"/>
                  </a:lnTo>
                  <a:lnTo>
                    <a:pt x="92" y="132"/>
                  </a:lnTo>
                  <a:lnTo>
                    <a:pt x="92" y="136"/>
                  </a:lnTo>
                  <a:lnTo>
                    <a:pt x="96" y="136"/>
                  </a:lnTo>
                  <a:lnTo>
                    <a:pt x="100" y="136"/>
                  </a:lnTo>
                  <a:lnTo>
                    <a:pt x="100" y="140"/>
                  </a:lnTo>
                  <a:lnTo>
                    <a:pt x="96" y="140"/>
                  </a:lnTo>
                  <a:lnTo>
                    <a:pt x="88" y="140"/>
                  </a:lnTo>
                  <a:lnTo>
                    <a:pt x="84" y="140"/>
                  </a:lnTo>
                  <a:lnTo>
                    <a:pt x="80" y="140"/>
                  </a:lnTo>
                  <a:lnTo>
                    <a:pt x="76" y="140"/>
                  </a:lnTo>
                  <a:lnTo>
                    <a:pt x="72" y="140"/>
                  </a:lnTo>
                  <a:lnTo>
                    <a:pt x="72" y="136"/>
                  </a:lnTo>
                  <a:lnTo>
                    <a:pt x="68" y="136"/>
                  </a:lnTo>
                  <a:lnTo>
                    <a:pt x="64" y="136"/>
                  </a:lnTo>
                  <a:lnTo>
                    <a:pt x="60" y="1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6" name="Freeform 93"/>
            <p:cNvSpPr>
              <a:spLocks/>
            </p:cNvSpPr>
            <p:nvPr>
              <p:custDataLst>
                <p:tags r:id="rId288"/>
              </p:custDataLst>
            </p:nvPr>
          </p:nvSpPr>
          <p:spPr bwMode="gray">
            <a:xfrm>
              <a:off x="4316738" y="3160349"/>
              <a:ext cx="5932" cy="5932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7" name="Freeform 94"/>
            <p:cNvSpPr>
              <a:spLocks/>
            </p:cNvSpPr>
            <p:nvPr>
              <p:custDataLst>
                <p:tags r:id="rId289"/>
              </p:custDataLst>
            </p:nvPr>
          </p:nvSpPr>
          <p:spPr bwMode="gray">
            <a:xfrm>
              <a:off x="4736446" y="3195942"/>
              <a:ext cx="154239" cy="88984"/>
            </a:xfrm>
            <a:custGeom>
              <a:avLst/>
              <a:gdLst/>
              <a:ahLst/>
              <a:cxnLst>
                <a:cxn ang="0">
                  <a:pos x="80" y="44"/>
                </a:cxn>
                <a:cxn ang="0">
                  <a:pos x="76" y="48"/>
                </a:cxn>
                <a:cxn ang="0">
                  <a:pos x="72" y="48"/>
                </a:cxn>
                <a:cxn ang="0">
                  <a:pos x="72" y="48"/>
                </a:cxn>
                <a:cxn ang="0">
                  <a:pos x="68" y="52"/>
                </a:cxn>
                <a:cxn ang="0">
                  <a:pos x="64" y="52"/>
                </a:cxn>
                <a:cxn ang="0">
                  <a:pos x="60" y="52"/>
                </a:cxn>
                <a:cxn ang="0">
                  <a:pos x="56" y="52"/>
                </a:cxn>
                <a:cxn ang="0">
                  <a:pos x="48" y="56"/>
                </a:cxn>
                <a:cxn ang="0">
                  <a:pos x="44" y="56"/>
                </a:cxn>
                <a:cxn ang="0">
                  <a:pos x="40" y="56"/>
                </a:cxn>
                <a:cxn ang="0">
                  <a:pos x="36" y="60"/>
                </a:cxn>
                <a:cxn ang="0">
                  <a:pos x="32" y="60"/>
                </a:cxn>
                <a:cxn ang="0">
                  <a:pos x="24" y="56"/>
                </a:cxn>
                <a:cxn ang="0">
                  <a:pos x="20" y="56"/>
                </a:cxn>
                <a:cxn ang="0">
                  <a:pos x="16" y="52"/>
                </a:cxn>
                <a:cxn ang="0">
                  <a:pos x="12" y="48"/>
                </a:cxn>
                <a:cxn ang="0">
                  <a:pos x="12" y="48"/>
                </a:cxn>
                <a:cxn ang="0">
                  <a:pos x="8" y="44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0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12" y="16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8" y="16"/>
                </a:cxn>
                <a:cxn ang="0">
                  <a:pos x="36" y="16"/>
                </a:cxn>
                <a:cxn ang="0">
                  <a:pos x="40" y="16"/>
                </a:cxn>
                <a:cxn ang="0">
                  <a:pos x="40" y="16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52" y="8"/>
                </a:cxn>
                <a:cxn ang="0">
                  <a:pos x="60" y="8"/>
                </a:cxn>
                <a:cxn ang="0">
                  <a:pos x="60" y="8"/>
                </a:cxn>
                <a:cxn ang="0">
                  <a:pos x="64" y="4"/>
                </a:cxn>
                <a:cxn ang="0">
                  <a:pos x="68" y="0"/>
                </a:cxn>
                <a:cxn ang="0">
                  <a:pos x="72" y="0"/>
                </a:cxn>
                <a:cxn ang="0">
                  <a:pos x="76" y="0"/>
                </a:cxn>
                <a:cxn ang="0">
                  <a:pos x="84" y="0"/>
                </a:cxn>
                <a:cxn ang="0">
                  <a:pos x="88" y="4"/>
                </a:cxn>
                <a:cxn ang="0">
                  <a:pos x="92" y="4"/>
                </a:cxn>
                <a:cxn ang="0">
                  <a:pos x="92" y="0"/>
                </a:cxn>
                <a:cxn ang="0">
                  <a:pos x="96" y="4"/>
                </a:cxn>
                <a:cxn ang="0">
                  <a:pos x="100" y="8"/>
                </a:cxn>
                <a:cxn ang="0">
                  <a:pos x="104" y="8"/>
                </a:cxn>
                <a:cxn ang="0">
                  <a:pos x="100" y="16"/>
                </a:cxn>
                <a:cxn ang="0">
                  <a:pos x="96" y="16"/>
                </a:cxn>
                <a:cxn ang="0">
                  <a:pos x="92" y="20"/>
                </a:cxn>
                <a:cxn ang="0">
                  <a:pos x="92" y="20"/>
                </a:cxn>
                <a:cxn ang="0">
                  <a:pos x="92" y="24"/>
                </a:cxn>
                <a:cxn ang="0">
                  <a:pos x="88" y="28"/>
                </a:cxn>
                <a:cxn ang="0">
                  <a:pos x="84" y="32"/>
                </a:cxn>
                <a:cxn ang="0">
                  <a:pos x="84" y="36"/>
                </a:cxn>
              </a:cxnLst>
              <a:rect l="0" t="0" r="r" b="b"/>
              <a:pathLst>
                <a:path w="104" h="60">
                  <a:moveTo>
                    <a:pt x="84" y="40"/>
                  </a:move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4" y="60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0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8" name="Freeform 95"/>
            <p:cNvSpPr>
              <a:spLocks/>
            </p:cNvSpPr>
            <p:nvPr>
              <p:custDataLst>
                <p:tags r:id="rId290"/>
              </p:custDataLst>
            </p:nvPr>
          </p:nvSpPr>
          <p:spPr bwMode="gray">
            <a:xfrm>
              <a:off x="3825844" y="2556741"/>
              <a:ext cx="247671" cy="118645"/>
            </a:xfrm>
            <a:custGeom>
              <a:avLst/>
              <a:gdLst/>
              <a:ahLst/>
              <a:cxnLst>
                <a:cxn ang="0">
                  <a:pos x="40" y="52"/>
                </a:cxn>
                <a:cxn ang="0">
                  <a:pos x="32" y="48"/>
                </a:cxn>
                <a:cxn ang="0">
                  <a:pos x="16" y="44"/>
                </a:cxn>
                <a:cxn ang="0">
                  <a:pos x="16" y="44"/>
                </a:cxn>
                <a:cxn ang="0">
                  <a:pos x="32" y="40"/>
                </a:cxn>
                <a:cxn ang="0">
                  <a:pos x="36" y="36"/>
                </a:cxn>
                <a:cxn ang="0">
                  <a:pos x="36" y="32"/>
                </a:cxn>
                <a:cxn ang="0">
                  <a:pos x="36" y="28"/>
                </a:cxn>
                <a:cxn ang="0">
                  <a:pos x="32" y="28"/>
                </a:cxn>
                <a:cxn ang="0">
                  <a:pos x="20" y="28"/>
                </a:cxn>
                <a:cxn ang="0">
                  <a:pos x="0" y="28"/>
                </a:cxn>
                <a:cxn ang="0">
                  <a:pos x="8" y="28"/>
                </a:cxn>
                <a:cxn ang="0">
                  <a:pos x="8" y="24"/>
                </a:cxn>
                <a:cxn ang="0">
                  <a:pos x="12" y="24"/>
                </a:cxn>
                <a:cxn ang="0">
                  <a:pos x="12" y="20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8" y="20"/>
                </a:cxn>
                <a:cxn ang="0">
                  <a:pos x="32" y="12"/>
                </a:cxn>
                <a:cxn ang="0">
                  <a:pos x="32" y="8"/>
                </a:cxn>
                <a:cxn ang="0">
                  <a:pos x="24" y="4"/>
                </a:cxn>
                <a:cxn ang="0">
                  <a:pos x="36" y="4"/>
                </a:cxn>
                <a:cxn ang="0">
                  <a:pos x="48" y="16"/>
                </a:cxn>
                <a:cxn ang="0">
                  <a:pos x="44" y="24"/>
                </a:cxn>
                <a:cxn ang="0">
                  <a:pos x="48" y="28"/>
                </a:cxn>
                <a:cxn ang="0">
                  <a:pos x="56" y="24"/>
                </a:cxn>
                <a:cxn ang="0">
                  <a:pos x="64" y="16"/>
                </a:cxn>
                <a:cxn ang="0">
                  <a:pos x="72" y="20"/>
                </a:cxn>
                <a:cxn ang="0">
                  <a:pos x="84" y="12"/>
                </a:cxn>
                <a:cxn ang="0">
                  <a:pos x="91" y="16"/>
                </a:cxn>
                <a:cxn ang="0">
                  <a:pos x="95" y="20"/>
                </a:cxn>
                <a:cxn ang="0">
                  <a:pos x="99" y="12"/>
                </a:cxn>
                <a:cxn ang="0">
                  <a:pos x="111" y="8"/>
                </a:cxn>
                <a:cxn ang="0">
                  <a:pos x="123" y="8"/>
                </a:cxn>
                <a:cxn ang="0">
                  <a:pos x="131" y="0"/>
                </a:cxn>
                <a:cxn ang="0">
                  <a:pos x="139" y="8"/>
                </a:cxn>
                <a:cxn ang="0">
                  <a:pos x="143" y="12"/>
                </a:cxn>
                <a:cxn ang="0">
                  <a:pos x="147" y="16"/>
                </a:cxn>
                <a:cxn ang="0">
                  <a:pos x="151" y="24"/>
                </a:cxn>
                <a:cxn ang="0">
                  <a:pos x="163" y="32"/>
                </a:cxn>
                <a:cxn ang="0">
                  <a:pos x="167" y="36"/>
                </a:cxn>
                <a:cxn ang="0">
                  <a:pos x="163" y="44"/>
                </a:cxn>
                <a:cxn ang="0">
                  <a:pos x="155" y="48"/>
                </a:cxn>
                <a:cxn ang="0">
                  <a:pos x="151" y="56"/>
                </a:cxn>
                <a:cxn ang="0">
                  <a:pos x="139" y="60"/>
                </a:cxn>
                <a:cxn ang="0">
                  <a:pos x="127" y="64"/>
                </a:cxn>
                <a:cxn ang="0">
                  <a:pos x="115" y="68"/>
                </a:cxn>
                <a:cxn ang="0">
                  <a:pos x="99" y="72"/>
                </a:cxn>
                <a:cxn ang="0">
                  <a:pos x="88" y="80"/>
                </a:cxn>
                <a:cxn ang="0">
                  <a:pos x="68" y="76"/>
                </a:cxn>
                <a:cxn ang="0">
                  <a:pos x="60" y="72"/>
                </a:cxn>
                <a:cxn ang="0">
                  <a:pos x="52" y="72"/>
                </a:cxn>
                <a:cxn ang="0">
                  <a:pos x="40" y="68"/>
                </a:cxn>
                <a:cxn ang="0">
                  <a:pos x="28" y="72"/>
                </a:cxn>
                <a:cxn ang="0">
                  <a:pos x="32" y="64"/>
                </a:cxn>
                <a:cxn ang="0">
                  <a:pos x="40" y="60"/>
                </a:cxn>
                <a:cxn ang="0">
                  <a:pos x="48" y="56"/>
                </a:cxn>
                <a:cxn ang="0">
                  <a:pos x="36" y="56"/>
                </a:cxn>
              </a:cxnLst>
              <a:rect l="0" t="0" r="r" b="b"/>
              <a:pathLst>
                <a:path w="167" h="80">
                  <a:moveTo>
                    <a:pt x="36" y="56"/>
                  </a:moveTo>
                  <a:lnTo>
                    <a:pt x="40" y="52"/>
                  </a:lnTo>
                  <a:lnTo>
                    <a:pt x="44" y="52"/>
                  </a:lnTo>
                  <a:lnTo>
                    <a:pt x="44" y="48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28" y="44"/>
                  </a:lnTo>
                  <a:lnTo>
                    <a:pt x="24" y="44"/>
                  </a:lnTo>
                  <a:lnTo>
                    <a:pt x="20" y="44"/>
                  </a:lnTo>
                  <a:lnTo>
                    <a:pt x="16" y="44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4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40"/>
                  </a:lnTo>
                  <a:lnTo>
                    <a:pt x="40" y="40"/>
                  </a:lnTo>
                  <a:lnTo>
                    <a:pt x="44" y="36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0" y="28"/>
                  </a:lnTo>
                  <a:lnTo>
                    <a:pt x="36" y="28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2" y="28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20" y="20"/>
                  </a:lnTo>
                  <a:lnTo>
                    <a:pt x="16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28" y="8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28"/>
                  </a:lnTo>
                  <a:lnTo>
                    <a:pt x="56" y="24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4" y="16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16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12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5" y="20"/>
                  </a:lnTo>
                  <a:lnTo>
                    <a:pt x="95" y="24"/>
                  </a:lnTo>
                  <a:lnTo>
                    <a:pt x="99" y="24"/>
                  </a:lnTo>
                  <a:lnTo>
                    <a:pt x="95" y="20"/>
                  </a:lnTo>
                  <a:lnTo>
                    <a:pt x="95" y="16"/>
                  </a:lnTo>
                  <a:lnTo>
                    <a:pt x="91" y="12"/>
                  </a:lnTo>
                  <a:lnTo>
                    <a:pt x="95" y="8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103" y="12"/>
                  </a:lnTo>
                  <a:lnTo>
                    <a:pt x="103" y="16"/>
                  </a:lnTo>
                  <a:lnTo>
                    <a:pt x="107" y="16"/>
                  </a:lnTo>
                  <a:lnTo>
                    <a:pt x="107" y="12"/>
                  </a:lnTo>
                  <a:lnTo>
                    <a:pt x="111" y="8"/>
                  </a:lnTo>
                  <a:lnTo>
                    <a:pt x="115" y="8"/>
                  </a:lnTo>
                  <a:lnTo>
                    <a:pt x="115" y="12"/>
                  </a:lnTo>
                  <a:lnTo>
                    <a:pt x="119" y="12"/>
                  </a:lnTo>
                  <a:lnTo>
                    <a:pt x="119" y="8"/>
                  </a:lnTo>
                  <a:lnTo>
                    <a:pt x="123" y="8"/>
                  </a:lnTo>
                  <a:lnTo>
                    <a:pt x="119" y="4"/>
                  </a:lnTo>
                  <a:lnTo>
                    <a:pt x="119" y="0"/>
                  </a:lnTo>
                  <a:lnTo>
                    <a:pt x="123" y="0"/>
                  </a:lnTo>
                  <a:lnTo>
                    <a:pt x="127" y="0"/>
                  </a:lnTo>
                  <a:lnTo>
                    <a:pt x="131" y="0"/>
                  </a:lnTo>
                  <a:lnTo>
                    <a:pt x="131" y="4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12"/>
                  </a:lnTo>
                  <a:lnTo>
                    <a:pt x="139" y="8"/>
                  </a:lnTo>
                  <a:lnTo>
                    <a:pt x="143" y="8"/>
                  </a:lnTo>
                  <a:lnTo>
                    <a:pt x="143" y="4"/>
                  </a:lnTo>
                  <a:lnTo>
                    <a:pt x="147" y="4"/>
                  </a:lnTo>
                  <a:lnTo>
                    <a:pt x="143" y="8"/>
                  </a:lnTo>
                  <a:lnTo>
                    <a:pt x="143" y="12"/>
                  </a:lnTo>
                  <a:lnTo>
                    <a:pt x="139" y="12"/>
                  </a:lnTo>
                  <a:lnTo>
                    <a:pt x="143" y="12"/>
                  </a:lnTo>
                  <a:lnTo>
                    <a:pt x="147" y="12"/>
                  </a:lnTo>
                  <a:lnTo>
                    <a:pt x="151" y="16"/>
                  </a:lnTo>
                  <a:lnTo>
                    <a:pt x="147" y="16"/>
                  </a:lnTo>
                  <a:lnTo>
                    <a:pt x="147" y="20"/>
                  </a:lnTo>
                  <a:lnTo>
                    <a:pt x="151" y="20"/>
                  </a:lnTo>
                  <a:lnTo>
                    <a:pt x="155" y="20"/>
                  </a:lnTo>
                  <a:lnTo>
                    <a:pt x="155" y="24"/>
                  </a:lnTo>
                  <a:lnTo>
                    <a:pt x="151" y="24"/>
                  </a:lnTo>
                  <a:lnTo>
                    <a:pt x="151" y="28"/>
                  </a:lnTo>
                  <a:lnTo>
                    <a:pt x="155" y="24"/>
                  </a:lnTo>
                  <a:lnTo>
                    <a:pt x="159" y="24"/>
                  </a:lnTo>
                  <a:lnTo>
                    <a:pt x="163" y="28"/>
                  </a:lnTo>
                  <a:lnTo>
                    <a:pt x="163" y="32"/>
                  </a:lnTo>
                  <a:lnTo>
                    <a:pt x="167" y="32"/>
                  </a:lnTo>
                  <a:lnTo>
                    <a:pt x="163" y="36"/>
                  </a:lnTo>
                  <a:lnTo>
                    <a:pt x="159" y="36"/>
                  </a:lnTo>
                  <a:lnTo>
                    <a:pt x="163" y="36"/>
                  </a:lnTo>
                  <a:lnTo>
                    <a:pt x="167" y="36"/>
                  </a:lnTo>
                  <a:lnTo>
                    <a:pt x="167" y="40"/>
                  </a:lnTo>
                  <a:lnTo>
                    <a:pt x="163" y="40"/>
                  </a:lnTo>
                  <a:lnTo>
                    <a:pt x="159" y="40"/>
                  </a:lnTo>
                  <a:lnTo>
                    <a:pt x="163" y="40"/>
                  </a:lnTo>
                  <a:lnTo>
                    <a:pt x="163" y="44"/>
                  </a:lnTo>
                  <a:lnTo>
                    <a:pt x="159" y="44"/>
                  </a:lnTo>
                  <a:lnTo>
                    <a:pt x="163" y="44"/>
                  </a:lnTo>
                  <a:lnTo>
                    <a:pt x="159" y="44"/>
                  </a:lnTo>
                  <a:lnTo>
                    <a:pt x="159" y="48"/>
                  </a:lnTo>
                  <a:lnTo>
                    <a:pt x="155" y="48"/>
                  </a:lnTo>
                  <a:lnTo>
                    <a:pt x="151" y="48"/>
                  </a:lnTo>
                  <a:lnTo>
                    <a:pt x="151" y="44"/>
                  </a:lnTo>
                  <a:lnTo>
                    <a:pt x="151" y="48"/>
                  </a:lnTo>
                  <a:lnTo>
                    <a:pt x="151" y="52"/>
                  </a:lnTo>
                  <a:lnTo>
                    <a:pt x="151" y="56"/>
                  </a:lnTo>
                  <a:lnTo>
                    <a:pt x="147" y="56"/>
                  </a:lnTo>
                  <a:lnTo>
                    <a:pt x="143" y="60"/>
                  </a:lnTo>
                  <a:lnTo>
                    <a:pt x="147" y="60"/>
                  </a:lnTo>
                  <a:lnTo>
                    <a:pt x="143" y="60"/>
                  </a:lnTo>
                  <a:lnTo>
                    <a:pt x="139" y="60"/>
                  </a:lnTo>
                  <a:lnTo>
                    <a:pt x="139" y="56"/>
                  </a:lnTo>
                  <a:lnTo>
                    <a:pt x="139" y="60"/>
                  </a:lnTo>
                  <a:lnTo>
                    <a:pt x="135" y="60"/>
                  </a:lnTo>
                  <a:lnTo>
                    <a:pt x="131" y="60"/>
                  </a:lnTo>
                  <a:lnTo>
                    <a:pt x="127" y="64"/>
                  </a:lnTo>
                  <a:lnTo>
                    <a:pt x="123" y="64"/>
                  </a:lnTo>
                  <a:lnTo>
                    <a:pt x="123" y="68"/>
                  </a:lnTo>
                  <a:lnTo>
                    <a:pt x="119" y="68"/>
                  </a:lnTo>
                  <a:lnTo>
                    <a:pt x="115" y="72"/>
                  </a:lnTo>
                  <a:lnTo>
                    <a:pt x="115" y="68"/>
                  </a:lnTo>
                  <a:lnTo>
                    <a:pt x="111" y="68"/>
                  </a:lnTo>
                  <a:lnTo>
                    <a:pt x="111" y="72"/>
                  </a:lnTo>
                  <a:lnTo>
                    <a:pt x="107" y="72"/>
                  </a:lnTo>
                  <a:lnTo>
                    <a:pt x="103" y="72"/>
                  </a:lnTo>
                  <a:lnTo>
                    <a:pt x="99" y="72"/>
                  </a:lnTo>
                  <a:lnTo>
                    <a:pt x="99" y="76"/>
                  </a:lnTo>
                  <a:lnTo>
                    <a:pt x="99" y="80"/>
                  </a:lnTo>
                  <a:lnTo>
                    <a:pt x="95" y="80"/>
                  </a:lnTo>
                  <a:lnTo>
                    <a:pt x="91" y="80"/>
                  </a:lnTo>
                  <a:lnTo>
                    <a:pt x="88" y="80"/>
                  </a:lnTo>
                  <a:lnTo>
                    <a:pt x="84" y="80"/>
                  </a:lnTo>
                  <a:lnTo>
                    <a:pt x="80" y="80"/>
                  </a:lnTo>
                  <a:lnTo>
                    <a:pt x="76" y="80"/>
                  </a:lnTo>
                  <a:lnTo>
                    <a:pt x="72" y="76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56" y="72"/>
                  </a:lnTo>
                  <a:lnTo>
                    <a:pt x="52" y="72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0" y="72"/>
                  </a:lnTo>
                  <a:lnTo>
                    <a:pt x="36" y="72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28" y="72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6" y="64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44" y="56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9" name="Freeform 96"/>
            <p:cNvSpPr>
              <a:spLocks noEditPoints="1"/>
            </p:cNvSpPr>
            <p:nvPr>
              <p:custDataLst>
                <p:tags r:id="rId291"/>
              </p:custDataLst>
            </p:nvPr>
          </p:nvSpPr>
          <p:spPr bwMode="gray">
            <a:xfrm>
              <a:off x="4138771" y="2964584"/>
              <a:ext cx="100848" cy="136442"/>
            </a:xfrm>
            <a:custGeom>
              <a:avLst/>
              <a:gdLst/>
              <a:ahLst/>
              <a:cxnLst>
                <a:cxn ang="0">
                  <a:pos x="20" y="48"/>
                </a:cxn>
                <a:cxn ang="0">
                  <a:pos x="16" y="48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12" y="36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20" y="24"/>
                </a:cxn>
                <a:cxn ang="0">
                  <a:pos x="28" y="28"/>
                </a:cxn>
                <a:cxn ang="0">
                  <a:pos x="32" y="20"/>
                </a:cxn>
                <a:cxn ang="0">
                  <a:pos x="32" y="16"/>
                </a:cxn>
                <a:cxn ang="0">
                  <a:pos x="32" y="12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48" y="4"/>
                </a:cxn>
                <a:cxn ang="0">
                  <a:pos x="52" y="4"/>
                </a:cxn>
                <a:cxn ang="0">
                  <a:pos x="52" y="8"/>
                </a:cxn>
                <a:cxn ang="0">
                  <a:pos x="44" y="16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48" y="28"/>
                </a:cxn>
                <a:cxn ang="0">
                  <a:pos x="56" y="24"/>
                </a:cxn>
                <a:cxn ang="0">
                  <a:pos x="64" y="32"/>
                </a:cxn>
                <a:cxn ang="0">
                  <a:pos x="68" y="32"/>
                </a:cxn>
                <a:cxn ang="0">
                  <a:pos x="64" y="40"/>
                </a:cxn>
                <a:cxn ang="0">
                  <a:pos x="68" y="48"/>
                </a:cxn>
                <a:cxn ang="0">
                  <a:pos x="68" y="52"/>
                </a:cxn>
                <a:cxn ang="0">
                  <a:pos x="64" y="64"/>
                </a:cxn>
                <a:cxn ang="0">
                  <a:pos x="64" y="72"/>
                </a:cxn>
                <a:cxn ang="0">
                  <a:pos x="56" y="76"/>
                </a:cxn>
                <a:cxn ang="0">
                  <a:pos x="56" y="72"/>
                </a:cxn>
                <a:cxn ang="0">
                  <a:pos x="48" y="76"/>
                </a:cxn>
                <a:cxn ang="0">
                  <a:pos x="40" y="80"/>
                </a:cxn>
                <a:cxn ang="0">
                  <a:pos x="32" y="80"/>
                </a:cxn>
                <a:cxn ang="0">
                  <a:pos x="32" y="88"/>
                </a:cxn>
                <a:cxn ang="0">
                  <a:pos x="20" y="88"/>
                </a:cxn>
                <a:cxn ang="0">
                  <a:pos x="12" y="92"/>
                </a:cxn>
                <a:cxn ang="0">
                  <a:pos x="12" y="88"/>
                </a:cxn>
                <a:cxn ang="0">
                  <a:pos x="8" y="88"/>
                </a:cxn>
                <a:cxn ang="0">
                  <a:pos x="16" y="80"/>
                </a:cxn>
                <a:cxn ang="0">
                  <a:pos x="4" y="84"/>
                </a:cxn>
                <a:cxn ang="0">
                  <a:pos x="4" y="80"/>
                </a:cxn>
                <a:cxn ang="0">
                  <a:pos x="8" y="76"/>
                </a:cxn>
                <a:cxn ang="0">
                  <a:pos x="0" y="72"/>
                </a:cxn>
                <a:cxn ang="0">
                  <a:pos x="12" y="72"/>
                </a:cxn>
                <a:cxn ang="0">
                  <a:pos x="16" y="64"/>
                </a:cxn>
                <a:cxn ang="0">
                  <a:pos x="28" y="64"/>
                </a:cxn>
                <a:cxn ang="0">
                  <a:pos x="24" y="64"/>
                </a:cxn>
                <a:cxn ang="0">
                  <a:pos x="12" y="64"/>
                </a:cxn>
                <a:cxn ang="0">
                  <a:pos x="16" y="60"/>
                </a:cxn>
                <a:cxn ang="0">
                  <a:pos x="24" y="52"/>
                </a:cxn>
                <a:cxn ang="0">
                  <a:pos x="8" y="32"/>
                </a:cxn>
              </a:cxnLst>
              <a:rect l="0" t="0" r="r" b="b"/>
              <a:pathLst>
                <a:path w="68" h="92">
                  <a:moveTo>
                    <a:pt x="24" y="52"/>
                  </a:moveTo>
                  <a:lnTo>
                    <a:pt x="24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8"/>
                  </a:lnTo>
                  <a:lnTo>
                    <a:pt x="4" y="44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8"/>
                  </a:lnTo>
                  <a:lnTo>
                    <a:pt x="24" y="24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8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8" y="40"/>
                  </a:lnTo>
                  <a:lnTo>
                    <a:pt x="68" y="44"/>
                  </a:lnTo>
                  <a:lnTo>
                    <a:pt x="68" y="48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8" y="56"/>
                  </a:lnTo>
                  <a:lnTo>
                    <a:pt x="68" y="60"/>
                  </a:lnTo>
                  <a:lnTo>
                    <a:pt x="64" y="64"/>
                  </a:lnTo>
                  <a:lnTo>
                    <a:pt x="64" y="68"/>
                  </a:lnTo>
                  <a:lnTo>
                    <a:pt x="60" y="68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80"/>
                  </a:lnTo>
                  <a:lnTo>
                    <a:pt x="40" y="80"/>
                  </a:lnTo>
                  <a:lnTo>
                    <a:pt x="36" y="84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6" y="84"/>
                  </a:lnTo>
                  <a:lnTo>
                    <a:pt x="32" y="84"/>
                  </a:lnTo>
                  <a:lnTo>
                    <a:pt x="32" y="88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12" y="84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8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4" y="76"/>
                  </a:lnTo>
                  <a:lnTo>
                    <a:pt x="0" y="76"/>
                  </a:lnTo>
                  <a:lnTo>
                    <a:pt x="0" y="72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64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20" y="52"/>
                  </a:lnTo>
                  <a:lnTo>
                    <a:pt x="24" y="52"/>
                  </a:lnTo>
                  <a:close/>
                  <a:moveTo>
                    <a:pt x="8" y="32"/>
                  </a:moveTo>
                  <a:lnTo>
                    <a:pt x="8" y="36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8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0" name="Freeform 97"/>
            <p:cNvSpPr>
              <a:spLocks/>
            </p:cNvSpPr>
            <p:nvPr>
              <p:custDataLst>
                <p:tags r:id="rId292"/>
              </p:custDataLst>
            </p:nvPr>
          </p:nvSpPr>
          <p:spPr bwMode="gray">
            <a:xfrm>
              <a:off x="4269280" y="3000178"/>
              <a:ext cx="11865" cy="11865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</a:cxnLst>
              <a:rect l="0" t="0" r="r" b="b"/>
              <a:pathLst>
                <a:path w="8" h="8">
                  <a:moveTo>
                    <a:pt x="0" y="8"/>
                  </a:move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1" name="Freeform 98"/>
            <p:cNvSpPr>
              <a:spLocks noEditPoints="1"/>
            </p:cNvSpPr>
            <p:nvPr>
              <p:custDataLst>
                <p:tags r:id="rId293"/>
              </p:custDataLst>
            </p:nvPr>
          </p:nvSpPr>
          <p:spPr bwMode="gray">
            <a:xfrm>
              <a:off x="4522885" y="3243400"/>
              <a:ext cx="266951" cy="324791"/>
            </a:xfrm>
            <a:custGeom>
              <a:avLst/>
              <a:gdLst/>
              <a:ahLst/>
              <a:cxnLst>
                <a:cxn ang="0">
                  <a:pos x="104" y="76"/>
                </a:cxn>
                <a:cxn ang="0">
                  <a:pos x="112" y="96"/>
                </a:cxn>
                <a:cxn ang="0">
                  <a:pos x="132" y="107"/>
                </a:cxn>
                <a:cxn ang="0">
                  <a:pos x="144" y="115"/>
                </a:cxn>
                <a:cxn ang="0">
                  <a:pos x="160" y="127"/>
                </a:cxn>
                <a:cxn ang="0">
                  <a:pos x="176" y="139"/>
                </a:cxn>
                <a:cxn ang="0">
                  <a:pos x="176" y="151"/>
                </a:cxn>
                <a:cxn ang="0">
                  <a:pos x="160" y="139"/>
                </a:cxn>
                <a:cxn ang="0">
                  <a:pos x="152" y="151"/>
                </a:cxn>
                <a:cxn ang="0">
                  <a:pos x="160" y="167"/>
                </a:cxn>
                <a:cxn ang="0">
                  <a:pos x="152" y="183"/>
                </a:cxn>
                <a:cxn ang="0">
                  <a:pos x="136" y="187"/>
                </a:cxn>
                <a:cxn ang="0">
                  <a:pos x="148" y="171"/>
                </a:cxn>
                <a:cxn ang="0">
                  <a:pos x="140" y="155"/>
                </a:cxn>
                <a:cxn ang="0">
                  <a:pos x="128" y="139"/>
                </a:cxn>
                <a:cxn ang="0">
                  <a:pos x="112" y="123"/>
                </a:cxn>
                <a:cxn ang="0">
                  <a:pos x="92" y="119"/>
                </a:cxn>
                <a:cxn ang="0">
                  <a:pos x="80" y="103"/>
                </a:cxn>
                <a:cxn ang="0">
                  <a:pos x="68" y="92"/>
                </a:cxn>
                <a:cxn ang="0">
                  <a:pos x="56" y="76"/>
                </a:cxn>
                <a:cxn ang="0">
                  <a:pos x="40" y="60"/>
                </a:cxn>
                <a:cxn ang="0">
                  <a:pos x="20" y="68"/>
                </a:cxn>
                <a:cxn ang="0">
                  <a:pos x="16" y="64"/>
                </a:cxn>
                <a:cxn ang="0">
                  <a:pos x="4" y="56"/>
                </a:cxn>
                <a:cxn ang="0">
                  <a:pos x="4" y="40"/>
                </a:cxn>
                <a:cxn ang="0">
                  <a:pos x="4" y="24"/>
                </a:cxn>
                <a:cxn ang="0">
                  <a:pos x="24" y="16"/>
                </a:cxn>
                <a:cxn ang="0">
                  <a:pos x="36" y="24"/>
                </a:cxn>
                <a:cxn ang="0">
                  <a:pos x="40" y="12"/>
                </a:cxn>
                <a:cxn ang="0">
                  <a:pos x="52" y="12"/>
                </a:cxn>
                <a:cxn ang="0">
                  <a:pos x="60" y="4"/>
                </a:cxn>
                <a:cxn ang="0">
                  <a:pos x="80" y="0"/>
                </a:cxn>
                <a:cxn ang="0">
                  <a:pos x="96" y="8"/>
                </a:cxn>
                <a:cxn ang="0">
                  <a:pos x="104" y="16"/>
                </a:cxn>
                <a:cxn ang="0">
                  <a:pos x="108" y="28"/>
                </a:cxn>
                <a:cxn ang="0">
                  <a:pos x="100" y="28"/>
                </a:cxn>
                <a:cxn ang="0">
                  <a:pos x="92" y="32"/>
                </a:cxn>
                <a:cxn ang="0">
                  <a:pos x="92" y="44"/>
                </a:cxn>
                <a:cxn ang="0">
                  <a:pos x="92" y="64"/>
                </a:cxn>
                <a:cxn ang="0">
                  <a:pos x="88" y="64"/>
                </a:cxn>
                <a:cxn ang="0">
                  <a:pos x="56" y="88"/>
                </a:cxn>
                <a:cxn ang="0">
                  <a:pos x="28" y="151"/>
                </a:cxn>
                <a:cxn ang="0">
                  <a:pos x="24" y="131"/>
                </a:cxn>
                <a:cxn ang="0">
                  <a:pos x="44" y="127"/>
                </a:cxn>
                <a:cxn ang="0">
                  <a:pos x="48" y="143"/>
                </a:cxn>
                <a:cxn ang="0">
                  <a:pos x="44" y="167"/>
                </a:cxn>
                <a:cxn ang="0">
                  <a:pos x="28" y="167"/>
                </a:cxn>
                <a:cxn ang="0">
                  <a:pos x="124" y="215"/>
                </a:cxn>
                <a:cxn ang="0">
                  <a:pos x="108" y="207"/>
                </a:cxn>
                <a:cxn ang="0">
                  <a:pos x="88" y="199"/>
                </a:cxn>
                <a:cxn ang="0">
                  <a:pos x="96" y="187"/>
                </a:cxn>
                <a:cxn ang="0">
                  <a:pos x="120" y="191"/>
                </a:cxn>
                <a:cxn ang="0">
                  <a:pos x="136" y="191"/>
                </a:cxn>
                <a:cxn ang="0">
                  <a:pos x="132" y="207"/>
                </a:cxn>
              </a:cxnLst>
              <a:rect l="0" t="0" r="r" b="b"/>
              <a:pathLst>
                <a:path w="180" h="219">
                  <a:moveTo>
                    <a:pt x="92" y="68"/>
                  </a:moveTo>
                  <a:lnTo>
                    <a:pt x="96" y="68"/>
                  </a:lnTo>
                  <a:lnTo>
                    <a:pt x="100" y="68"/>
                  </a:lnTo>
                  <a:lnTo>
                    <a:pt x="100" y="72"/>
                  </a:lnTo>
                  <a:lnTo>
                    <a:pt x="104" y="72"/>
                  </a:lnTo>
                  <a:lnTo>
                    <a:pt x="104" y="76"/>
                  </a:lnTo>
                  <a:lnTo>
                    <a:pt x="108" y="76"/>
                  </a:lnTo>
                  <a:lnTo>
                    <a:pt x="108" y="80"/>
                  </a:lnTo>
                  <a:lnTo>
                    <a:pt x="112" y="84"/>
                  </a:lnTo>
                  <a:lnTo>
                    <a:pt x="112" y="88"/>
                  </a:lnTo>
                  <a:lnTo>
                    <a:pt x="112" y="92"/>
                  </a:lnTo>
                  <a:lnTo>
                    <a:pt x="112" y="96"/>
                  </a:lnTo>
                  <a:lnTo>
                    <a:pt x="116" y="96"/>
                  </a:lnTo>
                  <a:lnTo>
                    <a:pt x="120" y="103"/>
                  </a:lnTo>
                  <a:lnTo>
                    <a:pt x="124" y="103"/>
                  </a:lnTo>
                  <a:lnTo>
                    <a:pt x="124" y="107"/>
                  </a:lnTo>
                  <a:lnTo>
                    <a:pt x="128" y="107"/>
                  </a:lnTo>
                  <a:lnTo>
                    <a:pt x="132" y="107"/>
                  </a:lnTo>
                  <a:lnTo>
                    <a:pt x="132" y="111"/>
                  </a:lnTo>
                  <a:lnTo>
                    <a:pt x="136" y="107"/>
                  </a:lnTo>
                  <a:lnTo>
                    <a:pt x="140" y="107"/>
                  </a:lnTo>
                  <a:lnTo>
                    <a:pt x="144" y="107"/>
                  </a:lnTo>
                  <a:lnTo>
                    <a:pt x="144" y="111"/>
                  </a:lnTo>
                  <a:lnTo>
                    <a:pt x="144" y="115"/>
                  </a:lnTo>
                  <a:lnTo>
                    <a:pt x="140" y="115"/>
                  </a:lnTo>
                  <a:lnTo>
                    <a:pt x="140" y="119"/>
                  </a:lnTo>
                  <a:lnTo>
                    <a:pt x="144" y="119"/>
                  </a:lnTo>
                  <a:lnTo>
                    <a:pt x="152" y="123"/>
                  </a:lnTo>
                  <a:lnTo>
                    <a:pt x="156" y="123"/>
                  </a:lnTo>
                  <a:lnTo>
                    <a:pt x="160" y="127"/>
                  </a:lnTo>
                  <a:lnTo>
                    <a:pt x="164" y="127"/>
                  </a:lnTo>
                  <a:lnTo>
                    <a:pt x="164" y="131"/>
                  </a:lnTo>
                  <a:lnTo>
                    <a:pt x="168" y="135"/>
                  </a:lnTo>
                  <a:lnTo>
                    <a:pt x="172" y="135"/>
                  </a:lnTo>
                  <a:lnTo>
                    <a:pt x="172" y="139"/>
                  </a:lnTo>
                  <a:lnTo>
                    <a:pt x="176" y="139"/>
                  </a:lnTo>
                  <a:lnTo>
                    <a:pt x="180" y="143"/>
                  </a:lnTo>
                  <a:lnTo>
                    <a:pt x="180" y="147"/>
                  </a:lnTo>
                  <a:lnTo>
                    <a:pt x="180" y="151"/>
                  </a:lnTo>
                  <a:lnTo>
                    <a:pt x="180" y="155"/>
                  </a:lnTo>
                  <a:lnTo>
                    <a:pt x="180" y="151"/>
                  </a:lnTo>
                  <a:lnTo>
                    <a:pt x="176" y="151"/>
                  </a:lnTo>
                  <a:lnTo>
                    <a:pt x="172" y="151"/>
                  </a:lnTo>
                  <a:lnTo>
                    <a:pt x="172" y="147"/>
                  </a:lnTo>
                  <a:lnTo>
                    <a:pt x="172" y="143"/>
                  </a:lnTo>
                  <a:lnTo>
                    <a:pt x="168" y="143"/>
                  </a:lnTo>
                  <a:lnTo>
                    <a:pt x="164" y="143"/>
                  </a:lnTo>
                  <a:lnTo>
                    <a:pt x="160" y="139"/>
                  </a:lnTo>
                  <a:lnTo>
                    <a:pt x="164" y="139"/>
                  </a:lnTo>
                  <a:lnTo>
                    <a:pt x="160" y="139"/>
                  </a:lnTo>
                  <a:lnTo>
                    <a:pt x="156" y="139"/>
                  </a:lnTo>
                  <a:lnTo>
                    <a:pt x="156" y="143"/>
                  </a:lnTo>
                  <a:lnTo>
                    <a:pt x="152" y="147"/>
                  </a:lnTo>
                  <a:lnTo>
                    <a:pt x="152" y="151"/>
                  </a:lnTo>
                  <a:lnTo>
                    <a:pt x="152" y="155"/>
                  </a:lnTo>
                  <a:lnTo>
                    <a:pt x="156" y="155"/>
                  </a:lnTo>
                  <a:lnTo>
                    <a:pt x="156" y="159"/>
                  </a:lnTo>
                  <a:lnTo>
                    <a:pt x="160" y="159"/>
                  </a:lnTo>
                  <a:lnTo>
                    <a:pt x="160" y="163"/>
                  </a:lnTo>
                  <a:lnTo>
                    <a:pt x="160" y="167"/>
                  </a:lnTo>
                  <a:lnTo>
                    <a:pt x="160" y="171"/>
                  </a:lnTo>
                  <a:lnTo>
                    <a:pt x="156" y="171"/>
                  </a:lnTo>
                  <a:lnTo>
                    <a:pt x="152" y="171"/>
                  </a:lnTo>
                  <a:lnTo>
                    <a:pt x="152" y="175"/>
                  </a:lnTo>
                  <a:lnTo>
                    <a:pt x="152" y="179"/>
                  </a:lnTo>
                  <a:lnTo>
                    <a:pt x="152" y="183"/>
                  </a:lnTo>
                  <a:lnTo>
                    <a:pt x="148" y="183"/>
                  </a:lnTo>
                  <a:lnTo>
                    <a:pt x="144" y="187"/>
                  </a:lnTo>
                  <a:lnTo>
                    <a:pt x="144" y="191"/>
                  </a:lnTo>
                  <a:lnTo>
                    <a:pt x="140" y="191"/>
                  </a:lnTo>
                  <a:lnTo>
                    <a:pt x="136" y="191"/>
                  </a:lnTo>
                  <a:lnTo>
                    <a:pt x="136" y="187"/>
                  </a:lnTo>
                  <a:lnTo>
                    <a:pt x="140" y="183"/>
                  </a:lnTo>
                  <a:lnTo>
                    <a:pt x="140" y="179"/>
                  </a:lnTo>
                  <a:lnTo>
                    <a:pt x="140" y="175"/>
                  </a:lnTo>
                  <a:lnTo>
                    <a:pt x="144" y="175"/>
                  </a:lnTo>
                  <a:lnTo>
                    <a:pt x="148" y="175"/>
                  </a:lnTo>
                  <a:lnTo>
                    <a:pt x="148" y="171"/>
                  </a:lnTo>
                  <a:lnTo>
                    <a:pt x="144" y="171"/>
                  </a:lnTo>
                  <a:lnTo>
                    <a:pt x="144" y="167"/>
                  </a:lnTo>
                  <a:lnTo>
                    <a:pt x="144" y="163"/>
                  </a:lnTo>
                  <a:lnTo>
                    <a:pt x="144" y="159"/>
                  </a:lnTo>
                  <a:lnTo>
                    <a:pt x="140" y="159"/>
                  </a:lnTo>
                  <a:lnTo>
                    <a:pt x="140" y="155"/>
                  </a:lnTo>
                  <a:lnTo>
                    <a:pt x="140" y="151"/>
                  </a:lnTo>
                  <a:lnTo>
                    <a:pt x="136" y="147"/>
                  </a:lnTo>
                  <a:lnTo>
                    <a:pt x="132" y="147"/>
                  </a:lnTo>
                  <a:lnTo>
                    <a:pt x="128" y="147"/>
                  </a:lnTo>
                  <a:lnTo>
                    <a:pt x="128" y="143"/>
                  </a:lnTo>
                  <a:lnTo>
                    <a:pt x="128" y="139"/>
                  </a:lnTo>
                  <a:lnTo>
                    <a:pt x="124" y="135"/>
                  </a:lnTo>
                  <a:lnTo>
                    <a:pt x="120" y="135"/>
                  </a:lnTo>
                  <a:lnTo>
                    <a:pt x="116" y="131"/>
                  </a:lnTo>
                  <a:lnTo>
                    <a:pt x="112" y="131"/>
                  </a:lnTo>
                  <a:lnTo>
                    <a:pt x="112" y="127"/>
                  </a:lnTo>
                  <a:lnTo>
                    <a:pt x="112" y="123"/>
                  </a:lnTo>
                  <a:lnTo>
                    <a:pt x="108" y="123"/>
                  </a:lnTo>
                  <a:lnTo>
                    <a:pt x="104" y="123"/>
                  </a:lnTo>
                  <a:lnTo>
                    <a:pt x="100" y="123"/>
                  </a:lnTo>
                  <a:lnTo>
                    <a:pt x="96" y="123"/>
                  </a:lnTo>
                  <a:lnTo>
                    <a:pt x="96" y="119"/>
                  </a:lnTo>
                  <a:lnTo>
                    <a:pt x="92" y="119"/>
                  </a:lnTo>
                  <a:lnTo>
                    <a:pt x="92" y="115"/>
                  </a:lnTo>
                  <a:lnTo>
                    <a:pt x="88" y="115"/>
                  </a:lnTo>
                  <a:lnTo>
                    <a:pt x="84" y="111"/>
                  </a:lnTo>
                  <a:lnTo>
                    <a:pt x="84" y="107"/>
                  </a:lnTo>
                  <a:lnTo>
                    <a:pt x="80" y="107"/>
                  </a:lnTo>
                  <a:lnTo>
                    <a:pt x="80" y="103"/>
                  </a:lnTo>
                  <a:lnTo>
                    <a:pt x="76" y="103"/>
                  </a:lnTo>
                  <a:lnTo>
                    <a:pt x="76" y="99"/>
                  </a:lnTo>
                  <a:lnTo>
                    <a:pt x="72" y="99"/>
                  </a:lnTo>
                  <a:lnTo>
                    <a:pt x="68" y="99"/>
                  </a:lnTo>
                  <a:lnTo>
                    <a:pt x="68" y="96"/>
                  </a:lnTo>
                  <a:lnTo>
                    <a:pt x="68" y="92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0" y="88"/>
                  </a:lnTo>
                  <a:lnTo>
                    <a:pt x="60" y="84"/>
                  </a:lnTo>
                  <a:lnTo>
                    <a:pt x="60" y="80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2" y="64"/>
                  </a:lnTo>
                  <a:lnTo>
                    <a:pt x="48" y="64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32" y="56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2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04" y="16"/>
                  </a:lnTo>
                  <a:lnTo>
                    <a:pt x="104" y="20"/>
                  </a:lnTo>
                  <a:lnTo>
                    <a:pt x="104" y="16"/>
                  </a:lnTo>
                  <a:lnTo>
                    <a:pt x="104" y="20"/>
                  </a:lnTo>
                  <a:lnTo>
                    <a:pt x="108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08" y="28"/>
                  </a:lnTo>
                  <a:lnTo>
                    <a:pt x="112" y="28"/>
                  </a:lnTo>
                  <a:lnTo>
                    <a:pt x="112" y="32"/>
                  </a:lnTo>
                  <a:lnTo>
                    <a:pt x="108" y="32"/>
                  </a:lnTo>
                  <a:lnTo>
                    <a:pt x="108" y="28"/>
                  </a:lnTo>
                  <a:lnTo>
                    <a:pt x="104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96" y="32"/>
                  </a:lnTo>
                  <a:lnTo>
                    <a:pt x="92" y="32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88" y="32"/>
                  </a:lnTo>
                  <a:lnTo>
                    <a:pt x="88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8" y="44"/>
                  </a:lnTo>
                  <a:lnTo>
                    <a:pt x="92" y="44"/>
                  </a:lnTo>
                  <a:lnTo>
                    <a:pt x="88" y="48"/>
                  </a:lnTo>
                  <a:lnTo>
                    <a:pt x="84" y="52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92" y="64"/>
                  </a:lnTo>
                  <a:lnTo>
                    <a:pt x="92" y="68"/>
                  </a:lnTo>
                  <a:close/>
                  <a:moveTo>
                    <a:pt x="88" y="107"/>
                  </a:moveTo>
                  <a:lnTo>
                    <a:pt x="88" y="111"/>
                  </a:lnTo>
                  <a:lnTo>
                    <a:pt x="88" y="107"/>
                  </a:lnTo>
                  <a:close/>
                  <a:moveTo>
                    <a:pt x="88" y="68"/>
                  </a:moveTo>
                  <a:lnTo>
                    <a:pt x="88" y="64"/>
                  </a:lnTo>
                  <a:lnTo>
                    <a:pt x="88" y="68"/>
                  </a:lnTo>
                  <a:close/>
                  <a:moveTo>
                    <a:pt x="60" y="92"/>
                  </a:moveTo>
                  <a:lnTo>
                    <a:pt x="56" y="92"/>
                  </a:lnTo>
                  <a:lnTo>
                    <a:pt x="52" y="92"/>
                  </a:lnTo>
                  <a:lnTo>
                    <a:pt x="56" y="92"/>
                  </a:lnTo>
                  <a:lnTo>
                    <a:pt x="56" y="88"/>
                  </a:lnTo>
                  <a:lnTo>
                    <a:pt x="60" y="88"/>
                  </a:lnTo>
                  <a:lnTo>
                    <a:pt x="60" y="92"/>
                  </a:lnTo>
                  <a:close/>
                  <a:moveTo>
                    <a:pt x="28" y="163"/>
                  </a:moveTo>
                  <a:lnTo>
                    <a:pt x="28" y="159"/>
                  </a:lnTo>
                  <a:lnTo>
                    <a:pt x="28" y="155"/>
                  </a:lnTo>
                  <a:lnTo>
                    <a:pt x="28" y="151"/>
                  </a:lnTo>
                  <a:lnTo>
                    <a:pt x="28" y="147"/>
                  </a:lnTo>
                  <a:lnTo>
                    <a:pt x="28" y="143"/>
                  </a:lnTo>
                  <a:lnTo>
                    <a:pt x="28" y="139"/>
                  </a:lnTo>
                  <a:lnTo>
                    <a:pt x="28" y="135"/>
                  </a:lnTo>
                  <a:lnTo>
                    <a:pt x="24" y="135"/>
                  </a:lnTo>
                  <a:lnTo>
                    <a:pt x="24" y="131"/>
                  </a:lnTo>
                  <a:lnTo>
                    <a:pt x="28" y="131"/>
                  </a:lnTo>
                  <a:lnTo>
                    <a:pt x="32" y="131"/>
                  </a:lnTo>
                  <a:lnTo>
                    <a:pt x="36" y="127"/>
                  </a:lnTo>
                  <a:lnTo>
                    <a:pt x="40" y="123"/>
                  </a:lnTo>
                  <a:lnTo>
                    <a:pt x="44" y="123"/>
                  </a:lnTo>
                  <a:lnTo>
                    <a:pt x="44" y="127"/>
                  </a:lnTo>
                  <a:lnTo>
                    <a:pt x="48" y="127"/>
                  </a:lnTo>
                  <a:lnTo>
                    <a:pt x="44" y="131"/>
                  </a:lnTo>
                  <a:lnTo>
                    <a:pt x="48" y="131"/>
                  </a:lnTo>
                  <a:lnTo>
                    <a:pt x="48" y="135"/>
                  </a:lnTo>
                  <a:lnTo>
                    <a:pt x="48" y="139"/>
                  </a:lnTo>
                  <a:lnTo>
                    <a:pt x="48" y="143"/>
                  </a:lnTo>
                  <a:lnTo>
                    <a:pt x="48" y="147"/>
                  </a:lnTo>
                  <a:lnTo>
                    <a:pt x="48" y="151"/>
                  </a:lnTo>
                  <a:lnTo>
                    <a:pt x="48" y="155"/>
                  </a:lnTo>
                  <a:lnTo>
                    <a:pt x="48" y="159"/>
                  </a:lnTo>
                  <a:lnTo>
                    <a:pt x="44" y="163"/>
                  </a:lnTo>
                  <a:lnTo>
                    <a:pt x="44" y="167"/>
                  </a:lnTo>
                  <a:lnTo>
                    <a:pt x="40" y="167"/>
                  </a:lnTo>
                  <a:lnTo>
                    <a:pt x="36" y="163"/>
                  </a:lnTo>
                  <a:lnTo>
                    <a:pt x="36" y="167"/>
                  </a:lnTo>
                  <a:lnTo>
                    <a:pt x="36" y="171"/>
                  </a:lnTo>
                  <a:lnTo>
                    <a:pt x="32" y="171"/>
                  </a:lnTo>
                  <a:lnTo>
                    <a:pt x="28" y="167"/>
                  </a:lnTo>
                  <a:lnTo>
                    <a:pt x="28" y="171"/>
                  </a:lnTo>
                  <a:lnTo>
                    <a:pt x="28" y="167"/>
                  </a:lnTo>
                  <a:lnTo>
                    <a:pt x="28" y="163"/>
                  </a:lnTo>
                  <a:close/>
                  <a:moveTo>
                    <a:pt x="128" y="219"/>
                  </a:moveTo>
                  <a:lnTo>
                    <a:pt x="128" y="215"/>
                  </a:lnTo>
                  <a:lnTo>
                    <a:pt x="124" y="215"/>
                  </a:lnTo>
                  <a:lnTo>
                    <a:pt x="120" y="215"/>
                  </a:lnTo>
                  <a:lnTo>
                    <a:pt x="120" y="211"/>
                  </a:lnTo>
                  <a:lnTo>
                    <a:pt x="116" y="211"/>
                  </a:lnTo>
                  <a:lnTo>
                    <a:pt x="116" y="207"/>
                  </a:lnTo>
                  <a:lnTo>
                    <a:pt x="112" y="207"/>
                  </a:lnTo>
                  <a:lnTo>
                    <a:pt x="108" y="207"/>
                  </a:lnTo>
                  <a:lnTo>
                    <a:pt x="104" y="203"/>
                  </a:lnTo>
                  <a:lnTo>
                    <a:pt x="100" y="203"/>
                  </a:lnTo>
                  <a:lnTo>
                    <a:pt x="100" y="199"/>
                  </a:lnTo>
                  <a:lnTo>
                    <a:pt x="96" y="199"/>
                  </a:lnTo>
                  <a:lnTo>
                    <a:pt x="92" y="199"/>
                  </a:lnTo>
                  <a:lnTo>
                    <a:pt x="88" y="199"/>
                  </a:lnTo>
                  <a:lnTo>
                    <a:pt x="88" y="195"/>
                  </a:lnTo>
                  <a:lnTo>
                    <a:pt x="88" y="191"/>
                  </a:lnTo>
                  <a:lnTo>
                    <a:pt x="92" y="187"/>
                  </a:lnTo>
                  <a:lnTo>
                    <a:pt x="96" y="187"/>
                  </a:lnTo>
                  <a:lnTo>
                    <a:pt x="96" y="191"/>
                  </a:lnTo>
                  <a:lnTo>
                    <a:pt x="96" y="187"/>
                  </a:lnTo>
                  <a:lnTo>
                    <a:pt x="100" y="187"/>
                  </a:lnTo>
                  <a:lnTo>
                    <a:pt x="104" y="187"/>
                  </a:lnTo>
                  <a:lnTo>
                    <a:pt x="108" y="191"/>
                  </a:lnTo>
                  <a:lnTo>
                    <a:pt x="112" y="191"/>
                  </a:lnTo>
                  <a:lnTo>
                    <a:pt x="116" y="191"/>
                  </a:lnTo>
                  <a:lnTo>
                    <a:pt x="120" y="191"/>
                  </a:lnTo>
                  <a:lnTo>
                    <a:pt x="124" y="187"/>
                  </a:lnTo>
                  <a:lnTo>
                    <a:pt x="128" y="187"/>
                  </a:lnTo>
                  <a:lnTo>
                    <a:pt x="132" y="187"/>
                  </a:lnTo>
                  <a:lnTo>
                    <a:pt x="136" y="183"/>
                  </a:lnTo>
                  <a:lnTo>
                    <a:pt x="136" y="187"/>
                  </a:lnTo>
                  <a:lnTo>
                    <a:pt x="136" y="191"/>
                  </a:lnTo>
                  <a:lnTo>
                    <a:pt x="132" y="191"/>
                  </a:lnTo>
                  <a:lnTo>
                    <a:pt x="132" y="195"/>
                  </a:lnTo>
                  <a:lnTo>
                    <a:pt x="132" y="199"/>
                  </a:lnTo>
                  <a:lnTo>
                    <a:pt x="128" y="199"/>
                  </a:lnTo>
                  <a:lnTo>
                    <a:pt x="128" y="203"/>
                  </a:lnTo>
                  <a:lnTo>
                    <a:pt x="132" y="207"/>
                  </a:lnTo>
                  <a:lnTo>
                    <a:pt x="132" y="211"/>
                  </a:lnTo>
                  <a:lnTo>
                    <a:pt x="128" y="211"/>
                  </a:lnTo>
                  <a:lnTo>
                    <a:pt x="128" y="215"/>
                  </a:lnTo>
                  <a:lnTo>
                    <a:pt x="128" y="2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2" name="Freeform 99"/>
            <p:cNvSpPr>
              <a:spLocks/>
            </p:cNvSpPr>
            <p:nvPr>
              <p:custDataLst>
                <p:tags r:id="rId294"/>
              </p:custDataLst>
            </p:nvPr>
          </p:nvSpPr>
          <p:spPr bwMode="gray">
            <a:xfrm>
              <a:off x="4168432" y="2372841"/>
              <a:ext cx="29661" cy="11865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</a:cxnLst>
              <a:rect l="0" t="0" r="r" b="b"/>
              <a:pathLst>
                <a:path w="20" h="8"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3" name="Freeform 100"/>
            <p:cNvSpPr>
              <a:spLocks/>
            </p:cNvSpPr>
            <p:nvPr>
              <p:custDataLst>
                <p:tags r:id="rId295"/>
              </p:custDataLst>
            </p:nvPr>
          </p:nvSpPr>
          <p:spPr bwMode="gray">
            <a:xfrm>
              <a:off x="4849159" y="2869668"/>
              <a:ext cx="158687" cy="83052"/>
            </a:xfrm>
            <a:custGeom>
              <a:avLst/>
              <a:gdLst/>
              <a:ahLst/>
              <a:cxnLst>
                <a:cxn ang="0">
                  <a:pos x="52" y="4"/>
                </a:cxn>
                <a:cxn ang="0">
                  <a:pos x="60" y="0"/>
                </a:cxn>
                <a:cxn ang="0">
                  <a:pos x="64" y="0"/>
                </a:cxn>
                <a:cxn ang="0">
                  <a:pos x="64" y="0"/>
                </a:cxn>
                <a:cxn ang="0">
                  <a:pos x="68" y="4"/>
                </a:cxn>
                <a:cxn ang="0">
                  <a:pos x="72" y="4"/>
                </a:cxn>
                <a:cxn ang="0">
                  <a:pos x="84" y="12"/>
                </a:cxn>
                <a:cxn ang="0">
                  <a:pos x="88" y="12"/>
                </a:cxn>
                <a:cxn ang="0">
                  <a:pos x="92" y="12"/>
                </a:cxn>
                <a:cxn ang="0">
                  <a:pos x="96" y="12"/>
                </a:cxn>
                <a:cxn ang="0">
                  <a:pos x="100" y="16"/>
                </a:cxn>
                <a:cxn ang="0">
                  <a:pos x="104" y="20"/>
                </a:cxn>
                <a:cxn ang="0">
                  <a:pos x="100" y="28"/>
                </a:cxn>
                <a:cxn ang="0">
                  <a:pos x="104" y="32"/>
                </a:cxn>
                <a:cxn ang="0">
                  <a:pos x="107" y="40"/>
                </a:cxn>
                <a:cxn ang="0">
                  <a:pos x="107" y="44"/>
                </a:cxn>
                <a:cxn ang="0">
                  <a:pos x="100" y="52"/>
                </a:cxn>
                <a:cxn ang="0">
                  <a:pos x="100" y="56"/>
                </a:cxn>
                <a:cxn ang="0">
                  <a:pos x="88" y="52"/>
                </a:cxn>
                <a:cxn ang="0">
                  <a:pos x="84" y="56"/>
                </a:cxn>
                <a:cxn ang="0">
                  <a:pos x="84" y="56"/>
                </a:cxn>
                <a:cxn ang="0">
                  <a:pos x="80" y="56"/>
                </a:cxn>
                <a:cxn ang="0">
                  <a:pos x="76" y="52"/>
                </a:cxn>
                <a:cxn ang="0">
                  <a:pos x="72" y="48"/>
                </a:cxn>
                <a:cxn ang="0">
                  <a:pos x="64" y="44"/>
                </a:cxn>
                <a:cxn ang="0">
                  <a:pos x="60" y="44"/>
                </a:cxn>
                <a:cxn ang="0">
                  <a:pos x="60" y="40"/>
                </a:cxn>
                <a:cxn ang="0">
                  <a:pos x="52" y="44"/>
                </a:cxn>
                <a:cxn ang="0">
                  <a:pos x="48" y="44"/>
                </a:cxn>
                <a:cxn ang="0">
                  <a:pos x="44" y="44"/>
                </a:cxn>
                <a:cxn ang="0">
                  <a:pos x="36" y="40"/>
                </a:cxn>
                <a:cxn ang="0">
                  <a:pos x="36" y="40"/>
                </a:cxn>
                <a:cxn ang="0">
                  <a:pos x="32" y="44"/>
                </a:cxn>
                <a:cxn ang="0">
                  <a:pos x="28" y="40"/>
                </a:cxn>
                <a:cxn ang="0">
                  <a:pos x="24" y="40"/>
                </a:cxn>
                <a:cxn ang="0">
                  <a:pos x="24" y="40"/>
                </a:cxn>
                <a:cxn ang="0">
                  <a:pos x="16" y="40"/>
                </a:cxn>
                <a:cxn ang="0">
                  <a:pos x="4" y="44"/>
                </a:cxn>
                <a:cxn ang="0">
                  <a:pos x="4" y="44"/>
                </a:cxn>
                <a:cxn ang="0">
                  <a:pos x="0" y="48"/>
                </a:cxn>
                <a:cxn ang="0">
                  <a:pos x="0" y="44"/>
                </a:cxn>
                <a:cxn ang="0">
                  <a:pos x="0" y="36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4" y="8"/>
                </a:cxn>
                <a:cxn ang="0">
                  <a:pos x="28" y="16"/>
                </a:cxn>
                <a:cxn ang="0">
                  <a:pos x="32" y="16"/>
                </a:cxn>
                <a:cxn ang="0">
                  <a:pos x="32" y="24"/>
                </a:cxn>
                <a:cxn ang="0">
                  <a:pos x="40" y="28"/>
                </a:cxn>
                <a:cxn ang="0">
                  <a:pos x="44" y="24"/>
                </a:cxn>
                <a:cxn ang="0">
                  <a:pos x="52" y="20"/>
                </a:cxn>
                <a:cxn ang="0">
                  <a:pos x="48" y="8"/>
                </a:cxn>
              </a:cxnLst>
              <a:rect l="0" t="0" r="r" b="b"/>
              <a:pathLst>
                <a:path w="107" h="56">
                  <a:moveTo>
                    <a:pt x="48" y="4"/>
                  </a:move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100" y="12"/>
                  </a:lnTo>
                  <a:lnTo>
                    <a:pt x="100" y="16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6"/>
                  </a:lnTo>
                  <a:lnTo>
                    <a:pt x="107" y="36"/>
                  </a:lnTo>
                  <a:lnTo>
                    <a:pt x="107" y="40"/>
                  </a:lnTo>
                  <a:lnTo>
                    <a:pt x="107" y="40"/>
                  </a:lnTo>
                  <a:lnTo>
                    <a:pt x="107" y="44"/>
                  </a:lnTo>
                  <a:lnTo>
                    <a:pt x="107" y="44"/>
                  </a:lnTo>
                  <a:lnTo>
                    <a:pt x="107" y="44"/>
                  </a:lnTo>
                  <a:lnTo>
                    <a:pt x="107" y="48"/>
                  </a:lnTo>
                  <a:lnTo>
                    <a:pt x="107" y="44"/>
                  </a:lnTo>
                  <a:lnTo>
                    <a:pt x="107" y="44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0" y="48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2" y="52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2" y="40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4" name="Freeform 101"/>
            <p:cNvSpPr>
              <a:spLocks noEditPoints="1"/>
            </p:cNvSpPr>
            <p:nvPr>
              <p:custDataLst>
                <p:tags r:id="rId296"/>
              </p:custDataLst>
            </p:nvPr>
          </p:nvSpPr>
          <p:spPr bwMode="gray">
            <a:xfrm>
              <a:off x="4843226" y="2928991"/>
              <a:ext cx="136442" cy="88984"/>
            </a:xfrm>
            <a:custGeom>
              <a:avLst/>
              <a:gdLst/>
              <a:ahLst/>
              <a:cxnLst>
                <a:cxn ang="0">
                  <a:pos x="40" y="52"/>
                </a:cxn>
                <a:cxn ang="0">
                  <a:pos x="36" y="48"/>
                </a:cxn>
                <a:cxn ang="0">
                  <a:pos x="28" y="48"/>
                </a:cxn>
                <a:cxn ang="0">
                  <a:pos x="28" y="44"/>
                </a:cxn>
                <a:cxn ang="0">
                  <a:pos x="32" y="40"/>
                </a:cxn>
                <a:cxn ang="0">
                  <a:pos x="28" y="32"/>
                </a:cxn>
                <a:cxn ang="0">
                  <a:pos x="24" y="32"/>
                </a:cxn>
                <a:cxn ang="0">
                  <a:pos x="20" y="32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6" y="0"/>
                </a:cxn>
                <a:cxn ang="0">
                  <a:pos x="40" y="0"/>
                </a:cxn>
                <a:cxn ang="0">
                  <a:pos x="48" y="0"/>
                </a:cxn>
                <a:cxn ang="0">
                  <a:pos x="52" y="4"/>
                </a:cxn>
                <a:cxn ang="0">
                  <a:pos x="56" y="4"/>
                </a:cxn>
                <a:cxn ang="0">
                  <a:pos x="60" y="0"/>
                </a:cxn>
                <a:cxn ang="0">
                  <a:pos x="64" y="0"/>
                </a:cxn>
                <a:cxn ang="0">
                  <a:pos x="64" y="4"/>
                </a:cxn>
                <a:cxn ang="0">
                  <a:pos x="72" y="8"/>
                </a:cxn>
                <a:cxn ang="0">
                  <a:pos x="80" y="12"/>
                </a:cxn>
                <a:cxn ang="0">
                  <a:pos x="84" y="16"/>
                </a:cxn>
                <a:cxn ang="0">
                  <a:pos x="88" y="16"/>
                </a:cxn>
                <a:cxn ang="0">
                  <a:pos x="84" y="24"/>
                </a:cxn>
                <a:cxn ang="0">
                  <a:pos x="88" y="24"/>
                </a:cxn>
                <a:cxn ang="0">
                  <a:pos x="88" y="28"/>
                </a:cxn>
                <a:cxn ang="0">
                  <a:pos x="84" y="32"/>
                </a:cxn>
                <a:cxn ang="0">
                  <a:pos x="76" y="36"/>
                </a:cxn>
                <a:cxn ang="0">
                  <a:pos x="76" y="40"/>
                </a:cxn>
                <a:cxn ang="0">
                  <a:pos x="72" y="44"/>
                </a:cxn>
                <a:cxn ang="0">
                  <a:pos x="72" y="48"/>
                </a:cxn>
                <a:cxn ang="0">
                  <a:pos x="76" y="52"/>
                </a:cxn>
                <a:cxn ang="0">
                  <a:pos x="72" y="52"/>
                </a:cxn>
                <a:cxn ang="0">
                  <a:pos x="68" y="52"/>
                </a:cxn>
                <a:cxn ang="0">
                  <a:pos x="64" y="52"/>
                </a:cxn>
                <a:cxn ang="0">
                  <a:pos x="64" y="52"/>
                </a:cxn>
                <a:cxn ang="0">
                  <a:pos x="60" y="56"/>
                </a:cxn>
                <a:cxn ang="0">
                  <a:pos x="56" y="56"/>
                </a:cxn>
                <a:cxn ang="0">
                  <a:pos x="52" y="56"/>
                </a:cxn>
                <a:cxn ang="0">
                  <a:pos x="48" y="56"/>
                </a:cxn>
                <a:cxn ang="0">
                  <a:pos x="44" y="56"/>
                </a:cxn>
                <a:cxn ang="0">
                  <a:pos x="40" y="56"/>
                </a:cxn>
                <a:cxn ang="0">
                  <a:pos x="4" y="24"/>
                </a:cxn>
                <a:cxn ang="0">
                  <a:pos x="4" y="16"/>
                </a:cxn>
                <a:cxn ang="0">
                  <a:pos x="4" y="20"/>
                </a:cxn>
              </a:cxnLst>
              <a:rect l="0" t="0" r="r" b="b"/>
              <a:pathLst>
                <a:path w="92" h="60">
                  <a:moveTo>
                    <a:pt x="40" y="56"/>
                  </a:moveTo>
                  <a:lnTo>
                    <a:pt x="40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2" y="44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6" y="48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close/>
                  <a:moveTo>
                    <a:pt x="4" y="28"/>
                  </a:move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5" name="Freeform 102"/>
            <p:cNvSpPr>
              <a:spLocks/>
            </p:cNvSpPr>
            <p:nvPr>
              <p:custDataLst>
                <p:tags r:id="rId297"/>
              </p:custDataLst>
            </p:nvPr>
          </p:nvSpPr>
          <p:spPr bwMode="gray">
            <a:xfrm>
              <a:off x="4505088" y="3142552"/>
              <a:ext cx="17797" cy="23729"/>
            </a:xfrm>
            <a:custGeom>
              <a:avLst/>
              <a:gdLst/>
              <a:ahLst/>
              <a:cxnLst>
                <a:cxn ang="0">
                  <a:pos x="8" y="12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4" y="12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6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12"/>
                </a:cxn>
                <a:cxn ang="0">
                  <a:pos x="8" y="12"/>
                </a:cxn>
              </a:cxnLst>
              <a:rect l="0" t="0" r="r" b="b"/>
              <a:pathLst>
                <a:path w="12" h="16">
                  <a:moveTo>
                    <a:pt x="8" y="12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4" y="12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12"/>
                  </a:lnTo>
                  <a:lnTo>
                    <a:pt x="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6" name="Freeform 103"/>
            <p:cNvSpPr>
              <a:spLocks/>
            </p:cNvSpPr>
            <p:nvPr>
              <p:custDataLst>
                <p:tags r:id="rId298"/>
              </p:custDataLst>
            </p:nvPr>
          </p:nvSpPr>
          <p:spPr bwMode="gray">
            <a:xfrm>
              <a:off x="4837294" y="3390223"/>
              <a:ext cx="53390" cy="47458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36" y="20"/>
                </a:cxn>
                <a:cxn ang="0">
                  <a:pos x="36" y="20"/>
                </a:cxn>
                <a:cxn ang="0">
                  <a:pos x="36" y="20"/>
                </a:cxn>
                <a:cxn ang="0">
                  <a:pos x="32" y="24"/>
                </a:cxn>
                <a:cxn ang="0">
                  <a:pos x="32" y="24"/>
                </a:cxn>
                <a:cxn ang="0">
                  <a:pos x="32" y="28"/>
                </a:cxn>
                <a:cxn ang="0">
                  <a:pos x="28" y="28"/>
                </a:cxn>
                <a:cxn ang="0">
                  <a:pos x="28" y="24"/>
                </a:cxn>
                <a:cxn ang="0">
                  <a:pos x="24" y="24"/>
                </a:cxn>
                <a:cxn ang="0">
                  <a:pos x="20" y="28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0" y="12"/>
                </a:cxn>
              </a:cxnLst>
              <a:rect l="0" t="0" r="r" b="b"/>
              <a:pathLst>
                <a:path w="36" h="32">
                  <a:moveTo>
                    <a:pt x="0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7" name="Freeform 104"/>
            <p:cNvSpPr>
              <a:spLocks/>
            </p:cNvSpPr>
            <p:nvPr>
              <p:custDataLst>
                <p:tags r:id="rId299"/>
              </p:custDataLst>
            </p:nvPr>
          </p:nvSpPr>
          <p:spPr bwMode="gray">
            <a:xfrm>
              <a:off x="4973736" y="3195942"/>
              <a:ext cx="75636" cy="100848"/>
            </a:xfrm>
            <a:custGeom>
              <a:avLst/>
              <a:gdLst/>
              <a:ahLst/>
              <a:cxnLst>
                <a:cxn ang="0">
                  <a:pos x="23" y="48"/>
                </a:cxn>
                <a:cxn ang="0">
                  <a:pos x="23" y="40"/>
                </a:cxn>
                <a:cxn ang="0">
                  <a:pos x="23" y="36"/>
                </a:cxn>
                <a:cxn ang="0">
                  <a:pos x="23" y="36"/>
                </a:cxn>
                <a:cxn ang="0">
                  <a:pos x="20" y="32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16" y="24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4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8" y="4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3" y="4"/>
                </a:cxn>
                <a:cxn ang="0">
                  <a:pos x="23" y="8"/>
                </a:cxn>
                <a:cxn ang="0">
                  <a:pos x="23" y="4"/>
                </a:cxn>
                <a:cxn ang="0">
                  <a:pos x="27" y="8"/>
                </a:cxn>
                <a:cxn ang="0">
                  <a:pos x="27" y="8"/>
                </a:cxn>
                <a:cxn ang="0">
                  <a:pos x="31" y="8"/>
                </a:cxn>
                <a:cxn ang="0">
                  <a:pos x="35" y="12"/>
                </a:cxn>
                <a:cxn ang="0">
                  <a:pos x="35" y="12"/>
                </a:cxn>
                <a:cxn ang="0">
                  <a:pos x="35" y="12"/>
                </a:cxn>
                <a:cxn ang="0">
                  <a:pos x="35" y="12"/>
                </a:cxn>
                <a:cxn ang="0">
                  <a:pos x="39" y="16"/>
                </a:cxn>
                <a:cxn ang="0">
                  <a:pos x="39" y="20"/>
                </a:cxn>
                <a:cxn ang="0">
                  <a:pos x="39" y="24"/>
                </a:cxn>
                <a:cxn ang="0">
                  <a:pos x="39" y="24"/>
                </a:cxn>
                <a:cxn ang="0">
                  <a:pos x="43" y="28"/>
                </a:cxn>
                <a:cxn ang="0">
                  <a:pos x="43" y="24"/>
                </a:cxn>
                <a:cxn ang="0">
                  <a:pos x="43" y="28"/>
                </a:cxn>
                <a:cxn ang="0">
                  <a:pos x="43" y="36"/>
                </a:cxn>
                <a:cxn ang="0">
                  <a:pos x="51" y="36"/>
                </a:cxn>
                <a:cxn ang="0">
                  <a:pos x="51" y="44"/>
                </a:cxn>
                <a:cxn ang="0">
                  <a:pos x="51" y="44"/>
                </a:cxn>
                <a:cxn ang="0">
                  <a:pos x="51" y="44"/>
                </a:cxn>
                <a:cxn ang="0">
                  <a:pos x="51" y="48"/>
                </a:cxn>
                <a:cxn ang="0">
                  <a:pos x="51" y="48"/>
                </a:cxn>
                <a:cxn ang="0">
                  <a:pos x="47" y="48"/>
                </a:cxn>
                <a:cxn ang="0">
                  <a:pos x="43" y="48"/>
                </a:cxn>
                <a:cxn ang="0">
                  <a:pos x="43" y="44"/>
                </a:cxn>
                <a:cxn ang="0">
                  <a:pos x="39" y="44"/>
                </a:cxn>
                <a:cxn ang="0">
                  <a:pos x="39" y="48"/>
                </a:cxn>
                <a:cxn ang="0">
                  <a:pos x="39" y="44"/>
                </a:cxn>
                <a:cxn ang="0">
                  <a:pos x="35" y="44"/>
                </a:cxn>
                <a:cxn ang="0">
                  <a:pos x="35" y="44"/>
                </a:cxn>
                <a:cxn ang="0">
                  <a:pos x="35" y="52"/>
                </a:cxn>
                <a:cxn ang="0">
                  <a:pos x="31" y="56"/>
                </a:cxn>
                <a:cxn ang="0">
                  <a:pos x="31" y="56"/>
                </a:cxn>
                <a:cxn ang="0">
                  <a:pos x="31" y="60"/>
                </a:cxn>
                <a:cxn ang="0">
                  <a:pos x="27" y="64"/>
                </a:cxn>
                <a:cxn ang="0">
                  <a:pos x="27" y="64"/>
                </a:cxn>
                <a:cxn ang="0">
                  <a:pos x="27" y="64"/>
                </a:cxn>
                <a:cxn ang="0">
                  <a:pos x="23" y="64"/>
                </a:cxn>
                <a:cxn ang="0">
                  <a:pos x="23" y="68"/>
                </a:cxn>
                <a:cxn ang="0">
                  <a:pos x="23" y="68"/>
                </a:cxn>
                <a:cxn ang="0">
                  <a:pos x="23" y="64"/>
                </a:cxn>
                <a:cxn ang="0">
                  <a:pos x="23" y="56"/>
                </a:cxn>
                <a:cxn ang="0">
                  <a:pos x="23" y="52"/>
                </a:cxn>
              </a:cxnLst>
              <a:rect l="0" t="0" r="r" b="b"/>
              <a:pathLst>
                <a:path w="51" h="68">
                  <a:moveTo>
                    <a:pt x="23" y="52"/>
                  </a:moveTo>
                  <a:lnTo>
                    <a:pt x="23" y="52"/>
                  </a:lnTo>
                  <a:lnTo>
                    <a:pt x="23" y="48"/>
                  </a:lnTo>
                  <a:lnTo>
                    <a:pt x="23" y="44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4"/>
                  </a:lnTo>
                  <a:lnTo>
                    <a:pt x="27" y="4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39" y="16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43" y="24"/>
                  </a:lnTo>
                  <a:lnTo>
                    <a:pt x="39" y="24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3" y="32"/>
                  </a:lnTo>
                  <a:lnTo>
                    <a:pt x="43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51" y="36"/>
                  </a:lnTo>
                  <a:lnTo>
                    <a:pt x="51" y="40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47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47" y="48"/>
                  </a:lnTo>
                  <a:lnTo>
                    <a:pt x="47" y="48"/>
                  </a:lnTo>
                  <a:lnTo>
                    <a:pt x="47" y="44"/>
                  </a:lnTo>
                  <a:lnTo>
                    <a:pt x="47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5" y="48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0"/>
                  </a:lnTo>
                  <a:lnTo>
                    <a:pt x="23" y="60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2"/>
                  </a:lnTo>
                  <a:lnTo>
                    <a:pt x="23" y="5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8" name="Freeform 105"/>
            <p:cNvSpPr>
              <a:spLocks noEditPoints="1"/>
            </p:cNvSpPr>
            <p:nvPr>
              <p:custDataLst>
                <p:tags r:id="rId300"/>
              </p:custDataLst>
            </p:nvPr>
          </p:nvSpPr>
          <p:spPr bwMode="gray">
            <a:xfrm>
              <a:off x="4453180" y="3029839"/>
              <a:ext cx="81568" cy="94916"/>
            </a:xfrm>
            <a:custGeom>
              <a:avLst/>
              <a:gdLst/>
              <a:ahLst/>
              <a:cxnLst>
                <a:cxn ang="0">
                  <a:pos x="31" y="28"/>
                </a:cxn>
                <a:cxn ang="0">
                  <a:pos x="35" y="24"/>
                </a:cxn>
                <a:cxn ang="0">
                  <a:pos x="31" y="16"/>
                </a:cxn>
                <a:cxn ang="0">
                  <a:pos x="27" y="12"/>
                </a:cxn>
                <a:cxn ang="0">
                  <a:pos x="27" y="12"/>
                </a:cxn>
                <a:cxn ang="0">
                  <a:pos x="27" y="20"/>
                </a:cxn>
                <a:cxn ang="0">
                  <a:pos x="23" y="20"/>
                </a:cxn>
                <a:cxn ang="0">
                  <a:pos x="23" y="24"/>
                </a:cxn>
                <a:cxn ang="0">
                  <a:pos x="20" y="20"/>
                </a:cxn>
                <a:cxn ang="0">
                  <a:pos x="23" y="12"/>
                </a:cxn>
                <a:cxn ang="0">
                  <a:pos x="27" y="8"/>
                </a:cxn>
                <a:cxn ang="0">
                  <a:pos x="31" y="4"/>
                </a:cxn>
                <a:cxn ang="0">
                  <a:pos x="43" y="0"/>
                </a:cxn>
                <a:cxn ang="0">
                  <a:pos x="51" y="4"/>
                </a:cxn>
                <a:cxn ang="0">
                  <a:pos x="55" y="12"/>
                </a:cxn>
                <a:cxn ang="0">
                  <a:pos x="51" y="20"/>
                </a:cxn>
                <a:cxn ang="0">
                  <a:pos x="47" y="24"/>
                </a:cxn>
                <a:cxn ang="0">
                  <a:pos x="55" y="28"/>
                </a:cxn>
                <a:cxn ang="0">
                  <a:pos x="51" y="32"/>
                </a:cxn>
                <a:cxn ang="0">
                  <a:pos x="47" y="36"/>
                </a:cxn>
                <a:cxn ang="0">
                  <a:pos x="39" y="40"/>
                </a:cxn>
                <a:cxn ang="0">
                  <a:pos x="43" y="48"/>
                </a:cxn>
                <a:cxn ang="0">
                  <a:pos x="35" y="56"/>
                </a:cxn>
                <a:cxn ang="0">
                  <a:pos x="39" y="60"/>
                </a:cxn>
                <a:cxn ang="0">
                  <a:pos x="35" y="60"/>
                </a:cxn>
                <a:cxn ang="0">
                  <a:pos x="31" y="60"/>
                </a:cxn>
                <a:cxn ang="0">
                  <a:pos x="31" y="52"/>
                </a:cxn>
                <a:cxn ang="0">
                  <a:pos x="27" y="48"/>
                </a:cxn>
                <a:cxn ang="0">
                  <a:pos x="23" y="48"/>
                </a:cxn>
                <a:cxn ang="0">
                  <a:pos x="20" y="44"/>
                </a:cxn>
                <a:cxn ang="0">
                  <a:pos x="16" y="48"/>
                </a:cxn>
                <a:cxn ang="0">
                  <a:pos x="12" y="48"/>
                </a:cxn>
                <a:cxn ang="0">
                  <a:pos x="0" y="44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16" y="28"/>
                </a:cxn>
                <a:cxn ang="0">
                  <a:pos x="20" y="24"/>
                </a:cxn>
                <a:cxn ang="0">
                  <a:pos x="27" y="28"/>
                </a:cxn>
                <a:cxn ang="0">
                  <a:pos x="23" y="20"/>
                </a:cxn>
                <a:cxn ang="0">
                  <a:pos x="27" y="20"/>
                </a:cxn>
                <a:cxn ang="0">
                  <a:pos x="27" y="24"/>
                </a:cxn>
                <a:cxn ang="0">
                  <a:pos x="23" y="24"/>
                </a:cxn>
                <a:cxn ang="0">
                  <a:pos x="31" y="28"/>
                </a:cxn>
                <a:cxn ang="0">
                  <a:pos x="27" y="28"/>
                </a:cxn>
                <a:cxn ang="0">
                  <a:pos x="31" y="24"/>
                </a:cxn>
                <a:cxn ang="0">
                  <a:pos x="35" y="24"/>
                </a:cxn>
                <a:cxn ang="0">
                  <a:pos x="8" y="40"/>
                </a:cxn>
                <a:cxn ang="0">
                  <a:pos x="8" y="44"/>
                </a:cxn>
                <a:cxn ang="0">
                  <a:pos x="4" y="40"/>
                </a:cxn>
                <a:cxn ang="0">
                  <a:pos x="4" y="48"/>
                </a:cxn>
                <a:cxn ang="0">
                  <a:pos x="12" y="52"/>
                </a:cxn>
                <a:cxn ang="0">
                  <a:pos x="0" y="52"/>
                </a:cxn>
                <a:cxn ang="0">
                  <a:pos x="27" y="4"/>
                </a:cxn>
                <a:cxn ang="0">
                  <a:pos x="31" y="0"/>
                </a:cxn>
                <a:cxn ang="0">
                  <a:pos x="20" y="12"/>
                </a:cxn>
                <a:cxn ang="0">
                  <a:pos x="20" y="8"/>
                </a:cxn>
                <a:cxn ang="0">
                  <a:pos x="20" y="12"/>
                </a:cxn>
              </a:cxnLst>
              <a:rect l="0" t="0" r="r" b="b"/>
              <a:pathLst>
                <a:path w="55" h="64">
                  <a:moveTo>
                    <a:pt x="27" y="28"/>
                  </a:moveTo>
                  <a:lnTo>
                    <a:pt x="27" y="28"/>
                  </a:lnTo>
                  <a:lnTo>
                    <a:pt x="27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1" y="20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27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5" y="4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5" y="8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20"/>
                  </a:lnTo>
                  <a:lnTo>
                    <a:pt x="55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47" y="20"/>
                  </a:lnTo>
                  <a:lnTo>
                    <a:pt x="47" y="24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1" y="28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3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40"/>
                  </a:lnTo>
                  <a:lnTo>
                    <a:pt x="39" y="40"/>
                  </a:lnTo>
                  <a:lnTo>
                    <a:pt x="39" y="40"/>
                  </a:lnTo>
                  <a:lnTo>
                    <a:pt x="39" y="40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8"/>
                  </a:lnTo>
                  <a:lnTo>
                    <a:pt x="39" y="48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5" y="60"/>
                  </a:lnTo>
                  <a:lnTo>
                    <a:pt x="35" y="64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48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4"/>
                  </a:lnTo>
                  <a:lnTo>
                    <a:pt x="23" y="44"/>
                  </a:lnTo>
                  <a:lnTo>
                    <a:pt x="23" y="44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close/>
                  <a:moveTo>
                    <a:pt x="23" y="24"/>
                  </a:moveTo>
                  <a:lnTo>
                    <a:pt x="23" y="24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close/>
                  <a:moveTo>
                    <a:pt x="31" y="24"/>
                  </a:moveTo>
                  <a:lnTo>
                    <a:pt x="31" y="24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3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1" y="24"/>
                  </a:lnTo>
                  <a:lnTo>
                    <a:pt x="31" y="24"/>
                  </a:lnTo>
                  <a:close/>
                  <a:moveTo>
                    <a:pt x="8" y="40"/>
                  </a:move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40"/>
                  </a:lnTo>
                  <a:close/>
                  <a:moveTo>
                    <a:pt x="0" y="48"/>
                  </a:move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8"/>
                  </a:lnTo>
                  <a:close/>
                  <a:moveTo>
                    <a:pt x="27" y="4"/>
                  </a:move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close/>
                  <a:moveTo>
                    <a:pt x="20" y="12"/>
                  </a:move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9" name="Freeform 106"/>
            <p:cNvSpPr>
              <a:spLocks noEditPoints="1"/>
            </p:cNvSpPr>
            <p:nvPr>
              <p:custDataLst>
                <p:tags r:id="rId301"/>
              </p:custDataLst>
            </p:nvPr>
          </p:nvSpPr>
          <p:spPr bwMode="gray">
            <a:xfrm>
              <a:off x="4482841" y="2372841"/>
              <a:ext cx="590259" cy="502758"/>
            </a:xfrm>
            <a:custGeom>
              <a:avLst/>
              <a:gdLst/>
              <a:ahLst/>
              <a:cxnLst>
                <a:cxn ang="0">
                  <a:pos x="103" y="164"/>
                </a:cxn>
                <a:cxn ang="0">
                  <a:pos x="119" y="140"/>
                </a:cxn>
                <a:cxn ang="0">
                  <a:pos x="131" y="132"/>
                </a:cxn>
                <a:cxn ang="0">
                  <a:pos x="131" y="116"/>
                </a:cxn>
                <a:cxn ang="0">
                  <a:pos x="151" y="108"/>
                </a:cxn>
                <a:cxn ang="0">
                  <a:pos x="159" y="92"/>
                </a:cxn>
                <a:cxn ang="0">
                  <a:pos x="163" y="80"/>
                </a:cxn>
                <a:cxn ang="0">
                  <a:pos x="171" y="80"/>
                </a:cxn>
                <a:cxn ang="0">
                  <a:pos x="179" y="72"/>
                </a:cxn>
                <a:cxn ang="0">
                  <a:pos x="203" y="44"/>
                </a:cxn>
                <a:cxn ang="0">
                  <a:pos x="227" y="40"/>
                </a:cxn>
                <a:cxn ang="0">
                  <a:pos x="247" y="36"/>
                </a:cxn>
                <a:cxn ang="0">
                  <a:pos x="275" y="28"/>
                </a:cxn>
                <a:cxn ang="0">
                  <a:pos x="295" y="12"/>
                </a:cxn>
                <a:cxn ang="0">
                  <a:pos x="307" y="32"/>
                </a:cxn>
                <a:cxn ang="0">
                  <a:pos x="339" y="12"/>
                </a:cxn>
                <a:cxn ang="0">
                  <a:pos x="351" y="20"/>
                </a:cxn>
                <a:cxn ang="0">
                  <a:pos x="382" y="12"/>
                </a:cxn>
                <a:cxn ang="0">
                  <a:pos x="374" y="32"/>
                </a:cxn>
                <a:cxn ang="0">
                  <a:pos x="378" y="48"/>
                </a:cxn>
                <a:cxn ang="0">
                  <a:pos x="335" y="32"/>
                </a:cxn>
                <a:cxn ang="0">
                  <a:pos x="291" y="64"/>
                </a:cxn>
                <a:cxn ang="0">
                  <a:pos x="235" y="72"/>
                </a:cxn>
                <a:cxn ang="0">
                  <a:pos x="175" y="112"/>
                </a:cxn>
                <a:cxn ang="0">
                  <a:pos x="143" y="180"/>
                </a:cxn>
                <a:cxn ang="0">
                  <a:pos x="123" y="255"/>
                </a:cxn>
                <a:cxn ang="0">
                  <a:pos x="95" y="311"/>
                </a:cxn>
                <a:cxn ang="0">
                  <a:pos x="71" y="311"/>
                </a:cxn>
                <a:cxn ang="0">
                  <a:pos x="15" y="327"/>
                </a:cxn>
                <a:cxn ang="0">
                  <a:pos x="23" y="299"/>
                </a:cxn>
                <a:cxn ang="0">
                  <a:pos x="19" y="283"/>
                </a:cxn>
                <a:cxn ang="0">
                  <a:pos x="11" y="279"/>
                </a:cxn>
                <a:cxn ang="0">
                  <a:pos x="7" y="267"/>
                </a:cxn>
                <a:cxn ang="0">
                  <a:pos x="27" y="259"/>
                </a:cxn>
                <a:cxn ang="0">
                  <a:pos x="7" y="251"/>
                </a:cxn>
                <a:cxn ang="0">
                  <a:pos x="11" y="236"/>
                </a:cxn>
                <a:cxn ang="0">
                  <a:pos x="39" y="236"/>
                </a:cxn>
                <a:cxn ang="0">
                  <a:pos x="43" y="224"/>
                </a:cxn>
                <a:cxn ang="0">
                  <a:pos x="47" y="216"/>
                </a:cxn>
                <a:cxn ang="0">
                  <a:pos x="67" y="200"/>
                </a:cxn>
                <a:cxn ang="0">
                  <a:pos x="87" y="196"/>
                </a:cxn>
                <a:cxn ang="0">
                  <a:pos x="287" y="16"/>
                </a:cxn>
                <a:cxn ang="0">
                  <a:pos x="211" y="32"/>
                </a:cxn>
                <a:cxn ang="0">
                  <a:pos x="179" y="60"/>
                </a:cxn>
                <a:cxn ang="0">
                  <a:pos x="131" y="80"/>
                </a:cxn>
                <a:cxn ang="0">
                  <a:pos x="107" y="148"/>
                </a:cxn>
                <a:cxn ang="0">
                  <a:pos x="95" y="176"/>
                </a:cxn>
                <a:cxn ang="0">
                  <a:pos x="43" y="212"/>
                </a:cxn>
                <a:cxn ang="0">
                  <a:pos x="0" y="244"/>
                </a:cxn>
                <a:cxn ang="0">
                  <a:pos x="319" y="4"/>
                </a:cxn>
                <a:cxn ang="0">
                  <a:pos x="279" y="8"/>
                </a:cxn>
                <a:cxn ang="0">
                  <a:pos x="227" y="28"/>
                </a:cxn>
                <a:cxn ang="0">
                  <a:pos x="223" y="32"/>
                </a:cxn>
                <a:cxn ang="0">
                  <a:pos x="187" y="52"/>
                </a:cxn>
                <a:cxn ang="0">
                  <a:pos x="187" y="60"/>
                </a:cxn>
                <a:cxn ang="0">
                  <a:pos x="159" y="60"/>
                </a:cxn>
                <a:cxn ang="0">
                  <a:pos x="159" y="72"/>
                </a:cxn>
                <a:cxn ang="0">
                  <a:pos x="155" y="76"/>
                </a:cxn>
                <a:cxn ang="0">
                  <a:pos x="119" y="136"/>
                </a:cxn>
                <a:cxn ang="0">
                  <a:pos x="47" y="208"/>
                </a:cxn>
                <a:cxn ang="0">
                  <a:pos x="11" y="287"/>
                </a:cxn>
              </a:cxnLst>
              <a:rect l="0" t="0" r="r" b="b"/>
              <a:pathLst>
                <a:path w="398" h="339">
                  <a:moveTo>
                    <a:pt x="87" y="180"/>
                  </a:moveTo>
                  <a:lnTo>
                    <a:pt x="91" y="180"/>
                  </a:lnTo>
                  <a:lnTo>
                    <a:pt x="87" y="180"/>
                  </a:lnTo>
                  <a:lnTo>
                    <a:pt x="91" y="176"/>
                  </a:lnTo>
                  <a:lnTo>
                    <a:pt x="95" y="176"/>
                  </a:lnTo>
                  <a:lnTo>
                    <a:pt x="99" y="180"/>
                  </a:lnTo>
                  <a:lnTo>
                    <a:pt x="99" y="176"/>
                  </a:lnTo>
                  <a:lnTo>
                    <a:pt x="103" y="176"/>
                  </a:lnTo>
                  <a:lnTo>
                    <a:pt x="107" y="176"/>
                  </a:lnTo>
                  <a:lnTo>
                    <a:pt x="103" y="176"/>
                  </a:lnTo>
                  <a:lnTo>
                    <a:pt x="99" y="176"/>
                  </a:lnTo>
                  <a:lnTo>
                    <a:pt x="99" y="172"/>
                  </a:lnTo>
                  <a:lnTo>
                    <a:pt x="103" y="172"/>
                  </a:lnTo>
                  <a:lnTo>
                    <a:pt x="107" y="172"/>
                  </a:lnTo>
                  <a:lnTo>
                    <a:pt x="107" y="168"/>
                  </a:lnTo>
                  <a:lnTo>
                    <a:pt x="103" y="168"/>
                  </a:lnTo>
                  <a:lnTo>
                    <a:pt x="107" y="168"/>
                  </a:lnTo>
                  <a:lnTo>
                    <a:pt x="111" y="164"/>
                  </a:lnTo>
                  <a:lnTo>
                    <a:pt x="107" y="164"/>
                  </a:lnTo>
                  <a:lnTo>
                    <a:pt x="107" y="168"/>
                  </a:lnTo>
                  <a:lnTo>
                    <a:pt x="99" y="172"/>
                  </a:lnTo>
                  <a:lnTo>
                    <a:pt x="99" y="168"/>
                  </a:lnTo>
                  <a:lnTo>
                    <a:pt x="103" y="168"/>
                  </a:lnTo>
                  <a:lnTo>
                    <a:pt x="99" y="168"/>
                  </a:lnTo>
                  <a:lnTo>
                    <a:pt x="103" y="164"/>
                  </a:lnTo>
                  <a:lnTo>
                    <a:pt x="107" y="164"/>
                  </a:lnTo>
                  <a:lnTo>
                    <a:pt x="111" y="164"/>
                  </a:lnTo>
                  <a:lnTo>
                    <a:pt x="115" y="164"/>
                  </a:lnTo>
                  <a:lnTo>
                    <a:pt x="119" y="160"/>
                  </a:lnTo>
                  <a:lnTo>
                    <a:pt x="123" y="156"/>
                  </a:lnTo>
                  <a:lnTo>
                    <a:pt x="119" y="160"/>
                  </a:lnTo>
                  <a:lnTo>
                    <a:pt x="115" y="160"/>
                  </a:lnTo>
                  <a:lnTo>
                    <a:pt x="119" y="160"/>
                  </a:lnTo>
                  <a:lnTo>
                    <a:pt x="119" y="156"/>
                  </a:lnTo>
                  <a:lnTo>
                    <a:pt x="115" y="156"/>
                  </a:lnTo>
                  <a:lnTo>
                    <a:pt x="115" y="160"/>
                  </a:lnTo>
                  <a:lnTo>
                    <a:pt x="111" y="160"/>
                  </a:lnTo>
                  <a:lnTo>
                    <a:pt x="115" y="156"/>
                  </a:lnTo>
                  <a:lnTo>
                    <a:pt x="119" y="156"/>
                  </a:lnTo>
                  <a:lnTo>
                    <a:pt x="115" y="152"/>
                  </a:lnTo>
                  <a:lnTo>
                    <a:pt x="119" y="152"/>
                  </a:lnTo>
                  <a:lnTo>
                    <a:pt x="115" y="152"/>
                  </a:lnTo>
                  <a:lnTo>
                    <a:pt x="115" y="148"/>
                  </a:lnTo>
                  <a:lnTo>
                    <a:pt x="115" y="144"/>
                  </a:lnTo>
                  <a:lnTo>
                    <a:pt x="119" y="144"/>
                  </a:lnTo>
                  <a:lnTo>
                    <a:pt x="119" y="148"/>
                  </a:lnTo>
                  <a:lnTo>
                    <a:pt x="123" y="148"/>
                  </a:lnTo>
                  <a:lnTo>
                    <a:pt x="119" y="148"/>
                  </a:lnTo>
                  <a:lnTo>
                    <a:pt x="119" y="144"/>
                  </a:lnTo>
                  <a:lnTo>
                    <a:pt x="119" y="140"/>
                  </a:lnTo>
                  <a:lnTo>
                    <a:pt x="123" y="140"/>
                  </a:lnTo>
                  <a:lnTo>
                    <a:pt x="127" y="140"/>
                  </a:lnTo>
                  <a:lnTo>
                    <a:pt x="127" y="144"/>
                  </a:lnTo>
                  <a:lnTo>
                    <a:pt x="127" y="140"/>
                  </a:lnTo>
                  <a:lnTo>
                    <a:pt x="123" y="140"/>
                  </a:lnTo>
                  <a:lnTo>
                    <a:pt x="123" y="136"/>
                  </a:lnTo>
                  <a:lnTo>
                    <a:pt x="119" y="136"/>
                  </a:lnTo>
                  <a:lnTo>
                    <a:pt x="123" y="136"/>
                  </a:lnTo>
                  <a:lnTo>
                    <a:pt x="127" y="136"/>
                  </a:lnTo>
                  <a:lnTo>
                    <a:pt x="127" y="132"/>
                  </a:lnTo>
                  <a:lnTo>
                    <a:pt x="131" y="132"/>
                  </a:lnTo>
                  <a:lnTo>
                    <a:pt x="135" y="132"/>
                  </a:lnTo>
                  <a:lnTo>
                    <a:pt x="131" y="132"/>
                  </a:lnTo>
                  <a:lnTo>
                    <a:pt x="131" y="136"/>
                  </a:lnTo>
                  <a:lnTo>
                    <a:pt x="135" y="132"/>
                  </a:lnTo>
                  <a:lnTo>
                    <a:pt x="139" y="132"/>
                  </a:lnTo>
                  <a:lnTo>
                    <a:pt x="143" y="132"/>
                  </a:lnTo>
                  <a:lnTo>
                    <a:pt x="143" y="128"/>
                  </a:lnTo>
                  <a:lnTo>
                    <a:pt x="139" y="132"/>
                  </a:lnTo>
                  <a:lnTo>
                    <a:pt x="135" y="132"/>
                  </a:lnTo>
                  <a:lnTo>
                    <a:pt x="131" y="132"/>
                  </a:lnTo>
                  <a:lnTo>
                    <a:pt x="127" y="132"/>
                  </a:lnTo>
                  <a:lnTo>
                    <a:pt x="123" y="132"/>
                  </a:lnTo>
                  <a:lnTo>
                    <a:pt x="127" y="132"/>
                  </a:lnTo>
                  <a:lnTo>
                    <a:pt x="131" y="132"/>
                  </a:lnTo>
                  <a:lnTo>
                    <a:pt x="127" y="132"/>
                  </a:lnTo>
                  <a:lnTo>
                    <a:pt x="123" y="128"/>
                  </a:lnTo>
                  <a:lnTo>
                    <a:pt x="127" y="128"/>
                  </a:lnTo>
                  <a:lnTo>
                    <a:pt x="127" y="124"/>
                  </a:lnTo>
                  <a:lnTo>
                    <a:pt x="123" y="124"/>
                  </a:lnTo>
                  <a:lnTo>
                    <a:pt x="127" y="124"/>
                  </a:lnTo>
                  <a:lnTo>
                    <a:pt x="131" y="124"/>
                  </a:lnTo>
                  <a:lnTo>
                    <a:pt x="135" y="124"/>
                  </a:lnTo>
                  <a:lnTo>
                    <a:pt x="131" y="124"/>
                  </a:lnTo>
                  <a:lnTo>
                    <a:pt x="127" y="124"/>
                  </a:lnTo>
                  <a:lnTo>
                    <a:pt x="127" y="120"/>
                  </a:lnTo>
                  <a:lnTo>
                    <a:pt x="131" y="120"/>
                  </a:lnTo>
                  <a:lnTo>
                    <a:pt x="127" y="120"/>
                  </a:lnTo>
                  <a:lnTo>
                    <a:pt x="131" y="120"/>
                  </a:lnTo>
                  <a:lnTo>
                    <a:pt x="135" y="120"/>
                  </a:lnTo>
                  <a:lnTo>
                    <a:pt x="139" y="120"/>
                  </a:lnTo>
                  <a:lnTo>
                    <a:pt x="135" y="120"/>
                  </a:lnTo>
                  <a:lnTo>
                    <a:pt x="131" y="120"/>
                  </a:lnTo>
                  <a:lnTo>
                    <a:pt x="135" y="120"/>
                  </a:lnTo>
                  <a:lnTo>
                    <a:pt x="131" y="120"/>
                  </a:lnTo>
                  <a:lnTo>
                    <a:pt x="131" y="116"/>
                  </a:lnTo>
                  <a:lnTo>
                    <a:pt x="135" y="116"/>
                  </a:lnTo>
                  <a:lnTo>
                    <a:pt x="139" y="116"/>
                  </a:lnTo>
                  <a:lnTo>
                    <a:pt x="135" y="116"/>
                  </a:lnTo>
                  <a:lnTo>
                    <a:pt x="131" y="116"/>
                  </a:lnTo>
                  <a:lnTo>
                    <a:pt x="135" y="112"/>
                  </a:lnTo>
                  <a:lnTo>
                    <a:pt x="139" y="116"/>
                  </a:lnTo>
                  <a:lnTo>
                    <a:pt x="143" y="112"/>
                  </a:lnTo>
                  <a:lnTo>
                    <a:pt x="147" y="112"/>
                  </a:lnTo>
                  <a:lnTo>
                    <a:pt x="143" y="112"/>
                  </a:lnTo>
                  <a:lnTo>
                    <a:pt x="143" y="108"/>
                  </a:lnTo>
                  <a:lnTo>
                    <a:pt x="147" y="108"/>
                  </a:lnTo>
                  <a:lnTo>
                    <a:pt x="151" y="108"/>
                  </a:lnTo>
                  <a:lnTo>
                    <a:pt x="147" y="108"/>
                  </a:lnTo>
                  <a:lnTo>
                    <a:pt x="151" y="108"/>
                  </a:lnTo>
                  <a:lnTo>
                    <a:pt x="155" y="108"/>
                  </a:lnTo>
                  <a:lnTo>
                    <a:pt x="159" y="108"/>
                  </a:lnTo>
                  <a:lnTo>
                    <a:pt x="163" y="112"/>
                  </a:lnTo>
                  <a:lnTo>
                    <a:pt x="163" y="108"/>
                  </a:lnTo>
                  <a:lnTo>
                    <a:pt x="159" y="108"/>
                  </a:lnTo>
                  <a:lnTo>
                    <a:pt x="163" y="108"/>
                  </a:lnTo>
                  <a:lnTo>
                    <a:pt x="167" y="108"/>
                  </a:lnTo>
                  <a:lnTo>
                    <a:pt x="159" y="108"/>
                  </a:lnTo>
                  <a:lnTo>
                    <a:pt x="159" y="104"/>
                  </a:lnTo>
                  <a:lnTo>
                    <a:pt x="159" y="108"/>
                  </a:lnTo>
                  <a:lnTo>
                    <a:pt x="155" y="104"/>
                  </a:lnTo>
                  <a:lnTo>
                    <a:pt x="159" y="104"/>
                  </a:lnTo>
                  <a:lnTo>
                    <a:pt x="155" y="104"/>
                  </a:lnTo>
                  <a:lnTo>
                    <a:pt x="151" y="104"/>
                  </a:lnTo>
                  <a:lnTo>
                    <a:pt x="151" y="108"/>
                  </a:lnTo>
                  <a:lnTo>
                    <a:pt x="147" y="104"/>
                  </a:lnTo>
                  <a:lnTo>
                    <a:pt x="143" y="104"/>
                  </a:lnTo>
                  <a:lnTo>
                    <a:pt x="147" y="104"/>
                  </a:lnTo>
                  <a:lnTo>
                    <a:pt x="147" y="100"/>
                  </a:lnTo>
                  <a:lnTo>
                    <a:pt x="151" y="100"/>
                  </a:lnTo>
                  <a:lnTo>
                    <a:pt x="155" y="100"/>
                  </a:lnTo>
                  <a:lnTo>
                    <a:pt x="151" y="100"/>
                  </a:lnTo>
                  <a:lnTo>
                    <a:pt x="155" y="96"/>
                  </a:lnTo>
                  <a:lnTo>
                    <a:pt x="155" y="100"/>
                  </a:lnTo>
                  <a:lnTo>
                    <a:pt x="159" y="100"/>
                  </a:lnTo>
                  <a:lnTo>
                    <a:pt x="163" y="100"/>
                  </a:lnTo>
                  <a:lnTo>
                    <a:pt x="163" y="104"/>
                  </a:lnTo>
                  <a:lnTo>
                    <a:pt x="167" y="104"/>
                  </a:lnTo>
                  <a:lnTo>
                    <a:pt x="163" y="104"/>
                  </a:lnTo>
                  <a:lnTo>
                    <a:pt x="163" y="100"/>
                  </a:lnTo>
                  <a:lnTo>
                    <a:pt x="167" y="100"/>
                  </a:lnTo>
                  <a:lnTo>
                    <a:pt x="167" y="96"/>
                  </a:lnTo>
                  <a:lnTo>
                    <a:pt x="163" y="96"/>
                  </a:lnTo>
                  <a:lnTo>
                    <a:pt x="163" y="100"/>
                  </a:lnTo>
                  <a:lnTo>
                    <a:pt x="159" y="100"/>
                  </a:lnTo>
                  <a:lnTo>
                    <a:pt x="159" y="96"/>
                  </a:lnTo>
                  <a:lnTo>
                    <a:pt x="159" y="92"/>
                  </a:lnTo>
                  <a:lnTo>
                    <a:pt x="163" y="96"/>
                  </a:lnTo>
                  <a:lnTo>
                    <a:pt x="163" y="92"/>
                  </a:lnTo>
                  <a:lnTo>
                    <a:pt x="159" y="92"/>
                  </a:lnTo>
                  <a:lnTo>
                    <a:pt x="163" y="92"/>
                  </a:lnTo>
                  <a:lnTo>
                    <a:pt x="167" y="96"/>
                  </a:lnTo>
                  <a:lnTo>
                    <a:pt x="167" y="92"/>
                  </a:lnTo>
                  <a:lnTo>
                    <a:pt x="163" y="92"/>
                  </a:lnTo>
                  <a:lnTo>
                    <a:pt x="159" y="92"/>
                  </a:lnTo>
                  <a:lnTo>
                    <a:pt x="155" y="96"/>
                  </a:lnTo>
                  <a:lnTo>
                    <a:pt x="151" y="96"/>
                  </a:lnTo>
                  <a:lnTo>
                    <a:pt x="151" y="92"/>
                  </a:lnTo>
                  <a:lnTo>
                    <a:pt x="155" y="92"/>
                  </a:lnTo>
                  <a:lnTo>
                    <a:pt x="151" y="92"/>
                  </a:lnTo>
                  <a:lnTo>
                    <a:pt x="155" y="92"/>
                  </a:lnTo>
                  <a:lnTo>
                    <a:pt x="155" y="88"/>
                  </a:lnTo>
                  <a:lnTo>
                    <a:pt x="151" y="92"/>
                  </a:lnTo>
                  <a:lnTo>
                    <a:pt x="151" y="88"/>
                  </a:lnTo>
                  <a:lnTo>
                    <a:pt x="155" y="88"/>
                  </a:lnTo>
                  <a:lnTo>
                    <a:pt x="159" y="88"/>
                  </a:lnTo>
                  <a:lnTo>
                    <a:pt x="163" y="88"/>
                  </a:lnTo>
                  <a:lnTo>
                    <a:pt x="167" y="88"/>
                  </a:lnTo>
                  <a:lnTo>
                    <a:pt x="171" y="84"/>
                  </a:lnTo>
                  <a:lnTo>
                    <a:pt x="167" y="84"/>
                  </a:lnTo>
                  <a:lnTo>
                    <a:pt x="163" y="84"/>
                  </a:lnTo>
                  <a:lnTo>
                    <a:pt x="159" y="88"/>
                  </a:lnTo>
                  <a:lnTo>
                    <a:pt x="159" y="84"/>
                  </a:lnTo>
                  <a:lnTo>
                    <a:pt x="163" y="84"/>
                  </a:lnTo>
                  <a:lnTo>
                    <a:pt x="163" y="80"/>
                  </a:lnTo>
                  <a:lnTo>
                    <a:pt x="167" y="80"/>
                  </a:lnTo>
                  <a:lnTo>
                    <a:pt x="167" y="84"/>
                  </a:lnTo>
                  <a:lnTo>
                    <a:pt x="163" y="84"/>
                  </a:lnTo>
                  <a:lnTo>
                    <a:pt x="167" y="84"/>
                  </a:lnTo>
                  <a:lnTo>
                    <a:pt x="167" y="80"/>
                  </a:lnTo>
                  <a:lnTo>
                    <a:pt x="171" y="80"/>
                  </a:lnTo>
                  <a:lnTo>
                    <a:pt x="171" y="84"/>
                  </a:lnTo>
                  <a:lnTo>
                    <a:pt x="171" y="88"/>
                  </a:lnTo>
                  <a:lnTo>
                    <a:pt x="175" y="88"/>
                  </a:lnTo>
                  <a:lnTo>
                    <a:pt x="175" y="92"/>
                  </a:lnTo>
                  <a:lnTo>
                    <a:pt x="179" y="92"/>
                  </a:lnTo>
                  <a:lnTo>
                    <a:pt x="175" y="88"/>
                  </a:lnTo>
                  <a:lnTo>
                    <a:pt x="175" y="84"/>
                  </a:lnTo>
                  <a:lnTo>
                    <a:pt x="175" y="88"/>
                  </a:lnTo>
                  <a:lnTo>
                    <a:pt x="179" y="88"/>
                  </a:lnTo>
                  <a:lnTo>
                    <a:pt x="179" y="84"/>
                  </a:lnTo>
                  <a:lnTo>
                    <a:pt x="175" y="84"/>
                  </a:lnTo>
                  <a:lnTo>
                    <a:pt x="179" y="84"/>
                  </a:lnTo>
                  <a:lnTo>
                    <a:pt x="175" y="84"/>
                  </a:lnTo>
                  <a:lnTo>
                    <a:pt x="175" y="80"/>
                  </a:lnTo>
                  <a:lnTo>
                    <a:pt x="179" y="80"/>
                  </a:lnTo>
                  <a:lnTo>
                    <a:pt x="175" y="80"/>
                  </a:lnTo>
                  <a:lnTo>
                    <a:pt x="171" y="80"/>
                  </a:lnTo>
                  <a:lnTo>
                    <a:pt x="175" y="80"/>
                  </a:lnTo>
                  <a:lnTo>
                    <a:pt x="171" y="80"/>
                  </a:lnTo>
                  <a:lnTo>
                    <a:pt x="171" y="76"/>
                  </a:lnTo>
                  <a:lnTo>
                    <a:pt x="179" y="80"/>
                  </a:lnTo>
                  <a:lnTo>
                    <a:pt x="183" y="84"/>
                  </a:lnTo>
                  <a:lnTo>
                    <a:pt x="183" y="80"/>
                  </a:lnTo>
                  <a:lnTo>
                    <a:pt x="179" y="80"/>
                  </a:lnTo>
                  <a:lnTo>
                    <a:pt x="175" y="76"/>
                  </a:lnTo>
                  <a:lnTo>
                    <a:pt x="179" y="76"/>
                  </a:lnTo>
                  <a:lnTo>
                    <a:pt x="183" y="76"/>
                  </a:lnTo>
                  <a:lnTo>
                    <a:pt x="187" y="76"/>
                  </a:lnTo>
                  <a:lnTo>
                    <a:pt x="191" y="80"/>
                  </a:lnTo>
                  <a:lnTo>
                    <a:pt x="191" y="76"/>
                  </a:lnTo>
                  <a:lnTo>
                    <a:pt x="187" y="76"/>
                  </a:lnTo>
                  <a:lnTo>
                    <a:pt x="191" y="76"/>
                  </a:lnTo>
                  <a:lnTo>
                    <a:pt x="195" y="76"/>
                  </a:lnTo>
                  <a:lnTo>
                    <a:pt x="191" y="76"/>
                  </a:lnTo>
                  <a:lnTo>
                    <a:pt x="195" y="76"/>
                  </a:lnTo>
                  <a:lnTo>
                    <a:pt x="195" y="72"/>
                  </a:lnTo>
                  <a:lnTo>
                    <a:pt x="191" y="72"/>
                  </a:lnTo>
                  <a:lnTo>
                    <a:pt x="187" y="72"/>
                  </a:lnTo>
                  <a:lnTo>
                    <a:pt x="187" y="76"/>
                  </a:lnTo>
                  <a:lnTo>
                    <a:pt x="187" y="72"/>
                  </a:lnTo>
                  <a:lnTo>
                    <a:pt x="183" y="72"/>
                  </a:lnTo>
                  <a:lnTo>
                    <a:pt x="179" y="76"/>
                  </a:lnTo>
                  <a:lnTo>
                    <a:pt x="175" y="72"/>
                  </a:lnTo>
                  <a:lnTo>
                    <a:pt x="179" y="72"/>
                  </a:lnTo>
                  <a:lnTo>
                    <a:pt x="179" y="68"/>
                  </a:lnTo>
                  <a:lnTo>
                    <a:pt x="183" y="68"/>
                  </a:lnTo>
                  <a:lnTo>
                    <a:pt x="187" y="68"/>
                  </a:lnTo>
                  <a:lnTo>
                    <a:pt x="191" y="68"/>
                  </a:lnTo>
                  <a:lnTo>
                    <a:pt x="195" y="68"/>
                  </a:lnTo>
                  <a:lnTo>
                    <a:pt x="191" y="68"/>
                  </a:lnTo>
                  <a:lnTo>
                    <a:pt x="187" y="64"/>
                  </a:lnTo>
                  <a:lnTo>
                    <a:pt x="191" y="64"/>
                  </a:lnTo>
                  <a:lnTo>
                    <a:pt x="195" y="64"/>
                  </a:lnTo>
                  <a:lnTo>
                    <a:pt x="199" y="64"/>
                  </a:lnTo>
                  <a:lnTo>
                    <a:pt x="195" y="64"/>
                  </a:lnTo>
                  <a:lnTo>
                    <a:pt x="191" y="64"/>
                  </a:lnTo>
                  <a:lnTo>
                    <a:pt x="195" y="64"/>
                  </a:lnTo>
                  <a:lnTo>
                    <a:pt x="195" y="60"/>
                  </a:lnTo>
                  <a:lnTo>
                    <a:pt x="195" y="64"/>
                  </a:lnTo>
                  <a:lnTo>
                    <a:pt x="199" y="64"/>
                  </a:lnTo>
                  <a:lnTo>
                    <a:pt x="195" y="60"/>
                  </a:lnTo>
                  <a:lnTo>
                    <a:pt x="191" y="60"/>
                  </a:lnTo>
                  <a:lnTo>
                    <a:pt x="195" y="56"/>
                  </a:lnTo>
                  <a:lnTo>
                    <a:pt x="199" y="56"/>
                  </a:lnTo>
                  <a:lnTo>
                    <a:pt x="203" y="56"/>
                  </a:lnTo>
                  <a:lnTo>
                    <a:pt x="199" y="52"/>
                  </a:lnTo>
                  <a:lnTo>
                    <a:pt x="203" y="52"/>
                  </a:lnTo>
                  <a:lnTo>
                    <a:pt x="203" y="48"/>
                  </a:lnTo>
                  <a:lnTo>
                    <a:pt x="203" y="44"/>
                  </a:lnTo>
                  <a:lnTo>
                    <a:pt x="207" y="48"/>
                  </a:lnTo>
                  <a:lnTo>
                    <a:pt x="207" y="52"/>
                  </a:lnTo>
                  <a:lnTo>
                    <a:pt x="211" y="52"/>
                  </a:lnTo>
                  <a:lnTo>
                    <a:pt x="215" y="52"/>
                  </a:lnTo>
                  <a:lnTo>
                    <a:pt x="211" y="48"/>
                  </a:lnTo>
                  <a:lnTo>
                    <a:pt x="207" y="48"/>
                  </a:lnTo>
                  <a:lnTo>
                    <a:pt x="207" y="44"/>
                  </a:lnTo>
                  <a:lnTo>
                    <a:pt x="211" y="44"/>
                  </a:lnTo>
                  <a:lnTo>
                    <a:pt x="215" y="44"/>
                  </a:lnTo>
                  <a:lnTo>
                    <a:pt x="215" y="48"/>
                  </a:lnTo>
                  <a:lnTo>
                    <a:pt x="219" y="48"/>
                  </a:lnTo>
                  <a:lnTo>
                    <a:pt x="223" y="52"/>
                  </a:lnTo>
                  <a:lnTo>
                    <a:pt x="219" y="52"/>
                  </a:lnTo>
                  <a:lnTo>
                    <a:pt x="223" y="52"/>
                  </a:lnTo>
                  <a:lnTo>
                    <a:pt x="223" y="48"/>
                  </a:lnTo>
                  <a:lnTo>
                    <a:pt x="219" y="48"/>
                  </a:lnTo>
                  <a:lnTo>
                    <a:pt x="215" y="48"/>
                  </a:lnTo>
                  <a:lnTo>
                    <a:pt x="215" y="44"/>
                  </a:lnTo>
                  <a:lnTo>
                    <a:pt x="219" y="44"/>
                  </a:lnTo>
                  <a:lnTo>
                    <a:pt x="215" y="44"/>
                  </a:lnTo>
                  <a:lnTo>
                    <a:pt x="215" y="40"/>
                  </a:lnTo>
                  <a:lnTo>
                    <a:pt x="219" y="40"/>
                  </a:lnTo>
                  <a:lnTo>
                    <a:pt x="219" y="36"/>
                  </a:lnTo>
                  <a:lnTo>
                    <a:pt x="227" y="36"/>
                  </a:lnTo>
                  <a:lnTo>
                    <a:pt x="227" y="40"/>
                  </a:lnTo>
                  <a:lnTo>
                    <a:pt x="227" y="44"/>
                  </a:lnTo>
                  <a:lnTo>
                    <a:pt x="223" y="44"/>
                  </a:lnTo>
                  <a:lnTo>
                    <a:pt x="223" y="48"/>
                  </a:lnTo>
                  <a:lnTo>
                    <a:pt x="227" y="48"/>
                  </a:lnTo>
                  <a:lnTo>
                    <a:pt x="227" y="44"/>
                  </a:lnTo>
                  <a:lnTo>
                    <a:pt x="227" y="40"/>
                  </a:lnTo>
                  <a:lnTo>
                    <a:pt x="231" y="36"/>
                  </a:lnTo>
                  <a:lnTo>
                    <a:pt x="231" y="32"/>
                  </a:lnTo>
                  <a:lnTo>
                    <a:pt x="235" y="32"/>
                  </a:lnTo>
                  <a:lnTo>
                    <a:pt x="235" y="36"/>
                  </a:lnTo>
                  <a:lnTo>
                    <a:pt x="235" y="40"/>
                  </a:lnTo>
                  <a:lnTo>
                    <a:pt x="235" y="44"/>
                  </a:lnTo>
                  <a:lnTo>
                    <a:pt x="235" y="48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35" y="48"/>
                  </a:lnTo>
                  <a:lnTo>
                    <a:pt x="239" y="44"/>
                  </a:lnTo>
                  <a:lnTo>
                    <a:pt x="243" y="44"/>
                  </a:lnTo>
                  <a:lnTo>
                    <a:pt x="239" y="44"/>
                  </a:lnTo>
                  <a:lnTo>
                    <a:pt x="239" y="40"/>
                  </a:lnTo>
                  <a:lnTo>
                    <a:pt x="243" y="36"/>
                  </a:lnTo>
                  <a:lnTo>
                    <a:pt x="247" y="32"/>
                  </a:lnTo>
                  <a:lnTo>
                    <a:pt x="247" y="36"/>
                  </a:lnTo>
                  <a:lnTo>
                    <a:pt x="243" y="36"/>
                  </a:lnTo>
                  <a:lnTo>
                    <a:pt x="247" y="36"/>
                  </a:lnTo>
                  <a:lnTo>
                    <a:pt x="251" y="32"/>
                  </a:lnTo>
                  <a:lnTo>
                    <a:pt x="255" y="32"/>
                  </a:lnTo>
                  <a:lnTo>
                    <a:pt x="255" y="36"/>
                  </a:lnTo>
                  <a:lnTo>
                    <a:pt x="259" y="36"/>
                  </a:lnTo>
                  <a:lnTo>
                    <a:pt x="259" y="40"/>
                  </a:lnTo>
                  <a:lnTo>
                    <a:pt x="263" y="40"/>
                  </a:lnTo>
                  <a:lnTo>
                    <a:pt x="263" y="36"/>
                  </a:lnTo>
                  <a:lnTo>
                    <a:pt x="259" y="32"/>
                  </a:lnTo>
                  <a:lnTo>
                    <a:pt x="263" y="32"/>
                  </a:lnTo>
                  <a:lnTo>
                    <a:pt x="263" y="28"/>
                  </a:lnTo>
                  <a:lnTo>
                    <a:pt x="259" y="28"/>
                  </a:lnTo>
                  <a:lnTo>
                    <a:pt x="259" y="32"/>
                  </a:lnTo>
                  <a:lnTo>
                    <a:pt x="255" y="32"/>
                  </a:lnTo>
                  <a:lnTo>
                    <a:pt x="251" y="28"/>
                  </a:lnTo>
                  <a:lnTo>
                    <a:pt x="251" y="24"/>
                  </a:lnTo>
                  <a:lnTo>
                    <a:pt x="255" y="24"/>
                  </a:lnTo>
                  <a:lnTo>
                    <a:pt x="259" y="24"/>
                  </a:lnTo>
                  <a:lnTo>
                    <a:pt x="263" y="24"/>
                  </a:lnTo>
                  <a:lnTo>
                    <a:pt x="267" y="24"/>
                  </a:lnTo>
                  <a:lnTo>
                    <a:pt x="267" y="28"/>
                  </a:lnTo>
                  <a:lnTo>
                    <a:pt x="271" y="28"/>
                  </a:lnTo>
                  <a:lnTo>
                    <a:pt x="267" y="28"/>
                  </a:lnTo>
                  <a:lnTo>
                    <a:pt x="267" y="24"/>
                  </a:lnTo>
                  <a:lnTo>
                    <a:pt x="271" y="24"/>
                  </a:lnTo>
                  <a:lnTo>
                    <a:pt x="275" y="28"/>
                  </a:lnTo>
                  <a:lnTo>
                    <a:pt x="271" y="28"/>
                  </a:lnTo>
                  <a:lnTo>
                    <a:pt x="267" y="28"/>
                  </a:lnTo>
                  <a:lnTo>
                    <a:pt x="267" y="32"/>
                  </a:lnTo>
                  <a:lnTo>
                    <a:pt x="267" y="28"/>
                  </a:lnTo>
                  <a:lnTo>
                    <a:pt x="271" y="28"/>
                  </a:lnTo>
                  <a:lnTo>
                    <a:pt x="275" y="28"/>
                  </a:lnTo>
                  <a:lnTo>
                    <a:pt x="275" y="32"/>
                  </a:lnTo>
                  <a:lnTo>
                    <a:pt x="279" y="32"/>
                  </a:lnTo>
                  <a:lnTo>
                    <a:pt x="283" y="32"/>
                  </a:lnTo>
                  <a:lnTo>
                    <a:pt x="279" y="32"/>
                  </a:lnTo>
                  <a:lnTo>
                    <a:pt x="279" y="28"/>
                  </a:lnTo>
                  <a:lnTo>
                    <a:pt x="283" y="28"/>
                  </a:lnTo>
                  <a:lnTo>
                    <a:pt x="283" y="24"/>
                  </a:lnTo>
                  <a:lnTo>
                    <a:pt x="287" y="20"/>
                  </a:lnTo>
                  <a:lnTo>
                    <a:pt x="291" y="20"/>
                  </a:lnTo>
                  <a:lnTo>
                    <a:pt x="291" y="16"/>
                  </a:lnTo>
                  <a:lnTo>
                    <a:pt x="295" y="20"/>
                  </a:lnTo>
                  <a:lnTo>
                    <a:pt x="295" y="16"/>
                  </a:lnTo>
                  <a:lnTo>
                    <a:pt x="295" y="12"/>
                  </a:lnTo>
                  <a:lnTo>
                    <a:pt x="299" y="12"/>
                  </a:lnTo>
                  <a:lnTo>
                    <a:pt x="299" y="16"/>
                  </a:lnTo>
                  <a:lnTo>
                    <a:pt x="303" y="16"/>
                  </a:lnTo>
                  <a:lnTo>
                    <a:pt x="303" y="12"/>
                  </a:lnTo>
                  <a:lnTo>
                    <a:pt x="299" y="12"/>
                  </a:lnTo>
                  <a:lnTo>
                    <a:pt x="295" y="12"/>
                  </a:lnTo>
                  <a:lnTo>
                    <a:pt x="295" y="8"/>
                  </a:lnTo>
                  <a:lnTo>
                    <a:pt x="299" y="8"/>
                  </a:lnTo>
                  <a:lnTo>
                    <a:pt x="299" y="12"/>
                  </a:lnTo>
                  <a:lnTo>
                    <a:pt x="303" y="8"/>
                  </a:lnTo>
                  <a:lnTo>
                    <a:pt x="299" y="8"/>
                  </a:lnTo>
                  <a:lnTo>
                    <a:pt x="299" y="4"/>
                  </a:lnTo>
                  <a:lnTo>
                    <a:pt x="303" y="4"/>
                  </a:lnTo>
                  <a:lnTo>
                    <a:pt x="303" y="8"/>
                  </a:lnTo>
                  <a:lnTo>
                    <a:pt x="307" y="8"/>
                  </a:lnTo>
                  <a:lnTo>
                    <a:pt x="307" y="4"/>
                  </a:lnTo>
                  <a:lnTo>
                    <a:pt x="307" y="8"/>
                  </a:lnTo>
                  <a:lnTo>
                    <a:pt x="311" y="8"/>
                  </a:lnTo>
                  <a:lnTo>
                    <a:pt x="311" y="4"/>
                  </a:lnTo>
                  <a:lnTo>
                    <a:pt x="315" y="4"/>
                  </a:lnTo>
                  <a:lnTo>
                    <a:pt x="315" y="8"/>
                  </a:lnTo>
                  <a:lnTo>
                    <a:pt x="319" y="8"/>
                  </a:lnTo>
                  <a:lnTo>
                    <a:pt x="315" y="12"/>
                  </a:lnTo>
                  <a:lnTo>
                    <a:pt x="311" y="16"/>
                  </a:lnTo>
                  <a:lnTo>
                    <a:pt x="307" y="16"/>
                  </a:lnTo>
                  <a:lnTo>
                    <a:pt x="311" y="16"/>
                  </a:lnTo>
                  <a:lnTo>
                    <a:pt x="311" y="20"/>
                  </a:lnTo>
                  <a:lnTo>
                    <a:pt x="307" y="20"/>
                  </a:lnTo>
                  <a:lnTo>
                    <a:pt x="307" y="24"/>
                  </a:lnTo>
                  <a:lnTo>
                    <a:pt x="307" y="28"/>
                  </a:lnTo>
                  <a:lnTo>
                    <a:pt x="307" y="32"/>
                  </a:lnTo>
                  <a:lnTo>
                    <a:pt x="307" y="28"/>
                  </a:lnTo>
                  <a:lnTo>
                    <a:pt x="311" y="28"/>
                  </a:lnTo>
                  <a:lnTo>
                    <a:pt x="315" y="24"/>
                  </a:lnTo>
                  <a:lnTo>
                    <a:pt x="315" y="20"/>
                  </a:lnTo>
                  <a:lnTo>
                    <a:pt x="319" y="16"/>
                  </a:lnTo>
                  <a:lnTo>
                    <a:pt x="323" y="16"/>
                  </a:lnTo>
                  <a:lnTo>
                    <a:pt x="327" y="12"/>
                  </a:lnTo>
                  <a:lnTo>
                    <a:pt x="327" y="8"/>
                  </a:lnTo>
                  <a:lnTo>
                    <a:pt x="331" y="8"/>
                  </a:lnTo>
                  <a:lnTo>
                    <a:pt x="331" y="4"/>
                  </a:lnTo>
                  <a:lnTo>
                    <a:pt x="331" y="8"/>
                  </a:lnTo>
                  <a:lnTo>
                    <a:pt x="331" y="12"/>
                  </a:lnTo>
                  <a:lnTo>
                    <a:pt x="327" y="12"/>
                  </a:lnTo>
                  <a:lnTo>
                    <a:pt x="327" y="16"/>
                  </a:lnTo>
                  <a:lnTo>
                    <a:pt x="327" y="12"/>
                  </a:lnTo>
                  <a:lnTo>
                    <a:pt x="331" y="12"/>
                  </a:lnTo>
                  <a:lnTo>
                    <a:pt x="331" y="16"/>
                  </a:lnTo>
                  <a:lnTo>
                    <a:pt x="331" y="20"/>
                  </a:lnTo>
                  <a:lnTo>
                    <a:pt x="331" y="24"/>
                  </a:lnTo>
                  <a:lnTo>
                    <a:pt x="331" y="20"/>
                  </a:lnTo>
                  <a:lnTo>
                    <a:pt x="335" y="20"/>
                  </a:lnTo>
                  <a:lnTo>
                    <a:pt x="339" y="20"/>
                  </a:lnTo>
                  <a:lnTo>
                    <a:pt x="335" y="16"/>
                  </a:lnTo>
                  <a:lnTo>
                    <a:pt x="339" y="16"/>
                  </a:lnTo>
                  <a:lnTo>
                    <a:pt x="339" y="12"/>
                  </a:lnTo>
                  <a:lnTo>
                    <a:pt x="343" y="12"/>
                  </a:lnTo>
                  <a:lnTo>
                    <a:pt x="343" y="8"/>
                  </a:lnTo>
                  <a:lnTo>
                    <a:pt x="347" y="8"/>
                  </a:lnTo>
                  <a:lnTo>
                    <a:pt x="343" y="8"/>
                  </a:lnTo>
                  <a:lnTo>
                    <a:pt x="339" y="8"/>
                  </a:lnTo>
                  <a:lnTo>
                    <a:pt x="339" y="4"/>
                  </a:lnTo>
                  <a:lnTo>
                    <a:pt x="343" y="4"/>
                  </a:lnTo>
                  <a:lnTo>
                    <a:pt x="347" y="0"/>
                  </a:lnTo>
                  <a:lnTo>
                    <a:pt x="347" y="4"/>
                  </a:lnTo>
                  <a:lnTo>
                    <a:pt x="351" y="4"/>
                  </a:lnTo>
                  <a:lnTo>
                    <a:pt x="354" y="4"/>
                  </a:lnTo>
                  <a:lnTo>
                    <a:pt x="358" y="4"/>
                  </a:lnTo>
                  <a:lnTo>
                    <a:pt x="358" y="8"/>
                  </a:lnTo>
                  <a:lnTo>
                    <a:pt x="354" y="12"/>
                  </a:lnTo>
                  <a:lnTo>
                    <a:pt x="351" y="12"/>
                  </a:lnTo>
                  <a:lnTo>
                    <a:pt x="347" y="12"/>
                  </a:lnTo>
                  <a:lnTo>
                    <a:pt x="351" y="12"/>
                  </a:lnTo>
                  <a:lnTo>
                    <a:pt x="354" y="12"/>
                  </a:lnTo>
                  <a:lnTo>
                    <a:pt x="351" y="12"/>
                  </a:lnTo>
                  <a:lnTo>
                    <a:pt x="347" y="16"/>
                  </a:lnTo>
                  <a:lnTo>
                    <a:pt x="351" y="16"/>
                  </a:lnTo>
                  <a:lnTo>
                    <a:pt x="354" y="12"/>
                  </a:lnTo>
                  <a:lnTo>
                    <a:pt x="354" y="16"/>
                  </a:lnTo>
                  <a:lnTo>
                    <a:pt x="351" y="16"/>
                  </a:lnTo>
                  <a:lnTo>
                    <a:pt x="351" y="20"/>
                  </a:lnTo>
                  <a:lnTo>
                    <a:pt x="354" y="20"/>
                  </a:lnTo>
                  <a:lnTo>
                    <a:pt x="351" y="20"/>
                  </a:lnTo>
                  <a:lnTo>
                    <a:pt x="354" y="20"/>
                  </a:lnTo>
                  <a:lnTo>
                    <a:pt x="354" y="16"/>
                  </a:lnTo>
                  <a:lnTo>
                    <a:pt x="358" y="20"/>
                  </a:lnTo>
                  <a:lnTo>
                    <a:pt x="354" y="20"/>
                  </a:lnTo>
                  <a:lnTo>
                    <a:pt x="354" y="24"/>
                  </a:lnTo>
                  <a:lnTo>
                    <a:pt x="354" y="28"/>
                  </a:lnTo>
                  <a:lnTo>
                    <a:pt x="351" y="32"/>
                  </a:lnTo>
                  <a:lnTo>
                    <a:pt x="354" y="32"/>
                  </a:lnTo>
                  <a:lnTo>
                    <a:pt x="354" y="28"/>
                  </a:lnTo>
                  <a:lnTo>
                    <a:pt x="354" y="24"/>
                  </a:lnTo>
                  <a:lnTo>
                    <a:pt x="354" y="20"/>
                  </a:lnTo>
                  <a:lnTo>
                    <a:pt x="358" y="20"/>
                  </a:lnTo>
                  <a:lnTo>
                    <a:pt x="358" y="16"/>
                  </a:lnTo>
                  <a:lnTo>
                    <a:pt x="358" y="12"/>
                  </a:lnTo>
                  <a:lnTo>
                    <a:pt x="362" y="8"/>
                  </a:lnTo>
                  <a:lnTo>
                    <a:pt x="366" y="8"/>
                  </a:lnTo>
                  <a:lnTo>
                    <a:pt x="370" y="8"/>
                  </a:lnTo>
                  <a:lnTo>
                    <a:pt x="370" y="12"/>
                  </a:lnTo>
                  <a:lnTo>
                    <a:pt x="374" y="12"/>
                  </a:lnTo>
                  <a:lnTo>
                    <a:pt x="378" y="12"/>
                  </a:lnTo>
                  <a:lnTo>
                    <a:pt x="378" y="16"/>
                  </a:lnTo>
                  <a:lnTo>
                    <a:pt x="378" y="12"/>
                  </a:lnTo>
                  <a:lnTo>
                    <a:pt x="382" y="12"/>
                  </a:lnTo>
                  <a:lnTo>
                    <a:pt x="386" y="12"/>
                  </a:lnTo>
                  <a:lnTo>
                    <a:pt x="386" y="16"/>
                  </a:lnTo>
                  <a:lnTo>
                    <a:pt x="382" y="16"/>
                  </a:lnTo>
                  <a:lnTo>
                    <a:pt x="386" y="16"/>
                  </a:lnTo>
                  <a:lnTo>
                    <a:pt x="390" y="16"/>
                  </a:lnTo>
                  <a:lnTo>
                    <a:pt x="390" y="20"/>
                  </a:lnTo>
                  <a:lnTo>
                    <a:pt x="394" y="20"/>
                  </a:lnTo>
                  <a:lnTo>
                    <a:pt x="398" y="20"/>
                  </a:lnTo>
                  <a:lnTo>
                    <a:pt x="398" y="24"/>
                  </a:lnTo>
                  <a:lnTo>
                    <a:pt x="394" y="24"/>
                  </a:lnTo>
                  <a:lnTo>
                    <a:pt x="390" y="24"/>
                  </a:lnTo>
                  <a:lnTo>
                    <a:pt x="386" y="28"/>
                  </a:lnTo>
                  <a:lnTo>
                    <a:pt x="382" y="28"/>
                  </a:lnTo>
                  <a:lnTo>
                    <a:pt x="382" y="32"/>
                  </a:lnTo>
                  <a:lnTo>
                    <a:pt x="378" y="32"/>
                  </a:lnTo>
                  <a:lnTo>
                    <a:pt x="378" y="28"/>
                  </a:lnTo>
                  <a:lnTo>
                    <a:pt x="374" y="28"/>
                  </a:lnTo>
                  <a:lnTo>
                    <a:pt x="370" y="28"/>
                  </a:lnTo>
                  <a:lnTo>
                    <a:pt x="366" y="28"/>
                  </a:lnTo>
                  <a:lnTo>
                    <a:pt x="362" y="28"/>
                  </a:lnTo>
                  <a:lnTo>
                    <a:pt x="366" y="32"/>
                  </a:lnTo>
                  <a:lnTo>
                    <a:pt x="370" y="32"/>
                  </a:lnTo>
                  <a:lnTo>
                    <a:pt x="374" y="32"/>
                  </a:lnTo>
                  <a:lnTo>
                    <a:pt x="378" y="32"/>
                  </a:lnTo>
                  <a:lnTo>
                    <a:pt x="374" y="32"/>
                  </a:lnTo>
                  <a:lnTo>
                    <a:pt x="374" y="36"/>
                  </a:lnTo>
                  <a:lnTo>
                    <a:pt x="370" y="36"/>
                  </a:lnTo>
                  <a:lnTo>
                    <a:pt x="374" y="36"/>
                  </a:lnTo>
                  <a:lnTo>
                    <a:pt x="378" y="36"/>
                  </a:lnTo>
                  <a:lnTo>
                    <a:pt x="374" y="40"/>
                  </a:lnTo>
                  <a:lnTo>
                    <a:pt x="378" y="40"/>
                  </a:lnTo>
                  <a:lnTo>
                    <a:pt x="382" y="40"/>
                  </a:lnTo>
                  <a:lnTo>
                    <a:pt x="386" y="40"/>
                  </a:lnTo>
                  <a:lnTo>
                    <a:pt x="382" y="40"/>
                  </a:lnTo>
                  <a:lnTo>
                    <a:pt x="386" y="40"/>
                  </a:lnTo>
                  <a:lnTo>
                    <a:pt x="382" y="36"/>
                  </a:lnTo>
                  <a:lnTo>
                    <a:pt x="386" y="36"/>
                  </a:lnTo>
                  <a:lnTo>
                    <a:pt x="386" y="40"/>
                  </a:lnTo>
                  <a:lnTo>
                    <a:pt x="390" y="40"/>
                  </a:lnTo>
                  <a:lnTo>
                    <a:pt x="390" y="36"/>
                  </a:lnTo>
                  <a:lnTo>
                    <a:pt x="394" y="36"/>
                  </a:lnTo>
                  <a:lnTo>
                    <a:pt x="394" y="40"/>
                  </a:lnTo>
                  <a:lnTo>
                    <a:pt x="394" y="44"/>
                  </a:lnTo>
                  <a:lnTo>
                    <a:pt x="390" y="44"/>
                  </a:lnTo>
                  <a:lnTo>
                    <a:pt x="386" y="44"/>
                  </a:lnTo>
                  <a:lnTo>
                    <a:pt x="386" y="40"/>
                  </a:lnTo>
                  <a:lnTo>
                    <a:pt x="382" y="40"/>
                  </a:lnTo>
                  <a:lnTo>
                    <a:pt x="386" y="44"/>
                  </a:lnTo>
                  <a:lnTo>
                    <a:pt x="382" y="44"/>
                  </a:lnTo>
                  <a:lnTo>
                    <a:pt x="378" y="48"/>
                  </a:lnTo>
                  <a:lnTo>
                    <a:pt x="374" y="48"/>
                  </a:lnTo>
                  <a:lnTo>
                    <a:pt x="370" y="52"/>
                  </a:lnTo>
                  <a:lnTo>
                    <a:pt x="370" y="56"/>
                  </a:lnTo>
                  <a:lnTo>
                    <a:pt x="366" y="56"/>
                  </a:lnTo>
                  <a:lnTo>
                    <a:pt x="366" y="60"/>
                  </a:lnTo>
                  <a:lnTo>
                    <a:pt x="366" y="56"/>
                  </a:lnTo>
                  <a:lnTo>
                    <a:pt x="362" y="56"/>
                  </a:lnTo>
                  <a:lnTo>
                    <a:pt x="362" y="52"/>
                  </a:lnTo>
                  <a:lnTo>
                    <a:pt x="366" y="52"/>
                  </a:lnTo>
                  <a:lnTo>
                    <a:pt x="366" y="48"/>
                  </a:lnTo>
                  <a:lnTo>
                    <a:pt x="370" y="48"/>
                  </a:lnTo>
                  <a:lnTo>
                    <a:pt x="370" y="44"/>
                  </a:lnTo>
                  <a:lnTo>
                    <a:pt x="370" y="40"/>
                  </a:lnTo>
                  <a:lnTo>
                    <a:pt x="366" y="40"/>
                  </a:lnTo>
                  <a:lnTo>
                    <a:pt x="362" y="40"/>
                  </a:lnTo>
                  <a:lnTo>
                    <a:pt x="358" y="36"/>
                  </a:lnTo>
                  <a:lnTo>
                    <a:pt x="354" y="36"/>
                  </a:lnTo>
                  <a:lnTo>
                    <a:pt x="354" y="32"/>
                  </a:lnTo>
                  <a:lnTo>
                    <a:pt x="351" y="32"/>
                  </a:lnTo>
                  <a:lnTo>
                    <a:pt x="351" y="28"/>
                  </a:lnTo>
                  <a:lnTo>
                    <a:pt x="347" y="28"/>
                  </a:lnTo>
                  <a:lnTo>
                    <a:pt x="343" y="32"/>
                  </a:lnTo>
                  <a:lnTo>
                    <a:pt x="339" y="32"/>
                  </a:lnTo>
                  <a:lnTo>
                    <a:pt x="339" y="36"/>
                  </a:lnTo>
                  <a:lnTo>
                    <a:pt x="335" y="32"/>
                  </a:lnTo>
                  <a:lnTo>
                    <a:pt x="331" y="32"/>
                  </a:lnTo>
                  <a:lnTo>
                    <a:pt x="327" y="32"/>
                  </a:lnTo>
                  <a:lnTo>
                    <a:pt x="327" y="36"/>
                  </a:lnTo>
                  <a:lnTo>
                    <a:pt x="323" y="40"/>
                  </a:lnTo>
                  <a:lnTo>
                    <a:pt x="319" y="40"/>
                  </a:lnTo>
                  <a:lnTo>
                    <a:pt x="323" y="40"/>
                  </a:lnTo>
                  <a:lnTo>
                    <a:pt x="323" y="44"/>
                  </a:lnTo>
                  <a:lnTo>
                    <a:pt x="319" y="44"/>
                  </a:lnTo>
                  <a:lnTo>
                    <a:pt x="319" y="48"/>
                  </a:lnTo>
                  <a:lnTo>
                    <a:pt x="319" y="52"/>
                  </a:lnTo>
                  <a:lnTo>
                    <a:pt x="319" y="56"/>
                  </a:lnTo>
                  <a:lnTo>
                    <a:pt x="319" y="60"/>
                  </a:lnTo>
                  <a:lnTo>
                    <a:pt x="315" y="60"/>
                  </a:lnTo>
                  <a:lnTo>
                    <a:pt x="315" y="64"/>
                  </a:lnTo>
                  <a:lnTo>
                    <a:pt x="315" y="60"/>
                  </a:lnTo>
                  <a:lnTo>
                    <a:pt x="311" y="60"/>
                  </a:lnTo>
                  <a:lnTo>
                    <a:pt x="311" y="64"/>
                  </a:lnTo>
                  <a:lnTo>
                    <a:pt x="307" y="64"/>
                  </a:lnTo>
                  <a:lnTo>
                    <a:pt x="307" y="68"/>
                  </a:lnTo>
                  <a:lnTo>
                    <a:pt x="307" y="72"/>
                  </a:lnTo>
                  <a:lnTo>
                    <a:pt x="303" y="68"/>
                  </a:lnTo>
                  <a:lnTo>
                    <a:pt x="299" y="68"/>
                  </a:lnTo>
                  <a:lnTo>
                    <a:pt x="295" y="68"/>
                  </a:lnTo>
                  <a:lnTo>
                    <a:pt x="295" y="64"/>
                  </a:lnTo>
                  <a:lnTo>
                    <a:pt x="291" y="64"/>
                  </a:lnTo>
                  <a:lnTo>
                    <a:pt x="287" y="64"/>
                  </a:lnTo>
                  <a:lnTo>
                    <a:pt x="287" y="68"/>
                  </a:lnTo>
                  <a:lnTo>
                    <a:pt x="283" y="68"/>
                  </a:lnTo>
                  <a:lnTo>
                    <a:pt x="279" y="68"/>
                  </a:lnTo>
                  <a:lnTo>
                    <a:pt x="275" y="68"/>
                  </a:lnTo>
                  <a:lnTo>
                    <a:pt x="271" y="64"/>
                  </a:lnTo>
                  <a:lnTo>
                    <a:pt x="267" y="68"/>
                  </a:lnTo>
                  <a:lnTo>
                    <a:pt x="267" y="64"/>
                  </a:lnTo>
                  <a:lnTo>
                    <a:pt x="263" y="60"/>
                  </a:lnTo>
                  <a:lnTo>
                    <a:pt x="263" y="56"/>
                  </a:lnTo>
                  <a:lnTo>
                    <a:pt x="259" y="56"/>
                  </a:lnTo>
                  <a:lnTo>
                    <a:pt x="255" y="52"/>
                  </a:lnTo>
                  <a:lnTo>
                    <a:pt x="251" y="52"/>
                  </a:lnTo>
                  <a:lnTo>
                    <a:pt x="247" y="52"/>
                  </a:lnTo>
                  <a:lnTo>
                    <a:pt x="247" y="56"/>
                  </a:lnTo>
                  <a:lnTo>
                    <a:pt x="247" y="60"/>
                  </a:lnTo>
                  <a:lnTo>
                    <a:pt x="247" y="56"/>
                  </a:lnTo>
                  <a:lnTo>
                    <a:pt x="243" y="56"/>
                  </a:lnTo>
                  <a:lnTo>
                    <a:pt x="239" y="56"/>
                  </a:lnTo>
                  <a:lnTo>
                    <a:pt x="231" y="56"/>
                  </a:lnTo>
                  <a:lnTo>
                    <a:pt x="235" y="60"/>
                  </a:lnTo>
                  <a:lnTo>
                    <a:pt x="235" y="64"/>
                  </a:lnTo>
                  <a:lnTo>
                    <a:pt x="235" y="68"/>
                  </a:lnTo>
                  <a:lnTo>
                    <a:pt x="231" y="72"/>
                  </a:lnTo>
                  <a:lnTo>
                    <a:pt x="235" y="72"/>
                  </a:lnTo>
                  <a:lnTo>
                    <a:pt x="231" y="76"/>
                  </a:lnTo>
                  <a:lnTo>
                    <a:pt x="227" y="76"/>
                  </a:lnTo>
                  <a:lnTo>
                    <a:pt x="223" y="76"/>
                  </a:lnTo>
                  <a:lnTo>
                    <a:pt x="215" y="72"/>
                  </a:lnTo>
                  <a:lnTo>
                    <a:pt x="211" y="72"/>
                  </a:lnTo>
                  <a:lnTo>
                    <a:pt x="207" y="72"/>
                  </a:lnTo>
                  <a:lnTo>
                    <a:pt x="203" y="72"/>
                  </a:lnTo>
                  <a:lnTo>
                    <a:pt x="199" y="76"/>
                  </a:lnTo>
                  <a:lnTo>
                    <a:pt x="203" y="76"/>
                  </a:lnTo>
                  <a:lnTo>
                    <a:pt x="203" y="80"/>
                  </a:lnTo>
                  <a:lnTo>
                    <a:pt x="199" y="84"/>
                  </a:lnTo>
                  <a:lnTo>
                    <a:pt x="199" y="88"/>
                  </a:lnTo>
                  <a:lnTo>
                    <a:pt x="195" y="88"/>
                  </a:lnTo>
                  <a:lnTo>
                    <a:pt x="195" y="84"/>
                  </a:lnTo>
                  <a:lnTo>
                    <a:pt x="191" y="84"/>
                  </a:lnTo>
                  <a:lnTo>
                    <a:pt x="187" y="84"/>
                  </a:lnTo>
                  <a:lnTo>
                    <a:pt x="179" y="88"/>
                  </a:lnTo>
                  <a:lnTo>
                    <a:pt x="179" y="92"/>
                  </a:lnTo>
                  <a:lnTo>
                    <a:pt x="179" y="96"/>
                  </a:lnTo>
                  <a:lnTo>
                    <a:pt x="175" y="100"/>
                  </a:lnTo>
                  <a:lnTo>
                    <a:pt x="171" y="100"/>
                  </a:lnTo>
                  <a:lnTo>
                    <a:pt x="171" y="104"/>
                  </a:lnTo>
                  <a:lnTo>
                    <a:pt x="175" y="104"/>
                  </a:lnTo>
                  <a:lnTo>
                    <a:pt x="175" y="108"/>
                  </a:lnTo>
                  <a:lnTo>
                    <a:pt x="175" y="112"/>
                  </a:lnTo>
                  <a:lnTo>
                    <a:pt x="171" y="116"/>
                  </a:lnTo>
                  <a:lnTo>
                    <a:pt x="167" y="120"/>
                  </a:lnTo>
                  <a:lnTo>
                    <a:pt x="163" y="124"/>
                  </a:lnTo>
                  <a:lnTo>
                    <a:pt x="159" y="124"/>
                  </a:lnTo>
                  <a:lnTo>
                    <a:pt x="159" y="128"/>
                  </a:lnTo>
                  <a:lnTo>
                    <a:pt x="163" y="132"/>
                  </a:lnTo>
                  <a:lnTo>
                    <a:pt x="155" y="136"/>
                  </a:lnTo>
                  <a:lnTo>
                    <a:pt x="151" y="136"/>
                  </a:lnTo>
                  <a:lnTo>
                    <a:pt x="147" y="136"/>
                  </a:lnTo>
                  <a:lnTo>
                    <a:pt x="147" y="140"/>
                  </a:lnTo>
                  <a:lnTo>
                    <a:pt x="151" y="144"/>
                  </a:lnTo>
                  <a:lnTo>
                    <a:pt x="147" y="144"/>
                  </a:lnTo>
                  <a:lnTo>
                    <a:pt x="147" y="148"/>
                  </a:lnTo>
                  <a:lnTo>
                    <a:pt x="147" y="152"/>
                  </a:lnTo>
                  <a:lnTo>
                    <a:pt x="147" y="156"/>
                  </a:lnTo>
                  <a:lnTo>
                    <a:pt x="143" y="160"/>
                  </a:lnTo>
                  <a:lnTo>
                    <a:pt x="143" y="164"/>
                  </a:lnTo>
                  <a:lnTo>
                    <a:pt x="139" y="164"/>
                  </a:lnTo>
                  <a:lnTo>
                    <a:pt x="139" y="168"/>
                  </a:lnTo>
                  <a:lnTo>
                    <a:pt x="139" y="172"/>
                  </a:lnTo>
                  <a:lnTo>
                    <a:pt x="135" y="172"/>
                  </a:lnTo>
                  <a:lnTo>
                    <a:pt x="135" y="176"/>
                  </a:lnTo>
                  <a:lnTo>
                    <a:pt x="139" y="176"/>
                  </a:lnTo>
                  <a:lnTo>
                    <a:pt x="143" y="176"/>
                  </a:lnTo>
                  <a:lnTo>
                    <a:pt x="143" y="180"/>
                  </a:lnTo>
                  <a:lnTo>
                    <a:pt x="143" y="184"/>
                  </a:lnTo>
                  <a:lnTo>
                    <a:pt x="139" y="188"/>
                  </a:lnTo>
                  <a:lnTo>
                    <a:pt x="127" y="188"/>
                  </a:lnTo>
                  <a:lnTo>
                    <a:pt x="123" y="188"/>
                  </a:lnTo>
                  <a:lnTo>
                    <a:pt x="119" y="192"/>
                  </a:lnTo>
                  <a:lnTo>
                    <a:pt x="115" y="196"/>
                  </a:lnTo>
                  <a:lnTo>
                    <a:pt x="111" y="200"/>
                  </a:lnTo>
                  <a:lnTo>
                    <a:pt x="111" y="204"/>
                  </a:lnTo>
                  <a:lnTo>
                    <a:pt x="111" y="208"/>
                  </a:lnTo>
                  <a:lnTo>
                    <a:pt x="107" y="208"/>
                  </a:lnTo>
                  <a:lnTo>
                    <a:pt x="111" y="212"/>
                  </a:lnTo>
                  <a:lnTo>
                    <a:pt x="111" y="216"/>
                  </a:lnTo>
                  <a:lnTo>
                    <a:pt x="111" y="220"/>
                  </a:lnTo>
                  <a:lnTo>
                    <a:pt x="111" y="224"/>
                  </a:lnTo>
                  <a:lnTo>
                    <a:pt x="111" y="228"/>
                  </a:lnTo>
                  <a:lnTo>
                    <a:pt x="111" y="232"/>
                  </a:lnTo>
                  <a:lnTo>
                    <a:pt x="115" y="232"/>
                  </a:lnTo>
                  <a:lnTo>
                    <a:pt x="115" y="236"/>
                  </a:lnTo>
                  <a:lnTo>
                    <a:pt x="111" y="240"/>
                  </a:lnTo>
                  <a:lnTo>
                    <a:pt x="111" y="244"/>
                  </a:lnTo>
                  <a:lnTo>
                    <a:pt x="111" y="247"/>
                  </a:lnTo>
                  <a:lnTo>
                    <a:pt x="115" y="251"/>
                  </a:lnTo>
                  <a:lnTo>
                    <a:pt x="119" y="251"/>
                  </a:lnTo>
                  <a:lnTo>
                    <a:pt x="119" y="255"/>
                  </a:lnTo>
                  <a:lnTo>
                    <a:pt x="123" y="255"/>
                  </a:lnTo>
                  <a:lnTo>
                    <a:pt x="123" y="259"/>
                  </a:lnTo>
                  <a:lnTo>
                    <a:pt x="119" y="259"/>
                  </a:lnTo>
                  <a:lnTo>
                    <a:pt x="119" y="263"/>
                  </a:lnTo>
                  <a:lnTo>
                    <a:pt x="115" y="263"/>
                  </a:lnTo>
                  <a:lnTo>
                    <a:pt x="111" y="263"/>
                  </a:lnTo>
                  <a:lnTo>
                    <a:pt x="115" y="267"/>
                  </a:lnTo>
                  <a:lnTo>
                    <a:pt x="115" y="271"/>
                  </a:lnTo>
                  <a:lnTo>
                    <a:pt x="115" y="275"/>
                  </a:lnTo>
                  <a:lnTo>
                    <a:pt x="119" y="275"/>
                  </a:lnTo>
                  <a:lnTo>
                    <a:pt x="119" y="279"/>
                  </a:lnTo>
                  <a:lnTo>
                    <a:pt x="115" y="283"/>
                  </a:lnTo>
                  <a:lnTo>
                    <a:pt x="115" y="287"/>
                  </a:lnTo>
                  <a:lnTo>
                    <a:pt x="115" y="291"/>
                  </a:lnTo>
                  <a:lnTo>
                    <a:pt x="111" y="291"/>
                  </a:lnTo>
                  <a:lnTo>
                    <a:pt x="107" y="291"/>
                  </a:lnTo>
                  <a:lnTo>
                    <a:pt x="107" y="295"/>
                  </a:lnTo>
                  <a:lnTo>
                    <a:pt x="107" y="299"/>
                  </a:lnTo>
                  <a:lnTo>
                    <a:pt x="103" y="299"/>
                  </a:lnTo>
                  <a:lnTo>
                    <a:pt x="107" y="303"/>
                  </a:lnTo>
                  <a:lnTo>
                    <a:pt x="107" y="307"/>
                  </a:lnTo>
                  <a:lnTo>
                    <a:pt x="107" y="311"/>
                  </a:lnTo>
                  <a:lnTo>
                    <a:pt x="103" y="315"/>
                  </a:lnTo>
                  <a:lnTo>
                    <a:pt x="99" y="315"/>
                  </a:lnTo>
                  <a:lnTo>
                    <a:pt x="99" y="311"/>
                  </a:lnTo>
                  <a:lnTo>
                    <a:pt x="95" y="311"/>
                  </a:lnTo>
                  <a:lnTo>
                    <a:pt x="91" y="311"/>
                  </a:lnTo>
                  <a:lnTo>
                    <a:pt x="91" y="307"/>
                  </a:lnTo>
                  <a:lnTo>
                    <a:pt x="87" y="303"/>
                  </a:lnTo>
                  <a:lnTo>
                    <a:pt x="91" y="303"/>
                  </a:lnTo>
                  <a:lnTo>
                    <a:pt x="87" y="299"/>
                  </a:lnTo>
                  <a:lnTo>
                    <a:pt x="87" y="295"/>
                  </a:lnTo>
                  <a:lnTo>
                    <a:pt x="87" y="291"/>
                  </a:lnTo>
                  <a:lnTo>
                    <a:pt x="91" y="295"/>
                  </a:lnTo>
                  <a:lnTo>
                    <a:pt x="91" y="291"/>
                  </a:lnTo>
                  <a:lnTo>
                    <a:pt x="87" y="291"/>
                  </a:lnTo>
                  <a:lnTo>
                    <a:pt x="87" y="295"/>
                  </a:lnTo>
                  <a:lnTo>
                    <a:pt x="87" y="299"/>
                  </a:lnTo>
                  <a:lnTo>
                    <a:pt x="87" y="295"/>
                  </a:lnTo>
                  <a:lnTo>
                    <a:pt x="83" y="295"/>
                  </a:lnTo>
                  <a:lnTo>
                    <a:pt x="83" y="299"/>
                  </a:lnTo>
                  <a:lnTo>
                    <a:pt x="83" y="303"/>
                  </a:lnTo>
                  <a:lnTo>
                    <a:pt x="87" y="303"/>
                  </a:lnTo>
                  <a:lnTo>
                    <a:pt x="87" y="307"/>
                  </a:lnTo>
                  <a:lnTo>
                    <a:pt x="83" y="307"/>
                  </a:lnTo>
                  <a:lnTo>
                    <a:pt x="83" y="311"/>
                  </a:lnTo>
                  <a:lnTo>
                    <a:pt x="79" y="311"/>
                  </a:lnTo>
                  <a:lnTo>
                    <a:pt x="79" y="315"/>
                  </a:lnTo>
                  <a:lnTo>
                    <a:pt x="75" y="315"/>
                  </a:lnTo>
                  <a:lnTo>
                    <a:pt x="75" y="311"/>
                  </a:lnTo>
                  <a:lnTo>
                    <a:pt x="71" y="311"/>
                  </a:lnTo>
                  <a:lnTo>
                    <a:pt x="75" y="311"/>
                  </a:lnTo>
                  <a:lnTo>
                    <a:pt x="75" y="315"/>
                  </a:lnTo>
                  <a:lnTo>
                    <a:pt x="71" y="315"/>
                  </a:lnTo>
                  <a:lnTo>
                    <a:pt x="67" y="319"/>
                  </a:lnTo>
                  <a:lnTo>
                    <a:pt x="67" y="323"/>
                  </a:lnTo>
                  <a:lnTo>
                    <a:pt x="63" y="323"/>
                  </a:lnTo>
                  <a:lnTo>
                    <a:pt x="63" y="327"/>
                  </a:lnTo>
                  <a:lnTo>
                    <a:pt x="59" y="327"/>
                  </a:lnTo>
                  <a:lnTo>
                    <a:pt x="55" y="331"/>
                  </a:lnTo>
                  <a:lnTo>
                    <a:pt x="51" y="331"/>
                  </a:lnTo>
                  <a:lnTo>
                    <a:pt x="51" y="335"/>
                  </a:lnTo>
                  <a:lnTo>
                    <a:pt x="47" y="335"/>
                  </a:lnTo>
                  <a:lnTo>
                    <a:pt x="43" y="335"/>
                  </a:lnTo>
                  <a:lnTo>
                    <a:pt x="39" y="335"/>
                  </a:lnTo>
                  <a:lnTo>
                    <a:pt x="35" y="335"/>
                  </a:lnTo>
                  <a:lnTo>
                    <a:pt x="35" y="339"/>
                  </a:lnTo>
                  <a:lnTo>
                    <a:pt x="31" y="335"/>
                  </a:lnTo>
                  <a:lnTo>
                    <a:pt x="27" y="335"/>
                  </a:lnTo>
                  <a:lnTo>
                    <a:pt x="27" y="331"/>
                  </a:lnTo>
                  <a:lnTo>
                    <a:pt x="31" y="331"/>
                  </a:lnTo>
                  <a:lnTo>
                    <a:pt x="27" y="331"/>
                  </a:lnTo>
                  <a:lnTo>
                    <a:pt x="23" y="331"/>
                  </a:lnTo>
                  <a:lnTo>
                    <a:pt x="19" y="331"/>
                  </a:lnTo>
                  <a:lnTo>
                    <a:pt x="19" y="327"/>
                  </a:lnTo>
                  <a:lnTo>
                    <a:pt x="15" y="327"/>
                  </a:lnTo>
                  <a:lnTo>
                    <a:pt x="11" y="323"/>
                  </a:lnTo>
                  <a:lnTo>
                    <a:pt x="11" y="319"/>
                  </a:lnTo>
                  <a:lnTo>
                    <a:pt x="11" y="315"/>
                  </a:lnTo>
                  <a:lnTo>
                    <a:pt x="11" y="311"/>
                  </a:lnTo>
                  <a:lnTo>
                    <a:pt x="15" y="315"/>
                  </a:lnTo>
                  <a:lnTo>
                    <a:pt x="19" y="315"/>
                  </a:lnTo>
                  <a:lnTo>
                    <a:pt x="19" y="319"/>
                  </a:lnTo>
                  <a:lnTo>
                    <a:pt x="23" y="315"/>
                  </a:lnTo>
                  <a:lnTo>
                    <a:pt x="19" y="315"/>
                  </a:lnTo>
                  <a:lnTo>
                    <a:pt x="23" y="315"/>
                  </a:lnTo>
                  <a:lnTo>
                    <a:pt x="23" y="311"/>
                  </a:lnTo>
                  <a:lnTo>
                    <a:pt x="27" y="311"/>
                  </a:lnTo>
                  <a:lnTo>
                    <a:pt x="23" y="311"/>
                  </a:lnTo>
                  <a:lnTo>
                    <a:pt x="19" y="315"/>
                  </a:lnTo>
                  <a:lnTo>
                    <a:pt x="19" y="311"/>
                  </a:lnTo>
                  <a:lnTo>
                    <a:pt x="15" y="311"/>
                  </a:lnTo>
                  <a:lnTo>
                    <a:pt x="19" y="311"/>
                  </a:lnTo>
                  <a:lnTo>
                    <a:pt x="19" y="307"/>
                  </a:lnTo>
                  <a:lnTo>
                    <a:pt x="23" y="307"/>
                  </a:lnTo>
                  <a:lnTo>
                    <a:pt x="27" y="307"/>
                  </a:lnTo>
                  <a:lnTo>
                    <a:pt x="23" y="307"/>
                  </a:lnTo>
                  <a:lnTo>
                    <a:pt x="19" y="307"/>
                  </a:lnTo>
                  <a:lnTo>
                    <a:pt x="19" y="303"/>
                  </a:lnTo>
                  <a:lnTo>
                    <a:pt x="23" y="303"/>
                  </a:lnTo>
                  <a:lnTo>
                    <a:pt x="23" y="299"/>
                  </a:lnTo>
                  <a:lnTo>
                    <a:pt x="27" y="299"/>
                  </a:lnTo>
                  <a:lnTo>
                    <a:pt x="23" y="299"/>
                  </a:lnTo>
                  <a:lnTo>
                    <a:pt x="19" y="303"/>
                  </a:lnTo>
                  <a:lnTo>
                    <a:pt x="15" y="303"/>
                  </a:lnTo>
                  <a:lnTo>
                    <a:pt x="19" y="303"/>
                  </a:lnTo>
                  <a:lnTo>
                    <a:pt x="15" y="303"/>
                  </a:lnTo>
                  <a:lnTo>
                    <a:pt x="15" y="307"/>
                  </a:lnTo>
                  <a:lnTo>
                    <a:pt x="11" y="307"/>
                  </a:lnTo>
                  <a:lnTo>
                    <a:pt x="11" y="303"/>
                  </a:lnTo>
                  <a:lnTo>
                    <a:pt x="11" y="307"/>
                  </a:lnTo>
                  <a:lnTo>
                    <a:pt x="7" y="307"/>
                  </a:lnTo>
                  <a:lnTo>
                    <a:pt x="7" y="303"/>
                  </a:lnTo>
                  <a:lnTo>
                    <a:pt x="7" y="299"/>
                  </a:lnTo>
                  <a:lnTo>
                    <a:pt x="11" y="295"/>
                  </a:lnTo>
                  <a:lnTo>
                    <a:pt x="11" y="299"/>
                  </a:lnTo>
                  <a:lnTo>
                    <a:pt x="11" y="295"/>
                  </a:lnTo>
                  <a:lnTo>
                    <a:pt x="15" y="295"/>
                  </a:lnTo>
                  <a:lnTo>
                    <a:pt x="19" y="295"/>
                  </a:lnTo>
                  <a:lnTo>
                    <a:pt x="23" y="291"/>
                  </a:lnTo>
                  <a:lnTo>
                    <a:pt x="19" y="295"/>
                  </a:lnTo>
                  <a:lnTo>
                    <a:pt x="15" y="295"/>
                  </a:lnTo>
                  <a:lnTo>
                    <a:pt x="15" y="291"/>
                  </a:lnTo>
                  <a:lnTo>
                    <a:pt x="19" y="291"/>
                  </a:lnTo>
                  <a:lnTo>
                    <a:pt x="19" y="287"/>
                  </a:lnTo>
                  <a:lnTo>
                    <a:pt x="19" y="283"/>
                  </a:lnTo>
                  <a:lnTo>
                    <a:pt x="23" y="283"/>
                  </a:lnTo>
                  <a:lnTo>
                    <a:pt x="23" y="279"/>
                  </a:lnTo>
                  <a:lnTo>
                    <a:pt x="27" y="279"/>
                  </a:lnTo>
                  <a:lnTo>
                    <a:pt x="27" y="283"/>
                  </a:lnTo>
                  <a:lnTo>
                    <a:pt x="27" y="287"/>
                  </a:lnTo>
                  <a:lnTo>
                    <a:pt x="27" y="283"/>
                  </a:lnTo>
                  <a:lnTo>
                    <a:pt x="27" y="279"/>
                  </a:lnTo>
                  <a:lnTo>
                    <a:pt x="31" y="279"/>
                  </a:lnTo>
                  <a:lnTo>
                    <a:pt x="31" y="275"/>
                  </a:lnTo>
                  <a:lnTo>
                    <a:pt x="35" y="279"/>
                  </a:lnTo>
                  <a:lnTo>
                    <a:pt x="35" y="275"/>
                  </a:lnTo>
                  <a:lnTo>
                    <a:pt x="31" y="275"/>
                  </a:lnTo>
                  <a:lnTo>
                    <a:pt x="35" y="275"/>
                  </a:lnTo>
                  <a:lnTo>
                    <a:pt x="31" y="275"/>
                  </a:lnTo>
                  <a:lnTo>
                    <a:pt x="27" y="279"/>
                  </a:lnTo>
                  <a:lnTo>
                    <a:pt x="23" y="279"/>
                  </a:lnTo>
                  <a:lnTo>
                    <a:pt x="19" y="279"/>
                  </a:lnTo>
                  <a:lnTo>
                    <a:pt x="19" y="283"/>
                  </a:lnTo>
                  <a:lnTo>
                    <a:pt x="15" y="287"/>
                  </a:lnTo>
                  <a:lnTo>
                    <a:pt x="15" y="291"/>
                  </a:lnTo>
                  <a:lnTo>
                    <a:pt x="15" y="287"/>
                  </a:lnTo>
                  <a:lnTo>
                    <a:pt x="11" y="287"/>
                  </a:lnTo>
                  <a:lnTo>
                    <a:pt x="11" y="283"/>
                  </a:lnTo>
                  <a:lnTo>
                    <a:pt x="15" y="279"/>
                  </a:lnTo>
                  <a:lnTo>
                    <a:pt x="11" y="279"/>
                  </a:lnTo>
                  <a:lnTo>
                    <a:pt x="11" y="283"/>
                  </a:lnTo>
                  <a:lnTo>
                    <a:pt x="11" y="287"/>
                  </a:lnTo>
                  <a:lnTo>
                    <a:pt x="7" y="287"/>
                  </a:lnTo>
                  <a:lnTo>
                    <a:pt x="7" y="283"/>
                  </a:lnTo>
                  <a:lnTo>
                    <a:pt x="7" y="279"/>
                  </a:lnTo>
                  <a:lnTo>
                    <a:pt x="7" y="275"/>
                  </a:lnTo>
                  <a:lnTo>
                    <a:pt x="7" y="279"/>
                  </a:lnTo>
                  <a:lnTo>
                    <a:pt x="11" y="279"/>
                  </a:lnTo>
                  <a:lnTo>
                    <a:pt x="15" y="279"/>
                  </a:lnTo>
                  <a:lnTo>
                    <a:pt x="15" y="275"/>
                  </a:lnTo>
                  <a:lnTo>
                    <a:pt x="15" y="271"/>
                  </a:lnTo>
                  <a:lnTo>
                    <a:pt x="11" y="271"/>
                  </a:lnTo>
                  <a:lnTo>
                    <a:pt x="11" y="275"/>
                  </a:lnTo>
                  <a:lnTo>
                    <a:pt x="7" y="275"/>
                  </a:lnTo>
                  <a:lnTo>
                    <a:pt x="3" y="271"/>
                  </a:lnTo>
                  <a:lnTo>
                    <a:pt x="7" y="275"/>
                  </a:lnTo>
                  <a:lnTo>
                    <a:pt x="3" y="271"/>
                  </a:lnTo>
                  <a:lnTo>
                    <a:pt x="7" y="271"/>
                  </a:lnTo>
                  <a:lnTo>
                    <a:pt x="7" y="275"/>
                  </a:lnTo>
                  <a:lnTo>
                    <a:pt x="11" y="275"/>
                  </a:lnTo>
                  <a:lnTo>
                    <a:pt x="11" y="271"/>
                  </a:lnTo>
                  <a:lnTo>
                    <a:pt x="7" y="271"/>
                  </a:lnTo>
                  <a:lnTo>
                    <a:pt x="7" y="267"/>
                  </a:lnTo>
                  <a:lnTo>
                    <a:pt x="11" y="267"/>
                  </a:lnTo>
                  <a:lnTo>
                    <a:pt x="7" y="267"/>
                  </a:lnTo>
                  <a:lnTo>
                    <a:pt x="3" y="267"/>
                  </a:lnTo>
                  <a:lnTo>
                    <a:pt x="3" y="263"/>
                  </a:lnTo>
                  <a:lnTo>
                    <a:pt x="7" y="263"/>
                  </a:lnTo>
                  <a:lnTo>
                    <a:pt x="11" y="263"/>
                  </a:lnTo>
                  <a:lnTo>
                    <a:pt x="15" y="263"/>
                  </a:lnTo>
                  <a:lnTo>
                    <a:pt x="19" y="263"/>
                  </a:lnTo>
                  <a:lnTo>
                    <a:pt x="23" y="263"/>
                  </a:lnTo>
                  <a:lnTo>
                    <a:pt x="27" y="263"/>
                  </a:lnTo>
                  <a:lnTo>
                    <a:pt x="27" y="259"/>
                  </a:lnTo>
                  <a:lnTo>
                    <a:pt x="31" y="259"/>
                  </a:lnTo>
                  <a:lnTo>
                    <a:pt x="31" y="263"/>
                  </a:lnTo>
                  <a:lnTo>
                    <a:pt x="35" y="263"/>
                  </a:lnTo>
                  <a:lnTo>
                    <a:pt x="35" y="267"/>
                  </a:lnTo>
                  <a:lnTo>
                    <a:pt x="35" y="263"/>
                  </a:lnTo>
                  <a:lnTo>
                    <a:pt x="39" y="263"/>
                  </a:lnTo>
                  <a:lnTo>
                    <a:pt x="39" y="259"/>
                  </a:lnTo>
                  <a:lnTo>
                    <a:pt x="39" y="255"/>
                  </a:lnTo>
                  <a:lnTo>
                    <a:pt x="43" y="255"/>
                  </a:lnTo>
                  <a:lnTo>
                    <a:pt x="43" y="251"/>
                  </a:lnTo>
                  <a:lnTo>
                    <a:pt x="39" y="255"/>
                  </a:lnTo>
                  <a:lnTo>
                    <a:pt x="39" y="259"/>
                  </a:lnTo>
                  <a:lnTo>
                    <a:pt x="35" y="259"/>
                  </a:lnTo>
                  <a:lnTo>
                    <a:pt x="31" y="263"/>
                  </a:lnTo>
                  <a:lnTo>
                    <a:pt x="31" y="259"/>
                  </a:lnTo>
                  <a:lnTo>
                    <a:pt x="27" y="259"/>
                  </a:lnTo>
                  <a:lnTo>
                    <a:pt x="27" y="255"/>
                  </a:lnTo>
                  <a:lnTo>
                    <a:pt x="27" y="259"/>
                  </a:lnTo>
                  <a:lnTo>
                    <a:pt x="23" y="263"/>
                  </a:lnTo>
                  <a:lnTo>
                    <a:pt x="23" y="259"/>
                  </a:lnTo>
                  <a:lnTo>
                    <a:pt x="19" y="259"/>
                  </a:lnTo>
                  <a:lnTo>
                    <a:pt x="15" y="259"/>
                  </a:lnTo>
                  <a:lnTo>
                    <a:pt x="11" y="259"/>
                  </a:lnTo>
                  <a:lnTo>
                    <a:pt x="11" y="263"/>
                  </a:lnTo>
                  <a:lnTo>
                    <a:pt x="7" y="263"/>
                  </a:lnTo>
                  <a:lnTo>
                    <a:pt x="7" y="259"/>
                  </a:lnTo>
                  <a:lnTo>
                    <a:pt x="3" y="259"/>
                  </a:lnTo>
                  <a:lnTo>
                    <a:pt x="7" y="259"/>
                  </a:lnTo>
                  <a:lnTo>
                    <a:pt x="3" y="259"/>
                  </a:lnTo>
                  <a:lnTo>
                    <a:pt x="7" y="255"/>
                  </a:lnTo>
                  <a:lnTo>
                    <a:pt x="11" y="255"/>
                  </a:lnTo>
                  <a:lnTo>
                    <a:pt x="7" y="255"/>
                  </a:lnTo>
                  <a:lnTo>
                    <a:pt x="3" y="255"/>
                  </a:lnTo>
                  <a:lnTo>
                    <a:pt x="7" y="251"/>
                  </a:lnTo>
                  <a:lnTo>
                    <a:pt x="7" y="255"/>
                  </a:lnTo>
                  <a:lnTo>
                    <a:pt x="11" y="255"/>
                  </a:lnTo>
                  <a:lnTo>
                    <a:pt x="15" y="255"/>
                  </a:lnTo>
                  <a:lnTo>
                    <a:pt x="15" y="251"/>
                  </a:lnTo>
                  <a:lnTo>
                    <a:pt x="11" y="251"/>
                  </a:lnTo>
                  <a:lnTo>
                    <a:pt x="11" y="255"/>
                  </a:lnTo>
                  <a:lnTo>
                    <a:pt x="7" y="251"/>
                  </a:lnTo>
                  <a:lnTo>
                    <a:pt x="3" y="251"/>
                  </a:lnTo>
                  <a:lnTo>
                    <a:pt x="7" y="247"/>
                  </a:lnTo>
                  <a:lnTo>
                    <a:pt x="3" y="247"/>
                  </a:lnTo>
                  <a:lnTo>
                    <a:pt x="7" y="244"/>
                  </a:lnTo>
                  <a:lnTo>
                    <a:pt x="11" y="244"/>
                  </a:lnTo>
                  <a:lnTo>
                    <a:pt x="15" y="244"/>
                  </a:lnTo>
                  <a:lnTo>
                    <a:pt x="19" y="244"/>
                  </a:lnTo>
                  <a:lnTo>
                    <a:pt x="23" y="244"/>
                  </a:lnTo>
                  <a:lnTo>
                    <a:pt x="27" y="244"/>
                  </a:lnTo>
                  <a:lnTo>
                    <a:pt x="31" y="244"/>
                  </a:lnTo>
                  <a:lnTo>
                    <a:pt x="27" y="244"/>
                  </a:lnTo>
                  <a:lnTo>
                    <a:pt x="23" y="244"/>
                  </a:lnTo>
                  <a:lnTo>
                    <a:pt x="19" y="244"/>
                  </a:lnTo>
                  <a:lnTo>
                    <a:pt x="15" y="244"/>
                  </a:lnTo>
                  <a:lnTo>
                    <a:pt x="11" y="244"/>
                  </a:lnTo>
                  <a:lnTo>
                    <a:pt x="7" y="244"/>
                  </a:lnTo>
                  <a:lnTo>
                    <a:pt x="3" y="244"/>
                  </a:lnTo>
                  <a:lnTo>
                    <a:pt x="7" y="240"/>
                  </a:lnTo>
                  <a:lnTo>
                    <a:pt x="7" y="236"/>
                  </a:lnTo>
                  <a:lnTo>
                    <a:pt x="3" y="236"/>
                  </a:lnTo>
                  <a:lnTo>
                    <a:pt x="7" y="236"/>
                  </a:lnTo>
                  <a:lnTo>
                    <a:pt x="11" y="240"/>
                  </a:lnTo>
                  <a:lnTo>
                    <a:pt x="11" y="236"/>
                  </a:lnTo>
                  <a:lnTo>
                    <a:pt x="7" y="236"/>
                  </a:lnTo>
                  <a:lnTo>
                    <a:pt x="11" y="236"/>
                  </a:lnTo>
                  <a:lnTo>
                    <a:pt x="15" y="236"/>
                  </a:lnTo>
                  <a:lnTo>
                    <a:pt x="19" y="236"/>
                  </a:lnTo>
                  <a:lnTo>
                    <a:pt x="23" y="240"/>
                  </a:lnTo>
                  <a:lnTo>
                    <a:pt x="19" y="240"/>
                  </a:lnTo>
                  <a:lnTo>
                    <a:pt x="19" y="236"/>
                  </a:lnTo>
                  <a:lnTo>
                    <a:pt x="15" y="236"/>
                  </a:lnTo>
                  <a:lnTo>
                    <a:pt x="19" y="236"/>
                  </a:lnTo>
                  <a:lnTo>
                    <a:pt x="19" y="232"/>
                  </a:lnTo>
                  <a:lnTo>
                    <a:pt x="23" y="232"/>
                  </a:lnTo>
                  <a:lnTo>
                    <a:pt x="27" y="236"/>
                  </a:lnTo>
                  <a:lnTo>
                    <a:pt x="27" y="232"/>
                  </a:lnTo>
                  <a:lnTo>
                    <a:pt x="23" y="232"/>
                  </a:lnTo>
                  <a:lnTo>
                    <a:pt x="27" y="228"/>
                  </a:lnTo>
                  <a:lnTo>
                    <a:pt x="31" y="232"/>
                  </a:lnTo>
                  <a:lnTo>
                    <a:pt x="35" y="232"/>
                  </a:lnTo>
                  <a:lnTo>
                    <a:pt x="35" y="236"/>
                  </a:lnTo>
                  <a:lnTo>
                    <a:pt x="31" y="236"/>
                  </a:lnTo>
                  <a:lnTo>
                    <a:pt x="31" y="240"/>
                  </a:lnTo>
                  <a:lnTo>
                    <a:pt x="35" y="240"/>
                  </a:lnTo>
                  <a:lnTo>
                    <a:pt x="35" y="236"/>
                  </a:lnTo>
                  <a:lnTo>
                    <a:pt x="31" y="236"/>
                  </a:lnTo>
                  <a:lnTo>
                    <a:pt x="35" y="236"/>
                  </a:lnTo>
                  <a:lnTo>
                    <a:pt x="35" y="232"/>
                  </a:lnTo>
                  <a:lnTo>
                    <a:pt x="39" y="232"/>
                  </a:lnTo>
                  <a:lnTo>
                    <a:pt x="39" y="236"/>
                  </a:lnTo>
                  <a:lnTo>
                    <a:pt x="39" y="232"/>
                  </a:lnTo>
                  <a:lnTo>
                    <a:pt x="35" y="232"/>
                  </a:lnTo>
                  <a:lnTo>
                    <a:pt x="31" y="232"/>
                  </a:lnTo>
                  <a:lnTo>
                    <a:pt x="31" y="228"/>
                  </a:lnTo>
                  <a:lnTo>
                    <a:pt x="27" y="228"/>
                  </a:lnTo>
                  <a:lnTo>
                    <a:pt x="23" y="228"/>
                  </a:lnTo>
                  <a:lnTo>
                    <a:pt x="27" y="228"/>
                  </a:lnTo>
                  <a:lnTo>
                    <a:pt x="23" y="228"/>
                  </a:lnTo>
                  <a:lnTo>
                    <a:pt x="23" y="224"/>
                  </a:lnTo>
                  <a:lnTo>
                    <a:pt x="27" y="224"/>
                  </a:lnTo>
                  <a:lnTo>
                    <a:pt x="31" y="224"/>
                  </a:lnTo>
                  <a:lnTo>
                    <a:pt x="35" y="224"/>
                  </a:lnTo>
                  <a:lnTo>
                    <a:pt x="39" y="224"/>
                  </a:lnTo>
                  <a:lnTo>
                    <a:pt x="43" y="228"/>
                  </a:lnTo>
                  <a:lnTo>
                    <a:pt x="43" y="224"/>
                  </a:lnTo>
                  <a:lnTo>
                    <a:pt x="43" y="228"/>
                  </a:lnTo>
                  <a:lnTo>
                    <a:pt x="39" y="228"/>
                  </a:lnTo>
                  <a:lnTo>
                    <a:pt x="39" y="224"/>
                  </a:lnTo>
                  <a:lnTo>
                    <a:pt x="43" y="224"/>
                  </a:lnTo>
                  <a:lnTo>
                    <a:pt x="47" y="224"/>
                  </a:lnTo>
                  <a:lnTo>
                    <a:pt x="47" y="220"/>
                  </a:lnTo>
                  <a:lnTo>
                    <a:pt x="51" y="224"/>
                  </a:lnTo>
                  <a:lnTo>
                    <a:pt x="51" y="220"/>
                  </a:lnTo>
                  <a:lnTo>
                    <a:pt x="47" y="220"/>
                  </a:lnTo>
                  <a:lnTo>
                    <a:pt x="43" y="224"/>
                  </a:lnTo>
                  <a:lnTo>
                    <a:pt x="39" y="224"/>
                  </a:lnTo>
                  <a:lnTo>
                    <a:pt x="39" y="220"/>
                  </a:lnTo>
                  <a:lnTo>
                    <a:pt x="43" y="220"/>
                  </a:lnTo>
                  <a:lnTo>
                    <a:pt x="39" y="220"/>
                  </a:lnTo>
                  <a:lnTo>
                    <a:pt x="35" y="220"/>
                  </a:lnTo>
                  <a:lnTo>
                    <a:pt x="31" y="224"/>
                  </a:lnTo>
                  <a:lnTo>
                    <a:pt x="31" y="220"/>
                  </a:lnTo>
                  <a:lnTo>
                    <a:pt x="35" y="220"/>
                  </a:lnTo>
                  <a:lnTo>
                    <a:pt x="31" y="216"/>
                  </a:lnTo>
                  <a:lnTo>
                    <a:pt x="35" y="216"/>
                  </a:lnTo>
                  <a:lnTo>
                    <a:pt x="39" y="216"/>
                  </a:lnTo>
                  <a:lnTo>
                    <a:pt x="43" y="216"/>
                  </a:lnTo>
                  <a:lnTo>
                    <a:pt x="47" y="216"/>
                  </a:lnTo>
                  <a:lnTo>
                    <a:pt x="43" y="216"/>
                  </a:lnTo>
                  <a:lnTo>
                    <a:pt x="47" y="216"/>
                  </a:lnTo>
                  <a:lnTo>
                    <a:pt x="51" y="216"/>
                  </a:lnTo>
                  <a:lnTo>
                    <a:pt x="51" y="220"/>
                  </a:lnTo>
                  <a:lnTo>
                    <a:pt x="55" y="220"/>
                  </a:lnTo>
                  <a:lnTo>
                    <a:pt x="55" y="224"/>
                  </a:lnTo>
                  <a:lnTo>
                    <a:pt x="59" y="224"/>
                  </a:lnTo>
                  <a:lnTo>
                    <a:pt x="55" y="224"/>
                  </a:lnTo>
                  <a:lnTo>
                    <a:pt x="55" y="220"/>
                  </a:lnTo>
                  <a:lnTo>
                    <a:pt x="51" y="220"/>
                  </a:lnTo>
                  <a:lnTo>
                    <a:pt x="51" y="216"/>
                  </a:lnTo>
                  <a:lnTo>
                    <a:pt x="47" y="216"/>
                  </a:lnTo>
                  <a:lnTo>
                    <a:pt x="47" y="212"/>
                  </a:lnTo>
                  <a:lnTo>
                    <a:pt x="51" y="212"/>
                  </a:lnTo>
                  <a:lnTo>
                    <a:pt x="51" y="216"/>
                  </a:lnTo>
                  <a:lnTo>
                    <a:pt x="55" y="216"/>
                  </a:lnTo>
                  <a:lnTo>
                    <a:pt x="55" y="220"/>
                  </a:lnTo>
                  <a:lnTo>
                    <a:pt x="55" y="216"/>
                  </a:lnTo>
                  <a:lnTo>
                    <a:pt x="59" y="216"/>
                  </a:lnTo>
                  <a:lnTo>
                    <a:pt x="55" y="216"/>
                  </a:lnTo>
                  <a:lnTo>
                    <a:pt x="51" y="216"/>
                  </a:lnTo>
                  <a:lnTo>
                    <a:pt x="51" y="212"/>
                  </a:lnTo>
                  <a:lnTo>
                    <a:pt x="55" y="212"/>
                  </a:lnTo>
                  <a:lnTo>
                    <a:pt x="59" y="212"/>
                  </a:lnTo>
                  <a:lnTo>
                    <a:pt x="63" y="212"/>
                  </a:lnTo>
                  <a:lnTo>
                    <a:pt x="59" y="212"/>
                  </a:lnTo>
                  <a:lnTo>
                    <a:pt x="55" y="208"/>
                  </a:lnTo>
                  <a:lnTo>
                    <a:pt x="59" y="208"/>
                  </a:lnTo>
                  <a:lnTo>
                    <a:pt x="59" y="204"/>
                  </a:lnTo>
                  <a:lnTo>
                    <a:pt x="63" y="204"/>
                  </a:lnTo>
                  <a:lnTo>
                    <a:pt x="67" y="204"/>
                  </a:lnTo>
                  <a:lnTo>
                    <a:pt x="67" y="208"/>
                  </a:lnTo>
                  <a:lnTo>
                    <a:pt x="71" y="208"/>
                  </a:lnTo>
                  <a:lnTo>
                    <a:pt x="71" y="204"/>
                  </a:lnTo>
                  <a:lnTo>
                    <a:pt x="67" y="208"/>
                  </a:lnTo>
                  <a:lnTo>
                    <a:pt x="67" y="204"/>
                  </a:lnTo>
                  <a:lnTo>
                    <a:pt x="67" y="200"/>
                  </a:lnTo>
                  <a:lnTo>
                    <a:pt x="71" y="200"/>
                  </a:lnTo>
                  <a:lnTo>
                    <a:pt x="75" y="200"/>
                  </a:lnTo>
                  <a:lnTo>
                    <a:pt x="79" y="204"/>
                  </a:lnTo>
                  <a:lnTo>
                    <a:pt x="79" y="208"/>
                  </a:lnTo>
                  <a:lnTo>
                    <a:pt x="83" y="208"/>
                  </a:lnTo>
                  <a:lnTo>
                    <a:pt x="79" y="208"/>
                  </a:lnTo>
                  <a:lnTo>
                    <a:pt x="79" y="204"/>
                  </a:lnTo>
                  <a:lnTo>
                    <a:pt x="83" y="204"/>
                  </a:lnTo>
                  <a:lnTo>
                    <a:pt x="87" y="204"/>
                  </a:lnTo>
                  <a:lnTo>
                    <a:pt x="91" y="204"/>
                  </a:lnTo>
                  <a:lnTo>
                    <a:pt x="91" y="200"/>
                  </a:lnTo>
                  <a:lnTo>
                    <a:pt x="87" y="200"/>
                  </a:lnTo>
                  <a:lnTo>
                    <a:pt x="91" y="200"/>
                  </a:lnTo>
                  <a:lnTo>
                    <a:pt x="91" y="196"/>
                  </a:lnTo>
                  <a:lnTo>
                    <a:pt x="95" y="196"/>
                  </a:lnTo>
                  <a:lnTo>
                    <a:pt x="99" y="196"/>
                  </a:lnTo>
                  <a:lnTo>
                    <a:pt x="99" y="192"/>
                  </a:lnTo>
                  <a:lnTo>
                    <a:pt x="95" y="192"/>
                  </a:lnTo>
                  <a:lnTo>
                    <a:pt x="99" y="192"/>
                  </a:lnTo>
                  <a:lnTo>
                    <a:pt x="103" y="188"/>
                  </a:lnTo>
                  <a:lnTo>
                    <a:pt x="99" y="188"/>
                  </a:lnTo>
                  <a:lnTo>
                    <a:pt x="95" y="188"/>
                  </a:lnTo>
                  <a:lnTo>
                    <a:pt x="95" y="192"/>
                  </a:lnTo>
                  <a:lnTo>
                    <a:pt x="91" y="192"/>
                  </a:lnTo>
                  <a:lnTo>
                    <a:pt x="87" y="196"/>
                  </a:lnTo>
                  <a:lnTo>
                    <a:pt x="91" y="192"/>
                  </a:lnTo>
                  <a:lnTo>
                    <a:pt x="95" y="192"/>
                  </a:lnTo>
                  <a:lnTo>
                    <a:pt x="95" y="196"/>
                  </a:lnTo>
                  <a:lnTo>
                    <a:pt x="91" y="196"/>
                  </a:lnTo>
                  <a:lnTo>
                    <a:pt x="87" y="200"/>
                  </a:lnTo>
                  <a:lnTo>
                    <a:pt x="83" y="200"/>
                  </a:lnTo>
                  <a:lnTo>
                    <a:pt x="79" y="204"/>
                  </a:lnTo>
                  <a:lnTo>
                    <a:pt x="75" y="200"/>
                  </a:lnTo>
                  <a:lnTo>
                    <a:pt x="75" y="196"/>
                  </a:lnTo>
                  <a:lnTo>
                    <a:pt x="79" y="196"/>
                  </a:lnTo>
                  <a:lnTo>
                    <a:pt x="75" y="196"/>
                  </a:lnTo>
                  <a:lnTo>
                    <a:pt x="71" y="200"/>
                  </a:lnTo>
                  <a:lnTo>
                    <a:pt x="71" y="196"/>
                  </a:lnTo>
                  <a:lnTo>
                    <a:pt x="75" y="196"/>
                  </a:lnTo>
                  <a:lnTo>
                    <a:pt x="75" y="192"/>
                  </a:lnTo>
                  <a:lnTo>
                    <a:pt x="79" y="192"/>
                  </a:lnTo>
                  <a:lnTo>
                    <a:pt x="83" y="192"/>
                  </a:lnTo>
                  <a:lnTo>
                    <a:pt x="79" y="192"/>
                  </a:lnTo>
                  <a:lnTo>
                    <a:pt x="79" y="188"/>
                  </a:lnTo>
                  <a:lnTo>
                    <a:pt x="83" y="184"/>
                  </a:lnTo>
                  <a:lnTo>
                    <a:pt x="87" y="180"/>
                  </a:lnTo>
                  <a:close/>
                  <a:moveTo>
                    <a:pt x="303" y="4"/>
                  </a:moveTo>
                  <a:lnTo>
                    <a:pt x="303" y="0"/>
                  </a:lnTo>
                  <a:lnTo>
                    <a:pt x="303" y="4"/>
                  </a:lnTo>
                  <a:close/>
                  <a:moveTo>
                    <a:pt x="287" y="16"/>
                  </a:moveTo>
                  <a:lnTo>
                    <a:pt x="287" y="12"/>
                  </a:lnTo>
                  <a:lnTo>
                    <a:pt x="291" y="12"/>
                  </a:lnTo>
                  <a:lnTo>
                    <a:pt x="295" y="16"/>
                  </a:lnTo>
                  <a:lnTo>
                    <a:pt x="291" y="16"/>
                  </a:lnTo>
                  <a:lnTo>
                    <a:pt x="287" y="16"/>
                  </a:lnTo>
                  <a:close/>
                  <a:moveTo>
                    <a:pt x="275" y="24"/>
                  </a:moveTo>
                  <a:lnTo>
                    <a:pt x="271" y="24"/>
                  </a:lnTo>
                  <a:lnTo>
                    <a:pt x="267" y="24"/>
                  </a:lnTo>
                  <a:lnTo>
                    <a:pt x="267" y="20"/>
                  </a:lnTo>
                  <a:lnTo>
                    <a:pt x="271" y="20"/>
                  </a:lnTo>
                  <a:lnTo>
                    <a:pt x="275" y="24"/>
                  </a:lnTo>
                  <a:close/>
                  <a:moveTo>
                    <a:pt x="259" y="24"/>
                  </a:moveTo>
                  <a:lnTo>
                    <a:pt x="255" y="24"/>
                  </a:lnTo>
                  <a:lnTo>
                    <a:pt x="255" y="20"/>
                  </a:lnTo>
                  <a:lnTo>
                    <a:pt x="259" y="20"/>
                  </a:lnTo>
                  <a:lnTo>
                    <a:pt x="259" y="24"/>
                  </a:lnTo>
                  <a:close/>
                  <a:moveTo>
                    <a:pt x="219" y="28"/>
                  </a:moveTo>
                  <a:lnTo>
                    <a:pt x="215" y="28"/>
                  </a:lnTo>
                  <a:lnTo>
                    <a:pt x="219" y="24"/>
                  </a:lnTo>
                  <a:lnTo>
                    <a:pt x="219" y="28"/>
                  </a:lnTo>
                  <a:close/>
                  <a:moveTo>
                    <a:pt x="211" y="32"/>
                  </a:moveTo>
                  <a:lnTo>
                    <a:pt x="211" y="28"/>
                  </a:lnTo>
                  <a:lnTo>
                    <a:pt x="215" y="28"/>
                  </a:lnTo>
                  <a:lnTo>
                    <a:pt x="215" y="32"/>
                  </a:lnTo>
                  <a:lnTo>
                    <a:pt x="211" y="32"/>
                  </a:lnTo>
                  <a:close/>
                  <a:moveTo>
                    <a:pt x="243" y="32"/>
                  </a:moveTo>
                  <a:lnTo>
                    <a:pt x="247" y="32"/>
                  </a:lnTo>
                  <a:lnTo>
                    <a:pt x="243" y="32"/>
                  </a:lnTo>
                  <a:close/>
                  <a:moveTo>
                    <a:pt x="223" y="36"/>
                  </a:moveTo>
                  <a:lnTo>
                    <a:pt x="227" y="32"/>
                  </a:lnTo>
                  <a:lnTo>
                    <a:pt x="231" y="32"/>
                  </a:lnTo>
                  <a:lnTo>
                    <a:pt x="227" y="36"/>
                  </a:lnTo>
                  <a:lnTo>
                    <a:pt x="223" y="36"/>
                  </a:lnTo>
                  <a:close/>
                  <a:moveTo>
                    <a:pt x="378" y="40"/>
                  </a:moveTo>
                  <a:lnTo>
                    <a:pt x="378" y="36"/>
                  </a:lnTo>
                  <a:lnTo>
                    <a:pt x="382" y="36"/>
                  </a:lnTo>
                  <a:lnTo>
                    <a:pt x="378" y="40"/>
                  </a:lnTo>
                  <a:close/>
                  <a:moveTo>
                    <a:pt x="239" y="36"/>
                  </a:moveTo>
                  <a:lnTo>
                    <a:pt x="243" y="36"/>
                  </a:lnTo>
                  <a:lnTo>
                    <a:pt x="239" y="36"/>
                  </a:lnTo>
                  <a:close/>
                  <a:moveTo>
                    <a:pt x="215" y="44"/>
                  </a:moveTo>
                  <a:lnTo>
                    <a:pt x="215" y="40"/>
                  </a:lnTo>
                  <a:lnTo>
                    <a:pt x="215" y="44"/>
                  </a:lnTo>
                  <a:close/>
                  <a:moveTo>
                    <a:pt x="191" y="60"/>
                  </a:moveTo>
                  <a:lnTo>
                    <a:pt x="191" y="56"/>
                  </a:lnTo>
                  <a:lnTo>
                    <a:pt x="195" y="56"/>
                  </a:lnTo>
                  <a:lnTo>
                    <a:pt x="191" y="60"/>
                  </a:lnTo>
                  <a:close/>
                  <a:moveTo>
                    <a:pt x="179" y="64"/>
                  </a:moveTo>
                  <a:lnTo>
                    <a:pt x="175" y="60"/>
                  </a:lnTo>
                  <a:lnTo>
                    <a:pt x="179" y="60"/>
                  </a:lnTo>
                  <a:lnTo>
                    <a:pt x="179" y="64"/>
                  </a:lnTo>
                  <a:close/>
                  <a:moveTo>
                    <a:pt x="187" y="64"/>
                  </a:moveTo>
                  <a:lnTo>
                    <a:pt x="187" y="60"/>
                  </a:lnTo>
                  <a:lnTo>
                    <a:pt x="191" y="60"/>
                  </a:lnTo>
                  <a:lnTo>
                    <a:pt x="191" y="64"/>
                  </a:lnTo>
                  <a:lnTo>
                    <a:pt x="187" y="64"/>
                  </a:lnTo>
                  <a:close/>
                  <a:moveTo>
                    <a:pt x="183" y="68"/>
                  </a:moveTo>
                  <a:lnTo>
                    <a:pt x="183" y="64"/>
                  </a:lnTo>
                  <a:lnTo>
                    <a:pt x="187" y="64"/>
                  </a:lnTo>
                  <a:lnTo>
                    <a:pt x="183" y="64"/>
                  </a:lnTo>
                  <a:lnTo>
                    <a:pt x="183" y="68"/>
                  </a:lnTo>
                  <a:close/>
                  <a:moveTo>
                    <a:pt x="171" y="76"/>
                  </a:moveTo>
                  <a:lnTo>
                    <a:pt x="171" y="72"/>
                  </a:lnTo>
                  <a:lnTo>
                    <a:pt x="175" y="72"/>
                  </a:lnTo>
                  <a:lnTo>
                    <a:pt x="175" y="76"/>
                  </a:lnTo>
                  <a:lnTo>
                    <a:pt x="171" y="76"/>
                  </a:lnTo>
                  <a:close/>
                  <a:moveTo>
                    <a:pt x="143" y="80"/>
                  </a:moveTo>
                  <a:lnTo>
                    <a:pt x="139" y="80"/>
                  </a:lnTo>
                  <a:lnTo>
                    <a:pt x="139" y="76"/>
                  </a:lnTo>
                  <a:lnTo>
                    <a:pt x="143" y="76"/>
                  </a:lnTo>
                  <a:lnTo>
                    <a:pt x="143" y="80"/>
                  </a:lnTo>
                  <a:close/>
                  <a:moveTo>
                    <a:pt x="127" y="88"/>
                  </a:moveTo>
                  <a:lnTo>
                    <a:pt x="127" y="84"/>
                  </a:lnTo>
                  <a:lnTo>
                    <a:pt x="127" y="80"/>
                  </a:lnTo>
                  <a:lnTo>
                    <a:pt x="131" y="80"/>
                  </a:lnTo>
                  <a:lnTo>
                    <a:pt x="131" y="84"/>
                  </a:lnTo>
                  <a:lnTo>
                    <a:pt x="127" y="88"/>
                  </a:lnTo>
                  <a:close/>
                  <a:moveTo>
                    <a:pt x="123" y="92"/>
                  </a:moveTo>
                  <a:lnTo>
                    <a:pt x="123" y="88"/>
                  </a:lnTo>
                  <a:lnTo>
                    <a:pt x="123" y="84"/>
                  </a:lnTo>
                  <a:lnTo>
                    <a:pt x="127" y="84"/>
                  </a:lnTo>
                  <a:lnTo>
                    <a:pt x="127" y="88"/>
                  </a:lnTo>
                  <a:lnTo>
                    <a:pt x="123" y="88"/>
                  </a:lnTo>
                  <a:lnTo>
                    <a:pt x="123" y="92"/>
                  </a:lnTo>
                  <a:close/>
                  <a:moveTo>
                    <a:pt x="163" y="88"/>
                  </a:moveTo>
                  <a:lnTo>
                    <a:pt x="163" y="84"/>
                  </a:lnTo>
                  <a:lnTo>
                    <a:pt x="167" y="84"/>
                  </a:lnTo>
                  <a:lnTo>
                    <a:pt x="167" y="88"/>
                  </a:lnTo>
                  <a:lnTo>
                    <a:pt x="163" y="88"/>
                  </a:lnTo>
                  <a:close/>
                  <a:moveTo>
                    <a:pt x="155" y="88"/>
                  </a:moveTo>
                  <a:lnTo>
                    <a:pt x="159" y="88"/>
                  </a:lnTo>
                  <a:lnTo>
                    <a:pt x="155" y="88"/>
                  </a:lnTo>
                  <a:close/>
                  <a:moveTo>
                    <a:pt x="143" y="112"/>
                  </a:moveTo>
                  <a:lnTo>
                    <a:pt x="139" y="112"/>
                  </a:lnTo>
                  <a:lnTo>
                    <a:pt x="139" y="108"/>
                  </a:lnTo>
                  <a:lnTo>
                    <a:pt x="143" y="108"/>
                  </a:lnTo>
                  <a:lnTo>
                    <a:pt x="143" y="112"/>
                  </a:lnTo>
                  <a:close/>
                  <a:moveTo>
                    <a:pt x="107" y="148"/>
                  </a:moveTo>
                  <a:lnTo>
                    <a:pt x="111" y="148"/>
                  </a:lnTo>
                  <a:lnTo>
                    <a:pt x="107" y="148"/>
                  </a:lnTo>
                  <a:close/>
                  <a:moveTo>
                    <a:pt x="111" y="160"/>
                  </a:moveTo>
                  <a:lnTo>
                    <a:pt x="111" y="156"/>
                  </a:lnTo>
                  <a:lnTo>
                    <a:pt x="111" y="152"/>
                  </a:lnTo>
                  <a:lnTo>
                    <a:pt x="111" y="148"/>
                  </a:lnTo>
                  <a:lnTo>
                    <a:pt x="115" y="148"/>
                  </a:lnTo>
                  <a:lnTo>
                    <a:pt x="115" y="152"/>
                  </a:lnTo>
                  <a:lnTo>
                    <a:pt x="115" y="156"/>
                  </a:lnTo>
                  <a:lnTo>
                    <a:pt x="111" y="156"/>
                  </a:lnTo>
                  <a:lnTo>
                    <a:pt x="111" y="160"/>
                  </a:lnTo>
                  <a:close/>
                  <a:moveTo>
                    <a:pt x="111" y="164"/>
                  </a:moveTo>
                  <a:lnTo>
                    <a:pt x="107" y="164"/>
                  </a:lnTo>
                  <a:lnTo>
                    <a:pt x="111" y="160"/>
                  </a:lnTo>
                  <a:lnTo>
                    <a:pt x="115" y="160"/>
                  </a:lnTo>
                  <a:lnTo>
                    <a:pt x="115" y="164"/>
                  </a:lnTo>
                  <a:lnTo>
                    <a:pt x="111" y="164"/>
                  </a:lnTo>
                  <a:close/>
                  <a:moveTo>
                    <a:pt x="91" y="168"/>
                  </a:moveTo>
                  <a:lnTo>
                    <a:pt x="95" y="164"/>
                  </a:lnTo>
                  <a:lnTo>
                    <a:pt x="91" y="168"/>
                  </a:lnTo>
                  <a:close/>
                  <a:moveTo>
                    <a:pt x="95" y="168"/>
                  </a:moveTo>
                  <a:lnTo>
                    <a:pt x="91" y="168"/>
                  </a:lnTo>
                  <a:lnTo>
                    <a:pt x="95" y="164"/>
                  </a:lnTo>
                  <a:lnTo>
                    <a:pt x="99" y="168"/>
                  </a:lnTo>
                  <a:lnTo>
                    <a:pt x="95" y="168"/>
                  </a:lnTo>
                  <a:close/>
                  <a:moveTo>
                    <a:pt x="99" y="176"/>
                  </a:moveTo>
                  <a:lnTo>
                    <a:pt x="95" y="176"/>
                  </a:lnTo>
                  <a:lnTo>
                    <a:pt x="95" y="172"/>
                  </a:lnTo>
                  <a:lnTo>
                    <a:pt x="99" y="176"/>
                  </a:lnTo>
                  <a:close/>
                  <a:moveTo>
                    <a:pt x="55" y="208"/>
                  </a:moveTo>
                  <a:lnTo>
                    <a:pt x="55" y="204"/>
                  </a:lnTo>
                  <a:lnTo>
                    <a:pt x="59" y="204"/>
                  </a:lnTo>
                  <a:lnTo>
                    <a:pt x="59" y="208"/>
                  </a:lnTo>
                  <a:lnTo>
                    <a:pt x="55" y="208"/>
                  </a:lnTo>
                  <a:close/>
                  <a:moveTo>
                    <a:pt x="55" y="212"/>
                  </a:moveTo>
                  <a:lnTo>
                    <a:pt x="51" y="208"/>
                  </a:lnTo>
                  <a:lnTo>
                    <a:pt x="55" y="208"/>
                  </a:lnTo>
                  <a:lnTo>
                    <a:pt x="59" y="212"/>
                  </a:lnTo>
                  <a:lnTo>
                    <a:pt x="55" y="212"/>
                  </a:lnTo>
                  <a:close/>
                  <a:moveTo>
                    <a:pt x="47" y="212"/>
                  </a:moveTo>
                  <a:lnTo>
                    <a:pt x="51" y="208"/>
                  </a:lnTo>
                  <a:lnTo>
                    <a:pt x="51" y="212"/>
                  </a:lnTo>
                  <a:lnTo>
                    <a:pt x="47" y="212"/>
                  </a:lnTo>
                  <a:close/>
                  <a:moveTo>
                    <a:pt x="47" y="216"/>
                  </a:moveTo>
                  <a:lnTo>
                    <a:pt x="43" y="216"/>
                  </a:lnTo>
                  <a:lnTo>
                    <a:pt x="43" y="212"/>
                  </a:lnTo>
                  <a:lnTo>
                    <a:pt x="47" y="212"/>
                  </a:lnTo>
                  <a:lnTo>
                    <a:pt x="47" y="216"/>
                  </a:lnTo>
                  <a:close/>
                  <a:moveTo>
                    <a:pt x="43" y="216"/>
                  </a:moveTo>
                  <a:lnTo>
                    <a:pt x="39" y="216"/>
                  </a:lnTo>
                  <a:lnTo>
                    <a:pt x="39" y="212"/>
                  </a:lnTo>
                  <a:lnTo>
                    <a:pt x="43" y="212"/>
                  </a:lnTo>
                  <a:lnTo>
                    <a:pt x="43" y="216"/>
                  </a:lnTo>
                  <a:close/>
                  <a:moveTo>
                    <a:pt x="27" y="224"/>
                  </a:moveTo>
                  <a:lnTo>
                    <a:pt x="31" y="220"/>
                  </a:lnTo>
                  <a:lnTo>
                    <a:pt x="31" y="224"/>
                  </a:lnTo>
                  <a:lnTo>
                    <a:pt x="27" y="224"/>
                  </a:lnTo>
                  <a:close/>
                  <a:moveTo>
                    <a:pt x="23" y="232"/>
                  </a:moveTo>
                  <a:lnTo>
                    <a:pt x="19" y="232"/>
                  </a:lnTo>
                  <a:lnTo>
                    <a:pt x="19" y="228"/>
                  </a:lnTo>
                  <a:lnTo>
                    <a:pt x="23" y="228"/>
                  </a:lnTo>
                  <a:lnTo>
                    <a:pt x="23" y="232"/>
                  </a:lnTo>
                  <a:close/>
                  <a:moveTo>
                    <a:pt x="15" y="236"/>
                  </a:moveTo>
                  <a:lnTo>
                    <a:pt x="15" y="232"/>
                  </a:lnTo>
                  <a:lnTo>
                    <a:pt x="15" y="228"/>
                  </a:lnTo>
                  <a:lnTo>
                    <a:pt x="19" y="228"/>
                  </a:lnTo>
                  <a:lnTo>
                    <a:pt x="19" y="232"/>
                  </a:lnTo>
                  <a:lnTo>
                    <a:pt x="15" y="232"/>
                  </a:lnTo>
                  <a:lnTo>
                    <a:pt x="15" y="236"/>
                  </a:lnTo>
                  <a:close/>
                  <a:moveTo>
                    <a:pt x="11" y="236"/>
                  </a:moveTo>
                  <a:lnTo>
                    <a:pt x="11" y="232"/>
                  </a:lnTo>
                  <a:lnTo>
                    <a:pt x="15" y="232"/>
                  </a:lnTo>
                  <a:lnTo>
                    <a:pt x="15" y="236"/>
                  </a:lnTo>
                  <a:lnTo>
                    <a:pt x="11" y="236"/>
                  </a:lnTo>
                  <a:close/>
                  <a:moveTo>
                    <a:pt x="3" y="247"/>
                  </a:moveTo>
                  <a:lnTo>
                    <a:pt x="3" y="244"/>
                  </a:lnTo>
                  <a:lnTo>
                    <a:pt x="0" y="244"/>
                  </a:lnTo>
                  <a:lnTo>
                    <a:pt x="3" y="244"/>
                  </a:lnTo>
                  <a:lnTo>
                    <a:pt x="7" y="244"/>
                  </a:lnTo>
                  <a:lnTo>
                    <a:pt x="3" y="244"/>
                  </a:lnTo>
                  <a:lnTo>
                    <a:pt x="3" y="247"/>
                  </a:lnTo>
                  <a:close/>
                  <a:moveTo>
                    <a:pt x="0" y="263"/>
                  </a:moveTo>
                  <a:lnTo>
                    <a:pt x="0" y="259"/>
                  </a:lnTo>
                  <a:lnTo>
                    <a:pt x="3" y="259"/>
                  </a:lnTo>
                  <a:lnTo>
                    <a:pt x="3" y="263"/>
                  </a:lnTo>
                  <a:lnTo>
                    <a:pt x="0" y="263"/>
                  </a:lnTo>
                  <a:close/>
                  <a:moveTo>
                    <a:pt x="11" y="279"/>
                  </a:moveTo>
                  <a:lnTo>
                    <a:pt x="7" y="275"/>
                  </a:lnTo>
                  <a:lnTo>
                    <a:pt x="11" y="275"/>
                  </a:lnTo>
                  <a:lnTo>
                    <a:pt x="11" y="271"/>
                  </a:lnTo>
                  <a:lnTo>
                    <a:pt x="15" y="271"/>
                  </a:lnTo>
                  <a:lnTo>
                    <a:pt x="15" y="279"/>
                  </a:lnTo>
                  <a:lnTo>
                    <a:pt x="11" y="279"/>
                  </a:lnTo>
                  <a:close/>
                  <a:moveTo>
                    <a:pt x="315" y="8"/>
                  </a:moveTo>
                  <a:lnTo>
                    <a:pt x="311" y="4"/>
                  </a:lnTo>
                  <a:lnTo>
                    <a:pt x="315" y="4"/>
                  </a:lnTo>
                  <a:lnTo>
                    <a:pt x="311" y="4"/>
                  </a:lnTo>
                  <a:lnTo>
                    <a:pt x="315" y="0"/>
                  </a:lnTo>
                  <a:lnTo>
                    <a:pt x="319" y="0"/>
                  </a:lnTo>
                  <a:lnTo>
                    <a:pt x="323" y="0"/>
                  </a:lnTo>
                  <a:lnTo>
                    <a:pt x="323" y="4"/>
                  </a:lnTo>
                  <a:lnTo>
                    <a:pt x="319" y="4"/>
                  </a:lnTo>
                  <a:lnTo>
                    <a:pt x="323" y="4"/>
                  </a:lnTo>
                  <a:lnTo>
                    <a:pt x="319" y="4"/>
                  </a:lnTo>
                  <a:lnTo>
                    <a:pt x="315" y="8"/>
                  </a:lnTo>
                  <a:close/>
                  <a:moveTo>
                    <a:pt x="291" y="8"/>
                  </a:moveTo>
                  <a:lnTo>
                    <a:pt x="291" y="4"/>
                  </a:lnTo>
                  <a:lnTo>
                    <a:pt x="295" y="4"/>
                  </a:lnTo>
                  <a:lnTo>
                    <a:pt x="295" y="8"/>
                  </a:lnTo>
                  <a:lnTo>
                    <a:pt x="291" y="8"/>
                  </a:lnTo>
                  <a:close/>
                  <a:moveTo>
                    <a:pt x="263" y="20"/>
                  </a:moveTo>
                  <a:lnTo>
                    <a:pt x="263" y="16"/>
                  </a:lnTo>
                  <a:lnTo>
                    <a:pt x="259" y="16"/>
                  </a:lnTo>
                  <a:lnTo>
                    <a:pt x="259" y="12"/>
                  </a:lnTo>
                  <a:lnTo>
                    <a:pt x="263" y="12"/>
                  </a:lnTo>
                  <a:lnTo>
                    <a:pt x="263" y="16"/>
                  </a:lnTo>
                  <a:lnTo>
                    <a:pt x="267" y="12"/>
                  </a:lnTo>
                  <a:lnTo>
                    <a:pt x="271" y="12"/>
                  </a:lnTo>
                  <a:lnTo>
                    <a:pt x="271" y="16"/>
                  </a:lnTo>
                  <a:lnTo>
                    <a:pt x="275" y="16"/>
                  </a:lnTo>
                  <a:lnTo>
                    <a:pt x="275" y="12"/>
                  </a:lnTo>
                  <a:lnTo>
                    <a:pt x="271" y="12"/>
                  </a:lnTo>
                  <a:lnTo>
                    <a:pt x="275" y="12"/>
                  </a:lnTo>
                  <a:lnTo>
                    <a:pt x="279" y="12"/>
                  </a:lnTo>
                  <a:lnTo>
                    <a:pt x="283" y="12"/>
                  </a:lnTo>
                  <a:lnTo>
                    <a:pt x="283" y="8"/>
                  </a:lnTo>
                  <a:lnTo>
                    <a:pt x="279" y="8"/>
                  </a:lnTo>
                  <a:lnTo>
                    <a:pt x="283" y="8"/>
                  </a:lnTo>
                  <a:lnTo>
                    <a:pt x="283" y="12"/>
                  </a:lnTo>
                  <a:lnTo>
                    <a:pt x="279" y="12"/>
                  </a:lnTo>
                  <a:lnTo>
                    <a:pt x="279" y="16"/>
                  </a:lnTo>
                  <a:lnTo>
                    <a:pt x="275" y="16"/>
                  </a:lnTo>
                  <a:lnTo>
                    <a:pt x="271" y="16"/>
                  </a:lnTo>
                  <a:lnTo>
                    <a:pt x="267" y="20"/>
                  </a:lnTo>
                  <a:lnTo>
                    <a:pt x="263" y="16"/>
                  </a:lnTo>
                  <a:lnTo>
                    <a:pt x="263" y="20"/>
                  </a:lnTo>
                  <a:close/>
                  <a:moveTo>
                    <a:pt x="279" y="24"/>
                  </a:moveTo>
                  <a:lnTo>
                    <a:pt x="275" y="20"/>
                  </a:lnTo>
                  <a:lnTo>
                    <a:pt x="279" y="16"/>
                  </a:lnTo>
                  <a:lnTo>
                    <a:pt x="283" y="16"/>
                  </a:lnTo>
                  <a:lnTo>
                    <a:pt x="287" y="16"/>
                  </a:lnTo>
                  <a:lnTo>
                    <a:pt x="287" y="20"/>
                  </a:lnTo>
                  <a:lnTo>
                    <a:pt x="283" y="20"/>
                  </a:lnTo>
                  <a:lnTo>
                    <a:pt x="283" y="24"/>
                  </a:lnTo>
                  <a:lnTo>
                    <a:pt x="279" y="24"/>
                  </a:lnTo>
                  <a:close/>
                  <a:moveTo>
                    <a:pt x="231" y="32"/>
                  </a:moveTo>
                  <a:lnTo>
                    <a:pt x="227" y="32"/>
                  </a:lnTo>
                  <a:lnTo>
                    <a:pt x="227" y="28"/>
                  </a:lnTo>
                  <a:lnTo>
                    <a:pt x="227" y="24"/>
                  </a:lnTo>
                  <a:lnTo>
                    <a:pt x="223" y="24"/>
                  </a:lnTo>
                  <a:lnTo>
                    <a:pt x="227" y="24"/>
                  </a:lnTo>
                  <a:lnTo>
                    <a:pt x="227" y="28"/>
                  </a:lnTo>
                  <a:lnTo>
                    <a:pt x="231" y="28"/>
                  </a:lnTo>
                  <a:lnTo>
                    <a:pt x="231" y="32"/>
                  </a:lnTo>
                  <a:close/>
                  <a:moveTo>
                    <a:pt x="239" y="32"/>
                  </a:moveTo>
                  <a:lnTo>
                    <a:pt x="239" y="28"/>
                  </a:lnTo>
                  <a:lnTo>
                    <a:pt x="239" y="32"/>
                  </a:lnTo>
                  <a:lnTo>
                    <a:pt x="239" y="28"/>
                  </a:lnTo>
                  <a:lnTo>
                    <a:pt x="235" y="28"/>
                  </a:lnTo>
                  <a:lnTo>
                    <a:pt x="239" y="28"/>
                  </a:lnTo>
                  <a:lnTo>
                    <a:pt x="239" y="24"/>
                  </a:lnTo>
                  <a:lnTo>
                    <a:pt x="243" y="24"/>
                  </a:lnTo>
                  <a:lnTo>
                    <a:pt x="243" y="28"/>
                  </a:lnTo>
                  <a:lnTo>
                    <a:pt x="243" y="32"/>
                  </a:lnTo>
                  <a:lnTo>
                    <a:pt x="239" y="32"/>
                  </a:lnTo>
                  <a:close/>
                  <a:moveTo>
                    <a:pt x="223" y="28"/>
                  </a:moveTo>
                  <a:lnTo>
                    <a:pt x="219" y="28"/>
                  </a:lnTo>
                  <a:lnTo>
                    <a:pt x="223" y="28"/>
                  </a:lnTo>
                  <a:close/>
                  <a:moveTo>
                    <a:pt x="219" y="36"/>
                  </a:moveTo>
                  <a:lnTo>
                    <a:pt x="215" y="36"/>
                  </a:lnTo>
                  <a:lnTo>
                    <a:pt x="211" y="36"/>
                  </a:lnTo>
                  <a:lnTo>
                    <a:pt x="211" y="32"/>
                  </a:lnTo>
                  <a:lnTo>
                    <a:pt x="215" y="32"/>
                  </a:lnTo>
                  <a:lnTo>
                    <a:pt x="219" y="32"/>
                  </a:lnTo>
                  <a:lnTo>
                    <a:pt x="219" y="28"/>
                  </a:lnTo>
                  <a:lnTo>
                    <a:pt x="219" y="32"/>
                  </a:lnTo>
                  <a:lnTo>
                    <a:pt x="223" y="32"/>
                  </a:lnTo>
                  <a:lnTo>
                    <a:pt x="227" y="32"/>
                  </a:lnTo>
                  <a:lnTo>
                    <a:pt x="223" y="36"/>
                  </a:lnTo>
                  <a:lnTo>
                    <a:pt x="219" y="36"/>
                  </a:lnTo>
                  <a:close/>
                  <a:moveTo>
                    <a:pt x="207" y="40"/>
                  </a:moveTo>
                  <a:lnTo>
                    <a:pt x="211" y="40"/>
                  </a:lnTo>
                  <a:lnTo>
                    <a:pt x="207" y="40"/>
                  </a:lnTo>
                  <a:lnTo>
                    <a:pt x="207" y="36"/>
                  </a:lnTo>
                  <a:lnTo>
                    <a:pt x="207" y="40"/>
                  </a:lnTo>
                  <a:lnTo>
                    <a:pt x="211" y="40"/>
                  </a:lnTo>
                  <a:lnTo>
                    <a:pt x="211" y="36"/>
                  </a:lnTo>
                  <a:lnTo>
                    <a:pt x="215" y="36"/>
                  </a:lnTo>
                  <a:lnTo>
                    <a:pt x="215" y="40"/>
                  </a:lnTo>
                  <a:lnTo>
                    <a:pt x="211" y="40"/>
                  </a:lnTo>
                  <a:lnTo>
                    <a:pt x="211" y="44"/>
                  </a:lnTo>
                  <a:lnTo>
                    <a:pt x="215" y="44"/>
                  </a:lnTo>
                  <a:lnTo>
                    <a:pt x="211" y="44"/>
                  </a:lnTo>
                  <a:lnTo>
                    <a:pt x="207" y="44"/>
                  </a:lnTo>
                  <a:lnTo>
                    <a:pt x="203" y="44"/>
                  </a:lnTo>
                  <a:lnTo>
                    <a:pt x="199" y="44"/>
                  </a:lnTo>
                  <a:lnTo>
                    <a:pt x="203" y="40"/>
                  </a:lnTo>
                  <a:lnTo>
                    <a:pt x="203" y="44"/>
                  </a:lnTo>
                  <a:lnTo>
                    <a:pt x="203" y="40"/>
                  </a:lnTo>
                  <a:lnTo>
                    <a:pt x="207" y="40"/>
                  </a:lnTo>
                  <a:close/>
                  <a:moveTo>
                    <a:pt x="183" y="52"/>
                  </a:moveTo>
                  <a:lnTo>
                    <a:pt x="187" y="52"/>
                  </a:lnTo>
                  <a:lnTo>
                    <a:pt x="183" y="52"/>
                  </a:lnTo>
                  <a:lnTo>
                    <a:pt x="187" y="52"/>
                  </a:lnTo>
                  <a:lnTo>
                    <a:pt x="187" y="48"/>
                  </a:lnTo>
                  <a:lnTo>
                    <a:pt x="183" y="48"/>
                  </a:lnTo>
                  <a:lnTo>
                    <a:pt x="187" y="48"/>
                  </a:lnTo>
                  <a:lnTo>
                    <a:pt x="191" y="48"/>
                  </a:lnTo>
                  <a:lnTo>
                    <a:pt x="187" y="48"/>
                  </a:lnTo>
                  <a:lnTo>
                    <a:pt x="187" y="44"/>
                  </a:lnTo>
                  <a:lnTo>
                    <a:pt x="191" y="48"/>
                  </a:lnTo>
                  <a:lnTo>
                    <a:pt x="191" y="44"/>
                  </a:lnTo>
                  <a:lnTo>
                    <a:pt x="195" y="44"/>
                  </a:lnTo>
                  <a:lnTo>
                    <a:pt x="195" y="48"/>
                  </a:lnTo>
                  <a:lnTo>
                    <a:pt x="195" y="44"/>
                  </a:lnTo>
                  <a:lnTo>
                    <a:pt x="191" y="44"/>
                  </a:lnTo>
                  <a:lnTo>
                    <a:pt x="195" y="44"/>
                  </a:lnTo>
                  <a:lnTo>
                    <a:pt x="199" y="44"/>
                  </a:lnTo>
                  <a:lnTo>
                    <a:pt x="203" y="48"/>
                  </a:lnTo>
                  <a:lnTo>
                    <a:pt x="199" y="48"/>
                  </a:lnTo>
                  <a:lnTo>
                    <a:pt x="199" y="52"/>
                  </a:lnTo>
                  <a:lnTo>
                    <a:pt x="199" y="56"/>
                  </a:lnTo>
                  <a:lnTo>
                    <a:pt x="195" y="56"/>
                  </a:lnTo>
                  <a:lnTo>
                    <a:pt x="191" y="52"/>
                  </a:lnTo>
                  <a:lnTo>
                    <a:pt x="191" y="56"/>
                  </a:lnTo>
                  <a:lnTo>
                    <a:pt x="187" y="56"/>
                  </a:lnTo>
                  <a:lnTo>
                    <a:pt x="187" y="60"/>
                  </a:lnTo>
                  <a:lnTo>
                    <a:pt x="187" y="56"/>
                  </a:lnTo>
                  <a:lnTo>
                    <a:pt x="183" y="56"/>
                  </a:lnTo>
                  <a:lnTo>
                    <a:pt x="187" y="56"/>
                  </a:lnTo>
                  <a:lnTo>
                    <a:pt x="187" y="52"/>
                  </a:lnTo>
                  <a:lnTo>
                    <a:pt x="187" y="56"/>
                  </a:lnTo>
                  <a:lnTo>
                    <a:pt x="183" y="52"/>
                  </a:lnTo>
                  <a:close/>
                  <a:moveTo>
                    <a:pt x="163" y="64"/>
                  </a:moveTo>
                  <a:lnTo>
                    <a:pt x="163" y="60"/>
                  </a:lnTo>
                  <a:lnTo>
                    <a:pt x="163" y="56"/>
                  </a:lnTo>
                  <a:lnTo>
                    <a:pt x="167" y="56"/>
                  </a:lnTo>
                  <a:lnTo>
                    <a:pt x="167" y="52"/>
                  </a:lnTo>
                  <a:lnTo>
                    <a:pt x="171" y="52"/>
                  </a:lnTo>
                  <a:lnTo>
                    <a:pt x="171" y="56"/>
                  </a:lnTo>
                  <a:lnTo>
                    <a:pt x="167" y="56"/>
                  </a:lnTo>
                  <a:lnTo>
                    <a:pt x="167" y="60"/>
                  </a:lnTo>
                  <a:lnTo>
                    <a:pt x="163" y="60"/>
                  </a:lnTo>
                  <a:lnTo>
                    <a:pt x="163" y="64"/>
                  </a:lnTo>
                  <a:close/>
                  <a:moveTo>
                    <a:pt x="147" y="68"/>
                  </a:moveTo>
                  <a:lnTo>
                    <a:pt x="147" y="64"/>
                  </a:lnTo>
                  <a:lnTo>
                    <a:pt x="151" y="64"/>
                  </a:lnTo>
                  <a:lnTo>
                    <a:pt x="155" y="64"/>
                  </a:lnTo>
                  <a:lnTo>
                    <a:pt x="159" y="64"/>
                  </a:lnTo>
                  <a:lnTo>
                    <a:pt x="155" y="64"/>
                  </a:lnTo>
                  <a:lnTo>
                    <a:pt x="155" y="60"/>
                  </a:lnTo>
                  <a:lnTo>
                    <a:pt x="159" y="60"/>
                  </a:lnTo>
                  <a:lnTo>
                    <a:pt x="159" y="64"/>
                  </a:lnTo>
                  <a:lnTo>
                    <a:pt x="159" y="68"/>
                  </a:lnTo>
                  <a:lnTo>
                    <a:pt x="155" y="72"/>
                  </a:lnTo>
                  <a:lnTo>
                    <a:pt x="151" y="72"/>
                  </a:lnTo>
                  <a:lnTo>
                    <a:pt x="151" y="68"/>
                  </a:lnTo>
                  <a:lnTo>
                    <a:pt x="155" y="68"/>
                  </a:lnTo>
                  <a:lnTo>
                    <a:pt x="159" y="68"/>
                  </a:lnTo>
                  <a:lnTo>
                    <a:pt x="155" y="64"/>
                  </a:lnTo>
                  <a:lnTo>
                    <a:pt x="155" y="68"/>
                  </a:lnTo>
                  <a:lnTo>
                    <a:pt x="151" y="68"/>
                  </a:lnTo>
                  <a:lnTo>
                    <a:pt x="147" y="68"/>
                  </a:lnTo>
                  <a:close/>
                  <a:moveTo>
                    <a:pt x="179" y="72"/>
                  </a:moveTo>
                  <a:lnTo>
                    <a:pt x="175" y="72"/>
                  </a:lnTo>
                  <a:lnTo>
                    <a:pt x="171" y="72"/>
                  </a:lnTo>
                  <a:lnTo>
                    <a:pt x="171" y="76"/>
                  </a:lnTo>
                  <a:lnTo>
                    <a:pt x="167" y="76"/>
                  </a:lnTo>
                  <a:lnTo>
                    <a:pt x="163" y="76"/>
                  </a:lnTo>
                  <a:lnTo>
                    <a:pt x="159" y="76"/>
                  </a:lnTo>
                  <a:lnTo>
                    <a:pt x="163" y="76"/>
                  </a:lnTo>
                  <a:lnTo>
                    <a:pt x="163" y="72"/>
                  </a:lnTo>
                  <a:lnTo>
                    <a:pt x="163" y="76"/>
                  </a:lnTo>
                  <a:lnTo>
                    <a:pt x="159" y="76"/>
                  </a:lnTo>
                  <a:lnTo>
                    <a:pt x="155" y="80"/>
                  </a:lnTo>
                  <a:lnTo>
                    <a:pt x="155" y="76"/>
                  </a:lnTo>
                  <a:lnTo>
                    <a:pt x="159" y="72"/>
                  </a:lnTo>
                  <a:lnTo>
                    <a:pt x="163" y="68"/>
                  </a:lnTo>
                  <a:lnTo>
                    <a:pt x="167" y="68"/>
                  </a:lnTo>
                  <a:lnTo>
                    <a:pt x="163" y="68"/>
                  </a:lnTo>
                  <a:lnTo>
                    <a:pt x="163" y="64"/>
                  </a:lnTo>
                  <a:lnTo>
                    <a:pt x="163" y="68"/>
                  </a:lnTo>
                  <a:lnTo>
                    <a:pt x="163" y="64"/>
                  </a:lnTo>
                  <a:lnTo>
                    <a:pt x="163" y="60"/>
                  </a:lnTo>
                  <a:lnTo>
                    <a:pt x="167" y="60"/>
                  </a:lnTo>
                  <a:lnTo>
                    <a:pt x="167" y="64"/>
                  </a:lnTo>
                  <a:lnTo>
                    <a:pt x="171" y="64"/>
                  </a:lnTo>
                  <a:lnTo>
                    <a:pt x="171" y="68"/>
                  </a:lnTo>
                  <a:lnTo>
                    <a:pt x="167" y="68"/>
                  </a:lnTo>
                  <a:lnTo>
                    <a:pt x="167" y="72"/>
                  </a:lnTo>
                  <a:lnTo>
                    <a:pt x="167" y="68"/>
                  </a:lnTo>
                  <a:lnTo>
                    <a:pt x="171" y="68"/>
                  </a:lnTo>
                  <a:lnTo>
                    <a:pt x="171" y="64"/>
                  </a:lnTo>
                  <a:lnTo>
                    <a:pt x="175" y="64"/>
                  </a:lnTo>
                  <a:lnTo>
                    <a:pt x="179" y="64"/>
                  </a:lnTo>
                  <a:lnTo>
                    <a:pt x="179" y="68"/>
                  </a:lnTo>
                  <a:lnTo>
                    <a:pt x="179" y="72"/>
                  </a:lnTo>
                  <a:close/>
                  <a:moveTo>
                    <a:pt x="143" y="80"/>
                  </a:moveTo>
                  <a:lnTo>
                    <a:pt x="143" y="76"/>
                  </a:lnTo>
                  <a:lnTo>
                    <a:pt x="147" y="76"/>
                  </a:lnTo>
                  <a:lnTo>
                    <a:pt x="151" y="76"/>
                  </a:lnTo>
                  <a:lnTo>
                    <a:pt x="155" y="76"/>
                  </a:lnTo>
                  <a:lnTo>
                    <a:pt x="155" y="72"/>
                  </a:lnTo>
                  <a:lnTo>
                    <a:pt x="159" y="72"/>
                  </a:lnTo>
                  <a:lnTo>
                    <a:pt x="155" y="76"/>
                  </a:lnTo>
                  <a:lnTo>
                    <a:pt x="151" y="80"/>
                  </a:lnTo>
                  <a:lnTo>
                    <a:pt x="147" y="80"/>
                  </a:lnTo>
                  <a:lnTo>
                    <a:pt x="143" y="80"/>
                  </a:lnTo>
                  <a:close/>
                  <a:moveTo>
                    <a:pt x="131" y="84"/>
                  </a:moveTo>
                  <a:lnTo>
                    <a:pt x="131" y="80"/>
                  </a:lnTo>
                  <a:lnTo>
                    <a:pt x="135" y="80"/>
                  </a:lnTo>
                  <a:lnTo>
                    <a:pt x="139" y="80"/>
                  </a:lnTo>
                  <a:lnTo>
                    <a:pt x="143" y="80"/>
                  </a:lnTo>
                  <a:lnTo>
                    <a:pt x="139" y="80"/>
                  </a:lnTo>
                  <a:lnTo>
                    <a:pt x="139" y="84"/>
                  </a:lnTo>
                  <a:lnTo>
                    <a:pt x="135" y="84"/>
                  </a:lnTo>
                  <a:lnTo>
                    <a:pt x="131" y="84"/>
                  </a:lnTo>
                  <a:close/>
                  <a:moveTo>
                    <a:pt x="115" y="140"/>
                  </a:moveTo>
                  <a:lnTo>
                    <a:pt x="115" y="136"/>
                  </a:lnTo>
                  <a:lnTo>
                    <a:pt x="115" y="132"/>
                  </a:lnTo>
                  <a:lnTo>
                    <a:pt x="119" y="132"/>
                  </a:lnTo>
                  <a:lnTo>
                    <a:pt x="119" y="136"/>
                  </a:lnTo>
                  <a:lnTo>
                    <a:pt x="115" y="136"/>
                  </a:lnTo>
                  <a:lnTo>
                    <a:pt x="115" y="140"/>
                  </a:lnTo>
                  <a:close/>
                  <a:moveTo>
                    <a:pt x="115" y="140"/>
                  </a:moveTo>
                  <a:lnTo>
                    <a:pt x="119" y="140"/>
                  </a:lnTo>
                  <a:lnTo>
                    <a:pt x="119" y="136"/>
                  </a:lnTo>
                  <a:lnTo>
                    <a:pt x="123" y="136"/>
                  </a:lnTo>
                  <a:lnTo>
                    <a:pt x="123" y="140"/>
                  </a:lnTo>
                  <a:lnTo>
                    <a:pt x="119" y="140"/>
                  </a:lnTo>
                  <a:lnTo>
                    <a:pt x="115" y="140"/>
                  </a:lnTo>
                  <a:close/>
                  <a:moveTo>
                    <a:pt x="55" y="200"/>
                  </a:moveTo>
                  <a:lnTo>
                    <a:pt x="51" y="200"/>
                  </a:lnTo>
                  <a:lnTo>
                    <a:pt x="51" y="196"/>
                  </a:lnTo>
                  <a:lnTo>
                    <a:pt x="55" y="196"/>
                  </a:lnTo>
                  <a:lnTo>
                    <a:pt x="59" y="196"/>
                  </a:lnTo>
                  <a:lnTo>
                    <a:pt x="63" y="196"/>
                  </a:lnTo>
                  <a:lnTo>
                    <a:pt x="59" y="196"/>
                  </a:lnTo>
                  <a:lnTo>
                    <a:pt x="59" y="200"/>
                  </a:lnTo>
                  <a:lnTo>
                    <a:pt x="55" y="200"/>
                  </a:lnTo>
                  <a:close/>
                  <a:moveTo>
                    <a:pt x="55" y="204"/>
                  </a:moveTo>
                  <a:lnTo>
                    <a:pt x="51" y="204"/>
                  </a:lnTo>
                  <a:lnTo>
                    <a:pt x="55" y="204"/>
                  </a:lnTo>
                  <a:lnTo>
                    <a:pt x="55" y="200"/>
                  </a:lnTo>
                  <a:lnTo>
                    <a:pt x="59" y="200"/>
                  </a:lnTo>
                  <a:lnTo>
                    <a:pt x="63" y="200"/>
                  </a:lnTo>
                  <a:lnTo>
                    <a:pt x="67" y="200"/>
                  </a:lnTo>
                  <a:lnTo>
                    <a:pt x="63" y="200"/>
                  </a:lnTo>
                  <a:lnTo>
                    <a:pt x="63" y="204"/>
                  </a:lnTo>
                  <a:lnTo>
                    <a:pt x="59" y="204"/>
                  </a:lnTo>
                  <a:lnTo>
                    <a:pt x="55" y="204"/>
                  </a:lnTo>
                  <a:close/>
                  <a:moveTo>
                    <a:pt x="47" y="208"/>
                  </a:moveTo>
                  <a:lnTo>
                    <a:pt x="47" y="204"/>
                  </a:lnTo>
                  <a:lnTo>
                    <a:pt x="51" y="204"/>
                  </a:lnTo>
                  <a:lnTo>
                    <a:pt x="51" y="208"/>
                  </a:lnTo>
                  <a:lnTo>
                    <a:pt x="47" y="208"/>
                  </a:lnTo>
                  <a:close/>
                  <a:moveTo>
                    <a:pt x="7" y="275"/>
                  </a:moveTo>
                  <a:lnTo>
                    <a:pt x="3" y="275"/>
                  </a:lnTo>
                  <a:lnTo>
                    <a:pt x="3" y="271"/>
                  </a:lnTo>
                  <a:lnTo>
                    <a:pt x="0" y="271"/>
                  </a:lnTo>
                  <a:lnTo>
                    <a:pt x="3" y="271"/>
                  </a:lnTo>
                  <a:lnTo>
                    <a:pt x="3" y="275"/>
                  </a:lnTo>
                  <a:lnTo>
                    <a:pt x="7" y="275"/>
                  </a:lnTo>
                  <a:close/>
                  <a:moveTo>
                    <a:pt x="7" y="275"/>
                  </a:moveTo>
                  <a:lnTo>
                    <a:pt x="3" y="275"/>
                  </a:lnTo>
                  <a:lnTo>
                    <a:pt x="7" y="275"/>
                  </a:lnTo>
                  <a:close/>
                  <a:moveTo>
                    <a:pt x="7" y="279"/>
                  </a:moveTo>
                  <a:lnTo>
                    <a:pt x="3" y="279"/>
                  </a:lnTo>
                  <a:lnTo>
                    <a:pt x="3" y="275"/>
                  </a:lnTo>
                  <a:lnTo>
                    <a:pt x="7" y="275"/>
                  </a:lnTo>
                  <a:lnTo>
                    <a:pt x="7" y="279"/>
                  </a:lnTo>
                  <a:close/>
                  <a:moveTo>
                    <a:pt x="3" y="283"/>
                  </a:moveTo>
                  <a:lnTo>
                    <a:pt x="3" y="279"/>
                  </a:lnTo>
                  <a:lnTo>
                    <a:pt x="3" y="283"/>
                  </a:lnTo>
                  <a:close/>
                  <a:moveTo>
                    <a:pt x="11" y="291"/>
                  </a:moveTo>
                  <a:lnTo>
                    <a:pt x="7" y="291"/>
                  </a:lnTo>
                  <a:lnTo>
                    <a:pt x="11" y="287"/>
                  </a:lnTo>
                  <a:lnTo>
                    <a:pt x="11" y="291"/>
                  </a:lnTo>
                  <a:close/>
                  <a:moveTo>
                    <a:pt x="7" y="295"/>
                  </a:moveTo>
                  <a:lnTo>
                    <a:pt x="7" y="291"/>
                  </a:lnTo>
                  <a:lnTo>
                    <a:pt x="11" y="291"/>
                  </a:lnTo>
                  <a:lnTo>
                    <a:pt x="11" y="295"/>
                  </a:lnTo>
                  <a:lnTo>
                    <a:pt x="7" y="295"/>
                  </a:lnTo>
                  <a:close/>
                  <a:moveTo>
                    <a:pt x="7" y="299"/>
                  </a:moveTo>
                  <a:lnTo>
                    <a:pt x="3" y="299"/>
                  </a:lnTo>
                  <a:lnTo>
                    <a:pt x="3" y="295"/>
                  </a:lnTo>
                  <a:lnTo>
                    <a:pt x="3" y="291"/>
                  </a:lnTo>
                  <a:lnTo>
                    <a:pt x="7" y="291"/>
                  </a:lnTo>
                  <a:lnTo>
                    <a:pt x="7" y="295"/>
                  </a:lnTo>
                  <a:lnTo>
                    <a:pt x="7" y="299"/>
                  </a:lnTo>
                  <a:close/>
                  <a:moveTo>
                    <a:pt x="7" y="311"/>
                  </a:moveTo>
                  <a:lnTo>
                    <a:pt x="3" y="307"/>
                  </a:lnTo>
                  <a:lnTo>
                    <a:pt x="7" y="307"/>
                  </a:lnTo>
                  <a:lnTo>
                    <a:pt x="7" y="303"/>
                  </a:lnTo>
                  <a:lnTo>
                    <a:pt x="7" y="307"/>
                  </a:lnTo>
                  <a:lnTo>
                    <a:pt x="7" y="31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0" name="Freeform 107"/>
            <p:cNvSpPr>
              <a:spLocks/>
            </p:cNvSpPr>
            <p:nvPr>
              <p:custDataLst>
                <p:tags r:id="rId302"/>
              </p:custDataLst>
            </p:nvPr>
          </p:nvSpPr>
          <p:spPr bwMode="gray">
            <a:xfrm>
              <a:off x="4694920" y="2982381"/>
              <a:ext cx="225426" cy="195764"/>
            </a:xfrm>
            <a:custGeom>
              <a:avLst/>
              <a:gdLst/>
              <a:ahLst/>
              <a:cxnLst>
                <a:cxn ang="0">
                  <a:pos x="128" y="128"/>
                </a:cxn>
                <a:cxn ang="0">
                  <a:pos x="124" y="132"/>
                </a:cxn>
                <a:cxn ang="0">
                  <a:pos x="112" y="124"/>
                </a:cxn>
                <a:cxn ang="0">
                  <a:pos x="104" y="128"/>
                </a:cxn>
                <a:cxn ang="0">
                  <a:pos x="96" y="124"/>
                </a:cxn>
                <a:cxn ang="0">
                  <a:pos x="84" y="128"/>
                </a:cxn>
                <a:cxn ang="0">
                  <a:pos x="80" y="120"/>
                </a:cxn>
                <a:cxn ang="0">
                  <a:pos x="72" y="124"/>
                </a:cxn>
                <a:cxn ang="0">
                  <a:pos x="68" y="116"/>
                </a:cxn>
                <a:cxn ang="0">
                  <a:pos x="60" y="112"/>
                </a:cxn>
                <a:cxn ang="0">
                  <a:pos x="52" y="108"/>
                </a:cxn>
                <a:cxn ang="0">
                  <a:pos x="44" y="104"/>
                </a:cxn>
                <a:cxn ang="0">
                  <a:pos x="40" y="104"/>
                </a:cxn>
                <a:cxn ang="0">
                  <a:pos x="40" y="108"/>
                </a:cxn>
                <a:cxn ang="0">
                  <a:pos x="32" y="104"/>
                </a:cxn>
                <a:cxn ang="0">
                  <a:pos x="28" y="96"/>
                </a:cxn>
                <a:cxn ang="0">
                  <a:pos x="16" y="92"/>
                </a:cxn>
                <a:cxn ang="0">
                  <a:pos x="12" y="92"/>
                </a:cxn>
                <a:cxn ang="0">
                  <a:pos x="12" y="84"/>
                </a:cxn>
                <a:cxn ang="0">
                  <a:pos x="8" y="76"/>
                </a:cxn>
                <a:cxn ang="0">
                  <a:pos x="8" y="68"/>
                </a:cxn>
                <a:cxn ang="0">
                  <a:pos x="4" y="60"/>
                </a:cxn>
                <a:cxn ang="0">
                  <a:pos x="8" y="52"/>
                </a:cxn>
                <a:cxn ang="0">
                  <a:pos x="0" y="48"/>
                </a:cxn>
                <a:cxn ang="0">
                  <a:pos x="4" y="36"/>
                </a:cxn>
                <a:cxn ang="0">
                  <a:pos x="4" y="28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16" y="16"/>
                </a:cxn>
                <a:cxn ang="0">
                  <a:pos x="28" y="16"/>
                </a:cxn>
                <a:cxn ang="0">
                  <a:pos x="36" y="8"/>
                </a:cxn>
                <a:cxn ang="0">
                  <a:pos x="48" y="4"/>
                </a:cxn>
                <a:cxn ang="0">
                  <a:pos x="56" y="0"/>
                </a:cxn>
                <a:cxn ang="0">
                  <a:pos x="68" y="4"/>
                </a:cxn>
                <a:cxn ang="0">
                  <a:pos x="64" y="4"/>
                </a:cxn>
                <a:cxn ang="0">
                  <a:pos x="72" y="12"/>
                </a:cxn>
                <a:cxn ang="0">
                  <a:pos x="80" y="8"/>
                </a:cxn>
                <a:cxn ang="0">
                  <a:pos x="80" y="12"/>
                </a:cxn>
                <a:cxn ang="0">
                  <a:pos x="84" y="12"/>
                </a:cxn>
                <a:cxn ang="0">
                  <a:pos x="96" y="12"/>
                </a:cxn>
                <a:cxn ang="0">
                  <a:pos x="108" y="12"/>
                </a:cxn>
                <a:cxn ang="0">
                  <a:pos x="120" y="12"/>
                </a:cxn>
                <a:cxn ang="0">
                  <a:pos x="132" y="12"/>
                </a:cxn>
                <a:cxn ang="0">
                  <a:pos x="140" y="20"/>
                </a:cxn>
                <a:cxn ang="0">
                  <a:pos x="144" y="28"/>
                </a:cxn>
                <a:cxn ang="0">
                  <a:pos x="148" y="40"/>
                </a:cxn>
                <a:cxn ang="0">
                  <a:pos x="148" y="52"/>
                </a:cxn>
                <a:cxn ang="0">
                  <a:pos x="140" y="56"/>
                </a:cxn>
                <a:cxn ang="0">
                  <a:pos x="140" y="60"/>
                </a:cxn>
                <a:cxn ang="0">
                  <a:pos x="140" y="72"/>
                </a:cxn>
                <a:cxn ang="0">
                  <a:pos x="144" y="80"/>
                </a:cxn>
                <a:cxn ang="0">
                  <a:pos x="148" y="92"/>
                </a:cxn>
                <a:cxn ang="0">
                  <a:pos x="148" y="96"/>
                </a:cxn>
                <a:cxn ang="0">
                  <a:pos x="144" y="100"/>
                </a:cxn>
                <a:cxn ang="0">
                  <a:pos x="140" y="108"/>
                </a:cxn>
                <a:cxn ang="0">
                  <a:pos x="128" y="120"/>
                </a:cxn>
              </a:cxnLst>
              <a:rect l="0" t="0" r="r" b="b"/>
              <a:pathLst>
                <a:path w="152" h="132">
                  <a:moveTo>
                    <a:pt x="128" y="120"/>
                  </a:moveTo>
                  <a:lnTo>
                    <a:pt x="128" y="124"/>
                  </a:lnTo>
                  <a:lnTo>
                    <a:pt x="128" y="128"/>
                  </a:lnTo>
                  <a:lnTo>
                    <a:pt x="132" y="132"/>
                  </a:lnTo>
                  <a:lnTo>
                    <a:pt x="128" y="132"/>
                  </a:lnTo>
                  <a:lnTo>
                    <a:pt x="124" y="132"/>
                  </a:lnTo>
                  <a:lnTo>
                    <a:pt x="120" y="128"/>
                  </a:lnTo>
                  <a:lnTo>
                    <a:pt x="116" y="124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4" y="124"/>
                  </a:lnTo>
                  <a:lnTo>
                    <a:pt x="104" y="128"/>
                  </a:lnTo>
                  <a:lnTo>
                    <a:pt x="100" y="128"/>
                  </a:lnTo>
                  <a:lnTo>
                    <a:pt x="100" y="124"/>
                  </a:lnTo>
                  <a:lnTo>
                    <a:pt x="96" y="124"/>
                  </a:lnTo>
                  <a:lnTo>
                    <a:pt x="92" y="124"/>
                  </a:lnTo>
                  <a:lnTo>
                    <a:pt x="88" y="128"/>
                  </a:lnTo>
                  <a:lnTo>
                    <a:pt x="84" y="128"/>
                  </a:lnTo>
                  <a:lnTo>
                    <a:pt x="84" y="124"/>
                  </a:lnTo>
                  <a:lnTo>
                    <a:pt x="80" y="124"/>
                  </a:lnTo>
                  <a:lnTo>
                    <a:pt x="80" y="120"/>
                  </a:lnTo>
                  <a:lnTo>
                    <a:pt x="76" y="120"/>
                  </a:lnTo>
                  <a:lnTo>
                    <a:pt x="76" y="124"/>
                  </a:lnTo>
                  <a:lnTo>
                    <a:pt x="72" y="124"/>
                  </a:lnTo>
                  <a:lnTo>
                    <a:pt x="72" y="120"/>
                  </a:lnTo>
                  <a:lnTo>
                    <a:pt x="68" y="120"/>
                  </a:lnTo>
                  <a:lnTo>
                    <a:pt x="68" y="116"/>
                  </a:lnTo>
                  <a:lnTo>
                    <a:pt x="68" y="112"/>
                  </a:lnTo>
                  <a:lnTo>
                    <a:pt x="64" y="112"/>
                  </a:lnTo>
                  <a:lnTo>
                    <a:pt x="60" y="112"/>
                  </a:lnTo>
                  <a:lnTo>
                    <a:pt x="60" y="108"/>
                  </a:lnTo>
                  <a:lnTo>
                    <a:pt x="56" y="112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4" y="100"/>
                  </a:lnTo>
                  <a:lnTo>
                    <a:pt x="40" y="100"/>
                  </a:lnTo>
                  <a:lnTo>
                    <a:pt x="40" y="104"/>
                  </a:lnTo>
                  <a:lnTo>
                    <a:pt x="44" y="108"/>
                  </a:lnTo>
                  <a:lnTo>
                    <a:pt x="40" y="104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4"/>
                  </a:lnTo>
                  <a:lnTo>
                    <a:pt x="32" y="104"/>
                  </a:lnTo>
                  <a:lnTo>
                    <a:pt x="32" y="100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92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92"/>
                  </a:lnTo>
                  <a:lnTo>
                    <a:pt x="8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4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4" y="12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2"/>
                  </a:lnTo>
                  <a:lnTo>
                    <a:pt x="140" y="16"/>
                  </a:lnTo>
                  <a:lnTo>
                    <a:pt x="140" y="20"/>
                  </a:lnTo>
                  <a:lnTo>
                    <a:pt x="140" y="24"/>
                  </a:lnTo>
                  <a:lnTo>
                    <a:pt x="140" y="28"/>
                  </a:lnTo>
                  <a:lnTo>
                    <a:pt x="144" y="28"/>
                  </a:lnTo>
                  <a:lnTo>
                    <a:pt x="144" y="32"/>
                  </a:lnTo>
                  <a:lnTo>
                    <a:pt x="144" y="36"/>
                  </a:lnTo>
                  <a:lnTo>
                    <a:pt x="148" y="40"/>
                  </a:lnTo>
                  <a:lnTo>
                    <a:pt x="148" y="44"/>
                  </a:lnTo>
                  <a:lnTo>
                    <a:pt x="148" y="48"/>
                  </a:lnTo>
                  <a:lnTo>
                    <a:pt x="148" y="52"/>
                  </a:lnTo>
                  <a:lnTo>
                    <a:pt x="144" y="52"/>
                  </a:lnTo>
                  <a:lnTo>
                    <a:pt x="140" y="52"/>
                  </a:lnTo>
                  <a:lnTo>
                    <a:pt x="140" y="56"/>
                  </a:lnTo>
                  <a:lnTo>
                    <a:pt x="136" y="56"/>
                  </a:lnTo>
                  <a:lnTo>
                    <a:pt x="136" y="60"/>
                  </a:lnTo>
                  <a:lnTo>
                    <a:pt x="140" y="60"/>
                  </a:lnTo>
                  <a:lnTo>
                    <a:pt x="144" y="64"/>
                  </a:lnTo>
                  <a:lnTo>
                    <a:pt x="144" y="68"/>
                  </a:lnTo>
                  <a:lnTo>
                    <a:pt x="140" y="72"/>
                  </a:lnTo>
                  <a:lnTo>
                    <a:pt x="140" y="76"/>
                  </a:lnTo>
                  <a:lnTo>
                    <a:pt x="144" y="76"/>
                  </a:lnTo>
                  <a:lnTo>
                    <a:pt x="144" y="80"/>
                  </a:lnTo>
                  <a:lnTo>
                    <a:pt x="144" y="84"/>
                  </a:lnTo>
                  <a:lnTo>
                    <a:pt x="148" y="88"/>
                  </a:lnTo>
                  <a:lnTo>
                    <a:pt x="148" y="92"/>
                  </a:lnTo>
                  <a:lnTo>
                    <a:pt x="152" y="92"/>
                  </a:lnTo>
                  <a:lnTo>
                    <a:pt x="148" y="92"/>
                  </a:lnTo>
                  <a:lnTo>
                    <a:pt x="148" y="96"/>
                  </a:lnTo>
                  <a:lnTo>
                    <a:pt x="152" y="100"/>
                  </a:lnTo>
                  <a:lnTo>
                    <a:pt x="148" y="100"/>
                  </a:lnTo>
                  <a:lnTo>
                    <a:pt x="144" y="100"/>
                  </a:lnTo>
                  <a:lnTo>
                    <a:pt x="144" y="104"/>
                  </a:lnTo>
                  <a:lnTo>
                    <a:pt x="140" y="104"/>
                  </a:lnTo>
                  <a:lnTo>
                    <a:pt x="140" y="108"/>
                  </a:lnTo>
                  <a:lnTo>
                    <a:pt x="136" y="108"/>
                  </a:lnTo>
                  <a:lnTo>
                    <a:pt x="136" y="112"/>
                  </a:lnTo>
                  <a:lnTo>
                    <a:pt x="128" y="1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1" name="Freeform 108"/>
            <p:cNvSpPr>
              <a:spLocks/>
            </p:cNvSpPr>
            <p:nvPr>
              <p:custDataLst>
                <p:tags r:id="rId303"/>
              </p:custDataLst>
            </p:nvPr>
          </p:nvSpPr>
          <p:spPr bwMode="gray">
            <a:xfrm>
              <a:off x="4831362" y="3201875"/>
              <a:ext cx="212078" cy="148306"/>
            </a:xfrm>
            <a:custGeom>
              <a:avLst/>
              <a:gdLst/>
              <a:ahLst/>
              <a:cxnLst>
                <a:cxn ang="0">
                  <a:pos x="60" y="100"/>
                </a:cxn>
                <a:cxn ang="0">
                  <a:pos x="48" y="96"/>
                </a:cxn>
                <a:cxn ang="0">
                  <a:pos x="44" y="96"/>
                </a:cxn>
                <a:cxn ang="0">
                  <a:pos x="40" y="92"/>
                </a:cxn>
                <a:cxn ang="0">
                  <a:pos x="40" y="92"/>
                </a:cxn>
                <a:cxn ang="0">
                  <a:pos x="36" y="88"/>
                </a:cxn>
                <a:cxn ang="0">
                  <a:pos x="36" y="84"/>
                </a:cxn>
                <a:cxn ang="0">
                  <a:pos x="36" y="80"/>
                </a:cxn>
                <a:cxn ang="0">
                  <a:pos x="28" y="80"/>
                </a:cxn>
                <a:cxn ang="0">
                  <a:pos x="24" y="80"/>
                </a:cxn>
                <a:cxn ang="0">
                  <a:pos x="20" y="76"/>
                </a:cxn>
                <a:cxn ang="0">
                  <a:pos x="20" y="76"/>
                </a:cxn>
                <a:cxn ang="0">
                  <a:pos x="16" y="72"/>
                </a:cxn>
                <a:cxn ang="0">
                  <a:pos x="16" y="68"/>
                </a:cxn>
                <a:cxn ang="0">
                  <a:pos x="8" y="56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16" y="36"/>
                </a:cxn>
                <a:cxn ang="0">
                  <a:pos x="20" y="32"/>
                </a:cxn>
                <a:cxn ang="0">
                  <a:pos x="24" y="24"/>
                </a:cxn>
                <a:cxn ang="0">
                  <a:pos x="28" y="20"/>
                </a:cxn>
                <a:cxn ang="0">
                  <a:pos x="28" y="16"/>
                </a:cxn>
                <a:cxn ang="0">
                  <a:pos x="36" y="12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56" y="8"/>
                </a:cxn>
                <a:cxn ang="0">
                  <a:pos x="64" y="8"/>
                </a:cxn>
                <a:cxn ang="0">
                  <a:pos x="68" y="12"/>
                </a:cxn>
                <a:cxn ang="0">
                  <a:pos x="72" y="12"/>
                </a:cxn>
                <a:cxn ang="0">
                  <a:pos x="76" y="8"/>
                </a:cxn>
                <a:cxn ang="0">
                  <a:pos x="84" y="8"/>
                </a:cxn>
                <a:cxn ang="0">
                  <a:pos x="92" y="4"/>
                </a:cxn>
                <a:cxn ang="0">
                  <a:pos x="100" y="4"/>
                </a:cxn>
                <a:cxn ang="0">
                  <a:pos x="108" y="16"/>
                </a:cxn>
                <a:cxn ang="0">
                  <a:pos x="112" y="24"/>
                </a:cxn>
                <a:cxn ang="0">
                  <a:pos x="119" y="32"/>
                </a:cxn>
                <a:cxn ang="0">
                  <a:pos x="119" y="40"/>
                </a:cxn>
                <a:cxn ang="0">
                  <a:pos x="119" y="56"/>
                </a:cxn>
                <a:cxn ang="0">
                  <a:pos x="119" y="64"/>
                </a:cxn>
                <a:cxn ang="0">
                  <a:pos x="127" y="68"/>
                </a:cxn>
                <a:cxn ang="0">
                  <a:pos x="139" y="64"/>
                </a:cxn>
                <a:cxn ang="0">
                  <a:pos x="139" y="68"/>
                </a:cxn>
                <a:cxn ang="0">
                  <a:pos x="135" y="76"/>
                </a:cxn>
                <a:cxn ang="0">
                  <a:pos x="131" y="72"/>
                </a:cxn>
                <a:cxn ang="0">
                  <a:pos x="131" y="76"/>
                </a:cxn>
                <a:cxn ang="0">
                  <a:pos x="131" y="80"/>
                </a:cxn>
                <a:cxn ang="0">
                  <a:pos x="131" y="80"/>
                </a:cxn>
                <a:cxn ang="0">
                  <a:pos x="131" y="84"/>
                </a:cxn>
                <a:cxn ang="0">
                  <a:pos x="127" y="92"/>
                </a:cxn>
                <a:cxn ang="0">
                  <a:pos x="123" y="100"/>
                </a:cxn>
                <a:cxn ang="0">
                  <a:pos x="116" y="96"/>
                </a:cxn>
                <a:cxn ang="0">
                  <a:pos x="112" y="92"/>
                </a:cxn>
                <a:cxn ang="0">
                  <a:pos x="104" y="92"/>
                </a:cxn>
                <a:cxn ang="0">
                  <a:pos x="100" y="92"/>
                </a:cxn>
                <a:cxn ang="0">
                  <a:pos x="92" y="92"/>
                </a:cxn>
                <a:cxn ang="0">
                  <a:pos x="84" y="100"/>
                </a:cxn>
                <a:cxn ang="0">
                  <a:pos x="76" y="100"/>
                </a:cxn>
                <a:cxn ang="0">
                  <a:pos x="64" y="100"/>
                </a:cxn>
                <a:cxn ang="0">
                  <a:pos x="60" y="100"/>
                </a:cxn>
              </a:cxnLst>
              <a:rect l="0" t="0" r="r" b="b"/>
              <a:pathLst>
                <a:path w="143" h="100">
                  <a:moveTo>
                    <a:pt x="60" y="100"/>
                  </a:move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6" y="12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8" y="20"/>
                  </a:lnTo>
                  <a:lnTo>
                    <a:pt x="112" y="20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9" y="28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40"/>
                  </a:lnTo>
                  <a:lnTo>
                    <a:pt x="119" y="44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9" y="52"/>
                  </a:lnTo>
                  <a:lnTo>
                    <a:pt x="119" y="52"/>
                  </a:lnTo>
                  <a:lnTo>
                    <a:pt x="119" y="52"/>
                  </a:lnTo>
                  <a:lnTo>
                    <a:pt x="119" y="56"/>
                  </a:lnTo>
                  <a:lnTo>
                    <a:pt x="119" y="56"/>
                  </a:lnTo>
                  <a:lnTo>
                    <a:pt x="119" y="60"/>
                  </a:lnTo>
                  <a:lnTo>
                    <a:pt x="119" y="60"/>
                  </a:lnTo>
                  <a:lnTo>
                    <a:pt x="119" y="60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23" y="64"/>
                  </a:lnTo>
                  <a:lnTo>
                    <a:pt x="123" y="64"/>
                  </a:lnTo>
                  <a:lnTo>
                    <a:pt x="123" y="68"/>
                  </a:lnTo>
                  <a:lnTo>
                    <a:pt x="127" y="68"/>
                  </a:lnTo>
                  <a:lnTo>
                    <a:pt x="127" y="68"/>
                  </a:lnTo>
                  <a:lnTo>
                    <a:pt x="127" y="64"/>
                  </a:lnTo>
                  <a:lnTo>
                    <a:pt x="131" y="64"/>
                  </a:lnTo>
                  <a:lnTo>
                    <a:pt x="135" y="64"/>
                  </a:lnTo>
                  <a:lnTo>
                    <a:pt x="135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8"/>
                  </a:lnTo>
                  <a:lnTo>
                    <a:pt x="143" y="68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43" y="68"/>
                  </a:lnTo>
                  <a:lnTo>
                    <a:pt x="139" y="72"/>
                  </a:lnTo>
                  <a:lnTo>
                    <a:pt x="139" y="76"/>
                  </a:lnTo>
                  <a:lnTo>
                    <a:pt x="139" y="76"/>
                  </a:lnTo>
                  <a:lnTo>
                    <a:pt x="139" y="76"/>
                  </a:lnTo>
                  <a:lnTo>
                    <a:pt x="139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4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7" y="92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3" y="96"/>
                  </a:lnTo>
                  <a:lnTo>
                    <a:pt x="123" y="100"/>
                  </a:lnTo>
                  <a:lnTo>
                    <a:pt x="123" y="100"/>
                  </a:lnTo>
                  <a:lnTo>
                    <a:pt x="123" y="100"/>
                  </a:lnTo>
                  <a:lnTo>
                    <a:pt x="123" y="100"/>
                  </a:lnTo>
                  <a:lnTo>
                    <a:pt x="119" y="100"/>
                  </a:lnTo>
                  <a:lnTo>
                    <a:pt x="119" y="100"/>
                  </a:lnTo>
                  <a:lnTo>
                    <a:pt x="119" y="100"/>
                  </a:lnTo>
                  <a:lnTo>
                    <a:pt x="119" y="96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6" y="92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2" y="96"/>
                  </a:lnTo>
                  <a:lnTo>
                    <a:pt x="112" y="96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08" y="92"/>
                  </a:lnTo>
                  <a:lnTo>
                    <a:pt x="108" y="92"/>
                  </a:lnTo>
                  <a:lnTo>
                    <a:pt x="108" y="92"/>
                  </a:lnTo>
                  <a:lnTo>
                    <a:pt x="108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96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2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1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2" name="Freeform 109"/>
            <p:cNvSpPr>
              <a:spLocks/>
            </p:cNvSpPr>
            <p:nvPr>
              <p:custDataLst>
                <p:tags r:id="rId304"/>
              </p:custDataLst>
            </p:nvPr>
          </p:nvSpPr>
          <p:spPr bwMode="gray">
            <a:xfrm>
              <a:off x="4789836" y="3273062"/>
              <a:ext cx="100848" cy="134958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0" y="68"/>
                </a:cxn>
                <a:cxn ang="0">
                  <a:pos x="4" y="64"/>
                </a:cxn>
                <a:cxn ang="0">
                  <a:pos x="8" y="60"/>
                </a:cxn>
                <a:cxn ang="0">
                  <a:pos x="8" y="56"/>
                </a:cxn>
                <a:cxn ang="0">
                  <a:pos x="12" y="56"/>
                </a:cxn>
                <a:cxn ang="0">
                  <a:pos x="16" y="52"/>
                </a:cxn>
                <a:cxn ang="0">
                  <a:pos x="12" y="48"/>
                </a:cxn>
                <a:cxn ang="0">
                  <a:pos x="16" y="48"/>
                </a:cxn>
                <a:cxn ang="0">
                  <a:pos x="12" y="40"/>
                </a:cxn>
                <a:cxn ang="0">
                  <a:pos x="12" y="32"/>
                </a:cxn>
                <a:cxn ang="0">
                  <a:pos x="12" y="28"/>
                </a:cxn>
                <a:cxn ang="0">
                  <a:pos x="8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4" y="4"/>
                </a:cxn>
                <a:cxn ang="0">
                  <a:pos x="12" y="4"/>
                </a:cxn>
                <a:cxn ang="0">
                  <a:pos x="16" y="0"/>
                </a:cxn>
                <a:cxn ang="0">
                  <a:pos x="24" y="0"/>
                </a:cxn>
                <a:cxn ang="0">
                  <a:pos x="28" y="4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44" y="20"/>
                </a:cxn>
                <a:cxn ang="0">
                  <a:pos x="44" y="24"/>
                </a:cxn>
                <a:cxn ang="0">
                  <a:pos x="48" y="28"/>
                </a:cxn>
                <a:cxn ang="0">
                  <a:pos x="44" y="28"/>
                </a:cxn>
                <a:cxn ang="0">
                  <a:pos x="48" y="28"/>
                </a:cxn>
                <a:cxn ang="0">
                  <a:pos x="52" y="32"/>
                </a:cxn>
                <a:cxn ang="0">
                  <a:pos x="56" y="36"/>
                </a:cxn>
                <a:cxn ang="0">
                  <a:pos x="60" y="32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60" y="36"/>
                </a:cxn>
                <a:cxn ang="0">
                  <a:pos x="64" y="40"/>
                </a:cxn>
                <a:cxn ang="0">
                  <a:pos x="64" y="44"/>
                </a:cxn>
                <a:cxn ang="0">
                  <a:pos x="64" y="56"/>
                </a:cxn>
                <a:cxn ang="0">
                  <a:pos x="68" y="60"/>
                </a:cxn>
                <a:cxn ang="0">
                  <a:pos x="64" y="68"/>
                </a:cxn>
                <a:cxn ang="0">
                  <a:pos x="60" y="76"/>
                </a:cxn>
                <a:cxn ang="0">
                  <a:pos x="60" y="79"/>
                </a:cxn>
                <a:cxn ang="0">
                  <a:pos x="56" y="79"/>
                </a:cxn>
                <a:cxn ang="0">
                  <a:pos x="48" y="83"/>
                </a:cxn>
                <a:cxn ang="0">
                  <a:pos x="44" y="83"/>
                </a:cxn>
                <a:cxn ang="0">
                  <a:pos x="36" y="87"/>
                </a:cxn>
                <a:cxn ang="0">
                  <a:pos x="32" y="91"/>
                </a:cxn>
                <a:cxn ang="0">
                  <a:pos x="32" y="83"/>
                </a:cxn>
                <a:cxn ang="0">
                  <a:pos x="28" y="79"/>
                </a:cxn>
                <a:cxn ang="0">
                  <a:pos x="20" y="79"/>
                </a:cxn>
                <a:cxn ang="0">
                  <a:pos x="20" y="76"/>
                </a:cxn>
                <a:cxn ang="0">
                  <a:pos x="12" y="83"/>
                </a:cxn>
                <a:cxn ang="0">
                  <a:pos x="12" y="87"/>
                </a:cxn>
                <a:cxn ang="0">
                  <a:pos x="12" y="87"/>
                </a:cxn>
                <a:cxn ang="0">
                  <a:pos x="8" y="83"/>
                </a:cxn>
                <a:cxn ang="0">
                  <a:pos x="4" y="79"/>
                </a:cxn>
                <a:cxn ang="0">
                  <a:pos x="4" y="79"/>
                </a:cxn>
                <a:cxn ang="0">
                  <a:pos x="0" y="76"/>
                </a:cxn>
              </a:cxnLst>
              <a:rect l="0" t="0" r="r" b="b"/>
              <a:pathLst>
                <a:path w="68" h="91">
                  <a:moveTo>
                    <a:pt x="0" y="76"/>
                  </a:move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83"/>
                  </a:lnTo>
                  <a:lnTo>
                    <a:pt x="48" y="83"/>
                  </a:lnTo>
                  <a:lnTo>
                    <a:pt x="48" y="83"/>
                  </a:lnTo>
                  <a:lnTo>
                    <a:pt x="48" y="83"/>
                  </a:lnTo>
                  <a:lnTo>
                    <a:pt x="48" y="83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0" y="83"/>
                  </a:lnTo>
                  <a:lnTo>
                    <a:pt x="40" y="83"/>
                  </a:lnTo>
                  <a:lnTo>
                    <a:pt x="36" y="83"/>
                  </a:lnTo>
                  <a:lnTo>
                    <a:pt x="36" y="87"/>
                  </a:lnTo>
                  <a:lnTo>
                    <a:pt x="36" y="87"/>
                  </a:lnTo>
                  <a:lnTo>
                    <a:pt x="36" y="87"/>
                  </a:lnTo>
                  <a:lnTo>
                    <a:pt x="36" y="87"/>
                  </a:lnTo>
                  <a:lnTo>
                    <a:pt x="36" y="91"/>
                  </a:lnTo>
                  <a:lnTo>
                    <a:pt x="36" y="91"/>
                  </a:lnTo>
                  <a:lnTo>
                    <a:pt x="32" y="91"/>
                  </a:lnTo>
                  <a:lnTo>
                    <a:pt x="32" y="91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0" y="79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9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6" y="91"/>
                  </a:lnTo>
                  <a:lnTo>
                    <a:pt x="12" y="91"/>
                  </a:lnTo>
                  <a:lnTo>
                    <a:pt x="12" y="91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79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0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3" name="Freeform 110"/>
            <p:cNvSpPr>
              <a:spLocks/>
            </p:cNvSpPr>
            <p:nvPr>
              <p:custDataLst>
                <p:tags r:id="rId305"/>
              </p:custDataLst>
            </p:nvPr>
          </p:nvSpPr>
          <p:spPr bwMode="gray">
            <a:xfrm>
              <a:off x="4754242" y="3160349"/>
              <a:ext cx="130510" cy="59323"/>
            </a:xfrm>
            <a:custGeom>
              <a:avLst/>
              <a:gdLst/>
              <a:ahLst/>
              <a:cxnLst>
                <a:cxn ang="0">
                  <a:pos x="32" y="32"/>
                </a:cxn>
                <a:cxn ang="0">
                  <a:pos x="28" y="36"/>
                </a:cxn>
                <a:cxn ang="0">
                  <a:pos x="32" y="40"/>
                </a:cxn>
                <a:cxn ang="0">
                  <a:pos x="28" y="40"/>
                </a:cxn>
                <a:cxn ang="0">
                  <a:pos x="24" y="40"/>
                </a:cxn>
                <a:cxn ang="0">
                  <a:pos x="24" y="40"/>
                </a:cxn>
                <a:cxn ang="0">
                  <a:pos x="20" y="40"/>
                </a:cxn>
                <a:cxn ang="0">
                  <a:pos x="16" y="40"/>
                </a:cxn>
                <a:cxn ang="0">
                  <a:pos x="8" y="36"/>
                </a:cxn>
                <a:cxn ang="0">
                  <a:pos x="8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4" y="16"/>
                </a:cxn>
                <a:cxn ang="0">
                  <a:pos x="8" y="16"/>
                </a:cxn>
                <a:cxn ang="0">
                  <a:pos x="12" y="16"/>
                </a:cxn>
                <a:cxn ang="0">
                  <a:pos x="16" y="12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32" y="0"/>
                </a:cxn>
                <a:cxn ang="0">
                  <a:pos x="32" y="4"/>
                </a:cxn>
                <a:cxn ang="0">
                  <a:pos x="36" y="0"/>
                </a:cxn>
                <a:cxn ang="0">
                  <a:pos x="40" y="0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48" y="8"/>
                </a:cxn>
                <a:cxn ang="0">
                  <a:pos x="52" y="4"/>
                </a:cxn>
                <a:cxn ang="0">
                  <a:pos x="60" y="4"/>
                </a:cxn>
                <a:cxn ang="0">
                  <a:pos x="64" y="8"/>
                </a:cxn>
                <a:cxn ang="0">
                  <a:pos x="68" y="4"/>
                </a:cxn>
                <a:cxn ang="0">
                  <a:pos x="72" y="4"/>
                </a:cxn>
                <a:cxn ang="0">
                  <a:pos x="76" y="4"/>
                </a:cxn>
                <a:cxn ang="0">
                  <a:pos x="80" y="8"/>
                </a:cxn>
                <a:cxn ang="0">
                  <a:pos x="88" y="12"/>
                </a:cxn>
                <a:cxn ang="0">
                  <a:pos x="84" y="16"/>
                </a:cxn>
                <a:cxn ang="0">
                  <a:pos x="80" y="24"/>
                </a:cxn>
                <a:cxn ang="0">
                  <a:pos x="80" y="28"/>
                </a:cxn>
                <a:cxn ang="0">
                  <a:pos x="76" y="28"/>
                </a:cxn>
                <a:cxn ang="0">
                  <a:pos x="72" y="28"/>
                </a:cxn>
                <a:cxn ang="0">
                  <a:pos x="68" y="24"/>
                </a:cxn>
                <a:cxn ang="0">
                  <a:pos x="64" y="24"/>
                </a:cxn>
                <a:cxn ang="0">
                  <a:pos x="60" y="24"/>
                </a:cxn>
                <a:cxn ang="0">
                  <a:pos x="56" y="24"/>
                </a:cxn>
                <a:cxn ang="0">
                  <a:pos x="52" y="28"/>
                </a:cxn>
                <a:cxn ang="0">
                  <a:pos x="52" y="28"/>
                </a:cxn>
                <a:cxn ang="0">
                  <a:pos x="48" y="32"/>
                </a:cxn>
                <a:cxn ang="0">
                  <a:pos x="48" y="32"/>
                </a:cxn>
                <a:cxn ang="0">
                  <a:pos x="44" y="32"/>
                </a:cxn>
                <a:cxn ang="0">
                  <a:pos x="40" y="32"/>
                </a:cxn>
                <a:cxn ang="0">
                  <a:pos x="32" y="32"/>
                </a:cxn>
              </a:cxnLst>
              <a:rect l="0" t="0" r="r" b="b"/>
              <a:pathLst>
                <a:path w="88" h="40">
                  <a:moveTo>
                    <a:pt x="32" y="32"/>
                  </a:move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2" y="32"/>
                  </a:lnTo>
                  <a:lnTo>
                    <a:pt x="32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4" name="Freeform 111"/>
            <p:cNvSpPr>
              <a:spLocks/>
            </p:cNvSpPr>
            <p:nvPr>
              <p:custDataLst>
                <p:tags r:id="rId306"/>
              </p:custDataLst>
            </p:nvPr>
          </p:nvSpPr>
          <p:spPr bwMode="gray">
            <a:xfrm>
              <a:off x="4677123" y="3249333"/>
              <a:ext cx="71187" cy="47458"/>
            </a:xfrm>
            <a:custGeom>
              <a:avLst/>
              <a:gdLst/>
              <a:ahLst/>
              <a:cxnLst>
                <a:cxn ang="0">
                  <a:pos x="28" y="28"/>
                </a:cxn>
                <a:cxn ang="0">
                  <a:pos x="28" y="32"/>
                </a:cxn>
                <a:cxn ang="0">
                  <a:pos x="24" y="28"/>
                </a:cxn>
                <a:cxn ang="0">
                  <a:pos x="20" y="28"/>
                </a:cxn>
                <a:cxn ang="0">
                  <a:pos x="16" y="24"/>
                </a:cxn>
                <a:cxn ang="0">
                  <a:pos x="16" y="28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8" y="28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6" y="4"/>
                </a:cxn>
                <a:cxn ang="0">
                  <a:pos x="40" y="0"/>
                </a:cxn>
                <a:cxn ang="0">
                  <a:pos x="40" y="0"/>
                </a:cxn>
                <a:cxn ang="0">
                  <a:pos x="44" y="0"/>
                </a:cxn>
                <a:cxn ang="0">
                  <a:pos x="44" y="0"/>
                </a:cxn>
                <a:cxn ang="0">
                  <a:pos x="44" y="4"/>
                </a:cxn>
                <a:cxn ang="0">
                  <a:pos x="44" y="4"/>
                </a:cxn>
                <a:cxn ang="0">
                  <a:pos x="48" y="8"/>
                </a:cxn>
                <a:cxn ang="0">
                  <a:pos x="48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32" y="12"/>
                </a:cxn>
                <a:cxn ang="0">
                  <a:pos x="32" y="16"/>
                </a:cxn>
                <a:cxn ang="0">
                  <a:pos x="36" y="16"/>
                </a:cxn>
                <a:cxn ang="0">
                  <a:pos x="32" y="24"/>
                </a:cxn>
                <a:cxn ang="0">
                  <a:pos x="32" y="24"/>
                </a:cxn>
                <a:cxn ang="0">
                  <a:pos x="28" y="24"/>
                </a:cxn>
                <a:cxn ang="0">
                  <a:pos x="28" y="28"/>
                </a:cxn>
              </a:cxnLst>
              <a:rect l="0" t="0" r="r" b="b"/>
              <a:pathLst>
                <a:path w="48" h="32">
                  <a:moveTo>
                    <a:pt x="28" y="28"/>
                  </a:move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2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5" name="Freeform 112"/>
            <p:cNvSpPr>
              <a:spLocks noEditPoints="1"/>
            </p:cNvSpPr>
            <p:nvPr>
              <p:custDataLst>
                <p:tags r:id="rId307"/>
              </p:custDataLst>
            </p:nvPr>
          </p:nvSpPr>
          <p:spPr bwMode="gray">
            <a:xfrm>
              <a:off x="4611868" y="1953135"/>
              <a:ext cx="520555" cy="283265"/>
            </a:xfrm>
            <a:custGeom>
              <a:avLst/>
              <a:gdLst/>
              <a:ahLst/>
              <a:cxnLst>
                <a:cxn ang="0">
                  <a:pos x="144" y="8"/>
                </a:cxn>
                <a:cxn ang="0">
                  <a:pos x="124" y="12"/>
                </a:cxn>
                <a:cxn ang="0">
                  <a:pos x="343" y="16"/>
                </a:cxn>
                <a:cxn ang="0">
                  <a:pos x="267" y="20"/>
                </a:cxn>
                <a:cxn ang="0">
                  <a:pos x="8" y="36"/>
                </a:cxn>
                <a:cxn ang="0">
                  <a:pos x="148" y="52"/>
                </a:cxn>
                <a:cxn ang="0">
                  <a:pos x="279" y="60"/>
                </a:cxn>
                <a:cxn ang="0">
                  <a:pos x="244" y="68"/>
                </a:cxn>
                <a:cxn ang="0">
                  <a:pos x="220" y="127"/>
                </a:cxn>
                <a:cxn ang="0">
                  <a:pos x="252" y="24"/>
                </a:cxn>
                <a:cxn ang="0">
                  <a:pos x="228" y="44"/>
                </a:cxn>
                <a:cxn ang="0">
                  <a:pos x="184" y="48"/>
                </a:cxn>
                <a:cxn ang="0">
                  <a:pos x="152" y="40"/>
                </a:cxn>
                <a:cxn ang="0">
                  <a:pos x="160" y="32"/>
                </a:cxn>
                <a:cxn ang="0">
                  <a:pos x="164" y="28"/>
                </a:cxn>
                <a:cxn ang="0">
                  <a:pos x="124" y="24"/>
                </a:cxn>
                <a:cxn ang="0">
                  <a:pos x="132" y="20"/>
                </a:cxn>
                <a:cxn ang="0">
                  <a:pos x="136" y="12"/>
                </a:cxn>
                <a:cxn ang="0">
                  <a:pos x="172" y="16"/>
                </a:cxn>
                <a:cxn ang="0">
                  <a:pos x="184" y="12"/>
                </a:cxn>
                <a:cxn ang="0">
                  <a:pos x="192" y="20"/>
                </a:cxn>
                <a:cxn ang="0">
                  <a:pos x="216" y="12"/>
                </a:cxn>
                <a:cxn ang="0">
                  <a:pos x="252" y="24"/>
                </a:cxn>
                <a:cxn ang="0">
                  <a:pos x="80" y="99"/>
                </a:cxn>
                <a:cxn ang="0">
                  <a:pos x="72" y="95"/>
                </a:cxn>
                <a:cxn ang="0">
                  <a:pos x="88" y="92"/>
                </a:cxn>
                <a:cxn ang="0">
                  <a:pos x="48" y="92"/>
                </a:cxn>
                <a:cxn ang="0">
                  <a:pos x="72" y="80"/>
                </a:cxn>
                <a:cxn ang="0">
                  <a:pos x="96" y="72"/>
                </a:cxn>
                <a:cxn ang="0">
                  <a:pos x="84" y="68"/>
                </a:cxn>
                <a:cxn ang="0">
                  <a:pos x="64" y="68"/>
                </a:cxn>
                <a:cxn ang="0">
                  <a:pos x="48" y="80"/>
                </a:cxn>
                <a:cxn ang="0">
                  <a:pos x="40" y="72"/>
                </a:cxn>
                <a:cxn ang="0">
                  <a:pos x="16" y="56"/>
                </a:cxn>
                <a:cxn ang="0">
                  <a:pos x="16" y="48"/>
                </a:cxn>
                <a:cxn ang="0">
                  <a:pos x="8" y="36"/>
                </a:cxn>
                <a:cxn ang="0">
                  <a:pos x="24" y="36"/>
                </a:cxn>
                <a:cxn ang="0">
                  <a:pos x="52" y="28"/>
                </a:cxn>
                <a:cxn ang="0">
                  <a:pos x="40" y="36"/>
                </a:cxn>
                <a:cxn ang="0">
                  <a:pos x="56" y="36"/>
                </a:cxn>
                <a:cxn ang="0">
                  <a:pos x="84" y="56"/>
                </a:cxn>
                <a:cxn ang="0">
                  <a:pos x="80" y="32"/>
                </a:cxn>
                <a:cxn ang="0">
                  <a:pos x="100" y="28"/>
                </a:cxn>
                <a:cxn ang="0">
                  <a:pos x="120" y="36"/>
                </a:cxn>
                <a:cxn ang="0">
                  <a:pos x="152" y="56"/>
                </a:cxn>
                <a:cxn ang="0">
                  <a:pos x="152" y="68"/>
                </a:cxn>
                <a:cxn ang="0">
                  <a:pos x="128" y="84"/>
                </a:cxn>
                <a:cxn ang="0">
                  <a:pos x="104" y="115"/>
                </a:cxn>
                <a:cxn ang="0">
                  <a:pos x="84" y="123"/>
                </a:cxn>
                <a:cxn ang="0">
                  <a:pos x="80" y="115"/>
                </a:cxn>
                <a:cxn ang="0">
                  <a:pos x="12" y="72"/>
                </a:cxn>
                <a:cxn ang="0">
                  <a:pos x="16" y="72"/>
                </a:cxn>
                <a:cxn ang="0">
                  <a:pos x="176" y="68"/>
                </a:cxn>
                <a:cxn ang="0">
                  <a:pos x="156" y="80"/>
                </a:cxn>
                <a:cxn ang="0">
                  <a:pos x="172" y="99"/>
                </a:cxn>
                <a:cxn ang="0">
                  <a:pos x="164" y="88"/>
                </a:cxn>
                <a:cxn ang="0">
                  <a:pos x="196" y="80"/>
                </a:cxn>
                <a:cxn ang="0">
                  <a:pos x="212" y="92"/>
                </a:cxn>
                <a:cxn ang="0">
                  <a:pos x="188" y="107"/>
                </a:cxn>
              </a:cxnLst>
              <a:rect l="0" t="0" r="r" b="b"/>
              <a:pathLst>
                <a:path w="351" h="191">
                  <a:moveTo>
                    <a:pt x="156" y="4"/>
                  </a:moveTo>
                  <a:lnTo>
                    <a:pt x="156" y="0"/>
                  </a:lnTo>
                  <a:lnTo>
                    <a:pt x="152" y="0"/>
                  </a:lnTo>
                  <a:lnTo>
                    <a:pt x="156" y="0"/>
                  </a:lnTo>
                  <a:lnTo>
                    <a:pt x="160" y="0"/>
                  </a:lnTo>
                  <a:lnTo>
                    <a:pt x="160" y="4"/>
                  </a:lnTo>
                  <a:lnTo>
                    <a:pt x="156" y="4"/>
                  </a:lnTo>
                  <a:close/>
                  <a:moveTo>
                    <a:pt x="160" y="4"/>
                  </a:moveTo>
                  <a:lnTo>
                    <a:pt x="164" y="0"/>
                  </a:lnTo>
                  <a:lnTo>
                    <a:pt x="164" y="4"/>
                  </a:lnTo>
                  <a:lnTo>
                    <a:pt x="160" y="4"/>
                  </a:lnTo>
                  <a:close/>
                  <a:moveTo>
                    <a:pt x="144" y="8"/>
                  </a:moveTo>
                  <a:lnTo>
                    <a:pt x="140" y="8"/>
                  </a:lnTo>
                  <a:lnTo>
                    <a:pt x="144" y="8"/>
                  </a:lnTo>
                  <a:close/>
                  <a:moveTo>
                    <a:pt x="208" y="12"/>
                  </a:moveTo>
                  <a:lnTo>
                    <a:pt x="208" y="8"/>
                  </a:lnTo>
                  <a:lnTo>
                    <a:pt x="208" y="12"/>
                  </a:lnTo>
                  <a:lnTo>
                    <a:pt x="212" y="12"/>
                  </a:lnTo>
                  <a:lnTo>
                    <a:pt x="208" y="12"/>
                  </a:lnTo>
                  <a:close/>
                  <a:moveTo>
                    <a:pt x="120" y="16"/>
                  </a:moveTo>
                  <a:lnTo>
                    <a:pt x="116" y="16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4" y="12"/>
                  </a:lnTo>
                  <a:lnTo>
                    <a:pt x="124" y="16"/>
                  </a:lnTo>
                  <a:lnTo>
                    <a:pt x="120" y="16"/>
                  </a:lnTo>
                  <a:close/>
                  <a:moveTo>
                    <a:pt x="319" y="20"/>
                  </a:moveTo>
                  <a:lnTo>
                    <a:pt x="315" y="20"/>
                  </a:lnTo>
                  <a:lnTo>
                    <a:pt x="319" y="20"/>
                  </a:lnTo>
                  <a:lnTo>
                    <a:pt x="323" y="20"/>
                  </a:lnTo>
                  <a:lnTo>
                    <a:pt x="327" y="20"/>
                  </a:lnTo>
                  <a:lnTo>
                    <a:pt x="331" y="20"/>
                  </a:lnTo>
                  <a:lnTo>
                    <a:pt x="335" y="20"/>
                  </a:lnTo>
                  <a:lnTo>
                    <a:pt x="339" y="20"/>
                  </a:lnTo>
                  <a:lnTo>
                    <a:pt x="339" y="16"/>
                  </a:lnTo>
                  <a:lnTo>
                    <a:pt x="343" y="16"/>
                  </a:lnTo>
                  <a:lnTo>
                    <a:pt x="347" y="16"/>
                  </a:lnTo>
                  <a:lnTo>
                    <a:pt x="351" y="16"/>
                  </a:lnTo>
                  <a:lnTo>
                    <a:pt x="347" y="16"/>
                  </a:lnTo>
                  <a:lnTo>
                    <a:pt x="347" y="20"/>
                  </a:lnTo>
                  <a:lnTo>
                    <a:pt x="343" y="20"/>
                  </a:lnTo>
                  <a:lnTo>
                    <a:pt x="339" y="20"/>
                  </a:lnTo>
                  <a:lnTo>
                    <a:pt x="335" y="20"/>
                  </a:lnTo>
                  <a:lnTo>
                    <a:pt x="331" y="20"/>
                  </a:lnTo>
                  <a:lnTo>
                    <a:pt x="327" y="20"/>
                  </a:lnTo>
                  <a:lnTo>
                    <a:pt x="319" y="20"/>
                  </a:lnTo>
                  <a:close/>
                  <a:moveTo>
                    <a:pt x="264" y="20"/>
                  </a:moveTo>
                  <a:lnTo>
                    <a:pt x="267" y="20"/>
                  </a:lnTo>
                  <a:lnTo>
                    <a:pt x="264" y="20"/>
                  </a:lnTo>
                  <a:lnTo>
                    <a:pt x="260" y="20"/>
                  </a:lnTo>
                  <a:lnTo>
                    <a:pt x="264" y="20"/>
                  </a:lnTo>
                  <a:close/>
                  <a:moveTo>
                    <a:pt x="8" y="32"/>
                  </a:moveTo>
                  <a:lnTo>
                    <a:pt x="4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8" y="32"/>
                  </a:lnTo>
                  <a:close/>
                  <a:moveTo>
                    <a:pt x="4" y="36"/>
                  </a:moveTo>
                  <a:lnTo>
                    <a:pt x="4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4" y="36"/>
                  </a:lnTo>
                  <a:close/>
                  <a:moveTo>
                    <a:pt x="144" y="44"/>
                  </a:moveTo>
                  <a:lnTo>
                    <a:pt x="140" y="44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4" y="44"/>
                  </a:lnTo>
                  <a:lnTo>
                    <a:pt x="148" y="44"/>
                  </a:lnTo>
                  <a:lnTo>
                    <a:pt x="144" y="44"/>
                  </a:lnTo>
                  <a:close/>
                  <a:moveTo>
                    <a:pt x="148" y="56"/>
                  </a:moveTo>
                  <a:lnTo>
                    <a:pt x="144" y="56"/>
                  </a:lnTo>
                  <a:lnTo>
                    <a:pt x="144" y="52"/>
                  </a:lnTo>
                  <a:lnTo>
                    <a:pt x="148" y="52"/>
                  </a:lnTo>
                  <a:lnTo>
                    <a:pt x="152" y="52"/>
                  </a:lnTo>
                  <a:lnTo>
                    <a:pt x="156" y="52"/>
                  </a:lnTo>
                  <a:lnTo>
                    <a:pt x="156" y="56"/>
                  </a:lnTo>
                  <a:lnTo>
                    <a:pt x="152" y="56"/>
                  </a:lnTo>
                  <a:lnTo>
                    <a:pt x="148" y="56"/>
                  </a:lnTo>
                  <a:close/>
                  <a:moveTo>
                    <a:pt x="267" y="60"/>
                  </a:moveTo>
                  <a:lnTo>
                    <a:pt x="264" y="60"/>
                  </a:lnTo>
                  <a:lnTo>
                    <a:pt x="267" y="56"/>
                  </a:lnTo>
                  <a:lnTo>
                    <a:pt x="271" y="56"/>
                  </a:lnTo>
                  <a:lnTo>
                    <a:pt x="275" y="56"/>
                  </a:lnTo>
                  <a:lnTo>
                    <a:pt x="279" y="56"/>
                  </a:lnTo>
                  <a:lnTo>
                    <a:pt x="279" y="60"/>
                  </a:lnTo>
                  <a:lnTo>
                    <a:pt x="283" y="60"/>
                  </a:lnTo>
                  <a:lnTo>
                    <a:pt x="287" y="60"/>
                  </a:lnTo>
                  <a:lnTo>
                    <a:pt x="287" y="56"/>
                  </a:lnTo>
                  <a:lnTo>
                    <a:pt x="291" y="56"/>
                  </a:lnTo>
                  <a:lnTo>
                    <a:pt x="291" y="60"/>
                  </a:lnTo>
                  <a:lnTo>
                    <a:pt x="287" y="60"/>
                  </a:lnTo>
                  <a:lnTo>
                    <a:pt x="283" y="60"/>
                  </a:lnTo>
                  <a:lnTo>
                    <a:pt x="279" y="60"/>
                  </a:lnTo>
                  <a:lnTo>
                    <a:pt x="275" y="60"/>
                  </a:lnTo>
                  <a:lnTo>
                    <a:pt x="271" y="60"/>
                  </a:lnTo>
                  <a:lnTo>
                    <a:pt x="267" y="60"/>
                  </a:lnTo>
                  <a:close/>
                  <a:moveTo>
                    <a:pt x="244" y="68"/>
                  </a:moveTo>
                  <a:lnTo>
                    <a:pt x="244" y="64"/>
                  </a:lnTo>
                  <a:lnTo>
                    <a:pt x="240" y="64"/>
                  </a:lnTo>
                  <a:lnTo>
                    <a:pt x="240" y="60"/>
                  </a:lnTo>
                  <a:lnTo>
                    <a:pt x="244" y="60"/>
                  </a:lnTo>
                  <a:lnTo>
                    <a:pt x="244" y="64"/>
                  </a:lnTo>
                  <a:lnTo>
                    <a:pt x="248" y="64"/>
                  </a:lnTo>
                  <a:lnTo>
                    <a:pt x="252" y="64"/>
                  </a:lnTo>
                  <a:lnTo>
                    <a:pt x="248" y="64"/>
                  </a:lnTo>
                  <a:lnTo>
                    <a:pt x="248" y="68"/>
                  </a:lnTo>
                  <a:lnTo>
                    <a:pt x="244" y="68"/>
                  </a:lnTo>
                  <a:close/>
                  <a:moveTo>
                    <a:pt x="220" y="131"/>
                  </a:moveTo>
                  <a:lnTo>
                    <a:pt x="220" y="127"/>
                  </a:lnTo>
                  <a:lnTo>
                    <a:pt x="224" y="127"/>
                  </a:lnTo>
                  <a:lnTo>
                    <a:pt x="224" y="123"/>
                  </a:lnTo>
                  <a:lnTo>
                    <a:pt x="228" y="123"/>
                  </a:lnTo>
                  <a:lnTo>
                    <a:pt x="224" y="127"/>
                  </a:lnTo>
                  <a:lnTo>
                    <a:pt x="220" y="131"/>
                  </a:lnTo>
                  <a:close/>
                  <a:moveTo>
                    <a:pt x="128" y="191"/>
                  </a:moveTo>
                  <a:lnTo>
                    <a:pt x="124" y="187"/>
                  </a:lnTo>
                  <a:lnTo>
                    <a:pt x="128" y="187"/>
                  </a:lnTo>
                  <a:lnTo>
                    <a:pt x="132" y="187"/>
                  </a:lnTo>
                  <a:lnTo>
                    <a:pt x="132" y="191"/>
                  </a:lnTo>
                  <a:lnTo>
                    <a:pt x="128" y="191"/>
                  </a:lnTo>
                  <a:close/>
                  <a:moveTo>
                    <a:pt x="252" y="24"/>
                  </a:moveTo>
                  <a:lnTo>
                    <a:pt x="252" y="28"/>
                  </a:lnTo>
                  <a:lnTo>
                    <a:pt x="248" y="28"/>
                  </a:lnTo>
                  <a:lnTo>
                    <a:pt x="248" y="32"/>
                  </a:lnTo>
                  <a:lnTo>
                    <a:pt x="244" y="32"/>
                  </a:lnTo>
                  <a:lnTo>
                    <a:pt x="240" y="32"/>
                  </a:lnTo>
                  <a:lnTo>
                    <a:pt x="236" y="36"/>
                  </a:lnTo>
                  <a:lnTo>
                    <a:pt x="232" y="36"/>
                  </a:lnTo>
                  <a:lnTo>
                    <a:pt x="232" y="40"/>
                  </a:lnTo>
                  <a:lnTo>
                    <a:pt x="236" y="40"/>
                  </a:lnTo>
                  <a:lnTo>
                    <a:pt x="232" y="40"/>
                  </a:lnTo>
                  <a:lnTo>
                    <a:pt x="232" y="44"/>
                  </a:lnTo>
                  <a:lnTo>
                    <a:pt x="228" y="44"/>
                  </a:lnTo>
                  <a:lnTo>
                    <a:pt x="224" y="44"/>
                  </a:lnTo>
                  <a:lnTo>
                    <a:pt x="220" y="44"/>
                  </a:lnTo>
                  <a:lnTo>
                    <a:pt x="216" y="44"/>
                  </a:lnTo>
                  <a:lnTo>
                    <a:pt x="212" y="44"/>
                  </a:lnTo>
                  <a:lnTo>
                    <a:pt x="208" y="44"/>
                  </a:lnTo>
                  <a:lnTo>
                    <a:pt x="208" y="48"/>
                  </a:lnTo>
                  <a:lnTo>
                    <a:pt x="204" y="48"/>
                  </a:lnTo>
                  <a:lnTo>
                    <a:pt x="200" y="48"/>
                  </a:lnTo>
                  <a:lnTo>
                    <a:pt x="196" y="48"/>
                  </a:lnTo>
                  <a:lnTo>
                    <a:pt x="192" y="48"/>
                  </a:lnTo>
                  <a:lnTo>
                    <a:pt x="188" y="48"/>
                  </a:lnTo>
                  <a:lnTo>
                    <a:pt x="184" y="48"/>
                  </a:lnTo>
                  <a:lnTo>
                    <a:pt x="184" y="44"/>
                  </a:lnTo>
                  <a:lnTo>
                    <a:pt x="188" y="44"/>
                  </a:lnTo>
                  <a:lnTo>
                    <a:pt x="184" y="44"/>
                  </a:lnTo>
                  <a:lnTo>
                    <a:pt x="180" y="44"/>
                  </a:lnTo>
                  <a:lnTo>
                    <a:pt x="176" y="44"/>
                  </a:lnTo>
                  <a:lnTo>
                    <a:pt x="172" y="44"/>
                  </a:lnTo>
                  <a:lnTo>
                    <a:pt x="168" y="44"/>
                  </a:lnTo>
                  <a:lnTo>
                    <a:pt x="164" y="44"/>
                  </a:lnTo>
                  <a:lnTo>
                    <a:pt x="160" y="44"/>
                  </a:lnTo>
                  <a:lnTo>
                    <a:pt x="156" y="44"/>
                  </a:lnTo>
                  <a:lnTo>
                    <a:pt x="156" y="40"/>
                  </a:lnTo>
                  <a:lnTo>
                    <a:pt x="152" y="40"/>
                  </a:lnTo>
                  <a:lnTo>
                    <a:pt x="148" y="40"/>
                  </a:lnTo>
                  <a:lnTo>
                    <a:pt x="144" y="40"/>
                  </a:lnTo>
                  <a:lnTo>
                    <a:pt x="140" y="40"/>
                  </a:lnTo>
                  <a:lnTo>
                    <a:pt x="140" y="36"/>
                  </a:lnTo>
                  <a:lnTo>
                    <a:pt x="144" y="36"/>
                  </a:lnTo>
                  <a:lnTo>
                    <a:pt x="148" y="36"/>
                  </a:lnTo>
                  <a:lnTo>
                    <a:pt x="152" y="36"/>
                  </a:lnTo>
                  <a:lnTo>
                    <a:pt x="156" y="36"/>
                  </a:lnTo>
                  <a:lnTo>
                    <a:pt x="160" y="36"/>
                  </a:lnTo>
                  <a:lnTo>
                    <a:pt x="156" y="36"/>
                  </a:lnTo>
                  <a:lnTo>
                    <a:pt x="152" y="36"/>
                  </a:lnTo>
                  <a:lnTo>
                    <a:pt x="160" y="32"/>
                  </a:lnTo>
                  <a:lnTo>
                    <a:pt x="164" y="32"/>
                  </a:lnTo>
                  <a:lnTo>
                    <a:pt x="168" y="32"/>
                  </a:lnTo>
                  <a:lnTo>
                    <a:pt x="172" y="32"/>
                  </a:lnTo>
                  <a:lnTo>
                    <a:pt x="176" y="32"/>
                  </a:lnTo>
                  <a:lnTo>
                    <a:pt x="180" y="32"/>
                  </a:lnTo>
                  <a:lnTo>
                    <a:pt x="176" y="32"/>
                  </a:lnTo>
                  <a:lnTo>
                    <a:pt x="172" y="32"/>
                  </a:lnTo>
                  <a:lnTo>
                    <a:pt x="168" y="32"/>
                  </a:lnTo>
                  <a:lnTo>
                    <a:pt x="172" y="32"/>
                  </a:lnTo>
                  <a:lnTo>
                    <a:pt x="172" y="28"/>
                  </a:lnTo>
                  <a:lnTo>
                    <a:pt x="168" y="28"/>
                  </a:lnTo>
                  <a:lnTo>
                    <a:pt x="164" y="28"/>
                  </a:lnTo>
                  <a:lnTo>
                    <a:pt x="160" y="28"/>
                  </a:lnTo>
                  <a:lnTo>
                    <a:pt x="156" y="32"/>
                  </a:lnTo>
                  <a:lnTo>
                    <a:pt x="152" y="32"/>
                  </a:lnTo>
                  <a:lnTo>
                    <a:pt x="148" y="32"/>
                  </a:lnTo>
                  <a:lnTo>
                    <a:pt x="144" y="32"/>
                  </a:lnTo>
                  <a:lnTo>
                    <a:pt x="136" y="32"/>
                  </a:lnTo>
                  <a:lnTo>
                    <a:pt x="128" y="32"/>
                  </a:lnTo>
                  <a:lnTo>
                    <a:pt x="124" y="32"/>
                  </a:lnTo>
                  <a:lnTo>
                    <a:pt x="120" y="32"/>
                  </a:lnTo>
                  <a:lnTo>
                    <a:pt x="116" y="28"/>
                  </a:lnTo>
                  <a:lnTo>
                    <a:pt x="120" y="24"/>
                  </a:lnTo>
                  <a:lnTo>
                    <a:pt x="124" y="24"/>
                  </a:lnTo>
                  <a:lnTo>
                    <a:pt x="120" y="24"/>
                  </a:lnTo>
                  <a:lnTo>
                    <a:pt x="116" y="24"/>
                  </a:lnTo>
                  <a:lnTo>
                    <a:pt x="116" y="20"/>
                  </a:lnTo>
                  <a:lnTo>
                    <a:pt x="116" y="24"/>
                  </a:lnTo>
                  <a:lnTo>
                    <a:pt x="120" y="20"/>
                  </a:lnTo>
                  <a:lnTo>
                    <a:pt x="116" y="20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20" y="20"/>
                  </a:lnTo>
                  <a:lnTo>
                    <a:pt x="124" y="20"/>
                  </a:lnTo>
                  <a:lnTo>
                    <a:pt x="128" y="20"/>
                  </a:lnTo>
                  <a:lnTo>
                    <a:pt x="132" y="20"/>
                  </a:lnTo>
                  <a:lnTo>
                    <a:pt x="136" y="20"/>
                  </a:lnTo>
                  <a:lnTo>
                    <a:pt x="132" y="20"/>
                  </a:lnTo>
                  <a:lnTo>
                    <a:pt x="132" y="16"/>
                  </a:lnTo>
                  <a:lnTo>
                    <a:pt x="128" y="16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6"/>
                  </a:lnTo>
                  <a:lnTo>
                    <a:pt x="140" y="16"/>
                  </a:lnTo>
                  <a:lnTo>
                    <a:pt x="140" y="12"/>
                  </a:lnTo>
                  <a:lnTo>
                    <a:pt x="144" y="12"/>
                  </a:lnTo>
                  <a:lnTo>
                    <a:pt x="140" y="12"/>
                  </a:lnTo>
                  <a:lnTo>
                    <a:pt x="136" y="12"/>
                  </a:lnTo>
                  <a:lnTo>
                    <a:pt x="136" y="8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4" y="12"/>
                  </a:lnTo>
                  <a:lnTo>
                    <a:pt x="148" y="12"/>
                  </a:lnTo>
                  <a:lnTo>
                    <a:pt x="152" y="12"/>
                  </a:lnTo>
                  <a:lnTo>
                    <a:pt x="152" y="16"/>
                  </a:lnTo>
                  <a:lnTo>
                    <a:pt x="156" y="16"/>
                  </a:lnTo>
                  <a:lnTo>
                    <a:pt x="160" y="16"/>
                  </a:lnTo>
                  <a:lnTo>
                    <a:pt x="164" y="16"/>
                  </a:lnTo>
                  <a:lnTo>
                    <a:pt x="168" y="16"/>
                  </a:lnTo>
                  <a:lnTo>
                    <a:pt x="172" y="16"/>
                  </a:lnTo>
                  <a:lnTo>
                    <a:pt x="172" y="20"/>
                  </a:lnTo>
                  <a:lnTo>
                    <a:pt x="168" y="20"/>
                  </a:lnTo>
                  <a:lnTo>
                    <a:pt x="172" y="20"/>
                  </a:lnTo>
                  <a:lnTo>
                    <a:pt x="176" y="20"/>
                  </a:lnTo>
                  <a:lnTo>
                    <a:pt x="176" y="24"/>
                  </a:lnTo>
                  <a:lnTo>
                    <a:pt x="180" y="24"/>
                  </a:lnTo>
                  <a:lnTo>
                    <a:pt x="180" y="20"/>
                  </a:lnTo>
                  <a:lnTo>
                    <a:pt x="180" y="16"/>
                  </a:lnTo>
                  <a:lnTo>
                    <a:pt x="184" y="16"/>
                  </a:lnTo>
                  <a:lnTo>
                    <a:pt x="180" y="16"/>
                  </a:lnTo>
                  <a:lnTo>
                    <a:pt x="180" y="12"/>
                  </a:lnTo>
                  <a:lnTo>
                    <a:pt x="184" y="12"/>
                  </a:lnTo>
                  <a:lnTo>
                    <a:pt x="184" y="16"/>
                  </a:lnTo>
                  <a:lnTo>
                    <a:pt x="188" y="12"/>
                  </a:lnTo>
                  <a:lnTo>
                    <a:pt x="188" y="8"/>
                  </a:lnTo>
                  <a:lnTo>
                    <a:pt x="192" y="8"/>
                  </a:lnTo>
                  <a:lnTo>
                    <a:pt x="192" y="12"/>
                  </a:lnTo>
                  <a:lnTo>
                    <a:pt x="196" y="12"/>
                  </a:lnTo>
                  <a:lnTo>
                    <a:pt x="192" y="12"/>
                  </a:lnTo>
                  <a:lnTo>
                    <a:pt x="196" y="12"/>
                  </a:lnTo>
                  <a:lnTo>
                    <a:pt x="192" y="16"/>
                  </a:lnTo>
                  <a:lnTo>
                    <a:pt x="188" y="16"/>
                  </a:lnTo>
                  <a:lnTo>
                    <a:pt x="188" y="20"/>
                  </a:lnTo>
                  <a:lnTo>
                    <a:pt x="192" y="20"/>
                  </a:lnTo>
                  <a:lnTo>
                    <a:pt x="196" y="16"/>
                  </a:lnTo>
                  <a:lnTo>
                    <a:pt x="196" y="20"/>
                  </a:lnTo>
                  <a:lnTo>
                    <a:pt x="200" y="20"/>
                  </a:lnTo>
                  <a:lnTo>
                    <a:pt x="200" y="16"/>
                  </a:lnTo>
                  <a:lnTo>
                    <a:pt x="204" y="16"/>
                  </a:lnTo>
                  <a:lnTo>
                    <a:pt x="208" y="16"/>
                  </a:lnTo>
                  <a:lnTo>
                    <a:pt x="212" y="16"/>
                  </a:lnTo>
                  <a:lnTo>
                    <a:pt x="208" y="12"/>
                  </a:lnTo>
                  <a:lnTo>
                    <a:pt x="212" y="12"/>
                  </a:lnTo>
                  <a:lnTo>
                    <a:pt x="212" y="16"/>
                  </a:lnTo>
                  <a:lnTo>
                    <a:pt x="216" y="16"/>
                  </a:lnTo>
                  <a:lnTo>
                    <a:pt x="216" y="12"/>
                  </a:lnTo>
                  <a:lnTo>
                    <a:pt x="216" y="16"/>
                  </a:lnTo>
                  <a:lnTo>
                    <a:pt x="220" y="16"/>
                  </a:lnTo>
                  <a:lnTo>
                    <a:pt x="224" y="16"/>
                  </a:lnTo>
                  <a:lnTo>
                    <a:pt x="228" y="16"/>
                  </a:lnTo>
                  <a:lnTo>
                    <a:pt x="232" y="16"/>
                  </a:lnTo>
                  <a:lnTo>
                    <a:pt x="232" y="20"/>
                  </a:lnTo>
                  <a:lnTo>
                    <a:pt x="236" y="20"/>
                  </a:lnTo>
                  <a:lnTo>
                    <a:pt x="240" y="20"/>
                  </a:lnTo>
                  <a:lnTo>
                    <a:pt x="244" y="20"/>
                  </a:lnTo>
                  <a:lnTo>
                    <a:pt x="248" y="20"/>
                  </a:lnTo>
                  <a:lnTo>
                    <a:pt x="252" y="20"/>
                  </a:lnTo>
                  <a:lnTo>
                    <a:pt x="252" y="24"/>
                  </a:lnTo>
                  <a:close/>
                  <a:moveTo>
                    <a:pt x="60" y="111"/>
                  </a:moveTo>
                  <a:lnTo>
                    <a:pt x="56" y="107"/>
                  </a:lnTo>
                  <a:lnTo>
                    <a:pt x="56" y="103"/>
                  </a:lnTo>
                  <a:lnTo>
                    <a:pt x="52" y="103"/>
                  </a:lnTo>
                  <a:lnTo>
                    <a:pt x="52" y="99"/>
                  </a:lnTo>
                  <a:lnTo>
                    <a:pt x="56" y="99"/>
                  </a:lnTo>
                  <a:lnTo>
                    <a:pt x="60" y="99"/>
                  </a:lnTo>
                  <a:lnTo>
                    <a:pt x="64" y="99"/>
                  </a:lnTo>
                  <a:lnTo>
                    <a:pt x="68" y="99"/>
                  </a:lnTo>
                  <a:lnTo>
                    <a:pt x="72" y="99"/>
                  </a:lnTo>
                  <a:lnTo>
                    <a:pt x="76" y="99"/>
                  </a:lnTo>
                  <a:lnTo>
                    <a:pt x="80" y="99"/>
                  </a:lnTo>
                  <a:lnTo>
                    <a:pt x="84" y="99"/>
                  </a:lnTo>
                  <a:lnTo>
                    <a:pt x="84" y="103"/>
                  </a:lnTo>
                  <a:lnTo>
                    <a:pt x="88" y="103"/>
                  </a:lnTo>
                  <a:lnTo>
                    <a:pt x="88" y="99"/>
                  </a:lnTo>
                  <a:lnTo>
                    <a:pt x="84" y="99"/>
                  </a:lnTo>
                  <a:lnTo>
                    <a:pt x="80" y="99"/>
                  </a:lnTo>
                  <a:lnTo>
                    <a:pt x="76" y="99"/>
                  </a:lnTo>
                  <a:lnTo>
                    <a:pt x="72" y="95"/>
                  </a:lnTo>
                  <a:lnTo>
                    <a:pt x="68" y="95"/>
                  </a:lnTo>
                  <a:lnTo>
                    <a:pt x="64" y="95"/>
                  </a:lnTo>
                  <a:lnTo>
                    <a:pt x="68" y="95"/>
                  </a:lnTo>
                  <a:lnTo>
                    <a:pt x="72" y="95"/>
                  </a:lnTo>
                  <a:lnTo>
                    <a:pt x="76" y="92"/>
                  </a:lnTo>
                  <a:lnTo>
                    <a:pt x="80" y="92"/>
                  </a:lnTo>
                  <a:lnTo>
                    <a:pt x="84" y="92"/>
                  </a:lnTo>
                  <a:lnTo>
                    <a:pt x="88" y="92"/>
                  </a:lnTo>
                  <a:lnTo>
                    <a:pt x="92" y="92"/>
                  </a:lnTo>
                  <a:lnTo>
                    <a:pt x="96" y="92"/>
                  </a:lnTo>
                  <a:lnTo>
                    <a:pt x="96" y="88"/>
                  </a:lnTo>
                  <a:lnTo>
                    <a:pt x="100" y="88"/>
                  </a:lnTo>
                  <a:lnTo>
                    <a:pt x="96" y="88"/>
                  </a:lnTo>
                  <a:lnTo>
                    <a:pt x="92" y="88"/>
                  </a:lnTo>
                  <a:lnTo>
                    <a:pt x="92" y="92"/>
                  </a:lnTo>
                  <a:lnTo>
                    <a:pt x="88" y="92"/>
                  </a:lnTo>
                  <a:lnTo>
                    <a:pt x="84" y="92"/>
                  </a:lnTo>
                  <a:lnTo>
                    <a:pt x="80" y="92"/>
                  </a:lnTo>
                  <a:lnTo>
                    <a:pt x="76" y="88"/>
                  </a:lnTo>
                  <a:lnTo>
                    <a:pt x="72" y="88"/>
                  </a:lnTo>
                  <a:lnTo>
                    <a:pt x="72" y="92"/>
                  </a:lnTo>
                  <a:lnTo>
                    <a:pt x="68" y="92"/>
                  </a:lnTo>
                  <a:lnTo>
                    <a:pt x="64" y="92"/>
                  </a:lnTo>
                  <a:lnTo>
                    <a:pt x="60" y="92"/>
                  </a:lnTo>
                  <a:lnTo>
                    <a:pt x="56" y="92"/>
                  </a:lnTo>
                  <a:lnTo>
                    <a:pt x="52" y="92"/>
                  </a:lnTo>
                  <a:lnTo>
                    <a:pt x="52" y="95"/>
                  </a:lnTo>
                  <a:lnTo>
                    <a:pt x="48" y="92"/>
                  </a:lnTo>
                  <a:lnTo>
                    <a:pt x="48" y="88"/>
                  </a:lnTo>
                  <a:lnTo>
                    <a:pt x="48" y="84"/>
                  </a:lnTo>
                  <a:lnTo>
                    <a:pt x="52" y="84"/>
                  </a:lnTo>
                  <a:lnTo>
                    <a:pt x="56" y="84"/>
                  </a:lnTo>
                  <a:lnTo>
                    <a:pt x="56" y="88"/>
                  </a:lnTo>
                  <a:lnTo>
                    <a:pt x="60" y="88"/>
                  </a:lnTo>
                  <a:lnTo>
                    <a:pt x="56" y="84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8" y="84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76" y="76"/>
                  </a:lnTo>
                  <a:lnTo>
                    <a:pt x="80" y="76"/>
                  </a:lnTo>
                  <a:lnTo>
                    <a:pt x="84" y="76"/>
                  </a:lnTo>
                  <a:lnTo>
                    <a:pt x="88" y="76"/>
                  </a:lnTo>
                  <a:lnTo>
                    <a:pt x="92" y="76"/>
                  </a:lnTo>
                  <a:lnTo>
                    <a:pt x="96" y="76"/>
                  </a:lnTo>
                  <a:lnTo>
                    <a:pt x="100" y="76"/>
                  </a:lnTo>
                  <a:lnTo>
                    <a:pt x="104" y="72"/>
                  </a:lnTo>
                  <a:lnTo>
                    <a:pt x="100" y="72"/>
                  </a:lnTo>
                  <a:lnTo>
                    <a:pt x="96" y="72"/>
                  </a:lnTo>
                  <a:lnTo>
                    <a:pt x="96" y="76"/>
                  </a:lnTo>
                  <a:lnTo>
                    <a:pt x="96" y="72"/>
                  </a:lnTo>
                  <a:lnTo>
                    <a:pt x="92" y="72"/>
                  </a:lnTo>
                  <a:lnTo>
                    <a:pt x="88" y="72"/>
                  </a:lnTo>
                  <a:lnTo>
                    <a:pt x="88" y="68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64"/>
                  </a:lnTo>
                  <a:lnTo>
                    <a:pt x="92" y="64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76" y="72"/>
                  </a:lnTo>
                  <a:lnTo>
                    <a:pt x="72" y="72"/>
                  </a:lnTo>
                  <a:lnTo>
                    <a:pt x="72" y="68"/>
                  </a:lnTo>
                  <a:lnTo>
                    <a:pt x="76" y="68"/>
                  </a:lnTo>
                  <a:lnTo>
                    <a:pt x="76" y="64"/>
                  </a:lnTo>
                  <a:lnTo>
                    <a:pt x="76" y="60"/>
                  </a:lnTo>
                  <a:lnTo>
                    <a:pt x="72" y="60"/>
                  </a:lnTo>
                  <a:lnTo>
                    <a:pt x="72" y="64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80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4" y="80"/>
                  </a:lnTo>
                  <a:lnTo>
                    <a:pt x="40" y="80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28" y="72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16" y="60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20" y="56"/>
                  </a:lnTo>
                  <a:lnTo>
                    <a:pt x="24" y="60"/>
                  </a:lnTo>
                  <a:lnTo>
                    <a:pt x="28" y="60"/>
                  </a:lnTo>
                  <a:lnTo>
                    <a:pt x="28" y="56"/>
                  </a:lnTo>
                  <a:lnTo>
                    <a:pt x="24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48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52" y="44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2" y="40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80" y="48"/>
                  </a:lnTo>
                  <a:lnTo>
                    <a:pt x="80" y="52"/>
                  </a:lnTo>
                  <a:lnTo>
                    <a:pt x="84" y="52"/>
                  </a:lnTo>
                  <a:lnTo>
                    <a:pt x="84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92" y="56"/>
                  </a:lnTo>
                  <a:lnTo>
                    <a:pt x="88" y="56"/>
                  </a:lnTo>
                  <a:lnTo>
                    <a:pt x="88" y="52"/>
                  </a:lnTo>
                  <a:lnTo>
                    <a:pt x="84" y="52"/>
                  </a:lnTo>
                  <a:lnTo>
                    <a:pt x="84" y="48"/>
                  </a:lnTo>
                  <a:lnTo>
                    <a:pt x="84" y="44"/>
                  </a:lnTo>
                  <a:lnTo>
                    <a:pt x="80" y="44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0" y="32"/>
                  </a:lnTo>
                  <a:lnTo>
                    <a:pt x="76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4" y="28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8" y="28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12" y="32"/>
                  </a:lnTo>
                  <a:lnTo>
                    <a:pt x="112" y="36"/>
                  </a:lnTo>
                  <a:lnTo>
                    <a:pt x="108" y="40"/>
                  </a:lnTo>
                  <a:lnTo>
                    <a:pt x="108" y="44"/>
                  </a:lnTo>
                  <a:lnTo>
                    <a:pt x="112" y="44"/>
                  </a:lnTo>
                  <a:lnTo>
                    <a:pt x="112" y="40"/>
                  </a:lnTo>
                  <a:lnTo>
                    <a:pt x="116" y="36"/>
                  </a:lnTo>
                  <a:lnTo>
                    <a:pt x="120" y="36"/>
                  </a:lnTo>
                  <a:lnTo>
                    <a:pt x="124" y="36"/>
                  </a:lnTo>
                  <a:lnTo>
                    <a:pt x="124" y="40"/>
                  </a:lnTo>
                  <a:lnTo>
                    <a:pt x="128" y="40"/>
                  </a:lnTo>
                  <a:lnTo>
                    <a:pt x="128" y="44"/>
                  </a:lnTo>
                  <a:lnTo>
                    <a:pt x="128" y="48"/>
                  </a:lnTo>
                  <a:lnTo>
                    <a:pt x="128" y="52"/>
                  </a:lnTo>
                  <a:lnTo>
                    <a:pt x="132" y="52"/>
                  </a:lnTo>
                  <a:lnTo>
                    <a:pt x="132" y="48"/>
                  </a:lnTo>
                  <a:lnTo>
                    <a:pt x="140" y="52"/>
                  </a:lnTo>
                  <a:lnTo>
                    <a:pt x="144" y="56"/>
                  </a:lnTo>
                  <a:lnTo>
                    <a:pt x="148" y="56"/>
                  </a:lnTo>
                  <a:lnTo>
                    <a:pt x="152" y="56"/>
                  </a:lnTo>
                  <a:lnTo>
                    <a:pt x="156" y="56"/>
                  </a:lnTo>
                  <a:lnTo>
                    <a:pt x="160" y="56"/>
                  </a:lnTo>
                  <a:lnTo>
                    <a:pt x="160" y="60"/>
                  </a:lnTo>
                  <a:lnTo>
                    <a:pt x="164" y="60"/>
                  </a:lnTo>
                  <a:lnTo>
                    <a:pt x="168" y="60"/>
                  </a:lnTo>
                  <a:lnTo>
                    <a:pt x="168" y="64"/>
                  </a:lnTo>
                  <a:lnTo>
                    <a:pt x="164" y="64"/>
                  </a:lnTo>
                  <a:lnTo>
                    <a:pt x="160" y="64"/>
                  </a:lnTo>
                  <a:lnTo>
                    <a:pt x="160" y="68"/>
                  </a:lnTo>
                  <a:lnTo>
                    <a:pt x="156" y="64"/>
                  </a:lnTo>
                  <a:lnTo>
                    <a:pt x="152" y="64"/>
                  </a:lnTo>
                  <a:lnTo>
                    <a:pt x="152" y="68"/>
                  </a:lnTo>
                  <a:lnTo>
                    <a:pt x="148" y="68"/>
                  </a:lnTo>
                  <a:lnTo>
                    <a:pt x="144" y="68"/>
                  </a:lnTo>
                  <a:lnTo>
                    <a:pt x="140" y="68"/>
                  </a:lnTo>
                  <a:lnTo>
                    <a:pt x="136" y="68"/>
                  </a:lnTo>
                  <a:lnTo>
                    <a:pt x="140" y="68"/>
                  </a:lnTo>
                  <a:lnTo>
                    <a:pt x="140" y="72"/>
                  </a:lnTo>
                  <a:lnTo>
                    <a:pt x="136" y="72"/>
                  </a:lnTo>
                  <a:lnTo>
                    <a:pt x="132" y="72"/>
                  </a:lnTo>
                  <a:lnTo>
                    <a:pt x="128" y="72"/>
                  </a:lnTo>
                  <a:lnTo>
                    <a:pt x="128" y="76"/>
                  </a:lnTo>
                  <a:lnTo>
                    <a:pt x="128" y="80"/>
                  </a:lnTo>
                  <a:lnTo>
                    <a:pt x="128" y="84"/>
                  </a:lnTo>
                  <a:lnTo>
                    <a:pt x="124" y="84"/>
                  </a:lnTo>
                  <a:lnTo>
                    <a:pt x="120" y="84"/>
                  </a:lnTo>
                  <a:lnTo>
                    <a:pt x="120" y="88"/>
                  </a:lnTo>
                  <a:lnTo>
                    <a:pt x="120" y="92"/>
                  </a:lnTo>
                  <a:lnTo>
                    <a:pt x="120" y="95"/>
                  </a:lnTo>
                  <a:lnTo>
                    <a:pt x="116" y="99"/>
                  </a:lnTo>
                  <a:lnTo>
                    <a:pt x="112" y="99"/>
                  </a:lnTo>
                  <a:lnTo>
                    <a:pt x="108" y="99"/>
                  </a:lnTo>
                  <a:lnTo>
                    <a:pt x="108" y="103"/>
                  </a:lnTo>
                  <a:lnTo>
                    <a:pt x="104" y="107"/>
                  </a:lnTo>
                  <a:lnTo>
                    <a:pt x="104" y="111"/>
                  </a:lnTo>
                  <a:lnTo>
                    <a:pt x="104" y="115"/>
                  </a:lnTo>
                  <a:lnTo>
                    <a:pt x="100" y="115"/>
                  </a:lnTo>
                  <a:lnTo>
                    <a:pt x="104" y="115"/>
                  </a:lnTo>
                  <a:lnTo>
                    <a:pt x="100" y="119"/>
                  </a:lnTo>
                  <a:lnTo>
                    <a:pt x="96" y="119"/>
                  </a:lnTo>
                  <a:lnTo>
                    <a:pt x="96" y="123"/>
                  </a:lnTo>
                  <a:lnTo>
                    <a:pt x="100" y="123"/>
                  </a:lnTo>
                  <a:lnTo>
                    <a:pt x="100" y="127"/>
                  </a:lnTo>
                  <a:lnTo>
                    <a:pt x="96" y="127"/>
                  </a:lnTo>
                  <a:lnTo>
                    <a:pt x="92" y="127"/>
                  </a:lnTo>
                  <a:lnTo>
                    <a:pt x="88" y="127"/>
                  </a:lnTo>
                  <a:lnTo>
                    <a:pt x="88" y="123"/>
                  </a:lnTo>
                  <a:lnTo>
                    <a:pt x="84" y="123"/>
                  </a:lnTo>
                  <a:lnTo>
                    <a:pt x="80" y="123"/>
                  </a:lnTo>
                  <a:lnTo>
                    <a:pt x="80" y="119"/>
                  </a:lnTo>
                  <a:lnTo>
                    <a:pt x="76" y="119"/>
                  </a:lnTo>
                  <a:lnTo>
                    <a:pt x="80" y="119"/>
                  </a:lnTo>
                  <a:lnTo>
                    <a:pt x="80" y="115"/>
                  </a:lnTo>
                  <a:lnTo>
                    <a:pt x="84" y="115"/>
                  </a:lnTo>
                  <a:lnTo>
                    <a:pt x="88" y="115"/>
                  </a:lnTo>
                  <a:lnTo>
                    <a:pt x="92" y="115"/>
                  </a:lnTo>
                  <a:lnTo>
                    <a:pt x="88" y="115"/>
                  </a:lnTo>
                  <a:lnTo>
                    <a:pt x="84" y="115"/>
                  </a:lnTo>
                  <a:lnTo>
                    <a:pt x="84" y="111"/>
                  </a:lnTo>
                  <a:lnTo>
                    <a:pt x="80" y="115"/>
                  </a:lnTo>
                  <a:lnTo>
                    <a:pt x="76" y="115"/>
                  </a:lnTo>
                  <a:lnTo>
                    <a:pt x="72" y="115"/>
                  </a:lnTo>
                  <a:lnTo>
                    <a:pt x="68" y="115"/>
                  </a:lnTo>
                  <a:lnTo>
                    <a:pt x="68" y="111"/>
                  </a:lnTo>
                  <a:lnTo>
                    <a:pt x="64" y="111"/>
                  </a:lnTo>
                  <a:lnTo>
                    <a:pt x="60" y="111"/>
                  </a:lnTo>
                  <a:close/>
                  <a:moveTo>
                    <a:pt x="24" y="80"/>
                  </a:moveTo>
                  <a:lnTo>
                    <a:pt x="20" y="80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64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72"/>
                  </a:lnTo>
                  <a:lnTo>
                    <a:pt x="20" y="72"/>
                  </a:lnTo>
                  <a:lnTo>
                    <a:pt x="24" y="76"/>
                  </a:lnTo>
                  <a:lnTo>
                    <a:pt x="24" y="80"/>
                  </a:lnTo>
                  <a:close/>
                  <a:moveTo>
                    <a:pt x="144" y="72"/>
                  </a:moveTo>
                  <a:lnTo>
                    <a:pt x="148" y="72"/>
                  </a:lnTo>
                  <a:lnTo>
                    <a:pt x="152" y="68"/>
                  </a:lnTo>
                  <a:lnTo>
                    <a:pt x="156" y="68"/>
                  </a:lnTo>
                  <a:lnTo>
                    <a:pt x="160" y="68"/>
                  </a:lnTo>
                  <a:lnTo>
                    <a:pt x="164" y="68"/>
                  </a:lnTo>
                  <a:lnTo>
                    <a:pt x="168" y="68"/>
                  </a:lnTo>
                  <a:lnTo>
                    <a:pt x="172" y="68"/>
                  </a:lnTo>
                  <a:lnTo>
                    <a:pt x="176" y="68"/>
                  </a:lnTo>
                  <a:lnTo>
                    <a:pt x="176" y="72"/>
                  </a:lnTo>
                  <a:lnTo>
                    <a:pt x="176" y="76"/>
                  </a:lnTo>
                  <a:lnTo>
                    <a:pt x="180" y="76"/>
                  </a:lnTo>
                  <a:lnTo>
                    <a:pt x="176" y="80"/>
                  </a:lnTo>
                  <a:lnTo>
                    <a:pt x="172" y="80"/>
                  </a:lnTo>
                  <a:lnTo>
                    <a:pt x="172" y="76"/>
                  </a:lnTo>
                  <a:lnTo>
                    <a:pt x="168" y="80"/>
                  </a:lnTo>
                  <a:lnTo>
                    <a:pt x="164" y="80"/>
                  </a:lnTo>
                  <a:lnTo>
                    <a:pt x="160" y="80"/>
                  </a:lnTo>
                  <a:lnTo>
                    <a:pt x="156" y="80"/>
                  </a:lnTo>
                  <a:lnTo>
                    <a:pt x="152" y="80"/>
                  </a:lnTo>
                  <a:lnTo>
                    <a:pt x="156" y="80"/>
                  </a:lnTo>
                  <a:lnTo>
                    <a:pt x="156" y="76"/>
                  </a:lnTo>
                  <a:lnTo>
                    <a:pt x="152" y="76"/>
                  </a:lnTo>
                  <a:lnTo>
                    <a:pt x="152" y="72"/>
                  </a:lnTo>
                  <a:lnTo>
                    <a:pt x="148" y="72"/>
                  </a:lnTo>
                  <a:lnTo>
                    <a:pt x="144" y="72"/>
                  </a:lnTo>
                  <a:close/>
                  <a:moveTo>
                    <a:pt x="184" y="107"/>
                  </a:moveTo>
                  <a:lnTo>
                    <a:pt x="180" y="107"/>
                  </a:lnTo>
                  <a:lnTo>
                    <a:pt x="180" y="103"/>
                  </a:lnTo>
                  <a:lnTo>
                    <a:pt x="184" y="99"/>
                  </a:lnTo>
                  <a:lnTo>
                    <a:pt x="180" y="99"/>
                  </a:lnTo>
                  <a:lnTo>
                    <a:pt x="176" y="99"/>
                  </a:lnTo>
                  <a:lnTo>
                    <a:pt x="172" y="99"/>
                  </a:lnTo>
                  <a:lnTo>
                    <a:pt x="168" y="99"/>
                  </a:lnTo>
                  <a:lnTo>
                    <a:pt x="164" y="99"/>
                  </a:lnTo>
                  <a:lnTo>
                    <a:pt x="164" y="103"/>
                  </a:lnTo>
                  <a:lnTo>
                    <a:pt x="160" y="103"/>
                  </a:lnTo>
                  <a:lnTo>
                    <a:pt x="156" y="103"/>
                  </a:lnTo>
                  <a:lnTo>
                    <a:pt x="156" y="99"/>
                  </a:lnTo>
                  <a:lnTo>
                    <a:pt x="160" y="99"/>
                  </a:lnTo>
                  <a:lnTo>
                    <a:pt x="160" y="95"/>
                  </a:lnTo>
                  <a:lnTo>
                    <a:pt x="164" y="95"/>
                  </a:lnTo>
                  <a:lnTo>
                    <a:pt x="164" y="92"/>
                  </a:lnTo>
                  <a:lnTo>
                    <a:pt x="168" y="88"/>
                  </a:lnTo>
                  <a:lnTo>
                    <a:pt x="164" y="88"/>
                  </a:lnTo>
                  <a:lnTo>
                    <a:pt x="160" y="84"/>
                  </a:lnTo>
                  <a:lnTo>
                    <a:pt x="156" y="84"/>
                  </a:lnTo>
                  <a:lnTo>
                    <a:pt x="156" y="80"/>
                  </a:lnTo>
                  <a:lnTo>
                    <a:pt x="160" y="80"/>
                  </a:lnTo>
                  <a:lnTo>
                    <a:pt x="164" y="80"/>
                  </a:lnTo>
                  <a:lnTo>
                    <a:pt x="168" y="80"/>
                  </a:lnTo>
                  <a:lnTo>
                    <a:pt x="172" y="80"/>
                  </a:lnTo>
                  <a:lnTo>
                    <a:pt x="176" y="80"/>
                  </a:lnTo>
                  <a:lnTo>
                    <a:pt x="180" y="80"/>
                  </a:lnTo>
                  <a:lnTo>
                    <a:pt x="188" y="80"/>
                  </a:lnTo>
                  <a:lnTo>
                    <a:pt x="192" y="80"/>
                  </a:lnTo>
                  <a:lnTo>
                    <a:pt x="196" y="80"/>
                  </a:lnTo>
                  <a:lnTo>
                    <a:pt x="196" y="84"/>
                  </a:lnTo>
                  <a:lnTo>
                    <a:pt x="192" y="84"/>
                  </a:lnTo>
                  <a:lnTo>
                    <a:pt x="188" y="84"/>
                  </a:lnTo>
                  <a:lnTo>
                    <a:pt x="192" y="84"/>
                  </a:lnTo>
                  <a:lnTo>
                    <a:pt x="192" y="88"/>
                  </a:lnTo>
                  <a:lnTo>
                    <a:pt x="196" y="88"/>
                  </a:lnTo>
                  <a:lnTo>
                    <a:pt x="200" y="88"/>
                  </a:lnTo>
                  <a:lnTo>
                    <a:pt x="200" y="92"/>
                  </a:lnTo>
                  <a:lnTo>
                    <a:pt x="204" y="92"/>
                  </a:lnTo>
                  <a:lnTo>
                    <a:pt x="204" y="88"/>
                  </a:lnTo>
                  <a:lnTo>
                    <a:pt x="208" y="88"/>
                  </a:lnTo>
                  <a:lnTo>
                    <a:pt x="212" y="92"/>
                  </a:lnTo>
                  <a:lnTo>
                    <a:pt x="216" y="92"/>
                  </a:lnTo>
                  <a:lnTo>
                    <a:pt x="220" y="92"/>
                  </a:lnTo>
                  <a:lnTo>
                    <a:pt x="216" y="92"/>
                  </a:lnTo>
                  <a:lnTo>
                    <a:pt x="212" y="95"/>
                  </a:lnTo>
                  <a:lnTo>
                    <a:pt x="208" y="95"/>
                  </a:lnTo>
                  <a:lnTo>
                    <a:pt x="204" y="95"/>
                  </a:lnTo>
                  <a:lnTo>
                    <a:pt x="204" y="99"/>
                  </a:lnTo>
                  <a:lnTo>
                    <a:pt x="200" y="103"/>
                  </a:lnTo>
                  <a:lnTo>
                    <a:pt x="196" y="103"/>
                  </a:lnTo>
                  <a:lnTo>
                    <a:pt x="192" y="103"/>
                  </a:lnTo>
                  <a:lnTo>
                    <a:pt x="188" y="103"/>
                  </a:lnTo>
                  <a:lnTo>
                    <a:pt x="188" y="107"/>
                  </a:lnTo>
                  <a:lnTo>
                    <a:pt x="184" y="10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6" name="Freeform 113"/>
            <p:cNvSpPr>
              <a:spLocks noEditPoints="1"/>
            </p:cNvSpPr>
            <p:nvPr>
              <p:custDataLst>
                <p:tags r:id="rId308"/>
              </p:custDataLst>
            </p:nvPr>
          </p:nvSpPr>
          <p:spPr bwMode="gray">
            <a:xfrm>
              <a:off x="4623733" y="2455893"/>
              <a:ext cx="296613" cy="508690"/>
            </a:xfrm>
            <a:custGeom>
              <a:avLst/>
              <a:gdLst/>
              <a:ahLst/>
              <a:cxnLst>
                <a:cxn ang="0">
                  <a:pos x="112" y="247"/>
                </a:cxn>
                <a:cxn ang="0">
                  <a:pos x="104" y="255"/>
                </a:cxn>
                <a:cxn ang="0">
                  <a:pos x="84" y="267"/>
                </a:cxn>
                <a:cxn ang="0">
                  <a:pos x="80" y="271"/>
                </a:cxn>
                <a:cxn ang="0">
                  <a:pos x="88" y="283"/>
                </a:cxn>
                <a:cxn ang="0">
                  <a:pos x="80" y="299"/>
                </a:cxn>
                <a:cxn ang="0">
                  <a:pos x="68" y="323"/>
                </a:cxn>
                <a:cxn ang="0">
                  <a:pos x="48" y="335"/>
                </a:cxn>
                <a:cxn ang="0">
                  <a:pos x="32" y="343"/>
                </a:cxn>
                <a:cxn ang="0">
                  <a:pos x="28" y="323"/>
                </a:cxn>
                <a:cxn ang="0">
                  <a:pos x="20" y="303"/>
                </a:cxn>
                <a:cxn ang="0">
                  <a:pos x="8" y="283"/>
                </a:cxn>
                <a:cxn ang="0">
                  <a:pos x="4" y="263"/>
                </a:cxn>
                <a:cxn ang="0">
                  <a:pos x="8" y="259"/>
                </a:cxn>
                <a:cxn ang="0">
                  <a:pos x="16" y="235"/>
                </a:cxn>
                <a:cxn ang="0">
                  <a:pos x="20" y="211"/>
                </a:cxn>
                <a:cxn ang="0">
                  <a:pos x="24" y="195"/>
                </a:cxn>
                <a:cxn ang="0">
                  <a:pos x="16" y="172"/>
                </a:cxn>
                <a:cxn ang="0">
                  <a:pos x="16" y="144"/>
                </a:cxn>
                <a:cxn ang="0">
                  <a:pos x="48" y="120"/>
                </a:cxn>
                <a:cxn ang="0">
                  <a:pos x="48" y="104"/>
                </a:cxn>
                <a:cxn ang="0">
                  <a:pos x="56" y="80"/>
                </a:cxn>
                <a:cxn ang="0">
                  <a:pos x="80" y="56"/>
                </a:cxn>
                <a:cxn ang="0">
                  <a:pos x="84" y="32"/>
                </a:cxn>
                <a:cxn ang="0">
                  <a:pos x="108" y="20"/>
                </a:cxn>
                <a:cxn ang="0">
                  <a:pos x="136" y="20"/>
                </a:cxn>
                <a:cxn ang="0">
                  <a:pos x="148" y="4"/>
                </a:cxn>
                <a:cxn ang="0">
                  <a:pos x="172" y="16"/>
                </a:cxn>
                <a:cxn ang="0">
                  <a:pos x="188" y="44"/>
                </a:cxn>
                <a:cxn ang="0">
                  <a:pos x="192" y="68"/>
                </a:cxn>
                <a:cxn ang="0">
                  <a:pos x="188" y="88"/>
                </a:cxn>
                <a:cxn ang="0">
                  <a:pos x="168" y="92"/>
                </a:cxn>
                <a:cxn ang="0">
                  <a:pos x="168" y="96"/>
                </a:cxn>
                <a:cxn ang="0">
                  <a:pos x="160" y="104"/>
                </a:cxn>
                <a:cxn ang="0">
                  <a:pos x="152" y="116"/>
                </a:cxn>
                <a:cxn ang="0">
                  <a:pos x="156" y="128"/>
                </a:cxn>
                <a:cxn ang="0">
                  <a:pos x="132" y="144"/>
                </a:cxn>
                <a:cxn ang="0">
                  <a:pos x="124" y="152"/>
                </a:cxn>
                <a:cxn ang="0">
                  <a:pos x="112" y="160"/>
                </a:cxn>
                <a:cxn ang="0">
                  <a:pos x="104" y="160"/>
                </a:cxn>
                <a:cxn ang="0">
                  <a:pos x="96" y="180"/>
                </a:cxn>
                <a:cxn ang="0">
                  <a:pos x="92" y="191"/>
                </a:cxn>
                <a:cxn ang="0">
                  <a:pos x="96" y="219"/>
                </a:cxn>
                <a:cxn ang="0">
                  <a:pos x="116" y="227"/>
                </a:cxn>
                <a:cxn ang="0">
                  <a:pos x="112" y="247"/>
                </a:cxn>
                <a:cxn ang="0">
                  <a:pos x="100" y="239"/>
                </a:cxn>
                <a:cxn ang="0">
                  <a:pos x="100" y="243"/>
                </a:cxn>
                <a:cxn ang="0">
                  <a:pos x="84" y="243"/>
                </a:cxn>
                <a:cxn ang="0">
                  <a:pos x="92" y="247"/>
                </a:cxn>
                <a:cxn ang="0">
                  <a:pos x="100" y="176"/>
                </a:cxn>
                <a:cxn ang="0">
                  <a:pos x="100" y="251"/>
                </a:cxn>
                <a:cxn ang="0">
                  <a:pos x="112" y="227"/>
                </a:cxn>
                <a:cxn ang="0">
                  <a:pos x="8" y="279"/>
                </a:cxn>
                <a:cxn ang="0">
                  <a:pos x="116" y="295"/>
                </a:cxn>
                <a:cxn ang="0">
                  <a:pos x="108" y="291"/>
                </a:cxn>
                <a:cxn ang="0">
                  <a:pos x="84" y="307"/>
                </a:cxn>
                <a:cxn ang="0">
                  <a:pos x="88" y="307"/>
                </a:cxn>
              </a:cxnLst>
              <a:rect l="0" t="0" r="r" b="b"/>
              <a:pathLst>
                <a:path w="200" h="343">
                  <a:moveTo>
                    <a:pt x="96" y="251"/>
                  </a:moveTo>
                  <a:lnTo>
                    <a:pt x="100" y="251"/>
                  </a:lnTo>
                  <a:lnTo>
                    <a:pt x="104" y="251"/>
                  </a:lnTo>
                  <a:lnTo>
                    <a:pt x="104" y="247"/>
                  </a:lnTo>
                  <a:lnTo>
                    <a:pt x="104" y="251"/>
                  </a:lnTo>
                  <a:lnTo>
                    <a:pt x="108" y="251"/>
                  </a:lnTo>
                  <a:lnTo>
                    <a:pt x="108" y="247"/>
                  </a:lnTo>
                  <a:lnTo>
                    <a:pt x="112" y="247"/>
                  </a:lnTo>
                  <a:lnTo>
                    <a:pt x="112" y="251"/>
                  </a:lnTo>
                  <a:lnTo>
                    <a:pt x="112" y="247"/>
                  </a:lnTo>
                  <a:lnTo>
                    <a:pt x="116" y="247"/>
                  </a:lnTo>
                  <a:lnTo>
                    <a:pt x="116" y="251"/>
                  </a:lnTo>
                  <a:lnTo>
                    <a:pt x="112" y="251"/>
                  </a:lnTo>
                  <a:lnTo>
                    <a:pt x="108" y="251"/>
                  </a:lnTo>
                  <a:lnTo>
                    <a:pt x="108" y="255"/>
                  </a:lnTo>
                  <a:lnTo>
                    <a:pt x="104" y="255"/>
                  </a:lnTo>
                  <a:lnTo>
                    <a:pt x="104" y="259"/>
                  </a:lnTo>
                  <a:lnTo>
                    <a:pt x="100" y="255"/>
                  </a:lnTo>
                  <a:lnTo>
                    <a:pt x="100" y="259"/>
                  </a:lnTo>
                  <a:lnTo>
                    <a:pt x="96" y="263"/>
                  </a:lnTo>
                  <a:lnTo>
                    <a:pt x="92" y="263"/>
                  </a:lnTo>
                  <a:lnTo>
                    <a:pt x="92" y="267"/>
                  </a:lnTo>
                  <a:lnTo>
                    <a:pt x="88" y="267"/>
                  </a:lnTo>
                  <a:lnTo>
                    <a:pt x="84" y="267"/>
                  </a:lnTo>
                  <a:lnTo>
                    <a:pt x="80" y="267"/>
                  </a:lnTo>
                  <a:lnTo>
                    <a:pt x="76" y="267"/>
                  </a:lnTo>
                  <a:lnTo>
                    <a:pt x="80" y="267"/>
                  </a:lnTo>
                  <a:lnTo>
                    <a:pt x="84" y="267"/>
                  </a:lnTo>
                  <a:lnTo>
                    <a:pt x="88" y="267"/>
                  </a:lnTo>
                  <a:lnTo>
                    <a:pt x="88" y="271"/>
                  </a:lnTo>
                  <a:lnTo>
                    <a:pt x="84" y="271"/>
                  </a:lnTo>
                  <a:lnTo>
                    <a:pt x="80" y="271"/>
                  </a:lnTo>
                  <a:lnTo>
                    <a:pt x="84" y="271"/>
                  </a:lnTo>
                  <a:lnTo>
                    <a:pt x="88" y="271"/>
                  </a:lnTo>
                  <a:lnTo>
                    <a:pt x="88" y="275"/>
                  </a:lnTo>
                  <a:lnTo>
                    <a:pt x="88" y="279"/>
                  </a:lnTo>
                  <a:lnTo>
                    <a:pt x="84" y="279"/>
                  </a:lnTo>
                  <a:lnTo>
                    <a:pt x="88" y="279"/>
                  </a:lnTo>
                  <a:lnTo>
                    <a:pt x="84" y="283"/>
                  </a:lnTo>
                  <a:lnTo>
                    <a:pt x="88" y="283"/>
                  </a:lnTo>
                  <a:lnTo>
                    <a:pt x="84" y="283"/>
                  </a:lnTo>
                  <a:lnTo>
                    <a:pt x="84" y="287"/>
                  </a:lnTo>
                  <a:lnTo>
                    <a:pt x="80" y="283"/>
                  </a:lnTo>
                  <a:lnTo>
                    <a:pt x="84" y="287"/>
                  </a:lnTo>
                  <a:lnTo>
                    <a:pt x="84" y="291"/>
                  </a:lnTo>
                  <a:lnTo>
                    <a:pt x="84" y="295"/>
                  </a:lnTo>
                  <a:lnTo>
                    <a:pt x="84" y="299"/>
                  </a:lnTo>
                  <a:lnTo>
                    <a:pt x="80" y="299"/>
                  </a:lnTo>
                  <a:lnTo>
                    <a:pt x="84" y="303"/>
                  </a:lnTo>
                  <a:lnTo>
                    <a:pt x="80" y="307"/>
                  </a:lnTo>
                  <a:lnTo>
                    <a:pt x="80" y="311"/>
                  </a:lnTo>
                  <a:lnTo>
                    <a:pt x="80" y="315"/>
                  </a:lnTo>
                  <a:lnTo>
                    <a:pt x="76" y="319"/>
                  </a:lnTo>
                  <a:lnTo>
                    <a:pt x="76" y="323"/>
                  </a:lnTo>
                  <a:lnTo>
                    <a:pt x="72" y="327"/>
                  </a:lnTo>
                  <a:lnTo>
                    <a:pt x="68" y="323"/>
                  </a:lnTo>
                  <a:lnTo>
                    <a:pt x="64" y="327"/>
                  </a:lnTo>
                  <a:lnTo>
                    <a:pt x="60" y="323"/>
                  </a:lnTo>
                  <a:lnTo>
                    <a:pt x="56" y="323"/>
                  </a:lnTo>
                  <a:lnTo>
                    <a:pt x="56" y="327"/>
                  </a:lnTo>
                  <a:lnTo>
                    <a:pt x="52" y="327"/>
                  </a:lnTo>
                  <a:lnTo>
                    <a:pt x="52" y="331"/>
                  </a:lnTo>
                  <a:lnTo>
                    <a:pt x="48" y="331"/>
                  </a:lnTo>
                  <a:lnTo>
                    <a:pt x="48" y="335"/>
                  </a:lnTo>
                  <a:lnTo>
                    <a:pt x="48" y="339"/>
                  </a:lnTo>
                  <a:lnTo>
                    <a:pt x="52" y="339"/>
                  </a:lnTo>
                  <a:lnTo>
                    <a:pt x="48" y="339"/>
                  </a:lnTo>
                  <a:lnTo>
                    <a:pt x="48" y="343"/>
                  </a:lnTo>
                  <a:lnTo>
                    <a:pt x="44" y="343"/>
                  </a:lnTo>
                  <a:lnTo>
                    <a:pt x="40" y="343"/>
                  </a:lnTo>
                  <a:lnTo>
                    <a:pt x="36" y="343"/>
                  </a:lnTo>
                  <a:lnTo>
                    <a:pt x="32" y="343"/>
                  </a:lnTo>
                  <a:lnTo>
                    <a:pt x="28" y="343"/>
                  </a:lnTo>
                  <a:lnTo>
                    <a:pt x="28" y="339"/>
                  </a:lnTo>
                  <a:lnTo>
                    <a:pt x="32" y="335"/>
                  </a:lnTo>
                  <a:lnTo>
                    <a:pt x="28" y="331"/>
                  </a:lnTo>
                  <a:lnTo>
                    <a:pt x="24" y="327"/>
                  </a:lnTo>
                  <a:lnTo>
                    <a:pt x="20" y="323"/>
                  </a:lnTo>
                  <a:lnTo>
                    <a:pt x="24" y="323"/>
                  </a:lnTo>
                  <a:lnTo>
                    <a:pt x="28" y="323"/>
                  </a:lnTo>
                  <a:lnTo>
                    <a:pt x="24" y="319"/>
                  </a:lnTo>
                  <a:lnTo>
                    <a:pt x="28" y="319"/>
                  </a:lnTo>
                  <a:lnTo>
                    <a:pt x="28" y="315"/>
                  </a:lnTo>
                  <a:lnTo>
                    <a:pt x="24" y="315"/>
                  </a:lnTo>
                  <a:lnTo>
                    <a:pt x="24" y="311"/>
                  </a:lnTo>
                  <a:lnTo>
                    <a:pt x="24" y="307"/>
                  </a:lnTo>
                  <a:lnTo>
                    <a:pt x="20" y="307"/>
                  </a:lnTo>
                  <a:lnTo>
                    <a:pt x="20" y="303"/>
                  </a:lnTo>
                  <a:lnTo>
                    <a:pt x="16" y="303"/>
                  </a:lnTo>
                  <a:lnTo>
                    <a:pt x="16" y="299"/>
                  </a:lnTo>
                  <a:lnTo>
                    <a:pt x="16" y="295"/>
                  </a:lnTo>
                  <a:lnTo>
                    <a:pt x="12" y="295"/>
                  </a:lnTo>
                  <a:lnTo>
                    <a:pt x="12" y="291"/>
                  </a:lnTo>
                  <a:lnTo>
                    <a:pt x="12" y="287"/>
                  </a:lnTo>
                  <a:lnTo>
                    <a:pt x="8" y="287"/>
                  </a:lnTo>
                  <a:lnTo>
                    <a:pt x="8" y="283"/>
                  </a:lnTo>
                  <a:lnTo>
                    <a:pt x="12" y="283"/>
                  </a:lnTo>
                  <a:lnTo>
                    <a:pt x="12" y="279"/>
                  </a:lnTo>
                  <a:lnTo>
                    <a:pt x="12" y="275"/>
                  </a:lnTo>
                  <a:lnTo>
                    <a:pt x="8" y="275"/>
                  </a:lnTo>
                  <a:lnTo>
                    <a:pt x="4" y="275"/>
                  </a:lnTo>
                  <a:lnTo>
                    <a:pt x="4" y="271"/>
                  </a:lnTo>
                  <a:lnTo>
                    <a:pt x="4" y="267"/>
                  </a:lnTo>
                  <a:lnTo>
                    <a:pt x="4" y="263"/>
                  </a:lnTo>
                  <a:lnTo>
                    <a:pt x="0" y="263"/>
                  </a:lnTo>
                  <a:lnTo>
                    <a:pt x="4" y="263"/>
                  </a:lnTo>
                  <a:lnTo>
                    <a:pt x="4" y="259"/>
                  </a:lnTo>
                  <a:lnTo>
                    <a:pt x="0" y="259"/>
                  </a:lnTo>
                  <a:lnTo>
                    <a:pt x="0" y="255"/>
                  </a:lnTo>
                  <a:lnTo>
                    <a:pt x="4" y="255"/>
                  </a:lnTo>
                  <a:lnTo>
                    <a:pt x="4" y="259"/>
                  </a:lnTo>
                  <a:lnTo>
                    <a:pt x="8" y="259"/>
                  </a:lnTo>
                  <a:lnTo>
                    <a:pt x="12" y="255"/>
                  </a:lnTo>
                  <a:lnTo>
                    <a:pt x="12" y="251"/>
                  </a:lnTo>
                  <a:lnTo>
                    <a:pt x="12" y="247"/>
                  </a:lnTo>
                  <a:lnTo>
                    <a:pt x="8" y="243"/>
                  </a:lnTo>
                  <a:lnTo>
                    <a:pt x="12" y="243"/>
                  </a:lnTo>
                  <a:lnTo>
                    <a:pt x="12" y="239"/>
                  </a:lnTo>
                  <a:lnTo>
                    <a:pt x="12" y="235"/>
                  </a:lnTo>
                  <a:lnTo>
                    <a:pt x="16" y="235"/>
                  </a:lnTo>
                  <a:lnTo>
                    <a:pt x="20" y="235"/>
                  </a:lnTo>
                  <a:lnTo>
                    <a:pt x="20" y="231"/>
                  </a:lnTo>
                  <a:lnTo>
                    <a:pt x="20" y="227"/>
                  </a:lnTo>
                  <a:lnTo>
                    <a:pt x="24" y="223"/>
                  </a:lnTo>
                  <a:lnTo>
                    <a:pt x="24" y="219"/>
                  </a:lnTo>
                  <a:lnTo>
                    <a:pt x="20" y="219"/>
                  </a:lnTo>
                  <a:lnTo>
                    <a:pt x="20" y="215"/>
                  </a:lnTo>
                  <a:lnTo>
                    <a:pt x="20" y="211"/>
                  </a:lnTo>
                  <a:lnTo>
                    <a:pt x="16" y="207"/>
                  </a:lnTo>
                  <a:lnTo>
                    <a:pt x="20" y="207"/>
                  </a:lnTo>
                  <a:lnTo>
                    <a:pt x="24" y="207"/>
                  </a:lnTo>
                  <a:lnTo>
                    <a:pt x="24" y="203"/>
                  </a:lnTo>
                  <a:lnTo>
                    <a:pt x="28" y="203"/>
                  </a:lnTo>
                  <a:lnTo>
                    <a:pt x="28" y="199"/>
                  </a:lnTo>
                  <a:lnTo>
                    <a:pt x="24" y="199"/>
                  </a:lnTo>
                  <a:lnTo>
                    <a:pt x="24" y="195"/>
                  </a:lnTo>
                  <a:lnTo>
                    <a:pt x="20" y="195"/>
                  </a:lnTo>
                  <a:lnTo>
                    <a:pt x="16" y="191"/>
                  </a:lnTo>
                  <a:lnTo>
                    <a:pt x="16" y="188"/>
                  </a:lnTo>
                  <a:lnTo>
                    <a:pt x="16" y="184"/>
                  </a:lnTo>
                  <a:lnTo>
                    <a:pt x="20" y="180"/>
                  </a:lnTo>
                  <a:lnTo>
                    <a:pt x="20" y="176"/>
                  </a:lnTo>
                  <a:lnTo>
                    <a:pt x="16" y="176"/>
                  </a:lnTo>
                  <a:lnTo>
                    <a:pt x="16" y="172"/>
                  </a:lnTo>
                  <a:lnTo>
                    <a:pt x="16" y="168"/>
                  </a:lnTo>
                  <a:lnTo>
                    <a:pt x="16" y="164"/>
                  </a:lnTo>
                  <a:lnTo>
                    <a:pt x="16" y="160"/>
                  </a:lnTo>
                  <a:lnTo>
                    <a:pt x="16" y="156"/>
                  </a:lnTo>
                  <a:lnTo>
                    <a:pt x="12" y="152"/>
                  </a:lnTo>
                  <a:lnTo>
                    <a:pt x="16" y="152"/>
                  </a:lnTo>
                  <a:lnTo>
                    <a:pt x="16" y="148"/>
                  </a:lnTo>
                  <a:lnTo>
                    <a:pt x="16" y="144"/>
                  </a:lnTo>
                  <a:lnTo>
                    <a:pt x="20" y="140"/>
                  </a:lnTo>
                  <a:lnTo>
                    <a:pt x="24" y="136"/>
                  </a:lnTo>
                  <a:lnTo>
                    <a:pt x="28" y="132"/>
                  </a:lnTo>
                  <a:lnTo>
                    <a:pt x="32" y="132"/>
                  </a:lnTo>
                  <a:lnTo>
                    <a:pt x="44" y="132"/>
                  </a:lnTo>
                  <a:lnTo>
                    <a:pt x="48" y="128"/>
                  </a:lnTo>
                  <a:lnTo>
                    <a:pt x="48" y="124"/>
                  </a:lnTo>
                  <a:lnTo>
                    <a:pt x="48" y="120"/>
                  </a:lnTo>
                  <a:lnTo>
                    <a:pt x="44" y="120"/>
                  </a:lnTo>
                  <a:lnTo>
                    <a:pt x="40" y="120"/>
                  </a:lnTo>
                  <a:lnTo>
                    <a:pt x="40" y="116"/>
                  </a:lnTo>
                  <a:lnTo>
                    <a:pt x="44" y="116"/>
                  </a:lnTo>
                  <a:lnTo>
                    <a:pt x="44" y="112"/>
                  </a:lnTo>
                  <a:lnTo>
                    <a:pt x="44" y="108"/>
                  </a:lnTo>
                  <a:lnTo>
                    <a:pt x="48" y="108"/>
                  </a:lnTo>
                  <a:lnTo>
                    <a:pt x="48" y="104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88"/>
                  </a:lnTo>
                  <a:lnTo>
                    <a:pt x="56" y="88"/>
                  </a:lnTo>
                  <a:lnTo>
                    <a:pt x="52" y="84"/>
                  </a:lnTo>
                  <a:lnTo>
                    <a:pt x="52" y="80"/>
                  </a:lnTo>
                  <a:lnTo>
                    <a:pt x="56" y="80"/>
                  </a:lnTo>
                  <a:lnTo>
                    <a:pt x="60" y="80"/>
                  </a:lnTo>
                  <a:lnTo>
                    <a:pt x="68" y="76"/>
                  </a:lnTo>
                  <a:lnTo>
                    <a:pt x="64" y="72"/>
                  </a:lnTo>
                  <a:lnTo>
                    <a:pt x="64" y="68"/>
                  </a:lnTo>
                  <a:lnTo>
                    <a:pt x="68" y="68"/>
                  </a:lnTo>
                  <a:lnTo>
                    <a:pt x="72" y="64"/>
                  </a:lnTo>
                  <a:lnTo>
                    <a:pt x="76" y="60"/>
                  </a:lnTo>
                  <a:lnTo>
                    <a:pt x="80" y="56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76" y="48"/>
                  </a:lnTo>
                  <a:lnTo>
                    <a:pt x="76" y="44"/>
                  </a:lnTo>
                  <a:lnTo>
                    <a:pt x="80" y="44"/>
                  </a:lnTo>
                  <a:lnTo>
                    <a:pt x="84" y="40"/>
                  </a:lnTo>
                  <a:lnTo>
                    <a:pt x="84" y="36"/>
                  </a:lnTo>
                  <a:lnTo>
                    <a:pt x="84" y="32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28"/>
                  </a:lnTo>
                  <a:lnTo>
                    <a:pt x="108" y="24"/>
                  </a:lnTo>
                  <a:lnTo>
                    <a:pt x="108" y="20"/>
                  </a:lnTo>
                  <a:lnTo>
                    <a:pt x="104" y="20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6" y="16"/>
                  </a:lnTo>
                  <a:lnTo>
                    <a:pt x="120" y="16"/>
                  </a:lnTo>
                  <a:lnTo>
                    <a:pt x="128" y="20"/>
                  </a:lnTo>
                  <a:lnTo>
                    <a:pt x="132" y="20"/>
                  </a:lnTo>
                  <a:lnTo>
                    <a:pt x="136" y="20"/>
                  </a:lnTo>
                  <a:lnTo>
                    <a:pt x="140" y="16"/>
                  </a:lnTo>
                  <a:lnTo>
                    <a:pt x="136" y="16"/>
                  </a:lnTo>
                  <a:lnTo>
                    <a:pt x="140" y="12"/>
                  </a:lnTo>
                  <a:lnTo>
                    <a:pt x="140" y="8"/>
                  </a:lnTo>
                  <a:lnTo>
                    <a:pt x="140" y="4"/>
                  </a:lnTo>
                  <a:lnTo>
                    <a:pt x="136" y="0"/>
                  </a:lnTo>
                  <a:lnTo>
                    <a:pt x="144" y="0"/>
                  </a:lnTo>
                  <a:lnTo>
                    <a:pt x="148" y="4"/>
                  </a:lnTo>
                  <a:lnTo>
                    <a:pt x="152" y="8"/>
                  </a:lnTo>
                  <a:lnTo>
                    <a:pt x="156" y="8"/>
                  </a:lnTo>
                  <a:lnTo>
                    <a:pt x="156" y="12"/>
                  </a:lnTo>
                  <a:lnTo>
                    <a:pt x="160" y="12"/>
                  </a:lnTo>
                  <a:lnTo>
                    <a:pt x="160" y="16"/>
                  </a:lnTo>
                  <a:lnTo>
                    <a:pt x="164" y="16"/>
                  </a:lnTo>
                  <a:lnTo>
                    <a:pt x="168" y="16"/>
                  </a:lnTo>
                  <a:lnTo>
                    <a:pt x="172" y="16"/>
                  </a:lnTo>
                  <a:lnTo>
                    <a:pt x="176" y="20"/>
                  </a:lnTo>
                  <a:lnTo>
                    <a:pt x="180" y="20"/>
                  </a:lnTo>
                  <a:lnTo>
                    <a:pt x="188" y="28"/>
                  </a:lnTo>
                  <a:lnTo>
                    <a:pt x="192" y="32"/>
                  </a:lnTo>
                  <a:lnTo>
                    <a:pt x="188" y="32"/>
                  </a:lnTo>
                  <a:lnTo>
                    <a:pt x="188" y="36"/>
                  </a:lnTo>
                  <a:lnTo>
                    <a:pt x="188" y="40"/>
                  </a:lnTo>
                  <a:lnTo>
                    <a:pt x="188" y="44"/>
                  </a:lnTo>
                  <a:lnTo>
                    <a:pt x="192" y="44"/>
                  </a:lnTo>
                  <a:lnTo>
                    <a:pt x="192" y="48"/>
                  </a:lnTo>
                  <a:lnTo>
                    <a:pt x="188" y="52"/>
                  </a:lnTo>
                  <a:lnTo>
                    <a:pt x="192" y="56"/>
                  </a:lnTo>
                  <a:lnTo>
                    <a:pt x="196" y="60"/>
                  </a:lnTo>
                  <a:lnTo>
                    <a:pt x="196" y="64"/>
                  </a:lnTo>
                  <a:lnTo>
                    <a:pt x="196" y="68"/>
                  </a:lnTo>
                  <a:lnTo>
                    <a:pt x="192" y="68"/>
                  </a:lnTo>
                  <a:lnTo>
                    <a:pt x="192" y="72"/>
                  </a:lnTo>
                  <a:lnTo>
                    <a:pt x="192" y="76"/>
                  </a:lnTo>
                  <a:lnTo>
                    <a:pt x="192" y="80"/>
                  </a:lnTo>
                  <a:lnTo>
                    <a:pt x="196" y="80"/>
                  </a:lnTo>
                  <a:lnTo>
                    <a:pt x="200" y="88"/>
                  </a:lnTo>
                  <a:lnTo>
                    <a:pt x="196" y="88"/>
                  </a:lnTo>
                  <a:lnTo>
                    <a:pt x="192" y="88"/>
                  </a:lnTo>
                  <a:lnTo>
                    <a:pt x="188" y="88"/>
                  </a:lnTo>
                  <a:lnTo>
                    <a:pt x="184" y="88"/>
                  </a:lnTo>
                  <a:lnTo>
                    <a:pt x="184" y="92"/>
                  </a:lnTo>
                  <a:lnTo>
                    <a:pt x="180" y="88"/>
                  </a:lnTo>
                  <a:lnTo>
                    <a:pt x="176" y="88"/>
                  </a:lnTo>
                  <a:lnTo>
                    <a:pt x="176" y="84"/>
                  </a:lnTo>
                  <a:lnTo>
                    <a:pt x="176" y="88"/>
                  </a:lnTo>
                  <a:lnTo>
                    <a:pt x="172" y="88"/>
                  </a:lnTo>
                  <a:lnTo>
                    <a:pt x="168" y="92"/>
                  </a:lnTo>
                  <a:lnTo>
                    <a:pt x="172" y="92"/>
                  </a:lnTo>
                  <a:lnTo>
                    <a:pt x="172" y="96"/>
                  </a:lnTo>
                  <a:lnTo>
                    <a:pt x="168" y="92"/>
                  </a:lnTo>
                  <a:lnTo>
                    <a:pt x="164" y="92"/>
                  </a:lnTo>
                  <a:lnTo>
                    <a:pt x="164" y="88"/>
                  </a:lnTo>
                  <a:lnTo>
                    <a:pt x="164" y="92"/>
                  </a:lnTo>
                  <a:lnTo>
                    <a:pt x="168" y="92"/>
                  </a:lnTo>
                  <a:lnTo>
                    <a:pt x="168" y="96"/>
                  </a:lnTo>
                  <a:lnTo>
                    <a:pt x="164" y="96"/>
                  </a:lnTo>
                  <a:lnTo>
                    <a:pt x="168" y="96"/>
                  </a:lnTo>
                  <a:lnTo>
                    <a:pt x="164" y="100"/>
                  </a:lnTo>
                  <a:lnTo>
                    <a:pt x="160" y="100"/>
                  </a:lnTo>
                  <a:lnTo>
                    <a:pt x="160" y="96"/>
                  </a:lnTo>
                  <a:lnTo>
                    <a:pt x="156" y="100"/>
                  </a:lnTo>
                  <a:lnTo>
                    <a:pt x="160" y="100"/>
                  </a:lnTo>
                  <a:lnTo>
                    <a:pt x="160" y="104"/>
                  </a:lnTo>
                  <a:lnTo>
                    <a:pt x="160" y="100"/>
                  </a:lnTo>
                  <a:lnTo>
                    <a:pt x="156" y="100"/>
                  </a:lnTo>
                  <a:lnTo>
                    <a:pt x="160" y="100"/>
                  </a:lnTo>
                  <a:lnTo>
                    <a:pt x="160" y="104"/>
                  </a:lnTo>
                  <a:lnTo>
                    <a:pt x="160" y="108"/>
                  </a:lnTo>
                  <a:lnTo>
                    <a:pt x="156" y="108"/>
                  </a:lnTo>
                  <a:lnTo>
                    <a:pt x="152" y="112"/>
                  </a:lnTo>
                  <a:lnTo>
                    <a:pt x="152" y="116"/>
                  </a:lnTo>
                  <a:lnTo>
                    <a:pt x="156" y="112"/>
                  </a:lnTo>
                  <a:lnTo>
                    <a:pt x="156" y="116"/>
                  </a:lnTo>
                  <a:lnTo>
                    <a:pt x="152" y="116"/>
                  </a:lnTo>
                  <a:lnTo>
                    <a:pt x="156" y="120"/>
                  </a:lnTo>
                  <a:lnTo>
                    <a:pt x="160" y="120"/>
                  </a:lnTo>
                  <a:lnTo>
                    <a:pt x="160" y="124"/>
                  </a:lnTo>
                  <a:lnTo>
                    <a:pt x="156" y="124"/>
                  </a:lnTo>
                  <a:lnTo>
                    <a:pt x="156" y="128"/>
                  </a:lnTo>
                  <a:lnTo>
                    <a:pt x="152" y="132"/>
                  </a:lnTo>
                  <a:lnTo>
                    <a:pt x="148" y="132"/>
                  </a:lnTo>
                  <a:lnTo>
                    <a:pt x="148" y="136"/>
                  </a:lnTo>
                  <a:lnTo>
                    <a:pt x="144" y="140"/>
                  </a:lnTo>
                  <a:lnTo>
                    <a:pt x="140" y="140"/>
                  </a:lnTo>
                  <a:lnTo>
                    <a:pt x="140" y="144"/>
                  </a:lnTo>
                  <a:lnTo>
                    <a:pt x="136" y="144"/>
                  </a:lnTo>
                  <a:lnTo>
                    <a:pt x="132" y="144"/>
                  </a:lnTo>
                  <a:lnTo>
                    <a:pt x="132" y="148"/>
                  </a:lnTo>
                  <a:lnTo>
                    <a:pt x="128" y="148"/>
                  </a:lnTo>
                  <a:lnTo>
                    <a:pt x="128" y="144"/>
                  </a:lnTo>
                  <a:lnTo>
                    <a:pt x="128" y="148"/>
                  </a:lnTo>
                  <a:lnTo>
                    <a:pt x="124" y="148"/>
                  </a:lnTo>
                  <a:lnTo>
                    <a:pt x="124" y="152"/>
                  </a:lnTo>
                  <a:lnTo>
                    <a:pt x="120" y="152"/>
                  </a:lnTo>
                  <a:lnTo>
                    <a:pt x="124" y="152"/>
                  </a:lnTo>
                  <a:lnTo>
                    <a:pt x="120" y="156"/>
                  </a:lnTo>
                  <a:lnTo>
                    <a:pt x="120" y="152"/>
                  </a:lnTo>
                  <a:lnTo>
                    <a:pt x="116" y="152"/>
                  </a:lnTo>
                  <a:lnTo>
                    <a:pt x="120" y="152"/>
                  </a:lnTo>
                  <a:lnTo>
                    <a:pt x="120" y="156"/>
                  </a:lnTo>
                  <a:lnTo>
                    <a:pt x="116" y="156"/>
                  </a:lnTo>
                  <a:lnTo>
                    <a:pt x="112" y="156"/>
                  </a:lnTo>
                  <a:lnTo>
                    <a:pt x="112" y="160"/>
                  </a:lnTo>
                  <a:lnTo>
                    <a:pt x="108" y="160"/>
                  </a:lnTo>
                  <a:lnTo>
                    <a:pt x="112" y="160"/>
                  </a:lnTo>
                  <a:lnTo>
                    <a:pt x="112" y="164"/>
                  </a:lnTo>
                  <a:lnTo>
                    <a:pt x="108" y="164"/>
                  </a:lnTo>
                  <a:lnTo>
                    <a:pt x="104" y="164"/>
                  </a:lnTo>
                  <a:lnTo>
                    <a:pt x="104" y="160"/>
                  </a:lnTo>
                  <a:lnTo>
                    <a:pt x="100" y="160"/>
                  </a:lnTo>
                  <a:lnTo>
                    <a:pt x="104" y="160"/>
                  </a:lnTo>
                  <a:lnTo>
                    <a:pt x="104" y="164"/>
                  </a:lnTo>
                  <a:lnTo>
                    <a:pt x="104" y="168"/>
                  </a:lnTo>
                  <a:lnTo>
                    <a:pt x="104" y="172"/>
                  </a:lnTo>
                  <a:lnTo>
                    <a:pt x="100" y="172"/>
                  </a:lnTo>
                  <a:lnTo>
                    <a:pt x="96" y="172"/>
                  </a:lnTo>
                  <a:lnTo>
                    <a:pt x="96" y="176"/>
                  </a:lnTo>
                  <a:lnTo>
                    <a:pt x="100" y="180"/>
                  </a:lnTo>
                  <a:lnTo>
                    <a:pt x="96" y="180"/>
                  </a:lnTo>
                  <a:lnTo>
                    <a:pt x="96" y="184"/>
                  </a:lnTo>
                  <a:lnTo>
                    <a:pt x="96" y="188"/>
                  </a:lnTo>
                  <a:lnTo>
                    <a:pt x="96" y="191"/>
                  </a:lnTo>
                  <a:lnTo>
                    <a:pt x="100" y="191"/>
                  </a:lnTo>
                  <a:lnTo>
                    <a:pt x="96" y="191"/>
                  </a:lnTo>
                  <a:lnTo>
                    <a:pt x="92" y="191"/>
                  </a:lnTo>
                  <a:lnTo>
                    <a:pt x="96" y="191"/>
                  </a:lnTo>
                  <a:lnTo>
                    <a:pt x="92" y="191"/>
                  </a:lnTo>
                  <a:lnTo>
                    <a:pt x="92" y="195"/>
                  </a:lnTo>
                  <a:lnTo>
                    <a:pt x="92" y="199"/>
                  </a:lnTo>
                  <a:lnTo>
                    <a:pt x="92" y="203"/>
                  </a:lnTo>
                  <a:lnTo>
                    <a:pt x="92" y="207"/>
                  </a:lnTo>
                  <a:lnTo>
                    <a:pt x="92" y="211"/>
                  </a:lnTo>
                  <a:lnTo>
                    <a:pt x="96" y="211"/>
                  </a:lnTo>
                  <a:lnTo>
                    <a:pt x="96" y="215"/>
                  </a:lnTo>
                  <a:lnTo>
                    <a:pt x="96" y="219"/>
                  </a:lnTo>
                  <a:lnTo>
                    <a:pt x="96" y="215"/>
                  </a:lnTo>
                  <a:lnTo>
                    <a:pt x="100" y="215"/>
                  </a:lnTo>
                  <a:lnTo>
                    <a:pt x="100" y="219"/>
                  </a:lnTo>
                  <a:lnTo>
                    <a:pt x="104" y="219"/>
                  </a:lnTo>
                  <a:lnTo>
                    <a:pt x="108" y="223"/>
                  </a:lnTo>
                  <a:lnTo>
                    <a:pt x="112" y="223"/>
                  </a:lnTo>
                  <a:lnTo>
                    <a:pt x="112" y="227"/>
                  </a:lnTo>
                  <a:lnTo>
                    <a:pt x="116" y="227"/>
                  </a:lnTo>
                  <a:lnTo>
                    <a:pt x="112" y="227"/>
                  </a:lnTo>
                  <a:lnTo>
                    <a:pt x="112" y="231"/>
                  </a:lnTo>
                  <a:lnTo>
                    <a:pt x="116" y="231"/>
                  </a:lnTo>
                  <a:lnTo>
                    <a:pt x="120" y="235"/>
                  </a:lnTo>
                  <a:lnTo>
                    <a:pt x="120" y="239"/>
                  </a:lnTo>
                  <a:lnTo>
                    <a:pt x="116" y="239"/>
                  </a:lnTo>
                  <a:lnTo>
                    <a:pt x="116" y="243"/>
                  </a:lnTo>
                  <a:lnTo>
                    <a:pt x="112" y="247"/>
                  </a:lnTo>
                  <a:lnTo>
                    <a:pt x="108" y="247"/>
                  </a:lnTo>
                  <a:lnTo>
                    <a:pt x="112" y="247"/>
                  </a:lnTo>
                  <a:lnTo>
                    <a:pt x="108" y="247"/>
                  </a:lnTo>
                  <a:lnTo>
                    <a:pt x="104" y="247"/>
                  </a:lnTo>
                  <a:lnTo>
                    <a:pt x="100" y="247"/>
                  </a:lnTo>
                  <a:lnTo>
                    <a:pt x="104" y="243"/>
                  </a:lnTo>
                  <a:lnTo>
                    <a:pt x="100" y="243"/>
                  </a:lnTo>
                  <a:lnTo>
                    <a:pt x="100" y="239"/>
                  </a:lnTo>
                  <a:lnTo>
                    <a:pt x="100" y="243"/>
                  </a:lnTo>
                  <a:lnTo>
                    <a:pt x="100" y="239"/>
                  </a:lnTo>
                  <a:lnTo>
                    <a:pt x="96" y="239"/>
                  </a:lnTo>
                  <a:lnTo>
                    <a:pt x="100" y="243"/>
                  </a:lnTo>
                  <a:lnTo>
                    <a:pt x="96" y="243"/>
                  </a:lnTo>
                  <a:lnTo>
                    <a:pt x="96" y="239"/>
                  </a:lnTo>
                  <a:lnTo>
                    <a:pt x="100" y="239"/>
                  </a:lnTo>
                  <a:lnTo>
                    <a:pt x="100" y="243"/>
                  </a:lnTo>
                  <a:lnTo>
                    <a:pt x="100" y="247"/>
                  </a:lnTo>
                  <a:lnTo>
                    <a:pt x="96" y="243"/>
                  </a:lnTo>
                  <a:lnTo>
                    <a:pt x="100" y="243"/>
                  </a:lnTo>
                  <a:lnTo>
                    <a:pt x="96" y="243"/>
                  </a:lnTo>
                  <a:lnTo>
                    <a:pt x="96" y="247"/>
                  </a:lnTo>
                  <a:lnTo>
                    <a:pt x="92" y="243"/>
                  </a:lnTo>
                  <a:lnTo>
                    <a:pt x="88" y="243"/>
                  </a:lnTo>
                  <a:lnTo>
                    <a:pt x="84" y="243"/>
                  </a:lnTo>
                  <a:lnTo>
                    <a:pt x="80" y="247"/>
                  </a:lnTo>
                  <a:lnTo>
                    <a:pt x="76" y="247"/>
                  </a:lnTo>
                  <a:lnTo>
                    <a:pt x="80" y="247"/>
                  </a:lnTo>
                  <a:lnTo>
                    <a:pt x="84" y="247"/>
                  </a:lnTo>
                  <a:lnTo>
                    <a:pt x="88" y="247"/>
                  </a:lnTo>
                  <a:lnTo>
                    <a:pt x="84" y="247"/>
                  </a:lnTo>
                  <a:lnTo>
                    <a:pt x="88" y="247"/>
                  </a:lnTo>
                  <a:lnTo>
                    <a:pt x="92" y="247"/>
                  </a:lnTo>
                  <a:lnTo>
                    <a:pt x="96" y="247"/>
                  </a:lnTo>
                  <a:lnTo>
                    <a:pt x="96" y="251"/>
                  </a:lnTo>
                  <a:lnTo>
                    <a:pt x="92" y="251"/>
                  </a:lnTo>
                  <a:lnTo>
                    <a:pt x="96" y="251"/>
                  </a:lnTo>
                  <a:close/>
                  <a:moveTo>
                    <a:pt x="96" y="176"/>
                  </a:moveTo>
                  <a:lnTo>
                    <a:pt x="96" y="172"/>
                  </a:lnTo>
                  <a:lnTo>
                    <a:pt x="96" y="176"/>
                  </a:lnTo>
                  <a:lnTo>
                    <a:pt x="100" y="176"/>
                  </a:lnTo>
                  <a:lnTo>
                    <a:pt x="96" y="176"/>
                  </a:lnTo>
                  <a:close/>
                  <a:moveTo>
                    <a:pt x="92" y="247"/>
                  </a:moveTo>
                  <a:lnTo>
                    <a:pt x="96" y="247"/>
                  </a:lnTo>
                  <a:lnTo>
                    <a:pt x="92" y="247"/>
                  </a:lnTo>
                  <a:close/>
                  <a:moveTo>
                    <a:pt x="100" y="251"/>
                  </a:moveTo>
                  <a:lnTo>
                    <a:pt x="100" y="247"/>
                  </a:lnTo>
                  <a:lnTo>
                    <a:pt x="104" y="251"/>
                  </a:lnTo>
                  <a:lnTo>
                    <a:pt x="100" y="251"/>
                  </a:lnTo>
                  <a:close/>
                  <a:moveTo>
                    <a:pt x="124" y="283"/>
                  </a:moveTo>
                  <a:lnTo>
                    <a:pt x="120" y="283"/>
                  </a:lnTo>
                  <a:lnTo>
                    <a:pt x="124" y="283"/>
                  </a:lnTo>
                  <a:close/>
                  <a:moveTo>
                    <a:pt x="112" y="227"/>
                  </a:moveTo>
                  <a:lnTo>
                    <a:pt x="112" y="223"/>
                  </a:lnTo>
                  <a:lnTo>
                    <a:pt x="112" y="219"/>
                  </a:lnTo>
                  <a:lnTo>
                    <a:pt x="112" y="223"/>
                  </a:lnTo>
                  <a:lnTo>
                    <a:pt x="112" y="227"/>
                  </a:lnTo>
                  <a:close/>
                  <a:moveTo>
                    <a:pt x="8" y="279"/>
                  </a:moveTo>
                  <a:lnTo>
                    <a:pt x="4" y="279"/>
                  </a:lnTo>
                  <a:lnTo>
                    <a:pt x="8" y="275"/>
                  </a:lnTo>
                  <a:lnTo>
                    <a:pt x="12" y="275"/>
                  </a:lnTo>
                  <a:lnTo>
                    <a:pt x="12" y="279"/>
                  </a:lnTo>
                  <a:lnTo>
                    <a:pt x="8" y="279"/>
                  </a:lnTo>
                  <a:close/>
                  <a:moveTo>
                    <a:pt x="8" y="283"/>
                  </a:moveTo>
                  <a:lnTo>
                    <a:pt x="8" y="279"/>
                  </a:lnTo>
                  <a:lnTo>
                    <a:pt x="12" y="279"/>
                  </a:lnTo>
                  <a:lnTo>
                    <a:pt x="12" y="283"/>
                  </a:lnTo>
                  <a:lnTo>
                    <a:pt x="8" y="283"/>
                  </a:lnTo>
                  <a:close/>
                  <a:moveTo>
                    <a:pt x="120" y="283"/>
                  </a:moveTo>
                  <a:lnTo>
                    <a:pt x="120" y="287"/>
                  </a:lnTo>
                  <a:lnTo>
                    <a:pt x="116" y="287"/>
                  </a:lnTo>
                  <a:lnTo>
                    <a:pt x="116" y="291"/>
                  </a:lnTo>
                  <a:lnTo>
                    <a:pt x="116" y="295"/>
                  </a:lnTo>
                  <a:lnTo>
                    <a:pt x="116" y="299"/>
                  </a:lnTo>
                  <a:lnTo>
                    <a:pt x="112" y="299"/>
                  </a:lnTo>
                  <a:lnTo>
                    <a:pt x="112" y="303"/>
                  </a:lnTo>
                  <a:lnTo>
                    <a:pt x="108" y="307"/>
                  </a:lnTo>
                  <a:lnTo>
                    <a:pt x="108" y="303"/>
                  </a:lnTo>
                  <a:lnTo>
                    <a:pt x="108" y="299"/>
                  </a:lnTo>
                  <a:lnTo>
                    <a:pt x="108" y="295"/>
                  </a:lnTo>
                  <a:lnTo>
                    <a:pt x="108" y="291"/>
                  </a:lnTo>
                  <a:lnTo>
                    <a:pt x="112" y="287"/>
                  </a:lnTo>
                  <a:lnTo>
                    <a:pt x="116" y="283"/>
                  </a:lnTo>
                  <a:lnTo>
                    <a:pt x="120" y="283"/>
                  </a:lnTo>
                  <a:close/>
                  <a:moveTo>
                    <a:pt x="80" y="323"/>
                  </a:moveTo>
                  <a:lnTo>
                    <a:pt x="80" y="319"/>
                  </a:lnTo>
                  <a:lnTo>
                    <a:pt x="80" y="315"/>
                  </a:lnTo>
                  <a:lnTo>
                    <a:pt x="84" y="311"/>
                  </a:lnTo>
                  <a:lnTo>
                    <a:pt x="84" y="307"/>
                  </a:lnTo>
                  <a:lnTo>
                    <a:pt x="88" y="307"/>
                  </a:lnTo>
                  <a:lnTo>
                    <a:pt x="88" y="303"/>
                  </a:lnTo>
                  <a:lnTo>
                    <a:pt x="88" y="299"/>
                  </a:lnTo>
                  <a:lnTo>
                    <a:pt x="92" y="295"/>
                  </a:lnTo>
                  <a:lnTo>
                    <a:pt x="92" y="299"/>
                  </a:lnTo>
                  <a:lnTo>
                    <a:pt x="92" y="303"/>
                  </a:lnTo>
                  <a:lnTo>
                    <a:pt x="88" y="303"/>
                  </a:lnTo>
                  <a:lnTo>
                    <a:pt x="88" y="307"/>
                  </a:lnTo>
                  <a:lnTo>
                    <a:pt x="88" y="311"/>
                  </a:lnTo>
                  <a:lnTo>
                    <a:pt x="84" y="311"/>
                  </a:lnTo>
                  <a:lnTo>
                    <a:pt x="84" y="315"/>
                  </a:lnTo>
                  <a:lnTo>
                    <a:pt x="84" y="319"/>
                  </a:lnTo>
                  <a:lnTo>
                    <a:pt x="84" y="323"/>
                  </a:lnTo>
                  <a:lnTo>
                    <a:pt x="80" y="32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7" name="Freeform 114"/>
            <p:cNvSpPr>
              <a:spLocks noEditPoints="1"/>
            </p:cNvSpPr>
            <p:nvPr>
              <p:custDataLst>
                <p:tags r:id="rId309"/>
              </p:custDataLst>
            </p:nvPr>
          </p:nvSpPr>
          <p:spPr bwMode="gray">
            <a:xfrm>
              <a:off x="4511020" y="3219671"/>
              <a:ext cx="100848" cy="65255"/>
            </a:xfrm>
            <a:custGeom>
              <a:avLst/>
              <a:gdLst/>
              <a:ahLst/>
              <a:cxnLst>
                <a:cxn ang="0">
                  <a:pos x="8" y="16"/>
                </a:cxn>
                <a:cxn ang="0">
                  <a:pos x="12" y="12"/>
                </a:cxn>
                <a:cxn ang="0">
                  <a:pos x="12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40" y="4"/>
                </a:cxn>
                <a:cxn ang="0">
                  <a:pos x="36" y="4"/>
                </a:cxn>
                <a:cxn ang="0">
                  <a:pos x="40" y="0"/>
                </a:cxn>
                <a:cxn ang="0">
                  <a:pos x="40" y="0"/>
                </a:cxn>
                <a:cxn ang="0">
                  <a:pos x="44" y="0"/>
                </a:cxn>
                <a:cxn ang="0">
                  <a:pos x="44" y="4"/>
                </a:cxn>
                <a:cxn ang="0">
                  <a:pos x="52" y="4"/>
                </a:cxn>
                <a:cxn ang="0">
                  <a:pos x="56" y="8"/>
                </a:cxn>
                <a:cxn ang="0">
                  <a:pos x="52" y="12"/>
                </a:cxn>
                <a:cxn ang="0">
                  <a:pos x="52" y="16"/>
                </a:cxn>
                <a:cxn ang="0">
                  <a:pos x="56" y="16"/>
                </a:cxn>
                <a:cxn ang="0">
                  <a:pos x="56" y="20"/>
                </a:cxn>
                <a:cxn ang="0">
                  <a:pos x="60" y="20"/>
                </a:cxn>
                <a:cxn ang="0">
                  <a:pos x="64" y="16"/>
                </a:cxn>
                <a:cxn ang="0">
                  <a:pos x="68" y="24"/>
                </a:cxn>
                <a:cxn ang="0">
                  <a:pos x="68" y="28"/>
                </a:cxn>
                <a:cxn ang="0">
                  <a:pos x="64" y="24"/>
                </a:cxn>
                <a:cxn ang="0">
                  <a:pos x="60" y="28"/>
                </a:cxn>
                <a:cxn ang="0">
                  <a:pos x="60" y="32"/>
                </a:cxn>
                <a:cxn ang="0">
                  <a:pos x="60" y="32"/>
                </a:cxn>
                <a:cxn ang="0">
                  <a:pos x="56" y="32"/>
                </a:cxn>
                <a:cxn ang="0">
                  <a:pos x="52" y="32"/>
                </a:cxn>
                <a:cxn ang="0">
                  <a:pos x="48" y="28"/>
                </a:cxn>
                <a:cxn ang="0">
                  <a:pos x="48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4" y="36"/>
                </a:cxn>
                <a:cxn ang="0">
                  <a:pos x="40" y="36"/>
                </a:cxn>
                <a:cxn ang="0">
                  <a:pos x="36" y="32"/>
                </a:cxn>
                <a:cxn ang="0">
                  <a:pos x="36" y="28"/>
                </a:cxn>
                <a:cxn ang="0">
                  <a:pos x="28" y="40"/>
                </a:cxn>
                <a:cxn ang="0">
                  <a:pos x="28" y="40"/>
                </a:cxn>
                <a:cxn ang="0">
                  <a:pos x="24" y="40"/>
                </a:cxn>
                <a:cxn ang="0">
                  <a:pos x="20" y="40"/>
                </a:cxn>
                <a:cxn ang="0">
                  <a:pos x="16" y="40"/>
                </a:cxn>
                <a:cxn ang="0">
                  <a:pos x="12" y="36"/>
                </a:cxn>
                <a:cxn ang="0">
                  <a:pos x="12" y="28"/>
                </a:cxn>
                <a:cxn ang="0">
                  <a:pos x="4" y="28"/>
                </a:cxn>
                <a:cxn ang="0">
                  <a:pos x="4" y="32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0" y="0"/>
                </a:cxn>
              </a:cxnLst>
              <a:rect l="0" t="0" r="r" b="b"/>
              <a:pathLst>
                <a:path w="68" h="44">
                  <a:moveTo>
                    <a:pt x="4" y="20"/>
                  </a:move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56" y="16"/>
                  </a:lnTo>
                  <a:lnTo>
                    <a:pt x="56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0"/>
                  </a:lnTo>
                  <a:lnTo>
                    <a:pt x="4" y="20"/>
                  </a:lnTo>
                  <a:close/>
                  <a:moveTo>
                    <a:pt x="40" y="0"/>
                  </a:move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8" name="Freeform 115"/>
            <p:cNvSpPr>
              <a:spLocks/>
            </p:cNvSpPr>
            <p:nvPr>
              <p:custDataLst>
                <p:tags r:id="rId310"/>
              </p:custDataLst>
            </p:nvPr>
          </p:nvSpPr>
          <p:spPr bwMode="gray">
            <a:xfrm>
              <a:off x="4872888" y="3065433"/>
              <a:ext cx="401910" cy="261019"/>
            </a:xfrm>
            <a:custGeom>
              <a:avLst/>
              <a:gdLst/>
              <a:ahLst/>
              <a:cxnLst>
                <a:cxn ang="0">
                  <a:pos x="103" y="144"/>
                </a:cxn>
                <a:cxn ang="0">
                  <a:pos x="111" y="132"/>
                </a:cxn>
                <a:cxn ang="0">
                  <a:pos x="115" y="132"/>
                </a:cxn>
                <a:cxn ang="0">
                  <a:pos x="111" y="116"/>
                </a:cxn>
                <a:cxn ang="0">
                  <a:pos x="107" y="104"/>
                </a:cxn>
                <a:cxn ang="0">
                  <a:pos x="91" y="96"/>
                </a:cxn>
                <a:cxn ang="0">
                  <a:pos x="68" y="92"/>
                </a:cxn>
                <a:cxn ang="0">
                  <a:pos x="48" y="104"/>
                </a:cxn>
                <a:cxn ang="0">
                  <a:pos x="24" y="100"/>
                </a:cxn>
                <a:cxn ang="0">
                  <a:pos x="8" y="96"/>
                </a:cxn>
                <a:cxn ang="0">
                  <a:pos x="4" y="80"/>
                </a:cxn>
                <a:cxn ang="0">
                  <a:pos x="16" y="52"/>
                </a:cxn>
                <a:cxn ang="0">
                  <a:pos x="28" y="40"/>
                </a:cxn>
                <a:cxn ang="0">
                  <a:pos x="24" y="20"/>
                </a:cxn>
                <a:cxn ang="0">
                  <a:pos x="44" y="12"/>
                </a:cxn>
                <a:cxn ang="0">
                  <a:pos x="68" y="16"/>
                </a:cxn>
                <a:cxn ang="0">
                  <a:pos x="88" y="20"/>
                </a:cxn>
                <a:cxn ang="0">
                  <a:pos x="99" y="20"/>
                </a:cxn>
                <a:cxn ang="0">
                  <a:pos x="115" y="24"/>
                </a:cxn>
                <a:cxn ang="0">
                  <a:pos x="127" y="20"/>
                </a:cxn>
                <a:cxn ang="0">
                  <a:pos x="143" y="8"/>
                </a:cxn>
                <a:cxn ang="0">
                  <a:pos x="167" y="0"/>
                </a:cxn>
                <a:cxn ang="0">
                  <a:pos x="183" y="12"/>
                </a:cxn>
                <a:cxn ang="0">
                  <a:pos x="187" y="28"/>
                </a:cxn>
                <a:cxn ang="0">
                  <a:pos x="203" y="40"/>
                </a:cxn>
                <a:cxn ang="0">
                  <a:pos x="211" y="44"/>
                </a:cxn>
                <a:cxn ang="0">
                  <a:pos x="227" y="48"/>
                </a:cxn>
                <a:cxn ang="0">
                  <a:pos x="247" y="52"/>
                </a:cxn>
                <a:cxn ang="0">
                  <a:pos x="263" y="60"/>
                </a:cxn>
                <a:cxn ang="0">
                  <a:pos x="267" y="76"/>
                </a:cxn>
                <a:cxn ang="0">
                  <a:pos x="271" y="96"/>
                </a:cxn>
                <a:cxn ang="0">
                  <a:pos x="251" y="104"/>
                </a:cxn>
                <a:cxn ang="0">
                  <a:pos x="239" y="120"/>
                </a:cxn>
                <a:cxn ang="0">
                  <a:pos x="219" y="128"/>
                </a:cxn>
                <a:cxn ang="0">
                  <a:pos x="203" y="132"/>
                </a:cxn>
                <a:cxn ang="0">
                  <a:pos x="199" y="136"/>
                </a:cxn>
                <a:cxn ang="0">
                  <a:pos x="183" y="136"/>
                </a:cxn>
                <a:cxn ang="0">
                  <a:pos x="179" y="140"/>
                </a:cxn>
                <a:cxn ang="0">
                  <a:pos x="187" y="144"/>
                </a:cxn>
                <a:cxn ang="0">
                  <a:pos x="199" y="156"/>
                </a:cxn>
                <a:cxn ang="0">
                  <a:pos x="195" y="148"/>
                </a:cxn>
                <a:cxn ang="0">
                  <a:pos x="211" y="156"/>
                </a:cxn>
                <a:cxn ang="0">
                  <a:pos x="207" y="164"/>
                </a:cxn>
                <a:cxn ang="0">
                  <a:pos x="187" y="172"/>
                </a:cxn>
                <a:cxn ang="0">
                  <a:pos x="171" y="168"/>
                </a:cxn>
                <a:cxn ang="0">
                  <a:pos x="159" y="156"/>
                </a:cxn>
                <a:cxn ang="0">
                  <a:pos x="171" y="144"/>
                </a:cxn>
                <a:cxn ang="0">
                  <a:pos x="155" y="140"/>
                </a:cxn>
                <a:cxn ang="0">
                  <a:pos x="147" y="132"/>
                </a:cxn>
                <a:cxn ang="0">
                  <a:pos x="151" y="132"/>
                </a:cxn>
                <a:cxn ang="0">
                  <a:pos x="147" y="120"/>
                </a:cxn>
                <a:cxn ang="0">
                  <a:pos x="143" y="128"/>
                </a:cxn>
                <a:cxn ang="0">
                  <a:pos x="123" y="144"/>
                </a:cxn>
                <a:cxn ang="0">
                  <a:pos x="115" y="156"/>
                </a:cxn>
                <a:cxn ang="0">
                  <a:pos x="99" y="160"/>
                </a:cxn>
              </a:cxnLst>
              <a:rect l="0" t="0" r="r" b="b"/>
              <a:pathLst>
                <a:path w="271" h="176">
                  <a:moveTo>
                    <a:pt x="91" y="156"/>
                  </a:moveTo>
                  <a:lnTo>
                    <a:pt x="91" y="152"/>
                  </a:lnTo>
                  <a:lnTo>
                    <a:pt x="95" y="152"/>
                  </a:lnTo>
                  <a:lnTo>
                    <a:pt x="95" y="148"/>
                  </a:lnTo>
                  <a:lnTo>
                    <a:pt x="99" y="148"/>
                  </a:lnTo>
                  <a:lnTo>
                    <a:pt x="99" y="144"/>
                  </a:lnTo>
                  <a:lnTo>
                    <a:pt x="103" y="144"/>
                  </a:lnTo>
                  <a:lnTo>
                    <a:pt x="103" y="140"/>
                  </a:lnTo>
                  <a:lnTo>
                    <a:pt x="103" y="136"/>
                  </a:lnTo>
                  <a:lnTo>
                    <a:pt x="103" y="132"/>
                  </a:lnTo>
                  <a:lnTo>
                    <a:pt x="107" y="132"/>
                  </a:lnTo>
                  <a:lnTo>
                    <a:pt x="107" y="136"/>
                  </a:lnTo>
                  <a:lnTo>
                    <a:pt x="107" y="132"/>
                  </a:lnTo>
                  <a:lnTo>
                    <a:pt x="111" y="132"/>
                  </a:lnTo>
                  <a:lnTo>
                    <a:pt x="111" y="136"/>
                  </a:lnTo>
                  <a:lnTo>
                    <a:pt x="115" y="136"/>
                  </a:lnTo>
                  <a:lnTo>
                    <a:pt x="115" y="132"/>
                  </a:lnTo>
                  <a:lnTo>
                    <a:pt x="115" y="136"/>
                  </a:lnTo>
                  <a:lnTo>
                    <a:pt x="119" y="136"/>
                  </a:lnTo>
                  <a:lnTo>
                    <a:pt x="119" y="132"/>
                  </a:lnTo>
                  <a:lnTo>
                    <a:pt x="115" y="132"/>
                  </a:lnTo>
                  <a:lnTo>
                    <a:pt x="119" y="132"/>
                  </a:lnTo>
                  <a:lnTo>
                    <a:pt x="119" y="128"/>
                  </a:lnTo>
                  <a:lnTo>
                    <a:pt x="119" y="124"/>
                  </a:lnTo>
                  <a:lnTo>
                    <a:pt x="115" y="124"/>
                  </a:lnTo>
                  <a:lnTo>
                    <a:pt x="111" y="124"/>
                  </a:lnTo>
                  <a:lnTo>
                    <a:pt x="111" y="120"/>
                  </a:lnTo>
                  <a:lnTo>
                    <a:pt x="111" y="116"/>
                  </a:lnTo>
                  <a:lnTo>
                    <a:pt x="111" y="112"/>
                  </a:lnTo>
                  <a:lnTo>
                    <a:pt x="111" y="116"/>
                  </a:lnTo>
                  <a:lnTo>
                    <a:pt x="107" y="112"/>
                  </a:lnTo>
                  <a:lnTo>
                    <a:pt x="111" y="112"/>
                  </a:lnTo>
                  <a:lnTo>
                    <a:pt x="107" y="112"/>
                  </a:lnTo>
                  <a:lnTo>
                    <a:pt x="107" y="108"/>
                  </a:lnTo>
                  <a:lnTo>
                    <a:pt x="107" y="104"/>
                  </a:lnTo>
                  <a:lnTo>
                    <a:pt x="107" y="100"/>
                  </a:lnTo>
                  <a:lnTo>
                    <a:pt x="103" y="100"/>
                  </a:lnTo>
                  <a:lnTo>
                    <a:pt x="99" y="96"/>
                  </a:lnTo>
                  <a:lnTo>
                    <a:pt x="95" y="96"/>
                  </a:lnTo>
                  <a:lnTo>
                    <a:pt x="95" y="92"/>
                  </a:lnTo>
                  <a:lnTo>
                    <a:pt x="91" y="92"/>
                  </a:lnTo>
                  <a:lnTo>
                    <a:pt x="91" y="96"/>
                  </a:lnTo>
                  <a:lnTo>
                    <a:pt x="91" y="92"/>
                  </a:lnTo>
                  <a:lnTo>
                    <a:pt x="88" y="92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76" y="92"/>
                  </a:lnTo>
                  <a:lnTo>
                    <a:pt x="72" y="92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4" y="96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48" y="100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0" y="104"/>
                  </a:lnTo>
                  <a:lnTo>
                    <a:pt x="40" y="100"/>
                  </a:lnTo>
                  <a:lnTo>
                    <a:pt x="36" y="100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24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96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8" y="96"/>
                  </a:lnTo>
                  <a:lnTo>
                    <a:pt x="4" y="92"/>
                  </a:lnTo>
                  <a:lnTo>
                    <a:pt x="0" y="88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8" y="44"/>
                  </a:lnTo>
                  <a:lnTo>
                    <a:pt x="32" y="44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8" y="20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80" y="20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91" y="20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5" y="20"/>
                  </a:lnTo>
                  <a:lnTo>
                    <a:pt x="99" y="20"/>
                  </a:lnTo>
                  <a:lnTo>
                    <a:pt x="99" y="24"/>
                  </a:lnTo>
                  <a:lnTo>
                    <a:pt x="99" y="20"/>
                  </a:lnTo>
                  <a:lnTo>
                    <a:pt x="103" y="20"/>
                  </a:lnTo>
                  <a:lnTo>
                    <a:pt x="107" y="20"/>
                  </a:lnTo>
                  <a:lnTo>
                    <a:pt x="107" y="24"/>
                  </a:lnTo>
                  <a:lnTo>
                    <a:pt x="111" y="24"/>
                  </a:lnTo>
                  <a:lnTo>
                    <a:pt x="111" y="20"/>
                  </a:lnTo>
                  <a:lnTo>
                    <a:pt x="115" y="20"/>
                  </a:lnTo>
                  <a:lnTo>
                    <a:pt x="115" y="24"/>
                  </a:lnTo>
                  <a:lnTo>
                    <a:pt x="119" y="20"/>
                  </a:lnTo>
                  <a:lnTo>
                    <a:pt x="123" y="20"/>
                  </a:lnTo>
                  <a:lnTo>
                    <a:pt x="123" y="24"/>
                  </a:lnTo>
                  <a:lnTo>
                    <a:pt x="127" y="24"/>
                  </a:lnTo>
                  <a:lnTo>
                    <a:pt x="127" y="28"/>
                  </a:lnTo>
                  <a:lnTo>
                    <a:pt x="127" y="24"/>
                  </a:lnTo>
                  <a:lnTo>
                    <a:pt x="127" y="20"/>
                  </a:lnTo>
                  <a:lnTo>
                    <a:pt x="127" y="16"/>
                  </a:lnTo>
                  <a:lnTo>
                    <a:pt x="127" y="12"/>
                  </a:lnTo>
                  <a:lnTo>
                    <a:pt x="131" y="12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51" y="8"/>
                  </a:lnTo>
                  <a:lnTo>
                    <a:pt x="155" y="8"/>
                  </a:lnTo>
                  <a:lnTo>
                    <a:pt x="155" y="4"/>
                  </a:lnTo>
                  <a:lnTo>
                    <a:pt x="159" y="4"/>
                  </a:lnTo>
                  <a:lnTo>
                    <a:pt x="163" y="4"/>
                  </a:lnTo>
                  <a:lnTo>
                    <a:pt x="167" y="0"/>
                  </a:lnTo>
                  <a:lnTo>
                    <a:pt x="171" y="0"/>
                  </a:lnTo>
                  <a:lnTo>
                    <a:pt x="171" y="4"/>
                  </a:lnTo>
                  <a:lnTo>
                    <a:pt x="175" y="4"/>
                  </a:lnTo>
                  <a:lnTo>
                    <a:pt x="175" y="0"/>
                  </a:lnTo>
                  <a:lnTo>
                    <a:pt x="179" y="4"/>
                  </a:lnTo>
                  <a:lnTo>
                    <a:pt x="179" y="8"/>
                  </a:lnTo>
                  <a:lnTo>
                    <a:pt x="183" y="12"/>
                  </a:lnTo>
                  <a:lnTo>
                    <a:pt x="187" y="16"/>
                  </a:lnTo>
                  <a:lnTo>
                    <a:pt x="183" y="16"/>
                  </a:lnTo>
                  <a:lnTo>
                    <a:pt x="179" y="16"/>
                  </a:lnTo>
                  <a:lnTo>
                    <a:pt x="183" y="20"/>
                  </a:lnTo>
                  <a:lnTo>
                    <a:pt x="183" y="24"/>
                  </a:lnTo>
                  <a:lnTo>
                    <a:pt x="183" y="28"/>
                  </a:lnTo>
                  <a:lnTo>
                    <a:pt x="187" y="28"/>
                  </a:lnTo>
                  <a:lnTo>
                    <a:pt x="191" y="28"/>
                  </a:lnTo>
                  <a:lnTo>
                    <a:pt x="195" y="28"/>
                  </a:lnTo>
                  <a:lnTo>
                    <a:pt x="195" y="32"/>
                  </a:lnTo>
                  <a:lnTo>
                    <a:pt x="199" y="32"/>
                  </a:lnTo>
                  <a:lnTo>
                    <a:pt x="199" y="36"/>
                  </a:lnTo>
                  <a:lnTo>
                    <a:pt x="203" y="36"/>
                  </a:lnTo>
                  <a:lnTo>
                    <a:pt x="203" y="40"/>
                  </a:lnTo>
                  <a:lnTo>
                    <a:pt x="199" y="40"/>
                  </a:lnTo>
                  <a:lnTo>
                    <a:pt x="199" y="44"/>
                  </a:lnTo>
                  <a:lnTo>
                    <a:pt x="203" y="44"/>
                  </a:lnTo>
                  <a:lnTo>
                    <a:pt x="203" y="48"/>
                  </a:lnTo>
                  <a:lnTo>
                    <a:pt x="207" y="48"/>
                  </a:lnTo>
                  <a:lnTo>
                    <a:pt x="207" y="44"/>
                  </a:lnTo>
                  <a:lnTo>
                    <a:pt x="211" y="44"/>
                  </a:lnTo>
                  <a:lnTo>
                    <a:pt x="211" y="48"/>
                  </a:lnTo>
                  <a:lnTo>
                    <a:pt x="215" y="48"/>
                  </a:lnTo>
                  <a:lnTo>
                    <a:pt x="219" y="48"/>
                  </a:lnTo>
                  <a:lnTo>
                    <a:pt x="219" y="52"/>
                  </a:lnTo>
                  <a:lnTo>
                    <a:pt x="219" y="48"/>
                  </a:lnTo>
                  <a:lnTo>
                    <a:pt x="223" y="48"/>
                  </a:lnTo>
                  <a:lnTo>
                    <a:pt x="227" y="48"/>
                  </a:lnTo>
                  <a:lnTo>
                    <a:pt x="231" y="44"/>
                  </a:lnTo>
                  <a:lnTo>
                    <a:pt x="235" y="52"/>
                  </a:lnTo>
                  <a:lnTo>
                    <a:pt x="239" y="52"/>
                  </a:lnTo>
                  <a:lnTo>
                    <a:pt x="239" y="56"/>
                  </a:lnTo>
                  <a:lnTo>
                    <a:pt x="243" y="56"/>
                  </a:lnTo>
                  <a:lnTo>
                    <a:pt x="243" y="52"/>
                  </a:lnTo>
                  <a:lnTo>
                    <a:pt x="247" y="52"/>
                  </a:lnTo>
                  <a:lnTo>
                    <a:pt x="247" y="56"/>
                  </a:lnTo>
                  <a:lnTo>
                    <a:pt x="251" y="56"/>
                  </a:lnTo>
                  <a:lnTo>
                    <a:pt x="255" y="56"/>
                  </a:lnTo>
                  <a:lnTo>
                    <a:pt x="255" y="60"/>
                  </a:lnTo>
                  <a:lnTo>
                    <a:pt x="259" y="56"/>
                  </a:lnTo>
                  <a:lnTo>
                    <a:pt x="259" y="60"/>
                  </a:lnTo>
                  <a:lnTo>
                    <a:pt x="263" y="60"/>
                  </a:lnTo>
                  <a:lnTo>
                    <a:pt x="263" y="64"/>
                  </a:lnTo>
                  <a:lnTo>
                    <a:pt x="267" y="64"/>
                  </a:lnTo>
                  <a:lnTo>
                    <a:pt x="271" y="64"/>
                  </a:lnTo>
                  <a:lnTo>
                    <a:pt x="271" y="68"/>
                  </a:lnTo>
                  <a:lnTo>
                    <a:pt x="271" y="72"/>
                  </a:lnTo>
                  <a:lnTo>
                    <a:pt x="271" y="76"/>
                  </a:lnTo>
                  <a:lnTo>
                    <a:pt x="267" y="76"/>
                  </a:lnTo>
                  <a:lnTo>
                    <a:pt x="267" y="80"/>
                  </a:lnTo>
                  <a:lnTo>
                    <a:pt x="271" y="80"/>
                  </a:lnTo>
                  <a:lnTo>
                    <a:pt x="267" y="80"/>
                  </a:lnTo>
                  <a:lnTo>
                    <a:pt x="267" y="84"/>
                  </a:lnTo>
                  <a:lnTo>
                    <a:pt x="267" y="88"/>
                  </a:lnTo>
                  <a:lnTo>
                    <a:pt x="271" y="92"/>
                  </a:lnTo>
                  <a:lnTo>
                    <a:pt x="271" y="96"/>
                  </a:lnTo>
                  <a:lnTo>
                    <a:pt x="267" y="96"/>
                  </a:lnTo>
                  <a:lnTo>
                    <a:pt x="267" y="100"/>
                  </a:lnTo>
                  <a:lnTo>
                    <a:pt x="267" y="104"/>
                  </a:lnTo>
                  <a:lnTo>
                    <a:pt x="263" y="104"/>
                  </a:lnTo>
                  <a:lnTo>
                    <a:pt x="259" y="104"/>
                  </a:lnTo>
                  <a:lnTo>
                    <a:pt x="255" y="104"/>
                  </a:lnTo>
                  <a:lnTo>
                    <a:pt x="251" y="104"/>
                  </a:lnTo>
                  <a:lnTo>
                    <a:pt x="251" y="108"/>
                  </a:lnTo>
                  <a:lnTo>
                    <a:pt x="247" y="108"/>
                  </a:lnTo>
                  <a:lnTo>
                    <a:pt x="243" y="108"/>
                  </a:lnTo>
                  <a:lnTo>
                    <a:pt x="243" y="112"/>
                  </a:lnTo>
                  <a:lnTo>
                    <a:pt x="243" y="116"/>
                  </a:lnTo>
                  <a:lnTo>
                    <a:pt x="243" y="120"/>
                  </a:lnTo>
                  <a:lnTo>
                    <a:pt x="239" y="120"/>
                  </a:lnTo>
                  <a:lnTo>
                    <a:pt x="235" y="120"/>
                  </a:lnTo>
                  <a:lnTo>
                    <a:pt x="231" y="120"/>
                  </a:lnTo>
                  <a:lnTo>
                    <a:pt x="231" y="124"/>
                  </a:lnTo>
                  <a:lnTo>
                    <a:pt x="227" y="124"/>
                  </a:lnTo>
                  <a:lnTo>
                    <a:pt x="223" y="124"/>
                  </a:lnTo>
                  <a:lnTo>
                    <a:pt x="223" y="128"/>
                  </a:lnTo>
                  <a:lnTo>
                    <a:pt x="219" y="128"/>
                  </a:lnTo>
                  <a:lnTo>
                    <a:pt x="219" y="124"/>
                  </a:lnTo>
                  <a:lnTo>
                    <a:pt x="219" y="128"/>
                  </a:lnTo>
                  <a:lnTo>
                    <a:pt x="215" y="128"/>
                  </a:lnTo>
                  <a:lnTo>
                    <a:pt x="211" y="128"/>
                  </a:lnTo>
                  <a:lnTo>
                    <a:pt x="207" y="128"/>
                  </a:lnTo>
                  <a:lnTo>
                    <a:pt x="207" y="132"/>
                  </a:lnTo>
                  <a:lnTo>
                    <a:pt x="203" y="132"/>
                  </a:lnTo>
                  <a:lnTo>
                    <a:pt x="199" y="136"/>
                  </a:lnTo>
                  <a:lnTo>
                    <a:pt x="199" y="140"/>
                  </a:lnTo>
                  <a:lnTo>
                    <a:pt x="195" y="140"/>
                  </a:lnTo>
                  <a:lnTo>
                    <a:pt x="199" y="140"/>
                  </a:lnTo>
                  <a:lnTo>
                    <a:pt x="199" y="136"/>
                  </a:lnTo>
                  <a:lnTo>
                    <a:pt x="199" y="132"/>
                  </a:lnTo>
                  <a:lnTo>
                    <a:pt x="199" y="136"/>
                  </a:lnTo>
                  <a:lnTo>
                    <a:pt x="195" y="136"/>
                  </a:lnTo>
                  <a:lnTo>
                    <a:pt x="191" y="140"/>
                  </a:lnTo>
                  <a:lnTo>
                    <a:pt x="187" y="140"/>
                  </a:lnTo>
                  <a:lnTo>
                    <a:pt x="187" y="144"/>
                  </a:lnTo>
                  <a:lnTo>
                    <a:pt x="187" y="140"/>
                  </a:lnTo>
                  <a:lnTo>
                    <a:pt x="183" y="140"/>
                  </a:lnTo>
                  <a:lnTo>
                    <a:pt x="183" y="136"/>
                  </a:lnTo>
                  <a:lnTo>
                    <a:pt x="183" y="140"/>
                  </a:lnTo>
                  <a:lnTo>
                    <a:pt x="179" y="140"/>
                  </a:lnTo>
                  <a:lnTo>
                    <a:pt x="183" y="140"/>
                  </a:lnTo>
                  <a:lnTo>
                    <a:pt x="179" y="140"/>
                  </a:lnTo>
                  <a:lnTo>
                    <a:pt x="175" y="136"/>
                  </a:lnTo>
                  <a:lnTo>
                    <a:pt x="175" y="140"/>
                  </a:lnTo>
                  <a:lnTo>
                    <a:pt x="179" y="140"/>
                  </a:lnTo>
                  <a:lnTo>
                    <a:pt x="179" y="144"/>
                  </a:lnTo>
                  <a:lnTo>
                    <a:pt x="179" y="140"/>
                  </a:lnTo>
                  <a:lnTo>
                    <a:pt x="179" y="144"/>
                  </a:lnTo>
                  <a:lnTo>
                    <a:pt x="183" y="144"/>
                  </a:lnTo>
                  <a:lnTo>
                    <a:pt x="187" y="144"/>
                  </a:lnTo>
                  <a:lnTo>
                    <a:pt x="183" y="144"/>
                  </a:lnTo>
                  <a:lnTo>
                    <a:pt x="187" y="144"/>
                  </a:lnTo>
                  <a:lnTo>
                    <a:pt x="187" y="148"/>
                  </a:lnTo>
                  <a:lnTo>
                    <a:pt x="191" y="148"/>
                  </a:lnTo>
                  <a:lnTo>
                    <a:pt x="191" y="152"/>
                  </a:lnTo>
                  <a:lnTo>
                    <a:pt x="195" y="152"/>
                  </a:lnTo>
                  <a:lnTo>
                    <a:pt x="195" y="156"/>
                  </a:lnTo>
                  <a:lnTo>
                    <a:pt x="199" y="160"/>
                  </a:lnTo>
                  <a:lnTo>
                    <a:pt x="199" y="156"/>
                  </a:lnTo>
                  <a:lnTo>
                    <a:pt x="195" y="152"/>
                  </a:lnTo>
                  <a:lnTo>
                    <a:pt x="195" y="148"/>
                  </a:lnTo>
                  <a:lnTo>
                    <a:pt x="191" y="148"/>
                  </a:lnTo>
                  <a:lnTo>
                    <a:pt x="191" y="144"/>
                  </a:lnTo>
                  <a:lnTo>
                    <a:pt x="191" y="140"/>
                  </a:lnTo>
                  <a:lnTo>
                    <a:pt x="191" y="144"/>
                  </a:lnTo>
                  <a:lnTo>
                    <a:pt x="195" y="148"/>
                  </a:lnTo>
                  <a:lnTo>
                    <a:pt x="195" y="152"/>
                  </a:lnTo>
                  <a:lnTo>
                    <a:pt x="199" y="156"/>
                  </a:lnTo>
                  <a:lnTo>
                    <a:pt x="203" y="156"/>
                  </a:lnTo>
                  <a:lnTo>
                    <a:pt x="203" y="160"/>
                  </a:lnTo>
                  <a:lnTo>
                    <a:pt x="203" y="156"/>
                  </a:lnTo>
                  <a:lnTo>
                    <a:pt x="207" y="156"/>
                  </a:lnTo>
                  <a:lnTo>
                    <a:pt x="211" y="156"/>
                  </a:lnTo>
                  <a:lnTo>
                    <a:pt x="215" y="156"/>
                  </a:lnTo>
                  <a:lnTo>
                    <a:pt x="219" y="156"/>
                  </a:lnTo>
                  <a:lnTo>
                    <a:pt x="215" y="156"/>
                  </a:lnTo>
                  <a:lnTo>
                    <a:pt x="215" y="160"/>
                  </a:lnTo>
                  <a:lnTo>
                    <a:pt x="215" y="164"/>
                  </a:lnTo>
                  <a:lnTo>
                    <a:pt x="211" y="164"/>
                  </a:lnTo>
                  <a:lnTo>
                    <a:pt x="207" y="164"/>
                  </a:lnTo>
                  <a:lnTo>
                    <a:pt x="203" y="164"/>
                  </a:lnTo>
                  <a:lnTo>
                    <a:pt x="203" y="160"/>
                  </a:lnTo>
                  <a:lnTo>
                    <a:pt x="199" y="164"/>
                  </a:lnTo>
                  <a:lnTo>
                    <a:pt x="195" y="168"/>
                  </a:lnTo>
                  <a:lnTo>
                    <a:pt x="191" y="168"/>
                  </a:lnTo>
                  <a:lnTo>
                    <a:pt x="187" y="168"/>
                  </a:lnTo>
                  <a:lnTo>
                    <a:pt x="187" y="172"/>
                  </a:lnTo>
                  <a:lnTo>
                    <a:pt x="183" y="172"/>
                  </a:lnTo>
                  <a:lnTo>
                    <a:pt x="183" y="176"/>
                  </a:lnTo>
                  <a:lnTo>
                    <a:pt x="179" y="176"/>
                  </a:lnTo>
                  <a:lnTo>
                    <a:pt x="175" y="176"/>
                  </a:lnTo>
                  <a:lnTo>
                    <a:pt x="171" y="176"/>
                  </a:lnTo>
                  <a:lnTo>
                    <a:pt x="171" y="172"/>
                  </a:lnTo>
                  <a:lnTo>
                    <a:pt x="171" y="168"/>
                  </a:lnTo>
                  <a:lnTo>
                    <a:pt x="175" y="168"/>
                  </a:lnTo>
                  <a:lnTo>
                    <a:pt x="175" y="164"/>
                  </a:lnTo>
                  <a:lnTo>
                    <a:pt x="171" y="164"/>
                  </a:lnTo>
                  <a:lnTo>
                    <a:pt x="171" y="160"/>
                  </a:lnTo>
                  <a:lnTo>
                    <a:pt x="167" y="160"/>
                  </a:lnTo>
                  <a:lnTo>
                    <a:pt x="163" y="156"/>
                  </a:lnTo>
                  <a:lnTo>
                    <a:pt x="159" y="156"/>
                  </a:lnTo>
                  <a:lnTo>
                    <a:pt x="155" y="156"/>
                  </a:lnTo>
                  <a:lnTo>
                    <a:pt x="159" y="152"/>
                  </a:lnTo>
                  <a:lnTo>
                    <a:pt x="163" y="152"/>
                  </a:lnTo>
                  <a:lnTo>
                    <a:pt x="163" y="148"/>
                  </a:lnTo>
                  <a:lnTo>
                    <a:pt x="167" y="148"/>
                  </a:lnTo>
                  <a:lnTo>
                    <a:pt x="171" y="148"/>
                  </a:lnTo>
                  <a:lnTo>
                    <a:pt x="171" y="144"/>
                  </a:lnTo>
                  <a:lnTo>
                    <a:pt x="175" y="144"/>
                  </a:lnTo>
                  <a:lnTo>
                    <a:pt x="175" y="140"/>
                  </a:lnTo>
                  <a:lnTo>
                    <a:pt x="171" y="140"/>
                  </a:lnTo>
                  <a:lnTo>
                    <a:pt x="167" y="140"/>
                  </a:lnTo>
                  <a:lnTo>
                    <a:pt x="163" y="140"/>
                  </a:lnTo>
                  <a:lnTo>
                    <a:pt x="159" y="140"/>
                  </a:lnTo>
                  <a:lnTo>
                    <a:pt x="155" y="140"/>
                  </a:lnTo>
                  <a:lnTo>
                    <a:pt x="151" y="140"/>
                  </a:lnTo>
                  <a:lnTo>
                    <a:pt x="151" y="136"/>
                  </a:lnTo>
                  <a:lnTo>
                    <a:pt x="147" y="136"/>
                  </a:lnTo>
                  <a:lnTo>
                    <a:pt x="151" y="136"/>
                  </a:lnTo>
                  <a:lnTo>
                    <a:pt x="147" y="132"/>
                  </a:lnTo>
                  <a:lnTo>
                    <a:pt x="143" y="132"/>
                  </a:lnTo>
                  <a:lnTo>
                    <a:pt x="147" y="132"/>
                  </a:lnTo>
                  <a:lnTo>
                    <a:pt x="151" y="132"/>
                  </a:lnTo>
                  <a:lnTo>
                    <a:pt x="155" y="132"/>
                  </a:lnTo>
                  <a:lnTo>
                    <a:pt x="159" y="128"/>
                  </a:lnTo>
                  <a:lnTo>
                    <a:pt x="155" y="128"/>
                  </a:lnTo>
                  <a:lnTo>
                    <a:pt x="155" y="132"/>
                  </a:lnTo>
                  <a:lnTo>
                    <a:pt x="151" y="128"/>
                  </a:lnTo>
                  <a:lnTo>
                    <a:pt x="151" y="132"/>
                  </a:lnTo>
                  <a:lnTo>
                    <a:pt x="147" y="128"/>
                  </a:lnTo>
                  <a:lnTo>
                    <a:pt x="147" y="124"/>
                  </a:lnTo>
                  <a:lnTo>
                    <a:pt x="147" y="120"/>
                  </a:lnTo>
                  <a:lnTo>
                    <a:pt x="147" y="116"/>
                  </a:lnTo>
                  <a:lnTo>
                    <a:pt x="143" y="116"/>
                  </a:lnTo>
                  <a:lnTo>
                    <a:pt x="147" y="116"/>
                  </a:lnTo>
                  <a:lnTo>
                    <a:pt x="147" y="120"/>
                  </a:lnTo>
                  <a:lnTo>
                    <a:pt x="147" y="124"/>
                  </a:lnTo>
                  <a:lnTo>
                    <a:pt x="147" y="128"/>
                  </a:lnTo>
                  <a:lnTo>
                    <a:pt x="143" y="128"/>
                  </a:lnTo>
                  <a:lnTo>
                    <a:pt x="139" y="128"/>
                  </a:lnTo>
                  <a:lnTo>
                    <a:pt x="143" y="128"/>
                  </a:lnTo>
                  <a:lnTo>
                    <a:pt x="143" y="124"/>
                  </a:lnTo>
                  <a:lnTo>
                    <a:pt x="143" y="128"/>
                  </a:lnTo>
                  <a:lnTo>
                    <a:pt x="139" y="128"/>
                  </a:lnTo>
                  <a:lnTo>
                    <a:pt x="135" y="128"/>
                  </a:lnTo>
                  <a:lnTo>
                    <a:pt x="131" y="132"/>
                  </a:lnTo>
                  <a:lnTo>
                    <a:pt x="131" y="136"/>
                  </a:lnTo>
                  <a:lnTo>
                    <a:pt x="127" y="136"/>
                  </a:lnTo>
                  <a:lnTo>
                    <a:pt x="127" y="140"/>
                  </a:lnTo>
                  <a:lnTo>
                    <a:pt x="123" y="144"/>
                  </a:lnTo>
                  <a:lnTo>
                    <a:pt x="119" y="148"/>
                  </a:lnTo>
                  <a:lnTo>
                    <a:pt x="115" y="148"/>
                  </a:lnTo>
                  <a:lnTo>
                    <a:pt x="115" y="152"/>
                  </a:lnTo>
                  <a:lnTo>
                    <a:pt x="115" y="148"/>
                  </a:lnTo>
                  <a:lnTo>
                    <a:pt x="111" y="148"/>
                  </a:lnTo>
                  <a:lnTo>
                    <a:pt x="111" y="152"/>
                  </a:lnTo>
                  <a:lnTo>
                    <a:pt x="115" y="156"/>
                  </a:lnTo>
                  <a:lnTo>
                    <a:pt x="115" y="160"/>
                  </a:lnTo>
                  <a:lnTo>
                    <a:pt x="115" y="156"/>
                  </a:lnTo>
                  <a:lnTo>
                    <a:pt x="111" y="156"/>
                  </a:lnTo>
                  <a:lnTo>
                    <a:pt x="107" y="156"/>
                  </a:lnTo>
                  <a:lnTo>
                    <a:pt x="103" y="156"/>
                  </a:lnTo>
                  <a:lnTo>
                    <a:pt x="99" y="156"/>
                  </a:lnTo>
                  <a:lnTo>
                    <a:pt x="99" y="160"/>
                  </a:lnTo>
                  <a:lnTo>
                    <a:pt x="95" y="160"/>
                  </a:lnTo>
                  <a:lnTo>
                    <a:pt x="95" y="156"/>
                  </a:lnTo>
                  <a:lnTo>
                    <a:pt x="91" y="1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9" name="Freeform 116"/>
            <p:cNvSpPr>
              <a:spLocks noEditPoints="1"/>
            </p:cNvSpPr>
            <p:nvPr>
              <p:custDataLst>
                <p:tags r:id="rId311"/>
              </p:custDataLst>
            </p:nvPr>
          </p:nvSpPr>
          <p:spPr bwMode="gray">
            <a:xfrm>
              <a:off x="4192161" y="2768820"/>
              <a:ext cx="225426" cy="379664"/>
            </a:xfrm>
            <a:custGeom>
              <a:avLst/>
              <a:gdLst/>
              <a:ahLst/>
              <a:cxnLst>
                <a:cxn ang="0">
                  <a:pos x="108" y="8"/>
                </a:cxn>
                <a:cxn ang="0">
                  <a:pos x="108" y="16"/>
                </a:cxn>
                <a:cxn ang="0">
                  <a:pos x="72" y="48"/>
                </a:cxn>
                <a:cxn ang="0">
                  <a:pos x="76" y="48"/>
                </a:cxn>
                <a:cxn ang="0">
                  <a:pos x="44" y="144"/>
                </a:cxn>
                <a:cxn ang="0">
                  <a:pos x="52" y="120"/>
                </a:cxn>
                <a:cxn ang="0">
                  <a:pos x="40" y="116"/>
                </a:cxn>
                <a:cxn ang="0">
                  <a:pos x="36" y="124"/>
                </a:cxn>
                <a:cxn ang="0">
                  <a:pos x="48" y="108"/>
                </a:cxn>
                <a:cxn ang="0">
                  <a:pos x="36" y="104"/>
                </a:cxn>
                <a:cxn ang="0">
                  <a:pos x="36" y="96"/>
                </a:cxn>
                <a:cxn ang="0">
                  <a:pos x="40" y="80"/>
                </a:cxn>
                <a:cxn ang="0">
                  <a:pos x="40" y="68"/>
                </a:cxn>
                <a:cxn ang="0">
                  <a:pos x="60" y="56"/>
                </a:cxn>
                <a:cxn ang="0">
                  <a:pos x="68" y="68"/>
                </a:cxn>
                <a:cxn ang="0">
                  <a:pos x="68" y="76"/>
                </a:cxn>
                <a:cxn ang="0">
                  <a:pos x="68" y="80"/>
                </a:cxn>
                <a:cxn ang="0">
                  <a:pos x="92" y="76"/>
                </a:cxn>
                <a:cxn ang="0">
                  <a:pos x="84" y="104"/>
                </a:cxn>
                <a:cxn ang="0">
                  <a:pos x="68" y="116"/>
                </a:cxn>
                <a:cxn ang="0">
                  <a:pos x="96" y="124"/>
                </a:cxn>
                <a:cxn ang="0">
                  <a:pos x="112" y="152"/>
                </a:cxn>
                <a:cxn ang="0">
                  <a:pos x="124" y="172"/>
                </a:cxn>
                <a:cxn ang="0">
                  <a:pos x="120" y="172"/>
                </a:cxn>
                <a:cxn ang="0">
                  <a:pos x="132" y="188"/>
                </a:cxn>
                <a:cxn ang="0">
                  <a:pos x="140" y="208"/>
                </a:cxn>
                <a:cxn ang="0">
                  <a:pos x="132" y="220"/>
                </a:cxn>
                <a:cxn ang="0">
                  <a:pos x="144" y="228"/>
                </a:cxn>
                <a:cxn ang="0">
                  <a:pos x="124" y="236"/>
                </a:cxn>
                <a:cxn ang="0">
                  <a:pos x="92" y="240"/>
                </a:cxn>
                <a:cxn ang="0">
                  <a:pos x="72" y="244"/>
                </a:cxn>
                <a:cxn ang="0">
                  <a:pos x="44" y="252"/>
                </a:cxn>
                <a:cxn ang="0">
                  <a:pos x="56" y="236"/>
                </a:cxn>
                <a:cxn ang="0">
                  <a:pos x="84" y="220"/>
                </a:cxn>
                <a:cxn ang="0">
                  <a:pos x="68" y="220"/>
                </a:cxn>
                <a:cxn ang="0">
                  <a:pos x="48" y="220"/>
                </a:cxn>
                <a:cxn ang="0">
                  <a:pos x="56" y="208"/>
                </a:cxn>
                <a:cxn ang="0">
                  <a:pos x="56" y="192"/>
                </a:cxn>
                <a:cxn ang="0">
                  <a:pos x="76" y="176"/>
                </a:cxn>
                <a:cxn ang="0">
                  <a:pos x="80" y="160"/>
                </a:cxn>
                <a:cxn ang="0">
                  <a:pos x="80" y="144"/>
                </a:cxn>
                <a:cxn ang="0">
                  <a:pos x="56" y="148"/>
                </a:cxn>
                <a:cxn ang="0">
                  <a:pos x="24" y="72"/>
                </a:cxn>
                <a:cxn ang="0">
                  <a:pos x="24" y="60"/>
                </a:cxn>
                <a:cxn ang="0">
                  <a:pos x="24" y="68"/>
                </a:cxn>
                <a:cxn ang="0">
                  <a:pos x="32" y="92"/>
                </a:cxn>
                <a:cxn ang="0">
                  <a:pos x="24" y="84"/>
                </a:cxn>
                <a:cxn ang="0">
                  <a:pos x="36" y="92"/>
                </a:cxn>
                <a:cxn ang="0">
                  <a:pos x="12" y="92"/>
                </a:cxn>
                <a:cxn ang="0">
                  <a:pos x="12" y="96"/>
                </a:cxn>
                <a:cxn ang="0">
                  <a:pos x="24" y="104"/>
                </a:cxn>
                <a:cxn ang="0">
                  <a:pos x="28" y="108"/>
                </a:cxn>
                <a:cxn ang="0">
                  <a:pos x="16" y="104"/>
                </a:cxn>
                <a:cxn ang="0">
                  <a:pos x="28" y="128"/>
                </a:cxn>
                <a:cxn ang="0">
                  <a:pos x="48" y="124"/>
                </a:cxn>
                <a:cxn ang="0">
                  <a:pos x="16" y="156"/>
                </a:cxn>
                <a:cxn ang="0">
                  <a:pos x="4" y="148"/>
                </a:cxn>
                <a:cxn ang="0">
                  <a:pos x="36" y="144"/>
                </a:cxn>
                <a:cxn ang="0">
                  <a:pos x="40" y="156"/>
                </a:cxn>
                <a:cxn ang="0">
                  <a:pos x="56" y="176"/>
                </a:cxn>
                <a:cxn ang="0">
                  <a:pos x="104" y="240"/>
                </a:cxn>
              </a:cxnLst>
              <a:rect l="0" t="0" r="r" b="b"/>
              <a:pathLst>
                <a:path w="152" h="256">
                  <a:moveTo>
                    <a:pt x="84" y="40"/>
                  </a:moveTo>
                  <a:lnTo>
                    <a:pt x="88" y="40"/>
                  </a:lnTo>
                  <a:lnTo>
                    <a:pt x="84" y="40"/>
                  </a:lnTo>
                  <a:close/>
                  <a:moveTo>
                    <a:pt x="112" y="4"/>
                  </a:moveTo>
                  <a:lnTo>
                    <a:pt x="108" y="4"/>
                  </a:lnTo>
                  <a:lnTo>
                    <a:pt x="112" y="0"/>
                  </a:lnTo>
                  <a:lnTo>
                    <a:pt x="112" y="4"/>
                  </a:lnTo>
                  <a:close/>
                  <a:moveTo>
                    <a:pt x="108" y="8"/>
                  </a:moveTo>
                  <a:lnTo>
                    <a:pt x="108" y="4"/>
                  </a:lnTo>
                  <a:lnTo>
                    <a:pt x="108" y="8"/>
                  </a:lnTo>
                  <a:close/>
                  <a:moveTo>
                    <a:pt x="100" y="16"/>
                  </a:moveTo>
                  <a:lnTo>
                    <a:pt x="104" y="12"/>
                  </a:lnTo>
                  <a:lnTo>
                    <a:pt x="100" y="12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08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4" y="20"/>
                  </a:lnTo>
                  <a:lnTo>
                    <a:pt x="104" y="16"/>
                  </a:lnTo>
                  <a:lnTo>
                    <a:pt x="100" y="20"/>
                  </a:lnTo>
                  <a:lnTo>
                    <a:pt x="100" y="16"/>
                  </a:lnTo>
                  <a:close/>
                  <a:moveTo>
                    <a:pt x="80" y="48"/>
                  </a:moveTo>
                  <a:lnTo>
                    <a:pt x="76" y="48"/>
                  </a:lnTo>
                  <a:lnTo>
                    <a:pt x="72" y="48"/>
                  </a:lnTo>
                  <a:lnTo>
                    <a:pt x="72" y="44"/>
                  </a:lnTo>
                  <a:lnTo>
                    <a:pt x="76" y="44"/>
                  </a:lnTo>
                  <a:lnTo>
                    <a:pt x="80" y="44"/>
                  </a:lnTo>
                  <a:lnTo>
                    <a:pt x="80" y="48"/>
                  </a:lnTo>
                  <a:lnTo>
                    <a:pt x="84" y="48"/>
                  </a:lnTo>
                  <a:lnTo>
                    <a:pt x="80" y="48"/>
                  </a:lnTo>
                  <a:close/>
                  <a:moveTo>
                    <a:pt x="76" y="52"/>
                  </a:moveTo>
                  <a:lnTo>
                    <a:pt x="72" y="52"/>
                  </a:lnTo>
                  <a:lnTo>
                    <a:pt x="72" y="48"/>
                  </a:lnTo>
                  <a:lnTo>
                    <a:pt x="76" y="48"/>
                  </a:lnTo>
                  <a:lnTo>
                    <a:pt x="76" y="52"/>
                  </a:lnTo>
                  <a:close/>
                  <a:moveTo>
                    <a:pt x="80" y="52"/>
                  </a:moveTo>
                  <a:lnTo>
                    <a:pt x="76" y="52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80" y="52"/>
                  </a:lnTo>
                  <a:close/>
                  <a:moveTo>
                    <a:pt x="52" y="148"/>
                  </a:moveTo>
                  <a:lnTo>
                    <a:pt x="48" y="148"/>
                  </a:lnTo>
                  <a:lnTo>
                    <a:pt x="48" y="144"/>
                  </a:lnTo>
                  <a:lnTo>
                    <a:pt x="44" y="144"/>
                  </a:lnTo>
                  <a:lnTo>
                    <a:pt x="44" y="140"/>
                  </a:lnTo>
                  <a:lnTo>
                    <a:pt x="48" y="140"/>
                  </a:lnTo>
                  <a:lnTo>
                    <a:pt x="48" y="136"/>
                  </a:lnTo>
                  <a:lnTo>
                    <a:pt x="52" y="136"/>
                  </a:lnTo>
                  <a:lnTo>
                    <a:pt x="52" y="132"/>
                  </a:lnTo>
                  <a:lnTo>
                    <a:pt x="52" y="128"/>
                  </a:lnTo>
                  <a:lnTo>
                    <a:pt x="52" y="124"/>
                  </a:lnTo>
                  <a:lnTo>
                    <a:pt x="48" y="124"/>
                  </a:lnTo>
                  <a:lnTo>
                    <a:pt x="48" y="120"/>
                  </a:lnTo>
                  <a:lnTo>
                    <a:pt x="52" y="120"/>
                  </a:lnTo>
                  <a:lnTo>
                    <a:pt x="56" y="120"/>
                  </a:lnTo>
                  <a:lnTo>
                    <a:pt x="52" y="120"/>
                  </a:lnTo>
                  <a:lnTo>
                    <a:pt x="52" y="116"/>
                  </a:lnTo>
                  <a:lnTo>
                    <a:pt x="48" y="116"/>
                  </a:lnTo>
                  <a:lnTo>
                    <a:pt x="48" y="120"/>
                  </a:lnTo>
                  <a:lnTo>
                    <a:pt x="44" y="120"/>
                  </a:lnTo>
                  <a:lnTo>
                    <a:pt x="44" y="116"/>
                  </a:lnTo>
                  <a:lnTo>
                    <a:pt x="48" y="112"/>
                  </a:lnTo>
                  <a:lnTo>
                    <a:pt x="44" y="116"/>
                  </a:lnTo>
                  <a:lnTo>
                    <a:pt x="40" y="116"/>
                  </a:lnTo>
                  <a:lnTo>
                    <a:pt x="40" y="120"/>
                  </a:lnTo>
                  <a:lnTo>
                    <a:pt x="44" y="124"/>
                  </a:lnTo>
                  <a:lnTo>
                    <a:pt x="40" y="124"/>
                  </a:lnTo>
                  <a:lnTo>
                    <a:pt x="40" y="132"/>
                  </a:lnTo>
                  <a:lnTo>
                    <a:pt x="36" y="136"/>
                  </a:lnTo>
                  <a:lnTo>
                    <a:pt x="36" y="132"/>
                  </a:lnTo>
                  <a:lnTo>
                    <a:pt x="36" y="128"/>
                  </a:lnTo>
                  <a:lnTo>
                    <a:pt x="36" y="124"/>
                  </a:lnTo>
                  <a:lnTo>
                    <a:pt x="40" y="124"/>
                  </a:lnTo>
                  <a:lnTo>
                    <a:pt x="36" y="124"/>
                  </a:lnTo>
                  <a:lnTo>
                    <a:pt x="36" y="120"/>
                  </a:lnTo>
                  <a:lnTo>
                    <a:pt x="40" y="120"/>
                  </a:lnTo>
                  <a:lnTo>
                    <a:pt x="40" y="116"/>
                  </a:lnTo>
                  <a:lnTo>
                    <a:pt x="36" y="120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4" y="108"/>
                  </a:lnTo>
                  <a:lnTo>
                    <a:pt x="48" y="108"/>
                  </a:lnTo>
                  <a:lnTo>
                    <a:pt x="48" y="104"/>
                  </a:lnTo>
                  <a:lnTo>
                    <a:pt x="44" y="108"/>
                  </a:lnTo>
                  <a:lnTo>
                    <a:pt x="44" y="104"/>
                  </a:lnTo>
                  <a:lnTo>
                    <a:pt x="44" y="100"/>
                  </a:lnTo>
                  <a:lnTo>
                    <a:pt x="48" y="100"/>
                  </a:lnTo>
                  <a:lnTo>
                    <a:pt x="44" y="100"/>
                  </a:lnTo>
                  <a:lnTo>
                    <a:pt x="40" y="104"/>
                  </a:lnTo>
                  <a:lnTo>
                    <a:pt x="36" y="104"/>
                  </a:lnTo>
                  <a:lnTo>
                    <a:pt x="32" y="104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40" y="100"/>
                  </a:lnTo>
                  <a:lnTo>
                    <a:pt x="36" y="100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32" y="100"/>
                  </a:lnTo>
                  <a:lnTo>
                    <a:pt x="36" y="100"/>
                  </a:lnTo>
                  <a:lnTo>
                    <a:pt x="36" y="96"/>
                  </a:lnTo>
                  <a:lnTo>
                    <a:pt x="40" y="96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6" y="96"/>
                  </a:lnTo>
                  <a:lnTo>
                    <a:pt x="40" y="96"/>
                  </a:lnTo>
                  <a:lnTo>
                    <a:pt x="36" y="92"/>
                  </a:lnTo>
                  <a:lnTo>
                    <a:pt x="40" y="92"/>
                  </a:lnTo>
                  <a:lnTo>
                    <a:pt x="40" y="88"/>
                  </a:lnTo>
                  <a:lnTo>
                    <a:pt x="40" y="84"/>
                  </a:lnTo>
                  <a:lnTo>
                    <a:pt x="36" y="84"/>
                  </a:lnTo>
                  <a:lnTo>
                    <a:pt x="36" y="80"/>
                  </a:lnTo>
                  <a:lnTo>
                    <a:pt x="40" y="80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76"/>
                  </a:lnTo>
                  <a:lnTo>
                    <a:pt x="40" y="72"/>
                  </a:lnTo>
                  <a:lnTo>
                    <a:pt x="44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60"/>
                  </a:lnTo>
                  <a:lnTo>
                    <a:pt x="56" y="56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8" y="56"/>
                  </a:lnTo>
                  <a:lnTo>
                    <a:pt x="72" y="56"/>
                  </a:lnTo>
                  <a:lnTo>
                    <a:pt x="76" y="56"/>
                  </a:lnTo>
                  <a:lnTo>
                    <a:pt x="80" y="56"/>
                  </a:lnTo>
                  <a:lnTo>
                    <a:pt x="76" y="60"/>
                  </a:lnTo>
                  <a:lnTo>
                    <a:pt x="76" y="64"/>
                  </a:lnTo>
                  <a:lnTo>
                    <a:pt x="72" y="64"/>
                  </a:lnTo>
                  <a:lnTo>
                    <a:pt x="72" y="68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4" y="76"/>
                  </a:lnTo>
                  <a:lnTo>
                    <a:pt x="64" y="72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56" y="80"/>
                  </a:lnTo>
                  <a:lnTo>
                    <a:pt x="60" y="80"/>
                  </a:lnTo>
                  <a:lnTo>
                    <a:pt x="60" y="76"/>
                  </a:lnTo>
                  <a:lnTo>
                    <a:pt x="64" y="80"/>
                  </a:lnTo>
                  <a:lnTo>
                    <a:pt x="60" y="80"/>
                  </a:lnTo>
                  <a:lnTo>
                    <a:pt x="60" y="84"/>
                  </a:lnTo>
                  <a:lnTo>
                    <a:pt x="64" y="80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72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76"/>
                  </a:lnTo>
                  <a:lnTo>
                    <a:pt x="84" y="76"/>
                  </a:lnTo>
                  <a:lnTo>
                    <a:pt x="88" y="80"/>
                  </a:lnTo>
                  <a:lnTo>
                    <a:pt x="92" y="80"/>
                  </a:lnTo>
                  <a:lnTo>
                    <a:pt x="92" y="76"/>
                  </a:lnTo>
                  <a:lnTo>
                    <a:pt x="96" y="76"/>
                  </a:lnTo>
                  <a:lnTo>
                    <a:pt x="96" y="80"/>
                  </a:lnTo>
                  <a:lnTo>
                    <a:pt x="96" y="84"/>
                  </a:lnTo>
                  <a:lnTo>
                    <a:pt x="96" y="88"/>
                  </a:lnTo>
                  <a:lnTo>
                    <a:pt x="92" y="88"/>
                  </a:lnTo>
                  <a:lnTo>
                    <a:pt x="92" y="92"/>
                  </a:lnTo>
                  <a:lnTo>
                    <a:pt x="92" y="96"/>
                  </a:lnTo>
                  <a:lnTo>
                    <a:pt x="88" y="100"/>
                  </a:lnTo>
                  <a:lnTo>
                    <a:pt x="88" y="104"/>
                  </a:lnTo>
                  <a:lnTo>
                    <a:pt x="84" y="104"/>
                  </a:lnTo>
                  <a:lnTo>
                    <a:pt x="84" y="108"/>
                  </a:lnTo>
                  <a:lnTo>
                    <a:pt x="80" y="108"/>
                  </a:lnTo>
                  <a:lnTo>
                    <a:pt x="76" y="108"/>
                  </a:lnTo>
                  <a:lnTo>
                    <a:pt x="80" y="108"/>
                  </a:lnTo>
                  <a:lnTo>
                    <a:pt x="84" y="108"/>
                  </a:lnTo>
                  <a:lnTo>
                    <a:pt x="84" y="112"/>
                  </a:lnTo>
                  <a:lnTo>
                    <a:pt x="80" y="112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68" y="116"/>
                  </a:lnTo>
                  <a:lnTo>
                    <a:pt x="72" y="116"/>
                  </a:lnTo>
                  <a:lnTo>
                    <a:pt x="76" y="120"/>
                  </a:lnTo>
                  <a:lnTo>
                    <a:pt x="80" y="120"/>
                  </a:lnTo>
                  <a:lnTo>
                    <a:pt x="80" y="116"/>
                  </a:lnTo>
                  <a:lnTo>
                    <a:pt x="84" y="116"/>
                  </a:lnTo>
                  <a:lnTo>
                    <a:pt x="88" y="116"/>
                  </a:lnTo>
                  <a:lnTo>
                    <a:pt x="88" y="120"/>
                  </a:lnTo>
                  <a:lnTo>
                    <a:pt x="92" y="120"/>
                  </a:lnTo>
                  <a:lnTo>
                    <a:pt x="92" y="124"/>
                  </a:lnTo>
                  <a:lnTo>
                    <a:pt x="96" y="124"/>
                  </a:lnTo>
                  <a:lnTo>
                    <a:pt x="96" y="128"/>
                  </a:lnTo>
                  <a:lnTo>
                    <a:pt x="100" y="128"/>
                  </a:lnTo>
                  <a:lnTo>
                    <a:pt x="100" y="132"/>
                  </a:lnTo>
                  <a:lnTo>
                    <a:pt x="100" y="136"/>
                  </a:lnTo>
                  <a:lnTo>
                    <a:pt x="100" y="140"/>
                  </a:lnTo>
                  <a:lnTo>
                    <a:pt x="104" y="140"/>
                  </a:lnTo>
                  <a:lnTo>
                    <a:pt x="104" y="144"/>
                  </a:lnTo>
                  <a:lnTo>
                    <a:pt x="104" y="148"/>
                  </a:lnTo>
                  <a:lnTo>
                    <a:pt x="108" y="148"/>
                  </a:lnTo>
                  <a:lnTo>
                    <a:pt x="112" y="152"/>
                  </a:lnTo>
                  <a:lnTo>
                    <a:pt x="116" y="152"/>
                  </a:lnTo>
                  <a:lnTo>
                    <a:pt x="116" y="156"/>
                  </a:lnTo>
                  <a:lnTo>
                    <a:pt x="120" y="156"/>
                  </a:lnTo>
                  <a:lnTo>
                    <a:pt x="120" y="160"/>
                  </a:lnTo>
                  <a:lnTo>
                    <a:pt x="124" y="160"/>
                  </a:lnTo>
                  <a:lnTo>
                    <a:pt x="120" y="160"/>
                  </a:lnTo>
                  <a:lnTo>
                    <a:pt x="120" y="164"/>
                  </a:lnTo>
                  <a:lnTo>
                    <a:pt x="120" y="168"/>
                  </a:lnTo>
                  <a:lnTo>
                    <a:pt x="124" y="168"/>
                  </a:lnTo>
                  <a:lnTo>
                    <a:pt x="124" y="172"/>
                  </a:lnTo>
                  <a:lnTo>
                    <a:pt x="128" y="172"/>
                  </a:lnTo>
                  <a:lnTo>
                    <a:pt x="124" y="176"/>
                  </a:lnTo>
                  <a:lnTo>
                    <a:pt x="124" y="172"/>
                  </a:lnTo>
                  <a:lnTo>
                    <a:pt x="128" y="172"/>
                  </a:lnTo>
                  <a:lnTo>
                    <a:pt x="124" y="172"/>
                  </a:lnTo>
                  <a:lnTo>
                    <a:pt x="120" y="172"/>
                  </a:lnTo>
                  <a:lnTo>
                    <a:pt x="116" y="172"/>
                  </a:lnTo>
                  <a:lnTo>
                    <a:pt x="112" y="172"/>
                  </a:lnTo>
                  <a:lnTo>
                    <a:pt x="116" y="172"/>
                  </a:lnTo>
                  <a:lnTo>
                    <a:pt x="120" y="172"/>
                  </a:lnTo>
                  <a:lnTo>
                    <a:pt x="124" y="172"/>
                  </a:lnTo>
                  <a:lnTo>
                    <a:pt x="124" y="176"/>
                  </a:lnTo>
                  <a:lnTo>
                    <a:pt x="128" y="176"/>
                  </a:lnTo>
                  <a:lnTo>
                    <a:pt x="128" y="180"/>
                  </a:lnTo>
                  <a:lnTo>
                    <a:pt x="128" y="184"/>
                  </a:lnTo>
                  <a:lnTo>
                    <a:pt x="128" y="188"/>
                  </a:lnTo>
                  <a:lnTo>
                    <a:pt x="124" y="188"/>
                  </a:lnTo>
                  <a:lnTo>
                    <a:pt x="128" y="192"/>
                  </a:lnTo>
                  <a:lnTo>
                    <a:pt x="132" y="192"/>
                  </a:lnTo>
                  <a:lnTo>
                    <a:pt x="132" y="188"/>
                  </a:lnTo>
                  <a:lnTo>
                    <a:pt x="136" y="188"/>
                  </a:lnTo>
                  <a:lnTo>
                    <a:pt x="140" y="188"/>
                  </a:lnTo>
                  <a:lnTo>
                    <a:pt x="144" y="188"/>
                  </a:lnTo>
                  <a:lnTo>
                    <a:pt x="148" y="192"/>
                  </a:lnTo>
                  <a:lnTo>
                    <a:pt x="152" y="196"/>
                  </a:lnTo>
                  <a:lnTo>
                    <a:pt x="152" y="200"/>
                  </a:lnTo>
                  <a:lnTo>
                    <a:pt x="148" y="204"/>
                  </a:lnTo>
                  <a:lnTo>
                    <a:pt x="148" y="208"/>
                  </a:lnTo>
                  <a:lnTo>
                    <a:pt x="144" y="212"/>
                  </a:lnTo>
                  <a:lnTo>
                    <a:pt x="140" y="208"/>
                  </a:lnTo>
                  <a:lnTo>
                    <a:pt x="144" y="212"/>
                  </a:lnTo>
                  <a:lnTo>
                    <a:pt x="144" y="216"/>
                  </a:lnTo>
                  <a:lnTo>
                    <a:pt x="140" y="216"/>
                  </a:lnTo>
                  <a:lnTo>
                    <a:pt x="140" y="212"/>
                  </a:lnTo>
                  <a:lnTo>
                    <a:pt x="140" y="216"/>
                  </a:lnTo>
                  <a:lnTo>
                    <a:pt x="136" y="216"/>
                  </a:lnTo>
                  <a:lnTo>
                    <a:pt x="140" y="216"/>
                  </a:lnTo>
                  <a:lnTo>
                    <a:pt x="140" y="220"/>
                  </a:lnTo>
                  <a:lnTo>
                    <a:pt x="136" y="220"/>
                  </a:lnTo>
                  <a:lnTo>
                    <a:pt x="132" y="220"/>
                  </a:lnTo>
                  <a:lnTo>
                    <a:pt x="128" y="224"/>
                  </a:lnTo>
                  <a:lnTo>
                    <a:pt x="132" y="224"/>
                  </a:lnTo>
                  <a:lnTo>
                    <a:pt x="132" y="220"/>
                  </a:lnTo>
                  <a:lnTo>
                    <a:pt x="136" y="220"/>
                  </a:lnTo>
                  <a:lnTo>
                    <a:pt x="136" y="224"/>
                  </a:lnTo>
                  <a:lnTo>
                    <a:pt x="132" y="224"/>
                  </a:lnTo>
                  <a:lnTo>
                    <a:pt x="136" y="224"/>
                  </a:lnTo>
                  <a:lnTo>
                    <a:pt x="140" y="224"/>
                  </a:lnTo>
                  <a:lnTo>
                    <a:pt x="144" y="224"/>
                  </a:lnTo>
                  <a:lnTo>
                    <a:pt x="144" y="228"/>
                  </a:lnTo>
                  <a:lnTo>
                    <a:pt x="144" y="232"/>
                  </a:lnTo>
                  <a:lnTo>
                    <a:pt x="140" y="232"/>
                  </a:lnTo>
                  <a:lnTo>
                    <a:pt x="140" y="236"/>
                  </a:lnTo>
                  <a:lnTo>
                    <a:pt x="136" y="236"/>
                  </a:lnTo>
                  <a:lnTo>
                    <a:pt x="136" y="232"/>
                  </a:lnTo>
                  <a:lnTo>
                    <a:pt x="136" y="236"/>
                  </a:lnTo>
                  <a:lnTo>
                    <a:pt x="132" y="236"/>
                  </a:lnTo>
                  <a:lnTo>
                    <a:pt x="128" y="236"/>
                  </a:lnTo>
                  <a:lnTo>
                    <a:pt x="128" y="240"/>
                  </a:lnTo>
                  <a:lnTo>
                    <a:pt x="124" y="236"/>
                  </a:lnTo>
                  <a:lnTo>
                    <a:pt x="120" y="236"/>
                  </a:lnTo>
                  <a:lnTo>
                    <a:pt x="116" y="236"/>
                  </a:lnTo>
                  <a:lnTo>
                    <a:pt x="112" y="236"/>
                  </a:lnTo>
                  <a:lnTo>
                    <a:pt x="112" y="240"/>
                  </a:lnTo>
                  <a:lnTo>
                    <a:pt x="112" y="236"/>
                  </a:lnTo>
                  <a:lnTo>
                    <a:pt x="108" y="236"/>
                  </a:lnTo>
                  <a:lnTo>
                    <a:pt x="104" y="236"/>
                  </a:lnTo>
                  <a:lnTo>
                    <a:pt x="100" y="240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88" y="240"/>
                  </a:lnTo>
                  <a:lnTo>
                    <a:pt x="88" y="244"/>
                  </a:lnTo>
                  <a:lnTo>
                    <a:pt x="88" y="240"/>
                  </a:lnTo>
                  <a:lnTo>
                    <a:pt x="84" y="240"/>
                  </a:lnTo>
                  <a:lnTo>
                    <a:pt x="80" y="240"/>
                  </a:lnTo>
                  <a:lnTo>
                    <a:pt x="76" y="240"/>
                  </a:lnTo>
                  <a:lnTo>
                    <a:pt x="72" y="240"/>
                  </a:lnTo>
                  <a:lnTo>
                    <a:pt x="72" y="244"/>
                  </a:lnTo>
                  <a:lnTo>
                    <a:pt x="68" y="248"/>
                  </a:lnTo>
                  <a:lnTo>
                    <a:pt x="68" y="252"/>
                  </a:lnTo>
                  <a:lnTo>
                    <a:pt x="64" y="248"/>
                  </a:lnTo>
                  <a:lnTo>
                    <a:pt x="60" y="248"/>
                  </a:lnTo>
                  <a:lnTo>
                    <a:pt x="56" y="248"/>
                  </a:lnTo>
                  <a:lnTo>
                    <a:pt x="52" y="248"/>
                  </a:lnTo>
                  <a:lnTo>
                    <a:pt x="48" y="252"/>
                  </a:lnTo>
                  <a:lnTo>
                    <a:pt x="48" y="256"/>
                  </a:lnTo>
                  <a:lnTo>
                    <a:pt x="44" y="256"/>
                  </a:lnTo>
                  <a:lnTo>
                    <a:pt x="44" y="252"/>
                  </a:lnTo>
                  <a:lnTo>
                    <a:pt x="40" y="252"/>
                  </a:lnTo>
                  <a:lnTo>
                    <a:pt x="40" y="256"/>
                  </a:lnTo>
                  <a:lnTo>
                    <a:pt x="36" y="256"/>
                  </a:lnTo>
                  <a:lnTo>
                    <a:pt x="36" y="252"/>
                  </a:lnTo>
                  <a:lnTo>
                    <a:pt x="40" y="252"/>
                  </a:lnTo>
                  <a:lnTo>
                    <a:pt x="44" y="248"/>
                  </a:lnTo>
                  <a:lnTo>
                    <a:pt x="48" y="244"/>
                  </a:lnTo>
                  <a:lnTo>
                    <a:pt x="48" y="240"/>
                  </a:lnTo>
                  <a:lnTo>
                    <a:pt x="52" y="240"/>
                  </a:lnTo>
                  <a:lnTo>
                    <a:pt x="56" y="236"/>
                  </a:lnTo>
                  <a:lnTo>
                    <a:pt x="56" y="232"/>
                  </a:lnTo>
                  <a:lnTo>
                    <a:pt x="60" y="232"/>
                  </a:lnTo>
                  <a:lnTo>
                    <a:pt x="60" y="228"/>
                  </a:lnTo>
                  <a:lnTo>
                    <a:pt x="64" y="228"/>
                  </a:lnTo>
                  <a:lnTo>
                    <a:pt x="68" y="228"/>
                  </a:lnTo>
                  <a:lnTo>
                    <a:pt x="72" y="228"/>
                  </a:lnTo>
                  <a:lnTo>
                    <a:pt x="80" y="228"/>
                  </a:lnTo>
                  <a:lnTo>
                    <a:pt x="80" y="224"/>
                  </a:lnTo>
                  <a:lnTo>
                    <a:pt x="80" y="220"/>
                  </a:lnTo>
                  <a:lnTo>
                    <a:pt x="84" y="220"/>
                  </a:lnTo>
                  <a:lnTo>
                    <a:pt x="84" y="216"/>
                  </a:lnTo>
                  <a:lnTo>
                    <a:pt x="88" y="216"/>
                  </a:lnTo>
                  <a:lnTo>
                    <a:pt x="84" y="216"/>
                  </a:lnTo>
                  <a:lnTo>
                    <a:pt x="84" y="220"/>
                  </a:lnTo>
                  <a:lnTo>
                    <a:pt x="80" y="220"/>
                  </a:lnTo>
                  <a:lnTo>
                    <a:pt x="76" y="220"/>
                  </a:lnTo>
                  <a:lnTo>
                    <a:pt x="76" y="224"/>
                  </a:lnTo>
                  <a:lnTo>
                    <a:pt x="72" y="224"/>
                  </a:lnTo>
                  <a:lnTo>
                    <a:pt x="68" y="224"/>
                  </a:lnTo>
                  <a:lnTo>
                    <a:pt x="68" y="220"/>
                  </a:lnTo>
                  <a:lnTo>
                    <a:pt x="64" y="220"/>
                  </a:lnTo>
                  <a:lnTo>
                    <a:pt x="60" y="220"/>
                  </a:lnTo>
                  <a:lnTo>
                    <a:pt x="64" y="216"/>
                  </a:lnTo>
                  <a:lnTo>
                    <a:pt x="60" y="216"/>
                  </a:lnTo>
                  <a:lnTo>
                    <a:pt x="56" y="216"/>
                  </a:lnTo>
                  <a:lnTo>
                    <a:pt x="52" y="216"/>
                  </a:lnTo>
                  <a:lnTo>
                    <a:pt x="52" y="220"/>
                  </a:lnTo>
                  <a:lnTo>
                    <a:pt x="52" y="216"/>
                  </a:lnTo>
                  <a:lnTo>
                    <a:pt x="52" y="220"/>
                  </a:lnTo>
                  <a:lnTo>
                    <a:pt x="48" y="220"/>
                  </a:lnTo>
                  <a:lnTo>
                    <a:pt x="48" y="216"/>
                  </a:lnTo>
                  <a:lnTo>
                    <a:pt x="52" y="216"/>
                  </a:lnTo>
                  <a:lnTo>
                    <a:pt x="48" y="216"/>
                  </a:lnTo>
                  <a:lnTo>
                    <a:pt x="44" y="216"/>
                  </a:lnTo>
                  <a:lnTo>
                    <a:pt x="48" y="216"/>
                  </a:lnTo>
                  <a:lnTo>
                    <a:pt x="48" y="212"/>
                  </a:lnTo>
                  <a:lnTo>
                    <a:pt x="44" y="212"/>
                  </a:lnTo>
                  <a:lnTo>
                    <a:pt x="48" y="212"/>
                  </a:lnTo>
                  <a:lnTo>
                    <a:pt x="52" y="208"/>
                  </a:lnTo>
                  <a:lnTo>
                    <a:pt x="56" y="208"/>
                  </a:lnTo>
                  <a:lnTo>
                    <a:pt x="60" y="204"/>
                  </a:lnTo>
                  <a:lnTo>
                    <a:pt x="60" y="200"/>
                  </a:lnTo>
                  <a:lnTo>
                    <a:pt x="64" y="200"/>
                  </a:lnTo>
                  <a:lnTo>
                    <a:pt x="64" y="196"/>
                  </a:lnTo>
                  <a:lnTo>
                    <a:pt x="60" y="196"/>
                  </a:lnTo>
                  <a:lnTo>
                    <a:pt x="64" y="192"/>
                  </a:lnTo>
                  <a:lnTo>
                    <a:pt x="60" y="192"/>
                  </a:lnTo>
                  <a:lnTo>
                    <a:pt x="60" y="188"/>
                  </a:lnTo>
                  <a:lnTo>
                    <a:pt x="56" y="188"/>
                  </a:lnTo>
                  <a:lnTo>
                    <a:pt x="56" y="192"/>
                  </a:lnTo>
                  <a:lnTo>
                    <a:pt x="52" y="192"/>
                  </a:lnTo>
                  <a:lnTo>
                    <a:pt x="52" y="188"/>
                  </a:lnTo>
                  <a:lnTo>
                    <a:pt x="56" y="188"/>
                  </a:lnTo>
                  <a:lnTo>
                    <a:pt x="60" y="184"/>
                  </a:lnTo>
                  <a:lnTo>
                    <a:pt x="60" y="180"/>
                  </a:lnTo>
                  <a:lnTo>
                    <a:pt x="64" y="180"/>
                  </a:lnTo>
                  <a:lnTo>
                    <a:pt x="68" y="180"/>
                  </a:lnTo>
                  <a:lnTo>
                    <a:pt x="72" y="180"/>
                  </a:lnTo>
                  <a:lnTo>
                    <a:pt x="76" y="180"/>
                  </a:lnTo>
                  <a:lnTo>
                    <a:pt x="76" y="176"/>
                  </a:lnTo>
                  <a:lnTo>
                    <a:pt x="80" y="180"/>
                  </a:lnTo>
                  <a:lnTo>
                    <a:pt x="84" y="180"/>
                  </a:lnTo>
                  <a:lnTo>
                    <a:pt x="80" y="180"/>
                  </a:lnTo>
                  <a:lnTo>
                    <a:pt x="80" y="176"/>
                  </a:lnTo>
                  <a:lnTo>
                    <a:pt x="76" y="176"/>
                  </a:lnTo>
                  <a:lnTo>
                    <a:pt x="76" y="172"/>
                  </a:lnTo>
                  <a:lnTo>
                    <a:pt x="80" y="172"/>
                  </a:lnTo>
                  <a:lnTo>
                    <a:pt x="76" y="168"/>
                  </a:lnTo>
                  <a:lnTo>
                    <a:pt x="80" y="164"/>
                  </a:lnTo>
                  <a:lnTo>
                    <a:pt x="80" y="160"/>
                  </a:lnTo>
                  <a:lnTo>
                    <a:pt x="76" y="164"/>
                  </a:lnTo>
                  <a:lnTo>
                    <a:pt x="76" y="160"/>
                  </a:lnTo>
                  <a:lnTo>
                    <a:pt x="72" y="160"/>
                  </a:lnTo>
                  <a:lnTo>
                    <a:pt x="72" y="156"/>
                  </a:lnTo>
                  <a:lnTo>
                    <a:pt x="72" y="152"/>
                  </a:lnTo>
                  <a:lnTo>
                    <a:pt x="68" y="152"/>
                  </a:lnTo>
                  <a:lnTo>
                    <a:pt x="68" y="148"/>
                  </a:lnTo>
                  <a:lnTo>
                    <a:pt x="72" y="144"/>
                  </a:lnTo>
                  <a:lnTo>
                    <a:pt x="76" y="144"/>
                  </a:lnTo>
                  <a:lnTo>
                    <a:pt x="80" y="144"/>
                  </a:lnTo>
                  <a:lnTo>
                    <a:pt x="80" y="140"/>
                  </a:lnTo>
                  <a:lnTo>
                    <a:pt x="76" y="140"/>
                  </a:lnTo>
                  <a:lnTo>
                    <a:pt x="72" y="140"/>
                  </a:lnTo>
                  <a:lnTo>
                    <a:pt x="68" y="140"/>
                  </a:lnTo>
                  <a:lnTo>
                    <a:pt x="68" y="144"/>
                  </a:lnTo>
                  <a:lnTo>
                    <a:pt x="64" y="144"/>
                  </a:lnTo>
                  <a:lnTo>
                    <a:pt x="64" y="148"/>
                  </a:lnTo>
                  <a:lnTo>
                    <a:pt x="60" y="148"/>
                  </a:lnTo>
                  <a:lnTo>
                    <a:pt x="56" y="144"/>
                  </a:lnTo>
                  <a:lnTo>
                    <a:pt x="56" y="148"/>
                  </a:lnTo>
                  <a:lnTo>
                    <a:pt x="60" y="148"/>
                  </a:lnTo>
                  <a:lnTo>
                    <a:pt x="56" y="148"/>
                  </a:lnTo>
                  <a:lnTo>
                    <a:pt x="52" y="144"/>
                  </a:lnTo>
                  <a:lnTo>
                    <a:pt x="48" y="144"/>
                  </a:lnTo>
                  <a:lnTo>
                    <a:pt x="48" y="148"/>
                  </a:lnTo>
                  <a:lnTo>
                    <a:pt x="52" y="148"/>
                  </a:lnTo>
                  <a:close/>
                  <a:moveTo>
                    <a:pt x="24" y="72"/>
                  </a:moveTo>
                  <a:lnTo>
                    <a:pt x="24" y="68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4" y="60"/>
                  </a:lnTo>
                  <a:lnTo>
                    <a:pt x="28" y="60"/>
                  </a:lnTo>
                  <a:lnTo>
                    <a:pt x="28" y="56"/>
                  </a:lnTo>
                  <a:lnTo>
                    <a:pt x="28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32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4" y="72"/>
                  </a:lnTo>
                  <a:close/>
                  <a:moveTo>
                    <a:pt x="16" y="80"/>
                  </a:moveTo>
                  <a:lnTo>
                    <a:pt x="12" y="80"/>
                  </a:lnTo>
                  <a:lnTo>
                    <a:pt x="8" y="80"/>
                  </a:lnTo>
                  <a:lnTo>
                    <a:pt x="12" y="80"/>
                  </a:lnTo>
                  <a:lnTo>
                    <a:pt x="16" y="76"/>
                  </a:lnTo>
                  <a:lnTo>
                    <a:pt x="16" y="80"/>
                  </a:lnTo>
                  <a:close/>
                  <a:moveTo>
                    <a:pt x="36" y="92"/>
                  </a:moveTo>
                  <a:lnTo>
                    <a:pt x="32" y="92"/>
                  </a:lnTo>
                  <a:lnTo>
                    <a:pt x="32" y="88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28" y="92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24" y="84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32" y="80"/>
                  </a:lnTo>
                  <a:lnTo>
                    <a:pt x="32" y="84"/>
                  </a:lnTo>
                  <a:lnTo>
                    <a:pt x="32" y="88"/>
                  </a:lnTo>
                  <a:lnTo>
                    <a:pt x="36" y="88"/>
                  </a:lnTo>
                  <a:lnTo>
                    <a:pt x="40" y="88"/>
                  </a:lnTo>
                  <a:lnTo>
                    <a:pt x="36" y="92"/>
                  </a:lnTo>
                  <a:close/>
                  <a:moveTo>
                    <a:pt x="32" y="88"/>
                  </a:moveTo>
                  <a:lnTo>
                    <a:pt x="32" y="84"/>
                  </a:lnTo>
                  <a:lnTo>
                    <a:pt x="32" y="80"/>
                  </a:lnTo>
                  <a:lnTo>
                    <a:pt x="32" y="84"/>
                  </a:lnTo>
                  <a:lnTo>
                    <a:pt x="32" y="88"/>
                  </a:lnTo>
                  <a:close/>
                  <a:moveTo>
                    <a:pt x="12" y="84"/>
                  </a:moveTo>
                  <a:lnTo>
                    <a:pt x="16" y="84"/>
                  </a:lnTo>
                  <a:lnTo>
                    <a:pt x="12" y="84"/>
                  </a:lnTo>
                  <a:close/>
                  <a:moveTo>
                    <a:pt x="16" y="92"/>
                  </a:move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6" y="84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8"/>
                  </a:lnTo>
                  <a:lnTo>
                    <a:pt x="12" y="92"/>
                  </a:lnTo>
                  <a:lnTo>
                    <a:pt x="16" y="92"/>
                  </a:lnTo>
                  <a:close/>
                  <a:moveTo>
                    <a:pt x="12" y="96"/>
                  </a:moveTo>
                  <a:lnTo>
                    <a:pt x="8" y="96"/>
                  </a:lnTo>
                  <a:lnTo>
                    <a:pt x="12" y="92"/>
                  </a:lnTo>
                  <a:lnTo>
                    <a:pt x="12" y="96"/>
                  </a:lnTo>
                  <a:close/>
                  <a:moveTo>
                    <a:pt x="28" y="96"/>
                  </a:moveTo>
                  <a:lnTo>
                    <a:pt x="28" y="92"/>
                  </a:lnTo>
                  <a:lnTo>
                    <a:pt x="28" y="96"/>
                  </a:lnTo>
                  <a:close/>
                  <a:moveTo>
                    <a:pt x="24" y="104"/>
                  </a:moveTo>
                  <a:lnTo>
                    <a:pt x="24" y="100"/>
                  </a:lnTo>
                  <a:lnTo>
                    <a:pt x="28" y="100"/>
                  </a:lnTo>
                  <a:lnTo>
                    <a:pt x="24" y="104"/>
                  </a:lnTo>
                  <a:close/>
                  <a:moveTo>
                    <a:pt x="32" y="104"/>
                  </a:moveTo>
                  <a:lnTo>
                    <a:pt x="36" y="104"/>
                  </a:lnTo>
                  <a:lnTo>
                    <a:pt x="36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12"/>
                  </a:lnTo>
                  <a:lnTo>
                    <a:pt x="36" y="108"/>
                  </a:lnTo>
                  <a:lnTo>
                    <a:pt x="32" y="112"/>
                  </a:lnTo>
                  <a:lnTo>
                    <a:pt x="28" y="112"/>
                  </a:lnTo>
                  <a:lnTo>
                    <a:pt x="28" y="108"/>
                  </a:lnTo>
                  <a:lnTo>
                    <a:pt x="28" y="112"/>
                  </a:lnTo>
                  <a:lnTo>
                    <a:pt x="32" y="108"/>
                  </a:lnTo>
                  <a:lnTo>
                    <a:pt x="28" y="108"/>
                  </a:lnTo>
                  <a:lnTo>
                    <a:pt x="32" y="108"/>
                  </a:lnTo>
                  <a:lnTo>
                    <a:pt x="32" y="104"/>
                  </a:lnTo>
                  <a:lnTo>
                    <a:pt x="32" y="108"/>
                  </a:lnTo>
                  <a:lnTo>
                    <a:pt x="28" y="104"/>
                  </a:lnTo>
                  <a:lnTo>
                    <a:pt x="32" y="104"/>
                  </a:lnTo>
                  <a:close/>
                  <a:moveTo>
                    <a:pt x="20" y="108"/>
                  </a:moveTo>
                  <a:lnTo>
                    <a:pt x="16" y="104"/>
                  </a:lnTo>
                  <a:lnTo>
                    <a:pt x="20" y="104"/>
                  </a:lnTo>
                  <a:lnTo>
                    <a:pt x="20" y="108"/>
                  </a:lnTo>
                  <a:close/>
                  <a:moveTo>
                    <a:pt x="32" y="124"/>
                  </a:moveTo>
                  <a:lnTo>
                    <a:pt x="32" y="120"/>
                  </a:lnTo>
                  <a:lnTo>
                    <a:pt x="32" y="116"/>
                  </a:lnTo>
                  <a:lnTo>
                    <a:pt x="36" y="116"/>
                  </a:lnTo>
                  <a:lnTo>
                    <a:pt x="36" y="120"/>
                  </a:lnTo>
                  <a:lnTo>
                    <a:pt x="32" y="120"/>
                  </a:lnTo>
                  <a:lnTo>
                    <a:pt x="32" y="124"/>
                  </a:lnTo>
                  <a:close/>
                  <a:moveTo>
                    <a:pt x="28" y="128"/>
                  </a:moveTo>
                  <a:lnTo>
                    <a:pt x="28" y="124"/>
                  </a:lnTo>
                  <a:lnTo>
                    <a:pt x="24" y="124"/>
                  </a:lnTo>
                  <a:lnTo>
                    <a:pt x="28" y="120"/>
                  </a:lnTo>
                  <a:lnTo>
                    <a:pt x="32" y="120"/>
                  </a:lnTo>
                  <a:lnTo>
                    <a:pt x="32" y="124"/>
                  </a:lnTo>
                  <a:lnTo>
                    <a:pt x="28" y="128"/>
                  </a:lnTo>
                  <a:close/>
                  <a:moveTo>
                    <a:pt x="48" y="124"/>
                  </a:moveTo>
                  <a:lnTo>
                    <a:pt x="44" y="120"/>
                  </a:lnTo>
                  <a:lnTo>
                    <a:pt x="48" y="120"/>
                  </a:lnTo>
                  <a:lnTo>
                    <a:pt x="48" y="124"/>
                  </a:lnTo>
                  <a:close/>
                  <a:moveTo>
                    <a:pt x="44" y="132"/>
                  </a:moveTo>
                  <a:lnTo>
                    <a:pt x="44" y="128"/>
                  </a:lnTo>
                  <a:lnTo>
                    <a:pt x="44" y="124"/>
                  </a:lnTo>
                  <a:lnTo>
                    <a:pt x="48" y="128"/>
                  </a:lnTo>
                  <a:lnTo>
                    <a:pt x="48" y="132"/>
                  </a:lnTo>
                  <a:lnTo>
                    <a:pt x="44" y="132"/>
                  </a:lnTo>
                  <a:close/>
                  <a:moveTo>
                    <a:pt x="24" y="164"/>
                  </a:moveTo>
                  <a:lnTo>
                    <a:pt x="20" y="160"/>
                  </a:lnTo>
                  <a:lnTo>
                    <a:pt x="20" y="156"/>
                  </a:lnTo>
                  <a:lnTo>
                    <a:pt x="16" y="156"/>
                  </a:lnTo>
                  <a:lnTo>
                    <a:pt x="16" y="160"/>
                  </a:lnTo>
                  <a:lnTo>
                    <a:pt x="12" y="160"/>
                  </a:lnTo>
                  <a:lnTo>
                    <a:pt x="8" y="160"/>
                  </a:lnTo>
                  <a:lnTo>
                    <a:pt x="4" y="160"/>
                  </a:lnTo>
                  <a:lnTo>
                    <a:pt x="4" y="156"/>
                  </a:lnTo>
                  <a:lnTo>
                    <a:pt x="0" y="156"/>
                  </a:lnTo>
                  <a:lnTo>
                    <a:pt x="0" y="152"/>
                  </a:lnTo>
                  <a:lnTo>
                    <a:pt x="4" y="152"/>
                  </a:lnTo>
                  <a:lnTo>
                    <a:pt x="8" y="152"/>
                  </a:lnTo>
                  <a:lnTo>
                    <a:pt x="4" y="148"/>
                  </a:lnTo>
                  <a:lnTo>
                    <a:pt x="8" y="148"/>
                  </a:lnTo>
                  <a:lnTo>
                    <a:pt x="12" y="144"/>
                  </a:lnTo>
                  <a:lnTo>
                    <a:pt x="12" y="140"/>
                  </a:lnTo>
                  <a:lnTo>
                    <a:pt x="16" y="140"/>
                  </a:lnTo>
                  <a:lnTo>
                    <a:pt x="20" y="136"/>
                  </a:lnTo>
                  <a:lnTo>
                    <a:pt x="24" y="136"/>
                  </a:lnTo>
                  <a:lnTo>
                    <a:pt x="28" y="136"/>
                  </a:lnTo>
                  <a:lnTo>
                    <a:pt x="32" y="136"/>
                  </a:lnTo>
                  <a:lnTo>
                    <a:pt x="32" y="140"/>
                  </a:lnTo>
                  <a:lnTo>
                    <a:pt x="36" y="144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36" y="148"/>
                  </a:lnTo>
                  <a:lnTo>
                    <a:pt x="40" y="148"/>
                  </a:lnTo>
                  <a:lnTo>
                    <a:pt x="40" y="152"/>
                  </a:lnTo>
                  <a:lnTo>
                    <a:pt x="40" y="156"/>
                  </a:lnTo>
                  <a:lnTo>
                    <a:pt x="40" y="152"/>
                  </a:lnTo>
                  <a:lnTo>
                    <a:pt x="36" y="152"/>
                  </a:lnTo>
                  <a:lnTo>
                    <a:pt x="40" y="152"/>
                  </a:lnTo>
                  <a:lnTo>
                    <a:pt x="40" y="156"/>
                  </a:lnTo>
                  <a:lnTo>
                    <a:pt x="40" y="160"/>
                  </a:lnTo>
                  <a:lnTo>
                    <a:pt x="36" y="160"/>
                  </a:lnTo>
                  <a:lnTo>
                    <a:pt x="36" y="164"/>
                  </a:lnTo>
                  <a:lnTo>
                    <a:pt x="32" y="164"/>
                  </a:lnTo>
                  <a:lnTo>
                    <a:pt x="28" y="160"/>
                  </a:lnTo>
                  <a:lnTo>
                    <a:pt x="28" y="164"/>
                  </a:lnTo>
                  <a:lnTo>
                    <a:pt x="24" y="164"/>
                  </a:lnTo>
                  <a:close/>
                  <a:moveTo>
                    <a:pt x="56" y="184"/>
                  </a:moveTo>
                  <a:lnTo>
                    <a:pt x="56" y="180"/>
                  </a:lnTo>
                  <a:lnTo>
                    <a:pt x="56" y="176"/>
                  </a:lnTo>
                  <a:lnTo>
                    <a:pt x="60" y="176"/>
                  </a:lnTo>
                  <a:lnTo>
                    <a:pt x="60" y="180"/>
                  </a:lnTo>
                  <a:lnTo>
                    <a:pt x="64" y="180"/>
                  </a:lnTo>
                  <a:lnTo>
                    <a:pt x="60" y="180"/>
                  </a:lnTo>
                  <a:lnTo>
                    <a:pt x="60" y="184"/>
                  </a:lnTo>
                  <a:lnTo>
                    <a:pt x="56" y="184"/>
                  </a:lnTo>
                  <a:close/>
                  <a:moveTo>
                    <a:pt x="136" y="224"/>
                  </a:moveTo>
                  <a:lnTo>
                    <a:pt x="140" y="224"/>
                  </a:lnTo>
                  <a:lnTo>
                    <a:pt x="136" y="224"/>
                  </a:lnTo>
                  <a:close/>
                  <a:moveTo>
                    <a:pt x="104" y="240"/>
                  </a:moveTo>
                  <a:lnTo>
                    <a:pt x="100" y="240"/>
                  </a:lnTo>
                  <a:lnTo>
                    <a:pt x="104" y="236"/>
                  </a:lnTo>
                  <a:lnTo>
                    <a:pt x="108" y="240"/>
                  </a:lnTo>
                  <a:lnTo>
                    <a:pt x="104" y="2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0" name="Freeform 117"/>
            <p:cNvSpPr>
              <a:spLocks/>
            </p:cNvSpPr>
            <p:nvPr>
              <p:custDataLst>
                <p:tags r:id="rId312"/>
              </p:custDataLst>
            </p:nvPr>
          </p:nvSpPr>
          <p:spPr bwMode="gray">
            <a:xfrm>
              <a:off x="4180296" y="3550394"/>
              <a:ext cx="461232" cy="526487"/>
            </a:xfrm>
            <a:custGeom>
              <a:avLst/>
              <a:gdLst/>
              <a:ahLst/>
              <a:cxnLst>
                <a:cxn ang="0">
                  <a:pos x="215" y="12"/>
                </a:cxn>
                <a:cxn ang="0">
                  <a:pos x="227" y="4"/>
                </a:cxn>
                <a:cxn ang="0">
                  <a:pos x="239" y="4"/>
                </a:cxn>
                <a:cxn ang="0">
                  <a:pos x="243" y="4"/>
                </a:cxn>
                <a:cxn ang="0">
                  <a:pos x="251" y="8"/>
                </a:cxn>
                <a:cxn ang="0">
                  <a:pos x="263" y="8"/>
                </a:cxn>
                <a:cxn ang="0">
                  <a:pos x="255" y="12"/>
                </a:cxn>
                <a:cxn ang="0">
                  <a:pos x="259" y="28"/>
                </a:cxn>
                <a:cxn ang="0">
                  <a:pos x="255" y="48"/>
                </a:cxn>
                <a:cxn ang="0">
                  <a:pos x="247" y="60"/>
                </a:cxn>
                <a:cxn ang="0">
                  <a:pos x="247" y="72"/>
                </a:cxn>
                <a:cxn ang="0">
                  <a:pos x="255" y="84"/>
                </a:cxn>
                <a:cxn ang="0">
                  <a:pos x="263" y="96"/>
                </a:cxn>
                <a:cxn ang="0">
                  <a:pos x="271" y="120"/>
                </a:cxn>
                <a:cxn ang="0">
                  <a:pos x="275" y="140"/>
                </a:cxn>
                <a:cxn ang="0">
                  <a:pos x="279" y="152"/>
                </a:cxn>
                <a:cxn ang="0">
                  <a:pos x="279" y="172"/>
                </a:cxn>
                <a:cxn ang="0">
                  <a:pos x="279" y="192"/>
                </a:cxn>
                <a:cxn ang="0">
                  <a:pos x="283" y="208"/>
                </a:cxn>
                <a:cxn ang="0">
                  <a:pos x="283" y="232"/>
                </a:cxn>
                <a:cxn ang="0">
                  <a:pos x="287" y="248"/>
                </a:cxn>
                <a:cxn ang="0">
                  <a:pos x="303" y="252"/>
                </a:cxn>
                <a:cxn ang="0">
                  <a:pos x="307" y="272"/>
                </a:cxn>
                <a:cxn ang="0">
                  <a:pos x="287" y="288"/>
                </a:cxn>
                <a:cxn ang="0">
                  <a:pos x="263" y="304"/>
                </a:cxn>
                <a:cxn ang="0">
                  <a:pos x="243" y="320"/>
                </a:cxn>
                <a:cxn ang="0">
                  <a:pos x="223" y="343"/>
                </a:cxn>
                <a:cxn ang="0">
                  <a:pos x="200" y="351"/>
                </a:cxn>
                <a:cxn ang="0">
                  <a:pos x="180" y="351"/>
                </a:cxn>
                <a:cxn ang="0">
                  <a:pos x="172" y="335"/>
                </a:cxn>
                <a:cxn ang="0">
                  <a:pos x="160" y="327"/>
                </a:cxn>
                <a:cxn ang="0">
                  <a:pos x="152" y="320"/>
                </a:cxn>
                <a:cxn ang="0">
                  <a:pos x="136" y="304"/>
                </a:cxn>
                <a:cxn ang="0">
                  <a:pos x="112" y="284"/>
                </a:cxn>
                <a:cxn ang="0">
                  <a:pos x="84" y="260"/>
                </a:cxn>
                <a:cxn ang="0">
                  <a:pos x="60" y="240"/>
                </a:cxn>
                <a:cxn ang="0">
                  <a:pos x="36" y="224"/>
                </a:cxn>
                <a:cxn ang="0">
                  <a:pos x="20" y="212"/>
                </a:cxn>
                <a:cxn ang="0">
                  <a:pos x="0" y="192"/>
                </a:cxn>
                <a:cxn ang="0">
                  <a:pos x="4" y="164"/>
                </a:cxn>
                <a:cxn ang="0">
                  <a:pos x="16" y="156"/>
                </a:cxn>
                <a:cxn ang="0">
                  <a:pos x="32" y="152"/>
                </a:cxn>
                <a:cxn ang="0">
                  <a:pos x="44" y="144"/>
                </a:cxn>
                <a:cxn ang="0">
                  <a:pos x="56" y="136"/>
                </a:cxn>
                <a:cxn ang="0">
                  <a:pos x="72" y="124"/>
                </a:cxn>
                <a:cxn ang="0">
                  <a:pos x="72" y="116"/>
                </a:cxn>
                <a:cxn ang="0">
                  <a:pos x="80" y="108"/>
                </a:cxn>
                <a:cxn ang="0">
                  <a:pos x="100" y="100"/>
                </a:cxn>
                <a:cxn ang="0">
                  <a:pos x="116" y="100"/>
                </a:cxn>
                <a:cxn ang="0">
                  <a:pos x="112" y="92"/>
                </a:cxn>
                <a:cxn ang="0">
                  <a:pos x="108" y="72"/>
                </a:cxn>
                <a:cxn ang="0">
                  <a:pos x="104" y="56"/>
                </a:cxn>
                <a:cxn ang="0">
                  <a:pos x="100" y="44"/>
                </a:cxn>
                <a:cxn ang="0">
                  <a:pos x="112" y="36"/>
                </a:cxn>
                <a:cxn ang="0">
                  <a:pos x="128" y="24"/>
                </a:cxn>
                <a:cxn ang="0">
                  <a:pos x="140" y="20"/>
                </a:cxn>
                <a:cxn ang="0">
                  <a:pos x="152" y="12"/>
                </a:cxn>
                <a:cxn ang="0">
                  <a:pos x="172" y="12"/>
                </a:cxn>
                <a:cxn ang="0">
                  <a:pos x="188" y="8"/>
                </a:cxn>
              </a:cxnLst>
              <a:rect l="0" t="0" r="r" b="b"/>
              <a:pathLst>
                <a:path w="311" h="355">
                  <a:moveTo>
                    <a:pt x="200" y="4"/>
                  </a:moveTo>
                  <a:lnTo>
                    <a:pt x="204" y="4"/>
                  </a:lnTo>
                  <a:lnTo>
                    <a:pt x="207" y="8"/>
                  </a:lnTo>
                  <a:lnTo>
                    <a:pt x="211" y="12"/>
                  </a:lnTo>
                  <a:lnTo>
                    <a:pt x="215" y="12"/>
                  </a:lnTo>
                  <a:lnTo>
                    <a:pt x="215" y="8"/>
                  </a:lnTo>
                  <a:lnTo>
                    <a:pt x="219" y="8"/>
                  </a:lnTo>
                  <a:lnTo>
                    <a:pt x="223" y="8"/>
                  </a:lnTo>
                  <a:lnTo>
                    <a:pt x="223" y="4"/>
                  </a:lnTo>
                  <a:lnTo>
                    <a:pt x="227" y="4"/>
                  </a:lnTo>
                  <a:lnTo>
                    <a:pt x="227" y="0"/>
                  </a:lnTo>
                  <a:lnTo>
                    <a:pt x="231" y="0"/>
                  </a:lnTo>
                  <a:lnTo>
                    <a:pt x="231" y="4"/>
                  </a:lnTo>
                  <a:lnTo>
                    <a:pt x="235" y="4"/>
                  </a:lnTo>
                  <a:lnTo>
                    <a:pt x="239" y="4"/>
                  </a:lnTo>
                  <a:lnTo>
                    <a:pt x="243" y="4"/>
                  </a:lnTo>
                  <a:lnTo>
                    <a:pt x="239" y="4"/>
                  </a:lnTo>
                  <a:lnTo>
                    <a:pt x="239" y="0"/>
                  </a:lnTo>
                  <a:lnTo>
                    <a:pt x="243" y="0"/>
                  </a:lnTo>
                  <a:lnTo>
                    <a:pt x="243" y="4"/>
                  </a:lnTo>
                  <a:lnTo>
                    <a:pt x="243" y="0"/>
                  </a:lnTo>
                  <a:lnTo>
                    <a:pt x="243" y="4"/>
                  </a:lnTo>
                  <a:lnTo>
                    <a:pt x="247" y="4"/>
                  </a:lnTo>
                  <a:lnTo>
                    <a:pt x="251" y="4"/>
                  </a:lnTo>
                  <a:lnTo>
                    <a:pt x="251" y="8"/>
                  </a:lnTo>
                  <a:lnTo>
                    <a:pt x="255" y="8"/>
                  </a:lnTo>
                  <a:lnTo>
                    <a:pt x="255" y="4"/>
                  </a:lnTo>
                  <a:lnTo>
                    <a:pt x="259" y="4"/>
                  </a:lnTo>
                  <a:lnTo>
                    <a:pt x="263" y="4"/>
                  </a:lnTo>
                  <a:lnTo>
                    <a:pt x="263" y="8"/>
                  </a:lnTo>
                  <a:lnTo>
                    <a:pt x="259" y="8"/>
                  </a:lnTo>
                  <a:lnTo>
                    <a:pt x="259" y="12"/>
                  </a:lnTo>
                  <a:lnTo>
                    <a:pt x="255" y="12"/>
                  </a:lnTo>
                  <a:lnTo>
                    <a:pt x="255" y="16"/>
                  </a:lnTo>
                  <a:lnTo>
                    <a:pt x="255" y="12"/>
                  </a:lnTo>
                  <a:lnTo>
                    <a:pt x="259" y="16"/>
                  </a:lnTo>
                  <a:lnTo>
                    <a:pt x="259" y="20"/>
                  </a:lnTo>
                  <a:lnTo>
                    <a:pt x="255" y="24"/>
                  </a:lnTo>
                  <a:lnTo>
                    <a:pt x="255" y="28"/>
                  </a:lnTo>
                  <a:lnTo>
                    <a:pt x="259" y="28"/>
                  </a:lnTo>
                  <a:lnTo>
                    <a:pt x="259" y="32"/>
                  </a:lnTo>
                  <a:lnTo>
                    <a:pt x="259" y="36"/>
                  </a:lnTo>
                  <a:lnTo>
                    <a:pt x="259" y="40"/>
                  </a:lnTo>
                  <a:lnTo>
                    <a:pt x="255" y="44"/>
                  </a:lnTo>
                  <a:lnTo>
                    <a:pt x="255" y="48"/>
                  </a:lnTo>
                  <a:lnTo>
                    <a:pt x="255" y="52"/>
                  </a:lnTo>
                  <a:lnTo>
                    <a:pt x="251" y="52"/>
                  </a:lnTo>
                  <a:lnTo>
                    <a:pt x="251" y="56"/>
                  </a:lnTo>
                  <a:lnTo>
                    <a:pt x="251" y="60"/>
                  </a:lnTo>
                  <a:lnTo>
                    <a:pt x="247" y="60"/>
                  </a:lnTo>
                  <a:lnTo>
                    <a:pt x="247" y="64"/>
                  </a:lnTo>
                  <a:lnTo>
                    <a:pt x="243" y="64"/>
                  </a:lnTo>
                  <a:lnTo>
                    <a:pt x="243" y="68"/>
                  </a:lnTo>
                  <a:lnTo>
                    <a:pt x="247" y="68"/>
                  </a:lnTo>
                  <a:lnTo>
                    <a:pt x="247" y="72"/>
                  </a:lnTo>
                  <a:lnTo>
                    <a:pt x="247" y="76"/>
                  </a:lnTo>
                  <a:lnTo>
                    <a:pt x="247" y="80"/>
                  </a:lnTo>
                  <a:lnTo>
                    <a:pt x="251" y="80"/>
                  </a:lnTo>
                  <a:lnTo>
                    <a:pt x="255" y="80"/>
                  </a:lnTo>
                  <a:lnTo>
                    <a:pt x="255" y="84"/>
                  </a:lnTo>
                  <a:lnTo>
                    <a:pt x="255" y="88"/>
                  </a:lnTo>
                  <a:lnTo>
                    <a:pt x="259" y="88"/>
                  </a:lnTo>
                  <a:lnTo>
                    <a:pt x="259" y="92"/>
                  </a:lnTo>
                  <a:lnTo>
                    <a:pt x="259" y="96"/>
                  </a:lnTo>
                  <a:lnTo>
                    <a:pt x="263" y="96"/>
                  </a:lnTo>
                  <a:lnTo>
                    <a:pt x="267" y="100"/>
                  </a:lnTo>
                  <a:lnTo>
                    <a:pt x="267" y="104"/>
                  </a:lnTo>
                  <a:lnTo>
                    <a:pt x="271" y="104"/>
                  </a:lnTo>
                  <a:lnTo>
                    <a:pt x="271" y="112"/>
                  </a:lnTo>
                  <a:lnTo>
                    <a:pt x="271" y="120"/>
                  </a:lnTo>
                  <a:lnTo>
                    <a:pt x="271" y="124"/>
                  </a:lnTo>
                  <a:lnTo>
                    <a:pt x="275" y="128"/>
                  </a:lnTo>
                  <a:lnTo>
                    <a:pt x="275" y="132"/>
                  </a:lnTo>
                  <a:lnTo>
                    <a:pt x="275" y="136"/>
                  </a:lnTo>
                  <a:lnTo>
                    <a:pt x="275" y="140"/>
                  </a:lnTo>
                  <a:lnTo>
                    <a:pt x="271" y="140"/>
                  </a:lnTo>
                  <a:lnTo>
                    <a:pt x="275" y="144"/>
                  </a:lnTo>
                  <a:lnTo>
                    <a:pt x="275" y="148"/>
                  </a:lnTo>
                  <a:lnTo>
                    <a:pt x="279" y="148"/>
                  </a:lnTo>
                  <a:lnTo>
                    <a:pt x="279" y="152"/>
                  </a:lnTo>
                  <a:lnTo>
                    <a:pt x="279" y="156"/>
                  </a:lnTo>
                  <a:lnTo>
                    <a:pt x="279" y="160"/>
                  </a:lnTo>
                  <a:lnTo>
                    <a:pt x="279" y="164"/>
                  </a:lnTo>
                  <a:lnTo>
                    <a:pt x="279" y="168"/>
                  </a:lnTo>
                  <a:lnTo>
                    <a:pt x="279" y="172"/>
                  </a:lnTo>
                  <a:lnTo>
                    <a:pt x="279" y="176"/>
                  </a:lnTo>
                  <a:lnTo>
                    <a:pt x="279" y="180"/>
                  </a:lnTo>
                  <a:lnTo>
                    <a:pt x="283" y="184"/>
                  </a:lnTo>
                  <a:lnTo>
                    <a:pt x="283" y="188"/>
                  </a:lnTo>
                  <a:lnTo>
                    <a:pt x="279" y="192"/>
                  </a:lnTo>
                  <a:lnTo>
                    <a:pt x="279" y="196"/>
                  </a:lnTo>
                  <a:lnTo>
                    <a:pt x="279" y="200"/>
                  </a:lnTo>
                  <a:lnTo>
                    <a:pt x="279" y="204"/>
                  </a:lnTo>
                  <a:lnTo>
                    <a:pt x="283" y="204"/>
                  </a:lnTo>
                  <a:lnTo>
                    <a:pt x="283" y="208"/>
                  </a:lnTo>
                  <a:lnTo>
                    <a:pt x="279" y="212"/>
                  </a:lnTo>
                  <a:lnTo>
                    <a:pt x="275" y="216"/>
                  </a:lnTo>
                  <a:lnTo>
                    <a:pt x="275" y="220"/>
                  </a:lnTo>
                  <a:lnTo>
                    <a:pt x="279" y="228"/>
                  </a:lnTo>
                  <a:lnTo>
                    <a:pt x="283" y="232"/>
                  </a:lnTo>
                  <a:lnTo>
                    <a:pt x="283" y="236"/>
                  </a:lnTo>
                  <a:lnTo>
                    <a:pt x="283" y="240"/>
                  </a:lnTo>
                  <a:lnTo>
                    <a:pt x="283" y="244"/>
                  </a:lnTo>
                  <a:lnTo>
                    <a:pt x="287" y="244"/>
                  </a:lnTo>
                  <a:lnTo>
                    <a:pt x="287" y="248"/>
                  </a:lnTo>
                  <a:lnTo>
                    <a:pt x="291" y="252"/>
                  </a:lnTo>
                  <a:lnTo>
                    <a:pt x="291" y="248"/>
                  </a:lnTo>
                  <a:lnTo>
                    <a:pt x="295" y="248"/>
                  </a:lnTo>
                  <a:lnTo>
                    <a:pt x="299" y="252"/>
                  </a:lnTo>
                  <a:lnTo>
                    <a:pt x="303" y="252"/>
                  </a:lnTo>
                  <a:lnTo>
                    <a:pt x="307" y="252"/>
                  </a:lnTo>
                  <a:lnTo>
                    <a:pt x="311" y="260"/>
                  </a:lnTo>
                  <a:lnTo>
                    <a:pt x="311" y="268"/>
                  </a:lnTo>
                  <a:lnTo>
                    <a:pt x="311" y="272"/>
                  </a:lnTo>
                  <a:lnTo>
                    <a:pt x="307" y="272"/>
                  </a:lnTo>
                  <a:lnTo>
                    <a:pt x="299" y="280"/>
                  </a:lnTo>
                  <a:lnTo>
                    <a:pt x="295" y="280"/>
                  </a:lnTo>
                  <a:lnTo>
                    <a:pt x="295" y="284"/>
                  </a:lnTo>
                  <a:lnTo>
                    <a:pt x="291" y="284"/>
                  </a:lnTo>
                  <a:lnTo>
                    <a:pt x="287" y="288"/>
                  </a:lnTo>
                  <a:lnTo>
                    <a:pt x="283" y="288"/>
                  </a:lnTo>
                  <a:lnTo>
                    <a:pt x="279" y="292"/>
                  </a:lnTo>
                  <a:lnTo>
                    <a:pt x="275" y="296"/>
                  </a:lnTo>
                  <a:lnTo>
                    <a:pt x="267" y="300"/>
                  </a:lnTo>
                  <a:lnTo>
                    <a:pt x="263" y="304"/>
                  </a:lnTo>
                  <a:lnTo>
                    <a:pt x="263" y="308"/>
                  </a:lnTo>
                  <a:lnTo>
                    <a:pt x="255" y="312"/>
                  </a:lnTo>
                  <a:lnTo>
                    <a:pt x="251" y="316"/>
                  </a:lnTo>
                  <a:lnTo>
                    <a:pt x="247" y="316"/>
                  </a:lnTo>
                  <a:lnTo>
                    <a:pt x="243" y="320"/>
                  </a:lnTo>
                  <a:lnTo>
                    <a:pt x="235" y="327"/>
                  </a:lnTo>
                  <a:lnTo>
                    <a:pt x="231" y="331"/>
                  </a:lnTo>
                  <a:lnTo>
                    <a:pt x="231" y="335"/>
                  </a:lnTo>
                  <a:lnTo>
                    <a:pt x="227" y="339"/>
                  </a:lnTo>
                  <a:lnTo>
                    <a:pt x="223" y="343"/>
                  </a:lnTo>
                  <a:lnTo>
                    <a:pt x="219" y="347"/>
                  </a:lnTo>
                  <a:lnTo>
                    <a:pt x="215" y="347"/>
                  </a:lnTo>
                  <a:lnTo>
                    <a:pt x="211" y="347"/>
                  </a:lnTo>
                  <a:lnTo>
                    <a:pt x="207" y="347"/>
                  </a:lnTo>
                  <a:lnTo>
                    <a:pt x="200" y="351"/>
                  </a:lnTo>
                  <a:lnTo>
                    <a:pt x="196" y="351"/>
                  </a:lnTo>
                  <a:lnTo>
                    <a:pt x="192" y="351"/>
                  </a:lnTo>
                  <a:lnTo>
                    <a:pt x="188" y="351"/>
                  </a:lnTo>
                  <a:lnTo>
                    <a:pt x="184" y="355"/>
                  </a:lnTo>
                  <a:lnTo>
                    <a:pt x="180" y="351"/>
                  </a:lnTo>
                  <a:lnTo>
                    <a:pt x="180" y="347"/>
                  </a:lnTo>
                  <a:lnTo>
                    <a:pt x="180" y="343"/>
                  </a:lnTo>
                  <a:lnTo>
                    <a:pt x="180" y="339"/>
                  </a:lnTo>
                  <a:lnTo>
                    <a:pt x="176" y="335"/>
                  </a:lnTo>
                  <a:lnTo>
                    <a:pt x="172" y="335"/>
                  </a:lnTo>
                  <a:lnTo>
                    <a:pt x="168" y="335"/>
                  </a:lnTo>
                  <a:lnTo>
                    <a:pt x="168" y="331"/>
                  </a:lnTo>
                  <a:lnTo>
                    <a:pt x="164" y="331"/>
                  </a:lnTo>
                  <a:lnTo>
                    <a:pt x="160" y="331"/>
                  </a:lnTo>
                  <a:lnTo>
                    <a:pt x="160" y="327"/>
                  </a:lnTo>
                  <a:lnTo>
                    <a:pt x="156" y="327"/>
                  </a:lnTo>
                  <a:lnTo>
                    <a:pt x="156" y="324"/>
                  </a:lnTo>
                  <a:lnTo>
                    <a:pt x="152" y="324"/>
                  </a:lnTo>
                  <a:lnTo>
                    <a:pt x="148" y="320"/>
                  </a:lnTo>
                  <a:lnTo>
                    <a:pt x="152" y="320"/>
                  </a:lnTo>
                  <a:lnTo>
                    <a:pt x="152" y="316"/>
                  </a:lnTo>
                  <a:lnTo>
                    <a:pt x="148" y="316"/>
                  </a:lnTo>
                  <a:lnTo>
                    <a:pt x="144" y="312"/>
                  </a:lnTo>
                  <a:lnTo>
                    <a:pt x="140" y="304"/>
                  </a:lnTo>
                  <a:lnTo>
                    <a:pt x="136" y="304"/>
                  </a:lnTo>
                  <a:lnTo>
                    <a:pt x="132" y="300"/>
                  </a:lnTo>
                  <a:lnTo>
                    <a:pt x="124" y="296"/>
                  </a:lnTo>
                  <a:lnTo>
                    <a:pt x="120" y="292"/>
                  </a:lnTo>
                  <a:lnTo>
                    <a:pt x="116" y="288"/>
                  </a:lnTo>
                  <a:lnTo>
                    <a:pt x="112" y="284"/>
                  </a:lnTo>
                  <a:lnTo>
                    <a:pt x="104" y="280"/>
                  </a:lnTo>
                  <a:lnTo>
                    <a:pt x="100" y="276"/>
                  </a:lnTo>
                  <a:lnTo>
                    <a:pt x="96" y="268"/>
                  </a:lnTo>
                  <a:lnTo>
                    <a:pt x="88" y="264"/>
                  </a:lnTo>
                  <a:lnTo>
                    <a:pt x="84" y="260"/>
                  </a:lnTo>
                  <a:lnTo>
                    <a:pt x="80" y="256"/>
                  </a:lnTo>
                  <a:lnTo>
                    <a:pt x="76" y="252"/>
                  </a:lnTo>
                  <a:lnTo>
                    <a:pt x="68" y="248"/>
                  </a:lnTo>
                  <a:lnTo>
                    <a:pt x="64" y="244"/>
                  </a:lnTo>
                  <a:lnTo>
                    <a:pt x="60" y="240"/>
                  </a:lnTo>
                  <a:lnTo>
                    <a:pt x="56" y="240"/>
                  </a:lnTo>
                  <a:lnTo>
                    <a:pt x="52" y="236"/>
                  </a:lnTo>
                  <a:lnTo>
                    <a:pt x="48" y="232"/>
                  </a:lnTo>
                  <a:lnTo>
                    <a:pt x="44" y="228"/>
                  </a:lnTo>
                  <a:lnTo>
                    <a:pt x="36" y="224"/>
                  </a:lnTo>
                  <a:lnTo>
                    <a:pt x="32" y="220"/>
                  </a:lnTo>
                  <a:lnTo>
                    <a:pt x="28" y="216"/>
                  </a:lnTo>
                  <a:lnTo>
                    <a:pt x="24" y="216"/>
                  </a:lnTo>
                  <a:lnTo>
                    <a:pt x="24" y="212"/>
                  </a:lnTo>
                  <a:lnTo>
                    <a:pt x="20" y="212"/>
                  </a:lnTo>
                  <a:lnTo>
                    <a:pt x="16" y="208"/>
                  </a:lnTo>
                  <a:lnTo>
                    <a:pt x="8" y="204"/>
                  </a:lnTo>
                  <a:lnTo>
                    <a:pt x="8" y="200"/>
                  </a:lnTo>
                  <a:lnTo>
                    <a:pt x="0" y="196"/>
                  </a:lnTo>
                  <a:lnTo>
                    <a:pt x="0" y="192"/>
                  </a:lnTo>
                  <a:lnTo>
                    <a:pt x="0" y="188"/>
                  </a:lnTo>
                  <a:lnTo>
                    <a:pt x="0" y="184"/>
                  </a:lnTo>
                  <a:lnTo>
                    <a:pt x="0" y="168"/>
                  </a:lnTo>
                  <a:lnTo>
                    <a:pt x="4" y="168"/>
                  </a:lnTo>
                  <a:lnTo>
                    <a:pt x="4" y="164"/>
                  </a:lnTo>
                  <a:lnTo>
                    <a:pt x="8" y="164"/>
                  </a:lnTo>
                  <a:lnTo>
                    <a:pt x="8" y="160"/>
                  </a:lnTo>
                  <a:lnTo>
                    <a:pt x="12" y="160"/>
                  </a:lnTo>
                  <a:lnTo>
                    <a:pt x="12" y="156"/>
                  </a:lnTo>
                  <a:lnTo>
                    <a:pt x="16" y="156"/>
                  </a:lnTo>
                  <a:lnTo>
                    <a:pt x="20" y="156"/>
                  </a:lnTo>
                  <a:lnTo>
                    <a:pt x="20" y="152"/>
                  </a:lnTo>
                  <a:lnTo>
                    <a:pt x="24" y="152"/>
                  </a:lnTo>
                  <a:lnTo>
                    <a:pt x="28" y="152"/>
                  </a:lnTo>
                  <a:lnTo>
                    <a:pt x="32" y="152"/>
                  </a:lnTo>
                  <a:lnTo>
                    <a:pt x="32" y="148"/>
                  </a:lnTo>
                  <a:lnTo>
                    <a:pt x="36" y="148"/>
                  </a:lnTo>
                  <a:lnTo>
                    <a:pt x="40" y="148"/>
                  </a:lnTo>
                  <a:lnTo>
                    <a:pt x="44" y="148"/>
                  </a:lnTo>
                  <a:lnTo>
                    <a:pt x="44" y="144"/>
                  </a:lnTo>
                  <a:lnTo>
                    <a:pt x="48" y="144"/>
                  </a:lnTo>
                  <a:lnTo>
                    <a:pt x="52" y="144"/>
                  </a:lnTo>
                  <a:lnTo>
                    <a:pt x="52" y="140"/>
                  </a:lnTo>
                  <a:lnTo>
                    <a:pt x="56" y="140"/>
                  </a:lnTo>
                  <a:lnTo>
                    <a:pt x="56" y="136"/>
                  </a:lnTo>
                  <a:lnTo>
                    <a:pt x="56" y="132"/>
                  </a:lnTo>
                  <a:lnTo>
                    <a:pt x="60" y="132"/>
                  </a:lnTo>
                  <a:lnTo>
                    <a:pt x="64" y="132"/>
                  </a:lnTo>
                  <a:lnTo>
                    <a:pt x="68" y="128"/>
                  </a:lnTo>
                  <a:lnTo>
                    <a:pt x="72" y="124"/>
                  </a:lnTo>
                  <a:lnTo>
                    <a:pt x="76" y="124"/>
                  </a:lnTo>
                  <a:lnTo>
                    <a:pt x="76" y="120"/>
                  </a:lnTo>
                  <a:lnTo>
                    <a:pt x="72" y="120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72" y="112"/>
                  </a:lnTo>
                  <a:lnTo>
                    <a:pt x="76" y="108"/>
                  </a:lnTo>
                  <a:lnTo>
                    <a:pt x="76" y="112"/>
                  </a:lnTo>
                  <a:lnTo>
                    <a:pt x="80" y="112"/>
                  </a:lnTo>
                  <a:lnTo>
                    <a:pt x="80" y="108"/>
                  </a:lnTo>
                  <a:lnTo>
                    <a:pt x="84" y="108"/>
                  </a:lnTo>
                  <a:lnTo>
                    <a:pt x="88" y="108"/>
                  </a:lnTo>
                  <a:lnTo>
                    <a:pt x="88" y="104"/>
                  </a:lnTo>
                  <a:lnTo>
                    <a:pt x="96" y="100"/>
                  </a:lnTo>
                  <a:lnTo>
                    <a:pt x="100" y="100"/>
                  </a:lnTo>
                  <a:lnTo>
                    <a:pt x="104" y="100"/>
                  </a:lnTo>
                  <a:lnTo>
                    <a:pt x="108" y="100"/>
                  </a:lnTo>
                  <a:lnTo>
                    <a:pt x="112" y="100"/>
                  </a:lnTo>
                  <a:lnTo>
                    <a:pt x="112" y="104"/>
                  </a:lnTo>
                  <a:lnTo>
                    <a:pt x="116" y="100"/>
                  </a:lnTo>
                  <a:lnTo>
                    <a:pt x="112" y="100"/>
                  </a:lnTo>
                  <a:lnTo>
                    <a:pt x="112" y="96"/>
                  </a:lnTo>
                  <a:lnTo>
                    <a:pt x="116" y="96"/>
                  </a:lnTo>
                  <a:lnTo>
                    <a:pt x="116" y="92"/>
                  </a:lnTo>
                  <a:lnTo>
                    <a:pt x="112" y="92"/>
                  </a:lnTo>
                  <a:lnTo>
                    <a:pt x="112" y="88"/>
                  </a:lnTo>
                  <a:lnTo>
                    <a:pt x="108" y="84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8" y="72"/>
                  </a:lnTo>
                  <a:lnTo>
                    <a:pt x="104" y="68"/>
                  </a:lnTo>
                  <a:lnTo>
                    <a:pt x="108" y="68"/>
                  </a:lnTo>
                  <a:lnTo>
                    <a:pt x="108" y="64"/>
                  </a:lnTo>
                  <a:lnTo>
                    <a:pt x="104" y="60"/>
                  </a:lnTo>
                  <a:lnTo>
                    <a:pt x="104" y="56"/>
                  </a:lnTo>
                  <a:lnTo>
                    <a:pt x="108" y="56"/>
                  </a:lnTo>
                  <a:lnTo>
                    <a:pt x="104" y="56"/>
                  </a:lnTo>
                  <a:lnTo>
                    <a:pt x="104" y="52"/>
                  </a:lnTo>
                  <a:lnTo>
                    <a:pt x="104" y="48"/>
                  </a:lnTo>
                  <a:lnTo>
                    <a:pt x="100" y="44"/>
                  </a:lnTo>
                  <a:lnTo>
                    <a:pt x="104" y="44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08" y="36"/>
                  </a:lnTo>
                  <a:lnTo>
                    <a:pt x="112" y="36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20" y="28"/>
                  </a:lnTo>
                  <a:lnTo>
                    <a:pt x="124" y="28"/>
                  </a:lnTo>
                  <a:lnTo>
                    <a:pt x="128" y="24"/>
                  </a:lnTo>
                  <a:lnTo>
                    <a:pt x="128" y="28"/>
                  </a:lnTo>
                  <a:lnTo>
                    <a:pt x="132" y="28"/>
                  </a:lnTo>
                  <a:lnTo>
                    <a:pt x="132" y="24"/>
                  </a:lnTo>
                  <a:lnTo>
                    <a:pt x="136" y="20"/>
                  </a:lnTo>
                  <a:lnTo>
                    <a:pt x="140" y="20"/>
                  </a:lnTo>
                  <a:lnTo>
                    <a:pt x="140" y="16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48" y="12"/>
                  </a:lnTo>
                  <a:lnTo>
                    <a:pt x="152" y="12"/>
                  </a:lnTo>
                  <a:lnTo>
                    <a:pt x="156" y="12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8" y="12"/>
                  </a:lnTo>
                  <a:lnTo>
                    <a:pt x="172" y="12"/>
                  </a:lnTo>
                  <a:lnTo>
                    <a:pt x="176" y="12"/>
                  </a:lnTo>
                  <a:lnTo>
                    <a:pt x="176" y="8"/>
                  </a:lnTo>
                  <a:lnTo>
                    <a:pt x="180" y="8"/>
                  </a:lnTo>
                  <a:lnTo>
                    <a:pt x="184" y="8"/>
                  </a:lnTo>
                  <a:lnTo>
                    <a:pt x="188" y="8"/>
                  </a:lnTo>
                  <a:lnTo>
                    <a:pt x="188" y="4"/>
                  </a:lnTo>
                  <a:lnTo>
                    <a:pt x="192" y="4"/>
                  </a:lnTo>
                  <a:lnTo>
                    <a:pt x="196" y="4"/>
                  </a:lnTo>
                  <a:lnTo>
                    <a:pt x="200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1" name="Freeform 118"/>
            <p:cNvSpPr>
              <a:spLocks noEditPoints="1"/>
            </p:cNvSpPr>
            <p:nvPr>
              <p:custDataLst>
                <p:tags r:id="rId313"/>
              </p:custDataLst>
            </p:nvPr>
          </p:nvSpPr>
          <p:spPr bwMode="gray">
            <a:xfrm>
              <a:off x="4641530" y="4716082"/>
              <a:ext cx="272884" cy="373732"/>
            </a:xfrm>
            <a:custGeom>
              <a:avLst/>
              <a:gdLst/>
              <a:ahLst/>
              <a:cxnLst>
                <a:cxn ang="0">
                  <a:pos x="12" y="12"/>
                </a:cxn>
                <a:cxn ang="0">
                  <a:pos x="4" y="24"/>
                </a:cxn>
                <a:cxn ang="0">
                  <a:pos x="4" y="8"/>
                </a:cxn>
                <a:cxn ang="0">
                  <a:pos x="16" y="0"/>
                </a:cxn>
                <a:cxn ang="0">
                  <a:pos x="172" y="244"/>
                </a:cxn>
                <a:cxn ang="0">
                  <a:pos x="152" y="248"/>
                </a:cxn>
                <a:cxn ang="0">
                  <a:pos x="136" y="252"/>
                </a:cxn>
                <a:cxn ang="0">
                  <a:pos x="124" y="248"/>
                </a:cxn>
                <a:cxn ang="0">
                  <a:pos x="108" y="248"/>
                </a:cxn>
                <a:cxn ang="0">
                  <a:pos x="96" y="240"/>
                </a:cxn>
                <a:cxn ang="0">
                  <a:pos x="72" y="240"/>
                </a:cxn>
                <a:cxn ang="0">
                  <a:pos x="44" y="240"/>
                </a:cxn>
                <a:cxn ang="0">
                  <a:pos x="32" y="236"/>
                </a:cxn>
                <a:cxn ang="0">
                  <a:pos x="16" y="232"/>
                </a:cxn>
                <a:cxn ang="0">
                  <a:pos x="0" y="236"/>
                </a:cxn>
                <a:cxn ang="0">
                  <a:pos x="0" y="220"/>
                </a:cxn>
                <a:cxn ang="0">
                  <a:pos x="4" y="204"/>
                </a:cxn>
                <a:cxn ang="0">
                  <a:pos x="8" y="188"/>
                </a:cxn>
                <a:cxn ang="0">
                  <a:pos x="8" y="172"/>
                </a:cxn>
                <a:cxn ang="0">
                  <a:pos x="12" y="160"/>
                </a:cxn>
                <a:cxn ang="0">
                  <a:pos x="20" y="152"/>
                </a:cxn>
                <a:cxn ang="0">
                  <a:pos x="24" y="144"/>
                </a:cxn>
                <a:cxn ang="0">
                  <a:pos x="28" y="132"/>
                </a:cxn>
                <a:cxn ang="0">
                  <a:pos x="28" y="116"/>
                </a:cxn>
                <a:cxn ang="0">
                  <a:pos x="24" y="100"/>
                </a:cxn>
                <a:cxn ang="0">
                  <a:pos x="20" y="88"/>
                </a:cxn>
                <a:cxn ang="0">
                  <a:pos x="16" y="84"/>
                </a:cxn>
                <a:cxn ang="0">
                  <a:pos x="24" y="76"/>
                </a:cxn>
                <a:cxn ang="0">
                  <a:pos x="20" y="64"/>
                </a:cxn>
                <a:cxn ang="0">
                  <a:pos x="16" y="48"/>
                </a:cxn>
                <a:cxn ang="0">
                  <a:pos x="8" y="36"/>
                </a:cxn>
                <a:cxn ang="0">
                  <a:pos x="12" y="28"/>
                </a:cxn>
                <a:cxn ang="0">
                  <a:pos x="20" y="28"/>
                </a:cxn>
                <a:cxn ang="0">
                  <a:pos x="32" y="24"/>
                </a:cxn>
                <a:cxn ang="0">
                  <a:pos x="44" y="24"/>
                </a:cxn>
                <a:cxn ang="0">
                  <a:pos x="68" y="24"/>
                </a:cxn>
                <a:cxn ang="0">
                  <a:pos x="72" y="36"/>
                </a:cxn>
                <a:cxn ang="0">
                  <a:pos x="76" y="52"/>
                </a:cxn>
                <a:cxn ang="0">
                  <a:pos x="84" y="64"/>
                </a:cxn>
                <a:cxn ang="0">
                  <a:pos x="92" y="68"/>
                </a:cxn>
                <a:cxn ang="0">
                  <a:pos x="104" y="64"/>
                </a:cxn>
                <a:cxn ang="0">
                  <a:pos x="112" y="60"/>
                </a:cxn>
                <a:cxn ang="0">
                  <a:pos x="116" y="48"/>
                </a:cxn>
                <a:cxn ang="0">
                  <a:pos x="132" y="44"/>
                </a:cxn>
                <a:cxn ang="0">
                  <a:pos x="148" y="52"/>
                </a:cxn>
                <a:cxn ang="0">
                  <a:pos x="152" y="64"/>
                </a:cxn>
                <a:cxn ang="0">
                  <a:pos x="152" y="80"/>
                </a:cxn>
                <a:cxn ang="0">
                  <a:pos x="152" y="96"/>
                </a:cxn>
                <a:cxn ang="0">
                  <a:pos x="160" y="112"/>
                </a:cxn>
                <a:cxn ang="0">
                  <a:pos x="156" y="124"/>
                </a:cxn>
                <a:cxn ang="0">
                  <a:pos x="168" y="120"/>
                </a:cxn>
                <a:cxn ang="0">
                  <a:pos x="184" y="120"/>
                </a:cxn>
                <a:cxn ang="0">
                  <a:pos x="184" y="128"/>
                </a:cxn>
                <a:cxn ang="0">
                  <a:pos x="184" y="148"/>
                </a:cxn>
                <a:cxn ang="0">
                  <a:pos x="176" y="156"/>
                </a:cxn>
                <a:cxn ang="0">
                  <a:pos x="152" y="156"/>
                </a:cxn>
                <a:cxn ang="0">
                  <a:pos x="152" y="184"/>
                </a:cxn>
                <a:cxn ang="0">
                  <a:pos x="152" y="212"/>
                </a:cxn>
                <a:cxn ang="0">
                  <a:pos x="156" y="224"/>
                </a:cxn>
                <a:cxn ang="0">
                  <a:pos x="172" y="240"/>
                </a:cxn>
              </a:cxnLst>
              <a:rect l="0" t="0" r="r" b="b"/>
              <a:pathLst>
                <a:path w="184" h="252">
                  <a:moveTo>
                    <a:pt x="20" y="4"/>
                  </a:moveTo>
                  <a:lnTo>
                    <a:pt x="16" y="4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20" y="4"/>
                  </a:lnTo>
                  <a:close/>
                  <a:moveTo>
                    <a:pt x="176" y="244"/>
                  </a:moveTo>
                  <a:lnTo>
                    <a:pt x="172" y="244"/>
                  </a:lnTo>
                  <a:lnTo>
                    <a:pt x="168" y="244"/>
                  </a:lnTo>
                  <a:lnTo>
                    <a:pt x="164" y="248"/>
                  </a:lnTo>
                  <a:lnTo>
                    <a:pt x="160" y="248"/>
                  </a:lnTo>
                  <a:lnTo>
                    <a:pt x="152" y="248"/>
                  </a:lnTo>
                  <a:lnTo>
                    <a:pt x="144" y="252"/>
                  </a:lnTo>
                  <a:lnTo>
                    <a:pt x="144" y="248"/>
                  </a:lnTo>
                  <a:lnTo>
                    <a:pt x="140" y="248"/>
                  </a:lnTo>
                  <a:lnTo>
                    <a:pt x="136" y="252"/>
                  </a:lnTo>
                  <a:lnTo>
                    <a:pt x="132" y="252"/>
                  </a:lnTo>
                  <a:lnTo>
                    <a:pt x="132" y="248"/>
                  </a:lnTo>
                  <a:lnTo>
                    <a:pt x="128" y="248"/>
                  </a:lnTo>
                  <a:lnTo>
                    <a:pt x="124" y="248"/>
                  </a:lnTo>
                  <a:lnTo>
                    <a:pt x="120" y="248"/>
                  </a:lnTo>
                  <a:lnTo>
                    <a:pt x="116" y="248"/>
                  </a:lnTo>
                  <a:lnTo>
                    <a:pt x="112" y="248"/>
                  </a:lnTo>
                  <a:lnTo>
                    <a:pt x="108" y="248"/>
                  </a:lnTo>
                  <a:lnTo>
                    <a:pt x="104" y="248"/>
                  </a:lnTo>
                  <a:lnTo>
                    <a:pt x="104" y="244"/>
                  </a:lnTo>
                  <a:lnTo>
                    <a:pt x="100" y="240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88" y="240"/>
                  </a:lnTo>
                  <a:lnTo>
                    <a:pt x="84" y="240"/>
                  </a:lnTo>
                  <a:lnTo>
                    <a:pt x="72" y="240"/>
                  </a:lnTo>
                  <a:lnTo>
                    <a:pt x="64" y="240"/>
                  </a:lnTo>
                  <a:lnTo>
                    <a:pt x="56" y="240"/>
                  </a:lnTo>
                  <a:lnTo>
                    <a:pt x="48" y="240"/>
                  </a:lnTo>
                  <a:lnTo>
                    <a:pt x="44" y="240"/>
                  </a:lnTo>
                  <a:lnTo>
                    <a:pt x="40" y="240"/>
                  </a:lnTo>
                  <a:lnTo>
                    <a:pt x="36" y="240"/>
                  </a:lnTo>
                  <a:lnTo>
                    <a:pt x="32" y="240"/>
                  </a:lnTo>
                  <a:lnTo>
                    <a:pt x="32" y="236"/>
                  </a:lnTo>
                  <a:lnTo>
                    <a:pt x="28" y="236"/>
                  </a:lnTo>
                  <a:lnTo>
                    <a:pt x="24" y="232"/>
                  </a:lnTo>
                  <a:lnTo>
                    <a:pt x="20" y="232"/>
                  </a:lnTo>
                  <a:lnTo>
                    <a:pt x="16" y="232"/>
                  </a:lnTo>
                  <a:lnTo>
                    <a:pt x="12" y="236"/>
                  </a:lnTo>
                  <a:lnTo>
                    <a:pt x="8" y="236"/>
                  </a:lnTo>
                  <a:lnTo>
                    <a:pt x="4" y="236"/>
                  </a:lnTo>
                  <a:lnTo>
                    <a:pt x="0" y="236"/>
                  </a:lnTo>
                  <a:lnTo>
                    <a:pt x="0" y="232"/>
                  </a:lnTo>
                  <a:lnTo>
                    <a:pt x="0" y="228"/>
                  </a:lnTo>
                  <a:lnTo>
                    <a:pt x="0" y="224"/>
                  </a:lnTo>
                  <a:lnTo>
                    <a:pt x="0" y="220"/>
                  </a:lnTo>
                  <a:lnTo>
                    <a:pt x="0" y="216"/>
                  </a:lnTo>
                  <a:lnTo>
                    <a:pt x="0" y="212"/>
                  </a:lnTo>
                  <a:lnTo>
                    <a:pt x="0" y="208"/>
                  </a:lnTo>
                  <a:lnTo>
                    <a:pt x="4" y="204"/>
                  </a:lnTo>
                  <a:lnTo>
                    <a:pt x="4" y="200"/>
                  </a:lnTo>
                  <a:lnTo>
                    <a:pt x="4" y="196"/>
                  </a:lnTo>
                  <a:lnTo>
                    <a:pt x="4" y="192"/>
                  </a:lnTo>
                  <a:lnTo>
                    <a:pt x="8" y="188"/>
                  </a:lnTo>
                  <a:lnTo>
                    <a:pt x="8" y="184"/>
                  </a:lnTo>
                  <a:lnTo>
                    <a:pt x="8" y="180"/>
                  </a:lnTo>
                  <a:lnTo>
                    <a:pt x="8" y="176"/>
                  </a:lnTo>
                  <a:lnTo>
                    <a:pt x="8" y="172"/>
                  </a:lnTo>
                  <a:lnTo>
                    <a:pt x="12" y="168"/>
                  </a:lnTo>
                  <a:lnTo>
                    <a:pt x="8" y="164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16" y="160"/>
                  </a:lnTo>
                  <a:lnTo>
                    <a:pt x="16" y="156"/>
                  </a:lnTo>
                  <a:lnTo>
                    <a:pt x="16" y="152"/>
                  </a:lnTo>
                  <a:lnTo>
                    <a:pt x="20" y="152"/>
                  </a:lnTo>
                  <a:lnTo>
                    <a:pt x="20" y="148"/>
                  </a:lnTo>
                  <a:lnTo>
                    <a:pt x="20" y="152"/>
                  </a:lnTo>
                  <a:lnTo>
                    <a:pt x="24" y="148"/>
                  </a:lnTo>
                  <a:lnTo>
                    <a:pt x="24" y="144"/>
                  </a:lnTo>
                  <a:lnTo>
                    <a:pt x="28" y="144"/>
                  </a:lnTo>
                  <a:lnTo>
                    <a:pt x="28" y="140"/>
                  </a:lnTo>
                  <a:lnTo>
                    <a:pt x="28" y="136"/>
                  </a:lnTo>
                  <a:lnTo>
                    <a:pt x="28" y="132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32" y="120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4" y="100"/>
                  </a:lnTo>
                  <a:lnTo>
                    <a:pt x="20" y="100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16" y="84"/>
                  </a:lnTo>
                  <a:lnTo>
                    <a:pt x="20" y="80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76" y="40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76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84" y="60"/>
                  </a:lnTo>
                  <a:lnTo>
                    <a:pt x="84" y="64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92" y="64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64"/>
                  </a:lnTo>
                  <a:lnTo>
                    <a:pt x="100" y="64"/>
                  </a:lnTo>
                  <a:lnTo>
                    <a:pt x="104" y="64"/>
                  </a:lnTo>
                  <a:lnTo>
                    <a:pt x="108" y="64"/>
                  </a:lnTo>
                  <a:lnTo>
                    <a:pt x="116" y="64"/>
                  </a:lnTo>
                  <a:lnTo>
                    <a:pt x="112" y="64"/>
                  </a:lnTo>
                  <a:lnTo>
                    <a:pt x="112" y="60"/>
                  </a:lnTo>
                  <a:lnTo>
                    <a:pt x="116" y="60"/>
                  </a:lnTo>
                  <a:lnTo>
                    <a:pt x="116" y="56"/>
                  </a:lnTo>
                  <a:lnTo>
                    <a:pt x="116" y="52"/>
                  </a:lnTo>
                  <a:lnTo>
                    <a:pt x="116" y="48"/>
                  </a:lnTo>
                  <a:lnTo>
                    <a:pt x="124" y="48"/>
                  </a:lnTo>
                  <a:lnTo>
                    <a:pt x="128" y="48"/>
                  </a:lnTo>
                  <a:lnTo>
                    <a:pt x="128" y="44"/>
                  </a:lnTo>
                  <a:lnTo>
                    <a:pt x="132" y="44"/>
                  </a:lnTo>
                  <a:lnTo>
                    <a:pt x="132" y="48"/>
                  </a:lnTo>
                  <a:lnTo>
                    <a:pt x="132" y="52"/>
                  </a:lnTo>
                  <a:lnTo>
                    <a:pt x="140" y="52"/>
                  </a:lnTo>
                  <a:lnTo>
                    <a:pt x="148" y="52"/>
                  </a:lnTo>
                  <a:lnTo>
                    <a:pt x="152" y="52"/>
                  </a:lnTo>
                  <a:lnTo>
                    <a:pt x="152" y="56"/>
                  </a:lnTo>
                  <a:lnTo>
                    <a:pt x="152" y="60"/>
                  </a:lnTo>
                  <a:lnTo>
                    <a:pt x="152" y="64"/>
                  </a:lnTo>
                  <a:lnTo>
                    <a:pt x="152" y="68"/>
                  </a:lnTo>
                  <a:lnTo>
                    <a:pt x="152" y="72"/>
                  </a:lnTo>
                  <a:lnTo>
                    <a:pt x="152" y="76"/>
                  </a:lnTo>
                  <a:lnTo>
                    <a:pt x="152" y="80"/>
                  </a:lnTo>
                  <a:lnTo>
                    <a:pt x="152" y="84"/>
                  </a:lnTo>
                  <a:lnTo>
                    <a:pt x="152" y="88"/>
                  </a:lnTo>
                  <a:lnTo>
                    <a:pt x="152" y="92"/>
                  </a:lnTo>
                  <a:lnTo>
                    <a:pt x="152" y="96"/>
                  </a:lnTo>
                  <a:lnTo>
                    <a:pt x="156" y="100"/>
                  </a:lnTo>
                  <a:lnTo>
                    <a:pt x="156" y="104"/>
                  </a:lnTo>
                  <a:lnTo>
                    <a:pt x="160" y="108"/>
                  </a:lnTo>
                  <a:lnTo>
                    <a:pt x="160" y="112"/>
                  </a:lnTo>
                  <a:lnTo>
                    <a:pt x="160" y="116"/>
                  </a:lnTo>
                  <a:lnTo>
                    <a:pt x="156" y="116"/>
                  </a:lnTo>
                  <a:lnTo>
                    <a:pt x="156" y="120"/>
                  </a:lnTo>
                  <a:lnTo>
                    <a:pt x="156" y="124"/>
                  </a:lnTo>
                  <a:lnTo>
                    <a:pt x="160" y="124"/>
                  </a:lnTo>
                  <a:lnTo>
                    <a:pt x="160" y="120"/>
                  </a:lnTo>
                  <a:lnTo>
                    <a:pt x="164" y="120"/>
                  </a:lnTo>
                  <a:lnTo>
                    <a:pt x="168" y="120"/>
                  </a:lnTo>
                  <a:lnTo>
                    <a:pt x="172" y="120"/>
                  </a:lnTo>
                  <a:lnTo>
                    <a:pt x="176" y="120"/>
                  </a:lnTo>
                  <a:lnTo>
                    <a:pt x="180" y="120"/>
                  </a:lnTo>
                  <a:lnTo>
                    <a:pt x="184" y="120"/>
                  </a:lnTo>
                  <a:lnTo>
                    <a:pt x="184" y="116"/>
                  </a:lnTo>
                  <a:lnTo>
                    <a:pt x="184" y="120"/>
                  </a:lnTo>
                  <a:lnTo>
                    <a:pt x="184" y="124"/>
                  </a:lnTo>
                  <a:lnTo>
                    <a:pt x="184" y="128"/>
                  </a:lnTo>
                  <a:lnTo>
                    <a:pt x="184" y="132"/>
                  </a:lnTo>
                  <a:lnTo>
                    <a:pt x="184" y="136"/>
                  </a:lnTo>
                  <a:lnTo>
                    <a:pt x="184" y="144"/>
                  </a:lnTo>
                  <a:lnTo>
                    <a:pt x="184" y="148"/>
                  </a:lnTo>
                  <a:lnTo>
                    <a:pt x="184" y="152"/>
                  </a:lnTo>
                  <a:lnTo>
                    <a:pt x="184" y="156"/>
                  </a:lnTo>
                  <a:lnTo>
                    <a:pt x="180" y="156"/>
                  </a:lnTo>
                  <a:lnTo>
                    <a:pt x="176" y="156"/>
                  </a:lnTo>
                  <a:lnTo>
                    <a:pt x="172" y="156"/>
                  </a:lnTo>
                  <a:lnTo>
                    <a:pt x="168" y="156"/>
                  </a:lnTo>
                  <a:lnTo>
                    <a:pt x="160" y="156"/>
                  </a:lnTo>
                  <a:lnTo>
                    <a:pt x="152" y="156"/>
                  </a:lnTo>
                  <a:lnTo>
                    <a:pt x="152" y="164"/>
                  </a:lnTo>
                  <a:lnTo>
                    <a:pt x="152" y="172"/>
                  </a:lnTo>
                  <a:lnTo>
                    <a:pt x="152" y="176"/>
                  </a:lnTo>
                  <a:lnTo>
                    <a:pt x="152" y="184"/>
                  </a:lnTo>
                  <a:lnTo>
                    <a:pt x="152" y="188"/>
                  </a:lnTo>
                  <a:lnTo>
                    <a:pt x="152" y="192"/>
                  </a:lnTo>
                  <a:lnTo>
                    <a:pt x="152" y="204"/>
                  </a:lnTo>
                  <a:lnTo>
                    <a:pt x="152" y="212"/>
                  </a:lnTo>
                  <a:lnTo>
                    <a:pt x="152" y="216"/>
                  </a:lnTo>
                  <a:lnTo>
                    <a:pt x="156" y="216"/>
                  </a:lnTo>
                  <a:lnTo>
                    <a:pt x="156" y="220"/>
                  </a:lnTo>
                  <a:lnTo>
                    <a:pt x="156" y="224"/>
                  </a:lnTo>
                  <a:lnTo>
                    <a:pt x="160" y="224"/>
                  </a:lnTo>
                  <a:lnTo>
                    <a:pt x="160" y="228"/>
                  </a:lnTo>
                  <a:lnTo>
                    <a:pt x="164" y="232"/>
                  </a:lnTo>
                  <a:lnTo>
                    <a:pt x="172" y="240"/>
                  </a:lnTo>
                  <a:lnTo>
                    <a:pt x="176" y="2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2" name="Freeform 119"/>
            <p:cNvSpPr>
              <a:spLocks/>
            </p:cNvSpPr>
            <p:nvPr>
              <p:custDataLst>
                <p:tags r:id="rId314"/>
              </p:custDataLst>
            </p:nvPr>
          </p:nvSpPr>
          <p:spPr bwMode="gray">
            <a:xfrm>
              <a:off x="4393857" y="4254850"/>
              <a:ext cx="71187" cy="172035"/>
            </a:xfrm>
            <a:custGeom>
              <a:avLst/>
              <a:gdLst/>
              <a:ahLst/>
              <a:cxnLst>
                <a:cxn ang="0">
                  <a:pos x="32" y="96"/>
                </a:cxn>
                <a:cxn ang="0">
                  <a:pos x="28" y="104"/>
                </a:cxn>
                <a:cxn ang="0">
                  <a:pos x="28" y="112"/>
                </a:cxn>
                <a:cxn ang="0">
                  <a:pos x="28" y="112"/>
                </a:cxn>
                <a:cxn ang="0">
                  <a:pos x="24" y="112"/>
                </a:cxn>
                <a:cxn ang="0">
                  <a:pos x="20" y="116"/>
                </a:cxn>
                <a:cxn ang="0">
                  <a:pos x="12" y="116"/>
                </a:cxn>
                <a:cxn ang="0">
                  <a:pos x="12" y="116"/>
                </a:cxn>
                <a:cxn ang="0">
                  <a:pos x="16" y="116"/>
                </a:cxn>
                <a:cxn ang="0">
                  <a:pos x="12" y="108"/>
                </a:cxn>
                <a:cxn ang="0">
                  <a:pos x="12" y="108"/>
                </a:cxn>
                <a:cxn ang="0">
                  <a:pos x="12" y="104"/>
                </a:cxn>
                <a:cxn ang="0">
                  <a:pos x="12" y="96"/>
                </a:cxn>
                <a:cxn ang="0">
                  <a:pos x="12" y="92"/>
                </a:cxn>
                <a:cxn ang="0">
                  <a:pos x="12" y="84"/>
                </a:cxn>
                <a:cxn ang="0">
                  <a:pos x="12" y="72"/>
                </a:cxn>
                <a:cxn ang="0">
                  <a:pos x="12" y="64"/>
                </a:cxn>
                <a:cxn ang="0">
                  <a:pos x="12" y="60"/>
                </a:cxn>
                <a:cxn ang="0">
                  <a:pos x="8" y="60"/>
                </a:cxn>
                <a:cxn ang="0">
                  <a:pos x="8" y="56"/>
                </a:cxn>
                <a:cxn ang="0">
                  <a:pos x="8" y="52"/>
                </a:cxn>
                <a:cxn ang="0">
                  <a:pos x="8" y="44"/>
                </a:cxn>
                <a:cxn ang="0">
                  <a:pos x="0" y="40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12" y="20"/>
                </a:cxn>
                <a:cxn ang="0">
                  <a:pos x="16" y="20"/>
                </a:cxn>
                <a:cxn ang="0">
                  <a:pos x="20" y="20"/>
                </a:cxn>
                <a:cxn ang="0">
                  <a:pos x="20" y="16"/>
                </a:cxn>
                <a:cxn ang="0">
                  <a:pos x="24" y="12"/>
                </a:cxn>
                <a:cxn ang="0">
                  <a:pos x="24" y="8"/>
                </a:cxn>
                <a:cxn ang="0">
                  <a:pos x="28" y="4"/>
                </a:cxn>
                <a:cxn ang="0">
                  <a:pos x="32" y="0"/>
                </a:cxn>
                <a:cxn ang="0">
                  <a:pos x="36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4" y="16"/>
                </a:cxn>
                <a:cxn ang="0">
                  <a:pos x="44" y="24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8" y="32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4" y="44"/>
                </a:cxn>
                <a:cxn ang="0">
                  <a:pos x="40" y="48"/>
                </a:cxn>
                <a:cxn ang="0">
                  <a:pos x="40" y="52"/>
                </a:cxn>
                <a:cxn ang="0">
                  <a:pos x="36" y="56"/>
                </a:cxn>
                <a:cxn ang="0">
                  <a:pos x="36" y="60"/>
                </a:cxn>
                <a:cxn ang="0">
                  <a:pos x="32" y="64"/>
                </a:cxn>
                <a:cxn ang="0">
                  <a:pos x="32" y="64"/>
                </a:cxn>
                <a:cxn ang="0">
                  <a:pos x="28" y="72"/>
                </a:cxn>
                <a:cxn ang="0">
                  <a:pos x="28" y="76"/>
                </a:cxn>
                <a:cxn ang="0">
                  <a:pos x="28" y="80"/>
                </a:cxn>
                <a:cxn ang="0">
                  <a:pos x="28" y="84"/>
                </a:cxn>
                <a:cxn ang="0">
                  <a:pos x="28" y="88"/>
                </a:cxn>
              </a:cxnLst>
              <a:rect l="0" t="0" r="r" b="b"/>
              <a:pathLst>
                <a:path w="48" h="116">
                  <a:moveTo>
                    <a:pt x="28" y="88"/>
                  </a:moveTo>
                  <a:lnTo>
                    <a:pt x="28" y="88"/>
                  </a:lnTo>
                  <a:lnTo>
                    <a:pt x="28" y="92"/>
                  </a:lnTo>
                  <a:lnTo>
                    <a:pt x="32" y="96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3" name="Freeform 120"/>
            <p:cNvSpPr>
              <a:spLocks/>
            </p:cNvSpPr>
            <p:nvPr>
              <p:custDataLst>
                <p:tags r:id="rId315"/>
              </p:custDataLst>
            </p:nvPr>
          </p:nvSpPr>
          <p:spPr bwMode="gray">
            <a:xfrm>
              <a:off x="4825430" y="5083882"/>
              <a:ext cx="206145" cy="253603"/>
            </a:xfrm>
            <a:custGeom>
              <a:avLst/>
              <a:gdLst/>
              <a:ahLst/>
              <a:cxnLst>
                <a:cxn ang="0">
                  <a:pos x="88" y="132"/>
                </a:cxn>
                <a:cxn ang="0">
                  <a:pos x="84" y="144"/>
                </a:cxn>
                <a:cxn ang="0">
                  <a:pos x="80" y="152"/>
                </a:cxn>
                <a:cxn ang="0">
                  <a:pos x="72" y="152"/>
                </a:cxn>
                <a:cxn ang="0">
                  <a:pos x="68" y="148"/>
                </a:cxn>
                <a:cxn ang="0">
                  <a:pos x="64" y="148"/>
                </a:cxn>
                <a:cxn ang="0">
                  <a:pos x="56" y="144"/>
                </a:cxn>
                <a:cxn ang="0">
                  <a:pos x="48" y="140"/>
                </a:cxn>
                <a:cxn ang="0">
                  <a:pos x="44" y="148"/>
                </a:cxn>
                <a:cxn ang="0">
                  <a:pos x="40" y="156"/>
                </a:cxn>
                <a:cxn ang="0">
                  <a:pos x="32" y="163"/>
                </a:cxn>
                <a:cxn ang="0">
                  <a:pos x="28" y="167"/>
                </a:cxn>
                <a:cxn ang="0">
                  <a:pos x="28" y="171"/>
                </a:cxn>
                <a:cxn ang="0">
                  <a:pos x="20" y="171"/>
                </a:cxn>
                <a:cxn ang="0">
                  <a:pos x="16" y="171"/>
                </a:cxn>
                <a:cxn ang="0">
                  <a:pos x="12" y="171"/>
                </a:cxn>
                <a:cxn ang="0">
                  <a:pos x="8" y="163"/>
                </a:cxn>
                <a:cxn ang="0">
                  <a:pos x="12" y="160"/>
                </a:cxn>
                <a:cxn ang="0">
                  <a:pos x="8" y="148"/>
                </a:cxn>
                <a:cxn ang="0">
                  <a:pos x="4" y="136"/>
                </a:cxn>
                <a:cxn ang="0">
                  <a:pos x="0" y="132"/>
                </a:cxn>
                <a:cxn ang="0">
                  <a:pos x="0" y="112"/>
                </a:cxn>
                <a:cxn ang="0">
                  <a:pos x="0" y="96"/>
                </a:cxn>
                <a:cxn ang="0">
                  <a:pos x="0" y="80"/>
                </a:cxn>
                <a:cxn ang="0">
                  <a:pos x="16" y="72"/>
                </a:cxn>
                <a:cxn ang="0">
                  <a:pos x="16" y="24"/>
                </a:cxn>
                <a:cxn ang="0">
                  <a:pos x="28" y="8"/>
                </a:cxn>
                <a:cxn ang="0">
                  <a:pos x="48" y="4"/>
                </a:cxn>
                <a:cxn ang="0">
                  <a:pos x="52" y="8"/>
                </a:cxn>
                <a:cxn ang="0">
                  <a:pos x="56" y="12"/>
                </a:cxn>
                <a:cxn ang="0">
                  <a:pos x="60" y="8"/>
                </a:cxn>
                <a:cxn ang="0">
                  <a:pos x="68" y="4"/>
                </a:cxn>
                <a:cxn ang="0">
                  <a:pos x="72" y="0"/>
                </a:cxn>
                <a:cxn ang="0">
                  <a:pos x="80" y="0"/>
                </a:cxn>
                <a:cxn ang="0">
                  <a:pos x="80" y="4"/>
                </a:cxn>
                <a:cxn ang="0">
                  <a:pos x="84" y="8"/>
                </a:cxn>
                <a:cxn ang="0">
                  <a:pos x="88" y="20"/>
                </a:cxn>
                <a:cxn ang="0">
                  <a:pos x="92" y="24"/>
                </a:cxn>
                <a:cxn ang="0">
                  <a:pos x="96" y="32"/>
                </a:cxn>
                <a:cxn ang="0">
                  <a:pos x="100" y="36"/>
                </a:cxn>
                <a:cxn ang="0">
                  <a:pos x="108" y="40"/>
                </a:cxn>
                <a:cxn ang="0">
                  <a:pos x="112" y="48"/>
                </a:cxn>
                <a:cxn ang="0">
                  <a:pos x="116" y="48"/>
                </a:cxn>
                <a:cxn ang="0">
                  <a:pos x="116" y="56"/>
                </a:cxn>
                <a:cxn ang="0">
                  <a:pos x="120" y="68"/>
                </a:cxn>
                <a:cxn ang="0">
                  <a:pos x="123" y="72"/>
                </a:cxn>
                <a:cxn ang="0">
                  <a:pos x="127" y="72"/>
                </a:cxn>
                <a:cxn ang="0">
                  <a:pos x="135" y="72"/>
                </a:cxn>
                <a:cxn ang="0">
                  <a:pos x="135" y="80"/>
                </a:cxn>
                <a:cxn ang="0">
                  <a:pos x="139" y="80"/>
                </a:cxn>
                <a:cxn ang="0">
                  <a:pos x="135" y="84"/>
                </a:cxn>
                <a:cxn ang="0">
                  <a:pos x="135" y="88"/>
                </a:cxn>
                <a:cxn ang="0">
                  <a:pos x="123" y="92"/>
                </a:cxn>
                <a:cxn ang="0">
                  <a:pos x="120" y="96"/>
                </a:cxn>
                <a:cxn ang="0">
                  <a:pos x="116" y="104"/>
                </a:cxn>
                <a:cxn ang="0">
                  <a:pos x="108" y="108"/>
                </a:cxn>
                <a:cxn ang="0">
                  <a:pos x="104" y="116"/>
                </a:cxn>
                <a:cxn ang="0">
                  <a:pos x="100" y="124"/>
                </a:cxn>
                <a:cxn ang="0">
                  <a:pos x="96" y="128"/>
                </a:cxn>
              </a:cxnLst>
              <a:rect l="0" t="0" r="r" b="b"/>
              <a:pathLst>
                <a:path w="139" h="171">
                  <a:moveTo>
                    <a:pt x="96" y="128"/>
                  </a:move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6"/>
                  </a:lnTo>
                  <a:lnTo>
                    <a:pt x="88" y="140"/>
                  </a:lnTo>
                  <a:lnTo>
                    <a:pt x="84" y="144"/>
                  </a:lnTo>
                  <a:lnTo>
                    <a:pt x="84" y="144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0" y="148"/>
                  </a:lnTo>
                  <a:lnTo>
                    <a:pt x="80" y="152"/>
                  </a:lnTo>
                  <a:lnTo>
                    <a:pt x="80" y="152"/>
                  </a:lnTo>
                  <a:lnTo>
                    <a:pt x="76" y="152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68" y="152"/>
                  </a:lnTo>
                  <a:lnTo>
                    <a:pt x="68" y="152"/>
                  </a:lnTo>
                  <a:lnTo>
                    <a:pt x="68" y="152"/>
                  </a:lnTo>
                  <a:lnTo>
                    <a:pt x="68" y="148"/>
                  </a:lnTo>
                  <a:lnTo>
                    <a:pt x="68" y="148"/>
                  </a:lnTo>
                  <a:lnTo>
                    <a:pt x="68" y="152"/>
                  </a:lnTo>
                  <a:lnTo>
                    <a:pt x="64" y="152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4" y="140"/>
                  </a:lnTo>
                  <a:lnTo>
                    <a:pt x="44" y="140"/>
                  </a:lnTo>
                  <a:lnTo>
                    <a:pt x="44" y="144"/>
                  </a:lnTo>
                  <a:lnTo>
                    <a:pt x="44" y="144"/>
                  </a:lnTo>
                  <a:lnTo>
                    <a:pt x="44" y="148"/>
                  </a:lnTo>
                  <a:lnTo>
                    <a:pt x="44" y="148"/>
                  </a:lnTo>
                  <a:lnTo>
                    <a:pt x="44" y="148"/>
                  </a:lnTo>
                  <a:lnTo>
                    <a:pt x="40" y="148"/>
                  </a:lnTo>
                  <a:lnTo>
                    <a:pt x="40" y="148"/>
                  </a:lnTo>
                  <a:lnTo>
                    <a:pt x="40" y="152"/>
                  </a:lnTo>
                  <a:lnTo>
                    <a:pt x="40" y="152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36" y="160"/>
                  </a:lnTo>
                  <a:lnTo>
                    <a:pt x="36" y="160"/>
                  </a:lnTo>
                  <a:lnTo>
                    <a:pt x="32" y="160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7"/>
                  </a:lnTo>
                  <a:lnTo>
                    <a:pt x="32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71"/>
                  </a:lnTo>
                  <a:lnTo>
                    <a:pt x="28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8" y="171"/>
                  </a:lnTo>
                  <a:lnTo>
                    <a:pt x="8" y="167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12" y="163"/>
                  </a:lnTo>
                  <a:lnTo>
                    <a:pt x="12" y="160"/>
                  </a:lnTo>
                  <a:lnTo>
                    <a:pt x="12" y="160"/>
                  </a:lnTo>
                  <a:lnTo>
                    <a:pt x="12" y="160"/>
                  </a:lnTo>
                  <a:lnTo>
                    <a:pt x="12" y="156"/>
                  </a:lnTo>
                  <a:lnTo>
                    <a:pt x="12" y="152"/>
                  </a:lnTo>
                  <a:lnTo>
                    <a:pt x="12" y="152"/>
                  </a:lnTo>
                  <a:lnTo>
                    <a:pt x="12" y="152"/>
                  </a:lnTo>
                  <a:lnTo>
                    <a:pt x="8" y="148"/>
                  </a:lnTo>
                  <a:lnTo>
                    <a:pt x="8" y="148"/>
                  </a:lnTo>
                  <a:lnTo>
                    <a:pt x="12" y="148"/>
                  </a:lnTo>
                  <a:lnTo>
                    <a:pt x="8" y="144"/>
                  </a:lnTo>
                  <a:lnTo>
                    <a:pt x="8" y="144"/>
                  </a:lnTo>
                  <a:lnTo>
                    <a:pt x="8" y="144"/>
                  </a:lnTo>
                  <a:lnTo>
                    <a:pt x="8" y="140"/>
                  </a:lnTo>
                  <a:lnTo>
                    <a:pt x="8" y="140"/>
                  </a:lnTo>
                  <a:lnTo>
                    <a:pt x="4" y="136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4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80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24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8" y="8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08" y="40"/>
                  </a:lnTo>
                  <a:lnTo>
                    <a:pt x="108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52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60"/>
                  </a:lnTo>
                  <a:lnTo>
                    <a:pt x="116" y="60"/>
                  </a:lnTo>
                  <a:lnTo>
                    <a:pt x="116" y="64"/>
                  </a:lnTo>
                  <a:lnTo>
                    <a:pt x="116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31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8"/>
                  </a:lnTo>
                  <a:lnTo>
                    <a:pt x="135" y="88"/>
                  </a:lnTo>
                  <a:lnTo>
                    <a:pt x="131" y="88"/>
                  </a:lnTo>
                  <a:lnTo>
                    <a:pt x="131" y="88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3" y="88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16" y="100"/>
                  </a:lnTo>
                  <a:lnTo>
                    <a:pt x="116" y="100"/>
                  </a:lnTo>
                  <a:lnTo>
                    <a:pt x="116" y="100"/>
                  </a:lnTo>
                  <a:lnTo>
                    <a:pt x="116" y="104"/>
                  </a:lnTo>
                  <a:lnTo>
                    <a:pt x="116" y="104"/>
                  </a:lnTo>
                  <a:lnTo>
                    <a:pt x="116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4" y="108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6"/>
                  </a:lnTo>
                  <a:lnTo>
                    <a:pt x="104" y="116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4" y="124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4" name="Freeform 121"/>
            <p:cNvSpPr>
              <a:spLocks/>
            </p:cNvSpPr>
            <p:nvPr>
              <p:custDataLst>
                <p:tags r:id="rId316"/>
              </p:custDataLst>
            </p:nvPr>
          </p:nvSpPr>
          <p:spPr bwMode="gray">
            <a:xfrm>
              <a:off x="4251483" y="4183663"/>
              <a:ext cx="177968" cy="154239"/>
            </a:xfrm>
            <a:custGeom>
              <a:avLst/>
              <a:gdLst/>
              <a:ahLst/>
              <a:cxnLst>
                <a:cxn ang="0">
                  <a:pos x="92" y="76"/>
                </a:cxn>
                <a:cxn ang="0">
                  <a:pos x="88" y="76"/>
                </a:cxn>
                <a:cxn ang="0">
                  <a:pos x="80" y="72"/>
                </a:cxn>
                <a:cxn ang="0">
                  <a:pos x="72" y="76"/>
                </a:cxn>
                <a:cxn ang="0">
                  <a:pos x="68" y="76"/>
                </a:cxn>
                <a:cxn ang="0">
                  <a:pos x="60" y="76"/>
                </a:cxn>
                <a:cxn ang="0">
                  <a:pos x="40" y="76"/>
                </a:cxn>
                <a:cxn ang="0">
                  <a:pos x="40" y="84"/>
                </a:cxn>
                <a:cxn ang="0">
                  <a:pos x="40" y="92"/>
                </a:cxn>
                <a:cxn ang="0">
                  <a:pos x="40" y="100"/>
                </a:cxn>
                <a:cxn ang="0">
                  <a:pos x="40" y="100"/>
                </a:cxn>
                <a:cxn ang="0">
                  <a:pos x="44" y="104"/>
                </a:cxn>
                <a:cxn ang="0">
                  <a:pos x="40" y="104"/>
                </a:cxn>
                <a:cxn ang="0">
                  <a:pos x="36" y="96"/>
                </a:cxn>
                <a:cxn ang="0">
                  <a:pos x="28" y="96"/>
                </a:cxn>
                <a:cxn ang="0">
                  <a:pos x="24" y="96"/>
                </a:cxn>
                <a:cxn ang="0">
                  <a:pos x="20" y="100"/>
                </a:cxn>
                <a:cxn ang="0">
                  <a:pos x="16" y="100"/>
                </a:cxn>
                <a:cxn ang="0">
                  <a:pos x="12" y="100"/>
                </a:cxn>
                <a:cxn ang="0">
                  <a:pos x="8" y="88"/>
                </a:cxn>
                <a:cxn ang="0">
                  <a:pos x="4" y="88"/>
                </a:cxn>
                <a:cxn ang="0">
                  <a:pos x="0" y="84"/>
                </a:cxn>
                <a:cxn ang="0">
                  <a:pos x="0" y="80"/>
                </a:cxn>
                <a:cxn ang="0">
                  <a:pos x="0" y="76"/>
                </a:cxn>
                <a:cxn ang="0">
                  <a:pos x="4" y="72"/>
                </a:cxn>
                <a:cxn ang="0">
                  <a:pos x="4" y="64"/>
                </a:cxn>
                <a:cxn ang="0">
                  <a:pos x="8" y="56"/>
                </a:cxn>
                <a:cxn ang="0">
                  <a:pos x="12" y="56"/>
                </a:cxn>
                <a:cxn ang="0">
                  <a:pos x="16" y="48"/>
                </a:cxn>
                <a:cxn ang="0">
                  <a:pos x="16" y="44"/>
                </a:cxn>
                <a:cxn ang="0">
                  <a:pos x="20" y="44"/>
                </a:cxn>
                <a:cxn ang="0">
                  <a:pos x="20" y="40"/>
                </a:cxn>
                <a:cxn ang="0">
                  <a:pos x="20" y="36"/>
                </a:cxn>
                <a:cxn ang="0">
                  <a:pos x="24" y="28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32" y="32"/>
                </a:cxn>
                <a:cxn ang="0">
                  <a:pos x="36" y="28"/>
                </a:cxn>
                <a:cxn ang="0">
                  <a:pos x="40" y="28"/>
                </a:cxn>
                <a:cxn ang="0">
                  <a:pos x="40" y="20"/>
                </a:cxn>
                <a:cxn ang="0">
                  <a:pos x="48" y="16"/>
                </a:cxn>
                <a:cxn ang="0">
                  <a:pos x="52" y="16"/>
                </a:cxn>
                <a:cxn ang="0">
                  <a:pos x="56" y="12"/>
                </a:cxn>
                <a:cxn ang="0">
                  <a:pos x="68" y="4"/>
                </a:cxn>
                <a:cxn ang="0">
                  <a:pos x="76" y="0"/>
                </a:cxn>
                <a:cxn ang="0">
                  <a:pos x="88" y="4"/>
                </a:cxn>
                <a:cxn ang="0">
                  <a:pos x="88" y="12"/>
                </a:cxn>
                <a:cxn ang="0">
                  <a:pos x="88" y="16"/>
                </a:cxn>
                <a:cxn ang="0">
                  <a:pos x="92" y="24"/>
                </a:cxn>
                <a:cxn ang="0">
                  <a:pos x="100" y="28"/>
                </a:cxn>
                <a:cxn ang="0">
                  <a:pos x="104" y="32"/>
                </a:cxn>
                <a:cxn ang="0">
                  <a:pos x="100" y="32"/>
                </a:cxn>
                <a:cxn ang="0">
                  <a:pos x="100" y="36"/>
                </a:cxn>
                <a:cxn ang="0">
                  <a:pos x="108" y="44"/>
                </a:cxn>
                <a:cxn ang="0">
                  <a:pos x="116" y="44"/>
                </a:cxn>
                <a:cxn ang="0">
                  <a:pos x="116" y="48"/>
                </a:cxn>
                <a:cxn ang="0">
                  <a:pos x="120" y="60"/>
                </a:cxn>
                <a:cxn ang="0">
                  <a:pos x="116" y="64"/>
                </a:cxn>
                <a:cxn ang="0">
                  <a:pos x="116" y="68"/>
                </a:cxn>
                <a:cxn ang="0">
                  <a:pos x="108" y="68"/>
                </a:cxn>
                <a:cxn ang="0">
                  <a:pos x="104" y="68"/>
                </a:cxn>
                <a:cxn ang="0">
                  <a:pos x="104" y="68"/>
                </a:cxn>
                <a:cxn ang="0">
                  <a:pos x="100" y="76"/>
                </a:cxn>
              </a:cxnLst>
              <a:rect l="0" t="0" r="r" b="b"/>
              <a:pathLst>
                <a:path w="120" h="104">
                  <a:moveTo>
                    <a:pt x="96" y="76"/>
                  </a:moveTo>
                  <a:lnTo>
                    <a:pt x="96" y="76"/>
                  </a:lnTo>
                  <a:lnTo>
                    <a:pt x="96" y="76"/>
                  </a:lnTo>
                  <a:lnTo>
                    <a:pt x="96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6"/>
                  </a:lnTo>
                  <a:lnTo>
                    <a:pt x="76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6"/>
                  </a:lnTo>
                  <a:lnTo>
                    <a:pt x="44" y="96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0" y="100"/>
                  </a:lnTo>
                  <a:lnTo>
                    <a:pt x="40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36" y="96"/>
                  </a:lnTo>
                  <a:lnTo>
                    <a:pt x="36" y="96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8" y="96"/>
                  </a:lnTo>
                  <a:lnTo>
                    <a:pt x="8" y="92"/>
                  </a:lnTo>
                  <a:lnTo>
                    <a:pt x="8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6"/>
                  </a:lnTo>
                  <a:lnTo>
                    <a:pt x="92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0" y="40"/>
                  </a:lnTo>
                  <a:lnTo>
                    <a:pt x="104" y="40"/>
                  </a:lnTo>
                  <a:lnTo>
                    <a:pt x="108" y="44"/>
                  </a:lnTo>
                  <a:lnTo>
                    <a:pt x="112" y="48"/>
                  </a:lnTo>
                  <a:lnTo>
                    <a:pt x="112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8"/>
                  </a:lnTo>
                  <a:lnTo>
                    <a:pt x="120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52"/>
                  </a:lnTo>
                  <a:lnTo>
                    <a:pt x="116" y="52"/>
                  </a:lnTo>
                  <a:lnTo>
                    <a:pt x="120" y="56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16" y="64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0" y="72"/>
                  </a:lnTo>
                  <a:lnTo>
                    <a:pt x="100" y="72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96" y="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5" name="Freeform 122"/>
            <p:cNvSpPr>
              <a:spLocks/>
            </p:cNvSpPr>
            <p:nvPr>
              <p:custDataLst>
                <p:tags r:id="rId317"/>
              </p:custDataLst>
            </p:nvPr>
          </p:nvSpPr>
          <p:spPr bwMode="gray">
            <a:xfrm>
              <a:off x="5025643" y="4658243"/>
              <a:ext cx="41526" cy="57839"/>
            </a:xfrm>
            <a:custGeom>
              <a:avLst/>
              <a:gdLst/>
              <a:ahLst/>
              <a:cxnLst>
                <a:cxn ang="0">
                  <a:pos x="28" y="15"/>
                </a:cxn>
                <a:cxn ang="0">
                  <a:pos x="28" y="19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20" y="23"/>
                </a:cxn>
                <a:cxn ang="0">
                  <a:pos x="20" y="27"/>
                </a:cxn>
                <a:cxn ang="0">
                  <a:pos x="20" y="27"/>
                </a:cxn>
                <a:cxn ang="0">
                  <a:pos x="20" y="31"/>
                </a:cxn>
                <a:cxn ang="0">
                  <a:pos x="12" y="39"/>
                </a:cxn>
                <a:cxn ang="0">
                  <a:pos x="8" y="39"/>
                </a:cxn>
                <a:cxn ang="0">
                  <a:pos x="8" y="35"/>
                </a:cxn>
                <a:cxn ang="0">
                  <a:pos x="4" y="31"/>
                </a:cxn>
                <a:cxn ang="0">
                  <a:pos x="4" y="31"/>
                </a:cxn>
                <a:cxn ang="0">
                  <a:pos x="4" y="31"/>
                </a:cxn>
                <a:cxn ang="0">
                  <a:pos x="4" y="27"/>
                </a:cxn>
                <a:cxn ang="0">
                  <a:pos x="4" y="27"/>
                </a:cxn>
                <a:cxn ang="0">
                  <a:pos x="4" y="23"/>
                </a:cxn>
                <a:cxn ang="0">
                  <a:pos x="4" y="19"/>
                </a:cxn>
                <a:cxn ang="0">
                  <a:pos x="4" y="19"/>
                </a:cxn>
                <a:cxn ang="0">
                  <a:pos x="4" y="15"/>
                </a:cxn>
                <a:cxn ang="0">
                  <a:pos x="4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0" y="12"/>
                </a:cxn>
                <a:cxn ang="0">
                  <a:pos x="24" y="12"/>
                </a:cxn>
                <a:cxn ang="0">
                  <a:pos x="24" y="12"/>
                </a:cxn>
              </a:cxnLst>
              <a:rect l="0" t="0" r="r" b="b"/>
              <a:pathLst>
                <a:path w="28" h="39">
                  <a:moveTo>
                    <a:pt x="28" y="12"/>
                  </a:moveTo>
                  <a:lnTo>
                    <a:pt x="28" y="12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0" y="23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6" name="Freeform 123"/>
            <p:cNvSpPr>
              <a:spLocks/>
            </p:cNvSpPr>
            <p:nvPr>
              <p:custDataLst>
                <p:tags r:id="rId318"/>
              </p:custDataLst>
            </p:nvPr>
          </p:nvSpPr>
          <p:spPr bwMode="gray">
            <a:xfrm>
              <a:off x="4564410" y="4237053"/>
              <a:ext cx="177968" cy="314410"/>
            </a:xfrm>
            <a:custGeom>
              <a:avLst/>
              <a:gdLst/>
              <a:ahLst/>
              <a:cxnLst>
                <a:cxn ang="0">
                  <a:pos x="24" y="200"/>
                </a:cxn>
                <a:cxn ang="0">
                  <a:pos x="20" y="188"/>
                </a:cxn>
                <a:cxn ang="0">
                  <a:pos x="20" y="180"/>
                </a:cxn>
                <a:cxn ang="0">
                  <a:pos x="20" y="172"/>
                </a:cxn>
                <a:cxn ang="0">
                  <a:pos x="12" y="172"/>
                </a:cxn>
                <a:cxn ang="0">
                  <a:pos x="8" y="164"/>
                </a:cxn>
                <a:cxn ang="0">
                  <a:pos x="8" y="160"/>
                </a:cxn>
                <a:cxn ang="0">
                  <a:pos x="4" y="160"/>
                </a:cxn>
                <a:cxn ang="0">
                  <a:pos x="4" y="152"/>
                </a:cxn>
                <a:cxn ang="0">
                  <a:pos x="8" y="140"/>
                </a:cxn>
                <a:cxn ang="0">
                  <a:pos x="12" y="128"/>
                </a:cxn>
                <a:cxn ang="0">
                  <a:pos x="20" y="120"/>
                </a:cxn>
                <a:cxn ang="0">
                  <a:pos x="28" y="112"/>
                </a:cxn>
                <a:cxn ang="0">
                  <a:pos x="32" y="112"/>
                </a:cxn>
                <a:cxn ang="0">
                  <a:pos x="40" y="116"/>
                </a:cxn>
                <a:cxn ang="0">
                  <a:pos x="44" y="124"/>
                </a:cxn>
                <a:cxn ang="0">
                  <a:pos x="48" y="116"/>
                </a:cxn>
                <a:cxn ang="0">
                  <a:pos x="52" y="104"/>
                </a:cxn>
                <a:cxn ang="0">
                  <a:pos x="56" y="96"/>
                </a:cxn>
                <a:cxn ang="0">
                  <a:pos x="56" y="92"/>
                </a:cxn>
                <a:cxn ang="0">
                  <a:pos x="60" y="84"/>
                </a:cxn>
                <a:cxn ang="0">
                  <a:pos x="68" y="76"/>
                </a:cxn>
                <a:cxn ang="0">
                  <a:pos x="72" y="68"/>
                </a:cxn>
                <a:cxn ang="0">
                  <a:pos x="72" y="56"/>
                </a:cxn>
                <a:cxn ang="0">
                  <a:pos x="76" y="48"/>
                </a:cxn>
                <a:cxn ang="0">
                  <a:pos x="84" y="36"/>
                </a:cxn>
                <a:cxn ang="0">
                  <a:pos x="92" y="32"/>
                </a:cxn>
                <a:cxn ang="0">
                  <a:pos x="92" y="24"/>
                </a:cxn>
                <a:cxn ang="0">
                  <a:pos x="92" y="20"/>
                </a:cxn>
                <a:cxn ang="0">
                  <a:pos x="92" y="16"/>
                </a:cxn>
                <a:cxn ang="0">
                  <a:pos x="88" y="8"/>
                </a:cxn>
                <a:cxn ang="0">
                  <a:pos x="88" y="0"/>
                </a:cxn>
                <a:cxn ang="0">
                  <a:pos x="92" y="8"/>
                </a:cxn>
                <a:cxn ang="0">
                  <a:pos x="100" y="20"/>
                </a:cxn>
                <a:cxn ang="0">
                  <a:pos x="100" y="32"/>
                </a:cxn>
                <a:cxn ang="0">
                  <a:pos x="100" y="44"/>
                </a:cxn>
                <a:cxn ang="0">
                  <a:pos x="104" y="52"/>
                </a:cxn>
                <a:cxn ang="0">
                  <a:pos x="104" y="60"/>
                </a:cxn>
                <a:cxn ang="0">
                  <a:pos x="92" y="60"/>
                </a:cxn>
                <a:cxn ang="0">
                  <a:pos x="88" y="72"/>
                </a:cxn>
                <a:cxn ang="0">
                  <a:pos x="100" y="80"/>
                </a:cxn>
                <a:cxn ang="0">
                  <a:pos x="104" y="92"/>
                </a:cxn>
                <a:cxn ang="0">
                  <a:pos x="108" y="100"/>
                </a:cxn>
                <a:cxn ang="0">
                  <a:pos x="104" y="108"/>
                </a:cxn>
                <a:cxn ang="0">
                  <a:pos x="100" y="116"/>
                </a:cxn>
                <a:cxn ang="0">
                  <a:pos x="96" y="128"/>
                </a:cxn>
                <a:cxn ang="0">
                  <a:pos x="92" y="136"/>
                </a:cxn>
                <a:cxn ang="0">
                  <a:pos x="92" y="144"/>
                </a:cxn>
                <a:cxn ang="0">
                  <a:pos x="96" y="156"/>
                </a:cxn>
                <a:cxn ang="0">
                  <a:pos x="100" y="164"/>
                </a:cxn>
                <a:cxn ang="0">
                  <a:pos x="104" y="172"/>
                </a:cxn>
                <a:cxn ang="0">
                  <a:pos x="112" y="184"/>
                </a:cxn>
                <a:cxn ang="0">
                  <a:pos x="116" y="196"/>
                </a:cxn>
                <a:cxn ang="0">
                  <a:pos x="116" y="200"/>
                </a:cxn>
                <a:cxn ang="0">
                  <a:pos x="116" y="212"/>
                </a:cxn>
                <a:cxn ang="0">
                  <a:pos x="108" y="208"/>
                </a:cxn>
                <a:cxn ang="0">
                  <a:pos x="100" y="204"/>
                </a:cxn>
                <a:cxn ang="0">
                  <a:pos x="88" y="204"/>
                </a:cxn>
                <a:cxn ang="0">
                  <a:pos x="72" y="200"/>
                </a:cxn>
                <a:cxn ang="0">
                  <a:pos x="60" y="200"/>
                </a:cxn>
                <a:cxn ang="0">
                  <a:pos x="48" y="200"/>
                </a:cxn>
                <a:cxn ang="0">
                  <a:pos x="40" y="204"/>
                </a:cxn>
              </a:cxnLst>
              <a:rect l="0" t="0" r="r" b="b"/>
              <a:pathLst>
                <a:path w="120" h="212">
                  <a:moveTo>
                    <a:pt x="28" y="204"/>
                  </a:moveTo>
                  <a:lnTo>
                    <a:pt x="24" y="204"/>
                  </a:lnTo>
                  <a:lnTo>
                    <a:pt x="24" y="200"/>
                  </a:lnTo>
                  <a:lnTo>
                    <a:pt x="20" y="200"/>
                  </a:lnTo>
                  <a:lnTo>
                    <a:pt x="20" y="196"/>
                  </a:lnTo>
                  <a:lnTo>
                    <a:pt x="20" y="188"/>
                  </a:lnTo>
                  <a:lnTo>
                    <a:pt x="24" y="188"/>
                  </a:lnTo>
                  <a:lnTo>
                    <a:pt x="24" y="184"/>
                  </a:lnTo>
                  <a:lnTo>
                    <a:pt x="20" y="180"/>
                  </a:lnTo>
                  <a:lnTo>
                    <a:pt x="20" y="176"/>
                  </a:lnTo>
                  <a:lnTo>
                    <a:pt x="16" y="172"/>
                  </a:lnTo>
                  <a:lnTo>
                    <a:pt x="20" y="172"/>
                  </a:lnTo>
                  <a:lnTo>
                    <a:pt x="16" y="168"/>
                  </a:lnTo>
                  <a:lnTo>
                    <a:pt x="16" y="172"/>
                  </a:lnTo>
                  <a:lnTo>
                    <a:pt x="12" y="172"/>
                  </a:lnTo>
                  <a:lnTo>
                    <a:pt x="12" y="168"/>
                  </a:lnTo>
                  <a:lnTo>
                    <a:pt x="8" y="168"/>
                  </a:lnTo>
                  <a:lnTo>
                    <a:pt x="8" y="164"/>
                  </a:lnTo>
                  <a:lnTo>
                    <a:pt x="8" y="160"/>
                  </a:lnTo>
                  <a:lnTo>
                    <a:pt x="8" y="156"/>
                  </a:lnTo>
                  <a:lnTo>
                    <a:pt x="8" y="160"/>
                  </a:lnTo>
                  <a:lnTo>
                    <a:pt x="4" y="160"/>
                  </a:lnTo>
                  <a:lnTo>
                    <a:pt x="4" y="156"/>
                  </a:lnTo>
                  <a:lnTo>
                    <a:pt x="4" y="160"/>
                  </a:lnTo>
                  <a:lnTo>
                    <a:pt x="0" y="160"/>
                  </a:lnTo>
                  <a:lnTo>
                    <a:pt x="0" y="156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8" y="144"/>
                  </a:lnTo>
                  <a:lnTo>
                    <a:pt x="8" y="140"/>
                  </a:lnTo>
                  <a:lnTo>
                    <a:pt x="8" y="136"/>
                  </a:lnTo>
                  <a:lnTo>
                    <a:pt x="8" y="132"/>
                  </a:lnTo>
                  <a:lnTo>
                    <a:pt x="12" y="128"/>
                  </a:lnTo>
                  <a:lnTo>
                    <a:pt x="16" y="124"/>
                  </a:lnTo>
                  <a:lnTo>
                    <a:pt x="20" y="124"/>
                  </a:lnTo>
                  <a:lnTo>
                    <a:pt x="20" y="120"/>
                  </a:lnTo>
                  <a:lnTo>
                    <a:pt x="20" y="116"/>
                  </a:lnTo>
                  <a:lnTo>
                    <a:pt x="24" y="116"/>
                  </a:lnTo>
                  <a:lnTo>
                    <a:pt x="28" y="112"/>
                  </a:lnTo>
                  <a:lnTo>
                    <a:pt x="28" y="116"/>
                  </a:lnTo>
                  <a:lnTo>
                    <a:pt x="32" y="116"/>
                  </a:lnTo>
                  <a:lnTo>
                    <a:pt x="32" y="112"/>
                  </a:lnTo>
                  <a:lnTo>
                    <a:pt x="36" y="112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0" y="120"/>
                  </a:lnTo>
                  <a:lnTo>
                    <a:pt x="40" y="124"/>
                  </a:lnTo>
                  <a:lnTo>
                    <a:pt x="44" y="124"/>
                  </a:lnTo>
                  <a:lnTo>
                    <a:pt x="44" y="120"/>
                  </a:lnTo>
                  <a:lnTo>
                    <a:pt x="48" y="120"/>
                  </a:lnTo>
                  <a:lnTo>
                    <a:pt x="48" y="116"/>
                  </a:lnTo>
                  <a:lnTo>
                    <a:pt x="52" y="112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56" y="104"/>
                  </a:lnTo>
                  <a:lnTo>
                    <a:pt x="56" y="100"/>
                  </a:lnTo>
                  <a:lnTo>
                    <a:pt x="56" y="96"/>
                  </a:lnTo>
                  <a:lnTo>
                    <a:pt x="56" y="92"/>
                  </a:lnTo>
                  <a:lnTo>
                    <a:pt x="60" y="92"/>
                  </a:lnTo>
                  <a:lnTo>
                    <a:pt x="56" y="92"/>
                  </a:lnTo>
                  <a:lnTo>
                    <a:pt x="56" y="88"/>
                  </a:lnTo>
                  <a:lnTo>
                    <a:pt x="60" y="88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8" y="80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8" y="68"/>
                  </a:lnTo>
                  <a:lnTo>
                    <a:pt x="72" y="68"/>
                  </a:lnTo>
                  <a:lnTo>
                    <a:pt x="72" y="64"/>
                  </a:lnTo>
                  <a:lnTo>
                    <a:pt x="72" y="60"/>
                  </a:lnTo>
                  <a:lnTo>
                    <a:pt x="72" y="56"/>
                  </a:lnTo>
                  <a:lnTo>
                    <a:pt x="76" y="56"/>
                  </a:lnTo>
                  <a:lnTo>
                    <a:pt x="76" y="52"/>
                  </a:lnTo>
                  <a:lnTo>
                    <a:pt x="76" y="48"/>
                  </a:lnTo>
                  <a:lnTo>
                    <a:pt x="80" y="44"/>
                  </a:lnTo>
                  <a:lnTo>
                    <a:pt x="80" y="40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28"/>
                  </a:lnTo>
                  <a:lnTo>
                    <a:pt x="92" y="28"/>
                  </a:lnTo>
                  <a:lnTo>
                    <a:pt x="92" y="24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96" y="16"/>
                  </a:lnTo>
                  <a:lnTo>
                    <a:pt x="92" y="16"/>
                  </a:lnTo>
                  <a:lnTo>
                    <a:pt x="88" y="16"/>
                  </a:lnTo>
                  <a:lnTo>
                    <a:pt x="88" y="12"/>
                  </a:lnTo>
                  <a:lnTo>
                    <a:pt x="88" y="8"/>
                  </a:lnTo>
                  <a:lnTo>
                    <a:pt x="88" y="4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0" y="44"/>
                  </a:lnTo>
                  <a:lnTo>
                    <a:pt x="100" y="48"/>
                  </a:lnTo>
                  <a:lnTo>
                    <a:pt x="104" y="48"/>
                  </a:lnTo>
                  <a:lnTo>
                    <a:pt x="104" y="52"/>
                  </a:lnTo>
                  <a:lnTo>
                    <a:pt x="108" y="56"/>
                  </a:lnTo>
                  <a:lnTo>
                    <a:pt x="108" y="60"/>
                  </a:lnTo>
                  <a:lnTo>
                    <a:pt x="104" y="60"/>
                  </a:lnTo>
                  <a:lnTo>
                    <a:pt x="100" y="60"/>
                  </a:lnTo>
                  <a:lnTo>
                    <a:pt x="96" y="60"/>
                  </a:lnTo>
                  <a:lnTo>
                    <a:pt x="92" y="60"/>
                  </a:lnTo>
                  <a:lnTo>
                    <a:pt x="88" y="60"/>
                  </a:lnTo>
                  <a:lnTo>
                    <a:pt x="84" y="64"/>
                  </a:lnTo>
                  <a:lnTo>
                    <a:pt x="88" y="72"/>
                  </a:lnTo>
                  <a:lnTo>
                    <a:pt x="92" y="76"/>
                  </a:lnTo>
                  <a:lnTo>
                    <a:pt x="96" y="80"/>
                  </a:lnTo>
                  <a:lnTo>
                    <a:pt x="100" y="80"/>
                  </a:lnTo>
                  <a:lnTo>
                    <a:pt x="100" y="84"/>
                  </a:lnTo>
                  <a:lnTo>
                    <a:pt x="104" y="88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8" y="96"/>
                  </a:lnTo>
                  <a:lnTo>
                    <a:pt x="108" y="100"/>
                  </a:lnTo>
                  <a:lnTo>
                    <a:pt x="108" y="104"/>
                  </a:lnTo>
                  <a:lnTo>
                    <a:pt x="108" y="108"/>
                  </a:lnTo>
                  <a:lnTo>
                    <a:pt x="104" y="108"/>
                  </a:lnTo>
                  <a:lnTo>
                    <a:pt x="104" y="112"/>
                  </a:lnTo>
                  <a:lnTo>
                    <a:pt x="100" y="112"/>
                  </a:lnTo>
                  <a:lnTo>
                    <a:pt x="100" y="116"/>
                  </a:lnTo>
                  <a:lnTo>
                    <a:pt x="100" y="120"/>
                  </a:lnTo>
                  <a:lnTo>
                    <a:pt x="96" y="124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2" y="132"/>
                  </a:lnTo>
                  <a:lnTo>
                    <a:pt x="92" y="136"/>
                  </a:lnTo>
                  <a:lnTo>
                    <a:pt x="96" y="136"/>
                  </a:lnTo>
                  <a:lnTo>
                    <a:pt x="92" y="140"/>
                  </a:lnTo>
                  <a:lnTo>
                    <a:pt x="92" y="144"/>
                  </a:lnTo>
                  <a:lnTo>
                    <a:pt x="96" y="148"/>
                  </a:lnTo>
                  <a:lnTo>
                    <a:pt x="96" y="152"/>
                  </a:lnTo>
                  <a:lnTo>
                    <a:pt x="96" y="156"/>
                  </a:lnTo>
                  <a:lnTo>
                    <a:pt x="96" y="160"/>
                  </a:lnTo>
                  <a:lnTo>
                    <a:pt x="100" y="160"/>
                  </a:lnTo>
                  <a:lnTo>
                    <a:pt x="100" y="164"/>
                  </a:lnTo>
                  <a:lnTo>
                    <a:pt x="100" y="168"/>
                  </a:lnTo>
                  <a:lnTo>
                    <a:pt x="100" y="172"/>
                  </a:lnTo>
                  <a:lnTo>
                    <a:pt x="104" y="172"/>
                  </a:lnTo>
                  <a:lnTo>
                    <a:pt x="104" y="176"/>
                  </a:lnTo>
                  <a:lnTo>
                    <a:pt x="108" y="180"/>
                  </a:lnTo>
                  <a:lnTo>
                    <a:pt x="112" y="184"/>
                  </a:lnTo>
                  <a:lnTo>
                    <a:pt x="116" y="188"/>
                  </a:lnTo>
                  <a:lnTo>
                    <a:pt x="116" y="192"/>
                  </a:lnTo>
                  <a:lnTo>
                    <a:pt x="116" y="196"/>
                  </a:lnTo>
                  <a:lnTo>
                    <a:pt x="116" y="200"/>
                  </a:lnTo>
                  <a:lnTo>
                    <a:pt x="120" y="200"/>
                  </a:lnTo>
                  <a:lnTo>
                    <a:pt x="116" y="200"/>
                  </a:lnTo>
                  <a:lnTo>
                    <a:pt x="116" y="204"/>
                  </a:lnTo>
                  <a:lnTo>
                    <a:pt x="116" y="208"/>
                  </a:lnTo>
                  <a:lnTo>
                    <a:pt x="116" y="212"/>
                  </a:lnTo>
                  <a:lnTo>
                    <a:pt x="116" y="208"/>
                  </a:lnTo>
                  <a:lnTo>
                    <a:pt x="112" y="208"/>
                  </a:lnTo>
                  <a:lnTo>
                    <a:pt x="108" y="208"/>
                  </a:lnTo>
                  <a:lnTo>
                    <a:pt x="108" y="204"/>
                  </a:lnTo>
                  <a:lnTo>
                    <a:pt x="104" y="204"/>
                  </a:lnTo>
                  <a:lnTo>
                    <a:pt x="100" y="204"/>
                  </a:lnTo>
                  <a:lnTo>
                    <a:pt x="96" y="204"/>
                  </a:lnTo>
                  <a:lnTo>
                    <a:pt x="92" y="204"/>
                  </a:lnTo>
                  <a:lnTo>
                    <a:pt x="88" y="204"/>
                  </a:lnTo>
                  <a:lnTo>
                    <a:pt x="80" y="204"/>
                  </a:lnTo>
                  <a:lnTo>
                    <a:pt x="72" y="204"/>
                  </a:lnTo>
                  <a:lnTo>
                    <a:pt x="72" y="200"/>
                  </a:lnTo>
                  <a:lnTo>
                    <a:pt x="68" y="200"/>
                  </a:lnTo>
                  <a:lnTo>
                    <a:pt x="64" y="200"/>
                  </a:lnTo>
                  <a:lnTo>
                    <a:pt x="60" y="200"/>
                  </a:lnTo>
                  <a:lnTo>
                    <a:pt x="56" y="200"/>
                  </a:lnTo>
                  <a:lnTo>
                    <a:pt x="52" y="200"/>
                  </a:lnTo>
                  <a:lnTo>
                    <a:pt x="48" y="200"/>
                  </a:lnTo>
                  <a:lnTo>
                    <a:pt x="44" y="200"/>
                  </a:lnTo>
                  <a:lnTo>
                    <a:pt x="44" y="204"/>
                  </a:lnTo>
                  <a:lnTo>
                    <a:pt x="40" y="204"/>
                  </a:lnTo>
                  <a:lnTo>
                    <a:pt x="32" y="204"/>
                  </a:lnTo>
                  <a:lnTo>
                    <a:pt x="28" y="20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7" name="Freeform 124"/>
            <p:cNvSpPr>
              <a:spLocks noEditPoints="1"/>
            </p:cNvSpPr>
            <p:nvPr>
              <p:custDataLst>
                <p:tags r:id="rId319"/>
              </p:custDataLst>
            </p:nvPr>
          </p:nvSpPr>
          <p:spPr bwMode="gray">
            <a:xfrm>
              <a:off x="3808048" y="4124340"/>
              <a:ext cx="59323" cy="65255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8" y="8"/>
                </a:cxn>
                <a:cxn ang="0">
                  <a:pos x="4" y="8"/>
                </a:cxn>
                <a:cxn ang="0">
                  <a:pos x="36" y="12"/>
                </a:cxn>
                <a:cxn ang="0">
                  <a:pos x="36" y="8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36" y="24"/>
                </a:cxn>
                <a:cxn ang="0">
                  <a:pos x="36" y="20"/>
                </a:cxn>
                <a:cxn ang="0">
                  <a:pos x="40" y="20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32" y="40"/>
                </a:cxn>
                <a:cxn ang="0">
                  <a:pos x="32" y="40"/>
                </a:cxn>
                <a:cxn ang="0">
                  <a:pos x="32" y="36"/>
                </a:cxn>
                <a:cxn ang="0">
                  <a:pos x="32" y="40"/>
                </a:cxn>
                <a:cxn ang="0">
                  <a:pos x="32" y="40"/>
                </a:cxn>
                <a:cxn ang="0">
                  <a:pos x="24" y="44"/>
                </a:cxn>
                <a:cxn ang="0">
                  <a:pos x="24" y="40"/>
                </a:cxn>
                <a:cxn ang="0">
                  <a:pos x="24" y="40"/>
                </a:cxn>
                <a:cxn ang="0">
                  <a:pos x="24" y="36"/>
                </a:cxn>
                <a:cxn ang="0">
                  <a:pos x="28" y="40"/>
                </a:cxn>
                <a:cxn ang="0">
                  <a:pos x="28" y="40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16" y="40"/>
                </a:cxn>
                <a:cxn ang="0">
                  <a:pos x="16" y="44"/>
                </a:cxn>
                <a:cxn ang="0">
                  <a:pos x="16" y="44"/>
                </a:cxn>
                <a:cxn ang="0">
                  <a:pos x="16" y="44"/>
                </a:cxn>
              </a:cxnLst>
              <a:rect l="0" t="0" r="r" b="b"/>
              <a:pathLst>
                <a:path w="40" h="44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close/>
                  <a:moveTo>
                    <a:pt x="36" y="12"/>
                  </a:moveTo>
                  <a:lnTo>
                    <a:pt x="36" y="12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close/>
                  <a:moveTo>
                    <a:pt x="16" y="12"/>
                  </a:move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close/>
                  <a:moveTo>
                    <a:pt x="36" y="24"/>
                  </a:move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36" y="24"/>
                  </a:lnTo>
                  <a:close/>
                  <a:moveTo>
                    <a:pt x="32" y="40"/>
                  </a:move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close/>
                  <a:moveTo>
                    <a:pt x="28" y="44"/>
                  </a:move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4"/>
                  </a:lnTo>
                  <a:close/>
                  <a:moveTo>
                    <a:pt x="12" y="44"/>
                  </a:move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8" name="Freeform 125"/>
            <p:cNvSpPr>
              <a:spLocks/>
            </p:cNvSpPr>
            <p:nvPr>
              <p:custDataLst>
                <p:tags r:id="rId320"/>
              </p:custDataLst>
            </p:nvPr>
          </p:nvSpPr>
          <p:spPr bwMode="gray">
            <a:xfrm>
              <a:off x="4700852" y="4296376"/>
              <a:ext cx="290681" cy="237290"/>
            </a:xfrm>
            <a:custGeom>
              <a:avLst/>
              <a:gdLst/>
              <a:ahLst/>
              <a:cxnLst>
                <a:cxn ang="0">
                  <a:pos x="88" y="112"/>
                </a:cxn>
                <a:cxn ang="0">
                  <a:pos x="76" y="108"/>
                </a:cxn>
                <a:cxn ang="0">
                  <a:pos x="64" y="120"/>
                </a:cxn>
                <a:cxn ang="0">
                  <a:pos x="64" y="124"/>
                </a:cxn>
                <a:cxn ang="0">
                  <a:pos x="64" y="140"/>
                </a:cxn>
                <a:cxn ang="0">
                  <a:pos x="56" y="140"/>
                </a:cxn>
                <a:cxn ang="0">
                  <a:pos x="44" y="136"/>
                </a:cxn>
                <a:cxn ang="0">
                  <a:pos x="36" y="136"/>
                </a:cxn>
                <a:cxn ang="0">
                  <a:pos x="28" y="148"/>
                </a:cxn>
                <a:cxn ang="0">
                  <a:pos x="28" y="156"/>
                </a:cxn>
                <a:cxn ang="0">
                  <a:pos x="24" y="152"/>
                </a:cxn>
                <a:cxn ang="0">
                  <a:pos x="12" y="136"/>
                </a:cxn>
                <a:cxn ang="0">
                  <a:pos x="8" y="124"/>
                </a:cxn>
                <a:cxn ang="0">
                  <a:pos x="4" y="112"/>
                </a:cxn>
                <a:cxn ang="0">
                  <a:pos x="4" y="96"/>
                </a:cxn>
                <a:cxn ang="0">
                  <a:pos x="4" y="88"/>
                </a:cxn>
                <a:cxn ang="0">
                  <a:pos x="8" y="72"/>
                </a:cxn>
                <a:cxn ang="0">
                  <a:pos x="16" y="64"/>
                </a:cxn>
                <a:cxn ang="0">
                  <a:pos x="28" y="60"/>
                </a:cxn>
                <a:cxn ang="0">
                  <a:pos x="36" y="60"/>
                </a:cxn>
                <a:cxn ang="0">
                  <a:pos x="52" y="56"/>
                </a:cxn>
                <a:cxn ang="0">
                  <a:pos x="64" y="52"/>
                </a:cxn>
                <a:cxn ang="0">
                  <a:pos x="72" y="44"/>
                </a:cxn>
                <a:cxn ang="0">
                  <a:pos x="76" y="36"/>
                </a:cxn>
                <a:cxn ang="0">
                  <a:pos x="92" y="36"/>
                </a:cxn>
                <a:cxn ang="0">
                  <a:pos x="104" y="20"/>
                </a:cxn>
                <a:cxn ang="0">
                  <a:pos x="112" y="12"/>
                </a:cxn>
                <a:cxn ang="0">
                  <a:pos x="116" y="4"/>
                </a:cxn>
                <a:cxn ang="0">
                  <a:pos x="128" y="0"/>
                </a:cxn>
                <a:cxn ang="0">
                  <a:pos x="136" y="16"/>
                </a:cxn>
                <a:cxn ang="0">
                  <a:pos x="140" y="32"/>
                </a:cxn>
                <a:cxn ang="0">
                  <a:pos x="136" y="44"/>
                </a:cxn>
                <a:cxn ang="0">
                  <a:pos x="144" y="44"/>
                </a:cxn>
                <a:cxn ang="0">
                  <a:pos x="152" y="52"/>
                </a:cxn>
                <a:cxn ang="0">
                  <a:pos x="164" y="56"/>
                </a:cxn>
                <a:cxn ang="0">
                  <a:pos x="168" y="68"/>
                </a:cxn>
                <a:cxn ang="0">
                  <a:pos x="180" y="80"/>
                </a:cxn>
                <a:cxn ang="0">
                  <a:pos x="180" y="88"/>
                </a:cxn>
                <a:cxn ang="0">
                  <a:pos x="188" y="96"/>
                </a:cxn>
                <a:cxn ang="0">
                  <a:pos x="192" y="100"/>
                </a:cxn>
                <a:cxn ang="0">
                  <a:pos x="196" y="112"/>
                </a:cxn>
                <a:cxn ang="0">
                  <a:pos x="184" y="108"/>
                </a:cxn>
                <a:cxn ang="0">
                  <a:pos x="176" y="108"/>
                </a:cxn>
                <a:cxn ang="0">
                  <a:pos x="164" y="104"/>
                </a:cxn>
                <a:cxn ang="0">
                  <a:pos x="156" y="112"/>
                </a:cxn>
                <a:cxn ang="0">
                  <a:pos x="148" y="112"/>
                </a:cxn>
                <a:cxn ang="0">
                  <a:pos x="132" y="116"/>
                </a:cxn>
                <a:cxn ang="0">
                  <a:pos x="124" y="116"/>
                </a:cxn>
                <a:cxn ang="0">
                  <a:pos x="120" y="128"/>
                </a:cxn>
                <a:cxn ang="0">
                  <a:pos x="108" y="124"/>
                </a:cxn>
                <a:cxn ang="0">
                  <a:pos x="92" y="120"/>
                </a:cxn>
              </a:cxnLst>
              <a:rect l="0" t="0" r="r" b="b"/>
              <a:pathLst>
                <a:path w="196" h="160">
                  <a:moveTo>
                    <a:pt x="92" y="120"/>
                  </a:moveTo>
                  <a:lnTo>
                    <a:pt x="92" y="116"/>
                  </a:lnTo>
                  <a:lnTo>
                    <a:pt x="88" y="116"/>
                  </a:lnTo>
                  <a:lnTo>
                    <a:pt x="88" y="112"/>
                  </a:lnTo>
                  <a:lnTo>
                    <a:pt x="84" y="112"/>
                  </a:lnTo>
                  <a:lnTo>
                    <a:pt x="80" y="112"/>
                  </a:lnTo>
                  <a:lnTo>
                    <a:pt x="80" y="108"/>
                  </a:lnTo>
                  <a:lnTo>
                    <a:pt x="76" y="108"/>
                  </a:lnTo>
                  <a:lnTo>
                    <a:pt x="72" y="112"/>
                  </a:lnTo>
                  <a:lnTo>
                    <a:pt x="68" y="112"/>
                  </a:lnTo>
                  <a:lnTo>
                    <a:pt x="68" y="116"/>
                  </a:lnTo>
                  <a:lnTo>
                    <a:pt x="64" y="120"/>
                  </a:lnTo>
                  <a:lnTo>
                    <a:pt x="64" y="124"/>
                  </a:lnTo>
                  <a:lnTo>
                    <a:pt x="64" y="120"/>
                  </a:lnTo>
                  <a:lnTo>
                    <a:pt x="60" y="124"/>
                  </a:lnTo>
                  <a:lnTo>
                    <a:pt x="64" y="124"/>
                  </a:lnTo>
                  <a:lnTo>
                    <a:pt x="64" y="128"/>
                  </a:lnTo>
                  <a:lnTo>
                    <a:pt x="64" y="132"/>
                  </a:lnTo>
                  <a:lnTo>
                    <a:pt x="64" y="136"/>
                  </a:lnTo>
                  <a:lnTo>
                    <a:pt x="64" y="140"/>
                  </a:lnTo>
                  <a:lnTo>
                    <a:pt x="64" y="136"/>
                  </a:lnTo>
                  <a:lnTo>
                    <a:pt x="60" y="136"/>
                  </a:lnTo>
                  <a:lnTo>
                    <a:pt x="56" y="136"/>
                  </a:lnTo>
                  <a:lnTo>
                    <a:pt x="56" y="140"/>
                  </a:lnTo>
                  <a:lnTo>
                    <a:pt x="56" y="136"/>
                  </a:lnTo>
                  <a:lnTo>
                    <a:pt x="52" y="136"/>
                  </a:lnTo>
                  <a:lnTo>
                    <a:pt x="48" y="136"/>
                  </a:lnTo>
                  <a:lnTo>
                    <a:pt x="44" y="136"/>
                  </a:lnTo>
                  <a:lnTo>
                    <a:pt x="44" y="132"/>
                  </a:lnTo>
                  <a:lnTo>
                    <a:pt x="44" y="136"/>
                  </a:lnTo>
                  <a:lnTo>
                    <a:pt x="40" y="136"/>
                  </a:lnTo>
                  <a:lnTo>
                    <a:pt x="36" y="136"/>
                  </a:lnTo>
                  <a:lnTo>
                    <a:pt x="32" y="136"/>
                  </a:lnTo>
                  <a:lnTo>
                    <a:pt x="32" y="140"/>
                  </a:lnTo>
                  <a:lnTo>
                    <a:pt x="32" y="144"/>
                  </a:lnTo>
                  <a:lnTo>
                    <a:pt x="28" y="148"/>
                  </a:lnTo>
                  <a:lnTo>
                    <a:pt x="32" y="148"/>
                  </a:lnTo>
                  <a:lnTo>
                    <a:pt x="32" y="152"/>
                  </a:lnTo>
                  <a:lnTo>
                    <a:pt x="28" y="152"/>
                  </a:lnTo>
                  <a:lnTo>
                    <a:pt x="28" y="156"/>
                  </a:lnTo>
                  <a:lnTo>
                    <a:pt x="28" y="160"/>
                  </a:lnTo>
                  <a:lnTo>
                    <a:pt x="24" y="160"/>
                  </a:lnTo>
                  <a:lnTo>
                    <a:pt x="24" y="156"/>
                  </a:lnTo>
                  <a:lnTo>
                    <a:pt x="24" y="152"/>
                  </a:lnTo>
                  <a:lnTo>
                    <a:pt x="24" y="148"/>
                  </a:lnTo>
                  <a:lnTo>
                    <a:pt x="20" y="144"/>
                  </a:lnTo>
                  <a:lnTo>
                    <a:pt x="16" y="140"/>
                  </a:lnTo>
                  <a:lnTo>
                    <a:pt x="12" y="136"/>
                  </a:lnTo>
                  <a:lnTo>
                    <a:pt x="12" y="132"/>
                  </a:lnTo>
                  <a:lnTo>
                    <a:pt x="8" y="132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8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4" y="96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8" y="64"/>
                  </a:lnTo>
                  <a:lnTo>
                    <a:pt x="28" y="60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4" y="56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6" y="56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52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72" y="44"/>
                  </a:lnTo>
                  <a:lnTo>
                    <a:pt x="68" y="40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96" y="28"/>
                  </a:lnTo>
                  <a:lnTo>
                    <a:pt x="100" y="24"/>
                  </a:lnTo>
                  <a:lnTo>
                    <a:pt x="104" y="20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08" y="12"/>
                  </a:lnTo>
                  <a:lnTo>
                    <a:pt x="108" y="8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0"/>
                  </a:lnTo>
                  <a:lnTo>
                    <a:pt x="120" y="0"/>
                  </a:lnTo>
                  <a:lnTo>
                    <a:pt x="124" y="0"/>
                  </a:lnTo>
                  <a:lnTo>
                    <a:pt x="128" y="0"/>
                  </a:lnTo>
                  <a:lnTo>
                    <a:pt x="128" y="4"/>
                  </a:lnTo>
                  <a:lnTo>
                    <a:pt x="132" y="8"/>
                  </a:lnTo>
                  <a:lnTo>
                    <a:pt x="136" y="12"/>
                  </a:lnTo>
                  <a:lnTo>
                    <a:pt x="136" y="16"/>
                  </a:lnTo>
                  <a:lnTo>
                    <a:pt x="140" y="20"/>
                  </a:lnTo>
                  <a:lnTo>
                    <a:pt x="140" y="24"/>
                  </a:lnTo>
                  <a:lnTo>
                    <a:pt x="140" y="28"/>
                  </a:lnTo>
                  <a:lnTo>
                    <a:pt x="140" y="32"/>
                  </a:lnTo>
                  <a:lnTo>
                    <a:pt x="136" y="32"/>
                  </a:lnTo>
                  <a:lnTo>
                    <a:pt x="136" y="36"/>
                  </a:lnTo>
                  <a:lnTo>
                    <a:pt x="136" y="40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0" y="40"/>
                  </a:lnTo>
                  <a:lnTo>
                    <a:pt x="144" y="40"/>
                  </a:lnTo>
                  <a:lnTo>
                    <a:pt x="144" y="44"/>
                  </a:lnTo>
                  <a:lnTo>
                    <a:pt x="148" y="44"/>
                  </a:lnTo>
                  <a:lnTo>
                    <a:pt x="148" y="48"/>
                  </a:lnTo>
                  <a:lnTo>
                    <a:pt x="148" y="52"/>
                  </a:lnTo>
                  <a:lnTo>
                    <a:pt x="152" y="52"/>
                  </a:lnTo>
                  <a:lnTo>
                    <a:pt x="156" y="52"/>
                  </a:lnTo>
                  <a:lnTo>
                    <a:pt x="160" y="52"/>
                  </a:lnTo>
                  <a:lnTo>
                    <a:pt x="160" y="56"/>
                  </a:lnTo>
                  <a:lnTo>
                    <a:pt x="164" y="56"/>
                  </a:lnTo>
                  <a:lnTo>
                    <a:pt x="164" y="60"/>
                  </a:lnTo>
                  <a:lnTo>
                    <a:pt x="164" y="64"/>
                  </a:lnTo>
                  <a:lnTo>
                    <a:pt x="164" y="68"/>
                  </a:lnTo>
                  <a:lnTo>
                    <a:pt x="168" y="68"/>
                  </a:lnTo>
                  <a:lnTo>
                    <a:pt x="172" y="72"/>
                  </a:lnTo>
                  <a:lnTo>
                    <a:pt x="176" y="72"/>
                  </a:lnTo>
                  <a:lnTo>
                    <a:pt x="176" y="76"/>
                  </a:lnTo>
                  <a:lnTo>
                    <a:pt x="180" y="80"/>
                  </a:lnTo>
                  <a:lnTo>
                    <a:pt x="180" y="84"/>
                  </a:lnTo>
                  <a:lnTo>
                    <a:pt x="180" y="88"/>
                  </a:lnTo>
                  <a:lnTo>
                    <a:pt x="184" y="88"/>
                  </a:lnTo>
                  <a:lnTo>
                    <a:pt x="180" y="88"/>
                  </a:lnTo>
                  <a:lnTo>
                    <a:pt x="180" y="92"/>
                  </a:lnTo>
                  <a:lnTo>
                    <a:pt x="184" y="92"/>
                  </a:lnTo>
                  <a:lnTo>
                    <a:pt x="188" y="92"/>
                  </a:lnTo>
                  <a:lnTo>
                    <a:pt x="188" y="96"/>
                  </a:lnTo>
                  <a:lnTo>
                    <a:pt x="192" y="96"/>
                  </a:lnTo>
                  <a:lnTo>
                    <a:pt x="192" y="100"/>
                  </a:lnTo>
                  <a:lnTo>
                    <a:pt x="196" y="100"/>
                  </a:lnTo>
                  <a:lnTo>
                    <a:pt x="192" y="100"/>
                  </a:lnTo>
                  <a:lnTo>
                    <a:pt x="192" y="104"/>
                  </a:lnTo>
                  <a:lnTo>
                    <a:pt x="196" y="104"/>
                  </a:lnTo>
                  <a:lnTo>
                    <a:pt x="196" y="108"/>
                  </a:lnTo>
                  <a:lnTo>
                    <a:pt x="196" y="112"/>
                  </a:lnTo>
                  <a:lnTo>
                    <a:pt x="196" y="108"/>
                  </a:lnTo>
                  <a:lnTo>
                    <a:pt x="192" y="108"/>
                  </a:lnTo>
                  <a:lnTo>
                    <a:pt x="188" y="108"/>
                  </a:lnTo>
                  <a:lnTo>
                    <a:pt x="184" y="108"/>
                  </a:lnTo>
                  <a:lnTo>
                    <a:pt x="180" y="108"/>
                  </a:lnTo>
                  <a:lnTo>
                    <a:pt x="176" y="108"/>
                  </a:lnTo>
                  <a:lnTo>
                    <a:pt x="176" y="104"/>
                  </a:lnTo>
                  <a:lnTo>
                    <a:pt x="176" y="108"/>
                  </a:lnTo>
                  <a:lnTo>
                    <a:pt x="172" y="108"/>
                  </a:lnTo>
                  <a:lnTo>
                    <a:pt x="172" y="104"/>
                  </a:lnTo>
                  <a:lnTo>
                    <a:pt x="168" y="104"/>
                  </a:lnTo>
                  <a:lnTo>
                    <a:pt x="164" y="104"/>
                  </a:lnTo>
                  <a:lnTo>
                    <a:pt x="164" y="108"/>
                  </a:lnTo>
                  <a:lnTo>
                    <a:pt x="164" y="112"/>
                  </a:lnTo>
                  <a:lnTo>
                    <a:pt x="160" y="112"/>
                  </a:lnTo>
                  <a:lnTo>
                    <a:pt x="156" y="112"/>
                  </a:lnTo>
                  <a:lnTo>
                    <a:pt x="152" y="108"/>
                  </a:lnTo>
                  <a:lnTo>
                    <a:pt x="148" y="108"/>
                  </a:lnTo>
                  <a:lnTo>
                    <a:pt x="152" y="108"/>
                  </a:lnTo>
                  <a:lnTo>
                    <a:pt x="148" y="112"/>
                  </a:lnTo>
                  <a:lnTo>
                    <a:pt x="144" y="112"/>
                  </a:lnTo>
                  <a:lnTo>
                    <a:pt x="140" y="112"/>
                  </a:lnTo>
                  <a:lnTo>
                    <a:pt x="136" y="116"/>
                  </a:lnTo>
                  <a:lnTo>
                    <a:pt x="132" y="116"/>
                  </a:lnTo>
                  <a:lnTo>
                    <a:pt x="128" y="116"/>
                  </a:lnTo>
                  <a:lnTo>
                    <a:pt x="128" y="112"/>
                  </a:lnTo>
                  <a:lnTo>
                    <a:pt x="128" y="116"/>
                  </a:lnTo>
                  <a:lnTo>
                    <a:pt x="124" y="116"/>
                  </a:lnTo>
                  <a:lnTo>
                    <a:pt x="124" y="120"/>
                  </a:lnTo>
                  <a:lnTo>
                    <a:pt x="124" y="124"/>
                  </a:lnTo>
                  <a:lnTo>
                    <a:pt x="120" y="124"/>
                  </a:lnTo>
                  <a:lnTo>
                    <a:pt x="120" y="128"/>
                  </a:lnTo>
                  <a:lnTo>
                    <a:pt x="116" y="128"/>
                  </a:lnTo>
                  <a:lnTo>
                    <a:pt x="116" y="124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0" y="124"/>
                  </a:lnTo>
                  <a:lnTo>
                    <a:pt x="100" y="120"/>
                  </a:lnTo>
                  <a:lnTo>
                    <a:pt x="96" y="120"/>
                  </a:lnTo>
                  <a:lnTo>
                    <a:pt x="92" y="1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9" name="Freeform 126"/>
            <p:cNvSpPr>
              <a:spLocks/>
            </p:cNvSpPr>
            <p:nvPr>
              <p:custDataLst>
                <p:tags r:id="rId321"/>
              </p:custDataLst>
            </p:nvPr>
          </p:nvSpPr>
          <p:spPr bwMode="gray">
            <a:xfrm>
              <a:off x="4677123" y="3953787"/>
              <a:ext cx="237290" cy="437503"/>
            </a:xfrm>
            <a:custGeom>
              <a:avLst/>
              <a:gdLst/>
              <a:ahLst/>
              <a:cxnLst>
                <a:cxn ang="0">
                  <a:pos x="24" y="251"/>
                </a:cxn>
                <a:cxn ang="0">
                  <a:pos x="32" y="251"/>
                </a:cxn>
                <a:cxn ang="0">
                  <a:pos x="28" y="243"/>
                </a:cxn>
                <a:cxn ang="0">
                  <a:pos x="24" y="235"/>
                </a:cxn>
                <a:cxn ang="0">
                  <a:pos x="24" y="223"/>
                </a:cxn>
                <a:cxn ang="0">
                  <a:pos x="24" y="211"/>
                </a:cxn>
                <a:cxn ang="0">
                  <a:pos x="16" y="199"/>
                </a:cxn>
                <a:cxn ang="0">
                  <a:pos x="16" y="191"/>
                </a:cxn>
                <a:cxn ang="0">
                  <a:pos x="0" y="175"/>
                </a:cxn>
                <a:cxn ang="0">
                  <a:pos x="4" y="167"/>
                </a:cxn>
                <a:cxn ang="0">
                  <a:pos x="4" y="159"/>
                </a:cxn>
                <a:cxn ang="0">
                  <a:pos x="16" y="139"/>
                </a:cxn>
                <a:cxn ang="0">
                  <a:pos x="32" y="119"/>
                </a:cxn>
                <a:cxn ang="0">
                  <a:pos x="36" y="71"/>
                </a:cxn>
                <a:cxn ang="0">
                  <a:pos x="32" y="52"/>
                </a:cxn>
                <a:cxn ang="0">
                  <a:pos x="32" y="44"/>
                </a:cxn>
                <a:cxn ang="0">
                  <a:pos x="28" y="28"/>
                </a:cxn>
                <a:cxn ang="0">
                  <a:pos x="40" y="0"/>
                </a:cxn>
                <a:cxn ang="0">
                  <a:pos x="84" y="24"/>
                </a:cxn>
                <a:cxn ang="0">
                  <a:pos x="144" y="63"/>
                </a:cxn>
                <a:cxn ang="0">
                  <a:pos x="160" y="95"/>
                </a:cxn>
                <a:cxn ang="0">
                  <a:pos x="156" y="143"/>
                </a:cxn>
                <a:cxn ang="0">
                  <a:pos x="152" y="143"/>
                </a:cxn>
                <a:cxn ang="0">
                  <a:pos x="148" y="143"/>
                </a:cxn>
                <a:cxn ang="0">
                  <a:pos x="144" y="151"/>
                </a:cxn>
                <a:cxn ang="0">
                  <a:pos x="144" y="155"/>
                </a:cxn>
                <a:cxn ang="0">
                  <a:pos x="136" y="163"/>
                </a:cxn>
                <a:cxn ang="0">
                  <a:pos x="136" y="171"/>
                </a:cxn>
                <a:cxn ang="0">
                  <a:pos x="132" y="175"/>
                </a:cxn>
                <a:cxn ang="0">
                  <a:pos x="132" y="191"/>
                </a:cxn>
                <a:cxn ang="0">
                  <a:pos x="128" y="199"/>
                </a:cxn>
                <a:cxn ang="0">
                  <a:pos x="132" y="199"/>
                </a:cxn>
                <a:cxn ang="0">
                  <a:pos x="140" y="211"/>
                </a:cxn>
                <a:cxn ang="0">
                  <a:pos x="140" y="219"/>
                </a:cxn>
                <a:cxn ang="0">
                  <a:pos x="144" y="231"/>
                </a:cxn>
                <a:cxn ang="0">
                  <a:pos x="132" y="235"/>
                </a:cxn>
                <a:cxn ang="0">
                  <a:pos x="124" y="239"/>
                </a:cxn>
                <a:cxn ang="0">
                  <a:pos x="124" y="247"/>
                </a:cxn>
                <a:cxn ang="0">
                  <a:pos x="120" y="251"/>
                </a:cxn>
                <a:cxn ang="0">
                  <a:pos x="112" y="259"/>
                </a:cxn>
                <a:cxn ang="0">
                  <a:pos x="108" y="263"/>
                </a:cxn>
                <a:cxn ang="0">
                  <a:pos x="100" y="267"/>
                </a:cxn>
                <a:cxn ang="0">
                  <a:pos x="84" y="267"/>
                </a:cxn>
                <a:cxn ang="0">
                  <a:pos x="84" y="271"/>
                </a:cxn>
                <a:cxn ang="0">
                  <a:pos x="84" y="279"/>
                </a:cxn>
                <a:cxn ang="0">
                  <a:pos x="80" y="283"/>
                </a:cxn>
                <a:cxn ang="0">
                  <a:pos x="68" y="287"/>
                </a:cxn>
                <a:cxn ang="0">
                  <a:pos x="60" y="287"/>
                </a:cxn>
                <a:cxn ang="0">
                  <a:pos x="52" y="295"/>
                </a:cxn>
                <a:cxn ang="0">
                  <a:pos x="48" y="287"/>
                </a:cxn>
                <a:cxn ang="0">
                  <a:pos x="40" y="295"/>
                </a:cxn>
                <a:cxn ang="0">
                  <a:pos x="36" y="295"/>
                </a:cxn>
                <a:cxn ang="0">
                  <a:pos x="32" y="295"/>
                </a:cxn>
                <a:cxn ang="0">
                  <a:pos x="32" y="291"/>
                </a:cxn>
                <a:cxn ang="0">
                  <a:pos x="28" y="283"/>
                </a:cxn>
                <a:cxn ang="0">
                  <a:pos x="20" y="271"/>
                </a:cxn>
                <a:cxn ang="0">
                  <a:pos x="8" y="255"/>
                </a:cxn>
                <a:cxn ang="0">
                  <a:pos x="12" y="251"/>
                </a:cxn>
              </a:cxnLst>
              <a:rect l="0" t="0" r="r" b="b"/>
              <a:pathLst>
                <a:path w="160" h="295">
                  <a:moveTo>
                    <a:pt x="12" y="251"/>
                  </a:moveTo>
                  <a:lnTo>
                    <a:pt x="16" y="251"/>
                  </a:lnTo>
                  <a:lnTo>
                    <a:pt x="16" y="251"/>
                  </a:lnTo>
                  <a:lnTo>
                    <a:pt x="20" y="251"/>
                  </a:lnTo>
                  <a:lnTo>
                    <a:pt x="20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8" y="251"/>
                  </a:lnTo>
                  <a:lnTo>
                    <a:pt x="28" y="251"/>
                  </a:lnTo>
                  <a:lnTo>
                    <a:pt x="28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28" y="243"/>
                  </a:lnTo>
                  <a:lnTo>
                    <a:pt x="28" y="243"/>
                  </a:lnTo>
                  <a:lnTo>
                    <a:pt x="28" y="239"/>
                  </a:lnTo>
                  <a:lnTo>
                    <a:pt x="24" y="239"/>
                  </a:lnTo>
                  <a:lnTo>
                    <a:pt x="24" y="239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1"/>
                  </a:lnTo>
                  <a:lnTo>
                    <a:pt x="24" y="231"/>
                  </a:lnTo>
                  <a:lnTo>
                    <a:pt x="24" y="227"/>
                  </a:lnTo>
                  <a:lnTo>
                    <a:pt x="24" y="227"/>
                  </a:lnTo>
                  <a:lnTo>
                    <a:pt x="24" y="223"/>
                  </a:lnTo>
                  <a:lnTo>
                    <a:pt x="24" y="223"/>
                  </a:lnTo>
                  <a:lnTo>
                    <a:pt x="24" y="223"/>
                  </a:lnTo>
                  <a:lnTo>
                    <a:pt x="24" y="219"/>
                  </a:lnTo>
                  <a:lnTo>
                    <a:pt x="24" y="219"/>
                  </a:lnTo>
                  <a:lnTo>
                    <a:pt x="24" y="215"/>
                  </a:lnTo>
                  <a:lnTo>
                    <a:pt x="24" y="211"/>
                  </a:lnTo>
                  <a:lnTo>
                    <a:pt x="24" y="211"/>
                  </a:lnTo>
                  <a:lnTo>
                    <a:pt x="24" y="211"/>
                  </a:lnTo>
                  <a:lnTo>
                    <a:pt x="24" y="211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0" y="199"/>
                  </a:lnTo>
                  <a:lnTo>
                    <a:pt x="20" y="199"/>
                  </a:lnTo>
                  <a:lnTo>
                    <a:pt x="20" y="199"/>
                  </a:lnTo>
                  <a:lnTo>
                    <a:pt x="16" y="199"/>
                  </a:lnTo>
                  <a:lnTo>
                    <a:pt x="16" y="199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2" y="191"/>
                  </a:lnTo>
                  <a:lnTo>
                    <a:pt x="8" y="191"/>
                  </a:lnTo>
                  <a:lnTo>
                    <a:pt x="8" y="187"/>
                  </a:lnTo>
                  <a:lnTo>
                    <a:pt x="4" y="183"/>
                  </a:lnTo>
                  <a:lnTo>
                    <a:pt x="4" y="179"/>
                  </a:lnTo>
                  <a:lnTo>
                    <a:pt x="4" y="179"/>
                  </a:lnTo>
                  <a:lnTo>
                    <a:pt x="4" y="179"/>
                  </a:lnTo>
                  <a:lnTo>
                    <a:pt x="0" y="175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4" y="167"/>
                  </a:lnTo>
                  <a:lnTo>
                    <a:pt x="4" y="167"/>
                  </a:lnTo>
                  <a:lnTo>
                    <a:pt x="4" y="167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8" y="155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6" y="143"/>
                  </a:lnTo>
                  <a:lnTo>
                    <a:pt x="16" y="139"/>
                  </a:lnTo>
                  <a:lnTo>
                    <a:pt x="24" y="131"/>
                  </a:lnTo>
                  <a:lnTo>
                    <a:pt x="24" y="127"/>
                  </a:lnTo>
                  <a:lnTo>
                    <a:pt x="28" y="127"/>
                  </a:lnTo>
                  <a:lnTo>
                    <a:pt x="28" y="123"/>
                  </a:lnTo>
                  <a:lnTo>
                    <a:pt x="32" y="123"/>
                  </a:lnTo>
                  <a:lnTo>
                    <a:pt x="32" y="123"/>
                  </a:lnTo>
                  <a:lnTo>
                    <a:pt x="32" y="123"/>
                  </a:lnTo>
                  <a:lnTo>
                    <a:pt x="32" y="119"/>
                  </a:lnTo>
                  <a:lnTo>
                    <a:pt x="32" y="111"/>
                  </a:lnTo>
                  <a:lnTo>
                    <a:pt x="32" y="99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32" y="87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6" y="71"/>
                  </a:lnTo>
                  <a:lnTo>
                    <a:pt x="36" y="67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59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52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8" y="16"/>
                  </a:lnTo>
                  <a:lnTo>
                    <a:pt x="76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8"/>
                  </a:lnTo>
                  <a:lnTo>
                    <a:pt x="96" y="32"/>
                  </a:lnTo>
                  <a:lnTo>
                    <a:pt x="104" y="40"/>
                  </a:lnTo>
                  <a:lnTo>
                    <a:pt x="116" y="44"/>
                  </a:lnTo>
                  <a:lnTo>
                    <a:pt x="120" y="48"/>
                  </a:lnTo>
                  <a:lnTo>
                    <a:pt x="128" y="52"/>
                  </a:lnTo>
                  <a:lnTo>
                    <a:pt x="136" y="55"/>
                  </a:lnTo>
                  <a:lnTo>
                    <a:pt x="144" y="63"/>
                  </a:lnTo>
                  <a:lnTo>
                    <a:pt x="152" y="67"/>
                  </a:lnTo>
                  <a:lnTo>
                    <a:pt x="160" y="71"/>
                  </a:lnTo>
                  <a:lnTo>
                    <a:pt x="160" y="71"/>
                  </a:lnTo>
                  <a:lnTo>
                    <a:pt x="160" y="75"/>
                  </a:lnTo>
                  <a:lnTo>
                    <a:pt x="160" y="83"/>
                  </a:lnTo>
                  <a:lnTo>
                    <a:pt x="160" y="87"/>
                  </a:lnTo>
                  <a:lnTo>
                    <a:pt x="160" y="91"/>
                  </a:lnTo>
                  <a:lnTo>
                    <a:pt x="160" y="95"/>
                  </a:lnTo>
                  <a:lnTo>
                    <a:pt x="160" y="131"/>
                  </a:lnTo>
                  <a:lnTo>
                    <a:pt x="160" y="135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56" y="143"/>
                  </a:lnTo>
                  <a:lnTo>
                    <a:pt x="156" y="143"/>
                  </a:lnTo>
                  <a:lnTo>
                    <a:pt x="156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0" y="155"/>
                  </a:lnTo>
                  <a:lnTo>
                    <a:pt x="140" y="159"/>
                  </a:lnTo>
                  <a:lnTo>
                    <a:pt x="140" y="159"/>
                  </a:lnTo>
                  <a:lnTo>
                    <a:pt x="140" y="159"/>
                  </a:lnTo>
                  <a:lnTo>
                    <a:pt x="140" y="163"/>
                  </a:lnTo>
                  <a:lnTo>
                    <a:pt x="140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36" y="171"/>
                  </a:lnTo>
                  <a:lnTo>
                    <a:pt x="136" y="171"/>
                  </a:lnTo>
                  <a:lnTo>
                    <a:pt x="140" y="171"/>
                  </a:lnTo>
                  <a:lnTo>
                    <a:pt x="140" y="171"/>
                  </a:lnTo>
                  <a:lnTo>
                    <a:pt x="140" y="171"/>
                  </a:lnTo>
                  <a:lnTo>
                    <a:pt x="136" y="175"/>
                  </a:lnTo>
                  <a:lnTo>
                    <a:pt x="136" y="175"/>
                  </a:lnTo>
                  <a:lnTo>
                    <a:pt x="136" y="175"/>
                  </a:lnTo>
                  <a:lnTo>
                    <a:pt x="132" y="175"/>
                  </a:lnTo>
                  <a:lnTo>
                    <a:pt x="132" y="175"/>
                  </a:lnTo>
                  <a:lnTo>
                    <a:pt x="132" y="179"/>
                  </a:lnTo>
                  <a:lnTo>
                    <a:pt x="132" y="183"/>
                  </a:lnTo>
                  <a:lnTo>
                    <a:pt x="132" y="183"/>
                  </a:lnTo>
                  <a:lnTo>
                    <a:pt x="136" y="187"/>
                  </a:lnTo>
                  <a:lnTo>
                    <a:pt x="136" y="187"/>
                  </a:lnTo>
                  <a:lnTo>
                    <a:pt x="136" y="187"/>
                  </a:lnTo>
                  <a:lnTo>
                    <a:pt x="132" y="191"/>
                  </a:lnTo>
                  <a:lnTo>
                    <a:pt x="132" y="191"/>
                  </a:lnTo>
                  <a:lnTo>
                    <a:pt x="132" y="191"/>
                  </a:lnTo>
                  <a:lnTo>
                    <a:pt x="128" y="191"/>
                  </a:lnTo>
                  <a:lnTo>
                    <a:pt x="128" y="195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6" y="199"/>
                  </a:lnTo>
                  <a:lnTo>
                    <a:pt x="136" y="199"/>
                  </a:lnTo>
                  <a:lnTo>
                    <a:pt x="136" y="203"/>
                  </a:lnTo>
                  <a:lnTo>
                    <a:pt x="136" y="207"/>
                  </a:lnTo>
                  <a:lnTo>
                    <a:pt x="136" y="211"/>
                  </a:lnTo>
                  <a:lnTo>
                    <a:pt x="140" y="211"/>
                  </a:lnTo>
                  <a:lnTo>
                    <a:pt x="140" y="211"/>
                  </a:lnTo>
                  <a:lnTo>
                    <a:pt x="140" y="215"/>
                  </a:lnTo>
                  <a:lnTo>
                    <a:pt x="140" y="215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23"/>
                  </a:lnTo>
                  <a:lnTo>
                    <a:pt x="140" y="223"/>
                  </a:lnTo>
                  <a:lnTo>
                    <a:pt x="144" y="223"/>
                  </a:lnTo>
                  <a:lnTo>
                    <a:pt x="144" y="227"/>
                  </a:lnTo>
                  <a:lnTo>
                    <a:pt x="144" y="227"/>
                  </a:lnTo>
                  <a:lnTo>
                    <a:pt x="144" y="231"/>
                  </a:lnTo>
                  <a:lnTo>
                    <a:pt x="144" y="231"/>
                  </a:lnTo>
                  <a:lnTo>
                    <a:pt x="144" y="231"/>
                  </a:lnTo>
                  <a:lnTo>
                    <a:pt x="140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2" y="231"/>
                  </a:lnTo>
                  <a:lnTo>
                    <a:pt x="132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43"/>
                  </a:lnTo>
                  <a:lnTo>
                    <a:pt x="128" y="243"/>
                  </a:lnTo>
                  <a:lnTo>
                    <a:pt x="124" y="243"/>
                  </a:lnTo>
                  <a:lnTo>
                    <a:pt x="124" y="243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0" y="247"/>
                  </a:lnTo>
                  <a:lnTo>
                    <a:pt x="120" y="247"/>
                  </a:lnTo>
                  <a:lnTo>
                    <a:pt x="120" y="247"/>
                  </a:lnTo>
                  <a:lnTo>
                    <a:pt x="120" y="247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16" y="255"/>
                  </a:lnTo>
                  <a:lnTo>
                    <a:pt x="116" y="255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0" y="267"/>
                  </a:lnTo>
                  <a:lnTo>
                    <a:pt x="100" y="267"/>
                  </a:lnTo>
                  <a:lnTo>
                    <a:pt x="100" y="267"/>
                  </a:lnTo>
                  <a:lnTo>
                    <a:pt x="100" y="267"/>
                  </a:lnTo>
                  <a:lnTo>
                    <a:pt x="96" y="267"/>
                  </a:lnTo>
                  <a:lnTo>
                    <a:pt x="92" y="267"/>
                  </a:lnTo>
                  <a:lnTo>
                    <a:pt x="92" y="267"/>
                  </a:lnTo>
                  <a:lnTo>
                    <a:pt x="88" y="267"/>
                  </a:lnTo>
                  <a:lnTo>
                    <a:pt x="88" y="267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8" y="275"/>
                  </a:lnTo>
                  <a:lnTo>
                    <a:pt x="88" y="275"/>
                  </a:lnTo>
                  <a:lnTo>
                    <a:pt x="84" y="275"/>
                  </a:lnTo>
                  <a:lnTo>
                    <a:pt x="84" y="275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0" y="279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7"/>
                  </a:lnTo>
                  <a:lnTo>
                    <a:pt x="80" y="287"/>
                  </a:lnTo>
                  <a:lnTo>
                    <a:pt x="76" y="287"/>
                  </a:lnTo>
                  <a:lnTo>
                    <a:pt x="76" y="287"/>
                  </a:lnTo>
                  <a:lnTo>
                    <a:pt x="72" y="287"/>
                  </a:lnTo>
                  <a:lnTo>
                    <a:pt x="68" y="287"/>
                  </a:lnTo>
                  <a:lnTo>
                    <a:pt x="68" y="287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0" y="287"/>
                  </a:lnTo>
                  <a:lnTo>
                    <a:pt x="60" y="287"/>
                  </a:lnTo>
                  <a:lnTo>
                    <a:pt x="60" y="287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2" y="291"/>
                  </a:lnTo>
                  <a:lnTo>
                    <a:pt x="52" y="291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48" y="291"/>
                  </a:lnTo>
                  <a:lnTo>
                    <a:pt x="48" y="291"/>
                  </a:lnTo>
                  <a:lnTo>
                    <a:pt x="48" y="287"/>
                  </a:lnTo>
                  <a:lnTo>
                    <a:pt x="48" y="287"/>
                  </a:lnTo>
                  <a:lnTo>
                    <a:pt x="48" y="287"/>
                  </a:lnTo>
                  <a:lnTo>
                    <a:pt x="44" y="291"/>
                  </a:lnTo>
                  <a:lnTo>
                    <a:pt x="44" y="291"/>
                  </a:lnTo>
                  <a:lnTo>
                    <a:pt x="44" y="291"/>
                  </a:lnTo>
                  <a:lnTo>
                    <a:pt x="44" y="291"/>
                  </a:lnTo>
                  <a:lnTo>
                    <a:pt x="44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87"/>
                  </a:lnTo>
                  <a:lnTo>
                    <a:pt x="32" y="287"/>
                  </a:lnTo>
                  <a:lnTo>
                    <a:pt x="28" y="287"/>
                  </a:lnTo>
                  <a:lnTo>
                    <a:pt x="28" y="283"/>
                  </a:lnTo>
                  <a:lnTo>
                    <a:pt x="28" y="283"/>
                  </a:lnTo>
                  <a:lnTo>
                    <a:pt x="28" y="283"/>
                  </a:lnTo>
                  <a:lnTo>
                    <a:pt x="28" y="283"/>
                  </a:lnTo>
                  <a:lnTo>
                    <a:pt x="28" y="279"/>
                  </a:lnTo>
                  <a:lnTo>
                    <a:pt x="28" y="279"/>
                  </a:lnTo>
                  <a:lnTo>
                    <a:pt x="28" y="279"/>
                  </a:lnTo>
                  <a:lnTo>
                    <a:pt x="24" y="275"/>
                  </a:lnTo>
                  <a:lnTo>
                    <a:pt x="24" y="271"/>
                  </a:lnTo>
                  <a:lnTo>
                    <a:pt x="20" y="271"/>
                  </a:lnTo>
                  <a:lnTo>
                    <a:pt x="20" y="271"/>
                  </a:lnTo>
                  <a:lnTo>
                    <a:pt x="20" y="271"/>
                  </a:lnTo>
                  <a:lnTo>
                    <a:pt x="16" y="267"/>
                  </a:lnTo>
                  <a:lnTo>
                    <a:pt x="16" y="267"/>
                  </a:lnTo>
                  <a:lnTo>
                    <a:pt x="12" y="263"/>
                  </a:lnTo>
                  <a:lnTo>
                    <a:pt x="12" y="263"/>
                  </a:lnTo>
                  <a:lnTo>
                    <a:pt x="12" y="263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2" y="25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0" name="Freeform 127"/>
            <p:cNvSpPr>
              <a:spLocks noEditPoints="1"/>
            </p:cNvSpPr>
            <p:nvPr>
              <p:custDataLst>
                <p:tags r:id="rId322"/>
              </p:custDataLst>
            </p:nvPr>
          </p:nvSpPr>
          <p:spPr bwMode="gray">
            <a:xfrm>
              <a:off x="5345984" y="4905914"/>
              <a:ext cx="29661" cy="23729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</a:cxnLst>
              <a:rect l="0" t="0" r="r" b="b"/>
              <a:pathLst>
                <a:path w="20" h="16">
                  <a:moveTo>
                    <a:pt x="4" y="8"/>
                  </a:moveTo>
                  <a:lnTo>
                    <a:pt x="4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close/>
                  <a:moveTo>
                    <a:pt x="20" y="16"/>
                  </a:move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close/>
                  <a:moveTo>
                    <a:pt x="8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1" name="Freeform 128"/>
            <p:cNvSpPr>
              <a:spLocks/>
            </p:cNvSpPr>
            <p:nvPr>
              <p:custDataLst>
                <p:tags r:id="rId323"/>
              </p:custDataLst>
            </p:nvPr>
          </p:nvSpPr>
          <p:spPr bwMode="gray">
            <a:xfrm>
              <a:off x="4623733" y="4492140"/>
              <a:ext cx="172035" cy="235807"/>
            </a:xfrm>
            <a:custGeom>
              <a:avLst/>
              <a:gdLst/>
              <a:ahLst/>
              <a:cxnLst>
                <a:cxn ang="0">
                  <a:pos x="68" y="147"/>
                </a:cxn>
                <a:cxn ang="0">
                  <a:pos x="60" y="155"/>
                </a:cxn>
                <a:cxn ang="0">
                  <a:pos x="52" y="159"/>
                </a:cxn>
                <a:cxn ang="0">
                  <a:pos x="52" y="147"/>
                </a:cxn>
                <a:cxn ang="0">
                  <a:pos x="40" y="151"/>
                </a:cxn>
                <a:cxn ang="0">
                  <a:pos x="36" y="159"/>
                </a:cxn>
                <a:cxn ang="0">
                  <a:pos x="32" y="155"/>
                </a:cxn>
                <a:cxn ang="0">
                  <a:pos x="24" y="151"/>
                </a:cxn>
                <a:cxn ang="0">
                  <a:pos x="16" y="159"/>
                </a:cxn>
                <a:cxn ang="0">
                  <a:pos x="12" y="151"/>
                </a:cxn>
                <a:cxn ang="0">
                  <a:pos x="4" y="147"/>
                </a:cxn>
                <a:cxn ang="0">
                  <a:pos x="0" y="139"/>
                </a:cxn>
                <a:cxn ang="0">
                  <a:pos x="12" y="135"/>
                </a:cxn>
                <a:cxn ang="0">
                  <a:pos x="8" y="127"/>
                </a:cxn>
                <a:cxn ang="0">
                  <a:pos x="8" y="124"/>
                </a:cxn>
                <a:cxn ang="0">
                  <a:pos x="8" y="112"/>
                </a:cxn>
                <a:cxn ang="0">
                  <a:pos x="16" y="112"/>
                </a:cxn>
                <a:cxn ang="0">
                  <a:pos x="20" y="108"/>
                </a:cxn>
                <a:cxn ang="0">
                  <a:pos x="28" y="104"/>
                </a:cxn>
                <a:cxn ang="0">
                  <a:pos x="32" y="112"/>
                </a:cxn>
                <a:cxn ang="0">
                  <a:pos x="40" y="112"/>
                </a:cxn>
                <a:cxn ang="0">
                  <a:pos x="44" y="116"/>
                </a:cxn>
                <a:cxn ang="0">
                  <a:pos x="48" y="108"/>
                </a:cxn>
                <a:cxn ang="0">
                  <a:pos x="52" y="100"/>
                </a:cxn>
                <a:cxn ang="0">
                  <a:pos x="52" y="88"/>
                </a:cxn>
                <a:cxn ang="0">
                  <a:pos x="48" y="80"/>
                </a:cxn>
                <a:cxn ang="0">
                  <a:pos x="44" y="72"/>
                </a:cxn>
                <a:cxn ang="0">
                  <a:pos x="44" y="60"/>
                </a:cxn>
                <a:cxn ang="0">
                  <a:pos x="52" y="52"/>
                </a:cxn>
                <a:cxn ang="0">
                  <a:pos x="44" y="44"/>
                </a:cxn>
                <a:cxn ang="0">
                  <a:pos x="36" y="48"/>
                </a:cxn>
                <a:cxn ang="0">
                  <a:pos x="32" y="40"/>
                </a:cxn>
                <a:cxn ang="0">
                  <a:pos x="40" y="32"/>
                </a:cxn>
                <a:cxn ang="0">
                  <a:pos x="56" y="32"/>
                </a:cxn>
                <a:cxn ang="0">
                  <a:pos x="68" y="32"/>
                </a:cxn>
                <a:cxn ang="0">
                  <a:pos x="76" y="36"/>
                </a:cxn>
                <a:cxn ang="0">
                  <a:pos x="76" y="32"/>
                </a:cxn>
                <a:cxn ang="0">
                  <a:pos x="80" y="24"/>
                </a:cxn>
                <a:cxn ang="0">
                  <a:pos x="84" y="16"/>
                </a:cxn>
                <a:cxn ang="0">
                  <a:pos x="84" y="8"/>
                </a:cxn>
                <a:cxn ang="0">
                  <a:pos x="92" y="4"/>
                </a:cxn>
                <a:cxn ang="0">
                  <a:pos x="96" y="4"/>
                </a:cxn>
                <a:cxn ang="0">
                  <a:pos x="108" y="4"/>
                </a:cxn>
                <a:cxn ang="0">
                  <a:pos x="112" y="4"/>
                </a:cxn>
                <a:cxn ang="0">
                  <a:pos x="116" y="12"/>
                </a:cxn>
                <a:cxn ang="0">
                  <a:pos x="112" y="20"/>
                </a:cxn>
                <a:cxn ang="0">
                  <a:pos x="108" y="28"/>
                </a:cxn>
                <a:cxn ang="0">
                  <a:pos x="108" y="40"/>
                </a:cxn>
                <a:cxn ang="0">
                  <a:pos x="104" y="56"/>
                </a:cxn>
                <a:cxn ang="0">
                  <a:pos x="104" y="68"/>
                </a:cxn>
                <a:cxn ang="0">
                  <a:pos x="100" y="76"/>
                </a:cxn>
                <a:cxn ang="0">
                  <a:pos x="96" y="88"/>
                </a:cxn>
                <a:cxn ang="0">
                  <a:pos x="88" y="96"/>
                </a:cxn>
                <a:cxn ang="0">
                  <a:pos x="84" y="104"/>
                </a:cxn>
                <a:cxn ang="0">
                  <a:pos x="76" y="108"/>
                </a:cxn>
                <a:cxn ang="0">
                  <a:pos x="80" y="120"/>
                </a:cxn>
                <a:cxn ang="0">
                  <a:pos x="76" y="127"/>
                </a:cxn>
                <a:cxn ang="0">
                  <a:pos x="76" y="135"/>
                </a:cxn>
                <a:cxn ang="0">
                  <a:pos x="72" y="143"/>
                </a:cxn>
              </a:cxnLst>
              <a:rect l="0" t="0" r="r" b="b"/>
              <a:pathLst>
                <a:path w="116" h="159">
                  <a:moveTo>
                    <a:pt x="72" y="143"/>
                  </a:moveTo>
                  <a:lnTo>
                    <a:pt x="68" y="143"/>
                  </a:lnTo>
                  <a:lnTo>
                    <a:pt x="68" y="147"/>
                  </a:lnTo>
                  <a:lnTo>
                    <a:pt x="64" y="147"/>
                  </a:lnTo>
                  <a:lnTo>
                    <a:pt x="60" y="151"/>
                  </a:lnTo>
                  <a:lnTo>
                    <a:pt x="60" y="155"/>
                  </a:lnTo>
                  <a:lnTo>
                    <a:pt x="56" y="155"/>
                  </a:lnTo>
                  <a:lnTo>
                    <a:pt x="56" y="159"/>
                  </a:lnTo>
                  <a:lnTo>
                    <a:pt x="52" y="159"/>
                  </a:lnTo>
                  <a:lnTo>
                    <a:pt x="52" y="155"/>
                  </a:lnTo>
                  <a:lnTo>
                    <a:pt x="52" y="151"/>
                  </a:lnTo>
                  <a:lnTo>
                    <a:pt x="52" y="147"/>
                  </a:lnTo>
                  <a:lnTo>
                    <a:pt x="48" y="147"/>
                  </a:lnTo>
                  <a:lnTo>
                    <a:pt x="44" y="151"/>
                  </a:lnTo>
                  <a:lnTo>
                    <a:pt x="40" y="151"/>
                  </a:lnTo>
                  <a:lnTo>
                    <a:pt x="40" y="155"/>
                  </a:lnTo>
                  <a:lnTo>
                    <a:pt x="36" y="155"/>
                  </a:lnTo>
                  <a:lnTo>
                    <a:pt x="36" y="159"/>
                  </a:lnTo>
                  <a:lnTo>
                    <a:pt x="32" y="155"/>
                  </a:lnTo>
                  <a:lnTo>
                    <a:pt x="32" y="151"/>
                  </a:lnTo>
                  <a:lnTo>
                    <a:pt x="32" y="155"/>
                  </a:lnTo>
                  <a:lnTo>
                    <a:pt x="28" y="155"/>
                  </a:lnTo>
                  <a:lnTo>
                    <a:pt x="28" y="151"/>
                  </a:lnTo>
                  <a:lnTo>
                    <a:pt x="24" y="151"/>
                  </a:lnTo>
                  <a:lnTo>
                    <a:pt x="20" y="155"/>
                  </a:lnTo>
                  <a:lnTo>
                    <a:pt x="16" y="155"/>
                  </a:lnTo>
                  <a:lnTo>
                    <a:pt x="16" y="159"/>
                  </a:lnTo>
                  <a:lnTo>
                    <a:pt x="12" y="159"/>
                  </a:lnTo>
                  <a:lnTo>
                    <a:pt x="12" y="155"/>
                  </a:lnTo>
                  <a:lnTo>
                    <a:pt x="12" y="151"/>
                  </a:lnTo>
                  <a:lnTo>
                    <a:pt x="8" y="151"/>
                  </a:lnTo>
                  <a:lnTo>
                    <a:pt x="8" y="147"/>
                  </a:lnTo>
                  <a:lnTo>
                    <a:pt x="4" y="147"/>
                  </a:lnTo>
                  <a:lnTo>
                    <a:pt x="4" y="143"/>
                  </a:lnTo>
                  <a:lnTo>
                    <a:pt x="0" y="143"/>
                  </a:lnTo>
                  <a:lnTo>
                    <a:pt x="0" y="139"/>
                  </a:lnTo>
                  <a:lnTo>
                    <a:pt x="4" y="135"/>
                  </a:lnTo>
                  <a:lnTo>
                    <a:pt x="8" y="135"/>
                  </a:lnTo>
                  <a:lnTo>
                    <a:pt x="12" y="135"/>
                  </a:lnTo>
                  <a:lnTo>
                    <a:pt x="12" y="131"/>
                  </a:lnTo>
                  <a:lnTo>
                    <a:pt x="12" y="127"/>
                  </a:lnTo>
                  <a:lnTo>
                    <a:pt x="8" y="127"/>
                  </a:lnTo>
                  <a:lnTo>
                    <a:pt x="12" y="124"/>
                  </a:lnTo>
                  <a:lnTo>
                    <a:pt x="8" y="120"/>
                  </a:lnTo>
                  <a:lnTo>
                    <a:pt x="8" y="124"/>
                  </a:lnTo>
                  <a:lnTo>
                    <a:pt x="8" y="120"/>
                  </a:lnTo>
                  <a:lnTo>
                    <a:pt x="8" y="116"/>
                  </a:lnTo>
                  <a:lnTo>
                    <a:pt x="8" y="112"/>
                  </a:lnTo>
                  <a:lnTo>
                    <a:pt x="12" y="116"/>
                  </a:lnTo>
                  <a:lnTo>
                    <a:pt x="12" y="112"/>
                  </a:lnTo>
                  <a:lnTo>
                    <a:pt x="16" y="112"/>
                  </a:lnTo>
                  <a:lnTo>
                    <a:pt x="16" y="116"/>
                  </a:lnTo>
                  <a:lnTo>
                    <a:pt x="20" y="112"/>
                  </a:lnTo>
                  <a:lnTo>
                    <a:pt x="20" y="108"/>
                  </a:lnTo>
                  <a:lnTo>
                    <a:pt x="20" y="104"/>
                  </a:lnTo>
                  <a:lnTo>
                    <a:pt x="24" y="104"/>
                  </a:lnTo>
                  <a:lnTo>
                    <a:pt x="28" y="104"/>
                  </a:lnTo>
                  <a:lnTo>
                    <a:pt x="28" y="108"/>
                  </a:lnTo>
                  <a:lnTo>
                    <a:pt x="28" y="112"/>
                  </a:lnTo>
                  <a:lnTo>
                    <a:pt x="32" y="112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4" y="112"/>
                  </a:lnTo>
                  <a:lnTo>
                    <a:pt x="44" y="116"/>
                  </a:lnTo>
                  <a:lnTo>
                    <a:pt x="48" y="116"/>
                  </a:lnTo>
                  <a:lnTo>
                    <a:pt x="48" y="112"/>
                  </a:lnTo>
                  <a:lnTo>
                    <a:pt x="48" y="108"/>
                  </a:lnTo>
                  <a:lnTo>
                    <a:pt x="48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88"/>
                  </a:lnTo>
                  <a:lnTo>
                    <a:pt x="52" y="84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60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48" y="48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0" y="44"/>
                  </a:lnTo>
                  <a:lnTo>
                    <a:pt x="40" y="48"/>
                  </a:lnTo>
                  <a:lnTo>
                    <a:pt x="36" y="48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40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36"/>
                  </a:lnTo>
                  <a:lnTo>
                    <a:pt x="76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24"/>
                  </a:lnTo>
                  <a:lnTo>
                    <a:pt x="80" y="20"/>
                  </a:lnTo>
                  <a:lnTo>
                    <a:pt x="84" y="20"/>
                  </a:lnTo>
                  <a:lnTo>
                    <a:pt x="84" y="16"/>
                  </a:lnTo>
                  <a:lnTo>
                    <a:pt x="80" y="16"/>
                  </a:lnTo>
                  <a:lnTo>
                    <a:pt x="84" y="12"/>
                  </a:lnTo>
                  <a:lnTo>
                    <a:pt x="84" y="8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0"/>
                  </a:lnTo>
                  <a:lnTo>
                    <a:pt x="96" y="4"/>
                  </a:lnTo>
                  <a:lnTo>
                    <a:pt x="100" y="4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16" y="12"/>
                  </a:lnTo>
                  <a:lnTo>
                    <a:pt x="112" y="12"/>
                  </a:lnTo>
                  <a:lnTo>
                    <a:pt x="112" y="16"/>
                  </a:lnTo>
                  <a:lnTo>
                    <a:pt x="112" y="20"/>
                  </a:lnTo>
                  <a:lnTo>
                    <a:pt x="112" y="24"/>
                  </a:lnTo>
                  <a:lnTo>
                    <a:pt x="108" y="24"/>
                  </a:lnTo>
                  <a:lnTo>
                    <a:pt x="108" y="28"/>
                  </a:lnTo>
                  <a:lnTo>
                    <a:pt x="108" y="32"/>
                  </a:lnTo>
                  <a:lnTo>
                    <a:pt x="108" y="36"/>
                  </a:lnTo>
                  <a:lnTo>
                    <a:pt x="108" y="40"/>
                  </a:lnTo>
                  <a:lnTo>
                    <a:pt x="104" y="48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4" y="60"/>
                  </a:lnTo>
                  <a:lnTo>
                    <a:pt x="104" y="64"/>
                  </a:lnTo>
                  <a:lnTo>
                    <a:pt x="104" y="68"/>
                  </a:lnTo>
                  <a:lnTo>
                    <a:pt x="100" y="68"/>
                  </a:lnTo>
                  <a:lnTo>
                    <a:pt x="100" y="72"/>
                  </a:lnTo>
                  <a:lnTo>
                    <a:pt x="100" y="76"/>
                  </a:lnTo>
                  <a:lnTo>
                    <a:pt x="100" y="80"/>
                  </a:lnTo>
                  <a:lnTo>
                    <a:pt x="100" y="84"/>
                  </a:lnTo>
                  <a:lnTo>
                    <a:pt x="96" y="88"/>
                  </a:lnTo>
                  <a:lnTo>
                    <a:pt x="92" y="88"/>
                  </a:lnTo>
                  <a:lnTo>
                    <a:pt x="88" y="92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4" y="104"/>
                  </a:lnTo>
                  <a:lnTo>
                    <a:pt x="80" y="104"/>
                  </a:lnTo>
                  <a:lnTo>
                    <a:pt x="80" y="108"/>
                  </a:lnTo>
                  <a:lnTo>
                    <a:pt x="76" y="108"/>
                  </a:lnTo>
                  <a:lnTo>
                    <a:pt x="76" y="112"/>
                  </a:lnTo>
                  <a:lnTo>
                    <a:pt x="80" y="116"/>
                  </a:lnTo>
                  <a:lnTo>
                    <a:pt x="80" y="120"/>
                  </a:lnTo>
                  <a:lnTo>
                    <a:pt x="76" y="120"/>
                  </a:lnTo>
                  <a:lnTo>
                    <a:pt x="76" y="124"/>
                  </a:lnTo>
                  <a:lnTo>
                    <a:pt x="76" y="127"/>
                  </a:lnTo>
                  <a:lnTo>
                    <a:pt x="80" y="131"/>
                  </a:lnTo>
                  <a:lnTo>
                    <a:pt x="76" y="131"/>
                  </a:lnTo>
                  <a:lnTo>
                    <a:pt x="76" y="135"/>
                  </a:lnTo>
                  <a:lnTo>
                    <a:pt x="76" y="139"/>
                  </a:lnTo>
                  <a:lnTo>
                    <a:pt x="72" y="139"/>
                  </a:lnTo>
                  <a:lnTo>
                    <a:pt x="72" y="1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2" name="Freeform 129"/>
            <p:cNvSpPr>
              <a:spLocks/>
            </p:cNvSpPr>
            <p:nvPr>
              <p:custDataLst>
                <p:tags r:id="rId324"/>
              </p:custDataLst>
            </p:nvPr>
          </p:nvSpPr>
          <p:spPr bwMode="gray">
            <a:xfrm>
              <a:off x="4647462" y="4450614"/>
              <a:ext cx="431571" cy="508690"/>
            </a:xfrm>
            <a:custGeom>
              <a:avLst/>
              <a:gdLst/>
              <a:ahLst/>
              <a:cxnLst>
                <a:cxn ang="0">
                  <a:pos x="32" y="207"/>
                </a:cxn>
                <a:cxn ang="0">
                  <a:pos x="12" y="203"/>
                </a:cxn>
                <a:cxn ang="0">
                  <a:pos x="4" y="203"/>
                </a:cxn>
                <a:cxn ang="0">
                  <a:pos x="16" y="183"/>
                </a:cxn>
                <a:cxn ang="0">
                  <a:pos x="24" y="179"/>
                </a:cxn>
                <a:cxn ang="0">
                  <a:pos x="36" y="187"/>
                </a:cxn>
                <a:cxn ang="0">
                  <a:pos x="52" y="175"/>
                </a:cxn>
                <a:cxn ang="0">
                  <a:pos x="60" y="159"/>
                </a:cxn>
                <a:cxn ang="0">
                  <a:pos x="64" y="144"/>
                </a:cxn>
                <a:cxn ang="0">
                  <a:pos x="68" y="128"/>
                </a:cxn>
                <a:cxn ang="0">
                  <a:pos x="84" y="112"/>
                </a:cxn>
                <a:cxn ang="0">
                  <a:pos x="88" y="92"/>
                </a:cxn>
                <a:cxn ang="0">
                  <a:pos x="92" y="64"/>
                </a:cxn>
                <a:cxn ang="0">
                  <a:pos x="96" y="44"/>
                </a:cxn>
                <a:cxn ang="0">
                  <a:pos x="100" y="24"/>
                </a:cxn>
                <a:cxn ang="0">
                  <a:pos x="104" y="12"/>
                </a:cxn>
                <a:cxn ang="0">
                  <a:pos x="120" y="8"/>
                </a:cxn>
                <a:cxn ang="0">
                  <a:pos x="136" y="16"/>
                </a:cxn>
                <a:cxn ang="0">
                  <a:pos x="156" y="24"/>
                </a:cxn>
                <a:cxn ang="0">
                  <a:pos x="164" y="8"/>
                </a:cxn>
                <a:cxn ang="0">
                  <a:pos x="184" y="8"/>
                </a:cxn>
                <a:cxn ang="0">
                  <a:pos x="200" y="8"/>
                </a:cxn>
                <a:cxn ang="0">
                  <a:pos x="212" y="4"/>
                </a:cxn>
                <a:cxn ang="0">
                  <a:pos x="228" y="4"/>
                </a:cxn>
                <a:cxn ang="0">
                  <a:pos x="243" y="16"/>
                </a:cxn>
                <a:cxn ang="0">
                  <a:pos x="259" y="16"/>
                </a:cxn>
                <a:cxn ang="0">
                  <a:pos x="267" y="16"/>
                </a:cxn>
                <a:cxn ang="0">
                  <a:pos x="279" y="28"/>
                </a:cxn>
                <a:cxn ang="0">
                  <a:pos x="283" y="48"/>
                </a:cxn>
                <a:cxn ang="0">
                  <a:pos x="287" y="60"/>
                </a:cxn>
                <a:cxn ang="0">
                  <a:pos x="275" y="80"/>
                </a:cxn>
                <a:cxn ang="0">
                  <a:pos x="267" y="96"/>
                </a:cxn>
                <a:cxn ang="0">
                  <a:pos x="263" y="116"/>
                </a:cxn>
                <a:cxn ang="0">
                  <a:pos x="259" y="136"/>
                </a:cxn>
                <a:cxn ang="0">
                  <a:pos x="259" y="155"/>
                </a:cxn>
                <a:cxn ang="0">
                  <a:pos x="263" y="179"/>
                </a:cxn>
                <a:cxn ang="0">
                  <a:pos x="263" y="195"/>
                </a:cxn>
                <a:cxn ang="0">
                  <a:pos x="267" y="219"/>
                </a:cxn>
                <a:cxn ang="0">
                  <a:pos x="279" y="235"/>
                </a:cxn>
                <a:cxn ang="0">
                  <a:pos x="275" y="247"/>
                </a:cxn>
                <a:cxn ang="0">
                  <a:pos x="255" y="259"/>
                </a:cxn>
                <a:cxn ang="0">
                  <a:pos x="251" y="279"/>
                </a:cxn>
                <a:cxn ang="0">
                  <a:pos x="247" y="299"/>
                </a:cxn>
                <a:cxn ang="0">
                  <a:pos x="251" y="319"/>
                </a:cxn>
                <a:cxn ang="0">
                  <a:pos x="267" y="323"/>
                </a:cxn>
                <a:cxn ang="0">
                  <a:pos x="267" y="343"/>
                </a:cxn>
                <a:cxn ang="0">
                  <a:pos x="251" y="335"/>
                </a:cxn>
                <a:cxn ang="0">
                  <a:pos x="236" y="323"/>
                </a:cxn>
                <a:cxn ang="0">
                  <a:pos x="224" y="319"/>
                </a:cxn>
                <a:cxn ang="0">
                  <a:pos x="200" y="311"/>
                </a:cxn>
                <a:cxn ang="0">
                  <a:pos x="184" y="307"/>
                </a:cxn>
                <a:cxn ang="0">
                  <a:pos x="180" y="299"/>
                </a:cxn>
                <a:cxn ang="0">
                  <a:pos x="156" y="299"/>
                </a:cxn>
                <a:cxn ang="0">
                  <a:pos x="156" y="291"/>
                </a:cxn>
                <a:cxn ang="0">
                  <a:pos x="148" y="267"/>
                </a:cxn>
                <a:cxn ang="0">
                  <a:pos x="148" y="243"/>
                </a:cxn>
                <a:cxn ang="0">
                  <a:pos x="128" y="231"/>
                </a:cxn>
                <a:cxn ang="0">
                  <a:pos x="112" y="227"/>
                </a:cxn>
                <a:cxn ang="0">
                  <a:pos x="112" y="243"/>
                </a:cxn>
                <a:cxn ang="0">
                  <a:pos x="88" y="247"/>
                </a:cxn>
                <a:cxn ang="0">
                  <a:pos x="76" y="235"/>
                </a:cxn>
                <a:cxn ang="0">
                  <a:pos x="68" y="215"/>
                </a:cxn>
              </a:cxnLst>
              <a:rect l="0" t="0" r="r" b="b"/>
              <a:pathLst>
                <a:path w="291" h="343">
                  <a:moveTo>
                    <a:pt x="60" y="203"/>
                  </a:moveTo>
                  <a:lnTo>
                    <a:pt x="56" y="203"/>
                  </a:lnTo>
                  <a:lnTo>
                    <a:pt x="44" y="203"/>
                  </a:lnTo>
                  <a:lnTo>
                    <a:pt x="40" y="203"/>
                  </a:lnTo>
                  <a:lnTo>
                    <a:pt x="36" y="207"/>
                  </a:lnTo>
                  <a:lnTo>
                    <a:pt x="32" y="207"/>
                  </a:lnTo>
                  <a:lnTo>
                    <a:pt x="32" y="203"/>
                  </a:lnTo>
                  <a:lnTo>
                    <a:pt x="28" y="203"/>
                  </a:lnTo>
                  <a:lnTo>
                    <a:pt x="24" y="203"/>
                  </a:lnTo>
                  <a:lnTo>
                    <a:pt x="20" y="203"/>
                  </a:lnTo>
                  <a:lnTo>
                    <a:pt x="16" y="203"/>
                  </a:lnTo>
                  <a:lnTo>
                    <a:pt x="12" y="203"/>
                  </a:lnTo>
                  <a:lnTo>
                    <a:pt x="8" y="203"/>
                  </a:lnTo>
                  <a:lnTo>
                    <a:pt x="8" y="207"/>
                  </a:lnTo>
                  <a:lnTo>
                    <a:pt x="4" y="207"/>
                  </a:lnTo>
                  <a:lnTo>
                    <a:pt x="4" y="203"/>
                  </a:lnTo>
                  <a:lnTo>
                    <a:pt x="0" y="203"/>
                  </a:lnTo>
                  <a:lnTo>
                    <a:pt x="4" y="203"/>
                  </a:lnTo>
                  <a:lnTo>
                    <a:pt x="8" y="203"/>
                  </a:lnTo>
                  <a:lnTo>
                    <a:pt x="8" y="195"/>
                  </a:lnTo>
                  <a:lnTo>
                    <a:pt x="8" y="191"/>
                  </a:lnTo>
                  <a:lnTo>
                    <a:pt x="8" y="187"/>
                  </a:lnTo>
                  <a:lnTo>
                    <a:pt x="12" y="183"/>
                  </a:lnTo>
                  <a:lnTo>
                    <a:pt x="16" y="183"/>
                  </a:lnTo>
                  <a:lnTo>
                    <a:pt x="16" y="179"/>
                  </a:lnTo>
                  <a:lnTo>
                    <a:pt x="16" y="183"/>
                  </a:lnTo>
                  <a:lnTo>
                    <a:pt x="20" y="187"/>
                  </a:lnTo>
                  <a:lnTo>
                    <a:pt x="20" y="183"/>
                  </a:lnTo>
                  <a:lnTo>
                    <a:pt x="24" y="183"/>
                  </a:lnTo>
                  <a:lnTo>
                    <a:pt x="24" y="179"/>
                  </a:lnTo>
                  <a:lnTo>
                    <a:pt x="28" y="179"/>
                  </a:lnTo>
                  <a:lnTo>
                    <a:pt x="32" y="175"/>
                  </a:lnTo>
                  <a:lnTo>
                    <a:pt x="36" y="175"/>
                  </a:lnTo>
                  <a:lnTo>
                    <a:pt x="36" y="179"/>
                  </a:lnTo>
                  <a:lnTo>
                    <a:pt x="36" y="183"/>
                  </a:lnTo>
                  <a:lnTo>
                    <a:pt x="36" y="187"/>
                  </a:lnTo>
                  <a:lnTo>
                    <a:pt x="40" y="187"/>
                  </a:lnTo>
                  <a:lnTo>
                    <a:pt x="40" y="183"/>
                  </a:lnTo>
                  <a:lnTo>
                    <a:pt x="44" y="183"/>
                  </a:lnTo>
                  <a:lnTo>
                    <a:pt x="44" y="179"/>
                  </a:lnTo>
                  <a:lnTo>
                    <a:pt x="48" y="175"/>
                  </a:lnTo>
                  <a:lnTo>
                    <a:pt x="52" y="175"/>
                  </a:lnTo>
                  <a:lnTo>
                    <a:pt x="52" y="171"/>
                  </a:lnTo>
                  <a:lnTo>
                    <a:pt x="56" y="171"/>
                  </a:lnTo>
                  <a:lnTo>
                    <a:pt x="56" y="167"/>
                  </a:lnTo>
                  <a:lnTo>
                    <a:pt x="60" y="167"/>
                  </a:lnTo>
                  <a:lnTo>
                    <a:pt x="60" y="163"/>
                  </a:lnTo>
                  <a:lnTo>
                    <a:pt x="60" y="159"/>
                  </a:lnTo>
                  <a:lnTo>
                    <a:pt x="64" y="159"/>
                  </a:lnTo>
                  <a:lnTo>
                    <a:pt x="60" y="155"/>
                  </a:lnTo>
                  <a:lnTo>
                    <a:pt x="60" y="152"/>
                  </a:lnTo>
                  <a:lnTo>
                    <a:pt x="60" y="148"/>
                  </a:lnTo>
                  <a:lnTo>
                    <a:pt x="64" y="148"/>
                  </a:lnTo>
                  <a:lnTo>
                    <a:pt x="64" y="144"/>
                  </a:lnTo>
                  <a:lnTo>
                    <a:pt x="60" y="140"/>
                  </a:lnTo>
                  <a:lnTo>
                    <a:pt x="60" y="136"/>
                  </a:lnTo>
                  <a:lnTo>
                    <a:pt x="64" y="136"/>
                  </a:lnTo>
                  <a:lnTo>
                    <a:pt x="64" y="132"/>
                  </a:lnTo>
                  <a:lnTo>
                    <a:pt x="68" y="132"/>
                  </a:lnTo>
                  <a:lnTo>
                    <a:pt x="68" y="128"/>
                  </a:lnTo>
                  <a:lnTo>
                    <a:pt x="68" y="124"/>
                  </a:lnTo>
                  <a:lnTo>
                    <a:pt x="72" y="124"/>
                  </a:lnTo>
                  <a:lnTo>
                    <a:pt x="72" y="120"/>
                  </a:lnTo>
                  <a:lnTo>
                    <a:pt x="76" y="116"/>
                  </a:lnTo>
                  <a:lnTo>
                    <a:pt x="80" y="116"/>
                  </a:lnTo>
                  <a:lnTo>
                    <a:pt x="84" y="112"/>
                  </a:lnTo>
                  <a:lnTo>
                    <a:pt x="84" y="108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96"/>
                  </a:lnTo>
                  <a:lnTo>
                    <a:pt x="88" y="96"/>
                  </a:lnTo>
                  <a:lnTo>
                    <a:pt x="88" y="92"/>
                  </a:lnTo>
                  <a:lnTo>
                    <a:pt x="88" y="88"/>
                  </a:lnTo>
                  <a:lnTo>
                    <a:pt x="88" y="84"/>
                  </a:lnTo>
                  <a:lnTo>
                    <a:pt x="88" y="80"/>
                  </a:lnTo>
                  <a:lnTo>
                    <a:pt x="88" y="76"/>
                  </a:lnTo>
                  <a:lnTo>
                    <a:pt x="92" y="68"/>
                  </a:lnTo>
                  <a:lnTo>
                    <a:pt x="92" y="64"/>
                  </a:lnTo>
                  <a:lnTo>
                    <a:pt x="92" y="60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96" y="52"/>
                  </a:lnTo>
                  <a:lnTo>
                    <a:pt x="96" y="48"/>
                  </a:lnTo>
                  <a:lnTo>
                    <a:pt x="96" y="44"/>
                  </a:lnTo>
                  <a:lnTo>
                    <a:pt x="96" y="40"/>
                  </a:lnTo>
                  <a:lnTo>
                    <a:pt x="100" y="40"/>
                  </a:lnTo>
                  <a:lnTo>
                    <a:pt x="100" y="36"/>
                  </a:lnTo>
                  <a:lnTo>
                    <a:pt x="100" y="32"/>
                  </a:lnTo>
                  <a:lnTo>
                    <a:pt x="100" y="28"/>
                  </a:lnTo>
                  <a:lnTo>
                    <a:pt x="100" y="24"/>
                  </a:lnTo>
                  <a:lnTo>
                    <a:pt x="100" y="20"/>
                  </a:lnTo>
                  <a:lnTo>
                    <a:pt x="96" y="20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0" y="16"/>
                  </a:lnTo>
                  <a:lnTo>
                    <a:pt x="104" y="12"/>
                  </a:lnTo>
                  <a:lnTo>
                    <a:pt x="104" y="8"/>
                  </a:lnTo>
                  <a:lnTo>
                    <a:pt x="108" y="8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20" y="8"/>
                  </a:lnTo>
                  <a:lnTo>
                    <a:pt x="124" y="8"/>
                  </a:lnTo>
                  <a:lnTo>
                    <a:pt x="124" y="12"/>
                  </a:lnTo>
                  <a:lnTo>
                    <a:pt x="128" y="12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20"/>
                  </a:lnTo>
                  <a:lnTo>
                    <a:pt x="144" y="20"/>
                  </a:lnTo>
                  <a:lnTo>
                    <a:pt x="148" y="20"/>
                  </a:lnTo>
                  <a:lnTo>
                    <a:pt x="152" y="20"/>
                  </a:lnTo>
                  <a:lnTo>
                    <a:pt x="152" y="24"/>
                  </a:lnTo>
                  <a:lnTo>
                    <a:pt x="156" y="24"/>
                  </a:lnTo>
                  <a:lnTo>
                    <a:pt x="156" y="20"/>
                  </a:lnTo>
                  <a:lnTo>
                    <a:pt x="160" y="20"/>
                  </a:lnTo>
                  <a:lnTo>
                    <a:pt x="160" y="16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4" y="8"/>
                  </a:lnTo>
                  <a:lnTo>
                    <a:pt x="164" y="12"/>
                  </a:lnTo>
                  <a:lnTo>
                    <a:pt x="168" y="12"/>
                  </a:lnTo>
                  <a:lnTo>
                    <a:pt x="172" y="12"/>
                  </a:lnTo>
                  <a:lnTo>
                    <a:pt x="176" y="8"/>
                  </a:lnTo>
                  <a:lnTo>
                    <a:pt x="180" y="8"/>
                  </a:lnTo>
                  <a:lnTo>
                    <a:pt x="184" y="8"/>
                  </a:lnTo>
                  <a:lnTo>
                    <a:pt x="188" y="4"/>
                  </a:lnTo>
                  <a:lnTo>
                    <a:pt x="184" y="4"/>
                  </a:lnTo>
                  <a:lnTo>
                    <a:pt x="188" y="4"/>
                  </a:lnTo>
                  <a:lnTo>
                    <a:pt x="192" y="8"/>
                  </a:lnTo>
                  <a:lnTo>
                    <a:pt x="196" y="8"/>
                  </a:lnTo>
                  <a:lnTo>
                    <a:pt x="200" y="8"/>
                  </a:lnTo>
                  <a:lnTo>
                    <a:pt x="200" y="4"/>
                  </a:lnTo>
                  <a:lnTo>
                    <a:pt x="200" y="0"/>
                  </a:lnTo>
                  <a:lnTo>
                    <a:pt x="204" y="0"/>
                  </a:lnTo>
                  <a:lnTo>
                    <a:pt x="208" y="0"/>
                  </a:lnTo>
                  <a:lnTo>
                    <a:pt x="208" y="4"/>
                  </a:lnTo>
                  <a:lnTo>
                    <a:pt x="212" y="4"/>
                  </a:lnTo>
                  <a:lnTo>
                    <a:pt x="212" y="0"/>
                  </a:lnTo>
                  <a:lnTo>
                    <a:pt x="212" y="4"/>
                  </a:lnTo>
                  <a:lnTo>
                    <a:pt x="216" y="4"/>
                  </a:lnTo>
                  <a:lnTo>
                    <a:pt x="220" y="4"/>
                  </a:lnTo>
                  <a:lnTo>
                    <a:pt x="224" y="4"/>
                  </a:lnTo>
                  <a:lnTo>
                    <a:pt x="228" y="4"/>
                  </a:lnTo>
                  <a:lnTo>
                    <a:pt x="232" y="4"/>
                  </a:lnTo>
                  <a:lnTo>
                    <a:pt x="232" y="8"/>
                  </a:lnTo>
                  <a:lnTo>
                    <a:pt x="236" y="8"/>
                  </a:lnTo>
                  <a:lnTo>
                    <a:pt x="236" y="12"/>
                  </a:lnTo>
                  <a:lnTo>
                    <a:pt x="240" y="16"/>
                  </a:lnTo>
                  <a:lnTo>
                    <a:pt x="243" y="16"/>
                  </a:lnTo>
                  <a:lnTo>
                    <a:pt x="243" y="20"/>
                  </a:lnTo>
                  <a:lnTo>
                    <a:pt x="247" y="20"/>
                  </a:lnTo>
                  <a:lnTo>
                    <a:pt x="247" y="16"/>
                  </a:lnTo>
                  <a:lnTo>
                    <a:pt x="251" y="16"/>
                  </a:lnTo>
                  <a:lnTo>
                    <a:pt x="255" y="16"/>
                  </a:lnTo>
                  <a:lnTo>
                    <a:pt x="259" y="16"/>
                  </a:lnTo>
                  <a:lnTo>
                    <a:pt x="259" y="20"/>
                  </a:lnTo>
                  <a:lnTo>
                    <a:pt x="259" y="16"/>
                  </a:lnTo>
                  <a:lnTo>
                    <a:pt x="263" y="16"/>
                  </a:lnTo>
                  <a:lnTo>
                    <a:pt x="263" y="12"/>
                  </a:lnTo>
                  <a:lnTo>
                    <a:pt x="267" y="12"/>
                  </a:lnTo>
                  <a:lnTo>
                    <a:pt x="267" y="16"/>
                  </a:lnTo>
                  <a:lnTo>
                    <a:pt x="267" y="20"/>
                  </a:lnTo>
                  <a:lnTo>
                    <a:pt x="271" y="20"/>
                  </a:lnTo>
                  <a:lnTo>
                    <a:pt x="271" y="24"/>
                  </a:lnTo>
                  <a:lnTo>
                    <a:pt x="275" y="24"/>
                  </a:lnTo>
                  <a:lnTo>
                    <a:pt x="275" y="28"/>
                  </a:lnTo>
                  <a:lnTo>
                    <a:pt x="279" y="28"/>
                  </a:lnTo>
                  <a:lnTo>
                    <a:pt x="279" y="32"/>
                  </a:lnTo>
                  <a:lnTo>
                    <a:pt x="283" y="32"/>
                  </a:lnTo>
                  <a:lnTo>
                    <a:pt x="283" y="36"/>
                  </a:lnTo>
                  <a:lnTo>
                    <a:pt x="283" y="40"/>
                  </a:lnTo>
                  <a:lnTo>
                    <a:pt x="283" y="44"/>
                  </a:lnTo>
                  <a:lnTo>
                    <a:pt x="283" y="48"/>
                  </a:lnTo>
                  <a:lnTo>
                    <a:pt x="283" y="52"/>
                  </a:lnTo>
                  <a:lnTo>
                    <a:pt x="283" y="56"/>
                  </a:lnTo>
                  <a:lnTo>
                    <a:pt x="287" y="52"/>
                  </a:lnTo>
                  <a:lnTo>
                    <a:pt x="287" y="56"/>
                  </a:lnTo>
                  <a:lnTo>
                    <a:pt x="291" y="60"/>
                  </a:lnTo>
                  <a:lnTo>
                    <a:pt x="287" y="60"/>
                  </a:lnTo>
                  <a:lnTo>
                    <a:pt x="287" y="64"/>
                  </a:lnTo>
                  <a:lnTo>
                    <a:pt x="283" y="68"/>
                  </a:lnTo>
                  <a:lnTo>
                    <a:pt x="279" y="72"/>
                  </a:lnTo>
                  <a:lnTo>
                    <a:pt x="279" y="76"/>
                  </a:lnTo>
                  <a:lnTo>
                    <a:pt x="275" y="76"/>
                  </a:lnTo>
                  <a:lnTo>
                    <a:pt x="275" y="80"/>
                  </a:lnTo>
                  <a:lnTo>
                    <a:pt x="271" y="80"/>
                  </a:lnTo>
                  <a:lnTo>
                    <a:pt x="271" y="84"/>
                  </a:lnTo>
                  <a:lnTo>
                    <a:pt x="271" y="88"/>
                  </a:lnTo>
                  <a:lnTo>
                    <a:pt x="271" y="92"/>
                  </a:lnTo>
                  <a:lnTo>
                    <a:pt x="267" y="92"/>
                  </a:lnTo>
                  <a:lnTo>
                    <a:pt x="267" y="96"/>
                  </a:lnTo>
                  <a:lnTo>
                    <a:pt x="267" y="100"/>
                  </a:lnTo>
                  <a:lnTo>
                    <a:pt x="267" y="104"/>
                  </a:lnTo>
                  <a:lnTo>
                    <a:pt x="267" y="108"/>
                  </a:lnTo>
                  <a:lnTo>
                    <a:pt x="263" y="108"/>
                  </a:lnTo>
                  <a:lnTo>
                    <a:pt x="263" y="112"/>
                  </a:lnTo>
                  <a:lnTo>
                    <a:pt x="263" y="116"/>
                  </a:lnTo>
                  <a:lnTo>
                    <a:pt x="263" y="120"/>
                  </a:lnTo>
                  <a:lnTo>
                    <a:pt x="263" y="124"/>
                  </a:lnTo>
                  <a:lnTo>
                    <a:pt x="259" y="124"/>
                  </a:lnTo>
                  <a:lnTo>
                    <a:pt x="259" y="128"/>
                  </a:lnTo>
                  <a:lnTo>
                    <a:pt x="259" y="132"/>
                  </a:lnTo>
                  <a:lnTo>
                    <a:pt x="259" y="136"/>
                  </a:lnTo>
                  <a:lnTo>
                    <a:pt x="259" y="140"/>
                  </a:lnTo>
                  <a:lnTo>
                    <a:pt x="255" y="140"/>
                  </a:lnTo>
                  <a:lnTo>
                    <a:pt x="255" y="144"/>
                  </a:lnTo>
                  <a:lnTo>
                    <a:pt x="255" y="148"/>
                  </a:lnTo>
                  <a:lnTo>
                    <a:pt x="259" y="152"/>
                  </a:lnTo>
                  <a:lnTo>
                    <a:pt x="259" y="155"/>
                  </a:lnTo>
                  <a:lnTo>
                    <a:pt x="259" y="159"/>
                  </a:lnTo>
                  <a:lnTo>
                    <a:pt x="259" y="163"/>
                  </a:lnTo>
                  <a:lnTo>
                    <a:pt x="259" y="167"/>
                  </a:lnTo>
                  <a:lnTo>
                    <a:pt x="259" y="171"/>
                  </a:lnTo>
                  <a:lnTo>
                    <a:pt x="263" y="175"/>
                  </a:lnTo>
                  <a:lnTo>
                    <a:pt x="263" y="179"/>
                  </a:lnTo>
                  <a:lnTo>
                    <a:pt x="263" y="183"/>
                  </a:lnTo>
                  <a:lnTo>
                    <a:pt x="259" y="183"/>
                  </a:lnTo>
                  <a:lnTo>
                    <a:pt x="259" y="187"/>
                  </a:lnTo>
                  <a:lnTo>
                    <a:pt x="259" y="191"/>
                  </a:lnTo>
                  <a:lnTo>
                    <a:pt x="263" y="191"/>
                  </a:lnTo>
                  <a:lnTo>
                    <a:pt x="263" y="195"/>
                  </a:lnTo>
                  <a:lnTo>
                    <a:pt x="263" y="199"/>
                  </a:lnTo>
                  <a:lnTo>
                    <a:pt x="263" y="203"/>
                  </a:lnTo>
                  <a:lnTo>
                    <a:pt x="263" y="207"/>
                  </a:lnTo>
                  <a:lnTo>
                    <a:pt x="263" y="211"/>
                  </a:lnTo>
                  <a:lnTo>
                    <a:pt x="263" y="215"/>
                  </a:lnTo>
                  <a:lnTo>
                    <a:pt x="267" y="219"/>
                  </a:lnTo>
                  <a:lnTo>
                    <a:pt x="271" y="223"/>
                  </a:lnTo>
                  <a:lnTo>
                    <a:pt x="275" y="223"/>
                  </a:lnTo>
                  <a:lnTo>
                    <a:pt x="275" y="227"/>
                  </a:lnTo>
                  <a:lnTo>
                    <a:pt x="275" y="231"/>
                  </a:lnTo>
                  <a:lnTo>
                    <a:pt x="275" y="235"/>
                  </a:lnTo>
                  <a:lnTo>
                    <a:pt x="279" y="235"/>
                  </a:lnTo>
                  <a:lnTo>
                    <a:pt x="279" y="239"/>
                  </a:lnTo>
                  <a:lnTo>
                    <a:pt x="279" y="243"/>
                  </a:lnTo>
                  <a:lnTo>
                    <a:pt x="283" y="243"/>
                  </a:lnTo>
                  <a:lnTo>
                    <a:pt x="283" y="247"/>
                  </a:lnTo>
                  <a:lnTo>
                    <a:pt x="279" y="247"/>
                  </a:lnTo>
                  <a:lnTo>
                    <a:pt x="275" y="247"/>
                  </a:lnTo>
                  <a:lnTo>
                    <a:pt x="271" y="251"/>
                  </a:lnTo>
                  <a:lnTo>
                    <a:pt x="263" y="251"/>
                  </a:lnTo>
                  <a:lnTo>
                    <a:pt x="259" y="251"/>
                  </a:lnTo>
                  <a:lnTo>
                    <a:pt x="255" y="251"/>
                  </a:lnTo>
                  <a:lnTo>
                    <a:pt x="255" y="255"/>
                  </a:lnTo>
                  <a:lnTo>
                    <a:pt x="255" y="259"/>
                  </a:lnTo>
                  <a:lnTo>
                    <a:pt x="251" y="259"/>
                  </a:lnTo>
                  <a:lnTo>
                    <a:pt x="251" y="263"/>
                  </a:lnTo>
                  <a:lnTo>
                    <a:pt x="247" y="267"/>
                  </a:lnTo>
                  <a:lnTo>
                    <a:pt x="247" y="271"/>
                  </a:lnTo>
                  <a:lnTo>
                    <a:pt x="251" y="275"/>
                  </a:lnTo>
                  <a:lnTo>
                    <a:pt x="251" y="279"/>
                  </a:lnTo>
                  <a:lnTo>
                    <a:pt x="251" y="283"/>
                  </a:lnTo>
                  <a:lnTo>
                    <a:pt x="251" y="287"/>
                  </a:lnTo>
                  <a:lnTo>
                    <a:pt x="251" y="291"/>
                  </a:lnTo>
                  <a:lnTo>
                    <a:pt x="251" y="295"/>
                  </a:lnTo>
                  <a:lnTo>
                    <a:pt x="247" y="295"/>
                  </a:lnTo>
                  <a:lnTo>
                    <a:pt x="247" y="299"/>
                  </a:lnTo>
                  <a:lnTo>
                    <a:pt x="247" y="303"/>
                  </a:lnTo>
                  <a:lnTo>
                    <a:pt x="247" y="307"/>
                  </a:lnTo>
                  <a:lnTo>
                    <a:pt x="247" y="311"/>
                  </a:lnTo>
                  <a:lnTo>
                    <a:pt x="247" y="315"/>
                  </a:lnTo>
                  <a:lnTo>
                    <a:pt x="251" y="315"/>
                  </a:lnTo>
                  <a:lnTo>
                    <a:pt x="251" y="319"/>
                  </a:lnTo>
                  <a:lnTo>
                    <a:pt x="255" y="323"/>
                  </a:lnTo>
                  <a:lnTo>
                    <a:pt x="259" y="323"/>
                  </a:lnTo>
                  <a:lnTo>
                    <a:pt x="263" y="327"/>
                  </a:lnTo>
                  <a:lnTo>
                    <a:pt x="263" y="323"/>
                  </a:lnTo>
                  <a:lnTo>
                    <a:pt x="267" y="319"/>
                  </a:lnTo>
                  <a:lnTo>
                    <a:pt x="267" y="323"/>
                  </a:lnTo>
                  <a:lnTo>
                    <a:pt x="267" y="327"/>
                  </a:lnTo>
                  <a:lnTo>
                    <a:pt x="267" y="331"/>
                  </a:lnTo>
                  <a:lnTo>
                    <a:pt x="267" y="339"/>
                  </a:lnTo>
                  <a:lnTo>
                    <a:pt x="267" y="343"/>
                  </a:lnTo>
                  <a:lnTo>
                    <a:pt x="263" y="343"/>
                  </a:lnTo>
                  <a:lnTo>
                    <a:pt x="267" y="343"/>
                  </a:lnTo>
                  <a:lnTo>
                    <a:pt x="263" y="339"/>
                  </a:lnTo>
                  <a:lnTo>
                    <a:pt x="263" y="343"/>
                  </a:lnTo>
                  <a:lnTo>
                    <a:pt x="259" y="343"/>
                  </a:lnTo>
                  <a:lnTo>
                    <a:pt x="255" y="343"/>
                  </a:lnTo>
                  <a:lnTo>
                    <a:pt x="255" y="339"/>
                  </a:lnTo>
                  <a:lnTo>
                    <a:pt x="251" y="335"/>
                  </a:lnTo>
                  <a:lnTo>
                    <a:pt x="247" y="335"/>
                  </a:lnTo>
                  <a:lnTo>
                    <a:pt x="247" y="331"/>
                  </a:lnTo>
                  <a:lnTo>
                    <a:pt x="247" y="327"/>
                  </a:lnTo>
                  <a:lnTo>
                    <a:pt x="243" y="327"/>
                  </a:lnTo>
                  <a:lnTo>
                    <a:pt x="240" y="323"/>
                  </a:lnTo>
                  <a:lnTo>
                    <a:pt x="236" y="323"/>
                  </a:lnTo>
                  <a:lnTo>
                    <a:pt x="232" y="319"/>
                  </a:lnTo>
                  <a:lnTo>
                    <a:pt x="232" y="315"/>
                  </a:lnTo>
                  <a:lnTo>
                    <a:pt x="228" y="315"/>
                  </a:lnTo>
                  <a:lnTo>
                    <a:pt x="228" y="311"/>
                  </a:lnTo>
                  <a:lnTo>
                    <a:pt x="224" y="315"/>
                  </a:lnTo>
                  <a:lnTo>
                    <a:pt x="224" y="319"/>
                  </a:lnTo>
                  <a:lnTo>
                    <a:pt x="220" y="319"/>
                  </a:lnTo>
                  <a:lnTo>
                    <a:pt x="216" y="315"/>
                  </a:lnTo>
                  <a:lnTo>
                    <a:pt x="212" y="315"/>
                  </a:lnTo>
                  <a:lnTo>
                    <a:pt x="208" y="315"/>
                  </a:lnTo>
                  <a:lnTo>
                    <a:pt x="204" y="311"/>
                  </a:lnTo>
                  <a:lnTo>
                    <a:pt x="200" y="311"/>
                  </a:lnTo>
                  <a:lnTo>
                    <a:pt x="200" y="307"/>
                  </a:lnTo>
                  <a:lnTo>
                    <a:pt x="200" y="303"/>
                  </a:lnTo>
                  <a:lnTo>
                    <a:pt x="196" y="303"/>
                  </a:lnTo>
                  <a:lnTo>
                    <a:pt x="192" y="307"/>
                  </a:lnTo>
                  <a:lnTo>
                    <a:pt x="188" y="307"/>
                  </a:lnTo>
                  <a:lnTo>
                    <a:pt x="184" y="307"/>
                  </a:lnTo>
                  <a:lnTo>
                    <a:pt x="188" y="303"/>
                  </a:lnTo>
                  <a:lnTo>
                    <a:pt x="188" y="299"/>
                  </a:lnTo>
                  <a:lnTo>
                    <a:pt x="184" y="299"/>
                  </a:lnTo>
                  <a:lnTo>
                    <a:pt x="180" y="299"/>
                  </a:lnTo>
                  <a:lnTo>
                    <a:pt x="180" y="295"/>
                  </a:lnTo>
                  <a:lnTo>
                    <a:pt x="180" y="299"/>
                  </a:lnTo>
                  <a:lnTo>
                    <a:pt x="176" y="299"/>
                  </a:lnTo>
                  <a:lnTo>
                    <a:pt x="172" y="299"/>
                  </a:lnTo>
                  <a:lnTo>
                    <a:pt x="168" y="299"/>
                  </a:lnTo>
                  <a:lnTo>
                    <a:pt x="164" y="299"/>
                  </a:lnTo>
                  <a:lnTo>
                    <a:pt x="160" y="299"/>
                  </a:lnTo>
                  <a:lnTo>
                    <a:pt x="156" y="299"/>
                  </a:lnTo>
                  <a:lnTo>
                    <a:pt x="156" y="303"/>
                  </a:lnTo>
                  <a:lnTo>
                    <a:pt x="152" y="303"/>
                  </a:lnTo>
                  <a:lnTo>
                    <a:pt x="152" y="299"/>
                  </a:lnTo>
                  <a:lnTo>
                    <a:pt x="152" y="295"/>
                  </a:lnTo>
                  <a:lnTo>
                    <a:pt x="156" y="295"/>
                  </a:lnTo>
                  <a:lnTo>
                    <a:pt x="156" y="291"/>
                  </a:lnTo>
                  <a:lnTo>
                    <a:pt x="156" y="287"/>
                  </a:lnTo>
                  <a:lnTo>
                    <a:pt x="152" y="283"/>
                  </a:lnTo>
                  <a:lnTo>
                    <a:pt x="152" y="279"/>
                  </a:lnTo>
                  <a:lnTo>
                    <a:pt x="148" y="275"/>
                  </a:lnTo>
                  <a:lnTo>
                    <a:pt x="148" y="271"/>
                  </a:lnTo>
                  <a:lnTo>
                    <a:pt x="148" y="267"/>
                  </a:lnTo>
                  <a:lnTo>
                    <a:pt x="148" y="263"/>
                  </a:lnTo>
                  <a:lnTo>
                    <a:pt x="148" y="259"/>
                  </a:lnTo>
                  <a:lnTo>
                    <a:pt x="148" y="255"/>
                  </a:lnTo>
                  <a:lnTo>
                    <a:pt x="148" y="251"/>
                  </a:lnTo>
                  <a:lnTo>
                    <a:pt x="148" y="247"/>
                  </a:lnTo>
                  <a:lnTo>
                    <a:pt x="148" y="243"/>
                  </a:lnTo>
                  <a:lnTo>
                    <a:pt x="148" y="239"/>
                  </a:lnTo>
                  <a:lnTo>
                    <a:pt x="148" y="235"/>
                  </a:lnTo>
                  <a:lnTo>
                    <a:pt x="148" y="231"/>
                  </a:lnTo>
                  <a:lnTo>
                    <a:pt x="144" y="231"/>
                  </a:lnTo>
                  <a:lnTo>
                    <a:pt x="136" y="231"/>
                  </a:lnTo>
                  <a:lnTo>
                    <a:pt x="128" y="231"/>
                  </a:lnTo>
                  <a:lnTo>
                    <a:pt x="128" y="227"/>
                  </a:lnTo>
                  <a:lnTo>
                    <a:pt x="128" y="223"/>
                  </a:lnTo>
                  <a:lnTo>
                    <a:pt x="124" y="223"/>
                  </a:lnTo>
                  <a:lnTo>
                    <a:pt x="124" y="227"/>
                  </a:lnTo>
                  <a:lnTo>
                    <a:pt x="120" y="227"/>
                  </a:lnTo>
                  <a:lnTo>
                    <a:pt x="112" y="227"/>
                  </a:lnTo>
                  <a:lnTo>
                    <a:pt x="112" y="231"/>
                  </a:lnTo>
                  <a:lnTo>
                    <a:pt x="112" y="235"/>
                  </a:lnTo>
                  <a:lnTo>
                    <a:pt x="112" y="239"/>
                  </a:lnTo>
                  <a:lnTo>
                    <a:pt x="108" y="239"/>
                  </a:lnTo>
                  <a:lnTo>
                    <a:pt x="108" y="243"/>
                  </a:lnTo>
                  <a:lnTo>
                    <a:pt x="112" y="243"/>
                  </a:lnTo>
                  <a:lnTo>
                    <a:pt x="104" y="243"/>
                  </a:lnTo>
                  <a:lnTo>
                    <a:pt x="100" y="243"/>
                  </a:lnTo>
                  <a:lnTo>
                    <a:pt x="96" y="243"/>
                  </a:lnTo>
                  <a:lnTo>
                    <a:pt x="92" y="243"/>
                  </a:lnTo>
                  <a:lnTo>
                    <a:pt x="92" y="247"/>
                  </a:lnTo>
                  <a:lnTo>
                    <a:pt x="88" y="247"/>
                  </a:lnTo>
                  <a:lnTo>
                    <a:pt x="88" y="243"/>
                  </a:lnTo>
                  <a:lnTo>
                    <a:pt x="84" y="247"/>
                  </a:lnTo>
                  <a:lnTo>
                    <a:pt x="84" y="243"/>
                  </a:lnTo>
                  <a:lnTo>
                    <a:pt x="80" y="243"/>
                  </a:lnTo>
                  <a:lnTo>
                    <a:pt x="80" y="239"/>
                  </a:lnTo>
                  <a:lnTo>
                    <a:pt x="76" y="235"/>
                  </a:lnTo>
                  <a:lnTo>
                    <a:pt x="76" y="231"/>
                  </a:lnTo>
                  <a:lnTo>
                    <a:pt x="72" y="231"/>
                  </a:lnTo>
                  <a:lnTo>
                    <a:pt x="72" y="227"/>
                  </a:lnTo>
                  <a:lnTo>
                    <a:pt x="72" y="223"/>
                  </a:lnTo>
                  <a:lnTo>
                    <a:pt x="72" y="219"/>
                  </a:lnTo>
                  <a:lnTo>
                    <a:pt x="68" y="215"/>
                  </a:lnTo>
                  <a:lnTo>
                    <a:pt x="68" y="211"/>
                  </a:lnTo>
                  <a:lnTo>
                    <a:pt x="68" y="207"/>
                  </a:lnTo>
                  <a:lnTo>
                    <a:pt x="68" y="203"/>
                  </a:lnTo>
                  <a:lnTo>
                    <a:pt x="64" y="203"/>
                  </a:lnTo>
                  <a:lnTo>
                    <a:pt x="60" y="20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3" name="Freeform 130"/>
            <p:cNvSpPr>
              <a:spLocks noEditPoints="1"/>
            </p:cNvSpPr>
            <p:nvPr>
              <p:custDataLst>
                <p:tags r:id="rId325"/>
              </p:custDataLst>
            </p:nvPr>
          </p:nvSpPr>
          <p:spPr bwMode="gray">
            <a:xfrm>
              <a:off x="4180296" y="4302308"/>
              <a:ext cx="142374" cy="177968"/>
            </a:xfrm>
            <a:custGeom>
              <a:avLst/>
              <a:gdLst/>
              <a:ahLst/>
              <a:cxnLst>
                <a:cxn ang="0">
                  <a:pos x="48" y="104"/>
                </a:cxn>
                <a:cxn ang="0">
                  <a:pos x="56" y="104"/>
                </a:cxn>
                <a:cxn ang="0">
                  <a:pos x="48" y="104"/>
                </a:cxn>
                <a:cxn ang="0">
                  <a:pos x="36" y="108"/>
                </a:cxn>
                <a:cxn ang="0">
                  <a:pos x="32" y="112"/>
                </a:cxn>
                <a:cxn ang="0">
                  <a:pos x="24" y="116"/>
                </a:cxn>
                <a:cxn ang="0">
                  <a:pos x="20" y="120"/>
                </a:cxn>
                <a:cxn ang="0">
                  <a:pos x="16" y="112"/>
                </a:cxn>
                <a:cxn ang="0">
                  <a:pos x="20" y="100"/>
                </a:cxn>
                <a:cxn ang="0">
                  <a:pos x="20" y="92"/>
                </a:cxn>
                <a:cxn ang="0">
                  <a:pos x="16" y="88"/>
                </a:cxn>
                <a:cxn ang="0">
                  <a:pos x="12" y="84"/>
                </a:cxn>
                <a:cxn ang="0">
                  <a:pos x="0" y="80"/>
                </a:cxn>
                <a:cxn ang="0">
                  <a:pos x="4" y="76"/>
                </a:cxn>
                <a:cxn ang="0">
                  <a:pos x="4" y="72"/>
                </a:cxn>
                <a:cxn ang="0">
                  <a:pos x="4" y="60"/>
                </a:cxn>
                <a:cxn ang="0">
                  <a:pos x="8" y="60"/>
                </a:cxn>
                <a:cxn ang="0">
                  <a:pos x="8" y="52"/>
                </a:cxn>
                <a:cxn ang="0">
                  <a:pos x="8" y="48"/>
                </a:cxn>
                <a:cxn ang="0">
                  <a:pos x="12" y="40"/>
                </a:cxn>
                <a:cxn ang="0">
                  <a:pos x="16" y="44"/>
                </a:cxn>
                <a:cxn ang="0">
                  <a:pos x="12" y="36"/>
                </a:cxn>
                <a:cxn ang="0">
                  <a:pos x="16" y="32"/>
                </a:cxn>
                <a:cxn ang="0">
                  <a:pos x="8" y="24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20" y="8"/>
                </a:cxn>
                <a:cxn ang="0">
                  <a:pos x="24" y="12"/>
                </a:cxn>
                <a:cxn ang="0">
                  <a:pos x="32" y="8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40" y="8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52" y="8"/>
                </a:cxn>
                <a:cxn ang="0">
                  <a:pos x="60" y="16"/>
                </a:cxn>
                <a:cxn ang="0">
                  <a:pos x="64" y="20"/>
                </a:cxn>
                <a:cxn ang="0">
                  <a:pos x="72" y="16"/>
                </a:cxn>
                <a:cxn ang="0">
                  <a:pos x="80" y="16"/>
                </a:cxn>
                <a:cxn ang="0">
                  <a:pos x="88" y="24"/>
                </a:cxn>
                <a:cxn ang="0">
                  <a:pos x="92" y="28"/>
                </a:cxn>
                <a:cxn ang="0">
                  <a:pos x="92" y="36"/>
                </a:cxn>
                <a:cxn ang="0">
                  <a:pos x="92" y="48"/>
                </a:cxn>
                <a:cxn ang="0">
                  <a:pos x="88" y="64"/>
                </a:cxn>
                <a:cxn ang="0">
                  <a:pos x="84" y="76"/>
                </a:cxn>
                <a:cxn ang="0">
                  <a:pos x="84" y="84"/>
                </a:cxn>
                <a:cxn ang="0">
                  <a:pos x="88" y="96"/>
                </a:cxn>
                <a:cxn ang="0">
                  <a:pos x="92" y="104"/>
                </a:cxn>
                <a:cxn ang="0">
                  <a:pos x="88" y="104"/>
                </a:cxn>
                <a:cxn ang="0">
                  <a:pos x="84" y="100"/>
                </a:cxn>
                <a:cxn ang="0">
                  <a:pos x="80" y="104"/>
                </a:cxn>
                <a:cxn ang="0">
                  <a:pos x="76" y="104"/>
                </a:cxn>
                <a:cxn ang="0">
                  <a:pos x="76" y="100"/>
                </a:cxn>
                <a:cxn ang="0">
                  <a:pos x="76" y="100"/>
                </a:cxn>
                <a:cxn ang="0">
                  <a:pos x="64" y="100"/>
                </a:cxn>
                <a:cxn ang="0">
                  <a:pos x="64" y="104"/>
                </a:cxn>
                <a:cxn ang="0">
                  <a:pos x="68" y="100"/>
                </a:cxn>
                <a:cxn ang="0">
                  <a:pos x="60" y="104"/>
                </a:cxn>
                <a:cxn ang="0">
                  <a:pos x="56" y="104"/>
                </a:cxn>
                <a:cxn ang="0">
                  <a:pos x="52" y="104"/>
                </a:cxn>
                <a:cxn ang="0">
                  <a:pos x="84" y="104"/>
                </a:cxn>
              </a:cxnLst>
              <a:rect l="0" t="0" r="r" b="b"/>
              <a:pathLst>
                <a:path w="96" h="120">
                  <a:moveTo>
                    <a:pt x="52" y="104"/>
                  </a:move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16" y="120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6" y="104"/>
                  </a:lnTo>
                  <a:lnTo>
                    <a:pt x="20" y="104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8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92" y="96"/>
                  </a:lnTo>
                  <a:lnTo>
                    <a:pt x="92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2" y="104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68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72" y="100"/>
                  </a:lnTo>
                  <a:lnTo>
                    <a:pt x="72" y="104"/>
                  </a:lnTo>
                  <a:lnTo>
                    <a:pt x="68" y="104"/>
                  </a:lnTo>
                  <a:lnTo>
                    <a:pt x="68" y="104"/>
                  </a:lnTo>
                  <a:lnTo>
                    <a:pt x="68" y="104"/>
                  </a:lnTo>
                  <a:lnTo>
                    <a:pt x="64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close/>
                  <a:moveTo>
                    <a:pt x="84" y="104"/>
                  </a:move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4" name="Freeform 131"/>
            <p:cNvSpPr>
              <a:spLocks/>
            </p:cNvSpPr>
            <p:nvPr>
              <p:custDataLst>
                <p:tags r:id="rId326"/>
              </p:custDataLst>
            </p:nvPr>
          </p:nvSpPr>
          <p:spPr bwMode="gray">
            <a:xfrm>
              <a:off x="5310391" y="4248918"/>
              <a:ext cx="41526" cy="47458"/>
            </a:xfrm>
            <a:custGeom>
              <a:avLst/>
              <a:gdLst/>
              <a:ahLst/>
              <a:cxnLst>
                <a:cxn ang="0">
                  <a:pos x="24" y="4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4" y="12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6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8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0" y="24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4"/>
                </a:cxn>
                <a:cxn ang="0">
                  <a:pos x="24" y="4"/>
                </a:cxn>
              </a:cxnLst>
              <a:rect l="0" t="0" r="r" b="b"/>
              <a:pathLst>
                <a:path w="28" h="32">
                  <a:moveTo>
                    <a:pt x="24" y="4"/>
                  </a:moveTo>
                  <a:lnTo>
                    <a:pt x="24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5" name="Freeform 132"/>
            <p:cNvSpPr>
              <a:spLocks/>
            </p:cNvSpPr>
            <p:nvPr>
              <p:custDataLst>
                <p:tags r:id="rId327"/>
              </p:custDataLst>
            </p:nvPr>
          </p:nvSpPr>
          <p:spPr bwMode="gray">
            <a:xfrm>
              <a:off x="4932210" y="3716497"/>
              <a:ext cx="271400" cy="272884"/>
            </a:xfrm>
            <a:custGeom>
              <a:avLst/>
              <a:gdLst/>
              <a:ahLst/>
              <a:cxnLst>
                <a:cxn ang="0">
                  <a:pos x="115" y="8"/>
                </a:cxn>
                <a:cxn ang="0">
                  <a:pos x="127" y="12"/>
                </a:cxn>
                <a:cxn ang="0">
                  <a:pos x="139" y="8"/>
                </a:cxn>
                <a:cxn ang="0">
                  <a:pos x="147" y="20"/>
                </a:cxn>
                <a:cxn ang="0">
                  <a:pos x="151" y="36"/>
                </a:cxn>
                <a:cxn ang="0">
                  <a:pos x="151" y="52"/>
                </a:cxn>
                <a:cxn ang="0">
                  <a:pos x="147" y="68"/>
                </a:cxn>
                <a:cxn ang="0">
                  <a:pos x="139" y="72"/>
                </a:cxn>
                <a:cxn ang="0">
                  <a:pos x="131" y="64"/>
                </a:cxn>
                <a:cxn ang="0">
                  <a:pos x="123" y="48"/>
                </a:cxn>
                <a:cxn ang="0">
                  <a:pos x="119" y="32"/>
                </a:cxn>
                <a:cxn ang="0">
                  <a:pos x="119" y="44"/>
                </a:cxn>
                <a:cxn ang="0">
                  <a:pos x="123" y="56"/>
                </a:cxn>
                <a:cxn ang="0">
                  <a:pos x="131" y="68"/>
                </a:cxn>
                <a:cxn ang="0">
                  <a:pos x="131" y="76"/>
                </a:cxn>
                <a:cxn ang="0">
                  <a:pos x="135" y="88"/>
                </a:cxn>
                <a:cxn ang="0">
                  <a:pos x="143" y="104"/>
                </a:cxn>
                <a:cxn ang="0">
                  <a:pos x="151" y="120"/>
                </a:cxn>
                <a:cxn ang="0">
                  <a:pos x="155" y="132"/>
                </a:cxn>
                <a:cxn ang="0">
                  <a:pos x="163" y="144"/>
                </a:cxn>
                <a:cxn ang="0">
                  <a:pos x="163" y="152"/>
                </a:cxn>
                <a:cxn ang="0">
                  <a:pos x="163" y="168"/>
                </a:cxn>
                <a:cxn ang="0">
                  <a:pos x="175" y="176"/>
                </a:cxn>
                <a:cxn ang="0">
                  <a:pos x="183" y="184"/>
                </a:cxn>
                <a:cxn ang="0">
                  <a:pos x="167" y="184"/>
                </a:cxn>
                <a:cxn ang="0">
                  <a:pos x="151" y="184"/>
                </a:cxn>
                <a:cxn ang="0">
                  <a:pos x="131" y="184"/>
                </a:cxn>
                <a:cxn ang="0">
                  <a:pos x="107" y="184"/>
                </a:cxn>
                <a:cxn ang="0">
                  <a:pos x="99" y="180"/>
                </a:cxn>
                <a:cxn ang="0">
                  <a:pos x="87" y="184"/>
                </a:cxn>
                <a:cxn ang="0">
                  <a:pos x="67" y="184"/>
                </a:cxn>
                <a:cxn ang="0">
                  <a:pos x="44" y="184"/>
                </a:cxn>
                <a:cxn ang="0">
                  <a:pos x="28" y="184"/>
                </a:cxn>
                <a:cxn ang="0">
                  <a:pos x="4" y="184"/>
                </a:cxn>
                <a:cxn ang="0">
                  <a:pos x="4" y="140"/>
                </a:cxn>
                <a:cxn ang="0">
                  <a:pos x="4" y="108"/>
                </a:cxn>
                <a:cxn ang="0">
                  <a:pos x="4" y="88"/>
                </a:cxn>
                <a:cxn ang="0">
                  <a:pos x="4" y="68"/>
                </a:cxn>
                <a:cxn ang="0">
                  <a:pos x="4" y="44"/>
                </a:cxn>
                <a:cxn ang="0">
                  <a:pos x="0" y="28"/>
                </a:cxn>
                <a:cxn ang="0">
                  <a:pos x="4" y="12"/>
                </a:cxn>
                <a:cxn ang="0">
                  <a:pos x="4" y="0"/>
                </a:cxn>
                <a:cxn ang="0">
                  <a:pos x="20" y="0"/>
                </a:cxn>
                <a:cxn ang="0">
                  <a:pos x="32" y="4"/>
                </a:cxn>
                <a:cxn ang="0">
                  <a:pos x="44" y="8"/>
                </a:cxn>
                <a:cxn ang="0">
                  <a:pos x="59" y="12"/>
                </a:cxn>
                <a:cxn ang="0">
                  <a:pos x="75" y="12"/>
                </a:cxn>
                <a:cxn ang="0">
                  <a:pos x="79" y="8"/>
                </a:cxn>
                <a:cxn ang="0">
                  <a:pos x="83" y="4"/>
                </a:cxn>
                <a:cxn ang="0">
                  <a:pos x="91" y="4"/>
                </a:cxn>
                <a:cxn ang="0">
                  <a:pos x="95" y="0"/>
                </a:cxn>
                <a:cxn ang="0">
                  <a:pos x="107" y="4"/>
                </a:cxn>
                <a:cxn ang="0">
                  <a:pos x="107" y="4"/>
                </a:cxn>
                <a:cxn ang="0">
                  <a:pos x="111" y="12"/>
                </a:cxn>
              </a:cxnLst>
              <a:rect l="0" t="0" r="r" b="b"/>
              <a:pathLst>
                <a:path w="183" h="184">
                  <a:moveTo>
                    <a:pt x="111" y="8"/>
                  </a:moveTo>
                  <a:lnTo>
                    <a:pt x="115" y="8"/>
                  </a:lnTo>
                  <a:lnTo>
                    <a:pt x="111" y="8"/>
                  </a:lnTo>
                  <a:lnTo>
                    <a:pt x="115" y="8"/>
                  </a:lnTo>
                  <a:lnTo>
                    <a:pt x="119" y="12"/>
                  </a:lnTo>
                  <a:lnTo>
                    <a:pt x="123" y="8"/>
                  </a:lnTo>
                  <a:lnTo>
                    <a:pt x="127" y="8"/>
                  </a:lnTo>
                  <a:lnTo>
                    <a:pt x="127" y="12"/>
                  </a:lnTo>
                  <a:lnTo>
                    <a:pt x="127" y="8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43" y="4"/>
                  </a:lnTo>
                  <a:lnTo>
                    <a:pt x="143" y="8"/>
                  </a:lnTo>
                  <a:lnTo>
                    <a:pt x="147" y="16"/>
                  </a:lnTo>
                  <a:lnTo>
                    <a:pt x="147" y="20"/>
                  </a:lnTo>
                  <a:lnTo>
                    <a:pt x="147" y="24"/>
                  </a:lnTo>
                  <a:lnTo>
                    <a:pt x="151" y="28"/>
                  </a:lnTo>
                  <a:lnTo>
                    <a:pt x="151" y="32"/>
                  </a:lnTo>
                  <a:lnTo>
                    <a:pt x="151" y="36"/>
                  </a:lnTo>
                  <a:lnTo>
                    <a:pt x="151" y="40"/>
                  </a:lnTo>
                  <a:lnTo>
                    <a:pt x="151" y="44"/>
                  </a:lnTo>
                  <a:lnTo>
                    <a:pt x="151" y="48"/>
                  </a:lnTo>
                  <a:lnTo>
                    <a:pt x="151" y="52"/>
                  </a:lnTo>
                  <a:lnTo>
                    <a:pt x="147" y="56"/>
                  </a:lnTo>
                  <a:lnTo>
                    <a:pt x="147" y="60"/>
                  </a:lnTo>
                  <a:lnTo>
                    <a:pt x="147" y="64"/>
                  </a:lnTo>
                  <a:lnTo>
                    <a:pt x="147" y="68"/>
                  </a:lnTo>
                  <a:lnTo>
                    <a:pt x="147" y="72"/>
                  </a:lnTo>
                  <a:lnTo>
                    <a:pt x="143" y="72"/>
                  </a:lnTo>
                  <a:lnTo>
                    <a:pt x="143" y="76"/>
                  </a:lnTo>
                  <a:lnTo>
                    <a:pt x="139" y="72"/>
                  </a:lnTo>
                  <a:lnTo>
                    <a:pt x="135" y="72"/>
                  </a:lnTo>
                  <a:lnTo>
                    <a:pt x="135" y="68"/>
                  </a:lnTo>
                  <a:lnTo>
                    <a:pt x="135" y="64"/>
                  </a:lnTo>
                  <a:lnTo>
                    <a:pt x="131" y="64"/>
                  </a:lnTo>
                  <a:lnTo>
                    <a:pt x="127" y="60"/>
                  </a:lnTo>
                  <a:lnTo>
                    <a:pt x="127" y="56"/>
                  </a:lnTo>
                  <a:lnTo>
                    <a:pt x="127" y="52"/>
                  </a:lnTo>
                  <a:lnTo>
                    <a:pt x="123" y="48"/>
                  </a:lnTo>
                  <a:lnTo>
                    <a:pt x="119" y="44"/>
                  </a:lnTo>
                  <a:lnTo>
                    <a:pt x="119" y="40"/>
                  </a:lnTo>
                  <a:lnTo>
                    <a:pt x="119" y="36"/>
                  </a:lnTo>
                  <a:lnTo>
                    <a:pt x="119" y="32"/>
                  </a:lnTo>
                  <a:lnTo>
                    <a:pt x="115" y="32"/>
                  </a:lnTo>
                  <a:lnTo>
                    <a:pt x="115" y="36"/>
                  </a:lnTo>
                  <a:lnTo>
                    <a:pt x="115" y="40"/>
                  </a:lnTo>
                  <a:lnTo>
                    <a:pt x="119" y="44"/>
                  </a:lnTo>
                  <a:lnTo>
                    <a:pt x="119" y="48"/>
                  </a:lnTo>
                  <a:lnTo>
                    <a:pt x="119" y="52"/>
                  </a:lnTo>
                  <a:lnTo>
                    <a:pt x="119" y="56"/>
                  </a:lnTo>
                  <a:lnTo>
                    <a:pt x="123" y="56"/>
                  </a:lnTo>
                  <a:lnTo>
                    <a:pt x="123" y="60"/>
                  </a:lnTo>
                  <a:lnTo>
                    <a:pt x="127" y="64"/>
                  </a:lnTo>
                  <a:lnTo>
                    <a:pt x="127" y="68"/>
                  </a:lnTo>
                  <a:lnTo>
                    <a:pt x="131" y="68"/>
                  </a:lnTo>
                  <a:lnTo>
                    <a:pt x="131" y="72"/>
                  </a:lnTo>
                  <a:lnTo>
                    <a:pt x="131" y="76"/>
                  </a:lnTo>
                  <a:lnTo>
                    <a:pt x="131" y="72"/>
                  </a:lnTo>
                  <a:lnTo>
                    <a:pt x="131" y="76"/>
                  </a:lnTo>
                  <a:lnTo>
                    <a:pt x="131" y="80"/>
                  </a:lnTo>
                  <a:lnTo>
                    <a:pt x="135" y="80"/>
                  </a:lnTo>
                  <a:lnTo>
                    <a:pt x="135" y="84"/>
                  </a:lnTo>
                  <a:lnTo>
                    <a:pt x="135" y="88"/>
                  </a:lnTo>
                  <a:lnTo>
                    <a:pt x="139" y="92"/>
                  </a:lnTo>
                  <a:lnTo>
                    <a:pt x="139" y="96"/>
                  </a:lnTo>
                  <a:lnTo>
                    <a:pt x="139" y="100"/>
                  </a:lnTo>
                  <a:lnTo>
                    <a:pt x="143" y="104"/>
                  </a:lnTo>
                  <a:lnTo>
                    <a:pt x="143" y="108"/>
                  </a:lnTo>
                  <a:lnTo>
                    <a:pt x="147" y="112"/>
                  </a:lnTo>
                  <a:lnTo>
                    <a:pt x="147" y="116"/>
                  </a:lnTo>
                  <a:lnTo>
                    <a:pt x="151" y="120"/>
                  </a:lnTo>
                  <a:lnTo>
                    <a:pt x="151" y="124"/>
                  </a:lnTo>
                  <a:lnTo>
                    <a:pt x="151" y="128"/>
                  </a:lnTo>
                  <a:lnTo>
                    <a:pt x="155" y="128"/>
                  </a:lnTo>
                  <a:lnTo>
                    <a:pt x="155" y="132"/>
                  </a:lnTo>
                  <a:lnTo>
                    <a:pt x="155" y="136"/>
                  </a:lnTo>
                  <a:lnTo>
                    <a:pt x="159" y="140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63" y="148"/>
                  </a:lnTo>
                  <a:lnTo>
                    <a:pt x="167" y="148"/>
                  </a:lnTo>
                  <a:lnTo>
                    <a:pt x="163" y="148"/>
                  </a:lnTo>
                  <a:lnTo>
                    <a:pt x="163" y="152"/>
                  </a:lnTo>
                  <a:lnTo>
                    <a:pt x="163" y="156"/>
                  </a:lnTo>
                  <a:lnTo>
                    <a:pt x="163" y="160"/>
                  </a:lnTo>
                  <a:lnTo>
                    <a:pt x="163" y="164"/>
                  </a:lnTo>
                  <a:lnTo>
                    <a:pt x="163" y="168"/>
                  </a:lnTo>
                  <a:lnTo>
                    <a:pt x="167" y="168"/>
                  </a:lnTo>
                  <a:lnTo>
                    <a:pt x="167" y="172"/>
                  </a:lnTo>
                  <a:lnTo>
                    <a:pt x="171" y="172"/>
                  </a:lnTo>
                  <a:lnTo>
                    <a:pt x="175" y="176"/>
                  </a:lnTo>
                  <a:lnTo>
                    <a:pt x="175" y="180"/>
                  </a:lnTo>
                  <a:lnTo>
                    <a:pt x="179" y="180"/>
                  </a:lnTo>
                  <a:lnTo>
                    <a:pt x="179" y="184"/>
                  </a:lnTo>
                  <a:lnTo>
                    <a:pt x="183" y="184"/>
                  </a:lnTo>
                  <a:lnTo>
                    <a:pt x="179" y="184"/>
                  </a:lnTo>
                  <a:lnTo>
                    <a:pt x="175" y="184"/>
                  </a:lnTo>
                  <a:lnTo>
                    <a:pt x="171" y="184"/>
                  </a:lnTo>
                  <a:lnTo>
                    <a:pt x="167" y="184"/>
                  </a:lnTo>
                  <a:lnTo>
                    <a:pt x="163" y="184"/>
                  </a:lnTo>
                  <a:lnTo>
                    <a:pt x="159" y="184"/>
                  </a:lnTo>
                  <a:lnTo>
                    <a:pt x="155" y="184"/>
                  </a:lnTo>
                  <a:lnTo>
                    <a:pt x="151" y="184"/>
                  </a:lnTo>
                  <a:lnTo>
                    <a:pt x="143" y="184"/>
                  </a:lnTo>
                  <a:lnTo>
                    <a:pt x="139" y="184"/>
                  </a:lnTo>
                  <a:lnTo>
                    <a:pt x="135" y="184"/>
                  </a:lnTo>
                  <a:lnTo>
                    <a:pt x="131" y="184"/>
                  </a:lnTo>
                  <a:lnTo>
                    <a:pt x="127" y="184"/>
                  </a:lnTo>
                  <a:lnTo>
                    <a:pt x="119" y="184"/>
                  </a:lnTo>
                  <a:lnTo>
                    <a:pt x="115" y="184"/>
                  </a:lnTo>
                  <a:lnTo>
                    <a:pt x="107" y="184"/>
                  </a:lnTo>
                  <a:lnTo>
                    <a:pt x="103" y="184"/>
                  </a:lnTo>
                  <a:lnTo>
                    <a:pt x="99" y="184"/>
                  </a:lnTo>
                  <a:lnTo>
                    <a:pt x="103" y="184"/>
                  </a:lnTo>
                  <a:lnTo>
                    <a:pt x="99" y="180"/>
                  </a:lnTo>
                  <a:lnTo>
                    <a:pt x="99" y="184"/>
                  </a:lnTo>
                  <a:lnTo>
                    <a:pt x="95" y="184"/>
                  </a:lnTo>
                  <a:lnTo>
                    <a:pt x="91" y="184"/>
                  </a:lnTo>
                  <a:lnTo>
                    <a:pt x="87" y="184"/>
                  </a:lnTo>
                  <a:lnTo>
                    <a:pt x="83" y="184"/>
                  </a:lnTo>
                  <a:lnTo>
                    <a:pt x="79" y="184"/>
                  </a:lnTo>
                  <a:lnTo>
                    <a:pt x="71" y="184"/>
                  </a:lnTo>
                  <a:lnTo>
                    <a:pt x="67" y="184"/>
                  </a:lnTo>
                  <a:lnTo>
                    <a:pt x="63" y="184"/>
                  </a:lnTo>
                  <a:lnTo>
                    <a:pt x="59" y="184"/>
                  </a:lnTo>
                  <a:lnTo>
                    <a:pt x="51" y="184"/>
                  </a:lnTo>
                  <a:lnTo>
                    <a:pt x="44" y="184"/>
                  </a:lnTo>
                  <a:lnTo>
                    <a:pt x="40" y="184"/>
                  </a:lnTo>
                  <a:lnTo>
                    <a:pt x="36" y="184"/>
                  </a:lnTo>
                  <a:lnTo>
                    <a:pt x="32" y="184"/>
                  </a:lnTo>
                  <a:lnTo>
                    <a:pt x="28" y="184"/>
                  </a:lnTo>
                  <a:lnTo>
                    <a:pt x="24" y="184"/>
                  </a:lnTo>
                  <a:lnTo>
                    <a:pt x="16" y="184"/>
                  </a:lnTo>
                  <a:lnTo>
                    <a:pt x="8" y="184"/>
                  </a:lnTo>
                  <a:lnTo>
                    <a:pt x="4" y="184"/>
                  </a:lnTo>
                  <a:lnTo>
                    <a:pt x="4" y="180"/>
                  </a:lnTo>
                  <a:lnTo>
                    <a:pt x="4" y="156"/>
                  </a:lnTo>
                  <a:lnTo>
                    <a:pt x="4" y="148"/>
                  </a:lnTo>
                  <a:lnTo>
                    <a:pt x="4" y="140"/>
                  </a:lnTo>
                  <a:lnTo>
                    <a:pt x="4" y="132"/>
                  </a:lnTo>
                  <a:lnTo>
                    <a:pt x="4" y="128"/>
                  </a:lnTo>
                  <a:lnTo>
                    <a:pt x="4" y="120"/>
                  </a:lnTo>
                  <a:lnTo>
                    <a:pt x="4" y="108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4" y="92"/>
                  </a:lnTo>
                  <a:lnTo>
                    <a:pt x="4" y="88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1" y="12"/>
                  </a:lnTo>
                  <a:lnTo>
                    <a:pt x="55" y="12"/>
                  </a:lnTo>
                  <a:lnTo>
                    <a:pt x="59" y="12"/>
                  </a:lnTo>
                  <a:lnTo>
                    <a:pt x="63" y="16"/>
                  </a:lnTo>
                  <a:lnTo>
                    <a:pt x="67" y="16"/>
                  </a:lnTo>
                  <a:lnTo>
                    <a:pt x="71" y="12"/>
                  </a:lnTo>
                  <a:lnTo>
                    <a:pt x="75" y="12"/>
                  </a:lnTo>
                  <a:lnTo>
                    <a:pt x="75" y="8"/>
                  </a:lnTo>
                  <a:lnTo>
                    <a:pt x="79" y="8"/>
                  </a:lnTo>
                  <a:lnTo>
                    <a:pt x="79" y="4"/>
                  </a:lnTo>
                  <a:lnTo>
                    <a:pt x="79" y="8"/>
                  </a:lnTo>
                  <a:lnTo>
                    <a:pt x="83" y="8"/>
                  </a:lnTo>
                  <a:lnTo>
                    <a:pt x="83" y="4"/>
                  </a:lnTo>
                  <a:lnTo>
                    <a:pt x="83" y="0"/>
                  </a:lnTo>
                  <a:lnTo>
                    <a:pt x="83" y="4"/>
                  </a:lnTo>
                  <a:lnTo>
                    <a:pt x="87" y="4"/>
                  </a:lnTo>
                  <a:lnTo>
                    <a:pt x="87" y="0"/>
                  </a:lnTo>
                  <a:lnTo>
                    <a:pt x="91" y="0"/>
                  </a:lnTo>
                  <a:lnTo>
                    <a:pt x="91" y="4"/>
                  </a:lnTo>
                  <a:lnTo>
                    <a:pt x="87" y="4"/>
                  </a:lnTo>
                  <a:lnTo>
                    <a:pt x="91" y="4"/>
                  </a:lnTo>
                  <a:lnTo>
                    <a:pt x="95" y="4"/>
                  </a:lnTo>
                  <a:lnTo>
                    <a:pt x="95" y="0"/>
                  </a:lnTo>
                  <a:lnTo>
                    <a:pt x="99" y="0"/>
                  </a:lnTo>
                  <a:lnTo>
                    <a:pt x="99" y="4"/>
                  </a:lnTo>
                  <a:lnTo>
                    <a:pt x="103" y="4"/>
                  </a:lnTo>
                  <a:lnTo>
                    <a:pt x="107" y="4"/>
                  </a:lnTo>
                  <a:lnTo>
                    <a:pt x="107" y="0"/>
                  </a:lnTo>
                  <a:lnTo>
                    <a:pt x="107" y="4"/>
                  </a:lnTo>
                  <a:lnTo>
                    <a:pt x="111" y="4"/>
                  </a:lnTo>
                  <a:lnTo>
                    <a:pt x="107" y="4"/>
                  </a:lnTo>
                  <a:lnTo>
                    <a:pt x="107" y="0"/>
                  </a:lnTo>
                  <a:lnTo>
                    <a:pt x="107" y="8"/>
                  </a:lnTo>
                  <a:lnTo>
                    <a:pt x="111" y="8"/>
                  </a:lnTo>
                  <a:lnTo>
                    <a:pt x="111" y="12"/>
                  </a:lnTo>
                  <a:lnTo>
                    <a:pt x="111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6" name="Freeform 133"/>
            <p:cNvSpPr>
              <a:spLocks noEditPoints="1"/>
            </p:cNvSpPr>
            <p:nvPr>
              <p:custDataLst>
                <p:tags r:id="rId328"/>
              </p:custDataLst>
            </p:nvPr>
          </p:nvSpPr>
          <p:spPr bwMode="gray">
            <a:xfrm>
              <a:off x="4564410" y="4492140"/>
              <a:ext cx="65255" cy="77119"/>
            </a:xfrm>
            <a:custGeom>
              <a:avLst/>
              <a:gdLst/>
              <a:ahLst/>
              <a:cxnLst>
                <a:cxn ang="0">
                  <a:pos x="28" y="52"/>
                </a:cxn>
                <a:cxn ang="0">
                  <a:pos x="28" y="52"/>
                </a:cxn>
                <a:cxn ang="0">
                  <a:pos x="24" y="52"/>
                </a:cxn>
                <a:cxn ang="0">
                  <a:pos x="24" y="52"/>
                </a:cxn>
                <a:cxn ang="0">
                  <a:pos x="24" y="52"/>
                </a:cxn>
                <a:cxn ang="0">
                  <a:pos x="20" y="52"/>
                </a:cxn>
                <a:cxn ang="0">
                  <a:pos x="20" y="52"/>
                </a:cxn>
                <a:cxn ang="0">
                  <a:pos x="20" y="52"/>
                </a:cxn>
                <a:cxn ang="0">
                  <a:pos x="20" y="48"/>
                </a:cxn>
                <a:cxn ang="0">
                  <a:pos x="20" y="52"/>
                </a:cxn>
                <a:cxn ang="0">
                  <a:pos x="16" y="48"/>
                </a:cxn>
                <a:cxn ang="0">
                  <a:pos x="16" y="48"/>
                </a:cxn>
                <a:cxn ang="0">
                  <a:pos x="16" y="48"/>
                </a:cxn>
                <a:cxn ang="0">
                  <a:pos x="16" y="48"/>
                </a:cxn>
                <a:cxn ang="0">
                  <a:pos x="16" y="44"/>
                </a:cxn>
                <a:cxn ang="0">
                  <a:pos x="20" y="40"/>
                </a:cxn>
                <a:cxn ang="0">
                  <a:pos x="16" y="40"/>
                </a:cxn>
                <a:cxn ang="0">
                  <a:pos x="20" y="40"/>
                </a:cxn>
                <a:cxn ang="0">
                  <a:pos x="20" y="36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20" y="28"/>
                </a:cxn>
                <a:cxn ang="0">
                  <a:pos x="24" y="28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8" y="32"/>
                </a:cxn>
                <a:cxn ang="0">
                  <a:pos x="32" y="32"/>
                </a:cxn>
                <a:cxn ang="0">
                  <a:pos x="32" y="32"/>
                </a:cxn>
                <a:cxn ang="0">
                  <a:pos x="32" y="32"/>
                </a:cxn>
                <a:cxn ang="0">
                  <a:pos x="40" y="32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4" y="52"/>
                </a:cxn>
                <a:cxn ang="0">
                  <a:pos x="40" y="52"/>
                </a:cxn>
                <a:cxn ang="0">
                  <a:pos x="36" y="52"/>
                </a:cxn>
                <a:cxn ang="0">
                  <a:pos x="32" y="52"/>
                </a:cxn>
                <a:cxn ang="0">
                  <a:pos x="8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</a:cxnLst>
              <a:rect l="0" t="0" r="r" b="b"/>
              <a:pathLst>
                <a:path w="44" h="52">
                  <a:moveTo>
                    <a:pt x="32" y="52"/>
                  </a:move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close/>
                  <a:moveTo>
                    <a:pt x="8" y="4"/>
                  </a:moveTo>
                  <a:lnTo>
                    <a:pt x="8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7" name="Freeform 134"/>
            <p:cNvSpPr>
              <a:spLocks noEditPoints="1"/>
            </p:cNvSpPr>
            <p:nvPr>
              <p:custDataLst>
                <p:tags r:id="rId329"/>
              </p:custDataLst>
            </p:nvPr>
          </p:nvSpPr>
          <p:spPr bwMode="gray">
            <a:xfrm>
              <a:off x="5191746" y="4100611"/>
              <a:ext cx="154239" cy="160171"/>
            </a:xfrm>
            <a:custGeom>
              <a:avLst/>
              <a:gdLst/>
              <a:ahLst/>
              <a:cxnLst>
                <a:cxn ang="0">
                  <a:pos x="44" y="36"/>
                </a:cxn>
                <a:cxn ang="0">
                  <a:pos x="48" y="48"/>
                </a:cxn>
                <a:cxn ang="0">
                  <a:pos x="48" y="48"/>
                </a:cxn>
                <a:cxn ang="0">
                  <a:pos x="52" y="56"/>
                </a:cxn>
                <a:cxn ang="0">
                  <a:pos x="52" y="52"/>
                </a:cxn>
                <a:cxn ang="0">
                  <a:pos x="52" y="48"/>
                </a:cxn>
                <a:cxn ang="0">
                  <a:pos x="56" y="56"/>
                </a:cxn>
                <a:cxn ang="0">
                  <a:pos x="60" y="56"/>
                </a:cxn>
                <a:cxn ang="0">
                  <a:pos x="68" y="64"/>
                </a:cxn>
                <a:cxn ang="0">
                  <a:pos x="76" y="72"/>
                </a:cxn>
                <a:cxn ang="0">
                  <a:pos x="80" y="76"/>
                </a:cxn>
                <a:cxn ang="0">
                  <a:pos x="88" y="80"/>
                </a:cxn>
                <a:cxn ang="0">
                  <a:pos x="88" y="84"/>
                </a:cxn>
                <a:cxn ang="0">
                  <a:pos x="92" y="88"/>
                </a:cxn>
                <a:cxn ang="0">
                  <a:pos x="96" y="92"/>
                </a:cxn>
                <a:cxn ang="0">
                  <a:pos x="100" y="100"/>
                </a:cxn>
                <a:cxn ang="0">
                  <a:pos x="104" y="100"/>
                </a:cxn>
                <a:cxn ang="0">
                  <a:pos x="96" y="108"/>
                </a:cxn>
                <a:cxn ang="0">
                  <a:pos x="92" y="104"/>
                </a:cxn>
                <a:cxn ang="0">
                  <a:pos x="92" y="104"/>
                </a:cxn>
                <a:cxn ang="0">
                  <a:pos x="88" y="100"/>
                </a:cxn>
                <a:cxn ang="0">
                  <a:pos x="84" y="96"/>
                </a:cxn>
                <a:cxn ang="0">
                  <a:pos x="84" y="92"/>
                </a:cxn>
                <a:cxn ang="0">
                  <a:pos x="80" y="88"/>
                </a:cxn>
                <a:cxn ang="0">
                  <a:pos x="72" y="84"/>
                </a:cxn>
                <a:cxn ang="0">
                  <a:pos x="72" y="80"/>
                </a:cxn>
                <a:cxn ang="0">
                  <a:pos x="68" y="72"/>
                </a:cxn>
                <a:cxn ang="0">
                  <a:pos x="64" y="72"/>
                </a:cxn>
                <a:cxn ang="0">
                  <a:pos x="60" y="68"/>
                </a:cxn>
                <a:cxn ang="0">
                  <a:pos x="56" y="68"/>
                </a:cxn>
                <a:cxn ang="0">
                  <a:pos x="52" y="68"/>
                </a:cxn>
                <a:cxn ang="0">
                  <a:pos x="44" y="68"/>
                </a:cxn>
                <a:cxn ang="0">
                  <a:pos x="40" y="64"/>
                </a:cxn>
                <a:cxn ang="0">
                  <a:pos x="36" y="68"/>
                </a:cxn>
                <a:cxn ang="0">
                  <a:pos x="28" y="64"/>
                </a:cxn>
                <a:cxn ang="0">
                  <a:pos x="24" y="60"/>
                </a:cxn>
                <a:cxn ang="0">
                  <a:pos x="20" y="76"/>
                </a:cxn>
                <a:cxn ang="0">
                  <a:pos x="12" y="68"/>
                </a:cxn>
                <a:cxn ang="0">
                  <a:pos x="12" y="72"/>
                </a:cxn>
                <a:cxn ang="0">
                  <a:pos x="4" y="72"/>
                </a:cxn>
                <a:cxn ang="0">
                  <a:pos x="0" y="56"/>
                </a:cxn>
                <a:cxn ang="0">
                  <a:pos x="4" y="44"/>
                </a:cxn>
                <a:cxn ang="0">
                  <a:pos x="8" y="36"/>
                </a:cxn>
                <a:cxn ang="0">
                  <a:pos x="8" y="28"/>
                </a:cxn>
                <a:cxn ang="0">
                  <a:pos x="8" y="20"/>
                </a:cxn>
                <a:cxn ang="0">
                  <a:pos x="16" y="20"/>
                </a:cxn>
                <a:cxn ang="0">
                  <a:pos x="16" y="16"/>
                </a:cxn>
                <a:cxn ang="0">
                  <a:pos x="24" y="12"/>
                </a:cxn>
                <a:cxn ang="0">
                  <a:pos x="32" y="8"/>
                </a:cxn>
                <a:cxn ang="0">
                  <a:pos x="36" y="4"/>
                </a:cxn>
                <a:cxn ang="0">
                  <a:pos x="40" y="16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56" y="44"/>
                </a:cxn>
                <a:cxn ang="0">
                  <a:pos x="60" y="44"/>
                </a:cxn>
                <a:cxn ang="0">
                  <a:pos x="60" y="44"/>
                </a:cxn>
                <a:cxn ang="0">
                  <a:pos x="60" y="48"/>
                </a:cxn>
                <a:cxn ang="0">
                  <a:pos x="56" y="48"/>
                </a:cxn>
                <a:cxn ang="0">
                  <a:pos x="56" y="44"/>
                </a:cxn>
                <a:cxn ang="0">
                  <a:pos x="56" y="44"/>
                </a:cxn>
                <a:cxn ang="0">
                  <a:pos x="56" y="44"/>
                </a:cxn>
              </a:cxnLst>
              <a:rect l="0" t="0" r="r" b="b"/>
              <a:pathLst>
                <a:path w="104" h="108">
                  <a:moveTo>
                    <a:pt x="44" y="32"/>
                  </a:move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72" y="64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72"/>
                  </a:lnTo>
                  <a:lnTo>
                    <a:pt x="80" y="72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8" y="80"/>
                  </a:lnTo>
                  <a:lnTo>
                    <a:pt x="88" y="80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92" y="84"/>
                  </a:lnTo>
                  <a:lnTo>
                    <a:pt x="92" y="88"/>
                  </a:lnTo>
                  <a:lnTo>
                    <a:pt x="92" y="88"/>
                  </a:lnTo>
                  <a:lnTo>
                    <a:pt x="92" y="88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0" y="100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88" y="104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0" y="92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76" y="88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4"/>
                  </a:lnTo>
                  <a:lnTo>
                    <a:pt x="20" y="68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close/>
                  <a:moveTo>
                    <a:pt x="56" y="40"/>
                  </a:moveTo>
                  <a:lnTo>
                    <a:pt x="56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56" y="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8" name="Freeform 135"/>
            <p:cNvSpPr>
              <a:spLocks/>
            </p:cNvSpPr>
            <p:nvPr>
              <p:custDataLst>
                <p:tags r:id="rId330"/>
              </p:custDataLst>
            </p:nvPr>
          </p:nvSpPr>
          <p:spPr bwMode="gray">
            <a:xfrm>
              <a:off x="5114627" y="4189595"/>
              <a:ext cx="338139" cy="314410"/>
            </a:xfrm>
            <a:custGeom>
              <a:avLst/>
              <a:gdLst/>
              <a:ahLst/>
              <a:cxnLst>
                <a:cxn ang="0">
                  <a:pos x="184" y="184"/>
                </a:cxn>
                <a:cxn ang="0">
                  <a:pos x="164" y="184"/>
                </a:cxn>
                <a:cxn ang="0">
                  <a:pos x="152" y="188"/>
                </a:cxn>
                <a:cxn ang="0">
                  <a:pos x="144" y="196"/>
                </a:cxn>
                <a:cxn ang="0">
                  <a:pos x="132" y="200"/>
                </a:cxn>
                <a:cxn ang="0">
                  <a:pos x="116" y="196"/>
                </a:cxn>
                <a:cxn ang="0">
                  <a:pos x="104" y="208"/>
                </a:cxn>
                <a:cxn ang="0">
                  <a:pos x="96" y="208"/>
                </a:cxn>
                <a:cxn ang="0">
                  <a:pos x="84" y="208"/>
                </a:cxn>
                <a:cxn ang="0">
                  <a:pos x="64" y="196"/>
                </a:cxn>
                <a:cxn ang="0">
                  <a:pos x="52" y="192"/>
                </a:cxn>
                <a:cxn ang="0">
                  <a:pos x="44" y="180"/>
                </a:cxn>
                <a:cxn ang="0">
                  <a:pos x="36" y="172"/>
                </a:cxn>
                <a:cxn ang="0">
                  <a:pos x="32" y="160"/>
                </a:cxn>
                <a:cxn ang="0">
                  <a:pos x="24" y="152"/>
                </a:cxn>
                <a:cxn ang="0">
                  <a:pos x="16" y="140"/>
                </a:cxn>
                <a:cxn ang="0">
                  <a:pos x="4" y="132"/>
                </a:cxn>
                <a:cxn ang="0">
                  <a:pos x="4" y="120"/>
                </a:cxn>
                <a:cxn ang="0">
                  <a:pos x="16" y="116"/>
                </a:cxn>
                <a:cxn ang="0">
                  <a:pos x="20" y="96"/>
                </a:cxn>
                <a:cxn ang="0">
                  <a:pos x="20" y="80"/>
                </a:cxn>
                <a:cxn ang="0">
                  <a:pos x="32" y="76"/>
                </a:cxn>
                <a:cxn ang="0">
                  <a:pos x="32" y="60"/>
                </a:cxn>
                <a:cxn ang="0">
                  <a:pos x="40" y="44"/>
                </a:cxn>
                <a:cxn ang="0">
                  <a:pos x="48" y="36"/>
                </a:cxn>
                <a:cxn ang="0">
                  <a:pos x="52" y="16"/>
                </a:cxn>
                <a:cxn ang="0">
                  <a:pos x="64" y="8"/>
                </a:cxn>
                <a:cxn ang="0">
                  <a:pos x="72" y="16"/>
                </a:cxn>
                <a:cxn ang="0">
                  <a:pos x="76" y="4"/>
                </a:cxn>
                <a:cxn ang="0">
                  <a:pos x="88" y="8"/>
                </a:cxn>
                <a:cxn ang="0">
                  <a:pos x="96" y="8"/>
                </a:cxn>
                <a:cxn ang="0">
                  <a:pos x="104" y="8"/>
                </a:cxn>
                <a:cxn ang="0">
                  <a:pos x="116" y="12"/>
                </a:cxn>
                <a:cxn ang="0">
                  <a:pos x="124" y="20"/>
                </a:cxn>
                <a:cxn ang="0">
                  <a:pos x="132" y="32"/>
                </a:cxn>
                <a:cxn ang="0">
                  <a:pos x="140" y="40"/>
                </a:cxn>
                <a:cxn ang="0">
                  <a:pos x="140" y="48"/>
                </a:cxn>
                <a:cxn ang="0">
                  <a:pos x="132" y="64"/>
                </a:cxn>
                <a:cxn ang="0">
                  <a:pos x="140" y="72"/>
                </a:cxn>
                <a:cxn ang="0">
                  <a:pos x="152" y="76"/>
                </a:cxn>
                <a:cxn ang="0">
                  <a:pos x="152" y="88"/>
                </a:cxn>
                <a:cxn ang="0">
                  <a:pos x="160" y="100"/>
                </a:cxn>
                <a:cxn ang="0">
                  <a:pos x="176" y="112"/>
                </a:cxn>
                <a:cxn ang="0">
                  <a:pos x="200" y="120"/>
                </a:cxn>
                <a:cxn ang="0">
                  <a:pos x="212" y="128"/>
                </a:cxn>
                <a:cxn ang="0">
                  <a:pos x="224" y="132"/>
                </a:cxn>
                <a:cxn ang="0">
                  <a:pos x="200" y="160"/>
                </a:cxn>
                <a:cxn ang="0">
                  <a:pos x="192" y="172"/>
                </a:cxn>
              </a:cxnLst>
              <a:rect l="0" t="0" r="r" b="b"/>
              <a:pathLst>
                <a:path w="228" h="212">
                  <a:moveTo>
                    <a:pt x="192" y="172"/>
                  </a:moveTo>
                  <a:lnTo>
                    <a:pt x="188" y="176"/>
                  </a:lnTo>
                  <a:lnTo>
                    <a:pt x="184" y="180"/>
                  </a:lnTo>
                  <a:lnTo>
                    <a:pt x="184" y="184"/>
                  </a:lnTo>
                  <a:lnTo>
                    <a:pt x="176" y="184"/>
                  </a:lnTo>
                  <a:lnTo>
                    <a:pt x="172" y="184"/>
                  </a:lnTo>
                  <a:lnTo>
                    <a:pt x="168" y="184"/>
                  </a:lnTo>
                  <a:lnTo>
                    <a:pt x="164" y="184"/>
                  </a:lnTo>
                  <a:lnTo>
                    <a:pt x="160" y="184"/>
                  </a:lnTo>
                  <a:lnTo>
                    <a:pt x="160" y="188"/>
                  </a:lnTo>
                  <a:lnTo>
                    <a:pt x="156" y="188"/>
                  </a:lnTo>
                  <a:lnTo>
                    <a:pt x="152" y="188"/>
                  </a:lnTo>
                  <a:lnTo>
                    <a:pt x="152" y="192"/>
                  </a:lnTo>
                  <a:lnTo>
                    <a:pt x="152" y="196"/>
                  </a:lnTo>
                  <a:lnTo>
                    <a:pt x="148" y="196"/>
                  </a:lnTo>
                  <a:lnTo>
                    <a:pt x="144" y="196"/>
                  </a:lnTo>
                  <a:lnTo>
                    <a:pt x="140" y="196"/>
                  </a:lnTo>
                  <a:lnTo>
                    <a:pt x="140" y="200"/>
                  </a:lnTo>
                  <a:lnTo>
                    <a:pt x="136" y="200"/>
                  </a:lnTo>
                  <a:lnTo>
                    <a:pt x="132" y="200"/>
                  </a:lnTo>
                  <a:lnTo>
                    <a:pt x="128" y="200"/>
                  </a:lnTo>
                  <a:lnTo>
                    <a:pt x="124" y="200"/>
                  </a:lnTo>
                  <a:lnTo>
                    <a:pt x="120" y="196"/>
                  </a:lnTo>
                  <a:lnTo>
                    <a:pt x="116" y="196"/>
                  </a:lnTo>
                  <a:lnTo>
                    <a:pt x="112" y="200"/>
                  </a:lnTo>
                  <a:lnTo>
                    <a:pt x="108" y="200"/>
                  </a:lnTo>
                  <a:lnTo>
                    <a:pt x="104" y="204"/>
                  </a:lnTo>
                  <a:lnTo>
                    <a:pt x="104" y="208"/>
                  </a:lnTo>
                  <a:lnTo>
                    <a:pt x="100" y="208"/>
                  </a:lnTo>
                  <a:lnTo>
                    <a:pt x="100" y="212"/>
                  </a:lnTo>
                  <a:lnTo>
                    <a:pt x="96" y="212"/>
                  </a:lnTo>
                  <a:lnTo>
                    <a:pt x="96" y="208"/>
                  </a:lnTo>
                  <a:lnTo>
                    <a:pt x="96" y="212"/>
                  </a:lnTo>
                  <a:lnTo>
                    <a:pt x="92" y="208"/>
                  </a:lnTo>
                  <a:lnTo>
                    <a:pt x="88" y="208"/>
                  </a:lnTo>
                  <a:lnTo>
                    <a:pt x="84" y="208"/>
                  </a:lnTo>
                  <a:lnTo>
                    <a:pt x="80" y="208"/>
                  </a:lnTo>
                  <a:lnTo>
                    <a:pt x="76" y="208"/>
                  </a:lnTo>
                  <a:lnTo>
                    <a:pt x="76" y="204"/>
                  </a:lnTo>
                  <a:lnTo>
                    <a:pt x="64" y="196"/>
                  </a:lnTo>
                  <a:lnTo>
                    <a:pt x="64" y="192"/>
                  </a:lnTo>
                  <a:lnTo>
                    <a:pt x="60" y="192"/>
                  </a:lnTo>
                  <a:lnTo>
                    <a:pt x="56" y="192"/>
                  </a:lnTo>
                  <a:lnTo>
                    <a:pt x="52" y="192"/>
                  </a:lnTo>
                  <a:lnTo>
                    <a:pt x="48" y="192"/>
                  </a:lnTo>
                  <a:lnTo>
                    <a:pt x="44" y="192"/>
                  </a:lnTo>
                  <a:lnTo>
                    <a:pt x="44" y="188"/>
                  </a:lnTo>
                  <a:lnTo>
                    <a:pt x="44" y="180"/>
                  </a:lnTo>
                  <a:lnTo>
                    <a:pt x="44" y="176"/>
                  </a:lnTo>
                  <a:lnTo>
                    <a:pt x="40" y="176"/>
                  </a:lnTo>
                  <a:lnTo>
                    <a:pt x="36" y="176"/>
                  </a:lnTo>
                  <a:lnTo>
                    <a:pt x="36" y="172"/>
                  </a:lnTo>
                  <a:lnTo>
                    <a:pt x="32" y="172"/>
                  </a:lnTo>
                  <a:lnTo>
                    <a:pt x="32" y="168"/>
                  </a:lnTo>
                  <a:lnTo>
                    <a:pt x="32" y="164"/>
                  </a:lnTo>
                  <a:lnTo>
                    <a:pt x="32" y="160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8" y="152"/>
                  </a:lnTo>
                  <a:lnTo>
                    <a:pt x="24" y="152"/>
                  </a:lnTo>
                  <a:lnTo>
                    <a:pt x="24" y="148"/>
                  </a:lnTo>
                  <a:lnTo>
                    <a:pt x="20" y="148"/>
                  </a:lnTo>
                  <a:lnTo>
                    <a:pt x="20" y="144"/>
                  </a:lnTo>
                  <a:lnTo>
                    <a:pt x="16" y="140"/>
                  </a:lnTo>
                  <a:lnTo>
                    <a:pt x="16" y="136"/>
                  </a:lnTo>
                  <a:lnTo>
                    <a:pt x="12" y="132"/>
                  </a:lnTo>
                  <a:lnTo>
                    <a:pt x="8" y="132"/>
                  </a:lnTo>
                  <a:lnTo>
                    <a:pt x="4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4" y="124"/>
                  </a:lnTo>
                  <a:lnTo>
                    <a:pt x="4" y="120"/>
                  </a:lnTo>
                  <a:lnTo>
                    <a:pt x="8" y="120"/>
                  </a:lnTo>
                  <a:lnTo>
                    <a:pt x="12" y="120"/>
                  </a:lnTo>
                  <a:lnTo>
                    <a:pt x="16" y="120"/>
                  </a:lnTo>
                  <a:lnTo>
                    <a:pt x="16" y="116"/>
                  </a:lnTo>
                  <a:lnTo>
                    <a:pt x="20" y="112"/>
                  </a:lnTo>
                  <a:lnTo>
                    <a:pt x="20" y="108"/>
                  </a:lnTo>
                  <a:lnTo>
                    <a:pt x="16" y="100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8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40" y="44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36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8"/>
                  </a:lnTo>
                  <a:lnTo>
                    <a:pt x="76" y="4"/>
                  </a:lnTo>
                  <a:lnTo>
                    <a:pt x="76" y="0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8"/>
                  </a:lnTo>
                  <a:lnTo>
                    <a:pt x="100" y="8"/>
                  </a:lnTo>
                  <a:lnTo>
                    <a:pt x="100" y="4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8" y="8"/>
                  </a:lnTo>
                  <a:lnTo>
                    <a:pt x="112" y="8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4" y="20"/>
                  </a:lnTo>
                  <a:lnTo>
                    <a:pt x="124" y="24"/>
                  </a:lnTo>
                  <a:lnTo>
                    <a:pt x="128" y="28"/>
                  </a:lnTo>
                  <a:lnTo>
                    <a:pt x="132" y="28"/>
                  </a:lnTo>
                  <a:lnTo>
                    <a:pt x="132" y="32"/>
                  </a:lnTo>
                  <a:lnTo>
                    <a:pt x="136" y="32"/>
                  </a:lnTo>
                  <a:lnTo>
                    <a:pt x="136" y="36"/>
                  </a:lnTo>
                  <a:lnTo>
                    <a:pt x="140" y="36"/>
                  </a:lnTo>
                  <a:lnTo>
                    <a:pt x="140" y="40"/>
                  </a:lnTo>
                  <a:lnTo>
                    <a:pt x="140" y="44"/>
                  </a:lnTo>
                  <a:lnTo>
                    <a:pt x="144" y="44"/>
                  </a:lnTo>
                  <a:lnTo>
                    <a:pt x="144" y="48"/>
                  </a:lnTo>
                  <a:lnTo>
                    <a:pt x="140" y="48"/>
                  </a:lnTo>
                  <a:lnTo>
                    <a:pt x="140" y="52"/>
                  </a:lnTo>
                  <a:lnTo>
                    <a:pt x="136" y="56"/>
                  </a:lnTo>
                  <a:lnTo>
                    <a:pt x="136" y="60"/>
                  </a:lnTo>
                  <a:lnTo>
                    <a:pt x="132" y="64"/>
                  </a:lnTo>
                  <a:lnTo>
                    <a:pt x="136" y="64"/>
                  </a:lnTo>
                  <a:lnTo>
                    <a:pt x="136" y="68"/>
                  </a:lnTo>
                  <a:lnTo>
                    <a:pt x="136" y="72"/>
                  </a:lnTo>
                  <a:lnTo>
                    <a:pt x="140" y="72"/>
                  </a:lnTo>
                  <a:lnTo>
                    <a:pt x="144" y="72"/>
                  </a:lnTo>
                  <a:lnTo>
                    <a:pt x="148" y="72"/>
                  </a:lnTo>
                  <a:lnTo>
                    <a:pt x="152" y="72"/>
                  </a:lnTo>
                  <a:lnTo>
                    <a:pt x="152" y="76"/>
                  </a:lnTo>
                  <a:lnTo>
                    <a:pt x="148" y="76"/>
                  </a:lnTo>
                  <a:lnTo>
                    <a:pt x="148" y="80"/>
                  </a:lnTo>
                  <a:lnTo>
                    <a:pt x="148" y="84"/>
                  </a:lnTo>
                  <a:lnTo>
                    <a:pt x="152" y="88"/>
                  </a:lnTo>
                  <a:lnTo>
                    <a:pt x="152" y="92"/>
                  </a:lnTo>
                  <a:lnTo>
                    <a:pt x="156" y="92"/>
                  </a:lnTo>
                  <a:lnTo>
                    <a:pt x="156" y="96"/>
                  </a:lnTo>
                  <a:lnTo>
                    <a:pt x="160" y="100"/>
                  </a:lnTo>
                  <a:lnTo>
                    <a:pt x="160" y="104"/>
                  </a:lnTo>
                  <a:lnTo>
                    <a:pt x="164" y="104"/>
                  </a:lnTo>
                  <a:lnTo>
                    <a:pt x="168" y="108"/>
                  </a:lnTo>
                  <a:lnTo>
                    <a:pt x="176" y="112"/>
                  </a:lnTo>
                  <a:lnTo>
                    <a:pt x="184" y="116"/>
                  </a:lnTo>
                  <a:lnTo>
                    <a:pt x="188" y="116"/>
                  </a:lnTo>
                  <a:lnTo>
                    <a:pt x="192" y="120"/>
                  </a:lnTo>
                  <a:lnTo>
                    <a:pt x="200" y="120"/>
                  </a:lnTo>
                  <a:lnTo>
                    <a:pt x="204" y="124"/>
                  </a:lnTo>
                  <a:lnTo>
                    <a:pt x="208" y="124"/>
                  </a:lnTo>
                  <a:lnTo>
                    <a:pt x="212" y="124"/>
                  </a:lnTo>
                  <a:lnTo>
                    <a:pt x="212" y="128"/>
                  </a:lnTo>
                  <a:lnTo>
                    <a:pt x="216" y="128"/>
                  </a:lnTo>
                  <a:lnTo>
                    <a:pt x="224" y="128"/>
                  </a:lnTo>
                  <a:lnTo>
                    <a:pt x="228" y="128"/>
                  </a:lnTo>
                  <a:lnTo>
                    <a:pt x="224" y="132"/>
                  </a:lnTo>
                  <a:lnTo>
                    <a:pt x="220" y="136"/>
                  </a:lnTo>
                  <a:lnTo>
                    <a:pt x="212" y="144"/>
                  </a:lnTo>
                  <a:lnTo>
                    <a:pt x="208" y="152"/>
                  </a:lnTo>
                  <a:lnTo>
                    <a:pt x="200" y="160"/>
                  </a:lnTo>
                  <a:lnTo>
                    <a:pt x="200" y="164"/>
                  </a:lnTo>
                  <a:lnTo>
                    <a:pt x="196" y="164"/>
                  </a:lnTo>
                  <a:lnTo>
                    <a:pt x="192" y="168"/>
                  </a:lnTo>
                  <a:lnTo>
                    <a:pt x="192" y="17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9" name="Freeform 136"/>
            <p:cNvSpPr>
              <a:spLocks noEditPoints="1"/>
            </p:cNvSpPr>
            <p:nvPr>
              <p:custDataLst>
                <p:tags r:id="rId331"/>
              </p:custDataLst>
            </p:nvPr>
          </p:nvSpPr>
          <p:spPr bwMode="gray">
            <a:xfrm>
              <a:off x="4570343" y="4533666"/>
              <a:ext cx="130510" cy="164620"/>
            </a:xfrm>
            <a:custGeom>
              <a:avLst/>
              <a:gdLst/>
              <a:ahLst/>
              <a:cxnLst>
                <a:cxn ang="0">
                  <a:pos x="48" y="96"/>
                </a:cxn>
                <a:cxn ang="0">
                  <a:pos x="48" y="103"/>
                </a:cxn>
                <a:cxn ang="0">
                  <a:pos x="48" y="107"/>
                </a:cxn>
                <a:cxn ang="0">
                  <a:pos x="44" y="107"/>
                </a:cxn>
                <a:cxn ang="0">
                  <a:pos x="36" y="111"/>
                </a:cxn>
                <a:cxn ang="0">
                  <a:pos x="32" y="107"/>
                </a:cxn>
                <a:cxn ang="0">
                  <a:pos x="28" y="99"/>
                </a:cxn>
                <a:cxn ang="0">
                  <a:pos x="20" y="92"/>
                </a:cxn>
                <a:cxn ang="0">
                  <a:pos x="16" y="88"/>
                </a:cxn>
                <a:cxn ang="0">
                  <a:pos x="20" y="88"/>
                </a:cxn>
                <a:cxn ang="0">
                  <a:pos x="16" y="88"/>
                </a:cxn>
                <a:cxn ang="0">
                  <a:pos x="12" y="80"/>
                </a:cxn>
                <a:cxn ang="0">
                  <a:pos x="12" y="80"/>
                </a:cxn>
                <a:cxn ang="0">
                  <a:pos x="8" y="76"/>
                </a:cxn>
                <a:cxn ang="0">
                  <a:pos x="8" y="72"/>
                </a:cxn>
                <a:cxn ang="0">
                  <a:pos x="4" y="64"/>
                </a:cxn>
                <a:cxn ang="0">
                  <a:pos x="12" y="72"/>
                </a:cxn>
                <a:cxn ang="0">
                  <a:pos x="12" y="72"/>
                </a:cxn>
                <a:cxn ang="0">
                  <a:pos x="8" y="68"/>
                </a:cxn>
                <a:cxn ang="0">
                  <a:pos x="4" y="68"/>
                </a:cxn>
                <a:cxn ang="0">
                  <a:pos x="0" y="52"/>
                </a:cxn>
                <a:cxn ang="0">
                  <a:pos x="4" y="56"/>
                </a:cxn>
                <a:cxn ang="0">
                  <a:pos x="8" y="48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12" y="40"/>
                </a:cxn>
                <a:cxn ang="0">
                  <a:pos x="16" y="40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16" y="28"/>
                </a:cxn>
                <a:cxn ang="0">
                  <a:pos x="16" y="24"/>
                </a:cxn>
                <a:cxn ang="0">
                  <a:pos x="20" y="24"/>
                </a:cxn>
                <a:cxn ang="0">
                  <a:pos x="28" y="24"/>
                </a:cxn>
                <a:cxn ang="0">
                  <a:pos x="40" y="12"/>
                </a:cxn>
                <a:cxn ang="0">
                  <a:pos x="40" y="0"/>
                </a:cxn>
                <a:cxn ang="0">
                  <a:pos x="56" y="0"/>
                </a:cxn>
                <a:cxn ang="0">
                  <a:pos x="68" y="0"/>
                </a:cxn>
                <a:cxn ang="0">
                  <a:pos x="68" y="4"/>
                </a:cxn>
                <a:cxn ang="0">
                  <a:pos x="68" y="12"/>
                </a:cxn>
                <a:cxn ang="0">
                  <a:pos x="68" y="20"/>
                </a:cxn>
                <a:cxn ang="0">
                  <a:pos x="76" y="16"/>
                </a:cxn>
                <a:cxn ang="0">
                  <a:pos x="84" y="16"/>
                </a:cxn>
                <a:cxn ang="0">
                  <a:pos x="88" y="24"/>
                </a:cxn>
                <a:cxn ang="0">
                  <a:pos x="80" y="32"/>
                </a:cxn>
                <a:cxn ang="0">
                  <a:pos x="80" y="44"/>
                </a:cxn>
                <a:cxn ang="0">
                  <a:pos x="84" y="48"/>
                </a:cxn>
                <a:cxn ang="0">
                  <a:pos x="88" y="52"/>
                </a:cxn>
                <a:cxn ang="0">
                  <a:pos x="88" y="64"/>
                </a:cxn>
                <a:cxn ang="0">
                  <a:pos x="88" y="76"/>
                </a:cxn>
                <a:cxn ang="0">
                  <a:pos x="84" y="80"/>
                </a:cxn>
                <a:cxn ang="0">
                  <a:pos x="80" y="88"/>
                </a:cxn>
                <a:cxn ang="0">
                  <a:pos x="76" y="84"/>
                </a:cxn>
                <a:cxn ang="0">
                  <a:pos x="68" y="84"/>
                </a:cxn>
                <a:cxn ang="0">
                  <a:pos x="64" y="84"/>
                </a:cxn>
                <a:cxn ang="0">
                  <a:pos x="60" y="76"/>
                </a:cxn>
                <a:cxn ang="0">
                  <a:pos x="56" y="80"/>
                </a:cxn>
                <a:cxn ang="0">
                  <a:pos x="52" y="84"/>
                </a:cxn>
                <a:cxn ang="0">
                  <a:pos x="44" y="84"/>
                </a:cxn>
                <a:cxn ang="0">
                  <a:pos x="44" y="92"/>
                </a:cxn>
                <a:cxn ang="0">
                  <a:pos x="4" y="56"/>
                </a:cxn>
                <a:cxn ang="0">
                  <a:pos x="4" y="56"/>
                </a:cxn>
              </a:cxnLst>
              <a:rect l="0" t="0" r="r" b="b"/>
              <a:pathLst>
                <a:path w="88" h="111">
                  <a:moveTo>
                    <a:pt x="44" y="92"/>
                  </a:moveTo>
                  <a:lnTo>
                    <a:pt x="44" y="92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2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4" y="99"/>
                  </a:lnTo>
                  <a:lnTo>
                    <a:pt x="44" y="99"/>
                  </a:lnTo>
                  <a:lnTo>
                    <a:pt x="44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0" y="107"/>
                  </a:lnTo>
                  <a:lnTo>
                    <a:pt x="40" y="107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07"/>
                  </a:lnTo>
                  <a:lnTo>
                    <a:pt x="36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3"/>
                  </a:lnTo>
                  <a:lnTo>
                    <a:pt x="28" y="103"/>
                  </a:lnTo>
                  <a:lnTo>
                    <a:pt x="28" y="103"/>
                  </a:lnTo>
                  <a:lnTo>
                    <a:pt x="28" y="103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92"/>
                  </a:lnTo>
                  <a:lnTo>
                    <a:pt x="24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8" y="68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4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48" y="88"/>
                  </a:lnTo>
                  <a:lnTo>
                    <a:pt x="48" y="88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close/>
                  <a:moveTo>
                    <a:pt x="4" y="56"/>
                  </a:move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0" name="Freeform 137"/>
            <p:cNvSpPr>
              <a:spLocks/>
            </p:cNvSpPr>
            <p:nvPr>
              <p:custDataLst>
                <p:tags r:id="rId332"/>
              </p:custDataLst>
            </p:nvPr>
          </p:nvSpPr>
          <p:spPr bwMode="gray">
            <a:xfrm>
              <a:off x="4304874" y="4290443"/>
              <a:ext cx="100848" cy="177968"/>
            </a:xfrm>
            <a:custGeom>
              <a:avLst/>
              <a:gdLst/>
              <a:ahLst/>
              <a:cxnLst>
                <a:cxn ang="0">
                  <a:pos x="0" y="84"/>
                </a:cxn>
                <a:cxn ang="0">
                  <a:pos x="0" y="76"/>
                </a:cxn>
                <a:cxn ang="0">
                  <a:pos x="4" y="64"/>
                </a:cxn>
                <a:cxn ang="0">
                  <a:pos x="12" y="56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4" y="24"/>
                </a:cxn>
                <a:cxn ang="0">
                  <a:pos x="4" y="12"/>
                </a:cxn>
                <a:cxn ang="0">
                  <a:pos x="4" y="4"/>
                </a:cxn>
                <a:cxn ang="0">
                  <a:pos x="24" y="4"/>
                </a:cxn>
                <a:cxn ang="0">
                  <a:pos x="36" y="4"/>
                </a:cxn>
                <a:cxn ang="0">
                  <a:pos x="44" y="4"/>
                </a:cxn>
                <a:cxn ang="0">
                  <a:pos x="48" y="4"/>
                </a:cxn>
                <a:cxn ang="0">
                  <a:pos x="48" y="8"/>
                </a:cxn>
                <a:cxn ang="0">
                  <a:pos x="48" y="12"/>
                </a:cxn>
                <a:cxn ang="0">
                  <a:pos x="52" y="16"/>
                </a:cxn>
                <a:cxn ang="0">
                  <a:pos x="56" y="20"/>
                </a:cxn>
                <a:cxn ang="0">
                  <a:pos x="52" y="32"/>
                </a:cxn>
                <a:cxn ang="0">
                  <a:pos x="56" y="32"/>
                </a:cxn>
                <a:cxn ang="0">
                  <a:pos x="56" y="36"/>
                </a:cxn>
                <a:cxn ang="0">
                  <a:pos x="56" y="44"/>
                </a:cxn>
                <a:cxn ang="0">
                  <a:pos x="56" y="48"/>
                </a:cxn>
                <a:cxn ang="0">
                  <a:pos x="60" y="56"/>
                </a:cxn>
                <a:cxn ang="0">
                  <a:pos x="56" y="64"/>
                </a:cxn>
                <a:cxn ang="0">
                  <a:pos x="56" y="72"/>
                </a:cxn>
                <a:cxn ang="0">
                  <a:pos x="56" y="76"/>
                </a:cxn>
                <a:cxn ang="0">
                  <a:pos x="56" y="84"/>
                </a:cxn>
                <a:cxn ang="0">
                  <a:pos x="60" y="88"/>
                </a:cxn>
                <a:cxn ang="0">
                  <a:pos x="64" y="88"/>
                </a:cxn>
                <a:cxn ang="0">
                  <a:pos x="68" y="96"/>
                </a:cxn>
                <a:cxn ang="0">
                  <a:pos x="64" y="96"/>
                </a:cxn>
                <a:cxn ang="0">
                  <a:pos x="60" y="100"/>
                </a:cxn>
                <a:cxn ang="0">
                  <a:pos x="56" y="100"/>
                </a:cxn>
                <a:cxn ang="0">
                  <a:pos x="56" y="96"/>
                </a:cxn>
                <a:cxn ang="0">
                  <a:pos x="52" y="96"/>
                </a:cxn>
                <a:cxn ang="0">
                  <a:pos x="52" y="96"/>
                </a:cxn>
                <a:cxn ang="0">
                  <a:pos x="56" y="96"/>
                </a:cxn>
                <a:cxn ang="0">
                  <a:pos x="56" y="100"/>
                </a:cxn>
                <a:cxn ang="0">
                  <a:pos x="52" y="100"/>
                </a:cxn>
                <a:cxn ang="0">
                  <a:pos x="44" y="104"/>
                </a:cxn>
                <a:cxn ang="0">
                  <a:pos x="40" y="108"/>
                </a:cxn>
                <a:cxn ang="0">
                  <a:pos x="36" y="112"/>
                </a:cxn>
                <a:cxn ang="0">
                  <a:pos x="32" y="112"/>
                </a:cxn>
                <a:cxn ang="0">
                  <a:pos x="24" y="112"/>
                </a:cxn>
                <a:cxn ang="0">
                  <a:pos x="20" y="120"/>
                </a:cxn>
                <a:cxn ang="0">
                  <a:pos x="12" y="116"/>
                </a:cxn>
                <a:cxn ang="0">
                  <a:pos x="8" y="116"/>
                </a:cxn>
                <a:cxn ang="0">
                  <a:pos x="0" y="112"/>
                </a:cxn>
                <a:cxn ang="0">
                  <a:pos x="8" y="112"/>
                </a:cxn>
                <a:cxn ang="0">
                  <a:pos x="4" y="108"/>
                </a:cxn>
                <a:cxn ang="0">
                  <a:pos x="4" y="104"/>
                </a:cxn>
                <a:cxn ang="0">
                  <a:pos x="0" y="92"/>
                </a:cxn>
              </a:cxnLst>
              <a:rect l="0" t="0" r="r" b="b"/>
              <a:pathLst>
                <a:path w="68" h="120">
                  <a:moveTo>
                    <a:pt x="0" y="92"/>
                  </a:move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4" y="92"/>
                  </a:lnTo>
                  <a:lnTo>
                    <a:pt x="64" y="92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12"/>
                  </a:lnTo>
                  <a:lnTo>
                    <a:pt x="36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20"/>
                  </a:lnTo>
                  <a:lnTo>
                    <a:pt x="16" y="120"/>
                  </a:lnTo>
                  <a:lnTo>
                    <a:pt x="16" y="120"/>
                  </a:lnTo>
                  <a:lnTo>
                    <a:pt x="16" y="120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4" y="108"/>
                  </a:lnTo>
                  <a:lnTo>
                    <a:pt x="4" y="108"/>
                  </a:lnTo>
                  <a:lnTo>
                    <a:pt x="8" y="108"/>
                  </a:lnTo>
                  <a:lnTo>
                    <a:pt x="8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0"/>
                  </a:lnTo>
                  <a:lnTo>
                    <a:pt x="4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1" name="Freeform 138"/>
            <p:cNvSpPr>
              <a:spLocks/>
            </p:cNvSpPr>
            <p:nvPr>
              <p:custDataLst>
                <p:tags r:id="rId333"/>
              </p:custDataLst>
            </p:nvPr>
          </p:nvSpPr>
          <p:spPr bwMode="gray">
            <a:xfrm>
              <a:off x="4037922" y="4248918"/>
              <a:ext cx="166103" cy="154239"/>
            </a:xfrm>
            <a:custGeom>
              <a:avLst/>
              <a:gdLst/>
              <a:ahLst/>
              <a:cxnLst>
                <a:cxn ang="0">
                  <a:pos x="104" y="92"/>
                </a:cxn>
                <a:cxn ang="0">
                  <a:pos x="100" y="96"/>
                </a:cxn>
                <a:cxn ang="0">
                  <a:pos x="96" y="92"/>
                </a:cxn>
                <a:cxn ang="0">
                  <a:pos x="92" y="100"/>
                </a:cxn>
                <a:cxn ang="0">
                  <a:pos x="88" y="100"/>
                </a:cxn>
                <a:cxn ang="0">
                  <a:pos x="84" y="96"/>
                </a:cxn>
                <a:cxn ang="0">
                  <a:pos x="84" y="92"/>
                </a:cxn>
                <a:cxn ang="0">
                  <a:pos x="80" y="80"/>
                </a:cxn>
                <a:cxn ang="0">
                  <a:pos x="72" y="80"/>
                </a:cxn>
                <a:cxn ang="0">
                  <a:pos x="64" y="80"/>
                </a:cxn>
                <a:cxn ang="0">
                  <a:pos x="68" y="68"/>
                </a:cxn>
                <a:cxn ang="0">
                  <a:pos x="64" y="64"/>
                </a:cxn>
                <a:cxn ang="0">
                  <a:pos x="60" y="56"/>
                </a:cxn>
                <a:cxn ang="0">
                  <a:pos x="52" y="52"/>
                </a:cxn>
                <a:cxn ang="0">
                  <a:pos x="44" y="52"/>
                </a:cxn>
                <a:cxn ang="0">
                  <a:pos x="36" y="56"/>
                </a:cxn>
                <a:cxn ang="0">
                  <a:pos x="32" y="64"/>
                </a:cxn>
                <a:cxn ang="0">
                  <a:pos x="28" y="68"/>
                </a:cxn>
                <a:cxn ang="0">
                  <a:pos x="24" y="64"/>
                </a:cxn>
                <a:cxn ang="0">
                  <a:pos x="20" y="60"/>
                </a:cxn>
                <a:cxn ang="0">
                  <a:pos x="20" y="56"/>
                </a:cxn>
                <a:cxn ang="0">
                  <a:pos x="20" y="52"/>
                </a:cxn>
                <a:cxn ang="0">
                  <a:pos x="16" y="48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4" y="32"/>
                </a:cxn>
                <a:cxn ang="0">
                  <a:pos x="0" y="32"/>
                </a:cxn>
                <a:cxn ang="0">
                  <a:pos x="0" y="32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16" y="20"/>
                </a:cxn>
                <a:cxn ang="0">
                  <a:pos x="16" y="12"/>
                </a:cxn>
                <a:cxn ang="0">
                  <a:pos x="20" y="8"/>
                </a:cxn>
                <a:cxn ang="0">
                  <a:pos x="20" y="4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40" y="4"/>
                </a:cxn>
                <a:cxn ang="0">
                  <a:pos x="44" y="8"/>
                </a:cxn>
                <a:cxn ang="0">
                  <a:pos x="52" y="4"/>
                </a:cxn>
                <a:cxn ang="0">
                  <a:pos x="52" y="8"/>
                </a:cxn>
                <a:cxn ang="0">
                  <a:pos x="56" y="12"/>
                </a:cxn>
                <a:cxn ang="0">
                  <a:pos x="64" y="8"/>
                </a:cxn>
                <a:cxn ang="0">
                  <a:pos x="68" y="12"/>
                </a:cxn>
                <a:cxn ang="0">
                  <a:pos x="80" y="12"/>
                </a:cxn>
                <a:cxn ang="0">
                  <a:pos x="84" y="8"/>
                </a:cxn>
                <a:cxn ang="0">
                  <a:pos x="88" y="4"/>
                </a:cxn>
                <a:cxn ang="0">
                  <a:pos x="92" y="8"/>
                </a:cxn>
                <a:cxn ang="0">
                  <a:pos x="92" y="20"/>
                </a:cxn>
                <a:cxn ang="0">
                  <a:pos x="96" y="24"/>
                </a:cxn>
                <a:cxn ang="0">
                  <a:pos x="100" y="24"/>
                </a:cxn>
                <a:cxn ang="0">
                  <a:pos x="96" y="28"/>
                </a:cxn>
                <a:cxn ang="0">
                  <a:pos x="104" y="36"/>
                </a:cxn>
                <a:cxn ang="0">
                  <a:pos x="108" y="44"/>
                </a:cxn>
                <a:cxn ang="0">
                  <a:pos x="104" y="52"/>
                </a:cxn>
                <a:cxn ang="0">
                  <a:pos x="104" y="60"/>
                </a:cxn>
                <a:cxn ang="0">
                  <a:pos x="108" y="64"/>
                </a:cxn>
                <a:cxn ang="0">
                  <a:pos x="108" y="68"/>
                </a:cxn>
                <a:cxn ang="0">
                  <a:pos x="108" y="72"/>
                </a:cxn>
                <a:cxn ang="0">
                  <a:pos x="112" y="80"/>
                </a:cxn>
                <a:cxn ang="0">
                  <a:pos x="104" y="84"/>
                </a:cxn>
                <a:cxn ang="0">
                  <a:pos x="108" y="88"/>
                </a:cxn>
              </a:cxnLst>
              <a:rect l="0" t="0" r="r" b="b"/>
              <a:pathLst>
                <a:path w="112" h="104">
                  <a:moveTo>
                    <a:pt x="108" y="88"/>
                  </a:moveTo>
                  <a:lnTo>
                    <a:pt x="108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88" y="100"/>
                  </a:lnTo>
                  <a:lnTo>
                    <a:pt x="88" y="104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8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4"/>
                  </a:lnTo>
                  <a:lnTo>
                    <a:pt x="84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0" y="76"/>
                  </a:lnTo>
                  <a:lnTo>
                    <a:pt x="80" y="80"/>
                  </a:lnTo>
                  <a:lnTo>
                    <a:pt x="80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4" y="64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6" y="12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96" y="28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36"/>
                  </a:lnTo>
                  <a:lnTo>
                    <a:pt x="100" y="36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12" y="72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4" y="80"/>
                  </a:lnTo>
                  <a:lnTo>
                    <a:pt x="104" y="80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8" y="84"/>
                  </a:lnTo>
                  <a:lnTo>
                    <a:pt x="108" y="84"/>
                  </a:lnTo>
                  <a:lnTo>
                    <a:pt x="108" y="88"/>
                  </a:lnTo>
                  <a:lnTo>
                    <a:pt x="108" y="8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2" name="Freeform 139"/>
            <p:cNvSpPr>
              <a:spLocks noEditPoints="1"/>
            </p:cNvSpPr>
            <p:nvPr>
              <p:custDataLst>
                <p:tags r:id="rId334"/>
              </p:custDataLst>
            </p:nvPr>
          </p:nvSpPr>
          <p:spPr bwMode="gray">
            <a:xfrm>
              <a:off x="4002329" y="4248918"/>
              <a:ext cx="65255" cy="47458"/>
            </a:xfrm>
            <a:custGeom>
              <a:avLst/>
              <a:gdLst/>
              <a:ahLst/>
              <a:cxnLst>
                <a:cxn ang="0">
                  <a:pos x="8" y="16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8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20" y="0"/>
                </a:cxn>
                <a:cxn ang="0">
                  <a:pos x="32" y="0"/>
                </a:cxn>
                <a:cxn ang="0">
                  <a:pos x="40" y="0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4" y="20"/>
                </a:cxn>
                <a:cxn ang="0">
                  <a:pos x="36" y="20"/>
                </a:cxn>
                <a:cxn ang="0">
                  <a:pos x="32" y="20"/>
                </a:cxn>
                <a:cxn ang="0">
                  <a:pos x="28" y="24"/>
                </a:cxn>
                <a:cxn ang="0">
                  <a:pos x="28" y="28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4" y="28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20" y="28"/>
                </a:cxn>
                <a:cxn ang="0">
                  <a:pos x="20" y="24"/>
                </a:cxn>
                <a:cxn ang="0">
                  <a:pos x="20" y="24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20" y="16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4" y="12"/>
                </a:cxn>
                <a:cxn ang="0">
                  <a:pos x="20" y="16"/>
                </a:cxn>
                <a:cxn ang="0">
                  <a:pos x="16" y="16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16" y="24"/>
                </a:cxn>
                <a:cxn ang="0">
                  <a:pos x="8" y="24"/>
                </a:cxn>
                <a:cxn ang="0">
                  <a:pos x="12" y="20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32"/>
                </a:cxn>
                <a:cxn ang="0">
                  <a:pos x="4" y="28"/>
                </a:cxn>
                <a:cxn ang="0">
                  <a:pos x="8" y="28"/>
                </a:cxn>
                <a:cxn ang="0">
                  <a:pos x="8" y="28"/>
                </a:cxn>
              </a:cxnLst>
              <a:rect l="0" t="0" r="r" b="b"/>
              <a:pathLst>
                <a:path w="44" h="32">
                  <a:moveTo>
                    <a:pt x="12" y="16"/>
                  </a:moveTo>
                  <a:lnTo>
                    <a:pt x="12" y="16"/>
                  </a:lnTo>
                  <a:lnTo>
                    <a:pt x="12" y="16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16"/>
                  </a:lnTo>
                  <a:close/>
                  <a:moveTo>
                    <a:pt x="12" y="28"/>
                  </a:move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close/>
                  <a:moveTo>
                    <a:pt x="8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close/>
                  <a:moveTo>
                    <a:pt x="16" y="20"/>
                  </a:move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close/>
                  <a:moveTo>
                    <a:pt x="8" y="24"/>
                  </a:move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close/>
                  <a:moveTo>
                    <a:pt x="4" y="24"/>
                  </a:move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close/>
                  <a:moveTo>
                    <a:pt x="8" y="32"/>
                  </a:move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3" name="Freeform 140"/>
            <p:cNvSpPr>
              <a:spLocks noEditPoints="1"/>
            </p:cNvSpPr>
            <p:nvPr>
              <p:custDataLst>
                <p:tags r:id="rId335"/>
              </p:custDataLst>
            </p:nvPr>
          </p:nvSpPr>
          <p:spPr bwMode="gray">
            <a:xfrm>
              <a:off x="5138356" y="4468411"/>
              <a:ext cx="177968" cy="253603"/>
            </a:xfrm>
            <a:custGeom>
              <a:avLst/>
              <a:gdLst/>
              <a:ahLst/>
              <a:cxnLst>
                <a:cxn ang="0">
                  <a:pos x="0" y="88"/>
                </a:cxn>
                <a:cxn ang="0">
                  <a:pos x="0" y="84"/>
                </a:cxn>
                <a:cxn ang="0">
                  <a:pos x="4" y="76"/>
                </a:cxn>
                <a:cxn ang="0">
                  <a:pos x="8" y="68"/>
                </a:cxn>
                <a:cxn ang="0">
                  <a:pos x="12" y="64"/>
                </a:cxn>
                <a:cxn ang="0">
                  <a:pos x="12" y="60"/>
                </a:cxn>
                <a:cxn ang="0">
                  <a:pos x="12" y="60"/>
                </a:cxn>
                <a:cxn ang="0">
                  <a:pos x="16" y="56"/>
                </a:cxn>
                <a:cxn ang="0">
                  <a:pos x="12" y="44"/>
                </a:cxn>
                <a:cxn ang="0">
                  <a:pos x="12" y="36"/>
                </a:cxn>
                <a:cxn ang="0">
                  <a:pos x="8" y="32"/>
                </a:cxn>
                <a:cxn ang="0">
                  <a:pos x="8" y="24"/>
                </a:cxn>
                <a:cxn ang="0">
                  <a:pos x="4" y="16"/>
                </a:cxn>
                <a:cxn ang="0">
                  <a:pos x="0" y="8"/>
                </a:cxn>
                <a:cxn ang="0">
                  <a:pos x="8" y="0"/>
                </a:cxn>
                <a:cxn ang="0">
                  <a:pos x="16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40" y="4"/>
                </a:cxn>
                <a:cxn ang="0">
                  <a:pos x="48" y="8"/>
                </a:cxn>
                <a:cxn ang="0">
                  <a:pos x="64" y="20"/>
                </a:cxn>
                <a:cxn ang="0">
                  <a:pos x="76" y="20"/>
                </a:cxn>
                <a:cxn ang="0">
                  <a:pos x="80" y="24"/>
                </a:cxn>
                <a:cxn ang="0">
                  <a:pos x="84" y="24"/>
                </a:cxn>
                <a:cxn ang="0">
                  <a:pos x="88" y="20"/>
                </a:cxn>
                <a:cxn ang="0">
                  <a:pos x="100" y="8"/>
                </a:cxn>
                <a:cxn ang="0">
                  <a:pos x="108" y="12"/>
                </a:cxn>
                <a:cxn ang="0">
                  <a:pos x="112" y="12"/>
                </a:cxn>
                <a:cxn ang="0">
                  <a:pos x="120" y="12"/>
                </a:cxn>
                <a:cxn ang="0">
                  <a:pos x="120" y="16"/>
                </a:cxn>
                <a:cxn ang="0">
                  <a:pos x="108" y="60"/>
                </a:cxn>
                <a:cxn ang="0">
                  <a:pos x="116" y="116"/>
                </a:cxn>
                <a:cxn ang="0">
                  <a:pos x="112" y="120"/>
                </a:cxn>
                <a:cxn ang="0">
                  <a:pos x="104" y="124"/>
                </a:cxn>
                <a:cxn ang="0">
                  <a:pos x="104" y="128"/>
                </a:cxn>
                <a:cxn ang="0">
                  <a:pos x="104" y="128"/>
                </a:cxn>
                <a:cxn ang="0">
                  <a:pos x="100" y="132"/>
                </a:cxn>
                <a:cxn ang="0">
                  <a:pos x="96" y="132"/>
                </a:cxn>
                <a:cxn ang="0">
                  <a:pos x="92" y="140"/>
                </a:cxn>
                <a:cxn ang="0">
                  <a:pos x="92" y="147"/>
                </a:cxn>
                <a:cxn ang="0">
                  <a:pos x="88" y="151"/>
                </a:cxn>
                <a:cxn ang="0">
                  <a:pos x="88" y="155"/>
                </a:cxn>
                <a:cxn ang="0">
                  <a:pos x="80" y="171"/>
                </a:cxn>
                <a:cxn ang="0">
                  <a:pos x="72" y="163"/>
                </a:cxn>
                <a:cxn ang="0">
                  <a:pos x="56" y="151"/>
                </a:cxn>
                <a:cxn ang="0">
                  <a:pos x="56" y="147"/>
                </a:cxn>
                <a:cxn ang="0">
                  <a:pos x="56" y="143"/>
                </a:cxn>
                <a:cxn ang="0">
                  <a:pos x="48" y="136"/>
                </a:cxn>
                <a:cxn ang="0">
                  <a:pos x="32" y="124"/>
                </a:cxn>
                <a:cxn ang="0">
                  <a:pos x="8" y="108"/>
                </a:cxn>
                <a:cxn ang="0">
                  <a:pos x="108" y="128"/>
                </a:cxn>
                <a:cxn ang="0">
                  <a:pos x="108" y="124"/>
                </a:cxn>
                <a:cxn ang="0">
                  <a:pos x="108" y="124"/>
                </a:cxn>
              </a:cxnLst>
              <a:rect l="0" t="0" r="r" b="b"/>
              <a:pathLst>
                <a:path w="120" h="171">
                  <a:moveTo>
                    <a:pt x="0" y="104"/>
                  </a:moveTo>
                  <a:lnTo>
                    <a:pt x="0" y="104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88" y="16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16" y="12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8" y="44"/>
                  </a:lnTo>
                  <a:lnTo>
                    <a:pt x="108" y="60"/>
                  </a:lnTo>
                  <a:lnTo>
                    <a:pt x="108" y="84"/>
                  </a:lnTo>
                  <a:lnTo>
                    <a:pt x="108" y="100"/>
                  </a:lnTo>
                  <a:lnTo>
                    <a:pt x="108" y="104"/>
                  </a:lnTo>
                  <a:lnTo>
                    <a:pt x="112" y="112"/>
                  </a:lnTo>
                  <a:lnTo>
                    <a:pt x="116" y="116"/>
                  </a:lnTo>
                  <a:lnTo>
                    <a:pt x="116" y="116"/>
                  </a:lnTo>
                  <a:lnTo>
                    <a:pt x="116" y="116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8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36"/>
                  </a:lnTo>
                  <a:lnTo>
                    <a:pt x="96" y="136"/>
                  </a:lnTo>
                  <a:lnTo>
                    <a:pt x="96" y="136"/>
                  </a:lnTo>
                  <a:lnTo>
                    <a:pt x="92" y="136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9"/>
                  </a:lnTo>
                  <a:lnTo>
                    <a:pt x="88" y="159"/>
                  </a:lnTo>
                  <a:lnTo>
                    <a:pt x="88" y="159"/>
                  </a:lnTo>
                  <a:lnTo>
                    <a:pt x="84" y="167"/>
                  </a:lnTo>
                  <a:lnTo>
                    <a:pt x="84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76" y="167"/>
                  </a:lnTo>
                  <a:lnTo>
                    <a:pt x="72" y="163"/>
                  </a:lnTo>
                  <a:lnTo>
                    <a:pt x="72" y="163"/>
                  </a:lnTo>
                  <a:lnTo>
                    <a:pt x="68" y="163"/>
                  </a:lnTo>
                  <a:lnTo>
                    <a:pt x="68" y="159"/>
                  </a:lnTo>
                  <a:lnTo>
                    <a:pt x="60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3"/>
                  </a:lnTo>
                  <a:lnTo>
                    <a:pt x="56" y="143"/>
                  </a:lnTo>
                  <a:lnTo>
                    <a:pt x="56" y="140"/>
                  </a:lnTo>
                  <a:lnTo>
                    <a:pt x="56" y="140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48" y="136"/>
                  </a:lnTo>
                  <a:lnTo>
                    <a:pt x="48" y="136"/>
                  </a:lnTo>
                  <a:lnTo>
                    <a:pt x="48" y="136"/>
                  </a:lnTo>
                  <a:lnTo>
                    <a:pt x="40" y="132"/>
                  </a:lnTo>
                  <a:lnTo>
                    <a:pt x="36" y="128"/>
                  </a:lnTo>
                  <a:lnTo>
                    <a:pt x="32" y="128"/>
                  </a:lnTo>
                  <a:lnTo>
                    <a:pt x="32" y="124"/>
                  </a:lnTo>
                  <a:lnTo>
                    <a:pt x="28" y="124"/>
                  </a:lnTo>
                  <a:lnTo>
                    <a:pt x="24" y="120"/>
                  </a:lnTo>
                  <a:lnTo>
                    <a:pt x="20" y="116"/>
                  </a:lnTo>
                  <a:lnTo>
                    <a:pt x="12" y="112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close/>
                  <a:moveTo>
                    <a:pt x="108" y="128"/>
                  </a:moveTo>
                  <a:lnTo>
                    <a:pt x="108" y="128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4" name="Freeform 141"/>
            <p:cNvSpPr>
              <a:spLocks/>
            </p:cNvSpPr>
            <p:nvPr>
              <p:custDataLst>
                <p:tags r:id="rId336"/>
              </p:custDataLst>
            </p:nvPr>
          </p:nvSpPr>
          <p:spPr bwMode="gray">
            <a:xfrm>
              <a:off x="4985600" y="5384945"/>
              <a:ext cx="51907" cy="59323"/>
            </a:xfrm>
            <a:custGeom>
              <a:avLst/>
              <a:gdLst/>
              <a:ahLst/>
              <a:cxnLst>
                <a:cxn ang="0">
                  <a:pos x="27" y="28"/>
                </a:cxn>
                <a:cxn ang="0">
                  <a:pos x="23" y="32"/>
                </a:cxn>
                <a:cxn ang="0">
                  <a:pos x="23" y="32"/>
                </a:cxn>
                <a:cxn ang="0">
                  <a:pos x="19" y="32"/>
                </a:cxn>
                <a:cxn ang="0">
                  <a:pos x="19" y="32"/>
                </a:cxn>
                <a:cxn ang="0">
                  <a:pos x="15" y="36"/>
                </a:cxn>
                <a:cxn ang="0">
                  <a:pos x="15" y="4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5" y="4"/>
                </a:cxn>
                <a:cxn ang="0">
                  <a:pos x="15" y="4"/>
                </a:cxn>
                <a:cxn ang="0">
                  <a:pos x="19" y="4"/>
                </a:cxn>
                <a:cxn ang="0">
                  <a:pos x="19" y="0"/>
                </a:cxn>
                <a:cxn ang="0">
                  <a:pos x="19" y="0"/>
                </a:cxn>
                <a:cxn ang="0">
                  <a:pos x="19" y="0"/>
                </a:cxn>
                <a:cxn ang="0">
                  <a:pos x="23" y="0"/>
                </a:cxn>
                <a:cxn ang="0">
                  <a:pos x="23" y="4"/>
                </a:cxn>
                <a:cxn ang="0">
                  <a:pos x="27" y="4"/>
                </a:cxn>
                <a:cxn ang="0">
                  <a:pos x="27" y="4"/>
                </a:cxn>
                <a:cxn ang="0">
                  <a:pos x="27" y="8"/>
                </a:cxn>
                <a:cxn ang="0">
                  <a:pos x="31" y="8"/>
                </a:cxn>
                <a:cxn ang="0">
                  <a:pos x="31" y="12"/>
                </a:cxn>
                <a:cxn ang="0">
                  <a:pos x="35" y="16"/>
                </a:cxn>
                <a:cxn ang="0">
                  <a:pos x="35" y="16"/>
                </a:cxn>
                <a:cxn ang="0">
                  <a:pos x="31" y="16"/>
                </a:cxn>
                <a:cxn ang="0">
                  <a:pos x="31" y="20"/>
                </a:cxn>
                <a:cxn ang="0">
                  <a:pos x="31" y="20"/>
                </a:cxn>
                <a:cxn ang="0">
                  <a:pos x="31" y="20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27" y="28"/>
                </a:cxn>
                <a:cxn ang="0">
                  <a:pos x="27" y="28"/>
                </a:cxn>
              </a:cxnLst>
              <a:rect l="0" t="0" r="r" b="b"/>
              <a:pathLst>
                <a:path w="35" h="40">
                  <a:moveTo>
                    <a:pt x="27" y="28"/>
                  </a:moveTo>
                  <a:lnTo>
                    <a:pt x="27" y="28"/>
                  </a:lnTo>
                  <a:lnTo>
                    <a:pt x="27" y="28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5" y="32"/>
                  </a:lnTo>
                  <a:lnTo>
                    <a:pt x="15" y="36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5" name="Freeform 142"/>
            <p:cNvSpPr>
              <a:spLocks/>
            </p:cNvSpPr>
            <p:nvPr>
              <p:custDataLst>
                <p:tags r:id="rId337"/>
              </p:custDataLst>
            </p:nvPr>
          </p:nvSpPr>
          <p:spPr bwMode="gray">
            <a:xfrm>
              <a:off x="4115041" y="4361630"/>
              <a:ext cx="94916" cy="118645"/>
            </a:xfrm>
            <a:custGeom>
              <a:avLst/>
              <a:gdLst/>
              <a:ahLst/>
              <a:cxnLst>
                <a:cxn ang="0">
                  <a:pos x="4" y="28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16" y="12"/>
                </a:cxn>
                <a:cxn ang="0">
                  <a:pos x="16" y="8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8" y="0"/>
                </a:cxn>
                <a:cxn ang="0">
                  <a:pos x="32" y="8"/>
                </a:cxn>
                <a:cxn ang="0">
                  <a:pos x="32" y="12"/>
                </a:cxn>
                <a:cxn ang="0">
                  <a:pos x="32" y="16"/>
                </a:cxn>
                <a:cxn ang="0">
                  <a:pos x="32" y="20"/>
                </a:cxn>
                <a:cxn ang="0">
                  <a:pos x="32" y="24"/>
                </a:cxn>
                <a:cxn ang="0">
                  <a:pos x="36" y="24"/>
                </a:cxn>
                <a:cxn ang="0">
                  <a:pos x="36" y="24"/>
                </a:cxn>
                <a:cxn ang="0">
                  <a:pos x="40" y="24"/>
                </a:cxn>
                <a:cxn ang="0">
                  <a:pos x="44" y="20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48" y="20"/>
                </a:cxn>
                <a:cxn ang="0">
                  <a:pos x="48" y="24"/>
                </a:cxn>
                <a:cxn ang="0">
                  <a:pos x="52" y="28"/>
                </a:cxn>
                <a:cxn ang="0">
                  <a:pos x="48" y="32"/>
                </a:cxn>
                <a:cxn ang="0">
                  <a:pos x="48" y="36"/>
                </a:cxn>
                <a:cxn ang="0">
                  <a:pos x="48" y="36"/>
                </a:cxn>
                <a:cxn ang="0">
                  <a:pos x="44" y="40"/>
                </a:cxn>
                <a:cxn ang="0">
                  <a:pos x="48" y="40"/>
                </a:cxn>
                <a:cxn ang="0">
                  <a:pos x="52" y="44"/>
                </a:cxn>
                <a:cxn ang="0">
                  <a:pos x="56" y="44"/>
                </a:cxn>
                <a:cxn ang="0">
                  <a:pos x="56" y="48"/>
                </a:cxn>
                <a:cxn ang="0">
                  <a:pos x="60" y="52"/>
                </a:cxn>
                <a:cxn ang="0">
                  <a:pos x="64" y="52"/>
                </a:cxn>
                <a:cxn ang="0">
                  <a:pos x="64" y="56"/>
                </a:cxn>
                <a:cxn ang="0">
                  <a:pos x="64" y="56"/>
                </a:cxn>
                <a:cxn ang="0">
                  <a:pos x="64" y="60"/>
                </a:cxn>
                <a:cxn ang="0">
                  <a:pos x="60" y="68"/>
                </a:cxn>
                <a:cxn ang="0">
                  <a:pos x="60" y="72"/>
                </a:cxn>
                <a:cxn ang="0">
                  <a:pos x="60" y="80"/>
                </a:cxn>
                <a:cxn ang="0">
                  <a:pos x="56" y="76"/>
                </a:cxn>
                <a:cxn ang="0">
                  <a:pos x="56" y="76"/>
                </a:cxn>
                <a:cxn ang="0">
                  <a:pos x="48" y="72"/>
                </a:cxn>
                <a:cxn ang="0">
                  <a:pos x="44" y="68"/>
                </a:cxn>
                <a:cxn ang="0">
                  <a:pos x="40" y="68"/>
                </a:cxn>
                <a:cxn ang="0">
                  <a:pos x="36" y="64"/>
                </a:cxn>
                <a:cxn ang="0">
                  <a:pos x="32" y="60"/>
                </a:cxn>
                <a:cxn ang="0">
                  <a:pos x="28" y="56"/>
                </a:cxn>
                <a:cxn ang="0">
                  <a:pos x="20" y="48"/>
                </a:cxn>
                <a:cxn ang="0">
                  <a:pos x="20" y="44"/>
                </a:cxn>
                <a:cxn ang="0">
                  <a:pos x="16" y="44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4" y="36"/>
                </a:cxn>
                <a:cxn ang="0">
                  <a:pos x="4" y="32"/>
                </a:cxn>
              </a:cxnLst>
              <a:rect l="0" t="0" r="r" b="b"/>
              <a:pathLst>
                <a:path w="64" h="80">
                  <a:moveTo>
                    <a:pt x="0" y="32"/>
                  </a:moveTo>
                  <a:lnTo>
                    <a:pt x="0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4" y="52"/>
                  </a:lnTo>
                  <a:lnTo>
                    <a:pt x="24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6" name="Freeform 143"/>
            <p:cNvSpPr>
              <a:spLocks/>
            </p:cNvSpPr>
            <p:nvPr>
              <p:custDataLst>
                <p:tags r:id="rId338"/>
              </p:custDataLst>
            </p:nvPr>
          </p:nvSpPr>
          <p:spPr bwMode="gray">
            <a:xfrm>
              <a:off x="4582207" y="3669039"/>
              <a:ext cx="355935" cy="390045"/>
            </a:xfrm>
            <a:custGeom>
              <a:avLst/>
              <a:gdLst/>
              <a:ahLst/>
              <a:cxnLst>
                <a:cxn ang="0">
                  <a:pos x="80" y="12"/>
                </a:cxn>
                <a:cxn ang="0">
                  <a:pos x="92" y="20"/>
                </a:cxn>
                <a:cxn ang="0">
                  <a:pos x="96" y="36"/>
                </a:cxn>
                <a:cxn ang="0">
                  <a:pos x="108" y="40"/>
                </a:cxn>
                <a:cxn ang="0">
                  <a:pos x="124" y="40"/>
                </a:cxn>
                <a:cxn ang="0">
                  <a:pos x="132" y="48"/>
                </a:cxn>
                <a:cxn ang="0">
                  <a:pos x="144" y="56"/>
                </a:cxn>
                <a:cxn ang="0">
                  <a:pos x="152" y="56"/>
                </a:cxn>
                <a:cxn ang="0">
                  <a:pos x="164" y="44"/>
                </a:cxn>
                <a:cxn ang="0">
                  <a:pos x="164" y="28"/>
                </a:cxn>
                <a:cxn ang="0">
                  <a:pos x="172" y="12"/>
                </a:cxn>
                <a:cxn ang="0">
                  <a:pos x="184" y="8"/>
                </a:cxn>
                <a:cxn ang="0">
                  <a:pos x="196" y="4"/>
                </a:cxn>
                <a:cxn ang="0">
                  <a:pos x="208" y="8"/>
                </a:cxn>
                <a:cxn ang="0">
                  <a:pos x="212" y="20"/>
                </a:cxn>
                <a:cxn ang="0">
                  <a:pos x="224" y="24"/>
                </a:cxn>
                <a:cxn ang="0">
                  <a:pos x="240" y="24"/>
                </a:cxn>
                <a:cxn ang="0">
                  <a:pos x="236" y="36"/>
                </a:cxn>
                <a:cxn ang="0">
                  <a:pos x="240" y="52"/>
                </a:cxn>
                <a:cxn ang="0">
                  <a:pos x="236" y="68"/>
                </a:cxn>
                <a:cxn ang="0">
                  <a:pos x="240" y="84"/>
                </a:cxn>
                <a:cxn ang="0">
                  <a:pos x="240" y="108"/>
                </a:cxn>
                <a:cxn ang="0">
                  <a:pos x="240" y="128"/>
                </a:cxn>
                <a:cxn ang="0">
                  <a:pos x="240" y="160"/>
                </a:cxn>
                <a:cxn ang="0">
                  <a:pos x="240" y="188"/>
                </a:cxn>
                <a:cxn ang="0">
                  <a:pos x="240" y="255"/>
                </a:cxn>
                <a:cxn ang="0">
                  <a:pos x="224" y="255"/>
                </a:cxn>
                <a:cxn ang="0">
                  <a:pos x="200" y="247"/>
                </a:cxn>
                <a:cxn ang="0">
                  <a:pos x="168" y="232"/>
                </a:cxn>
                <a:cxn ang="0">
                  <a:pos x="144" y="216"/>
                </a:cxn>
                <a:cxn ang="0">
                  <a:pos x="116" y="200"/>
                </a:cxn>
                <a:cxn ang="0">
                  <a:pos x="88" y="196"/>
                </a:cxn>
                <a:cxn ang="0">
                  <a:pos x="76" y="204"/>
                </a:cxn>
                <a:cxn ang="0">
                  <a:pos x="64" y="196"/>
                </a:cxn>
                <a:cxn ang="0">
                  <a:pos x="48" y="192"/>
                </a:cxn>
                <a:cxn ang="0">
                  <a:pos x="36" y="172"/>
                </a:cxn>
                <a:cxn ang="0">
                  <a:pos x="20" y="168"/>
                </a:cxn>
                <a:cxn ang="0">
                  <a:pos x="12" y="164"/>
                </a:cxn>
                <a:cxn ang="0">
                  <a:pos x="8" y="148"/>
                </a:cxn>
                <a:cxn ang="0">
                  <a:pos x="12" y="128"/>
                </a:cxn>
                <a:cxn ang="0">
                  <a:pos x="8" y="116"/>
                </a:cxn>
                <a:cxn ang="0">
                  <a:pos x="8" y="100"/>
                </a:cxn>
                <a:cxn ang="0">
                  <a:pos x="8" y="84"/>
                </a:cxn>
                <a:cxn ang="0">
                  <a:pos x="8" y="68"/>
                </a:cxn>
                <a:cxn ang="0">
                  <a:pos x="4" y="60"/>
                </a:cxn>
                <a:cxn ang="0">
                  <a:pos x="16" y="48"/>
                </a:cxn>
                <a:cxn ang="0">
                  <a:pos x="12" y="36"/>
                </a:cxn>
                <a:cxn ang="0">
                  <a:pos x="24" y="24"/>
                </a:cxn>
                <a:cxn ang="0">
                  <a:pos x="36" y="16"/>
                </a:cxn>
                <a:cxn ang="0">
                  <a:pos x="36" y="0"/>
                </a:cxn>
                <a:cxn ang="0">
                  <a:pos x="44" y="8"/>
                </a:cxn>
                <a:cxn ang="0">
                  <a:pos x="60" y="8"/>
                </a:cxn>
                <a:cxn ang="0">
                  <a:pos x="68" y="8"/>
                </a:cxn>
              </a:cxnLst>
              <a:rect l="0" t="0" r="r" b="b"/>
              <a:pathLst>
                <a:path w="240" h="263">
                  <a:moveTo>
                    <a:pt x="72" y="8"/>
                  </a:move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4" y="16"/>
                  </a:lnTo>
                  <a:lnTo>
                    <a:pt x="88" y="16"/>
                  </a:lnTo>
                  <a:lnTo>
                    <a:pt x="92" y="16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100" y="36"/>
                  </a:lnTo>
                  <a:lnTo>
                    <a:pt x="104" y="36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12" y="40"/>
                  </a:lnTo>
                  <a:lnTo>
                    <a:pt x="116" y="40"/>
                  </a:lnTo>
                  <a:lnTo>
                    <a:pt x="120" y="40"/>
                  </a:lnTo>
                  <a:lnTo>
                    <a:pt x="124" y="40"/>
                  </a:lnTo>
                  <a:lnTo>
                    <a:pt x="124" y="44"/>
                  </a:lnTo>
                  <a:lnTo>
                    <a:pt x="128" y="44"/>
                  </a:lnTo>
                  <a:lnTo>
                    <a:pt x="132" y="44"/>
                  </a:lnTo>
                  <a:lnTo>
                    <a:pt x="132" y="48"/>
                  </a:lnTo>
                  <a:lnTo>
                    <a:pt x="136" y="48"/>
                  </a:lnTo>
                  <a:lnTo>
                    <a:pt x="136" y="52"/>
                  </a:lnTo>
                  <a:lnTo>
                    <a:pt x="140" y="52"/>
                  </a:lnTo>
                  <a:lnTo>
                    <a:pt x="144" y="56"/>
                  </a:lnTo>
                  <a:lnTo>
                    <a:pt x="148" y="56"/>
                  </a:lnTo>
                  <a:lnTo>
                    <a:pt x="148" y="60"/>
                  </a:lnTo>
                  <a:lnTo>
                    <a:pt x="152" y="60"/>
                  </a:lnTo>
                  <a:lnTo>
                    <a:pt x="152" y="56"/>
                  </a:lnTo>
                  <a:lnTo>
                    <a:pt x="156" y="56"/>
                  </a:lnTo>
                  <a:lnTo>
                    <a:pt x="160" y="52"/>
                  </a:lnTo>
                  <a:lnTo>
                    <a:pt x="164" y="48"/>
                  </a:lnTo>
                  <a:lnTo>
                    <a:pt x="164" y="44"/>
                  </a:lnTo>
                  <a:lnTo>
                    <a:pt x="164" y="40"/>
                  </a:lnTo>
                  <a:lnTo>
                    <a:pt x="164" y="36"/>
                  </a:lnTo>
                  <a:lnTo>
                    <a:pt x="164" y="32"/>
                  </a:lnTo>
                  <a:lnTo>
                    <a:pt x="164" y="28"/>
                  </a:lnTo>
                  <a:lnTo>
                    <a:pt x="164" y="24"/>
                  </a:lnTo>
                  <a:lnTo>
                    <a:pt x="164" y="20"/>
                  </a:lnTo>
                  <a:lnTo>
                    <a:pt x="168" y="16"/>
                  </a:lnTo>
                  <a:lnTo>
                    <a:pt x="172" y="12"/>
                  </a:lnTo>
                  <a:lnTo>
                    <a:pt x="176" y="12"/>
                  </a:lnTo>
                  <a:lnTo>
                    <a:pt x="176" y="8"/>
                  </a:lnTo>
                  <a:lnTo>
                    <a:pt x="180" y="8"/>
                  </a:lnTo>
                  <a:lnTo>
                    <a:pt x="184" y="8"/>
                  </a:lnTo>
                  <a:lnTo>
                    <a:pt x="188" y="8"/>
                  </a:lnTo>
                  <a:lnTo>
                    <a:pt x="188" y="4"/>
                  </a:lnTo>
                  <a:lnTo>
                    <a:pt x="192" y="4"/>
                  </a:lnTo>
                  <a:lnTo>
                    <a:pt x="196" y="4"/>
                  </a:lnTo>
                  <a:lnTo>
                    <a:pt x="196" y="8"/>
                  </a:lnTo>
                  <a:lnTo>
                    <a:pt x="200" y="8"/>
                  </a:lnTo>
                  <a:lnTo>
                    <a:pt x="204" y="8"/>
                  </a:lnTo>
                  <a:lnTo>
                    <a:pt x="208" y="8"/>
                  </a:lnTo>
                  <a:lnTo>
                    <a:pt x="208" y="12"/>
                  </a:lnTo>
                  <a:lnTo>
                    <a:pt x="212" y="12"/>
                  </a:lnTo>
                  <a:lnTo>
                    <a:pt x="212" y="16"/>
                  </a:lnTo>
                  <a:lnTo>
                    <a:pt x="212" y="20"/>
                  </a:lnTo>
                  <a:lnTo>
                    <a:pt x="216" y="20"/>
                  </a:lnTo>
                  <a:lnTo>
                    <a:pt x="220" y="20"/>
                  </a:lnTo>
                  <a:lnTo>
                    <a:pt x="224" y="20"/>
                  </a:lnTo>
                  <a:lnTo>
                    <a:pt x="224" y="24"/>
                  </a:lnTo>
                  <a:lnTo>
                    <a:pt x="228" y="24"/>
                  </a:lnTo>
                  <a:lnTo>
                    <a:pt x="232" y="24"/>
                  </a:lnTo>
                  <a:lnTo>
                    <a:pt x="236" y="24"/>
                  </a:lnTo>
                  <a:lnTo>
                    <a:pt x="240" y="24"/>
                  </a:lnTo>
                  <a:lnTo>
                    <a:pt x="240" y="28"/>
                  </a:lnTo>
                  <a:lnTo>
                    <a:pt x="240" y="32"/>
                  </a:lnTo>
                  <a:lnTo>
                    <a:pt x="240" y="36"/>
                  </a:lnTo>
                  <a:lnTo>
                    <a:pt x="236" y="36"/>
                  </a:lnTo>
                  <a:lnTo>
                    <a:pt x="236" y="40"/>
                  </a:lnTo>
                  <a:lnTo>
                    <a:pt x="240" y="44"/>
                  </a:lnTo>
                  <a:lnTo>
                    <a:pt x="240" y="48"/>
                  </a:lnTo>
                  <a:lnTo>
                    <a:pt x="240" y="52"/>
                  </a:lnTo>
                  <a:lnTo>
                    <a:pt x="236" y="56"/>
                  </a:lnTo>
                  <a:lnTo>
                    <a:pt x="236" y="60"/>
                  </a:lnTo>
                  <a:lnTo>
                    <a:pt x="236" y="64"/>
                  </a:lnTo>
                  <a:lnTo>
                    <a:pt x="236" y="68"/>
                  </a:lnTo>
                  <a:lnTo>
                    <a:pt x="236" y="72"/>
                  </a:lnTo>
                  <a:lnTo>
                    <a:pt x="240" y="76"/>
                  </a:lnTo>
                  <a:lnTo>
                    <a:pt x="240" y="80"/>
                  </a:lnTo>
                  <a:lnTo>
                    <a:pt x="240" y="84"/>
                  </a:lnTo>
                  <a:lnTo>
                    <a:pt x="240" y="96"/>
                  </a:lnTo>
                  <a:lnTo>
                    <a:pt x="240" y="100"/>
                  </a:lnTo>
                  <a:lnTo>
                    <a:pt x="240" y="104"/>
                  </a:lnTo>
                  <a:lnTo>
                    <a:pt x="240" y="108"/>
                  </a:lnTo>
                  <a:lnTo>
                    <a:pt x="240" y="112"/>
                  </a:lnTo>
                  <a:lnTo>
                    <a:pt x="240" y="120"/>
                  </a:lnTo>
                  <a:lnTo>
                    <a:pt x="240" y="124"/>
                  </a:lnTo>
                  <a:lnTo>
                    <a:pt x="240" y="128"/>
                  </a:lnTo>
                  <a:lnTo>
                    <a:pt x="240" y="132"/>
                  </a:lnTo>
                  <a:lnTo>
                    <a:pt x="240" y="140"/>
                  </a:lnTo>
                  <a:lnTo>
                    <a:pt x="240" y="152"/>
                  </a:lnTo>
                  <a:lnTo>
                    <a:pt x="240" y="160"/>
                  </a:lnTo>
                  <a:lnTo>
                    <a:pt x="240" y="164"/>
                  </a:lnTo>
                  <a:lnTo>
                    <a:pt x="240" y="172"/>
                  </a:lnTo>
                  <a:lnTo>
                    <a:pt x="240" y="180"/>
                  </a:lnTo>
                  <a:lnTo>
                    <a:pt x="240" y="188"/>
                  </a:lnTo>
                  <a:lnTo>
                    <a:pt x="240" y="212"/>
                  </a:lnTo>
                  <a:lnTo>
                    <a:pt x="240" y="216"/>
                  </a:lnTo>
                  <a:lnTo>
                    <a:pt x="240" y="236"/>
                  </a:lnTo>
                  <a:lnTo>
                    <a:pt x="240" y="255"/>
                  </a:lnTo>
                  <a:lnTo>
                    <a:pt x="236" y="255"/>
                  </a:lnTo>
                  <a:lnTo>
                    <a:pt x="232" y="255"/>
                  </a:lnTo>
                  <a:lnTo>
                    <a:pt x="228" y="255"/>
                  </a:lnTo>
                  <a:lnTo>
                    <a:pt x="224" y="255"/>
                  </a:lnTo>
                  <a:lnTo>
                    <a:pt x="224" y="263"/>
                  </a:lnTo>
                  <a:lnTo>
                    <a:pt x="216" y="259"/>
                  </a:lnTo>
                  <a:lnTo>
                    <a:pt x="208" y="255"/>
                  </a:lnTo>
                  <a:lnTo>
                    <a:pt x="200" y="247"/>
                  </a:lnTo>
                  <a:lnTo>
                    <a:pt x="192" y="244"/>
                  </a:lnTo>
                  <a:lnTo>
                    <a:pt x="184" y="240"/>
                  </a:lnTo>
                  <a:lnTo>
                    <a:pt x="180" y="236"/>
                  </a:lnTo>
                  <a:lnTo>
                    <a:pt x="168" y="232"/>
                  </a:lnTo>
                  <a:lnTo>
                    <a:pt x="160" y="224"/>
                  </a:lnTo>
                  <a:lnTo>
                    <a:pt x="152" y="220"/>
                  </a:lnTo>
                  <a:lnTo>
                    <a:pt x="148" y="216"/>
                  </a:lnTo>
                  <a:lnTo>
                    <a:pt x="144" y="216"/>
                  </a:lnTo>
                  <a:lnTo>
                    <a:pt x="140" y="212"/>
                  </a:lnTo>
                  <a:lnTo>
                    <a:pt x="132" y="208"/>
                  </a:lnTo>
                  <a:lnTo>
                    <a:pt x="128" y="204"/>
                  </a:lnTo>
                  <a:lnTo>
                    <a:pt x="116" y="200"/>
                  </a:lnTo>
                  <a:lnTo>
                    <a:pt x="108" y="192"/>
                  </a:lnTo>
                  <a:lnTo>
                    <a:pt x="104" y="192"/>
                  </a:lnTo>
                  <a:lnTo>
                    <a:pt x="92" y="196"/>
                  </a:lnTo>
                  <a:lnTo>
                    <a:pt x="88" y="196"/>
                  </a:lnTo>
                  <a:lnTo>
                    <a:pt x="88" y="200"/>
                  </a:lnTo>
                  <a:lnTo>
                    <a:pt x="84" y="200"/>
                  </a:lnTo>
                  <a:lnTo>
                    <a:pt x="80" y="204"/>
                  </a:lnTo>
                  <a:lnTo>
                    <a:pt x="76" y="204"/>
                  </a:lnTo>
                  <a:lnTo>
                    <a:pt x="76" y="208"/>
                  </a:lnTo>
                  <a:lnTo>
                    <a:pt x="72" y="200"/>
                  </a:lnTo>
                  <a:lnTo>
                    <a:pt x="68" y="196"/>
                  </a:lnTo>
                  <a:lnTo>
                    <a:pt x="64" y="196"/>
                  </a:lnTo>
                  <a:lnTo>
                    <a:pt x="60" y="192"/>
                  </a:lnTo>
                  <a:lnTo>
                    <a:pt x="56" y="192"/>
                  </a:lnTo>
                  <a:lnTo>
                    <a:pt x="52" y="192"/>
                  </a:lnTo>
                  <a:lnTo>
                    <a:pt x="48" y="192"/>
                  </a:lnTo>
                  <a:lnTo>
                    <a:pt x="44" y="188"/>
                  </a:lnTo>
                  <a:lnTo>
                    <a:pt x="40" y="188"/>
                  </a:lnTo>
                  <a:lnTo>
                    <a:pt x="40" y="180"/>
                  </a:lnTo>
                  <a:lnTo>
                    <a:pt x="36" y="172"/>
                  </a:lnTo>
                  <a:lnTo>
                    <a:pt x="32" y="172"/>
                  </a:lnTo>
                  <a:lnTo>
                    <a:pt x="28" y="172"/>
                  </a:lnTo>
                  <a:lnTo>
                    <a:pt x="24" y="168"/>
                  </a:lnTo>
                  <a:lnTo>
                    <a:pt x="20" y="168"/>
                  </a:lnTo>
                  <a:lnTo>
                    <a:pt x="20" y="172"/>
                  </a:lnTo>
                  <a:lnTo>
                    <a:pt x="16" y="168"/>
                  </a:lnTo>
                  <a:lnTo>
                    <a:pt x="16" y="164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12" y="156"/>
                  </a:lnTo>
                  <a:lnTo>
                    <a:pt x="12" y="152"/>
                  </a:lnTo>
                  <a:lnTo>
                    <a:pt x="8" y="148"/>
                  </a:lnTo>
                  <a:lnTo>
                    <a:pt x="4" y="140"/>
                  </a:lnTo>
                  <a:lnTo>
                    <a:pt x="4" y="136"/>
                  </a:lnTo>
                  <a:lnTo>
                    <a:pt x="8" y="132"/>
                  </a:lnTo>
                  <a:lnTo>
                    <a:pt x="12" y="128"/>
                  </a:lnTo>
                  <a:lnTo>
                    <a:pt x="12" y="124"/>
                  </a:lnTo>
                  <a:lnTo>
                    <a:pt x="8" y="124"/>
                  </a:lnTo>
                  <a:lnTo>
                    <a:pt x="8" y="120"/>
                  </a:lnTo>
                  <a:lnTo>
                    <a:pt x="8" y="116"/>
                  </a:lnTo>
                  <a:lnTo>
                    <a:pt x="8" y="112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8" y="100"/>
                  </a:lnTo>
                  <a:lnTo>
                    <a:pt x="8" y="96"/>
                  </a:lnTo>
                  <a:lnTo>
                    <a:pt x="8" y="92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72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7" name="Freeform 144"/>
            <p:cNvSpPr>
              <a:spLocks noEditPoints="1"/>
            </p:cNvSpPr>
            <p:nvPr>
              <p:custDataLst>
                <p:tags r:id="rId339"/>
              </p:custDataLst>
            </p:nvPr>
          </p:nvSpPr>
          <p:spPr bwMode="gray">
            <a:xfrm>
              <a:off x="5345984" y="4917779"/>
              <a:ext cx="166103" cy="385597"/>
            </a:xfrm>
            <a:custGeom>
              <a:avLst/>
              <a:gdLst/>
              <a:ahLst/>
              <a:cxnLst>
                <a:cxn ang="0">
                  <a:pos x="76" y="28"/>
                </a:cxn>
                <a:cxn ang="0">
                  <a:pos x="80" y="172"/>
                </a:cxn>
                <a:cxn ang="0">
                  <a:pos x="76" y="188"/>
                </a:cxn>
                <a:cxn ang="0">
                  <a:pos x="72" y="204"/>
                </a:cxn>
                <a:cxn ang="0">
                  <a:pos x="68" y="216"/>
                </a:cxn>
                <a:cxn ang="0">
                  <a:pos x="64" y="228"/>
                </a:cxn>
                <a:cxn ang="0">
                  <a:pos x="60" y="244"/>
                </a:cxn>
                <a:cxn ang="0">
                  <a:pos x="48" y="252"/>
                </a:cxn>
                <a:cxn ang="0">
                  <a:pos x="36" y="256"/>
                </a:cxn>
                <a:cxn ang="0">
                  <a:pos x="28" y="256"/>
                </a:cxn>
                <a:cxn ang="0">
                  <a:pos x="16" y="252"/>
                </a:cxn>
                <a:cxn ang="0">
                  <a:pos x="12" y="248"/>
                </a:cxn>
                <a:cxn ang="0">
                  <a:pos x="8" y="232"/>
                </a:cxn>
                <a:cxn ang="0">
                  <a:pos x="8" y="216"/>
                </a:cxn>
                <a:cxn ang="0">
                  <a:pos x="4" y="204"/>
                </a:cxn>
                <a:cxn ang="0">
                  <a:pos x="0" y="192"/>
                </a:cxn>
                <a:cxn ang="0">
                  <a:pos x="4" y="180"/>
                </a:cxn>
                <a:cxn ang="0">
                  <a:pos x="12" y="172"/>
                </a:cxn>
                <a:cxn ang="0">
                  <a:pos x="16" y="156"/>
                </a:cxn>
                <a:cxn ang="0">
                  <a:pos x="20" y="144"/>
                </a:cxn>
                <a:cxn ang="0">
                  <a:pos x="16" y="132"/>
                </a:cxn>
                <a:cxn ang="0">
                  <a:pos x="12" y="120"/>
                </a:cxn>
                <a:cxn ang="0">
                  <a:pos x="12" y="104"/>
                </a:cxn>
                <a:cxn ang="0">
                  <a:pos x="16" y="92"/>
                </a:cxn>
                <a:cxn ang="0">
                  <a:pos x="16" y="84"/>
                </a:cxn>
                <a:cxn ang="0">
                  <a:pos x="28" y="76"/>
                </a:cxn>
                <a:cxn ang="0">
                  <a:pos x="36" y="76"/>
                </a:cxn>
                <a:cxn ang="0">
                  <a:pos x="40" y="72"/>
                </a:cxn>
                <a:cxn ang="0">
                  <a:pos x="48" y="72"/>
                </a:cxn>
                <a:cxn ang="0">
                  <a:pos x="48" y="68"/>
                </a:cxn>
                <a:cxn ang="0">
                  <a:pos x="60" y="64"/>
                </a:cxn>
                <a:cxn ang="0">
                  <a:pos x="60" y="64"/>
                </a:cxn>
                <a:cxn ang="0">
                  <a:pos x="64" y="56"/>
                </a:cxn>
                <a:cxn ang="0">
                  <a:pos x="68" y="56"/>
                </a:cxn>
                <a:cxn ang="0">
                  <a:pos x="72" y="52"/>
                </a:cxn>
                <a:cxn ang="0">
                  <a:pos x="72" y="44"/>
                </a:cxn>
                <a:cxn ang="0">
                  <a:pos x="72" y="36"/>
                </a:cxn>
                <a:cxn ang="0">
                  <a:pos x="80" y="32"/>
                </a:cxn>
                <a:cxn ang="0">
                  <a:pos x="84" y="28"/>
                </a:cxn>
                <a:cxn ang="0">
                  <a:pos x="88" y="16"/>
                </a:cxn>
                <a:cxn ang="0">
                  <a:pos x="92" y="8"/>
                </a:cxn>
                <a:cxn ang="0">
                  <a:pos x="92" y="0"/>
                </a:cxn>
                <a:cxn ang="0">
                  <a:pos x="92" y="8"/>
                </a:cxn>
                <a:cxn ang="0">
                  <a:pos x="100" y="16"/>
                </a:cxn>
                <a:cxn ang="0">
                  <a:pos x="100" y="24"/>
                </a:cxn>
                <a:cxn ang="0">
                  <a:pos x="104" y="36"/>
                </a:cxn>
                <a:cxn ang="0">
                  <a:pos x="108" y="48"/>
                </a:cxn>
                <a:cxn ang="0">
                  <a:pos x="108" y="60"/>
                </a:cxn>
                <a:cxn ang="0">
                  <a:pos x="108" y="76"/>
                </a:cxn>
                <a:cxn ang="0">
                  <a:pos x="96" y="68"/>
                </a:cxn>
                <a:cxn ang="0">
                  <a:pos x="100" y="80"/>
                </a:cxn>
                <a:cxn ang="0">
                  <a:pos x="96" y="92"/>
                </a:cxn>
                <a:cxn ang="0">
                  <a:pos x="96" y="108"/>
                </a:cxn>
                <a:cxn ang="0">
                  <a:pos x="92" y="124"/>
                </a:cxn>
                <a:cxn ang="0">
                  <a:pos x="88" y="136"/>
                </a:cxn>
                <a:cxn ang="0">
                  <a:pos x="84" y="148"/>
                </a:cxn>
                <a:cxn ang="0">
                  <a:pos x="80" y="160"/>
                </a:cxn>
                <a:cxn ang="0">
                  <a:pos x="104" y="96"/>
                </a:cxn>
              </a:cxnLst>
              <a:rect l="0" t="0" r="r" b="b"/>
              <a:pathLst>
                <a:path w="112" h="260">
                  <a:moveTo>
                    <a:pt x="76" y="28"/>
                  </a:moveTo>
                  <a:lnTo>
                    <a:pt x="76" y="24"/>
                  </a:lnTo>
                  <a:lnTo>
                    <a:pt x="80" y="28"/>
                  </a:lnTo>
                  <a:lnTo>
                    <a:pt x="76" y="28"/>
                  </a:lnTo>
                  <a:close/>
                  <a:moveTo>
                    <a:pt x="80" y="160"/>
                  </a:moveTo>
                  <a:lnTo>
                    <a:pt x="80" y="164"/>
                  </a:lnTo>
                  <a:lnTo>
                    <a:pt x="80" y="168"/>
                  </a:lnTo>
                  <a:lnTo>
                    <a:pt x="80" y="172"/>
                  </a:lnTo>
                  <a:lnTo>
                    <a:pt x="80" y="176"/>
                  </a:lnTo>
                  <a:lnTo>
                    <a:pt x="76" y="180"/>
                  </a:lnTo>
                  <a:lnTo>
                    <a:pt x="76" y="184"/>
                  </a:lnTo>
                  <a:lnTo>
                    <a:pt x="76" y="188"/>
                  </a:lnTo>
                  <a:lnTo>
                    <a:pt x="72" y="192"/>
                  </a:lnTo>
                  <a:lnTo>
                    <a:pt x="72" y="196"/>
                  </a:lnTo>
                  <a:lnTo>
                    <a:pt x="72" y="200"/>
                  </a:lnTo>
                  <a:lnTo>
                    <a:pt x="72" y="204"/>
                  </a:lnTo>
                  <a:lnTo>
                    <a:pt x="72" y="208"/>
                  </a:lnTo>
                  <a:lnTo>
                    <a:pt x="68" y="208"/>
                  </a:lnTo>
                  <a:lnTo>
                    <a:pt x="68" y="212"/>
                  </a:lnTo>
                  <a:lnTo>
                    <a:pt x="68" y="216"/>
                  </a:lnTo>
                  <a:lnTo>
                    <a:pt x="68" y="220"/>
                  </a:lnTo>
                  <a:lnTo>
                    <a:pt x="68" y="224"/>
                  </a:lnTo>
                  <a:lnTo>
                    <a:pt x="64" y="224"/>
                  </a:lnTo>
                  <a:lnTo>
                    <a:pt x="64" y="228"/>
                  </a:lnTo>
                  <a:lnTo>
                    <a:pt x="64" y="232"/>
                  </a:lnTo>
                  <a:lnTo>
                    <a:pt x="64" y="236"/>
                  </a:lnTo>
                  <a:lnTo>
                    <a:pt x="60" y="240"/>
                  </a:lnTo>
                  <a:lnTo>
                    <a:pt x="60" y="244"/>
                  </a:lnTo>
                  <a:lnTo>
                    <a:pt x="60" y="248"/>
                  </a:lnTo>
                  <a:lnTo>
                    <a:pt x="56" y="248"/>
                  </a:lnTo>
                  <a:lnTo>
                    <a:pt x="52" y="252"/>
                  </a:lnTo>
                  <a:lnTo>
                    <a:pt x="48" y="252"/>
                  </a:lnTo>
                  <a:lnTo>
                    <a:pt x="44" y="252"/>
                  </a:lnTo>
                  <a:lnTo>
                    <a:pt x="40" y="252"/>
                  </a:lnTo>
                  <a:lnTo>
                    <a:pt x="40" y="256"/>
                  </a:lnTo>
                  <a:lnTo>
                    <a:pt x="36" y="256"/>
                  </a:lnTo>
                  <a:lnTo>
                    <a:pt x="36" y="260"/>
                  </a:lnTo>
                  <a:lnTo>
                    <a:pt x="32" y="260"/>
                  </a:lnTo>
                  <a:lnTo>
                    <a:pt x="28" y="260"/>
                  </a:lnTo>
                  <a:lnTo>
                    <a:pt x="28" y="256"/>
                  </a:lnTo>
                  <a:lnTo>
                    <a:pt x="24" y="256"/>
                  </a:lnTo>
                  <a:lnTo>
                    <a:pt x="24" y="252"/>
                  </a:lnTo>
                  <a:lnTo>
                    <a:pt x="20" y="252"/>
                  </a:lnTo>
                  <a:lnTo>
                    <a:pt x="16" y="252"/>
                  </a:lnTo>
                  <a:lnTo>
                    <a:pt x="20" y="252"/>
                  </a:lnTo>
                  <a:lnTo>
                    <a:pt x="16" y="252"/>
                  </a:lnTo>
                  <a:lnTo>
                    <a:pt x="16" y="248"/>
                  </a:lnTo>
                  <a:lnTo>
                    <a:pt x="12" y="248"/>
                  </a:lnTo>
                  <a:lnTo>
                    <a:pt x="12" y="244"/>
                  </a:lnTo>
                  <a:lnTo>
                    <a:pt x="12" y="240"/>
                  </a:lnTo>
                  <a:lnTo>
                    <a:pt x="8" y="236"/>
                  </a:lnTo>
                  <a:lnTo>
                    <a:pt x="8" y="232"/>
                  </a:lnTo>
                  <a:lnTo>
                    <a:pt x="8" y="228"/>
                  </a:lnTo>
                  <a:lnTo>
                    <a:pt x="8" y="224"/>
                  </a:lnTo>
                  <a:lnTo>
                    <a:pt x="8" y="220"/>
                  </a:lnTo>
                  <a:lnTo>
                    <a:pt x="8" y="216"/>
                  </a:lnTo>
                  <a:lnTo>
                    <a:pt x="4" y="216"/>
                  </a:lnTo>
                  <a:lnTo>
                    <a:pt x="4" y="212"/>
                  </a:lnTo>
                  <a:lnTo>
                    <a:pt x="4" y="208"/>
                  </a:lnTo>
                  <a:lnTo>
                    <a:pt x="4" y="204"/>
                  </a:lnTo>
                  <a:lnTo>
                    <a:pt x="0" y="204"/>
                  </a:lnTo>
                  <a:lnTo>
                    <a:pt x="0" y="200"/>
                  </a:lnTo>
                  <a:lnTo>
                    <a:pt x="0" y="196"/>
                  </a:lnTo>
                  <a:lnTo>
                    <a:pt x="0" y="192"/>
                  </a:lnTo>
                  <a:lnTo>
                    <a:pt x="0" y="188"/>
                  </a:lnTo>
                  <a:lnTo>
                    <a:pt x="0" y="184"/>
                  </a:lnTo>
                  <a:lnTo>
                    <a:pt x="4" y="184"/>
                  </a:lnTo>
                  <a:lnTo>
                    <a:pt x="4" y="180"/>
                  </a:lnTo>
                  <a:lnTo>
                    <a:pt x="4" y="176"/>
                  </a:lnTo>
                  <a:lnTo>
                    <a:pt x="8" y="176"/>
                  </a:lnTo>
                  <a:lnTo>
                    <a:pt x="8" y="172"/>
                  </a:lnTo>
                  <a:lnTo>
                    <a:pt x="12" y="172"/>
                  </a:lnTo>
                  <a:lnTo>
                    <a:pt x="12" y="168"/>
                  </a:lnTo>
                  <a:lnTo>
                    <a:pt x="12" y="164"/>
                  </a:lnTo>
                  <a:lnTo>
                    <a:pt x="16" y="160"/>
                  </a:lnTo>
                  <a:lnTo>
                    <a:pt x="16" y="156"/>
                  </a:lnTo>
                  <a:lnTo>
                    <a:pt x="20" y="152"/>
                  </a:lnTo>
                  <a:lnTo>
                    <a:pt x="20" y="148"/>
                  </a:lnTo>
                  <a:lnTo>
                    <a:pt x="16" y="148"/>
                  </a:lnTo>
                  <a:lnTo>
                    <a:pt x="20" y="144"/>
                  </a:lnTo>
                  <a:lnTo>
                    <a:pt x="20" y="140"/>
                  </a:lnTo>
                  <a:lnTo>
                    <a:pt x="16" y="140"/>
                  </a:lnTo>
                  <a:lnTo>
                    <a:pt x="16" y="136"/>
                  </a:lnTo>
                  <a:lnTo>
                    <a:pt x="16" y="132"/>
                  </a:lnTo>
                  <a:lnTo>
                    <a:pt x="16" y="128"/>
                  </a:lnTo>
                  <a:lnTo>
                    <a:pt x="16" y="124"/>
                  </a:lnTo>
                  <a:lnTo>
                    <a:pt x="12" y="124"/>
                  </a:lnTo>
                  <a:lnTo>
                    <a:pt x="12" y="120"/>
                  </a:lnTo>
                  <a:lnTo>
                    <a:pt x="12" y="116"/>
                  </a:lnTo>
                  <a:lnTo>
                    <a:pt x="12" y="112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6" y="100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32" y="76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72"/>
                  </a:lnTo>
                  <a:lnTo>
                    <a:pt x="40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8" y="76"/>
                  </a:lnTo>
                  <a:lnTo>
                    <a:pt x="48" y="72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52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8" y="56"/>
                  </a:lnTo>
                  <a:lnTo>
                    <a:pt x="68" y="52"/>
                  </a:lnTo>
                  <a:lnTo>
                    <a:pt x="72" y="52"/>
                  </a:lnTo>
                  <a:lnTo>
                    <a:pt x="72" y="56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72" y="44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2" y="32"/>
                  </a:lnTo>
                  <a:lnTo>
                    <a:pt x="76" y="32"/>
                  </a:lnTo>
                  <a:lnTo>
                    <a:pt x="76" y="36"/>
                  </a:lnTo>
                  <a:lnTo>
                    <a:pt x="80" y="32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0" y="28"/>
                  </a:lnTo>
                  <a:lnTo>
                    <a:pt x="84" y="28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88" y="16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0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96" y="12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0" y="24"/>
                  </a:lnTo>
                  <a:lnTo>
                    <a:pt x="104" y="24"/>
                  </a:lnTo>
                  <a:lnTo>
                    <a:pt x="104" y="28"/>
                  </a:lnTo>
                  <a:lnTo>
                    <a:pt x="104" y="32"/>
                  </a:lnTo>
                  <a:lnTo>
                    <a:pt x="104" y="36"/>
                  </a:lnTo>
                  <a:lnTo>
                    <a:pt x="104" y="40"/>
                  </a:lnTo>
                  <a:lnTo>
                    <a:pt x="104" y="44"/>
                  </a:lnTo>
                  <a:lnTo>
                    <a:pt x="108" y="44"/>
                  </a:lnTo>
                  <a:lnTo>
                    <a:pt x="108" y="48"/>
                  </a:lnTo>
                  <a:lnTo>
                    <a:pt x="104" y="48"/>
                  </a:lnTo>
                  <a:lnTo>
                    <a:pt x="108" y="52"/>
                  </a:lnTo>
                  <a:lnTo>
                    <a:pt x="108" y="56"/>
                  </a:lnTo>
                  <a:lnTo>
                    <a:pt x="108" y="60"/>
                  </a:lnTo>
                  <a:lnTo>
                    <a:pt x="112" y="64"/>
                  </a:lnTo>
                  <a:lnTo>
                    <a:pt x="108" y="68"/>
                  </a:lnTo>
                  <a:lnTo>
                    <a:pt x="108" y="72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4" y="72"/>
                  </a:lnTo>
                  <a:lnTo>
                    <a:pt x="100" y="68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100" y="72"/>
                  </a:lnTo>
                  <a:lnTo>
                    <a:pt x="100" y="76"/>
                  </a:lnTo>
                  <a:lnTo>
                    <a:pt x="100" y="80"/>
                  </a:lnTo>
                  <a:lnTo>
                    <a:pt x="100" y="84"/>
                  </a:lnTo>
                  <a:lnTo>
                    <a:pt x="100" y="88"/>
                  </a:lnTo>
                  <a:lnTo>
                    <a:pt x="100" y="92"/>
                  </a:lnTo>
                  <a:lnTo>
                    <a:pt x="96" y="92"/>
                  </a:lnTo>
                  <a:lnTo>
                    <a:pt x="96" y="96"/>
                  </a:lnTo>
                  <a:lnTo>
                    <a:pt x="96" y="100"/>
                  </a:lnTo>
                  <a:lnTo>
                    <a:pt x="96" y="104"/>
                  </a:lnTo>
                  <a:lnTo>
                    <a:pt x="96" y="108"/>
                  </a:lnTo>
                  <a:lnTo>
                    <a:pt x="96" y="112"/>
                  </a:lnTo>
                  <a:lnTo>
                    <a:pt x="96" y="116"/>
                  </a:lnTo>
                  <a:lnTo>
                    <a:pt x="92" y="120"/>
                  </a:lnTo>
                  <a:lnTo>
                    <a:pt x="92" y="124"/>
                  </a:lnTo>
                  <a:lnTo>
                    <a:pt x="92" y="128"/>
                  </a:lnTo>
                  <a:lnTo>
                    <a:pt x="92" y="132"/>
                  </a:lnTo>
                  <a:lnTo>
                    <a:pt x="88" y="132"/>
                  </a:lnTo>
                  <a:lnTo>
                    <a:pt x="88" y="136"/>
                  </a:lnTo>
                  <a:lnTo>
                    <a:pt x="88" y="140"/>
                  </a:lnTo>
                  <a:lnTo>
                    <a:pt x="88" y="144"/>
                  </a:lnTo>
                  <a:lnTo>
                    <a:pt x="84" y="144"/>
                  </a:lnTo>
                  <a:lnTo>
                    <a:pt x="84" y="148"/>
                  </a:lnTo>
                  <a:lnTo>
                    <a:pt x="84" y="152"/>
                  </a:lnTo>
                  <a:lnTo>
                    <a:pt x="84" y="156"/>
                  </a:lnTo>
                  <a:lnTo>
                    <a:pt x="84" y="160"/>
                  </a:lnTo>
                  <a:lnTo>
                    <a:pt x="80" y="160"/>
                  </a:lnTo>
                  <a:close/>
                  <a:moveTo>
                    <a:pt x="100" y="96"/>
                  </a:moveTo>
                  <a:lnTo>
                    <a:pt x="100" y="92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0" y="9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8" name="Freeform 145"/>
            <p:cNvSpPr>
              <a:spLocks noEditPoints="1"/>
            </p:cNvSpPr>
            <p:nvPr>
              <p:custDataLst>
                <p:tags r:id="rId340"/>
              </p:custDataLst>
            </p:nvPr>
          </p:nvSpPr>
          <p:spPr bwMode="gray">
            <a:xfrm>
              <a:off x="5108694" y="4852524"/>
              <a:ext cx="71187" cy="213561"/>
            </a:xfrm>
            <a:custGeom>
              <a:avLst/>
              <a:gdLst/>
              <a:ahLst/>
              <a:cxnLst>
                <a:cxn ang="0">
                  <a:pos x="4" y="84"/>
                </a:cxn>
                <a:cxn ang="0">
                  <a:pos x="0" y="76"/>
                </a:cxn>
                <a:cxn ang="0">
                  <a:pos x="4" y="72"/>
                </a:cxn>
                <a:cxn ang="0">
                  <a:pos x="4" y="64"/>
                </a:cxn>
                <a:cxn ang="0">
                  <a:pos x="4" y="60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2" y="52"/>
                </a:cxn>
                <a:cxn ang="0">
                  <a:pos x="8" y="40"/>
                </a:cxn>
                <a:cxn ang="0">
                  <a:pos x="12" y="32"/>
                </a:cxn>
                <a:cxn ang="0">
                  <a:pos x="8" y="28"/>
                </a:cxn>
                <a:cxn ang="0">
                  <a:pos x="12" y="24"/>
                </a:cxn>
                <a:cxn ang="0">
                  <a:pos x="16" y="20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12" y="0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8" y="8"/>
                </a:cxn>
                <a:cxn ang="0">
                  <a:pos x="28" y="16"/>
                </a:cxn>
                <a:cxn ang="0">
                  <a:pos x="28" y="20"/>
                </a:cxn>
                <a:cxn ang="0">
                  <a:pos x="28" y="28"/>
                </a:cxn>
                <a:cxn ang="0">
                  <a:pos x="32" y="32"/>
                </a:cxn>
                <a:cxn ang="0">
                  <a:pos x="36" y="40"/>
                </a:cxn>
                <a:cxn ang="0">
                  <a:pos x="28" y="40"/>
                </a:cxn>
                <a:cxn ang="0">
                  <a:pos x="28" y="44"/>
                </a:cxn>
                <a:cxn ang="0">
                  <a:pos x="24" y="52"/>
                </a:cxn>
                <a:cxn ang="0">
                  <a:pos x="28" y="56"/>
                </a:cxn>
                <a:cxn ang="0">
                  <a:pos x="28" y="60"/>
                </a:cxn>
                <a:cxn ang="0">
                  <a:pos x="28" y="72"/>
                </a:cxn>
                <a:cxn ang="0">
                  <a:pos x="32" y="76"/>
                </a:cxn>
                <a:cxn ang="0">
                  <a:pos x="44" y="88"/>
                </a:cxn>
                <a:cxn ang="0">
                  <a:pos x="48" y="100"/>
                </a:cxn>
                <a:cxn ang="0">
                  <a:pos x="48" y="108"/>
                </a:cxn>
                <a:cxn ang="0">
                  <a:pos x="48" y="120"/>
                </a:cxn>
                <a:cxn ang="0">
                  <a:pos x="44" y="124"/>
                </a:cxn>
                <a:cxn ang="0">
                  <a:pos x="40" y="132"/>
                </a:cxn>
                <a:cxn ang="0">
                  <a:pos x="40" y="132"/>
                </a:cxn>
                <a:cxn ang="0">
                  <a:pos x="40" y="140"/>
                </a:cxn>
                <a:cxn ang="0">
                  <a:pos x="36" y="140"/>
                </a:cxn>
                <a:cxn ang="0">
                  <a:pos x="36" y="136"/>
                </a:cxn>
                <a:cxn ang="0">
                  <a:pos x="32" y="132"/>
                </a:cxn>
                <a:cxn ang="0">
                  <a:pos x="28" y="128"/>
                </a:cxn>
                <a:cxn ang="0">
                  <a:pos x="28" y="124"/>
                </a:cxn>
                <a:cxn ang="0">
                  <a:pos x="24" y="120"/>
                </a:cxn>
                <a:cxn ang="0">
                  <a:pos x="24" y="116"/>
                </a:cxn>
                <a:cxn ang="0">
                  <a:pos x="28" y="112"/>
                </a:cxn>
                <a:cxn ang="0">
                  <a:pos x="28" y="108"/>
                </a:cxn>
                <a:cxn ang="0">
                  <a:pos x="28" y="104"/>
                </a:cxn>
                <a:cxn ang="0">
                  <a:pos x="28" y="96"/>
                </a:cxn>
                <a:cxn ang="0">
                  <a:pos x="24" y="92"/>
                </a:cxn>
                <a:cxn ang="0">
                  <a:pos x="16" y="92"/>
                </a:cxn>
                <a:cxn ang="0">
                  <a:pos x="8" y="84"/>
                </a:cxn>
                <a:cxn ang="0">
                  <a:pos x="32" y="48"/>
                </a:cxn>
              </a:cxnLst>
              <a:rect l="0" t="0" r="r" b="b"/>
              <a:pathLst>
                <a:path w="48" h="144">
                  <a:moveTo>
                    <a:pt x="8" y="84"/>
                  </a:move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8" y="52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40" y="80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20"/>
                  </a:lnTo>
                  <a:lnTo>
                    <a:pt x="48" y="120"/>
                  </a:lnTo>
                  <a:lnTo>
                    <a:pt x="48" y="124"/>
                  </a:lnTo>
                  <a:lnTo>
                    <a:pt x="48" y="124"/>
                  </a:lnTo>
                  <a:lnTo>
                    <a:pt x="48" y="12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40" y="124"/>
                  </a:lnTo>
                  <a:lnTo>
                    <a:pt x="40" y="124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40" y="132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40" y="132"/>
                  </a:lnTo>
                  <a:lnTo>
                    <a:pt x="40" y="132"/>
                  </a:lnTo>
                  <a:lnTo>
                    <a:pt x="40" y="132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2" y="132"/>
                  </a:lnTo>
                  <a:lnTo>
                    <a:pt x="32" y="132"/>
                  </a:lnTo>
                  <a:lnTo>
                    <a:pt x="32" y="132"/>
                  </a:lnTo>
                  <a:lnTo>
                    <a:pt x="32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0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0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4"/>
                  </a:lnTo>
                  <a:close/>
                  <a:moveTo>
                    <a:pt x="28" y="48"/>
                  </a:move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close/>
                  <a:moveTo>
                    <a:pt x="32" y="48"/>
                  </a:move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9" name="Freeform 146"/>
            <p:cNvSpPr>
              <a:spLocks/>
            </p:cNvSpPr>
            <p:nvPr>
              <p:custDataLst>
                <p:tags r:id="rId341"/>
              </p:custDataLst>
            </p:nvPr>
          </p:nvSpPr>
          <p:spPr bwMode="gray">
            <a:xfrm>
              <a:off x="4103177" y="3906329"/>
              <a:ext cx="367800" cy="413774"/>
            </a:xfrm>
            <a:custGeom>
              <a:avLst/>
              <a:gdLst/>
              <a:ahLst/>
              <a:cxnLst>
                <a:cxn ang="0">
                  <a:pos x="28" y="243"/>
                </a:cxn>
                <a:cxn ang="0">
                  <a:pos x="20" y="239"/>
                </a:cxn>
                <a:cxn ang="0">
                  <a:pos x="8" y="239"/>
                </a:cxn>
                <a:cxn ang="0">
                  <a:pos x="12" y="223"/>
                </a:cxn>
                <a:cxn ang="0">
                  <a:pos x="0" y="215"/>
                </a:cxn>
                <a:cxn ang="0">
                  <a:pos x="4" y="203"/>
                </a:cxn>
                <a:cxn ang="0">
                  <a:pos x="0" y="195"/>
                </a:cxn>
                <a:cxn ang="0">
                  <a:pos x="8" y="179"/>
                </a:cxn>
                <a:cxn ang="0">
                  <a:pos x="20" y="187"/>
                </a:cxn>
                <a:cxn ang="0">
                  <a:pos x="32" y="183"/>
                </a:cxn>
                <a:cxn ang="0">
                  <a:pos x="44" y="179"/>
                </a:cxn>
                <a:cxn ang="0">
                  <a:pos x="64" y="179"/>
                </a:cxn>
                <a:cxn ang="0">
                  <a:pos x="88" y="179"/>
                </a:cxn>
                <a:cxn ang="0">
                  <a:pos x="104" y="163"/>
                </a:cxn>
                <a:cxn ang="0">
                  <a:pos x="96" y="131"/>
                </a:cxn>
                <a:cxn ang="0">
                  <a:pos x="92" y="99"/>
                </a:cxn>
                <a:cxn ang="0">
                  <a:pos x="92" y="72"/>
                </a:cxn>
                <a:cxn ang="0">
                  <a:pos x="88" y="44"/>
                </a:cxn>
                <a:cxn ang="0">
                  <a:pos x="84" y="12"/>
                </a:cxn>
                <a:cxn ang="0">
                  <a:pos x="96" y="0"/>
                </a:cxn>
                <a:cxn ang="0">
                  <a:pos x="128" y="12"/>
                </a:cxn>
                <a:cxn ang="0">
                  <a:pos x="152" y="36"/>
                </a:cxn>
                <a:cxn ang="0">
                  <a:pos x="176" y="56"/>
                </a:cxn>
                <a:cxn ang="0">
                  <a:pos x="200" y="76"/>
                </a:cxn>
                <a:cxn ang="0">
                  <a:pos x="208" y="84"/>
                </a:cxn>
                <a:cxn ang="0">
                  <a:pos x="220" y="91"/>
                </a:cxn>
                <a:cxn ang="0">
                  <a:pos x="232" y="103"/>
                </a:cxn>
                <a:cxn ang="0">
                  <a:pos x="244" y="111"/>
                </a:cxn>
                <a:cxn ang="0">
                  <a:pos x="248" y="139"/>
                </a:cxn>
                <a:cxn ang="0">
                  <a:pos x="248" y="163"/>
                </a:cxn>
                <a:cxn ang="0">
                  <a:pos x="240" y="175"/>
                </a:cxn>
                <a:cxn ang="0">
                  <a:pos x="228" y="179"/>
                </a:cxn>
                <a:cxn ang="0">
                  <a:pos x="200" y="187"/>
                </a:cxn>
                <a:cxn ang="0">
                  <a:pos x="188" y="191"/>
                </a:cxn>
                <a:cxn ang="0">
                  <a:pos x="176" y="187"/>
                </a:cxn>
                <a:cxn ang="0">
                  <a:pos x="156" y="199"/>
                </a:cxn>
                <a:cxn ang="0">
                  <a:pos x="140" y="207"/>
                </a:cxn>
                <a:cxn ang="0">
                  <a:pos x="136" y="215"/>
                </a:cxn>
                <a:cxn ang="0">
                  <a:pos x="128" y="219"/>
                </a:cxn>
                <a:cxn ang="0">
                  <a:pos x="120" y="227"/>
                </a:cxn>
                <a:cxn ang="0">
                  <a:pos x="112" y="243"/>
                </a:cxn>
                <a:cxn ang="0">
                  <a:pos x="104" y="259"/>
                </a:cxn>
                <a:cxn ang="0">
                  <a:pos x="100" y="275"/>
                </a:cxn>
                <a:cxn ang="0">
                  <a:pos x="88" y="275"/>
                </a:cxn>
                <a:cxn ang="0">
                  <a:pos x="88" y="267"/>
                </a:cxn>
                <a:cxn ang="0">
                  <a:pos x="80" y="279"/>
                </a:cxn>
                <a:cxn ang="0">
                  <a:pos x="64" y="275"/>
                </a:cxn>
                <a:cxn ang="0">
                  <a:pos x="56" y="267"/>
                </a:cxn>
                <a:cxn ang="0">
                  <a:pos x="52" y="259"/>
                </a:cxn>
                <a:cxn ang="0">
                  <a:pos x="48" y="251"/>
                </a:cxn>
                <a:cxn ang="0">
                  <a:pos x="44" y="235"/>
                </a:cxn>
                <a:cxn ang="0">
                  <a:pos x="36" y="243"/>
                </a:cxn>
              </a:cxnLst>
              <a:rect l="0" t="0" r="r" b="b"/>
              <a:pathLst>
                <a:path w="248" h="279">
                  <a:moveTo>
                    <a:pt x="36" y="243"/>
                  </a:moveTo>
                  <a:lnTo>
                    <a:pt x="32" y="243"/>
                  </a:lnTo>
                  <a:lnTo>
                    <a:pt x="32" y="239"/>
                  </a:lnTo>
                  <a:lnTo>
                    <a:pt x="28" y="239"/>
                  </a:lnTo>
                  <a:lnTo>
                    <a:pt x="28" y="243"/>
                  </a:lnTo>
                  <a:lnTo>
                    <a:pt x="24" y="243"/>
                  </a:lnTo>
                  <a:lnTo>
                    <a:pt x="24" y="247"/>
                  </a:lnTo>
                  <a:lnTo>
                    <a:pt x="20" y="247"/>
                  </a:lnTo>
                  <a:lnTo>
                    <a:pt x="20" y="243"/>
                  </a:lnTo>
                  <a:lnTo>
                    <a:pt x="20" y="239"/>
                  </a:lnTo>
                  <a:lnTo>
                    <a:pt x="16" y="239"/>
                  </a:lnTo>
                  <a:lnTo>
                    <a:pt x="16" y="243"/>
                  </a:lnTo>
                  <a:lnTo>
                    <a:pt x="12" y="243"/>
                  </a:lnTo>
                  <a:lnTo>
                    <a:pt x="8" y="243"/>
                  </a:lnTo>
                  <a:lnTo>
                    <a:pt x="8" y="239"/>
                  </a:lnTo>
                  <a:lnTo>
                    <a:pt x="12" y="239"/>
                  </a:lnTo>
                  <a:lnTo>
                    <a:pt x="12" y="235"/>
                  </a:lnTo>
                  <a:lnTo>
                    <a:pt x="12" y="231"/>
                  </a:lnTo>
                  <a:lnTo>
                    <a:pt x="12" y="227"/>
                  </a:lnTo>
                  <a:lnTo>
                    <a:pt x="12" y="223"/>
                  </a:lnTo>
                  <a:lnTo>
                    <a:pt x="8" y="223"/>
                  </a:lnTo>
                  <a:lnTo>
                    <a:pt x="8" y="219"/>
                  </a:lnTo>
                  <a:lnTo>
                    <a:pt x="4" y="219"/>
                  </a:lnTo>
                  <a:lnTo>
                    <a:pt x="4" y="215"/>
                  </a:lnTo>
                  <a:lnTo>
                    <a:pt x="0" y="215"/>
                  </a:lnTo>
                  <a:lnTo>
                    <a:pt x="0" y="211"/>
                  </a:lnTo>
                  <a:lnTo>
                    <a:pt x="4" y="211"/>
                  </a:lnTo>
                  <a:lnTo>
                    <a:pt x="4" y="207"/>
                  </a:lnTo>
                  <a:lnTo>
                    <a:pt x="0" y="207"/>
                  </a:lnTo>
                  <a:lnTo>
                    <a:pt x="4" y="203"/>
                  </a:lnTo>
                  <a:lnTo>
                    <a:pt x="0" y="203"/>
                  </a:lnTo>
                  <a:lnTo>
                    <a:pt x="0" y="199"/>
                  </a:lnTo>
                  <a:lnTo>
                    <a:pt x="0" y="195"/>
                  </a:lnTo>
                  <a:lnTo>
                    <a:pt x="0" y="191"/>
                  </a:lnTo>
                  <a:lnTo>
                    <a:pt x="0" y="195"/>
                  </a:lnTo>
                  <a:lnTo>
                    <a:pt x="4" y="191"/>
                  </a:lnTo>
                  <a:lnTo>
                    <a:pt x="4" y="187"/>
                  </a:lnTo>
                  <a:lnTo>
                    <a:pt x="4" y="183"/>
                  </a:lnTo>
                  <a:lnTo>
                    <a:pt x="4" y="179"/>
                  </a:lnTo>
                  <a:lnTo>
                    <a:pt x="8" y="179"/>
                  </a:lnTo>
                  <a:lnTo>
                    <a:pt x="8" y="175"/>
                  </a:lnTo>
                  <a:lnTo>
                    <a:pt x="12" y="175"/>
                  </a:lnTo>
                  <a:lnTo>
                    <a:pt x="12" y="179"/>
                  </a:lnTo>
                  <a:lnTo>
                    <a:pt x="16" y="183"/>
                  </a:lnTo>
                  <a:lnTo>
                    <a:pt x="20" y="187"/>
                  </a:lnTo>
                  <a:lnTo>
                    <a:pt x="20" y="183"/>
                  </a:lnTo>
                  <a:lnTo>
                    <a:pt x="20" y="179"/>
                  </a:lnTo>
                  <a:lnTo>
                    <a:pt x="24" y="179"/>
                  </a:lnTo>
                  <a:lnTo>
                    <a:pt x="28" y="179"/>
                  </a:lnTo>
                  <a:lnTo>
                    <a:pt x="32" y="183"/>
                  </a:lnTo>
                  <a:lnTo>
                    <a:pt x="36" y="183"/>
                  </a:lnTo>
                  <a:lnTo>
                    <a:pt x="36" y="179"/>
                  </a:lnTo>
                  <a:lnTo>
                    <a:pt x="40" y="179"/>
                  </a:lnTo>
                  <a:lnTo>
                    <a:pt x="44" y="175"/>
                  </a:lnTo>
                  <a:lnTo>
                    <a:pt x="44" y="179"/>
                  </a:lnTo>
                  <a:lnTo>
                    <a:pt x="48" y="179"/>
                  </a:lnTo>
                  <a:lnTo>
                    <a:pt x="52" y="179"/>
                  </a:lnTo>
                  <a:lnTo>
                    <a:pt x="56" y="179"/>
                  </a:lnTo>
                  <a:lnTo>
                    <a:pt x="60" y="179"/>
                  </a:lnTo>
                  <a:lnTo>
                    <a:pt x="64" y="179"/>
                  </a:lnTo>
                  <a:lnTo>
                    <a:pt x="68" y="179"/>
                  </a:lnTo>
                  <a:lnTo>
                    <a:pt x="72" y="179"/>
                  </a:lnTo>
                  <a:lnTo>
                    <a:pt x="76" y="179"/>
                  </a:lnTo>
                  <a:lnTo>
                    <a:pt x="84" y="179"/>
                  </a:lnTo>
                  <a:lnTo>
                    <a:pt x="88" y="179"/>
                  </a:lnTo>
                  <a:lnTo>
                    <a:pt x="92" y="179"/>
                  </a:lnTo>
                  <a:lnTo>
                    <a:pt x="100" y="179"/>
                  </a:lnTo>
                  <a:lnTo>
                    <a:pt x="100" y="171"/>
                  </a:lnTo>
                  <a:lnTo>
                    <a:pt x="104" y="167"/>
                  </a:lnTo>
                  <a:lnTo>
                    <a:pt x="104" y="163"/>
                  </a:lnTo>
                  <a:lnTo>
                    <a:pt x="100" y="159"/>
                  </a:lnTo>
                  <a:lnTo>
                    <a:pt x="100" y="155"/>
                  </a:lnTo>
                  <a:lnTo>
                    <a:pt x="96" y="143"/>
                  </a:lnTo>
                  <a:lnTo>
                    <a:pt x="96" y="135"/>
                  </a:lnTo>
                  <a:lnTo>
                    <a:pt x="96" y="131"/>
                  </a:lnTo>
                  <a:lnTo>
                    <a:pt x="96" y="127"/>
                  </a:lnTo>
                  <a:lnTo>
                    <a:pt x="96" y="119"/>
                  </a:lnTo>
                  <a:lnTo>
                    <a:pt x="96" y="111"/>
                  </a:lnTo>
                  <a:lnTo>
                    <a:pt x="96" y="107"/>
                  </a:lnTo>
                  <a:lnTo>
                    <a:pt x="92" y="99"/>
                  </a:lnTo>
                  <a:lnTo>
                    <a:pt x="92" y="91"/>
                  </a:lnTo>
                  <a:lnTo>
                    <a:pt x="92" y="84"/>
                  </a:lnTo>
                  <a:lnTo>
                    <a:pt x="92" y="80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92" y="68"/>
                  </a:lnTo>
                  <a:lnTo>
                    <a:pt x="92" y="64"/>
                  </a:lnTo>
                  <a:lnTo>
                    <a:pt x="88" y="60"/>
                  </a:lnTo>
                  <a:lnTo>
                    <a:pt x="88" y="56"/>
                  </a:lnTo>
                  <a:lnTo>
                    <a:pt x="88" y="44"/>
                  </a:lnTo>
                  <a:lnTo>
                    <a:pt x="88" y="40"/>
                  </a:lnTo>
                  <a:lnTo>
                    <a:pt x="88" y="32"/>
                  </a:lnTo>
                  <a:lnTo>
                    <a:pt x="88" y="24"/>
                  </a:lnTo>
                  <a:lnTo>
                    <a:pt x="84" y="16"/>
                  </a:lnTo>
                  <a:lnTo>
                    <a:pt x="84" y="12"/>
                  </a:lnTo>
                  <a:lnTo>
                    <a:pt x="84" y="8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6" y="0"/>
                  </a:lnTo>
                  <a:lnTo>
                    <a:pt x="108" y="0"/>
                  </a:lnTo>
                  <a:lnTo>
                    <a:pt x="112" y="0"/>
                  </a:lnTo>
                  <a:lnTo>
                    <a:pt x="116" y="4"/>
                  </a:lnTo>
                  <a:lnTo>
                    <a:pt x="120" y="8"/>
                  </a:lnTo>
                  <a:lnTo>
                    <a:pt x="128" y="12"/>
                  </a:lnTo>
                  <a:lnTo>
                    <a:pt x="132" y="16"/>
                  </a:lnTo>
                  <a:lnTo>
                    <a:pt x="136" y="20"/>
                  </a:lnTo>
                  <a:lnTo>
                    <a:pt x="140" y="24"/>
                  </a:lnTo>
                  <a:lnTo>
                    <a:pt x="148" y="28"/>
                  </a:lnTo>
                  <a:lnTo>
                    <a:pt x="152" y="36"/>
                  </a:lnTo>
                  <a:lnTo>
                    <a:pt x="156" y="40"/>
                  </a:lnTo>
                  <a:lnTo>
                    <a:pt x="164" y="44"/>
                  </a:lnTo>
                  <a:lnTo>
                    <a:pt x="168" y="48"/>
                  </a:lnTo>
                  <a:lnTo>
                    <a:pt x="172" y="52"/>
                  </a:lnTo>
                  <a:lnTo>
                    <a:pt x="176" y="56"/>
                  </a:lnTo>
                  <a:lnTo>
                    <a:pt x="184" y="60"/>
                  </a:lnTo>
                  <a:lnTo>
                    <a:pt x="188" y="64"/>
                  </a:lnTo>
                  <a:lnTo>
                    <a:pt x="192" y="64"/>
                  </a:lnTo>
                  <a:lnTo>
                    <a:pt x="196" y="72"/>
                  </a:lnTo>
                  <a:lnTo>
                    <a:pt x="200" y="76"/>
                  </a:lnTo>
                  <a:lnTo>
                    <a:pt x="204" y="76"/>
                  </a:lnTo>
                  <a:lnTo>
                    <a:pt x="204" y="80"/>
                  </a:lnTo>
                  <a:lnTo>
                    <a:pt x="200" y="80"/>
                  </a:lnTo>
                  <a:lnTo>
                    <a:pt x="204" y="84"/>
                  </a:lnTo>
                  <a:lnTo>
                    <a:pt x="208" y="84"/>
                  </a:lnTo>
                  <a:lnTo>
                    <a:pt x="208" y="87"/>
                  </a:lnTo>
                  <a:lnTo>
                    <a:pt x="212" y="87"/>
                  </a:lnTo>
                  <a:lnTo>
                    <a:pt x="212" y="91"/>
                  </a:lnTo>
                  <a:lnTo>
                    <a:pt x="216" y="91"/>
                  </a:lnTo>
                  <a:lnTo>
                    <a:pt x="220" y="91"/>
                  </a:lnTo>
                  <a:lnTo>
                    <a:pt x="220" y="95"/>
                  </a:lnTo>
                  <a:lnTo>
                    <a:pt x="224" y="95"/>
                  </a:lnTo>
                  <a:lnTo>
                    <a:pt x="228" y="95"/>
                  </a:lnTo>
                  <a:lnTo>
                    <a:pt x="232" y="99"/>
                  </a:lnTo>
                  <a:lnTo>
                    <a:pt x="232" y="103"/>
                  </a:lnTo>
                  <a:lnTo>
                    <a:pt x="232" y="107"/>
                  </a:lnTo>
                  <a:lnTo>
                    <a:pt x="232" y="111"/>
                  </a:lnTo>
                  <a:lnTo>
                    <a:pt x="236" y="115"/>
                  </a:lnTo>
                  <a:lnTo>
                    <a:pt x="240" y="111"/>
                  </a:lnTo>
                  <a:lnTo>
                    <a:pt x="244" y="111"/>
                  </a:lnTo>
                  <a:lnTo>
                    <a:pt x="248" y="111"/>
                  </a:lnTo>
                  <a:lnTo>
                    <a:pt x="248" y="115"/>
                  </a:lnTo>
                  <a:lnTo>
                    <a:pt x="248" y="119"/>
                  </a:lnTo>
                  <a:lnTo>
                    <a:pt x="248" y="131"/>
                  </a:lnTo>
                  <a:lnTo>
                    <a:pt x="248" y="139"/>
                  </a:lnTo>
                  <a:lnTo>
                    <a:pt x="248" y="143"/>
                  </a:lnTo>
                  <a:lnTo>
                    <a:pt x="248" y="147"/>
                  </a:lnTo>
                  <a:lnTo>
                    <a:pt x="248" y="151"/>
                  </a:lnTo>
                  <a:lnTo>
                    <a:pt x="248" y="155"/>
                  </a:lnTo>
                  <a:lnTo>
                    <a:pt x="248" y="163"/>
                  </a:lnTo>
                  <a:lnTo>
                    <a:pt x="244" y="163"/>
                  </a:lnTo>
                  <a:lnTo>
                    <a:pt x="244" y="167"/>
                  </a:lnTo>
                  <a:lnTo>
                    <a:pt x="244" y="171"/>
                  </a:lnTo>
                  <a:lnTo>
                    <a:pt x="244" y="175"/>
                  </a:lnTo>
                  <a:lnTo>
                    <a:pt x="240" y="175"/>
                  </a:lnTo>
                  <a:lnTo>
                    <a:pt x="240" y="179"/>
                  </a:lnTo>
                  <a:lnTo>
                    <a:pt x="236" y="179"/>
                  </a:lnTo>
                  <a:lnTo>
                    <a:pt x="236" y="183"/>
                  </a:lnTo>
                  <a:lnTo>
                    <a:pt x="232" y="179"/>
                  </a:lnTo>
                  <a:lnTo>
                    <a:pt x="228" y="179"/>
                  </a:lnTo>
                  <a:lnTo>
                    <a:pt x="228" y="183"/>
                  </a:lnTo>
                  <a:lnTo>
                    <a:pt x="224" y="183"/>
                  </a:lnTo>
                  <a:lnTo>
                    <a:pt x="212" y="183"/>
                  </a:lnTo>
                  <a:lnTo>
                    <a:pt x="204" y="183"/>
                  </a:lnTo>
                  <a:lnTo>
                    <a:pt x="200" y="187"/>
                  </a:lnTo>
                  <a:lnTo>
                    <a:pt x="196" y="191"/>
                  </a:lnTo>
                  <a:lnTo>
                    <a:pt x="192" y="191"/>
                  </a:lnTo>
                  <a:lnTo>
                    <a:pt x="192" y="187"/>
                  </a:lnTo>
                  <a:lnTo>
                    <a:pt x="192" y="191"/>
                  </a:lnTo>
                  <a:lnTo>
                    <a:pt x="188" y="191"/>
                  </a:lnTo>
                  <a:lnTo>
                    <a:pt x="188" y="187"/>
                  </a:lnTo>
                  <a:lnTo>
                    <a:pt x="188" y="191"/>
                  </a:lnTo>
                  <a:lnTo>
                    <a:pt x="184" y="187"/>
                  </a:lnTo>
                  <a:lnTo>
                    <a:pt x="180" y="187"/>
                  </a:lnTo>
                  <a:lnTo>
                    <a:pt x="176" y="187"/>
                  </a:lnTo>
                  <a:lnTo>
                    <a:pt x="172" y="187"/>
                  </a:lnTo>
                  <a:lnTo>
                    <a:pt x="168" y="191"/>
                  </a:lnTo>
                  <a:lnTo>
                    <a:pt x="164" y="195"/>
                  </a:lnTo>
                  <a:lnTo>
                    <a:pt x="160" y="199"/>
                  </a:lnTo>
                  <a:lnTo>
                    <a:pt x="156" y="199"/>
                  </a:lnTo>
                  <a:lnTo>
                    <a:pt x="152" y="199"/>
                  </a:lnTo>
                  <a:lnTo>
                    <a:pt x="152" y="203"/>
                  </a:lnTo>
                  <a:lnTo>
                    <a:pt x="148" y="203"/>
                  </a:lnTo>
                  <a:lnTo>
                    <a:pt x="144" y="203"/>
                  </a:lnTo>
                  <a:lnTo>
                    <a:pt x="140" y="207"/>
                  </a:lnTo>
                  <a:lnTo>
                    <a:pt x="140" y="211"/>
                  </a:lnTo>
                  <a:lnTo>
                    <a:pt x="140" y="215"/>
                  </a:lnTo>
                  <a:lnTo>
                    <a:pt x="136" y="215"/>
                  </a:lnTo>
                  <a:lnTo>
                    <a:pt x="136" y="211"/>
                  </a:lnTo>
                  <a:lnTo>
                    <a:pt x="136" y="215"/>
                  </a:lnTo>
                  <a:lnTo>
                    <a:pt x="136" y="219"/>
                  </a:lnTo>
                  <a:lnTo>
                    <a:pt x="132" y="219"/>
                  </a:lnTo>
                  <a:lnTo>
                    <a:pt x="132" y="223"/>
                  </a:lnTo>
                  <a:lnTo>
                    <a:pt x="128" y="223"/>
                  </a:lnTo>
                  <a:lnTo>
                    <a:pt x="128" y="219"/>
                  </a:lnTo>
                  <a:lnTo>
                    <a:pt x="124" y="219"/>
                  </a:lnTo>
                  <a:lnTo>
                    <a:pt x="124" y="215"/>
                  </a:lnTo>
                  <a:lnTo>
                    <a:pt x="120" y="219"/>
                  </a:lnTo>
                  <a:lnTo>
                    <a:pt x="120" y="223"/>
                  </a:lnTo>
                  <a:lnTo>
                    <a:pt x="120" y="227"/>
                  </a:lnTo>
                  <a:lnTo>
                    <a:pt x="120" y="231"/>
                  </a:lnTo>
                  <a:lnTo>
                    <a:pt x="116" y="231"/>
                  </a:lnTo>
                  <a:lnTo>
                    <a:pt x="116" y="235"/>
                  </a:lnTo>
                  <a:lnTo>
                    <a:pt x="116" y="239"/>
                  </a:lnTo>
                  <a:lnTo>
                    <a:pt x="112" y="243"/>
                  </a:lnTo>
                  <a:lnTo>
                    <a:pt x="108" y="243"/>
                  </a:lnTo>
                  <a:lnTo>
                    <a:pt x="104" y="247"/>
                  </a:lnTo>
                  <a:lnTo>
                    <a:pt x="104" y="251"/>
                  </a:lnTo>
                  <a:lnTo>
                    <a:pt x="104" y="255"/>
                  </a:lnTo>
                  <a:lnTo>
                    <a:pt x="104" y="259"/>
                  </a:lnTo>
                  <a:lnTo>
                    <a:pt x="104" y="263"/>
                  </a:lnTo>
                  <a:lnTo>
                    <a:pt x="100" y="263"/>
                  </a:lnTo>
                  <a:lnTo>
                    <a:pt x="100" y="267"/>
                  </a:lnTo>
                  <a:lnTo>
                    <a:pt x="100" y="271"/>
                  </a:lnTo>
                  <a:lnTo>
                    <a:pt x="100" y="275"/>
                  </a:lnTo>
                  <a:lnTo>
                    <a:pt x="100" y="271"/>
                  </a:lnTo>
                  <a:lnTo>
                    <a:pt x="96" y="275"/>
                  </a:lnTo>
                  <a:lnTo>
                    <a:pt x="92" y="275"/>
                  </a:lnTo>
                  <a:lnTo>
                    <a:pt x="92" y="279"/>
                  </a:lnTo>
                  <a:lnTo>
                    <a:pt x="88" y="275"/>
                  </a:lnTo>
                  <a:lnTo>
                    <a:pt x="92" y="275"/>
                  </a:lnTo>
                  <a:lnTo>
                    <a:pt x="92" y="271"/>
                  </a:lnTo>
                  <a:lnTo>
                    <a:pt x="88" y="271"/>
                  </a:lnTo>
                  <a:lnTo>
                    <a:pt x="92" y="271"/>
                  </a:lnTo>
                  <a:lnTo>
                    <a:pt x="88" y="267"/>
                  </a:lnTo>
                  <a:lnTo>
                    <a:pt x="88" y="271"/>
                  </a:lnTo>
                  <a:lnTo>
                    <a:pt x="84" y="271"/>
                  </a:lnTo>
                  <a:lnTo>
                    <a:pt x="84" y="275"/>
                  </a:lnTo>
                  <a:lnTo>
                    <a:pt x="80" y="275"/>
                  </a:lnTo>
                  <a:lnTo>
                    <a:pt x="80" y="279"/>
                  </a:lnTo>
                  <a:lnTo>
                    <a:pt x="76" y="279"/>
                  </a:lnTo>
                  <a:lnTo>
                    <a:pt x="76" y="275"/>
                  </a:lnTo>
                  <a:lnTo>
                    <a:pt x="72" y="275"/>
                  </a:lnTo>
                  <a:lnTo>
                    <a:pt x="68" y="275"/>
                  </a:lnTo>
                  <a:lnTo>
                    <a:pt x="64" y="275"/>
                  </a:lnTo>
                  <a:lnTo>
                    <a:pt x="64" y="279"/>
                  </a:lnTo>
                  <a:lnTo>
                    <a:pt x="64" y="275"/>
                  </a:lnTo>
                  <a:lnTo>
                    <a:pt x="60" y="275"/>
                  </a:lnTo>
                  <a:lnTo>
                    <a:pt x="60" y="271"/>
                  </a:lnTo>
                  <a:lnTo>
                    <a:pt x="56" y="267"/>
                  </a:lnTo>
                  <a:lnTo>
                    <a:pt x="60" y="267"/>
                  </a:lnTo>
                  <a:lnTo>
                    <a:pt x="60" y="263"/>
                  </a:lnTo>
                  <a:lnTo>
                    <a:pt x="56" y="263"/>
                  </a:lnTo>
                  <a:lnTo>
                    <a:pt x="52" y="263"/>
                  </a:lnTo>
                  <a:lnTo>
                    <a:pt x="52" y="259"/>
                  </a:lnTo>
                  <a:lnTo>
                    <a:pt x="56" y="259"/>
                  </a:lnTo>
                  <a:lnTo>
                    <a:pt x="56" y="255"/>
                  </a:lnTo>
                  <a:lnTo>
                    <a:pt x="52" y="255"/>
                  </a:lnTo>
                  <a:lnTo>
                    <a:pt x="52" y="251"/>
                  </a:lnTo>
                  <a:lnTo>
                    <a:pt x="48" y="251"/>
                  </a:lnTo>
                  <a:lnTo>
                    <a:pt x="52" y="247"/>
                  </a:lnTo>
                  <a:lnTo>
                    <a:pt x="52" y="243"/>
                  </a:lnTo>
                  <a:lnTo>
                    <a:pt x="48" y="239"/>
                  </a:lnTo>
                  <a:lnTo>
                    <a:pt x="48" y="235"/>
                  </a:lnTo>
                  <a:lnTo>
                    <a:pt x="44" y="235"/>
                  </a:lnTo>
                  <a:lnTo>
                    <a:pt x="40" y="235"/>
                  </a:lnTo>
                  <a:lnTo>
                    <a:pt x="44" y="235"/>
                  </a:lnTo>
                  <a:lnTo>
                    <a:pt x="44" y="239"/>
                  </a:lnTo>
                  <a:lnTo>
                    <a:pt x="40" y="239"/>
                  </a:lnTo>
                  <a:lnTo>
                    <a:pt x="36" y="2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0" name="Freeform 147"/>
            <p:cNvSpPr>
              <a:spLocks noEditPoints="1"/>
            </p:cNvSpPr>
            <p:nvPr>
              <p:custDataLst>
                <p:tags r:id="rId342"/>
              </p:custDataLst>
            </p:nvPr>
          </p:nvSpPr>
          <p:spPr bwMode="gray">
            <a:xfrm>
              <a:off x="3990464" y="3841075"/>
              <a:ext cx="278816" cy="354452"/>
            </a:xfrm>
            <a:custGeom>
              <a:avLst/>
              <a:gdLst/>
              <a:ahLst/>
              <a:cxnLst>
                <a:cxn ang="0">
                  <a:pos x="96" y="231"/>
                </a:cxn>
                <a:cxn ang="0">
                  <a:pos x="88" y="223"/>
                </a:cxn>
                <a:cxn ang="0">
                  <a:pos x="84" y="219"/>
                </a:cxn>
                <a:cxn ang="0">
                  <a:pos x="80" y="223"/>
                </a:cxn>
                <a:cxn ang="0">
                  <a:pos x="80" y="231"/>
                </a:cxn>
                <a:cxn ang="0">
                  <a:pos x="76" y="235"/>
                </a:cxn>
                <a:cxn ang="0">
                  <a:pos x="68" y="231"/>
                </a:cxn>
                <a:cxn ang="0">
                  <a:pos x="64" y="227"/>
                </a:cxn>
                <a:cxn ang="0">
                  <a:pos x="64" y="223"/>
                </a:cxn>
                <a:cxn ang="0">
                  <a:pos x="56" y="211"/>
                </a:cxn>
                <a:cxn ang="0">
                  <a:pos x="52" y="211"/>
                </a:cxn>
                <a:cxn ang="0">
                  <a:pos x="40" y="203"/>
                </a:cxn>
                <a:cxn ang="0">
                  <a:pos x="32" y="203"/>
                </a:cxn>
                <a:cxn ang="0">
                  <a:pos x="28" y="203"/>
                </a:cxn>
                <a:cxn ang="0">
                  <a:pos x="20" y="203"/>
                </a:cxn>
                <a:cxn ang="0">
                  <a:pos x="16" y="203"/>
                </a:cxn>
                <a:cxn ang="0">
                  <a:pos x="12" y="207"/>
                </a:cxn>
                <a:cxn ang="0">
                  <a:pos x="8" y="207"/>
                </a:cxn>
                <a:cxn ang="0">
                  <a:pos x="12" y="203"/>
                </a:cxn>
                <a:cxn ang="0">
                  <a:pos x="16" y="191"/>
                </a:cxn>
                <a:cxn ang="0">
                  <a:pos x="16" y="183"/>
                </a:cxn>
                <a:cxn ang="0">
                  <a:pos x="16" y="167"/>
                </a:cxn>
                <a:cxn ang="0">
                  <a:pos x="16" y="163"/>
                </a:cxn>
                <a:cxn ang="0">
                  <a:pos x="12" y="155"/>
                </a:cxn>
                <a:cxn ang="0">
                  <a:pos x="12" y="151"/>
                </a:cxn>
                <a:cxn ang="0">
                  <a:pos x="12" y="147"/>
                </a:cxn>
                <a:cxn ang="0">
                  <a:pos x="12" y="147"/>
                </a:cxn>
                <a:cxn ang="0">
                  <a:pos x="12" y="131"/>
                </a:cxn>
                <a:cxn ang="0">
                  <a:pos x="8" y="128"/>
                </a:cxn>
                <a:cxn ang="0">
                  <a:pos x="4" y="120"/>
                </a:cxn>
                <a:cxn ang="0">
                  <a:pos x="0" y="124"/>
                </a:cxn>
                <a:cxn ang="0">
                  <a:pos x="4" y="116"/>
                </a:cxn>
                <a:cxn ang="0">
                  <a:pos x="32" y="116"/>
                </a:cxn>
                <a:cxn ang="0">
                  <a:pos x="64" y="116"/>
                </a:cxn>
                <a:cxn ang="0">
                  <a:pos x="60" y="92"/>
                </a:cxn>
                <a:cxn ang="0">
                  <a:pos x="64" y="84"/>
                </a:cxn>
                <a:cxn ang="0">
                  <a:pos x="76" y="76"/>
                </a:cxn>
                <a:cxn ang="0">
                  <a:pos x="76" y="48"/>
                </a:cxn>
                <a:cxn ang="0">
                  <a:pos x="76" y="32"/>
                </a:cxn>
                <a:cxn ang="0">
                  <a:pos x="108" y="24"/>
                </a:cxn>
                <a:cxn ang="0">
                  <a:pos x="128" y="24"/>
                </a:cxn>
                <a:cxn ang="0">
                  <a:pos x="128" y="0"/>
                </a:cxn>
                <a:cxn ang="0">
                  <a:pos x="152" y="20"/>
                </a:cxn>
                <a:cxn ang="0">
                  <a:pos x="176" y="36"/>
                </a:cxn>
                <a:cxn ang="0">
                  <a:pos x="184" y="44"/>
                </a:cxn>
                <a:cxn ang="0">
                  <a:pos x="160" y="52"/>
                </a:cxn>
                <a:cxn ang="0">
                  <a:pos x="164" y="84"/>
                </a:cxn>
                <a:cxn ang="0">
                  <a:pos x="168" y="116"/>
                </a:cxn>
                <a:cxn ang="0">
                  <a:pos x="172" y="151"/>
                </a:cxn>
                <a:cxn ang="0">
                  <a:pos x="172" y="179"/>
                </a:cxn>
                <a:cxn ang="0">
                  <a:pos x="176" y="215"/>
                </a:cxn>
                <a:cxn ang="0">
                  <a:pos x="164" y="223"/>
                </a:cxn>
                <a:cxn ang="0">
                  <a:pos x="140" y="223"/>
                </a:cxn>
                <a:cxn ang="0">
                  <a:pos x="124" y="223"/>
                </a:cxn>
                <a:cxn ang="0">
                  <a:pos x="116" y="223"/>
                </a:cxn>
                <a:cxn ang="0">
                  <a:pos x="112" y="227"/>
                </a:cxn>
                <a:cxn ang="0">
                  <a:pos x="104" y="223"/>
                </a:cxn>
                <a:cxn ang="0">
                  <a:pos x="12" y="147"/>
                </a:cxn>
                <a:cxn ang="0">
                  <a:pos x="12" y="143"/>
                </a:cxn>
                <a:cxn ang="0">
                  <a:pos x="12" y="147"/>
                </a:cxn>
              </a:cxnLst>
              <a:rect l="0" t="0" r="r" b="b"/>
              <a:pathLst>
                <a:path w="188" h="239">
                  <a:moveTo>
                    <a:pt x="96" y="223"/>
                  </a:move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31"/>
                  </a:lnTo>
                  <a:lnTo>
                    <a:pt x="96" y="231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19"/>
                  </a:lnTo>
                  <a:lnTo>
                    <a:pt x="88" y="219"/>
                  </a:lnTo>
                  <a:lnTo>
                    <a:pt x="84" y="219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80" y="227"/>
                  </a:lnTo>
                  <a:lnTo>
                    <a:pt x="80" y="227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76" y="239"/>
                  </a:lnTo>
                  <a:lnTo>
                    <a:pt x="76" y="239"/>
                  </a:lnTo>
                  <a:lnTo>
                    <a:pt x="76" y="235"/>
                  </a:lnTo>
                  <a:lnTo>
                    <a:pt x="76" y="235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72" y="231"/>
                  </a:lnTo>
                  <a:lnTo>
                    <a:pt x="68" y="231"/>
                  </a:lnTo>
                  <a:lnTo>
                    <a:pt x="68" y="231"/>
                  </a:lnTo>
                  <a:lnTo>
                    <a:pt x="68" y="231"/>
                  </a:lnTo>
                  <a:lnTo>
                    <a:pt x="68" y="231"/>
                  </a:lnTo>
                  <a:lnTo>
                    <a:pt x="64" y="231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19"/>
                  </a:lnTo>
                  <a:lnTo>
                    <a:pt x="60" y="219"/>
                  </a:lnTo>
                  <a:lnTo>
                    <a:pt x="56" y="215"/>
                  </a:lnTo>
                  <a:lnTo>
                    <a:pt x="56" y="211"/>
                  </a:lnTo>
                  <a:lnTo>
                    <a:pt x="56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48" y="211"/>
                  </a:lnTo>
                  <a:lnTo>
                    <a:pt x="48" y="207"/>
                  </a:lnTo>
                  <a:lnTo>
                    <a:pt x="48" y="207"/>
                  </a:lnTo>
                  <a:lnTo>
                    <a:pt x="44" y="203"/>
                  </a:lnTo>
                  <a:lnTo>
                    <a:pt x="44" y="203"/>
                  </a:lnTo>
                  <a:lnTo>
                    <a:pt x="40" y="203"/>
                  </a:lnTo>
                  <a:lnTo>
                    <a:pt x="40" y="203"/>
                  </a:lnTo>
                  <a:lnTo>
                    <a:pt x="40" y="203"/>
                  </a:lnTo>
                  <a:lnTo>
                    <a:pt x="36" y="203"/>
                  </a:lnTo>
                  <a:lnTo>
                    <a:pt x="36" y="203"/>
                  </a:lnTo>
                  <a:lnTo>
                    <a:pt x="36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199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7"/>
                  </a:lnTo>
                  <a:lnTo>
                    <a:pt x="12" y="207"/>
                  </a:lnTo>
                  <a:lnTo>
                    <a:pt x="12" y="207"/>
                  </a:lnTo>
                  <a:lnTo>
                    <a:pt x="12" y="207"/>
                  </a:lnTo>
                  <a:lnTo>
                    <a:pt x="12" y="211"/>
                  </a:lnTo>
                  <a:lnTo>
                    <a:pt x="8" y="211"/>
                  </a:lnTo>
                  <a:lnTo>
                    <a:pt x="8" y="211"/>
                  </a:lnTo>
                  <a:lnTo>
                    <a:pt x="8" y="211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199"/>
                  </a:lnTo>
                  <a:lnTo>
                    <a:pt x="12" y="199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6" y="183"/>
                  </a:lnTo>
                  <a:lnTo>
                    <a:pt x="16" y="183"/>
                  </a:lnTo>
                  <a:lnTo>
                    <a:pt x="16" y="183"/>
                  </a:lnTo>
                  <a:lnTo>
                    <a:pt x="16" y="179"/>
                  </a:lnTo>
                  <a:lnTo>
                    <a:pt x="16" y="175"/>
                  </a:lnTo>
                  <a:lnTo>
                    <a:pt x="16" y="175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3"/>
                  </a:lnTo>
                  <a:lnTo>
                    <a:pt x="16" y="163"/>
                  </a:lnTo>
                  <a:lnTo>
                    <a:pt x="16" y="159"/>
                  </a:lnTo>
                  <a:lnTo>
                    <a:pt x="16" y="159"/>
                  </a:lnTo>
                  <a:lnTo>
                    <a:pt x="16" y="159"/>
                  </a:lnTo>
                  <a:lnTo>
                    <a:pt x="12" y="159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1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3"/>
                  </a:lnTo>
                  <a:lnTo>
                    <a:pt x="12" y="139"/>
                  </a:lnTo>
                  <a:lnTo>
                    <a:pt x="12" y="139"/>
                  </a:lnTo>
                  <a:lnTo>
                    <a:pt x="16" y="135"/>
                  </a:lnTo>
                  <a:lnTo>
                    <a:pt x="12" y="135"/>
                  </a:lnTo>
                  <a:lnTo>
                    <a:pt x="12" y="131"/>
                  </a:lnTo>
                  <a:lnTo>
                    <a:pt x="12" y="131"/>
                  </a:lnTo>
                  <a:lnTo>
                    <a:pt x="12" y="128"/>
                  </a:lnTo>
                  <a:lnTo>
                    <a:pt x="12" y="128"/>
                  </a:lnTo>
                  <a:lnTo>
                    <a:pt x="12" y="128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4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20"/>
                  </a:lnTo>
                  <a:lnTo>
                    <a:pt x="0" y="120"/>
                  </a:lnTo>
                  <a:lnTo>
                    <a:pt x="4" y="120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28" y="116"/>
                  </a:lnTo>
                  <a:lnTo>
                    <a:pt x="32" y="116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4" y="116"/>
                  </a:lnTo>
                  <a:lnTo>
                    <a:pt x="44" y="116"/>
                  </a:lnTo>
                  <a:lnTo>
                    <a:pt x="48" y="116"/>
                  </a:lnTo>
                  <a:lnTo>
                    <a:pt x="56" y="116"/>
                  </a:lnTo>
                  <a:lnTo>
                    <a:pt x="64" y="116"/>
                  </a:lnTo>
                  <a:lnTo>
                    <a:pt x="64" y="112"/>
                  </a:lnTo>
                  <a:lnTo>
                    <a:pt x="64" y="104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72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68"/>
                  </a:lnTo>
                  <a:lnTo>
                    <a:pt x="76" y="64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28" y="24"/>
                  </a:lnTo>
                  <a:lnTo>
                    <a:pt x="128" y="24"/>
                  </a:lnTo>
                  <a:lnTo>
                    <a:pt x="128" y="24"/>
                  </a:lnTo>
                  <a:lnTo>
                    <a:pt x="128" y="16"/>
                  </a:lnTo>
                  <a:lnTo>
                    <a:pt x="128" y="8"/>
                  </a:lnTo>
                  <a:lnTo>
                    <a:pt x="128" y="8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36" y="4"/>
                  </a:lnTo>
                  <a:lnTo>
                    <a:pt x="136" y="8"/>
                  </a:lnTo>
                  <a:lnTo>
                    <a:pt x="144" y="12"/>
                  </a:lnTo>
                  <a:lnTo>
                    <a:pt x="144" y="12"/>
                  </a:lnTo>
                  <a:lnTo>
                    <a:pt x="148" y="16"/>
                  </a:lnTo>
                  <a:lnTo>
                    <a:pt x="152" y="16"/>
                  </a:lnTo>
                  <a:lnTo>
                    <a:pt x="152" y="20"/>
                  </a:lnTo>
                  <a:lnTo>
                    <a:pt x="156" y="20"/>
                  </a:lnTo>
                  <a:lnTo>
                    <a:pt x="160" y="24"/>
                  </a:lnTo>
                  <a:lnTo>
                    <a:pt x="164" y="28"/>
                  </a:lnTo>
                  <a:lnTo>
                    <a:pt x="164" y="28"/>
                  </a:lnTo>
                  <a:lnTo>
                    <a:pt x="172" y="32"/>
                  </a:lnTo>
                  <a:lnTo>
                    <a:pt x="172" y="32"/>
                  </a:lnTo>
                  <a:lnTo>
                    <a:pt x="176" y="36"/>
                  </a:lnTo>
                  <a:lnTo>
                    <a:pt x="180" y="40"/>
                  </a:lnTo>
                  <a:lnTo>
                    <a:pt x="184" y="44"/>
                  </a:lnTo>
                  <a:lnTo>
                    <a:pt x="184" y="44"/>
                  </a:lnTo>
                  <a:lnTo>
                    <a:pt x="188" y="44"/>
                  </a:lnTo>
                  <a:lnTo>
                    <a:pt x="188" y="44"/>
                  </a:lnTo>
                  <a:lnTo>
                    <a:pt x="188" y="44"/>
                  </a:lnTo>
                  <a:lnTo>
                    <a:pt x="184" y="44"/>
                  </a:lnTo>
                  <a:lnTo>
                    <a:pt x="172" y="44"/>
                  </a:lnTo>
                  <a:lnTo>
                    <a:pt x="168" y="44"/>
                  </a:lnTo>
                  <a:lnTo>
                    <a:pt x="164" y="44"/>
                  </a:lnTo>
                  <a:lnTo>
                    <a:pt x="164" y="44"/>
                  </a:lnTo>
                  <a:lnTo>
                    <a:pt x="160" y="44"/>
                  </a:lnTo>
                  <a:lnTo>
                    <a:pt x="160" y="44"/>
                  </a:lnTo>
                  <a:lnTo>
                    <a:pt x="160" y="52"/>
                  </a:lnTo>
                  <a:lnTo>
                    <a:pt x="160" y="52"/>
                  </a:lnTo>
                  <a:lnTo>
                    <a:pt x="160" y="56"/>
                  </a:lnTo>
                  <a:lnTo>
                    <a:pt x="160" y="60"/>
                  </a:lnTo>
                  <a:lnTo>
                    <a:pt x="164" y="68"/>
                  </a:lnTo>
                  <a:lnTo>
                    <a:pt x="164" y="76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8"/>
                  </a:lnTo>
                  <a:lnTo>
                    <a:pt x="164" y="100"/>
                  </a:lnTo>
                  <a:lnTo>
                    <a:pt x="164" y="104"/>
                  </a:lnTo>
                  <a:lnTo>
                    <a:pt x="168" y="108"/>
                  </a:lnTo>
                  <a:lnTo>
                    <a:pt x="168" y="112"/>
                  </a:lnTo>
                  <a:lnTo>
                    <a:pt x="168" y="116"/>
                  </a:lnTo>
                  <a:lnTo>
                    <a:pt x="168" y="120"/>
                  </a:lnTo>
                  <a:lnTo>
                    <a:pt x="168" y="124"/>
                  </a:lnTo>
                  <a:lnTo>
                    <a:pt x="168" y="128"/>
                  </a:lnTo>
                  <a:lnTo>
                    <a:pt x="168" y="135"/>
                  </a:lnTo>
                  <a:lnTo>
                    <a:pt x="168" y="143"/>
                  </a:lnTo>
                  <a:lnTo>
                    <a:pt x="168" y="143"/>
                  </a:lnTo>
                  <a:lnTo>
                    <a:pt x="172" y="151"/>
                  </a:lnTo>
                  <a:lnTo>
                    <a:pt x="172" y="155"/>
                  </a:lnTo>
                  <a:lnTo>
                    <a:pt x="172" y="155"/>
                  </a:lnTo>
                  <a:lnTo>
                    <a:pt x="172" y="163"/>
                  </a:lnTo>
                  <a:lnTo>
                    <a:pt x="172" y="163"/>
                  </a:lnTo>
                  <a:lnTo>
                    <a:pt x="172" y="171"/>
                  </a:lnTo>
                  <a:lnTo>
                    <a:pt x="172" y="175"/>
                  </a:lnTo>
                  <a:lnTo>
                    <a:pt x="172" y="179"/>
                  </a:lnTo>
                  <a:lnTo>
                    <a:pt x="172" y="187"/>
                  </a:lnTo>
                  <a:lnTo>
                    <a:pt x="176" y="199"/>
                  </a:lnTo>
                  <a:lnTo>
                    <a:pt x="176" y="203"/>
                  </a:lnTo>
                  <a:lnTo>
                    <a:pt x="180" y="207"/>
                  </a:lnTo>
                  <a:lnTo>
                    <a:pt x="180" y="211"/>
                  </a:lnTo>
                  <a:lnTo>
                    <a:pt x="180" y="211"/>
                  </a:lnTo>
                  <a:lnTo>
                    <a:pt x="176" y="215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68" y="223"/>
                  </a:lnTo>
                  <a:lnTo>
                    <a:pt x="164" y="223"/>
                  </a:lnTo>
                  <a:lnTo>
                    <a:pt x="164" y="223"/>
                  </a:lnTo>
                  <a:lnTo>
                    <a:pt x="164" y="223"/>
                  </a:lnTo>
                  <a:lnTo>
                    <a:pt x="160" y="223"/>
                  </a:lnTo>
                  <a:lnTo>
                    <a:pt x="152" y="223"/>
                  </a:lnTo>
                  <a:lnTo>
                    <a:pt x="148" y="223"/>
                  </a:lnTo>
                  <a:lnTo>
                    <a:pt x="148" y="223"/>
                  </a:lnTo>
                  <a:lnTo>
                    <a:pt x="144" y="223"/>
                  </a:lnTo>
                  <a:lnTo>
                    <a:pt x="140" y="223"/>
                  </a:lnTo>
                  <a:lnTo>
                    <a:pt x="136" y="223"/>
                  </a:lnTo>
                  <a:lnTo>
                    <a:pt x="132" y="223"/>
                  </a:lnTo>
                  <a:lnTo>
                    <a:pt x="132" y="223"/>
                  </a:lnTo>
                  <a:lnTo>
                    <a:pt x="128" y="223"/>
                  </a:lnTo>
                  <a:lnTo>
                    <a:pt x="124" y="223"/>
                  </a:lnTo>
                  <a:lnTo>
                    <a:pt x="124" y="223"/>
                  </a:lnTo>
                  <a:lnTo>
                    <a:pt x="124" y="223"/>
                  </a:lnTo>
                  <a:lnTo>
                    <a:pt x="120" y="223"/>
                  </a:lnTo>
                  <a:lnTo>
                    <a:pt x="120" y="223"/>
                  </a:lnTo>
                  <a:lnTo>
                    <a:pt x="120" y="223"/>
                  </a:lnTo>
                  <a:lnTo>
                    <a:pt x="120" y="223"/>
                  </a:lnTo>
                  <a:lnTo>
                    <a:pt x="120" y="219"/>
                  </a:lnTo>
                  <a:lnTo>
                    <a:pt x="120" y="219"/>
                  </a:lnTo>
                  <a:lnTo>
                    <a:pt x="116" y="223"/>
                  </a:lnTo>
                  <a:lnTo>
                    <a:pt x="116" y="223"/>
                  </a:lnTo>
                  <a:lnTo>
                    <a:pt x="116" y="223"/>
                  </a:lnTo>
                  <a:lnTo>
                    <a:pt x="112" y="223"/>
                  </a:lnTo>
                  <a:lnTo>
                    <a:pt x="112" y="223"/>
                  </a:lnTo>
                  <a:lnTo>
                    <a:pt x="112" y="227"/>
                  </a:lnTo>
                  <a:lnTo>
                    <a:pt x="112" y="227"/>
                  </a:lnTo>
                  <a:lnTo>
                    <a:pt x="112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4" y="223"/>
                  </a:lnTo>
                  <a:lnTo>
                    <a:pt x="104" y="223"/>
                  </a:lnTo>
                  <a:lnTo>
                    <a:pt x="104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96" y="223"/>
                  </a:lnTo>
                  <a:lnTo>
                    <a:pt x="96" y="223"/>
                  </a:lnTo>
                  <a:close/>
                  <a:moveTo>
                    <a:pt x="12" y="147"/>
                  </a:moveTo>
                  <a:lnTo>
                    <a:pt x="12" y="147"/>
                  </a:lnTo>
                  <a:lnTo>
                    <a:pt x="12" y="147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1" name="Freeform 148"/>
            <p:cNvSpPr>
              <a:spLocks/>
            </p:cNvSpPr>
            <p:nvPr>
              <p:custDataLst>
                <p:tags r:id="rId343"/>
              </p:custDataLst>
            </p:nvPr>
          </p:nvSpPr>
          <p:spPr bwMode="gray">
            <a:xfrm>
              <a:off x="4079448" y="3585988"/>
              <a:ext cx="272884" cy="243222"/>
            </a:xfrm>
            <a:custGeom>
              <a:avLst/>
              <a:gdLst/>
              <a:ahLst/>
              <a:cxnLst>
                <a:cxn ang="0">
                  <a:pos x="136" y="16"/>
                </a:cxn>
                <a:cxn ang="0">
                  <a:pos x="144" y="16"/>
                </a:cxn>
                <a:cxn ang="0">
                  <a:pos x="152" y="16"/>
                </a:cxn>
                <a:cxn ang="0">
                  <a:pos x="156" y="16"/>
                </a:cxn>
                <a:cxn ang="0">
                  <a:pos x="156" y="16"/>
                </a:cxn>
                <a:cxn ang="0">
                  <a:pos x="160" y="16"/>
                </a:cxn>
                <a:cxn ang="0">
                  <a:pos x="168" y="20"/>
                </a:cxn>
                <a:cxn ang="0">
                  <a:pos x="172" y="28"/>
                </a:cxn>
                <a:cxn ang="0">
                  <a:pos x="176" y="40"/>
                </a:cxn>
                <a:cxn ang="0">
                  <a:pos x="176" y="48"/>
                </a:cxn>
                <a:cxn ang="0">
                  <a:pos x="176" y="60"/>
                </a:cxn>
                <a:cxn ang="0">
                  <a:pos x="184" y="68"/>
                </a:cxn>
                <a:cxn ang="0">
                  <a:pos x="180" y="76"/>
                </a:cxn>
                <a:cxn ang="0">
                  <a:pos x="180" y="80"/>
                </a:cxn>
                <a:cxn ang="0">
                  <a:pos x="172" y="76"/>
                </a:cxn>
                <a:cxn ang="0">
                  <a:pos x="164" y="76"/>
                </a:cxn>
                <a:cxn ang="0">
                  <a:pos x="156" y="80"/>
                </a:cxn>
                <a:cxn ang="0">
                  <a:pos x="152" y="84"/>
                </a:cxn>
                <a:cxn ang="0">
                  <a:pos x="144" y="84"/>
                </a:cxn>
                <a:cxn ang="0">
                  <a:pos x="140" y="92"/>
                </a:cxn>
                <a:cxn ang="0">
                  <a:pos x="144" y="100"/>
                </a:cxn>
                <a:cxn ang="0">
                  <a:pos x="140" y="100"/>
                </a:cxn>
                <a:cxn ang="0">
                  <a:pos x="136" y="104"/>
                </a:cxn>
                <a:cxn ang="0">
                  <a:pos x="128" y="108"/>
                </a:cxn>
                <a:cxn ang="0">
                  <a:pos x="124" y="116"/>
                </a:cxn>
                <a:cxn ang="0">
                  <a:pos x="120" y="120"/>
                </a:cxn>
                <a:cxn ang="0">
                  <a:pos x="108" y="124"/>
                </a:cxn>
                <a:cxn ang="0">
                  <a:pos x="104" y="124"/>
                </a:cxn>
                <a:cxn ang="0">
                  <a:pos x="100" y="128"/>
                </a:cxn>
                <a:cxn ang="0">
                  <a:pos x="92" y="128"/>
                </a:cxn>
                <a:cxn ang="0">
                  <a:pos x="84" y="132"/>
                </a:cxn>
                <a:cxn ang="0">
                  <a:pos x="80" y="132"/>
                </a:cxn>
                <a:cxn ang="0">
                  <a:pos x="72" y="140"/>
                </a:cxn>
                <a:cxn ang="0">
                  <a:pos x="68" y="164"/>
                </a:cxn>
                <a:cxn ang="0">
                  <a:pos x="48" y="164"/>
                </a:cxn>
                <a:cxn ang="0">
                  <a:pos x="0" y="164"/>
                </a:cxn>
                <a:cxn ang="0">
                  <a:pos x="4" y="160"/>
                </a:cxn>
                <a:cxn ang="0">
                  <a:pos x="20" y="156"/>
                </a:cxn>
                <a:cxn ang="0">
                  <a:pos x="32" y="144"/>
                </a:cxn>
                <a:cxn ang="0">
                  <a:pos x="40" y="140"/>
                </a:cxn>
                <a:cxn ang="0">
                  <a:pos x="44" y="132"/>
                </a:cxn>
                <a:cxn ang="0">
                  <a:pos x="52" y="124"/>
                </a:cxn>
                <a:cxn ang="0">
                  <a:pos x="56" y="112"/>
                </a:cxn>
                <a:cxn ang="0">
                  <a:pos x="52" y="104"/>
                </a:cxn>
                <a:cxn ang="0">
                  <a:pos x="52" y="92"/>
                </a:cxn>
                <a:cxn ang="0">
                  <a:pos x="52" y="84"/>
                </a:cxn>
                <a:cxn ang="0">
                  <a:pos x="60" y="68"/>
                </a:cxn>
                <a:cxn ang="0">
                  <a:pos x="64" y="64"/>
                </a:cxn>
                <a:cxn ang="0">
                  <a:pos x="72" y="56"/>
                </a:cxn>
                <a:cxn ang="0">
                  <a:pos x="76" y="52"/>
                </a:cxn>
                <a:cxn ang="0">
                  <a:pos x="88" y="44"/>
                </a:cxn>
                <a:cxn ang="0">
                  <a:pos x="96" y="40"/>
                </a:cxn>
                <a:cxn ang="0">
                  <a:pos x="104" y="24"/>
                </a:cxn>
                <a:cxn ang="0">
                  <a:pos x="108" y="12"/>
                </a:cxn>
                <a:cxn ang="0">
                  <a:pos x="116" y="4"/>
                </a:cxn>
                <a:cxn ang="0">
                  <a:pos x="120" y="4"/>
                </a:cxn>
                <a:cxn ang="0">
                  <a:pos x="120" y="8"/>
                </a:cxn>
              </a:cxnLst>
              <a:rect l="0" t="0" r="r" b="b"/>
              <a:pathLst>
                <a:path w="184" h="164">
                  <a:moveTo>
                    <a:pt x="132" y="16"/>
                  </a:moveTo>
                  <a:lnTo>
                    <a:pt x="132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52" y="16"/>
                  </a:lnTo>
                  <a:lnTo>
                    <a:pt x="152" y="16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60" y="16"/>
                  </a:lnTo>
                  <a:lnTo>
                    <a:pt x="160" y="16"/>
                  </a:lnTo>
                  <a:lnTo>
                    <a:pt x="160" y="16"/>
                  </a:lnTo>
                  <a:lnTo>
                    <a:pt x="160" y="20"/>
                  </a:lnTo>
                  <a:lnTo>
                    <a:pt x="160" y="20"/>
                  </a:lnTo>
                  <a:lnTo>
                    <a:pt x="164" y="16"/>
                  </a:lnTo>
                  <a:lnTo>
                    <a:pt x="164" y="16"/>
                  </a:lnTo>
                  <a:lnTo>
                    <a:pt x="164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72" y="24"/>
                  </a:lnTo>
                  <a:lnTo>
                    <a:pt x="172" y="24"/>
                  </a:lnTo>
                  <a:lnTo>
                    <a:pt x="172" y="24"/>
                  </a:lnTo>
                  <a:lnTo>
                    <a:pt x="172" y="28"/>
                  </a:lnTo>
                  <a:lnTo>
                    <a:pt x="172" y="28"/>
                  </a:lnTo>
                  <a:lnTo>
                    <a:pt x="172" y="28"/>
                  </a:lnTo>
                  <a:lnTo>
                    <a:pt x="172" y="32"/>
                  </a:lnTo>
                  <a:lnTo>
                    <a:pt x="176" y="32"/>
                  </a:lnTo>
                  <a:lnTo>
                    <a:pt x="172" y="32"/>
                  </a:lnTo>
                  <a:lnTo>
                    <a:pt x="172" y="32"/>
                  </a:lnTo>
                  <a:lnTo>
                    <a:pt x="172" y="32"/>
                  </a:lnTo>
                  <a:lnTo>
                    <a:pt x="172" y="36"/>
                  </a:lnTo>
                  <a:lnTo>
                    <a:pt x="176" y="40"/>
                  </a:lnTo>
                  <a:lnTo>
                    <a:pt x="176" y="40"/>
                  </a:lnTo>
                  <a:lnTo>
                    <a:pt x="176" y="40"/>
                  </a:lnTo>
                  <a:lnTo>
                    <a:pt x="176" y="44"/>
                  </a:lnTo>
                  <a:lnTo>
                    <a:pt x="172" y="44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52"/>
                  </a:lnTo>
                  <a:lnTo>
                    <a:pt x="176" y="52"/>
                  </a:lnTo>
                  <a:lnTo>
                    <a:pt x="176" y="52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80" y="64"/>
                  </a:lnTo>
                  <a:lnTo>
                    <a:pt x="180" y="68"/>
                  </a:lnTo>
                  <a:lnTo>
                    <a:pt x="184" y="68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0" y="72"/>
                  </a:lnTo>
                  <a:lnTo>
                    <a:pt x="180" y="72"/>
                  </a:lnTo>
                  <a:lnTo>
                    <a:pt x="180" y="72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4" y="76"/>
                  </a:lnTo>
                  <a:lnTo>
                    <a:pt x="184" y="76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80" y="76"/>
                  </a:lnTo>
                  <a:lnTo>
                    <a:pt x="176" y="76"/>
                  </a:lnTo>
                  <a:lnTo>
                    <a:pt x="176" y="76"/>
                  </a:lnTo>
                  <a:lnTo>
                    <a:pt x="176" y="76"/>
                  </a:lnTo>
                  <a:lnTo>
                    <a:pt x="172" y="76"/>
                  </a:lnTo>
                  <a:lnTo>
                    <a:pt x="172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4"/>
                  </a:lnTo>
                  <a:lnTo>
                    <a:pt x="156" y="84"/>
                  </a:lnTo>
                  <a:lnTo>
                    <a:pt x="156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48" y="84"/>
                  </a:lnTo>
                  <a:lnTo>
                    <a:pt x="148" y="84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44" y="88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0" y="88"/>
                  </a:lnTo>
                  <a:lnTo>
                    <a:pt x="140" y="88"/>
                  </a:lnTo>
                  <a:lnTo>
                    <a:pt x="140" y="92"/>
                  </a:lnTo>
                  <a:lnTo>
                    <a:pt x="140" y="92"/>
                  </a:lnTo>
                  <a:lnTo>
                    <a:pt x="144" y="92"/>
                  </a:lnTo>
                  <a:lnTo>
                    <a:pt x="140" y="96"/>
                  </a:lnTo>
                  <a:lnTo>
                    <a:pt x="140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28" y="108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6"/>
                  </a:lnTo>
                  <a:lnTo>
                    <a:pt x="124" y="116"/>
                  </a:lnTo>
                  <a:lnTo>
                    <a:pt x="120" y="116"/>
                  </a:lnTo>
                  <a:lnTo>
                    <a:pt x="120" y="116"/>
                  </a:lnTo>
                  <a:lnTo>
                    <a:pt x="120" y="116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16" y="120"/>
                  </a:lnTo>
                  <a:lnTo>
                    <a:pt x="116" y="120"/>
                  </a:lnTo>
                  <a:lnTo>
                    <a:pt x="116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0" y="132"/>
                  </a:lnTo>
                  <a:lnTo>
                    <a:pt x="80" y="136"/>
                  </a:lnTo>
                  <a:lnTo>
                    <a:pt x="76" y="136"/>
                  </a:lnTo>
                  <a:lnTo>
                    <a:pt x="76" y="140"/>
                  </a:lnTo>
                  <a:lnTo>
                    <a:pt x="76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68" y="144"/>
                  </a:lnTo>
                  <a:lnTo>
                    <a:pt x="68" y="144"/>
                  </a:lnTo>
                  <a:lnTo>
                    <a:pt x="68" y="144"/>
                  </a:lnTo>
                  <a:lnTo>
                    <a:pt x="68" y="160"/>
                  </a:lnTo>
                  <a:lnTo>
                    <a:pt x="68" y="164"/>
                  </a:lnTo>
                  <a:lnTo>
                    <a:pt x="60" y="164"/>
                  </a:lnTo>
                  <a:lnTo>
                    <a:pt x="60" y="164"/>
                  </a:lnTo>
                  <a:lnTo>
                    <a:pt x="52" y="164"/>
                  </a:lnTo>
                  <a:lnTo>
                    <a:pt x="52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4" y="164"/>
                  </a:lnTo>
                  <a:lnTo>
                    <a:pt x="4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12" y="156"/>
                  </a:lnTo>
                  <a:lnTo>
                    <a:pt x="16" y="156"/>
                  </a:lnTo>
                  <a:lnTo>
                    <a:pt x="20" y="156"/>
                  </a:lnTo>
                  <a:lnTo>
                    <a:pt x="20" y="156"/>
                  </a:lnTo>
                  <a:lnTo>
                    <a:pt x="24" y="152"/>
                  </a:lnTo>
                  <a:lnTo>
                    <a:pt x="24" y="152"/>
                  </a:lnTo>
                  <a:lnTo>
                    <a:pt x="24" y="152"/>
                  </a:lnTo>
                  <a:lnTo>
                    <a:pt x="28" y="152"/>
                  </a:lnTo>
                  <a:lnTo>
                    <a:pt x="28" y="148"/>
                  </a:lnTo>
                  <a:lnTo>
                    <a:pt x="28" y="148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6" y="144"/>
                  </a:lnTo>
                  <a:lnTo>
                    <a:pt x="36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4" y="136"/>
                  </a:lnTo>
                  <a:lnTo>
                    <a:pt x="44" y="136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8" y="132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52" y="124"/>
                  </a:lnTo>
                  <a:lnTo>
                    <a:pt x="52" y="124"/>
                  </a:lnTo>
                  <a:lnTo>
                    <a:pt x="52" y="124"/>
                  </a:lnTo>
                  <a:lnTo>
                    <a:pt x="52" y="120"/>
                  </a:lnTo>
                  <a:lnTo>
                    <a:pt x="52" y="120"/>
                  </a:lnTo>
                  <a:lnTo>
                    <a:pt x="52" y="120"/>
                  </a:lnTo>
                  <a:lnTo>
                    <a:pt x="52" y="116"/>
                  </a:lnTo>
                  <a:lnTo>
                    <a:pt x="52" y="116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0"/>
                  </a:lnTo>
                  <a:lnTo>
                    <a:pt x="68" y="60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88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28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8" y="16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8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4"/>
                  </a:lnTo>
                  <a:lnTo>
                    <a:pt x="116" y="4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8"/>
                  </a:lnTo>
                  <a:lnTo>
                    <a:pt x="120" y="8"/>
                  </a:lnTo>
                  <a:lnTo>
                    <a:pt x="124" y="12"/>
                  </a:lnTo>
                  <a:lnTo>
                    <a:pt x="124" y="12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2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2" name="Freeform 149"/>
            <p:cNvSpPr>
              <a:spLocks noEditPoints="1"/>
            </p:cNvSpPr>
            <p:nvPr>
              <p:custDataLst>
                <p:tags r:id="rId344"/>
              </p:custDataLst>
            </p:nvPr>
          </p:nvSpPr>
          <p:spPr bwMode="gray">
            <a:xfrm>
              <a:off x="5055304" y="4882185"/>
              <a:ext cx="237290" cy="455300"/>
            </a:xfrm>
            <a:custGeom>
              <a:avLst/>
              <a:gdLst/>
              <a:ahLst/>
              <a:cxnLst>
                <a:cxn ang="0">
                  <a:pos x="24" y="292"/>
                </a:cxn>
                <a:cxn ang="0">
                  <a:pos x="24" y="272"/>
                </a:cxn>
                <a:cxn ang="0">
                  <a:pos x="24" y="256"/>
                </a:cxn>
                <a:cxn ang="0">
                  <a:pos x="20" y="240"/>
                </a:cxn>
                <a:cxn ang="0">
                  <a:pos x="24" y="212"/>
                </a:cxn>
                <a:cxn ang="0">
                  <a:pos x="36" y="188"/>
                </a:cxn>
                <a:cxn ang="0">
                  <a:pos x="40" y="168"/>
                </a:cxn>
                <a:cxn ang="0">
                  <a:pos x="40" y="156"/>
                </a:cxn>
                <a:cxn ang="0">
                  <a:pos x="44" y="144"/>
                </a:cxn>
                <a:cxn ang="0">
                  <a:pos x="40" y="128"/>
                </a:cxn>
                <a:cxn ang="0">
                  <a:pos x="36" y="112"/>
                </a:cxn>
                <a:cxn ang="0">
                  <a:pos x="24" y="104"/>
                </a:cxn>
                <a:cxn ang="0">
                  <a:pos x="8" y="100"/>
                </a:cxn>
                <a:cxn ang="0">
                  <a:pos x="0" y="84"/>
                </a:cxn>
                <a:cxn ang="0">
                  <a:pos x="12" y="76"/>
                </a:cxn>
                <a:cxn ang="0">
                  <a:pos x="28" y="72"/>
                </a:cxn>
                <a:cxn ang="0">
                  <a:pos x="48" y="68"/>
                </a:cxn>
                <a:cxn ang="0">
                  <a:pos x="64" y="72"/>
                </a:cxn>
                <a:cxn ang="0">
                  <a:pos x="64" y="92"/>
                </a:cxn>
                <a:cxn ang="0">
                  <a:pos x="64" y="108"/>
                </a:cxn>
                <a:cxn ang="0">
                  <a:pos x="72" y="124"/>
                </a:cxn>
                <a:cxn ang="0">
                  <a:pos x="72" y="112"/>
                </a:cxn>
                <a:cxn ang="0">
                  <a:pos x="84" y="104"/>
                </a:cxn>
                <a:cxn ang="0">
                  <a:pos x="84" y="80"/>
                </a:cxn>
                <a:cxn ang="0">
                  <a:pos x="72" y="56"/>
                </a:cxn>
                <a:cxn ang="0">
                  <a:pos x="64" y="40"/>
                </a:cxn>
                <a:cxn ang="0">
                  <a:pos x="64" y="28"/>
                </a:cxn>
                <a:cxn ang="0">
                  <a:pos x="76" y="20"/>
                </a:cxn>
                <a:cxn ang="0">
                  <a:pos x="96" y="20"/>
                </a:cxn>
                <a:cxn ang="0">
                  <a:pos x="116" y="20"/>
                </a:cxn>
                <a:cxn ang="0">
                  <a:pos x="120" y="12"/>
                </a:cxn>
                <a:cxn ang="0">
                  <a:pos x="136" y="12"/>
                </a:cxn>
                <a:cxn ang="0">
                  <a:pos x="148" y="4"/>
                </a:cxn>
                <a:cxn ang="0">
                  <a:pos x="156" y="12"/>
                </a:cxn>
                <a:cxn ang="0">
                  <a:pos x="156" y="24"/>
                </a:cxn>
                <a:cxn ang="0">
                  <a:pos x="152" y="44"/>
                </a:cxn>
                <a:cxn ang="0">
                  <a:pos x="156" y="60"/>
                </a:cxn>
                <a:cxn ang="0">
                  <a:pos x="156" y="72"/>
                </a:cxn>
                <a:cxn ang="0">
                  <a:pos x="156" y="84"/>
                </a:cxn>
                <a:cxn ang="0">
                  <a:pos x="152" y="92"/>
                </a:cxn>
                <a:cxn ang="0">
                  <a:pos x="144" y="108"/>
                </a:cxn>
                <a:cxn ang="0">
                  <a:pos x="132" y="120"/>
                </a:cxn>
                <a:cxn ang="0">
                  <a:pos x="116" y="128"/>
                </a:cxn>
                <a:cxn ang="0">
                  <a:pos x="100" y="140"/>
                </a:cxn>
                <a:cxn ang="0">
                  <a:pos x="92" y="148"/>
                </a:cxn>
                <a:cxn ang="0">
                  <a:pos x="88" y="156"/>
                </a:cxn>
                <a:cxn ang="0">
                  <a:pos x="76" y="168"/>
                </a:cxn>
                <a:cxn ang="0">
                  <a:pos x="68" y="172"/>
                </a:cxn>
                <a:cxn ang="0">
                  <a:pos x="72" y="188"/>
                </a:cxn>
                <a:cxn ang="0">
                  <a:pos x="76" y="204"/>
                </a:cxn>
                <a:cxn ang="0">
                  <a:pos x="76" y="224"/>
                </a:cxn>
                <a:cxn ang="0">
                  <a:pos x="80" y="224"/>
                </a:cxn>
                <a:cxn ang="0">
                  <a:pos x="76" y="244"/>
                </a:cxn>
                <a:cxn ang="0">
                  <a:pos x="80" y="252"/>
                </a:cxn>
                <a:cxn ang="0">
                  <a:pos x="72" y="264"/>
                </a:cxn>
                <a:cxn ang="0">
                  <a:pos x="56" y="272"/>
                </a:cxn>
                <a:cxn ang="0">
                  <a:pos x="40" y="280"/>
                </a:cxn>
                <a:cxn ang="0">
                  <a:pos x="36" y="296"/>
                </a:cxn>
                <a:cxn ang="0">
                  <a:pos x="40" y="307"/>
                </a:cxn>
                <a:cxn ang="0">
                  <a:pos x="76" y="212"/>
                </a:cxn>
              </a:cxnLst>
              <a:rect l="0" t="0" r="r" b="b"/>
              <a:pathLst>
                <a:path w="160" h="307">
                  <a:moveTo>
                    <a:pt x="28" y="307"/>
                  </a:moveTo>
                  <a:lnTo>
                    <a:pt x="28" y="299"/>
                  </a:lnTo>
                  <a:lnTo>
                    <a:pt x="28" y="296"/>
                  </a:lnTo>
                  <a:lnTo>
                    <a:pt x="28" y="292"/>
                  </a:lnTo>
                  <a:lnTo>
                    <a:pt x="24" y="292"/>
                  </a:lnTo>
                  <a:lnTo>
                    <a:pt x="24" y="288"/>
                  </a:lnTo>
                  <a:lnTo>
                    <a:pt x="24" y="284"/>
                  </a:lnTo>
                  <a:lnTo>
                    <a:pt x="24" y="280"/>
                  </a:lnTo>
                  <a:lnTo>
                    <a:pt x="28" y="272"/>
                  </a:lnTo>
                  <a:lnTo>
                    <a:pt x="24" y="272"/>
                  </a:lnTo>
                  <a:lnTo>
                    <a:pt x="24" y="268"/>
                  </a:lnTo>
                  <a:lnTo>
                    <a:pt x="24" y="264"/>
                  </a:lnTo>
                  <a:lnTo>
                    <a:pt x="28" y="260"/>
                  </a:lnTo>
                  <a:lnTo>
                    <a:pt x="24" y="260"/>
                  </a:lnTo>
                  <a:lnTo>
                    <a:pt x="24" y="256"/>
                  </a:lnTo>
                  <a:lnTo>
                    <a:pt x="24" y="252"/>
                  </a:lnTo>
                  <a:lnTo>
                    <a:pt x="24" y="248"/>
                  </a:lnTo>
                  <a:lnTo>
                    <a:pt x="20" y="248"/>
                  </a:lnTo>
                  <a:lnTo>
                    <a:pt x="20" y="244"/>
                  </a:lnTo>
                  <a:lnTo>
                    <a:pt x="20" y="240"/>
                  </a:lnTo>
                  <a:lnTo>
                    <a:pt x="20" y="236"/>
                  </a:lnTo>
                  <a:lnTo>
                    <a:pt x="16" y="224"/>
                  </a:lnTo>
                  <a:lnTo>
                    <a:pt x="16" y="220"/>
                  </a:lnTo>
                  <a:lnTo>
                    <a:pt x="20" y="216"/>
                  </a:lnTo>
                  <a:lnTo>
                    <a:pt x="24" y="212"/>
                  </a:lnTo>
                  <a:lnTo>
                    <a:pt x="32" y="200"/>
                  </a:lnTo>
                  <a:lnTo>
                    <a:pt x="32" y="196"/>
                  </a:lnTo>
                  <a:lnTo>
                    <a:pt x="32" y="192"/>
                  </a:lnTo>
                  <a:lnTo>
                    <a:pt x="32" y="188"/>
                  </a:lnTo>
                  <a:lnTo>
                    <a:pt x="36" y="188"/>
                  </a:lnTo>
                  <a:lnTo>
                    <a:pt x="36" y="184"/>
                  </a:lnTo>
                  <a:lnTo>
                    <a:pt x="40" y="180"/>
                  </a:lnTo>
                  <a:lnTo>
                    <a:pt x="40" y="176"/>
                  </a:lnTo>
                  <a:lnTo>
                    <a:pt x="40" y="172"/>
                  </a:lnTo>
                  <a:lnTo>
                    <a:pt x="40" y="168"/>
                  </a:lnTo>
                  <a:lnTo>
                    <a:pt x="36" y="168"/>
                  </a:lnTo>
                  <a:lnTo>
                    <a:pt x="36" y="164"/>
                  </a:lnTo>
                  <a:lnTo>
                    <a:pt x="40" y="164"/>
                  </a:lnTo>
                  <a:lnTo>
                    <a:pt x="40" y="160"/>
                  </a:lnTo>
                  <a:lnTo>
                    <a:pt x="40" y="156"/>
                  </a:lnTo>
                  <a:lnTo>
                    <a:pt x="36" y="156"/>
                  </a:lnTo>
                  <a:lnTo>
                    <a:pt x="36" y="152"/>
                  </a:lnTo>
                  <a:lnTo>
                    <a:pt x="40" y="152"/>
                  </a:lnTo>
                  <a:lnTo>
                    <a:pt x="40" y="148"/>
                  </a:lnTo>
                  <a:lnTo>
                    <a:pt x="44" y="144"/>
                  </a:lnTo>
                  <a:lnTo>
                    <a:pt x="40" y="144"/>
                  </a:lnTo>
                  <a:lnTo>
                    <a:pt x="40" y="140"/>
                  </a:lnTo>
                  <a:lnTo>
                    <a:pt x="40" y="136"/>
                  </a:lnTo>
                  <a:lnTo>
                    <a:pt x="40" y="132"/>
                  </a:lnTo>
                  <a:lnTo>
                    <a:pt x="40" y="128"/>
                  </a:lnTo>
                  <a:lnTo>
                    <a:pt x="40" y="124"/>
                  </a:lnTo>
                  <a:lnTo>
                    <a:pt x="40" y="120"/>
                  </a:lnTo>
                  <a:lnTo>
                    <a:pt x="40" y="116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2" y="112"/>
                  </a:lnTo>
                  <a:lnTo>
                    <a:pt x="32" y="108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0" y="104"/>
                  </a:lnTo>
                  <a:lnTo>
                    <a:pt x="16" y="104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8" y="100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16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8" y="72"/>
                  </a:lnTo>
                  <a:lnTo>
                    <a:pt x="32" y="68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8"/>
                  </a:lnTo>
                  <a:lnTo>
                    <a:pt x="48" y="68"/>
                  </a:lnTo>
                  <a:lnTo>
                    <a:pt x="48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4" y="96"/>
                  </a:lnTo>
                  <a:lnTo>
                    <a:pt x="60" y="96"/>
                  </a:lnTo>
                  <a:lnTo>
                    <a:pt x="60" y="100"/>
                  </a:lnTo>
                  <a:lnTo>
                    <a:pt x="64" y="104"/>
                  </a:lnTo>
                  <a:lnTo>
                    <a:pt x="64" y="108"/>
                  </a:lnTo>
                  <a:lnTo>
                    <a:pt x="68" y="108"/>
                  </a:lnTo>
                  <a:lnTo>
                    <a:pt x="68" y="112"/>
                  </a:lnTo>
                  <a:lnTo>
                    <a:pt x="72" y="116"/>
                  </a:lnTo>
                  <a:lnTo>
                    <a:pt x="72" y="120"/>
                  </a:lnTo>
                  <a:lnTo>
                    <a:pt x="72" y="124"/>
                  </a:lnTo>
                  <a:lnTo>
                    <a:pt x="76" y="124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76" y="112"/>
                  </a:lnTo>
                  <a:lnTo>
                    <a:pt x="72" y="112"/>
                  </a:lnTo>
                  <a:lnTo>
                    <a:pt x="76" y="112"/>
                  </a:lnTo>
                  <a:lnTo>
                    <a:pt x="76" y="108"/>
                  </a:lnTo>
                  <a:lnTo>
                    <a:pt x="76" y="104"/>
                  </a:lnTo>
                  <a:lnTo>
                    <a:pt x="80" y="104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92"/>
                  </a:lnTo>
                  <a:lnTo>
                    <a:pt x="84" y="88"/>
                  </a:lnTo>
                  <a:lnTo>
                    <a:pt x="84" y="84"/>
                  </a:lnTo>
                  <a:lnTo>
                    <a:pt x="84" y="80"/>
                  </a:lnTo>
                  <a:lnTo>
                    <a:pt x="84" y="76"/>
                  </a:lnTo>
                  <a:lnTo>
                    <a:pt x="80" y="68"/>
                  </a:lnTo>
                  <a:lnTo>
                    <a:pt x="76" y="60"/>
                  </a:lnTo>
                  <a:lnTo>
                    <a:pt x="72" y="60"/>
                  </a:lnTo>
                  <a:lnTo>
                    <a:pt x="72" y="56"/>
                  </a:lnTo>
                  <a:lnTo>
                    <a:pt x="68" y="56"/>
                  </a:lnTo>
                  <a:lnTo>
                    <a:pt x="64" y="52"/>
                  </a:lnTo>
                  <a:lnTo>
                    <a:pt x="64" y="48"/>
                  </a:lnTo>
                  <a:lnTo>
                    <a:pt x="64" y="44"/>
                  </a:lnTo>
                  <a:lnTo>
                    <a:pt x="64" y="40"/>
                  </a:lnTo>
                  <a:lnTo>
                    <a:pt x="64" y="36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80" y="20"/>
                  </a:lnTo>
                  <a:lnTo>
                    <a:pt x="84" y="16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8" y="20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16" y="16"/>
                  </a:lnTo>
                  <a:lnTo>
                    <a:pt x="112" y="16"/>
                  </a:lnTo>
                  <a:lnTo>
                    <a:pt x="116" y="16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2"/>
                  </a:lnTo>
                  <a:lnTo>
                    <a:pt x="136" y="8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4" y="4"/>
                  </a:lnTo>
                  <a:lnTo>
                    <a:pt x="148" y="4"/>
                  </a:lnTo>
                  <a:lnTo>
                    <a:pt x="152" y="0"/>
                  </a:lnTo>
                  <a:lnTo>
                    <a:pt x="156" y="0"/>
                  </a:lnTo>
                  <a:lnTo>
                    <a:pt x="156" y="4"/>
                  </a:lnTo>
                  <a:lnTo>
                    <a:pt x="156" y="8"/>
                  </a:lnTo>
                  <a:lnTo>
                    <a:pt x="156" y="12"/>
                  </a:lnTo>
                  <a:lnTo>
                    <a:pt x="152" y="12"/>
                  </a:lnTo>
                  <a:lnTo>
                    <a:pt x="152" y="16"/>
                  </a:lnTo>
                  <a:lnTo>
                    <a:pt x="156" y="16"/>
                  </a:lnTo>
                  <a:lnTo>
                    <a:pt x="152" y="20"/>
                  </a:lnTo>
                  <a:lnTo>
                    <a:pt x="156" y="24"/>
                  </a:lnTo>
                  <a:lnTo>
                    <a:pt x="156" y="32"/>
                  </a:lnTo>
                  <a:lnTo>
                    <a:pt x="156" y="36"/>
                  </a:lnTo>
                  <a:lnTo>
                    <a:pt x="156" y="40"/>
                  </a:lnTo>
                  <a:lnTo>
                    <a:pt x="156" y="44"/>
                  </a:lnTo>
                  <a:lnTo>
                    <a:pt x="152" y="44"/>
                  </a:lnTo>
                  <a:lnTo>
                    <a:pt x="156" y="44"/>
                  </a:lnTo>
                  <a:lnTo>
                    <a:pt x="156" y="48"/>
                  </a:lnTo>
                  <a:lnTo>
                    <a:pt x="156" y="52"/>
                  </a:lnTo>
                  <a:lnTo>
                    <a:pt x="156" y="56"/>
                  </a:lnTo>
                  <a:lnTo>
                    <a:pt x="156" y="60"/>
                  </a:lnTo>
                  <a:lnTo>
                    <a:pt x="156" y="64"/>
                  </a:lnTo>
                  <a:lnTo>
                    <a:pt x="156" y="68"/>
                  </a:lnTo>
                  <a:lnTo>
                    <a:pt x="160" y="68"/>
                  </a:lnTo>
                  <a:lnTo>
                    <a:pt x="160" y="72"/>
                  </a:lnTo>
                  <a:lnTo>
                    <a:pt x="156" y="72"/>
                  </a:lnTo>
                  <a:lnTo>
                    <a:pt x="160" y="72"/>
                  </a:lnTo>
                  <a:lnTo>
                    <a:pt x="160" y="76"/>
                  </a:lnTo>
                  <a:lnTo>
                    <a:pt x="160" y="80"/>
                  </a:lnTo>
                  <a:lnTo>
                    <a:pt x="160" y="84"/>
                  </a:lnTo>
                  <a:lnTo>
                    <a:pt x="156" y="84"/>
                  </a:lnTo>
                  <a:lnTo>
                    <a:pt x="156" y="88"/>
                  </a:lnTo>
                  <a:lnTo>
                    <a:pt x="156" y="84"/>
                  </a:lnTo>
                  <a:lnTo>
                    <a:pt x="156" y="88"/>
                  </a:lnTo>
                  <a:lnTo>
                    <a:pt x="156" y="92"/>
                  </a:lnTo>
                  <a:lnTo>
                    <a:pt x="152" y="92"/>
                  </a:lnTo>
                  <a:lnTo>
                    <a:pt x="152" y="96"/>
                  </a:lnTo>
                  <a:lnTo>
                    <a:pt x="148" y="100"/>
                  </a:lnTo>
                  <a:lnTo>
                    <a:pt x="148" y="104"/>
                  </a:lnTo>
                  <a:lnTo>
                    <a:pt x="144" y="104"/>
                  </a:lnTo>
                  <a:lnTo>
                    <a:pt x="144" y="108"/>
                  </a:lnTo>
                  <a:lnTo>
                    <a:pt x="144" y="112"/>
                  </a:lnTo>
                  <a:lnTo>
                    <a:pt x="140" y="112"/>
                  </a:lnTo>
                  <a:lnTo>
                    <a:pt x="136" y="116"/>
                  </a:lnTo>
                  <a:lnTo>
                    <a:pt x="132" y="116"/>
                  </a:lnTo>
                  <a:lnTo>
                    <a:pt x="132" y="120"/>
                  </a:lnTo>
                  <a:lnTo>
                    <a:pt x="128" y="120"/>
                  </a:lnTo>
                  <a:lnTo>
                    <a:pt x="124" y="124"/>
                  </a:lnTo>
                  <a:lnTo>
                    <a:pt x="120" y="124"/>
                  </a:lnTo>
                  <a:lnTo>
                    <a:pt x="116" y="124"/>
                  </a:lnTo>
                  <a:lnTo>
                    <a:pt x="116" y="128"/>
                  </a:lnTo>
                  <a:lnTo>
                    <a:pt x="112" y="128"/>
                  </a:lnTo>
                  <a:lnTo>
                    <a:pt x="108" y="132"/>
                  </a:lnTo>
                  <a:lnTo>
                    <a:pt x="104" y="132"/>
                  </a:lnTo>
                  <a:lnTo>
                    <a:pt x="104" y="136"/>
                  </a:lnTo>
                  <a:lnTo>
                    <a:pt x="100" y="140"/>
                  </a:lnTo>
                  <a:lnTo>
                    <a:pt x="100" y="136"/>
                  </a:lnTo>
                  <a:lnTo>
                    <a:pt x="100" y="140"/>
                  </a:lnTo>
                  <a:lnTo>
                    <a:pt x="100" y="144"/>
                  </a:lnTo>
                  <a:lnTo>
                    <a:pt x="96" y="148"/>
                  </a:lnTo>
                  <a:lnTo>
                    <a:pt x="92" y="148"/>
                  </a:lnTo>
                  <a:lnTo>
                    <a:pt x="92" y="152"/>
                  </a:lnTo>
                  <a:lnTo>
                    <a:pt x="92" y="156"/>
                  </a:lnTo>
                  <a:lnTo>
                    <a:pt x="88" y="156"/>
                  </a:lnTo>
                  <a:lnTo>
                    <a:pt x="88" y="152"/>
                  </a:lnTo>
                  <a:lnTo>
                    <a:pt x="88" y="156"/>
                  </a:lnTo>
                  <a:lnTo>
                    <a:pt x="84" y="156"/>
                  </a:lnTo>
                  <a:lnTo>
                    <a:pt x="84" y="160"/>
                  </a:lnTo>
                  <a:lnTo>
                    <a:pt x="80" y="160"/>
                  </a:lnTo>
                  <a:lnTo>
                    <a:pt x="80" y="164"/>
                  </a:lnTo>
                  <a:lnTo>
                    <a:pt x="76" y="168"/>
                  </a:lnTo>
                  <a:lnTo>
                    <a:pt x="72" y="172"/>
                  </a:lnTo>
                  <a:lnTo>
                    <a:pt x="68" y="172"/>
                  </a:lnTo>
                  <a:lnTo>
                    <a:pt x="64" y="168"/>
                  </a:lnTo>
                  <a:lnTo>
                    <a:pt x="64" y="172"/>
                  </a:lnTo>
                  <a:lnTo>
                    <a:pt x="68" y="172"/>
                  </a:lnTo>
                  <a:lnTo>
                    <a:pt x="68" y="176"/>
                  </a:lnTo>
                  <a:lnTo>
                    <a:pt x="68" y="180"/>
                  </a:lnTo>
                  <a:lnTo>
                    <a:pt x="68" y="184"/>
                  </a:lnTo>
                  <a:lnTo>
                    <a:pt x="68" y="188"/>
                  </a:lnTo>
                  <a:lnTo>
                    <a:pt x="72" y="188"/>
                  </a:lnTo>
                  <a:lnTo>
                    <a:pt x="72" y="192"/>
                  </a:lnTo>
                  <a:lnTo>
                    <a:pt x="72" y="196"/>
                  </a:lnTo>
                  <a:lnTo>
                    <a:pt x="72" y="200"/>
                  </a:lnTo>
                  <a:lnTo>
                    <a:pt x="72" y="204"/>
                  </a:lnTo>
                  <a:lnTo>
                    <a:pt x="76" y="204"/>
                  </a:lnTo>
                  <a:lnTo>
                    <a:pt x="76" y="208"/>
                  </a:lnTo>
                  <a:lnTo>
                    <a:pt x="76" y="212"/>
                  </a:lnTo>
                  <a:lnTo>
                    <a:pt x="76" y="216"/>
                  </a:lnTo>
                  <a:lnTo>
                    <a:pt x="76" y="220"/>
                  </a:lnTo>
                  <a:lnTo>
                    <a:pt x="76" y="224"/>
                  </a:lnTo>
                  <a:lnTo>
                    <a:pt x="76" y="220"/>
                  </a:lnTo>
                  <a:lnTo>
                    <a:pt x="76" y="216"/>
                  </a:lnTo>
                  <a:lnTo>
                    <a:pt x="80" y="216"/>
                  </a:lnTo>
                  <a:lnTo>
                    <a:pt x="80" y="220"/>
                  </a:lnTo>
                  <a:lnTo>
                    <a:pt x="80" y="224"/>
                  </a:lnTo>
                  <a:lnTo>
                    <a:pt x="80" y="228"/>
                  </a:lnTo>
                  <a:lnTo>
                    <a:pt x="80" y="232"/>
                  </a:lnTo>
                  <a:lnTo>
                    <a:pt x="80" y="236"/>
                  </a:lnTo>
                  <a:lnTo>
                    <a:pt x="80" y="240"/>
                  </a:lnTo>
                  <a:lnTo>
                    <a:pt x="76" y="244"/>
                  </a:lnTo>
                  <a:lnTo>
                    <a:pt x="76" y="248"/>
                  </a:lnTo>
                  <a:lnTo>
                    <a:pt x="76" y="252"/>
                  </a:lnTo>
                  <a:lnTo>
                    <a:pt x="76" y="248"/>
                  </a:lnTo>
                  <a:lnTo>
                    <a:pt x="80" y="248"/>
                  </a:lnTo>
                  <a:lnTo>
                    <a:pt x="80" y="252"/>
                  </a:lnTo>
                  <a:lnTo>
                    <a:pt x="80" y="256"/>
                  </a:lnTo>
                  <a:lnTo>
                    <a:pt x="76" y="256"/>
                  </a:lnTo>
                  <a:lnTo>
                    <a:pt x="76" y="260"/>
                  </a:lnTo>
                  <a:lnTo>
                    <a:pt x="76" y="264"/>
                  </a:lnTo>
                  <a:lnTo>
                    <a:pt x="72" y="264"/>
                  </a:lnTo>
                  <a:lnTo>
                    <a:pt x="68" y="268"/>
                  </a:lnTo>
                  <a:lnTo>
                    <a:pt x="64" y="268"/>
                  </a:lnTo>
                  <a:lnTo>
                    <a:pt x="60" y="268"/>
                  </a:lnTo>
                  <a:lnTo>
                    <a:pt x="60" y="272"/>
                  </a:lnTo>
                  <a:lnTo>
                    <a:pt x="56" y="272"/>
                  </a:lnTo>
                  <a:lnTo>
                    <a:pt x="52" y="272"/>
                  </a:lnTo>
                  <a:lnTo>
                    <a:pt x="48" y="276"/>
                  </a:lnTo>
                  <a:lnTo>
                    <a:pt x="44" y="276"/>
                  </a:lnTo>
                  <a:lnTo>
                    <a:pt x="44" y="280"/>
                  </a:lnTo>
                  <a:lnTo>
                    <a:pt x="40" y="280"/>
                  </a:lnTo>
                  <a:lnTo>
                    <a:pt x="40" y="284"/>
                  </a:lnTo>
                  <a:lnTo>
                    <a:pt x="36" y="284"/>
                  </a:lnTo>
                  <a:lnTo>
                    <a:pt x="36" y="288"/>
                  </a:lnTo>
                  <a:lnTo>
                    <a:pt x="36" y="292"/>
                  </a:lnTo>
                  <a:lnTo>
                    <a:pt x="36" y="296"/>
                  </a:lnTo>
                  <a:lnTo>
                    <a:pt x="40" y="296"/>
                  </a:lnTo>
                  <a:lnTo>
                    <a:pt x="40" y="292"/>
                  </a:lnTo>
                  <a:lnTo>
                    <a:pt x="40" y="296"/>
                  </a:lnTo>
                  <a:lnTo>
                    <a:pt x="40" y="303"/>
                  </a:lnTo>
                  <a:lnTo>
                    <a:pt x="40" y="307"/>
                  </a:lnTo>
                  <a:lnTo>
                    <a:pt x="36" y="307"/>
                  </a:lnTo>
                  <a:lnTo>
                    <a:pt x="32" y="307"/>
                  </a:lnTo>
                  <a:lnTo>
                    <a:pt x="28" y="307"/>
                  </a:lnTo>
                  <a:close/>
                  <a:moveTo>
                    <a:pt x="80" y="212"/>
                  </a:moveTo>
                  <a:lnTo>
                    <a:pt x="76" y="212"/>
                  </a:lnTo>
                  <a:lnTo>
                    <a:pt x="76" y="208"/>
                  </a:lnTo>
                  <a:lnTo>
                    <a:pt x="80" y="204"/>
                  </a:lnTo>
                  <a:lnTo>
                    <a:pt x="80" y="208"/>
                  </a:lnTo>
                  <a:lnTo>
                    <a:pt x="80" y="2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3" name="Freeform 150"/>
            <p:cNvSpPr>
              <a:spLocks/>
            </p:cNvSpPr>
            <p:nvPr>
              <p:custDataLst>
                <p:tags r:id="rId345"/>
              </p:custDataLst>
            </p:nvPr>
          </p:nvSpPr>
          <p:spPr bwMode="gray">
            <a:xfrm>
              <a:off x="4635597" y="5060153"/>
              <a:ext cx="308477" cy="336655"/>
            </a:xfrm>
            <a:custGeom>
              <a:avLst/>
              <a:gdLst/>
              <a:ahLst/>
              <a:cxnLst>
                <a:cxn ang="0">
                  <a:pos x="128" y="132"/>
                </a:cxn>
                <a:cxn ang="0">
                  <a:pos x="128" y="148"/>
                </a:cxn>
                <a:cxn ang="0">
                  <a:pos x="128" y="164"/>
                </a:cxn>
                <a:cxn ang="0">
                  <a:pos x="128" y="195"/>
                </a:cxn>
                <a:cxn ang="0">
                  <a:pos x="128" y="215"/>
                </a:cxn>
                <a:cxn ang="0">
                  <a:pos x="116" y="223"/>
                </a:cxn>
                <a:cxn ang="0">
                  <a:pos x="104" y="227"/>
                </a:cxn>
                <a:cxn ang="0">
                  <a:pos x="92" y="223"/>
                </a:cxn>
                <a:cxn ang="0">
                  <a:pos x="88" y="211"/>
                </a:cxn>
                <a:cxn ang="0">
                  <a:pos x="80" y="211"/>
                </a:cxn>
                <a:cxn ang="0">
                  <a:pos x="72" y="219"/>
                </a:cxn>
                <a:cxn ang="0">
                  <a:pos x="64" y="207"/>
                </a:cxn>
                <a:cxn ang="0">
                  <a:pos x="60" y="203"/>
                </a:cxn>
                <a:cxn ang="0">
                  <a:pos x="56" y="187"/>
                </a:cxn>
                <a:cxn ang="0">
                  <a:pos x="52" y="176"/>
                </a:cxn>
                <a:cxn ang="0">
                  <a:pos x="48" y="164"/>
                </a:cxn>
                <a:cxn ang="0">
                  <a:pos x="48" y="148"/>
                </a:cxn>
                <a:cxn ang="0">
                  <a:pos x="44" y="136"/>
                </a:cxn>
                <a:cxn ang="0">
                  <a:pos x="44" y="120"/>
                </a:cxn>
                <a:cxn ang="0">
                  <a:pos x="44" y="104"/>
                </a:cxn>
                <a:cxn ang="0">
                  <a:pos x="36" y="92"/>
                </a:cxn>
                <a:cxn ang="0">
                  <a:pos x="32" y="80"/>
                </a:cxn>
                <a:cxn ang="0">
                  <a:pos x="24" y="68"/>
                </a:cxn>
                <a:cxn ang="0">
                  <a:pos x="20" y="56"/>
                </a:cxn>
                <a:cxn ang="0">
                  <a:pos x="16" y="44"/>
                </a:cxn>
                <a:cxn ang="0">
                  <a:pos x="8" y="32"/>
                </a:cxn>
                <a:cxn ang="0">
                  <a:pos x="4" y="20"/>
                </a:cxn>
                <a:cxn ang="0">
                  <a:pos x="4" y="8"/>
                </a:cxn>
                <a:cxn ang="0">
                  <a:pos x="16" y="4"/>
                </a:cxn>
                <a:cxn ang="0">
                  <a:pos x="32" y="4"/>
                </a:cxn>
                <a:cxn ang="0">
                  <a:pos x="44" y="8"/>
                </a:cxn>
                <a:cxn ang="0">
                  <a:pos x="68" y="8"/>
                </a:cxn>
                <a:cxn ang="0">
                  <a:pos x="96" y="8"/>
                </a:cxn>
                <a:cxn ang="0">
                  <a:pos x="108" y="16"/>
                </a:cxn>
                <a:cxn ang="0">
                  <a:pos x="124" y="16"/>
                </a:cxn>
                <a:cxn ang="0">
                  <a:pos x="136" y="20"/>
                </a:cxn>
                <a:cxn ang="0">
                  <a:pos x="148" y="20"/>
                </a:cxn>
                <a:cxn ang="0">
                  <a:pos x="172" y="12"/>
                </a:cxn>
                <a:cxn ang="0">
                  <a:pos x="188" y="8"/>
                </a:cxn>
                <a:cxn ang="0">
                  <a:pos x="204" y="8"/>
                </a:cxn>
                <a:cxn ang="0">
                  <a:pos x="200" y="16"/>
                </a:cxn>
                <a:cxn ang="0">
                  <a:pos x="192" y="20"/>
                </a:cxn>
                <a:cxn ang="0">
                  <a:pos x="184" y="28"/>
                </a:cxn>
                <a:cxn ang="0">
                  <a:pos x="176" y="20"/>
                </a:cxn>
                <a:cxn ang="0">
                  <a:pos x="156" y="24"/>
                </a:cxn>
                <a:cxn ang="0">
                  <a:pos x="144" y="32"/>
                </a:cxn>
                <a:cxn ang="0">
                  <a:pos x="144" y="72"/>
                </a:cxn>
                <a:cxn ang="0">
                  <a:pos x="144" y="92"/>
                </a:cxn>
                <a:cxn ang="0">
                  <a:pos x="132" y="96"/>
                </a:cxn>
                <a:cxn ang="0">
                  <a:pos x="128" y="108"/>
                </a:cxn>
              </a:cxnLst>
              <a:rect l="0" t="0" r="r" b="b"/>
              <a:pathLst>
                <a:path w="208" h="227">
                  <a:moveTo>
                    <a:pt x="128" y="120"/>
                  </a:moveTo>
                  <a:lnTo>
                    <a:pt x="128" y="124"/>
                  </a:lnTo>
                  <a:lnTo>
                    <a:pt x="128" y="128"/>
                  </a:lnTo>
                  <a:lnTo>
                    <a:pt x="128" y="132"/>
                  </a:lnTo>
                  <a:lnTo>
                    <a:pt x="128" y="136"/>
                  </a:lnTo>
                  <a:lnTo>
                    <a:pt x="128" y="140"/>
                  </a:lnTo>
                  <a:lnTo>
                    <a:pt x="128" y="144"/>
                  </a:lnTo>
                  <a:lnTo>
                    <a:pt x="128" y="148"/>
                  </a:lnTo>
                  <a:lnTo>
                    <a:pt x="128" y="152"/>
                  </a:lnTo>
                  <a:lnTo>
                    <a:pt x="128" y="156"/>
                  </a:lnTo>
                  <a:lnTo>
                    <a:pt x="128" y="160"/>
                  </a:lnTo>
                  <a:lnTo>
                    <a:pt x="128" y="164"/>
                  </a:lnTo>
                  <a:lnTo>
                    <a:pt x="128" y="168"/>
                  </a:lnTo>
                  <a:lnTo>
                    <a:pt x="128" y="179"/>
                  </a:lnTo>
                  <a:lnTo>
                    <a:pt x="128" y="191"/>
                  </a:lnTo>
                  <a:lnTo>
                    <a:pt x="128" y="195"/>
                  </a:lnTo>
                  <a:lnTo>
                    <a:pt x="128" y="199"/>
                  </a:lnTo>
                  <a:lnTo>
                    <a:pt x="128" y="207"/>
                  </a:lnTo>
                  <a:lnTo>
                    <a:pt x="128" y="211"/>
                  </a:lnTo>
                  <a:lnTo>
                    <a:pt x="128" y="215"/>
                  </a:lnTo>
                  <a:lnTo>
                    <a:pt x="124" y="219"/>
                  </a:lnTo>
                  <a:lnTo>
                    <a:pt x="120" y="219"/>
                  </a:lnTo>
                  <a:lnTo>
                    <a:pt x="120" y="223"/>
                  </a:lnTo>
                  <a:lnTo>
                    <a:pt x="116" y="223"/>
                  </a:lnTo>
                  <a:lnTo>
                    <a:pt x="116" y="227"/>
                  </a:lnTo>
                  <a:lnTo>
                    <a:pt x="112" y="227"/>
                  </a:lnTo>
                  <a:lnTo>
                    <a:pt x="108" y="223"/>
                  </a:lnTo>
                  <a:lnTo>
                    <a:pt x="104" y="227"/>
                  </a:lnTo>
                  <a:lnTo>
                    <a:pt x="100" y="227"/>
                  </a:lnTo>
                  <a:lnTo>
                    <a:pt x="96" y="227"/>
                  </a:lnTo>
                  <a:lnTo>
                    <a:pt x="96" y="223"/>
                  </a:lnTo>
                  <a:lnTo>
                    <a:pt x="92" y="223"/>
                  </a:lnTo>
                  <a:lnTo>
                    <a:pt x="88" y="223"/>
                  </a:lnTo>
                  <a:lnTo>
                    <a:pt x="88" y="219"/>
                  </a:lnTo>
                  <a:lnTo>
                    <a:pt x="88" y="215"/>
                  </a:lnTo>
                  <a:lnTo>
                    <a:pt x="88" y="211"/>
                  </a:lnTo>
                  <a:lnTo>
                    <a:pt x="88" y="215"/>
                  </a:lnTo>
                  <a:lnTo>
                    <a:pt x="84" y="215"/>
                  </a:lnTo>
                  <a:lnTo>
                    <a:pt x="84" y="211"/>
                  </a:lnTo>
                  <a:lnTo>
                    <a:pt x="80" y="211"/>
                  </a:lnTo>
                  <a:lnTo>
                    <a:pt x="80" y="215"/>
                  </a:lnTo>
                  <a:lnTo>
                    <a:pt x="80" y="219"/>
                  </a:lnTo>
                  <a:lnTo>
                    <a:pt x="76" y="219"/>
                  </a:lnTo>
                  <a:lnTo>
                    <a:pt x="72" y="219"/>
                  </a:lnTo>
                  <a:lnTo>
                    <a:pt x="68" y="215"/>
                  </a:lnTo>
                  <a:lnTo>
                    <a:pt x="68" y="211"/>
                  </a:lnTo>
                  <a:lnTo>
                    <a:pt x="64" y="211"/>
                  </a:lnTo>
                  <a:lnTo>
                    <a:pt x="64" y="207"/>
                  </a:lnTo>
                  <a:lnTo>
                    <a:pt x="60" y="207"/>
                  </a:lnTo>
                  <a:lnTo>
                    <a:pt x="64" y="207"/>
                  </a:lnTo>
                  <a:lnTo>
                    <a:pt x="60" y="207"/>
                  </a:lnTo>
                  <a:lnTo>
                    <a:pt x="60" y="203"/>
                  </a:lnTo>
                  <a:lnTo>
                    <a:pt x="56" y="199"/>
                  </a:lnTo>
                  <a:lnTo>
                    <a:pt x="56" y="195"/>
                  </a:lnTo>
                  <a:lnTo>
                    <a:pt x="56" y="191"/>
                  </a:lnTo>
                  <a:lnTo>
                    <a:pt x="56" y="187"/>
                  </a:lnTo>
                  <a:lnTo>
                    <a:pt x="52" y="183"/>
                  </a:lnTo>
                  <a:lnTo>
                    <a:pt x="56" y="183"/>
                  </a:lnTo>
                  <a:lnTo>
                    <a:pt x="52" y="179"/>
                  </a:lnTo>
                  <a:lnTo>
                    <a:pt x="52" y="176"/>
                  </a:lnTo>
                  <a:lnTo>
                    <a:pt x="52" y="172"/>
                  </a:lnTo>
                  <a:lnTo>
                    <a:pt x="52" y="168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48" y="160"/>
                  </a:lnTo>
                  <a:lnTo>
                    <a:pt x="48" y="156"/>
                  </a:lnTo>
                  <a:lnTo>
                    <a:pt x="48" y="152"/>
                  </a:lnTo>
                  <a:lnTo>
                    <a:pt x="48" y="148"/>
                  </a:lnTo>
                  <a:lnTo>
                    <a:pt x="48" y="144"/>
                  </a:lnTo>
                  <a:lnTo>
                    <a:pt x="44" y="144"/>
                  </a:lnTo>
                  <a:lnTo>
                    <a:pt x="44" y="140"/>
                  </a:lnTo>
                  <a:lnTo>
                    <a:pt x="44" y="136"/>
                  </a:lnTo>
                  <a:lnTo>
                    <a:pt x="44" y="132"/>
                  </a:lnTo>
                  <a:lnTo>
                    <a:pt x="44" y="128"/>
                  </a:lnTo>
                  <a:lnTo>
                    <a:pt x="44" y="124"/>
                  </a:lnTo>
                  <a:lnTo>
                    <a:pt x="44" y="120"/>
                  </a:lnTo>
                  <a:lnTo>
                    <a:pt x="44" y="116"/>
                  </a:lnTo>
                  <a:lnTo>
                    <a:pt x="44" y="112"/>
                  </a:lnTo>
                  <a:lnTo>
                    <a:pt x="44" y="108"/>
                  </a:lnTo>
                  <a:lnTo>
                    <a:pt x="44" y="104"/>
                  </a:lnTo>
                  <a:lnTo>
                    <a:pt x="44" y="100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36" y="92"/>
                  </a:lnTo>
                  <a:lnTo>
                    <a:pt x="36" y="88"/>
                  </a:lnTo>
                  <a:lnTo>
                    <a:pt x="36" y="84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28" y="72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60" y="8"/>
                  </a:lnTo>
                  <a:lnTo>
                    <a:pt x="68" y="8"/>
                  </a:lnTo>
                  <a:lnTo>
                    <a:pt x="76" y="8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6" y="16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20"/>
                  </a:lnTo>
                  <a:lnTo>
                    <a:pt x="140" y="20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48" y="20"/>
                  </a:lnTo>
                  <a:lnTo>
                    <a:pt x="156" y="16"/>
                  </a:lnTo>
                  <a:lnTo>
                    <a:pt x="164" y="16"/>
                  </a:lnTo>
                  <a:lnTo>
                    <a:pt x="168" y="16"/>
                  </a:lnTo>
                  <a:lnTo>
                    <a:pt x="172" y="12"/>
                  </a:lnTo>
                  <a:lnTo>
                    <a:pt x="176" y="12"/>
                  </a:lnTo>
                  <a:lnTo>
                    <a:pt x="180" y="12"/>
                  </a:lnTo>
                  <a:lnTo>
                    <a:pt x="184" y="12"/>
                  </a:lnTo>
                  <a:lnTo>
                    <a:pt x="188" y="8"/>
                  </a:lnTo>
                  <a:lnTo>
                    <a:pt x="192" y="8"/>
                  </a:lnTo>
                  <a:lnTo>
                    <a:pt x="196" y="8"/>
                  </a:lnTo>
                  <a:lnTo>
                    <a:pt x="200" y="8"/>
                  </a:lnTo>
                  <a:lnTo>
                    <a:pt x="204" y="8"/>
                  </a:lnTo>
                  <a:lnTo>
                    <a:pt x="204" y="12"/>
                  </a:lnTo>
                  <a:lnTo>
                    <a:pt x="208" y="16"/>
                  </a:lnTo>
                  <a:lnTo>
                    <a:pt x="204" y="16"/>
                  </a:lnTo>
                  <a:lnTo>
                    <a:pt x="200" y="16"/>
                  </a:lnTo>
                  <a:lnTo>
                    <a:pt x="196" y="20"/>
                  </a:lnTo>
                  <a:lnTo>
                    <a:pt x="196" y="16"/>
                  </a:lnTo>
                  <a:lnTo>
                    <a:pt x="192" y="16"/>
                  </a:lnTo>
                  <a:lnTo>
                    <a:pt x="192" y="20"/>
                  </a:lnTo>
                  <a:lnTo>
                    <a:pt x="188" y="20"/>
                  </a:lnTo>
                  <a:lnTo>
                    <a:pt x="188" y="24"/>
                  </a:lnTo>
                  <a:lnTo>
                    <a:pt x="184" y="24"/>
                  </a:lnTo>
                  <a:lnTo>
                    <a:pt x="184" y="28"/>
                  </a:lnTo>
                  <a:lnTo>
                    <a:pt x="180" y="28"/>
                  </a:lnTo>
                  <a:lnTo>
                    <a:pt x="180" y="24"/>
                  </a:lnTo>
                  <a:lnTo>
                    <a:pt x="180" y="20"/>
                  </a:lnTo>
                  <a:lnTo>
                    <a:pt x="176" y="20"/>
                  </a:lnTo>
                  <a:lnTo>
                    <a:pt x="168" y="20"/>
                  </a:lnTo>
                  <a:lnTo>
                    <a:pt x="164" y="20"/>
                  </a:lnTo>
                  <a:lnTo>
                    <a:pt x="160" y="20"/>
                  </a:lnTo>
                  <a:lnTo>
                    <a:pt x="156" y="24"/>
                  </a:lnTo>
                  <a:lnTo>
                    <a:pt x="148" y="24"/>
                  </a:lnTo>
                  <a:lnTo>
                    <a:pt x="144" y="24"/>
                  </a:lnTo>
                  <a:lnTo>
                    <a:pt x="144" y="28"/>
                  </a:lnTo>
                  <a:lnTo>
                    <a:pt x="144" y="32"/>
                  </a:lnTo>
                  <a:lnTo>
                    <a:pt x="144" y="40"/>
                  </a:lnTo>
                  <a:lnTo>
                    <a:pt x="144" y="56"/>
                  </a:lnTo>
                  <a:lnTo>
                    <a:pt x="144" y="60"/>
                  </a:lnTo>
                  <a:lnTo>
                    <a:pt x="144" y="72"/>
                  </a:lnTo>
                  <a:lnTo>
                    <a:pt x="144" y="76"/>
                  </a:lnTo>
                  <a:lnTo>
                    <a:pt x="144" y="80"/>
                  </a:lnTo>
                  <a:lnTo>
                    <a:pt x="144" y="88"/>
                  </a:lnTo>
                  <a:lnTo>
                    <a:pt x="144" y="92"/>
                  </a:lnTo>
                  <a:lnTo>
                    <a:pt x="144" y="96"/>
                  </a:lnTo>
                  <a:lnTo>
                    <a:pt x="140" y="96"/>
                  </a:lnTo>
                  <a:lnTo>
                    <a:pt x="136" y="96"/>
                  </a:lnTo>
                  <a:lnTo>
                    <a:pt x="132" y="96"/>
                  </a:lnTo>
                  <a:lnTo>
                    <a:pt x="128" y="96"/>
                  </a:lnTo>
                  <a:lnTo>
                    <a:pt x="128" y="100"/>
                  </a:lnTo>
                  <a:lnTo>
                    <a:pt x="128" y="104"/>
                  </a:lnTo>
                  <a:lnTo>
                    <a:pt x="128" y="108"/>
                  </a:lnTo>
                  <a:lnTo>
                    <a:pt x="128" y="112"/>
                  </a:lnTo>
                  <a:lnTo>
                    <a:pt x="128" y="116"/>
                  </a:lnTo>
                  <a:lnTo>
                    <a:pt x="128" y="1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4" name="Freeform 151"/>
            <p:cNvSpPr>
              <a:spLocks/>
            </p:cNvSpPr>
            <p:nvPr>
              <p:custDataLst>
                <p:tags r:id="rId346"/>
              </p:custDataLst>
            </p:nvPr>
          </p:nvSpPr>
          <p:spPr bwMode="gray">
            <a:xfrm>
              <a:off x="4381993" y="3947855"/>
              <a:ext cx="354452" cy="330723"/>
            </a:xfrm>
            <a:custGeom>
              <a:avLst/>
              <a:gdLst/>
              <a:ahLst/>
              <a:cxnLst>
                <a:cxn ang="0">
                  <a:pos x="91" y="187"/>
                </a:cxn>
                <a:cxn ang="0">
                  <a:pos x="87" y="183"/>
                </a:cxn>
                <a:cxn ang="0">
                  <a:pos x="75" y="183"/>
                </a:cxn>
                <a:cxn ang="0">
                  <a:pos x="64" y="183"/>
                </a:cxn>
                <a:cxn ang="0">
                  <a:pos x="56" y="199"/>
                </a:cxn>
                <a:cxn ang="0">
                  <a:pos x="52" y="215"/>
                </a:cxn>
                <a:cxn ang="0">
                  <a:pos x="52" y="223"/>
                </a:cxn>
                <a:cxn ang="0">
                  <a:pos x="48" y="219"/>
                </a:cxn>
                <a:cxn ang="0">
                  <a:pos x="40" y="211"/>
                </a:cxn>
                <a:cxn ang="0">
                  <a:pos x="32" y="211"/>
                </a:cxn>
                <a:cxn ang="0">
                  <a:pos x="32" y="215"/>
                </a:cxn>
                <a:cxn ang="0">
                  <a:pos x="28" y="203"/>
                </a:cxn>
                <a:cxn ang="0">
                  <a:pos x="16" y="199"/>
                </a:cxn>
                <a:cxn ang="0">
                  <a:pos x="12" y="191"/>
                </a:cxn>
                <a:cxn ang="0">
                  <a:pos x="16" y="191"/>
                </a:cxn>
                <a:cxn ang="0">
                  <a:pos x="8" y="187"/>
                </a:cxn>
                <a:cxn ang="0">
                  <a:pos x="4" y="175"/>
                </a:cxn>
                <a:cxn ang="0">
                  <a:pos x="0" y="167"/>
                </a:cxn>
                <a:cxn ang="0">
                  <a:pos x="0" y="159"/>
                </a:cxn>
                <a:cxn ang="0">
                  <a:pos x="4" y="163"/>
                </a:cxn>
                <a:cxn ang="0">
                  <a:pos x="12" y="159"/>
                </a:cxn>
                <a:cxn ang="0">
                  <a:pos x="40" y="155"/>
                </a:cxn>
                <a:cxn ang="0">
                  <a:pos x="52" y="151"/>
                </a:cxn>
                <a:cxn ang="0">
                  <a:pos x="56" y="147"/>
                </a:cxn>
                <a:cxn ang="0">
                  <a:pos x="60" y="135"/>
                </a:cxn>
                <a:cxn ang="0">
                  <a:pos x="60" y="119"/>
                </a:cxn>
                <a:cxn ang="0">
                  <a:pos x="60" y="83"/>
                </a:cxn>
                <a:cxn ang="0">
                  <a:pos x="79" y="79"/>
                </a:cxn>
                <a:cxn ang="0">
                  <a:pos x="95" y="63"/>
                </a:cxn>
                <a:cxn ang="0">
                  <a:pos x="127" y="40"/>
                </a:cxn>
                <a:cxn ang="0">
                  <a:pos x="155" y="16"/>
                </a:cxn>
                <a:cxn ang="0">
                  <a:pos x="179" y="0"/>
                </a:cxn>
                <a:cxn ang="0">
                  <a:pos x="195" y="4"/>
                </a:cxn>
                <a:cxn ang="0">
                  <a:pos x="203" y="8"/>
                </a:cxn>
                <a:cxn ang="0">
                  <a:pos x="219" y="12"/>
                </a:cxn>
                <a:cxn ang="0">
                  <a:pos x="227" y="28"/>
                </a:cxn>
                <a:cxn ang="0">
                  <a:pos x="231" y="48"/>
                </a:cxn>
                <a:cxn ang="0">
                  <a:pos x="231" y="52"/>
                </a:cxn>
                <a:cxn ang="0">
                  <a:pos x="235" y="63"/>
                </a:cxn>
                <a:cxn ang="0">
                  <a:pos x="231" y="91"/>
                </a:cxn>
                <a:cxn ang="0">
                  <a:pos x="231" y="127"/>
                </a:cxn>
                <a:cxn ang="0">
                  <a:pos x="215" y="147"/>
                </a:cxn>
                <a:cxn ang="0">
                  <a:pos x="203" y="163"/>
                </a:cxn>
                <a:cxn ang="0">
                  <a:pos x="203" y="171"/>
                </a:cxn>
                <a:cxn ang="0">
                  <a:pos x="199" y="171"/>
                </a:cxn>
                <a:cxn ang="0">
                  <a:pos x="195" y="187"/>
                </a:cxn>
                <a:cxn ang="0">
                  <a:pos x="187" y="191"/>
                </a:cxn>
                <a:cxn ang="0">
                  <a:pos x="187" y="195"/>
                </a:cxn>
                <a:cxn ang="0">
                  <a:pos x="175" y="195"/>
                </a:cxn>
                <a:cxn ang="0">
                  <a:pos x="167" y="191"/>
                </a:cxn>
                <a:cxn ang="0">
                  <a:pos x="163" y="191"/>
                </a:cxn>
                <a:cxn ang="0">
                  <a:pos x="159" y="191"/>
                </a:cxn>
                <a:cxn ang="0">
                  <a:pos x="155" y="191"/>
                </a:cxn>
                <a:cxn ang="0">
                  <a:pos x="147" y="195"/>
                </a:cxn>
                <a:cxn ang="0">
                  <a:pos x="143" y="203"/>
                </a:cxn>
                <a:cxn ang="0">
                  <a:pos x="131" y="199"/>
                </a:cxn>
                <a:cxn ang="0">
                  <a:pos x="123" y="195"/>
                </a:cxn>
                <a:cxn ang="0">
                  <a:pos x="119" y="195"/>
                </a:cxn>
                <a:cxn ang="0">
                  <a:pos x="107" y="195"/>
                </a:cxn>
              </a:cxnLst>
              <a:rect l="0" t="0" r="r" b="b"/>
              <a:pathLst>
                <a:path w="239" h="223">
                  <a:moveTo>
                    <a:pt x="103" y="199"/>
                  </a:moveTo>
                  <a:lnTo>
                    <a:pt x="99" y="199"/>
                  </a:lnTo>
                  <a:lnTo>
                    <a:pt x="99" y="195"/>
                  </a:lnTo>
                  <a:lnTo>
                    <a:pt x="99" y="195"/>
                  </a:lnTo>
                  <a:lnTo>
                    <a:pt x="95" y="191"/>
                  </a:lnTo>
                  <a:lnTo>
                    <a:pt x="95" y="191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87" y="187"/>
                  </a:lnTo>
                  <a:lnTo>
                    <a:pt x="87" y="183"/>
                  </a:lnTo>
                  <a:lnTo>
                    <a:pt x="87" y="183"/>
                  </a:lnTo>
                  <a:lnTo>
                    <a:pt x="83" y="183"/>
                  </a:lnTo>
                  <a:lnTo>
                    <a:pt x="83" y="183"/>
                  </a:lnTo>
                  <a:lnTo>
                    <a:pt x="79" y="183"/>
                  </a:lnTo>
                  <a:lnTo>
                    <a:pt x="79" y="183"/>
                  </a:lnTo>
                  <a:lnTo>
                    <a:pt x="79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1" y="183"/>
                  </a:lnTo>
                  <a:lnTo>
                    <a:pt x="71" y="183"/>
                  </a:lnTo>
                  <a:lnTo>
                    <a:pt x="71" y="183"/>
                  </a:lnTo>
                  <a:lnTo>
                    <a:pt x="68" y="183"/>
                  </a:lnTo>
                  <a:lnTo>
                    <a:pt x="64" y="183"/>
                  </a:lnTo>
                  <a:lnTo>
                    <a:pt x="60" y="187"/>
                  </a:lnTo>
                  <a:lnTo>
                    <a:pt x="60" y="187"/>
                  </a:lnTo>
                  <a:lnTo>
                    <a:pt x="60" y="191"/>
                  </a:lnTo>
                  <a:lnTo>
                    <a:pt x="60" y="191"/>
                  </a:lnTo>
                  <a:lnTo>
                    <a:pt x="60" y="195"/>
                  </a:lnTo>
                  <a:lnTo>
                    <a:pt x="60" y="199"/>
                  </a:lnTo>
                  <a:lnTo>
                    <a:pt x="56" y="199"/>
                  </a:lnTo>
                  <a:lnTo>
                    <a:pt x="56" y="203"/>
                  </a:lnTo>
                  <a:lnTo>
                    <a:pt x="56" y="203"/>
                  </a:lnTo>
                  <a:lnTo>
                    <a:pt x="52" y="207"/>
                  </a:lnTo>
                  <a:lnTo>
                    <a:pt x="52" y="207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5"/>
                  </a:lnTo>
                  <a:lnTo>
                    <a:pt x="52" y="215"/>
                  </a:lnTo>
                  <a:lnTo>
                    <a:pt x="52" y="215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23"/>
                  </a:lnTo>
                  <a:lnTo>
                    <a:pt x="52" y="223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4" y="219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0" y="211"/>
                  </a:lnTo>
                  <a:lnTo>
                    <a:pt x="40" y="211"/>
                  </a:lnTo>
                  <a:lnTo>
                    <a:pt x="40" y="207"/>
                  </a:lnTo>
                  <a:lnTo>
                    <a:pt x="40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2" y="211"/>
                  </a:lnTo>
                  <a:lnTo>
                    <a:pt x="32" y="211"/>
                  </a:lnTo>
                  <a:lnTo>
                    <a:pt x="32" y="215"/>
                  </a:lnTo>
                  <a:lnTo>
                    <a:pt x="32" y="215"/>
                  </a:lnTo>
                  <a:lnTo>
                    <a:pt x="32" y="219"/>
                  </a:lnTo>
                  <a:lnTo>
                    <a:pt x="32" y="219"/>
                  </a:lnTo>
                  <a:lnTo>
                    <a:pt x="32" y="219"/>
                  </a:lnTo>
                  <a:lnTo>
                    <a:pt x="32" y="215"/>
                  </a:lnTo>
                  <a:lnTo>
                    <a:pt x="28" y="211"/>
                  </a:lnTo>
                  <a:lnTo>
                    <a:pt x="28" y="211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32" y="207"/>
                  </a:lnTo>
                  <a:lnTo>
                    <a:pt x="28" y="207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4" y="203"/>
                  </a:lnTo>
                  <a:lnTo>
                    <a:pt x="24" y="207"/>
                  </a:lnTo>
                  <a:lnTo>
                    <a:pt x="20" y="203"/>
                  </a:lnTo>
                  <a:lnTo>
                    <a:pt x="16" y="199"/>
                  </a:lnTo>
                  <a:lnTo>
                    <a:pt x="12" y="199"/>
                  </a:lnTo>
                  <a:lnTo>
                    <a:pt x="12" y="199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87"/>
                  </a:lnTo>
                  <a:lnTo>
                    <a:pt x="12" y="187"/>
                  </a:lnTo>
                  <a:lnTo>
                    <a:pt x="12" y="187"/>
                  </a:lnTo>
                  <a:lnTo>
                    <a:pt x="8" y="187"/>
                  </a:lnTo>
                  <a:lnTo>
                    <a:pt x="4" y="187"/>
                  </a:lnTo>
                  <a:lnTo>
                    <a:pt x="4" y="183"/>
                  </a:lnTo>
                  <a:lnTo>
                    <a:pt x="4" y="183"/>
                  </a:lnTo>
                  <a:lnTo>
                    <a:pt x="4" y="179"/>
                  </a:lnTo>
                  <a:lnTo>
                    <a:pt x="0" y="175"/>
                  </a:lnTo>
                  <a:lnTo>
                    <a:pt x="0" y="175"/>
                  </a:lnTo>
                  <a:lnTo>
                    <a:pt x="4" y="175"/>
                  </a:lnTo>
                  <a:lnTo>
                    <a:pt x="0" y="175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59"/>
                  </a:lnTo>
                  <a:lnTo>
                    <a:pt x="0" y="159"/>
                  </a:lnTo>
                  <a:lnTo>
                    <a:pt x="0" y="163"/>
                  </a:lnTo>
                  <a:lnTo>
                    <a:pt x="4" y="163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6" y="155"/>
                  </a:lnTo>
                  <a:lnTo>
                    <a:pt x="24" y="155"/>
                  </a:lnTo>
                  <a:lnTo>
                    <a:pt x="24" y="155"/>
                  </a:lnTo>
                  <a:lnTo>
                    <a:pt x="36" y="155"/>
                  </a:lnTo>
                  <a:lnTo>
                    <a:pt x="36" y="155"/>
                  </a:lnTo>
                  <a:lnTo>
                    <a:pt x="40" y="155"/>
                  </a:lnTo>
                  <a:lnTo>
                    <a:pt x="40" y="155"/>
                  </a:lnTo>
                  <a:lnTo>
                    <a:pt x="40" y="151"/>
                  </a:lnTo>
                  <a:lnTo>
                    <a:pt x="44" y="151"/>
                  </a:lnTo>
                  <a:lnTo>
                    <a:pt x="48" y="155"/>
                  </a:lnTo>
                  <a:lnTo>
                    <a:pt x="48" y="155"/>
                  </a:lnTo>
                  <a:lnTo>
                    <a:pt x="48" y="155"/>
                  </a:lnTo>
                  <a:lnTo>
                    <a:pt x="48" y="151"/>
                  </a:lnTo>
                  <a:lnTo>
                    <a:pt x="52" y="151"/>
                  </a:lnTo>
                  <a:lnTo>
                    <a:pt x="52" y="147"/>
                  </a:lnTo>
                  <a:lnTo>
                    <a:pt x="52" y="147"/>
                  </a:lnTo>
                  <a:lnTo>
                    <a:pt x="52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3"/>
                  </a:lnTo>
                  <a:lnTo>
                    <a:pt x="56" y="139"/>
                  </a:lnTo>
                  <a:lnTo>
                    <a:pt x="56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27"/>
                  </a:lnTo>
                  <a:lnTo>
                    <a:pt x="60" y="127"/>
                  </a:lnTo>
                  <a:lnTo>
                    <a:pt x="60" y="123"/>
                  </a:lnTo>
                  <a:lnTo>
                    <a:pt x="60" y="123"/>
                  </a:lnTo>
                  <a:lnTo>
                    <a:pt x="60" y="119"/>
                  </a:lnTo>
                  <a:lnTo>
                    <a:pt x="60" y="115"/>
                  </a:lnTo>
                  <a:lnTo>
                    <a:pt x="60" y="111"/>
                  </a:lnTo>
                  <a:lnTo>
                    <a:pt x="60" y="103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87"/>
                  </a:lnTo>
                  <a:lnTo>
                    <a:pt x="60" y="83"/>
                  </a:lnTo>
                  <a:lnTo>
                    <a:pt x="60" y="83"/>
                  </a:lnTo>
                  <a:lnTo>
                    <a:pt x="64" y="83"/>
                  </a:lnTo>
                  <a:lnTo>
                    <a:pt x="64" y="83"/>
                  </a:lnTo>
                  <a:lnTo>
                    <a:pt x="71" y="79"/>
                  </a:lnTo>
                  <a:lnTo>
                    <a:pt x="75" y="79"/>
                  </a:lnTo>
                  <a:lnTo>
                    <a:pt x="79" y="79"/>
                  </a:lnTo>
                  <a:lnTo>
                    <a:pt x="79" y="79"/>
                  </a:lnTo>
                  <a:lnTo>
                    <a:pt x="83" y="79"/>
                  </a:lnTo>
                  <a:lnTo>
                    <a:pt x="83" y="79"/>
                  </a:lnTo>
                  <a:lnTo>
                    <a:pt x="87" y="75"/>
                  </a:lnTo>
                  <a:lnTo>
                    <a:pt x="87" y="75"/>
                  </a:lnTo>
                  <a:lnTo>
                    <a:pt x="91" y="71"/>
                  </a:lnTo>
                  <a:lnTo>
                    <a:pt x="95" y="67"/>
                  </a:lnTo>
                  <a:lnTo>
                    <a:pt x="95" y="63"/>
                  </a:lnTo>
                  <a:lnTo>
                    <a:pt x="99" y="59"/>
                  </a:lnTo>
                  <a:lnTo>
                    <a:pt x="107" y="52"/>
                  </a:lnTo>
                  <a:lnTo>
                    <a:pt x="111" y="48"/>
                  </a:lnTo>
                  <a:lnTo>
                    <a:pt x="111" y="48"/>
                  </a:lnTo>
                  <a:lnTo>
                    <a:pt x="115" y="48"/>
                  </a:lnTo>
                  <a:lnTo>
                    <a:pt x="119" y="44"/>
                  </a:lnTo>
                  <a:lnTo>
                    <a:pt x="127" y="40"/>
                  </a:lnTo>
                  <a:lnTo>
                    <a:pt x="127" y="36"/>
                  </a:lnTo>
                  <a:lnTo>
                    <a:pt x="131" y="32"/>
                  </a:lnTo>
                  <a:lnTo>
                    <a:pt x="139" y="28"/>
                  </a:lnTo>
                  <a:lnTo>
                    <a:pt x="143" y="24"/>
                  </a:lnTo>
                  <a:lnTo>
                    <a:pt x="147" y="20"/>
                  </a:lnTo>
                  <a:lnTo>
                    <a:pt x="151" y="20"/>
                  </a:lnTo>
                  <a:lnTo>
                    <a:pt x="155" y="16"/>
                  </a:lnTo>
                  <a:lnTo>
                    <a:pt x="159" y="16"/>
                  </a:lnTo>
                  <a:lnTo>
                    <a:pt x="159" y="12"/>
                  </a:lnTo>
                  <a:lnTo>
                    <a:pt x="163" y="12"/>
                  </a:lnTo>
                  <a:lnTo>
                    <a:pt x="171" y="4"/>
                  </a:lnTo>
                  <a:lnTo>
                    <a:pt x="175" y="4"/>
                  </a:lnTo>
                  <a:lnTo>
                    <a:pt x="175" y="0"/>
                  </a:lnTo>
                  <a:lnTo>
                    <a:pt x="179" y="0"/>
                  </a:lnTo>
                  <a:lnTo>
                    <a:pt x="183" y="4"/>
                  </a:lnTo>
                  <a:lnTo>
                    <a:pt x="183" y="4"/>
                  </a:lnTo>
                  <a:lnTo>
                    <a:pt x="183" y="4"/>
                  </a:lnTo>
                  <a:lnTo>
                    <a:pt x="183" y="4"/>
                  </a:lnTo>
                  <a:lnTo>
                    <a:pt x="187" y="4"/>
                  </a:lnTo>
                  <a:lnTo>
                    <a:pt x="191" y="4"/>
                  </a:lnTo>
                  <a:lnTo>
                    <a:pt x="195" y="4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203" y="8"/>
                  </a:lnTo>
                  <a:lnTo>
                    <a:pt x="203" y="8"/>
                  </a:lnTo>
                  <a:lnTo>
                    <a:pt x="207" y="12"/>
                  </a:lnTo>
                  <a:lnTo>
                    <a:pt x="211" y="20"/>
                  </a:lnTo>
                  <a:lnTo>
                    <a:pt x="211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9" y="12"/>
                  </a:lnTo>
                  <a:lnTo>
                    <a:pt x="219" y="12"/>
                  </a:lnTo>
                  <a:lnTo>
                    <a:pt x="223" y="12"/>
                  </a:lnTo>
                  <a:lnTo>
                    <a:pt x="223" y="12"/>
                  </a:lnTo>
                  <a:lnTo>
                    <a:pt x="223" y="12"/>
                  </a:lnTo>
                  <a:lnTo>
                    <a:pt x="223" y="16"/>
                  </a:lnTo>
                  <a:lnTo>
                    <a:pt x="227" y="28"/>
                  </a:lnTo>
                  <a:lnTo>
                    <a:pt x="227" y="28"/>
                  </a:lnTo>
                  <a:lnTo>
                    <a:pt x="227" y="32"/>
                  </a:lnTo>
                  <a:lnTo>
                    <a:pt x="227" y="36"/>
                  </a:lnTo>
                  <a:lnTo>
                    <a:pt x="227" y="36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31" y="48"/>
                  </a:lnTo>
                  <a:lnTo>
                    <a:pt x="231" y="48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6"/>
                  </a:lnTo>
                  <a:lnTo>
                    <a:pt x="231" y="56"/>
                  </a:lnTo>
                  <a:lnTo>
                    <a:pt x="239" y="59"/>
                  </a:lnTo>
                  <a:lnTo>
                    <a:pt x="239" y="59"/>
                  </a:lnTo>
                  <a:lnTo>
                    <a:pt x="235" y="63"/>
                  </a:lnTo>
                  <a:lnTo>
                    <a:pt x="235" y="67"/>
                  </a:lnTo>
                  <a:lnTo>
                    <a:pt x="235" y="67"/>
                  </a:lnTo>
                  <a:lnTo>
                    <a:pt x="235" y="71"/>
                  </a:lnTo>
                  <a:lnTo>
                    <a:pt x="235" y="75"/>
                  </a:lnTo>
                  <a:lnTo>
                    <a:pt x="231" y="87"/>
                  </a:lnTo>
                  <a:lnTo>
                    <a:pt x="231" y="87"/>
                  </a:lnTo>
                  <a:lnTo>
                    <a:pt x="231" y="91"/>
                  </a:lnTo>
                  <a:lnTo>
                    <a:pt x="231" y="99"/>
                  </a:lnTo>
                  <a:lnTo>
                    <a:pt x="231" y="99"/>
                  </a:lnTo>
                  <a:lnTo>
                    <a:pt x="231" y="103"/>
                  </a:lnTo>
                  <a:lnTo>
                    <a:pt x="231" y="115"/>
                  </a:lnTo>
                  <a:lnTo>
                    <a:pt x="231" y="123"/>
                  </a:lnTo>
                  <a:lnTo>
                    <a:pt x="231" y="127"/>
                  </a:lnTo>
                  <a:lnTo>
                    <a:pt x="231" y="127"/>
                  </a:lnTo>
                  <a:lnTo>
                    <a:pt x="231" y="127"/>
                  </a:lnTo>
                  <a:lnTo>
                    <a:pt x="227" y="127"/>
                  </a:lnTo>
                  <a:lnTo>
                    <a:pt x="227" y="131"/>
                  </a:lnTo>
                  <a:lnTo>
                    <a:pt x="223" y="131"/>
                  </a:lnTo>
                  <a:lnTo>
                    <a:pt x="223" y="135"/>
                  </a:lnTo>
                  <a:lnTo>
                    <a:pt x="215" y="143"/>
                  </a:lnTo>
                  <a:lnTo>
                    <a:pt x="215" y="147"/>
                  </a:lnTo>
                  <a:lnTo>
                    <a:pt x="211" y="151"/>
                  </a:lnTo>
                  <a:lnTo>
                    <a:pt x="211" y="151"/>
                  </a:lnTo>
                  <a:lnTo>
                    <a:pt x="207" y="155"/>
                  </a:lnTo>
                  <a:lnTo>
                    <a:pt x="207" y="155"/>
                  </a:lnTo>
                  <a:lnTo>
                    <a:pt x="207" y="159"/>
                  </a:lnTo>
                  <a:lnTo>
                    <a:pt x="203" y="163"/>
                  </a:lnTo>
                  <a:lnTo>
                    <a:pt x="203" y="163"/>
                  </a:lnTo>
                  <a:lnTo>
                    <a:pt x="203" y="163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9"/>
                  </a:lnTo>
                  <a:lnTo>
                    <a:pt x="203" y="183"/>
                  </a:lnTo>
                  <a:lnTo>
                    <a:pt x="203" y="183"/>
                  </a:lnTo>
                  <a:lnTo>
                    <a:pt x="199" y="183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1" y="187"/>
                  </a:lnTo>
                  <a:lnTo>
                    <a:pt x="191" y="187"/>
                  </a:lnTo>
                  <a:lnTo>
                    <a:pt x="191" y="187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5"/>
                  </a:lnTo>
                  <a:lnTo>
                    <a:pt x="187" y="195"/>
                  </a:lnTo>
                  <a:lnTo>
                    <a:pt x="187" y="195"/>
                  </a:lnTo>
                  <a:lnTo>
                    <a:pt x="183" y="195"/>
                  </a:lnTo>
                  <a:lnTo>
                    <a:pt x="183" y="195"/>
                  </a:lnTo>
                  <a:lnTo>
                    <a:pt x="183" y="195"/>
                  </a:lnTo>
                  <a:lnTo>
                    <a:pt x="183" y="195"/>
                  </a:lnTo>
                  <a:lnTo>
                    <a:pt x="179" y="195"/>
                  </a:lnTo>
                  <a:lnTo>
                    <a:pt x="179" y="195"/>
                  </a:lnTo>
                  <a:lnTo>
                    <a:pt x="175" y="195"/>
                  </a:lnTo>
                  <a:lnTo>
                    <a:pt x="175" y="191"/>
                  </a:lnTo>
                  <a:lnTo>
                    <a:pt x="171" y="191"/>
                  </a:lnTo>
                  <a:lnTo>
                    <a:pt x="171" y="191"/>
                  </a:lnTo>
                  <a:lnTo>
                    <a:pt x="171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3" y="195"/>
                  </a:lnTo>
                  <a:lnTo>
                    <a:pt x="143" y="199"/>
                  </a:lnTo>
                  <a:lnTo>
                    <a:pt x="143" y="203"/>
                  </a:lnTo>
                  <a:lnTo>
                    <a:pt x="143" y="203"/>
                  </a:lnTo>
                  <a:lnTo>
                    <a:pt x="139" y="203"/>
                  </a:lnTo>
                  <a:lnTo>
                    <a:pt x="135" y="199"/>
                  </a:lnTo>
                  <a:lnTo>
                    <a:pt x="135" y="199"/>
                  </a:lnTo>
                  <a:lnTo>
                    <a:pt x="131" y="199"/>
                  </a:lnTo>
                  <a:lnTo>
                    <a:pt x="131" y="199"/>
                  </a:lnTo>
                  <a:lnTo>
                    <a:pt x="131" y="199"/>
                  </a:lnTo>
                  <a:lnTo>
                    <a:pt x="131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19" y="195"/>
                  </a:lnTo>
                  <a:lnTo>
                    <a:pt x="119" y="195"/>
                  </a:lnTo>
                  <a:lnTo>
                    <a:pt x="119" y="195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5" y="191"/>
                  </a:lnTo>
                  <a:lnTo>
                    <a:pt x="107" y="195"/>
                  </a:lnTo>
                  <a:lnTo>
                    <a:pt x="107" y="195"/>
                  </a:lnTo>
                  <a:lnTo>
                    <a:pt x="103" y="195"/>
                  </a:lnTo>
                  <a:lnTo>
                    <a:pt x="103" y="195"/>
                  </a:lnTo>
                  <a:lnTo>
                    <a:pt x="103" y="199"/>
                  </a:lnTo>
                  <a:lnTo>
                    <a:pt x="103" y="19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5" name="Freeform 152"/>
            <p:cNvSpPr>
              <a:spLocks noEditPoints="1"/>
            </p:cNvSpPr>
            <p:nvPr>
              <p:custDataLst>
                <p:tags r:id="rId347"/>
              </p:custDataLst>
            </p:nvPr>
          </p:nvSpPr>
          <p:spPr bwMode="gray">
            <a:xfrm>
              <a:off x="4435383" y="4219256"/>
              <a:ext cx="271400" cy="261019"/>
            </a:xfrm>
            <a:custGeom>
              <a:avLst/>
              <a:gdLst/>
              <a:ahLst/>
              <a:cxnLst>
                <a:cxn ang="0">
                  <a:pos x="135" y="132"/>
                </a:cxn>
                <a:cxn ang="0">
                  <a:pos x="127" y="132"/>
                </a:cxn>
                <a:cxn ang="0">
                  <a:pos x="119" y="124"/>
                </a:cxn>
                <a:cxn ang="0">
                  <a:pos x="111" y="128"/>
                </a:cxn>
                <a:cxn ang="0">
                  <a:pos x="103" y="136"/>
                </a:cxn>
                <a:cxn ang="0">
                  <a:pos x="95" y="152"/>
                </a:cxn>
                <a:cxn ang="0">
                  <a:pos x="87" y="164"/>
                </a:cxn>
                <a:cxn ang="0">
                  <a:pos x="83" y="168"/>
                </a:cxn>
                <a:cxn ang="0">
                  <a:pos x="75" y="172"/>
                </a:cxn>
                <a:cxn ang="0">
                  <a:pos x="67" y="168"/>
                </a:cxn>
                <a:cxn ang="0">
                  <a:pos x="63" y="172"/>
                </a:cxn>
                <a:cxn ang="0">
                  <a:pos x="63" y="172"/>
                </a:cxn>
                <a:cxn ang="0">
                  <a:pos x="63" y="168"/>
                </a:cxn>
                <a:cxn ang="0">
                  <a:pos x="55" y="172"/>
                </a:cxn>
                <a:cxn ang="0">
                  <a:pos x="43" y="168"/>
                </a:cxn>
                <a:cxn ang="0">
                  <a:pos x="39" y="160"/>
                </a:cxn>
                <a:cxn ang="0">
                  <a:pos x="43" y="156"/>
                </a:cxn>
                <a:cxn ang="0">
                  <a:pos x="39" y="152"/>
                </a:cxn>
                <a:cxn ang="0">
                  <a:pos x="32" y="140"/>
                </a:cxn>
                <a:cxn ang="0">
                  <a:pos x="20" y="136"/>
                </a:cxn>
                <a:cxn ang="0">
                  <a:pos x="20" y="132"/>
                </a:cxn>
                <a:cxn ang="0">
                  <a:pos x="12" y="136"/>
                </a:cxn>
                <a:cxn ang="0">
                  <a:pos x="0" y="132"/>
                </a:cxn>
                <a:cxn ang="0">
                  <a:pos x="4" y="120"/>
                </a:cxn>
                <a:cxn ang="0">
                  <a:pos x="0" y="104"/>
                </a:cxn>
                <a:cxn ang="0">
                  <a:pos x="4" y="88"/>
                </a:cxn>
                <a:cxn ang="0">
                  <a:pos x="12" y="76"/>
                </a:cxn>
                <a:cxn ang="0">
                  <a:pos x="16" y="64"/>
                </a:cxn>
                <a:cxn ang="0">
                  <a:pos x="16" y="56"/>
                </a:cxn>
                <a:cxn ang="0">
                  <a:pos x="12" y="40"/>
                </a:cxn>
                <a:cxn ang="0">
                  <a:pos x="16" y="28"/>
                </a:cxn>
                <a:cxn ang="0">
                  <a:pos x="24" y="16"/>
                </a:cxn>
                <a:cxn ang="0">
                  <a:pos x="28" y="0"/>
                </a:cxn>
                <a:cxn ang="0">
                  <a:pos x="43" y="0"/>
                </a:cxn>
                <a:cxn ang="0">
                  <a:pos x="55" y="4"/>
                </a:cxn>
                <a:cxn ang="0">
                  <a:pos x="67" y="16"/>
                </a:cxn>
                <a:cxn ang="0">
                  <a:pos x="83" y="8"/>
                </a:cxn>
                <a:cxn ang="0">
                  <a:pos x="95" y="16"/>
                </a:cxn>
                <a:cxn ang="0">
                  <a:pos x="107" y="16"/>
                </a:cxn>
                <a:cxn ang="0">
                  <a:pos x="119" y="8"/>
                </a:cxn>
                <a:cxn ang="0">
                  <a:pos x="135" y="8"/>
                </a:cxn>
                <a:cxn ang="0">
                  <a:pos x="147" y="12"/>
                </a:cxn>
                <a:cxn ang="0">
                  <a:pos x="159" y="4"/>
                </a:cxn>
                <a:cxn ang="0">
                  <a:pos x="171" y="8"/>
                </a:cxn>
                <a:cxn ang="0">
                  <a:pos x="175" y="24"/>
                </a:cxn>
                <a:cxn ang="0">
                  <a:pos x="183" y="32"/>
                </a:cxn>
                <a:cxn ang="0">
                  <a:pos x="179" y="36"/>
                </a:cxn>
                <a:cxn ang="0">
                  <a:pos x="175" y="44"/>
                </a:cxn>
                <a:cxn ang="0">
                  <a:pos x="167" y="56"/>
                </a:cxn>
                <a:cxn ang="0">
                  <a:pos x="159" y="68"/>
                </a:cxn>
                <a:cxn ang="0">
                  <a:pos x="155" y="80"/>
                </a:cxn>
                <a:cxn ang="0">
                  <a:pos x="151" y="96"/>
                </a:cxn>
                <a:cxn ang="0">
                  <a:pos x="143" y="104"/>
                </a:cxn>
                <a:cxn ang="0">
                  <a:pos x="143" y="112"/>
                </a:cxn>
                <a:cxn ang="0">
                  <a:pos x="67" y="172"/>
                </a:cxn>
              </a:cxnLst>
              <a:rect l="0" t="0" r="r" b="b"/>
              <a:pathLst>
                <a:path w="183" h="176">
                  <a:moveTo>
                    <a:pt x="139" y="120"/>
                  </a:moveTo>
                  <a:lnTo>
                    <a:pt x="139" y="124"/>
                  </a:lnTo>
                  <a:lnTo>
                    <a:pt x="135" y="128"/>
                  </a:lnTo>
                  <a:lnTo>
                    <a:pt x="135" y="132"/>
                  </a:lnTo>
                  <a:lnTo>
                    <a:pt x="131" y="132"/>
                  </a:lnTo>
                  <a:lnTo>
                    <a:pt x="131" y="136"/>
                  </a:lnTo>
                  <a:lnTo>
                    <a:pt x="127" y="136"/>
                  </a:lnTo>
                  <a:lnTo>
                    <a:pt x="127" y="132"/>
                  </a:lnTo>
                  <a:lnTo>
                    <a:pt x="127" y="128"/>
                  </a:lnTo>
                  <a:lnTo>
                    <a:pt x="123" y="128"/>
                  </a:lnTo>
                  <a:lnTo>
                    <a:pt x="123" y="124"/>
                  </a:lnTo>
                  <a:lnTo>
                    <a:pt x="119" y="124"/>
                  </a:lnTo>
                  <a:lnTo>
                    <a:pt x="119" y="128"/>
                  </a:lnTo>
                  <a:lnTo>
                    <a:pt x="115" y="128"/>
                  </a:lnTo>
                  <a:lnTo>
                    <a:pt x="115" y="124"/>
                  </a:lnTo>
                  <a:lnTo>
                    <a:pt x="111" y="128"/>
                  </a:lnTo>
                  <a:lnTo>
                    <a:pt x="107" y="128"/>
                  </a:lnTo>
                  <a:lnTo>
                    <a:pt x="107" y="132"/>
                  </a:lnTo>
                  <a:lnTo>
                    <a:pt x="107" y="136"/>
                  </a:lnTo>
                  <a:lnTo>
                    <a:pt x="103" y="136"/>
                  </a:lnTo>
                  <a:lnTo>
                    <a:pt x="99" y="140"/>
                  </a:lnTo>
                  <a:lnTo>
                    <a:pt x="95" y="144"/>
                  </a:lnTo>
                  <a:lnTo>
                    <a:pt x="95" y="148"/>
                  </a:lnTo>
                  <a:lnTo>
                    <a:pt x="95" y="152"/>
                  </a:lnTo>
                  <a:lnTo>
                    <a:pt x="95" y="156"/>
                  </a:lnTo>
                  <a:lnTo>
                    <a:pt x="91" y="160"/>
                  </a:lnTo>
                  <a:lnTo>
                    <a:pt x="91" y="164"/>
                  </a:lnTo>
                  <a:lnTo>
                    <a:pt x="87" y="164"/>
                  </a:lnTo>
                  <a:lnTo>
                    <a:pt x="87" y="168"/>
                  </a:lnTo>
                  <a:lnTo>
                    <a:pt x="87" y="164"/>
                  </a:lnTo>
                  <a:lnTo>
                    <a:pt x="83" y="164"/>
                  </a:lnTo>
                  <a:lnTo>
                    <a:pt x="83" y="168"/>
                  </a:lnTo>
                  <a:lnTo>
                    <a:pt x="87" y="168"/>
                  </a:lnTo>
                  <a:lnTo>
                    <a:pt x="83" y="172"/>
                  </a:lnTo>
                  <a:lnTo>
                    <a:pt x="79" y="172"/>
                  </a:lnTo>
                  <a:lnTo>
                    <a:pt x="75" y="172"/>
                  </a:lnTo>
                  <a:lnTo>
                    <a:pt x="75" y="168"/>
                  </a:lnTo>
                  <a:lnTo>
                    <a:pt x="71" y="172"/>
                  </a:lnTo>
                  <a:lnTo>
                    <a:pt x="67" y="172"/>
                  </a:lnTo>
                  <a:lnTo>
                    <a:pt x="67" y="168"/>
                  </a:lnTo>
                  <a:lnTo>
                    <a:pt x="67" y="172"/>
                  </a:lnTo>
                  <a:lnTo>
                    <a:pt x="67" y="168"/>
                  </a:lnTo>
                  <a:lnTo>
                    <a:pt x="63" y="168"/>
                  </a:lnTo>
                  <a:lnTo>
                    <a:pt x="63" y="172"/>
                  </a:lnTo>
                  <a:lnTo>
                    <a:pt x="67" y="172"/>
                  </a:lnTo>
                  <a:lnTo>
                    <a:pt x="63" y="172"/>
                  </a:lnTo>
                  <a:lnTo>
                    <a:pt x="63" y="168"/>
                  </a:lnTo>
                  <a:lnTo>
                    <a:pt x="63" y="172"/>
                  </a:lnTo>
                  <a:lnTo>
                    <a:pt x="63" y="176"/>
                  </a:lnTo>
                  <a:lnTo>
                    <a:pt x="59" y="172"/>
                  </a:lnTo>
                  <a:lnTo>
                    <a:pt x="63" y="172"/>
                  </a:lnTo>
                  <a:lnTo>
                    <a:pt x="63" y="168"/>
                  </a:lnTo>
                  <a:lnTo>
                    <a:pt x="59" y="172"/>
                  </a:lnTo>
                  <a:lnTo>
                    <a:pt x="59" y="176"/>
                  </a:lnTo>
                  <a:lnTo>
                    <a:pt x="55" y="176"/>
                  </a:lnTo>
                  <a:lnTo>
                    <a:pt x="55" y="172"/>
                  </a:lnTo>
                  <a:lnTo>
                    <a:pt x="55" y="176"/>
                  </a:lnTo>
                  <a:lnTo>
                    <a:pt x="51" y="176"/>
                  </a:lnTo>
                  <a:lnTo>
                    <a:pt x="47" y="172"/>
                  </a:lnTo>
                  <a:lnTo>
                    <a:pt x="43" y="168"/>
                  </a:lnTo>
                  <a:lnTo>
                    <a:pt x="43" y="164"/>
                  </a:lnTo>
                  <a:lnTo>
                    <a:pt x="39" y="160"/>
                  </a:lnTo>
                  <a:lnTo>
                    <a:pt x="43" y="160"/>
                  </a:lnTo>
                  <a:lnTo>
                    <a:pt x="39" y="160"/>
                  </a:lnTo>
                  <a:lnTo>
                    <a:pt x="39" y="156"/>
                  </a:lnTo>
                  <a:lnTo>
                    <a:pt x="43" y="156"/>
                  </a:lnTo>
                  <a:lnTo>
                    <a:pt x="43" y="152"/>
                  </a:lnTo>
                  <a:lnTo>
                    <a:pt x="43" y="156"/>
                  </a:lnTo>
                  <a:lnTo>
                    <a:pt x="39" y="156"/>
                  </a:lnTo>
                  <a:lnTo>
                    <a:pt x="39" y="152"/>
                  </a:lnTo>
                  <a:lnTo>
                    <a:pt x="43" y="152"/>
                  </a:lnTo>
                  <a:lnTo>
                    <a:pt x="39" y="152"/>
                  </a:lnTo>
                  <a:lnTo>
                    <a:pt x="35" y="148"/>
                  </a:lnTo>
                  <a:lnTo>
                    <a:pt x="35" y="144"/>
                  </a:lnTo>
                  <a:lnTo>
                    <a:pt x="32" y="144"/>
                  </a:lnTo>
                  <a:lnTo>
                    <a:pt x="32" y="140"/>
                  </a:lnTo>
                  <a:lnTo>
                    <a:pt x="28" y="140"/>
                  </a:lnTo>
                  <a:lnTo>
                    <a:pt x="28" y="136"/>
                  </a:lnTo>
                  <a:lnTo>
                    <a:pt x="24" y="136"/>
                  </a:lnTo>
                  <a:lnTo>
                    <a:pt x="20" y="136"/>
                  </a:lnTo>
                  <a:lnTo>
                    <a:pt x="16" y="136"/>
                  </a:lnTo>
                  <a:lnTo>
                    <a:pt x="12" y="136"/>
                  </a:lnTo>
                  <a:lnTo>
                    <a:pt x="16" y="136"/>
                  </a:lnTo>
                  <a:lnTo>
                    <a:pt x="20" y="132"/>
                  </a:lnTo>
                  <a:lnTo>
                    <a:pt x="16" y="132"/>
                  </a:lnTo>
                  <a:lnTo>
                    <a:pt x="12" y="136"/>
                  </a:lnTo>
                  <a:lnTo>
                    <a:pt x="12" y="132"/>
                  </a:lnTo>
                  <a:lnTo>
                    <a:pt x="12" y="136"/>
                  </a:lnTo>
                  <a:lnTo>
                    <a:pt x="8" y="136"/>
                  </a:lnTo>
                  <a:lnTo>
                    <a:pt x="4" y="136"/>
                  </a:lnTo>
                  <a:lnTo>
                    <a:pt x="0" y="136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4" y="124"/>
                  </a:lnTo>
                  <a:lnTo>
                    <a:pt x="4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4" y="88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5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51" y="0"/>
                  </a:lnTo>
                  <a:lnTo>
                    <a:pt x="51" y="4"/>
                  </a:lnTo>
                  <a:lnTo>
                    <a:pt x="55" y="4"/>
                  </a:lnTo>
                  <a:lnTo>
                    <a:pt x="59" y="8"/>
                  </a:lnTo>
                  <a:lnTo>
                    <a:pt x="63" y="12"/>
                  </a:lnTo>
                  <a:lnTo>
                    <a:pt x="63" y="16"/>
                  </a:lnTo>
                  <a:lnTo>
                    <a:pt x="67" y="16"/>
                  </a:lnTo>
                  <a:lnTo>
                    <a:pt x="67" y="12"/>
                  </a:lnTo>
                  <a:lnTo>
                    <a:pt x="71" y="12"/>
                  </a:lnTo>
                  <a:lnTo>
                    <a:pt x="79" y="8"/>
                  </a:lnTo>
                  <a:lnTo>
                    <a:pt x="83" y="8"/>
                  </a:lnTo>
                  <a:lnTo>
                    <a:pt x="83" y="12"/>
                  </a:lnTo>
                  <a:lnTo>
                    <a:pt x="87" y="12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9" y="16"/>
                  </a:lnTo>
                  <a:lnTo>
                    <a:pt x="103" y="20"/>
                  </a:lnTo>
                  <a:lnTo>
                    <a:pt x="107" y="20"/>
                  </a:lnTo>
                  <a:lnTo>
                    <a:pt x="107" y="16"/>
                  </a:lnTo>
                  <a:lnTo>
                    <a:pt x="107" y="12"/>
                  </a:lnTo>
                  <a:lnTo>
                    <a:pt x="111" y="12"/>
                  </a:lnTo>
                  <a:lnTo>
                    <a:pt x="115" y="8"/>
                  </a:lnTo>
                  <a:lnTo>
                    <a:pt x="119" y="8"/>
                  </a:lnTo>
                  <a:lnTo>
                    <a:pt x="123" y="8"/>
                  </a:lnTo>
                  <a:lnTo>
                    <a:pt x="127" y="8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39" y="12"/>
                  </a:lnTo>
                  <a:lnTo>
                    <a:pt x="143" y="12"/>
                  </a:lnTo>
                  <a:lnTo>
                    <a:pt x="147" y="12"/>
                  </a:lnTo>
                  <a:lnTo>
                    <a:pt x="151" y="12"/>
                  </a:lnTo>
                  <a:lnTo>
                    <a:pt x="151" y="8"/>
                  </a:lnTo>
                  <a:lnTo>
                    <a:pt x="155" y="4"/>
                  </a:lnTo>
                  <a:lnTo>
                    <a:pt x="159" y="4"/>
                  </a:lnTo>
                  <a:lnTo>
                    <a:pt x="163" y="0"/>
                  </a:lnTo>
                  <a:lnTo>
                    <a:pt x="167" y="0"/>
                  </a:lnTo>
                  <a:lnTo>
                    <a:pt x="167" y="4"/>
                  </a:lnTo>
                  <a:lnTo>
                    <a:pt x="171" y="8"/>
                  </a:lnTo>
                  <a:lnTo>
                    <a:pt x="171" y="12"/>
                  </a:lnTo>
                  <a:lnTo>
                    <a:pt x="175" y="16"/>
                  </a:lnTo>
                  <a:lnTo>
                    <a:pt x="175" y="20"/>
                  </a:lnTo>
                  <a:lnTo>
                    <a:pt x="175" y="24"/>
                  </a:lnTo>
                  <a:lnTo>
                    <a:pt x="175" y="28"/>
                  </a:lnTo>
                  <a:lnTo>
                    <a:pt x="179" y="28"/>
                  </a:lnTo>
                  <a:lnTo>
                    <a:pt x="183" y="28"/>
                  </a:lnTo>
                  <a:lnTo>
                    <a:pt x="183" y="32"/>
                  </a:lnTo>
                  <a:lnTo>
                    <a:pt x="179" y="32"/>
                  </a:lnTo>
                  <a:lnTo>
                    <a:pt x="183" y="32"/>
                  </a:lnTo>
                  <a:lnTo>
                    <a:pt x="183" y="36"/>
                  </a:lnTo>
                  <a:lnTo>
                    <a:pt x="179" y="36"/>
                  </a:lnTo>
                  <a:lnTo>
                    <a:pt x="179" y="40"/>
                  </a:lnTo>
                  <a:lnTo>
                    <a:pt x="183" y="40"/>
                  </a:lnTo>
                  <a:lnTo>
                    <a:pt x="179" y="44"/>
                  </a:lnTo>
                  <a:lnTo>
                    <a:pt x="175" y="44"/>
                  </a:lnTo>
                  <a:lnTo>
                    <a:pt x="175" y="48"/>
                  </a:lnTo>
                  <a:lnTo>
                    <a:pt x="171" y="48"/>
                  </a:lnTo>
                  <a:lnTo>
                    <a:pt x="167" y="52"/>
                  </a:lnTo>
                  <a:lnTo>
                    <a:pt x="167" y="56"/>
                  </a:lnTo>
                  <a:lnTo>
                    <a:pt x="163" y="60"/>
                  </a:lnTo>
                  <a:lnTo>
                    <a:pt x="163" y="64"/>
                  </a:lnTo>
                  <a:lnTo>
                    <a:pt x="163" y="68"/>
                  </a:lnTo>
                  <a:lnTo>
                    <a:pt x="159" y="68"/>
                  </a:lnTo>
                  <a:lnTo>
                    <a:pt x="159" y="72"/>
                  </a:lnTo>
                  <a:lnTo>
                    <a:pt x="159" y="76"/>
                  </a:lnTo>
                  <a:lnTo>
                    <a:pt x="159" y="80"/>
                  </a:lnTo>
                  <a:lnTo>
                    <a:pt x="155" y="80"/>
                  </a:lnTo>
                  <a:lnTo>
                    <a:pt x="155" y="84"/>
                  </a:lnTo>
                  <a:lnTo>
                    <a:pt x="155" y="88"/>
                  </a:lnTo>
                  <a:lnTo>
                    <a:pt x="155" y="92"/>
                  </a:lnTo>
                  <a:lnTo>
                    <a:pt x="151" y="96"/>
                  </a:lnTo>
                  <a:lnTo>
                    <a:pt x="147" y="96"/>
                  </a:lnTo>
                  <a:lnTo>
                    <a:pt x="147" y="100"/>
                  </a:lnTo>
                  <a:lnTo>
                    <a:pt x="143" y="100"/>
                  </a:lnTo>
                  <a:lnTo>
                    <a:pt x="143" y="104"/>
                  </a:lnTo>
                  <a:lnTo>
                    <a:pt x="147" y="104"/>
                  </a:lnTo>
                  <a:lnTo>
                    <a:pt x="143" y="104"/>
                  </a:lnTo>
                  <a:lnTo>
                    <a:pt x="143" y="108"/>
                  </a:lnTo>
                  <a:lnTo>
                    <a:pt x="143" y="112"/>
                  </a:lnTo>
                  <a:lnTo>
                    <a:pt x="143" y="116"/>
                  </a:lnTo>
                  <a:lnTo>
                    <a:pt x="139" y="116"/>
                  </a:lnTo>
                  <a:lnTo>
                    <a:pt x="139" y="120"/>
                  </a:lnTo>
                  <a:close/>
                  <a:moveTo>
                    <a:pt x="67" y="172"/>
                  </a:moveTo>
                  <a:lnTo>
                    <a:pt x="71" y="172"/>
                  </a:lnTo>
                  <a:lnTo>
                    <a:pt x="67" y="17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6" name="Freeform 153"/>
            <p:cNvSpPr>
              <a:spLocks/>
            </p:cNvSpPr>
            <p:nvPr>
              <p:custDataLst>
                <p:tags r:id="rId348"/>
              </p:custDataLst>
            </p:nvPr>
          </p:nvSpPr>
          <p:spPr bwMode="gray">
            <a:xfrm>
              <a:off x="5025643" y="4622650"/>
              <a:ext cx="41526" cy="47458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0" y="32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4" y="0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6"/>
                </a:cxn>
                <a:cxn ang="0">
                  <a:pos x="28" y="20"/>
                </a:cxn>
                <a:cxn ang="0">
                  <a:pos x="28" y="24"/>
                </a:cxn>
                <a:cxn ang="0">
                  <a:pos x="28" y="24"/>
                </a:cxn>
                <a:cxn ang="0">
                  <a:pos x="28" y="24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0" y="24"/>
                </a:cxn>
                <a:cxn ang="0">
                  <a:pos x="16" y="28"/>
                </a:cxn>
                <a:cxn ang="0">
                  <a:pos x="16" y="24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32"/>
                </a:cxn>
              </a:cxnLst>
              <a:rect l="0" t="0" r="r" b="b"/>
              <a:pathLst>
                <a:path w="28" h="32">
                  <a:moveTo>
                    <a:pt x="0" y="32"/>
                  </a:move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8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7" name="Freeform 154"/>
            <p:cNvSpPr>
              <a:spLocks noEditPoints="1"/>
            </p:cNvSpPr>
            <p:nvPr>
              <p:custDataLst>
                <p:tags r:id="rId349"/>
              </p:custDataLst>
            </p:nvPr>
          </p:nvSpPr>
          <p:spPr bwMode="gray">
            <a:xfrm>
              <a:off x="4522885" y="4551463"/>
              <a:ext cx="17797" cy="41526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</a:cxnLst>
              <a:rect l="0" t="0" r="r" b="b"/>
              <a:pathLst>
                <a:path w="12" h="28">
                  <a:moveTo>
                    <a:pt x="12" y="0"/>
                  </a:move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close/>
                  <a:moveTo>
                    <a:pt x="0" y="28"/>
                  </a:move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8" name="Freeform 155"/>
            <p:cNvSpPr>
              <a:spLocks/>
            </p:cNvSpPr>
            <p:nvPr>
              <p:custDataLst>
                <p:tags r:id="rId350"/>
              </p:custDataLst>
            </p:nvPr>
          </p:nvSpPr>
          <p:spPr bwMode="gray">
            <a:xfrm>
              <a:off x="3978600" y="4136205"/>
              <a:ext cx="142374" cy="124577"/>
            </a:xfrm>
            <a:custGeom>
              <a:avLst/>
              <a:gdLst/>
              <a:ahLst/>
              <a:cxnLst>
                <a:cxn ang="0">
                  <a:pos x="88" y="84"/>
                </a:cxn>
                <a:cxn ang="0">
                  <a:pos x="84" y="84"/>
                </a:cxn>
                <a:cxn ang="0">
                  <a:pos x="76" y="84"/>
                </a:cxn>
                <a:cxn ang="0">
                  <a:pos x="68" y="80"/>
                </a:cxn>
                <a:cxn ang="0">
                  <a:pos x="64" y="76"/>
                </a:cxn>
                <a:cxn ang="0">
                  <a:pos x="48" y="76"/>
                </a:cxn>
                <a:cxn ang="0">
                  <a:pos x="32" y="80"/>
                </a:cxn>
                <a:cxn ang="0">
                  <a:pos x="24" y="80"/>
                </a:cxn>
                <a:cxn ang="0">
                  <a:pos x="16" y="84"/>
                </a:cxn>
                <a:cxn ang="0">
                  <a:pos x="16" y="76"/>
                </a:cxn>
                <a:cxn ang="0">
                  <a:pos x="24" y="80"/>
                </a:cxn>
                <a:cxn ang="0">
                  <a:pos x="28" y="80"/>
                </a:cxn>
                <a:cxn ang="0">
                  <a:pos x="32" y="76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16" y="76"/>
                </a:cxn>
                <a:cxn ang="0">
                  <a:pos x="12" y="80"/>
                </a:cxn>
                <a:cxn ang="0">
                  <a:pos x="12" y="72"/>
                </a:cxn>
                <a:cxn ang="0">
                  <a:pos x="28" y="68"/>
                </a:cxn>
                <a:cxn ang="0">
                  <a:pos x="36" y="64"/>
                </a:cxn>
                <a:cxn ang="0">
                  <a:pos x="40" y="60"/>
                </a:cxn>
                <a:cxn ang="0">
                  <a:pos x="44" y="64"/>
                </a:cxn>
                <a:cxn ang="0">
                  <a:pos x="48" y="68"/>
                </a:cxn>
                <a:cxn ang="0">
                  <a:pos x="56" y="64"/>
                </a:cxn>
                <a:cxn ang="0">
                  <a:pos x="60" y="60"/>
                </a:cxn>
                <a:cxn ang="0">
                  <a:pos x="52" y="60"/>
                </a:cxn>
                <a:cxn ang="0">
                  <a:pos x="48" y="60"/>
                </a:cxn>
                <a:cxn ang="0">
                  <a:pos x="44" y="60"/>
                </a:cxn>
                <a:cxn ang="0">
                  <a:pos x="44" y="56"/>
                </a:cxn>
                <a:cxn ang="0">
                  <a:pos x="36" y="56"/>
                </a:cxn>
                <a:cxn ang="0">
                  <a:pos x="32" y="60"/>
                </a:cxn>
                <a:cxn ang="0">
                  <a:pos x="16" y="60"/>
                </a:cxn>
                <a:cxn ang="0">
                  <a:pos x="16" y="56"/>
                </a:cxn>
                <a:cxn ang="0">
                  <a:pos x="16" y="52"/>
                </a:cxn>
                <a:cxn ang="0">
                  <a:pos x="20" y="48"/>
                </a:cxn>
                <a:cxn ang="0">
                  <a:pos x="16" y="52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4" y="40"/>
                </a:cxn>
                <a:cxn ang="0">
                  <a:pos x="8" y="36"/>
                </a:cxn>
                <a:cxn ang="0">
                  <a:pos x="12" y="24"/>
                </a:cxn>
                <a:cxn ang="0">
                  <a:pos x="16" y="20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32" y="4"/>
                </a:cxn>
                <a:cxn ang="0">
                  <a:pos x="40" y="4"/>
                </a:cxn>
                <a:cxn ang="0">
                  <a:pos x="48" y="4"/>
                </a:cxn>
                <a:cxn ang="0">
                  <a:pos x="60" y="12"/>
                </a:cxn>
                <a:cxn ang="0">
                  <a:pos x="64" y="16"/>
                </a:cxn>
                <a:cxn ang="0">
                  <a:pos x="72" y="28"/>
                </a:cxn>
                <a:cxn ang="0">
                  <a:pos x="72" y="32"/>
                </a:cxn>
                <a:cxn ang="0">
                  <a:pos x="80" y="36"/>
                </a:cxn>
                <a:cxn ang="0">
                  <a:pos x="84" y="44"/>
                </a:cxn>
                <a:cxn ang="0">
                  <a:pos x="88" y="52"/>
                </a:cxn>
                <a:cxn ang="0">
                  <a:pos x="84" y="56"/>
                </a:cxn>
                <a:cxn ang="0">
                  <a:pos x="88" y="64"/>
                </a:cxn>
                <a:cxn ang="0">
                  <a:pos x="92" y="68"/>
                </a:cxn>
                <a:cxn ang="0">
                  <a:pos x="96" y="76"/>
                </a:cxn>
              </a:cxnLst>
              <a:rect l="0" t="0" r="r" b="b"/>
              <a:pathLst>
                <a:path w="96" h="84">
                  <a:moveTo>
                    <a:pt x="96" y="80"/>
                  </a:moveTo>
                  <a:lnTo>
                    <a:pt x="96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0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0" y="80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32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4"/>
                  </a:lnTo>
                  <a:lnTo>
                    <a:pt x="48" y="64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96" y="72"/>
                  </a:lnTo>
                  <a:lnTo>
                    <a:pt x="96" y="72"/>
                  </a:lnTo>
                  <a:lnTo>
                    <a:pt x="96" y="76"/>
                  </a:lnTo>
                  <a:lnTo>
                    <a:pt x="96" y="80"/>
                  </a:lnTo>
                  <a:lnTo>
                    <a:pt x="96" y="80"/>
                  </a:lnTo>
                  <a:lnTo>
                    <a:pt x="96" y="80"/>
                  </a:lnTo>
                  <a:lnTo>
                    <a:pt x="96" y="8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9" name="Freeform 156"/>
            <p:cNvSpPr>
              <a:spLocks noEditPoints="1"/>
            </p:cNvSpPr>
            <p:nvPr>
              <p:custDataLst>
                <p:tags r:id="rId351"/>
              </p:custDataLst>
            </p:nvPr>
          </p:nvSpPr>
          <p:spPr bwMode="gray">
            <a:xfrm>
              <a:off x="5411239" y="4716082"/>
              <a:ext cx="212078" cy="136442"/>
            </a:xfrm>
            <a:custGeom>
              <a:avLst/>
              <a:gdLst/>
              <a:ahLst/>
              <a:cxnLst>
                <a:cxn ang="0">
                  <a:pos x="4" y="92"/>
                </a:cxn>
                <a:cxn ang="0">
                  <a:pos x="4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88"/>
                </a:cxn>
                <a:cxn ang="0">
                  <a:pos x="4" y="88"/>
                </a:cxn>
                <a:cxn ang="0">
                  <a:pos x="4" y="88"/>
                </a:cxn>
                <a:cxn ang="0">
                  <a:pos x="8" y="88"/>
                </a:cxn>
                <a:cxn ang="0">
                  <a:pos x="8" y="92"/>
                </a:cxn>
                <a:cxn ang="0">
                  <a:pos x="8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39" y="4"/>
                </a:cxn>
                <a:cxn ang="0">
                  <a:pos x="139" y="0"/>
                </a:cxn>
                <a:cxn ang="0">
                  <a:pos x="139" y="0"/>
                </a:cxn>
                <a:cxn ang="0">
                  <a:pos x="143" y="0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</a:cxnLst>
              <a:rect l="0" t="0" r="r" b="b"/>
              <a:pathLst>
                <a:path w="143" h="92">
                  <a:moveTo>
                    <a:pt x="4" y="92"/>
                  </a:moveTo>
                  <a:lnTo>
                    <a:pt x="4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8" y="88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close/>
                  <a:moveTo>
                    <a:pt x="143" y="4"/>
                  </a:move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39" y="4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43" y="0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0" name="Freeform 157"/>
            <p:cNvSpPr>
              <a:spLocks noEditPoints="1"/>
            </p:cNvSpPr>
            <p:nvPr>
              <p:custDataLst>
                <p:tags r:id="rId352"/>
              </p:custDataLst>
            </p:nvPr>
          </p:nvSpPr>
          <p:spPr bwMode="gray">
            <a:xfrm>
              <a:off x="4079448" y="4326037"/>
              <a:ext cx="65255" cy="83052"/>
            </a:xfrm>
            <a:custGeom>
              <a:avLst/>
              <a:gdLst/>
              <a:ahLst/>
              <a:cxnLst>
                <a:cxn ang="0">
                  <a:pos x="24" y="52"/>
                </a:cxn>
                <a:cxn ang="0">
                  <a:pos x="20" y="52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6" y="44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36" y="8"/>
                </a:cxn>
                <a:cxn ang="0">
                  <a:pos x="40" y="12"/>
                </a:cxn>
                <a:cxn ang="0">
                  <a:pos x="36" y="16"/>
                </a:cxn>
                <a:cxn ang="0">
                  <a:pos x="40" y="16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40" y="28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0" y="32"/>
                </a:cxn>
                <a:cxn ang="0">
                  <a:pos x="40" y="36"/>
                </a:cxn>
                <a:cxn ang="0">
                  <a:pos x="36" y="40"/>
                </a:cxn>
                <a:cxn ang="0">
                  <a:pos x="36" y="44"/>
                </a:cxn>
                <a:cxn ang="0">
                  <a:pos x="32" y="48"/>
                </a:cxn>
                <a:cxn ang="0">
                  <a:pos x="32" y="48"/>
                </a:cxn>
                <a:cxn ang="0">
                  <a:pos x="28" y="52"/>
                </a:cxn>
                <a:cxn ang="0">
                  <a:pos x="28" y="56"/>
                </a:cxn>
                <a:cxn ang="0">
                  <a:pos x="8" y="40"/>
                </a:cxn>
                <a:cxn ang="0">
                  <a:pos x="8" y="40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4" y="44"/>
                </a:cxn>
              </a:cxnLst>
              <a:rect l="0" t="0" r="r" b="b"/>
              <a:pathLst>
                <a:path w="44" h="56">
                  <a:moveTo>
                    <a:pt x="24" y="56"/>
                  </a:moveTo>
                  <a:lnTo>
                    <a:pt x="24" y="56"/>
                  </a:lnTo>
                  <a:lnTo>
                    <a:pt x="24" y="56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6"/>
                  </a:lnTo>
                  <a:lnTo>
                    <a:pt x="24" y="56"/>
                  </a:lnTo>
                  <a:lnTo>
                    <a:pt x="24" y="56"/>
                  </a:lnTo>
                  <a:close/>
                  <a:moveTo>
                    <a:pt x="4" y="44"/>
                  </a:move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1" name="Freeform 158"/>
            <p:cNvSpPr>
              <a:spLocks/>
            </p:cNvSpPr>
            <p:nvPr>
              <p:custDataLst>
                <p:tags r:id="rId353"/>
              </p:custDataLst>
            </p:nvPr>
          </p:nvSpPr>
          <p:spPr bwMode="gray">
            <a:xfrm>
              <a:off x="5298526" y="4266714"/>
              <a:ext cx="231358" cy="373732"/>
            </a:xfrm>
            <a:custGeom>
              <a:avLst/>
              <a:gdLst/>
              <a:ahLst/>
              <a:cxnLst>
                <a:cxn ang="0">
                  <a:pos x="84" y="24"/>
                </a:cxn>
                <a:cxn ang="0">
                  <a:pos x="100" y="16"/>
                </a:cxn>
                <a:cxn ang="0">
                  <a:pos x="116" y="12"/>
                </a:cxn>
                <a:cxn ang="0">
                  <a:pos x="128" y="12"/>
                </a:cxn>
                <a:cxn ang="0">
                  <a:pos x="144" y="8"/>
                </a:cxn>
                <a:cxn ang="0">
                  <a:pos x="152" y="4"/>
                </a:cxn>
                <a:cxn ang="0">
                  <a:pos x="152" y="16"/>
                </a:cxn>
                <a:cxn ang="0">
                  <a:pos x="152" y="32"/>
                </a:cxn>
                <a:cxn ang="0">
                  <a:pos x="152" y="32"/>
                </a:cxn>
                <a:cxn ang="0">
                  <a:pos x="148" y="48"/>
                </a:cxn>
                <a:cxn ang="0">
                  <a:pos x="140" y="60"/>
                </a:cxn>
                <a:cxn ang="0">
                  <a:pos x="136" y="72"/>
                </a:cxn>
                <a:cxn ang="0">
                  <a:pos x="132" y="84"/>
                </a:cxn>
                <a:cxn ang="0">
                  <a:pos x="124" y="92"/>
                </a:cxn>
                <a:cxn ang="0">
                  <a:pos x="120" y="108"/>
                </a:cxn>
                <a:cxn ang="0">
                  <a:pos x="112" y="128"/>
                </a:cxn>
                <a:cxn ang="0">
                  <a:pos x="104" y="136"/>
                </a:cxn>
                <a:cxn ang="0">
                  <a:pos x="96" y="148"/>
                </a:cxn>
                <a:cxn ang="0">
                  <a:pos x="88" y="160"/>
                </a:cxn>
                <a:cxn ang="0">
                  <a:pos x="80" y="172"/>
                </a:cxn>
                <a:cxn ang="0">
                  <a:pos x="68" y="180"/>
                </a:cxn>
                <a:cxn ang="0">
                  <a:pos x="60" y="188"/>
                </a:cxn>
                <a:cxn ang="0">
                  <a:pos x="48" y="200"/>
                </a:cxn>
                <a:cxn ang="0">
                  <a:pos x="40" y="208"/>
                </a:cxn>
                <a:cxn ang="0">
                  <a:pos x="28" y="220"/>
                </a:cxn>
                <a:cxn ang="0">
                  <a:pos x="20" y="228"/>
                </a:cxn>
                <a:cxn ang="0">
                  <a:pos x="12" y="240"/>
                </a:cxn>
                <a:cxn ang="0">
                  <a:pos x="8" y="252"/>
                </a:cxn>
                <a:cxn ang="0">
                  <a:pos x="0" y="220"/>
                </a:cxn>
                <a:cxn ang="0">
                  <a:pos x="4" y="164"/>
                </a:cxn>
                <a:cxn ang="0">
                  <a:pos x="16" y="144"/>
                </a:cxn>
                <a:cxn ang="0">
                  <a:pos x="28" y="140"/>
                </a:cxn>
                <a:cxn ang="0">
                  <a:pos x="36" y="132"/>
                </a:cxn>
                <a:cxn ang="0">
                  <a:pos x="52" y="132"/>
                </a:cxn>
                <a:cxn ang="0">
                  <a:pos x="68" y="120"/>
                </a:cxn>
                <a:cxn ang="0">
                  <a:pos x="76" y="108"/>
                </a:cxn>
                <a:cxn ang="0">
                  <a:pos x="100" y="80"/>
                </a:cxn>
                <a:cxn ang="0">
                  <a:pos x="88" y="76"/>
                </a:cxn>
                <a:cxn ang="0">
                  <a:pos x="76" y="68"/>
                </a:cxn>
                <a:cxn ang="0">
                  <a:pos x="52" y="60"/>
                </a:cxn>
                <a:cxn ang="0">
                  <a:pos x="36" y="48"/>
                </a:cxn>
                <a:cxn ang="0">
                  <a:pos x="28" y="36"/>
                </a:cxn>
                <a:cxn ang="0">
                  <a:pos x="28" y="24"/>
                </a:cxn>
                <a:cxn ang="0">
                  <a:pos x="32" y="12"/>
                </a:cxn>
                <a:cxn ang="0">
                  <a:pos x="40" y="24"/>
                </a:cxn>
                <a:cxn ang="0">
                  <a:pos x="52" y="32"/>
                </a:cxn>
                <a:cxn ang="0">
                  <a:pos x="60" y="28"/>
                </a:cxn>
                <a:cxn ang="0">
                  <a:pos x="68" y="24"/>
                </a:cxn>
              </a:cxnLst>
              <a:rect l="0" t="0" r="r" b="b"/>
              <a:pathLst>
                <a:path w="156" h="252">
                  <a:moveTo>
                    <a:pt x="72" y="24"/>
                  </a:moveTo>
                  <a:lnTo>
                    <a:pt x="76" y="24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16" y="16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2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4" y="4"/>
                  </a:lnTo>
                  <a:lnTo>
                    <a:pt x="148" y="0"/>
                  </a:lnTo>
                  <a:lnTo>
                    <a:pt x="148" y="4"/>
                  </a:lnTo>
                  <a:lnTo>
                    <a:pt x="152" y="4"/>
                  </a:lnTo>
                  <a:lnTo>
                    <a:pt x="156" y="4"/>
                  </a:lnTo>
                  <a:lnTo>
                    <a:pt x="152" y="8"/>
                  </a:lnTo>
                  <a:lnTo>
                    <a:pt x="152" y="12"/>
                  </a:lnTo>
                  <a:lnTo>
                    <a:pt x="152" y="16"/>
                  </a:lnTo>
                  <a:lnTo>
                    <a:pt x="152" y="20"/>
                  </a:lnTo>
                  <a:lnTo>
                    <a:pt x="152" y="24"/>
                  </a:lnTo>
                  <a:lnTo>
                    <a:pt x="152" y="28"/>
                  </a:lnTo>
                  <a:lnTo>
                    <a:pt x="152" y="32"/>
                  </a:lnTo>
                  <a:lnTo>
                    <a:pt x="152" y="28"/>
                  </a:lnTo>
                  <a:lnTo>
                    <a:pt x="156" y="28"/>
                  </a:lnTo>
                  <a:lnTo>
                    <a:pt x="156" y="32"/>
                  </a:lnTo>
                  <a:lnTo>
                    <a:pt x="152" y="32"/>
                  </a:lnTo>
                  <a:lnTo>
                    <a:pt x="148" y="32"/>
                  </a:lnTo>
                  <a:lnTo>
                    <a:pt x="148" y="36"/>
                  </a:lnTo>
                  <a:lnTo>
                    <a:pt x="148" y="44"/>
                  </a:lnTo>
                  <a:lnTo>
                    <a:pt x="148" y="48"/>
                  </a:lnTo>
                  <a:lnTo>
                    <a:pt x="148" y="52"/>
                  </a:lnTo>
                  <a:lnTo>
                    <a:pt x="144" y="52"/>
                  </a:lnTo>
                  <a:lnTo>
                    <a:pt x="144" y="56"/>
                  </a:lnTo>
                  <a:lnTo>
                    <a:pt x="140" y="60"/>
                  </a:lnTo>
                  <a:lnTo>
                    <a:pt x="140" y="64"/>
                  </a:lnTo>
                  <a:lnTo>
                    <a:pt x="140" y="68"/>
                  </a:lnTo>
                  <a:lnTo>
                    <a:pt x="136" y="68"/>
                  </a:lnTo>
                  <a:lnTo>
                    <a:pt x="136" y="72"/>
                  </a:lnTo>
                  <a:lnTo>
                    <a:pt x="136" y="76"/>
                  </a:lnTo>
                  <a:lnTo>
                    <a:pt x="132" y="76"/>
                  </a:lnTo>
                  <a:lnTo>
                    <a:pt x="132" y="80"/>
                  </a:lnTo>
                  <a:lnTo>
                    <a:pt x="132" y="84"/>
                  </a:lnTo>
                  <a:lnTo>
                    <a:pt x="128" y="84"/>
                  </a:lnTo>
                  <a:lnTo>
                    <a:pt x="128" y="88"/>
                  </a:lnTo>
                  <a:lnTo>
                    <a:pt x="128" y="92"/>
                  </a:lnTo>
                  <a:lnTo>
                    <a:pt x="124" y="92"/>
                  </a:lnTo>
                  <a:lnTo>
                    <a:pt x="124" y="96"/>
                  </a:lnTo>
                  <a:lnTo>
                    <a:pt x="124" y="100"/>
                  </a:lnTo>
                  <a:lnTo>
                    <a:pt x="120" y="104"/>
                  </a:lnTo>
                  <a:lnTo>
                    <a:pt x="120" y="108"/>
                  </a:lnTo>
                  <a:lnTo>
                    <a:pt x="116" y="116"/>
                  </a:lnTo>
                  <a:lnTo>
                    <a:pt x="116" y="120"/>
                  </a:lnTo>
                  <a:lnTo>
                    <a:pt x="112" y="124"/>
                  </a:lnTo>
                  <a:lnTo>
                    <a:pt x="112" y="128"/>
                  </a:lnTo>
                  <a:lnTo>
                    <a:pt x="108" y="128"/>
                  </a:lnTo>
                  <a:lnTo>
                    <a:pt x="108" y="132"/>
                  </a:lnTo>
                  <a:lnTo>
                    <a:pt x="108" y="136"/>
                  </a:lnTo>
                  <a:lnTo>
                    <a:pt x="104" y="136"/>
                  </a:lnTo>
                  <a:lnTo>
                    <a:pt x="104" y="140"/>
                  </a:lnTo>
                  <a:lnTo>
                    <a:pt x="100" y="144"/>
                  </a:lnTo>
                  <a:lnTo>
                    <a:pt x="100" y="148"/>
                  </a:lnTo>
                  <a:lnTo>
                    <a:pt x="96" y="148"/>
                  </a:lnTo>
                  <a:lnTo>
                    <a:pt x="96" y="152"/>
                  </a:lnTo>
                  <a:lnTo>
                    <a:pt x="92" y="156"/>
                  </a:lnTo>
                  <a:lnTo>
                    <a:pt x="92" y="160"/>
                  </a:lnTo>
                  <a:lnTo>
                    <a:pt x="88" y="160"/>
                  </a:lnTo>
                  <a:lnTo>
                    <a:pt x="84" y="164"/>
                  </a:lnTo>
                  <a:lnTo>
                    <a:pt x="84" y="168"/>
                  </a:lnTo>
                  <a:lnTo>
                    <a:pt x="80" y="168"/>
                  </a:lnTo>
                  <a:lnTo>
                    <a:pt x="80" y="172"/>
                  </a:lnTo>
                  <a:lnTo>
                    <a:pt x="76" y="172"/>
                  </a:lnTo>
                  <a:lnTo>
                    <a:pt x="76" y="176"/>
                  </a:lnTo>
                  <a:lnTo>
                    <a:pt x="72" y="180"/>
                  </a:lnTo>
                  <a:lnTo>
                    <a:pt x="68" y="180"/>
                  </a:lnTo>
                  <a:lnTo>
                    <a:pt x="68" y="184"/>
                  </a:lnTo>
                  <a:lnTo>
                    <a:pt x="64" y="184"/>
                  </a:lnTo>
                  <a:lnTo>
                    <a:pt x="64" y="188"/>
                  </a:lnTo>
                  <a:lnTo>
                    <a:pt x="60" y="188"/>
                  </a:lnTo>
                  <a:lnTo>
                    <a:pt x="56" y="188"/>
                  </a:lnTo>
                  <a:lnTo>
                    <a:pt x="52" y="192"/>
                  </a:lnTo>
                  <a:lnTo>
                    <a:pt x="48" y="196"/>
                  </a:lnTo>
                  <a:lnTo>
                    <a:pt x="48" y="200"/>
                  </a:lnTo>
                  <a:lnTo>
                    <a:pt x="44" y="200"/>
                  </a:lnTo>
                  <a:lnTo>
                    <a:pt x="44" y="204"/>
                  </a:lnTo>
                  <a:lnTo>
                    <a:pt x="40" y="204"/>
                  </a:lnTo>
                  <a:lnTo>
                    <a:pt x="40" y="208"/>
                  </a:lnTo>
                  <a:lnTo>
                    <a:pt x="36" y="212"/>
                  </a:lnTo>
                  <a:lnTo>
                    <a:pt x="32" y="212"/>
                  </a:lnTo>
                  <a:lnTo>
                    <a:pt x="32" y="216"/>
                  </a:lnTo>
                  <a:lnTo>
                    <a:pt x="28" y="220"/>
                  </a:lnTo>
                  <a:lnTo>
                    <a:pt x="28" y="224"/>
                  </a:lnTo>
                  <a:lnTo>
                    <a:pt x="24" y="224"/>
                  </a:lnTo>
                  <a:lnTo>
                    <a:pt x="24" y="228"/>
                  </a:lnTo>
                  <a:lnTo>
                    <a:pt x="20" y="228"/>
                  </a:lnTo>
                  <a:lnTo>
                    <a:pt x="20" y="232"/>
                  </a:lnTo>
                  <a:lnTo>
                    <a:pt x="16" y="236"/>
                  </a:lnTo>
                  <a:lnTo>
                    <a:pt x="16" y="240"/>
                  </a:lnTo>
                  <a:lnTo>
                    <a:pt x="12" y="240"/>
                  </a:lnTo>
                  <a:lnTo>
                    <a:pt x="12" y="244"/>
                  </a:lnTo>
                  <a:lnTo>
                    <a:pt x="12" y="248"/>
                  </a:lnTo>
                  <a:lnTo>
                    <a:pt x="8" y="248"/>
                  </a:lnTo>
                  <a:lnTo>
                    <a:pt x="8" y="252"/>
                  </a:lnTo>
                  <a:lnTo>
                    <a:pt x="4" y="248"/>
                  </a:lnTo>
                  <a:lnTo>
                    <a:pt x="0" y="240"/>
                  </a:lnTo>
                  <a:lnTo>
                    <a:pt x="0" y="236"/>
                  </a:lnTo>
                  <a:lnTo>
                    <a:pt x="0" y="220"/>
                  </a:lnTo>
                  <a:lnTo>
                    <a:pt x="0" y="196"/>
                  </a:lnTo>
                  <a:lnTo>
                    <a:pt x="0" y="180"/>
                  </a:lnTo>
                  <a:lnTo>
                    <a:pt x="0" y="172"/>
                  </a:lnTo>
                  <a:lnTo>
                    <a:pt x="4" y="164"/>
                  </a:lnTo>
                  <a:lnTo>
                    <a:pt x="12" y="152"/>
                  </a:lnTo>
                  <a:lnTo>
                    <a:pt x="12" y="148"/>
                  </a:lnTo>
                  <a:lnTo>
                    <a:pt x="16" y="148"/>
                  </a:lnTo>
                  <a:lnTo>
                    <a:pt x="16" y="144"/>
                  </a:lnTo>
                  <a:lnTo>
                    <a:pt x="20" y="144"/>
                  </a:lnTo>
                  <a:lnTo>
                    <a:pt x="24" y="144"/>
                  </a:lnTo>
                  <a:lnTo>
                    <a:pt x="28" y="144"/>
                  </a:lnTo>
                  <a:lnTo>
                    <a:pt x="28" y="140"/>
                  </a:lnTo>
                  <a:lnTo>
                    <a:pt x="28" y="136"/>
                  </a:lnTo>
                  <a:lnTo>
                    <a:pt x="32" y="136"/>
                  </a:lnTo>
                  <a:lnTo>
                    <a:pt x="36" y="136"/>
                  </a:lnTo>
                  <a:lnTo>
                    <a:pt x="36" y="132"/>
                  </a:lnTo>
                  <a:lnTo>
                    <a:pt x="40" y="132"/>
                  </a:lnTo>
                  <a:lnTo>
                    <a:pt x="44" y="132"/>
                  </a:lnTo>
                  <a:lnTo>
                    <a:pt x="48" y="132"/>
                  </a:lnTo>
                  <a:lnTo>
                    <a:pt x="52" y="132"/>
                  </a:lnTo>
                  <a:lnTo>
                    <a:pt x="60" y="132"/>
                  </a:lnTo>
                  <a:lnTo>
                    <a:pt x="60" y="128"/>
                  </a:lnTo>
                  <a:lnTo>
                    <a:pt x="64" y="124"/>
                  </a:lnTo>
                  <a:lnTo>
                    <a:pt x="68" y="120"/>
                  </a:lnTo>
                  <a:lnTo>
                    <a:pt x="68" y="116"/>
                  </a:lnTo>
                  <a:lnTo>
                    <a:pt x="72" y="112"/>
                  </a:lnTo>
                  <a:lnTo>
                    <a:pt x="76" y="112"/>
                  </a:lnTo>
                  <a:lnTo>
                    <a:pt x="76" y="108"/>
                  </a:lnTo>
                  <a:lnTo>
                    <a:pt x="84" y="100"/>
                  </a:lnTo>
                  <a:lnTo>
                    <a:pt x="88" y="92"/>
                  </a:lnTo>
                  <a:lnTo>
                    <a:pt x="96" y="84"/>
                  </a:lnTo>
                  <a:lnTo>
                    <a:pt x="100" y="80"/>
                  </a:lnTo>
                  <a:lnTo>
                    <a:pt x="104" y="76"/>
                  </a:lnTo>
                  <a:lnTo>
                    <a:pt x="100" y="76"/>
                  </a:lnTo>
                  <a:lnTo>
                    <a:pt x="92" y="76"/>
                  </a:lnTo>
                  <a:lnTo>
                    <a:pt x="88" y="76"/>
                  </a:lnTo>
                  <a:lnTo>
                    <a:pt x="88" y="72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76" y="68"/>
                  </a:lnTo>
                  <a:lnTo>
                    <a:pt x="68" y="68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52" y="60"/>
                  </a:lnTo>
                  <a:lnTo>
                    <a:pt x="44" y="56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48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6" y="28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8" y="24"/>
                  </a:lnTo>
                  <a:lnTo>
                    <a:pt x="72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2" name="Freeform 160"/>
            <p:cNvSpPr>
              <a:spLocks/>
            </p:cNvSpPr>
            <p:nvPr>
              <p:custDataLst>
                <p:tags r:id="rId354"/>
              </p:custDataLst>
            </p:nvPr>
          </p:nvSpPr>
          <p:spPr bwMode="gray">
            <a:xfrm>
              <a:off x="5067168" y="5303376"/>
              <a:ext cx="29661" cy="45975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0" y="23"/>
                </a:cxn>
                <a:cxn ang="0">
                  <a:pos x="0" y="23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15"/>
                </a:cxn>
                <a:cxn ang="0">
                  <a:pos x="20" y="15"/>
                </a:cxn>
                <a:cxn ang="0">
                  <a:pos x="20" y="15"/>
                </a:cxn>
                <a:cxn ang="0">
                  <a:pos x="20" y="23"/>
                </a:cxn>
                <a:cxn ang="0">
                  <a:pos x="20" y="23"/>
                </a:cxn>
                <a:cxn ang="0">
                  <a:pos x="20" y="23"/>
                </a:cxn>
                <a:cxn ang="0">
                  <a:pos x="16" y="23"/>
                </a:cxn>
                <a:cxn ang="0">
                  <a:pos x="16" y="27"/>
                </a:cxn>
                <a:cxn ang="0">
                  <a:pos x="16" y="27"/>
                </a:cxn>
                <a:cxn ang="0">
                  <a:pos x="16" y="27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2" y="31"/>
                </a:cxn>
                <a:cxn ang="0">
                  <a:pos x="12" y="31"/>
                </a:cxn>
                <a:cxn ang="0">
                  <a:pos x="8" y="31"/>
                </a:cxn>
                <a:cxn ang="0">
                  <a:pos x="8" y="31"/>
                </a:cxn>
                <a:cxn ang="0">
                  <a:pos x="4" y="31"/>
                </a:cxn>
                <a:cxn ang="0">
                  <a:pos x="4" y="31"/>
                </a:cxn>
                <a:cxn ang="0">
                  <a:pos x="4" y="27"/>
                </a:cxn>
                <a:cxn ang="0">
                  <a:pos x="4" y="23"/>
                </a:cxn>
                <a:cxn ang="0">
                  <a:pos x="0" y="23"/>
                </a:cxn>
                <a:cxn ang="0">
                  <a:pos x="0" y="19"/>
                </a:cxn>
              </a:cxnLst>
              <a:rect l="0" t="0" r="r" b="b"/>
              <a:pathLst>
                <a:path w="20" h="31">
                  <a:moveTo>
                    <a:pt x="0" y="19"/>
                  </a:moveTo>
                  <a:lnTo>
                    <a:pt x="0" y="23"/>
                  </a:lnTo>
                  <a:lnTo>
                    <a:pt x="0" y="23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16" y="23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3"/>
                  </a:lnTo>
                  <a:lnTo>
                    <a:pt x="0" y="23"/>
                  </a:lnTo>
                  <a:lnTo>
                    <a:pt x="0" y="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3" name="Freeform 161"/>
            <p:cNvSpPr>
              <a:spLocks noEditPoints="1"/>
            </p:cNvSpPr>
            <p:nvPr>
              <p:custDataLst>
                <p:tags r:id="rId355"/>
              </p:custDataLst>
            </p:nvPr>
          </p:nvSpPr>
          <p:spPr bwMode="gray">
            <a:xfrm>
              <a:off x="5031575" y="4622650"/>
              <a:ext cx="249155" cy="289197"/>
            </a:xfrm>
            <a:custGeom>
              <a:avLst/>
              <a:gdLst/>
              <a:ahLst/>
              <a:cxnLst>
                <a:cxn ang="0">
                  <a:pos x="68" y="159"/>
                </a:cxn>
                <a:cxn ang="0">
                  <a:pos x="56" y="155"/>
                </a:cxn>
                <a:cxn ang="0">
                  <a:pos x="44" y="147"/>
                </a:cxn>
                <a:cxn ang="0">
                  <a:pos x="32" y="139"/>
                </a:cxn>
                <a:cxn ang="0">
                  <a:pos x="24" y="131"/>
                </a:cxn>
                <a:cxn ang="0">
                  <a:pos x="20" y="119"/>
                </a:cxn>
                <a:cxn ang="0">
                  <a:pos x="16" y="107"/>
                </a:cxn>
                <a:cxn ang="0">
                  <a:pos x="4" y="95"/>
                </a:cxn>
                <a:cxn ang="0">
                  <a:pos x="4" y="79"/>
                </a:cxn>
                <a:cxn ang="0">
                  <a:pos x="0" y="67"/>
                </a:cxn>
                <a:cxn ang="0">
                  <a:pos x="12" y="59"/>
                </a:cxn>
                <a:cxn ang="0">
                  <a:pos x="20" y="47"/>
                </a:cxn>
                <a:cxn ang="0">
                  <a:pos x="24" y="36"/>
                </a:cxn>
                <a:cxn ang="0">
                  <a:pos x="20" y="24"/>
                </a:cxn>
                <a:cxn ang="0">
                  <a:pos x="24" y="12"/>
                </a:cxn>
                <a:cxn ang="0">
                  <a:pos x="20" y="0"/>
                </a:cxn>
                <a:cxn ang="0">
                  <a:pos x="36" y="0"/>
                </a:cxn>
                <a:cxn ang="0">
                  <a:pos x="60" y="0"/>
                </a:cxn>
                <a:cxn ang="0">
                  <a:pos x="84" y="8"/>
                </a:cxn>
                <a:cxn ang="0">
                  <a:pos x="104" y="20"/>
                </a:cxn>
                <a:cxn ang="0">
                  <a:pos x="120" y="32"/>
                </a:cxn>
                <a:cxn ang="0">
                  <a:pos x="128" y="43"/>
                </a:cxn>
                <a:cxn ang="0">
                  <a:pos x="140" y="59"/>
                </a:cxn>
                <a:cxn ang="0">
                  <a:pos x="152" y="71"/>
                </a:cxn>
                <a:cxn ang="0">
                  <a:pos x="144" y="87"/>
                </a:cxn>
                <a:cxn ang="0">
                  <a:pos x="148" y="99"/>
                </a:cxn>
                <a:cxn ang="0">
                  <a:pos x="156" y="111"/>
                </a:cxn>
                <a:cxn ang="0">
                  <a:pos x="152" y="123"/>
                </a:cxn>
                <a:cxn ang="0">
                  <a:pos x="152" y="135"/>
                </a:cxn>
                <a:cxn ang="0">
                  <a:pos x="152" y="143"/>
                </a:cxn>
                <a:cxn ang="0">
                  <a:pos x="156" y="151"/>
                </a:cxn>
                <a:cxn ang="0">
                  <a:pos x="160" y="167"/>
                </a:cxn>
                <a:cxn ang="0">
                  <a:pos x="168" y="167"/>
                </a:cxn>
                <a:cxn ang="0">
                  <a:pos x="160" y="179"/>
                </a:cxn>
                <a:cxn ang="0">
                  <a:pos x="152" y="187"/>
                </a:cxn>
                <a:cxn ang="0">
                  <a:pos x="136" y="191"/>
                </a:cxn>
                <a:cxn ang="0">
                  <a:pos x="128" y="191"/>
                </a:cxn>
                <a:cxn ang="0">
                  <a:pos x="124" y="195"/>
                </a:cxn>
                <a:cxn ang="0">
                  <a:pos x="108" y="195"/>
                </a:cxn>
                <a:cxn ang="0">
                  <a:pos x="92" y="195"/>
                </a:cxn>
                <a:cxn ang="0">
                  <a:pos x="84" y="187"/>
                </a:cxn>
                <a:cxn ang="0">
                  <a:pos x="84" y="175"/>
                </a:cxn>
                <a:cxn ang="0">
                  <a:pos x="80" y="163"/>
                </a:cxn>
                <a:cxn ang="0">
                  <a:pos x="160" y="75"/>
                </a:cxn>
                <a:cxn ang="0">
                  <a:pos x="160" y="83"/>
                </a:cxn>
                <a:cxn ang="0">
                  <a:pos x="152" y="91"/>
                </a:cxn>
                <a:cxn ang="0">
                  <a:pos x="156" y="95"/>
                </a:cxn>
                <a:cxn ang="0">
                  <a:pos x="152" y="91"/>
                </a:cxn>
                <a:cxn ang="0">
                  <a:pos x="156" y="127"/>
                </a:cxn>
              </a:cxnLst>
              <a:rect l="0" t="0" r="r" b="b"/>
              <a:pathLst>
                <a:path w="168" h="195">
                  <a:moveTo>
                    <a:pt x="76" y="155"/>
                  </a:moveTo>
                  <a:lnTo>
                    <a:pt x="72" y="155"/>
                  </a:lnTo>
                  <a:lnTo>
                    <a:pt x="72" y="159"/>
                  </a:lnTo>
                  <a:lnTo>
                    <a:pt x="68" y="159"/>
                  </a:lnTo>
                  <a:lnTo>
                    <a:pt x="64" y="159"/>
                  </a:lnTo>
                  <a:lnTo>
                    <a:pt x="64" y="155"/>
                  </a:lnTo>
                  <a:lnTo>
                    <a:pt x="60" y="155"/>
                  </a:lnTo>
                  <a:lnTo>
                    <a:pt x="56" y="155"/>
                  </a:lnTo>
                  <a:lnTo>
                    <a:pt x="52" y="151"/>
                  </a:lnTo>
                  <a:lnTo>
                    <a:pt x="48" y="151"/>
                  </a:lnTo>
                  <a:lnTo>
                    <a:pt x="48" y="147"/>
                  </a:lnTo>
                  <a:lnTo>
                    <a:pt x="44" y="147"/>
                  </a:lnTo>
                  <a:lnTo>
                    <a:pt x="40" y="147"/>
                  </a:lnTo>
                  <a:lnTo>
                    <a:pt x="40" y="143"/>
                  </a:lnTo>
                  <a:lnTo>
                    <a:pt x="36" y="143"/>
                  </a:lnTo>
                  <a:lnTo>
                    <a:pt x="32" y="139"/>
                  </a:lnTo>
                  <a:lnTo>
                    <a:pt x="28" y="139"/>
                  </a:lnTo>
                  <a:lnTo>
                    <a:pt x="24" y="139"/>
                  </a:lnTo>
                  <a:lnTo>
                    <a:pt x="24" y="135"/>
                  </a:lnTo>
                  <a:lnTo>
                    <a:pt x="24" y="131"/>
                  </a:lnTo>
                  <a:lnTo>
                    <a:pt x="24" y="127"/>
                  </a:lnTo>
                  <a:lnTo>
                    <a:pt x="20" y="127"/>
                  </a:lnTo>
                  <a:lnTo>
                    <a:pt x="20" y="123"/>
                  </a:lnTo>
                  <a:lnTo>
                    <a:pt x="20" y="119"/>
                  </a:lnTo>
                  <a:lnTo>
                    <a:pt x="16" y="119"/>
                  </a:lnTo>
                  <a:lnTo>
                    <a:pt x="16" y="115"/>
                  </a:lnTo>
                  <a:lnTo>
                    <a:pt x="16" y="111"/>
                  </a:lnTo>
                  <a:lnTo>
                    <a:pt x="16" y="107"/>
                  </a:lnTo>
                  <a:lnTo>
                    <a:pt x="12" y="107"/>
                  </a:lnTo>
                  <a:lnTo>
                    <a:pt x="8" y="103"/>
                  </a:lnTo>
                  <a:lnTo>
                    <a:pt x="4" y="99"/>
                  </a:lnTo>
                  <a:lnTo>
                    <a:pt x="4" y="95"/>
                  </a:lnTo>
                  <a:lnTo>
                    <a:pt x="4" y="91"/>
                  </a:lnTo>
                  <a:lnTo>
                    <a:pt x="4" y="87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5"/>
                  </a:lnTo>
                  <a:lnTo>
                    <a:pt x="0" y="75"/>
                  </a:lnTo>
                  <a:lnTo>
                    <a:pt x="0" y="71"/>
                  </a:lnTo>
                  <a:lnTo>
                    <a:pt x="0" y="67"/>
                  </a:lnTo>
                  <a:lnTo>
                    <a:pt x="4" y="67"/>
                  </a:lnTo>
                  <a:lnTo>
                    <a:pt x="4" y="63"/>
                  </a:lnTo>
                  <a:lnTo>
                    <a:pt x="8" y="63"/>
                  </a:lnTo>
                  <a:lnTo>
                    <a:pt x="12" y="59"/>
                  </a:lnTo>
                  <a:lnTo>
                    <a:pt x="16" y="55"/>
                  </a:lnTo>
                  <a:lnTo>
                    <a:pt x="16" y="51"/>
                  </a:lnTo>
                  <a:lnTo>
                    <a:pt x="16" y="47"/>
                  </a:lnTo>
                  <a:lnTo>
                    <a:pt x="20" y="47"/>
                  </a:lnTo>
                  <a:lnTo>
                    <a:pt x="20" y="43"/>
                  </a:lnTo>
                  <a:lnTo>
                    <a:pt x="24" y="43"/>
                  </a:lnTo>
                  <a:lnTo>
                    <a:pt x="24" y="39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72" y="0"/>
                  </a:lnTo>
                  <a:lnTo>
                    <a:pt x="80" y="4"/>
                  </a:lnTo>
                  <a:lnTo>
                    <a:pt x="84" y="8"/>
                  </a:lnTo>
                  <a:lnTo>
                    <a:pt x="92" y="12"/>
                  </a:lnTo>
                  <a:lnTo>
                    <a:pt x="96" y="16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12" y="28"/>
                  </a:lnTo>
                  <a:lnTo>
                    <a:pt x="120" y="32"/>
                  </a:lnTo>
                  <a:lnTo>
                    <a:pt x="124" y="36"/>
                  </a:lnTo>
                  <a:lnTo>
                    <a:pt x="128" y="36"/>
                  </a:lnTo>
                  <a:lnTo>
                    <a:pt x="128" y="39"/>
                  </a:lnTo>
                  <a:lnTo>
                    <a:pt x="128" y="43"/>
                  </a:lnTo>
                  <a:lnTo>
                    <a:pt x="128" y="47"/>
                  </a:lnTo>
                  <a:lnTo>
                    <a:pt x="132" y="47"/>
                  </a:lnTo>
                  <a:lnTo>
                    <a:pt x="140" y="55"/>
                  </a:lnTo>
                  <a:lnTo>
                    <a:pt x="140" y="59"/>
                  </a:lnTo>
                  <a:lnTo>
                    <a:pt x="144" y="59"/>
                  </a:lnTo>
                  <a:lnTo>
                    <a:pt x="148" y="63"/>
                  </a:lnTo>
                  <a:lnTo>
                    <a:pt x="152" y="67"/>
                  </a:lnTo>
                  <a:lnTo>
                    <a:pt x="152" y="71"/>
                  </a:lnTo>
                  <a:lnTo>
                    <a:pt x="148" y="75"/>
                  </a:lnTo>
                  <a:lnTo>
                    <a:pt x="148" y="79"/>
                  </a:lnTo>
                  <a:lnTo>
                    <a:pt x="148" y="83"/>
                  </a:lnTo>
                  <a:lnTo>
                    <a:pt x="144" y="87"/>
                  </a:lnTo>
                  <a:lnTo>
                    <a:pt x="144" y="91"/>
                  </a:lnTo>
                  <a:lnTo>
                    <a:pt x="144" y="95"/>
                  </a:lnTo>
                  <a:lnTo>
                    <a:pt x="144" y="99"/>
                  </a:lnTo>
                  <a:lnTo>
                    <a:pt x="148" y="99"/>
                  </a:lnTo>
                  <a:lnTo>
                    <a:pt x="152" y="103"/>
                  </a:lnTo>
                  <a:lnTo>
                    <a:pt x="152" y="107"/>
                  </a:lnTo>
                  <a:lnTo>
                    <a:pt x="156" y="107"/>
                  </a:lnTo>
                  <a:lnTo>
                    <a:pt x="156" y="111"/>
                  </a:lnTo>
                  <a:lnTo>
                    <a:pt x="156" y="115"/>
                  </a:lnTo>
                  <a:lnTo>
                    <a:pt x="152" y="115"/>
                  </a:lnTo>
                  <a:lnTo>
                    <a:pt x="152" y="119"/>
                  </a:lnTo>
                  <a:lnTo>
                    <a:pt x="152" y="123"/>
                  </a:lnTo>
                  <a:lnTo>
                    <a:pt x="156" y="123"/>
                  </a:lnTo>
                  <a:lnTo>
                    <a:pt x="156" y="127"/>
                  </a:lnTo>
                  <a:lnTo>
                    <a:pt x="152" y="131"/>
                  </a:lnTo>
                  <a:lnTo>
                    <a:pt x="152" y="135"/>
                  </a:lnTo>
                  <a:lnTo>
                    <a:pt x="152" y="131"/>
                  </a:lnTo>
                  <a:lnTo>
                    <a:pt x="152" y="135"/>
                  </a:lnTo>
                  <a:lnTo>
                    <a:pt x="152" y="139"/>
                  </a:lnTo>
                  <a:lnTo>
                    <a:pt x="152" y="143"/>
                  </a:lnTo>
                  <a:lnTo>
                    <a:pt x="156" y="143"/>
                  </a:lnTo>
                  <a:lnTo>
                    <a:pt x="152" y="143"/>
                  </a:lnTo>
                  <a:lnTo>
                    <a:pt x="156" y="147"/>
                  </a:lnTo>
                  <a:lnTo>
                    <a:pt x="156" y="151"/>
                  </a:lnTo>
                  <a:lnTo>
                    <a:pt x="160" y="155"/>
                  </a:lnTo>
                  <a:lnTo>
                    <a:pt x="160" y="159"/>
                  </a:lnTo>
                  <a:lnTo>
                    <a:pt x="160" y="163"/>
                  </a:lnTo>
                  <a:lnTo>
                    <a:pt x="160" y="167"/>
                  </a:lnTo>
                  <a:lnTo>
                    <a:pt x="164" y="167"/>
                  </a:lnTo>
                  <a:lnTo>
                    <a:pt x="164" y="171"/>
                  </a:lnTo>
                  <a:lnTo>
                    <a:pt x="168" y="171"/>
                  </a:lnTo>
                  <a:lnTo>
                    <a:pt x="168" y="167"/>
                  </a:lnTo>
                  <a:lnTo>
                    <a:pt x="168" y="171"/>
                  </a:lnTo>
                  <a:lnTo>
                    <a:pt x="168" y="175"/>
                  </a:lnTo>
                  <a:lnTo>
                    <a:pt x="164" y="179"/>
                  </a:lnTo>
                  <a:lnTo>
                    <a:pt x="160" y="179"/>
                  </a:lnTo>
                  <a:lnTo>
                    <a:pt x="160" y="183"/>
                  </a:lnTo>
                  <a:lnTo>
                    <a:pt x="156" y="183"/>
                  </a:lnTo>
                  <a:lnTo>
                    <a:pt x="152" y="183"/>
                  </a:lnTo>
                  <a:lnTo>
                    <a:pt x="152" y="187"/>
                  </a:lnTo>
                  <a:lnTo>
                    <a:pt x="148" y="187"/>
                  </a:lnTo>
                  <a:lnTo>
                    <a:pt x="144" y="187"/>
                  </a:lnTo>
                  <a:lnTo>
                    <a:pt x="140" y="191"/>
                  </a:lnTo>
                  <a:lnTo>
                    <a:pt x="136" y="191"/>
                  </a:lnTo>
                  <a:lnTo>
                    <a:pt x="136" y="187"/>
                  </a:lnTo>
                  <a:lnTo>
                    <a:pt x="132" y="187"/>
                  </a:lnTo>
                  <a:lnTo>
                    <a:pt x="132" y="191"/>
                  </a:lnTo>
                  <a:lnTo>
                    <a:pt x="128" y="191"/>
                  </a:lnTo>
                  <a:lnTo>
                    <a:pt x="132" y="191"/>
                  </a:lnTo>
                  <a:lnTo>
                    <a:pt x="132" y="195"/>
                  </a:lnTo>
                  <a:lnTo>
                    <a:pt x="128" y="195"/>
                  </a:lnTo>
                  <a:lnTo>
                    <a:pt x="124" y="195"/>
                  </a:lnTo>
                  <a:lnTo>
                    <a:pt x="120" y="195"/>
                  </a:lnTo>
                  <a:lnTo>
                    <a:pt x="116" y="195"/>
                  </a:lnTo>
                  <a:lnTo>
                    <a:pt x="112" y="195"/>
                  </a:lnTo>
                  <a:lnTo>
                    <a:pt x="108" y="195"/>
                  </a:lnTo>
                  <a:lnTo>
                    <a:pt x="104" y="195"/>
                  </a:lnTo>
                  <a:lnTo>
                    <a:pt x="100" y="191"/>
                  </a:lnTo>
                  <a:lnTo>
                    <a:pt x="96" y="195"/>
                  </a:lnTo>
                  <a:lnTo>
                    <a:pt x="92" y="195"/>
                  </a:lnTo>
                  <a:lnTo>
                    <a:pt x="88" y="195"/>
                  </a:lnTo>
                  <a:lnTo>
                    <a:pt x="88" y="191"/>
                  </a:lnTo>
                  <a:lnTo>
                    <a:pt x="84" y="191"/>
                  </a:lnTo>
                  <a:lnTo>
                    <a:pt x="84" y="187"/>
                  </a:lnTo>
                  <a:lnTo>
                    <a:pt x="80" y="187"/>
                  </a:lnTo>
                  <a:lnTo>
                    <a:pt x="80" y="183"/>
                  </a:lnTo>
                  <a:lnTo>
                    <a:pt x="84" y="179"/>
                  </a:lnTo>
                  <a:lnTo>
                    <a:pt x="84" y="175"/>
                  </a:lnTo>
                  <a:lnTo>
                    <a:pt x="80" y="175"/>
                  </a:lnTo>
                  <a:lnTo>
                    <a:pt x="80" y="171"/>
                  </a:lnTo>
                  <a:lnTo>
                    <a:pt x="80" y="167"/>
                  </a:lnTo>
                  <a:lnTo>
                    <a:pt x="80" y="163"/>
                  </a:lnTo>
                  <a:lnTo>
                    <a:pt x="76" y="163"/>
                  </a:lnTo>
                  <a:lnTo>
                    <a:pt x="76" y="159"/>
                  </a:lnTo>
                  <a:lnTo>
                    <a:pt x="76" y="155"/>
                  </a:lnTo>
                  <a:close/>
                  <a:moveTo>
                    <a:pt x="160" y="75"/>
                  </a:moveTo>
                  <a:lnTo>
                    <a:pt x="160" y="71"/>
                  </a:lnTo>
                  <a:lnTo>
                    <a:pt x="160" y="75"/>
                  </a:lnTo>
                  <a:lnTo>
                    <a:pt x="160" y="79"/>
                  </a:lnTo>
                  <a:lnTo>
                    <a:pt x="160" y="83"/>
                  </a:lnTo>
                  <a:lnTo>
                    <a:pt x="156" y="79"/>
                  </a:lnTo>
                  <a:lnTo>
                    <a:pt x="160" y="79"/>
                  </a:lnTo>
                  <a:lnTo>
                    <a:pt x="160" y="75"/>
                  </a:lnTo>
                  <a:close/>
                  <a:moveTo>
                    <a:pt x="152" y="91"/>
                  </a:moveTo>
                  <a:lnTo>
                    <a:pt x="152" y="87"/>
                  </a:lnTo>
                  <a:lnTo>
                    <a:pt x="152" y="91"/>
                  </a:lnTo>
                  <a:lnTo>
                    <a:pt x="156" y="91"/>
                  </a:lnTo>
                  <a:lnTo>
                    <a:pt x="156" y="95"/>
                  </a:lnTo>
                  <a:lnTo>
                    <a:pt x="156" y="99"/>
                  </a:lnTo>
                  <a:lnTo>
                    <a:pt x="156" y="95"/>
                  </a:lnTo>
                  <a:lnTo>
                    <a:pt x="152" y="95"/>
                  </a:lnTo>
                  <a:lnTo>
                    <a:pt x="152" y="91"/>
                  </a:lnTo>
                  <a:close/>
                  <a:moveTo>
                    <a:pt x="156" y="127"/>
                  </a:moveTo>
                  <a:lnTo>
                    <a:pt x="160" y="123"/>
                  </a:lnTo>
                  <a:lnTo>
                    <a:pt x="160" y="127"/>
                  </a:lnTo>
                  <a:lnTo>
                    <a:pt x="156" y="12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4" name="Freeform 162"/>
            <p:cNvSpPr>
              <a:spLocks/>
            </p:cNvSpPr>
            <p:nvPr>
              <p:custDataLst>
                <p:tags r:id="rId356"/>
              </p:custDataLst>
            </p:nvPr>
          </p:nvSpPr>
          <p:spPr bwMode="gray">
            <a:xfrm>
              <a:off x="3996396" y="4219256"/>
              <a:ext cx="71187" cy="17797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0" y="4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12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2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36" y="8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4"/>
                </a:cxn>
                <a:cxn ang="0">
                  <a:pos x="48" y="4"/>
                </a:cxn>
                <a:cxn ang="0">
                  <a:pos x="48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36" y="8"/>
                </a:cxn>
                <a:cxn ang="0">
                  <a:pos x="32" y="8"/>
                </a:cxn>
                <a:cxn ang="0">
                  <a:pos x="32" y="8"/>
                </a:cxn>
                <a:cxn ang="0">
                  <a:pos x="28" y="8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0" y="8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4"/>
                </a:cxn>
              </a:cxnLst>
              <a:rect l="0" t="0" r="r" b="b"/>
              <a:pathLst>
                <a:path w="48" h="12"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5" name="Freeform 163"/>
            <p:cNvSpPr>
              <a:spLocks/>
            </p:cNvSpPr>
            <p:nvPr>
              <p:custDataLst>
                <p:tags r:id="rId357"/>
              </p:custDataLst>
            </p:nvPr>
          </p:nvSpPr>
          <p:spPr bwMode="gray">
            <a:xfrm>
              <a:off x="4370128" y="4290443"/>
              <a:ext cx="47458" cy="142374"/>
            </a:xfrm>
            <a:custGeom>
              <a:avLst/>
              <a:gdLst/>
              <a:ahLst/>
              <a:cxnLst>
                <a:cxn ang="0">
                  <a:pos x="28" y="72"/>
                </a:cxn>
                <a:cxn ang="0">
                  <a:pos x="28" y="80"/>
                </a:cxn>
                <a:cxn ang="0">
                  <a:pos x="28" y="84"/>
                </a:cxn>
                <a:cxn ang="0">
                  <a:pos x="28" y="84"/>
                </a:cxn>
                <a:cxn ang="0">
                  <a:pos x="32" y="88"/>
                </a:cxn>
                <a:cxn ang="0">
                  <a:pos x="28" y="92"/>
                </a:cxn>
                <a:cxn ang="0">
                  <a:pos x="28" y="92"/>
                </a:cxn>
                <a:cxn ang="0">
                  <a:pos x="24" y="92"/>
                </a:cxn>
                <a:cxn ang="0">
                  <a:pos x="20" y="92"/>
                </a:cxn>
                <a:cxn ang="0">
                  <a:pos x="16" y="88"/>
                </a:cxn>
                <a:cxn ang="0">
                  <a:pos x="16" y="88"/>
                </a:cxn>
                <a:cxn ang="0">
                  <a:pos x="16" y="84"/>
                </a:cxn>
                <a:cxn ang="0">
                  <a:pos x="12" y="84"/>
                </a:cxn>
                <a:cxn ang="0">
                  <a:pos x="12" y="76"/>
                </a:cxn>
                <a:cxn ang="0">
                  <a:pos x="12" y="72"/>
                </a:cxn>
                <a:cxn ang="0">
                  <a:pos x="12" y="68"/>
                </a:cxn>
                <a:cxn ang="0">
                  <a:pos x="12" y="68"/>
                </a:cxn>
                <a:cxn ang="0">
                  <a:pos x="12" y="56"/>
                </a:cxn>
                <a:cxn ang="0">
                  <a:pos x="16" y="52"/>
                </a:cxn>
                <a:cxn ang="0">
                  <a:pos x="12" y="52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20" y="20"/>
                </a:cxn>
                <a:cxn ang="0">
                  <a:pos x="24" y="24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8" y="36"/>
                </a:cxn>
                <a:cxn ang="0">
                  <a:pos x="28" y="36"/>
                </a:cxn>
                <a:cxn ang="0">
                  <a:pos x="28" y="44"/>
                </a:cxn>
                <a:cxn ang="0">
                  <a:pos x="28" y="52"/>
                </a:cxn>
                <a:cxn ang="0">
                  <a:pos x="28" y="68"/>
                </a:cxn>
              </a:cxnLst>
              <a:rect l="0" t="0" r="r" b="b"/>
              <a:pathLst>
                <a:path w="32" h="96">
                  <a:moveTo>
                    <a:pt x="28" y="68"/>
                  </a:moveTo>
                  <a:lnTo>
                    <a:pt x="28" y="68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8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6" name="Freeform 164"/>
            <p:cNvSpPr>
              <a:spLocks noEditPoints="1"/>
            </p:cNvSpPr>
            <p:nvPr>
              <p:custDataLst>
                <p:tags r:id="rId358"/>
              </p:custDataLst>
            </p:nvPr>
          </p:nvSpPr>
          <p:spPr bwMode="gray">
            <a:xfrm>
              <a:off x="4540681" y="3544462"/>
              <a:ext cx="94916" cy="213561"/>
            </a:xfrm>
            <a:custGeom>
              <a:avLst/>
              <a:gdLst/>
              <a:ahLst/>
              <a:cxnLst>
                <a:cxn ang="0">
                  <a:pos x="44" y="12"/>
                </a:cxn>
                <a:cxn ang="0">
                  <a:pos x="48" y="12"/>
                </a:cxn>
                <a:cxn ang="0">
                  <a:pos x="48" y="8"/>
                </a:cxn>
                <a:cxn ang="0">
                  <a:pos x="52" y="8"/>
                </a:cxn>
                <a:cxn ang="0">
                  <a:pos x="52" y="16"/>
                </a:cxn>
                <a:cxn ang="0">
                  <a:pos x="52" y="20"/>
                </a:cxn>
                <a:cxn ang="0">
                  <a:pos x="48" y="20"/>
                </a:cxn>
                <a:cxn ang="0">
                  <a:pos x="48" y="32"/>
                </a:cxn>
                <a:cxn ang="0">
                  <a:pos x="52" y="36"/>
                </a:cxn>
                <a:cxn ang="0">
                  <a:pos x="56" y="36"/>
                </a:cxn>
                <a:cxn ang="0">
                  <a:pos x="56" y="44"/>
                </a:cxn>
                <a:cxn ang="0">
                  <a:pos x="52" y="56"/>
                </a:cxn>
                <a:cxn ang="0">
                  <a:pos x="48" y="60"/>
                </a:cxn>
                <a:cxn ang="0">
                  <a:pos x="40" y="64"/>
                </a:cxn>
                <a:cxn ang="0">
                  <a:pos x="40" y="68"/>
                </a:cxn>
                <a:cxn ang="0">
                  <a:pos x="44" y="76"/>
                </a:cxn>
                <a:cxn ang="0">
                  <a:pos x="48" y="76"/>
                </a:cxn>
                <a:cxn ang="0">
                  <a:pos x="52" y="80"/>
                </a:cxn>
                <a:cxn ang="0">
                  <a:pos x="56" y="76"/>
                </a:cxn>
                <a:cxn ang="0">
                  <a:pos x="56" y="80"/>
                </a:cxn>
                <a:cxn ang="0">
                  <a:pos x="60" y="84"/>
                </a:cxn>
                <a:cxn ang="0">
                  <a:pos x="64" y="88"/>
                </a:cxn>
                <a:cxn ang="0">
                  <a:pos x="64" y="96"/>
                </a:cxn>
                <a:cxn ang="0">
                  <a:pos x="64" y="100"/>
                </a:cxn>
                <a:cxn ang="0">
                  <a:pos x="52" y="108"/>
                </a:cxn>
                <a:cxn ang="0">
                  <a:pos x="48" y="112"/>
                </a:cxn>
                <a:cxn ang="0">
                  <a:pos x="40" y="116"/>
                </a:cxn>
                <a:cxn ang="0">
                  <a:pos x="44" y="132"/>
                </a:cxn>
                <a:cxn ang="0">
                  <a:pos x="36" y="140"/>
                </a:cxn>
                <a:cxn ang="0">
                  <a:pos x="32" y="132"/>
                </a:cxn>
                <a:cxn ang="0">
                  <a:pos x="24" y="108"/>
                </a:cxn>
                <a:cxn ang="0">
                  <a:pos x="16" y="96"/>
                </a:cxn>
                <a:cxn ang="0">
                  <a:pos x="12" y="88"/>
                </a:cxn>
                <a:cxn ang="0">
                  <a:pos x="4" y="84"/>
                </a:cxn>
                <a:cxn ang="0">
                  <a:pos x="4" y="72"/>
                </a:cxn>
                <a:cxn ang="0">
                  <a:pos x="4" y="68"/>
                </a:cxn>
                <a:cxn ang="0">
                  <a:pos x="4" y="64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6" y="44"/>
                </a:cxn>
                <a:cxn ang="0">
                  <a:pos x="16" y="36"/>
                </a:cxn>
                <a:cxn ang="0">
                  <a:pos x="12" y="32"/>
                </a:cxn>
                <a:cxn ang="0">
                  <a:pos x="16" y="24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4"/>
                </a:cxn>
                <a:cxn ang="0">
                  <a:pos x="36" y="0"/>
                </a:cxn>
                <a:cxn ang="0">
                  <a:pos x="36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56" y="52"/>
                </a:cxn>
                <a:cxn ang="0">
                  <a:pos x="60" y="52"/>
                </a:cxn>
                <a:cxn ang="0">
                  <a:pos x="52" y="76"/>
                </a:cxn>
                <a:cxn ang="0">
                  <a:pos x="52" y="72"/>
                </a:cxn>
                <a:cxn ang="0">
                  <a:pos x="52" y="72"/>
                </a:cxn>
                <a:cxn ang="0">
                  <a:pos x="56" y="72"/>
                </a:cxn>
                <a:cxn ang="0">
                  <a:pos x="52" y="76"/>
                </a:cxn>
              </a:cxnLst>
              <a:rect l="0" t="0" r="r" b="b"/>
              <a:pathLst>
                <a:path w="64" h="144">
                  <a:moveTo>
                    <a:pt x="44" y="8"/>
                  </a:move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4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0" y="116"/>
                  </a:lnTo>
                  <a:lnTo>
                    <a:pt x="40" y="120"/>
                  </a:lnTo>
                  <a:lnTo>
                    <a:pt x="44" y="120"/>
                  </a:lnTo>
                  <a:lnTo>
                    <a:pt x="44" y="124"/>
                  </a:lnTo>
                  <a:lnTo>
                    <a:pt x="44" y="128"/>
                  </a:lnTo>
                  <a:lnTo>
                    <a:pt x="44" y="128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0" y="136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0"/>
                  </a:lnTo>
                  <a:lnTo>
                    <a:pt x="32" y="136"/>
                  </a:lnTo>
                  <a:lnTo>
                    <a:pt x="32" y="136"/>
                  </a:lnTo>
                  <a:lnTo>
                    <a:pt x="32" y="132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16"/>
                  </a:lnTo>
                  <a:lnTo>
                    <a:pt x="28" y="116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4" y="104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close/>
                  <a:moveTo>
                    <a:pt x="56" y="56"/>
                  </a:moveTo>
                  <a:lnTo>
                    <a:pt x="56" y="56"/>
                  </a:lnTo>
                  <a:lnTo>
                    <a:pt x="56" y="56"/>
                  </a:lnTo>
                  <a:lnTo>
                    <a:pt x="56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close/>
                  <a:moveTo>
                    <a:pt x="52" y="76"/>
                  </a:moveTo>
                  <a:lnTo>
                    <a:pt x="52" y="76"/>
                  </a:lnTo>
                  <a:lnTo>
                    <a:pt x="52" y="76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7" name="Freeform 165"/>
            <p:cNvSpPr>
              <a:spLocks/>
            </p:cNvSpPr>
            <p:nvPr>
              <p:custDataLst>
                <p:tags r:id="rId359"/>
              </p:custDataLst>
            </p:nvPr>
          </p:nvSpPr>
          <p:spPr bwMode="gray">
            <a:xfrm>
              <a:off x="5037507" y="4480276"/>
              <a:ext cx="124577" cy="154239"/>
            </a:xfrm>
            <a:custGeom>
              <a:avLst/>
              <a:gdLst/>
              <a:ahLst/>
              <a:cxnLst>
                <a:cxn ang="0">
                  <a:pos x="44" y="96"/>
                </a:cxn>
                <a:cxn ang="0">
                  <a:pos x="24" y="96"/>
                </a:cxn>
                <a:cxn ang="0">
                  <a:pos x="16" y="96"/>
                </a:cxn>
                <a:cxn ang="0">
                  <a:pos x="12" y="100"/>
                </a:cxn>
                <a:cxn ang="0">
                  <a:pos x="8" y="104"/>
                </a:cxn>
                <a:cxn ang="0">
                  <a:pos x="4" y="104"/>
                </a:cxn>
                <a:cxn ang="0">
                  <a:pos x="4" y="104"/>
                </a:cxn>
                <a:cxn ang="0">
                  <a:pos x="0" y="104"/>
                </a:cxn>
                <a:cxn ang="0">
                  <a:pos x="0" y="96"/>
                </a:cxn>
                <a:cxn ang="0">
                  <a:pos x="4" y="88"/>
                </a:cxn>
                <a:cxn ang="0">
                  <a:pos x="4" y="80"/>
                </a:cxn>
                <a:cxn ang="0">
                  <a:pos x="4" y="76"/>
                </a:cxn>
                <a:cxn ang="0">
                  <a:pos x="8" y="68"/>
                </a:cxn>
                <a:cxn ang="0">
                  <a:pos x="8" y="64"/>
                </a:cxn>
                <a:cxn ang="0">
                  <a:pos x="8" y="60"/>
                </a:cxn>
                <a:cxn ang="0">
                  <a:pos x="12" y="56"/>
                </a:cxn>
                <a:cxn ang="0">
                  <a:pos x="16" y="56"/>
                </a:cxn>
                <a:cxn ang="0">
                  <a:pos x="24" y="44"/>
                </a:cxn>
                <a:cxn ang="0">
                  <a:pos x="24" y="36"/>
                </a:cxn>
                <a:cxn ang="0">
                  <a:pos x="20" y="36"/>
                </a:cxn>
                <a:cxn ang="0">
                  <a:pos x="20" y="32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8" y="8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52" y="8"/>
                </a:cxn>
                <a:cxn ang="0">
                  <a:pos x="60" y="8"/>
                </a:cxn>
                <a:cxn ang="0">
                  <a:pos x="68" y="0"/>
                </a:cxn>
                <a:cxn ang="0">
                  <a:pos x="72" y="8"/>
                </a:cxn>
                <a:cxn ang="0">
                  <a:pos x="76" y="12"/>
                </a:cxn>
                <a:cxn ang="0">
                  <a:pos x="76" y="20"/>
                </a:cxn>
                <a:cxn ang="0">
                  <a:pos x="80" y="24"/>
                </a:cxn>
                <a:cxn ang="0">
                  <a:pos x="80" y="28"/>
                </a:cxn>
                <a:cxn ang="0">
                  <a:pos x="80" y="36"/>
                </a:cxn>
                <a:cxn ang="0">
                  <a:pos x="84" y="44"/>
                </a:cxn>
                <a:cxn ang="0">
                  <a:pos x="80" y="48"/>
                </a:cxn>
                <a:cxn ang="0">
                  <a:pos x="80" y="52"/>
                </a:cxn>
                <a:cxn ang="0">
                  <a:pos x="80" y="56"/>
                </a:cxn>
                <a:cxn ang="0">
                  <a:pos x="80" y="56"/>
                </a:cxn>
                <a:cxn ang="0">
                  <a:pos x="76" y="60"/>
                </a:cxn>
                <a:cxn ang="0">
                  <a:pos x="76" y="64"/>
                </a:cxn>
                <a:cxn ang="0">
                  <a:pos x="68" y="72"/>
                </a:cxn>
                <a:cxn ang="0">
                  <a:pos x="68" y="76"/>
                </a:cxn>
                <a:cxn ang="0">
                  <a:pos x="68" y="84"/>
                </a:cxn>
                <a:cxn ang="0">
                  <a:pos x="60" y="96"/>
                </a:cxn>
                <a:cxn ang="0">
                  <a:pos x="56" y="96"/>
                </a:cxn>
              </a:cxnLst>
              <a:rect l="0" t="0" r="r" b="b"/>
              <a:pathLst>
                <a:path w="84" h="104">
                  <a:moveTo>
                    <a:pt x="52" y="96"/>
                  </a:move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4" y="96"/>
                  </a:lnTo>
                  <a:lnTo>
                    <a:pt x="32" y="96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2" y="96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20" y="48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44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96"/>
                  </a:lnTo>
                  <a:lnTo>
                    <a:pt x="68" y="96"/>
                  </a:lnTo>
                  <a:lnTo>
                    <a:pt x="68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2" y="96"/>
                  </a:lnTo>
                  <a:lnTo>
                    <a:pt x="52" y="9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8" name="Freeform 166"/>
            <p:cNvSpPr>
              <a:spLocks/>
            </p:cNvSpPr>
            <p:nvPr>
              <p:custDataLst>
                <p:tags r:id="rId360"/>
              </p:custDataLst>
            </p:nvPr>
          </p:nvSpPr>
          <p:spPr bwMode="gray">
            <a:xfrm>
              <a:off x="3990464" y="3829210"/>
              <a:ext cx="189832" cy="195764"/>
            </a:xfrm>
            <a:custGeom>
              <a:avLst/>
              <a:gdLst/>
              <a:ahLst/>
              <a:cxnLst>
                <a:cxn ang="0">
                  <a:pos x="0" y="128"/>
                </a:cxn>
                <a:cxn ang="0">
                  <a:pos x="0" y="120"/>
                </a:cxn>
                <a:cxn ang="0">
                  <a:pos x="4" y="116"/>
                </a:cxn>
                <a:cxn ang="0">
                  <a:pos x="4" y="112"/>
                </a:cxn>
                <a:cxn ang="0">
                  <a:pos x="8" y="104"/>
                </a:cxn>
                <a:cxn ang="0">
                  <a:pos x="12" y="104"/>
                </a:cxn>
                <a:cxn ang="0">
                  <a:pos x="12" y="100"/>
                </a:cxn>
                <a:cxn ang="0">
                  <a:pos x="12" y="96"/>
                </a:cxn>
                <a:cxn ang="0">
                  <a:pos x="16" y="92"/>
                </a:cxn>
                <a:cxn ang="0">
                  <a:pos x="16" y="88"/>
                </a:cxn>
                <a:cxn ang="0">
                  <a:pos x="16" y="84"/>
                </a:cxn>
                <a:cxn ang="0">
                  <a:pos x="16" y="84"/>
                </a:cxn>
                <a:cxn ang="0">
                  <a:pos x="20" y="80"/>
                </a:cxn>
                <a:cxn ang="0">
                  <a:pos x="20" y="76"/>
                </a:cxn>
                <a:cxn ang="0">
                  <a:pos x="20" y="76"/>
                </a:cxn>
                <a:cxn ang="0">
                  <a:pos x="20" y="76"/>
                </a:cxn>
                <a:cxn ang="0">
                  <a:pos x="20" y="72"/>
                </a:cxn>
                <a:cxn ang="0">
                  <a:pos x="28" y="68"/>
                </a:cxn>
                <a:cxn ang="0">
                  <a:pos x="28" y="64"/>
                </a:cxn>
                <a:cxn ang="0">
                  <a:pos x="32" y="60"/>
                </a:cxn>
                <a:cxn ang="0">
                  <a:pos x="36" y="56"/>
                </a:cxn>
                <a:cxn ang="0">
                  <a:pos x="36" y="52"/>
                </a:cxn>
                <a:cxn ang="0">
                  <a:pos x="36" y="44"/>
                </a:cxn>
                <a:cxn ang="0">
                  <a:pos x="36" y="36"/>
                </a:cxn>
                <a:cxn ang="0">
                  <a:pos x="40" y="36"/>
                </a:cxn>
                <a:cxn ang="0">
                  <a:pos x="40" y="32"/>
                </a:cxn>
                <a:cxn ang="0">
                  <a:pos x="40" y="32"/>
                </a:cxn>
                <a:cxn ang="0">
                  <a:pos x="44" y="28"/>
                </a:cxn>
                <a:cxn ang="0">
                  <a:pos x="44" y="28"/>
                </a:cxn>
                <a:cxn ang="0">
                  <a:pos x="48" y="24"/>
                </a:cxn>
                <a:cxn ang="0">
                  <a:pos x="52" y="20"/>
                </a:cxn>
                <a:cxn ang="0">
                  <a:pos x="56" y="16"/>
                </a:cxn>
                <a:cxn ang="0">
                  <a:pos x="56" y="12"/>
                </a:cxn>
                <a:cxn ang="0">
                  <a:pos x="56" y="8"/>
                </a:cxn>
                <a:cxn ang="0">
                  <a:pos x="60" y="4"/>
                </a:cxn>
                <a:cxn ang="0">
                  <a:pos x="60" y="0"/>
                </a:cxn>
                <a:cxn ang="0">
                  <a:pos x="108" y="0"/>
                </a:cxn>
                <a:cxn ang="0">
                  <a:pos x="112" y="0"/>
                </a:cxn>
                <a:cxn ang="0">
                  <a:pos x="128" y="0"/>
                </a:cxn>
                <a:cxn ang="0">
                  <a:pos x="128" y="16"/>
                </a:cxn>
                <a:cxn ang="0">
                  <a:pos x="128" y="32"/>
                </a:cxn>
                <a:cxn ang="0">
                  <a:pos x="112" y="32"/>
                </a:cxn>
                <a:cxn ang="0">
                  <a:pos x="108" y="32"/>
                </a:cxn>
                <a:cxn ang="0">
                  <a:pos x="88" y="32"/>
                </a:cxn>
                <a:cxn ang="0">
                  <a:pos x="76" y="40"/>
                </a:cxn>
                <a:cxn ang="0">
                  <a:pos x="76" y="48"/>
                </a:cxn>
                <a:cxn ang="0">
                  <a:pos x="76" y="64"/>
                </a:cxn>
                <a:cxn ang="0">
                  <a:pos x="76" y="84"/>
                </a:cxn>
                <a:cxn ang="0">
                  <a:pos x="68" y="84"/>
                </a:cxn>
                <a:cxn ang="0">
                  <a:pos x="64" y="92"/>
                </a:cxn>
                <a:cxn ang="0">
                  <a:pos x="60" y="96"/>
                </a:cxn>
                <a:cxn ang="0">
                  <a:pos x="60" y="104"/>
                </a:cxn>
                <a:cxn ang="0">
                  <a:pos x="64" y="112"/>
                </a:cxn>
                <a:cxn ang="0">
                  <a:pos x="48" y="124"/>
                </a:cxn>
                <a:cxn ang="0">
                  <a:pos x="36" y="124"/>
                </a:cxn>
                <a:cxn ang="0">
                  <a:pos x="20" y="124"/>
                </a:cxn>
                <a:cxn ang="0">
                  <a:pos x="4" y="124"/>
                </a:cxn>
                <a:cxn ang="0">
                  <a:pos x="0" y="128"/>
                </a:cxn>
              </a:cxnLst>
              <a:rect l="0" t="0" r="r" b="b"/>
              <a:pathLst>
                <a:path w="128" h="132">
                  <a:moveTo>
                    <a:pt x="0" y="132"/>
                  </a:moveTo>
                  <a:lnTo>
                    <a:pt x="0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6" y="20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104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28" y="0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8" y="8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24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0" y="32"/>
                  </a:lnTo>
                  <a:lnTo>
                    <a:pt x="96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76" y="32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72"/>
                  </a:lnTo>
                  <a:lnTo>
                    <a:pt x="76" y="76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4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8"/>
                  </a:lnTo>
                  <a:lnTo>
                    <a:pt x="60" y="108"/>
                  </a:lnTo>
                  <a:lnTo>
                    <a:pt x="64" y="112"/>
                  </a:lnTo>
                  <a:lnTo>
                    <a:pt x="64" y="120"/>
                  </a:lnTo>
                  <a:lnTo>
                    <a:pt x="64" y="124"/>
                  </a:lnTo>
                  <a:lnTo>
                    <a:pt x="56" y="124"/>
                  </a:lnTo>
                  <a:lnTo>
                    <a:pt x="48" y="12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40" y="124"/>
                  </a:lnTo>
                  <a:lnTo>
                    <a:pt x="36" y="124"/>
                  </a:lnTo>
                  <a:lnTo>
                    <a:pt x="32" y="124"/>
                  </a:lnTo>
                  <a:lnTo>
                    <a:pt x="28" y="124"/>
                  </a:lnTo>
                  <a:lnTo>
                    <a:pt x="20" y="124"/>
                  </a:lnTo>
                  <a:lnTo>
                    <a:pt x="20" y="124"/>
                  </a:lnTo>
                  <a:lnTo>
                    <a:pt x="16" y="124"/>
                  </a:lnTo>
                  <a:lnTo>
                    <a:pt x="16" y="124"/>
                  </a:lnTo>
                  <a:lnTo>
                    <a:pt x="8" y="124"/>
                  </a:lnTo>
                  <a:lnTo>
                    <a:pt x="4" y="124"/>
                  </a:lnTo>
                  <a:lnTo>
                    <a:pt x="4" y="124"/>
                  </a:lnTo>
                  <a:lnTo>
                    <a:pt x="4" y="128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9" name="Freeform 167"/>
            <p:cNvSpPr>
              <a:spLocks/>
            </p:cNvSpPr>
            <p:nvPr>
              <p:custDataLst>
                <p:tags r:id="rId361"/>
              </p:custDataLst>
            </p:nvPr>
          </p:nvSpPr>
          <p:spPr bwMode="gray">
            <a:xfrm>
              <a:off x="4866955" y="4816931"/>
              <a:ext cx="265468" cy="272884"/>
            </a:xfrm>
            <a:custGeom>
              <a:avLst/>
              <a:gdLst/>
              <a:ahLst/>
              <a:cxnLst>
                <a:cxn ang="0">
                  <a:pos x="127" y="140"/>
                </a:cxn>
                <a:cxn ang="0">
                  <a:pos x="115" y="140"/>
                </a:cxn>
                <a:cxn ang="0">
                  <a:pos x="103" y="148"/>
                </a:cxn>
                <a:cxn ang="0">
                  <a:pos x="95" y="160"/>
                </a:cxn>
                <a:cxn ang="0">
                  <a:pos x="88" y="172"/>
                </a:cxn>
                <a:cxn ang="0">
                  <a:pos x="76" y="180"/>
                </a:cxn>
                <a:cxn ang="0">
                  <a:pos x="64" y="180"/>
                </a:cxn>
                <a:cxn ang="0">
                  <a:pos x="56" y="180"/>
                </a:cxn>
                <a:cxn ang="0">
                  <a:pos x="44" y="172"/>
                </a:cxn>
                <a:cxn ang="0">
                  <a:pos x="28" y="176"/>
                </a:cxn>
                <a:cxn ang="0">
                  <a:pos x="8" y="160"/>
                </a:cxn>
                <a:cxn ang="0">
                  <a:pos x="4" y="148"/>
                </a:cxn>
                <a:cxn ang="0">
                  <a:pos x="0" y="124"/>
                </a:cxn>
                <a:cxn ang="0">
                  <a:pos x="0" y="104"/>
                </a:cxn>
                <a:cxn ang="0">
                  <a:pos x="16" y="88"/>
                </a:cxn>
                <a:cxn ang="0">
                  <a:pos x="32" y="88"/>
                </a:cxn>
                <a:cxn ang="0">
                  <a:pos x="32" y="68"/>
                </a:cxn>
                <a:cxn ang="0">
                  <a:pos x="32" y="52"/>
                </a:cxn>
                <a:cxn ang="0">
                  <a:pos x="40" y="52"/>
                </a:cxn>
                <a:cxn ang="0">
                  <a:pos x="44" y="60"/>
                </a:cxn>
                <a:cxn ang="0">
                  <a:pos x="52" y="64"/>
                </a:cxn>
                <a:cxn ang="0">
                  <a:pos x="68" y="68"/>
                </a:cxn>
                <a:cxn ang="0">
                  <a:pos x="80" y="64"/>
                </a:cxn>
                <a:cxn ang="0">
                  <a:pos x="88" y="76"/>
                </a:cxn>
                <a:cxn ang="0">
                  <a:pos x="99" y="84"/>
                </a:cxn>
                <a:cxn ang="0">
                  <a:pos x="107" y="96"/>
                </a:cxn>
                <a:cxn ang="0">
                  <a:pos x="119" y="96"/>
                </a:cxn>
                <a:cxn ang="0">
                  <a:pos x="119" y="84"/>
                </a:cxn>
                <a:cxn ang="0">
                  <a:pos x="115" y="76"/>
                </a:cxn>
                <a:cxn ang="0">
                  <a:pos x="103" y="72"/>
                </a:cxn>
                <a:cxn ang="0">
                  <a:pos x="99" y="60"/>
                </a:cxn>
                <a:cxn ang="0">
                  <a:pos x="103" y="48"/>
                </a:cxn>
                <a:cxn ang="0">
                  <a:pos x="103" y="32"/>
                </a:cxn>
                <a:cxn ang="0">
                  <a:pos x="103" y="16"/>
                </a:cxn>
                <a:cxn ang="0">
                  <a:pos x="107" y="4"/>
                </a:cxn>
                <a:cxn ang="0">
                  <a:pos x="127" y="0"/>
                </a:cxn>
                <a:cxn ang="0">
                  <a:pos x="135" y="8"/>
                </a:cxn>
                <a:cxn ang="0">
                  <a:pos x="151" y="12"/>
                </a:cxn>
                <a:cxn ang="0">
                  <a:pos x="159" y="20"/>
                </a:cxn>
                <a:cxn ang="0">
                  <a:pos x="171" y="28"/>
                </a:cxn>
                <a:cxn ang="0">
                  <a:pos x="171" y="36"/>
                </a:cxn>
                <a:cxn ang="0">
                  <a:pos x="175" y="48"/>
                </a:cxn>
                <a:cxn ang="0">
                  <a:pos x="175" y="56"/>
                </a:cxn>
                <a:cxn ang="0">
                  <a:pos x="171" y="72"/>
                </a:cxn>
                <a:cxn ang="0">
                  <a:pos x="167" y="80"/>
                </a:cxn>
                <a:cxn ang="0">
                  <a:pos x="167" y="96"/>
                </a:cxn>
                <a:cxn ang="0">
                  <a:pos x="167" y="108"/>
                </a:cxn>
                <a:cxn ang="0">
                  <a:pos x="155" y="116"/>
                </a:cxn>
                <a:cxn ang="0">
                  <a:pos x="143" y="120"/>
                </a:cxn>
                <a:cxn ang="0">
                  <a:pos x="131" y="124"/>
                </a:cxn>
              </a:cxnLst>
              <a:rect l="0" t="0" r="r" b="b"/>
              <a:pathLst>
                <a:path w="179" h="184">
                  <a:moveTo>
                    <a:pt x="127" y="128"/>
                  </a:moveTo>
                  <a:lnTo>
                    <a:pt x="127" y="132"/>
                  </a:lnTo>
                  <a:lnTo>
                    <a:pt x="127" y="136"/>
                  </a:lnTo>
                  <a:lnTo>
                    <a:pt x="127" y="140"/>
                  </a:lnTo>
                  <a:lnTo>
                    <a:pt x="123" y="140"/>
                  </a:lnTo>
                  <a:lnTo>
                    <a:pt x="119" y="136"/>
                  </a:lnTo>
                  <a:lnTo>
                    <a:pt x="119" y="140"/>
                  </a:lnTo>
                  <a:lnTo>
                    <a:pt x="115" y="140"/>
                  </a:lnTo>
                  <a:lnTo>
                    <a:pt x="111" y="140"/>
                  </a:lnTo>
                  <a:lnTo>
                    <a:pt x="107" y="144"/>
                  </a:lnTo>
                  <a:lnTo>
                    <a:pt x="107" y="148"/>
                  </a:lnTo>
                  <a:lnTo>
                    <a:pt x="103" y="148"/>
                  </a:lnTo>
                  <a:lnTo>
                    <a:pt x="103" y="152"/>
                  </a:lnTo>
                  <a:lnTo>
                    <a:pt x="103" y="156"/>
                  </a:lnTo>
                  <a:lnTo>
                    <a:pt x="99" y="156"/>
                  </a:lnTo>
                  <a:lnTo>
                    <a:pt x="95" y="160"/>
                  </a:lnTo>
                  <a:lnTo>
                    <a:pt x="92" y="160"/>
                  </a:lnTo>
                  <a:lnTo>
                    <a:pt x="92" y="164"/>
                  </a:lnTo>
                  <a:lnTo>
                    <a:pt x="88" y="168"/>
                  </a:lnTo>
                  <a:lnTo>
                    <a:pt x="88" y="172"/>
                  </a:lnTo>
                  <a:lnTo>
                    <a:pt x="84" y="172"/>
                  </a:lnTo>
                  <a:lnTo>
                    <a:pt x="84" y="176"/>
                  </a:lnTo>
                  <a:lnTo>
                    <a:pt x="80" y="180"/>
                  </a:lnTo>
                  <a:lnTo>
                    <a:pt x="76" y="180"/>
                  </a:lnTo>
                  <a:lnTo>
                    <a:pt x="76" y="184"/>
                  </a:lnTo>
                  <a:lnTo>
                    <a:pt x="72" y="184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4" y="184"/>
                  </a:lnTo>
                  <a:lnTo>
                    <a:pt x="60" y="184"/>
                  </a:lnTo>
                  <a:lnTo>
                    <a:pt x="60" y="180"/>
                  </a:lnTo>
                  <a:lnTo>
                    <a:pt x="56" y="180"/>
                  </a:lnTo>
                  <a:lnTo>
                    <a:pt x="52" y="180"/>
                  </a:lnTo>
                  <a:lnTo>
                    <a:pt x="48" y="176"/>
                  </a:lnTo>
                  <a:lnTo>
                    <a:pt x="48" y="172"/>
                  </a:lnTo>
                  <a:lnTo>
                    <a:pt x="44" y="172"/>
                  </a:lnTo>
                  <a:lnTo>
                    <a:pt x="40" y="172"/>
                  </a:lnTo>
                  <a:lnTo>
                    <a:pt x="36" y="172"/>
                  </a:lnTo>
                  <a:lnTo>
                    <a:pt x="32" y="172"/>
                  </a:lnTo>
                  <a:lnTo>
                    <a:pt x="28" y="176"/>
                  </a:lnTo>
                  <a:lnTo>
                    <a:pt x="24" y="176"/>
                  </a:lnTo>
                  <a:lnTo>
                    <a:pt x="20" y="172"/>
                  </a:lnTo>
                  <a:lnTo>
                    <a:pt x="12" y="164"/>
                  </a:lnTo>
                  <a:lnTo>
                    <a:pt x="8" y="160"/>
                  </a:lnTo>
                  <a:lnTo>
                    <a:pt x="8" y="156"/>
                  </a:lnTo>
                  <a:lnTo>
                    <a:pt x="4" y="156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0" y="148"/>
                  </a:lnTo>
                  <a:lnTo>
                    <a:pt x="0" y="144"/>
                  </a:lnTo>
                  <a:lnTo>
                    <a:pt x="0" y="136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96"/>
                  </a:lnTo>
                  <a:lnTo>
                    <a:pt x="0" y="88"/>
                  </a:lnTo>
                  <a:lnTo>
                    <a:pt x="8" y="88"/>
                  </a:lnTo>
                  <a:lnTo>
                    <a:pt x="16" y="88"/>
                  </a:lnTo>
                  <a:lnTo>
                    <a:pt x="20" y="88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52"/>
                  </a:lnTo>
                  <a:lnTo>
                    <a:pt x="36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60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60" y="68"/>
                  </a:lnTo>
                  <a:lnTo>
                    <a:pt x="64" y="68"/>
                  </a:lnTo>
                  <a:lnTo>
                    <a:pt x="68" y="68"/>
                  </a:lnTo>
                  <a:lnTo>
                    <a:pt x="72" y="72"/>
                  </a:lnTo>
                  <a:lnTo>
                    <a:pt x="76" y="72"/>
                  </a:lnTo>
                  <a:lnTo>
                    <a:pt x="76" y="68"/>
                  </a:lnTo>
                  <a:lnTo>
                    <a:pt x="80" y="64"/>
                  </a:lnTo>
                  <a:lnTo>
                    <a:pt x="80" y="68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8" y="76"/>
                  </a:lnTo>
                  <a:lnTo>
                    <a:pt x="92" y="76"/>
                  </a:lnTo>
                  <a:lnTo>
                    <a:pt x="95" y="80"/>
                  </a:lnTo>
                  <a:lnTo>
                    <a:pt x="99" y="80"/>
                  </a:lnTo>
                  <a:lnTo>
                    <a:pt x="99" y="84"/>
                  </a:lnTo>
                  <a:lnTo>
                    <a:pt x="99" y="88"/>
                  </a:lnTo>
                  <a:lnTo>
                    <a:pt x="103" y="88"/>
                  </a:lnTo>
                  <a:lnTo>
                    <a:pt x="107" y="92"/>
                  </a:lnTo>
                  <a:lnTo>
                    <a:pt x="107" y="96"/>
                  </a:lnTo>
                  <a:lnTo>
                    <a:pt x="111" y="96"/>
                  </a:lnTo>
                  <a:lnTo>
                    <a:pt x="115" y="96"/>
                  </a:lnTo>
                  <a:lnTo>
                    <a:pt x="115" y="92"/>
                  </a:lnTo>
                  <a:lnTo>
                    <a:pt x="119" y="96"/>
                  </a:lnTo>
                  <a:lnTo>
                    <a:pt x="115" y="96"/>
                  </a:lnTo>
                  <a:lnTo>
                    <a:pt x="119" y="96"/>
                  </a:lnTo>
                  <a:lnTo>
                    <a:pt x="119" y="92"/>
                  </a:lnTo>
                  <a:lnTo>
                    <a:pt x="119" y="84"/>
                  </a:lnTo>
                  <a:lnTo>
                    <a:pt x="119" y="80"/>
                  </a:lnTo>
                  <a:lnTo>
                    <a:pt x="119" y="76"/>
                  </a:lnTo>
                  <a:lnTo>
                    <a:pt x="119" y="72"/>
                  </a:lnTo>
                  <a:lnTo>
                    <a:pt x="115" y="76"/>
                  </a:lnTo>
                  <a:lnTo>
                    <a:pt x="115" y="80"/>
                  </a:lnTo>
                  <a:lnTo>
                    <a:pt x="111" y="76"/>
                  </a:lnTo>
                  <a:lnTo>
                    <a:pt x="107" y="76"/>
                  </a:lnTo>
                  <a:lnTo>
                    <a:pt x="103" y="72"/>
                  </a:lnTo>
                  <a:lnTo>
                    <a:pt x="103" y="68"/>
                  </a:lnTo>
                  <a:lnTo>
                    <a:pt x="99" y="68"/>
                  </a:lnTo>
                  <a:lnTo>
                    <a:pt x="99" y="64"/>
                  </a:lnTo>
                  <a:lnTo>
                    <a:pt x="99" y="60"/>
                  </a:lnTo>
                  <a:lnTo>
                    <a:pt x="99" y="56"/>
                  </a:lnTo>
                  <a:lnTo>
                    <a:pt x="99" y="52"/>
                  </a:lnTo>
                  <a:lnTo>
                    <a:pt x="99" y="48"/>
                  </a:lnTo>
                  <a:lnTo>
                    <a:pt x="103" y="48"/>
                  </a:lnTo>
                  <a:lnTo>
                    <a:pt x="103" y="44"/>
                  </a:lnTo>
                  <a:lnTo>
                    <a:pt x="103" y="40"/>
                  </a:lnTo>
                  <a:lnTo>
                    <a:pt x="103" y="36"/>
                  </a:lnTo>
                  <a:lnTo>
                    <a:pt x="103" y="32"/>
                  </a:lnTo>
                  <a:lnTo>
                    <a:pt x="103" y="28"/>
                  </a:lnTo>
                  <a:lnTo>
                    <a:pt x="99" y="24"/>
                  </a:lnTo>
                  <a:lnTo>
                    <a:pt x="99" y="20"/>
                  </a:lnTo>
                  <a:lnTo>
                    <a:pt x="103" y="16"/>
                  </a:lnTo>
                  <a:lnTo>
                    <a:pt x="103" y="12"/>
                  </a:lnTo>
                  <a:lnTo>
                    <a:pt x="107" y="12"/>
                  </a:lnTo>
                  <a:lnTo>
                    <a:pt x="107" y="8"/>
                  </a:lnTo>
                  <a:lnTo>
                    <a:pt x="107" y="4"/>
                  </a:lnTo>
                  <a:lnTo>
                    <a:pt x="111" y="4"/>
                  </a:lnTo>
                  <a:lnTo>
                    <a:pt x="115" y="4"/>
                  </a:lnTo>
                  <a:lnTo>
                    <a:pt x="123" y="4"/>
                  </a:lnTo>
                  <a:lnTo>
                    <a:pt x="127" y="0"/>
                  </a:lnTo>
                  <a:lnTo>
                    <a:pt x="131" y="0"/>
                  </a:lnTo>
                  <a:lnTo>
                    <a:pt x="135" y="0"/>
                  </a:lnTo>
                  <a:lnTo>
                    <a:pt x="135" y="4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43" y="8"/>
                  </a:lnTo>
                  <a:lnTo>
                    <a:pt x="147" y="12"/>
                  </a:lnTo>
                  <a:lnTo>
                    <a:pt x="151" y="12"/>
                  </a:lnTo>
                  <a:lnTo>
                    <a:pt x="151" y="16"/>
                  </a:lnTo>
                  <a:lnTo>
                    <a:pt x="155" y="16"/>
                  </a:lnTo>
                  <a:lnTo>
                    <a:pt x="159" y="16"/>
                  </a:lnTo>
                  <a:lnTo>
                    <a:pt x="159" y="20"/>
                  </a:lnTo>
                  <a:lnTo>
                    <a:pt x="163" y="20"/>
                  </a:lnTo>
                  <a:lnTo>
                    <a:pt x="167" y="24"/>
                  </a:lnTo>
                  <a:lnTo>
                    <a:pt x="167" y="28"/>
                  </a:lnTo>
                  <a:lnTo>
                    <a:pt x="171" y="28"/>
                  </a:lnTo>
                  <a:lnTo>
                    <a:pt x="171" y="32"/>
                  </a:lnTo>
                  <a:lnTo>
                    <a:pt x="175" y="32"/>
                  </a:lnTo>
                  <a:lnTo>
                    <a:pt x="171" y="32"/>
                  </a:lnTo>
                  <a:lnTo>
                    <a:pt x="171" y="36"/>
                  </a:lnTo>
                  <a:lnTo>
                    <a:pt x="175" y="36"/>
                  </a:lnTo>
                  <a:lnTo>
                    <a:pt x="175" y="40"/>
                  </a:lnTo>
                  <a:lnTo>
                    <a:pt x="179" y="44"/>
                  </a:lnTo>
                  <a:lnTo>
                    <a:pt x="175" y="48"/>
                  </a:lnTo>
                  <a:lnTo>
                    <a:pt x="171" y="48"/>
                  </a:lnTo>
                  <a:lnTo>
                    <a:pt x="171" y="52"/>
                  </a:lnTo>
                  <a:lnTo>
                    <a:pt x="175" y="52"/>
                  </a:lnTo>
                  <a:lnTo>
                    <a:pt x="175" y="56"/>
                  </a:lnTo>
                  <a:lnTo>
                    <a:pt x="171" y="60"/>
                  </a:lnTo>
                  <a:lnTo>
                    <a:pt x="171" y="64"/>
                  </a:lnTo>
                  <a:lnTo>
                    <a:pt x="171" y="68"/>
                  </a:lnTo>
                  <a:lnTo>
                    <a:pt x="171" y="72"/>
                  </a:lnTo>
                  <a:lnTo>
                    <a:pt x="175" y="76"/>
                  </a:lnTo>
                  <a:lnTo>
                    <a:pt x="175" y="80"/>
                  </a:lnTo>
                  <a:lnTo>
                    <a:pt x="171" y="80"/>
                  </a:lnTo>
                  <a:lnTo>
                    <a:pt x="167" y="80"/>
                  </a:lnTo>
                  <a:lnTo>
                    <a:pt x="167" y="84"/>
                  </a:lnTo>
                  <a:lnTo>
                    <a:pt x="167" y="88"/>
                  </a:lnTo>
                  <a:lnTo>
                    <a:pt x="167" y="92"/>
                  </a:lnTo>
                  <a:lnTo>
                    <a:pt x="167" y="96"/>
                  </a:lnTo>
                  <a:lnTo>
                    <a:pt x="167" y="100"/>
                  </a:lnTo>
                  <a:lnTo>
                    <a:pt x="163" y="100"/>
                  </a:lnTo>
                  <a:lnTo>
                    <a:pt x="167" y="104"/>
                  </a:lnTo>
                  <a:lnTo>
                    <a:pt x="167" y="108"/>
                  </a:lnTo>
                  <a:lnTo>
                    <a:pt x="171" y="108"/>
                  </a:lnTo>
                  <a:lnTo>
                    <a:pt x="167" y="108"/>
                  </a:lnTo>
                  <a:lnTo>
                    <a:pt x="159" y="112"/>
                  </a:lnTo>
                  <a:lnTo>
                    <a:pt x="155" y="116"/>
                  </a:lnTo>
                  <a:lnTo>
                    <a:pt x="151" y="116"/>
                  </a:lnTo>
                  <a:lnTo>
                    <a:pt x="147" y="116"/>
                  </a:lnTo>
                  <a:lnTo>
                    <a:pt x="147" y="120"/>
                  </a:lnTo>
                  <a:lnTo>
                    <a:pt x="143" y="120"/>
                  </a:lnTo>
                  <a:lnTo>
                    <a:pt x="139" y="120"/>
                  </a:lnTo>
                  <a:lnTo>
                    <a:pt x="135" y="120"/>
                  </a:lnTo>
                  <a:lnTo>
                    <a:pt x="135" y="124"/>
                  </a:lnTo>
                  <a:lnTo>
                    <a:pt x="131" y="124"/>
                  </a:lnTo>
                  <a:lnTo>
                    <a:pt x="127" y="124"/>
                  </a:lnTo>
                  <a:lnTo>
                    <a:pt x="127" y="1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0" name="Freeform 168"/>
            <p:cNvSpPr>
              <a:spLocks/>
            </p:cNvSpPr>
            <p:nvPr>
              <p:custDataLst>
                <p:tags r:id="rId362"/>
              </p:custDataLst>
            </p:nvPr>
          </p:nvSpPr>
          <p:spPr bwMode="gray">
            <a:xfrm>
              <a:off x="4944075" y="5018627"/>
              <a:ext cx="176484" cy="195764"/>
            </a:xfrm>
            <a:custGeom>
              <a:avLst/>
              <a:gdLst/>
              <a:ahLst/>
              <a:cxnLst>
                <a:cxn ang="0">
                  <a:pos x="95" y="124"/>
                </a:cxn>
                <a:cxn ang="0">
                  <a:pos x="91" y="128"/>
                </a:cxn>
                <a:cxn ang="0">
                  <a:pos x="87" y="128"/>
                </a:cxn>
                <a:cxn ang="0">
                  <a:pos x="79" y="128"/>
                </a:cxn>
                <a:cxn ang="0">
                  <a:pos x="75" y="128"/>
                </a:cxn>
                <a:cxn ang="0">
                  <a:pos x="67" y="124"/>
                </a:cxn>
                <a:cxn ang="0">
                  <a:pos x="59" y="124"/>
                </a:cxn>
                <a:cxn ang="0">
                  <a:pos x="55" y="124"/>
                </a:cxn>
                <a:cxn ang="0">
                  <a:pos x="55" y="120"/>
                </a:cxn>
                <a:cxn ang="0">
                  <a:pos x="55" y="116"/>
                </a:cxn>
                <a:cxn ang="0">
                  <a:pos x="47" y="116"/>
                </a:cxn>
                <a:cxn ang="0">
                  <a:pos x="43" y="116"/>
                </a:cxn>
                <a:cxn ang="0">
                  <a:pos x="40" y="112"/>
                </a:cxn>
                <a:cxn ang="0">
                  <a:pos x="36" y="104"/>
                </a:cxn>
                <a:cxn ang="0">
                  <a:pos x="36" y="100"/>
                </a:cxn>
                <a:cxn ang="0">
                  <a:pos x="32" y="92"/>
                </a:cxn>
                <a:cxn ang="0">
                  <a:pos x="32" y="92"/>
                </a:cxn>
                <a:cxn ang="0">
                  <a:pos x="28" y="84"/>
                </a:cxn>
                <a:cxn ang="0">
                  <a:pos x="20" y="80"/>
                </a:cxn>
                <a:cxn ang="0">
                  <a:pos x="16" y="76"/>
                </a:cxn>
                <a:cxn ang="0">
                  <a:pos x="12" y="72"/>
                </a:cxn>
                <a:cxn ang="0">
                  <a:pos x="12" y="64"/>
                </a:cxn>
                <a:cxn ang="0">
                  <a:pos x="8" y="56"/>
                </a:cxn>
                <a:cxn ang="0">
                  <a:pos x="4" y="52"/>
                </a:cxn>
                <a:cxn ang="0">
                  <a:pos x="0" y="48"/>
                </a:cxn>
                <a:cxn ang="0">
                  <a:pos x="0" y="44"/>
                </a:cxn>
                <a:cxn ang="0">
                  <a:pos x="4" y="44"/>
                </a:cxn>
                <a:cxn ang="0">
                  <a:pos x="12" y="48"/>
                </a:cxn>
                <a:cxn ang="0">
                  <a:pos x="16" y="44"/>
                </a:cxn>
                <a:cxn ang="0">
                  <a:pos x="24" y="48"/>
                </a:cxn>
                <a:cxn ang="0">
                  <a:pos x="28" y="44"/>
                </a:cxn>
                <a:cxn ang="0">
                  <a:pos x="40" y="28"/>
                </a:cxn>
                <a:cxn ang="0">
                  <a:pos x="51" y="20"/>
                </a:cxn>
                <a:cxn ang="0">
                  <a:pos x="51" y="12"/>
                </a:cxn>
                <a:cxn ang="0">
                  <a:pos x="55" y="8"/>
                </a:cxn>
                <a:cxn ang="0">
                  <a:pos x="67" y="4"/>
                </a:cxn>
                <a:cxn ang="0">
                  <a:pos x="75" y="4"/>
                </a:cxn>
                <a:cxn ang="0">
                  <a:pos x="83" y="8"/>
                </a:cxn>
                <a:cxn ang="0">
                  <a:pos x="91" y="12"/>
                </a:cxn>
                <a:cxn ang="0">
                  <a:pos x="95" y="12"/>
                </a:cxn>
                <a:cxn ang="0">
                  <a:pos x="103" y="16"/>
                </a:cxn>
                <a:cxn ang="0">
                  <a:pos x="107" y="16"/>
                </a:cxn>
                <a:cxn ang="0">
                  <a:pos x="111" y="24"/>
                </a:cxn>
                <a:cxn ang="0">
                  <a:pos x="115" y="24"/>
                </a:cxn>
                <a:cxn ang="0">
                  <a:pos x="115" y="28"/>
                </a:cxn>
                <a:cxn ang="0">
                  <a:pos x="115" y="32"/>
                </a:cxn>
                <a:cxn ang="0">
                  <a:pos x="115" y="36"/>
                </a:cxn>
                <a:cxn ang="0">
                  <a:pos x="115" y="44"/>
                </a:cxn>
                <a:cxn ang="0">
                  <a:pos x="115" y="48"/>
                </a:cxn>
                <a:cxn ang="0">
                  <a:pos x="115" y="56"/>
                </a:cxn>
                <a:cxn ang="0">
                  <a:pos x="115" y="60"/>
                </a:cxn>
                <a:cxn ang="0">
                  <a:pos x="111" y="60"/>
                </a:cxn>
                <a:cxn ang="0">
                  <a:pos x="115" y="64"/>
                </a:cxn>
                <a:cxn ang="0">
                  <a:pos x="115" y="76"/>
                </a:cxn>
                <a:cxn ang="0">
                  <a:pos x="115" y="84"/>
                </a:cxn>
                <a:cxn ang="0">
                  <a:pos x="111" y="92"/>
                </a:cxn>
                <a:cxn ang="0">
                  <a:pos x="107" y="100"/>
                </a:cxn>
                <a:cxn ang="0">
                  <a:pos x="107" y="108"/>
                </a:cxn>
              </a:cxnLst>
              <a:rect l="0" t="0" r="r" b="b"/>
              <a:pathLst>
                <a:path w="119" h="132">
                  <a:moveTo>
                    <a:pt x="107" y="108"/>
                  </a:moveTo>
                  <a:lnTo>
                    <a:pt x="107" y="108"/>
                  </a:lnTo>
                  <a:lnTo>
                    <a:pt x="107" y="108"/>
                  </a:lnTo>
                  <a:lnTo>
                    <a:pt x="107" y="108"/>
                  </a:lnTo>
                  <a:lnTo>
                    <a:pt x="99" y="120"/>
                  </a:lnTo>
                  <a:lnTo>
                    <a:pt x="95" y="124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91" y="132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5" y="128"/>
                  </a:lnTo>
                  <a:lnTo>
                    <a:pt x="75" y="128"/>
                  </a:lnTo>
                  <a:lnTo>
                    <a:pt x="75" y="128"/>
                  </a:lnTo>
                  <a:lnTo>
                    <a:pt x="71" y="128"/>
                  </a:lnTo>
                  <a:lnTo>
                    <a:pt x="71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3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1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0" y="116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4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28" y="88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7" y="20"/>
                  </a:lnTo>
                  <a:lnTo>
                    <a:pt x="51" y="20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2"/>
                  </a:lnTo>
                  <a:lnTo>
                    <a:pt x="55" y="12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9" y="4"/>
                  </a:lnTo>
                  <a:lnTo>
                    <a:pt x="59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0"/>
                  </a:lnTo>
                  <a:lnTo>
                    <a:pt x="71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8"/>
                  </a:lnTo>
                  <a:lnTo>
                    <a:pt x="83" y="8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91" y="8"/>
                  </a:lnTo>
                  <a:lnTo>
                    <a:pt x="91" y="8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20"/>
                  </a:lnTo>
                  <a:lnTo>
                    <a:pt x="111" y="20"/>
                  </a:lnTo>
                  <a:lnTo>
                    <a:pt x="111" y="20"/>
                  </a:lnTo>
                  <a:lnTo>
                    <a:pt x="111" y="24"/>
                  </a:lnTo>
                  <a:lnTo>
                    <a:pt x="111" y="24"/>
                  </a:lnTo>
                  <a:lnTo>
                    <a:pt x="111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8"/>
                  </a:lnTo>
                  <a:lnTo>
                    <a:pt x="115" y="28"/>
                  </a:lnTo>
                  <a:lnTo>
                    <a:pt x="115" y="28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4"/>
                  </a:lnTo>
                  <a:lnTo>
                    <a:pt x="115" y="44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9" y="52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1" y="60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5" y="64"/>
                  </a:lnTo>
                  <a:lnTo>
                    <a:pt x="115" y="68"/>
                  </a:lnTo>
                  <a:lnTo>
                    <a:pt x="115" y="72"/>
                  </a:lnTo>
                  <a:lnTo>
                    <a:pt x="115" y="72"/>
                  </a:lnTo>
                  <a:lnTo>
                    <a:pt x="111" y="72"/>
                  </a:lnTo>
                  <a:lnTo>
                    <a:pt x="111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80"/>
                  </a:lnTo>
                  <a:lnTo>
                    <a:pt x="115" y="80"/>
                  </a:lnTo>
                  <a:lnTo>
                    <a:pt x="115" y="84"/>
                  </a:lnTo>
                  <a:lnTo>
                    <a:pt x="115" y="84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1" y="92"/>
                  </a:lnTo>
                  <a:lnTo>
                    <a:pt x="111" y="96"/>
                  </a:lnTo>
                  <a:lnTo>
                    <a:pt x="111" y="96"/>
                  </a:lnTo>
                  <a:lnTo>
                    <a:pt x="107" y="96"/>
                  </a:lnTo>
                  <a:lnTo>
                    <a:pt x="107" y="96"/>
                  </a:lnTo>
                  <a:lnTo>
                    <a:pt x="107" y="100"/>
                  </a:lnTo>
                  <a:lnTo>
                    <a:pt x="107" y="100"/>
                  </a:lnTo>
                  <a:lnTo>
                    <a:pt x="107" y="100"/>
                  </a:lnTo>
                  <a:lnTo>
                    <a:pt x="107" y="104"/>
                  </a:lnTo>
                  <a:lnTo>
                    <a:pt x="107" y="104"/>
                  </a:lnTo>
                  <a:lnTo>
                    <a:pt x="107" y="104"/>
                  </a:lnTo>
                  <a:lnTo>
                    <a:pt x="107" y="108"/>
                  </a:lnTo>
                  <a:lnTo>
                    <a:pt x="107" y="108"/>
                  </a:lnTo>
                  <a:lnTo>
                    <a:pt x="107" y="10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1" name="Freeform 169"/>
            <p:cNvSpPr>
              <a:spLocks noEditPoints="1"/>
            </p:cNvSpPr>
            <p:nvPr>
              <p:custDataLst>
                <p:tags r:id="rId363"/>
              </p:custDataLst>
            </p:nvPr>
          </p:nvSpPr>
          <p:spPr bwMode="gray">
            <a:xfrm>
              <a:off x="2725411" y="5190663"/>
              <a:ext cx="443436" cy="1023314"/>
            </a:xfrm>
            <a:custGeom>
              <a:avLst/>
              <a:gdLst/>
              <a:ahLst/>
              <a:cxnLst>
                <a:cxn ang="0">
                  <a:pos x="28" y="351"/>
                </a:cxn>
                <a:cxn ang="0">
                  <a:pos x="40" y="327"/>
                </a:cxn>
                <a:cxn ang="0">
                  <a:pos x="40" y="291"/>
                </a:cxn>
                <a:cxn ang="0">
                  <a:pos x="48" y="259"/>
                </a:cxn>
                <a:cxn ang="0">
                  <a:pos x="56" y="223"/>
                </a:cxn>
                <a:cxn ang="0">
                  <a:pos x="44" y="187"/>
                </a:cxn>
                <a:cxn ang="0">
                  <a:pos x="56" y="155"/>
                </a:cxn>
                <a:cxn ang="0">
                  <a:pos x="64" y="123"/>
                </a:cxn>
                <a:cxn ang="0">
                  <a:pos x="76" y="91"/>
                </a:cxn>
                <a:cxn ang="0">
                  <a:pos x="80" y="52"/>
                </a:cxn>
                <a:cxn ang="0">
                  <a:pos x="96" y="24"/>
                </a:cxn>
                <a:cxn ang="0">
                  <a:pos x="112" y="4"/>
                </a:cxn>
                <a:cxn ang="0">
                  <a:pos x="139" y="24"/>
                </a:cxn>
                <a:cxn ang="0">
                  <a:pos x="167" y="12"/>
                </a:cxn>
                <a:cxn ang="0">
                  <a:pos x="187" y="40"/>
                </a:cxn>
                <a:cxn ang="0">
                  <a:pos x="223" y="60"/>
                </a:cxn>
                <a:cxn ang="0">
                  <a:pos x="235" y="84"/>
                </a:cxn>
                <a:cxn ang="0">
                  <a:pos x="239" y="107"/>
                </a:cxn>
                <a:cxn ang="0">
                  <a:pos x="271" y="107"/>
                </a:cxn>
                <a:cxn ang="0">
                  <a:pos x="291" y="76"/>
                </a:cxn>
                <a:cxn ang="0">
                  <a:pos x="295" y="103"/>
                </a:cxn>
                <a:cxn ang="0">
                  <a:pos x="267" y="123"/>
                </a:cxn>
                <a:cxn ang="0">
                  <a:pos x="255" y="147"/>
                </a:cxn>
                <a:cxn ang="0">
                  <a:pos x="235" y="183"/>
                </a:cxn>
                <a:cxn ang="0">
                  <a:pos x="231" y="215"/>
                </a:cxn>
                <a:cxn ang="0">
                  <a:pos x="231" y="251"/>
                </a:cxn>
                <a:cxn ang="0">
                  <a:pos x="247" y="283"/>
                </a:cxn>
                <a:cxn ang="0">
                  <a:pos x="243" y="315"/>
                </a:cxn>
                <a:cxn ang="0">
                  <a:pos x="207" y="339"/>
                </a:cxn>
                <a:cxn ang="0">
                  <a:pos x="167" y="335"/>
                </a:cxn>
                <a:cxn ang="0">
                  <a:pos x="171" y="355"/>
                </a:cxn>
                <a:cxn ang="0">
                  <a:pos x="163" y="383"/>
                </a:cxn>
                <a:cxn ang="0">
                  <a:pos x="131" y="375"/>
                </a:cxn>
                <a:cxn ang="0">
                  <a:pos x="135" y="407"/>
                </a:cxn>
                <a:cxn ang="0">
                  <a:pos x="151" y="415"/>
                </a:cxn>
                <a:cxn ang="0">
                  <a:pos x="135" y="423"/>
                </a:cxn>
                <a:cxn ang="0">
                  <a:pos x="127" y="443"/>
                </a:cxn>
                <a:cxn ang="0">
                  <a:pos x="104" y="471"/>
                </a:cxn>
                <a:cxn ang="0">
                  <a:pos x="92" y="503"/>
                </a:cxn>
                <a:cxn ang="0">
                  <a:pos x="116" y="526"/>
                </a:cxn>
                <a:cxn ang="0">
                  <a:pos x="96" y="546"/>
                </a:cxn>
                <a:cxn ang="0">
                  <a:pos x="88" y="574"/>
                </a:cxn>
                <a:cxn ang="0">
                  <a:pos x="80" y="578"/>
                </a:cxn>
                <a:cxn ang="0">
                  <a:pos x="68" y="606"/>
                </a:cxn>
                <a:cxn ang="0">
                  <a:pos x="76" y="626"/>
                </a:cxn>
                <a:cxn ang="0">
                  <a:pos x="36" y="622"/>
                </a:cxn>
                <a:cxn ang="0">
                  <a:pos x="16" y="590"/>
                </a:cxn>
                <a:cxn ang="0">
                  <a:pos x="0" y="574"/>
                </a:cxn>
                <a:cxn ang="0">
                  <a:pos x="16" y="550"/>
                </a:cxn>
                <a:cxn ang="0">
                  <a:pos x="20" y="523"/>
                </a:cxn>
                <a:cxn ang="0">
                  <a:pos x="28" y="491"/>
                </a:cxn>
                <a:cxn ang="0">
                  <a:pos x="24" y="463"/>
                </a:cxn>
                <a:cxn ang="0">
                  <a:pos x="24" y="447"/>
                </a:cxn>
                <a:cxn ang="0">
                  <a:pos x="20" y="423"/>
                </a:cxn>
                <a:cxn ang="0">
                  <a:pos x="24" y="391"/>
                </a:cxn>
                <a:cxn ang="0">
                  <a:pos x="80" y="642"/>
                </a:cxn>
                <a:cxn ang="0">
                  <a:pos x="92" y="666"/>
                </a:cxn>
                <a:cxn ang="0">
                  <a:pos x="124" y="686"/>
                </a:cxn>
                <a:cxn ang="0">
                  <a:pos x="84" y="686"/>
                </a:cxn>
                <a:cxn ang="0">
                  <a:pos x="76" y="634"/>
                </a:cxn>
                <a:cxn ang="0">
                  <a:pos x="143" y="682"/>
                </a:cxn>
              </a:cxnLst>
              <a:rect l="0" t="0" r="r" b="b"/>
              <a:pathLst>
                <a:path w="299" h="690">
                  <a:moveTo>
                    <a:pt x="24" y="383"/>
                  </a:moveTo>
                  <a:lnTo>
                    <a:pt x="24" y="379"/>
                  </a:lnTo>
                  <a:lnTo>
                    <a:pt x="24" y="375"/>
                  </a:lnTo>
                  <a:lnTo>
                    <a:pt x="24" y="371"/>
                  </a:lnTo>
                  <a:lnTo>
                    <a:pt x="28" y="371"/>
                  </a:lnTo>
                  <a:lnTo>
                    <a:pt x="28" y="367"/>
                  </a:lnTo>
                  <a:lnTo>
                    <a:pt x="24" y="367"/>
                  </a:lnTo>
                  <a:lnTo>
                    <a:pt x="28" y="363"/>
                  </a:lnTo>
                  <a:lnTo>
                    <a:pt x="28" y="359"/>
                  </a:lnTo>
                  <a:lnTo>
                    <a:pt x="28" y="355"/>
                  </a:lnTo>
                  <a:lnTo>
                    <a:pt x="28" y="351"/>
                  </a:lnTo>
                  <a:lnTo>
                    <a:pt x="28" y="355"/>
                  </a:lnTo>
                  <a:lnTo>
                    <a:pt x="32" y="355"/>
                  </a:lnTo>
                  <a:lnTo>
                    <a:pt x="32" y="351"/>
                  </a:lnTo>
                  <a:lnTo>
                    <a:pt x="32" y="347"/>
                  </a:lnTo>
                  <a:lnTo>
                    <a:pt x="32" y="343"/>
                  </a:lnTo>
                  <a:lnTo>
                    <a:pt x="32" y="339"/>
                  </a:lnTo>
                  <a:lnTo>
                    <a:pt x="36" y="339"/>
                  </a:lnTo>
                  <a:lnTo>
                    <a:pt x="36" y="335"/>
                  </a:lnTo>
                  <a:lnTo>
                    <a:pt x="40" y="335"/>
                  </a:lnTo>
                  <a:lnTo>
                    <a:pt x="40" y="331"/>
                  </a:lnTo>
                  <a:lnTo>
                    <a:pt x="40" y="327"/>
                  </a:lnTo>
                  <a:lnTo>
                    <a:pt x="40" y="323"/>
                  </a:lnTo>
                  <a:lnTo>
                    <a:pt x="36" y="319"/>
                  </a:lnTo>
                  <a:lnTo>
                    <a:pt x="36" y="315"/>
                  </a:lnTo>
                  <a:lnTo>
                    <a:pt x="36" y="311"/>
                  </a:lnTo>
                  <a:lnTo>
                    <a:pt x="36" y="307"/>
                  </a:lnTo>
                  <a:lnTo>
                    <a:pt x="36" y="303"/>
                  </a:lnTo>
                  <a:lnTo>
                    <a:pt x="36" y="299"/>
                  </a:lnTo>
                  <a:lnTo>
                    <a:pt x="36" y="295"/>
                  </a:lnTo>
                  <a:lnTo>
                    <a:pt x="36" y="291"/>
                  </a:lnTo>
                  <a:lnTo>
                    <a:pt x="40" y="287"/>
                  </a:lnTo>
                  <a:lnTo>
                    <a:pt x="40" y="291"/>
                  </a:lnTo>
                  <a:lnTo>
                    <a:pt x="44" y="287"/>
                  </a:lnTo>
                  <a:lnTo>
                    <a:pt x="44" y="283"/>
                  </a:lnTo>
                  <a:lnTo>
                    <a:pt x="48" y="283"/>
                  </a:lnTo>
                  <a:lnTo>
                    <a:pt x="48" y="279"/>
                  </a:lnTo>
                  <a:lnTo>
                    <a:pt x="48" y="275"/>
                  </a:lnTo>
                  <a:lnTo>
                    <a:pt x="48" y="271"/>
                  </a:lnTo>
                  <a:lnTo>
                    <a:pt x="48" y="267"/>
                  </a:lnTo>
                  <a:lnTo>
                    <a:pt x="44" y="267"/>
                  </a:lnTo>
                  <a:lnTo>
                    <a:pt x="44" y="263"/>
                  </a:lnTo>
                  <a:lnTo>
                    <a:pt x="48" y="263"/>
                  </a:lnTo>
                  <a:lnTo>
                    <a:pt x="48" y="259"/>
                  </a:lnTo>
                  <a:lnTo>
                    <a:pt x="48" y="255"/>
                  </a:lnTo>
                  <a:lnTo>
                    <a:pt x="48" y="251"/>
                  </a:lnTo>
                  <a:lnTo>
                    <a:pt x="52" y="251"/>
                  </a:lnTo>
                  <a:lnTo>
                    <a:pt x="52" y="247"/>
                  </a:lnTo>
                  <a:lnTo>
                    <a:pt x="52" y="243"/>
                  </a:lnTo>
                  <a:lnTo>
                    <a:pt x="56" y="243"/>
                  </a:lnTo>
                  <a:lnTo>
                    <a:pt x="56" y="239"/>
                  </a:lnTo>
                  <a:lnTo>
                    <a:pt x="56" y="235"/>
                  </a:lnTo>
                  <a:lnTo>
                    <a:pt x="56" y="231"/>
                  </a:lnTo>
                  <a:lnTo>
                    <a:pt x="56" y="227"/>
                  </a:lnTo>
                  <a:lnTo>
                    <a:pt x="56" y="223"/>
                  </a:lnTo>
                  <a:lnTo>
                    <a:pt x="52" y="223"/>
                  </a:lnTo>
                  <a:lnTo>
                    <a:pt x="52" y="219"/>
                  </a:lnTo>
                  <a:lnTo>
                    <a:pt x="52" y="215"/>
                  </a:lnTo>
                  <a:lnTo>
                    <a:pt x="52" y="211"/>
                  </a:lnTo>
                  <a:lnTo>
                    <a:pt x="52" y="207"/>
                  </a:lnTo>
                  <a:lnTo>
                    <a:pt x="48" y="207"/>
                  </a:lnTo>
                  <a:lnTo>
                    <a:pt x="48" y="203"/>
                  </a:lnTo>
                  <a:lnTo>
                    <a:pt x="48" y="199"/>
                  </a:lnTo>
                  <a:lnTo>
                    <a:pt x="48" y="195"/>
                  </a:lnTo>
                  <a:lnTo>
                    <a:pt x="44" y="191"/>
                  </a:lnTo>
                  <a:lnTo>
                    <a:pt x="44" y="187"/>
                  </a:lnTo>
                  <a:lnTo>
                    <a:pt x="44" y="183"/>
                  </a:lnTo>
                  <a:lnTo>
                    <a:pt x="48" y="183"/>
                  </a:lnTo>
                  <a:lnTo>
                    <a:pt x="48" y="179"/>
                  </a:lnTo>
                  <a:lnTo>
                    <a:pt x="48" y="175"/>
                  </a:lnTo>
                  <a:lnTo>
                    <a:pt x="48" y="171"/>
                  </a:lnTo>
                  <a:lnTo>
                    <a:pt x="52" y="171"/>
                  </a:lnTo>
                  <a:lnTo>
                    <a:pt x="52" y="167"/>
                  </a:lnTo>
                  <a:lnTo>
                    <a:pt x="56" y="167"/>
                  </a:lnTo>
                  <a:lnTo>
                    <a:pt x="56" y="163"/>
                  </a:lnTo>
                  <a:lnTo>
                    <a:pt x="56" y="159"/>
                  </a:lnTo>
                  <a:lnTo>
                    <a:pt x="56" y="155"/>
                  </a:lnTo>
                  <a:lnTo>
                    <a:pt x="52" y="151"/>
                  </a:lnTo>
                  <a:lnTo>
                    <a:pt x="56" y="151"/>
                  </a:lnTo>
                  <a:lnTo>
                    <a:pt x="52" y="151"/>
                  </a:lnTo>
                  <a:lnTo>
                    <a:pt x="52" y="147"/>
                  </a:lnTo>
                  <a:lnTo>
                    <a:pt x="56" y="143"/>
                  </a:lnTo>
                  <a:lnTo>
                    <a:pt x="56" y="139"/>
                  </a:lnTo>
                  <a:lnTo>
                    <a:pt x="56" y="135"/>
                  </a:lnTo>
                  <a:lnTo>
                    <a:pt x="56" y="131"/>
                  </a:lnTo>
                  <a:lnTo>
                    <a:pt x="60" y="131"/>
                  </a:lnTo>
                  <a:lnTo>
                    <a:pt x="60" y="127"/>
                  </a:lnTo>
                  <a:lnTo>
                    <a:pt x="64" y="123"/>
                  </a:lnTo>
                  <a:lnTo>
                    <a:pt x="64" y="119"/>
                  </a:lnTo>
                  <a:lnTo>
                    <a:pt x="68" y="119"/>
                  </a:lnTo>
                  <a:lnTo>
                    <a:pt x="68" y="115"/>
                  </a:lnTo>
                  <a:lnTo>
                    <a:pt x="68" y="111"/>
                  </a:lnTo>
                  <a:lnTo>
                    <a:pt x="72" y="107"/>
                  </a:lnTo>
                  <a:lnTo>
                    <a:pt x="72" y="103"/>
                  </a:lnTo>
                  <a:lnTo>
                    <a:pt x="76" y="103"/>
                  </a:lnTo>
                  <a:lnTo>
                    <a:pt x="80" y="103"/>
                  </a:lnTo>
                  <a:lnTo>
                    <a:pt x="80" y="99"/>
                  </a:lnTo>
                  <a:lnTo>
                    <a:pt x="76" y="95"/>
                  </a:lnTo>
                  <a:lnTo>
                    <a:pt x="76" y="91"/>
                  </a:lnTo>
                  <a:lnTo>
                    <a:pt x="76" y="88"/>
                  </a:lnTo>
                  <a:lnTo>
                    <a:pt x="76" y="84"/>
                  </a:lnTo>
                  <a:lnTo>
                    <a:pt x="76" y="80"/>
                  </a:lnTo>
                  <a:lnTo>
                    <a:pt x="76" y="76"/>
                  </a:lnTo>
                  <a:lnTo>
                    <a:pt x="76" y="72"/>
                  </a:lnTo>
                  <a:lnTo>
                    <a:pt x="76" y="68"/>
                  </a:lnTo>
                  <a:lnTo>
                    <a:pt x="80" y="64"/>
                  </a:lnTo>
                  <a:lnTo>
                    <a:pt x="76" y="60"/>
                  </a:lnTo>
                  <a:lnTo>
                    <a:pt x="76" y="56"/>
                  </a:lnTo>
                  <a:lnTo>
                    <a:pt x="76" y="52"/>
                  </a:lnTo>
                  <a:lnTo>
                    <a:pt x="80" y="52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92" y="48"/>
                  </a:lnTo>
                  <a:lnTo>
                    <a:pt x="92" y="44"/>
                  </a:lnTo>
                  <a:lnTo>
                    <a:pt x="96" y="40"/>
                  </a:lnTo>
                  <a:lnTo>
                    <a:pt x="96" y="36"/>
                  </a:lnTo>
                  <a:lnTo>
                    <a:pt x="96" y="32"/>
                  </a:lnTo>
                  <a:lnTo>
                    <a:pt x="96" y="28"/>
                  </a:lnTo>
                  <a:lnTo>
                    <a:pt x="100" y="28"/>
                  </a:lnTo>
                  <a:lnTo>
                    <a:pt x="100" y="24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100" y="20"/>
                  </a:lnTo>
                  <a:lnTo>
                    <a:pt x="100" y="16"/>
                  </a:lnTo>
                  <a:lnTo>
                    <a:pt x="104" y="16"/>
                  </a:lnTo>
                  <a:lnTo>
                    <a:pt x="104" y="12"/>
                  </a:lnTo>
                  <a:lnTo>
                    <a:pt x="104" y="8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2" y="0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20" y="8"/>
                  </a:lnTo>
                  <a:lnTo>
                    <a:pt x="127" y="8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5" y="12"/>
                  </a:lnTo>
                  <a:lnTo>
                    <a:pt x="135" y="16"/>
                  </a:lnTo>
                  <a:lnTo>
                    <a:pt x="135" y="20"/>
                  </a:lnTo>
                  <a:lnTo>
                    <a:pt x="139" y="20"/>
                  </a:lnTo>
                  <a:lnTo>
                    <a:pt x="139" y="24"/>
                  </a:lnTo>
                  <a:lnTo>
                    <a:pt x="139" y="20"/>
                  </a:lnTo>
                  <a:lnTo>
                    <a:pt x="139" y="16"/>
                  </a:lnTo>
                  <a:lnTo>
                    <a:pt x="143" y="12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51" y="8"/>
                  </a:lnTo>
                  <a:lnTo>
                    <a:pt x="155" y="8"/>
                  </a:lnTo>
                  <a:lnTo>
                    <a:pt x="159" y="8"/>
                  </a:lnTo>
                  <a:lnTo>
                    <a:pt x="163" y="8"/>
                  </a:lnTo>
                  <a:lnTo>
                    <a:pt x="163" y="12"/>
                  </a:lnTo>
                  <a:lnTo>
                    <a:pt x="167" y="12"/>
                  </a:lnTo>
                  <a:lnTo>
                    <a:pt x="167" y="16"/>
                  </a:lnTo>
                  <a:lnTo>
                    <a:pt x="171" y="16"/>
                  </a:lnTo>
                  <a:lnTo>
                    <a:pt x="171" y="20"/>
                  </a:lnTo>
                  <a:lnTo>
                    <a:pt x="175" y="24"/>
                  </a:lnTo>
                  <a:lnTo>
                    <a:pt x="175" y="28"/>
                  </a:lnTo>
                  <a:lnTo>
                    <a:pt x="179" y="28"/>
                  </a:lnTo>
                  <a:lnTo>
                    <a:pt x="179" y="32"/>
                  </a:lnTo>
                  <a:lnTo>
                    <a:pt x="183" y="32"/>
                  </a:lnTo>
                  <a:lnTo>
                    <a:pt x="183" y="36"/>
                  </a:lnTo>
                  <a:lnTo>
                    <a:pt x="187" y="36"/>
                  </a:lnTo>
                  <a:lnTo>
                    <a:pt x="187" y="40"/>
                  </a:lnTo>
                  <a:lnTo>
                    <a:pt x="191" y="40"/>
                  </a:lnTo>
                  <a:lnTo>
                    <a:pt x="195" y="40"/>
                  </a:lnTo>
                  <a:lnTo>
                    <a:pt x="195" y="44"/>
                  </a:lnTo>
                  <a:lnTo>
                    <a:pt x="199" y="44"/>
                  </a:lnTo>
                  <a:lnTo>
                    <a:pt x="203" y="44"/>
                  </a:lnTo>
                  <a:lnTo>
                    <a:pt x="211" y="48"/>
                  </a:lnTo>
                  <a:lnTo>
                    <a:pt x="211" y="52"/>
                  </a:lnTo>
                  <a:lnTo>
                    <a:pt x="215" y="52"/>
                  </a:lnTo>
                  <a:lnTo>
                    <a:pt x="215" y="56"/>
                  </a:lnTo>
                  <a:lnTo>
                    <a:pt x="219" y="56"/>
                  </a:lnTo>
                  <a:lnTo>
                    <a:pt x="223" y="60"/>
                  </a:lnTo>
                  <a:lnTo>
                    <a:pt x="227" y="60"/>
                  </a:lnTo>
                  <a:lnTo>
                    <a:pt x="231" y="64"/>
                  </a:lnTo>
                  <a:lnTo>
                    <a:pt x="235" y="64"/>
                  </a:lnTo>
                  <a:lnTo>
                    <a:pt x="239" y="68"/>
                  </a:lnTo>
                  <a:lnTo>
                    <a:pt x="239" y="72"/>
                  </a:lnTo>
                  <a:lnTo>
                    <a:pt x="243" y="72"/>
                  </a:lnTo>
                  <a:lnTo>
                    <a:pt x="243" y="76"/>
                  </a:lnTo>
                  <a:lnTo>
                    <a:pt x="239" y="76"/>
                  </a:lnTo>
                  <a:lnTo>
                    <a:pt x="239" y="80"/>
                  </a:lnTo>
                  <a:lnTo>
                    <a:pt x="235" y="80"/>
                  </a:lnTo>
                  <a:lnTo>
                    <a:pt x="235" y="84"/>
                  </a:lnTo>
                  <a:lnTo>
                    <a:pt x="231" y="88"/>
                  </a:lnTo>
                  <a:lnTo>
                    <a:pt x="231" y="91"/>
                  </a:lnTo>
                  <a:lnTo>
                    <a:pt x="231" y="95"/>
                  </a:lnTo>
                  <a:lnTo>
                    <a:pt x="231" y="99"/>
                  </a:lnTo>
                  <a:lnTo>
                    <a:pt x="227" y="99"/>
                  </a:lnTo>
                  <a:lnTo>
                    <a:pt x="227" y="103"/>
                  </a:lnTo>
                  <a:lnTo>
                    <a:pt x="223" y="103"/>
                  </a:lnTo>
                  <a:lnTo>
                    <a:pt x="227" y="107"/>
                  </a:lnTo>
                  <a:lnTo>
                    <a:pt x="231" y="107"/>
                  </a:lnTo>
                  <a:lnTo>
                    <a:pt x="235" y="107"/>
                  </a:lnTo>
                  <a:lnTo>
                    <a:pt x="239" y="107"/>
                  </a:lnTo>
                  <a:lnTo>
                    <a:pt x="243" y="111"/>
                  </a:lnTo>
                  <a:lnTo>
                    <a:pt x="247" y="111"/>
                  </a:lnTo>
                  <a:lnTo>
                    <a:pt x="251" y="111"/>
                  </a:lnTo>
                  <a:lnTo>
                    <a:pt x="255" y="111"/>
                  </a:lnTo>
                  <a:lnTo>
                    <a:pt x="259" y="111"/>
                  </a:lnTo>
                  <a:lnTo>
                    <a:pt x="259" y="107"/>
                  </a:lnTo>
                  <a:lnTo>
                    <a:pt x="263" y="107"/>
                  </a:lnTo>
                  <a:lnTo>
                    <a:pt x="267" y="107"/>
                  </a:lnTo>
                  <a:lnTo>
                    <a:pt x="267" y="111"/>
                  </a:lnTo>
                  <a:lnTo>
                    <a:pt x="271" y="111"/>
                  </a:lnTo>
                  <a:lnTo>
                    <a:pt x="271" y="107"/>
                  </a:lnTo>
                  <a:lnTo>
                    <a:pt x="271" y="103"/>
                  </a:lnTo>
                  <a:lnTo>
                    <a:pt x="275" y="99"/>
                  </a:lnTo>
                  <a:lnTo>
                    <a:pt x="279" y="99"/>
                  </a:lnTo>
                  <a:lnTo>
                    <a:pt x="279" y="95"/>
                  </a:lnTo>
                  <a:lnTo>
                    <a:pt x="283" y="95"/>
                  </a:lnTo>
                  <a:lnTo>
                    <a:pt x="283" y="91"/>
                  </a:lnTo>
                  <a:lnTo>
                    <a:pt x="287" y="88"/>
                  </a:lnTo>
                  <a:lnTo>
                    <a:pt x="287" y="84"/>
                  </a:lnTo>
                  <a:lnTo>
                    <a:pt x="287" y="80"/>
                  </a:lnTo>
                  <a:lnTo>
                    <a:pt x="287" y="76"/>
                  </a:lnTo>
                  <a:lnTo>
                    <a:pt x="291" y="76"/>
                  </a:lnTo>
                  <a:lnTo>
                    <a:pt x="291" y="72"/>
                  </a:lnTo>
                  <a:lnTo>
                    <a:pt x="295" y="72"/>
                  </a:lnTo>
                  <a:lnTo>
                    <a:pt x="299" y="76"/>
                  </a:lnTo>
                  <a:lnTo>
                    <a:pt x="299" y="80"/>
                  </a:lnTo>
                  <a:lnTo>
                    <a:pt x="299" y="84"/>
                  </a:lnTo>
                  <a:lnTo>
                    <a:pt x="299" y="88"/>
                  </a:lnTo>
                  <a:lnTo>
                    <a:pt x="299" y="91"/>
                  </a:lnTo>
                  <a:lnTo>
                    <a:pt x="299" y="95"/>
                  </a:lnTo>
                  <a:lnTo>
                    <a:pt x="299" y="99"/>
                  </a:lnTo>
                  <a:lnTo>
                    <a:pt x="299" y="103"/>
                  </a:lnTo>
                  <a:lnTo>
                    <a:pt x="295" y="103"/>
                  </a:lnTo>
                  <a:lnTo>
                    <a:pt x="295" y="107"/>
                  </a:lnTo>
                  <a:lnTo>
                    <a:pt x="291" y="107"/>
                  </a:lnTo>
                  <a:lnTo>
                    <a:pt x="291" y="111"/>
                  </a:lnTo>
                  <a:lnTo>
                    <a:pt x="287" y="111"/>
                  </a:lnTo>
                  <a:lnTo>
                    <a:pt x="283" y="111"/>
                  </a:lnTo>
                  <a:lnTo>
                    <a:pt x="283" y="115"/>
                  </a:lnTo>
                  <a:lnTo>
                    <a:pt x="279" y="119"/>
                  </a:lnTo>
                  <a:lnTo>
                    <a:pt x="275" y="119"/>
                  </a:lnTo>
                  <a:lnTo>
                    <a:pt x="275" y="123"/>
                  </a:lnTo>
                  <a:lnTo>
                    <a:pt x="271" y="123"/>
                  </a:lnTo>
                  <a:lnTo>
                    <a:pt x="267" y="123"/>
                  </a:lnTo>
                  <a:lnTo>
                    <a:pt x="267" y="127"/>
                  </a:lnTo>
                  <a:lnTo>
                    <a:pt x="271" y="127"/>
                  </a:lnTo>
                  <a:lnTo>
                    <a:pt x="267" y="127"/>
                  </a:lnTo>
                  <a:lnTo>
                    <a:pt x="267" y="131"/>
                  </a:lnTo>
                  <a:lnTo>
                    <a:pt x="263" y="131"/>
                  </a:lnTo>
                  <a:lnTo>
                    <a:pt x="263" y="135"/>
                  </a:lnTo>
                  <a:lnTo>
                    <a:pt x="259" y="135"/>
                  </a:lnTo>
                  <a:lnTo>
                    <a:pt x="259" y="139"/>
                  </a:lnTo>
                  <a:lnTo>
                    <a:pt x="259" y="143"/>
                  </a:lnTo>
                  <a:lnTo>
                    <a:pt x="255" y="143"/>
                  </a:lnTo>
                  <a:lnTo>
                    <a:pt x="255" y="147"/>
                  </a:lnTo>
                  <a:lnTo>
                    <a:pt x="251" y="151"/>
                  </a:lnTo>
                  <a:lnTo>
                    <a:pt x="251" y="155"/>
                  </a:lnTo>
                  <a:lnTo>
                    <a:pt x="247" y="155"/>
                  </a:lnTo>
                  <a:lnTo>
                    <a:pt x="243" y="159"/>
                  </a:lnTo>
                  <a:lnTo>
                    <a:pt x="243" y="163"/>
                  </a:lnTo>
                  <a:lnTo>
                    <a:pt x="239" y="163"/>
                  </a:lnTo>
                  <a:lnTo>
                    <a:pt x="239" y="167"/>
                  </a:lnTo>
                  <a:lnTo>
                    <a:pt x="235" y="171"/>
                  </a:lnTo>
                  <a:lnTo>
                    <a:pt x="239" y="175"/>
                  </a:lnTo>
                  <a:lnTo>
                    <a:pt x="235" y="179"/>
                  </a:lnTo>
                  <a:lnTo>
                    <a:pt x="235" y="183"/>
                  </a:lnTo>
                  <a:lnTo>
                    <a:pt x="235" y="187"/>
                  </a:lnTo>
                  <a:lnTo>
                    <a:pt x="235" y="191"/>
                  </a:lnTo>
                  <a:lnTo>
                    <a:pt x="235" y="195"/>
                  </a:lnTo>
                  <a:lnTo>
                    <a:pt x="231" y="195"/>
                  </a:lnTo>
                  <a:lnTo>
                    <a:pt x="231" y="199"/>
                  </a:lnTo>
                  <a:lnTo>
                    <a:pt x="231" y="203"/>
                  </a:lnTo>
                  <a:lnTo>
                    <a:pt x="235" y="203"/>
                  </a:lnTo>
                  <a:lnTo>
                    <a:pt x="235" y="207"/>
                  </a:lnTo>
                  <a:lnTo>
                    <a:pt x="231" y="207"/>
                  </a:lnTo>
                  <a:lnTo>
                    <a:pt x="231" y="211"/>
                  </a:lnTo>
                  <a:lnTo>
                    <a:pt x="231" y="215"/>
                  </a:lnTo>
                  <a:lnTo>
                    <a:pt x="231" y="219"/>
                  </a:lnTo>
                  <a:lnTo>
                    <a:pt x="227" y="219"/>
                  </a:lnTo>
                  <a:lnTo>
                    <a:pt x="227" y="223"/>
                  </a:lnTo>
                  <a:lnTo>
                    <a:pt x="227" y="227"/>
                  </a:lnTo>
                  <a:lnTo>
                    <a:pt x="227" y="231"/>
                  </a:lnTo>
                  <a:lnTo>
                    <a:pt x="227" y="235"/>
                  </a:lnTo>
                  <a:lnTo>
                    <a:pt x="227" y="239"/>
                  </a:lnTo>
                  <a:lnTo>
                    <a:pt x="227" y="243"/>
                  </a:lnTo>
                  <a:lnTo>
                    <a:pt x="227" y="247"/>
                  </a:lnTo>
                  <a:lnTo>
                    <a:pt x="227" y="251"/>
                  </a:lnTo>
                  <a:lnTo>
                    <a:pt x="231" y="251"/>
                  </a:lnTo>
                  <a:lnTo>
                    <a:pt x="231" y="255"/>
                  </a:lnTo>
                  <a:lnTo>
                    <a:pt x="235" y="255"/>
                  </a:lnTo>
                  <a:lnTo>
                    <a:pt x="239" y="255"/>
                  </a:lnTo>
                  <a:lnTo>
                    <a:pt x="243" y="259"/>
                  </a:lnTo>
                  <a:lnTo>
                    <a:pt x="243" y="263"/>
                  </a:lnTo>
                  <a:lnTo>
                    <a:pt x="247" y="263"/>
                  </a:lnTo>
                  <a:lnTo>
                    <a:pt x="247" y="267"/>
                  </a:lnTo>
                  <a:lnTo>
                    <a:pt x="247" y="271"/>
                  </a:lnTo>
                  <a:lnTo>
                    <a:pt x="243" y="275"/>
                  </a:lnTo>
                  <a:lnTo>
                    <a:pt x="243" y="279"/>
                  </a:lnTo>
                  <a:lnTo>
                    <a:pt x="247" y="283"/>
                  </a:lnTo>
                  <a:lnTo>
                    <a:pt x="247" y="287"/>
                  </a:lnTo>
                  <a:lnTo>
                    <a:pt x="251" y="287"/>
                  </a:lnTo>
                  <a:lnTo>
                    <a:pt x="255" y="287"/>
                  </a:lnTo>
                  <a:lnTo>
                    <a:pt x="255" y="291"/>
                  </a:lnTo>
                  <a:lnTo>
                    <a:pt x="255" y="295"/>
                  </a:lnTo>
                  <a:lnTo>
                    <a:pt x="255" y="299"/>
                  </a:lnTo>
                  <a:lnTo>
                    <a:pt x="251" y="303"/>
                  </a:lnTo>
                  <a:lnTo>
                    <a:pt x="251" y="307"/>
                  </a:lnTo>
                  <a:lnTo>
                    <a:pt x="247" y="307"/>
                  </a:lnTo>
                  <a:lnTo>
                    <a:pt x="247" y="311"/>
                  </a:lnTo>
                  <a:lnTo>
                    <a:pt x="243" y="315"/>
                  </a:lnTo>
                  <a:lnTo>
                    <a:pt x="243" y="319"/>
                  </a:lnTo>
                  <a:lnTo>
                    <a:pt x="243" y="323"/>
                  </a:lnTo>
                  <a:lnTo>
                    <a:pt x="239" y="323"/>
                  </a:lnTo>
                  <a:lnTo>
                    <a:pt x="239" y="327"/>
                  </a:lnTo>
                  <a:lnTo>
                    <a:pt x="231" y="327"/>
                  </a:lnTo>
                  <a:lnTo>
                    <a:pt x="231" y="331"/>
                  </a:lnTo>
                  <a:lnTo>
                    <a:pt x="223" y="331"/>
                  </a:lnTo>
                  <a:lnTo>
                    <a:pt x="219" y="335"/>
                  </a:lnTo>
                  <a:lnTo>
                    <a:pt x="215" y="335"/>
                  </a:lnTo>
                  <a:lnTo>
                    <a:pt x="211" y="335"/>
                  </a:lnTo>
                  <a:lnTo>
                    <a:pt x="207" y="339"/>
                  </a:lnTo>
                  <a:lnTo>
                    <a:pt x="203" y="339"/>
                  </a:lnTo>
                  <a:lnTo>
                    <a:pt x="199" y="339"/>
                  </a:lnTo>
                  <a:lnTo>
                    <a:pt x="195" y="339"/>
                  </a:lnTo>
                  <a:lnTo>
                    <a:pt x="191" y="339"/>
                  </a:lnTo>
                  <a:lnTo>
                    <a:pt x="187" y="339"/>
                  </a:lnTo>
                  <a:lnTo>
                    <a:pt x="183" y="339"/>
                  </a:lnTo>
                  <a:lnTo>
                    <a:pt x="179" y="339"/>
                  </a:lnTo>
                  <a:lnTo>
                    <a:pt x="175" y="339"/>
                  </a:lnTo>
                  <a:lnTo>
                    <a:pt x="171" y="339"/>
                  </a:lnTo>
                  <a:lnTo>
                    <a:pt x="171" y="335"/>
                  </a:lnTo>
                  <a:lnTo>
                    <a:pt x="167" y="335"/>
                  </a:lnTo>
                  <a:lnTo>
                    <a:pt x="167" y="339"/>
                  </a:lnTo>
                  <a:lnTo>
                    <a:pt x="171" y="339"/>
                  </a:lnTo>
                  <a:lnTo>
                    <a:pt x="171" y="343"/>
                  </a:lnTo>
                  <a:lnTo>
                    <a:pt x="167" y="343"/>
                  </a:lnTo>
                  <a:lnTo>
                    <a:pt x="167" y="347"/>
                  </a:lnTo>
                  <a:lnTo>
                    <a:pt x="171" y="347"/>
                  </a:lnTo>
                  <a:lnTo>
                    <a:pt x="175" y="347"/>
                  </a:lnTo>
                  <a:lnTo>
                    <a:pt x="175" y="351"/>
                  </a:lnTo>
                  <a:lnTo>
                    <a:pt x="171" y="347"/>
                  </a:lnTo>
                  <a:lnTo>
                    <a:pt x="171" y="351"/>
                  </a:lnTo>
                  <a:lnTo>
                    <a:pt x="171" y="355"/>
                  </a:lnTo>
                  <a:lnTo>
                    <a:pt x="171" y="359"/>
                  </a:lnTo>
                  <a:lnTo>
                    <a:pt x="167" y="363"/>
                  </a:lnTo>
                  <a:lnTo>
                    <a:pt x="167" y="367"/>
                  </a:lnTo>
                  <a:lnTo>
                    <a:pt x="167" y="371"/>
                  </a:lnTo>
                  <a:lnTo>
                    <a:pt x="171" y="371"/>
                  </a:lnTo>
                  <a:lnTo>
                    <a:pt x="171" y="375"/>
                  </a:lnTo>
                  <a:lnTo>
                    <a:pt x="167" y="375"/>
                  </a:lnTo>
                  <a:lnTo>
                    <a:pt x="171" y="375"/>
                  </a:lnTo>
                  <a:lnTo>
                    <a:pt x="171" y="379"/>
                  </a:lnTo>
                  <a:lnTo>
                    <a:pt x="167" y="379"/>
                  </a:lnTo>
                  <a:lnTo>
                    <a:pt x="163" y="383"/>
                  </a:lnTo>
                  <a:lnTo>
                    <a:pt x="159" y="383"/>
                  </a:lnTo>
                  <a:lnTo>
                    <a:pt x="159" y="387"/>
                  </a:lnTo>
                  <a:lnTo>
                    <a:pt x="155" y="387"/>
                  </a:lnTo>
                  <a:lnTo>
                    <a:pt x="151" y="387"/>
                  </a:lnTo>
                  <a:lnTo>
                    <a:pt x="147" y="387"/>
                  </a:lnTo>
                  <a:lnTo>
                    <a:pt x="147" y="383"/>
                  </a:lnTo>
                  <a:lnTo>
                    <a:pt x="143" y="383"/>
                  </a:lnTo>
                  <a:lnTo>
                    <a:pt x="139" y="383"/>
                  </a:lnTo>
                  <a:lnTo>
                    <a:pt x="135" y="379"/>
                  </a:lnTo>
                  <a:lnTo>
                    <a:pt x="131" y="379"/>
                  </a:lnTo>
                  <a:lnTo>
                    <a:pt x="131" y="375"/>
                  </a:lnTo>
                  <a:lnTo>
                    <a:pt x="127" y="375"/>
                  </a:lnTo>
                  <a:lnTo>
                    <a:pt x="127" y="379"/>
                  </a:lnTo>
                  <a:lnTo>
                    <a:pt x="127" y="383"/>
                  </a:lnTo>
                  <a:lnTo>
                    <a:pt x="127" y="387"/>
                  </a:lnTo>
                  <a:lnTo>
                    <a:pt x="127" y="391"/>
                  </a:lnTo>
                  <a:lnTo>
                    <a:pt x="127" y="395"/>
                  </a:lnTo>
                  <a:lnTo>
                    <a:pt x="127" y="399"/>
                  </a:lnTo>
                  <a:lnTo>
                    <a:pt x="127" y="403"/>
                  </a:lnTo>
                  <a:lnTo>
                    <a:pt x="127" y="407"/>
                  </a:lnTo>
                  <a:lnTo>
                    <a:pt x="131" y="407"/>
                  </a:lnTo>
                  <a:lnTo>
                    <a:pt x="135" y="407"/>
                  </a:lnTo>
                  <a:lnTo>
                    <a:pt x="135" y="411"/>
                  </a:lnTo>
                  <a:lnTo>
                    <a:pt x="143" y="411"/>
                  </a:lnTo>
                  <a:lnTo>
                    <a:pt x="143" y="407"/>
                  </a:lnTo>
                  <a:lnTo>
                    <a:pt x="139" y="407"/>
                  </a:lnTo>
                  <a:lnTo>
                    <a:pt x="143" y="407"/>
                  </a:lnTo>
                  <a:lnTo>
                    <a:pt x="147" y="407"/>
                  </a:lnTo>
                  <a:lnTo>
                    <a:pt x="147" y="403"/>
                  </a:lnTo>
                  <a:lnTo>
                    <a:pt x="147" y="407"/>
                  </a:lnTo>
                  <a:lnTo>
                    <a:pt x="151" y="407"/>
                  </a:lnTo>
                  <a:lnTo>
                    <a:pt x="151" y="411"/>
                  </a:lnTo>
                  <a:lnTo>
                    <a:pt x="151" y="415"/>
                  </a:lnTo>
                  <a:lnTo>
                    <a:pt x="151" y="419"/>
                  </a:lnTo>
                  <a:lnTo>
                    <a:pt x="147" y="419"/>
                  </a:lnTo>
                  <a:lnTo>
                    <a:pt x="143" y="423"/>
                  </a:lnTo>
                  <a:lnTo>
                    <a:pt x="139" y="419"/>
                  </a:lnTo>
                  <a:lnTo>
                    <a:pt x="139" y="415"/>
                  </a:lnTo>
                  <a:lnTo>
                    <a:pt x="135" y="415"/>
                  </a:lnTo>
                  <a:lnTo>
                    <a:pt x="131" y="415"/>
                  </a:lnTo>
                  <a:lnTo>
                    <a:pt x="127" y="419"/>
                  </a:lnTo>
                  <a:lnTo>
                    <a:pt x="131" y="419"/>
                  </a:lnTo>
                  <a:lnTo>
                    <a:pt x="131" y="423"/>
                  </a:lnTo>
                  <a:lnTo>
                    <a:pt x="135" y="423"/>
                  </a:lnTo>
                  <a:lnTo>
                    <a:pt x="139" y="423"/>
                  </a:lnTo>
                  <a:lnTo>
                    <a:pt x="139" y="427"/>
                  </a:lnTo>
                  <a:lnTo>
                    <a:pt x="135" y="427"/>
                  </a:lnTo>
                  <a:lnTo>
                    <a:pt x="131" y="427"/>
                  </a:lnTo>
                  <a:lnTo>
                    <a:pt x="131" y="431"/>
                  </a:lnTo>
                  <a:lnTo>
                    <a:pt x="127" y="431"/>
                  </a:lnTo>
                  <a:lnTo>
                    <a:pt x="127" y="435"/>
                  </a:lnTo>
                  <a:lnTo>
                    <a:pt x="124" y="435"/>
                  </a:lnTo>
                  <a:lnTo>
                    <a:pt x="124" y="439"/>
                  </a:lnTo>
                  <a:lnTo>
                    <a:pt x="124" y="443"/>
                  </a:lnTo>
                  <a:lnTo>
                    <a:pt x="127" y="443"/>
                  </a:lnTo>
                  <a:lnTo>
                    <a:pt x="124" y="447"/>
                  </a:lnTo>
                  <a:lnTo>
                    <a:pt x="124" y="451"/>
                  </a:lnTo>
                  <a:lnTo>
                    <a:pt x="124" y="455"/>
                  </a:lnTo>
                  <a:lnTo>
                    <a:pt x="120" y="459"/>
                  </a:lnTo>
                  <a:lnTo>
                    <a:pt x="120" y="463"/>
                  </a:lnTo>
                  <a:lnTo>
                    <a:pt x="120" y="467"/>
                  </a:lnTo>
                  <a:lnTo>
                    <a:pt x="116" y="467"/>
                  </a:lnTo>
                  <a:lnTo>
                    <a:pt x="112" y="467"/>
                  </a:lnTo>
                  <a:lnTo>
                    <a:pt x="108" y="467"/>
                  </a:lnTo>
                  <a:lnTo>
                    <a:pt x="108" y="471"/>
                  </a:lnTo>
                  <a:lnTo>
                    <a:pt x="104" y="471"/>
                  </a:lnTo>
                  <a:lnTo>
                    <a:pt x="100" y="471"/>
                  </a:lnTo>
                  <a:lnTo>
                    <a:pt x="100" y="475"/>
                  </a:lnTo>
                  <a:lnTo>
                    <a:pt x="96" y="475"/>
                  </a:lnTo>
                  <a:lnTo>
                    <a:pt x="96" y="479"/>
                  </a:lnTo>
                  <a:lnTo>
                    <a:pt x="92" y="479"/>
                  </a:lnTo>
                  <a:lnTo>
                    <a:pt x="92" y="483"/>
                  </a:lnTo>
                  <a:lnTo>
                    <a:pt x="92" y="487"/>
                  </a:lnTo>
                  <a:lnTo>
                    <a:pt x="88" y="491"/>
                  </a:lnTo>
                  <a:lnTo>
                    <a:pt x="92" y="495"/>
                  </a:lnTo>
                  <a:lnTo>
                    <a:pt x="92" y="499"/>
                  </a:lnTo>
                  <a:lnTo>
                    <a:pt x="92" y="503"/>
                  </a:lnTo>
                  <a:lnTo>
                    <a:pt x="96" y="503"/>
                  </a:lnTo>
                  <a:lnTo>
                    <a:pt x="100" y="507"/>
                  </a:lnTo>
                  <a:lnTo>
                    <a:pt x="100" y="511"/>
                  </a:lnTo>
                  <a:lnTo>
                    <a:pt x="104" y="511"/>
                  </a:lnTo>
                  <a:lnTo>
                    <a:pt x="108" y="511"/>
                  </a:lnTo>
                  <a:lnTo>
                    <a:pt x="112" y="511"/>
                  </a:lnTo>
                  <a:lnTo>
                    <a:pt x="116" y="511"/>
                  </a:lnTo>
                  <a:lnTo>
                    <a:pt x="116" y="515"/>
                  </a:lnTo>
                  <a:lnTo>
                    <a:pt x="120" y="519"/>
                  </a:lnTo>
                  <a:lnTo>
                    <a:pt x="116" y="523"/>
                  </a:lnTo>
                  <a:lnTo>
                    <a:pt x="116" y="526"/>
                  </a:lnTo>
                  <a:lnTo>
                    <a:pt x="112" y="526"/>
                  </a:lnTo>
                  <a:lnTo>
                    <a:pt x="116" y="526"/>
                  </a:lnTo>
                  <a:lnTo>
                    <a:pt x="116" y="530"/>
                  </a:lnTo>
                  <a:lnTo>
                    <a:pt x="116" y="534"/>
                  </a:lnTo>
                  <a:lnTo>
                    <a:pt x="112" y="534"/>
                  </a:lnTo>
                  <a:lnTo>
                    <a:pt x="108" y="538"/>
                  </a:lnTo>
                  <a:lnTo>
                    <a:pt x="104" y="538"/>
                  </a:lnTo>
                  <a:lnTo>
                    <a:pt x="104" y="542"/>
                  </a:lnTo>
                  <a:lnTo>
                    <a:pt x="100" y="542"/>
                  </a:lnTo>
                  <a:lnTo>
                    <a:pt x="100" y="546"/>
                  </a:lnTo>
                  <a:lnTo>
                    <a:pt x="96" y="546"/>
                  </a:lnTo>
                  <a:lnTo>
                    <a:pt x="96" y="550"/>
                  </a:lnTo>
                  <a:lnTo>
                    <a:pt x="92" y="550"/>
                  </a:lnTo>
                  <a:lnTo>
                    <a:pt x="92" y="554"/>
                  </a:lnTo>
                  <a:lnTo>
                    <a:pt x="88" y="554"/>
                  </a:lnTo>
                  <a:lnTo>
                    <a:pt x="88" y="558"/>
                  </a:lnTo>
                  <a:lnTo>
                    <a:pt x="88" y="562"/>
                  </a:lnTo>
                  <a:lnTo>
                    <a:pt x="88" y="558"/>
                  </a:lnTo>
                  <a:lnTo>
                    <a:pt x="88" y="562"/>
                  </a:lnTo>
                  <a:lnTo>
                    <a:pt x="88" y="566"/>
                  </a:lnTo>
                  <a:lnTo>
                    <a:pt x="88" y="570"/>
                  </a:lnTo>
                  <a:lnTo>
                    <a:pt x="88" y="574"/>
                  </a:lnTo>
                  <a:lnTo>
                    <a:pt x="84" y="574"/>
                  </a:lnTo>
                  <a:lnTo>
                    <a:pt x="84" y="578"/>
                  </a:lnTo>
                  <a:lnTo>
                    <a:pt x="80" y="578"/>
                  </a:lnTo>
                  <a:lnTo>
                    <a:pt x="76" y="578"/>
                  </a:lnTo>
                  <a:lnTo>
                    <a:pt x="76" y="574"/>
                  </a:lnTo>
                  <a:lnTo>
                    <a:pt x="72" y="574"/>
                  </a:lnTo>
                  <a:lnTo>
                    <a:pt x="68" y="574"/>
                  </a:lnTo>
                  <a:lnTo>
                    <a:pt x="72" y="574"/>
                  </a:lnTo>
                  <a:lnTo>
                    <a:pt x="76" y="574"/>
                  </a:lnTo>
                  <a:lnTo>
                    <a:pt x="76" y="578"/>
                  </a:lnTo>
                  <a:lnTo>
                    <a:pt x="80" y="578"/>
                  </a:lnTo>
                  <a:lnTo>
                    <a:pt x="76" y="578"/>
                  </a:lnTo>
                  <a:lnTo>
                    <a:pt x="76" y="582"/>
                  </a:lnTo>
                  <a:lnTo>
                    <a:pt x="72" y="582"/>
                  </a:lnTo>
                  <a:lnTo>
                    <a:pt x="68" y="582"/>
                  </a:lnTo>
                  <a:lnTo>
                    <a:pt x="68" y="586"/>
                  </a:lnTo>
                  <a:lnTo>
                    <a:pt x="68" y="590"/>
                  </a:lnTo>
                  <a:lnTo>
                    <a:pt x="68" y="594"/>
                  </a:lnTo>
                  <a:lnTo>
                    <a:pt x="64" y="598"/>
                  </a:lnTo>
                  <a:lnTo>
                    <a:pt x="68" y="598"/>
                  </a:lnTo>
                  <a:lnTo>
                    <a:pt x="68" y="602"/>
                  </a:lnTo>
                  <a:lnTo>
                    <a:pt x="68" y="606"/>
                  </a:lnTo>
                  <a:lnTo>
                    <a:pt x="68" y="610"/>
                  </a:lnTo>
                  <a:lnTo>
                    <a:pt x="64" y="610"/>
                  </a:lnTo>
                  <a:lnTo>
                    <a:pt x="60" y="610"/>
                  </a:lnTo>
                  <a:lnTo>
                    <a:pt x="64" y="610"/>
                  </a:lnTo>
                  <a:lnTo>
                    <a:pt x="68" y="610"/>
                  </a:lnTo>
                  <a:lnTo>
                    <a:pt x="68" y="614"/>
                  </a:lnTo>
                  <a:lnTo>
                    <a:pt x="72" y="614"/>
                  </a:lnTo>
                  <a:lnTo>
                    <a:pt x="72" y="618"/>
                  </a:lnTo>
                  <a:lnTo>
                    <a:pt x="72" y="622"/>
                  </a:lnTo>
                  <a:lnTo>
                    <a:pt x="76" y="622"/>
                  </a:lnTo>
                  <a:lnTo>
                    <a:pt x="76" y="626"/>
                  </a:lnTo>
                  <a:lnTo>
                    <a:pt x="76" y="630"/>
                  </a:lnTo>
                  <a:lnTo>
                    <a:pt x="76" y="626"/>
                  </a:lnTo>
                  <a:lnTo>
                    <a:pt x="72" y="626"/>
                  </a:lnTo>
                  <a:lnTo>
                    <a:pt x="68" y="626"/>
                  </a:lnTo>
                  <a:lnTo>
                    <a:pt x="64" y="622"/>
                  </a:lnTo>
                  <a:lnTo>
                    <a:pt x="60" y="622"/>
                  </a:lnTo>
                  <a:lnTo>
                    <a:pt x="56" y="622"/>
                  </a:lnTo>
                  <a:lnTo>
                    <a:pt x="52" y="622"/>
                  </a:lnTo>
                  <a:lnTo>
                    <a:pt x="48" y="622"/>
                  </a:lnTo>
                  <a:lnTo>
                    <a:pt x="44" y="622"/>
                  </a:lnTo>
                  <a:lnTo>
                    <a:pt x="36" y="622"/>
                  </a:lnTo>
                  <a:lnTo>
                    <a:pt x="28" y="622"/>
                  </a:lnTo>
                  <a:lnTo>
                    <a:pt x="24" y="618"/>
                  </a:lnTo>
                  <a:lnTo>
                    <a:pt x="20" y="614"/>
                  </a:lnTo>
                  <a:lnTo>
                    <a:pt x="16" y="610"/>
                  </a:lnTo>
                  <a:lnTo>
                    <a:pt x="20" y="606"/>
                  </a:lnTo>
                  <a:lnTo>
                    <a:pt x="20" y="602"/>
                  </a:lnTo>
                  <a:lnTo>
                    <a:pt x="16" y="602"/>
                  </a:lnTo>
                  <a:lnTo>
                    <a:pt x="16" y="598"/>
                  </a:lnTo>
                  <a:lnTo>
                    <a:pt x="20" y="598"/>
                  </a:lnTo>
                  <a:lnTo>
                    <a:pt x="20" y="594"/>
                  </a:lnTo>
                  <a:lnTo>
                    <a:pt x="16" y="590"/>
                  </a:lnTo>
                  <a:lnTo>
                    <a:pt x="20" y="590"/>
                  </a:lnTo>
                  <a:lnTo>
                    <a:pt x="16" y="590"/>
                  </a:lnTo>
                  <a:lnTo>
                    <a:pt x="12" y="590"/>
                  </a:lnTo>
                  <a:lnTo>
                    <a:pt x="8" y="590"/>
                  </a:lnTo>
                  <a:lnTo>
                    <a:pt x="8" y="594"/>
                  </a:lnTo>
                  <a:lnTo>
                    <a:pt x="4" y="594"/>
                  </a:lnTo>
                  <a:lnTo>
                    <a:pt x="4" y="590"/>
                  </a:lnTo>
                  <a:lnTo>
                    <a:pt x="4" y="586"/>
                  </a:lnTo>
                  <a:lnTo>
                    <a:pt x="4" y="582"/>
                  </a:lnTo>
                  <a:lnTo>
                    <a:pt x="0" y="578"/>
                  </a:lnTo>
                  <a:lnTo>
                    <a:pt x="0" y="574"/>
                  </a:lnTo>
                  <a:lnTo>
                    <a:pt x="0" y="570"/>
                  </a:lnTo>
                  <a:lnTo>
                    <a:pt x="0" y="566"/>
                  </a:lnTo>
                  <a:lnTo>
                    <a:pt x="0" y="562"/>
                  </a:lnTo>
                  <a:lnTo>
                    <a:pt x="0" y="558"/>
                  </a:lnTo>
                  <a:lnTo>
                    <a:pt x="4" y="558"/>
                  </a:lnTo>
                  <a:lnTo>
                    <a:pt x="8" y="558"/>
                  </a:lnTo>
                  <a:lnTo>
                    <a:pt x="4" y="558"/>
                  </a:lnTo>
                  <a:lnTo>
                    <a:pt x="8" y="554"/>
                  </a:lnTo>
                  <a:lnTo>
                    <a:pt x="8" y="550"/>
                  </a:lnTo>
                  <a:lnTo>
                    <a:pt x="12" y="550"/>
                  </a:lnTo>
                  <a:lnTo>
                    <a:pt x="16" y="550"/>
                  </a:lnTo>
                  <a:lnTo>
                    <a:pt x="16" y="546"/>
                  </a:lnTo>
                  <a:lnTo>
                    <a:pt x="16" y="542"/>
                  </a:lnTo>
                  <a:lnTo>
                    <a:pt x="12" y="542"/>
                  </a:lnTo>
                  <a:lnTo>
                    <a:pt x="16" y="542"/>
                  </a:lnTo>
                  <a:lnTo>
                    <a:pt x="16" y="538"/>
                  </a:lnTo>
                  <a:lnTo>
                    <a:pt x="20" y="538"/>
                  </a:lnTo>
                  <a:lnTo>
                    <a:pt x="20" y="534"/>
                  </a:lnTo>
                  <a:lnTo>
                    <a:pt x="16" y="530"/>
                  </a:lnTo>
                  <a:lnTo>
                    <a:pt x="16" y="526"/>
                  </a:lnTo>
                  <a:lnTo>
                    <a:pt x="16" y="523"/>
                  </a:lnTo>
                  <a:lnTo>
                    <a:pt x="20" y="523"/>
                  </a:lnTo>
                  <a:lnTo>
                    <a:pt x="16" y="519"/>
                  </a:lnTo>
                  <a:lnTo>
                    <a:pt x="20" y="519"/>
                  </a:lnTo>
                  <a:lnTo>
                    <a:pt x="24" y="515"/>
                  </a:lnTo>
                  <a:lnTo>
                    <a:pt x="24" y="511"/>
                  </a:lnTo>
                  <a:lnTo>
                    <a:pt x="24" y="507"/>
                  </a:lnTo>
                  <a:lnTo>
                    <a:pt x="28" y="503"/>
                  </a:lnTo>
                  <a:lnTo>
                    <a:pt x="28" y="499"/>
                  </a:lnTo>
                  <a:lnTo>
                    <a:pt x="28" y="495"/>
                  </a:lnTo>
                  <a:lnTo>
                    <a:pt x="28" y="491"/>
                  </a:lnTo>
                  <a:lnTo>
                    <a:pt x="24" y="491"/>
                  </a:lnTo>
                  <a:lnTo>
                    <a:pt x="28" y="491"/>
                  </a:lnTo>
                  <a:lnTo>
                    <a:pt x="28" y="487"/>
                  </a:lnTo>
                  <a:lnTo>
                    <a:pt x="28" y="483"/>
                  </a:lnTo>
                  <a:lnTo>
                    <a:pt x="28" y="479"/>
                  </a:lnTo>
                  <a:lnTo>
                    <a:pt x="32" y="475"/>
                  </a:lnTo>
                  <a:lnTo>
                    <a:pt x="32" y="471"/>
                  </a:lnTo>
                  <a:lnTo>
                    <a:pt x="32" y="467"/>
                  </a:lnTo>
                  <a:lnTo>
                    <a:pt x="28" y="467"/>
                  </a:lnTo>
                  <a:lnTo>
                    <a:pt x="24" y="467"/>
                  </a:lnTo>
                  <a:lnTo>
                    <a:pt x="24" y="463"/>
                  </a:lnTo>
                  <a:lnTo>
                    <a:pt x="20" y="463"/>
                  </a:lnTo>
                  <a:lnTo>
                    <a:pt x="24" y="463"/>
                  </a:lnTo>
                  <a:lnTo>
                    <a:pt x="28" y="463"/>
                  </a:lnTo>
                  <a:lnTo>
                    <a:pt x="32" y="463"/>
                  </a:lnTo>
                  <a:lnTo>
                    <a:pt x="36" y="463"/>
                  </a:lnTo>
                  <a:lnTo>
                    <a:pt x="36" y="459"/>
                  </a:lnTo>
                  <a:lnTo>
                    <a:pt x="36" y="455"/>
                  </a:lnTo>
                  <a:lnTo>
                    <a:pt x="32" y="455"/>
                  </a:lnTo>
                  <a:lnTo>
                    <a:pt x="28" y="455"/>
                  </a:lnTo>
                  <a:lnTo>
                    <a:pt x="24" y="455"/>
                  </a:lnTo>
                  <a:lnTo>
                    <a:pt x="24" y="451"/>
                  </a:lnTo>
                  <a:lnTo>
                    <a:pt x="28" y="451"/>
                  </a:lnTo>
                  <a:lnTo>
                    <a:pt x="24" y="447"/>
                  </a:lnTo>
                  <a:lnTo>
                    <a:pt x="28" y="447"/>
                  </a:lnTo>
                  <a:lnTo>
                    <a:pt x="28" y="443"/>
                  </a:lnTo>
                  <a:lnTo>
                    <a:pt x="28" y="439"/>
                  </a:lnTo>
                  <a:lnTo>
                    <a:pt x="28" y="435"/>
                  </a:lnTo>
                  <a:lnTo>
                    <a:pt x="24" y="435"/>
                  </a:lnTo>
                  <a:lnTo>
                    <a:pt x="24" y="431"/>
                  </a:lnTo>
                  <a:lnTo>
                    <a:pt x="28" y="431"/>
                  </a:lnTo>
                  <a:lnTo>
                    <a:pt x="28" y="427"/>
                  </a:lnTo>
                  <a:lnTo>
                    <a:pt x="24" y="427"/>
                  </a:lnTo>
                  <a:lnTo>
                    <a:pt x="20" y="427"/>
                  </a:lnTo>
                  <a:lnTo>
                    <a:pt x="20" y="423"/>
                  </a:lnTo>
                  <a:lnTo>
                    <a:pt x="20" y="419"/>
                  </a:lnTo>
                  <a:lnTo>
                    <a:pt x="20" y="415"/>
                  </a:lnTo>
                  <a:lnTo>
                    <a:pt x="24" y="411"/>
                  </a:lnTo>
                  <a:lnTo>
                    <a:pt x="20" y="411"/>
                  </a:lnTo>
                  <a:lnTo>
                    <a:pt x="24" y="407"/>
                  </a:lnTo>
                  <a:lnTo>
                    <a:pt x="28" y="407"/>
                  </a:lnTo>
                  <a:lnTo>
                    <a:pt x="28" y="403"/>
                  </a:lnTo>
                  <a:lnTo>
                    <a:pt x="28" y="399"/>
                  </a:lnTo>
                  <a:lnTo>
                    <a:pt x="24" y="399"/>
                  </a:lnTo>
                  <a:lnTo>
                    <a:pt x="24" y="395"/>
                  </a:lnTo>
                  <a:lnTo>
                    <a:pt x="24" y="391"/>
                  </a:lnTo>
                  <a:lnTo>
                    <a:pt x="24" y="387"/>
                  </a:lnTo>
                  <a:lnTo>
                    <a:pt x="24" y="383"/>
                  </a:lnTo>
                  <a:close/>
                  <a:moveTo>
                    <a:pt x="175" y="347"/>
                  </a:moveTo>
                  <a:lnTo>
                    <a:pt x="171" y="343"/>
                  </a:lnTo>
                  <a:lnTo>
                    <a:pt x="175" y="343"/>
                  </a:lnTo>
                  <a:lnTo>
                    <a:pt x="175" y="347"/>
                  </a:lnTo>
                  <a:close/>
                  <a:moveTo>
                    <a:pt x="76" y="634"/>
                  </a:moveTo>
                  <a:lnTo>
                    <a:pt x="76" y="638"/>
                  </a:lnTo>
                  <a:lnTo>
                    <a:pt x="80" y="642"/>
                  </a:lnTo>
                  <a:lnTo>
                    <a:pt x="80" y="646"/>
                  </a:lnTo>
                  <a:lnTo>
                    <a:pt x="80" y="642"/>
                  </a:lnTo>
                  <a:lnTo>
                    <a:pt x="76" y="642"/>
                  </a:lnTo>
                  <a:lnTo>
                    <a:pt x="76" y="646"/>
                  </a:lnTo>
                  <a:lnTo>
                    <a:pt x="76" y="650"/>
                  </a:lnTo>
                  <a:lnTo>
                    <a:pt x="80" y="650"/>
                  </a:lnTo>
                  <a:lnTo>
                    <a:pt x="84" y="650"/>
                  </a:lnTo>
                  <a:lnTo>
                    <a:pt x="84" y="654"/>
                  </a:lnTo>
                  <a:lnTo>
                    <a:pt x="84" y="658"/>
                  </a:lnTo>
                  <a:lnTo>
                    <a:pt x="88" y="658"/>
                  </a:lnTo>
                  <a:lnTo>
                    <a:pt x="88" y="662"/>
                  </a:lnTo>
                  <a:lnTo>
                    <a:pt x="92" y="662"/>
                  </a:lnTo>
                  <a:lnTo>
                    <a:pt x="92" y="666"/>
                  </a:lnTo>
                  <a:lnTo>
                    <a:pt x="96" y="666"/>
                  </a:lnTo>
                  <a:lnTo>
                    <a:pt x="100" y="670"/>
                  </a:lnTo>
                  <a:lnTo>
                    <a:pt x="104" y="670"/>
                  </a:lnTo>
                  <a:lnTo>
                    <a:pt x="104" y="674"/>
                  </a:lnTo>
                  <a:lnTo>
                    <a:pt x="108" y="678"/>
                  </a:lnTo>
                  <a:lnTo>
                    <a:pt x="112" y="678"/>
                  </a:lnTo>
                  <a:lnTo>
                    <a:pt x="116" y="682"/>
                  </a:lnTo>
                  <a:lnTo>
                    <a:pt x="120" y="682"/>
                  </a:lnTo>
                  <a:lnTo>
                    <a:pt x="124" y="682"/>
                  </a:lnTo>
                  <a:lnTo>
                    <a:pt x="127" y="682"/>
                  </a:lnTo>
                  <a:lnTo>
                    <a:pt x="124" y="686"/>
                  </a:lnTo>
                  <a:lnTo>
                    <a:pt x="120" y="686"/>
                  </a:lnTo>
                  <a:lnTo>
                    <a:pt x="116" y="686"/>
                  </a:lnTo>
                  <a:lnTo>
                    <a:pt x="112" y="690"/>
                  </a:lnTo>
                  <a:lnTo>
                    <a:pt x="108" y="690"/>
                  </a:lnTo>
                  <a:lnTo>
                    <a:pt x="104" y="690"/>
                  </a:lnTo>
                  <a:lnTo>
                    <a:pt x="104" y="686"/>
                  </a:lnTo>
                  <a:lnTo>
                    <a:pt x="100" y="686"/>
                  </a:lnTo>
                  <a:lnTo>
                    <a:pt x="96" y="686"/>
                  </a:lnTo>
                  <a:lnTo>
                    <a:pt x="92" y="686"/>
                  </a:lnTo>
                  <a:lnTo>
                    <a:pt x="88" y="686"/>
                  </a:lnTo>
                  <a:lnTo>
                    <a:pt x="84" y="686"/>
                  </a:lnTo>
                  <a:lnTo>
                    <a:pt x="80" y="686"/>
                  </a:lnTo>
                  <a:lnTo>
                    <a:pt x="76" y="686"/>
                  </a:lnTo>
                  <a:lnTo>
                    <a:pt x="76" y="678"/>
                  </a:lnTo>
                  <a:lnTo>
                    <a:pt x="76" y="674"/>
                  </a:lnTo>
                  <a:lnTo>
                    <a:pt x="76" y="666"/>
                  </a:lnTo>
                  <a:lnTo>
                    <a:pt x="76" y="662"/>
                  </a:lnTo>
                  <a:lnTo>
                    <a:pt x="76" y="654"/>
                  </a:lnTo>
                  <a:lnTo>
                    <a:pt x="76" y="650"/>
                  </a:lnTo>
                  <a:lnTo>
                    <a:pt x="76" y="646"/>
                  </a:lnTo>
                  <a:lnTo>
                    <a:pt x="76" y="638"/>
                  </a:lnTo>
                  <a:lnTo>
                    <a:pt x="76" y="634"/>
                  </a:lnTo>
                  <a:close/>
                  <a:moveTo>
                    <a:pt x="135" y="686"/>
                  </a:moveTo>
                  <a:lnTo>
                    <a:pt x="131" y="686"/>
                  </a:lnTo>
                  <a:lnTo>
                    <a:pt x="135" y="682"/>
                  </a:lnTo>
                  <a:lnTo>
                    <a:pt x="135" y="686"/>
                  </a:lnTo>
                  <a:lnTo>
                    <a:pt x="135" y="682"/>
                  </a:lnTo>
                  <a:lnTo>
                    <a:pt x="139" y="682"/>
                  </a:lnTo>
                  <a:lnTo>
                    <a:pt x="143" y="682"/>
                  </a:lnTo>
                  <a:lnTo>
                    <a:pt x="147" y="682"/>
                  </a:lnTo>
                  <a:lnTo>
                    <a:pt x="147" y="686"/>
                  </a:lnTo>
                  <a:lnTo>
                    <a:pt x="143" y="686"/>
                  </a:lnTo>
                  <a:lnTo>
                    <a:pt x="143" y="682"/>
                  </a:lnTo>
                  <a:lnTo>
                    <a:pt x="143" y="686"/>
                  </a:lnTo>
                  <a:lnTo>
                    <a:pt x="139" y="686"/>
                  </a:lnTo>
                  <a:lnTo>
                    <a:pt x="135" y="68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2" name="Freeform 170"/>
            <p:cNvSpPr>
              <a:spLocks/>
            </p:cNvSpPr>
            <p:nvPr>
              <p:custDataLst>
                <p:tags r:id="rId364"/>
              </p:custDataLst>
            </p:nvPr>
          </p:nvSpPr>
          <p:spPr bwMode="gray">
            <a:xfrm>
              <a:off x="2814395" y="4858456"/>
              <a:ext cx="271400" cy="367800"/>
            </a:xfrm>
            <a:custGeom>
              <a:avLst/>
              <a:gdLst/>
              <a:ahLst/>
              <a:cxnLst>
                <a:cxn ang="0">
                  <a:pos x="111" y="212"/>
                </a:cxn>
                <a:cxn ang="0">
                  <a:pos x="103" y="232"/>
                </a:cxn>
                <a:cxn ang="0">
                  <a:pos x="95" y="232"/>
                </a:cxn>
                <a:cxn ang="0">
                  <a:pos x="83" y="236"/>
                </a:cxn>
                <a:cxn ang="0">
                  <a:pos x="79" y="244"/>
                </a:cxn>
                <a:cxn ang="0">
                  <a:pos x="75" y="232"/>
                </a:cxn>
                <a:cxn ang="0">
                  <a:pos x="56" y="232"/>
                </a:cxn>
                <a:cxn ang="0">
                  <a:pos x="52" y="228"/>
                </a:cxn>
                <a:cxn ang="0">
                  <a:pos x="44" y="236"/>
                </a:cxn>
                <a:cxn ang="0">
                  <a:pos x="36" y="244"/>
                </a:cxn>
                <a:cxn ang="0">
                  <a:pos x="28" y="240"/>
                </a:cxn>
                <a:cxn ang="0">
                  <a:pos x="24" y="228"/>
                </a:cxn>
                <a:cxn ang="0">
                  <a:pos x="16" y="208"/>
                </a:cxn>
                <a:cxn ang="0">
                  <a:pos x="12" y="204"/>
                </a:cxn>
                <a:cxn ang="0">
                  <a:pos x="16" y="192"/>
                </a:cxn>
                <a:cxn ang="0">
                  <a:pos x="16" y="180"/>
                </a:cxn>
                <a:cxn ang="0">
                  <a:pos x="8" y="168"/>
                </a:cxn>
                <a:cxn ang="0">
                  <a:pos x="4" y="156"/>
                </a:cxn>
                <a:cxn ang="0">
                  <a:pos x="0" y="144"/>
                </a:cxn>
                <a:cxn ang="0">
                  <a:pos x="4" y="132"/>
                </a:cxn>
                <a:cxn ang="0">
                  <a:pos x="12" y="124"/>
                </a:cxn>
                <a:cxn ang="0">
                  <a:pos x="4" y="108"/>
                </a:cxn>
                <a:cxn ang="0">
                  <a:pos x="4" y="100"/>
                </a:cxn>
                <a:cxn ang="0">
                  <a:pos x="8" y="84"/>
                </a:cxn>
                <a:cxn ang="0">
                  <a:pos x="8" y="76"/>
                </a:cxn>
                <a:cxn ang="0">
                  <a:pos x="8" y="60"/>
                </a:cxn>
                <a:cxn ang="0">
                  <a:pos x="12" y="48"/>
                </a:cxn>
                <a:cxn ang="0">
                  <a:pos x="4" y="36"/>
                </a:cxn>
                <a:cxn ang="0">
                  <a:pos x="4" y="24"/>
                </a:cxn>
                <a:cxn ang="0">
                  <a:pos x="16" y="28"/>
                </a:cxn>
                <a:cxn ang="0">
                  <a:pos x="24" y="20"/>
                </a:cxn>
                <a:cxn ang="0">
                  <a:pos x="28" y="16"/>
                </a:cxn>
                <a:cxn ang="0">
                  <a:pos x="40" y="12"/>
                </a:cxn>
                <a:cxn ang="0">
                  <a:pos x="52" y="0"/>
                </a:cxn>
                <a:cxn ang="0">
                  <a:pos x="60" y="0"/>
                </a:cxn>
                <a:cxn ang="0">
                  <a:pos x="64" y="12"/>
                </a:cxn>
                <a:cxn ang="0">
                  <a:pos x="64" y="28"/>
                </a:cxn>
                <a:cxn ang="0">
                  <a:pos x="67" y="36"/>
                </a:cxn>
                <a:cxn ang="0">
                  <a:pos x="75" y="48"/>
                </a:cxn>
                <a:cxn ang="0">
                  <a:pos x="91" y="52"/>
                </a:cxn>
                <a:cxn ang="0">
                  <a:pos x="99" y="60"/>
                </a:cxn>
                <a:cxn ang="0">
                  <a:pos x="111" y="68"/>
                </a:cxn>
                <a:cxn ang="0">
                  <a:pos x="123" y="72"/>
                </a:cxn>
                <a:cxn ang="0">
                  <a:pos x="139" y="76"/>
                </a:cxn>
                <a:cxn ang="0">
                  <a:pos x="139" y="88"/>
                </a:cxn>
                <a:cxn ang="0">
                  <a:pos x="135" y="100"/>
                </a:cxn>
                <a:cxn ang="0">
                  <a:pos x="143" y="124"/>
                </a:cxn>
                <a:cxn ang="0">
                  <a:pos x="171" y="124"/>
                </a:cxn>
                <a:cxn ang="0">
                  <a:pos x="167" y="136"/>
                </a:cxn>
                <a:cxn ang="0">
                  <a:pos x="175" y="144"/>
                </a:cxn>
                <a:cxn ang="0">
                  <a:pos x="183" y="160"/>
                </a:cxn>
                <a:cxn ang="0">
                  <a:pos x="175" y="176"/>
                </a:cxn>
                <a:cxn ang="0">
                  <a:pos x="175" y="188"/>
                </a:cxn>
                <a:cxn ang="0">
                  <a:pos x="171" y="188"/>
                </a:cxn>
                <a:cxn ang="0">
                  <a:pos x="151" y="180"/>
                </a:cxn>
                <a:cxn ang="0">
                  <a:pos x="135" y="184"/>
                </a:cxn>
                <a:cxn ang="0">
                  <a:pos x="119" y="188"/>
                </a:cxn>
              </a:cxnLst>
              <a:rect l="0" t="0" r="r" b="b"/>
              <a:pathLst>
                <a:path w="183" h="248">
                  <a:moveTo>
                    <a:pt x="111" y="200"/>
                  </a:moveTo>
                  <a:lnTo>
                    <a:pt x="111" y="204"/>
                  </a:lnTo>
                  <a:lnTo>
                    <a:pt x="111" y="208"/>
                  </a:lnTo>
                  <a:lnTo>
                    <a:pt x="111" y="212"/>
                  </a:lnTo>
                  <a:lnTo>
                    <a:pt x="107" y="220"/>
                  </a:lnTo>
                  <a:lnTo>
                    <a:pt x="107" y="224"/>
                  </a:lnTo>
                  <a:lnTo>
                    <a:pt x="107" y="228"/>
                  </a:lnTo>
                  <a:lnTo>
                    <a:pt x="103" y="232"/>
                  </a:lnTo>
                  <a:lnTo>
                    <a:pt x="103" y="236"/>
                  </a:lnTo>
                  <a:lnTo>
                    <a:pt x="103" y="232"/>
                  </a:lnTo>
                  <a:lnTo>
                    <a:pt x="99" y="232"/>
                  </a:lnTo>
                  <a:lnTo>
                    <a:pt x="95" y="232"/>
                  </a:lnTo>
                  <a:lnTo>
                    <a:pt x="91" y="232"/>
                  </a:lnTo>
                  <a:lnTo>
                    <a:pt x="87" y="232"/>
                  </a:lnTo>
                  <a:lnTo>
                    <a:pt x="83" y="232"/>
                  </a:lnTo>
                  <a:lnTo>
                    <a:pt x="83" y="236"/>
                  </a:lnTo>
                  <a:lnTo>
                    <a:pt x="79" y="240"/>
                  </a:lnTo>
                  <a:lnTo>
                    <a:pt x="79" y="244"/>
                  </a:lnTo>
                  <a:lnTo>
                    <a:pt x="79" y="248"/>
                  </a:lnTo>
                  <a:lnTo>
                    <a:pt x="79" y="244"/>
                  </a:lnTo>
                  <a:lnTo>
                    <a:pt x="75" y="244"/>
                  </a:lnTo>
                  <a:lnTo>
                    <a:pt x="75" y="240"/>
                  </a:lnTo>
                  <a:lnTo>
                    <a:pt x="75" y="236"/>
                  </a:lnTo>
                  <a:lnTo>
                    <a:pt x="75" y="232"/>
                  </a:lnTo>
                  <a:lnTo>
                    <a:pt x="71" y="232"/>
                  </a:lnTo>
                  <a:lnTo>
                    <a:pt x="67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56" y="228"/>
                  </a:lnTo>
                  <a:lnTo>
                    <a:pt x="52" y="228"/>
                  </a:lnTo>
                  <a:lnTo>
                    <a:pt x="52" y="224"/>
                  </a:lnTo>
                  <a:lnTo>
                    <a:pt x="52" y="228"/>
                  </a:lnTo>
                  <a:lnTo>
                    <a:pt x="48" y="228"/>
                  </a:lnTo>
                  <a:lnTo>
                    <a:pt x="48" y="232"/>
                  </a:lnTo>
                  <a:lnTo>
                    <a:pt x="44" y="232"/>
                  </a:lnTo>
                  <a:lnTo>
                    <a:pt x="44" y="236"/>
                  </a:lnTo>
                  <a:lnTo>
                    <a:pt x="44" y="240"/>
                  </a:lnTo>
                  <a:lnTo>
                    <a:pt x="40" y="240"/>
                  </a:lnTo>
                  <a:lnTo>
                    <a:pt x="40" y="244"/>
                  </a:lnTo>
                  <a:lnTo>
                    <a:pt x="36" y="244"/>
                  </a:lnTo>
                  <a:lnTo>
                    <a:pt x="32" y="248"/>
                  </a:lnTo>
                  <a:lnTo>
                    <a:pt x="28" y="248"/>
                  </a:lnTo>
                  <a:lnTo>
                    <a:pt x="24" y="244"/>
                  </a:lnTo>
                  <a:lnTo>
                    <a:pt x="28" y="240"/>
                  </a:lnTo>
                  <a:lnTo>
                    <a:pt x="24" y="240"/>
                  </a:lnTo>
                  <a:lnTo>
                    <a:pt x="24" y="236"/>
                  </a:lnTo>
                  <a:lnTo>
                    <a:pt x="24" y="232"/>
                  </a:lnTo>
                  <a:lnTo>
                    <a:pt x="24" y="228"/>
                  </a:lnTo>
                  <a:lnTo>
                    <a:pt x="24" y="224"/>
                  </a:lnTo>
                  <a:lnTo>
                    <a:pt x="20" y="224"/>
                  </a:lnTo>
                  <a:lnTo>
                    <a:pt x="20" y="216"/>
                  </a:lnTo>
                  <a:lnTo>
                    <a:pt x="16" y="208"/>
                  </a:lnTo>
                  <a:lnTo>
                    <a:pt x="16" y="212"/>
                  </a:lnTo>
                  <a:lnTo>
                    <a:pt x="16" y="208"/>
                  </a:lnTo>
                  <a:lnTo>
                    <a:pt x="16" y="204"/>
                  </a:lnTo>
                  <a:lnTo>
                    <a:pt x="12" y="204"/>
                  </a:lnTo>
                  <a:lnTo>
                    <a:pt x="12" y="200"/>
                  </a:lnTo>
                  <a:lnTo>
                    <a:pt x="12" y="196"/>
                  </a:lnTo>
                  <a:lnTo>
                    <a:pt x="12" y="192"/>
                  </a:lnTo>
                  <a:lnTo>
                    <a:pt x="16" y="192"/>
                  </a:lnTo>
                  <a:lnTo>
                    <a:pt x="16" y="188"/>
                  </a:lnTo>
                  <a:lnTo>
                    <a:pt x="12" y="188"/>
                  </a:lnTo>
                  <a:lnTo>
                    <a:pt x="16" y="184"/>
                  </a:lnTo>
                  <a:lnTo>
                    <a:pt x="16" y="180"/>
                  </a:lnTo>
                  <a:lnTo>
                    <a:pt x="12" y="180"/>
                  </a:lnTo>
                  <a:lnTo>
                    <a:pt x="12" y="176"/>
                  </a:lnTo>
                  <a:lnTo>
                    <a:pt x="8" y="172"/>
                  </a:lnTo>
                  <a:lnTo>
                    <a:pt x="8" y="168"/>
                  </a:lnTo>
                  <a:lnTo>
                    <a:pt x="8" y="164"/>
                  </a:lnTo>
                  <a:lnTo>
                    <a:pt x="8" y="160"/>
                  </a:lnTo>
                  <a:lnTo>
                    <a:pt x="8" y="156"/>
                  </a:lnTo>
                  <a:lnTo>
                    <a:pt x="4" y="156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0" y="148"/>
                  </a:lnTo>
                  <a:lnTo>
                    <a:pt x="0" y="144"/>
                  </a:lnTo>
                  <a:lnTo>
                    <a:pt x="0" y="140"/>
                  </a:lnTo>
                  <a:lnTo>
                    <a:pt x="0" y="136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8" y="132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12" y="124"/>
                  </a:lnTo>
                  <a:lnTo>
                    <a:pt x="8" y="120"/>
                  </a:lnTo>
                  <a:lnTo>
                    <a:pt x="4" y="120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4" y="104"/>
                  </a:lnTo>
                  <a:lnTo>
                    <a:pt x="8" y="104"/>
                  </a:lnTo>
                  <a:lnTo>
                    <a:pt x="8" y="100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4" y="92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7" y="36"/>
                  </a:lnTo>
                  <a:lnTo>
                    <a:pt x="67" y="40"/>
                  </a:lnTo>
                  <a:lnTo>
                    <a:pt x="67" y="36"/>
                  </a:lnTo>
                  <a:lnTo>
                    <a:pt x="67" y="40"/>
                  </a:lnTo>
                  <a:lnTo>
                    <a:pt x="67" y="44"/>
                  </a:lnTo>
                  <a:lnTo>
                    <a:pt x="71" y="44"/>
                  </a:lnTo>
                  <a:lnTo>
                    <a:pt x="75" y="48"/>
                  </a:lnTo>
                  <a:lnTo>
                    <a:pt x="79" y="52"/>
                  </a:lnTo>
                  <a:lnTo>
                    <a:pt x="83" y="52"/>
                  </a:lnTo>
                  <a:lnTo>
                    <a:pt x="87" y="52"/>
                  </a:lnTo>
                  <a:lnTo>
                    <a:pt x="91" y="52"/>
                  </a:lnTo>
                  <a:lnTo>
                    <a:pt x="91" y="56"/>
                  </a:lnTo>
                  <a:lnTo>
                    <a:pt x="95" y="56"/>
                  </a:lnTo>
                  <a:lnTo>
                    <a:pt x="99" y="56"/>
                  </a:lnTo>
                  <a:lnTo>
                    <a:pt x="99" y="60"/>
                  </a:lnTo>
                  <a:lnTo>
                    <a:pt x="103" y="60"/>
                  </a:lnTo>
                  <a:lnTo>
                    <a:pt x="107" y="64"/>
                  </a:lnTo>
                  <a:lnTo>
                    <a:pt x="111" y="64"/>
                  </a:lnTo>
                  <a:lnTo>
                    <a:pt x="111" y="68"/>
                  </a:lnTo>
                  <a:lnTo>
                    <a:pt x="115" y="68"/>
                  </a:lnTo>
                  <a:lnTo>
                    <a:pt x="115" y="72"/>
                  </a:lnTo>
                  <a:lnTo>
                    <a:pt x="119" y="72"/>
                  </a:lnTo>
                  <a:lnTo>
                    <a:pt x="123" y="72"/>
                  </a:lnTo>
                  <a:lnTo>
                    <a:pt x="127" y="72"/>
                  </a:lnTo>
                  <a:lnTo>
                    <a:pt x="131" y="72"/>
                  </a:lnTo>
                  <a:lnTo>
                    <a:pt x="135" y="76"/>
                  </a:lnTo>
                  <a:lnTo>
                    <a:pt x="139" y="76"/>
                  </a:lnTo>
                  <a:lnTo>
                    <a:pt x="139" y="80"/>
                  </a:lnTo>
                  <a:lnTo>
                    <a:pt x="135" y="84"/>
                  </a:lnTo>
                  <a:lnTo>
                    <a:pt x="139" y="84"/>
                  </a:lnTo>
                  <a:lnTo>
                    <a:pt x="139" y="88"/>
                  </a:lnTo>
                  <a:lnTo>
                    <a:pt x="139" y="92"/>
                  </a:lnTo>
                  <a:lnTo>
                    <a:pt x="139" y="96"/>
                  </a:lnTo>
                  <a:lnTo>
                    <a:pt x="139" y="100"/>
                  </a:lnTo>
                  <a:lnTo>
                    <a:pt x="135" y="100"/>
                  </a:lnTo>
                  <a:lnTo>
                    <a:pt x="139" y="104"/>
                  </a:lnTo>
                  <a:lnTo>
                    <a:pt x="139" y="108"/>
                  </a:lnTo>
                  <a:lnTo>
                    <a:pt x="143" y="116"/>
                  </a:lnTo>
                  <a:lnTo>
                    <a:pt x="143" y="124"/>
                  </a:lnTo>
                  <a:lnTo>
                    <a:pt x="151" y="124"/>
                  </a:lnTo>
                  <a:lnTo>
                    <a:pt x="159" y="124"/>
                  </a:lnTo>
                  <a:lnTo>
                    <a:pt x="167" y="124"/>
                  </a:lnTo>
                  <a:lnTo>
                    <a:pt x="171" y="124"/>
                  </a:lnTo>
                  <a:lnTo>
                    <a:pt x="171" y="128"/>
                  </a:lnTo>
                  <a:lnTo>
                    <a:pt x="167" y="128"/>
                  </a:lnTo>
                  <a:lnTo>
                    <a:pt x="167" y="132"/>
                  </a:lnTo>
                  <a:lnTo>
                    <a:pt x="167" y="136"/>
                  </a:lnTo>
                  <a:lnTo>
                    <a:pt x="167" y="140"/>
                  </a:lnTo>
                  <a:lnTo>
                    <a:pt x="171" y="140"/>
                  </a:lnTo>
                  <a:lnTo>
                    <a:pt x="171" y="144"/>
                  </a:lnTo>
                  <a:lnTo>
                    <a:pt x="175" y="144"/>
                  </a:lnTo>
                  <a:lnTo>
                    <a:pt x="179" y="148"/>
                  </a:lnTo>
                  <a:lnTo>
                    <a:pt x="179" y="152"/>
                  </a:lnTo>
                  <a:lnTo>
                    <a:pt x="179" y="156"/>
                  </a:lnTo>
                  <a:lnTo>
                    <a:pt x="183" y="160"/>
                  </a:lnTo>
                  <a:lnTo>
                    <a:pt x="179" y="164"/>
                  </a:lnTo>
                  <a:lnTo>
                    <a:pt x="179" y="172"/>
                  </a:lnTo>
                  <a:lnTo>
                    <a:pt x="179" y="176"/>
                  </a:lnTo>
                  <a:lnTo>
                    <a:pt x="175" y="176"/>
                  </a:lnTo>
                  <a:lnTo>
                    <a:pt x="175" y="180"/>
                  </a:lnTo>
                  <a:lnTo>
                    <a:pt x="175" y="188"/>
                  </a:lnTo>
                  <a:lnTo>
                    <a:pt x="171" y="188"/>
                  </a:lnTo>
                  <a:lnTo>
                    <a:pt x="175" y="188"/>
                  </a:lnTo>
                  <a:lnTo>
                    <a:pt x="175" y="192"/>
                  </a:lnTo>
                  <a:lnTo>
                    <a:pt x="171" y="196"/>
                  </a:lnTo>
                  <a:lnTo>
                    <a:pt x="171" y="192"/>
                  </a:lnTo>
                  <a:lnTo>
                    <a:pt x="171" y="188"/>
                  </a:lnTo>
                  <a:lnTo>
                    <a:pt x="167" y="184"/>
                  </a:lnTo>
                  <a:lnTo>
                    <a:pt x="163" y="184"/>
                  </a:lnTo>
                  <a:lnTo>
                    <a:pt x="159" y="180"/>
                  </a:lnTo>
                  <a:lnTo>
                    <a:pt x="151" y="180"/>
                  </a:lnTo>
                  <a:lnTo>
                    <a:pt x="143" y="180"/>
                  </a:lnTo>
                  <a:lnTo>
                    <a:pt x="139" y="180"/>
                  </a:lnTo>
                  <a:lnTo>
                    <a:pt x="135" y="180"/>
                  </a:lnTo>
                  <a:lnTo>
                    <a:pt x="135" y="184"/>
                  </a:lnTo>
                  <a:lnTo>
                    <a:pt x="131" y="184"/>
                  </a:lnTo>
                  <a:lnTo>
                    <a:pt x="123" y="184"/>
                  </a:lnTo>
                  <a:lnTo>
                    <a:pt x="119" y="184"/>
                  </a:lnTo>
                  <a:lnTo>
                    <a:pt x="119" y="188"/>
                  </a:lnTo>
                  <a:lnTo>
                    <a:pt x="115" y="192"/>
                  </a:lnTo>
                  <a:lnTo>
                    <a:pt x="111" y="2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3" name="Freeform 171"/>
            <p:cNvSpPr>
              <a:spLocks noEditPoints="1"/>
            </p:cNvSpPr>
            <p:nvPr>
              <p:custDataLst>
                <p:tags r:id="rId365"/>
              </p:custDataLst>
            </p:nvPr>
          </p:nvSpPr>
          <p:spPr bwMode="gray">
            <a:xfrm>
              <a:off x="2713547" y="4450614"/>
              <a:ext cx="880940" cy="1088569"/>
            </a:xfrm>
            <a:custGeom>
              <a:avLst/>
              <a:gdLst/>
              <a:ahLst/>
              <a:cxnLst>
                <a:cxn ang="0">
                  <a:pos x="451" y="152"/>
                </a:cxn>
                <a:cxn ang="0">
                  <a:pos x="494" y="152"/>
                </a:cxn>
                <a:cxn ang="0">
                  <a:pos x="550" y="179"/>
                </a:cxn>
                <a:cxn ang="0">
                  <a:pos x="594" y="223"/>
                </a:cxn>
                <a:cxn ang="0">
                  <a:pos x="566" y="291"/>
                </a:cxn>
                <a:cxn ang="0">
                  <a:pos x="538" y="335"/>
                </a:cxn>
                <a:cxn ang="0">
                  <a:pos x="530" y="355"/>
                </a:cxn>
                <a:cxn ang="0">
                  <a:pos x="530" y="423"/>
                </a:cxn>
                <a:cxn ang="0">
                  <a:pos x="502" y="483"/>
                </a:cxn>
                <a:cxn ang="0">
                  <a:pos x="463" y="523"/>
                </a:cxn>
                <a:cxn ang="0">
                  <a:pos x="435" y="539"/>
                </a:cxn>
                <a:cxn ang="0">
                  <a:pos x="391" y="567"/>
                </a:cxn>
                <a:cxn ang="0">
                  <a:pos x="387" y="606"/>
                </a:cxn>
                <a:cxn ang="0">
                  <a:pos x="363" y="650"/>
                </a:cxn>
                <a:cxn ang="0">
                  <a:pos x="331" y="694"/>
                </a:cxn>
                <a:cxn ang="0">
                  <a:pos x="351" y="666"/>
                </a:cxn>
                <a:cxn ang="0">
                  <a:pos x="331" y="702"/>
                </a:cxn>
                <a:cxn ang="0">
                  <a:pos x="307" y="706"/>
                </a:cxn>
                <a:cxn ang="0">
                  <a:pos x="271" y="670"/>
                </a:cxn>
                <a:cxn ang="0">
                  <a:pos x="267" y="638"/>
                </a:cxn>
                <a:cxn ang="0">
                  <a:pos x="307" y="602"/>
                </a:cxn>
                <a:cxn ang="0">
                  <a:pos x="295" y="539"/>
                </a:cxn>
                <a:cxn ang="0">
                  <a:pos x="255" y="511"/>
                </a:cxn>
                <a:cxn ang="0">
                  <a:pos x="247" y="447"/>
                </a:cxn>
                <a:cxn ang="0">
                  <a:pos x="207" y="383"/>
                </a:cxn>
                <a:cxn ang="0">
                  <a:pos x="175" y="339"/>
                </a:cxn>
                <a:cxn ang="0">
                  <a:pos x="132" y="295"/>
                </a:cxn>
                <a:cxn ang="0">
                  <a:pos x="96" y="291"/>
                </a:cxn>
                <a:cxn ang="0">
                  <a:pos x="52" y="279"/>
                </a:cxn>
                <a:cxn ang="0">
                  <a:pos x="12" y="259"/>
                </a:cxn>
                <a:cxn ang="0">
                  <a:pos x="16" y="199"/>
                </a:cxn>
                <a:cxn ang="0">
                  <a:pos x="64" y="175"/>
                </a:cxn>
                <a:cxn ang="0">
                  <a:pos x="60" y="88"/>
                </a:cxn>
                <a:cxn ang="0">
                  <a:pos x="92" y="68"/>
                </a:cxn>
                <a:cxn ang="0">
                  <a:pos x="128" y="84"/>
                </a:cxn>
                <a:cxn ang="0">
                  <a:pos x="151" y="44"/>
                </a:cxn>
                <a:cxn ang="0">
                  <a:pos x="159" y="24"/>
                </a:cxn>
                <a:cxn ang="0">
                  <a:pos x="203" y="4"/>
                </a:cxn>
                <a:cxn ang="0">
                  <a:pos x="215" y="56"/>
                </a:cxn>
                <a:cxn ang="0">
                  <a:pos x="255" y="60"/>
                </a:cxn>
                <a:cxn ang="0">
                  <a:pos x="303" y="56"/>
                </a:cxn>
                <a:cxn ang="0">
                  <a:pos x="343" y="24"/>
                </a:cxn>
                <a:cxn ang="0">
                  <a:pos x="367" y="76"/>
                </a:cxn>
                <a:cxn ang="0">
                  <a:pos x="327" y="128"/>
                </a:cxn>
                <a:cxn ang="0">
                  <a:pos x="343" y="128"/>
                </a:cxn>
                <a:cxn ang="0">
                  <a:pos x="359" y="132"/>
                </a:cxn>
                <a:cxn ang="0">
                  <a:pos x="387" y="124"/>
                </a:cxn>
                <a:cxn ang="0">
                  <a:pos x="411" y="112"/>
                </a:cxn>
                <a:cxn ang="0">
                  <a:pos x="439" y="124"/>
                </a:cxn>
                <a:cxn ang="0">
                  <a:pos x="351" y="124"/>
                </a:cxn>
                <a:cxn ang="0">
                  <a:pos x="375" y="100"/>
                </a:cxn>
                <a:cxn ang="0">
                  <a:pos x="363" y="80"/>
                </a:cxn>
                <a:cxn ang="0">
                  <a:pos x="359" y="92"/>
                </a:cxn>
                <a:cxn ang="0">
                  <a:pos x="375" y="96"/>
                </a:cxn>
                <a:cxn ang="0">
                  <a:pos x="347" y="100"/>
                </a:cxn>
                <a:cxn ang="0">
                  <a:pos x="347" y="112"/>
                </a:cxn>
                <a:cxn ang="0">
                  <a:pos x="387" y="120"/>
                </a:cxn>
                <a:cxn ang="0">
                  <a:pos x="443" y="128"/>
                </a:cxn>
                <a:cxn ang="0">
                  <a:pos x="447" y="148"/>
                </a:cxn>
                <a:cxn ang="0">
                  <a:pos x="387" y="606"/>
                </a:cxn>
                <a:cxn ang="0">
                  <a:pos x="455" y="527"/>
                </a:cxn>
              </a:cxnLst>
              <a:rect l="0" t="0" r="r" b="b"/>
              <a:pathLst>
                <a:path w="594" h="734">
                  <a:moveTo>
                    <a:pt x="443" y="132"/>
                  </a:moveTo>
                  <a:lnTo>
                    <a:pt x="447" y="132"/>
                  </a:lnTo>
                  <a:lnTo>
                    <a:pt x="447" y="136"/>
                  </a:lnTo>
                  <a:lnTo>
                    <a:pt x="447" y="140"/>
                  </a:lnTo>
                  <a:lnTo>
                    <a:pt x="447" y="136"/>
                  </a:lnTo>
                  <a:lnTo>
                    <a:pt x="451" y="140"/>
                  </a:lnTo>
                  <a:lnTo>
                    <a:pt x="447" y="144"/>
                  </a:lnTo>
                  <a:lnTo>
                    <a:pt x="447" y="148"/>
                  </a:lnTo>
                  <a:lnTo>
                    <a:pt x="443" y="152"/>
                  </a:lnTo>
                  <a:lnTo>
                    <a:pt x="447" y="152"/>
                  </a:lnTo>
                  <a:lnTo>
                    <a:pt x="443" y="155"/>
                  </a:lnTo>
                  <a:lnTo>
                    <a:pt x="443" y="159"/>
                  </a:lnTo>
                  <a:lnTo>
                    <a:pt x="447" y="155"/>
                  </a:lnTo>
                  <a:lnTo>
                    <a:pt x="447" y="152"/>
                  </a:lnTo>
                  <a:lnTo>
                    <a:pt x="451" y="148"/>
                  </a:lnTo>
                  <a:lnTo>
                    <a:pt x="451" y="144"/>
                  </a:lnTo>
                  <a:lnTo>
                    <a:pt x="455" y="144"/>
                  </a:lnTo>
                  <a:lnTo>
                    <a:pt x="455" y="148"/>
                  </a:lnTo>
                  <a:lnTo>
                    <a:pt x="451" y="148"/>
                  </a:lnTo>
                  <a:lnTo>
                    <a:pt x="451" y="152"/>
                  </a:lnTo>
                  <a:lnTo>
                    <a:pt x="455" y="148"/>
                  </a:lnTo>
                  <a:lnTo>
                    <a:pt x="455" y="144"/>
                  </a:lnTo>
                  <a:lnTo>
                    <a:pt x="459" y="144"/>
                  </a:lnTo>
                  <a:lnTo>
                    <a:pt x="463" y="144"/>
                  </a:lnTo>
                  <a:lnTo>
                    <a:pt x="463" y="140"/>
                  </a:lnTo>
                  <a:lnTo>
                    <a:pt x="467" y="140"/>
                  </a:lnTo>
                  <a:lnTo>
                    <a:pt x="467" y="144"/>
                  </a:lnTo>
                  <a:lnTo>
                    <a:pt x="471" y="144"/>
                  </a:lnTo>
                  <a:lnTo>
                    <a:pt x="475" y="144"/>
                  </a:lnTo>
                  <a:lnTo>
                    <a:pt x="475" y="148"/>
                  </a:lnTo>
                  <a:lnTo>
                    <a:pt x="479" y="148"/>
                  </a:lnTo>
                  <a:lnTo>
                    <a:pt x="483" y="148"/>
                  </a:lnTo>
                  <a:lnTo>
                    <a:pt x="483" y="152"/>
                  </a:lnTo>
                  <a:lnTo>
                    <a:pt x="483" y="148"/>
                  </a:lnTo>
                  <a:lnTo>
                    <a:pt x="487" y="148"/>
                  </a:lnTo>
                  <a:lnTo>
                    <a:pt x="487" y="152"/>
                  </a:lnTo>
                  <a:lnTo>
                    <a:pt x="487" y="148"/>
                  </a:lnTo>
                  <a:lnTo>
                    <a:pt x="490" y="148"/>
                  </a:lnTo>
                  <a:lnTo>
                    <a:pt x="490" y="152"/>
                  </a:lnTo>
                  <a:lnTo>
                    <a:pt x="494" y="152"/>
                  </a:lnTo>
                  <a:lnTo>
                    <a:pt x="498" y="152"/>
                  </a:lnTo>
                  <a:lnTo>
                    <a:pt x="494" y="152"/>
                  </a:lnTo>
                  <a:lnTo>
                    <a:pt x="498" y="152"/>
                  </a:lnTo>
                  <a:lnTo>
                    <a:pt x="502" y="152"/>
                  </a:lnTo>
                  <a:lnTo>
                    <a:pt x="506" y="152"/>
                  </a:lnTo>
                  <a:lnTo>
                    <a:pt x="506" y="148"/>
                  </a:lnTo>
                  <a:lnTo>
                    <a:pt x="510" y="148"/>
                  </a:lnTo>
                  <a:lnTo>
                    <a:pt x="514" y="152"/>
                  </a:lnTo>
                  <a:lnTo>
                    <a:pt x="518" y="152"/>
                  </a:lnTo>
                  <a:lnTo>
                    <a:pt x="522" y="155"/>
                  </a:lnTo>
                  <a:lnTo>
                    <a:pt x="526" y="155"/>
                  </a:lnTo>
                  <a:lnTo>
                    <a:pt x="526" y="159"/>
                  </a:lnTo>
                  <a:lnTo>
                    <a:pt x="530" y="159"/>
                  </a:lnTo>
                  <a:lnTo>
                    <a:pt x="534" y="163"/>
                  </a:lnTo>
                  <a:lnTo>
                    <a:pt x="538" y="167"/>
                  </a:lnTo>
                  <a:lnTo>
                    <a:pt x="542" y="167"/>
                  </a:lnTo>
                  <a:lnTo>
                    <a:pt x="542" y="171"/>
                  </a:lnTo>
                  <a:lnTo>
                    <a:pt x="542" y="175"/>
                  </a:lnTo>
                  <a:lnTo>
                    <a:pt x="546" y="175"/>
                  </a:lnTo>
                  <a:lnTo>
                    <a:pt x="550" y="179"/>
                  </a:lnTo>
                  <a:lnTo>
                    <a:pt x="550" y="183"/>
                  </a:lnTo>
                  <a:lnTo>
                    <a:pt x="554" y="183"/>
                  </a:lnTo>
                  <a:lnTo>
                    <a:pt x="558" y="183"/>
                  </a:lnTo>
                  <a:lnTo>
                    <a:pt x="558" y="187"/>
                  </a:lnTo>
                  <a:lnTo>
                    <a:pt x="562" y="187"/>
                  </a:lnTo>
                  <a:lnTo>
                    <a:pt x="562" y="191"/>
                  </a:lnTo>
                  <a:lnTo>
                    <a:pt x="566" y="191"/>
                  </a:lnTo>
                  <a:lnTo>
                    <a:pt x="570" y="191"/>
                  </a:lnTo>
                  <a:lnTo>
                    <a:pt x="574" y="191"/>
                  </a:lnTo>
                  <a:lnTo>
                    <a:pt x="578" y="191"/>
                  </a:lnTo>
                  <a:lnTo>
                    <a:pt x="582" y="191"/>
                  </a:lnTo>
                  <a:lnTo>
                    <a:pt x="586" y="191"/>
                  </a:lnTo>
                  <a:lnTo>
                    <a:pt x="586" y="195"/>
                  </a:lnTo>
                  <a:lnTo>
                    <a:pt x="586" y="199"/>
                  </a:lnTo>
                  <a:lnTo>
                    <a:pt x="586" y="203"/>
                  </a:lnTo>
                  <a:lnTo>
                    <a:pt x="590" y="207"/>
                  </a:lnTo>
                  <a:lnTo>
                    <a:pt x="590" y="211"/>
                  </a:lnTo>
                  <a:lnTo>
                    <a:pt x="590" y="215"/>
                  </a:lnTo>
                  <a:lnTo>
                    <a:pt x="590" y="219"/>
                  </a:lnTo>
                  <a:lnTo>
                    <a:pt x="594" y="223"/>
                  </a:lnTo>
                  <a:lnTo>
                    <a:pt x="594" y="227"/>
                  </a:lnTo>
                  <a:lnTo>
                    <a:pt x="594" y="231"/>
                  </a:lnTo>
                  <a:lnTo>
                    <a:pt x="594" y="235"/>
                  </a:lnTo>
                  <a:lnTo>
                    <a:pt x="594" y="239"/>
                  </a:lnTo>
                  <a:lnTo>
                    <a:pt x="594" y="243"/>
                  </a:lnTo>
                  <a:lnTo>
                    <a:pt x="594" y="247"/>
                  </a:lnTo>
                  <a:lnTo>
                    <a:pt x="590" y="251"/>
                  </a:lnTo>
                  <a:lnTo>
                    <a:pt x="590" y="255"/>
                  </a:lnTo>
                  <a:lnTo>
                    <a:pt x="590" y="259"/>
                  </a:lnTo>
                  <a:lnTo>
                    <a:pt x="590" y="263"/>
                  </a:lnTo>
                  <a:lnTo>
                    <a:pt x="586" y="263"/>
                  </a:lnTo>
                  <a:lnTo>
                    <a:pt x="586" y="267"/>
                  </a:lnTo>
                  <a:lnTo>
                    <a:pt x="582" y="271"/>
                  </a:lnTo>
                  <a:lnTo>
                    <a:pt x="582" y="275"/>
                  </a:lnTo>
                  <a:lnTo>
                    <a:pt x="578" y="275"/>
                  </a:lnTo>
                  <a:lnTo>
                    <a:pt x="578" y="279"/>
                  </a:lnTo>
                  <a:lnTo>
                    <a:pt x="574" y="283"/>
                  </a:lnTo>
                  <a:lnTo>
                    <a:pt x="570" y="287"/>
                  </a:lnTo>
                  <a:lnTo>
                    <a:pt x="570" y="291"/>
                  </a:lnTo>
                  <a:lnTo>
                    <a:pt x="566" y="291"/>
                  </a:lnTo>
                  <a:lnTo>
                    <a:pt x="562" y="295"/>
                  </a:lnTo>
                  <a:lnTo>
                    <a:pt x="562" y="299"/>
                  </a:lnTo>
                  <a:lnTo>
                    <a:pt x="558" y="299"/>
                  </a:lnTo>
                  <a:lnTo>
                    <a:pt x="558" y="295"/>
                  </a:lnTo>
                  <a:lnTo>
                    <a:pt x="558" y="299"/>
                  </a:lnTo>
                  <a:lnTo>
                    <a:pt x="558" y="303"/>
                  </a:lnTo>
                  <a:lnTo>
                    <a:pt x="558" y="299"/>
                  </a:lnTo>
                  <a:lnTo>
                    <a:pt x="558" y="303"/>
                  </a:lnTo>
                  <a:lnTo>
                    <a:pt x="554" y="307"/>
                  </a:lnTo>
                  <a:lnTo>
                    <a:pt x="554" y="303"/>
                  </a:lnTo>
                  <a:lnTo>
                    <a:pt x="554" y="307"/>
                  </a:lnTo>
                  <a:lnTo>
                    <a:pt x="554" y="311"/>
                  </a:lnTo>
                  <a:lnTo>
                    <a:pt x="550" y="315"/>
                  </a:lnTo>
                  <a:lnTo>
                    <a:pt x="550" y="319"/>
                  </a:lnTo>
                  <a:lnTo>
                    <a:pt x="550" y="323"/>
                  </a:lnTo>
                  <a:lnTo>
                    <a:pt x="546" y="323"/>
                  </a:lnTo>
                  <a:lnTo>
                    <a:pt x="546" y="327"/>
                  </a:lnTo>
                  <a:lnTo>
                    <a:pt x="546" y="331"/>
                  </a:lnTo>
                  <a:lnTo>
                    <a:pt x="542" y="335"/>
                  </a:lnTo>
                  <a:lnTo>
                    <a:pt x="538" y="335"/>
                  </a:lnTo>
                  <a:lnTo>
                    <a:pt x="538" y="331"/>
                  </a:lnTo>
                  <a:lnTo>
                    <a:pt x="534" y="331"/>
                  </a:lnTo>
                  <a:lnTo>
                    <a:pt x="534" y="327"/>
                  </a:lnTo>
                  <a:lnTo>
                    <a:pt x="534" y="331"/>
                  </a:lnTo>
                  <a:lnTo>
                    <a:pt x="534" y="335"/>
                  </a:lnTo>
                  <a:lnTo>
                    <a:pt x="534" y="331"/>
                  </a:lnTo>
                  <a:lnTo>
                    <a:pt x="530" y="331"/>
                  </a:lnTo>
                  <a:lnTo>
                    <a:pt x="534" y="331"/>
                  </a:lnTo>
                  <a:lnTo>
                    <a:pt x="530" y="331"/>
                  </a:lnTo>
                  <a:lnTo>
                    <a:pt x="534" y="335"/>
                  </a:lnTo>
                  <a:lnTo>
                    <a:pt x="534" y="339"/>
                  </a:lnTo>
                  <a:lnTo>
                    <a:pt x="530" y="339"/>
                  </a:lnTo>
                  <a:lnTo>
                    <a:pt x="530" y="343"/>
                  </a:lnTo>
                  <a:lnTo>
                    <a:pt x="530" y="347"/>
                  </a:lnTo>
                  <a:lnTo>
                    <a:pt x="530" y="351"/>
                  </a:lnTo>
                  <a:lnTo>
                    <a:pt x="530" y="355"/>
                  </a:lnTo>
                  <a:lnTo>
                    <a:pt x="530" y="359"/>
                  </a:lnTo>
                  <a:lnTo>
                    <a:pt x="530" y="355"/>
                  </a:lnTo>
                  <a:lnTo>
                    <a:pt x="530" y="351"/>
                  </a:lnTo>
                  <a:lnTo>
                    <a:pt x="530" y="355"/>
                  </a:lnTo>
                  <a:lnTo>
                    <a:pt x="530" y="359"/>
                  </a:lnTo>
                  <a:lnTo>
                    <a:pt x="530" y="363"/>
                  </a:lnTo>
                  <a:lnTo>
                    <a:pt x="530" y="367"/>
                  </a:lnTo>
                  <a:lnTo>
                    <a:pt x="530" y="371"/>
                  </a:lnTo>
                  <a:lnTo>
                    <a:pt x="530" y="375"/>
                  </a:lnTo>
                  <a:lnTo>
                    <a:pt x="530" y="379"/>
                  </a:lnTo>
                  <a:lnTo>
                    <a:pt x="530" y="383"/>
                  </a:lnTo>
                  <a:lnTo>
                    <a:pt x="530" y="387"/>
                  </a:lnTo>
                  <a:lnTo>
                    <a:pt x="530" y="391"/>
                  </a:lnTo>
                  <a:lnTo>
                    <a:pt x="530" y="395"/>
                  </a:lnTo>
                  <a:lnTo>
                    <a:pt x="530" y="399"/>
                  </a:lnTo>
                  <a:lnTo>
                    <a:pt x="530" y="403"/>
                  </a:lnTo>
                  <a:lnTo>
                    <a:pt x="530" y="407"/>
                  </a:lnTo>
                  <a:lnTo>
                    <a:pt x="526" y="407"/>
                  </a:lnTo>
                  <a:lnTo>
                    <a:pt x="530" y="407"/>
                  </a:lnTo>
                  <a:lnTo>
                    <a:pt x="526" y="411"/>
                  </a:lnTo>
                  <a:lnTo>
                    <a:pt x="526" y="415"/>
                  </a:lnTo>
                  <a:lnTo>
                    <a:pt x="526" y="419"/>
                  </a:lnTo>
                  <a:lnTo>
                    <a:pt x="526" y="423"/>
                  </a:lnTo>
                  <a:lnTo>
                    <a:pt x="530" y="423"/>
                  </a:lnTo>
                  <a:lnTo>
                    <a:pt x="526" y="427"/>
                  </a:lnTo>
                  <a:lnTo>
                    <a:pt x="522" y="427"/>
                  </a:lnTo>
                  <a:lnTo>
                    <a:pt x="522" y="431"/>
                  </a:lnTo>
                  <a:lnTo>
                    <a:pt x="522" y="435"/>
                  </a:lnTo>
                  <a:lnTo>
                    <a:pt x="518" y="435"/>
                  </a:lnTo>
                  <a:lnTo>
                    <a:pt x="518" y="439"/>
                  </a:lnTo>
                  <a:lnTo>
                    <a:pt x="518" y="443"/>
                  </a:lnTo>
                  <a:lnTo>
                    <a:pt x="518" y="447"/>
                  </a:lnTo>
                  <a:lnTo>
                    <a:pt x="518" y="451"/>
                  </a:lnTo>
                  <a:lnTo>
                    <a:pt x="518" y="455"/>
                  </a:lnTo>
                  <a:lnTo>
                    <a:pt x="518" y="459"/>
                  </a:lnTo>
                  <a:lnTo>
                    <a:pt x="518" y="463"/>
                  </a:lnTo>
                  <a:lnTo>
                    <a:pt x="514" y="463"/>
                  </a:lnTo>
                  <a:lnTo>
                    <a:pt x="514" y="467"/>
                  </a:lnTo>
                  <a:lnTo>
                    <a:pt x="514" y="471"/>
                  </a:lnTo>
                  <a:lnTo>
                    <a:pt x="510" y="471"/>
                  </a:lnTo>
                  <a:lnTo>
                    <a:pt x="510" y="475"/>
                  </a:lnTo>
                  <a:lnTo>
                    <a:pt x="510" y="479"/>
                  </a:lnTo>
                  <a:lnTo>
                    <a:pt x="506" y="483"/>
                  </a:lnTo>
                  <a:lnTo>
                    <a:pt x="502" y="483"/>
                  </a:lnTo>
                  <a:lnTo>
                    <a:pt x="502" y="487"/>
                  </a:lnTo>
                  <a:lnTo>
                    <a:pt x="502" y="491"/>
                  </a:lnTo>
                  <a:lnTo>
                    <a:pt x="498" y="495"/>
                  </a:lnTo>
                  <a:lnTo>
                    <a:pt x="498" y="499"/>
                  </a:lnTo>
                  <a:lnTo>
                    <a:pt x="502" y="503"/>
                  </a:lnTo>
                  <a:lnTo>
                    <a:pt x="498" y="507"/>
                  </a:lnTo>
                  <a:lnTo>
                    <a:pt x="494" y="507"/>
                  </a:lnTo>
                  <a:lnTo>
                    <a:pt x="490" y="511"/>
                  </a:lnTo>
                  <a:lnTo>
                    <a:pt x="487" y="515"/>
                  </a:lnTo>
                  <a:lnTo>
                    <a:pt x="487" y="519"/>
                  </a:lnTo>
                  <a:lnTo>
                    <a:pt x="483" y="523"/>
                  </a:lnTo>
                  <a:lnTo>
                    <a:pt x="479" y="523"/>
                  </a:lnTo>
                  <a:lnTo>
                    <a:pt x="475" y="523"/>
                  </a:lnTo>
                  <a:lnTo>
                    <a:pt x="471" y="523"/>
                  </a:lnTo>
                  <a:lnTo>
                    <a:pt x="467" y="523"/>
                  </a:lnTo>
                  <a:lnTo>
                    <a:pt x="467" y="519"/>
                  </a:lnTo>
                  <a:lnTo>
                    <a:pt x="471" y="519"/>
                  </a:lnTo>
                  <a:lnTo>
                    <a:pt x="467" y="519"/>
                  </a:lnTo>
                  <a:lnTo>
                    <a:pt x="467" y="523"/>
                  </a:lnTo>
                  <a:lnTo>
                    <a:pt x="463" y="523"/>
                  </a:lnTo>
                  <a:lnTo>
                    <a:pt x="459" y="527"/>
                  </a:lnTo>
                  <a:lnTo>
                    <a:pt x="455" y="527"/>
                  </a:lnTo>
                  <a:lnTo>
                    <a:pt x="455" y="523"/>
                  </a:lnTo>
                  <a:lnTo>
                    <a:pt x="455" y="527"/>
                  </a:lnTo>
                  <a:lnTo>
                    <a:pt x="459" y="527"/>
                  </a:lnTo>
                  <a:lnTo>
                    <a:pt x="463" y="523"/>
                  </a:lnTo>
                  <a:lnTo>
                    <a:pt x="459" y="523"/>
                  </a:lnTo>
                  <a:lnTo>
                    <a:pt x="455" y="523"/>
                  </a:lnTo>
                  <a:lnTo>
                    <a:pt x="451" y="527"/>
                  </a:lnTo>
                  <a:lnTo>
                    <a:pt x="451" y="523"/>
                  </a:lnTo>
                  <a:lnTo>
                    <a:pt x="447" y="523"/>
                  </a:lnTo>
                  <a:lnTo>
                    <a:pt x="447" y="527"/>
                  </a:lnTo>
                  <a:lnTo>
                    <a:pt x="443" y="527"/>
                  </a:lnTo>
                  <a:lnTo>
                    <a:pt x="447" y="527"/>
                  </a:lnTo>
                  <a:lnTo>
                    <a:pt x="447" y="531"/>
                  </a:lnTo>
                  <a:lnTo>
                    <a:pt x="443" y="531"/>
                  </a:lnTo>
                  <a:lnTo>
                    <a:pt x="439" y="531"/>
                  </a:lnTo>
                  <a:lnTo>
                    <a:pt x="439" y="535"/>
                  </a:lnTo>
                  <a:lnTo>
                    <a:pt x="435" y="535"/>
                  </a:lnTo>
                  <a:lnTo>
                    <a:pt x="435" y="539"/>
                  </a:lnTo>
                  <a:lnTo>
                    <a:pt x="431" y="539"/>
                  </a:lnTo>
                  <a:lnTo>
                    <a:pt x="427" y="539"/>
                  </a:lnTo>
                  <a:lnTo>
                    <a:pt x="423" y="539"/>
                  </a:lnTo>
                  <a:lnTo>
                    <a:pt x="423" y="543"/>
                  </a:lnTo>
                  <a:lnTo>
                    <a:pt x="423" y="539"/>
                  </a:lnTo>
                  <a:lnTo>
                    <a:pt x="423" y="543"/>
                  </a:lnTo>
                  <a:lnTo>
                    <a:pt x="419" y="543"/>
                  </a:lnTo>
                  <a:lnTo>
                    <a:pt x="419" y="539"/>
                  </a:lnTo>
                  <a:lnTo>
                    <a:pt x="419" y="543"/>
                  </a:lnTo>
                  <a:lnTo>
                    <a:pt x="415" y="547"/>
                  </a:lnTo>
                  <a:lnTo>
                    <a:pt x="411" y="547"/>
                  </a:lnTo>
                  <a:lnTo>
                    <a:pt x="411" y="551"/>
                  </a:lnTo>
                  <a:lnTo>
                    <a:pt x="407" y="555"/>
                  </a:lnTo>
                  <a:lnTo>
                    <a:pt x="403" y="555"/>
                  </a:lnTo>
                  <a:lnTo>
                    <a:pt x="399" y="559"/>
                  </a:lnTo>
                  <a:lnTo>
                    <a:pt x="395" y="559"/>
                  </a:lnTo>
                  <a:lnTo>
                    <a:pt x="395" y="563"/>
                  </a:lnTo>
                  <a:lnTo>
                    <a:pt x="395" y="567"/>
                  </a:lnTo>
                  <a:lnTo>
                    <a:pt x="391" y="571"/>
                  </a:lnTo>
                  <a:lnTo>
                    <a:pt x="391" y="567"/>
                  </a:lnTo>
                  <a:lnTo>
                    <a:pt x="387" y="567"/>
                  </a:lnTo>
                  <a:lnTo>
                    <a:pt x="387" y="571"/>
                  </a:lnTo>
                  <a:lnTo>
                    <a:pt x="383" y="571"/>
                  </a:lnTo>
                  <a:lnTo>
                    <a:pt x="387" y="571"/>
                  </a:lnTo>
                  <a:lnTo>
                    <a:pt x="387" y="575"/>
                  </a:lnTo>
                  <a:lnTo>
                    <a:pt x="387" y="579"/>
                  </a:lnTo>
                  <a:lnTo>
                    <a:pt x="383" y="579"/>
                  </a:lnTo>
                  <a:lnTo>
                    <a:pt x="387" y="579"/>
                  </a:lnTo>
                  <a:lnTo>
                    <a:pt x="387" y="583"/>
                  </a:lnTo>
                  <a:lnTo>
                    <a:pt x="387" y="587"/>
                  </a:lnTo>
                  <a:lnTo>
                    <a:pt x="383" y="587"/>
                  </a:lnTo>
                  <a:lnTo>
                    <a:pt x="383" y="583"/>
                  </a:lnTo>
                  <a:lnTo>
                    <a:pt x="383" y="587"/>
                  </a:lnTo>
                  <a:lnTo>
                    <a:pt x="383" y="590"/>
                  </a:lnTo>
                  <a:lnTo>
                    <a:pt x="387" y="590"/>
                  </a:lnTo>
                  <a:lnTo>
                    <a:pt x="383" y="590"/>
                  </a:lnTo>
                  <a:lnTo>
                    <a:pt x="383" y="594"/>
                  </a:lnTo>
                  <a:lnTo>
                    <a:pt x="383" y="598"/>
                  </a:lnTo>
                  <a:lnTo>
                    <a:pt x="387" y="602"/>
                  </a:lnTo>
                  <a:lnTo>
                    <a:pt x="387" y="606"/>
                  </a:lnTo>
                  <a:lnTo>
                    <a:pt x="387" y="602"/>
                  </a:lnTo>
                  <a:lnTo>
                    <a:pt x="383" y="606"/>
                  </a:lnTo>
                  <a:lnTo>
                    <a:pt x="383" y="610"/>
                  </a:lnTo>
                  <a:lnTo>
                    <a:pt x="387" y="610"/>
                  </a:lnTo>
                  <a:lnTo>
                    <a:pt x="383" y="614"/>
                  </a:lnTo>
                  <a:lnTo>
                    <a:pt x="387" y="614"/>
                  </a:lnTo>
                  <a:lnTo>
                    <a:pt x="387" y="618"/>
                  </a:lnTo>
                  <a:lnTo>
                    <a:pt x="383" y="622"/>
                  </a:lnTo>
                  <a:lnTo>
                    <a:pt x="383" y="630"/>
                  </a:lnTo>
                  <a:lnTo>
                    <a:pt x="383" y="626"/>
                  </a:lnTo>
                  <a:lnTo>
                    <a:pt x="383" y="630"/>
                  </a:lnTo>
                  <a:lnTo>
                    <a:pt x="379" y="634"/>
                  </a:lnTo>
                  <a:lnTo>
                    <a:pt x="375" y="634"/>
                  </a:lnTo>
                  <a:lnTo>
                    <a:pt x="375" y="638"/>
                  </a:lnTo>
                  <a:lnTo>
                    <a:pt x="371" y="638"/>
                  </a:lnTo>
                  <a:lnTo>
                    <a:pt x="371" y="642"/>
                  </a:lnTo>
                  <a:lnTo>
                    <a:pt x="371" y="646"/>
                  </a:lnTo>
                  <a:lnTo>
                    <a:pt x="367" y="646"/>
                  </a:lnTo>
                  <a:lnTo>
                    <a:pt x="367" y="650"/>
                  </a:lnTo>
                  <a:lnTo>
                    <a:pt x="363" y="650"/>
                  </a:lnTo>
                  <a:lnTo>
                    <a:pt x="363" y="654"/>
                  </a:lnTo>
                  <a:lnTo>
                    <a:pt x="363" y="658"/>
                  </a:lnTo>
                  <a:lnTo>
                    <a:pt x="363" y="662"/>
                  </a:lnTo>
                  <a:lnTo>
                    <a:pt x="359" y="662"/>
                  </a:lnTo>
                  <a:lnTo>
                    <a:pt x="359" y="666"/>
                  </a:lnTo>
                  <a:lnTo>
                    <a:pt x="359" y="670"/>
                  </a:lnTo>
                  <a:lnTo>
                    <a:pt x="355" y="674"/>
                  </a:lnTo>
                  <a:lnTo>
                    <a:pt x="355" y="678"/>
                  </a:lnTo>
                  <a:lnTo>
                    <a:pt x="351" y="678"/>
                  </a:lnTo>
                  <a:lnTo>
                    <a:pt x="351" y="682"/>
                  </a:lnTo>
                  <a:lnTo>
                    <a:pt x="347" y="686"/>
                  </a:lnTo>
                  <a:lnTo>
                    <a:pt x="347" y="690"/>
                  </a:lnTo>
                  <a:lnTo>
                    <a:pt x="343" y="694"/>
                  </a:lnTo>
                  <a:lnTo>
                    <a:pt x="339" y="694"/>
                  </a:lnTo>
                  <a:lnTo>
                    <a:pt x="335" y="698"/>
                  </a:lnTo>
                  <a:lnTo>
                    <a:pt x="331" y="702"/>
                  </a:lnTo>
                  <a:lnTo>
                    <a:pt x="331" y="698"/>
                  </a:lnTo>
                  <a:lnTo>
                    <a:pt x="335" y="698"/>
                  </a:lnTo>
                  <a:lnTo>
                    <a:pt x="331" y="698"/>
                  </a:lnTo>
                  <a:lnTo>
                    <a:pt x="331" y="694"/>
                  </a:lnTo>
                  <a:lnTo>
                    <a:pt x="335" y="694"/>
                  </a:lnTo>
                  <a:lnTo>
                    <a:pt x="339" y="694"/>
                  </a:lnTo>
                  <a:lnTo>
                    <a:pt x="339" y="690"/>
                  </a:lnTo>
                  <a:lnTo>
                    <a:pt x="343" y="690"/>
                  </a:lnTo>
                  <a:lnTo>
                    <a:pt x="343" y="686"/>
                  </a:lnTo>
                  <a:lnTo>
                    <a:pt x="347" y="686"/>
                  </a:lnTo>
                  <a:lnTo>
                    <a:pt x="347" y="682"/>
                  </a:lnTo>
                  <a:lnTo>
                    <a:pt x="347" y="678"/>
                  </a:lnTo>
                  <a:lnTo>
                    <a:pt x="347" y="682"/>
                  </a:lnTo>
                  <a:lnTo>
                    <a:pt x="351" y="682"/>
                  </a:lnTo>
                  <a:lnTo>
                    <a:pt x="351" y="678"/>
                  </a:lnTo>
                  <a:lnTo>
                    <a:pt x="351" y="674"/>
                  </a:lnTo>
                  <a:lnTo>
                    <a:pt x="355" y="674"/>
                  </a:lnTo>
                  <a:lnTo>
                    <a:pt x="355" y="670"/>
                  </a:lnTo>
                  <a:lnTo>
                    <a:pt x="355" y="666"/>
                  </a:lnTo>
                  <a:lnTo>
                    <a:pt x="355" y="670"/>
                  </a:lnTo>
                  <a:lnTo>
                    <a:pt x="355" y="666"/>
                  </a:lnTo>
                  <a:lnTo>
                    <a:pt x="355" y="662"/>
                  </a:lnTo>
                  <a:lnTo>
                    <a:pt x="355" y="666"/>
                  </a:lnTo>
                  <a:lnTo>
                    <a:pt x="351" y="666"/>
                  </a:lnTo>
                  <a:lnTo>
                    <a:pt x="347" y="666"/>
                  </a:lnTo>
                  <a:lnTo>
                    <a:pt x="347" y="662"/>
                  </a:lnTo>
                  <a:lnTo>
                    <a:pt x="347" y="658"/>
                  </a:lnTo>
                  <a:lnTo>
                    <a:pt x="343" y="658"/>
                  </a:lnTo>
                  <a:lnTo>
                    <a:pt x="343" y="662"/>
                  </a:lnTo>
                  <a:lnTo>
                    <a:pt x="343" y="666"/>
                  </a:lnTo>
                  <a:lnTo>
                    <a:pt x="347" y="666"/>
                  </a:lnTo>
                  <a:lnTo>
                    <a:pt x="343" y="670"/>
                  </a:lnTo>
                  <a:lnTo>
                    <a:pt x="343" y="674"/>
                  </a:lnTo>
                  <a:lnTo>
                    <a:pt x="343" y="670"/>
                  </a:lnTo>
                  <a:lnTo>
                    <a:pt x="343" y="674"/>
                  </a:lnTo>
                  <a:lnTo>
                    <a:pt x="343" y="678"/>
                  </a:lnTo>
                  <a:lnTo>
                    <a:pt x="343" y="682"/>
                  </a:lnTo>
                  <a:lnTo>
                    <a:pt x="339" y="682"/>
                  </a:lnTo>
                  <a:lnTo>
                    <a:pt x="335" y="686"/>
                  </a:lnTo>
                  <a:lnTo>
                    <a:pt x="335" y="690"/>
                  </a:lnTo>
                  <a:lnTo>
                    <a:pt x="331" y="690"/>
                  </a:lnTo>
                  <a:lnTo>
                    <a:pt x="331" y="694"/>
                  </a:lnTo>
                  <a:lnTo>
                    <a:pt x="331" y="698"/>
                  </a:lnTo>
                  <a:lnTo>
                    <a:pt x="331" y="702"/>
                  </a:lnTo>
                  <a:lnTo>
                    <a:pt x="331" y="706"/>
                  </a:lnTo>
                  <a:lnTo>
                    <a:pt x="327" y="710"/>
                  </a:lnTo>
                  <a:lnTo>
                    <a:pt x="327" y="714"/>
                  </a:lnTo>
                  <a:lnTo>
                    <a:pt x="327" y="718"/>
                  </a:lnTo>
                  <a:lnTo>
                    <a:pt x="323" y="722"/>
                  </a:lnTo>
                  <a:lnTo>
                    <a:pt x="319" y="726"/>
                  </a:lnTo>
                  <a:lnTo>
                    <a:pt x="315" y="730"/>
                  </a:lnTo>
                  <a:lnTo>
                    <a:pt x="315" y="734"/>
                  </a:lnTo>
                  <a:lnTo>
                    <a:pt x="311" y="734"/>
                  </a:lnTo>
                  <a:lnTo>
                    <a:pt x="311" y="730"/>
                  </a:lnTo>
                  <a:lnTo>
                    <a:pt x="311" y="726"/>
                  </a:lnTo>
                  <a:lnTo>
                    <a:pt x="311" y="722"/>
                  </a:lnTo>
                  <a:lnTo>
                    <a:pt x="311" y="718"/>
                  </a:lnTo>
                  <a:lnTo>
                    <a:pt x="315" y="718"/>
                  </a:lnTo>
                  <a:lnTo>
                    <a:pt x="315" y="714"/>
                  </a:lnTo>
                  <a:lnTo>
                    <a:pt x="319" y="714"/>
                  </a:lnTo>
                  <a:lnTo>
                    <a:pt x="315" y="710"/>
                  </a:lnTo>
                  <a:lnTo>
                    <a:pt x="311" y="710"/>
                  </a:lnTo>
                  <a:lnTo>
                    <a:pt x="311" y="706"/>
                  </a:lnTo>
                  <a:lnTo>
                    <a:pt x="307" y="706"/>
                  </a:lnTo>
                  <a:lnTo>
                    <a:pt x="307" y="702"/>
                  </a:lnTo>
                  <a:lnTo>
                    <a:pt x="307" y="698"/>
                  </a:lnTo>
                  <a:lnTo>
                    <a:pt x="303" y="698"/>
                  </a:lnTo>
                  <a:lnTo>
                    <a:pt x="303" y="694"/>
                  </a:lnTo>
                  <a:lnTo>
                    <a:pt x="299" y="694"/>
                  </a:lnTo>
                  <a:lnTo>
                    <a:pt x="295" y="690"/>
                  </a:lnTo>
                  <a:lnTo>
                    <a:pt x="295" y="686"/>
                  </a:lnTo>
                  <a:lnTo>
                    <a:pt x="291" y="686"/>
                  </a:lnTo>
                  <a:lnTo>
                    <a:pt x="287" y="686"/>
                  </a:lnTo>
                  <a:lnTo>
                    <a:pt x="283" y="682"/>
                  </a:lnTo>
                  <a:lnTo>
                    <a:pt x="283" y="678"/>
                  </a:lnTo>
                  <a:lnTo>
                    <a:pt x="279" y="678"/>
                  </a:lnTo>
                  <a:lnTo>
                    <a:pt x="279" y="674"/>
                  </a:lnTo>
                  <a:lnTo>
                    <a:pt x="279" y="678"/>
                  </a:lnTo>
                  <a:lnTo>
                    <a:pt x="275" y="678"/>
                  </a:lnTo>
                  <a:lnTo>
                    <a:pt x="271" y="678"/>
                  </a:lnTo>
                  <a:lnTo>
                    <a:pt x="275" y="678"/>
                  </a:lnTo>
                  <a:lnTo>
                    <a:pt x="275" y="674"/>
                  </a:lnTo>
                  <a:lnTo>
                    <a:pt x="271" y="674"/>
                  </a:lnTo>
                  <a:lnTo>
                    <a:pt x="271" y="670"/>
                  </a:lnTo>
                  <a:lnTo>
                    <a:pt x="267" y="670"/>
                  </a:lnTo>
                  <a:lnTo>
                    <a:pt x="267" y="666"/>
                  </a:lnTo>
                  <a:lnTo>
                    <a:pt x="263" y="666"/>
                  </a:lnTo>
                  <a:lnTo>
                    <a:pt x="263" y="662"/>
                  </a:lnTo>
                  <a:lnTo>
                    <a:pt x="259" y="662"/>
                  </a:lnTo>
                  <a:lnTo>
                    <a:pt x="255" y="662"/>
                  </a:lnTo>
                  <a:lnTo>
                    <a:pt x="255" y="666"/>
                  </a:lnTo>
                  <a:lnTo>
                    <a:pt x="251" y="662"/>
                  </a:lnTo>
                  <a:lnTo>
                    <a:pt x="251" y="666"/>
                  </a:lnTo>
                  <a:lnTo>
                    <a:pt x="251" y="662"/>
                  </a:lnTo>
                  <a:lnTo>
                    <a:pt x="247" y="662"/>
                  </a:lnTo>
                  <a:lnTo>
                    <a:pt x="251" y="662"/>
                  </a:lnTo>
                  <a:lnTo>
                    <a:pt x="251" y="658"/>
                  </a:lnTo>
                  <a:lnTo>
                    <a:pt x="255" y="654"/>
                  </a:lnTo>
                  <a:lnTo>
                    <a:pt x="259" y="654"/>
                  </a:lnTo>
                  <a:lnTo>
                    <a:pt x="259" y="650"/>
                  </a:lnTo>
                  <a:lnTo>
                    <a:pt x="263" y="646"/>
                  </a:lnTo>
                  <a:lnTo>
                    <a:pt x="263" y="642"/>
                  </a:lnTo>
                  <a:lnTo>
                    <a:pt x="267" y="642"/>
                  </a:lnTo>
                  <a:lnTo>
                    <a:pt x="267" y="638"/>
                  </a:lnTo>
                  <a:lnTo>
                    <a:pt x="267" y="634"/>
                  </a:lnTo>
                  <a:lnTo>
                    <a:pt x="271" y="634"/>
                  </a:lnTo>
                  <a:lnTo>
                    <a:pt x="271" y="630"/>
                  </a:lnTo>
                  <a:lnTo>
                    <a:pt x="275" y="630"/>
                  </a:lnTo>
                  <a:lnTo>
                    <a:pt x="275" y="626"/>
                  </a:lnTo>
                  <a:lnTo>
                    <a:pt x="279" y="626"/>
                  </a:lnTo>
                  <a:lnTo>
                    <a:pt x="275" y="626"/>
                  </a:lnTo>
                  <a:lnTo>
                    <a:pt x="275" y="622"/>
                  </a:lnTo>
                  <a:lnTo>
                    <a:pt x="279" y="622"/>
                  </a:lnTo>
                  <a:lnTo>
                    <a:pt x="283" y="622"/>
                  </a:lnTo>
                  <a:lnTo>
                    <a:pt x="283" y="618"/>
                  </a:lnTo>
                  <a:lnTo>
                    <a:pt x="287" y="618"/>
                  </a:lnTo>
                  <a:lnTo>
                    <a:pt x="291" y="614"/>
                  </a:lnTo>
                  <a:lnTo>
                    <a:pt x="291" y="610"/>
                  </a:lnTo>
                  <a:lnTo>
                    <a:pt x="295" y="610"/>
                  </a:lnTo>
                  <a:lnTo>
                    <a:pt x="299" y="610"/>
                  </a:lnTo>
                  <a:lnTo>
                    <a:pt x="299" y="606"/>
                  </a:lnTo>
                  <a:lnTo>
                    <a:pt x="303" y="606"/>
                  </a:lnTo>
                  <a:lnTo>
                    <a:pt x="303" y="602"/>
                  </a:lnTo>
                  <a:lnTo>
                    <a:pt x="307" y="602"/>
                  </a:lnTo>
                  <a:lnTo>
                    <a:pt x="307" y="598"/>
                  </a:lnTo>
                  <a:lnTo>
                    <a:pt x="307" y="594"/>
                  </a:lnTo>
                  <a:lnTo>
                    <a:pt x="307" y="590"/>
                  </a:lnTo>
                  <a:lnTo>
                    <a:pt x="307" y="587"/>
                  </a:lnTo>
                  <a:lnTo>
                    <a:pt x="307" y="583"/>
                  </a:lnTo>
                  <a:lnTo>
                    <a:pt x="307" y="579"/>
                  </a:lnTo>
                  <a:lnTo>
                    <a:pt x="307" y="575"/>
                  </a:lnTo>
                  <a:lnTo>
                    <a:pt x="303" y="571"/>
                  </a:lnTo>
                  <a:lnTo>
                    <a:pt x="299" y="571"/>
                  </a:lnTo>
                  <a:lnTo>
                    <a:pt x="299" y="575"/>
                  </a:lnTo>
                  <a:lnTo>
                    <a:pt x="295" y="575"/>
                  </a:lnTo>
                  <a:lnTo>
                    <a:pt x="295" y="571"/>
                  </a:lnTo>
                  <a:lnTo>
                    <a:pt x="295" y="567"/>
                  </a:lnTo>
                  <a:lnTo>
                    <a:pt x="295" y="563"/>
                  </a:lnTo>
                  <a:lnTo>
                    <a:pt x="299" y="559"/>
                  </a:lnTo>
                  <a:lnTo>
                    <a:pt x="299" y="555"/>
                  </a:lnTo>
                  <a:lnTo>
                    <a:pt x="299" y="551"/>
                  </a:lnTo>
                  <a:lnTo>
                    <a:pt x="299" y="547"/>
                  </a:lnTo>
                  <a:lnTo>
                    <a:pt x="299" y="543"/>
                  </a:lnTo>
                  <a:lnTo>
                    <a:pt x="295" y="539"/>
                  </a:lnTo>
                  <a:lnTo>
                    <a:pt x="291" y="543"/>
                  </a:lnTo>
                  <a:lnTo>
                    <a:pt x="287" y="543"/>
                  </a:lnTo>
                  <a:lnTo>
                    <a:pt x="283" y="543"/>
                  </a:lnTo>
                  <a:lnTo>
                    <a:pt x="283" y="539"/>
                  </a:lnTo>
                  <a:lnTo>
                    <a:pt x="283" y="535"/>
                  </a:lnTo>
                  <a:lnTo>
                    <a:pt x="279" y="535"/>
                  </a:lnTo>
                  <a:lnTo>
                    <a:pt x="279" y="531"/>
                  </a:lnTo>
                  <a:lnTo>
                    <a:pt x="279" y="527"/>
                  </a:lnTo>
                  <a:lnTo>
                    <a:pt x="279" y="523"/>
                  </a:lnTo>
                  <a:lnTo>
                    <a:pt x="279" y="519"/>
                  </a:lnTo>
                  <a:lnTo>
                    <a:pt x="279" y="515"/>
                  </a:lnTo>
                  <a:lnTo>
                    <a:pt x="275" y="515"/>
                  </a:lnTo>
                  <a:lnTo>
                    <a:pt x="275" y="511"/>
                  </a:lnTo>
                  <a:lnTo>
                    <a:pt x="271" y="511"/>
                  </a:lnTo>
                  <a:lnTo>
                    <a:pt x="267" y="511"/>
                  </a:lnTo>
                  <a:lnTo>
                    <a:pt x="267" y="507"/>
                  </a:lnTo>
                  <a:lnTo>
                    <a:pt x="263" y="507"/>
                  </a:lnTo>
                  <a:lnTo>
                    <a:pt x="263" y="511"/>
                  </a:lnTo>
                  <a:lnTo>
                    <a:pt x="259" y="511"/>
                  </a:lnTo>
                  <a:lnTo>
                    <a:pt x="255" y="511"/>
                  </a:lnTo>
                  <a:lnTo>
                    <a:pt x="251" y="511"/>
                  </a:lnTo>
                  <a:lnTo>
                    <a:pt x="247" y="507"/>
                  </a:lnTo>
                  <a:lnTo>
                    <a:pt x="243" y="507"/>
                  </a:lnTo>
                  <a:lnTo>
                    <a:pt x="243" y="503"/>
                  </a:lnTo>
                  <a:lnTo>
                    <a:pt x="243" y="499"/>
                  </a:lnTo>
                  <a:lnTo>
                    <a:pt x="243" y="495"/>
                  </a:lnTo>
                  <a:lnTo>
                    <a:pt x="243" y="491"/>
                  </a:lnTo>
                  <a:lnTo>
                    <a:pt x="247" y="487"/>
                  </a:lnTo>
                  <a:lnTo>
                    <a:pt x="243" y="483"/>
                  </a:lnTo>
                  <a:lnTo>
                    <a:pt x="243" y="479"/>
                  </a:lnTo>
                  <a:lnTo>
                    <a:pt x="243" y="475"/>
                  </a:lnTo>
                  <a:lnTo>
                    <a:pt x="239" y="471"/>
                  </a:lnTo>
                  <a:lnTo>
                    <a:pt x="243" y="467"/>
                  </a:lnTo>
                  <a:lnTo>
                    <a:pt x="243" y="463"/>
                  </a:lnTo>
                  <a:lnTo>
                    <a:pt x="239" y="463"/>
                  </a:lnTo>
                  <a:lnTo>
                    <a:pt x="243" y="463"/>
                  </a:lnTo>
                  <a:lnTo>
                    <a:pt x="243" y="455"/>
                  </a:lnTo>
                  <a:lnTo>
                    <a:pt x="243" y="451"/>
                  </a:lnTo>
                  <a:lnTo>
                    <a:pt x="247" y="451"/>
                  </a:lnTo>
                  <a:lnTo>
                    <a:pt x="247" y="447"/>
                  </a:lnTo>
                  <a:lnTo>
                    <a:pt x="247" y="439"/>
                  </a:lnTo>
                  <a:lnTo>
                    <a:pt x="251" y="435"/>
                  </a:lnTo>
                  <a:lnTo>
                    <a:pt x="247" y="431"/>
                  </a:lnTo>
                  <a:lnTo>
                    <a:pt x="247" y="427"/>
                  </a:lnTo>
                  <a:lnTo>
                    <a:pt x="247" y="423"/>
                  </a:lnTo>
                  <a:lnTo>
                    <a:pt x="243" y="419"/>
                  </a:lnTo>
                  <a:lnTo>
                    <a:pt x="239" y="419"/>
                  </a:lnTo>
                  <a:lnTo>
                    <a:pt x="239" y="415"/>
                  </a:lnTo>
                  <a:lnTo>
                    <a:pt x="235" y="415"/>
                  </a:lnTo>
                  <a:lnTo>
                    <a:pt x="235" y="411"/>
                  </a:lnTo>
                  <a:lnTo>
                    <a:pt x="235" y="407"/>
                  </a:lnTo>
                  <a:lnTo>
                    <a:pt x="235" y="403"/>
                  </a:lnTo>
                  <a:lnTo>
                    <a:pt x="239" y="403"/>
                  </a:lnTo>
                  <a:lnTo>
                    <a:pt x="239" y="399"/>
                  </a:lnTo>
                  <a:lnTo>
                    <a:pt x="235" y="399"/>
                  </a:lnTo>
                  <a:lnTo>
                    <a:pt x="227" y="399"/>
                  </a:lnTo>
                  <a:lnTo>
                    <a:pt x="219" y="399"/>
                  </a:lnTo>
                  <a:lnTo>
                    <a:pt x="211" y="399"/>
                  </a:lnTo>
                  <a:lnTo>
                    <a:pt x="211" y="391"/>
                  </a:lnTo>
                  <a:lnTo>
                    <a:pt x="207" y="383"/>
                  </a:lnTo>
                  <a:lnTo>
                    <a:pt x="207" y="379"/>
                  </a:lnTo>
                  <a:lnTo>
                    <a:pt x="203" y="375"/>
                  </a:lnTo>
                  <a:lnTo>
                    <a:pt x="207" y="375"/>
                  </a:lnTo>
                  <a:lnTo>
                    <a:pt x="207" y="371"/>
                  </a:lnTo>
                  <a:lnTo>
                    <a:pt x="207" y="367"/>
                  </a:lnTo>
                  <a:lnTo>
                    <a:pt x="207" y="363"/>
                  </a:lnTo>
                  <a:lnTo>
                    <a:pt x="207" y="359"/>
                  </a:lnTo>
                  <a:lnTo>
                    <a:pt x="203" y="359"/>
                  </a:lnTo>
                  <a:lnTo>
                    <a:pt x="207" y="355"/>
                  </a:lnTo>
                  <a:lnTo>
                    <a:pt x="207" y="351"/>
                  </a:lnTo>
                  <a:lnTo>
                    <a:pt x="203" y="351"/>
                  </a:lnTo>
                  <a:lnTo>
                    <a:pt x="199" y="347"/>
                  </a:lnTo>
                  <a:lnTo>
                    <a:pt x="195" y="347"/>
                  </a:lnTo>
                  <a:lnTo>
                    <a:pt x="191" y="347"/>
                  </a:lnTo>
                  <a:lnTo>
                    <a:pt x="187" y="347"/>
                  </a:lnTo>
                  <a:lnTo>
                    <a:pt x="183" y="347"/>
                  </a:lnTo>
                  <a:lnTo>
                    <a:pt x="183" y="343"/>
                  </a:lnTo>
                  <a:lnTo>
                    <a:pt x="179" y="343"/>
                  </a:lnTo>
                  <a:lnTo>
                    <a:pt x="179" y="339"/>
                  </a:lnTo>
                  <a:lnTo>
                    <a:pt x="175" y="339"/>
                  </a:lnTo>
                  <a:lnTo>
                    <a:pt x="171" y="335"/>
                  </a:lnTo>
                  <a:lnTo>
                    <a:pt x="167" y="335"/>
                  </a:lnTo>
                  <a:lnTo>
                    <a:pt x="167" y="331"/>
                  </a:lnTo>
                  <a:lnTo>
                    <a:pt x="163" y="331"/>
                  </a:lnTo>
                  <a:lnTo>
                    <a:pt x="159" y="331"/>
                  </a:lnTo>
                  <a:lnTo>
                    <a:pt x="159" y="327"/>
                  </a:lnTo>
                  <a:lnTo>
                    <a:pt x="155" y="327"/>
                  </a:lnTo>
                  <a:lnTo>
                    <a:pt x="151" y="327"/>
                  </a:lnTo>
                  <a:lnTo>
                    <a:pt x="147" y="327"/>
                  </a:lnTo>
                  <a:lnTo>
                    <a:pt x="143" y="323"/>
                  </a:lnTo>
                  <a:lnTo>
                    <a:pt x="139" y="319"/>
                  </a:lnTo>
                  <a:lnTo>
                    <a:pt x="135" y="319"/>
                  </a:lnTo>
                  <a:lnTo>
                    <a:pt x="135" y="315"/>
                  </a:lnTo>
                  <a:lnTo>
                    <a:pt x="135" y="311"/>
                  </a:lnTo>
                  <a:lnTo>
                    <a:pt x="135" y="315"/>
                  </a:lnTo>
                  <a:lnTo>
                    <a:pt x="135" y="311"/>
                  </a:lnTo>
                  <a:lnTo>
                    <a:pt x="132" y="307"/>
                  </a:lnTo>
                  <a:lnTo>
                    <a:pt x="132" y="303"/>
                  </a:lnTo>
                  <a:lnTo>
                    <a:pt x="132" y="299"/>
                  </a:lnTo>
                  <a:lnTo>
                    <a:pt x="132" y="295"/>
                  </a:lnTo>
                  <a:lnTo>
                    <a:pt x="132" y="291"/>
                  </a:lnTo>
                  <a:lnTo>
                    <a:pt x="132" y="287"/>
                  </a:lnTo>
                  <a:lnTo>
                    <a:pt x="132" y="283"/>
                  </a:lnTo>
                  <a:lnTo>
                    <a:pt x="132" y="279"/>
                  </a:lnTo>
                  <a:lnTo>
                    <a:pt x="132" y="275"/>
                  </a:lnTo>
                  <a:lnTo>
                    <a:pt x="128" y="275"/>
                  </a:lnTo>
                  <a:lnTo>
                    <a:pt x="128" y="279"/>
                  </a:lnTo>
                  <a:lnTo>
                    <a:pt x="128" y="275"/>
                  </a:lnTo>
                  <a:lnTo>
                    <a:pt x="124" y="275"/>
                  </a:lnTo>
                  <a:lnTo>
                    <a:pt x="120" y="275"/>
                  </a:lnTo>
                  <a:lnTo>
                    <a:pt x="116" y="279"/>
                  </a:lnTo>
                  <a:lnTo>
                    <a:pt x="112" y="279"/>
                  </a:lnTo>
                  <a:lnTo>
                    <a:pt x="108" y="283"/>
                  </a:lnTo>
                  <a:lnTo>
                    <a:pt x="108" y="287"/>
                  </a:lnTo>
                  <a:lnTo>
                    <a:pt x="104" y="287"/>
                  </a:lnTo>
                  <a:lnTo>
                    <a:pt x="100" y="287"/>
                  </a:lnTo>
                  <a:lnTo>
                    <a:pt x="100" y="291"/>
                  </a:lnTo>
                  <a:lnTo>
                    <a:pt x="96" y="291"/>
                  </a:lnTo>
                  <a:lnTo>
                    <a:pt x="96" y="295"/>
                  </a:lnTo>
                  <a:lnTo>
                    <a:pt x="96" y="291"/>
                  </a:lnTo>
                  <a:lnTo>
                    <a:pt x="92" y="291"/>
                  </a:lnTo>
                  <a:lnTo>
                    <a:pt x="92" y="295"/>
                  </a:lnTo>
                  <a:lnTo>
                    <a:pt x="88" y="295"/>
                  </a:lnTo>
                  <a:lnTo>
                    <a:pt x="88" y="299"/>
                  </a:lnTo>
                  <a:lnTo>
                    <a:pt x="84" y="299"/>
                  </a:lnTo>
                  <a:lnTo>
                    <a:pt x="84" y="303"/>
                  </a:lnTo>
                  <a:lnTo>
                    <a:pt x="80" y="303"/>
                  </a:lnTo>
                  <a:lnTo>
                    <a:pt x="80" y="299"/>
                  </a:lnTo>
                  <a:lnTo>
                    <a:pt x="76" y="299"/>
                  </a:lnTo>
                  <a:lnTo>
                    <a:pt x="72" y="299"/>
                  </a:lnTo>
                  <a:lnTo>
                    <a:pt x="68" y="299"/>
                  </a:lnTo>
                  <a:lnTo>
                    <a:pt x="64" y="299"/>
                  </a:lnTo>
                  <a:lnTo>
                    <a:pt x="60" y="299"/>
                  </a:lnTo>
                  <a:lnTo>
                    <a:pt x="56" y="299"/>
                  </a:lnTo>
                  <a:lnTo>
                    <a:pt x="52" y="299"/>
                  </a:lnTo>
                  <a:lnTo>
                    <a:pt x="52" y="295"/>
                  </a:lnTo>
                  <a:lnTo>
                    <a:pt x="52" y="291"/>
                  </a:lnTo>
                  <a:lnTo>
                    <a:pt x="52" y="287"/>
                  </a:lnTo>
                  <a:lnTo>
                    <a:pt x="52" y="283"/>
                  </a:lnTo>
                  <a:lnTo>
                    <a:pt x="52" y="279"/>
                  </a:lnTo>
                  <a:lnTo>
                    <a:pt x="52" y="275"/>
                  </a:lnTo>
                  <a:lnTo>
                    <a:pt x="52" y="271"/>
                  </a:lnTo>
                  <a:lnTo>
                    <a:pt x="48" y="275"/>
                  </a:lnTo>
                  <a:lnTo>
                    <a:pt x="48" y="279"/>
                  </a:lnTo>
                  <a:lnTo>
                    <a:pt x="44" y="279"/>
                  </a:lnTo>
                  <a:lnTo>
                    <a:pt x="40" y="279"/>
                  </a:lnTo>
                  <a:lnTo>
                    <a:pt x="36" y="279"/>
                  </a:lnTo>
                  <a:lnTo>
                    <a:pt x="32" y="279"/>
                  </a:lnTo>
                  <a:lnTo>
                    <a:pt x="28" y="279"/>
                  </a:lnTo>
                  <a:lnTo>
                    <a:pt x="28" y="275"/>
                  </a:lnTo>
                  <a:lnTo>
                    <a:pt x="28" y="271"/>
                  </a:lnTo>
                  <a:lnTo>
                    <a:pt x="24" y="271"/>
                  </a:lnTo>
                  <a:lnTo>
                    <a:pt x="20" y="271"/>
                  </a:lnTo>
                  <a:lnTo>
                    <a:pt x="16" y="271"/>
                  </a:lnTo>
                  <a:lnTo>
                    <a:pt x="12" y="271"/>
                  </a:lnTo>
                  <a:lnTo>
                    <a:pt x="12" y="267"/>
                  </a:lnTo>
                  <a:lnTo>
                    <a:pt x="16" y="267"/>
                  </a:lnTo>
                  <a:lnTo>
                    <a:pt x="16" y="263"/>
                  </a:lnTo>
                  <a:lnTo>
                    <a:pt x="16" y="259"/>
                  </a:lnTo>
                  <a:lnTo>
                    <a:pt x="12" y="259"/>
                  </a:lnTo>
                  <a:lnTo>
                    <a:pt x="12" y="255"/>
                  </a:lnTo>
                  <a:lnTo>
                    <a:pt x="8" y="251"/>
                  </a:lnTo>
                  <a:lnTo>
                    <a:pt x="8" y="247"/>
                  </a:lnTo>
                  <a:lnTo>
                    <a:pt x="8" y="243"/>
                  </a:lnTo>
                  <a:lnTo>
                    <a:pt x="4" y="243"/>
                  </a:lnTo>
                  <a:lnTo>
                    <a:pt x="4" y="239"/>
                  </a:lnTo>
                  <a:lnTo>
                    <a:pt x="0" y="235"/>
                  </a:lnTo>
                  <a:lnTo>
                    <a:pt x="0" y="231"/>
                  </a:lnTo>
                  <a:lnTo>
                    <a:pt x="4" y="231"/>
                  </a:lnTo>
                  <a:lnTo>
                    <a:pt x="4" y="227"/>
                  </a:lnTo>
                  <a:lnTo>
                    <a:pt x="4" y="223"/>
                  </a:lnTo>
                  <a:lnTo>
                    <a:pt x="8" y="219"/>
                  </a:lnTo>
                  <a:lnTo>
                    <a:pt x="12" y="219"/>
                  </a:lnTo>
                  <a:lnTo>
                    <a:pt x="12" y="215"/>
                  </a:lnTo>
                  <a:lnTo>
                    <a:pt x="16" y="215"/>
                  </a:lnTo>
                  <a:lnTo>
                    <a:pt x="12" y="211"/>
                  </a:lnTo>
                  <a:lnTo>
                    <a:pt x="12" y="207"/>
                  </a:lnTo>
                  <a:lnTo>
                    <a:pt x="12" y="203"/>
                  </a:lnTo>
                  <a:lnTo>
                    <a:pt x="16" y="203"/>
                  </a:lnTo>
                  <a:lnTo>
                    <a:pt x="16" y="199"/>
                  </a:lnTo>
                  <a:lnTo>
                    <a:pt x="16" y="195"/>
                  </a:lnTo>
                  <a:lnTo>
                    <a:pt x="16" y="191"/>
                  </a:lnTo>
                  <a:lnTo>
                    <a:pt x="20" y="191"/>
                  </a:lnTo>
                  <a:lnTo>
                    <a:pt x="24" y="187"/>
                  </a:lnTo>
                  <a:lnTo>
                    <a:pt x="24" y="183"/>
                  </a:lnTo>
                  <a:lnTo>
                    <a:pt x="28" y="183"/>
                  </a:lnTo>
                  <a:lnTo>
                    <a:pt x="32" y="183"/>
                  </a:lnTo>
                  <a:lnTo>
                    <a:pt x="32" y="179"/>
                  </a:lnTo>
                  <a:lnTo>
                    <a:pt x="36" y="179"/>
                  </a:lnTo>
                  <a:lnTo>
                    <a:pt x="40" y="179"/>
                  </a:lnTo>
                  <a:lnTo>
                    <a:pt x="44" y="175"/>
                  </a:lnTo>
                  <a:lnTo>
                    <a:pt x="44" y="179"/>
                  </a:lnTo>
                  <a:lnTo>
                    <a:pt x="48" y="179"/>
                  </a:lnTo>
                  <a:lnTo>
                    <a:pt x="48" y="175"/>
                  </a:lnTo>
                  <a:lnTo>
                    <a:pt x="52" y="175"/>
                  </a:lnTo>
                  <a:lnTo>
                    <a:pt x="56" y="175"/>
                  </a:lnTo>
                  <a:lnTo>
                    <a:pt x="56" y="171"/>
                  </a:lnTo>
                  <a:lnTo>
                    <a:pt x="56" y="175"/>
                  </a:lnTo>
                  <a:lnTo>
                    <a:pt x="60" y="175"/>
                  </a:lnTo>
                  <a:lnTo>
                    <a:pt x="64" y="175"/>
                  </a:lnTo>
                  <a:lnTo>
                    <a:pt x="64" y="167"/>
                  </a:lnTo>
                  <a:lnTo>
                    <a:pt x="64" y="159"/>
                  </a:lnTo>
                  <a:lnTo>
                    <a:pt x="68" y="144"/>
                  </a:lnTo>
                  <a:lnTo>
                    <a:pt x="68" y="140"/>
                  </a:lnTo>
                  <a:lnTo>
                    <a:pt x="68" y="132"/>
                  </a:lnTo>
                  <a:lnTo>
                    <a:pt x="68" y="124"/>
                  </a:lnTo>
                  <a:lnTo>
                    <a:pt x="72" y="124"/>
                  </a:lnTo>
                  <a:lnTo>
                    <a:pt x="72" y="120"/>
                  </a:lnTo>
                  <a:lnTo>
                    <a:pt x="72" y="116"/>
                  </a:lnTo>
                  <a:lnTo>
                    <a:pt x="68" y="116"/>
                  </a:lnTo>
                  <a:lnTo>
                    <a:pt x="72" y="116"/>
                  </a:lnTo>
                  <a:lnTo>
                    <a:pt x="68" y="116"/>
                  </a:lnTo>
                  <a:lnTo>
                    <a:pt x="68" y="112"/>
                  </a:lnTo>
                  <a:lnTo>
                    <a:pt x="68" y="108"/>
                  </a:lnTo>
                  <a:lnTo>
                    <a:pt x="64" y="108"/>
                  </a:lnTo>
                  <a:lnTo>
                    <a:pt x="64" y="104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88"/>
                  </a:lnTo>
                  <a:lnTo>
                    <a:pt x="64" y="88"/>
                  </a:lnTo>
                  <a:lnTo>
                    <a:pt x="68" y="84"/>
                  </a:lnTo>
                  <a:lnTo>
                    <a:pt x="72" y="84"/>
                  </a:lnTo>
                  <a:lnTo>
                    <a:pt x="72" y="88"/>
                  </a:lnTo>
                  <a:lnTo>
                    <a:pt x="76" y="88"/>
                  </a:lnTo>
                  <a:lnTo>
                    <a:pt x="76" y="84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4" y="80"/>
                  </a:lnTo>
                  <a:lnTo>
                    <a:pt x="64" y="68"/>
                  </a:lnTo>
                  <a:lnTo>
                    <a:pt x="68" y="64"/>
                  </a:lnTo>
                  <a:lnTo>
                    <a:pt x="72" y="68"/>
                  </a:lnTo>
                  <a:lnTo>
                    <a:pt x="76" y="68"/>
                  </a:lnTo>
                  <a:lnTo>
                    <a:pt x="80" y="68"/>
                  </a:lnTo>
                  <a:lnTo>
                    <a:pt x="88" y="68"/>
                  </a:lnTo>
                  <a:lnTo>
                    <a:pt x="88" y="64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92" y="64"/>
                  </a:lnTo>
                  <a:lnTo>
                    <a:pt x="92" y="68"/>
                  </a:lnTo>
                  <a:lnTo>
                    <a:pt x="92" y="64"/>
                  </a:lnTo>
                  <a:lnTo>
                    <a:pt x="96" y="64"/>
                  </a:lnTo>
                  <a:lnTo>
                    <a:pt x="96" y="60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4" y="64"/>
                  </a:lnTo>
                  <a:lnTo>
                    <a:pt x="104" y="68"/>
                  </a:lnTo>
                  <a:lnTo>
                    <a:pt x="108" y="72"/>
                  </a:lnTo>
                  <a:lnTo>
                    <a:pt x="104" y="72"/>
                  </a:lnTo>
                  <a:lnTo>
                    <a:pt x="104" y="76"/>
                  </a:lnTo>
                  <a:lnTo>
                    <a:pt x="108" y="76"/>
                  </a:lnTo>
                  <a:lnTo>
                    <a:pt x="112" y="76"/>
                  </a:lnTo>
                  <a:lnTo>
                    <a:pt x="116" y="84"/>
                  </a:lnTo>
                  <a:lnTo>
                    <a:pt x="120" y="84"/>
                  </a:lnTo>
                  <a:lnTo>
                    <a:pt x="124" y="84"/>
                  </a:lnTo>
                  <a:lnTo>
                    <a:pt x="124" y="80"/>
                  </a:lnTo>
                  <a:lnTo>
                    <a:pt x="128" y="80"/>
                  </a:lnTo>
                  <a:lnTo>
                    <a:pt x="128" y="84"/>
                  </a:lnTo>
                  <a:lnTo>
                    <a:pt x="128" y="88"/>
                  </a:lnTo>
                  <a:lnTo>
                    <a:pt x="128" y="84"/>
                  </a:lnTo>
                  <a:lnTo>
                    <a:pt x="132" y="84"/>
                  </a:lnTo>
                  <a:lnTo>
                    <a:pt x="132" y="80"/>
                  </a:lnTo>
                  <a:lnTo>
                    <a:pt x="135" y="80"/>
                  </a:lnTo>
                  <a:lnTo>
                    <a:pt x="135" y="76"/>
                  </a:lnTo>
                  <a:lnTo>
                    <a:pt x="139" y="76"/>
                  </a:lnTo>
                  <a:lnTo>
                    <a:pt x="143" y="72"/>
                  </a:lnTo>
                  <a:lnTo>
                    <a:pt x="147" y="72"/>
                  </a:lnTo>
                  <a:lnTo>
                    <a:pt x="151" y="68"/>
                  </a:lnTo>
                  <a:lnTo>
                    <a:pt x="151" y="64"/>
                  </a:lnTo>
                  <a:lnTo>
                    <a:pt x="151" y="60"/>
                  </a:lnTo>
                  <a:lnTo>
                    <a:pt x="155" y="60"/>
                  </a:lnTo>
                  <a:lnTo>
                    <a:pt x="159" y="60"/>
                  </a:lnTo>
                  <a:lnTo>
                    <a:pt x="159" y="56"/>
                  </a:lnTo>
                  <a:lnTo>
                    <a:pt x="163" y="56"/>
                  </a:lnTo>
                  <a:lnTo>
                    <a:pt x="163" y="52"/>
                  </a:lnTo>
                  <a:lnTo>
                    <a:pt x="159" y="52"/>
                  </a:lnTo>
                  <a:lnTo>
                    <a:pt x="155" y="52"/>
                  </a:lnTo>
                  <a:lnTo>
                    <a:pt x="151" y="52"/>
                  </a:lnTo>
                  <a:lnTo>
                    <a:pt x="151" y="48"/>
                  </a:lnTo>
                  <a:lnTo>
                    <a:pt x="151" y="44"/>
                  </a:lnTo>
                  <a:lnTo>
                    <a:pt x="151" y="40"/>
                  </a:lnTo>
                  <a:lnTo>
                    <a:pt x="147" y="40"/>
                  </a:lnTo>
                  <a:lnTo>
                    <a:pt x="147" y="36"/>
                  </a:lnTo>
                  <a:lnTo>
                    <a:pt x="147" y="32"/>
                  </a:lnTo>
                  <a:lnTo>
                    <a:pt x="147" y="28"/>
                  </a:lnTo>
                  <a:lnTo>
                    <a:pt x="143" y="28"/>
                  </a:lnTo>
                  <a:lnTo>
                    <a:pt x="143" y="24"/>
                  </a:lnTo>
                  <a:lnTo>
                    <a:pt x="139" y="24"/>
                  </a:lnTo>
                  <a:lnTo>
                    <a:pt x="139" y="20"/>
                  </a:lnTo>
                  <a:lnTo>
                    <a:pt x="143" y="20"/>
                  </a:lnTo>
                  <a:lnTo>
                    <a:pt x="143" y="24"/>
                  </a:lnTo>
                  <a:lnTo>
                    <a:pt x="147" y="20"/>
                  </a:lnTo>
                  <a:lnTo>
                    <a:pt x="147" y="24"/>
                  </a:lnTo>
                  <a:lnTo>
                    <a:pt x="151" y="24"/>
                  </a:lnTo>
                  <a:lnTo>
                    <a:pt x="151" y="28"/>
                  </a:lnTo>
                  <a:lnTo>
                    <a:pt x="151" y="24"/>
                  </a:lnTo>
                  <a:lnTo>
                    <a:pt x="155" y="24"/>
                  </a:lnTo>
                  <a:lnTo>
                    <a:pt x="159" y="24"/>
                  </a:lnTo>
                  <a:lnTo>
                    <a:pt x="159" y="28"/>
                  </a:lnTo>
                  <a:lnTo>
                    <a:pt x="159" y="24"/>
                  </a:lnTo>
                  <a:lnTo>
                    <a:pt x="163" y="24"/>
                  </a:lnTo>
                  <a:lnTo>
                    <a:pt x="163" y="28"/>
                  </a:lnTo>
                  <a:lnTo>
                    <a:pt x="167" y="32"/>
                  </a:lnTo>
                  <a:lnTo>
                    <a:pt x="171" y="32"/>
                  </a:lnTo>
                  <a:lnTo>
                    <a:pt x="171" y="28"/>
                  </a:lnTo>
                  <a:lnTo>
                    <a:pt x="171" y="24"/>
                  </a:lnTo>
                  <a:lnTo>
                    <a:pt x="175" y="24"/>
                  </a:lnTo>
                  <a:lnTo>
                    <a:pt x="175" y="20"/>
                  </a:lnTo>
                  <a:lnTo>
                    <a:pt x="179" y="20"/>
                  </a:lnTo>
                  <a:lnTo>
                    <a:pt x="179" y="24"/>
                  </a:lnTo>
                  <a:lnTo>
                    <a:pt x="183" y="20"/>
                  </a:lnTo>
                  <a:lnTo>
                    <a:pt x="187" y="20"/>
                  </a:lnTo>
                  <a:lnTo>
                    <a:pt x="191" y="20"/>
                  </a:lnTo>
                  <a:lnTo>
                    <a:pt x="191" y="16"/>
                  </a:lnTo>
                  <a:lnTo>
                    <a:pt x="195" y="16"/>
                  </a:lnTo>
                  <a:lnTo>
                    <a:pt x="199" y="16"/>
                  </a:lnTo>
                  <a:lnTo>
                    <a:pt x="199" y="12"/>
                  </a:lnTo>
                  <a:lnTo>
                    <a:pt x="203" y="12"/>
                  </a:lnTo>
                  <a:lnTo>
                    <a:pt x="203" y="8"/>
                  </a:lnTo>
                  <a:lnTo>
                    <a:pt x="203" y="4"/>
                  </a:lnTo>
                  <a:lnTo>
                    <a:pt x="207" y="4"/>
                  </a:lnTo>
                  <a:lnTo>
                    <a:pt x="207" y="0"/>
                  </a:lnTo>
                  <a:lnTo>
                    <a:pt x="211" y="0"/>
                  </a:lnTo>
                  <a:lnTo>
                    <a:pt x="211" y="4"/>
                  </a:lnTo>
                  <a:lnTo>
                    <a:pt x="211" y="8"/>
                  </a:lnTo>
                  <a:lnTo>
                    <a:pt x="211" y="12"/>
                  </a:lnTo>
                  <a:lnTo>
                    <a:pt x="211" y="16"/>
                  </a:lnTo>
                  <a:lnTo>
                    <a:pt x="215" y="16"/>
                  </a:lnTo>
                  <a:lnTo>
                    <a:pt x="219" y="16"/>
                  </a:lnTo>
                  <a:lnTo>
                    <a:pt x="215" y="20"/>
                  </a:lnTo>
                  <a:lnTo>
                    <a:pt x="219" y="24"/>
                  </a:lnTo>
                  <a:lnTo>
                    <a:pt x="219" y="28"/>
                  </a:lnTo>
                  <a:lnTo>
                    <a:pt x="215" y="32"/>
                  </a:lnTo>
                  <a:lnTo>
                    <a:pt x="215" y="36"/>
                  </a:lnTo>
                  <a:lnTo>
                    <a:pt x="215" y="40"/>
                  </a:lnTo>
                  <a:lnTo>
                    <a:pt x="211" y="44"/>
                  </a:lnTo>
                  <a:lnTo>
                    <a:pt x="211" y="48"/>
                  </a:lnTo>
                  <a:lnTo>
                    <a:pt x="211" y="52"/>
                  </a:lnTo>
                  <a:lnTo>
                    <a:pt x="215" y="52"/>
                  </a:lnTo>
                  <a:lnTo>
                    <a:pt x="215" y="56"/>
                  </a:lnTo>
                  <a:lnTo>
                    <a:pt x="215" y="60"/>
                  </a:lnTo>
                  <a:lnTo>
                    <a:pt x="215" y="64"/>
                  </a:lnTo>
                  <a:lnTo>
                    <a:pt x="219" y="64"/>
                  </a:lnTo>
                  <a:lnTo>
                    <a:pt x="219" y="68"/>
                  </a:lnTo>
                  <a:lnTo>
                    <a:pt x="223" y="68"/>
                  </a:lnTo>
                  <a:lnTo>
                    <a:pt x="223" y="72"/>
                  </a:lnTo>
                  <a:lnTo>
                    <a:pt x="227" y="72"/>
                  </a:lnTo>
                  <a:lnTo>
                    <a:pt x="227" y="76"/>
                  </a:lnTo>
                  <a:lnTo>
                    <a:pt x="231" y="76"/>
                  </a:lnTo>
                  <a:lnTo>
                    <a:pt x="235" y="76"/>
                  </a:lnTo>
                  <a:lnTo>
                    <a:pt x="235" y="72"/>
                  </a:lnTo>
                  <a:lnTo>
                    <a:pt x="239" y="68"/>
                  </a:lnTo>
                  <a:lnTo>
                    <a:pt x="239" y="72"/>
                  </a:lnTo>
                  <a:lnTo>
                    <a:pt x="243" y="72"/>
                  </a:lnTo>
                  <a:lnTo>
                    <a:pt x="243" y="68"/>
                  </a:lnTo>
                  <a:lnTo>
                    <a:pt x="247" y="68"/>
                  </a:lnTo>
                  <a:lnTo>
                    <a:pt x="251" y="68"/>
                  </a:lnTo>
                  <a:lnTo>
                    <a:pt x="251" y="64"/>
                  </a:lnTo>
                  <a:lnTo>
                    <a:pt x="251" y="60"/>
                  </a:lnTo>
                  <a:lnTo>
                    <a:pt x="255" y="60"/>
                  </a:lnTo>
                  <a:lnTo>
                    <a:pt x="255" y="64"/>
                  </a:lnTo>
                  <a:lnTo>
                    <a:pt x="255" y="60"/>
                  </a:lnTo>
                  <a:lnTo>
                    <a:pt x="259" y="64"/>
                  </a:lnTo>
                  <a:lnTo>
                    <a:pt x="263" y="64"/>
                  </a:lnTo>
                  <a:lnTo>
                    <a:pt x="267" y="64"/>
                  </a:lnTo>
                  <a:lnTo>
                    <a:pt x="271" y="64"/>
                  </a:lnTo>
                  <a:lnTo>
                    <a:pt x="275" y="64"/>
                  </a:lnTo>
                  <a:lnTo>
                    <a:pt x="275" y="60"/>
                  </a:lnTo>
                  <a:lnTo>
                    <a:pt x="271" y="56"/>
                  </a:lnTo>
                  <a:lnTo>
                    <a:pt x="271" y="52"/>
                  </a:lnTo>
                  <a:lnTo>
                    <a:pt x="275" y="52"/>
                  </a:lnTo>
                  <a:lnTo>
                    <a:pt x="279" y="56"/>
                  </a:lnTo>
                  <a:lnTo>
                    <a:pt x="279" y="52"/>
                  </a:lnTo>
                  <a:lnTo>
                    <a:pt x="287" y="52"/>
                  </a:lnTo>
                  <a:lnTo>
                    <a:pt x="291" y="52"/>
                  </a:lnTo>
                  <a:lnTo>
                    <a:pt x="291" y="56"/>
                  </a:lnTo>
                  <a:lnTo>
                    <a:pt x="295" y="56"/>
                  </a:lnTo>
                  <a:lnTo>
                    <a:pt x="299" y="60"/>
                  </a:lnTo>
                  <a:lnTo>
                    <a:pt x="303" y="60"/>
                  </a:lnTo>
                  <a:lnTo>
                    <a:pt x="303" y="56"/>
                  </a:lnTo>
                  <a:lnTo>
                    <a:pt x="307" y="56"/>
                  </a:lnTo>
                  <a:lnTo>
                    <a:pt x="311" y="56"/>
                  </a:lnTo>
                  <a:lnTo>
                    <a:pt x="315" y="56"/>
                  </a:lnTo>
                  <a:lnTo>
                    <a:pt x="319" y="56"/>
                  </a:lnTo>
                  <a:lnTo>
                    <a:pt x="319" y="60"/>
                  </a:lnTo>
                  <a:lnTo>
                    <a:pt x="319" y="56"/>
                  </a:lnTo>
                  <a:lnTo>
                    <a:pt x="323" y="56"/>
                  </a:lnTo>
                  <a:lnTo>
                    <a:pt x="323" y="52"/>
                  </a:lnTo>
                  <a:lnTo>
                    <a:pt x="327" y="52"/>
                  </a:lnTo>
                  <a:lnTo>
                    <a:pt x="327" y="48"/>
                  </a:lnTo>
                  <a:lnTo>
                    <a:pt x="327" y="44"/>
                  </a:lnTo>
                  <a:lnTo>
                    <a:pt x="327" y="40"/>
                  </a:lnTo>
                  <a:lnTo>
                    <a:pt x="331" y="40"/>
                  </a:lnTo>
                  <a:lnTo>
                    <a:pt x="331" y="36"/>
                  </a:lnTo>
                  <a:lnTo>
                    <a:pt x="335" y="32"/>
                  </a:lnTo>
                  <a:lnTo>
                    <a:pt x="335" y="28"/>
                  </a:lnTo>
                  <a:lnTo>
                    <a:pt x="335" y="24"/>
                  </a:lnTo>
                  <a:lnTo>
                    <a:pt x="339" y="24"/>
                  </a:lnTo>
                  <a:lnTo>
                    <a:pt x="339" y="20"/>
                  </a:lnTo>
                  <a:lnTo>
                    <a:pt x="343" y="24"/>
                  </a:lnTo>
                  <a:lnTo>
                    <a:pt x="339" y="20"/>
                  </a:lnTo>
                  <a:lnTo>
                    <a:pt x="339" y="16"/>
                  </a:lnTo>
                  <a:lnTo>
                    <a:pt x="343" y="20"/>
                  </a:lnTo>
                  <a:lnTo>
                    <a:pt x="347" y="24"/>
                  </a:lnTo>
                  <a:lnTo>
                    <a:pt x="347" y="28"/>
                  </a:lnTo>
                  <a:lnTo>
                    <a:pt x="347" y="32"/>
                  </a:lnTo>
                  <a:lnTo>
                    <a:pt x="347" y="36"/>
                  </a:lnTo>
                  <a:lnTo>
                    <a:pt x="347" y="40"/>
                  </a:lnTo>
                  <a:lnTo>
                    <a:pt x="347" y="44"/>
                  </a:lnTo>
                  <a:lnTo>
                    <a:pt x="351" y="44"/>
                  </a:lnTo>
                  <a:lnTo>
                    <a:pt x="351" y="48"/>
                  </a:lnTo>
                  <a:lnTo>
                    <a:pt x="351" y="52"/>
                  </a:lnTo>
                  <a:lnTo>
                    <a:pt x="355" y="60"/>
                  </a:lnTo>
                  <a:lnTo>
                    <a:pt x="355" y="64"/>
                  </a:lnTo>
                  <a:lnTo>
                    <a:pt x="359" y="64"/>
                  </a:lnTo>
                  <a:lnTo>
                    <a:pt x="363" y="64"/>
                  </a:lnTo>
                  <a:lnTo>
                    <a:pt x="367" y="68"/>
                  </a:lnTo>
                  <a:lnTo>
                    <a:pt x="367" y="72"/>
                  </a:lnTo>
                  <a:lnTo>
                    <a:pt x="363" y="76"/>
                  </a:lnTo>
                  <a:lnTo>
                    <a:pt x="367" y="76"/>
                  </a:lnTo>
                  <a:lnTo>
                    <a:pt x="363" y="76"/>
                  </a:lnTo>
                  <a:lnTo>
                    <a:pt x="363" y="80"/>
                  </a:lnTo>
                  <a:lnTo>
                    <a:pt x="359" y="80"/>
                  </a:lnTo>
                  <a:lnTo>
                    <a:pt x="359" y="84"/>
                  </a:lnTo>
                  <a:lnTo>
                    <a:pt x="355" y="88"/>
                  </a:lnTo>
                  <a:lnTo>
                    <a:pt x="355" y="92"/>
                  </a:lnTo>
                  <a:lnTo>
                    <a:pt x="351" y="96"/>
                  </a:lnTo>
                  <a:lnTo>
                    <a:pt x="347" y="96"/>
                  </a:lnTo>
                  <a:lnTo>
                    <a:pt x="347" y="100"/>
                  </a:lnTo>
                  <a:lnTo>
                    <a:pt x="343" y="100"/>
                  </a:lnTo>
                  <a:lnTo>
                    <a:pt x="343" y="104"/>
                  </a:lnTo>
                  <a:lnTo>
                    <a:pt x="343" y="108"/>
                  </a:lnTo>
                  <a:lnTo>
                    <a:pt x="339" y="108"/>
                  </a:lnTo>
                  <a:lnTo>
                    <a:pt x="339" y="112"/>
                  </a:lnTo>
                  <a:lnTo>
                    <a:pt x="339" y="116"/>
                  </a:lnTo>
                  <a:lnTo>
                    <a:pt x="335" y="120"/>
                  </a:lnTo>
                  <a:lnTo>
                    <a:pt x="335" y="124"/>
                  </a:lnTo>
                  <a:lnTo>
                    <a:pt x="331" y="124"/>
                  </a:lnTo>
                  <a:lnTo>
                    <a:pt x="327" y="124"/>
                  </a:lnTo>
                  <a:lnTo>
                    <a:pt x="327" y="128"/>
                  </a:lnTo>
                  <a:lnTo>
                    <a:pt x="323" y="124"/>
                  </a:lnTo>
                  <a:lnTo>
                    <a:pt x="323" y="128"/>
                  </a:lnTo>
                  <a:lnTo>
                    <a:pt x="327" y="128"/>
                  </a:lnTo>
                  <a:lnTo>
                    <a:pt x="331" y="128"/>
                  </a:lnTo>
                  <a:lnTo>
                    <a:pt x="335" y="128"/>
                  </a:lnTo>
                  <a:lnTo>
                    <a:pt x="335" y="124"/>
                  </a:lnTo>
                  <a:lnTo>
                    <a:pt x="339" y="124"/>
                  </a:lnTo>
                  <a:lnTo>
                    <a:pt x="343" y="124"/>
                  </a:lnTo>
                  <a:lnTo>
                    <a:pt x="347" y="120"/>
                  </a:lnTo>
                  <a:lnTo>
                    <a:pt x="347" y="116"/>
                  </a:lnTo>
                  <a:lnTo>
                    <a:pt x="351" y="116"/>
                  </a:lnTo>
                  <a:lnTo>
                    <a:pt x="351" y="120"/>
                  </a:lnTo>
                  <a:lnTo>
                    <a:pt x="351" y="124"/>
                  </a:lnTo>
                  <a:lnTo>
                    <a:pt x="351" y="128"/>
                  </a:lnTo>
                  <a:lnTo>
                    <a:pt x="355" y="128"/>
                  </a:lnTo>
                  <a:lnTo>
                    <a:pt x="355" y="132"/>
                  </a:lnTo>
                  <a:lnTo>
                    <a:pt x="351" y="132"/>
                  </a:lnTo>
                  <a:lnTo>
                    <a:pt x="347" y="132"/>
                  </a:lnTo>
                  <a:lnTo>
                    <a:pt x="343" y="132"/>
                  </a:lnTo>
                  <a:lnTo>
                    <a:pt x="343" y="128"/>
                  </a:lnTo>
                  <a:lnTo>
                    <a:pt x="343" y="132"/>
                  </a:lnTo>
                  <a:lnTo>
                    <a:pt x="343" y="136"/>
                  </a:lnTo>
                  <a:lnTo>
                    <a:pt x="339" y="136"/>
                  </a:lnTo>
                  <a:lnTo>
                    <a:pt x="343" y="140"/>
                  </a:lnTo>
                  <a:lnTo>
                    <a:pt x="343" y="136"/>
                  </a:lnTo>
                  <a:lnTo>
                    <a:pt x="343" y="132"/>
                  </a:lnTo>
                  <a:lnTo>
                    <a:pt x="347" y="132"/>
                  </a:lnTo>
                  <a:lnTo>
                    <a:pt x="347" y="136"/>
                  </a:lnTo>
                  <a:lnTo>
                    <a:pt x="347" y="140"/>
                  </a:lnTo>
                  <a:lnTo>
                    <a:pt x="347" y="144"/>
                  </a:lnTo>
                  <a:lnTo>
                    <a:pt x="351" y="144"/>
                  </a:lnTo>
                  <a:lnTo>
                    <a:pt x="347" y="140"/>
                  </a:lnTo>
                  <a:lnTo>
                    <a:pt x="351" y="136"/>
                  </a:lnTo>
                  <a:lnTo>
                    <a:pt x="355" y="140"/>
                  </a:lnTo>
                  <a:lnTo>
                    <a:pt x="351" y="136"/>
                  </a:lnTo>
                  <a:lnTo>
                    <a:pt x="351" y="132"/>
                  </a:lnTo>
                  <a:lnTo>
                    <a:pt x="355" y="132"/>
                  </a:lnTo>
                  <a:lnTo>
                    <a:pt x="359" y="132"/>
                  </a:lnTo>
                  <a:lnTo>
                    <a:pt x="355" y="132"/>
                  </a:lnTo>
                  <a:lnTo>
                    <a:pt x="359" y="132"/>
                  </a:lnTo>
                  <a:lnTo>
                    <a:pt x="363" y="132"/>
                  </a:lnTo>
                  <a:lnTo>
                    <a:pt x="367" y="132"/>
                  </a:lnTo>
                  <a:lnTo>
                    <a:pt x="371" y="132"/>
                  </a:lnTo>
                  <a:lnTo>
                    <a:pt x="371" y="128"/>
                  </a:lnTo>
                  <a:lnTo>
                    <a:pt x="375" y="128"/>
                  </a:lnTo>
                  <a:lnTo>
                    <a:pt x="375" y="132"/>
                  </a:lnTo>
                  <a:lnTo>
                    <a:pt x="375" y="136"/>
                  </a:lnTo>
                  <a:lnTo>
                    <a:pt x="371" y="136"/>
                  </a:lnTo>
                  <a:lnTo>
                    <a:pt x="371" y="140"/>
                  </a:lnTo>
                  <a:lnTo>
                    <a:pt x="371" y="144"/>
                  </a:lnTo>
                  <a:lnTo>
                    <a:pt x="371" y="140"/>
                  </a:lnTo>
                  <a:lnTo>
                    <a:pt x="375" y="140"/>
                  </a:lnTo>
                  <a:lnTo>
                    <a:pt x="375" y="136"/>
                  </a:lnTo>
                  <a:lnTo>
                    <a:pt x="375" y="132"/>
                  </a:lnTo>
                  <a:lnTo>
                    <a:pt x="379" y="132"/>
                  </a:lnTo>
                  <a:lnTo>
                    <a:pt x="383" y="128"/>
                  </a:lnTo>
                  <a:lnTo>
                    <a:pt x="383" y="124"/>
                  </a:lnTo>
                  <a:lnTo>
                    <a:pt x="387" y="124"/>
                  </a:lnTo>
                  <a:lnTo>
                    <a:pt x="387" y="128"/>
                  </a:lnTo>
                  <a:lnTo>
                    <a:pt x="387" y="124"/>
                  </a:lnTo>
                  <a:lnTo>
                    <a:pt x="391" y="124"/>
                  </a:lnTo>
                  <a:lnTo>
                    <a:pt x="387" y="124"/>
                  </a:lnTo>
                  <a:lnTo>
                    <a:pt x="387" y="120"/>
                  </a:lnTo>
                  <a:lnTo>
                    <a:pt x="387" y="124"/>
                  </a:lnTo>
                  <a:lnTo>
                    <a:pt x="391" y="124"/>
                  </a:lnTo>
                  <a:lnTo>
                    <a:pt x="391" y="120"/>
                  </a:lnTo>
                  <a:lnTo>
                    <a:pt x="391" y="116"/>
                  </a:lnTo>
                  <a:lnTo>
                    <a:pt x="391" y="112"/>
                  </a:lnTo>
                  <a:lnTo>
                    <a:pt x="395" y="112"/>
                  </a:lnTo>
                  <a:lnTo>
                    <a:pt x="399" y="108"/>
                  </a:lnTo>
                  <a:lnTo>
                    <a:pt x="399" y="112"/>
                  </a:lnTo>
                  <a:lnTo>
                    <a:pt x="399" y="108"/>
                  </a:lnTo>
                  <a:lnTo>
                    <a:pt x="403" y="108"/>
                  </a:lnTo>
                  <a:lnTo>
                    <a:pt x="403" y="112"/>
                  </a:lnTo>
                  <a:lnTo>
                    <a:pt x="403" y="108"/>
                  </a:lnTo>
                  <a:lnTo>
                    <a:pt x="407" y="108"/>
                  </a:lnTo>
                  <a:lnTo>
                    <a:pt x="407" y="112"/>
                  </a:lnTo>
                  <a:lnTo>
                    <a:pt x="411" y="112"/>
                  </a:lnTo>
                  <a:lnTo>
                    <a:pt x="411" y="116"/>
                  </a:lnTo>
                  <a:lnTo>
                    <a:pt x="411" y="112"/>
                  </a:lnTo>
                  <a:lnTo>
                    <a:pt x="415" y="112"/>
                  </a:lnTo>
                  <a:lnTo>
                    <a:pt x="415" y="116"/>
                  </a:lnTo>
                  <a:lnTo>
                    <a:pt x="419" y="116"/>
                  </a:lnTo>
                  <a:lnTo>
                    <a:pt x="423" y="116"/>
                  </a:lnTo>
                  <a:lnTo>
                    <a:pt x="423" y="120"/>
                  </a:lnTo>
                  <a:lnTo>
                    <a:pt x="419" y="120"/>
                  </a:lnTo>
                  <a:lnTo>
                    <a:pt x="423" y="120"/>
                  </a:lnTo>
                  <a:lnTo>
                    <a:pt x="427" y="116"/>
                  </a:lnTo>
                  <a:lnTo>
                    <a:pt x="427" y="120"/>
                  </a:lnTo>
                  <a:lnTo>
                    <a:pt x="431" y="120"/>
                  </a:lnTo>
                  <a:lnTo>
                    <a:pt x="431" y="124"/>
                  </a:lnTo>
                  <a:lnTo>
                    <a:pt x="431" y="120"/>
                  </a:lnTo>
                  <a:lnTo>
                    <a:pt x="435" y="124"/>
                  </a:lnTo>
                  <a:lnTo>
                    <a:pt x="431" y="124"/>
                  </a:lnTo>
                  <a:lnTo>
                    <a:pt x="431" y="128"/>
                  </a:lnTo>
                  <a:lnTo>
                    <a:pt x="435" y="128"/>
                  </a:lnTo>
                  <a:lnTo>
                    <a:pt x="435" y="124"/>
                  </a:lnTo>
                  <a:lnTo>
                    <a:pt x="435" y="128"/>
                  </a:lnTo>
                  <a:lnTo>
                    <a:pt x="435" y="124"/>
                  </a:lnTo>
                  <a:lnTo>
                    <a:pt x="439" y="124"/>
                  </a:lnTo>
                  <a:lnTo>
                    <a:pt x="443" y="124"/>
                  </a:lnTo>
                  <a:lnTo>
                    <a:pt x="443" y="128"/>
                  </a:lnTo>
                  <a:lnTo>
                    <a:pt x="439" y="128"/>
                  </a:lnTo>
                  <a:lnTo>
                    <a:pt x="443" y="128"/>
                  </a:lnTo>
                  <a:lnTo>
                    <a:pt x="443" y="132"/>
                  </a:lnTo>
                  <a:close/>
                  <a:moveTo>
                    <a:pt x="383" y="124"/>
                  </a:moveTo>
                  <a:lnTo>
                    <a:pt x="379" y="124"/>
                  </a:lnTo>
                  <a:lnTo>
                    <a:pt x="375" y="128"/>
                  </a:lnTo>
                  <a:lnTo>
                    <a:pt x="371" y="128"/>
                  </a:lnTo>
                  <a:lnTo>
                    <a:pt x="371" y="132"/>
                  </a:lnTo>
                  <a:lnTo>
                    <a:pt x="367" y="128"/>
                  </a:lnTo>
                  <a:lnTo>
                    <a:pt x="367" y="132"/>
                  </a:lnTo>
                  <a:lnTo>
                    <a:pt x="363" y="132"/>
                  </a:lnTo>
                  <a:lnTo>
                    <a:pt x="363" y="128"/>
                  </a:lnTo>
                  <a:lnTo>
                    <a:pt x="363" y="132"/>
                  </a:lnTo>
                  <a:lnTo>
                    <a:pt x="359" y="132"/>
                  </a:lnTo>
                  <a:lnTo>
                    <a:pt x="355" y="132"/>
                  </a:lnTo>
                  <a:lnTo>
                    <a:pt x="355" y="128"/>
                  </a:lnTo>
                  <a:lnTo>
                    <a:pt x="351" y="128"/>
                  </a:lnTo>
                  <a:lnTo>
                    <a:pt x="351" y="124"/>
                  </a:lnTo>
                  <a:lnTo>
                    <a:pt x="351" y="120"/>
                  </a:lnTo>
                  <a:lnTo>
                    <a:pt x="355" y="120"/>
                  </a:lnTo>
                  <a:lnTo>
                    <a:pt x="355" y="116"/>
                  </a:lnTo>
                  <a:lnTo>
                    <a:pt x="355" y="120"/>
                  </a:lnTo>
                  <a:lnTo>
                    <a:pt x="355" y="116"/>
                  </a:lnTo>
                  <a:lnTo>
                    <a:pt x="351" y="116"/>
                  </a:lnTo>
                  <a:lnTo>
                    <a:pt x="351" y="112"/>
                  </a:lnTo>
                  <a:lnTo>
                    <a:pt x="351" y="108"/>
                  </a:lnTo>
                  <a:lnTo>
                    <a:pt x="355" y="108"/>
                  </a:lnTo>
                  <a:lnTo>
                    <a:pt x="355" y="112"/>
                  </a:lnTo>
                  <a:lnTo>
                    <a:pt x="355" y="108"/>
                  </a:lnTo>
                  <a:lnTo>
                    <a:pt x="355" y="104"/>
                  </a:lnTo>
                  <a:lnTo>
                    <a:pt x="355" y="100"/>
                  </a:lnTo>
                  <a:lnTo>
                    <a:pt x="359" y="100"/>
                  </a:lnTo>
                  <a:lnTo>
                    <a:pt x="363" y="100"/>
                  </a:lnTo>
                  <a:lnTo>
                    <a:pt x="367" y="100"/>
                  </a:lnTo>
                  <a:lnTo>
                    <a:pt x="367" y="104"/>
                  </a:lnTo>
                  <a:lnTo>
                    <a:pt x="371" y="104"/>
                  </a:lnTo>
                  <a:lnTo>
                    <a:pt x="375" y="104"/>
                  </a:lnTo>
                  <a:lnTo>
                    <a:pt x="375" y="100"/>
                  </a:lnTo>
                  <a:lnTo>
                    <a:pt x="379" y="100"/>
                  </a:lnTo>
                  <a:lnTo>
                    <a:pt x="383" y="100"/>
                  </a:lnTo>
                  <a:lnTo>
                    <a:pt x="383" y="104"/>
                  </a:lnTo>
                  <a:lnTo>
                    <a:pt x="387" y="104"/>
                  </a:lnTo>
                  <a:lnTo>
                    <a:pt x="387" y="108"/>
                  </a:lnTo>
                  <a:lnTo>
                    <a:pt x="387" y="112"/>
                  </a:lnTo>
                  <a:lnTo>
                    <a:pt x="387" y="116"/>
                  </a:lnTo>
                  <a:lnTo>
                    <a:pt x="383" y="116"/>
                  </a:lnTo>
                  <a:lnTo>
                    <a:pt x="383" y="120"/>
                  </a:lnTo>
                  <a:lnTo>
                    <a:pt x="383" y="124"/>
                  </a:lnTo>
                  <a:close/>
                  <a:moveTo>
                    <a:pt x="355" y="60"/>
                  </a:moveTo>
                  <a:lnTo>
                    <a:pt x="355" y="56"/>
                  </a:lnTo>
                  <a:lnTo>
                    <a:pt x="359" y="56"/>
                  </a:lnTo>
                  <a:lnTo>
                    <a:pt x="359" y="60"/>
                  </a:lnTo>
                  <a:lnTo>
                    <a:pt x="355" y="60"/>
                  </a:lnTo>
                  <a:close/>
                  <a:moveTo>
                    <a:pt x="359" y="64"/>
                  </a:moveTo>
                  <a:lnTo>
                    <a:pt x="355" y="60"/>
                  </a:lnTo>
                  <a:lnTo>
                    <a:pt x="359" y="60"/>
                  </a:lnTo>
                  <a:lnTo>
                    <a:pt x="359" y="64"/>
                  </a:lnTo>
                  <a:close/>
                  <a:moveTo>
                    <a:pt x="363" y="80"/>
                  </a:moveTo>
                  <a:lnTo>
                    <a:pt x="367" y="80"/>
                  </a:lnTo>
                  <a:lnTo>
                    <a:pt x="363" y="80"/>
                  </a:lnTo>
                  <a:close/>
                  <a:moveTo>
                    <a:pt x="359" y="84"/>
                  </a:moveTo>
                  <a:lnTo>
                    <a:pt x="359" y="80"/>
                  </a:lnTo>
                  <a:lnTo>
                    <a:pt x="363" y="80"/>
                  </a:lnTo>
                  <a:lnTo>
                    <a:pt x="363" y="84"/>
                  </a:lnTo>
                  <a:lnTo>
                    <a:pt x="363" y="80"/>
                  </a:lnTo>
                  <a:lnTo>
                    <a:pt x="363" y="84"/>
                  </a:lnTo>
                  <a:lnTo>
                    <a:pt x="359" y="84"/>
                  </a:lnTo>
                  <a:close/>
                  <a:moveTo>
                    <a:pt x="359" y="92"/>
                  </a:moveTo>
                  <a:lnTo>
                    <a:pt x="359" y="88"/>
                  </a:lnTo>
                  <a:lnTo>
                    <a:pt x="363" y="88"/>
                  </a:lnTo>
                  <a:lnTo>
                    <a:pt x="363" y="92"/>
                  </a:lnTo>
                  <a:lnTo>
                    <a:pt x="359" y="92"/>
                  </a:lnTo>
                  <a:close/>
                  <a:moveTo>
                    <a:pt x="359" y="96"/>
                  </a:moveTo>
                  <a:lnTo>
                    <a:pt x="355" y="96"/>
                  </a:lnTo>
                  <a:lnTo>
                    <a:pt x="355" y="92"/>
                  </a:lnTo>
                  <a:lnTo>
                    <a:pt x="359" y="92"/>
                  </a:lnTo>
                  <a:lnTo>
                    <a:pt x="359" y="88"/>
                  </a:lnTo>
                  <a:lnTo>
                    <a:pt x="359" y="92"/>
                  </a:lnTo>
                  <a:lnTo>
                    <a:pt x="359" y="96"/>
                  </a:lnTo>
                  <a:close/>
                  <a:moveTo>
                    <a:pt x="363" y="96"/>
                  </a:moveTo>
                  <a:lnTo>
                    <a:pt x="359" y="96"/>
                  </a:lnTo>
                  <a:lnTo>
                    <a:pt x="363" y="96"/>
                  </a:lnTo>
                  <a:lnTo>
                    <a:pt x="363" y="92"/>
                  </a:lnTo>
                  <a:lnTo>
                    <a:pt x="367" y="92"/>
                  </a:lnTo>
                  <a:lnTo>
                    <a:pt x="371" y="92"/>
                  </a:lnTo>
                  <a:lnTo>
                    <a:pt x="371" y="96"/>
                  </a:lnTo>
                  <a:lnTo>
                    <a:pt x="367" y="96"/>
                  </a:lnTo>
                  <a:lnTo>
                    <a:pt x="367" y="100"/>
                  </a:lnTo>
                  <a:lnTo>
                    <a:pt x="363" y="100"/>
                  </a:lnTo>
                  <a:lnTo>
                    <a:pt x="363" y="96"/>
                  </a:lnTo>
                  <a:close/>
                  <a:moveTo>
                    <a:pt x="355" y="100"/>
                  </a:moveTo>
                  <a:lnTo>
                    <a:pt x="355" y="96"/>
                  </a:lnTo>
                  <a:lnTo>
                    <a:pt x="359" y="96"/>
                  </a:lnTo>
                  <a:lnTo>
                    <a:pt x="359" y="100"/>
                  </a:lnTo>
                  <a:lnTo>
                    <a:pt x="355" y="100"/>
                  </a:lnTo>
                  <a:close/>
                  <a:moveTo>
                    <a:pt x="367" y="96"/>
                  </a:moveTo>
                  <a:lnTo>
                    <a:pt x="371" y="96"/>
                  </a:lnTo>
                  <a:lnTo>
                    <a:pt x="375" y="96"/>
                  </a:lnTo>
                  <a:lnTo>
                    <a:pt x="375" y="100"/>
                  </a:lnTo>
                  <a:lnTo>
                    <a:pt x="371" y="100"/>
                  </a:lnTo>
                  <a:lnTo>
                    <a:pt x="367" y="100"/>
                  </a:lnTo>
                  <a:lnTo>
                    <a:pt x="367" y="96"/>
                  </a:lnTo>
                  <a:close/>
                  <a:moveTo>
                    <a:pt x="351" y="96"/>
                  </a:moveTo>
                  <a:lnTo>
                    <a:pt x="355" y="96"/>
                  </a:lnTo>
                  <a:lnTo>
                    <a:pt x="351" y="96"/>
                  </a:lnTo>
                  <a:lnTo>
                    <a:pt x="351" y="100"/>
                  </a:lnTo>
                  <a:lnTo>
                    <a:pt x="351" y="96"/>
                  </a:lnTo>
                  <a:close/>
                  <a:moveTo>
                    <a:pt x="351" y="104"/>
                  </a:moveTo>
                  <a:lnTo>
                    <a:pt x="347" y="104"/>
                  </a:lnTo>
                  <a:lnTo>
                    <a:pt x="347" y="100"/>
                  </a:lnTo>
                  <a:lnTo>
                    <a:pt x="351" y="100"/>
                  </a:lnTo>
                  <a:lnTo>
                    <a:pt x="355" y="100"/>
                  </a:lnTo>
                  <a:lnTo>
                    <a:pt x="351" y="100"/>
                  </a:lnTo>
                  <a:lnTo>
                    <a:pt x="351" y="104"/>
                  </a:lnTo>
                  <a:close/>
                  <a:moveTo>
                    <a:pt x="343" y="108"/>
                  </a:moveTo>
                  <a:lnTo>
                    <a:pt x="343" y="104"/>
                  </a:lnTo>
                  <a:lnTo>
                    <a:pt x="347" y="104"/>
                  </a:lnTo>
                  <a:lnTo>
                    <a:pt x="347" y="100"/>
                  </a:lnTo>
                  <a:lnTo>
                    <a:pt x="347" y="104"/>
                  </a:lnTo>
                  <a:lnTo>
                    <a:pt x="343" y="108"/>
                  </a:lnTo>
                  <a:close/>
                  <a:moveTo>
                    <a:pt x="347" y="108"/>
                  </a:moveTo>
                  <a:lnTo>
                    <a:pt x="347" y="104"/>
                  </a:lnTo>
                  <a:lnTo>
                    <a:pt x="351" y="104"/>
                  </a:lnTo>
                  <a:lnTo>
                    <a:pt x="347" y="104"/>
                  </a:lnTo>
                  <a:lnTo>
                    <a:pt x="347" y="108"/>
                  </a:lnTo>
                  <a:close/>
                  <a:moveTo>
                    <a:pt x="351" y="108"/>
                  </a:moveTo>
                  <a:lnTo>
                    <a:pt x="351" y="104"/>
                  </a:lnTo>
                  <a:lnTo>
                    <a:pt x="351" y="108"/>
                  </a:lnTo>
                  <a:close/>
                  <a:moveTo>
                    <a:pt x="347" y="108"/>
                  </a:moveTo>
                  <a:lnTo>
                    <a:pt x="347" y="104"/>
                  </a:lnTo>
                  <a:lnTo>
                    <a:pt x="351" y="104"/>
                  </a:lnTo>
                  <a:lnTo>
                    <a:pt x="351" y="108"/>
                  </a:lnTo>
                  <a:lnTo>
                    <a:pt x="347" y="108"/>
                  </a:lnTo>
                  <a:close/>
                  <a:moveTo>
                    <a:pt x="347" y="116"/>
                  </a:moveTo>
                  <a:lnTo>
                    <a:pt x="347" y="112"/>
                  </a:lnTo>
                  <a:lnTo>
                    <a:pt x="351" y="108"/>
                  </a:lnTo>
                  <a:lnTo>
                    <a:pt x="351" y="112"/>
                  </a:lnTo>
                  <a:lnTo>
                    <a:pt x="347" y="112"/>
                  </a:lnTo>
                  <a:lnTo>
                    <a:pt x="347" y="116"/>
                  </a:lnTo>
                  <a:close/>
                  <a:moveTo>
                    <a:pt x="343" y="120"/>
                  </a:moveTo>
                  <a:lnTo>
                    <a:pt x="343" y="116"/>
                  </a:lnTo>
                  <a:lnTo>
                    <a:pt x="347" y="116"/>
                  </a:lnTo>
                  <a:lnTo>
                    <a:pt x="347" y="112"/>
                  </a:lnTo>
                  <a:lnTo>
                    <a:pt x="347" y="116"/>
                  </a:lnTo>
                  <a:lnTo>
                    <a:pt x="347" y="120"/>
                  </a:lnTo>
                  <a:lnTo>
                    <a:pt x="343" y="120"/>
                  </a:lnTo>
                  <a:close/>
                  <a:moveTo>
                    <a:pt x="351" y="112"/>
                  </a:moveTo>
                  <a:lnTo>
                    <a:pt x="351" y="116"/>
                  </a:lnTo>
                  <a:lnTo>
                    <a:pt x="347" y="116"/>
                  </a:lnTo>
                  <a:lnTo>
                    <a:pt x="347" y="120"/>
                  </a:lnTo>
                  <a:lnTo>
                    <a:pt x="347" y="116"/>
                  </a:lnTo>
                  <a:lnTo>
                    <a:pt x="347" y="112"/>
                  </a:lnTo>
                  <a:lnTo>
                    <a:pt x="351" y="112"/>
                  </a:lnTo>
                  <a:close/>
                  <a:moveTo>
                    <a:pt x="415" y="116"/>
                  </a:moveTo>
                  <a:lnTo>
                    <a:pt x="419" y="116"/>
                  </a:lnTo>
                  <a:lnTo>
                    <a:pt x="415" y="116"/>
                  </a:lnTo>
                  <a:close/>
                  <a:moveTo>
                    <a:pt x="391" y="120"/>
                  </a:moveTo>
                  <a:lnTo>
                    <a:pt x="387" y="120"/>
                  </a:lnTo>
                  <a:lnTo>
                    <a:pt x="387" y="116"/>
                  </a:lnTo>
                  <a:lnTo>
                    <a:pt x="391" y="116"/>
                  </a:lnTo>
                  <a:lnTo>
                    <a:pt x="391" y="120"/>
                  </a:lnTo>
                  <a:close/>
                  <a:moveTo>
                    <a:pt x="431" y="124"/>
                  </a:moveTo>
                  <a:lnTo>
                    <a:pt x="431" y="120"/>
                  </a:lnTo>
                  <a:lnTo>
                    <a:pt x="431" y="124"/>
                  </a:lnTo>
                  <a:close/>
                  <a:moveTo>
                    <a:pt x="439" y="124"/>
                  </a:moveTo>
                  <a:lnTo>
                    <a:pt x="439" y="120"/>
                  </a:lnTo>
                  <a:lnTo>
                    <a:pt x="443" y="120"/>
                  </a:lnTo>
                  <a:lnTo>
                    <a:pt x="443" y="124"/>
                  </a:lnTo>
                  <a:lnTo>
                    <a:pt x="439" y="124"/>
                  </a:lnTo>
                  <a:close/>
                  <a:moveTo>
                    <a:pt x="327" y="124"/>
                  </a:moveTo>
                  <a:lnTo>
                    <a:pt x="331" y="124"/>
                  </a:lnTo>
                  <a:lnTo>
                    <a:pt x="327" y="124"/>
                  </a:lnTo>
                  <a:close/>
                  <a:moveTo>
                    <a:pt x="331" y="128"/>
                  </a:moveTo>
                  <a:lnTo>
                    <a:pt x="331" y="124"/>
                  </a:lnTo>
                  <a:lnTo>
                    <a:pt x="335" y="124"/>
                  </a:lnTo>
                  <a:lnTo>
                    <a:pt x="335" y="128"/>
                  </a:lnTo>
                  <a:lnTo>
                    <a:pt x="331" y="128"/>
                  </a:lnTo>
                  <a:close/>
                  <a:moveTo>
                    <a:pt x="443" y="128"/>
                  </a:moveTo>
                  <a:lnTo>
                    <a:pt x="447" y="128"/>
                  </a:lnTo>
                  <a:lnTo>
                    <a:pt x="443" y="128"/>
                  </a:lnTo>
                  <a:close/>
                  <a:moveTo>
                    <a:pt x="379" y="132"/>
                  </a:moveTo>
                  <a:lnTo>
                    <a:pt x="379" y="128"/>
                  </a:lnTo>
                  <a:lnTo>
                    <a:pt x="379" y="132"/>
                  </a:lnTo>
                  <a:close/>
                  <a:moveTo>
                    <a:pt x="379" y="132"/>
                  </a:moveTo>
                  <a:lnTo>
                    <a:pt x="375" y="132"/>
                  </a:lnTo>
                  <a:lnTo>
                    <a:pt x="379" y="132"/>
                  </a:lnTo>
                  <a:lnTo>
                    <a:pt x="379" y="128"/>
                  </a:lnTo>
                  <a:lnTo>
                    <a:pt x="379" y="132"/>
                  </a:lnTo>
                  <a:close/>
                  <a:moveTo>
                    <a:pt x="351" y="136"/>
                  </a:moveTo>
                  <a:lnTo>
                    <a:pt x="351" y="132"/>
                  </a:lnTo>
                  <a:lnTo>
                    <a:pt x="351" y="136"/>
                  </a:lnTo>
                  <a:lnTo>
                    <a:pt x="347" y="136"/>
                  </a:lnTo>
                  <a:lnTo>
                    <a:pt x="347" y="132"/>
                  </a:lnTo>
                  <a:lnTo>
                    <a:pt x="351" y="132"/>
                  </a:lnTo>
                  <a:lnTo>
                    <a:pt x="351" y="136"/>
                  </a:lnTo>
                  <a:close/>
                  <a:moveTo>
                    <a:pt x="447" y="155"/>
                  </a:moveTo>
                  <a:lnTo>
                    <a:pt x="447" y="152"/>
                  </a:lnTo>
                  <a:lnTo>
                    <a:pt x="447" y="148"/>
                  </a:lnTo>
                  <a:lnTo>
                    <a:pt x="447" y="152"/>
                  </a:lnTo>
                  <a:lnTo>
                    <a:pt x="447" y="155"/>
                  </a:lnTo>
                  <a:close/>
                  <a:moveTo>
                    <a:pt x="534" y="339"/>
                  </a:moveTo>
                  <a:lnTo>
                    <a:pt x="534" y="335"/>
                  </a:lnTo>
                  <a:lnTo>
                    <a:pt x="538" y="335"/>
                  </a:lnTo>
                  <a:lnTo>
                    <a:pt x="534" y="335"/>
                  </a:lnTo>
                  <a:lnTo>
                    <a:pt x="534" y="339"/>
                  </a:lnTo>
                  <a:close/>
                  <a:moveTo>
                    <a:pt x="530" y="347"/>
                  </a:moveTo>
                  <a:lnTo>
                    <a:pt x="530" y="343"/>
                  </a:lnTo>
                  <a:lnTo>
                    <a:pt x="530" y="347"/>
                  </a:lnTo>
                  <a:close/>
                  <a:moveTo>
                    <a:pt x="387" y="590"/>
                  </a:moveTo>
                  <a:lnTo>
                    <a:pt x="383" y="590"/>
                  </a:lnTo>
                  <a:lnTo>
                    <a:pt x="383" y="587"/>
                  </a:lnTo>
                  <a:lnTo>
                    <a:pt x="387" y="583"/>
                  </a:lnTo>
                  <a:lnTo>
                    <a:pt x="387" y="587"/>
                  </a:lnTo>
                  <a:lnTo>
                    <a:pt x="387" y="590"/>
                  </a:lnTo>
                  <a:close/>
                  <a:moveTo>
                    <a:pt x="387" y="618"/>
                  </a:moveTo>
                  <a:lnTo>
                    <a:pt x="387" y="614"/>
                  </a:lnTo>
                  <a:lnTo>
                    <a:pt x="387" y="610"/>
                  </a:lnTo>
                  <a:lnTo>
                    <a:pt x="387" y="606"/>
                  </a:lnTo>
                  <a:lnTo>
                    <a:pt x="387" y="610"/>
                  </a:lnTo>
                  <a:lnTo>
                    <a:pt x="387" y="614"/>
                  </a:lnTo>
                  <a:lnTo>
                    <a:pt x="387" y="618"/>
                  </a:lnTo>
                  <a:close/>
                  <a:moveTo>
                    <a:pt x="335" y="124"/>
                  </a:moveTo>
                  <a:lnTo>
                    <a:pt x="335" y="120"/>
                  </a:lnTo>
                  <a:lnTo>
                    <a:pt x="339" y="120"/>
                  </a:lnTo>
                  <a:lnTo>
                    <a:pt x="339" y="116"/>
                  </a:lnTo>
                  <a:lnTo>
                    <a:pt x="339" y="112"/>
                  </a:lnTo>
                  <a:lnTo>
                    <a:pt x="339" y="108"/>
                  </a:lnTo>
                  <a:lnTo>
                    <a:pt x="343" y="108"/>
                  </a:lnTo>
                  <a:lnTo>
                    <a:pt x="347" y="108"/>
                  </a:lnTo>
                  <a:lnTo>
                    <a:pt x="347" y="112"/>
                  </a:lnTo>
                  <a:lnTo>
                    <a:pt x="347" y="116"/>
                  </a:lnTo>
                  <a:lnTo>
                    <a:pt x="343" y="116"/>
                  </a:lnTo>
                  <a:lnTo>
                    <a:pt x="343" y="120"/>
                  </a:lnTo>
                  <a:lnTo>
                    <a:pt x="339" y="120"/>
                  </a:lnTo>
                  <a:lnTo>
                    <a:pt x="339" y="124"/>
                  </a:lnTo>
                  <a:lnTo>
                    <a:pt x="335" y="124"/>
                  </a:lnTo>
                  <a:close/>
                  <a:moveTo>
                    <a:pt x="451" y="527"/>
                  </a:moveTo>
                  <a:lnTo>
                    <a:pt x="455" y="527"/>
                  </a:lnTo>
                  <a:lnTo>
                    <a:pt x="451" y="527"/>
                  </a:lnTo>
                  <a:close/>
                  <a:moveTo>
                    <a:pt x="435" y="543"/>
                  </a:moveTo>
                  <a:lnTo>
                    <a:pt x="435" y="539"/>
                  </a:lnTo>
                  <a:lnTo>
                    <a:pt x="435" y="5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4" name="Freeform 172"/>
            <p:cNvSpPr>
              <a:spLocks noEditPoints="1"/>
            </p:cNvSpPr>
            <p:nvPr>
              <p:custDataLst>
                <p:tags r:id="rId366"/>
              </p:custDataLst>
            </p:nvPr>
          </p:nvSpPr>
          <p:spPr bwMode="gray">
            <a:xfrm>
              <a:off x="2600834" y="4254850"/>
              <a:ext cx="272884" cy="455300"/>
            </a:xfrm>
            <a:custGeom>
              <a:avLst/>
              <a:gdLst/>
              <a:ahLst/>
              <a:cxnLst>
                <a:cxn ang="0">
                  <a:pos x="72" y="32"/>
                </a:cxn>
                <a:cxn ang="0">
                  <a:pos x="88" y="24"/>
                </a:cxn>
                <a:cxn ang="0">
                  <a:pos x="104" y="8"/>
                </a:cxn>
                <a:cxn ang="0">
                  <a:pos x="112" y="0"/>
                </a:cxn>
                <a:cxn ang="0">
                  <a:pos x="112" y="12"/>
                </a:cxn>
                <a:cxn ang="0">
                  <a:pos x="100" y="28"/>
                </a:cxn>
                <a:cxn ang="0">
                  <a:pos x="92" y="48"/>
                </a:cxn>
                <a:cxn ang="0">
                  <a:pos x="92" y="64"/>
                </a:cxn>
                <a:cxn ang="0">
                  <a:pos x="104" y="80"/>
                </a:cxn>
                <a:cxn ang="0">
                  <a:pos x="104" y="96"/>
                </a:cxn>
                <a:cxn ang="0">
                  <a:pos x="120" y="104"/>
                </a:cxn>
                <a:cxn ang="0">
                  <a:pos x="136" y="104"/>
                </a:cxn>
                <a:cxn ang="0">
                  <a:pos x="152" y="116"/>
                </a:cxn>
                <a:cxn ang="0">
                  <a:pos x="176" y="116"/>
                </a:cxn>
                <a:cxn ang="0">
                  <a:pos x="172" y="140"/>
                </a:cxn>
                <a:cxn ang="0">
                  <a:pos x="176" y="160"/>
                </a:cxn>
                <a:cxn ang="0">
                  <a:pos x="172" y="176"/>
                </a:cxn>
                <a:cxn ang="0">
                  <a:pos x="184" y="200"/>
                </a:cxn>
                <a:cxn ang="0">
                  <a:pos x="180" y="200"/>
                </a:cxn>
                <a:cxn ang="0">
                  <a:pos x="168" y="196"/>
                </a:cxn>
                <a:cxn ang="0">
                  <a:pos x="164" y="200"/>
                </a:cxn>
                <a:cxn ang="0">
                  <a:pos x="140" y="212"/>
                </a:cxn>
                <a:cxn ang="0">
                  <a:pos x="148" y="216"/>
                </a:cxn>
                <a:cxn ang="0">
                  <a:pos x="136" y="232"/>
                </a:cxn>
                <a:cxn ang="0">
                  <a:pos x="148" y="248"/>
                </a:cxn>
                <a:cxn ang="0">
                  <a:pos x="144" y="264"/>
                </a:cxn>
                <a:cxn ang="0">
                  <a:pos x="136" y="307"/>
                </a:cxn>
                <a:cxn ang="0">
                  <a:pos x="136" y="280"/>
                </a:cxn>
                <a:cxn ang="0">
                  <a:pos x="120" y="272"/>
                </a:cxn>
                <a:cxn ang="0">
                  <a:pos x="104" y="276"/>
                </a:cxn>
                <a:cxn ang="0">
                  <a:pos x="92" y="272"/>
                </a:cxn>
                <a:cxn ang="0">
                  <a:pos x="84" y="264"/>
                </a:cxn>
                <a:cxn ang="0">
                  <a:pos x="72" y="244"/>
                </a:cxn>
                <a:cxn ang="0">
                  <a:pos x="64" y="232"/>
                </a:cxn>
                <a:cxn ang="0">
                  <a:pos x="48" y="224"/>
                </a:cxn>
                <a:cxn ang="0">
                  <a:pos x="24" y="224"/>
                </a:cxn>
                <a:cxn ang="0">
                  <a:pos x="12" y="212"/>
                </a:cxn>
                <a:cxn ang="0">
                  <a:pos x="0" y="196"/>
                </a:cxn>
                <a:cxn ang="0">
                  <a:pos x="8" y="188"/>
                </a:cxn>
                <a:cxn ang="0">
                  <a:pos x="16" y="180"/>
                </a:cxn>
                <a:cxn ang="0">
                  <a:pos x="24" y="172"/>
                </a:cxn>
                <a:cxn ang="0">
                  <a:pos x="28" y="156"/>
                </a:cxn>
                <a:cxn ang="0">
                  <a:pos x="24" y="152"/>
                </a:cxn>
                <a:cxn ang="0">
                  <a:pos x="24" y="136"/>
                </a:cxn>
                <a:cxn ang="0">
                  <a:pos x="24" y="120"/>
                </a:cxn>
                <a:cxn ang="0">
                  <a:pos x="20" y="100"/>
                </a:cxn>
                <a:cxn ang="0">
                  <a:pos x="28" y="88"/>
                </a:cxn>
                <a:cxn ang="0">
                  <a:pos x="24" y="72"/>
                </a:cxn>
                <a:cxn ang="0">
                  <a:pos x="36" y="80"/>
                </a:cxn>
                <a:cxn ang="0">
                  <a:pos x="40" y="64"/>
                </a:cxn>
                <a:cxn ang="0">
                  <a:pos x="52" y="48"/>
                </a:cxn>
                <a:cxn ang="0">
                  <a:pos x="56" y="36"/>
                </a:cxn>
                <a:cxn ang="0">
                  <a:pos x="64" y="28"/>
                </a:cxn>
                <a:cxn ang="0">
                  <a:pos x="12" y="184"/>
                </a:cxn>
              </a:cxnLst>
              <a:rect l="0" t="0" r="r" b="b"/>
              <a:pathLst>
                <a:path w="184" h="307">
                  <a:moveTo>
                    <a:pt x="64" y="24"/>
                  </a:moveTo>
                  <a:lnTo>
                    <a:pt x="68" y="28"/>
                  </a:lnTo>
                  <a:lnTo>
                    <a:pt x="72" y="28"/>
                  </a:lnTo>
                  <a:lnTo>
                    <a:pt x="68" y="28"/>
                  </a:lnTo>
                  <a:lnTo>
                    <a:pt x="68" y="32"/>
                  </a:lnTo>
                  <a:lnTo>
                    <a:pt x="72" y="32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6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16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4" y="8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2" y="0"/>
                  </a:lnTo>
                  <a:lnTo>
                    <a:pt x="116" y="0"/>
                  </a:lnTo>
                  <a:lnTo>
                    <a:pt x="120" y="4"/>
                  </a:lnTo>
                  <a:lnTo>
                    <a:pt x="120" y="8"/>
                  </a:lnTo>
                  <a:lnTo>
                    <a:pt x="120" y="12"/>
                  </a:lnTo>
                  <a:lnTo>
                    <a:pt x="116" y="12"/>
                  </a:lnTo>
                  <a:lnTo>
                    <a:pt x="112" y="12"/>
                  </a:lnTo>
                  <a:lnTo>
                    <a:pt x="112" y="16"/>
                  </a:lnTo>
                  <a:lnTo>
                    <a:pt x="108" y="16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96" y="28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92" y="40"/>
                  </a:lnTo>
                  <a:lnTo>
                    <a:pt x="92" y="44"/>
                  </a:lnTo>
                  <a:lnTo>
                    <a:pt x="92" y="48"/>
                  </a:lnTo>
                  <a:lnTo>
                    <a:pt x="92" y="52"/>
                  </a:lnTo>
                  <a:lnTo>
                    <a:pt x="92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92" y="60"/>
                  </a:lnTo>
                  <a:lnTo>
                    <a:pt x="92" y="64"/>
                  </a:lnTo>
                  <a:lnTo>
                    <a:pt x="96" y="64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100" y="76"/>
                  </a:lnTo>
                  <a:lnTo>
                    <a:pt x="100" y="80"/>
                  </a:lnTo>
                  <a:lnTo>
                    <a:pt x="104" y="80"/>
                  </a:lnTo>
                  <a:lnTo>
                    <a:pt x="104" y="84"/>
                  </a:lnTo>
                  <a:lnTo>
                    <a:pt x="100" y="84"/>
                  </a:lnTo>
                  <a:lnTo>
                    <a:pt x="100" y="88"/>
                  </a:lnTo>
                  <a:lnTo>
                    <a:pt x="100" y="92"/>
                  </a:lnTo>
                  <a:lnTo>
                    <a:pt x="100" y="96"/>
                  </a:lnTo>
                  <a:lnTo>
                    <a:pt x="104" y="96"/>
                  </a:lnTo>
                  <a:lnTo>
                    <a:pt x="104" y="100"/>
                  </a:lnTo>
                  <a:lnTo>
                    <a:pt x="108" y="100"/>
                  </a:lnTo>
                  <a:lnTo>
                    <a:pt x="112" y="100"/>
                  </a:lnTo>
                  <a:lnTo>
                    <a:pt x="116" y="100"/>
                  </a:lnTo>
                  <a:lnTo>
                    <a:pt x="120" y="100"/>
                  </a:lnTo>
                  <a:lnTo>
                    <a:pt x="120" y="104"/>
                  </a:lnTo>
                  <a:lnTo>
                    <a:pt x="120" y="100"/>
                  </a:lnTo>
                  <a:lnTo>
                    <a:pt x="124" y="100"/>
                  </a:lnTo>
                  <a:lnTo>
                    <a:pt x="128" y="100"/>
                  </a:lnTo>
                  <a:lnTo>
                    <a:pt x="132" y="100"/>
                  </a:lnTo>
                  <a:lnTo>
                    <a:pt x="132" y="104"/>
                  </a:lnTo>
                  <a:lnTo>
                    <a:pt x="136" y="104"/>
                  </a:lnTo>
                  <a:lnTo>
                    <a:pt x="136" y="100"/>
                  </a:lnTo>
                  <a:lnTo>
                    <a:pt x="136" y="104"/>
                  </a:lnTo>
                  <a:lnTo>
                    <a:pt x="140" y="112"/>
                  </a:lnTo>
                  <a:lnTo>
                    <a:pt x="148" y="116"/>
                  </a:lnTo>
                  <a:lnTo>
                    <a:pt x="148" y="120"/>
                  </a:lnTo>
                  <a:lnTo>
                    <a:pt x="152" y="116"/>
                  </a:lnTo>
                  <a:lnTo>
                    <a:pt x="156" y="116"/>
                  </a:lnTo>
                  <a:lnTo>
                    <a:pt x="160" y="116"/>
                  </a:lnTo>
                  <a:lnTo>
                    <a:pt x="164" y="116"/>
                  </a:lnTo>
                  <a:lnTo>
                    <a:pt x="168" y="116"/>
                  </a:lnTo>
                  <a:lnTo>
                    <a:pt x="172" y="116"/>
                  </a:lnTo>
                  <a:lnTo>
                    <a:pt x="176" y="116"/>
                  </a:lnTo>
                  <a:lnTo>
                    <a:pt x="176" y="120"/>
                  </a:lnTo>
                  <a:lnTo>
                    <a:pt x="172" y="124"/>
                  </a:lnTo>
                  <a:lnTo>
                    <a:pt x="172" y="128"/>
                  </a:lnTo>
                  <a:lnTo>
                    <a:pt x="172" y="132"/>
                  </a:lnTo>
                  <a:lnTo>
                    <a:pt x="172" y="136"/>
                  </a:lnTo>
                  <a:lnTo>
                    <a:pt x="172" y="140"/>
                  </a:lnTo>
                  <a:lnTo>
                    <a:pt x="172" y="144"/>
                  </a:lnTo>
                  <a:lnTo>
                    <a:pt x="168" y="148"/>
                  </a:lnTo>
                  <a:lnTo>
                    <a:pt x="172" y="152"/>
                  </a:lnTo>
                  <a:lnTo>
                    <a:pt x="172" y="156"/>
                  </a:lnTo>
                  <a:lnTo>
                    <a:pt x="172" y="160"/>
                  </a:lnTo>
                  <a:lnTo>
                    <a:pt x="176" y="160"/>
                  </a:lnTo>
                  <a:lnTo>
                    <a:pt x="176" y="164"/>
                  </a:lnTo>
                  <a:lnTo>
                    <a:pt x="176" y="168"/>
                  </a:lnTo>
                  <a:lnTo>
                    <a:pt x="180" y="168"/>
                  </a:lnTo>
                  <a:lnTo>
                    <a:pt x="176" y="168"/>
                  </a:lnTo>
                  <a:lnTo>
                    <a:pt x="176" y="172"/>
                  </a:lnTo>
                  <a:lnTo>
                    <a:pt x="172" y="176"/>
                  </a:lnTo>
                  <a:lnTo>
                    <a:pt x="172" y="180"/>
                  </a:lnTo>
                  <a:lnTo>
                    <a:pt x="176" y="180"/>
                  </a:lnTo>
                  <a:lnTo>
                    <a:pt x="180" y="184"/>
                  </a:lnTo>
                  <a:lnTo>
                    <a:pt x="180" y="188"/>
                  </a:lnTo>
                  <a:lnTo>
                    <a:pt x="180" y="192"/>
                  </a:lnTo>
                  <a:lnTo>
                    <a:pt x="184" y="200"/>
                  </a:lnTo>
                  <a:lnTo>
                    <a:pt x="184" y="204"/>
                  </a:lnTo>
                  <a:lnTo>
                    <a:pt x="184" y="208"/>
                  </a:lnTo>
                  <a:lnTo>
                    <a:pt x="180" y="208"/>
                  </a:lnTo>
                  <a:lnTo>
                    <a:pt x="180" y="204"/>
                  </a:lnTo>
                  <a:lnTo>
                    <a:pt x="184" y="204"/>
                  </a:lnTo>
                  <a:lnTo>
                    <a:pt x="180" y="200"/>
                  </a:lnTo>
                  <a:lnTo>
                    <a:pt x="180" y="196"/>
                  </a:lnTo>
                  <a:lnTo>
                    <a:pt x="180" y="192"/>
                  </a:lnTo>
                  <a:lnTo>
                    <a:pt x="176" y="192"/>
                  </a:lnTo>
                  <a:lnTo>
                    <a:pt x="172" y="192"/>
                  </a:lnTo>
                  <a:lnTo>
                    <a:pt x="172" y="196"/>
                  </a:lnTo>
                  <a:lnTo>
                    <a:pt x="168" y="196"/>
                  </a:lnTo>
                  <a:lnTo>
                    <a:pt x="168" y="200"/>
                  </a:lnTo>
                  <a:lnTo>
                    <a:pt x="168" y="196"/>
                  </a:lnTo>
                  <a:lnTo>
                    <a:pt x="164" y="196"/>
                  </a:lnTo>
                  <a:lnTo>
                    <a:pt x="164" y="192"/>
                  </a:lnTo>
                  <a:lnTo>
                    <a:pt x="164" y="196"/>
                  </a:lnTo>
                  <a:lnTo>
                    <a:pt x="164" y="200"/>
                  </a:lnTo>
                  <a:lnTo>
                    <a:pt x="156" y="200"/>
                  </a:lnTo>
                  <a:lnTo>
                    <a:pt x="152" y="200"/>
                  </a:lnTo>
                  <a:lnTo>
                    <a:pt x="148" y="200"/>
                  </a:lnTo>
                  <a:lnTo>
                    <a:pt x="144" y="196"/>
                  </a:lnTo>
                  <a:lnTo>
                    <a:pt x="140" y="200"/>
                  </a:lnTo>
                  <a:lnTo>
                    <a:pt x="140" y="212"/>
                  </a:lnTo>
                  <a:lnTo>
                    <a:pt x="144" y="212"/>
                  </a:lnTo>
                  <a:lnTo>
                    <a:pt x="148" y="212"/>
                  </a:lnTo>
                  <a:lnTo>
                    <a:pt x="152" y="216"/>
                  </a:lnTo>
                  <a:lnTo>
                    <a:pt x="152" y="220"/>
                  </a:lnTo>
                  <a:lnTo>
                    <a:pt x="148" y="220"/>
                  </a:lnTo>
                  <a:lnTo>
                    <a:pt x="148" y="216"/>
                  </a:lnTo>
                  <a:lnTo>
                    <a:pt x="144" y="216"/>
                  </a:lnTo>
                  <a:lnTo>
                    <a:pt x="140" y="220"/>
                  </a:lnTo>
                  <a:lnTo>
                    <a:pt x="136" y="220"/>
                  </a:lnTo>
                  <a:lnTo>
                    <a:pt x="136" y="224"/>
                  </a:lnTo>
                  <a:lnTo>
                    <a:pt x="136" y="228"/>
                  </a:lnTo>
                  <a:lnTo>
                    <a:pt x="136" y="232"/>
                  </a:lnTo>
                  <a:lnTo>
                    <a:pt x="140" y="236"/>
                  </a:lnTo>
                  <a:lnTo>
                    <a:pt x="140" y="240"/>
                  </a:lnTo>
                  <a:lnTo>
                    <a:pt x="144" y="240"/>
                  </a:lnTo>
                  <a:lnTo>
                    <a:pt x="144" y="244"/>
                  </a:lnTo>
                  <a:lnTo>
                    <a:pt x="144" y="248"/>
                  </a:lnTo>
                  <a:lnTo>
                    <a:pt x="148" y="248"/>
                  </a:lnTo>
                  <a:lnTo>
                    <a:pt x="144" y="248"/>
                  </a:lnTo>
                  <a:lnTo>
                    <a:pt x="148" y="248"/>
                  </a:lnTo>
                  <a:lnTo>
                    <a:pt x="148" y="252"/>
                  </a:lnTo>
                  <a:lnTo>
                    <a:pt x="148" y="256"/>
                  </a:lnTo>
                  <a:lnTo>
                    <a:pt x="144" y="256"/>
                  </a:lnTo>
                  <a:lnTo>
                    <a:pt x="144" y="264"/>
                  </a:lnTo>
                  <a:lnTo>
                    <a:pt x="144" y="272"/>
                  </a:lnTo>
                  <a:lnTo>
                    <a:pt x="144" y="276"/>
                  </a:lnTo>
                  <a:lnTo>
                    <a:pt x="140" y="291"/>
                  </a:lnTo>
                  <a:lnTo>
                    <a:pt x="140" y="299"/>
                  </a:lnTo>
                  <a:lnTo>
                    <a:pt x="140" y="307"/>
                  </a:lnTo>
                  <a:lnTo>
                    <a:pt x="136" y="307"/>
                  </a:lnTo>
                  <a:lnTo>
                    <a:pt x="136" y="303"/>
                  </a:lnTo>
                  <a:lnTo>
                    <a:pt x="132" y="299"/>
                  </a:lnTo>
                  <a:lnTo>
                    <a:pt x="128" y="299"/>
                  </a:lnTo>
                  <a:lnTo>
                    <a:pt x="128" y="295"/>
                  </a:lnTo>
                  <a:lnTo>
                    <a:pt x="132" y="291"/>
                  </a:lnTo>
                  <a:lnTo>
                    <a:pt x="136" y="280"/>
                  </a:lnTo>
                  <a:lnTo>
                    <a:pt x="136" y="276"/>
                  </a:lnTo>
                  <a:lnTo>
                    <a:pt x="132" y="276"/>
                  </a:lnTo>
                  <a:lnTo>
                    <a:pt x="128" y="276"/>
                  </a:lnTo>
                  <a:lnTo>
                    <a:pt x="128" y="272"/>
                  </a:lnTo>
                  <a:lnTo>
                    <a:pt x="124" y="272"/>
                  </a:lnTo>
                  <a:lnTo>
                    <a:pt x="120" y="272"/>
                  </a:lnTo>
                  <a:lnTo>
                    <a:pt x="116" y="272"/>
                  </a:lnTo>
                  <a:lnTo>
                    <a:pt x="112" y="272"/>
                  </a:lnTo>
                  <a:lnTo>
                    <a:pt x="112" y="268"/>
                  </a:lnTo>
                  <a:lnTo>
                    <a:pt x="108" y="272"/>
                  </a:lnTo>
                  <a:lnTo>
                    <a:pt x="108" y="276"/>
                  </a:lnTo>
                  <a:lnTo>
                    <a:pt x="104" y="276"/>
                  </a:lnTo>
                  <a:lnTo>
                    <a:pt x="100" y="276"/>
                  </a:lnTo>
                  <a:lnTo>
                    <a:pt x="96" y="276"/>
                  </a:lnTo>
                  <a:lnTo>
                    <a:pt x="92" y="276"/>
                  </a:lnTo>
                  <a:lnTo>
                    <a:pt x="92" y="272"/>
                  </a:lnTo>
                  <a:lnTo>
                    <a:pt x="92" y="276"/>
                  </a:lnTo>
                  <a:lnTo>
                    <a:pt x="92" y="272"/>
                  </a:lnTo>
                  <a:lnTo>
                    <a:pt x="88" y="272"/>
                  </a:lnTo>
                  <a:lnTo>
                    <a:pt x="92" y="272"/>
                  </a:lnTo>
                  <a:lnTo>
                    <a:pt x="92" y="268"/>
                  </a:lnTo>
                  <a:lnTo>
                    <a:pt x="92" y="264"/>
                  </a:lnTo>
                  <a:lnTo>
                    <a:pt x="88" y="264"/>
                  </a:lnTo>
                  <a:lnTo>
                    <a:pt x="84" y="264"/>
                  </a:lnTo>
                  <a:lnTo>
                    <a:pt x="84" y="260"/>
                  </a:lnTo>
                  <a:lnTo>
                    <a:pt x="84" y="256"/>
                  </a:lnTo>
                  <a:lnTo>
                    <a:pt x="80" y="252"/>
                  </a:lnTo>
                  <a:lnTo>
                    <a:pt x="76" y="248"/>
                  </a:lnTo>
                  <a:lnTo>
                    <a:pt x="72" y="248"/>
                  </a:lnTo>
                  <a:lnTo>
                    <a:pt x="72" y="244"/>
                  </a:lnTo>
                  <a:lnTo>
                    <a:pt x="72" y="240"/>
                  </a:lnTo>
                  <a:lnTo>
                    <a:pt x="68" y="236"/>
                  </a:lnTo>
                  <a:lnTo>
                    <a:pt x="64" y="236"/>
                  </a:lnTo>
                  <a:lnTo>
                    <a:pt x="64" y="232"/>
                  </a:lnTo>
                  <a:lnTo>
                    <a:pt x="64" y="236"/>
                  </a:lnTo>
                  <a:lnTo>
                    <a:pt x="64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52" y="232"/>
                  </a:lnTo>
                  <a:lnTo>
                    <a:pt x="52" y="228"/>
                  </a:lnTo>
                  <a:lnTo>
                    <a:pt x="48" y="228"/>
                  </a:lnTo>
                  <a:lnTo>
                    <a:pt x="48" y="224"/>
                  </a:lnTo>
                  <a:lnTo>
                    <a:pt x="44" y="224"/>
                  </a:lnTo>
                  <a:lnTo>
                    <a:pt x="40" y="224"/>
                  </a:lnTo>
                  <a:lnTo>
                    <a:pt x="36" y="224"/>
                  </a:lnTo>
                  <a:lnTo>
                    <a:pt x="32" y="224"/>
                  </a:lnTo>
                  <a:lnTo>
                    <a:pt x="28" y="224"/>
                  </a:lnTo>
                  <a:lnTo>
                    <a:pt x="24" y="224"/>
                  </a:lnTo>
                  <a:lnTo>
                    <a:pt x="24" y="220"/>
                  </a:lnTo>
                  <a:lnTo>
                    <a:pt x="24" y="216"/>
                  </a:lnTo>
                  <a:lnTo>
                    <a:pt x="20" y="216"/>
                  </a:lnTo>
                  <a:lnTo>
                    <a:pt x="16" y="216"/>
                  </a:lnTo>
                  <a:lnTo>
                    <a:pt x="16" y="212"/>
                  </a:lnTo>
                  <a:lnTo>
                    <a:pt x="12" y="212"/>
                  </a:lnTo>
                  <a:lnTo>
                    <a:pt x="8" y="208"/>
                  </a:lnTo>
                  <a:lnTo>
                    <a:pt x="4" y="208"/>
                  </a:lnTo>
                  <a:lnTo>
                    <a:pt x="4" y="204"/>
                  </a:lnTo>
                  <a:lnTo>
                    <a:pt x="4" y="200"/>
                  </a:lnTo>
                  <a:lnTo>
                    <a:pt x="0" y="200"/>
                  </a:lnTo>
                  <a:lnTo>
                    <a:pt x="0" y="196"/>
                  </a:lnTo>
                  <a:lnTo>
                    <a:pt x="4" y="196"/>
                  </a:lnTo>
                  <a:lnTo>
                    <a:pt x="8" y="196"/>
                  </a:lnTo>
                  <a:lnTo>
                    <a:pt x="8" y="192"/>
                  </a:lnTo>
                  <a:lnTo>
                    <a:pt x="4" y="192"/>
                  </a:lnTo>
                  <a:lnTo>
                    <a:pt x="4" y="188"/>
                  </a:lnTo>
                  <a:lnTo>
                    <a:pt x="8" y="188"/>
                  </a:lnTo>
                  <a:lnTo>
                    <a:pt x="8" y="184"/>
                  </a:lnTo>
                  <a:lnTo>
                    <a:pt x="8" y="188"/>
                  </a:lnTo>
                  <a:lnTo>
                    <a:pt x="8" y="184"/>
                  </a:lnTo>
                  <a:lnTo>
                    <a:pt x="12" y="184"/>
                  </a:lnTo>
                  <a:lnTo>
                    <a:pt x="16" y="184"/>
                  </a:lnTo>
                  <a:lnTo>
                    <a:pt x="16" y="180"/>
                  </a:lnTo>
                  <a:lnTo>
                    <a:pt x="16" y="184"/>
                  </a:lnTo>
                  <a:lnTo>
                    <a:pt x="20" y="184"/>
                  </a:lnTo>
                  <a:lnTo>
                    <a:pt x="20" y="180"/>
                  </a:lnTo>
                  <a:lnTo>
                    <a:pt x="20" y="176"/>
                  </a:lnTo>
                  <a:lnTo>
                    <a:pt x="24" y="176"/>
                  </a:lnTo>
                  <a:lnTo>
                    <a:pt x="24" y="172"/>
                  </a:lnTo>
                  <a:lnTo>
                    <a:pt x="24" y="168"/>
                  </a:lnTo>
                  <a:lnTo>
                    <a:pt x="28" y="164"/>
                  </a:lnTo>
                  <a:lnTo>
                    <a:pt x="28" y="160"/>
                  </a:lnTo>
                  <a:lnTo>
                    <a:pt x="32" y="160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4" y="156"/>
                  </a:lnTo>
                  <a:lnTo>
                    <a:pt x="24" y="160"/>
                  </a:lnTo>
                  <a:lnTo>
                    <a:pt x="24" y="156"/>
                  </a:lnTo>
                  <a:lnTo>
                    <a:pt x="24" y="152"/>
                  </a:lnTo>
                  <a:lnTo>
                    <a:pt x="28" y="152"/>
                  </a:lnTo>
                  <a:lnTo>
                    <a:pt x="24" y="152"/>
                  </a:lnTo>
                  <a:lnTo>
                    <a:pt x="24" y="148"/>
                  </a:lnTo>
                  <a:lnTo>
                    <a:pt x="28" y="148"/>
                  </a:lnTo>
                  <a:lnTo>
                    <a:pt x="28" y="144"/>
                  </a:lnTo>
                  <a:lnTo>
                    <a:pt x="28" y="140"/>
                  </a:lnTo>
                  <a:lnTo>
                    <a:pt x="24" y="140"/>
                  </a:lnTo>
                  <a:lnTo>
                    <a:pt x="24" y="136"/>
                  </a:lnTo>
                  <a:lnTo>
                    <a:pt x="24" y="132"/>
                  </a:lnTo>
                  <a:lnTo>
                    <a:pt x="24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20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2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0" y="104"/>
                  </a:lnTo>
                  <a:lnTo>
                    <a:pt x="20" y="100"/>
                  </a:lnTo>
                  <a:lnTo>
                    <a:pt x="16" y="96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20" y="92"/>
                  </a:lnTo>
                  <a:lnTo>
                    <a:pt x="24" y="92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8" y="84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32" y="80"/>
                  </a:lnTo>
                  <a:lnTo>
                    <a:pt x="32" y="84"/>
                  </a:lnTo>
                  <a:lnTo>
                    <a:pt x="36" y="84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2" y="44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56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4"/>
                  </a:lnTo>
                  <a:close/>
                  <a:moveTo>
                    <a:pt x="24" y="152"/>
                  </a:moveTo>
                  <a:lnTo>
                    <a:pt x="28" y="152"/>
                  </a:lnTo>
                  <a:lnTo>
                    <a:pt x="24" y="152"/>
                  </a:lnTo>
                  <a:close/>
                  <a:moveTo>
                    <a:pt x="16" y="184"/>
                  </a:moveTo>
                  <a:lnTo>
                    <a:pt x="12" y="184"/>
                  </a:lnTo>
                  <a:lnTo>
                    <a:pt x="12" y="180"/>
                  </a:lnTo>
                  <a:lnTo>
                    <a:pt x="16" y="18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5" name="Freeform 173"/>
            <p:cNvSpPr>
              <a:spLocks noEditPoints="1"/>
            </p:cNvSpPr>
            <p:nvPr>
              <p:custDataLst>
                <p:tags r:id="rId367"/>
              </p:custDataLst>
            </p:nvPr>
          </p:nvSpPr>
          <p:spPr bwMode="gray">
            <a:xfrm>
              <a:off x="2317568" y="4557395"/>
              <a:ext cx="372249" cy="170552"/>
            </a:xfrm>
            <a:custGeom>
              <a:avLst/>
              <a:gdLst/>
              <a:ahLst/>
              <a:cxnLst>
                <a:cxn ang="0">
                  <a:pos x="179" y="107"/>
                </a:cxn>
                <a:cxn ang="0">
                  <a:pos x="175" y="107"/>
                </a:cxn>
                <a:cxn ang="0">
                  <a:pos x="171" y="99"/>
                </a:cxn>
                <a:cxn ang="0">
                  <a:pos x="171" y="87"/>
                </a:cxn>
                <a:cxn ang="0">
                  <a:pos x="179" y="83"/>
                </a:cxn>
                <a:cxn ang="0">
                  <a:pos x="179" y="72"/>
                </a:cxn>
                <a:cxn ang="0">
                  <a:pos x="179" y="68"/>
                </a:cxn>
                <a:cxn ang="0">
                  <a:pos x="175" y="68"/>
                </a:cxn>
                <a:cxn ang="0">
                  <a:pos x="175" y="72"/>
                </a:cxn>
                <a:cxn ang="0">
                  <a:pos x="167" y="72"/>
                </a:cxn>
                <a:cxn ang="0">
                  <a:pos x="163" y="64"/>
                </a:cxn>
                <a:cxn ang="0">
                  <a:pos x="163" y="60"/>
                </a:cxn>
                <a:cxn ang="0">
                  <a:pos x="167" y="52"/>
                </a:cxn>
                <a:cxn ang="0">
                  <a:pos x="167" y="44"/>
                </a:cxn>
                <a:cxn ang="0">
                  <a:pos x="171" y="36"/>
                </a:cxn>
                <a:cxn ang="0">
                  <a:pos x="175" y="28"/>
                </a:cxn>
                <a:cxn ang="0">
                  <a:pos x="175" y="16"/>
                </a:cxn>
                <a:cxn ang="0">
                  <a:pos x="179" y="8"/>
                </a:cxn>
                <a:cxn ang="0">
                  <a:pos x="191" y="4"/>
                </a:cxn>
                <a:cxn ang="0">
                  <a:pos x="195" y="4"/>
                </a:cxn>
                <a:cxn ang="0">
                  <a:pos x="207" y="8"/>
                </a:cxn>
                <a:cxn ang="0">
                  <a:pos x="215" y="12"/>
                </a:cxn>
                <a:cxn ang="0">
                  <a:pos x="219" y="20"/>
                </a:cxn>
                <a:cxn ang="0">
                  <a:pos x="231" y="20"/>
                </a:cxn>
                <a:cxn ang="0">
                  <a:pos x="239" y="24"/>
                </a:cxn>
                <a:cxn ang="0">
                  <a:pos x="247" y="28"/>
                </a:cxn>
                <a:cxn ang="0">
                  <a:pos x="247" y="36"/>
                </a:cxn>
                <a:cxn ang="0">
                  <a:pos x="247" y="44"/>
                </a:cxn>
                <a:cxn ang="0">
                  <a:pos x="243" y="56"/>
                </a:cxn>
                <a:cxn ang="0">
                  <a:pos x="235" y="64"/>
                </a:cxn>
                <a:cxn ang="0">
                  <a:pos x="223" y="76"/>
                </a:cxn>
                <a:cxn ang="0">
                  <a:pos x="211" y="80"/>
                </a:cxn>
                <a:cxn ang="0">
                  <a:pos x="207" y="87"/>
                </a:cxn>
                <a:cxn ang="0">
                  <a:pos x="203" y="87"/>
                </a:cxn>
                <a:cxn ang="0">
                  <a:pos x="199" y="95"/>
                </a:cxn>
                <a:cxn ang="0">
                  <a:pos x="195" y="103"/>
                </a:cxn>
                <a:cxn ang="0">
                  <a:pos x="195" y="107"/>
                </a:cxn>
                <a:cxn ang="0">
                  <a:pos x="187" y="115"/>
                </a:cxn>
                <a:cxn ang="0">
                  <a:pos x="20" y="40"/>
                </a:cxn>
                <a:cxn ang="0">
                  <a:pos x="20" y="36"/>
                </a:cxn>
                <a:cxn ang="0">
                  <a:pos x="20" y="40"/>
                </a:cxn>
                <a:cxn ang="0">
                  <a:pos x="4" y="40"/>
                </a:cxn>
                <a:cxn ang="0">
                  <a:pos x="4" y="32"/>
                </a:cxn>
                <a:cxn ang="0">
                  <a:pos x="0" y="24"/>
                </a:cxn>
                <a:cxn ang="0">
                  <a:pos x="8" y="28"/>
                </a:cxn>
                <a:cxn ang="0">
                  <a:pos x="12" y="36"/>
                </a:cxn>
                <a:cxn ang="0">
                  <a:pos x="8" y="44"/>
                </a:cxn>
                <a:cxn ang="0">
                  <a:pos x="12" y="28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32" y="40"/>
                </a:cxn>
                <a:cxn ang="0">
                  <a:pos x="32" y="44"/>
                </a:cxn>
                <a:cxn ang="0">
                  <a:pos x="20" y="48"/>
                </a:cxn>
                <a:cxn ang="0">
                  <a:pos x="171" y="80"/>
                </a:cxn>
                <a:cxn ang="0">
                  <a:pos x="179" y="76"/>
                </a:cxn>
              </a:cxnLst>
              <a:rect l="0" t="0" r="r" b="b"/>
              <a:pathLst>
                <a:path w="251" h="115">
                  <a:moveTo>
                    <a:pt x="183" y="111"/>
                  </a:moveTo>
                  <a:lnTo>
                    <a:pt x="183" y="107"/>
                  </a:lnTo>
                  <a:lnTo>
                    <a:pt x="179" y="107"/>
                  </a:lnTo>
                  <a:lnTo>
                    <a:pt x="175" y="107"/>
                  </a:lnTo>
                  <a:lnTo>
                    <a:pt x="175" y="103"/>
                  </a:lnTo>
                  <a:lnTo>
                    <a:pt x="175" y="107"/>
                  </a:lnTo>
                  <a:lnTo>
                    <a:pt x="171" y="107"/>
                  </a:lnTo>
                  <a:lnTo>
                    <a:pt x="171" y="103"/>
                  </a:lnTo>
                  <a:lnTo>
                    <a:pt x="171" y="99"/>
                  </a:lnTo>
                  <a:lnTo>
                    <a:pt x="175" y="95"/>
                  </a:lnTo>
                  <a:lnTo>
                    <a:pt x="175" y="91"/>
                  </a:lnTo>
                  <a:lnTo>
                    <a:pt x="171" y="87"/>
                  </a:lnTo>
                  <a:lnTo>
                    <a:pt x="175" y="87"/>
                  </a:lnTo>
                  <a:lnTo>
                    <a:pt x="175" y="83"/>
                  </a:lnTo>
                  <a:lnTo>
                    <a:pt x="179" y="83"/>
                  </a:lnTo>
                  <a:lnTo>
                    <a:pt x="179" y="80"/>
                  </a:lnTo>
                  <a:lnTo>
                    <a:pt x="179" y="76"/>
                  </a:lnTo>
                  <a:lnTo>
                    <a:pt x="179" y="72"/>
                  </a:lnTo>
                  <a:lnTo>
                    <a:pt x="179" y="68"/>
                  </a:lnTo>
                  <a:lnTo>
                    <a:pt x="179" y="64"/>
                  </a:lnTo>
                  <a:lnTo>
                    <a:pt x="179" y="68"/>
                  </a:lnTo>
                  <a:lnTo>
                    <a:pt x="179" y="72"/>
                  </a:lnTo>
                  <a:lnTo>
                    <a:pt x="175" y="72"/>
                  </a:lnTo>
                  <a:lnTo>
                    <a:pt x="175" y="68"/>
                  </a:lnTo>
                  <a:lnTo>
                    <a:pt x="179" y="68"/>
                  </a:lnTo>
                  <a:lnTo>
                    <a:pt x="175" y="68"/>
                  </a:lnTo>
                  <a:lnTo>
                    <a:pt x="175" y="72"/>
                  </a:lnTo>
                  <a:lnTo>
                    <a:pt x="175" y="76"/>
                  </a:lnTo>
                  <a:lnTo>
                    <a:pt x="171" y="76"/>
                  </a:lnTo>
                  <a:lnTo>
                    <a:pt x="167" y="72"/>
                  </a:lnTo>
                  <a:lnTo>
                    <a:pt x="167" y="68"/>
                  </a:lnTo>
                  <a:lnTo>
                    <a:pt x="163" y="68"/>
                  </a:lnTo>
                  <a:lnTo>
                    <a:pt x="163" y="64"/>
                  </a:lnTo>
                  <a:lnTo>
                    <a:pt x="167" y="64"/>
                  </a:lnTo>
                  <a:lnTo>
                    <a:pt x="167" y="60"/>
                  </a:lnTo>
                  <a:lnTo>
                    <a:pt x="163" y="60"/>
                  </a:lnTo>
                  <a:lnTo>
                    <a:pt x="163" y="56"/>
                  </a:lnTo>
                  <a:lnTo>
                    <a:pt x="163" y="52"/>
                  </a:lnTo>
                  <a:lnTo>
                    <a:pt x="167" y="52"/>
                  </a:lnTo>
                  <a:lnTo>
                    <a:pt x="163" y="48"/>
                  </a:lnTo>
                  <a:lnTo>
                    <a:pt x="163" y="44"/>
                  </a:lnTo>
                  <a:lnTo>
                    <a:pt x="167" y="44"/>
                  </a:lnTo>
                  <a:lnTo>
                    <a:pt x="167" y="40"/>
                  </a:lnTo>
                  <a:lnTo>
                    <a:pt x="171" y="40"/>
                  </a:lnTo>
                  <a:lnTo>
                    <a:pt x="171" y="36"/>
                  </a:lnTo>
                  <a:lnTo>
                    <a:pt x="171" y="32"/>
                  </a:lnTo>
                  <a:lnTo>
                    <a:pt x="171" y="28"/>
                  </a:lnTo>
                  <a:lnTo>
                    <a:pt x="175" y="28"/>
                  </a:lnTo>
                  <a:lnTo>
                    <a:pt x="175" y="24"/>
                  </a:lnTo>
                  <a:lnTo>
                    <a:pt x="175" y="20"/>
                  </a:lnTo>
                  <a:lnTo>
                    <a:pt x="175" y="16"/>
                  </a:lnTo>
                  <a:lnTo>
                    <a:pt x="175" y="12"/>
                  </a:lnTo>
                  <a:lnTo>
                    <a:pt x="179" y="12"/>
                  </a:lnTo>
                  <a:lnTo>
                    <a:pt x="179" y="8"/>
                  </a:lnTo>
                  <a:lnTo>
                    <a:pt x="183" y="8"/>
                  </a:lnTo>
                  <a:lnTo>
                    <a:pt x="187" y="8"/>
                  </a:lnTo>
                  <a:lnTo>
                    <a:pt x="191" y="4"/>
                  </a:lnTo>
                  <a:lnTo>
                    <a:pt x="195" y="4"/>
                  </a:lnTo>
                  <a:lnTo>
                    <a:pt x="195" y="0"/>
                  </a:lnTo>
                  <a:lnTo>
                    <a:pt x="195" y="4"/>
                  </a:lnTo>
                  <a:lnTo>
                    <a:pt x="199" y="4"/>
                  </a:lnTo>
                  <a:lnTo>
                    <a:pt x="203" y="8"/>
                  </a:lnTo>
                  <a:lnTo>
                    <a:pt x="207" y="8"/>
                  </a:lnTo>
                  <a:lnTo>
                    <a:pt x="207" y="12"/>
                  </a:lnTo>
                  <a:lnTo>
                    <a:pt x="211" y="12"/>
                  </a:lnTo>
                  <a:lnTo>
                    <a:pt x="215" y="12"/>
                  </a:lnTo>
                  <a:lnTo>
                    <a:pt x="215" y="16"/>
                  </a:lnTo>
                  <a:lnTo>
                    <a:pt x="215" y="20"/>
                  </a:lnTo>
                  <a:lnTo>
                    <a:pt x="219" y="20"/>
                  </a:lnTo>
                  <a:lnTo>
                    <a:pt x="223" y="20"/>
                  </a:lnTo>
                  <a:lnTo>
                    <a:pt x="227" y="20"/>
                  </a:lnTo>
                  <a:lnTo>
                    <a:pt x="231" y="20"/>
                  </a:lnTo>
                  <a:lnTo>
                    <a:pt x="235" y="20"/>
                  </a:lnTo>
                  <a:lnTo>
                    <a:pt x="239" y="20"/>
                  </a:lnTo>
                  <a:lnTo>
                    <a:pt x="239" y="24"/>
                  </a:lnTo>
                  <a:lnTo>
                    <a:pt x="243" y="24"/>
                  </a:lnTo>
                  <a:lnTo>
                    <a:pt x="243" y="28"/>
                  </a:lnTo>
                  <a:lnTo>
                    <a:pt x="247" y="28"/>
                  </a:lnTo>
                  <a:lnTo>
                    <a:pt x="243" y="28"/>
                  </a:lnTo>
                  <a:lnTo>
                    <a:pt x="247" y="32"/>
                  </a:lnTo>
                  <a:lnTo>
                    <a:pt x="247" y="36"/>
                  </a:lnTo>
                  <a:lnTo>
                    <a:pt x="247" y="40"/>
                  </a:lnTo>
                  <a:lnTo>
                    <a:pt x="251" y="44"/>
                  </a:lnTo>
                  <a:lnTo>
                    <a:pt x="247" y="44"/>
                  </a:lnTo>
                  <a:lnTo>
                    <a:pt x="247" y="48"/>
                  </a:lnTo>
                  <a:lnTo>
                    <a:pt x="243" y="52"/>
                  </a:lnTo>
                  <a:lnTo>
                    <a:pt x="243" y="56"/>
                  </a:lnTo>
                  <a:lnTo>
                    <a:pt x="239" y="60"/>
                  </a:lnTo>
                  <a:lnTo>
                    <a:pt x="239" y="64"/>
                  </a:lnTo>
                  <a:lnTo>
                    <a:pt x="235" y="64"/>
                  </a:lnTo>
                  <a:lnTo>
                    <a:pt x="231" y="68"/>
                  </a:lnTo>
                  <a:lnTo>
                    <a:pt x="227" y="72"/>
                  </a:lnTo>
                  <a:lnTo>
                    <a:pt x="223" y="76"/>
                  </a:lnTo>
                  <a:lnTo>
                    <a:pt x="219" y="76"/>
                  </a:lnTo>
                  <a:lnTo>
                    <a:pt x="215" y="80"/>
                  </a:lnTo>
                  <a:lnTo>
                    <a:pt x="211" y="80"/>
                  </a:lnTo>
                  <a:lnTo>
                    <a:pt x="207" y="80"/>
                  </a:lnTo>
                  <a:lnTo>
                    <a:pt x="207" y="83"/>
                  </a:lnTo>
                  <a:lnTo>
                    <a:pt x="207" y="87"/>
                  </a:lnTo>
                  <a:lnTo>
                    <a:pt x="203" y="87"/>
                  </a:lnTo>
                  <a:lnTo>
                    <a:pt x="203" y="91"/>
                  </a:lnTo>
                  <a:lnTo>
                    <a:pt x="203" y="87"/>
                  </a:lnTo>
                  <a:lnTo>
                    <a:pt x="203" y="91"/>
                  </a:lnTo>
                  <a:lnTo>
                    <a:pt x="203" y="95"/>
                  </a:lnTo>
                  <a:lnTo>
                    <a:pt x="199" y="95"/>
                  </a:lnTo>
                  <a:lnTo>
                    <a:pt x="199" y="99"/>
                  </a:lnTo>
                  <a:lnTo>
                    <a:pt x="199" y="103"/>
                  </a:lnTo>
                  <a:lnTo>
                    <a:pt x="195" y="103"/>
                  </a:lnTo>
                  <a:lnTo>
                    <a:pt x="195" y="107"/>
                  </a:lnTo>
                  <a:lnTo>
                    <a:pt x="199" y="107"/>
                  </a:lnTo>
                  <a:lnTo>
                    <a:pt x="195" y="107"/>
                  </a:lnTo>
                  <a:lnTo>
                    <a:pt x="195" y="111"/>
                  </a:lnTo>
                  <a:lnTo>
                    <a:pt x="191" y="115"/>
                  </a:lnTo>
                  <a:lnTo>
                    <a:pt x="187" y="115"/>
                  </a:lnTo>
                  <a:lnTo>
                    <a:pt x="187" y="111"/>
                  </a:lnTo>
                  <a:lnTo>
                    <a:pt x="183" y="111"/>
                  </a:lnTo>
                  <a:close/>
                  <a:moveTo>
                    <a:pt x="20" y="40"/>
                  </a:moveTo>
                  <a:lnTo>
                    <a:pt x="16" y="40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4" y="40"/>
                  </a:lnTo>
                  <a:lnTo>
                    <a:pt x="20" y="40"/>
                  </a:lnTo>
                  <a:close/>
                  <a:moveTo>
                    <a:pt x="8" y="44"/>
                  </a:moveTo>
                  <a:lnTo>
                    <a:pt x="4" y="44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8" y="44"/>
                  </a:lnTo>
                  <a:close/>
                  <a:moveTo>
                    <a:pt x="16" y="32"/>
                  </a:moveTo>
                  <a:lnTo>
                    <a:pt x="12" y="32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32"/>
                  </a:lnTo>
                  <a:close/>
                  <a:moveTo>
                    <a:pt x="4" y="36"/>
                  </a:moveTo>
                  <a:lnTo>
                    <a:pt x="0" y="36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6"/>
                  </a:lnTo>
                  <a:close/>
                  <a:moveTo>
                    <a:pt x="32" y="44"/>
                  </a:moveTo>
                  <a:lnTo>
                    <a:pt x="32" y="40"/>
                  </a:lnTo>
                  <a:lnTo>
                    <a:pt x="36" y="40"/>
                  </a:lnTo>
                  <a:lnTo>
                    <a:pt x="36" y="44"/>
                  </a:lnTo>
                  <a:lnTo>
                    <a:pt x="32" y="44"/>
                  </a:lnTo>
                  <a:close/>
                  <a:moveTo>
                    <a:pt x="20" y="52"/>
                  </a:moveTo>
                  <a:lnTo>
                    <a:pt x="16" y="48"/>
                  </a:lnTo>
                  <a:lnTo>
                    <a:pt x="20" y="48"/>
                  </a:lnTo>
                  <a:lnTo>
                    <a:pt x="20" y="52"/>
                  </a:lnTo>
                  <a:close/>
                  <a:moveTo>
                    <a:pt x="175" y="80"/>
                  </a:moveTo>
                  <a:lnTo>
                    <a:pt x="171" y="80"/>
                  </a:lnTo>
                  <a:lnTo>
                    <a:pt x="171" y="76"/>
                  </a:lnTo>
                  <a:lnTo>
                    <a:pt x="175" y="76"/>
                  </a:lnTo>
                  <a:lnTo>
                    <a:pt x="179" y="76"/>
                  </a:lnTo>
                  <a:lnTo>
                    <a:pt x="175" y="8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6" name="Freeform 174"/>
            <p:cNvSpPr>
              <a:spLocks/>
            </p:cNvSpPr>
            <p:nvPr>
              <p:custDataLst>
                <p:tags r:id="rId368"/>
              </p:custDataLst>
            </p:nvPr>
          </p:nvSpPr>
          <p:spPr bwMode="gray">
            <a:xfrm>
              <a:off x="3151050" y="4438750"/>
              <a:ext cx="65255" cy="100848"/>
            </a:xfrm>
            <a:custGeom>
              <a:avLst/>
              <a:gdLst/>
              <a:ahLst/>
              <a:cxnLst>
                <a:cxn ang="0">
                  <a:pos x="0" y="60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8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32" y="16"/>
                </a:cxn>
                <a:cxn ang="0">
                  <a:pos x="40" y="20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40" y="28"/>
                </a:cxn>
                <a:cxn ang="0">
                  <a:pos x="40" y="24"/>
                </a:cxn>
                <a:cxn ang="0">
                  <a:pos x="40" y="24"/>
                </a:cxn>
                <a:cxn ang="0">
                  <a:pos x="40" y="24"/>
                </a:cxn>
                <a:cxn ang="0">
                  <a:pos x="40" y="20"/>
                </a:cxn>
                <a:cxn ang="0">
                  <a:pos x="44" y="24"/>
                </a:cxn>
                <a:cxn ang="0">
                  <a:pos x="44" y="24"/>
                </a:cxn>
                <a:cxn ang="0">
                  <a:pos x="44" y="28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0" y="36"/>
                </a:cxn>
                <a:cxn ang="0">
                  <a:pos x="40" y="40"/>
                </a:cxn>
                <a:cxn ang="0">
                  <a:pos x="36" y="44"/>
                </a:cxn>
                <a:cxn ang="0">
                  <a:pos x="36" y="48"/>
                </a:cxn>
                <a:cxn ang="0">
                  <a:pos x="32" y="48"/>
                </a:cxn>
                <a:cxn ang="0">
                  <a:pos x="32" y="52"/>
                </a:cxn>
                <a:cxn ang="0">
                  <a:pos x="32" y="56"/>
                </a:cxn>
                <a:cxn ang="0">
                  <a:pos x="32" y="60"/>
                </a:cxn>
                <a:cxn ang="0">
                  <a:pos x="28" y="64"/>
                </a:cxn>
                <a:cxn ang="0">
                  <a:pos x="24" y="64"/>
                </a:cxn>
                <a:cxn ang="0">
                  <a:pos x="24" y="64"/>
                </a:cxn>
                <a:cxn ang="0">
                  <a:pos x="20" y="64"/>
                </a:cxn>
                <a:cxn ang="0">
                  <a:pos x="20" y="64"/>
                </a:cxn>
                <a:cxn ang="0">
                  <a:pos x="20" y="64"/>
                </a:cxn>
                <a:cxn ang="0">
                  <a:pos x="16" y="64"/>
                </a:cxn>
                <a:cxn ang="0">
                  <a:pos x="12" y="64"/>
                </a:cxn>
                <a:cxn ang="0">
                  <a:pos x="8" y="64"/>
                </a:cxn>
                <a:cxn ang="0">
                  <a:pos x="8" y="68"/>
                </a:cxn>
                <a:cxn ang="0">
                  <a:pos x="0" y="64"/>
                </a:cxn>
                <a:cxn ang="0">
                  <a:pos x="0" y="64"/>
                </a:cxn>
              </a:cxnLst>
              <a:rect l="0" t="0" r="r" b="b"/>
              <a:pathLst>
                <a:path w="44" h="68">
                  <a:moveTo>
                    <a:pt x="0" y="64"/>
                  </a:moveTo>
                  <a:lnTo>
                    <a:pt x="0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7" name="Freeform 175"/>
            <p:cNvSpPr>
              <a:spLocks/>
            </p:cNvSpPr>
            <p:nvPr>
              <p:custDataLst>
                <p:tags r:id="rId369"/>
              </p:custDataLst>
            </p:nvPr>
          </p:nvSpPr>
          <p:spPr bwMode="gray">
            <a:xfrm>
              <a:off x="2996811" y="4361630"/>
              <a:ext cx="112713" cy="201697"/>
            </a:xfrm>
            <a:custGeom>
              <a:avLst/>
              <a:gdLst/>
              <a:ahLst/>
              <a:cxnLst>
                <a:cxn ang="0">
                  <a:pos x="52" y="36"/>
                </a:cxn>
                <a:cxn ang="0">
                  <a:pos x="56" y="40"/>
                </a:cxn>
                <a:cxn ang="0">
                  <a:pos x="60" y="44"/>
                </a:cxn>
                <a:cxn ang="0">
                  <a:pos x="64" y="48"/>
                </a:cxn>
                <a:cxn ang="0">
                  <a:pos x="64" y="60"/>
                </a:cxn>
                <a:cxn ang="0">
                  <a:pos x="64" y="64"/>
                </a:cxn>
                <a:cxn ang="0">
                  <a:pos x="60" y="64"/>
                </a:cxn>
                <a:cxn ang="0">
                  <a:pos x="56" y="68"/>
                </a:cxn>
                <a:cxn ang="0">
                  <a:pos x="52" y="72"/>
                </a:cxn>
                <a:cxn ang="0">
                  <a:pos x="52" y="80"/>
                </a:cxn>
                <a:cxn ang="0">
                  <a:pos x="52" y="84"/>
                </a:cxn>
                <a:cxn ang="0">
                  <a:pos x="52" y="88"/>
                </a:cxn>
                <a:cxn ang="0">
                  <a:pos x="56" y="92"/>
                </a:cxn>
                <a:cxn ang="0">
                  <a:pos x="56" y="96"/>
                </a:cxn>
                <a:cxn ang="0">
                  <a:pos x="64" y="100"/>
                </a:cxn>
                <a:cxn ang="0">
                  <a:pos x="64" y="104"/>
                </a:cxn>
                <a:cxn ang="0">
                  <a:pos x="68" y="116"/>
                </a:cxn>
                <a:cxn ang="0">
                  <a:pos x="76" y="124"/>
                </a:cxn>
                <a:cxn ang="0">
                  <a:pos x="72" y="124"/>
                </a:cxn>
                <a:cxn ang="0">
                  <a:pos x="64" y="120"/>
                </a:cxn>
                <a:cxn ang="0">
                  <a:pos x="64" y="120"/>
                </a:cxn>
                <a:cxn ang="0">
                  <a:pos x="60" y="128"/>
                </a:cxn>
                <a:cxn ang="0">
                  <a:pos x="56" y="128"/>
                </a:cxn>
                <a:cxn ang="0">
                  <a:pos x="48" y="132"/>
                </a:cxn>
                <a:cxn ang="0">
                  <a:pos x="44" y="132"/>
                </a:cxn>
                <a:cxn ang="0">
                  <a:pos x="40" y="136"/>
                </a:cxn>
                <a:cxn ang="0">
                  <a:pos x="36" y="136"/>
                </a:cxn>
                <a:cxn ang="0">
                  <a:pos x="32" y="128"/>
                </a:cxn>
                <a:cxn ang="0">
                  <a:pos x="28" y="124"/>
                </a:cxn>
                <a:cxn ang="0">
                  <a:pos x="24" y="116"/>
                </a:cxn>
                <a:cxn ang="0">
                  <a:pos x="24" y="112"/>
                </a:cxn>
                <a:cxn ang="0">
                  <a:pos x="20" y="104"/>
                </a:cxn>
                <a:cxn ang="0">
                  <a:pos x="24" y="96"/>
                </a:cxn>
                <a:cxn ang="0">
                  <a:pos x="28" y="88"/>
                </a:cxn>
                <a:cxn ang="0">
                  <a:pos x="28" y="76"/>
                </a:cxn>
                <a:cxn ang="0">
                  <a:pos x="20" y="76"/>
                </a:cxn>
                <a:cxn ang="0">
                  <a:pos x="20" y="72"/>
                </a:cxn>
                <a:cxn ang="0">
                  <a:pos x="20" y="64"/>
                </a:cxn>
                <a:cxn ang="0">
                  <a:pos x="16" y="64"/>
                </a:cxn>
                <a:cxn ang="0">
                  <a:pos x="12" y="64"/>
                </a:cxn>
                <a:cxn ang="0">
                  <a:pos x="0" y="48"/>
                </a:cxn>
                <a:cxn ang="0">
                  <a:pos x="4" y="44"/>
                </a:cxn>
                <a:cxn ang="0">
                  <a:pos x="4" y="36"/>
                </a:cxn>
                <a:cxn ang="0">
                  <a:pos x="12" y="36"/>
                </a:cxn>
                <a:cxn ang="0">
                  <a:pos x="12" y="32"/>
                </a:cxn>
                <a:cxn ang="0">
                  <a:pos x="16" y="28"/>
                </a:cxn>
                <a:cxn ang="0">
                  <a:pos x="12" y="28"/>
                </a:cxn>
                <a:cxn ang="0">
                  <a:pos x="12" y="24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20" y="12"/>
                </a:cxn>
                <a:cxn ang="0">
                  <a:pos x="24" y="8"/>
                </a:cxn>
                <a:cxn ang="0">
                  <a:pos x="20" y="0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6" y="12"/>
                </a:cxn>
                <a:cxn ang="0">
                  <a:pos x="40" y="20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4" y="40"/>
                </a:cxn>
                <a:cxn ang="0">
                  <a:pos x="44" y="36"/>
                </a:cxn>
                <a:cxn ang="0">
                  <a:pos x="48" y="32"/>
                </a:cxn>
              </a:cxnLst>
              <a:rect l="0" t="0" r="r" b="b"/>
              <a:pathLst>
                <a:path w="76" h="136">
                  <a:moveTo>
                    <a:pt x="48" y="32"/>
                  </a:move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0" y="60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2" y="72"/>
                  </a:lnTo>
                  <a:lnTo>
                    <a:pt x="52" y="76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8" y="112"/>
                  </a:lnTo>
                  <a:lnTo>
                    <a:pt x="68" y="112"/>
                  </a:lnTo>
                  <a:lnTo>
                    <a:pt x="68" y="116"/>
                  </a:lnTo>
                  <a:lnTo>
                    <a:pt x="68" y="116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68" y="124"/>
                  </a:lnTo>
                  <a:lnTo>
                    <a:pt x="68" y="124"/>
                  </a:lnTo>
                  <a:lnTo>
                    <a:pt x="68" y="124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24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0" y="120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60" y="128"/>
                  </a:lnTo>
                  <a:lnTo>
                    <a:pt x="60" y="128"/>
                  </a:lnTo>
                  <a:lnTo>
                    <a:pt x="60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2" y="128"/>
                  </a:lnTo>
                  <a:lnTo>
                    <a:pt x="52" y="128"/>
                  </a:lnTo>
                  <a:lnTo>
                    <a:pt x="52" y="128"/>
                  </a:lnTo>
                  <a:lnTo>
                    <a:pt x="52" y="132"/>
                  </a:lnTo>
                  <a:lnTo>
                    <a:pt x="48" y="132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6"/>
                  </a:lnTo>
                  <a:lnTo>
                    <a:pt x="44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32" y="132"/>
                  </a:lnTo>
                  <a:lnTo>
                    <a:pt x="32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4" y="124"/>
                  </a:lnTo>
                  <a:lnTo>
                    <a:pt x="24" y="124"/>
                  </a:lnTo>
                  <a:lnTo>
                    <a:pt x="24" y="124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0" y="112"/>
                  </a:lnTo>
                  <a:lnTo>
                    <a:pt x="20" y="108"/>
                  </a:lnTo>
                  <a:lnTo>
                    <a:pt x="20" y="104"/>
                  </a:lnTo>
                  <a:lnTo>
                    <a:pt x="20" y="104"/>
                  </a:lnTo>
                  <a:lnTo>
                    <a:pt x="20" y="104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4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16" y="60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4" y="56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8" name="Freeform 176"/>
            <p:cNvSpPr>
              <a:spLocks/>
            </p:cNvSpPr>
            <p:nvPr>
              <p:custDataLst>
                <p:tags r:id="rId370"/>
              </p:custDataLst>
            </p:nvPr>
          </p:nvSpPr>
          <p:spPr bwMode="gray">
            <a:xfrm>
              <a:off x="2967150" y="5125408"/>
              <a:ext cx="189832" cy="229874"/>
            </a:xfrm>
            <a:custGeom>
              <a:avLst/>
              <a:gdLst/>
              <a:ahLst/>
              <a:cxnLst>
                <a:cxn ang="0">
                  <a:pos x="72" y="108"/>
                </a:cxn>
                <a:cxn ang="0">
                  <a:pos x="68" y="108"/>
                </a:cxn>
                <a:cxn ang="0">
                  <a:pos x="60" y="104"/>
                </a:cxn>
                <a:cxn ang="0">
                  <a:pos x="52" y="96"/>
                </a:cxn>
                <a:cxn ang="0">
                  <a:pos x="40" y="88"/>
                </a:cxn>
                <a:cxn ang="0">
                  <a:pos x="36" y="88"/>
                </a:cxn>
                <a:cxn ang="0">
                  <a:pos x="28" y="84"/>
                </a:cxn>
                <a:cxn ang="0">
                  <a:pos x="20" y="76"/>
                </a:cxn>
                <a:cxn ang="0">
                  <a:pos x="16" y="72"/>
                </a:cxn>
                <a:cxn ang="0">
                  <a:pos x="12" y="68"/>
                </a:cxn>
                <a:cxn ang="0">
                  <a:pos x="8" y="60"/>
                </a:cxn>
                <a:cxn ang="0">
                  <a:pos x="0" y="56"/>
                </a:cxn>
                <a:cxn ang="0">
                  <a:pos x="4" y="40"/>
                </a:cxn>
                <a:cxn ang="0">
                  <a:pos x="8" y="20"/>
                </a:cxn>
                <a:cxn ang="0">
                  <a:pos x="20" y="4"/>
                </a:cxn>
                <a:cxn ang="0">
                  <a:pos x="40" y="0"/>
                </a:cxn>
                <a:cxn ang="0">
                  <a:pos x="68" y="8"/>
                </a:cxn>
                <a:cxn ang="0">
                  <a:pos x="68" y="16"/>
                </a:cxn>
                <a:cxn ang="0">
                  <a:pos x="72" y="24"/>
                </a:cxn>
                <a:cxn ang="0">
                  <a:pos x="72" y="40"/>
                </a:cxn>
                <a:cxn ang="0">
                  <a:pos x="72" y="52"/>
                </a:cxn>
                <a:cxn ang="0">
                  <a:pos x="76" y="52"/>
                </a:cxn>
                <a:cxn ang="0">
                  <a:pos x="84" y="56"/>
                </a:cxn>
                <a:cxn ang="0">
                  <a:pos x="92" y="56"/>
                </a:cxn>
                <a:cxn ang="0">
                  <a:pos x="96" y="52"/>
                </a:cxn>
                <a:cxn ang="0">
                  <a:pos x="100" y="56"/>
                </a:cxn>
                <a:cxn ang="0">
                  <a:pos x="104" y="60"/>
                </a:cxn>
                <a:cxn ang="0">
                  <a:pos x="108" y="60"/>
                </a:cxn>
                <a:cxn ang="0">
                  <a:pos x="108" y="72"/>
                </a:cxn>
                <a:cxn ang="0">
                  <a:pos x="108" y="80"/>
                </a:cxn>
                <a:cxn ang="0">
                  <a:pos x="112" y="88"/>
                </a:cxn>
                <a:cxn ang="0">
                  <a:pos x="116" y="88"/>
                </a:cxn>
                <a:cxn ang="0">
                  <a:pos x="128" y="88"/>
                </a:cxn>
                <a:cxn ang="0">
                  <a:pos x="128" y="92"/>
                </a:cxn>
                <a:cxn ang="0">
                  <a:pos x="128" y="96"/>
                </a:cxn>
                <a:cxn ang="0">
                  <a:pos x="128" y="100"/>
                </a:cxn>
                <a:cxn ang="0">
                  <a:pos x="124" y="112"/>
                </a:cxn>
                <a:cxn ang="0">
                  <a:pos x="124" y="116"/>
                </a:cxn>
                <a:cxn ang="0">
                  <a:pos x="124" y="132"/>
                </a:cxn>
                <a:cxn ang="0">
                  <a:pos x="120" y="139"/>
                </a:cxn>
                <a:cxn ang="0">
                  <a:pos x="116" y="143"/>
                </a:cxn>
                <a:cxn ang="0">
                  <a:pos x="108" y="147"/>
                </a:cxn>
                <a:cxn ang="0">
                  <a:pos x="108" y="155"/>
                </a:cxn>
                <a:cxn ang="0">
                  <a:pos x="104" y="151"/>
                </a:cxn>
                <a:cxn ang="0">
                  <a:pos x="96" y="155"/>
                </a:cxn>
                <a:cxn ang="0">
                  <a:pos x="96" y="155"/>
                </a:cxn>
                <a:cxn ang="0">
                  <a:pos x="92" y="155"/>
                </a:cxn>
                <a:cxn ang="0">
                  <a:pos x="88" y="155"/>
                </a:cxn>
                <a:cxn ang="0">
                  <a:pos x="84" y="155"/>
                </a:cxn>
                <a:cxn ang="0">
                  <a:pos x="80" y="155"/>
                </a:cxn>
                <a:cxn ang="0">
                  <a:pos x="76" y="151"/>
                </a:cxn>
                <a:cxn ang="0">
                  <a:pos x="64" y="151"/>
                </a:cxn>
                <a:cxn ang="0">
                  <a:pos x="60" y="147"/>
                </a:cxn>
                <a:cxn ang="0">
                  <a:pos x="68" y="143"/>
                </a:cxn>
                <a:cxn ang="0">
                  <a:pos x="68" y="132"/>
                </a:cxn>
                <a:cxn ang="0">
                  <a:pos x="72" y="124"/>
                </a:cxn>
                <a:cxn ang="0">
                  <a:pos x="80" y="116"/>
                </a:cxn>
              </a:cxnLst>
              <a:rect l="0" t="0" r="r" b="b"/>
              <a:pathLst>
                <a:path w="128" h="155">
                  <a:moveTo>
                    <a:pt x="76" y="112"/>
                  </a:moveTo>
                  <a:lnTo>
                    <a:pt x="76" y="112"/>
                  </a:lnTo>
                  <a:lnTo>
                    <a:pt x="76" y="112"/>
                  </a:lnTo>
                  <a:lnTo>
                    <a:pt x="76" y="112"/>
                  </a:lnTo>
                  <a:lnTo>
                    <a:pt x="76" y="112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2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6" y="32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8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6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12" y="80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20" y="88"/>
                  </a:lnTo>
                  <a:lnTo>
                    <a:pt x="120" y="88"/>
                  </a:lnTo>
                  <a:lnTo>
                    <a:pt x="120" y="88"/>
                  </a:lnTo>
                  <a:lnTo>
                    <a:pt x="124" y="84"/>
                  </a:lnTo>
                  <a:lnTo>
                    <a:pt x="124" y="84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4"/>
                  </a:lnTo>
                  <a:lnTo>
                    <a:pt x="128" y="104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6"/>
                  </a:lnTo>
                  <a:lnTo>
                    <a:pt x="124" y="116"/>
                  </a:lnTo>
                  <a:lnTo>
                    <a:pt x="124" y="116"/>
                  </a:lnTo>
                  <a:lnTo>
                    <a:pt x="124" y="120"/>
                  </a:lnTo>
                  <a:lnTo>
                    <a:pt x="124" y="120"/>
                  </a:lnTo>
                  <a:lnTo>
                    <a:pt x="124" y="124"/>
                  </a:lnTo>
                  <a:lnTo>
                    <a:pt x="124" y="124"/>
                  </a:lnTo>
                  <a:lnTo>
                    <a:pt x="124" y="128"/>
                  </a:lnTo>
                  <a:lnTo>
                    <a:pt x="124" y="128"/>
                  </a:lnTo>
                  <a:lnTo>
                    <a:pt x="124" y="132"/>
                  </a:lnTo>
                  <a:lnTo>
                    <a:pt x="124" y="132"/>
                  </a:lnTo>
                  <a:lnTo>
                    <a:pt x="124" y="132"/>
                  </a:lnTo>
                  <a:lnTo>
                    <a:pt x="124" y="132"/>
                  </a:lnTo>
                  <a:lnTo>
                    <a:pt x="120" y="135"/>
                  </a:lnTo>
                  <a:lnTo>
                    <a:pt x="120" y="139"/>
                  </a:lnTo>
                  <a:lnTo>
                    <a:pt x="120" y="139"/>
                  </a:lnTo>
                  <a:lnTo>
                    <a:pt x="120" y="139"/>
                  </a:lnTo>
                  <a:lnTo>
                    <a:pt x="120" y="139"/>
                  </a:lnTo>
                  <a:lnTo>
                    <a:pt x="120" y="139"/>
                  </a:lnTo>
                  <a:lnTo>
                    <a:pt x="116" y="139"/>
                  </a:lnTo>
                  <a:lnTo>
                    <a:pt x="116" y="139"/>
                  </a:lnTo>
                  <a:lnTo>
                    <a:pt x="116" y="143"/>
                  </a:lnTo>
                  <a:lnTo>
                    <a:pt x="116" y="143"/>
                  </a:lnTo>
                  <a:lnTo>
                    <a:pt x="116" y="143"/>
                  </a:lnTo>
                  <a:lnTo>
                    <a:pt x="116" y="143"/>
                  </a:lnTo>
                  <a:lnTo>
                    <a:pt x="112" y="143"/>
                  </a:lnTo>
                  <a:lnTo>
                    <a:pt x="112" y="143"/>
                  </a:lnTo>
                  <a:lnTo>
                    <a:pt x="112" y="143"/>
                  </a:lnTo>
                  <a:lnTo>
                    <a:pt x="112" y="143"/>
                  </a:lnTo>
                  <a:lnTo>
                    <a:pt x="112" y="143"/>
                  </a:lnTo>
                  <a:lnTo>
                    <a:pt x="108" y="147"/>
                  </a:lnTo>
                  <a:lnTo>
                    <a:pt x="108" y="147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5"/>
                  </a:lnTo>
                  <a:lnTo>
                    <a:pt x="104" y="155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0" y="151"/>
                  </a:lnTo>
                  <a:lnTo>
                    <a:pt x="100" y="151"/>
                  </a:lnTo>
                  <a:lnTo>
                    <a:pt x="100" y="151"/>
                  </a:lnTo>
                  <a:lnTo>
                    <a:pt x="100" y="151"/>
                  </a:lnTo>
                  <a:lnTo>
                    <a:pt x="96" y="151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68" y="151"/>
                  </a:lnTo>
                  <a:lnTo>
                    <a:pt x="68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0" y="147"/>
                  </a:lnTo>
                  <a:lnTo>
                    <a:pt x="60" y="147"/>
                  </a:lnTo>
                  <a:lnTo>
                    <a:pt x="64" y="147"/>
                  </a:lnTo>
                  <a:lnTo>
                    <a:pt x="64" y="147"/>
                  </a:lnTo>
                  <a:lnTo>
                    <a:pt x="64" y="147"/>
                  </a:lnTo>
                  <a:lnTo>
                    <a:pt x="64" y="143"/>
                  </a:lnTo>
                  <a:lnTo>
                    <a:pt x="64" y="143"/>
                  </a:lnTo>
                  <a:lnTo>
                    <a:pt x="68" y="143"/>
                  </a:lnTo>
                  <a:lnTo>
                    <a:pt x="68" y="143"/>
                  </a:lnTo>
                  <a:lnTo>
                    <a:pt x="68" y="139"/>
                  </a:lnTo>
                  <a:lnTo>
                    <a:pt x="68" y="139"/>
                  </a:lnTo>
                  <a:lnTo>
                    <a:pt x="68" y="135"/>
                  </a:lnTo>
                  <a:lnTo>
                    <a:pt x="68" y="135"/>
                  </a:lnTo>
                  <a:lnTo>
                    <a:pt x="68" y="135"/>
                  </a:lnTo>
                  <a:lnTo>
                    <a:pt x="68" y="132"/>
                  </a:lnTo>
                  <a:lnTo>
                    <a:pt x="68" y="132"/>
                  </a:lnTo>
                  <a:lnTo>
                    <a:pt x="68" y="132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6" y="120"/>
                  </a:lnTo>
                  <a:lnTo>
                    <a:pt x="80" y="120"/>
                  </a:lnTo>
                  <a:lnTo>
                    <a:pt x="80" y="116"/>
                  </a:lnTo>
                  <a:lnTo>
                    <a:pt x="80" y="116"/>
                  </a:lnTo>
                  <a:lnTo>
                    <a:pt x="76" y="116"/>
                  </a:lnTo>
                  <a:lnTo>
                    <a:pt x="76" y="116"/>
                  </a:lnTo>
                  <a:lnTo>
                    <a:pt x="76" y="112"/>
                  </a:lnTo>
                  <a:lnTo>
                    <a:pt x="76" y="1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9" name="Freeform 177"/>
            <p:cNvSpPr>
              <a:spLocks/>
            </p:cNvSpPr>
            <p:nvPr>
              <p:custDataLst>
                <p:tags r:id="rId371"/>
              </p:custDataLst>
            </p:nvPr>
          </p:nvSpPr>
          <p:spPr bwMode="gray">
            <a:xfrm>
              <a:off x="2547443" y="4598921"/>
              <a:ext cx="284748" cy="496826"/>
            </a:xfrm>
            <a:custGeom>
              <a:avLst/>
              <a:gdLst/>
              <a:ahLst/>
              <a:cxnLst>
                <a:cxn ang="0">
                  <a:pos x="176" y="331"/>
                </a:cxn>
                <a:cxn ang="0">
                  <a:pos x="164" y="331"/>
                </a:cxn>
                <a:cxn ang="0">
                  <a:pos x="152" y="319"/>
                </a:cxn>
                <a:cxn ang="0">
                  <a:pos x="140" y="311"/>
                </a:cxn>
                <a:cxn ang="0">
                  <a:pos x="128" y="303"/>
                </a:cxn>
                <a:cxn ang="0">
                  <a:pos x="112" y="295"/>
                </a:cxn>
                <a:cxn ang="0">
                  <a:pos x="100" y="283"/>
                </a:cxn>
                <a:cxn ang="0">
                  <a:pos x="88" y="271"/>
                </a:cxn>
                <a:cxn ang="0">
                  <a:pos x="80" y="255"/>
                </a:cxn>
                <a:cxn ang="0">
                  <a:pos x="80" y="247"/>
                </a:cxn>
                <a:cxn ang="0">
                  <a:pos x="72" y="227"/>
                </a:cxn>
                <a:cxn ang="0">
                  <a:pos x="64" y="215"/>
                </a:cxn>
                <a:cxn ang="0">
                  <a:pos x="56" y="199"/>
                </a:cxn>
                <a:cxn ang="0">
                  <a:pos x="48" y="179"/>
                </a:cxn>
                <a:cxn ang="0">
                  <a:pos x="40" y="163"/>
                </a:cxn>
                <a:cxn ang="0">
                  <a:pos x="36" y="147"/>
                </a:cxn>
                <a:cxn ang="0">
                  <a:pos x="28" y="135"/>
                </a:cxn>
                <a:cxn ang="0">
                  <a:pos x="20" y="123"/>
                </a:cxn>
                <a:cxn ang="0">
                  <a:pos x="12" y="111"/>
                </a:cxn>
                <a:cxn ang="0">
                  <a:pos x="8" y="103"/>
                </a:cxn>
                <a:cxn ang="0">
                  <a:pos x="4" y="87"/>
                </a:cxn>
                <a:cxn ang="0">
                  <a:pos x="4" y="71"/>
                </a:cxn>
                <a:cxn ang="0">
                  <a:pos x="16" y="59"/>
                </a:cxn>
                <a:cxn ang="0">
                  <a:pos x="16" y="79"/>
                </a:cxn>
                <a:cxn ang="0">
                  <a:pos x="28" y="79"/>
                </a:cxn>
                <a:cxn ang="0">
                  <a:pos x="40" y="83"/>
                </a:cxn>
                <a:cxn ang="0">
                  <a:pos x="44" y="75"/>
                </a:cxn>
                <a:cxn ang="0">
                  <a:pos x="48" y="59"/>
                </a:cxn>
                <a:cxn ang="0">
                  <a:pos x="52" y="52"/>
                </a:cxn>
                <a:cxn ang="0">
                  <a:pos x="72" y="44"/>
                </a:cxn>
                <a:cxn ang="0">
                  <a:pos x="88" y="28"/>
                </a:cxn>
                <a:cxn ang="0">
                  <a:pos x="92" y="12"/>
                </a:cxn>
                <a:cxn ang="0">
                  <a:pos x="96" y="0"/>
                </a:cxn>
                <a:cxn ang="0">
                  <a:pos x="104" y="4"/>
                </a:cxn>
                <a:cxn ang="0">
                  <a:pos x="116" y="20"/>
                </a:cxn>
                <a:cxn ang="0">
                  <a:pos x="128" y="32"/>
                </a:cxn>
                <a:cxn ang="0">
                  <a:pos x="128" y="44"/>
                </a:cxn>
                <a:cxn ang="0">
                  <a:pos x="140" y="44"/>
                </a:cxn>
                <a:cxn ang="0">
                  <a:pos x="152" y="40"/>
                </a:cxn>
                <a:cxn ang="0">
                  <a:pos x="168" y="44"/>
                </a:cxn>
                <a:cxn ang="0">
                  <a:pos x="164" y="67"/>
                </a:cxn>
                <a:cxn ang="0">
                  <a:pos x="172" y="75"/>
                </a:cxn>
                <a:cxn ang="0">
                  <a:pos x="160" y="75"/>
                </a:cxn>
                <a:cxn ang="0">
                  <a:pos x="148" y="79"/>
                </a:cxn>
                <a:cxn ang="0">
                  <a:pos x="136" y="87"/>
                </a:cxn>
                <a:cxn ang="0">
                  <a:pos x="128" y="103"/>
                </a:cxn>
                <a:cxn ang="0">
                  <a:pos x="124" y="115"/>
                </a:cxn>
                <a:cxn ang="0">
                  <a:pos x="116" y="131"/>
                </a:cxn>
                <a:cxn ang="0">
                  <a:pos x="120" y="143"/>
                </a:cxn>
                <a:cxn ang="0">
                  <a:pos x="128" y="159"/>
                </a:cxn>
                <a:cxn ang="0">
                  <a:pos x="128" y="171"/>
                </a:cxn>
                <a:cxn ang="0">
                  <a:pos x="140" y="179"/>
                </a:cxn>
                <a:cxn ang="0">
                  <a:pos x="160" y="179"/>
                </a:cxn>
                <a:cxn ang="0">
                  <a:pos x="164" y="183"/>
                </a:cxn>
                <a:cxn ang="0">
                  <a:pos x="168" y="199"/>
                </a:cxn>
                <a:cxn ang="0">
                  <a:pos x="184" y="207"/>
                </a:cxn>
                <a:cxn ang="0">
                  <a:pos x="192" y="223"/>
                </a:cxn>
                <a:cxn ang="0">
                  <a:pos x="188" y="239"/>
                </a:cxn>
                <a:cxn ang="0">
                  <a:pos x="192" y="255"/>
                </a:cxn>
                <a:cxn ang="0">
                  <a:pos x="184" y="271"/>
                </a:cxn>
                <a:cxn ang="0">
                  <a:pos x="184" y="283"/>
                </a:cxn>
                <a:cxn ang="0">
                  <a:pos x="188" y="299"/>
                </a:cxn>
                <a:cxn ang="0">
                  <a:pos x="180" y="311"/>
                </a:cxn>
              </a:cxnLst>
              <a:rect l="0" t="0" r="r" b="b"/>
              <a:pathLst>
                <a:path w="192" h="335">
                  <a:moveTo>
                    <a:pt x="180" y="319"/>
                  </a:moveTo>
                  <a:lnTo>
                    <a:pt x="180" y="323"/>
                  </a:lnTo>
                  <a:lnTo>
                    <a:pt x="176" y="323"/>
                  </a:lnTo>
                  <a:lnTo>
                    <a:pt x="176" y="327"/>
                  </a:lnTo>
                  <a:lnTo>
                    <a:pt x="176" y="331"/>
                  </a:lnTo>
                  <a:lnTo>
                    <a:pt x="176" y="335"/>
                  </a:lnTo>
                  <a:lnTo>
                    <a:pt x="172" y="335"/>
                  </a:lnTo>
                  <a:lnTo>
                    <a:pt x="168" y="335"/>
                  </a:lnTo>
                  <a:lnTo>
                    <a:pt x="164" y="335"/>
                  </a:lnTo>
                  <a:lnTo>
                    <a:pt x="164" y="331"/>
                  </a:lnTo>
                  <a:lnTo>
                    <a:pt x="160" y="331"/>
                  </a:lnTo>
                  <a:lnTo>
                    <a:pt x="160" y="327"/>
                  </a:lnTo>
                  <a:lnTo>
                    <a:pt x="156" y="327"/>
                  </a:lnTo>
                  <a:lnTo>
                    <a:pt x="152" y="323"/>
                  </a:lnTo>
                  <a:lnTo>
                    <a:pt x="152" y="319"/>
                  </a:lnTo>
                  <a:lnTo>
                    <a:pt x="152" y="315"/>
                  </a:lnTo>
                  <a:lnTo>
                    <a:pt x="148" y="315"/>
                  </a:lnTo>
                  <a:lnTo>
                    <a:pt x="144" y="315"/>
                  </a:lnTo>
                  <a:lnTo>
                    <a:pt x="144" y="311"/>
                  </a:lnTo>
                  <a:lnTo>
                    <a:pt x="140" y="311"/>
                  </a:lnTo>
                  <a:lnTo>
                    <a:pt x="140" y="307"/>
                  </a:lnTo>
                  <a:lnTo>
                    <a:pt x="136" y="307"/>
                  </a:lnTo>
                  <a:lnTo>
                    <a:pt x="136" y="303"/>
                  </a:lnTo>
                  <a:lnTo>
                    <a:pt x="132" y="303"/>
                  </a:lnTo>
                  <a:lnTo>
                    <a:pt x="128" y="303"/>
                  </a:lnTo>
                  <a:lnTo>
                    <a:pt x="124" y="299"/>
                  </a:lnTo>
                  <a:lnTo>
                    <a:pt x="120" y="299"/>
                  </a:lnTo>
                  <a:lnTo>
                    <a:pt x="120" y="295"/>
                  </a:lnTo>
                  <a:lnTo>
                    <a:pt x="116" y="295"/>
                  </a:lnTo>
                  <a:lnTo>
                    <a:pt x="112" y="295"/>
                  </a:lnTo>
                  <a:lnTo>
                    <a:pt x="112" y="291"/>
                  </a:lnTo>
                  <a:lnTo>
                    <a:pt x="108" y="291"/>
                  </a:lnTo>
                  <a:lnTo>
                    <a:pt x="108" y="287"/>
                  </a:lnTo>
                  <a:lnTo>
                    <a:pt x="104" y="287"/>
                  </a:lnTo>
                  <a:lnTo>
                    <a:pt x="100" y="283"/>
                  </a:lnTo>
                  <a:lnTo>
                    <a:pt x="96" y="283"/>
                  </a:lnTo>
                  <a:lnTo>
                    <a:pt x="96" y="279"/>
                  </a:lnTo>
                  <a:lnTo>
                    <a:pt x="92" y="279"/>
                  </a:lnTo>
                  <a:lnTo>
                    <a:pt x="92" y="275"/>
                  </a:lnTo>
                  <a:lnTo>
                    <a:pt x="88" y="271"/>
                  </a:lnTo>
                  <a:lnTo>
                    <a:pt x="84" y="267"/>
                  </a:lnTo>
                  <a:lnTo>
                    <a:pt x="84" y="263"/>
                  </a:lnTo>
                  <a:lnTo>
                    <a:pt x="80" y="263"/>
                  </a:lnTo>
                  <a:lnTo>
                    <a:pt x="80" y="259"/>
                  </a:lnTo>
                  <a:lnTo>
                    <a:pt x="80" y="255"/>
                  </a:lnTo>
                  <a:lnTo>
                    <a:pt x="76" y="251"/>
                  </a:lnTo>
                  <a:lnTo>
                    <a:pt x="76" y="255"/>
                  </a:lnTo>
                  <a:lnTo>
                    <a:pt x="76" y="251"/>
                  </a:lnTo>
                  <a:lnTo>
                    <a:pt x="80" y="251"/>
                  </a:lnTo>
                  <a:lnTo>
                    <a:pt x="80" y="247"/>
                  </a:lnTo>
                  <a:lnTo>
                    <a:pt x="80" y="243"/>
                  </a:lnTo>
                  <a:lnTo>
                    <a:pt x="76" y="239"/>
                  </a:lnTo>
                  <a:lnTo>
                    <a:pt x="76" y="235"/>
                  </a:lnTo>
                  <a:lnTo>
                    <a:pt x="72" y="231"/>
                  </a:lnTo>
                  <a:lnTo>
                    <a:pt x="72" y="227"/>
                  </a:lnTo>
                  <a:lnTo>
                    <a:pt x="72" y="223"/>
                  </a:lnTo>
                  <a:lnTo>
                    <a:pt x="68" y="223"/>
                  </a:lnTo>
                  <a:lnTo>
                    <a:pt x="68" y="219"/>
                  </a:lnTo>
                  <a:lnTo>
                    <a:pt x="64" y="219"/>
                  </a:lnTo>
                  <a:lnTo>
                    <a:pt x="64" y="215"/>
                  </a:lnTo>
                  <a:lnTo>
                    <a:pt x="64" y="211"/>
                  </a:lnTo>
                  <a:lnTo>
                    <a:pt x="64" y="207"/>
                  </a:lnTo>
                  <a:lnTo>
                    <a:pt x="60" y="207"/>
                  </a:lnTo>
                  <a:lnTo>
                    <a:pt x="56" y="203"/>
                  </a:lnTo>
                  <a:lnTo>
                    <a:pt x="56" y="199"/>
                  </a:lnTo>
                  <a:lnTo>
                    <a:pt x="56" y="195"/>
                  </a:lnTo>
                  <a:lnTo>
                    <a:pt x="52" y="191"/>
                  </a:lnTo>
                  <a:lnTo>
                    <a:pt x="52" y="187"/>
                  </a:lnTo>
                  <a:lnTo>
                    <a:pt x="48" y="183"/>
                  </a:lnTo>
                  <a:lnTo>
                    <a:pt x="48" y="179"/>
                  </a:lnTo>
                  <a:lnTo>
                    <a:pt x="48" y="175"/>
                  </a:lnTo>
                  <a:lnTo>
                    <a:pt x="44" y="171"/>
                  </a:lnTo>
                  <a:lnTo>
                    <a:pt x="44" y="167"/>
                  </a:lnTo>
                  <a:lnTo>
                    <a:pt x="44" y="163"/>
                  </a:lnTo>
                  <a:lnTo>
                    <a:pt x="40" y="163"/>
                  </a:lnTo>
                  <a:lnTo>
                    <a:pt x="40" y="159"/>
                  </a:lnTo>
                  <a:lnTo>
                    <a:pt x="40" y="155"/>
                  </a:lnTo>
                  <a:lnTo>
                    <a:pt x="36" y="151"/>
                  </a:lnTo>
                  <a:lnTo>
                    <a:pt x="40" y="151"/>
                  </a:lnTo>
                  <a:lnTo>
                    <a:pt x="36" y="147"/>
                  </a:lnTo>
                  <a:lnTo>
                    <a:pt x="36" y="143"/>
                  </a:lnTo>
                  <a:lnTo>
                    <a:pt x="32" y="143"/>
                  </a:lnTo>
                  <a:lnTo>
                    <a:pt x="32" y="139"/>
                  </a:lnTo>
                  <a:lnTo>
                    <a:pt x="28" y="139"/>
                  </a:lnTo>
                  <a:lnTo>
                    <a:pt x="28" y="135"/>
                  </a:lnTo>
                  <a:lnTo>
                    <a:pt x="28" y="131"/>
                  </a:lnTo>
                  <a:lnTo>
                    <a:pt x="28" y="127"/>
                  </a:lnTo>
                  <a:lnTo>
                    <a:pt x="24" y="127"/>
                  </a:lnTo>
                  <a:lnTo>
                    <a:pt x="24" y="123"/>
                  </a:lnTo>
                  <a:lnTo>
                    <a:pt x="20" y="123"/>
                  </a:lnTo>
                  <a:lnTo>
                    <a:pt x="20" y="119"/>
                  </a:lnTo>
                  <a:lnTo>
                    <a:pt x="16" y="119"/>
                  </a:lnTo>
                  <a:lnTo>
                    <a:pt x="16" y="115"/>
                  </a:lnTo>
                  <a:lnTo>
                    <a:pt x="12" y="115"/>
                  </a:lnTo>
                  <a:lnTo>
                    <a:pt x="12" y="111"/>
                  </a:lnTo>
                  <a:lnTo>
                    <a:pt x="8" y="111"/>
                  </a:lnTo>
                  <a:lnTo>
                    <a:pt x="4" y="111"/>
                  </a:lnTo>
                  <a:lnTo>
                    <a:pt x="4" y="107"/>
                  </a:lnTo>
                  <a:lnTo>
                    <a:pt x="4" y="103"/>
                  </a:lnTo>
                  <a:lnTo>
                    <a:pt x="8" y="103"/>
                  </a:lnTo>
                  <a:lnTo>
                    <a:pt x="8" y="99"/>
                  </a:lnTo>
                  <a:lnTo>
                    <a:pt x="8" y="95"/>
                  </a:lnTo>
                  <a:lnTo>
                    <a:pt x="4" y="95"/>
                  </a:lnTo>
                  <a:lnTo>
                    <a:pt x="4" y="91"/>
                  </a:lnTo>
                  <a:lnTo>
                    <a:pt x="4" y="87"/>
                  </a:lnTo>
                  <a:lnTo>
                    <a:pt x="0" y="83"/>
                  </a:lnTo>
                  <a:lnTo>
                    <a:pt x="0" y="79"/>
                  </a:lnTo>
                  <a:lnTo>
                    <a:pt x="4" y="79"/>
                  </a:lnTo>
                  <a:lnTo>
                    <a:pt x="4" y="75"/>
                  </a:lnTo>
                  <a:lnTo>
                    <a:pt x="4" y="71"/>
                  </a:lnTo>
                  <a:lnTo>
                    <a:pt x="8" y="71"/>
                  </a:lnTo>
                  <a:lnTo>
                    <a:pt x="8" y="67"/>
                  </a:lnTo>
                  <a:lnTo>
                    <a:pt x="12" y="63"/>
                  </a:lnTo>
                  <a:lnTo>
                    <a:pt x="16" y="63"/>
                  </a:lnTo>
                  <a:lnTo>
                    <a:pt x="16" y="59"/>
                  </a:lnTo>
                  <a:lnTo>
                    <a:pt x="20" y="63"/>
                  </a:lnTo>
                  <a:lnTo>
                    <a:pt x="20" y="67"/>
                  </a:lnTo>
                  <a:lnTo>
                    <a:pt x="16" y="71"/>
                  </a:lnTo>
                  <a:lnTo>
                    <a:pt x="16" y="75"/>
                  </a:lnTo>
                  <a:lnTo>
                    <a:pt x="16" y="79"/>
                  </a:lnTo>
                  <a:lnTo>
                    <a:pt x="20" y="79"/>
                  </a:lnTo>
                  <a:lnTo>
                    <a:pt x="20" y="75"/>
                  </a:lnTo>
                  <a:lnTo>
                    <a:pt x="20" y="79"/>
                  </a:lnTo>
                  <a:lnTo>
                    <a:pt x="24" y="79"/>
                  </a:lnTo>
                  <a:lnTo>
                    <a:pt x="28" y="79"/>
                  </a:lnTo>
                  <a:lnTo>
                    <a:pt x="28" y="83"/>
                  </a:lnTo>
                  <a:lnTo>
                    <a:pt x="32" y="83"/>
                  </a:lnTo>
                  <a:lnTo>
                    <a:pt x="32" y="87"/>
                  </a:lnTo>
                  <a:lnTo>
                    <a:pt x="36" y="87"/>
                  </a:lnTo>
                  <a:lnTo>
                    <a:pt x="40" y="83"/>
                  </a:lnTo>
                  <a:lnTo>
                    <a:pt x="40" y="79"/>
                  </a:lnTo>
                  <a:lnTo>
                    <a:pt x="44" y="79"/>
                  </a:lnTo>
                  <a:lnTo>
                    <a:pt x="40" y="79"/>
                  </a:lnTo>
                  <a:lnTo>
                    <a:pt x="40" y="75"/>
                  </a:lnTo>
                  <a:lnTo>
                    <a:pt x="44" y="75"/>
                  </a:lnTo>
                  <a:lnTo>
                    <a:pt x="44" y="71"/>
                  </a:lnTo>
                  <a:lnTo>
                    <a:pt x="44" y="67"/>
                  </a:lnTo>
                  <a:lnTo>
                    <a:pt x="48" y="67"/>
                  </a:lnTo>
                  <a:lnTo>
                    <a:pt x="48" y="63"/>
                  </a:lnTo>
                  <a:lnTo>
                    <a:pt x="48" y="59"/>
                  </a:lnTo>
                  <a:lnTo>
                    <a:pt x="48" y="63"/>
                  </a:lnTo>
                  <a:lnTo>
                    <a:pt x="48" y="59"/>
                  </a:lnTo>
                  <a:lnTo>
                    <a:pt x="52" y="59"/>
                  </a:lnTo>
                  <a:lnTo>
                    <a:pt x="52" y="55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60" y="52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72" y="44"/>
                  </a:lnTo>
                  <a:lnTo>
                    <a:pt x="76" y="40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32"/>
                  </a:lnTo>
                  <a:lnTo>
                    <a:pt x="88" y="28"/>
                  </a:lnTo>
                  <a:lnTo>
                    <a:pt x="88" y="24"/>
                  </a:lnTo>
                  <a:lnTo>
                    <a:pt x="92" y="20"/>
                  </a:lnTo>
                  <a:lnTo>
                    <a:pt x="92" y="16"/>
                  </a:lnTo>
                  <a:lnTo>
                    <a:pt x="96" y="16"/>
                  </a:lnTo>
                  <a:lnTo>
                    <a:pt x="92" y="12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6" y="0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4" y="4"/>
                  </a:lnTo>
                  <a:lnTo>
                    <a:pt x="108" y="8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6" y="20"/>
                  </a:lnTo>
                  <a:lnTo>
                    <a:pt x="120" y="24"/>
                  </a:lnTo>
                  <a:lnTo>
                    <a:pt x="120" y="28"/>
                  </a:lnTo>
                  <a:lnTo>
                    <a:pt x="120" y="32"/>
                  </a:lnTo>
                  <a:lnTo>
                    <a:pt x="124" y="32"/>
                  </a:lnTo>
                  <a:lnTo>
                    <a:pt x="128" y="32"/>
                  </a:lnTo>
                  <a:lnTo>
                    <a:pt x="128" y="36"/>
                  </a:lnTo>
                  <a:lnTo>
                    <a:pt x="128" y="40"/>
                  </a:lnTo>
                  <a:lnTo>
                    <a:pt x="124" y="40"/>
                  </a:lnTo>
                  <a:lnTo>
                    <a:pt x="128" y="40"/>
                  </a:lnTo>
                  <a:lnTo>
                    <a:pt x="128" y="44"/>
                  </a:lnTo>
                  <a:lnTo>
                    <a:pt x="128" y="40"/>
                  </a:lnTo>
                  <a:lnTo>
                    <a:pt x="128" y="44"/>
                  </a:lnTo>
                  <a:lnTo>
                    <a:pt x="132" y="44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4" y="44"/>
                  </a:lnTo>
                  <a:lnTo>
                    <a:pt x="144" y="40"/>
                  </a:lnTo>
                  <a:lnTo>
                    <a:pt x="148" y="36"/>
                  </a:lnTo>
                  <a:lnTo>
                    <a:pt x="148" y="40"/>
                  </a:lnTo>
                  <a:lnTo>
                    <a:pt x="152" y="40"/>
                  </a:lnTo>
                  <a:lnTo>
                    <a:pt x="156" y="40"/>
                  </a:lnTo>
                  <a:lnTo>
                    <a:pt x="160" y="40"/>
                  </a:lnTo>
                  <a:lnTo>
                    <a:pt x="164" y="40"/>
                  </a:lnTo>
                  <a:lnTo>
                    <a:pt x="164" y="44"/>
                  </a:lnTo>
                  <a:lnTo>
                    <a:pt x="168" y="44"/>
                  </a:lnTo>
                  <a:lnTo>
                    <a:pt x="172" y="44"/>
                  </a:lnTo>
                  <a:lnTo>
                    <a:pt x="172" y="48"/>
                  </a:lnTo>
                  <a:lnTo>
                    <a:pt x="168" y="59"/>
                  </a:lnTo>
                  <a:lnTo>
                    <a:pt x="164" y="63"/>
                  </a:lnTo>
                  <a:lnTo>
                    <a:pt x="164" y="67"/>
                  </a:lnTo>
                  <a:lnTo>
                    <a:pt x="168" y="67"/>
                  </a:lnTo>
                  <a:lnTo>
                    <a:pt x="172" y="71"/>
                  </a:lnTo>
                  <a:lnTo>
                    <a:pt x="172" y="75"/>
                  </a:lnTo>
                  <a:lnTo>
                    <a:pt x="176" y="75"/>
                  </a:lnTo>
                  <a:lnTo>
                    <a:pt x="172" y="75"/>
                  </a:lnTo>
                  <a:lnTo>
                    <a:pt x="168" y="75"/>
                  </a:lnTo>
                  <a:lnTo>
                    <a:pt x="168" y="71"/>
                  </a:lnTo>
                  <a:lnTo>
                    <a:pt x="168" y="75"/>
                  </a:lnTo>
                  <a:lnTo>
                    <a:pt x="164" y="75"/>
                  </a:lnTo>
                  <a:lnTo>
                    <a:pt x="160" y="75"/>
                  </a:lnTo>
                  <a:lnTo>
                    <a:pt x="160" y="79"/>
                  </a:lnTo>
                  <a:lnTo>
                    <a:pt x="156" y="79"/>
                  </a:lnTo>
                  <a:lnTo>
                    <a:pt x="156" y="75"/>
                  </a:lnTo>
                  <a:lnTo>
                    <a:pt x="152" y="79"/>
                  </a:lnTo>
                  <a:lnTo>
                    <a:pt x="148" y="79"/>
                  </a:lnTo>
                  <a:lnTo>
                    <a:pt x="144" y="79"/>
                  </a:lnTo>
                  <a:lnTo>
                    <a:pt x="144" y="83"/>
                  </a:lnTo>
                  <a:lnTo>
                    <a:pt x="140" y="83"/>
                  </a:lnTo>
                  <a:lnTo>
                    <a:pt x="136" y="83"/>
                  </a:lnTo>
                  <a:lnTo>
                    <a:pt x="136" y="87"/>
                  </a:lnTo>
                  <a:lnTo>
                    <a:pt x="132" y="91"/>
                  </a:lnTo>
                  <a:lnTo>
                    <a:pt x="128" y="91"/>
                  </a:lnTo>
                  <a:lnTo>
                    <a:pt x="128" y="95"/>
                  </a:lnTo>
                  <a:lnTo>
                    <a:pt x="128" y="99"/>
                  </a:lnTo>
                  <a:lnTo>
                    <a:pt x="128" y="103"/>
                  </a:lnTo>
                  <a:lnTo>
                    <a:pt x="124" y="103"/>
                  </a:lnTo>
                  <a:lnTo>
                    <a:pt x="124" y="107"/>
                  </a:lnTo>
                  <a:lnTo>
                    <a:pt x="124" y="111"/>
                  </a:lnTo>
                  <a:lnTo>
                    <a:pt x="128" y="115"/>
                  </a:lnTo>
                  <a:lnTo>
                    <a:pt x="124" y="115"/>
                  </a:lnTo>
                  <a:lnTo>
                    <a:pt x="124" y="119"/>
                  </a:lnTo>
                  <a:lnTo>
                    <a:pt x="120" y="119"/>
                  </a:lnTo>
                  <a:lnTo>
                    <a:pt x="116" y="123"/>
                  </a:lnTo>
                  <a:lnTo>
                    <a:pt x="116" y="127"/>
                  </a:lnTo>
                  <a:lnTo>
                    <a:pt x="116" y="131"/>
                  </a:lnTo>
                  <a:lnTo>
                    <a:pt x="112" y="131"/>
                  </a:lnTo>
                  <a:lnTo>
                    <a:pt x="112" y="135"/>
                  </a:lnTo>
                  <a:lnTo>
                    <a:pt x="116" y="139"/>
                  </a:lnTo>
                  <a:lnTo>
                    <a:pt x="116" y="143"/>
                  </a:lnTo>
                  <a:lnTo>
                    <a:pt x="120" y="143"/>
                  </a:lnTo>
                  <a:lnTo>
                    <a:pt x="120" y="147"/>
                  </a:lnTo>
                  <a:lnTo>
                    <a:pt x="120" y="151"/>
                  </a:lnTo>
                  <a:lnTo>
                    <a:pt x="124" y="155"/>
                  </a:lnTo>
                  <a:lnTo>
                    <a:pt x="124" y="159"/>
                  </a:lnTo>
                  <a:lnTo>
                    <a:pt x="128" y="159"/>
                  </a:lnTo>
                  <a:lnTo>
                    <a:pt x="128" y="163"/>
                  </a:lnTo>
                  <a:lnTo>
                    <a:pt x="128" y="167"/>
                  </a:lnTo>
                  <a:lnTo>
                    <a:pt x="124" y="167"/>
                  </a:lnTo>
                  <a:lnTo>
                    <a:pt x="124" y="171"/>
                  </a:lnTo>
                  <a:lnTo>
                    <a:pt x="128" y="171"/>
                  </a:lnTo>
                  <a:lnTo>
                    <a:pt x="132" y="171"/>
                  </a:lnTo>
                  <a:lnTo>
                    <a:pt x="136" y="171"/>
                  </a:lnTo>
                  <a:lnTo>
                    <a:pt x="140" y="171"/>
                  </a:lnTo>
                  <a:lnTo>
                    <a:pt x="140" y="175"/>
                  </a:lnTo>
                  <a:lnTo>
                    <a:pt x="140" y="179"/>
                  </a:lnTo>
                  <a:lnTo>
                    <a:pt x="144" y="179"/>
                  </a:lnTo>
                  <a:lnTo>
                    <a:pt x="148" y="179"/>
                  </a:lnTo>
                  <a:lnTo>
                    <a:pt x="152" y="179"/>
                  </a:lnTo>
                  <a:lnTo>
                    <a:pt x="156" y="179"/>
                  </a:lnTo>
                  <a:lnTo>
                    <a:pt x="160" y="179"/>
                  </a:lnTo>
                  <a:lnTo>
                    <a:pt x="160" y="175"/>
                  </a:lnTo>
                  <a:lnTo>
                    <a:pt x="164" y="171"/>
                  </a:lnTo>
                  <a:lnTo>
                    <a:pt x="164" y="175"/>
                  </a:lnTo>
                  <a:lnTo>
                    <a:pt x="164" y="179"/>
                  </a:lnTo>
                  <a:lnTo>
                    <a:pt x="164" y="183"/>
                  </a:lnTo>
                  <a:lnTo>
                    <a:pt x="164" y="187"/>
                  </a:lnTo>
                  <a:lnTo>
                    <a:pt x="164" y="191"/>
                  </a:lnTo>
                  <a:lnTo>
                    <a:pt x="164" y="195"/>
                  </a:lnTo>
                  <a:lnTo>
                    <a:pt x="164" y="199"/>
                  </a:lnTo>
                  <a:lnTo>
                    <a:pt x="168" y="199"/>
                  </a:lnTo>
                  <a:lnTo>
                    <a:pt x="172" y="199"/>
                  </a:lnTo>
                  <a:lnTo>
                    <a:pt x="176" y="199"/>
                  </a:lnTo>
                  <a:lnTo>
                    <a:pt x="180" y="199"/>
                  </a:lnTo>
                  <a:lnTo>
                    <a:pt x="184" y="203"/>
                  </a:lnTo>
                  <a:lnTo>
                    <a:pt x="184" y="207"/>
                  </a:lnTo>
                  <a:lnTo>
                    <a:pt x="184" y="211"/>
                  </a:lnTo>
                  <a:lnTo>
                    <a:pt x="188" y="215"/>
                  </a:lnTo>
                  <a:lnTo>
                    <a:pt x="188" y="219"/>
                  </a:lnTo>
                  <a:lnTo>
                    <a:pt x="192" y="219"/>
                  </a:lnTo>
                  <a:lnTo>
                    <a:pt x="192" y="223"/>
                  </a:lnTo>
                  <a:lnTo>
                    <a:pt x="192" y="227"/>
                  </a:lnTo>
                  <a:lnTo>
                    <a:pt x="192" y="231"/>
                  </a:lnTo>
                  <a:lnTo>
                    <a:pt x="188" y="231"/>
                  </a:lnTo>
                  <a:lnTo>
                    <a:pt x="188" y="235"/>
                  </a:lnTo>
                  <a:lnTo>
                    <a:pt x="188" y="239"/>
                  </a:lnTo>
                  <a:lnTo>
                    <a:pt x="188" y="243"/>
                  </a:lnTo>
                  <a:lnTo>
                    <a:pt x="188" y="247"/>
                  </a:lnTo>
                  <a:lnTo>
                    <a:pt x="188" y="251"/>
                  </a:lnTo>
                  <a:lnTo>
                    <a:pt x="188" y="255"/>
                  </a:lnTo>
                  <a:lnTo>
                    <a:pt x="192" y="255"/>
                  </a:lnTo>
                  <a:lnTo>
                    <a:pt x="192" y="259"/>
                  </a:lnTo>
                  <a:lnTo>
                    <a:pt x="188" y="259"/>
                  </a:lnTo>
                  <a:lnTo>
                    <a:pt x="188" y="263"/>
                  </a:lnTo>
                  <a:lnTo>
                    <a:pt x="184" y="267"/>
                  </a:lnTo>
                  <a:lnTo>
                    <a:pt x="184" y="271"/>
                  </a:lnTo>
                  <a:lnTo>
                    <a:pt x="184" y="275"/>
                  </a:lnTo>
                  <a:lnTo>
                    <a:pt x="188" y="275"/>
                  </a:lnTo>
                  <a:lnTo>
                    <a:pt x="188" y="279"/>
                  </a:lnTo>
                  <a:lnTo>
                    <a:pt x="184" y="279"/>
                  </a:lnTo>
                  <a:lnTo>
                    <a:pt x="184" y="283"/>
                  </a:lnTo>
                  <a:lnTo>
                    <a:pt x="184" y="287"/>
                  </a:lnTo>
                  <a:lnTo>
                    <a:pt x="184" y="295"/>
                  </a:lnTo>
                  <a:lnTo>
                    <a:pt x="188" y="295"/>
                  </a:lnTo>
                  <a:lnTo>
                    <a:pt x="192" y="299"/>
                  </a:lnTo>
                  <a:lnTo>
                    <a:pt x="188" y="299"/>
                  </a:lnTo>
                  <a:lnTo>
                    <a:pt x="188" y="303"/>
                  </a:lnTo>
                  <a:lnTo>
                    <a:pt x="188" y="307"/>
                  </a:lnTo>
                  <a:lnTo>
                    <a:pt x="184" y="307"/>
                  </a:lnTo>
                  <a:lnTo>
                    <a:pt x="184" y="311"/>
                  </a:lnTo>
                  <a:lnTo>
                    <a:pt x="180" y="311"/>
                  </a:lnTo>
                  <a:lnTo>
                    <a:pt x="180" y="315"/>
                  </a:lnTo>
                  <a:lnTo>
                    <a:pt x="180" y="3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0" name="Freeform 178"/>
            <p:cNvSpPr>
              <a:spLocks/>
            </p:cNvSpPr>
            <p:nvPr>
              <p:custDataLst>
                <p:tags r:id="rId372"/>
              </p:custDataLst>
            </p:nvPr>
          </p:nvSpPr>
          <p:spPr bwMode="gray">
            <a:xfrm>
              <a:off x="3073931" y="4432818"/>
              <a:ext cx="88984" cy="112713"/>
            </a:xfrm>
            <a:custGeom>
              <a:avLst/>
              <a:gdLst/>
              <a:ahLst/>
              <a:cxnLst>
                <a:cxn ang="0">
                  <a:pos x="44" y="4"/>
                </a:cxn>
                <a:cxn ang="0">
                  <a:pos x="44" y="4"/>
                </a:cxn>
                <a:cxn ang="0">
                  <a:pos x="44" y="0"/>
                </a:cxn>
                <a:cxn ang="0">
                  <a:pos x="48" y="0"/>
                </a:cxn>
                <a:cxn ang="0">
                  <a:pos x="56" y="4"/>
                </a:cxn>
                <a:cxn ang="0">
                  <a:pos x="60" y="4"/>
                </a:cxn>
                <a:cxn ang="0">
                  <a:pos x="60" y="8"/>
                </a:cxn>
                <a:cxn ang="0">
                  <a:pos x="56" y="12"/>
                </a:cxn>
                <a:cxn ang="0">
                  <a:pos x="56" y="12"/>
                </a:cxn>
                <a:cxn ang="0">
                  <a:pos x="56" y="16"/>
                </a:cxn>
                <a:cxn ang="0">
                  <a:pos x="52" y="24"/>
                </a:cxn>
                <a:cxn ang="0">
                  <a:pos x="52" y="28"/>
                </a:cxn>
                <a:cxn ang="0">
                  <a:pos x="52" y="28"/>
                </a:cxn>
                <a:cxn ang="0">
                  <a:pos x="56" y="36"/>
                </a:cxn>
                <a:cxn ang="0">
                  <a:pos x="60" y="44"/>
                </a:cxn>
                <a:cxn ang="0">
                  <a:pos x="60" y="48"/>
                </a:cxn>
                <a:cxn ang="0">
                  <a:pos x="56" y="52"/>
                </a:cxn>
                <a:cxn ang="0">
                  <a:pos x="56" y="60"/>
                </a:cxn>
                <a:cxn ang="0">
                  <a:pos x="56" y="60"/>
                </a:cxn>
                <a:cxn ang="0">
                  <a:pos x="52" y="64"/>
                </a:cxn>
                <a:cxn ang="0">
                  <a:pos x="48" y="68"/>
                </a:cxn>
                <a:cxn ang="0">
                  <a:pos x="48" y="64"/>
                </a:cxn>
                <a:cxn ang="0">
                  <a:pos x="48" y="64"/>
                </a:cxn>
                <a:cxn ang="0">
                  <a:pos x="36" y="64"/>
                </a:cxn>
                <a:cxn ang="0">
                  <a:pos x="32" y="64"/>
                </a:cxn>
                <a:cxn ang="0">
                  <a:pos x="28" y="64"/>
                </a:cxn>
                <a:cxn ang="0">
                  <a:pos x="32" y="72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20" y="72"/>
                </a:cxn>
                <a:cxn ang="0">
                  <a:pos x="16" y="64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2" y="48"/>
                </a:cxn>
                <a:cxn ang="0">
                  <a:pos x="4" y="48"/>
                </a:cxn>
                <a:cxn ang="0">
                  <a:pos x="4" y="44"/>
                </a:cxn>
                <a:cxn ang="0">
                  <a:pos x="4" y="44"/>
                </a:cxn>
                <a:cxn ang="0">
                  <a:pos x="0" y="40"/>
                </a:cxn>
                <a:cxn ang="0">
                  <a:pos x="0" y="40"/>
                </a:cxn>
                <a:cxn ang="0">
                  <a:pos x="0" y="32"/>
                </a:cxn>
                <a:cxn ang="0">
                  <a:pos x="0" y="32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0"/>
                </a:cxn>
                <a:cxn ang="0">
                  <a:pos x="8" y="20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20" y="0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32" y="4"/>
                </a:cxn>
                <a:cxn ang="0">
                  <a:pos x="32" y="0"/>
                </a:cxn>
                <a:cxn ang="0">
                  <a:pos x="40" y="0"/>
                </a:cxn>
                <a:cxn ang="0">
                  <a:pos x="40" y="0"/>
                </a:cxn>
                <a:cxn ang="0">
                  <a:pos x="44" y="4"/>
                </a:cxn>
              </a:cxnLst>
              <a:rect l="0" t="0" r="r" b="b"/>
              <a:pathLst>
                <a:path w="60" h="76">
                  <a:moveTo>
                    <a:pt x="44" y="4"/>
                  </a:move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2" y="64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36" y="64"/>
                  </a:lnTo>
                  <a:lnTo>
                    <a:pt x="36" y="68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1" name="Freeform 179"/>
            <p:cNvSpPr>
              <a:spLocks/>
            </p:cNvSpPr>
            <p:nvPr>
              <p:custDataLst>
                <p:tags r:id="rId373"/>
              </p:custDataLst>
            </p:nvPr>
          </p:nvSpPr>
          <p:spPr bwMode="gray">
            <a:xfrm>
              <a:off x="3062066" y="5432403"/>
              <a:ext cx="124577" cy="142374"/>
            </a:xfrm>
            <a:custGeom>
              <a:avLst/>
              <a:gdLst/>
              <a:ahLst/>
              <a:cxnLst>
                <a:cxn ang="0">
                  <a:pos x="4" y="64"/>
                </a:cxn>
                <a:cxn ang="0">
                  <a:pos x="4" y="60"/>
                </a:cxn>
                <a:cxn ang="0">
                  <a:pos x="4" y="60"/>
                </a:cxn>
                <a:cxn ang="0">
                  <a:pos x="8" y="52"/>
                </a:cxn>
                <a:cxn ang="0">
                  <a:pos x="4" y="52"/>
                </a:cxn>
                <a:cxn ang="0">
                  <a:pos x="4" y="44"/>
                </a:cxn>
                <a:cxn ang="0">
                  <a:pos x="4" y="44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8" y="28"/>
                </a:cxn>
                <a:cxn ang="0">
                  <a:pos x="8" y="24"/>
                </a:cxn>
                <a:cxn ang="0">
                  <a:pos x="8" y="16"/>
                </a:cxn>
                <a:cxn ang="0">
                  <a:pos x="12" y="12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4"/>
                </a:cxn>
                <a:cxn ang="0">
                  <a:pos x="36" y="8"/>
                </a:cxn>
                <a:cxn ang="0">
                  <a:pos x="40" y="16"/>
                </a:cxn>
                <a:cxn ang="0">
                  <a:pos x="40" y="16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52" y="24"/>
                </a:cxn>
                <a:cxn ang="0">
                  <a:pos x="56" y="24"/>
                </a:cxn>
                <a:cxn ang="0">
                  <a:pos x="56" y="24"/>
                </a:cxn>
                <a:cxn ang="0">
                  <a:pos x="64" y="32"/>
                </a:cxn>
                <a:cxn ang="0">
                  <a:pos x="68" y="32"/>
                </a:cxn>
                <a:cxn ang="0">
                  <a:pos x="72" y="40"/>
                </a:cxn>
                <a:cxn ang="0">
                  <a:pos x="76" y="44"/>
                </a:cxn>
                <a:cxn ang="0">
                  <a:pos x="80" y="48"/>
                </a:cxn>
                <a:cxn ang="0">
                  <a:pos x="80" y="52"/>
                </a:cxn>
                <a:cxn ang="0">
                  <a:pos x="76" y="56"/>
                </a:cxn>
                <a:cxn ang="0">
                  <a:pos x="76" y="60"/>
                </a:cxn>
                <a:cxn ang="0">
                  <a:pos x="76" y="64"/>
                </a:cxn>
                <a:cxn ang="0">
                  <a:pos x="76" y="68"/>
                </a:cxn>
                <a:cxn ang="0">
                  <a:pos x="76" y="72"/>
                </a:cxn>
                <a:cxn ang="0">
                  <a:pos x="76" y="72"/>
                </a:cxn>
                <a:cxn ang="0">
                  <a:pos x="76" y="76"/>
                </a:cxn>
                <a:cxn ang="0">
                  <a:pos x="72" y="84"/>
                </a:cxn>
                <a:cxn ang="0">
                  <a:pos x="68" y="88"/>
                </a:cxn>
                <a:cxn ang="0">
                  <a:pos x="64" y="88"/>
                </a:cxn>
                <a:cxn ang="0">
                  <a:pos x="64" y="88"/>
                </a:cxn>
                <a:cxn ang="0">
                  <a:pos x="56" y="92"/>
                </a:cxn>
                <a:cxn ang="0">
                  <a:pos x="52" y="92"/>
                </a:cxn>
                <a:cxn ang="0">
                  <a:pos x="48" y="96"/>
                </a:cxn>
                <a:cxn ang="0">
                  <a:pos x="48" y="92"/>
                </a:cxn>
                <a:cxn ang="0">
                  <a:pos x="40" y="92"/>
                </a:cxn>
                <a:cxn ang="0">
                  <a:pos x="36" y="92"/>
                </a:cxn>
                <a:cxn ang="0">
                  <a:pos x="32" y="92"/>
                </a:cxn>
                <a:cxn ang="0">
                  <a:pos x="24" y="88"/>
                </a:cxn>
                <a:cxn ang="0">
                  <a:pos x="16" y="84"/>
                </a:cxn>
                <a:cxn ang="0">
                  <a:pos x="8" y="84"/>
                </a:cxn>
                <a:cxn ang="0">
                  <a:pos x="4" y="80"/>
                </a:cxn>
                <a:cxn ang="0">
                  <a:pos x="4" y="76"/>
                </a:cxn>
                <a:cxn ang="0">
                  <a:pos x="0" y="68"/>
                </a:cxn>
                <a:cxn ang="0">
                  <a:pos x="0" y="64"/>
                </a:cxn>
              </a:cxnLst>
              <a:rect l="0" t="0" r="r" b="b"/>
              <a:pathLst>
                <a:path w="84" h="96">
                  <a:moveTo>
                    <a:pt x="0" y="64"/>
                  </a:move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4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6"/>
                  </a:lnTo>
                  <a:lnTo>
                    <a:pt x="32" y="96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28" y="92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0" y="76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2" name="Freeform 180"/>
            <p:cNvSpPr>
              <a:spLocks noEditPoints="1"/>
            </p:cNvSpPr>
            <p:nvPr>
              <p:custDataLst>
                <p:tags r:id="rId374"/>
              </p:custDataLst>
            </p:nvPr>
          </p:nvSpPr>
          <p:spPr bwMode="gray">
            <a:xfrm>
              <a:off x="2731343" y="4260782"/>
              <a:ext cx="301061" cy="320342"/>
            </a:xfrm>
            <a:custGeom>
              <a:avLst/>
              <a:gdLst/>
              <a:ahLst/>
              <a:cxnLst>
                <a:cxn ang="0">
                  <a:pos x="116" y="40"/>
                </a:cxn>
                <a:cxn ang="0">
                  <a:pos x="135" y="32"/>
                </a:cxn>
                <a:cxn ang="0">
                  <a:pos x="135" y="32"/>
                </a:cxn>
                <a:cxn ang="0">
                  <a:pos x="159" y="28"/>
                </a:cxn>
                <a:cxn ang="0">
                  <a:pos x="163" y="32"/>
                </a:cxn>
                <a:cxn ang="0">
                  <a:pos x="159" y="36"/>
                </a:cxn>
                <a:cxn ang="0">
                  <a:pos x="163" y="44"/>
                </a:cxn>
                <a:cxn ang="0">
                  <a:pos x="167" y="44"/>
                </a:cxn>
                <a:cxn ang="0">
                  <a:pos x="171" y="44"/>
                </a:cxn>
                <a:cxn ang="0">
                  <a:pos x="183" y="48"/>
                </a:cxn>
                <a:cxn ang="0">
                  <a:pos x="183" y="60"/>
                </a:cxn>
                <a:cxn ang="0">
                  <a:pos x="179" y="72"/>
                </a:cxn>
                <a:cxn ang="0">
                  <a:pos x="203" y="72"/>
                </a:cxn>
                <a:cxn ang="0">
                  <a:pos x="191" y="88"/>
                </a:cxn>
                <a:cxn ang="0">
                  <a:pos x="191" y="100"/>
                </a:cxn>
                <a:cxn ang="0">
                  <a:pos x="183" y="112"/>
                </a:cxn>
                <a:cxn ang="0">
                  <a:pos x="191" y="136"/>
                </a:cxn>
                <a:cxn ang="0">
                  <a:pos x="179" y="148"/>
                </a:cxn>
                <a:cxn ang="0">
                  <a:pos x="163" y="152"/>
                </a:cxn>
                <a:cxn ang="0">
                  <a:pos x="151" y="152"/>
                </a:cxn>
                <a:cxn ang="0">
                  <a:pos x="139" y="156"/>
                </a:cxn>
                <a:cxn ang="0">
                  <a:pos x="127" y="148"/>
                </a:cxn>
                <a:cxn ang="0">
                  <a:pos x="135" y="164"/>
                </a:cxn>
                <a:cxn ang="0">
                  <a:pos x="143" y="180"/>
                </a:cxn>
                <a:cxn ang="0">
                  <a:pos x="143" y="188"/>
                </a:cxn>
                <a:cxn ang="0">
                  <a:pos x="127" y="204"/>
                </a:cxn>
                <a:cxn ang="0">
                  <a:pos x="116" y="216"/>
                </a:cxn>
                <a:cxn ang="0">
                  <a:pos x="104" y="212"/>
                </a:cxn>
                <a:cxn ang="0">
                  <a:pos x="92" y="184"/>
                </a:cxn>
                <a:cxn ang="0">
                  <a:pos x="88" y="164"/>
                </a:cxn>
                <a:cxn ang="0">
                  <a:pos x="84" y="152"/>
                </a:cxn>
                <a:cxn ang="0">
                  <a:pos x="84" y="128"/>
                </a:cxn>
                <a:cxn ang="0">
                  <a:pos x="80" y="112"/>
                </a:cxn>
                <a:cxn ang="0">
                  <a:pos x="60" y="112"/>
                </a:cxn>
                <a:cxn ang="0">
                  <a:pos x="44" y="96"/>
                </a:cxn>
                <a:cxn ang="0">
                  <a:pos x="28" y="96"/>
                </a:cxn>
                <a:cxn ang="0">
                  <a:pos x="12" y="88"/>
                </a:cxn>
                <a:cxn ang="0">
                  <a:pos x="12" y="72"/>
                </a:cxn>
                <a:cxn ang="0">
                  <a:pos x="0" y="56"/>
                </a:cxn>
                <a:cxn ang="0">
                  <a:pos x="4" y="36"/>
                </a:cxn>
                <a:cxn ang="0">
                  <a:pos x="16" y="20"/>
                </a:cxn>
                <a:cxn ang="0">
                  <a:pos x="28" y="12"/>
                </a:cxn>
                <a:cxn ang="0">
                  <a:pos x="24" y="24"/>
                </a:cxn>
                <a:cxn ang="0">
                  <a:pos x="16" y="44"/>
                </a:cxn>
                <a:cxn ang="0">
                  <a:pos x="24" y="60"/>
                </a:cxn>
                <a:cxn ang="0">
                  <a:pos x="32" y="40"/>
                </a:cxn>
                <a:cxn ang="0">
                  <a:pos x="28" y="24"/>
                </a:cxn>
                <a:cxn ang="0">
                  <a:pos x="44" y="16"/>
                </a:cxn>
                <a:cxn ang="0">
                  <a:pos x="48" y="12"/>
                </a:cxn>
                <a:cxn ang="0">
                  <a:pos x="52" y="8"/>
                </a:cxn>
                <a:cxn ang="0">
                  <a:pos x="68" y="16"/>
                </a:cxn>
                <a:cxn ang="0">
                  <a:pos x="84" y="32"/>
                </a:cxn>
                <a:cxn ang="0">
                  <a:pos x="183" y="64"/>
                </a:cxn>
                <a:cxn ang="0">
                  <a:pos x="187" y="64"/>
                </a:cxn>
                <a:cxn ang="0">
                  <a:pos x="187" y="64"/>
                </a:cxn>
                <a:cxn ang="0">
                  <a:pos x="183" y="68"/>
                </a:cxn>
                <a:cxn ang="0">
                  <a:pos x="175" y="68"/>
                </a:cxn>
                <a:cxn ang="0">
                  <a:pos x="139" y="28"/>
                </a:cxn>
                <a:cxn ang="0">
                  <a:pos x="143" y="24"/>
                </a:cxn>
                <a:cxn ang="0">
                  <a:pos x="120" y="28"/>
                </a:cxn>
              </a:cxnLst>
              <a:rect l="0" t="0" r="r" b="b"/>
              <a:pathLst>
                <a:path w="203" h="216">
                  <a:moveTo>
                    <a:pt x="104" y="32"/>
                  </a:moveTo>
                  <a:lnTo>
                    <a:pt x="108" y="32"/>
                  </a:lnTo>
                  <a:lnTo>
                    <a:pt x="108" y="36"/>
                  </a:lnTo>
                  <a:lnTo>
                    <a:pt x="112" y="36"/>
                  </a:lnTo>
                  <a:lnTo>
                    <a:pt x="112" y="40"/>
                  </a:lnTo>
                  <a:lnTo>
                    <a:pt x="116" y="40"/>
                  </a:lnTo>
                  <a:lnTo>
                    <a:pt x="120" y="40"/>
                  </a:lnTo>
                  <a:lnTo>
                    <a:pt x="123" y="40"/>
                  </a:lnTo>
                  <a:lnTo>
                    <a:pt x="127" y="40"/>
                  </a:lnTo>
                  <a:lnTo>
                    <a:pt x="131" y="36"/>
                  </a:lnTo>
                  <a:lnTo>
                    <a:pt x="135" y="36"/>
                  </a:lnTo>
                  <a:lnTo>
                    <a:pt x="135" y="32"/>
                  </a:lnTo>
                  <a:lnTo>
                    <a:pt x="139" y="32"/>
                  </a:lnTo>
                  <a:lnTo>
                    <a:pt x="139" y="36"/>
                  </a:lnTo>
                  <a:lnTo>
                    <a:pt x="143" y="36"/>
                  </a:lnTo>
                  <a:lnTo>
                    <a:pt x="143" y="32"/>
                  </a:lnTo>
                  <a:lnTo>
                    <a:pt x="139" y="32"/>
                  </a:lnTo>
                  <a:lnTo>
                    <a:pt x="135" y="32"/>
                  </a:lnTo>
                  <a:lnTo>
                    <a:pt x="139" y="32"/>
                  </a:lnTo>
                  <a:lnTo>
                    <a:pt x="143" y="32"/>
                  </a:lnTo>
                  <a:lnTo>
                    <a:pt x="147" y="32"/>
                  </a:lnTo>
                  <a:lnTo>
                    <a:pt x="151" y="28"/>
                  </a:lnTo>
                  <a:lnTo>
                    <a:pt x="155" y="28"/>
                  </a:lnTo>
                  <a:lnTo>
                    <a:pt x="159" y="28"/>
                  </a:lnTo>
                  <a:lnTo>
                    <a:pt x="163" y="28"/>
                  </a:lnTo>
                  <a:lnTo>
                    <a:pt x="167" y="28"/>
                  </a:lnTo>
                  <a:lnTo>
                    <a:pt x="171" y="28"/>
                  </a:lnTo>
                  <a:lnTo>
                    <a:pt x="171" y="32"/>
                  </a:lnTo>
                  <a:lnTo>
                    <a:pt x="167" y="32"/>
                  </a:lnTo>
                  <a:lnTo>
                    <a:pt x="163" y="32"/>
                  </a:lnTo>
                  <a:lnTo>
                    <a:pt x="159" y="32"/>
                  </a:lnTo>
                  <a:lnTo>
                    <a:pt x="155" y="32"/>
                  </a:lnTo>
                  <a:lnTo>
                    <a:pt x="159" y="32"/>
                  </a:lnTo>
                  <a:lnTo>
                    <a:pt x="159" y="36"/>
                  </a:lnTo>
                  <a:lnTo>
                    <a:pt x="155" y="36"/>
                  </a:lnTo>
                  <a:lnTo>
                    <a:pt x="159" y="36"/>
                  </a:lnTo>
                  <a:lnTo>
                    <a:pt x="159" y="40"/>
                  </a:lnTo>
                  <a:lnTo>
                    <a:pt x="155" y="40"/>
                  </a:lnTo>
                  <a:lnTo>
                    <a:pt x="159" y="44"/>
                  </a:lnTo>
                  <a:lnTo>
                    <a:pt x="159" y="40"/>
                  </a:lnTo>
                  <a:lnTo>
                    <a:pt x="163" y="40"/>
                  </a:lnTo>
                  <a:lnTo>
                    <a:pt x="163" y="44"/>
                  </a:lnTo>
                  <a:lnTo>
                    <a:pt x="167" y="48"/>
                  </a:lnTo>
                  <a:lnTo>
                    <a:pt x="163" y="48"/>
                  </a:lnTo>
                  <a:lnTo>
                    <a:pt x="167" y="48"/>
                  </a:lnTo>
                  <a:lnTo>
                    <a:pt x="167" y="44"/>
                  </a:lnTo>
                  <a:lnTo>
                    <a:pt x="167" y="48"/>
                  </a:lnTo>
                  <a:lnTo>
                    <a:pt x="167" y="44"/>
                  </a:lnTo>
                  <a:lnTo>
                    <a:pt x="171" y="44"/>
                  </a:lnTo>
                  <a:lnTo>
                    <a:pt x="167" y="44"/>
                  </a:lnTo>
                  <a:lnTo>
                    <a:pt x="171" y="44"/>
                  </a:lnTo>
                  <a:lnTo>
                    <a:pt x="171" y="48"/>
                  </a:lnTo>
                  <a:lnTo>
                    <a:pt x="175" y="48"/>
                  </a:lnTo>
                  <a:lnTo>
                    <a:pt x="171" y="44"/>
                  </a:lnTo>
                  <a:lnTo>
                    <a:pt x="175" y="44"/>
                  </a:lnTo>
                  <a:lnTo>
                    <a:pt x="175" y="48"/>
                  </a:lnTo>
                  <a:lnTo>
                    <a:pt x="175" y="44"/>
                  </a:lnTo>
                  <a:lnTo>
                    <a:pt x="179" y="44"/>
                  </a:lnTo>
                  <a:lnTo>
                    <a:pt x="179" y="48"/>
                  </a:lnTo>
                  <a:lnTo>
                    <a:pt x="183" y="48"/>
                  </a:lnTo>
                  <a:lnTo>
                    <a:pt x="183" y="52"/>
                  </a:lnTo>
                  <a:lnTo>
                    <a:pt x="187" y="52"/>
                  </a:lnTo>
                  <a:lnTo>
                    <a:pt x="187" y="56"/>
                  </a:lnTo>
                  <a:lnTo>
                    <a:pt x="183" y="60"/>
                  </a:lnTo>
                  <a:lnTo>
                    <a:pt x="187" y="56"/>
                  </a:lnTo>
                  <a:lnTo>
                    <a:pt x="183" y="60"/>
                  </a:lnTo>
                  <a:lnTo>
                    <a:pt x="183" y="64"/>
                  </a:lnTo>
                  <a:lnTo>
                    <a:pt x="183" y="68"/>
                  </a:lnTo>
                  <a:lnTo>
                    <a:pt x="179" y="68"/>
                  </a:lnTo>
                  <a:lnTo>
                    <a:pt x="175" y="68"/>
                  </a:lnTo>
                  <a:lnTo>
                    <a:pt x="179" y="68"/>
                  </a:lnTo>
                  <a:lnTo>
                    <a:pt x="179" y="72"/>
                  </a:lnTo>
                  <a:lnTo>
                    <a:pt x="183" y="72"/>
                  </a:lnTo>
                  <a:lnTo>
                    <a:pt x="187" y="68"/>
                  </a:lnTo>
                  <a:lnTo>
                    <a:pt x="191" y="68"/>
                  </a:lnTo>
                  <a:lnTo>
                    <a:pt x="195" y="68"/>
                  </a:lnTo>
                  <a:lnTo>
                    <a:pt x="199" y="68"/>
                  </a:lnTo>
                  <a:lnTo>
                    <a:pt x="203" y="72"/>
                  </a:lnTo>
                  <a:lnTo>
                    <a:pt x="203" y="76"/>
                  </a:lnTo>
                  <a:lnTo>
                    <a:pt x="199" y="76"/>
                  </a:lnTo>
                  <a:lnTo>
                    <a:pt x="199" y="80"/>
                  </a:lnTo>
                  <a:lnTo>
                    <a:pt x="195" y="80"/>
                  </a:lnTo>
                  <a:lnTo>
                    <a:pt x="191" y="84"/>
                  </a:lnTo>
                  <a:lnTo>
                    <a:pt x="191" y="88"/>
                  </a:lnTo>
                  <a:lnTo>
                    <a:pt x="191" y="92"/>
                  </a:lnTo>
                  <a:lnTo>
                    <a:pt x="191" y="96"/>
                  </a:lnTo>
                  <a:lnTo>
                    <a:pt x="195" y="92"/>
                  </a:lnTo>
                  <a:lnTo>
                    <a:pt x="195" y="96"/>
                  </a:lnTo>
                  <a:lnTo>
                    <a:pt x="195" y="100"/>
                  </a:lnTo>
                  <a:lnTo>
                    <a:pt x="191" y="100"/>
                  </a:lnTo>
                  <a:lnTo>
                    <a:pt x="191" y="104"/>
                  </a:lnTo>
                  <a:lnTo>
                    <a:pt x="187" y="100"/>
                  </a:lnTo>
                  <a:lnTo>
                    <a:pt x="187" y="104"/>
                  </a:lnTo>
                  <a:lnTo>
                    <a:pt x="183" y="104"/>
                  </a:lnTo>
                  <a:lnTo>
                    <a:pt x="183" y="108"/>
                  </a:lnTo>
                  <a:lnTo>
                    <a:pt x="183" y="112"/>
                  </a:lnTo>
                  <a:lnTo>
                    <a:pt x="179" y="116"/>
                  </a:lnTo>
                  <a:lnTo>
                    <a:pt x="183" y="124"/>
                  </a:lnTo>
                  <a:lnTo>
                    <a:pt x="187" y="128"/>
                  </a:lnTo>
                  <a:lnTo>
                    <a:pt x="187" y="132"/>
                  </a:lnTo>
                  <a:lnTo>
                    <a:pt x="191" y="132"/>
                  </a:lnTo>
                  <a:lnTo>
                    <a:pt x="191" y="136"/>
                  </a:lnTo>
                  <a:lnTo>
                    <a:pt x="191" y="140"/>
                  </a:lnTo>
                  <a:lnTo>
                    <a:pt x="187" y="140"/>
                  </a:lnTo>
                  <a:lnTo>
                    <a:pt x="187" y="144"/>
                  </a:lnTo>
                  <a:lnTo>
                    <a:pt x="183" y="144"/>
                  </a:lnTo>
                  <a:lnTo>
                    <a:pt x="179" y="144"/>
                  </a:lnTo>
                  <a:lnTo>
                    <a:pt x="179" y="148"/>
                  </a:lnTo>
                  <a:lnTo>
                    <a:pt x="175" y="148"/>
                  </a:lnTo>
                  <a:lnTo>
                    <a:pt x="171" y="148"/>
                  </a:lnTo>
                  <a:lnTo>
                    <a:pt x="167" y="152"/>
                  </a:lnTo>
                  <a:lnTo>
                    <a:pt x="167" y="148"/>
                  </a:lnTo>
                  <a:lnTo>
                    <a:pt x="163" y="148"/>
                  </a:lnTo>
                  <a:lnTo>
                    <a:pt x="163" y="152"/>
                  </a:lnTo>
                  <a:lnTo>
                    <a:pt x="159" y="152"/>
                  </a:lnTo>
                  <a:lnTo>
                    <a:pt x="159" y="156"/>
                  </a:lnTo>
                  <a:lnTo>
                    <a:pt x="159" y="160"/>
                  </a:lnTo>
                  <a:lnTo>
                    <a:pt x="155" y="160"/>
                  </a:lnTo>
                  <a:lnTo>
                    <a:pt x="151" y="156"/>
                  </a:lnTo>
                  <a:lnTo>
                    <a:pt x="151" y="152"/>
                  </a:lnTo>
                  <a:lnTo>
                    <a:pt x="147" y="152"/>
                  </a:lnTo>
                  <a:lnTo>
                    <a:pt x="147" y="156"/>
                  </a:lnTo>
                  <a:lnTo>
                    <a:pt x="147" y="152"/>
                  </a:lnTo>
                  <a:lnTo>
                    <a:pt x="143" y="152"/>
                  </a:lnTo>
                  <a:lnTo>
                    <a:pt x="139" y="152"/>
                  </a:lnTo>
                  <a:lnTo>
                    <a:pt x="139" y="156"/>
                  </a:lnTo>
                  <a:lnTo>
                    <a:pt x="139" y="152"/>
                  </a:lnTo>
                  <a:lnTo>
                    <a:pt x="135" y="152"/>
                  </a:lnTo>
                  <a:lnTo>
                    <a:pt x="135" y="148"/>
                  </a:lnTo>
                  <a:lnTo>
                    <a:pt x="131" y="152"/>
                  </a:lnTo>
                  <a:lnTo>
                    <a:pt x="131" y="148"/>
                  </a:lnTo>
                  <a:lnTo>
                    <a:pt x="127" y="148"/>
                  </a:lnTo>
                  <a:lnTo>
                    <a:pt x="127" y="152"/>
                  </a:lnTo>
                  <a:lnTo>
                    <a:pt x="131" y="152"/>
                  </a:lnTo>
                  <a:lnTo>
                    <a:pt x="131" y="156"/>
                  </a:lnTo>
                  <a:lnTo>
                    <a:pt x="135" y="156"/>
                  </a:lnTo>
                  <a:lnTo>
                    <a:pt x="135" y="160"/>
                  </a:lnTo>
                  <a:lnTo>
                    <a:pt x="135" y="164"/>
                  </a:lnTo>
                  <a:lnTo>
                    <a:pt x="135" y="168"/>
                  </a:lnTo>
                  <a:lnTo>
                    <a:pt x="139" y="168"/>
                  </a:lnTo>
                  <a:lnTo>
                    <a:pt x="139" y="172"/>
                  </a:lnTo>
                  <a:lnTo>
                    <a:pt x="139" y="176"/>
                  </a:lnTo>
                  <a:lnTo>
                    <a:pt x="139" y="180"/>
                  </a:lnTo>
                  <a:lnTo>
                    <a:pt x="143" y="180"/>
                  </a:lnTo>
                  <a:lnTo>
                    <a:pt x="147" y="180"/>
                  </a:lnTo>
                  <a:lnTo>
                    <a:pt x="151" y="180"/>
                  </a:lnTo>
                  <a:lnTo>
                    <a:pt x="151" y="184"/>
                  </a:lnTo>
                  <a:lnTo>
                    <a:pt x="147" y="184"/>
                  </a:lnTo>
                  <a:lnTo>
                    <a:pt x="147" y="188"/>
                  </a:lnTo>
                  <a:lnTo>
                    <a:pt x="143" y="188"/>
                  </a:lnTo>
                  <a:lnTo>
                    <a:pt x="139" y="188"/>
                  </a:lnTo>
                  <a:lnTo>
                    <a:pt x="139" y="192"/>
                  </a:lnTo>
                  <a:lnTo>
                    <a:pt x="139" y="196"/>
                  </a:lnTo>
                  <a:lnTo>
                    <a:pt x="135" y="200"/>
                  </a:lnTo>
                  <a:lnTo>
                    <a:pt x="131" y="200"/>
                  </a:lnTo>
                  <a:lnTo>
                    <a:pt x="127" y="204"/>
                  </a:lnTo>
                  <a:lnTo>
                    <a:pt x="123" y="204"/>
                  </a:lnTo>
                  <a:lnTo>
                    <a:pt x="123" y="208"/>
                  </a:lnTo>
                  <a:lnTo>
                    <a:pt x="120" y="208"/>
                  </a:lnTo>
                  <a:lnTo>
                    <a:pt x="120" y="212"/>
                  </a:lnTo>
                  <a:lnTo>
                    <a:pt x="116" y="212"/>
                  </a:lnTo>
                  <a:lnTo>
                    <a:pt x="116" y="216"/>
                  </a:lnTo>
                  <a:lnTo>
                    <a:pt x="116" y="212"/>
                  </a:lnTo>
                  <a:lnTo>
                    <a:pt x="116" y="208"/>
                  </a:lnTo>
                  <a:lnTo>
                    <a:pt x="112" y="208"/>
                  </a:lnTo>
                  <a:lnTo>
                    <a:pt x="112" y="212"/>
                  </a:lnTo>
                  <a:lnTo>
                    <a:pt x="108" y="212"/>
                  </a:lnTo>
                  <a:lnTo>
                    <a:pt x="104" y="212"/>
                  </a:lnTo>
                  <a:lnTo>
                    <a:pt x="100" y="204"/>
                  </a:lnTo>
                  <a:lnTo>
                    <a:pt x="96" y="204"/>
                  </a:lnTo>
                  <a:lnTo>
                    <a:pt x="96" y="200"/>
                  </a:lnTo>
                  <a:lnTo>
                    <a:pt x="96" y="196"/>
                  </a:lnTo>
                  <a:lnTo>
                    <a:pt x="92" y="188"/>
                  </a:lnTo>
                  <a:lnTo>
                    <a:pt x="92" y="184"/>
                  </a:lnTo>
                  <a:lnTo>
                    <a:pt x="92" y="180"/>
                  </a:lnTo>
                  <a:lnTo>
                    <a:pt x="88" y="176"/>
                  </a:lnTo>
                  <a:lnTo>
                    <a:pt x="84" y="176"/>
                  </a:lnTo>
                  <a:lnTo>
                    <a:pt x="84" y="172"/>
                  </a:lnTo>
                  <a:lnTo>
                    <a:pt x="88" y="168"/>
                  </a:lnTo>
                  <a:lnTo>
                    <a:pt x="88" y="164"/>
                  </a:lnTo>
                  <a:lnTo>
                    <a:pt x="92" y="164"/>
                  </a:lnTo>
                  <a:lnTo>
                    <a:pt x="88" y="164"/>
                  </a:lnTo>
                  <a:lnTo>
                    <a:pt x="88" y="160"/>
                  </a:lnTo>
                  <a:lnTo>
                    <a:pt x="88" y="156"/>
                  </a:lnTo>
                  <a:lnTo>
                    <a:pt x="84" y="156"/>
                  </a:lnTo>
                  <a:lnTo>
                    <a:pt x="84" y="152"/>
                  </a:lnTo>
                  <a:lnTo>
                    <a:pt x="84" y="148"/>
                  </a:lnTo>
                  <a:lnTo>
                    <a:pt x="80" y="144"/>
                  </a:lnTo>
                  <a:lnTo>
                    <a:pt x="84" y="140"/>
                  </a:lnTo>
                  <a:lnTo>
                    <a:pt x="84" y="136"/>
                  </a:lnTo>
                  <a:lnTo>
                    <a:pt x="84" y="132"/>
                  </a:lnTo>
                  <a:lnTo>
                    <a:pt x="84" y="128"/>
                  </a:lnTo>
                  <a:lnTo>
                    <a:pt x="84" y="124"/>
                  </a:lnTo>
                  <a:lnTo>
                    <a:pt x="84" y="120"/>
                  </a:lnTo>
                  <a:lnTo>
                    <a:pt x="88" y="116"/>
                  </a:lnTo>
                  <a:lnTo>
                    <a:pt x="88" y="112"/>
                  </a:lnTo>
                  <a:lnTo>
                    <a:pt x="84" y="112"/>
                  </a:lnTo>
                  <a:lnTo>
                    <a:pt x="80" y="112"/>
                  </a:lnTo>
                  <a:lnTo>
                    <a:pt x="76" y="112"/>
                  </a:lnTo>
                  <a:lnTo>
                    <a:pt x="72" y="112"/>
                  </a:lnTo>
                  <a:lnTo>
                    <a:pt x="68" y="112"/>
                  </a:lnTo>
                  <a:lnTo>
                    <a:pt x="64" y="112"/>
                  </a:lnTo>
                  <a:lnTo>
                    <a:pt x="60" y="116"/>
                  </a:lnTo>
                  <a:lnTo>
                    <a:pt x="60" y="112"/>
                  </a:lnTo>
                  <a:lnTo>
                    <a:pt x="52" y="108"/>
                  </a:lnTo>
                  <a:lnTo>
                    <a:pt x="48" y="100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44" y="100"/>
                  </a:lnTo>
                  <a:lnTo>
                    <a:pt x="44" y="96"/>
                  </a:lnTo>
                  <a:lnTo>
                    <a:pt x="40" y="96"/>
                  </a:lnTo>
                  <a:lnTo>
                    <a:pt x="36" y="96"/>
                  </a:lnTo>
                  <a:lnTo>
                    <a:pt x="32" y="96"/>
                  </a:lnTo>
                  <a:lnTo>
                    <a:pt x="32" y="100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20" y="40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20" y="48"/>
                  </a:lnTo>
                  <a:lnTo>
                    <a:pt x="20" y="52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4" y="60"/>
                  </a:lnTo>
                  <a:lnTo>
                    <a:pt x="28" y="60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60" y="12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72" y="20"/>
                  </a:lnTo>
                  <a:lnTo>
                    <a:pt x="76" y="24"/>
                  </a:lnTo>
                  <a:lnTo>
                    <a:pt x="76" y="28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4" y="32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104" y="32"/>
                  </a:lnTo>
                  <a:close/>
                  <a:moveTo>
                    <a:pt x="187" y="60"/>
                  </a:moveTo>
                  <a:lnTo>
                    <a:pt x="183" y="64"/>
                  </a:lnTo>
                  <a:lnTo>
                    <a:pt x="183" y="60"/>
                  </a:lnTo>
                  <a:lnTo>
                    <a:pt x="187" y="60"/>
                  </a:lnTo>
                  <a:close/>
                  <a:moveTo>
                    <a:pt x="187" y="64"/>
                  </a:moveTo>
                  <a:lnTo>
                    <a:pt x="183" y="64"/>
                  </a:lnTo>
                  <a:lnTo>
                    <a:pt x="187" y="60"/>
                  </a:lnTo>
                  <a:lnTo>
                    <a:pt x="187" y="64"/>
                  </a:lnTo>
                  <a:close/>
                  <a:moveTo>
                    <a:pt x="183" y="68"/>
                  </a:moveTo>
                  <a:lnTo>
                    <a:pt x="183" y="64"/>
                  </a:lnTo>
                  <a:lnTo>
                    <a:pt x="187" y="64"/>
                  </a:lnTo>
                  <a:lnTo>
                    <a:pt x="183" y="68"/>
                  </a:lnTo>
                  <a:close/>
                  <a:moveTo>
                    <a:pt x="187" y="68"/>
                  </a:moveTo>
                  <a:lnTo>
                    <a:pt x="187" y="64"/>
                  </a:lnTo>
                  <a:lnTo>
                    <a:pt x="187" y="68"/>
                  </a:lnTo>
                  <a:close/>
                  <a:moveTo>
                    <a:pt x="183" y="68"/>
                  </a:moveTo>
                  <a:lnTo>
                    <a:pt x="187" y="64"/>
                  </a:lnTo>
                  <a:lnTo>
                    <a:pt x="187" y="68"/>
                  </a:lnTo>
                  <a:lnTo>
                    <a:pt x="183" y="68"/>
                  </a:lnTo>
                  <a:close/>
                  <a:moveTo>
                    <a:pt x="183" y="68"/>
                  </a:moveTo>
                  <a:lnTo>
                    <a:pt x="187" y="68"/>
                  </a:lnTo>
                  <a:lnTo>
                    <a:pt x="183" y="68"/>
                  </a:lnTo>
                  <a:close/>
                  <a:moveTo>
                    <a:pt x="183" y="72"/>
                  </a:moveTo>
                  <a:lnTo>
                    <a:pt x="179" y="72"/>
                  </a:lnTo>
                  <a:lnTo>
                    <a:pt x="179" y="68"/>
                  </a:lnTo>
                  <a:lnTo>
                    <a:pt x="175" y="68"/>
                  </a:lnTo>
                  <a:lnTo>
                    <a:pt x="179" y="68"/>
                  </a:lnTo>
                  <a:lnTo>
                    <a:pt x="183" y="68"/>
                  </a:lnTo>
                  <a:lnTo>
                    <a:pt x="179" y="68"/>
                  </a:lnTo>
                  <a:lnTo>
                    <a:pt x="183" y="68"/>
                  </a:lnTo>
                  <a:lnTo>
                    <a:pt x="183" y="72"/>
                  </a:lnTo>
                  <a:close/>
                  <a:moveTo>
                    <a:pt x="139" y="28"/>
                  </a:moveTo>
                  <a:lnTo>
                    <a:pt x="139" y="24"/>
                  </a:lnTo>
                  <a:lnTo>
                    <a:pt x="135" y="24"/>
                  </a:lnTo>
                  <a:lnTo>
                    <a:pt x="139" y="24"/>
                  </a:lnTo>
                  <a:lnTo>
                    <a:pt x="139" y="20"/>
                  </a:lnTo>
                  <a:lnTo>
                    <a:pt x="143" y="20"/>
                  </a:lnTo>
                  <a:lnTo>
                    <a:pt x="143" y="24"/>
                  </a:lnTo>
                  <a:lnTo>
                    <a:pt x="139" y="24"/>
                  </a:lnTo>
                  <a:lnTo>
                    <a:pt x="139" y="28"/>
                  </a:lnTo>
                  <a:close/>
                  <a:moveTo>
                    <a:pt x="120" y="28"/>
                  </a:moveTo>
                  <a:lnTo>
                    <a:pt x="120" y="24"/>
                  </a:lnTo>
                  <a:lnTo>
                    <a:pt x="123" y="24"/>
                  </a:lnTo>
                  <a:lnTo>
                    <a:pt x="120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3" name="Freeform 181"/>
            <p:cNvSpPr>
              <a:spLocks noEditPoints="1"/>
            </p:cNvSpPr>
            <p:nvPr>
              <p:custDataLst>
                <p:tags r:id="rId375"/>
              </p:custDataLst>
            </p:nvPr>
          </p:nvSpPr>
          <p:spPr bwMode="gray">
            <a:xfrm>
              <a:off x="6907651" y="4870321"/>
              <a:ext cx="1035179" cy="1331791"/>
            </a:xfrm>
            <a:custGeom>
              <a:avLst/>
              <a:gdLst/>
              <a:ahLst/>
              <a:cxnLst>
                <a:cxn ang="0">
                  <a:pos x="610" y="304"/>
                </a:cxn>
                <a:cxn ang="0">
                  <a:pos x="614" y="375"/>
                </a:cxn>
                <a:cxn ang="0">
                  <a:pos x="582" y="447"/>
                </a:cxn>
                <a:cxn ang="0">
                  <a:pos x="566" y="503"/>
                </a:cxn>
                <a:cxn ang="0">
                  <a:pos x="522" y="539"/>
                </a:cxn>
                <a:cxn ang="0">
                  <a:pos x="490" y="543"/>
                </a:cxn>
                <a:cxn ang="0">
                  <a:pos x="455" y="547"/>
                </a:cxn>
                <a:cxn ang="0">
                  <a:pos x="407" y="519"/>
                </a:cxn>
                <a:cxn ang="0">
                  <a:pos x="399" y="483"/>
                </a:cxn>
                <a:cxn ang="0">
                  <a:pos x="379" y="479"/>
                </a:cxn>
                <a:cxn ang="0">
                  <a:pos x="383" y="435"/>
                </a:cxn>
                <a:cxn ang="0">
                  <a:pos x="351" y="467"/>
                </a:cxn>
                <a:cxn ang="0">
                  <a:pos x="335" y="443"/>
                </a:cxn>
                <a:cxn ang="0">
                  <a:pos x="291" y="415"/>
                </a:cxn>
                <a:cxn ang="0">
                  <a:pos x="219" y="419"/>
                </a:cxn>
                <a:cxn ang="0">
                  <a:pos x="163" y="451"/>
                </a:cxn>
                <a:cxn ang="0">
                  <a:pos x="112" y="455"/>
                </a:cxn>
                <a:cxn ang="0">
                  <a:pos x="72" y="475"/>
                </a:cxn>
                <a:cxn ang="0">
                  <a:pos x="36" y="447"/>
                </a:cxn>
                <a:cxn ang="0">
                  <a:pos x="36" y="387"/>
                </a:cxn>
                <a:cxn ang="0">
                  <a:pos x="16" y="315"/>
                </a:cxn>
                <a:cxn ang="0">
                  <a:pos x="12" y="292"/>
                </a:cxn>
                <a:cxn ang="0">
                  <a:pos x="8" y="268"/>
                </a:cxn>
                <a:cxn ang="0">
                  <a:pos x="24" y="232"/>
                </a:cxn>
                <a:cxn ang="0">
                  <a:pos x="72" y="196"/>
                </a:cxn>
                <a:cxn ang="0">
                  <a:pos x="135" y="156"/>
                </a:cxn>
                <a:cxn ang="0">
                  <a:pos x="159" y="132"/>
                </a:cxn>
                <a:cxn ang="0">
                  <a:pos x="171" y="112"/>
                </a:cxn>
                <a:cxn ang="0">
                  <a:pos x="187" y="96"/>
                </a:cxn>
                <a:cxn ang="0">
                  <a:pos x="195" y="84"/>
                </a:cxn>
                <a:cxn ang="0">
                  <a:pos x="227" y="76"/>
                </a:cxn>
                <a:cxn ang="0">
                  <a:pos x="247" y="92"/>
                </a:cxn>
                <a:cxn ang="0">
                  <a:pos x="259" y="64"/>
                </a:cxn>
                <a:cxn ang="0">
                  <a:pos x="287" y="40"/>
                </a:cxn>
                <a:cxn ang="0">
                  <a:pos x="295" y="24"/>
                </a:cxn>
                <a:cxn ang="0">
                  <a:pos x="335" y="40"/>
                </a:cxn>
                <a:cxn ang="0">
                  <a:pos x="363" y="36"/>
                </a:cxn>
                <a:cxn ang="0">
                  <a:pos x="343" y="92"/>
                </a:cxn>
                <a:cxn ang="0">
                  <a:pos x="399" y="124"/>
                </a:cxn>
                <a:cxn ang="0">
                  <a:pos x="435" y="112"/>
                </a:cxn>
                <a:cxn ang="0">
                  <a:pos x="439" y="52"/>
                </a:cxn>
                <a:cxn ang="0">
                  <a:pos x="455" y="20"/>
                </a:cxn>
                <a:cxn ang="0">
                  <a:pos x="479" y="76"/>
                </a:cxn>
                <a:cxn ang="0">
                  <a:pos x="502" y="132"/>
                </a:cxn>
                <a:cxn ang="0">
                  <a:pos x="530" y="180"/>
                </a:cxn>
                <a:cxn ang="0">
                  <a:pos x="554" y="216"/>
                </a:cxn>
                <a:cxn ang="0">
                  <a:pos x="574" y="244"/>
                </a:cxn>
                <a:cxn ang="0">
                  <a:pos x="614" y="276"/>
                </a:cxn>
                <a:cxn ang="0">
                  <a:pos x="403" y="128"/>
                </a:cxn>
                <a:cxn ang="0">
                  <a:pos x="443" y="8"/>
                </a:cxn>
                <a:cxn ang="0">
                  <a:pos x="275" y="20"/>
                </a:cxn>
                <a:cxn ang="0">
                  <a:pos x="271" y="32"/>
                </a:cxn>
                <a:cxn ang="0">
                  <a:pos x="355" y="68"/>
                </a:cxn>
                <a:cxn ang="0">
                  <a:pos x="582" y="252"/>
                </a:cxn>
                <a:cxn ang="0">
                  <a:pos x="614" y="323"/>
                </a:cxn>
                <a:cxn ang="0">
                  <a:pos x="490" y="543"/>
                </a:cxn>
                <a:cxn ang="0">
                  <a:pos x="514" y="651"/>
                </a:cxn>
                <a:cxn ang="0">
                  <a:pos x="490" y="623"/>
                </a:cxn>
                <a:cxn ang="0">
                  <a:pos x="518" y="599"/>
                </a:cxn>
                <a:cxn ang="0">
                  <a:pos x="534" y="631"/>
                </a:cxn>
                <a:cxn ang="0">
                  <a:pos x="522" y="643"/>
                </a:cxn>
              </a:cxnLst>
              <a:rect l="0" t="0" r="r" b="b"/>
              <a:pathLst>
                <a:path w="698" h="898">
                  <a:moveTo>
                    <a:pt x="586" y="260"/>
                  </a:moveTo>
                  <a:lnTo>
                    <a:pt x="586" y="264"/>
                  </a:lnTo>
                  <a:lnTo>
                    <a:pt x="586" y="260"/>
                  </a:lnTo>
                  <a:lnTo>
                    <a:pt x="590" y="260"/>
                  </a:lnTo>
                  <a:lnTo>
                    <a:pt x="590" y="264"/>
                  </a:lnTo>
                  <a:lnTo>
                    <a:pt x="594" y="264"/>
                  </a:lnTo>
                  <a:lnTo>
                    <a:pt x="594" y="268"/>
                  </a:lnTo>
                  <a:lnTo>
                    <a:pt x="594" y="272"/>
                  </a:lnTo>
                  <a:lnTo>
                    <a:pt x="598" y="272"/>
                  </a:lnTo>
                  <a:lnTo>
                    <a:pt x="598" y="276"/>
                  </a:lnTo>
                  <a:lnTo>
                    <a:pt x="602" y="276"/>
                  </a:lnTo>
                  <a:lnTo>
                    <a:pt x="602" y="280"/>
                  </a:lnTo>
                  <a:lnTo>
                    <a:pt x="602" y="284"/>
                  </a:lnTo>
                  <a:lnTo>
                    <a:pt x="606" y="284"/>
                  </a:lnTo>
                  <a:lnTo>
                    <a:pt x="606" y="288"/>
                  </a:lnTo>
                  <a:lnTo>
                    <a:pt x="606" y="292"/>
                  </a:lnTo>
                  <a:lnTo>
                    <a:pt x="606" y="296"/>
                  </a:lnTo>
                  <a:lnTo>
                    <a:pt x="610" y="296"/>
                  </a:lnTo>
                  <a:lnTo>
                    <a:pt x="610" y="300"/>
                  </a:lnTo>
                  <a:lnTo>
                    <a:pt x="610" y="304"/>
                  </a:lnTo>
                  <a:lnTo>
                    <a:pt x="610" y="307"/>
                  </a:lnTo>
                  <a:lnTo>
                    <a:pt x="610" y="311"/>
                  </a:lnTo>
                  <a:lnTo>
                    <a:pt x="610" y="315"/>
                  </a:lnTo>
                  <a:lnTo>
                    <a:pt x="610" y="319"/>
                  </a:lnTo>
                  <a:lnTo>
                    <a:pt x="610" y="323"/>
                  </a:lnTo>
                  <a:lnTo>
                    <a:pt x="614" y="327"/>
                  </a:lnTo>
                  <a:lnTo>
                    <a:pt x="614" y="331"/>
                  </a:lnTo>
                  <a:lnTo>
                    <a:pt x="614" y="335"/>
                  </a:lnTo>
                  <a:lnTo>
                    <a:pt x="614" y="339"/>
                  </a:lnTo>
                  <a:lnTo>
                    <a:pt x="618" y="339"/>
                  </a:lnTo>
                  <a:lnTo>
                    <a:pt x="618" y="343"/>
                  </a:lnTo>
                  <a:lnTo>
                    <a:pt x="618" y="347"/>
                  </a:lnTo>
                  <a:lnTo>
                    <a:pt x="618" y="351"/>
                  </a:lnTo>
                  <a:lnTo>
                    <a:pt x="618" y="355"/>
                  </a:lnTo>
                  <a:lnTo>
                    <a:pt x="614" y="355"/>
                  </a:lnTo>
                  <a:lnTo>
                    <a:pt x="614" y="359"/>
                  </a:lnTo>
                  <a:lnTo>
                    <a:pt x="614" y="363"/>
                  </a:lnTo>
                  <a:lnTo>
                    <a:pt x="614" y="367"/>
                  </a:lnTo>
                  <a:lnTo>
                    <a:pt x="614" y="371"/>
                  </a:lnTo>
                  <a:lnTo>
                    <a:pt x="614" y="375"/>
                  </a:lnTo>
                  <a:lnTo>
                    <a:pt x="610" y="379"/>
                  </a:lnTo>
                  <a:lnTo>
                    <a:pt x="610" y="387"/>
                  </a:lnTo>
                  <a:lnTo>
                    <a:pt x="610" y="391"/>
                  </a:lnTo>
                  <a:lnTo>
                    <a:pt x="610" y="395"/>
                  </a:lnTo>
                  <a:lnTo>
                    <a:pt x="610" y="399"/>
                  </a:lnTo>
                  <a:lnTo>
                    <a:pt x="606" y="403"/>
                  </a:lnTo>
                  <a:lnTo>
                    <a:pt x="606" y="407"/>
                  </a:lnTo>
                  <a:lnTo>
                    <a:pt x="606" y="411"/>
                  </a:lnTo>
                  <a:lnTo>
                    <a:pt x="602" y="411"/>
                  </a:lnTo>
                  <a:lnTo>
                    <a:pt x="602" y="415"/>
                  </a:lnTo>
                  <a:lnTo>
                    <a:pt x="602" y="419"/>
                  </a:lnTo>
                  <a:lnTo>
                    <a:pt x="602" y="423"/>
                  </a:lnTo>
                  <a:lnTo>
                    <a:pt x="598" y="427"/>
                  </a:lnTo>
                  <a:lnTo>
                    <a:pt x="594" y="427"/>
                  </a:lnTo>
                  <a:lnTo>
                    <a:pt x="594" y="431"/>
                  </a:lnTo>
                  <a:lnTo>
                    <a:pt x="590" y="431"/>
                  </a:lnTo>
                  <a:lnTo>
                    <a:pt x="590" y="435"/>
                  </a:lnTo>
                  <a:lnTo>
                    <a:pt x="586" y="439"/>
                  </a:lnTo>
                  <a:lnTo>
                    <a:pt x="586" y="443"/>
                  </a:lnTo>
                  <a:lnTo>
                    <a:pt x="582" y="447"/>
                  </a:lnTo>
                  <a:lnTo>
                    <a:pt x="582" y="451"/>
                  </a:lnTo>
                  <a:lnTo>
                    <a:pt x="582" y="455"/>
                  </a:lnTo>
                  <a:lnTo>
                    <a:pt x="578" y="455"/>
                  </a:lnTo>
                  <a:lnTo>
                    <a:pt x="582" y="455"/>
                  </a:lnTo>
                  <a:lnTo>
                    <a:pt x="578" y="459"/>
                  </a:lnTo>
                  <a:lnTo>
                    <a:pt x="578" y="463"/>
                  </a:lnTo>
                  <a:lnTo>
                    <a:pt x="574" y="467"/>
                  </a:lnTo>
                  <a:lnTo>
                    <a:pt x="578" y="467"/>
                  </a:lnTo>
                  <a:lnTo>
                    <a:pt x="574" y="471"/>
                  </a:lnTo>
                  <a:lnTo>
                    <a:pt x="574" y="475"/>
                  </a:lnTo>
                  <a:lnTo>
                    <a:pt x="574" y="479"/>
                  </a:lnTo>
                  <a:lnTo>
                    <a:pt x="574" y="475"/>
                  </a:lnTo>
                  <a:lnTo>
                    <a:pt x="574" y="479"/>
                  </a:lnTo>
                  <a:lnTo>
                    <a:pt x="570" y="479"/>
                  </a:lnTo>
                  <a:lnTo>
                    <a:pt x="570" y="483"/>
                  </a:lnTo>
                  <a:lnTo>
                    <a:pt x="570" y="487"/>
                  </a:lnTo>
                  <a:lnTo>
                    <a:pt x="566" y="491"/>
                  </a:lnTo>
                  <a:lnTo>
                    <a:pt x="566" y="495"/>
                  </a:lnTo>
                  <a:lnTo>
                    <a:pt x="566" y="499"/>
                  </a:lnTo>
                  <a:lnTo>
                    <a:pt x="566" y="503"/>
                  </a:lnTo>
                  <a:lnTo>
                    <a:pt x="562" y="503"/>
                  </a:lnTo>
                  <a:lnTo>
                    <a:pt x="562" y="507"/>
                  </a:lnTo>
                  <a:lnTo>
                    <a:pt x="562" y="511"/>
                  </a:lnTo>
                  <a:lnTo>
                    <a:pt x="562" y="515"/>
                  </a:lnTo>
                  <a:lnTo>
                    <a:pt x="562" y="519"/>
                  </a:lnTo>
                  <a:lnTo>
                    <a:pt x="562" y="523"/>
                  </a:lnTo>
                  <a:lnTo>
                    <a:pt x="562" y="527"/>
                  </a:lnTo>
                  <a:lnTo>
                    <a:pt x="558" y="527"/>
                  </a:lnTo>
                  <a:lnTo>
                    <a:pt x="558" y="531"/>
                  </a:lnTo>
                  <a:lnTo>
                    <a:pt x="554" y="531"/>
                  </a:lnTo>
                  <a:lnTo>
                    <a:pt x="550" y="531"/>
                  </a:lnTo>
                  <a:lnTo>
                    <a:pt x="546" y="531"/>
                  </a:lnTo>
                  <a:lnTo>
                    <a:pt x="542" y="531"/>
                  </a:lnTo>
                  <a:lnTo>
                    <a:pt x="538" y="531"/>
                  </a:lnTo>
                  <a:lnTo>
                    <a:pt x="534" y="531"/>
                  </a:lnTo>
                  <a:lnTo>
                    <a:pt x="534" y="535"/>
                  </a:lnTo>
                  <a:lnTo>
                    <a:pt x="530" y="535"/>
                  </a:lnTo>
                  <a:lnTo>
                    <a:pt x="526" y="535"/>
                  </a:lnTo>
                  <a:lnTo>
                    <a:pt x="526" y="539"/>
                  </a:lnTo>
                  <a:lnTo>
                    <a:pt x="522" y="539"/>
                  </a:lnTo>
                  <a:lnTo>
                    <a:pt x="522" y="543"/>
                  </a:lnTo>
                  <a:lnTo>
                    <a:pt x="518" y="547"/>
                  </a:lnTo>
                  <a:lnTo>
                    <a:pt x="514" y="551"/>
                  </a:lnTo>
                  <a:lnTo>
                    <a:pt x="510" y="551"/>
                  </a:lnTo>
                  <a:lnTo>
                    <a:pt x="506" y="551"/>
                  </a:lnTo>
                  <a:lnTo>
                    <a:pt x="506" y="555"/>
                  </a:lnTo>
                  <a:lnTo>
                    <a:pt x="510" y="555"/>
                  </a:lnTo>
                  <a:lnTo>
                    <a:pt x="510" y="551"/>
                  </a:lnTo>
                  <a:lnTo>
                    <a:pt x="510" y="559"/>
                  </a:lnTo>
                  <a:lnTo>
                    <a:pt x="506" y="559"/>
                  </a:lnTo>
                  <a:lnTo>
                    <a:pt x="506" y="555"/>
                  </a:lnTo>
                  <a:lnTo>
                    <a:pt x="502" y="551"/>
                  </a:lnTo>
                  <a:lnTo>
                    <a:pt x="502" y="555"/>
                  </a:lnTo>
                  <a:lnTo>
                    <a:pt x="498" y="551"/>
                  </a:lnTo>
                  <a:lnTo>
                    <a:pt x="494" y="551"/>
                  </a:lnTo>
                  <a:lnTo>
                    <a:pt x="494" y="547"/>
                  </a:lnTo>
                  <a:lnTo>
                    <a:pt x="494" y="543"/>
                  </a:lnTo>
                  <a:lnTo>
                    <a:pt x="494" y="539"/>
                  </a:lnTo>
                  <a:lnTo>
                    <a:pt x="490" y="539"/>
                  </a:lnTo>
                  <a:lnTo>
                    <a:pt x="490" y="543"/>
                  </a:lnTo>
                  <a:lnTo>
                    <a:pt x="486" y="547"/>
                  </a:lnTo>
                  <a:lnTo>
                    <a:pt x="483" y="543"/>
                  </a:lnTo>
                  <a:lnTo>
                    <a:pt x="486" y="543"/>
                  </a:lnTo>
                  <a:lnTo>
                    <a:pt x="490" y="539"/>
                  </a:lnTo>
                  <a:lnTo>
                    <a:pt x="490" y="535"/>
                  </a:lnTo>
                  <a:lnTo>
                    <a:pt x="486" y="535"/>
                  </a:lnTo>
                  <a:lnTo>
                    <a:pt x="483" y="535"/>
                  </a:lnTo>
                  <a:lnTo>
                    <a:pt x="479" y="539"/>
                  </a:lnTo>
                  <a:lnTo>
                    <a:pt x="483" y="539"/>
                  </a:lnTo>
                  <a:lnTo>
                    <a:pt x="483" y="543"/>
                  </a:lnTo>
                  <a:lnTo>
                    <a:pt x="479" y="543"/>
                  </a:lnTo>
                  <a:lnTo>
                    <a:pt x="475" y="547"/>
                  </a:lnTo>
                  <a:lnTo>
                    <a:pt x="471" y="547"/>
                  </a:lnTo>
                  <a:lnTo>
                    <a:pt x="471" y="551"/>
                  </a:lnTo>
                  <a:lnTo>
                    <a:pt x="467" y="551"/>
                  </a:lnTo>
                  <a:lnTo>
                    <a:pt x="467" y="555"/>
                  </a:lnTo>
                  <a:lnTo>
                    <a:pt x="463" y="551"/>
                  </a:lnTo>
                  <a:lnTo>
                    <a:pt x="459" y="551"/>
                  </a:lnTo>
                  <a:lnTo>
                    <a:pt x="459" y="547"/>
                  </a:lnTo>
                  <a:lnTo>
                    <a:pt x="455" y="547"/>
                  </a:lnTo>
                  <a:lnTo>
                    <a:pt x="451" y="547"/>
                  </a:lnTo>
                  <a:lnTo>
                    <a:pt x="451" y="543"/>
                  </a:lnTo>
                  <a:lnTo>
                    <a:pt x="447" y="543"/>
                  </a:lnTo>
                  <a:lnTo>
                    <a:pt x="443" y="543"/>
                  </a:lnTo>
                  <a:lnTo>
                    <a:pt x="439" y="543"/>
                  </a:lnTo>
                  <a:lnTo>
                    <a:pt x="435" y="543"/>
                  </a:lnTo>
                  <a:lnTo>
                    <a:pt x="439" y="543"/>
                  </a:lnTo>
                  <a:lnTo>
                    <a:pt x="435" y="543"/>
                  </a:lnTo>
                  <a:lnTo>
                    <a:pt x="431" y="543"/>
                  </a:lnTo>
                  <a:lnTo>
                    <a:pt x="431" y="539"/>
                  </a:lnTo>
                  <a:lnTo>
                    <a:pt x="427" y="539"/>
                  </a:lnTo>
                  <a:lnTo>
                    <a:pt x="423" y="539"/>
                  </a:lnTo>
                  <a:lnTo>
                    <a:pt x="423" y="535"/>
                  </a:lnTo>
                  <a:lnTo>
                    <a:pt x="419" y="535"/>
                  </a:lnTo>
                  <a:lnTo>
                    <a:pt x="419" y="531"/>
                  </a:lnTo>
                  <a:lnTo>
                    <a:pt x="415" y="531"/>
                  </a:lnTo>
                  <a:lnTo>
                    <a:pt x="415" y="527"/>
                  </a:lnTo>
                  <a:lnTo>
                    <a:pt x="411" y="527"/>
                  </a:lnTo>
                  <a:lnTo>
                    <a:pt x="411" y="523"/>
                  </a:lnTo>
                  <a:lnTo>
                    <a:pt x="407" y="519"/>
                  </a:lnTo>
                  <a:lnTo>
                    <a:pt x="407" y="515"/>
                  </a:lnTo>
                  <a:lnTo>
                    <a:pt x="411" y="511"/>
                  </a:lnTo>
                  <a:lnTo>
                    <a:pt x="411" y="507"/>
                  </a:lnTo>
                  <a:lnTo>
                    <a:pt x="407" y="499"/>
                  </a:lnTo>
                  <a:lnTo>
                    <a:pt x="403" y="495"/>
                  </a:lnTo>
                  <a:lnTo>
                    <a:pt x="403" y="491"/>
                  </a:lnTo>
                  <a:lnTo>
                    <a:pt x="399" y="491"/>
                  </a:lnTo>
                  <a:lnTo>
                    <a:pt x="399" y="487"/>
                  </a:lnTo>
                  <a:lnTo>
                    <a:pt x="399" y="491"/>
                  </a:lnTo>
                  <a:lnTo>
                    <a:pt x="403" y="491"/>
                  </a:lnTo>
                  <a:lnTo>
                    <a:pt x="403" y="495"/>
                  </a:lnTo>
                  <a:lnTo>
                    <a:pt x="407" y="499"/>
                  </a:lnTo>
                  <a:lnTo>
                    <a:pt x="407" y="495"/>
                  </a:lnTo>
                  <a:lnTo>
                    <a:pt x="403" y="495"/>
                  </a:lnTo>
                  <a:lnTo>
                    <a:pt x="403" y="491"/>
                  </a:lnTo>
                  <a:lnTo>
                    <a:pt x="399" y="487"/>
                  </a:lnTo>
                  <a:lnTo>
                    <a:pt x="399" y="491"/>
                  </a:lnTo>
                  <a:lnTo>
                    <a:pt x="403" y="487"/>
                  </a:lnTo>
                  <a:lnTo>
                    <a:pt x="403" y="483"/>
                  </a:lnTo>
                  <a:lnTo>
                    <a:pt x="399" y="483"/>
                  </a:lnTo>
                  <a:lnTo>
                    <a:pt x="395" y="483"/>
                  </a:lnTo>
                  <a:lnTo>
                    <a:pt x="399" y="483"/>
                  </a:lnTo>
                  <a:lnTo>
                    <a:pt x="399" y="487"/>
                  </a:lnTo>
                  <a:lnTo>
                    <a:pt x="395" y="487"/>
                  </a:lnTo>
                  <a:lnTo>
                    <a:pt x="391" y="487"/>
                  </a:lnTo>
                  <a:lnTo>
                    <a:pt x="383" y="487"/>
                  </a:lnTo>
                  <a:lnTo>
                    <a:pt x="387" y="487"/>
                  </a:lnTo>
                  <a:lnTo>
                    <a:pt x="387" y="483"/>
                  </a:lnTo>
                  <a:lnTo>
                    <a:pt x="387" y="479"/>
                  </a:lnTo>
                  <a:lnTo>
                    <a:pt x="391" y="475"/>
                  </a:lnTo>
                  <a:lnTo>
                    <a:pt x="391" y="471"/>
                  </a:lnTo>
                  <a:lnTo>
                    <a:pt x="387" y="467"/>
                  </a:lnTo>
                  <a:lnTo>
                    <a:pt x="387" y="463"/>
                  </a:lnTo>
                  <a:lnTo>
                    <a:pt x="383" y="459"/>
                  </a:lnTo>
                  <a:lnTo>
                    <a:pt x="383" y="463"/>
                  </a:lnTo>
                  <a:lnTo>
                    <a:pt x="379" y="463"/>
                  </a:lnTo>
                  <a:lnTo>
                    <a:pt x="379" y="467"/>
                  </a:lnTo>
                  <a:lnTo>
                    <a:pt x="379" y="471"/>
                  </a:lnTo>
                  <a:lnTo>
                    <a:pt x="379" y="475"/>
                  </a:lnTo>
                  <a:lnTo>
                    <a:pt x="379" y="479"/>
                  </a:lnTo>
                  <a:lnTo>
                    <a:pt x="375" y="479"/>
                  </a:lnTo>
                  <a:lnTo>
                    <a:pt x="371" y="479"/>
                  </a:lnTo>
                  <a:lnTo>
                    <a:pt x="367" y="479"/>
                  </a:lnTo>
                  <a:lnTo>
                    <a:pt x="363" y="483"/>
                  </a:lnTo>
                  <a:lnTo>
                    <a:pt x="363" y="479"/>
                  </a:lnTo>
                  <a:lnTo>
                    <a:pt x="367" y="479"/>
                  </a:lnTo>
                  <a:lnTo>
                    <a:pt x="367" y="475"/>
                  </a:lnTo>
                  <a:lnTo>
                    <a:pt x="371" y="475"/>
                  </a:lnTo>
                  <a:lnTo>
                    <a:pt x="375" y="475"/>
                  </a:lnTo>
                  <a:lnTo>
                    <a:pt x="375" y="471"/>
                  </a:lnTo>
                  <a:lnTo>
                    <a:pt x="375" y="467"/>
                  </a:lnTo>
                  <a:lnTo>
                    <a:pt x="375" y="463"/>
                  </a:lnTo>
                  <a:lnTo>
                    <a:pt x="375" y="459"/>
                  </a:lnTo>
                  <a:lnTo>
                    <a:pt x="375" y="455"/>
                  </a:lnTo>
                  <a:lnTo>
                    <a:pt x="375" y="451"/>
                  </a:lnTo>
                  <a:lnTo>
                    <a:pt x="379" y="447"/>
                  </a:lnTo>
                  <a:lnTo>
                    <a:pt x="379" y="443"/>
                  </a:lnTo>
                  <a:lnTo>
                    <a:pt x="379" y="439"/>
                  </a:lnTo>
                  <a:lnTo>
                    <a:pt x="383" y="439"/>
                  </a:lnTo>
                  <a:lnTo>
                    <a:pt x="383" y="435"/>
                  </a:lnTo>
                  <a:lnTo>
                    <a:pt x="379" y="431"/>
                  </a:lnTo>
                  <a:lnTo>
                    <a:pt x="379" y="427"/>
                  </a:lnTo>
                  <a:lnTo>
                    <a:pt x="379" y="431"/>
                  </a:lnTo>
                  <a:lnTo>
                    <a:pt x="379" y="435"/>
                  </a:lnTo>
                  <a:lnTo>
                    <a:pt x="375" y="435"/>
                  </a:lnTo>
                  <a:lnTo>
                    <a:pt x="375" y="439"/>
                  </a:lnTo>
                  <a:lnTo>
                    <a:pt x="371" y="439"/>
                  </a:lnTo>
                  <a:lnTo>
                    <a:pt x="371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7" y="447"/>
                  </a:lnTo>
                  <a:lnTo>
                    <a:pt x="363" y="451"/>
                  </a:lnTo>
                  <a:lnTo>
                    <a:pt x="367" y="451"/>
                  </a:lnTo>
                  <a:lnTo>
                    <a:pt x="363" y="451"/>
                  </a:lnTo>
                  <a:lnTo>
                    <a:pt x="359" y="455"/>
                  </a:lnTo>
                  <a:lnTo>
                    <a:pt x="355" y="455"/>
                  </a:lnTo>
                  <a:lnTo>
                    <a:pt x="355" y="459"/>
                  </a:lnTo>
                  <a:lnTo>
                    <a:pt x="355" y="463"/>
                  </a:lnTo>
                  <a:lnTo>
                    <a:pt x="351" y="463"/>
                  </a:lnTo>
                  <a:lnTo>
                    <a:pt x="351" y="467"/>
                  </a:lnTo>
                  <a:lnTo>
                    <a:pt x="347" y="471"/>
                  </a:lnTo>
                  <a:lnTo>
                    <a:pt x="351" y="471"/>
                  </a:lnTo>
                  <a:lnTo>
                    <a:pt x="351" y="475"/>
                  </a:lnTo>
                  <a:lnTo>
                    <a:pt x="351" y="471"/>
                  </a:lnTo>
                  <a:lnTo>
                    <a:pt x="347" y="471"/>
                  </a:lnTo>
                  <a:lnTo>
                    <a:pt x="347" y="475"/>
                  </a:lnTo>
                  <a:lnTo>
                    <a:pt x="347" y="471"/>
                  </a:lnTo>
                  <a:lnTo>
                    <a:pt x="343" y="471"/>
                  </a:lnTo>
                  <a:lnTo>
                    <a:pt x="343" y="467"/>
                  </a:lnTo>
                  <a:lnTo>
                    <a:pt x="339" y="467"/>
                  </a:lnTo>
                  <a:lnTo>
                    <a:pt x="339" y="463"/>
                  </a:lnTo>
                  <a:lnTo>
                    <a:pt x="343" y="467"/>
                  </a:lnTo>
                  <a:lnTo>
                    <a:pt x="343" y="463"/>
                  </a:lnTo>
                  <a:lnTo>
                    <a:pt x="343" y="459"/>
                  </a:lnTo>
                  <a:lnTo>
                    <a:pt x="339" y="459"/>
                  </a:lnTo>
                  <a:lnTo>
                    <a:pt x="339" y="455"/>
                  </a:lnTo>
                  <a:lnTo>
                    <a:pt x="339" y="451"/>
                  </a:lnTo>
                  <a:lnTo>
                    <a:pt x="335" y="451"/>
                  </a:lnTo>
                  <a:lnTo>
                    <a:pt x="335" y="447"/>
                  </a:lnTo>
                  <a:lnTo>
                    <a:pt x="335" y="443"/>
                  </a:lnTo>
                  <a:lnTo>
                    <a:pt x="331" y="439"/>
                  </a:lnTo>
                  <a:lnTo>
                    <a:pt x="327" y="439"/>
                  </a:lnTo>
                  <a:lnTo>
                    <a:pt x="323" y="435"/>
                  </a:lnTo>
                  <a:lnTo>
                    <a:pt x="323" y="431"/>
                  </a:lnTo>
                  <a:lnTo>
                    <a:pt x="327" y="431"/>
                  </a:lnTo>
                  <a:lnTo>
                    <a:pt x="327" y="427"/>
                  </a:lnTo>
                  <a:lnTo>
                    <a:pt x="323" y="427"/>
                  </a:lnTo>
                  <a:lnTo>
                    <a:pt x="323" y="423"/>
                  </a:lnTo>
                  <a:lnTo>
                    <a:pt x="319" y="423"/>
                  </a:lnTo>
                  <a:lnTo>
                    <a:pt x="319" y="427"/>
                  </a:lnTo>
                  <a:lnTo>
                    <a:pt x="319" y="423"/>
                  </a:lnTo>
                  <a:lnTo>
                    <a:pt x="319" y="419"/>
                  </a:lnTo>
                  <a:lnTo>
                    <a:pt x="315" y="419"/>
                  </a:lnTo>
                  <a:lnTo>
                    <a:pt x="311" y="419"/>
                  </a:lnTo>
                  <a:lnTo>
                    <a:pt x="307" y="419"/>
                  </a:lnTo>
                  <a:lnTo>
                    <a:pt x="307" y="415"/>
                  </a:lnTo>
                  <a:lnTo>
                    <a:pt x="303" y="415"/>
                  </a:lnTo>
                  <a:lnTo>
                    <a:pt x="299" y="415"/>
                  </a:lnTo>
                  <a:lnTo>
                    <a:pt x="295" y="415"/>
                  </a:lnTo>
                  <a:lnTo>
                    <a:pt x="291" y="415"/>
                  </a:lnTo>
                  <a:lnTo>
                    <a:pt x="291" y="411"/>
                  </a:lnTo>
                  <a:lnTo>
                    <a:pt x="287" y="411"/>
                  </a:lnTo>
                  <a:lnTo>
                    <a:pt x="287" y="407"/>
                  </a:lnTo>
                  <a:lnTo>
                    <a:pt x="283" y="407"/>
                  </a:lnTo>
                  <a:lnTo>
                    <a:pt x="279" y="407"/>
                  </a:lnTo>
                  <a:lnTo>
                    <a:pt x="279" y="403"/>
                  </a:lnTo>
                  <a:lnTo>
                    <a:pt x="275" y="407"/>
                  </a:lnTo>
                  <a:lnTo>
                    <a:pt x="271" y="407"/>
                  </a:lnTo>
                  <a:lnTo>
                    <a:pt x="263" y="407"/>
                  </a:lnTo>
                  <a:lnTo>
                    <a:pt x="259" y="407"/>
                  </a:lnTo>
                  <a:lnTo>
                    <a:pt x="255" y="407"/>
                  </a:lnTo>
                  <a:lnTo>
                    <a:pt x="251" y="407"/>
                  </a:lnTo>
                  <a:lnTo>
                    <a:pt x="247" y="407"/>
                  </a:lnTo>
                  <a:lnTo>
                    <a:pt x="243" y="411"/>
                  </a:lnTo>
                  <a:lnTo>
                    <a:pt x="239" y="411"/>
                  </a:lnTo>
                  <a:lnTo>
                    <a:pt x="231" y="415"/>
                  </a:lnTo>
                  <a:lnTo>
                    <a:pt x="231" y="419"/>
                  </a:lnTo>
                  <a:lnTo>
                    <a:pt x="227" y="419"/>
                  </a:lnTo>
                  <a:lnTo>
                    <a:pt x="223" y="419"/>
                  </a:lnTo>
                  <a:lnTo>
                    <a:pt x="219" y="419"/>
                  </a:lnTo>
                  <a:lnTo>
                    <a:pt x="215" y="419"/>
                  </a:lnTo>
                  <a:lnTo>
                    <a:pt x="215" y="423"/>
                  </a:lnTo>
                  <a:lnTo>
                    <a:pt x="211" y="423"/>
                  </a:lnTo>
                  <a:lnTo>
                    <a:pt x="207" y="423"/>
                  </a:lnTo>
                  <a:lnTo>
                    <a:pt x="207" y="419"/>
                  </a:lnTo>
                  <a:lnTo>
                    <a:pt x="203" y="419"/>
                  </a:lnTo>
                  <a:lnTo>
                    <a:pt x="199" y="419"/>
                  </a:lnTo>
                  <a:lnTo>
                    <a:pt x="195" y="423"/>
                  </a:lnTo>
                  <a:lnTo>
                    <a:pt x="191" y="427"/>
                  </a:lnTo>
                  <a:lnTo>
                    <a:pt x="187" y="427"/>
                  </a:lnTo>
                  <a:lnTo>
                    <a:pt x="183" y="431"/>
                  </a:lnTo>
                  <a:lnTo>
                    <a:pt x="179" y="431"/>
                  </a:lnTo>
                  <a:lnTo>
                    <a:pt x="179" y="435"/>
                  </a:lnTo>
                  <a:lnTo>
                    <a:pt x="175" y="435"/>
                  </a:lnTo>
                  <a:lnTo>
                    <a:pt x="171" y="435"/>
                  </a:lnTo>
                  <a:lnTo>
                    <a:pt x="171" y="439"/>
                  </a:lnTo>
                  <a:lnTo>
                    <a:pt x="171" y="443"/>
                  </a:lnTo>
                  <a:lnTo>
                    <a:pt x="167" y="447"/>
                  </a:lnTo>
                  <a:lnTo>
                    <a:pt x="167" y="451"/>
                  </a:lnTo>
                  <a:lnTo>
                    <a:pt x="163" y="451"/>
                  </a:lnTo>
                  <a:lnTo>
                    <a:pt x="163" y="455"/>
                  </a:lnTo>
                  <a:lnTo>
                    <a:pt x="159" y="451"/>
                  </a:lnTo>
                  <a:lnTo>
                    <a:pt x="159" y="455"/>
                  </a:lnTo>
                  <a:lnTo>
                    <a:pt x="155" y="455"/>
                  </a:lnTo>
                  <a:lnTo>
                    <a:pt x="155" y="451"/>
                  </a:lnTo>
                  <a:lnTo>
                    <a:pt x="151" y="451"/>
                  </a:lnTo>
                  <a:lnTo>
                    <a:pt x="151" y="455"/>
                  </a:lnTo>
                  <a:lnTo>
                    <a:pt x="151" y="451"/>
                  </a:lnTo>
                  <a:lnTo>
                    <a:pt x="147" y="451"/>
                  </a:lnTo>
                  <a:lnTo>
                    <a:pt x="147" y="455"/>
                  </a:lnTo>
                  <a:lnTo>
                    <a:pt x="143" y="455"/>
                  </a:lnTo>
                  <a:lnTo>
                    <a:pt x="139" y="455"/>
                  </a:lnTo>
                  <a:lnTo>
                    <a:pt x="139" y="451"/>
                  </a:lnTo>
                  <a:lnTo>
                    <a:pt x="135" y="451"/>
                  </a:lnTo>
                  <a:lnTo>
                    <a:pt x="131" y="451"/>
                  </a:lnTo>
                  <a:lnTo>
                    <a:pt x="128" y="451"/>
                  </a:lnTo>
                  <a:lnTo>
                    <a:pt x="124" y="451"/>
                  </a:lnTo>
                  <a:lnTo>
                    <a:pt x="120" y="451"/>
                  </a:lnTo>
                  <a:lnTo>
                    <a:pt x="116" y="455"/>
                  </a:lnTo>
                  <a:lnTo>
                    <a:pt x="112" y="455"/>
                  </a:lnTo>
                  <a:lnTo>
                    <a:pt x="108" y="455"/>
                  </a:lnTo>
                  <a:lnTo>
                    <a:pt x="104" y="455"/>
                  </a:lnTo>
                  <a:lnTo>
                    <a:pt x="104" y="459"/>
                  </a:lnTo>
                  <a:lnTo>
                    <a:pt x="100" y="459"/>
                  </a:lnTo>
                  <a:lnTo>
                    <a:pt x="100" y="463"/>
                  </a:lnTo>
                  <a:lnTo>
                    <a:pt x="96" y="467"/>
                  </a:lnTo>
                  <a:lnTo>
                    <a:pt x="96" y="463"/>
                  </a:lnTo>
                  <a:lnTo>
                    <a:pt x="92" y="463"/>
                  </a:lnTo>
                  <a:lnTo>
                    <a:pt x="92" y="467"/>
                  </a:lnTo>
                  <a:lnTo>
                    <a:pt x="88" y="467"/>
                  </a:lnTo>
                  <a:lnTo>
                    <a:pt x="88" y="471"/>
                  </a:lnTo>
                  <a:lnTo>
                    <a:pt x="84" y="471"/>
                  </a:lnTo>
                  <a:lnTo>
                    <a:pt x="84" y="475"/>
                  </a:lnTo>
                  <a:lnTo>
                    <a:pt x="80" y="475"/>
                  </a:lnTo>
                  <a:lnTo>
                    <a:pt x="76" y="475"/>
                  </a:lnTo>
                  <a:lnTo>
                    <a:pt x="80" y="475"/>
                  </a:lnTo>
                  <a:lnTo>
                    <a:pt x="80" y="479"/>
                  </a:lnTo>
                  <a:lnTo>
                    <a:pt x="76" y="479"/>
                  </a:lnTo>
                  <a:lnTo>
                    <a:pt x="76" y="475"/>
                  </a:lnTo>
                  <a:lnTo>
                    <a:pt x="72" y="475"/>
                  </a:lnTo>
                  <a:lnTo>
                    <a:pt x="72" y="479"/>
                  </a:lnTo>
                  <a:lnTo>
                    <a:pt x="72" y="475"/>
                  </a:lnTo>
                  <a:lnTo>
                    <a:pt x="68" y="475"/>
                  </a:lnTo>
                  <a:lnTo>
                    <a:pt x="64" y="475"/>
                  </a:lnTo>
                  <a:lnTo>
                    <a:pt x="60" y="475"/>
                  </a:lnTo>
                  <a:lnTo>
                    <a:pt x="56" y="475"/>
                  </a:lnTo>
                  <a:lnTo>
                    <a:pt x="52" y="475"/>
                  </a:lnTo>
                  <a:lnTo>
                    <a:pt x="52" y="471"/>
                  </a:lnTo>
                  <a:lnTo>
                    <a:pt x="48" y="471"/>
                  </a:lnTo>
                  <a:lnTo>
                    <a:pt x="48" y="467"/>
                  </a:lnTo>
                  <a:lnTo>
                    <a:pt x="44" y="467"/>
                  </a:lnTo>
                  <a:lnTo>
                    <a:pt x="44" y="463"/>
                  </a:lnTo>
                  <a:lnTo>
                    <a:pt x="40" y="463"/>
                  </a:lnTo>
                  <a:lnTo>
                    <a:pt x="36" y="459"/>
                  </a:lnTo>
                  <a:lnTo>
                    <a:pt x="36" y="463"/>
                  </a:lnTo>
                  <a:lnTo>
                    <a:pt x="32" y="459"/>
                  </a:lnTo>
                  <a:lnTo>
                    <a:pt x="32" y="455"/>
                  </a:lnTo>
                  <a:lnTo>
                    <a:pt x="32" y="451"/>
                  </a:lnTo>
                  <a:lnTo>
                    <a:pt x="32" y="447"/>
                  </a:lnTo>
                  <a:lnTo>
                    <a:pt x="36" y="447"/>
                  </a:lnTo>
                  <a:lnTo>
                    <a:pt x="40" y="447"/>
                  </a:lnTo>
                  <a:lnTo>
                    <a:pt x="44" y="443"/>
                  </a:lnTo>
                  <a:lnTo>
                    <a:pt x="44" y="439"/>
                  </a:lnTo>
                  <a:lnTo>
                    <a:pt x="44" y="435"/>
                  </a:lnTo>
                  <a:lnTo>
                    <a:pt x="44" y="431"/>
                  </a:lnTo>
                  <a:lnTo>
                    <a:pt x="44" y="427"/>
                  </a:lnTo>
                  <a:lnTo>
                    <a:pt x="44" y="431"/>
                  </a:lnTo>
                  <a:lnTo>
                    <a:pt x="44" y="427"/>
                  </a:lnTo>
                  <a:lnTo>
                    <a:pt x="44" y="423"/>
                  </a:lnTo>
                  <a:lnTo>
                    <a:pt x="44" y="419"/>
                  </a:lnTo>
                  <a:lnTo>
                    <a:pt x="44" y="415"/>
                  </a:lnTo>
                  <a:lnTo>
                    <a:pt x="44" y="411"/>
                  </a:lnTo>
                  <a:lnTo>
                    <a:pt x="44" y="407"/>
                  </a:lnTo>
                  <a:lnTo>
                    <a:pt x="44" y="403"/>
                  </a:lnTo>
                  <a:lnTo>
                    <a:pt x="40" y="403"/>
                  </a:lnTo>
                  <a:lnTo>
                    <a:pt x="40" y="399"/>
                  </a:lnTo>
                  <a:lnTo>
                    <a:pt x="40" y="395"/>
                  </a:lnTo>
                  <a:lnTo>
                    <a:pt x="36" y="395"/>
                  </a:lnTo>
                  <a:lnTo>
                    <a:pt x="36" y="391"/>
                  </a:lnTo>
                  <a:lnTo>
                    <a:pt x="36" y="387"/>
                  </a:lnTo>
                  <a:lnTo>
                    <a:pt x="36" y="383"/>
                  </a:lnTo>
                  <a:lnTo>
                    <a:pt x="36" y="379"/>
                  </a:lnTo>
                  <a:lnTo>
                    <a:pt x="32" y="379"/>
                  </a:lnTo>
                  <a:lnTo>
                    <a:pt x="32" y="375"/>
                  </a:lnTo>
                  <a:lnTo>
                    <a:pt x="32" y="371"/>
                  </a:lnTo>
                  <a:lnTo>
                    <a:pt x="32" y="367"/>
                  </a:lnTo>
                  <a:lnTo>
                    <a:pt x="32" y="363"/>
                  </a:lnTo>
                  <a:lnTo>
                    <a:pt x="32" y="359"/>
                  </a:lnTo>
                  <a:lnTo>
                    <a:pt x="28" y="355"/>
                  </a:lnTo>
                  <a:lnTo>
                    <a:pt x="28" y="351"/>
                  </a:lnTo>
                  <a:lnTo>
                    <a:pt x="28" y="347"/>
                  </a:lnTo>
                  <a:lnTo>
                    <a:pt x="24" y="343"/>
                  </a:lnTo>
                  <a:lnTo>
                    <a:pt x="24" y="339"/>
                  </a:lnTo>
                  <a:lnTo>
                    <a:pt x="20" y="339"/>
                  </a:lnTo>
                  <a:lnTo>
                    <a:pt x="20" y="335"/>
                  </a:lnTo>
                  <a:lnTo>
                    <a:pt x="20" y="331"/>
                  </a:lnTo>
                  <a:lnTo>
                    <a:pt x="20" y="327"/>
                  </a:lnTo>
                  <a:lnTo>
                    <a:pt x="20" y="323"/>
                  </a:lnTo>
                  <a:lnTo>
                    <a:pt x="16" y="319"/>
                  </a:lnTo>
                  <a:lnTo>
                    <a:pt x="16" y="315"/>
                  </a:lnTo>
                  <a:lnTo>
                    <a:pt x="12" y="315"/>
                  </a:lnTo>
                  <a:lnTo>
                    <a:pt x="12" y="311"/>
                  </a:lnTo>
                  <a:lnTo>
                    <a:pt x="12" y="307"/>
                  </a:lnTo>
                  <a:lnTo>
                    <a:pt x="8" y="307"/>
                  </a:lnTo>
                  <a:lnTo>
                    <a:pt x="8" y="304"/>
                  </a:lnTo>
                  <a:lnTo>
                    <a:pt x="8" y="300"/>
                  </a:lnTo>
                  <a:lnTo>
                    <a:pt x="8" y="304"/>
                  </a:lnTo>
                  <a:lnTo>
                    <a:pt x="8" y="300"/>
                  </a:lnTo>
                  <a:lnTo>
                    <a:pt x="12" y="304"/>
                  </a:lnTo>
                  <a:lnTo>
                    <a:pt x="12" y="307"/>
                  </a:lnTo>
                  <a:lnTo>
                    <a:pt x="12" y="311"/>
                  </a:lnTo>
                  <a:lnTo>
                    <a:pt x="16" y="311"/>
                  </a:lnTo>
                  <a:lnTo>
                    <a:pt x="16" y="307"/>
                  </a:lnTo>
                  <a:lnTo>
                    <a:pt x="16" y="304"/>
                  </a:lnTo>
                  <a:lnTo>
                    <a:pt x="12" y="304"/>
                  </a:lnTo>
                  <a:lnTo>
                    <a:pt x="12" y="300"/>
                  </a:lnTo>
                  <a:lnTo>
                    <a:pt x="12" y="296"/>
                  </a:lnTo>
                  <a:lnTo>
                    <a:pt x="8" y="292"/>
                  </a:lnTo>
                  <a:lnTo>
                    <a:pt x="12" y="288"/>
                  </a:lnTo>
                  <a:lnTo>
                    <a:pt x="12" y="292"/>
                  </a:lnTo>
                  <a:lnTo>
                    <a:pt x="12" y="296"/>
                  </a:lnTo>
                  <a:lnTo>
                    <a:pt x="16" y="296"/>
                  </a:lnTo>
                  <a:lnTo>
                    <a:pt x="16" y="300"/>
                  </a:lnTo>
                  <a:lnTo>
                    <a:pt x="12" y="300"/>
                  </a:lnTo>
                  <a:lnTo>
                    <a:pt x="16" y="304"/>
                  </a:lnTo>
                  <a:lnTo>
                    <a:pt x="16" y="300"/>
                  </a:lnTo>
                  <a:lnTo>
                    <a:pt x="16" y="304"/>
                  </a:lnTo>
                  <a:lnTo>
                    <a:pt x="20" y="307"/>
                  </a:lnTo>
                  <a:lnTo>
                    <a:pt x="20" y="304"/>
                  </a:lnTo>
                  <a:lnTo>
                    <a:pt x="20" y="300"/>
                  </a:lnTo>
                  <a:lnTo>
                    <a:pt x="24" y="300"/>
                  </a:lnTo>
                  <a:lnTo>
                    <a:pt x="24" y="296"/>
                  </a:lnTo>
                  <a:lnTo>
                    <a:pt x="20" y="292"/>
                  </a:lnTo>
                  <a:lnTo>
                    <a:pt x="16" y="288"/>
                  </a:lnTo>
                  <a:lnTo>
                    <a:pt x="16" y="284"/>
                  </a:lnTo>
                  <a:lnTo>
                    <a:pt x="12" y="280"/>
                  </a:lnTo>
                  <a:lnTo>
                    <a:pt x="12" y="276"/>
                  </a:lnTo>
                  <a:lnTo>
                    <a:pt x="12" y="272"/>
                  </a:lnTo>
                  <a:lnTo>
                    <a:pt x="8" y="272"/>
                  </a:lnTo>
                  <a:lnTo>
                    <a:pt x="8" y="268"/>
                  </a:lnTo>
                  <a:lnTo>
                    <a:pt x="8" y="264"/>
                  </a:lnTo>
                  <a:lnTo>
                    <a:pt x="12" y="260"/>
                  </a:lnTo>
                  <a:lnTo>
                    <a:pt x="12" y="256"/>
                  </a:lnTo>
                  <a:lnTo>
                    <a:pt x="12" y="252"/>
                  </a:lnTo>
                  <a:lnTo>
                    <a:pt x="16" y="252"/>
                  </a:lnTo>
                  <a:lnTo>
                    <a:pt x="16" y="248"/>
                  </a:lnTo>
                  <a:lnTo>
                    <a:pt x="16" y="244"/>
                  </a:lnTo>
                  <a:lnTo>
                    <a:pt x="16" y="240"/>
                  </a:lnTo>
                  <a:lnTo>
                    <a:pt x="16" y="236"/>
                  </a:lnTo>
                  <a:lnTo>
                    <a:pt x="12" y="236"/>
                  </a:lnTo>
                  <a:lnTo>
                    <a:pt x="12" y="232"/>
                  </a:lnTo>
                  <a:lnTo>
                    <a:pt x="16" y="232"/>
                  </a:lnTo>
                  <a:lnTo>
                    <a:pt x="16" y="228"/>
                  </a:lnTo>
                  <a:lnTo>
                    <a:pt x="16" y="224"/>
                  </a:lnTo>
                  <a:lnTo>
                    <a:pt x="16" y="220"/>
                  </a:lnTo>
                  <a:lnTo>
                    <a:pt x="20" y="220"/>
                  </a:lnTo>
                  <a:lnTo>
                    <a:pt x="20" y="224"/>
                  </a:lnTo>
                  <a:lnTo>
                    <a:pt x="20" y="228"/>
                  </a:lnTo>
                  <a:lnTo>
                    <a:pt x="20" y="232"/>
                  </a:lnTo>
                  <a:lnTo>
                    <a:pt x="24" y="232"/>
                  </a:lnTo>
                  <a:lnTo>
                    <a:pt x="24" y="228"/>
                  </a:lnTo>
                  <a:lnTo>
                    <a:pt x="24" y="224"/>
                  </a:lnTo>
                  <a:lnTo>
                    <a:pt x="28" y="224"/>
                  </a:lnTo>
                  <a:lnTo>
                    <a:pt x="28" y="220"/>
                  </a:lnTo>
                  <a:lnTo>
                    <a:pt x="32" y="216"/>
                  </a:lnTo>
                  <a:lnTo>
                    <a:pt x="36" y="216"/>
                  </a:lnTo>
                  <a:lnTo>
                    <a:pt x="40" y="212"/>
                  </a:lnTo>
                  <a:lnTo>
                    <a:pt x="44" y="208"/>
                  </a:lnTo>
                  <a:lnTo>
                    <a:pt x="48" y="208"/>
                  </a:lnTo>
                  <a:lnTo>
                    <a:pt x="48" y="204"/>
                  </a:lnTo>
                  <a:lnTo>
                    <a:pt x="52" y="204"/>
                  </a:lnTo>
                  <a:lnTo>
                    <a:pt x="52" y="200"/>
                  </a:lnTo>
                  <a:lnTo>
                    <a:pt x="56" y="200"/>
                  </a:lnTo>
                  <a:lnTo>
                    <a:pt x="60" y="200"/>
                  </a:lnTo>
                  <a:lnTo>
                    <a:pt x="60" y="196"/>
                  </a:lnTo>
                  <a:lnTo>
                    <a:pt x="64" y="196"/>
                  </a:lnTo>
                  <a:lnTo>
                    <a:pt x="68" y="196"/>
                  </a:lnTo>
                  <a:lnTo>
                    <a:pt x="68" y="200"/>
                  </a:lnTo>
                  <a:lnTo>
                    <a:pt x="72" y="200"/>
                  </a:lnTo>
                  <a:lnTo>
                    <a:pt x="72" y="196"/>
                  </a:lnTo>
                  <a:lnTo>
                    <a:pt x="76" y="196"/>
                  </a:lnTo>
                  <a:lnTo>
                    <a:pt x="80" y="196"/>
                  </a:lnTo>
                  <a:lnTo>
                    <a:pt x="80" y="192"/>
                  </a:lnTo>
                  <a:lnTo>
                    <a:pt x="84" y="192"/>
                  </a:lnTo>
                  <a:lnTo>
                    <a:pt x="88" y="192"/>
                  </a:lnTo>
                  <a:lnTo>
                    <a:pt x="92" y="188"/>
                  </a:lnTo>
                  <a:lnTo>
                    <a:pt x="96" y="184"/>
                  </a:lnTo>
                  <a:lnTo>
                    <a:pt x="100" y="184"/>
                  </a:lnTo>
                  <a:lnTo>
                    <a:pt x="104" y="184"/>
                  </a:lnTo>
                  <a:lnTo>
                    <a:pt x="108" y="184"/>
                  </a:lnTo>
                  <a:lnTo>
                    <a:pt x="112" y="184"/>
                  </a:lnTo>
                  <a:lnTo>
                    <a:pt x="116" y="180"/>
                  </a:lnTo>
                  <a:lnTo>
                    <a:pt x="120" y="180"/>
                  </a:lnTo>
                  <a:lnTo>
                    <a:pt x="124" y="176"/>
                  </a:lnTo>
                  <a:lnTo>
                    <a:pt x="128" y="176"/>
                  </a:lnTo>
                  <a:lnTo>
                    <a:pt x="128" y="172"/>
                  </a:lnTo>
                  <a:lnTo>
                    <a:pt x="131" y="168"/>
                  </a:lnTo>
                  <a:lnTo>
                    <a:pt x="131" y="164"/>
                  </a:lnTo>
                  <a:lnTo>
                    <a:pt x="135" y="160"/>
                  </a:lnTo>
                  <a:lnTo>
                    <a:pt x="135" y="156"/>
                  </a:lnTo>
                  <a:lnTo>
                    <a:pt x="139" y="156"/>
                  </a:lnTo>
                  <a:lnTo>
                    <a:pt x="139" y="152"/>
                  </a:lnTo>
                  <a:lnTo>
                    <a:pt x="143" y="148"/>
                  </a:lnTo>
                  <a:lnTo>
                    <a:pt x="143" y="144"/>
                  </a:lnTo>
                  <a:lnTo>
                    <a:pt x="143" y="140"/>
                  </a:lnTo>
                  <a:lnTo>
                    <a:pt x="143" y="136"/>
                  </a:lnTo>
                  <a:lnTo>
                    <a:pt x="143" y="132"/>
                  </a:lnTo>
                  <a:lnTo>
                    <a:pt x="143" y="128"/>
                  </a:lnTo>
                  <a:lnTo>
                    <a:pt x="147" y="128"/>
                  </a:lnTo>
                  <a:lnTo>
                    <a:pt x="147" y="124"/>
                  </a:lnTo>
                  <a:lnTo>
                    <a:pt x="151" y="124"/>
                  </a:lnTo>
                  <a:lnTo>
                    <a:pt x="151" y="120"/>
                  </a:lnTo>
                  <a:lnTo>
                    <a:pt x="151" y="116"/>
                  </a:lnTo>
                  <a:lnTo>
                    <a:pt x="155" y="116"/>
                  </a:lnTo>
                  <a:lnTo>
                    <a:pt x="155" y="120"/>
                  </a:lnTo>
                  <a:lnTo>
                    <a:pt x="155" y="116"/>
                  </a:lnTo>
                  <a:lnTo>
                    <a:pt x="155" y="120"/>
                  </a:lnTo>
                  <a:lnTo>
                    <a:pt x="155" y="124"/>
                  </a:lnTo>
                  <a:lnTo>
                    <a:pt x="159" y="128"/>
                  </a:lnTo>
                  <a:lnTo>
                    <a:pt x="159" y="132"/>
                  </a:lnTo>
                  <a:lnTo>
                    <a:pt x="159" y="136"/>
                  </a:lnTo>
                  <a:lnTo>
                    <a:pt x="163" y="136"/>
                  </a:lnTo>
                  <a:lnTo>
                    <a:pt x="163" y="140"/>
                  </a:lnTo>
                  <a:lnTo>
                    <a:pt x="163" y="136"/>
                  </a:lnTo>
                  <a:lnTo>
                    <a:pt x="163" y="132"/>
                  </a:lnTo>
                  <a:lnTo>
                    <a:pt x="163" y="128"/>
                  </a:lnTo>
                  <a:lnTo>
                    <a:pt x="167" y="128"/>
                  </a:lnTo>
                  <a:lnTo>
                    <a:pt x="167" y="132"/>
                  </a:lnTo>
                  <a:lnTo>
                    <a:pt x="167" y="128"/>
                  </a:lnTo>
                  <a:lnTo>
                    <a:pt x="167" y="124"/>
                  </a:lnTo>
                  <a:lnTo>
                    <a:pt x="163" y="124"/>
                  </a:lnTo>
                  <a:lnTo>
                    <a:pt x="163" y="120"/>
                  </a:lnTo>
                  <a:lnTo>
                    <a:pt x="159" y="120"/>
                  </a:lnTo>
                  <a:lnTo>
                    <a:pt x="163" y="120"/>
                  </a:lnTo>
                  <a:lnTo>
                    <a:pt x="163" y="116"/>
                  </a:lnTo>
                  <a:lnTo>
                    <a:pt x="163" y="112"/>
                  </a:lnTo>
                  <a:lnTo>
                    <a:pt x="167" y="112"/>
                  </a:lnTo>
                  <a:lnTo>
                    <a:pt x="167" y="116"/>
                  </a:lnTo>
                  <a:lnTo>
                    <a:pt x="167" y="112"/>
                  </a:lnTo>
                  <a:lnTo>
                    <a:pt x="171" y="112"/>
                  </a:lnTo>
                  <a:lnTo>
                    <a:pt x="171" y="116"/>
                  </a:lnTo>
                  <a:lnTo>
                    <a:pt x="175" y="116"/>
                  </a:lnTo>
                  <a:lnTo>
                    <a:pt x="179" y="116"/>
                  </a:lnTo>
                  <a:lnTo>
                    <a:pt x="183" y="116"/>
                  </a:lnTo>
                  <a:lnTo>
                    <a:pt x="179" y="116"/>
                  </a:lnTo>
                  <a:lnTo>
                    <a:pt x="175" y="116"/>
                  </a:lnTo>
                  <a:lnTo>
                    <a:pt x="175" y="112"/>
                  </a:lnTo>
                  <a:lnTo>
                    <a:pt x="179" y="112"/>
                  </a:lnTo>
                  <a:lnTo>
                    <a:pt x="179" y="108"/>
                  </a:lnTo>
                  <a:lnTo>
                    <a:pt x="179" y="104"/>
                  </a:lnTo>
                  <a:lnTo>
                    <a:pt x="179" y="108"/>
                  </a:lnTo>
                  <a:lnTo>
                    <a:pt x="175" y="108"/>
                  </a:lnTo>
                  <a:lnTo>
                    <a:pt x="175" y="104"/>
                  </a:lnTo>
                  <a:lnTo>
                    <a:pt x="175" y="100"/>
                  </a:lnTo>
                  <a:lnTo>
                    <a:pt x="179" y="100"/>
                  </a:lnTo>
                  <a:lnTo>
                    <a:pt x="179" y="96"/>
                  </a:lnTo>
                  <a:lnTo>
                    <a:pt x="183" y="96"/>
                  </a:lnTo>
                  <a:lnTo>
                    <a:pt x="183" y="100"/>
                  </a:lnTo>
                  <a:lnTo>
                    <a:pt x="187" y="100"/>
                  </a:lnTo>
                  <a:lnTo>
                    <a:pt x="187" y="96"/>
                  </a:lnTo>
                  <a:lnTo>
                    <a:pt x="183" y="96"/>
                  </a:lnTo>
                  <a:lnTo>
                    <a:pt x="187" y="92"/>
                  </a:lnTo>
                  <a:lnTo>
                    <a:pt x="183" y="92"/>
                  </a:lnTo>
                  <a:lnTo>
                    <a:pt x="183" y="96"/>
                  </a:lnTo>
                  <a:lnTo>
                    <a:pt x="183" y="92"/>
                  </a:lnTo>
                  <a:lnTo>
                    <a:pt x="187" y="92"/>
                  </a:lnTo>
                  <a:lnTo>
                    <a:pt x="191" y="92"/>
                  </a:lnTo>
                  <a:lnTo>
                    <a:pt x="187" y="92"/>
                  </a:lnTo>
                  <a:lnTo>
                    <a:pt x="187" y="88"/>
                  </a:lnTo>
                  <a:lnTo>
                    <a:pt x="187" y="84"/>
                  </a:lnTo>
                  <a:lnTo>
                    <a:pt x="191" y="80"/>
                  </a:lnTo>
                  <a:lnTo>
                    <a:pt x="191" y="84"/>
                  </a:lnTo>
                  <a:lnTo>
                    <a:pt x="195" y="84"/>
                  </a:lnTo>
                  <a:lnTo>
                    <a:pt x="195" y="80"/>
                  </a:lnTo>
                  <a:lnTo>
                    <a:pt x="195" y="76"/>
                  </a:lnTo>
                  <a:lnTo>
                    <a:pt x="195" y="80"/>
                  </a:lnTo>
                  <a:lnTo>
                    <a:pt x="195" y="84"/>
                  </a:lnTo>
                  <a:lnTo>
                    <a:pt x="195" y="80"/>
                  </a:lnTo>
                  <a:lnTo>
                    <a:pt x="199" y="80"/>
                  </a:lnTo>
                  <a:lnTo>
                    <a:pt x="195" y="84"/>
                  </a:lnTo>
                  <a:lnTo>
                    <a:pt x="199" y="84"/>
                  </a:lnTo>
                  <a:lnTo>
                    <a:pt x="199" y="80"/>
                  </a:lnTo>
                  <a:lnTo>
                    <a:pt x="203" y="76"/>
                  </a:lnTo>
                  <a:lnTo>
                    <a:pt x="199" y="72"/>
                  </a:lnTo>
                  <a:lnTo>
                    <a:pt x="203" y="72"/>
                  </a:lnTo>
                  <a:lnTo>
                    <a:pt x="203" y="76"/>
                  </a:lnTo>
                  <a:lnTo>
                    <a:pt x="203" y="72"/>
                  </a:lnTo>
                  <a:lnTo>
                    <a:pt x="207" y="72"/>
                  </a:lnTo>
                  <a:lnTo>
                    <a:pt x="207" y="76"/>
                  </a:lnTo>
                  <a:lnTo>
                    <a:pt x="211" y="76"/>
                  </a:lnTo>
                  <a:lnTo>
                    <a:pt x="211" y="72"/>
                  </a:lnTo>
                  <a:lnTo>
                    <a:pt x="211" y="68"/>
                  </a:lnTo>
                  <a:lnTo>
                    <a:pt x="215" y="68"/>
                  </a:lnTo>
                  <a:lnTo>
                    <a:pt x="215" y="72"/>
                  </a:lnTo>
                  <a:lnTo>
                    <a:pt x="219" y="72"/>
                  </a:lnTo>
                  <a:lnTo>
                    <a:pt x="219" y="68"/>
                  </a:lnTo>
                  <a:lnTo>
                    <a:pt x="219" y="72"/>
                  </a:lnTo>
                  <a:lnTo>
                    <a:pt x="223" y="72"/>
                  </a:lnTo>
                  <a:lnTo>
                    <a:pt x="223" y="76"/>
                  </a:lnTo>
                  <a:lnTo>
                    <a:pt x="227" y="76"/>
                  </a:lnTo>
                  <a:lnTo>
                    <a:pt x="227" y="80"/>
                  </a:lnTo>
                  <a:lnTo>
                    <a:pt x="231" y="84"/>
                  </a:lnTo>
                  <a:lnTo>
                    <a:pt x="231" y="88"/>
                  </a:lnTo>
                  <a:lnTo>
                    <a:pt x="231" y="92"/>
                  </a:lnTo>
                  <a:lnTo>
                    <a:pt x="231" y="96"/>
                  </a:lnTo>
                  <a:lnTo>
                    <a:pt x="231" y="100"/>
                  </a:lnTo>
                  <a:lnTo>
                    <a:pt x="231" y="96"/>
                  </a:lnTo>
                  <a:lnTo>
                    <a:pt x="235" y="96"/>
                  </a:lnTo>
                  <a:lnTo>
                    <a:pt x="235" y="92"/>
                  </a:lnTo>
                  <a:lnTo>
                    <a:pt x="231" y="92"/>
                  </a:lnTo>
                  <a:lnTo>
                    <a:pt x="235" y="92"/>
                  </a:lnTo>
                  <a:lnTo>
                    <a:pt x="235" y="88"/>
                  </a:lnTo>
                  <a:lnTo>
                    <a:pt x="235" y="92"/>
                  </a:lnTo>
                  <a:lnTo>
                    <a:pt x="235" y="88"/>
                  </a:lnTo>
                  <a:lnTo>
                    <a:pt x="239" y="88"/>
                  </a:lnTo>
                  <a:lnTo>
                    <a:pt x="239" y="84"/>
                  </a:lnTo>
                  <a:lnTo>
                    <a:pt x="239" y="88"/>
                  </a:lnTo>
                  <a:lnTo>
                    <a:pt x="243" y="88"/>
                  </a:lnTo>
                  <a:lnTo>
                    <a:pt x="247" y="88"/>
                  </a:lnTo>
                  <a:lnTo>
                    <a:pt x="247" y="92"/>
                  </a:lnTo>
                  <a:lnTo>
                    <a:pt x="251" y="92"/>
                  </a:lnTo>
                  <a:lnTo>
                    <a:pt x="247" y="92"/>
                  </a:lnTo>
                  <a:lnTo>
                    <a:pt x="247" y="88"/>
                  </a:lnTo>
                  <a:lnTo>
                    <a:pt x="251" y="88"/>
                  </a:lnTo>
                  <a:lnTo>
                    <a:pt x="255" y="92"/>
                  </a:lnTo>
                  <a:lnTo>
                    <a:pt x="255" y="96"/>
                  </a:lnTo>
                  <a:lnTo>
                    <a:pt x="255" y="92"/>
                  </a:lnTo>
                  <a:lnTo>
                    <a:pt x="255" y="88"/>
                  </a:lnTo>
                  <a:lnTo>
                    <a:pt x="259" y="88"/>
                  </a:lnTo>
                  <a:lnTo>
                    <a:pt x="255" y="88"/>
                  </a:lnTo>
                  <a:lnTo>
                    <a:pt x="255" y="84"/>
                  </a:lnTo>
                  <a:lnTo>
                    <a:pt x="255" y="80"/>
                  </a:lnTo>
                  <a:lnTo>
                    <a:pt x="255" y="84"/>
                  </a:lnTo>
                  <a:lnTo>
                    <a:pt x="251" y="80"/>
                  </a:lnTo>
                  <a:lnTo>
                    <a:pt x="251" y="76"/>
                  </a:lnTo>
                  <a:lnTo>
                    <a:pt x="255" y="72"/>
                  </a:lnTo>
                  <a:lnTo>
                    <a:pt x="259" y="68"/>
                  </a:lnTo>
                  <a:lnTo>
                    <a:pt x="259" y="64"/>
                  </a:lnTo>
                  <a:lnTo>
                    <a:pt x="259" y="60"/>
                  </a:lnTo>
                  <a:lnTo>
                    <a:pt x="259" y="64"/>
                  </a:lnTo>
                  <a:lnTo>
                    <a:pt x="263" y="60"/>
                  </a:lnTo>
                  <a:lnTo>
                    <a:pt x="263" y="56"/>
                  </a:lnTo>
                  <a:lnTo>
                    <a:pt x="263" y="52"/>
                  </a:lnTo>
                  <a:lnTo>
                    <a:pt x="267" y="52"/>
                  </a:lnTo>
                  <a:lnTo>
                    <a:pt x="267" y="48"/>
                  </a:lnTo>
                  <a:lnTo>
                    <a:pt x="267" y="44"/>
                  </a:lnTo>
                  <a:lnTo>
                    <a:pt x="267" y="48"/>
                  </a:lnTo>
                  <a:lnTo>
                    <a:pt x="271" y="48"/>
                  </a:lnTo>
                  <a:lnTo>
                    <a:pt x="271" y="44"/>
                  </a:lnTo>
                  <a:lnTo>
                    <a:pt x="271" y="40"/>
                  </a:lnTo>
                  <a:lnTo>
                    <a:pt x="271" y="44"/>
                  </a:lnTo>
                  <a:lnTo>
                    <a:pt x="275" y="48"/>
                  </a:lnTo>
                  <a:lnTo>
                    <a:pt x="275" y="44"/>
                  </a:lnTo>
                  <a:lnTo>
                    <a:pt x="271" y="44"/>
                  </a:lnTo>
                  <a:lnTo>
                    <a:pt x="275" y="40"/>
                  </a:lnTo>
                  <a:lnTo>
                    <a:pt x="275" y="36"/>
                  </a:lnTo>
                  <a:lnTo>
                    <a:pt x="279" y="36"/>
                  </a:lnTo>
                  <a:lnTo>
                    <a:pt x="279" y="40"/>
                  </a:lnTo>
                  <a:lnTo>
                    <a:pt x="283" y="40"/>
                  </a:lnTo>
                  <a:lnTo>
                    <a:pt x="287" y="40"/>
                  </a:lnTo>
                  <a:lnTo>
                    <a:pt x="291" y="40"/>
                  </a:lnTo>
                  <a:lnTo>
                    <a:pt x="295" y="40"/>
                  </a:lnTo>
                  <a:lnTo>
                    <a:pt x="299" y="40"/>
                  </a:lnTo>
                  <a:lnTo>
                    <a:pt x="295" y="40"/>
                  </a:lnTo>
                  <a:lnTo>
                    <a:pt x="299" y="40"/>
                  </a:lnTo>
                  <a:lnTo>
                    <a:pt x="299" y="36"/>
                  </a:lnTo>
                  <a:lnTo>
                    <a:pt x="303" y="36"/>
                  </a:lnTo>
                  <a:lnTo>
                    <a:pt x="299" y="36"/>
                  </a:lnTo>
                  <a:lnTo>
                    <a:pt x="299" y="32"/>
                  </a:lnTo>
                  <a:lnTo>
                    <a:pt x="299" y="28"/>
                  </a:lnTo>
                  <a:lnTo>
                    <a:pt x="303" y="28"/>
                  </a:lnTo>
                  <a:lnTo>
                    <a:pt x="299" y="28"/>
                  </a:lnTo>
                  <a:lnTo>
                    <a:pt x="299" y="24"/>
                  </a:lnTo>
                  <a:lnTo>
                    <a:pt x="295" y="24"/>
                  </a:lnTo>
                  <a:lnTo>
                    <a:pt x="291" y="24"/>
                  </a:lnTo>
                  <a:lnTo>
                    <a:pt x="287" y="20"/>
                  </a:lnTo>
                  <a:lnTo>
                    <a:pt x="287" y="24"/>
                  </a:lnTo>
                  <a:lnTo>
                    <a:pt x="287" y="20"/>
                  </a:lnTo>
                  <a:lnTo>
                    <a:pt x="291" y="20"/>
                  </a:lnTo>
                  <a:lnTo>
                    <a:pt x="295" y="24"/>
                  </a:lnTo>
                  <a:lnTo>
                    <a:pt x="295" y="20"/>
                  </a:lnTo>
                  <a:lnTo>
                    <a:pt x="291" y="20"/>
                  </a:lnTo>
                  <a:lnTo>
                    <a:pt x="295" y="20"/>
                  </a:lnTo>
                  <a:lnTo>
                    <a:pt x="299" y="20"/>
                  </a:lnTo>
                  <a:lnTo>
                    <a:pt x="299" y="24"/>
                  </a:lnTo>
                  <a:lnTo>
                    <a:pt x="303" y="24"/>
                  </a:lnTo>
                  <a:lnTo>
                    <a:pt x="307" y="24"/>
                  </a:lnTo>
                  <a:lnTo>
                    <a:pt x="307" y="28"/>
                  </a:lnTo>
                  <a:lnTo>
                    <a:pt x="311" y="28"/>
                  </a:lnTo>
                  <a:lnTo>
                    <a:pt x="311" y="32"/>
                  </a:lnTo>
                  <a:lnTo>
                    <a:pt x="315" y="32"/>
                  </a:lnTo>
                  <a:lnTo>
                    <a:pt x="319" y="32"/>
                  </a:lnTo>
                  <a:lnTo>
                    <a:pt x="319" y="28"/>
                  </a:lnTo>
                  <a:lnTo>
                    <a:pt x="319" y="32"/>
                  </a:lnTo>
                  <a:lnTo>
                    <a:pt x="323" y="32"/>
                  </a:lnTo>
                  <a:lnTo>
                    <a:pt x="323" y="36"/>
                  </a:lnTo>
                  <a:lnTo>
                    <a:pt x="327" y="36"/>
                  </a:lnTo>
                  <a:lnTo>
                    <a:pt x="331" y="36"/>
                  </a:lnTo>
                  <a:lnTo>
                    <a:pt x="335" y="36"/>
                  </a:lnTo>
                  <a:lnTo>
                    <a:pt x="335" y="40"/>
                  </a:lnTo>
                  <a:lnTo>
                    <a:pt x="339" y="40"/>
                  </a:lnTo>
                  <a:lnTo>
                    <a:pt x="339" y="36"/>
                  </a:lnTo>
                  <a:lnTo>
                    <a:pt x="343" y="36"/>
                  </a:lnTo>
                  <a:lnTo>
                    <a:pt x="347" y="36"/>
                  </a:lnTo>
                  <a:lnTo>
                    <a:pt x="343" y="36"/>
                  </a:lnTo>
                  <a:lnTo>
                    <a:pt x="347" y="32"/>
                  </a:lnTo>
                  <a:lnTo>
                    <a:pt x="351" y="32"/>
                  </a:lnTo>
                  <a:lnTo>
                    <a:pt x="347" y="36"/>
                  </a:lnTo>
                  <a:lnTo>
                    <a:pt x="347" y="40"/>
                  </a:lnTo>
                  <a:lnTo>
                    <a:pt x="351" y="36"/>
                  </a:lnTo>
                  <a:lnTo>
                    <a:pt x="351" y="40"/>
                  </a:lnTo>
                  <a:lnTo>
                    <a:pt x="351" y="44"/>
                  </a:lnTo>
                  <a:lnTo>
                    <a:pt x="355" y="44"/>
                  </a:lnTo>
                  <a:lnTo>
                    <a:pt x="355" y="40"/>
                  </a:lnTo>
                  <a:lnTo>
                    <a:pt x="355" y="36"/>
                  </a:lnTo>
                  <a:lnTo>
                    <a:pt x="359" y="32"/>
                  </a:lnTo>
                  <a:lnTo>
                    <a:pt x="359" y="36"/>
                  </a:lnTo>
                  <a:lnTo>
                    <a:pt x="359" y="40"/>
                  </a:lnTo>
                  <a:lnTo>
                    <a:pt x="363" y="40"/>
                  </a:lnTo>
                  <a:lnTo>
                    <a:pt x="363" y="36"/>
                  </a:lnTo>
                  <a:lnTo>
                    <a:pt x="363" y="40"/>
                  </a:lnTo>
                  <a:lnTo>
                    <a:pt x="367" y="40"/>
                  </a:lnTo>
                  <a:lnTo>
                    <a:pt x="363" y="44"/>
                  </a:lnTo>
                  <a:lnTo>
                    <a:pt x="363" y="48"/>
                  </a:lnTo>
                  <a:lnTo>
                    <a:pt x="359" y="48"/>
                  </a:lnTo>
                  <a:lnTo>
                    <a:pt x="359" y="52"/>
                  </a:lnTo>
                  <a:lnTo>
                    <a:pt x="359" y="56"/>
                  </a:lnTo>
                  <a:lnTo>
                    <a:pt x="355" y="56"/>
                  </a:lnTo>
                  <a:lnTo>
                    <a:pt x="351" y="56"/>
                  </a:lnTo>
                  <a:lnTo>
                    <a:pt x="351" y="60"/>
                  </a:lnTo>
                  <a:lnTo>
                    <a:pt x="351" y="64"/>
                  </a:lnTo>
                  <a:lnTo>
                    <a:pt x="351" y="68"/>
                  </a:lnTo>
                  <a:lnTo>
                    <a:pt x="351" y="72"/>
                  </a:lnTo>
                  <a:lnTo>
                    <a:pt x="351" y="76"/>
                  </a:lnTo>
                  <a:lnTo>
                    <a:pt x="347" y="76"/>
                  </a:lnTo>
                  <a:lnTo>
                    <a:pt x="347" y="80"/>
                  </a:lnTo>
                  <a:lnTo>
                    <a:pt x="343" y="80"/>
                  </a:lnTo>
                  <a:lnTo>
                    <a:pt x="343" y="84"/>
                  </a:lnTo>
                  <a:lnTo>
                    <a:pt x="343" y="88"/>
                  </a:lnTo>
                  <a:lnTo>
                    <a:pt x="343" y="92"/>
                  </a:lnTo>
                  <a:lnTo>
                    <a:pt x="347" y="92"/>
                  </a:lnTo>
                  <a:lnTo>
                    <a:pt x="351" y="92"/>
                  </a:lnTo>
                  <a:lnTo>
                    <a:pt x="351" y="96"/>
                  </a:lnTo>
                  <a:lnTo>
                    <a:pt x="355" y="96"/>
                  </a:lnTo>
                  <a:lnTo>
                    <a:pt x="355" y="100"/>
                  </a:lnTo>
                  <a:lnTo>
                    <a:pt x="359" y="104"/>
                  </a:lnTo>
                  <a:lnTo>
                    <a:pt x="363" y="104"/>
                  </a:lnTo>
                  <a:lnTo>
                    <a:pt x="363" y="108"/>
                  </a:lnTo>
                  <a:lnTo>
                    <a:pt x="367" y="108"/>
                  </a:lnTo>
                  <a:lnTo>
                    <a:pt x="371" y="112"/>
                  </a:lnTo>
                  <a:lnTo>
                    <a:pt x="375" y="112"/>
                  </a:lnTo>
                  <a:lnTo>
                    <a:pt x="379" y="112"/>
                  </a:lnTo>
                  <a:lnTo>
                    <a:pt x="379" y="116"/>
                  </a:lnTo>
                  <a:lnTo>
                    <a:pt x="379" y="120"/>
                  </a:lnTo>
                  <a:lnTo>
                    <a:pt x="383" y="120"/>
                  </a:lnTo>
                  <a:lnTo>
                    <a:pt x="383" y="124"/>
                  </a:lnTo>
                  <a:lnTo>
                    <a:pt x="387" y="124"/>
                  </a:lnTo>
                  <a:lnTo>
                    <a:pt x="391" y="124"/>
                  </a:lnTo>
                  <a:lnTo>
                    <a:pt x="395" y="124"/>
                  </a:lnTo>
                  <a:lnTo>
                    <a:pt x="399" y="124"/>
                  </a:lnTo>
                  <a:lnTo>
                    <a:pt x="399" y="128"/>
                  </a:lnTo>
                  <a:lnTo>
                    <a:pt x="399" y="132"/>
                  </a:lnTo>
                  <a:lnTo>
                    <a:pt x="399" y="136"/>
                  </a:lnTo>
                  <a:lnTo>
                    <a:pt x="403" y="136"/>
                  </a:lnTo>
                  <a:lnTo>
                    <a:pt x="407" y="136"/>
                  </a:lnTo>
                  <a:lnTo>
                    <a:pt x="407" y="140"/>
                  </a:lnTo>
                  <a:lnTo>
                    <a:pt x="411" y="140"/>
                  </a:lnTo>
                  <a:lnTo>
                    <a:pt x="415" y="140"/>
                  </a:lnTo>
                  <a:lnTo>
                    <a:pt x="419" y="140"/>
                  </a:lnTo>
                  <a:lnTo>
                    <a:pt x="423" y="140"/>
                  </a:lnTo>
                  <a:lnTo>
                    <a:pt x="423" y="136"/>
                  </a:lnTo>
                  <a:lnTo>
                    <a:pt x="427" y="136"/>
                  </a:lnTo>
                  <a:lnTo>
                    <a:pt x="427" y="132"/>
                  </a:lnTo>
                  <a:lnTo>
                    <a:pt x="427" y="128"/>
                  </a:lnTo>
                  <a:lnTo>
                    <a:pt x="427" y="124"/>
                  </a:lnTo>
                  <a:lnTo>
                    <a:pt x="431" y="124"/>
                  </a:lnTo>
                  <a:lnTo>
                    <a:pt x="431" y="120"/>
                  </a:lnTo>
                  <a:lnTo>
                    <a:pt x="431" y="116"/>
                  </a:lnTo>
                  <a:lnTo>
                    <a:pt x="431" y="112"/>
                  </a:lnTo>
                  <a:lnTo>
                    <a:pt x="435" y="112"/>
                  </a:lnTo>
                  <a:lnTo>
                    <a:pt x="435" y="108"/>
                  </a:lnTo>
                  <a:lnTo>
                    <a:pt x="435" y="104"/>
                  </a:lnTo>
                  <a:lnTo>
                    <a:pt x="435" y="100"/>
                  </a:lnTo>
                  <a:lnTo>
                    <a:pt x="435" y="96"/>
                  </a:lnTo>
                  <a:lnTo>
                    <a:pt x="435" y="92"/>
                  </a:lnTo>
                  <a:lnTo>
                    <a:pt x="439" y="92"/>
                  </a:lnTo>
                  <a:lnTo>
                    <a:pt x="435" y="88"/>
                  </a:lnTo>
                  <a:lnTo>
                    <a:pt x="435" y="80"/>
                  </a:lnTo>
                  <a:lnTo>
                    <a:pt x="435" y="76"/>
                  </a:lnTo>
                  <a:lnTo>
                    <a:pt x="435" y="72"/>
                  </a:lnTo>
                  <a:lnTo>
                    <a:pt x="435" y="68"/>
                  </a:lnTo>
                  <a:lnTo>
                    <a:pt x="435" y="64"/>
                  </a:lnTo>
                  <a:lnTo>
                    <a:pt x="435" y="60"/>
                  </a:lnTo>
                  <a:lnTo>
                    <a:pt x="439" y="60"/>
                  </a:lnTo>
                  <a:lnTo>
                    <a:pt x="439" y="56"/>
                  </a:lnTo>
                  <a:lnTo>
                    <a:pt x="435" y="56"/>
                  </a:lnTo>
                  <a:lnTo>
                    <a:pt x="435" y="52"/>
                  </a:lnTo>
                  <a:lnTo>
                    <a:pt x="439" y="52"/>
                  </a:lnTo>
                  <a:lnTo>
                    <a:pt x="439" y="48"/>
                  </a:lnTo>
                  <a:lnTo>
                    <a:pt x="439" y="52"/>
                  </a:lnTo>
                  <a:lnTo>
                    <a:pt x="443" y="52"/>
                  </a:lnTo>
                  <a:lnTo>
                    <a:pt x="439" y="48"/>
                  </a:lnTo>
                  <a:lnTo>
                    <a:pt x="439" y="44"/>
                  </a:lnTo>
                  <a:lnTo>
                    <a:pt x="435" y="44"/>
                  </a:lnTo>
                  <a:lnTo>
                    <a:pt x="439" y="44"/>
                  </a:lnTo>
                  <a:lnTo>
                    <a:pt x="439" y="40"/>
                  </a:lnTo>
                  <a:lnTo>
                    <a:pt x="439" y="36"/>
                  </a:lnTo>
                  <a:lnTo>
                    <a:pt x="443" y="36"/>
                  </a:lnTo>
                  <a:lnTo>
                    <a:pt x="443" y="32"/>
                  </a:lnTo>
                  <a:lnTo>
                    <a:pt x="443" y="28"/>
                  </a:lnTo>
                  <a:lnTo>
                    <a:pt x="443" y="24"/>
                  </a:lnTo>
                  <a:lnTo>
                    <a:pt x="443" y="20"/>
                  </a:lnTo>
                  <a:lnTo>
                    <a:pt x="443" y="16"/>
                  </a:lnTo>
                  <a:lnTo>
                    <a:pt x="447" y="16"/>
                  </a:lnTo>
                  <a:lnTo>
                    <a:pt x="447" y="12"/>
                  </a:lnTo>
                  <a:lnTo>
                    <a:pt x="451" y="12"/>
                  </a:lnTo>
                  <a:lnTo>
                    <a:pt x="451" y="16"/>
                  </a:lnTo>
                  <a:lnTo>
                    <a:pt x="451" y="12"/>
                  </a:lnTo>
                  <a:lnTo>
                    <a:pt x="455" y="16"/>
                  </a:lnTo>
                  <a:lnTo>
                    <a:pt x="455" y="20"/>
                  </a:lnTo>
                  <a:lnTo>
                    <a:pt x="455" y="24"/>
                  </a:lnTo>
                  <a:lnTo>
                    <a:pt x="455" y="28"/>
                  </a:lnTo>
                  <a:lnTo>
                    <a:pt x="455" y="32"/>
                  </a:lnTo>
                  <a:lnTo>
                    <a:pt x="459" y="32"/>
                  </a:lnTo>
                  <a:lnTo>
                    <a:pt x="459" y="36"/>
                  </a:lnTo>
                  <a:lnTo>
                    <a:pt x="459" y="40"/>
                  </a:lnTo>
                  <a:lnTo>
                    <a:pt x="463" y="40"/>
                  </a:lnTo>
                  <a:lnTo>
                    <a:pt x="463" y="44"/>
                  </a:lnTo>
                  <a:lnTo>
                    <a:pt x="463" y="48"/>
                  </a:lnTo>
                  <a:lnTo>
                    <a:pt x="463" y="52"/>
                  </a:lnTo>
                  <a:lnTo>
                    <a:pt x="467" y="52"/>
                  </a:lnTo>
                  <a:lnTo>
                    <a:pt x="467" y="56"/>
                  </a:lnTo>
                  <a:lnTo>
                    <a:pt x="467" y="60"/>
                  </a:lnTo>
                  <a:lnTo>
                    <a:pt x="467" y="64"/>
                  </a:lnTo>
                  <a:lnTo>
                    <a:pt x="467" y="68"/>
                  </a:lnTo>
                  <a:lnTo>
                    <a:pt x="467" y="72"/>
                  </a:lnTo>
                  <a:lnTo>
                    <a:pt x="467" y="76"/>
                  </a:lnTo>
                  <a:lnTo>
                    <a:pt x="471" y="80"/>
                  </a:lnTo>
                  <a:lnTo>
                    <a:pt x="475" y="80"/>
                  </a:lnTo>
                  <a:lnTo>
                    <a:pt x="479" y="76"/>
                  </a:lnTo>
                  <a:lnTo>
                    <a:pt x="483" y="76"/>
                  </a:lnTo>
                  <a:lnTo>
                    <a:pt x="483" y="80"/>
                  </a:lnTo>
                  <a:lnTo>
                    <a:pt x="483" y="84"/>
                  </a:lnTo>
                  <a:lnTo>
                    <a:pt x="486" y="84"/>
                  </a:lnTo>
                  <a:lnTo>
                    <a:pt x="486" y="88"/>
                  </a:lnTo>
                  <a:lnTo>
                    <a:pt x="490" y="88"/>
                  </a:lnTo>
                  <a:lnTo>
                    <a:pt x="490" y="92"/>
                  </a:lnTo>
                  <a:lnTo>
                    <a:pt x="490" y="96"/>
                  </a:lnTo>
                  <a:lnTo>
                    <a:pt x="490" y="100"/>
                  </a:lnTo>
                  <a:lnTo>
                    <a:pt x="494" y="104"/>
                  </a:lnTo>
                  <a:lnTo>
                    <a:pt x="494" y="108"/>
                  </a:lnTo>
                  <a:lnTo>
                    <a:pt x="494" y="112"/>
                  </a:lnTo>
                  <a:lnTo>
                    <a:pt x="494" y="116"/>
                  </a:lnTo>
                  <a:lnTo>
                    <a:pt x="494" y="120"/>
                  </a:lnTo>
                  <a:lnTo>
                    <a:pt x="498" y="124"/>
                  </a:lnTo>
                  <a:lnTo>
                    <a:pt x="498" y="128"/>
                  </a:lnTo>
                  <a:lnTo>
                    <a:pt x="498" y="124"/>
                  </a:lnTo>
                  <a:lnTo>
                    <a:pt x="502" y="124"/>
                  </a:lnTo>
                  <a:lnTo>
                    <a:pt x="502" y="128"/>
                  </a:lnTo>
                  <a:lnTo>
                    <a:pt x="502" y="132"/>
                  </a:lnTo>
                  <a:lnTo>
                    <a:pt x="502" y="136"/>
                  </a:lnTo>
                  <a:lnTo>
                    <a:pt x="502" y="140"/>
                  </a:lnTo>
                  <a:lnTo>
                    <a:pt x="502" y="144"/>
                  </a:lnTo>
                  <a:lnTo>
                    <a:pt x="502" y="148"/>
                  </a:lnTo>
                  <a:lnTo>
                    <a:pt x="502" y="152"/>
                  </a:lnTo>
                  <a:lnTo>
                    <a:pt x="506" y="156"/>
                  </a:lnTo>
                  <a:lnTo>
                    <a:pt x="506" y="160"/>
                  </a:lnTo>
                  <a:lnTo>
                    <a:pt x="506" y="164"/>
                  </a:lnTo>
                  <a:lnTo>
                    <a:pt x="510" y="164"/>
                  </a:lnTo>
                  <a:lnTo>
                    <a:pt x="510" y="168"/>
                  </a:lnTo>
                  <a:lnTo>
                    <a:pt x="514" y="168"/>
                  </a:lnTo>
                  <a:lnTo>
                    <a:pt x="514" y="172"/>
                  </a:lnTo>
                  <a:lnTo>
                    <a:pt x="518" y="172"/>
                  </a:lnTo>
                  <a:lnTo>
                    <a:pt x="522" y="172"/>
                  </a:lnTo>
                  <a:lnTo>
                    <a:pt x="526" y="172"/>
                  </a:lnTo>
                  <a:lnTo>
                    <a:pt x="522" y="172"/>
                  </a:lnTo>
                  <a:lnTo>
                    <a:pt x="526" y="172"/>
                  </a:lnTo>
                  <a:lnTo>
                    <a:pt x="526" y="176"/>
                  </a:lnTo>
                  <a:lnTo>
                    <a:pt x="526" y="180"/>
                  </a:lnTo>
                  <a:lnTo>
                    <a:pt x="530" y="180"/>
                  </a:lnTo>
                  <a:lnTo>
                    <a:pt x="530" y="184"/>
                  </a:lnTo>
                  <a:lnTo>
                    <a:pt x="534" y="184"/>
                  </a:lnTo>
                  <a:lnTo>
                    <a:pt x="538" y="184"/>
                  </a:lnTo>
                  <a:lnTo>
                    <a:pt x="538" y="188"/>
                  </a:lnTo>
                  <a:lnTo>
                    <a:pt x="538" y="184"/>
                  </a:lnTo>
                  <a:lnTo>
                    <a:pt x="542" y="184"/>
                  </a:lnTo>
                  <a:lnTo>
                    <a:pt x="542" y="188"/>
                  </a:lnTo>
                  <a:lnTo>
                    <a:pt x="546" y="188"/>
                  </a:lnTo>
                  <a:lnTo>
                    <a:pt x="546" y="192"/>
                  </a:lnTo>
                  <a:lnTo>
                    <a:pt x="546" y="196"/>
                  </a:lnTo>
                  <a:lnTo>
                    <a:pt x="546" y="192"/>
                  </a:lnTo>
                  <a:lnTo>
                    <a:pt x="542" y="192"/>
                  </a:lnTo>
                  <a:lnTo>
                    <a:pt x="542" y="196"/>
                  </a:lnTo>
                  <a:lnTo>
                    <a:pt x="546" y="200"/>
                  </a:lnTo>
                  <a:lnTo>
                    <a:pt x="550" y="200"/>
                  </a:lnTo>
                  <a:lnTo>
                    <a:pt x="550" y="204"/>
                  </a:lnTo>
                  <a:lnTo>
                    <a:pt x="550" y="208"/>
                  </a:lnTo>
                  <a:lnTo>
                    <a:pt x="554" y="208"/>
                  </a:lnTo>
                  <a:lnTo>
                    <a:pt x="554" y="212"/>
                  </a:lnTo>
                  <a:lnTo>
                    <a:pt x="554" y="216"/>
                  </a:lnTo>
                  <a:lnTo>
                    <a:pt x="554" y="220"/>
                  </a:lnTo>
                  <a:lnTo>
                    <a:pt x="554" y="224"/>
                  </a:lnTo>
                  <a:lnTo>
                    <a:pt x="558" y="228"/>
                  </a:lnTo>
                  <a:lnTo>
                    <a:pt x="558" y="232"/>
                  </a:lnTo>
                  <a:lnTo>
                    <a:pt x="562" y="228"/>
                  </a:lnTo>
                  <a:lnTo>
                    <a:pt x="562" y="232"/>
                  </a:lnTo>
                  <a:lnTo>
                    <a:pt x="562" y="236"/>
                  </a:lnTo>
                  <a:lnTo>
                    <a:pt x="562" y="232"/>
                  </a:lnTo>
                  <a:lnTo>
                    <a:pt x="562" y="228"/>
                  </a:lnTo>
                  <a:lnTo>
                    <a:pt x="562" y="224"/>
                  </a:lnTo>
                  <a:lnTo>
                    <a:pt x="566" y="224"/>
                  </a:lnTo>
                  <a:lnTo>
                    <a:pt x="566" y="228"/>
                  </a:lnTo>
                  <a:lnTo>
                    <a:pt x="566" y="232"/>
                  </a:lnTo>
                  <a:lnTo>
                    <a:pt x="570" y="232"/>
                  </a:lnTo>
                  <a:lnTo>
                    <a:pt x="570" y="228"/>
                  </a:lnTo>
                  <a:lnTo>
                    <a:pt x="574" y="228"/>
                  </a:lnTo>
                  <a:lnTo>
                    <a:pt x="574" y="232"/>
                  </a:lnTo>
                  <a:lnTo>
                    <a:pt x="574" y="236"/>
                  </a:lnTo>
                  <a:lnTo>
                    <a:pt x="574" y="240"/>
                  </a:lnTo>
                  <a:lnTo>
                    <a:pt x="574" y="244"/>
                  </a:lnTo>
                  <a:lnTo>
                    <a:pt x="574" y="248"/>
                  </a:lnTo>
                  <a:lnTo>
                    <a:pt x="578" y="252"/>
                  </a:lnTo>
                  <a:lnTo>
                    <a:pt x="582" y="256"/>
                  </a:lnTo>
                  <a:lnTo>
                    <a:pt x="586" y="260"/>
                  </a:lnTo>
                  <a:close/>
                  <a:moveTo>
                    <a:pt x="179" y="100"/>
                  </a:moveTo>
                  <a:lnTo>
                    <a:pt x="175" y="96"/>
                  </a:lnTo>
                  <a:lnTo>
                    <a:pt x="179" y="96"/>
                  </a:lnTo>
                  <a:lnTo>
                    <a:pt x="179" y="100"/>
                  </a:lnTo>
                  <a:close/>
                  <a:moveTo>
                    <a:pt x="610" y="296"/>
                  </a:moveTo>
                  <a:lnTo>
                    <a:pt x="610" y="292"/>
                  </a:lnTo>
                  <a:lnTo>
                    <a:pt x="606" y="292"/>
                  </a:lnTo>
                  <a:lnTo>
                    <a:pt x="610" y="288"/>
                  </a:lnTo>
                  <a:lnTo>
                    <a:pt x="610" y="284"/>
                  </a:lnTo>
                  <a:lnTo>
                    <a:pt x="610" y="280"/>
                  </a:lnTo>
                  <a:lnTo>
                    <a:pt x="614" y="280"/>
                  </a:lnTo>
                  <a:lnTo>
                    <a:pt x="614" y="276"/>
                  </a:lnTo>
                  <a:lnTo>
                    <a:pt x="610" y="276"/>
                  </a:lnTo>
                  <a:lnTo>
                    <a:pt x="614" y="276"/>
                  </a:lnTo>
                  <a:lnTo>
                    <a:pt x="614" y="272"/>
                  </a:lnTo>
                  <a:lnTo>
                    <a:pt x="614" y="276"/>
                  </a:lnTo>
                  <a:lnTo>
                    <a:pt x="614" y="280"/>
                  </a:lnTo>
                  <a:lnTo>
                    <a:pt x="614" y="284"/>
                  </a:lnTo>
                  <a:lnTo>
                    <a:pt x="610" y="288"/>
                  </a:lnTo>
                  <a:lnTo>
                    <a:pt x="610" y="292"/>
                  </a:lnTo>
                  <a:lnTo>
                    <a:pt x="610" y="296"/>
                  </a:lnTo>
                  <a:close/>
                  <a:moveTo>
                    <a:pt x="534" y="583"/>
                  </a:moveTo>
                  <a:lnTo>
                    <a:pt x="534" y="579"/>
                  </a:lnTo>
                  <a:lnTo>
                    <a:pt x="530" y="575"/>
                  </a:lnTo>
                  <a:lnTo>
                    <a:pt x="530" y="571"/>
                  </a:lnTo>
                  <a:lnTo>
                    <a:pt x="534" y="571"/>
                  </a:lnTo>
                  <a:lnTo>
                    <a:pt x="534" y="575"/>
                  </a:lnTo>
                  <a:lnTo>
                    <a:pt x="538" y="575"/>
                  </a:lnTo>
                  <a:lnTo>
                    <a:pt x="538" y="579"/>
                  </a:lnTo>
                  <a:lnTo>
                    <a:pt x="538" y="583"/>
                  </a:lnTo>
                  <a:lnTo>
                    <a:pt x="534" y="583"/>
                  </a:lnTo>
                  <a:close/>
                  <a:moveTo>
                    <a:pt x="534" y="635"/>
                  </a:moveTo>
                  <a:lnTo>
                    <a:pt x="534" y="631"/>
                  </a:lnTo>
                  <a:lnTo>
                    <a:pt x="534" y="635"/>
                  </a:lnTo>
                  <a:close/>
                  <a:moveTo>
                    <a:pt x="403" y="132"/>
                  </a:moveTo>
                  <a:lnTo>
                    <a:pt x="403" y="128"/>
                  </a:lnTo>
                  <a:lnTo>
                    <a:pt x="407" y="128"/>
                  </a:lnTo>
                  <a:lnTo>
                    <a:pt x="403" y="128"/>
                  </a:lnTo>
                  <a:lnTo>
                    <a:pt x="403" y="132"/>
                  </a:lnTo>
                  <a:close/>
                  <a:moveTo>
                    <a:pt x="506" y="156"/>
                  </a:moveTo>
                  <a:lnTo>
                    <a:pt x="506" y="152"/>
                  </a:lnTo>
                  <a:lnTo>
                    <a:pt x="502" y="152"/>
                  </a:lnTo>
                  <a:lnTo>
                    <a:pt x="506" y="152"/>
                  </a:lnTo>
                  <a:lnTo>
                    <a:pt x="506" y="156"/>
                  </a:lnTo>
                  <a:close/>
                  <a:moveTo>
                    <a:pt x="40" y="200"/>
                  </a:moveTo>
                  <a:lnTo>
                    <a:pt x="40" y="196"/>
                  </a:lnTo>
                  <a:lnTo>
                    <a:pt x="40" y="200"/>
                  </a:lnTo>
                  <a:close/>
                  <a:moveTo>
                    <a:pt x="698" y="898"/>
                  </a:moveTo>
                  <a:lnTo>
                    <a:pt x="698" y="894"/>
                  </a:lnTo>
                  <a:lnTo>
                    <a:pt x="698" y="898"/>
                  </a:lnTo>
                  <a:close/>
                  <a:moveTo>
                    <a:pt x="447" y="4"/>
                  </a:moveTo>
                  <a:lnTo>
                    <a:pt x="447" y="0"/>
                  </a:lnTo>
                  <a:lnTo>
                    <a:pt x="447" y="4"/>
                  </a:lnTo>
                  <a:close/>
                  <a:moveTo>
                    <a:pt x="447" y="12"/>
                  </a:moveTo>
                  <a:lnTo>
                    <a:pt x="443" y="12"/>
                  </a:lnTo>
                  <a:lnTo>
                    <a:pt x="443" y="8"/>
                  </a:lnTo>
                  <a:lnTo>
                    <a:pt x="447" y="8"/>
                  </a:lnTo>
                  <a:lnTo>
                    <a:pt x="447" y="12"/>
                  </a:lnTo>
                  <a:close/>
                  <a:moveTo>
                    <a:pt x="359" y="24"/>
                  </a:moveTo>
                  <a:lnTo>
                    <a:pt x="363" y="20"/>
                  </a:lnTo>
                  <a:lnTo>
                    <a:pt x="363" y="16"/>
                  </a:lnTo>
                  <a:lnTo>
                    <a:pt x="363" y="20"/>
                  </a:lnTo>
                  <a:lnTo>
                    <a:pt x="359" y="24"/>
                  </a:lnTo>
                  <a:close/>
                  <a:moveTo>
                    <a:pt x="299" y="24"/>
                  </a:moveTo>
                  <a:lnTo>
                    <a:pt x="299" y="20"/>
                  </a:lnTo>
                  <a:lnTo>
                    <a:pt x="299" y="16"/>
                  </a:lnTo>
                  <a:lnTo>
                    <a:pt x="299" y="20"/>
                  </a:lnTo>
                  <a:lnTo>
                    <a:pt x="299" y="24"/>
                  </a:lnTo>
                  <a:close/>
                  <a:moveTo>
                    <a:pt x="275" y="32"/>
                  </a:moveTo>
                  <a:lnTo>
                    <a:pt x="271" y="32"/>
                  </a:lnTo>
                  <a:lnTo>
                    <a:pt x="267" y="28"/>
                  </a:lnTo>
                  <a:lnTo>
                    <a:pt x="267" y="24"/>
                  </a:lnTo>
                  <a:lnTo>
                    <a:pt x="267" y="20"/>
                  </a:lnTo>
                  <a:lnTo>
                    <a:pt x="271" y="24"/>
                  </a:lnTo>
                  <a:lnTo>
                    <a:pt x="275" y="24"/>
                  </a:lnTo>
                  <a:lnTo>
                    <a:pt x="275" y="20"/>
                  </a:lnTo>
                  <a:lnTo>
                    <a:pt x="275" y="24"/>
                  </a:lnTo>
                  <a:lnTo>
                    <a:pt x="275" y="20"/>
                  </a:lnTo>
                  <a:lnTo>
                    <a:pt x="279" y="20"/>
                  </a:lnTo>
                  <a:lnTo>
                    <a:pt x="279" y="24"/>
                  </a:lnTo>
                  <a:lnTo>
                    <a:pt x="279" y="20"/>
                  </a:lnTo>
                  <a:lnTo>
                    <a:pt x="283" y="20"/>
                  </a:lnTo>
                  <a:lnTo>
                    <a:pt x="283" y="24"/>
                  </a:lnTo>
                  <a:lnTo>
                    <a:pt x="283" y="28"/>
                  </a:lnTo>
                  <a:lnTo>
                    <a:pt x="279" y="28"/>
                  </a:lnTo>
                  <a:lnTo>
                    <a:pt x="279" y="32"/>
                  </a:lnTo>
                  <a:lnTo>
                    <a:pt x="275" y="32"/>
                  </a:lnTo>
                  <a:close/>
                  <a:moveTo>
                    <a:pt x="267" y="32"/>
                  </a:moveTo>
                  <a:lnTo>
                    <a:pt x="263" y="32"/>
                  </a:lnTo>
                  <a:lnTo>
                    <a:pt x="259" y="32"/>
                  </a:lnTo>
                  <a:lnTo>
                    <a:pt x="263" y="28"/>
                  </a:lnTo>
                  <a:lnTo>
                    <a:pt x="263" y="24"/>
                  </a:lnTo>
                  <a:lnTo>
                    <a:pt x="267" y="24"/>
                  </a:lnTo>
                  <a:lnTo>
                    <a:pt x="267" y="28"/>
                  </a:lnTo>
                  <a:lnTo>
                    <a:pt x="271" y="28"/>
                  </a:lnTo>
                  <a:lnTo>
                    <a:pt x="271" y="32"/>
                  </a:lnTo>
                  <a:lnTo>
                    <a:pt x="267" y="32"/>
                  </a:lnTo>
                  <a:close/>
                  <a:moveTo>
                    <a:pt x="355" y="28"/>
                  </a:moveTo>
                  <a:lnTo>
                    <a:pt x="359" y="24"/>
                  </a:lnTo>
                  <a:lnTo>
                    <a:pt x="359" y="28"/>
                  </a:lnTo>
                  <a:lnTo>
                    <a:pt x="355" y="28"/>
                  </a:lnTo>
                  <a:close/>
                  <a:moveTo>
                    <a:pt x="367" y="76"/>
                  </a:moveTo>
                  <a:lnTo>
                    <a:pt x="363" y="76"/>
                  </a:lnTo>
                  <a:lnTo>
                    <a:pt x="359" y="76"/>
                  </a:lnTo>
                  <a:lnTo>
                    <a:pt x="359" y="72"/>
                  </a:lnTo>
                  <a:lnTo>
                    <a:pt x="359" y="68"/>
                  </a:lnTo>
                  <a:lnTo>
                    <a:pt x="363" y="64"/>
                  </a:lnTo>
                  <a:lnTo>
                    <a:pt x="363" y="68"/>
                  </a:lnTo>
                  <a:lnTo>
                    <a:pt x="367" y="68"/>
                  </a:lnTo>
                  <a:lnTo>
                    <a:pt x="363" y="68"/>
                  </a:lnTo>
                  <a:lnTo>
                    <a:pt x="363" y="72"/>
                  </a:lnTo>
                  <a:lnTo>
                    <a:pt x="363" y="76"/>
                  </a:lnTo>
                  <a:lnTo>
                    <a:pt x="367" y="76"/>
                  </a:lnTo>
                  <a:close/>
                  <a:moveTo>
                    <a:pt x="355" y="68"/>
                  </a:moveTo>
                  <a:lnTo>
                    <a:pt x="355" y="64"/>
                  </a:lnTo>
                  <a:lnTo>
                    <a:pt x="355" y="68"/>
                  </a:lnTo>
                  <a:close/>
                  <a:moveTo>
                    <a:pt x="187" y="84"/>
                  </a:moveTo>
                  <a:lnTo>
                    <a:pt x="187" y="80"/>
                  </a:lnTo>
                  <a:lnTo>
                    <a:pt x="187" y="84"/>
                  </a:lnTo>
                  <a:close/>
                  <a:moveTo>
                    <a:pt x="359" y="104"/>
                  </a:moveTo>
                  <a:lnTo>
                    <a:pt x="359" y="100"/>
                  </a:lnTo>
                  <a:lnTo>
                    <a:pt x="359" y="104"/>
                  </a:lnTo>
                  <a:close/>
                  <a:moveTo>
                    <a:pt x="367" y="104"/>
                  </a:moveTo>
                  <a:lnTo>
                    <a:pt x="367" y="100"/>
                  </a:lnTo>
                  <a:lnTo>
                    <a:pt x="367" y="104"/>
                  </a:lnTo>
                  <a:close/>
                  <a:moveTo>
                    <a:pt x="399" y="124"/>
                  </a:moveTo>
                  <a:lnTo>
                    <a:pt x="399" y="120"/>
                  </a:lnTo>
                  <a:lnTo>
                    <a:pt x="403" y="120"/>
                  </a:lnTo>
                  <a:lnTo>
                    <a:pt x="403" y="116"/>
                  </a:lnTo>
                  <a:lnTo>
                    <a:pt x="407" y="116"/>
                  </a:lnTo>
                  <a:lnTo>
                    <a:pt x="407" y="120"/>
                  </a:lnTo>
                  <a:lnTo>
                    <a:pt x="403" y="120"/>
                  </a:lnTo>
                  <a:lnTo>
                    <a:pt x="403" y="124"/>
                  </a:lnTo>
                  <a:lnTo>
                    <a:pt x="399" y="124"/>
                  </a:lnTo>
                  <a:close/>
                  <a:moveTo>
                    <a:pt x="582" y="256"/>
                  </a:moveTo>
                  <a:lnTo>
                    <a:pt x="582" y="252"/>
                  </a:lnTo>
                  <a:lnTo>
                    <a:pt x="578" y="252"/>
                  </a:lnTo>
                  <a:lnTo>
                    <a:pt x="578" y="248"/>
                  </a:lnTo>
                  <a:lnTo>
                    <a:pt x="582" y="252"/>
                  </a:lnTo>
                  <a:lnTo>
                    <a:pt x="582" y="256"/>
                  </a:lnTo>
                  <a:close/>
                  <a:moveTo>
                    <a:pt x="8" y="300"/>
                  </a:moveTo>
                  <a:lnTo>
                    <a:pt x="4" y="300"/>
                  </a:lnTo>
                  <a:lnTo>
                    <a:pt x="4" y="296"/>
                  </a:lnTo>
                  <a:lnTo>
                    <a:pt x="0" y="292"/>
                  </a:lnTo>
                  <a:lnTo>
                    <a:pt x="0" y="288"/>
                  </a:lnTo>
                  <a:lnTo>
                    <a:pt x="4" y="288"/>
                  </a:lnTo>
                  <a:lnTo>
                    <a:pt x="4" y="292"/>
                  </a:lnTo>
                  <a:lnTo>
                    <a:pt x="4" y="296"/>
                  </a:lnTo>
                  <a:lnTo>
                    <a:pt x="4" y="300"/>
                  </a:lnTo>
                  <a:lnTo>
                    <a:pt x="8" y="300"/>
                  </a:lnTo>
                  <a:close/>
                  <a:moveTo>
                    <a:pt x="614" y="323"/>
                  </a:moveTo>
                  <a:lnTo>
                    <a:pt x="614" y="319"/>
                  </a:lnTo>
                  <a:lnTo>
                    <a:pt x="614" y="323"/>
                  </a:lnTo>
                  <a:close/>
                  <a:moveTo>
                    <a:pt x="614" y="331"/>
                  </a:moveTo>
                  <a:lnTo>
                    <a:pt x="614" y="327"/>
                  </a:lnTo>
                  <a:lnTo>
                    <a:pt x="614" y="323"/>
                  </a:lnTo>
                  <a:lnTo>
                    <a:pt x="618" y="327"/>
                  </a:lnTo>
                  <a:lnTo>
                    <a:pt x="614" y="327"/>
                  </a:lnTo>
                  <a:lnTo>
                    <a:pt x="614" y="331"/>
                  </a:lnTo>
                  <a:close/>
                  <a:moveTo>
                    <a:pt x="379" y="491"/>
                  </a:moveTo>
                  <a:lnTo>
                    <a:pt x="383" y="491"/>
                  </a:lnTo>
                  <a:lnTo>
                    <a:pt x="383" y="495"/>
                  </a:lnTo>
                  <a:lnTo>
                    <a:pt x="379" y="491"/>
                  </a:lnTo>
                  <a:lnTo>
                    <a:pt x="375" y="495"/>
                  </a:lnTo>
                  <a:lnTo>
                    <a:pt x="371" y="495"/>
                  </a:lnTo>
                  <a:lnTo>
                    <a:pt x="367" y="495"/>
                  </a:lnTo>
                  <a:lnTo>
                    <a:pt x="363" y="495"/>
                  </a:lnTo>
                  <a:lnTo>
                    <a:pt x="359" y="495"/>
                  </a:lnTo>
                  <a:lnTo>
                    <a:pt x="359" y="491"/>
                  </a:lnTo>
                  <a:lnTo>
                    <a:pt x="367" y="487"/>
                  </a:lnTo>
                  <a:lnTo>
                    <a:pt x="371" y="487"/>
                  </a:lnTo>
                  <a:lnTo>
                    <a:pt x="375" y="487"/>
                  </a:lnTo>
                  <a:lnTo>
                    <a:pt x="375" y="491"/>
                  </a:lnTo>
                  <a:lnTo>
                    <a:pt x="379" y="491"/>
                  </a:lnTo>
                  <a:close/>
                  <a:moveTo>
                    <a:pt x="494" y="543"/>
                  </a:moveTo>
                  <a:lnTo>
                    <a:pt x="490" y="543"/>
                  </a:lnTo>
                  <a:lnTo>
                    <a:pt x="494" y="543"/>
                  </a:lnTo>
                  <a:close/>
                  <a:moveTo>
                    <a:pt x="494" y="547"/>
                  </a:moveTo>
                  <a:lnTo>
                    <a:pt x="490" y="547"/>
                  </a:lnTo>
                  <a:lnTo>
                    <a:pt x="494" y="547"/>
                  </a:lnTo>
                  <a:close/>
                  <a:moveTo>
                    <a:pt x="471" y="579"/>
                  </a:moveTo>
                  <a:lnTo>
                    <a:pt x="471" y="575"/>
                  </a:lnTo>
                  <a:lnTo>
                    <a:pt x="471" y="571"/>
                  </a:lnTo>
                  <a:lnTo>
                    <a:pt x="471" y="567"/>
                  </a:lnTo>
                  <a:lnTo>
                    <a:pt x="475" y="571"/>
                  </a:lnTo>
                  <a:lnTo>
                    <a:pt x="475" y="575"/>
                  </a:lnTo>
                  <a:lnTo>
                    <a:pt x="475" y="579"/>
                  </a:lnTo>
                  <a:lnTo>
                    <a:pt x="471" y="579"/>
                  </a:lnTo>
                  <a:close/>
                  <a:moveTo>
                    <a:pt x="538" y="587"/>
                  </a:moveTo>
                  <a:lnTo>
                    <a:pt x="534" y="587"/>
                  </a:lnTo>
                  <a:lnTo>
                    <a:pt x="534" y="583"/>
                  </a:lnTo>
                  <a:lnTo>
                    <a:pt x="538" y="583"/>
                  </a:lnTo>
                  <a:lnTo>
                    <a:pt x="538" y="587"/>
                  </a:lnTo>
                  <a:close/>
                  <a:moveTo>
                    <a:pt x="518" y="655"/>
                  </a:moveTo>
                  <a:lnTo>
                    <a:pt x="514" y="655"/>
                  </a:lnTo>
                  <a:lnTo>
                    <a:pt x="514" y="651"/>
                  </a:lnTo>
                  <a:lnTo>
                    <a:pt x="510" y="651"/>
                  </a:lnTo>
                  <a:lnTo>
                    <a:pt x="506" y="651"/>
                  </a:lnTo>
                  <a:lnTo>
                    <a:pt x="502" y="651"/>
                  </a:lnTo>
                  <a:lnTo>
                    <a:pt x="502" y="647"/>
                  </a:lnTo>
                  <a:lnTo>
                    <a:pt x="506" y="647"/>
                  </a:lnTo>
                  <a:lnTo>
                    <a:pt x="502" y="647"/>
                  </a:lnTo>
                  <a:lnTo>
                    <a:pt x="498" y="647"/>
                  </a:lnTo>
                  <a:lnTo>
                    <a:pt x="498" y="643"/>
                  </a:lnTo>
                  <a:lnTo>
                    <a:pt x="498" y="639"/>
                  </a:lnTo>
                  <a:lnTo>
                    <a:pt x="494" y="639"/>
                  </a:lnTo>
                  <a:lnTo>
                    <a:pt x="494" y="635"/>
                  </a:lnTo>
                  <a:lnTo>
                    <a:pt x="494" y="631"/>
                  </a:lnTo>
                  <a:lnTo>
                    <a:pt x="490" y="631"/>
                  </a:lnTo>
                  <a:lnTo>
                    <a:pt x="490" y="627"/>
                  </a:lnTo>
                  <a:lnTo>
                    <a:pt x="490" y="623"/>
                  </a:lnTo>
                  <a:lnTo>
                    <a:pt x="490" y="627"/>
                  </a:lnTo>
                  <a:lnTo>
                    <a:pt x="494" y="627"/>
                  </a:lnTo>
                  <a:lnTo>
                    <a:pt x="494" y="631"/>
                  </a:lnTo>
                  <a:lnTo>
                    <a:pt x="494" y="627"/>
                  </a:lnTo>
                  <a:lnTo>
                    <a:pt x="490" y="623"/>
                  </a:lnTo>
                  <a:lnTo>
                    <a:pt x="490" y="619"/>
                  </a:lnTo>
                  <a:lnTo>
                    <a:pt x="486" y="615"/>
                  </a:lnTo>
                  <a:lnTo>
                    <a:pt x="486" y="611"/>
                  </a:lnTo>
                  <a:lnTo>
                    <a:pt x="483" y="607"/>
                  </a:lnTo>
                  <a:lnTo>
                    <a:pt x="483" y="603"/>
                  </a:lnTo>
                  <a:lnTo>
                    <a:pt x="483" y="599"/>
                  </a:lnTo>
                  <a:lnTo>
                    <a:pt x="483" y="595"/>
                  </a:lnTo>
                  <a:lnTo>
                    <a:pt x="483" y="591"/>
                  </a:lnTo>
                  <a:lnTo>
                    <a:pt x="486" y="591"/>
                  </a:lnTo>
                  <a:lnTo>
                    <a:pt x="486" y="595"/>
                  </a:lnTo>
                  <a:lnTo>
                    <a:pt x="490" y="595"/>
                  </a:lnTo>
                  <a:lnTo>
                    <a:pt x="494" y="595"/>
                  </a:lnTo>
                  <a:lnTo>
                    <a:pt x="498" y="599"/>
                  </a:lnTo>
                  <a:lnTo>
                    <a:pt x="502" y="599"/>
                  </a:lnTo>
                  <a:lnTo>
                    <a:pt x="506" y="603"/>
                  </a:lnTo>
                  <a:lnTo>
                    <a:pt x="510" y="603"/>
                  </a:lnTo>
                  <a:lnTo>
                    <a:pt x="514" y="599"/>
                  </a:lnTo>
                  <a:lnTo>
                    <a:pt x="514" y="603"/>
                  </a:lnTo>
                  <a:lnTo>
                    <a:pt x="518" y="603"/>
                  </a:lnTo>
                  <a:lnTo>
                    <a:pt x="518" y="599"/>
                  </a:lnTo>
                  <a:lnTo>
                    <a:pt x="514" y="599"/>
                  </a:lnTo>
                  <a:lnTo>
                    <a:pt x="518" y="599"/>
                  </a:lnTo>
                  <a:lnTo>
                    <a:pt x="522" y="599"/>
                  </a:lnTo>
                  <a:lnTo>
                    <a:pt x="526" y="599"/>
                  </a:lnTo>
                  <a:lnTo>
                    <a:pt x="526" y="595"/>
                  </a:lnTo>
                  <a:lnTo>
                    <a:pt x="530" y="595"/>
                  </a:lnTo>
                  <a:lnTo>
                    <a:pt x="534" y="591"/>
                  </a:lnTo>
                  <a:lnTo>
                    <a:pt x="534" y="595"/>
                  </a:lnTo>
                  <a:lnTo>
                    <a:pt x="538" y="595"/>
                  </a:lnTo>
                  <a:lnTo>
                    <a:pt x="538" y="599"/>
                  </a:lnTo>
                  <a:lnTo>
                    <a:pt x="538" y="603"/>
                  </a:lnTo>
                  <a:lnTo>
                    <a:pt x="538" y="607"/>
                  </a:lnTo>
                  <a:lnTo>
                    <a:pt x="538" y="611"/>
                  </a:lnTo>
                  <a:lnTo>
                    <a:pt x="538" y="615"/>
                  </a:lnTo>
                  <a:lnTo>
                    <a:pt x="538" y="619"/>
                  </a:lnTo>
                  <a:lnTo>
                    <a:pt x="538" y="623"/>
                  </a:lnTo>
                  <a:lnTo>
                    <a:pt x="538" y="619"/>
                  </a:lnTo>
                  <a:lnTo>
                    <a:pt x="534" y="619"/>
                  </a:lnTo>
                  <a:lnTo>
                    <a:pt x="534" y="623"/>
                  </a:lnTo>
                  <a:lnTo>
                    <a:pt x="534" y="631"/>
                  </a:lnTo>
                  <a:lnTo>
                    <a:pt x="530" y="631"/>
                  </a:lnTo>
                  <a:lnTo>
                    <a:pt x="530" y="635"/>
                  </a:lnTo>
                  <a:lnTo>
                    <a:pt x="530" y="639"/>
                  </a:lnTo>
                  <a:lnTo>
                    <a:pt x="530" y="635"/>
                  </a:lnTo>
                  <a:lnTo>
                    <a:pt x="534" y="639"/>
                  </a:lnTo>
                  <a:lnTo>
                    <a:pt x="530" y="643"/>
                  </a:lnTo>
                  <a:lnTo>
                    <a:pt x="534" y="643"/>
                  </a:lnTo>
                  <a:lnTo>
                    <a:pt x="530" y="643"/>
                  </a:lnTo>
                  <a:lnTo>
                    <a:pt x="530" y="647"/>
                  </a:lnTo>
                  <a:lnTo>
                    <a:pt x="526" y="643"/>
                  </a:lnTo>
                  <a:lnTo>
                    <a:pt x="526" y="639"/>
                  </a:lnTo>
                  <a:lnTo>
                    <a:pt x="530" y="639"/>
                  </a:lnTo>
                  <a:lnTo>
                    <a:pt x="530" y="643"/>
                  </a:lnTo>
                  <a:lnTo>
                    <a:pt x="530" y="639"/>
                  </a:lnTo>
                  <a:lnTo>
                    <a:pt x="526" y="635"/>
                  </a:lnTo>
                  <a:lnTo>
                    <a:pt x="526" y="639"/>
                  </a:lnTo>
                  <a:lnTo>
                    <a:pt x="522" y="639"/>
                  </a:lnTo>
                  <a:lnTo>
                    <a:pt x="522" y="635"/>
                  </a:lnTo>
                  <a:lnTo>
                    <a:pt x="522" y="639"/>
                  </a:lnTo>
                  <a:lnTo>
                    <a:pt x="522" y="643"/>
                  </a:lnTo>
                  <a:lnTo>
                    <a:pt x="522" y="647"/>
                  </a:lnTo>
                  <a:lnTo>
                    <a:pt x="518" y="647"/>
                  </a:lnTo>
                  <a:lnTo>
                    <a:pt x="518" y="643"/>
                  </a:lnTo>
                  <a:lnTo>
                    <a:pt x="518" y="647"/>
                  </a:lnTo>
                  <a:lnTo>
                    <a:pt x="518" y="651"/>
                  </a:lnTo>
                  <a:lnTo>
                    <a:pt x="518" y="655"/>
                  </a:lnTo>
                  <a:close/>
                  <a:moveTo>
                    <a:pt x="522" y="647"/>
                  </a:moveTo>
                  <a:lnTo>
                    <a:pt x="522" y="643"/>
                  </a:lnTo>
                  <a:lnTo>
                    <a:pt x="522" y="647"/>
                  </a:lnTo>
                  <a:close/>
                  <a:moveTo>
                    <a:pt x="522" y="651"/>
                  </a:moveTo>
                  <a:lnTo>
                    <a:pt x="518" y="651"/>
                  </a:lnTo>
                  <a:lnTo>
                    <a:pt x="522" y="647"/>
                  </a:lnTo>
                  <a:lnTo>
                    <a:pt x="522" y="65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4" name="Freeform 182"/>
            <p:cNvSpPr>
              <a:spLocks noEditPoints="1"/>
            </p:cNvSpPr>
            <p:nvPr>
              <p:custDataLst>
                <p:tags r:id="rId376"/>
              </p:custDataLst>
            </p:nvPr>
          </p:nvSpPr>
          <p:spPr bwMode="gray">
            <a:xfrm>
              <a:off x="1920107" y="5072018"/>
              <a:ext cx="965474" cy="1171620"/>
            </a:xfrm>
            <a:custGeom>
              <a:avLst/>
              <a:gdLst/>
              <a:ahLst/>
              <a:cxnLst>
                <a:cxn ang="0">
                  <a:pos x="559" y="475"/>
                </a:cxn>
                <a:cxn ang="0">
                  <a:pos x="547" y="419"/>
                </a:cxn>
                <a:cxn ang="0">
                  <a:pos x="563" y="343"/>
                </a:cxn>
                <a:cxn ang="0">
                  <a:pos x="575" y="247"/>
                </a:cxn>
                <a:cxn ang="0">
                  <a:pos x="591" y="152"/>
                </a:cxn>
                <a:cxn ang="0">
                  <a:pos x="595" y="64"/>
                </a:cxn>
                <a:cxn ang="0">
                  <a:pos x="615" y="32"/>
                </a:cxn>
                <a:cxn ang="0">
                  <a:pos x="643" y="104"/>
                </a:cxn>
                <a:cxn ang="0">
                  <a:pos x="611" y="191"/>
                </a:cxn>
                <a:cxn ang="0">
                  <a:pos x="591" y="275"/>
                </a:cxn>
                <a:cxn ang="0">
                  <a:pos x="591" y="363"/>
                </a:cxn>
                <a:cxn ang="0">
                  <a:pos x="571" y="443"/>
                </a:cxn>
                <a:cxn ang="0">
                  <a:pos x="571" y="519"/>
                </a:cxn>
                <a:cxn ang="0">
                  <a:pos x="571" y="575"/>
                </a:cxn>
                <a:cxn ang="0">
                  <a:pos x="543" y="646"/>
                </a:cxn>
                <a:cxn ang="0">
                  <a:pos x="599" y="702"/>
                </a:cxn>
                <a:cxn ang="0">
                  <a:pos x="563" y="738"/>
                </a:cxn>
                <a:cxn ang="0">
                  <a:pos x="555" y="730"/>
                </a:cxn>
                <a:cxn ang="0">
                  <a:pos x="555" y="714"/>
                </a:cxn>
                <a:cxn ang="0">
                  <a:pos x="551" y="706"/>
                </a:cxn>
                <a:cxn ang="0">
                  <a:pos x="559" y="694"/>
                </a:cxn>
                <a:cxn ang="0">
                  <a:pos x="539" y="686"/>
                </a:cxn>
                <a:cxn ang="0">
                  <a:pos x="539" y="662"/>
                </a:cxn>
                <a:cxn ang="0">
                  <a:pos x="535" y="642"/>
                </a:cxn>
                <a:cxn ang="0">
                  <a:pos x="547" y="614"/>
                </a:cxn>
                <a:cxn ang="0">
                  <a:pos x="531" y="587"/>
                </a:cxn>
                <a:cxn ang="0">
                  <a:pos x="523" y="571"/>
                </a:cxn>
                <a:cxn ang="0">
                  <a:pos x="543" y="575"/>
                </a:cxn>
                <a:cxn ang="0">
                  <a:pos x="547" y="531"/>
                </a:cxn>
                <a:cxn ang="0">
                  <a:pos x="535" y="531"/>
                </a:cxn>
                <a:cxn ang="0">
                  <a:pos x="535" y="686"/>
                </a:cxn>
                <a:cxn ang="0">
                  <a:pos x="543" y="503"/>
                </a:cxn>
                <a:cxn ang="0">
                  <a:pos x="539" y="495"/>
                </a:cxn>
                <a:cxn ang="0">
                  <a:pos x="539" y="527"/>
                </a:cxn>
                <a:cxn ang="0">
                  <a:pos x="535" y="535"/>
                </a:cxn>
                <a:cxn ang="0">
                  <a:pos x="535" y="543"/>
                </a:cxn>
                <a:cxn ang="0">
                  <a:pos x="527" y="551"/>
                </a:cxn>
                <a:cxn ang="0">
                  <a:pos x="535" y="563"/>
                </a:cxn>
                <a:cxn ang="0">
                  <a:pos x="531" y="610"/>
                </a:cxn>
                <a:cxn ang="0">
                  <a:pos x="511" y="610"/>
                </a:cxn>
                <a:cxn ang="0">
                  <a:pos x="527" y="614"/>
                </a:cxn>
                <a:cxn ang="0">
                  <a:pos x="527" y="654"/>
                </a:cxn>
                <a:cxn ang="0">
                  <a:pos x="519" y="638"/>
                </a:cxn>
                <a:cxn ang="0">
                  <a:pos x="515" y="638"/>
                </a:cxn>
                <a:cxn ang="0">
                  <a:pos x="515" y="658"/>
                </a:cxn>
                <a:cxn ang="0">
                  <a:pos x="515" y="674"/>
                </a:cxn>
                <a:cxn ang="0">
                  <a:pos x="519" y="686"/>
                </a:cxn>
                <a:cxn ang="0">
                  <a:pos x="523" y="694"/>
                </a:cxn>
                <a:cxn ang="0">
                  <a:pos x="523" y="702"/>
                </a:cxn>
                <a:cxn ang="0">
                  <a:pos x="539" y="706"/>
                </a:cxn>
                <a:cxn ang="0">
                  <a:pos x="579" y="758"/>
                </a:cxn>
                <a:cxn ang="0">
                  <a:pos x="587" y="754"/>
                </a:cxn>
                <a:cxn ang="0">
                  <a:pos x="599" y="738"/>
                </a:cxn>
                <a:cxn ang="0">
                  <a:pos x="619" y="746"/>
                </a:cxn>
                <a:cxn ang="0">
                  <a:pos x="543" y="718"/>
                </a:cxn>
                <a:cxn ang="0">
                  <a:pos x="559" y="738"/>
                </a:cxn>
                <a:cxn ang="0">
                  <a:pos x="591" y="734"/>
                </a:cxn>
                <a:cxn ang="0">
                  <a:pos x="575" y="754"/>
                </a:cxn>
                <a:cxn ang="0">
                  <a:pos x="591" y="766"/>
                </a:cxn>
                <a:cxn ang="0">
                  <a:pos x="639" y="766"/>
                </a:cxn>
                <a:cxn ang="0">
                  <a:pos x="615" y="774"/>
                </a:cxn>
                <a:cxn ang="0">
                  <a:pos x="623" y="774"/>
                </a:cxn>
                <a:cxn ang="0">
                  <a:pos x="635" y="790"/>
                </a:cxn>
              </a:cxnLst>
              <a:rect l="0" t="0" r="r" b="b"/>
              <a:pathLst>
                <a:path w="651" h="790">
                  <a:moveTo>
                    <a:pt x="551" y="519"/>
                  </a:moveTo>
                  <a:lnTo>
                    <a:pt x="551" y="515"/>
                  </a:lnTo>
                  <a:lnTo>
                    <a:pt x="551" y="511"/>
                  </a:lnTo>
                  <a:lnTo>
                    <a:pt x="551" y="507"/>
                  </a:lnTo>
                  <a:lnTo>
                    <a:pt x="551" y="503"/>
                  </a:lnTo>
                  <a:lnTo>
                    <a:pt x="555" y="503"/>
                  </a:lnTo>
                  <a:lnTo>
                    <a:pt x="555" y="507"/>
                  </a:lnTo>
                  <a:lnTo>
                    <a:pt x="555" y="503"/>
                  </a:lnTo>
                  <a:lnTo>
                    <a:pt x="555" y="499"/>
                  </a:lnTo>
                  <a:lnTo>
                    <a:pt x="555" y="495"/>
                  </a:lnTo>
                  <a:lnTo>
                    <a:pt x="559" y="495"/>
                  </a:lnTo>
                  <a:lnTo>
                    <a:pt x="555" y="495"/>
                  </a:lnTo>
                  <a:lnTo>
                    <a:pt x="555" y="491"/>
                  </a:lnTo>
                  <a:lnTo>
                    <a:pt x="555" y="487"/>
                  </a:lnTo>
                  <a:lnTo>
                    <a:pt x="559" y="487"/>
                  </a:lnTo>
                  <a:lnTo>
                    <a:pt x="559" y="491"/>
                  </a:lnTo>
                  <a:lnTo>
                    <a:pt x="559" y="487"/>
                  </a:lnTo>
                  <a:lnTo>
                    <a:pt x="559" y="483"/>
                  </a:lnTo>
                  <a:lnTo>
                    <a:pt x="555" y="483"/>
                  </a:lnTo>
                  <a:lnTo>
                    <a:pt x="551" y="483"/>
                  </a:lnTo>
                  <a:lnTo>
                    <a:pt x="555" y="483"/>
                  </a:lnTo>
                  <a:lnTo>
                    <a:pt x="555" y="479"/>
                  </a:lnTo>
                  <a:lnTo>
                    <a:pt x="559" y="479"/>
                  </a:lnTo>
                  <a:lnTo>
                    <a:pt x="559" y="475"/>
                  </a:lnTo>
                  <a:lnTo>
                    <a:pt x="563" y="475"/>
                  </a:lnTo>
                  <a:lnTo>
                    <a:pt x="563" y="471"/>
                  </a:lnTo>
                  <a:lnTo>
                    <a:pt x="559" y="471"/>
                  </a:lnTo>
                  <a:lnTo>
                    <a:pt x="559" y="475"/>
                  </a:lnTo>
                  <a:lnTo>
                    <a:pt x="555" y="475"/>
                  </a:lnTo>
                  <a:lnTo>
                    <a:pt x="555" y="471"/>
                  </a:lnTo>
                  <a:lnTo>
                    <a:pt x="551" y="471"/>
                  </a:lnTo>
                  <a:lnTo>
                    <a:pt x="551" y="475"/>
                  </a:lnTo>
                  <a:lnTo>
                    <a:pt x="547" y="479"/>
                  </a:lnTo>
                  <a:lnTo>
                    <a:pt x="543" y="479"/>
                  </a:lnTo>
                  <a:lnTo>
                    <a:pt x="539" y="479"/>
                  </a:lnTo>
                  <a:lnTo>
                    <a:pt x="539" y="475"/>
                  </a:lnTo>
                  <a:lnTo>
                    <a:pt x="543" y="475"/>
                  </a:lnTo>
                  <a:lnTo>
                    <a:pt x="543" y="471"/>
                  </a:lnTo>
                  <a:lnTo>
                    <a:pt x="543" y="475"/>
                  </a:lnTo>
                  <a:lnTo>
                    <a:pt x="539" y="475"/>
                  </a:lnTo>
                  <a:lnTo>
                    <a:pt x="539" y="471"/>
                  </a:lnTo>
                  <a:lnTo>
                    <a:pt x="539" y="467"/>
                  </a:lnTo>
                  <a:lnTo>
                    <a:pt x="535" y="467"/>
                  </a:lnTo>
                  <a:lnTo>
                    <a:pt x="535" y="463"/>
                  </a:lnTo>
                  <a:lnTo>
                    <a:pt x="535" y="459"/>
                  </a:lnTo>
                  <a:lnTo>
                    <a:pt x="539" y="455"/>
                  </a:lnTo>
                  <a:lnTo>
                    <a:pt x="539" y="451"/>
                  </a:lnTo>
                  <a:lnTo>
                    <a:pt x="539" y="443"/>
                  </a:lnTo>
                  <a:lnTo>
                    <a:pt x="539" y="439"/>
                  </a:lnTo>
                  <a:lnTo>
                    <a:pt x="543" y="439"/>
                  </a:lnTo>
                  <a:lnTo>
                    <a:pt x="547" y="439"/>
                  </a:lnTo>
                  <a:lnTo>
                    <a:pt x="547" y="435"/>
                  </a:lnTo>
                  <a:lnTo>
                    <a:pt x="547" y="431"/>
                  </a:lnTo>
                  <a:lnTo>
                    <a:pt x="547" y="427"/>
                  </a:lnTo>
                  <a:lnTo>
                    <a:pt x="547" y="423"/>
                  </a:lnTo>
                  <a:lnTo>
                    <a:pt x="547" y="419"/>
                  </a:lnTo>
                  <a:lnTo>
                    <a:pt x="543" y="415"/>
                  </a:lnTo>
                  <a:lnTo>
                    <a:pt x="543" y="411"/>
                  </a:lnTo>
                  <a:lnTo>
                    <a:pt x="543" y="407"/>
                  </a:lnTo>
                  <a:lnTo>
                    <a:pt x="543" y="403"/>
                  </a:lnTo>
                  <a:lnTo>
                    <a:pt x="543" y="399"/>
                  </a:lnTo>
                  <a:lnTo>
                    <a:pt x="543" y="395"/>
                  </a:lnTo>
                  <a:lnTo>
                    <a:pt x="539" y="395"/>
                  </a:lnTo>
                  <a:lnTo>
                    <a:pt x="539" y="391"/>
                  </a:lnTo>
                  <a:lnTo>
                    <a:pt x="543" y="391"/>
                  </a:lnTo>
                  <a:lnTo>
                    <a:pt x="543" y="387"/>
                  </a:lnTo>
                  <a:lnTo>
                    <a:pt x="539" y="387"/>
                  </a:lnTo>
                  <a:lnTo>
                    <a:pt x="543" y="383"/>
                  </a:lnTo>
                  <a:lnTo>
                    <a:pt x="547" y="383"/>
                  </a:lnTo>
                  <a:lnTo>
                    <a:pt x="547" y="379"/>
                  </a:lnTo>
                  <a:lnTo>
                    <a:pt x="547" y="375"/>
                  </a:lnTo>
                  <a:lnTo>
                    <a:pt x="551" y="375"/>
                  </a:lnTo>
                  <a:lnTo>
                    <a:pt x="551" y="371"/>
                  </a:lnTo>
                  <a:lnTo>
                    <a:pt x="551" y="367"/>
                  </a:lnTo>
                  <a:lnTo>
                    <a:pt x="555" y="367"/>
                  </a:lnTo>
                  <a:lnTo>
                    <a:pt x="555" y="363"/>
                  </a:lnTo>
                  <a:lnTo>
                    <a:pt x="555" y="359"/>
                  </a:lnTo>
                  <a:lnTo>
                    <a:pt x="555" y="355"/>
                  </a:lnTo>
                  <a:lnTo>
                    <a:pt x="559" y="355"/>
                  </a:lnTo>
                  <a:lnTo>
                    <a:pt x="555" y="351"/>
                  </a:lnTo>
                  <a:lnTo>
                    <a:pt x="559" y="351"/>
                  </a:lnTo>
                  <a:lnTo>
                    <a:pt x="559" y="347"/>
                  </a:lnTo>
                  <a:lnTo>
                    <a:pt x="559" y="343"/>
                  </a:lnTo>
                  <a:lnTo>
                    <a:pt x="563" y="343"/>
                  </a:lnTo>
                  <a:lnTo>
                    <a:pt x="563" y="339"/>
                  </a:lnTo>
                  <a:lnTo>
                    <a:pt x="563" y="335"/>
                  </a:lnTo>
                  <a:lnTo>
                    <a:pt x="567" y="331"/>
                  </a:lnTo>
                  <a:lnTo>
                    <a:pt x="567" y="327"/>
                  </a:lnTo>
                  <a:lnTo>
                    <a:pt x="567" y="323"/>
                  </a:lnTo>
                  <a:lnTo>
                    <a:pt x="567" y="319"/>
                  </a:lnTo>
                  <a:lnTo>
                    <a:pt x="567" y="315"/>
                  </a:lnTo>
                  <a:lnTo>
                    <a:pt x="571" y="315"/>
                  </a:lnTo>
                  <a:lnTo>
                    <a:pt x="571" y="311"/>
                  </a:lnTo>
                  <a:lnTo>
                    <a:pt x="571" y="307"/>
                  </a:lnTo>
                  <a:lnTo>
                    <a:pt x="571" y="303"/>
                  </a:lnTo>
                  <a:lnTo>
                    <a:pt x="571" y="299"/>
                  </a:lnTo>
                  <a:lnTo>
                    <a:pt x="575" y="295"/>
                  </a:lnTo>
                  <a:lnTo>
                    <a:pt x="575" y="291"/>
                  </a:lnTo>
                  <a:lnTo>
                    <a:pt x="575" y="287"/>
                  </a:lnTo>
                  <a:lnTo>
                    <a:pt x="575" y="283"/>
                  </a:lnTo>
                  <a:lnTo>
                    <a:pt x="575" y="279"/>
                  </a:lnTo>
                  <a:lnTo>
                    <a:pt x="575" y="275"/>
                  </a:lnTo>
                  <a:lnTo>
                    <a:pt x="571" y="271"/>
                  </a:lnTo>
                  <a:lnTo>
                    <a:pt x="571" y="267"/>
                  </a:lnTo>
                  <a:lnTo>
                    <a:pt x="571" y="263"/>
                  </a:lnTo>
                  <a:lnTo>
                    <a:pt x="571" y="259"/>
                  </a:lnTo>
                  <a:lnTo>
                    <a:pt x="571" y="255"/>
                  </a:lnTo>
                  <a:lnTo>
                    <a:pt x="571" y="251"/>
                  </a:lnTo>
                  <a:lnTo>
                    <a:pt x="571" y="247"/>
                  </a:lnTo>
                  <a:lnTo>
                    <a:pt x="571" y="243"/>
                  </a:lnTo>
                  <a:lnTo>
                    <a:pt x="571" y="247"/>
                  </a:lnTo>
                  <a:lnTo>
                    <a:pt x="575" y="247"/>
                  </a:lnTo>
                  <a:lnTo>
                    <a:pt x="575" y="243"/>
                  </a:lnTo>
                  <a:lnTo>
                    <a:pt x="575" y="239"/>
                  </a:lnTo>
                  <a:lnTo>
                    <a:pt x="575" y="235"/>
                  </a:lnTo>
                  <a:lnTo>
                    <a:pt x="575" y="231"/>
                  </a:lnTo>
                  <a:lnTo>
                    <a:pt x="575" y="227"/>
                  </a:lnTo>
                  <a:lnTo>
                    <a:pt x="575" y="223"/>
                  </a:lnTo>
                  <a:lnTo>
                    <a:pt x="575" y="219"/>
                  </a:lnTo>
                  <a:lnTo>
                    <a:pt x="575" y="215"/>
                  </a:lnTo>
                  <a:lnTo>
                    <a:pt x="575" y="211"/>
                  </a:lnTo>
                  <a:lnTo>
                    <a:pt x="579" y="211"/>
                  </a:lnTo>
                  <a:lnTo>
                    <a:pt x="579" y="207"/>
                  </a:lnTo>
                  <a:lnTo>
                    <a:pt x="579" y="203"/>
                  </a:lnTo>
                  <a:lnTo>
                    <a:pt x="579" y="199"/>
                  </a:lnTo>
                  <a:lnTo>
                    <a:pt x="579" y="195"/>
                  </a:lnTo>
                  <a:lnTo>
                    <a:pt x="583" y="195"/>
                  </a:lnTo>
                  <a:lnTo>
                    <a:pt x="583" y="191"/>
                  </a:lnTo>
                  <a:lnTo>
                    <a:pt x="583" y="187"/>
                  </a:lnTo>
                  <a:lnTo>
                    <a:pt x="583" y="183"/>
                  </a:lnTo>
                  <a:lnTo>
                    <a:pt x="583" y="179"/>
                  </a:lnTo>
                  <a:lnTo>
                    <a:pt x="583" y="175"/>
                  </a:lnTo>
                  <a:lnTo>
                    <a:pt x="587" y="175"/>
                  </a:lnTo>
                  <a:lnTo>
                    <a:pt x="587" y="171"/>
                  </a:lnTo>
                  <a:lnTo>
                    <a:pt x="587" y="168"/>
                  </a:lnTo>
                  <a:lnTo>
                    <a:pt x="587" y="164"/>
                  </a:lnTo>
                  <a:lnTo>
                    <a:pt x="587" y="160"/>
                  </a:lnTo>
                  <a:lnTo>
                    <a:pt x="587" y="156"/>
                  </a:lnTo>
                  <a:lnTo>
                    <a:pt x="587" y="152"/>
                  </a:lnTo>
                  <a:lnTo>
                    <a:pt x="591" y="152"/>
                  </a:lnTo>
                  <a:lnTo>
                    <a:pt x="591" y="148"/>
                  </a:lnTo>
                  <a:lnTo>
                    <a:pt x="587" y="144"/>
                  </a:lnTo>
                  <a:lnTo>
                    <a:pt x="587" y="140"/>
                  </a:lnTo>
                  <a:lnTo>
                    <a:pt x="587" y="136"/>
                  </a:lnTo>
                  <a:lnTo>
                    <a:pt x="587" y="132"/>
                  </a:lnTo>
                  <a:lnTo>
                    <a:pt x="587" y="128"/>
                  </a:lnTo>
                  <a:lnTo>
                    <a:pt x="587" y="124"/>
                  </a:lnTo>
                  <a:lnTo>
                    <a:pt x="587" y="120"/>
                  </a:lnTo>
                  <a:lnTo>
                    <a:pt x="591" y="120"/>
                  </a:lnTo>
                  <a:lnTo>
                    <a:pt x="591" y="116"/>
                  </a:lnTo>
                  <a:lnTo>
                    <a:pt x="591" y="112"/>
                  </a:lnTo>
                  <a:lnTo>
                    <a:pt x="587" y="112"/>
                  </a:lnTo>
                  <a:lnTo>
                    <a:pt x="587" y="116"/>
                  </a:lnTo>
                  <a:lnTo>
                    <a:pt x="587" y="112"/>
                  </a:lnTo>
                  <a:lnTo>
                    <a:pt x="587" y="108"/>
                  </a:lnTo>
                  <a:lnTo>
                    <a:pt x="587" y="104"/>
                  </a:lnTo>
                  <a:lnTo>
                    <a:pt x="587" y="108"/>
                  </a:lnTo>
                  <a:lnTo>
                    <a:pt x="591" y="108"/>
                  </a:lnTo>
                  <a:lnTo>
                    <a:pt x="591" y="104"/>
                  </a:lnTo>
                  <a:lnTo>
                    <a:pt x="591" y="100"/>
                  </a:lnTo>
                  <a:lnTo>
                    <a:pt x="591" y="96"/>
                  </a:lnTo>
                  <a:lnTo>
                    <a:pt x="591" y="92"/>
                  </a:lnTo>
                  <a:lnTo>
                    <a:pt x="595" y="88"/>
                  </a:lnTo>
                  <a:lnTo>
                    <a:pt x="595" y="80"/>
                  </a:lnTo>
                  <a:lnTo>
                    <a:pt x="595" y="76"/>
                  </a:lnTo>
                  <a:lnTo>
                    <a:pt x="595" y="72"/>
                  </a:lnTo>
                  <a:lnTo>
                    <a:pt x="595" y="68"/>
                  </a:lnTo>
                  <a:lnTo>
                    <a:pt x="595" y="64"/>
                  </a:lnTo>
                  <a:lnTo>
                    <a:pt x="595" y="56"/>
                  </a:lnTo>
                  <a:lnTo>
                    <a:pt x="595" y="52"/>
                  </a:lnTo>
                  <a:lnTo>
                    <a:pt x="595" y="48"/>
                  </a:lnTo>
                  <a:lnTo>
                    <a:pt x="595" y="44"/>
                  </a:lnTo>
                  <a:lnTo>
                    <a:pt x="595" y="40"/>
                  </a:lnTo>
                  <a:lnTo>
                    <a:pt x="591" y="36"/>
                  </a:lnTo>
                  <a:lnTo>
                    <a:pt x="591" y="32"/>
                  </a:lnTo>
                  <a:lnTo>
                    <a:pt x="591" y="28"/>
                  </a:lnTo>
                  <a:lnTo>
                    <a:pt x="591" y="24"/>
                  </a:lnTo>
                  <a:lnTo>
                    <a:pt x="591" y="20"/>
                  </a:lnTo>
                  <a:lnTo>
                    <a:pt x="591" y="16"/>
                  </a:lnTo>
                  <a:lnTo>
                    <a:pt x="595" y="16"/>
                  </a:lnTo>
                  <a:lnTo>
                    <a:pt x="599" y="16"/>
                  </a:lnTo>
                  <a:lnTo>
                    <a:pt x="599" y="12"/>
                  </a:lnTo>
                  <a:lnTo>
                    <a:pt x="599" y="8"/>
                  </a:lnTo>
                  <a:lnTo>
                    <a:pt x="599" y="4"/>
                  </a:lnTo>
                  <a:lnTo>
                    <a:pt x="603" y="4"/>
                  </a:lnTo>
                  <a:lnTo>
                    <a:pt x="603" y="0"/>
                  </a:lnTo>
                  <a:lnTo>
                    <a:pt x="603" y="4"/>
                  </a:lnTo>
                  <a:lnTo>
                    <a:pt x="607" y="4"/>
                  </a:lnTo>
                  <a:lnTo>
                    <a:pt x="607" y="8"/>
                  </a:lnTo>
                  <a:lnTo>
                    <a:pt x="607" y="12"/>
                  </a:lnTo>
                  <a:lnTo>
                    <a:pt x="611" y="12"/>
                  </a:lnTo>
                  <a:lnTo>
                    <a:pt x="611" y="16"/>
                  </a:lnTo>
                  <a:lnTo>
                    <a:pt x="611" y="20"/>
                  </a:lnTo>
                  <a:lnTo>
                    <a:pt x="611" y="24"/>
                  </a:lnTo>
                  <a:lnTo>
                    <a:pt x="611" y="28"/>
                  </a:lnTo>
                  <a:lnTo>
                    <a:pt x="615" y="32"/>
                  </a:lnTo>
                  <a:lnTo>
                    <a:pt x="615" y="36"/>
                  </a:lnTo>
                  <a:lnTo>
                    <a:pt x="619" y="36"/>
                  </a:lnTo>
                  <a:lnTo>
                    <a:pt x="619" y="40"/>
                  </a:lnTo>
                  <a:lnTo>
                    <a:pt x="615" y="44"/>
                  </a:lnTo>
                  <a:lnTo>
                    <a:pt x="619" y="44"/>
                  </a:lnTo>
                  <a:lnTo>
                    <a:pt x="619" y="48"/>
                  </a:lnTo>
                  <a:lnTo>
                    <a:pt x="615" y="48"/>
                  </a:lnTo>
                  <a:lnTo>
                    <a:pt x="615" y="52"/>
                  </a:lnTo>
                  <a:lnTo>
                    <a:pt x="615" y="56"/>
                  </a:lnTo>
                  <a:lnTo>
                    <a:pt x="615" y="60"/>
                  </a:lnTo>
                  <a:lnTo>
                    <a:pt x="619" y="60"/>
                  </a:lnTo>
                  <a:lnTo>
                    <a:pt x="619" y="64"/>
                  </a:lnTo>
                  <a:lnTo>
                    <a:pt x="619" y="68"/>
                  </a:lnTo>
                  <a:lnTo>
                    <a:pt x="619" y="64"/>
                  </a:lnTo>
                  <a:lnTo>
                    <a:pt x="623" y="72"/>
                  </a:lnTo>
                  <a:lnTo>
                    <a:pt x="623" y="80"/>
                  </a:lnTo>
                  <a:lnTo>
                    <a:pt x="627" y="80"/>
                  </a:lnTo>
                  <a:lnTo>
                    <a:pt x="627" y="84"/>
                  </a:lnTo>
                  <a:lnTo>
                    <a:pt x="627" y="88"/>
                  </a:lnTo>
                  <a:lnTo>
                    <a:pt x="627" y="92"/>
                  </a:lnTo>
                  <a:lnTo>
                    <a:pt x="627" y="96"/>
                  </a:lnTo>
                  <a:lnTo>
                    <a:pt x="631" y="96"/>
                  </a:lnTo>
                  <a:lnTo>
                    <a:pt x="627" y="100"/>
                  </a:lnTo>
                  <a:lnTo>
                    <a:pt x="631" y="104"/>
                  </a:lnTo>
                  <a:lnTo>
                    <a:pt x="635" y="104"/>
                  </a:lnTo>
                  <a:lnTo>
                    <a:pt x="639" y="100"/>
                  </a:lnTo>
                  <a:lnTo>
                    <a:pt x="639" y="104"/>
                  </a:lnTo>
                  <a:lnTo>
                    <a:pt x="643" y="104"/>
                  </a:lnTo>
                  <a:lnTo>
                    <a:pt x="643" y="108"/>
                  </a:lnTo>
                  <a:lnTo>
                    <a:pt x="639" y="108"/>
                  </a:lnTo>
                  <a:lnTo>
                    <a:pt x="639" y="112"/>
                  </a:lnTo>
                  <a:lnTo>
                    <a:pt x="639" y="116"/>
                  </a:lnTo>
                  <a:lnTo>
                    <a:pt x="639" y="120"/>
                  </a:lnTo>
                  <a:lnTo>
                    <a:pt x="635" y="124"/>
                  </a:lnTo>
                  <a:lnTo>
                    <a:pt x="635" y="128"/>
                  </a:lnTo>
                  <a:lnTo>
                    <a:pt x="631" y="128"/>
                  </a:lnTo>
                  <a:lnTo>
                    <a:pt x="627" y="128"/>
                  </a:lnTo>
                  <a:lnTo>
                    <a:pt x="623" y="132"/>
                  </a:lnTo>
                  <a:lnTo>
                    <a:pt x="619" y="132"/>
                  </a:lnTo>
                  <a:lnTo>
                    <a:pt x="619" y="136"/>
                  </a:lnTo>
                  <a:lnTo>
                    <a:pt x="619" y="140"/>
                  </a:lnTo>
                  <a:lnTo>
                    <a:pt x="623" y="144"/>
                  </a:lnTo>
                  <a:lnTo>
                    <a:pt x="619" y="148"/>
                  </a:lnTo>
                  <a:lnTo>
                    <a:pt x="619" y="152"/>
                  </a:lnTo>
                  <a:lnTo>
                    <a:pt x="619" y="156"/>
                  </a:lnTo>
                  <a:lnTo>
                    <a:pt x="619" y="160"/>
                  </a:lnTo>
                  <a:lnTo>
                    <a:pt x="619" y="164"/>
                  </a:lnTo>
                  <a:lnTo>
                    <a:pt x="619" y="168"/>
                  </a:lnTo>
                  <a:lnTo>
                    <a:pt x="619" y="171"/>
                  </a:lnTo>
                  <a:lnTo>
                    <a:pt x="619" y="175"/>
                  </a:lnTo>
                  <a:lnTo>
                    <a:pt x="623" y="179"/>
                  </a:lnTo>
                  <a:lnTo>
                    <a:pt x="623" y="183"/>
                  </a:lnTo>
                  <a:lnTo>
                    <a:pt x="619" y="183"/>
                  </a:lnTo>
                  <a:lnTo>
                    <a:pt x="615" y="183"/>
                  </a:lnTo>
                  <a:lnTo>
                    <a:pt x="615" y="187"/>
                  </a:lnTo>
                  <a:lnTo>
                    <a:pt x="611" y="191"/>
                  </a:lnTo>
                  <a:lnTo>
                    <a:pt x="611" y="195"/>
                  </a:lnTo>
                  <a:lnTo>
                    <a:pt x="611" y="199"/>
                  </a:lnTo>
                  <a:lnTo>
                    <a:pt x="607" y="199"/>
                  </a:lnTo>
                  <a:lnTo>
                    <a:pt x="607" y="203"/>
                  </a:lnTo>
                  <a:lnTo>
                    <a:pt x="603" y="207"/>
                  </a:lnTo>
                  <a:lnTo>
                    <a:pt x="603" y="211"/>
                  </a:lnTo>
                  <a:lnTo>
                    <a:pt x="599" y="211"/>
                  </a:lnTo>
                  <a:lnTo>
                    <a:pt x="599" y="215"/>
                  </a:lnTo>
                  <a:lnTo>
                    <a:pt x="599" y="219"/>
                  </a:lnTo>
                  <a:lnTo>
                    <a:pt x="599" y="223"/>
                  </a:lnTo>
                  <a:lnTo>
                    <a:pt x="595" y="227"/>
                  </a:lnTo>
                  <a:lnTo>
                    <a:pt x="595" y="231"/>
                  </a:lnTo>
                  <a:lnTo>
                    <a:pt x="599" y="231"/>
                  </a:lnTo>
                  <a:lnTo>
                    <a:pt x="595" y="231"/>
                  </a:lnTo>
                  <a:lnTo>
                    <a:pt x="599" y="235"/>
                  </a:lnTo>
                  <a:lnTo>
                    <a:pt x="599" y="239"/>
                  </a:lnTo>
                  <a:lnTo>
                    <a:pt x="599" y="243"/>
                  </a:lnTo>
                  <a:lnTo>
                    <a:pt x="599" y="247"/>
                  </a:lnTo>
                  <a:lnTo>
                    <a:pt x="595" y="247"/>
                  </a:lnTo>
                  <a:lnTo>
                    <a:pt x="595" y="251"/>
                  </a:lnTo>
                  <a:lnTo>
                    <a:pt x="591" y="251"/>
                  </a:lnTo>
                  <a:lnTo>
                    <a:pt x="591" y="255"/>
                  </a:lnTo>
                  <a:lnTo>
                    <a:pt x="591" y="259"/>
                  </a:lnTo>
                  <a:lnTo>
                    <a:pt x="591" y="263"/>
                  </a:lnTo>
                  <a:lnTo>
                    <a:pt x="587" y="263"/>
                  </a:lnTo>
                  <a:lnTo>
                    <a:pt x="587" y="267"/>
                  </a:lnTo>
                  <a:lnTo>
                    <a:pt x="587" y="271"/>
                  </a:lnTo>
                  <a:lnTo>
                    <a:pt x="591" y="275"/>
                  </a:lnTo>
                  <a:lnTo>
                    <a:pt x="591" y="279"/>
                  </a:lnTo>
                  <a:lnTo>
                    <a:pt x="591" y="283"/>
                  </a:lnTo>
                  <a:lnTo>
                    <a:pt x="591" y="287"/>
                  </a:lnTo>
                  <a:lnTo>
                    <a:pt x="595" y="287"/>
                  </a:lnTo>
                  <a:lnTo>
                    <a:pt x="595" y="291"/>
                  </a:lnTo>
                  <a:lnTo>
                    <a:pt x="595" y="295"/>
                  </a:lnTo>
                  <a:lnTo>
                    <a:pt x="595" y="299"/>
                  </a:lnTo>
                  <a:lnTo>
                    <a:pt x="595" y="303"/>
                  </a:lnTo>
                  <a:lnTo>
                    <a:pt x="599" y="303"/>
                  </a:lnTo>
                  <a:lnTo>
                    <a:pt x="599" y="307"/>
                  </a:lnTo>
                  <a:lnTo>
                    <a:pt x="599" y="311"/>
                  </a:lnTo>
                  <a:lnTo>
                    <a:pt x="599" y="315"/>
                  </a:lnTo>
                  <a:lnTo>
                    <a:pt x="599" y="319"/>
                  </a:lnTo>
                  <a:lnTo>
                    <a:pt x="599" y="323"/>
                  </a:lnTo>
                  <a:lnTo>
                    <a:pt x="595" y="323"/>
                  </a:lnTo>
                  <a:lnTo>
                    <a:pt x="595" y="327"/>
                  </a:lnTo>
                  <a:lnTo>
                    <a:pt x="595" y="331"/>
                  </a:lnTo>
                  <a:lnTo>
                    <a:pt x="591" y="331"/>
                  </a:lnTo>
                  <a:lnTo>
                    <a:pt x="591" y="335"/>
                  </a:lnTo>
                  <a:lnTo>
                    <a:pt x="591" y="339"/>
                  </a:lnTo>
                  <a:lnTo>
                    <a:pt x="591" y="343"/>
                  </a:lnTo>
                  <a:lnTo>
                    <a:pt x="587" y="343"/>
                  </a:lnTo>
                  <a:lnTo>
                    <a:pt x="587" y="347"/>
                  </a:lnTo>
                  <a:lnTo>
                    <a:pt x="591" y="347"/>
                  </a:lnTo>
                  <a:lnTo>
                    <a:pt x="591" y="351"/>
                  </a:lnTo>
                  <a:lnTo>
                    <a:pt x="591" y="355"/>
                  </a:lnTo>
                  <a:lnTo>
                    <a:pt x="591" y="359"/>
                  </a:lnTo>
                  <a:lnTo>
                    <a:pt x="591" y="363"/>
                  </a:lnTo>
                  <a:lnTo>
                    <a:pt x="587" y="363"/>
                  </a:lnTo>
                  <a:lnTo>
                    <a:pt x="587" y="367"/>
                  </a:lnTo>
                  <a:lnTo>
                    <a:pt x="583" y="371"/>
                  </a:lnTo>
                  <a:lnTo>
                    <a:pt x="583" y="367"/>
                  </a:lnTo>
                  <a:lnTo>
                    <a:pt x="579" y="371"/>
                  </a:lnTo>
                  <a:lnTo>
                    <a:pt x="579" y="375"/>
                  </a:lnTo>
                  <a:lnTo>
                    <a:pt x="579" y="379"/>
                  </a:lnTo>
                  <a:lnTo>
                    <a:pt x="579" y="383"/>
                  </a:lnTo>
                  <a:lnTo>
                    <a:pt x="579" y="387"/>
                  </a:lnTo>
                  <a:lnTo>
                    <a:pt x="579" y="391"/>
                  </a:lnTo>
                  <a:lnTo>
                    <a:pt x="579" y="395"/>
                  </a:lnTo>
                  <a:lnTo>
                    <a:pt x="579" y="399"/>
                  </a:lnTo>
                  <a:lnTo>
                    <a:pt x="583" y="403"/>
                  </a:lnTo>
                  <a:lnTo>
                    <a:pt x="583" y="407"/>
                  </a:lnTo>
                  <a:lnTo>
                    <a:pt x="583" y="411"/>
                  </a:lnTo>
                  <a:lnTo>
                    <a:pt x="583" y="415"/>
                  </a:lnTo>
                  <a:lnTo>
                    <a:pt x="579" y="415"/>
                  </a:lnTo>
                  <a:lnTo>
                    <a:pt x="579" y="419"/>
                  </a:lnTo>
                  <a:lnTo>
                    <a:pt x="575" y="419"/>
                  </a:lnTo>
                  <a:lnTo>
                    <a:pt x="575" y="423"/>
                  </a:lnTo>
                  <a:lnTo>
                    <a:pt x="575" y="427"/>
                  </a:lnTo>
                  <a:lnTo>
                    <a:pt x="575" y="431"/>
                  </a:lnTo>
                  <a:lnTo>
                    <a:pt x="575" y="435"/>
                  </a:lnTo>
                  <a:lnTo>
                    <a:pt x="571" y="435"/>
                  </a:lnTo>
                  <a:lnTo>
                    <a:pt x="571" y="431"/>
                  </a:lnTo>
                  <a:lnTo>
                    <a:pt x="571" y="435"/>
                  </a:lnTo>
                  <a:lnTo>
                    <a:pt x="571" y="439"/>
                  </a:lnTo>
                  <a:lnTo>
                    <a:pt x="571" y="443"/>
                  </a:lnTo>
                  <a:lnTo>
                    <a:pt x="567" y="447"/>
                  </a:lnTo>
                  <a:lnTo>
                    <a:pt x="571" y="447"/>
                  </a:lnTo>
                  <a:lnTo>
                    <a:pt x="571" y="451"/>
                  </a:lnTo>
                  <a:lnTo>
                    <a:pt x="567" y="451"/>
                  </a:lnTo>
                  <a:lnTo>
                    <a:pt x="567" y="455"/>
                  </a:lnTo>
                  <a:lnTo>
                    <a:pt x="567" y="459"/>
                  </a:lnTo>
                  <a:lnTo>
                    <a:pt x="567" y="463"/>
                  </a:lnTo>
                  <a:lnTo>
                    <a:pt x="567" y="467"/>
                  </a:lnTo>
                  <a:lnTo>
                    <a:pt x="567" y="471"/>
                  </a:lnTo>
                  <a:lnTo>
                    <a:pt x="567" y="475"/>
                  </a:lnTo>
                  <a:lnTo>
                    <a:pt x="567" y="479"/>
                  </a:lnTo>
                  <a:lnTo>
                    <a:pt x="571" y="479"/>
                  </a:lnTo>
                  <a:lnTo>
                    <a:pt x="571" y="483"/>
                  </a:lnTo>
                  <a:lnTo>
                    <a:pt x="571" y="487"/>
                  </a:lnTo>
                  <a:lnTo>
                    <a:pt x="567" y="487"/>
                  </a:lnTo>
                  <a:lnTo>
                    <a:pt x="563" y="491"/>
                  </a:lnTo>
                  <a:lnTo>
                    <a:pt x="567" y="491"/>
                  </a:lnTo>
                  <a:lnTo>
                    <a:pt x="563" y="495"/>
                  </a:lnTo>
                  <a:lnTo>
                    <a:pt x="563" y="499"/>
                  </a:lnTo>
                  <a:lnTo>
                    <a:pt x="563" y="503"/>
                  </a:lnTo>
                  <a:lnTo>
                    <a:pt x="563" y="507"/>
                  </a:lnTo>
                  <a:lnTo>
                    <a:pt x="567" y="507"/>
                  </a:lnTo>
                  <a:lnTo>
                    <a:pt x="571" y="507"/>
                  </a:lnTo>
                  <a:lnTo>
                    <a:pt x="571" y="511"/>
                  </a:lnTo>
                  <a:lnTo>
                    <a:pt x="567" y="511"/>
                  </a:lnTo>
                  <a:lnTo>
                    <a:pt x="567" y="515"/>
                  </a:lnTo>
                  <a:lnTo>
                    <a:pt x="571" y="515"/>
                  </a:lnTo>
                  <a:lnTo>
                    <a:pt x="571" y="519"/>
                  </a:lnTo>
                  <a:lnTo>
                    <a:pt x="571" y="523"/>
                  </a:lnTo>
                  <a:lnTo>
                    <a:pt x="571" y="527"/>
                  </a:lnTo>
                  <a:lnTo>
                    <a:pt x="567" y="527"/>
                  </a:lnTo>
                  <a:lnTo>
                    <a:pt x="571" y="531"/>
                  </a:lnTo>
                  <a:lnTo>
                    <a:pt x="567" y="531"/>
                  </a:lnTo>
                  <a:lnTo>
                    <a:pt x="567" y="535"/>
                  </a:lnTo>
                  <a:lnTo>
                    <a:pt x="571" y="535"/>
                  </a:lnTo>
                  <a:lnTo>
                    <a:pt x="575" y="535"/>
                  </a:lnTo>
                  <a:lnTo>
                    <a:pt x="579" y="535"/>
                  </a:lnTo>
                  <a:lnTo>
                    <a:pt x="579" y="539"/>
                  </a:lnTo>
                  <a:lnTo>
                    <a:pt x="579" y="543"/>
                  </a:lnTo>
                  <a:lnTo>
                    <a:pt x="575" y="543"/>
                  </a:lnTo>
                  <a:lnTo>
                    <a:pt x="571" y="543"/>
                  </a:lnTo>
                  <a:lnTo>
                    <a:pt x="567" y="543"/>
                  </a:lnTo>
                  <a:lnTo>
                    <a:pt x="563" y="543"/>
                  </a:lnTo>
                  <a:lnTo>
                    <a:pt x="567" y="543"/>
                  </a:lnTo>
                  <a:lnTo>
                    <a:pt x="567" y="547"/>
                  </a:lnTo>
                  <a:lnTo>
                    <a:pt x="571" y="547"/>
                  </a:lnTo>
                  <a:lnTo>
                    <a:pt x="575" y="547"/>
                  </a:lnTo>
                  <a:lnTo>
                    <a:pt x="575" y="551"/>
                  </a:lnTo>
                  <a:lnTo>
                    <a:pt x="575" y="555"/>
                  </a:lnTo>
                  <a:lnTo>
                    <a:pt x="571" y="559"/>
                  </a:lnTo>
                  <a:lnTo>
                    <a:pt x="571" y="563"/>
                  </a:lnTo>
                  <a:lnTo>
                    <a:pt x="571" y="567"/>
                  </a:lnTo>
                  <a:lnTo>
                    <a:pt x="571" y="571"/>
                  </a:lnTo>
                  <a:lnTo>
                    <a:pt x="567" y="571"/>
                  </a:lnTo>
                  <a:lnTo>
                    <a:pt x="571" y="571"/>
                  </a:lnTo>
                  <a:lnTo>
                    <a:pt x="571" y="575"/>
                  </a:lnTo>
                  <a:lnTo>
                    <a:pt x="571" y="579"/>
                  </a:lnTo>
                  <a:lnTo>
                    <a:pt x="571" y="583"/>
                  </a:lnTo>
                  <a:lnTo>
                    <a:pt x="567" y="587"/>
                  </a:lnTo>
                  <a:lnTo>
                    <a:pt x="567" y="591"/>
                  </a:lnTo>
                  <a:lnTo>
                    <a:pt x="567" y="595"/>
                  </a:lnTo>
                  <a:lnTo>
                    <a:pt x="563" y="599"/>
                  </a:lnTo>
                  <a:lnTo>
                    <a:pt x="559" y="599"/>
                  </a:lnTo>
                  <a:lnTo>
                    <a:pt x="563" y="603"/>
                  </a:lnTo>
                  <a:lnTo>
                    <a:pt x="559" y="603"/>
                  </a:lnTo>
                  <a:lnTo>
                    <a:pt x="559" y="606"/>
                  </a:lnTo>
                  <a:lnTo>
                    <a:pt x="559" y="610"/>
                  </a:lnTo>
                  <a:lnTo>
                    <a:pt x="563" y="614"/>
                  </a:lnTo>
                  <a:lnTo>
                    <a:pt x="563" y="618"/>
                  </a:lnTo>
                  <a:lnTo>
                    <a:pt x="559" y="618"/>
                  </a:lnTo>
                  <a:lnTo>
                    <a:pt x="559" y="622"/>
                  </a:lnTo>
                  <a:lnTo>
                    <a:pt x="555" y="622"/>
                  </a:lnTo>
                  <a:lnTo>
                    <a:pt x="559" y="622"/>
                  </a:lnTo>
                  <a:lnTo>
                    <a:pt x="559" y="626"/>
                  </a:lnTo>
                  <a:lnTo>
                    <a:pt x="559" y="630"/>
                  </a:lnTo>
                  <a:lnTo>
                    <a:pt x="555" y="630"/>
                  </a:lnTo>
                  <a:lnTo>
                    <a:pt x="551" y="630"/>
                  </a:lnTo>
                  <a:lnTo>
                    <a:pt x="551" y="634"/>
                  </a:lnTo>
                  <a:lnTo>
                    <a:pt x="547" y="638"/>
                  </a:lnTo>
                  <a:lnTo>
                    <a:pt x="551" y="638"/>
                  </a:lnTo>
                  <a:lnTo>
                    <a:pt x="547" y="638"/>
                  </a:lnTo>
                  <a:lnTo>
                    <a:pt x="543" y="638"/>
                  </a:lnTo>
                  <a:lnTo>
                    <a:pt x="543" y="642"/>
                  </a:lnTo>
                  <a:lnTo>
                    <a:pt x="543" y="646"/>
                  </a:lnTo>
                  <a:lnTo>
                    <a:pt x="543" y="650"/>
                  </a:lnTo>
                  <a:lnTo>
                    <a:pt x="543" y="654"/>
                  </a:lnTo>
                  <a:lnTo>
                    <a:pt x="543" y="658"/>
                  </a:lnTo>
                  <a:lnTo>
                    <a:pt x="547" y="662"/>
                  </a:lnTo>
                  <a:lnTo>
                    <a:pt x="547" y="666"/>
                  </a:lnTo>
                  <a:lnTo>
                    <a:pt x="547" y="670"/>
                  </a:lnTo>
                  <a:lnTo>
                    <a:pt x="547" y="674"/>
                  </a:lnTo>
                  <a:lnTo>
                    <a:pt x="551" y="674"/>
                  </a:lnTo>
                  <a:lnTo>
                    <a:pt x="551" y="670"/>
                  </a:lnTo>
                  <a:lnTo>
                    <a:pt x="555" y="670"/>
                  </a:lnTo>
                  <a:lnTo>
                    <a:pt x="559" y="670"/>
                  </a:lnTo>
                  <a:lnTo>
                    <a:pt x="563" y="670"/>
                  </a:lnTo>
                  <a:lnTo>
                    <a:pt x="559" y="670"/>
                  </a:lnTo>
                  <a:lnTo>
                    <a:pt x="563" y="674"/>
                  </a:lnTo>
                  <a:lnTo>
                    <a:pt x="563" y="678"/>
                  </a:lnTo>
                  <a:lnTo>
                    <a:pt x="559" y="678"/>
                  </a:lnTo>
                  <a:lnTo>
                    <a:pt x="559" y="682"/>
                  </a:lnTo>
                  <a:lnTo>
                    <a:pt x="563" y="682"/>
                  </a:lnTo>
                  <a:lnTo>
                    <a:pt x="563" y="686"/>
                  </a:lnTo>
                  <a:lnTo>
                    <a:pt x="559" y="690"/>
                  </a:lnTo>
                  <a:lnTo>
                    <a:pt x="563" y="694"/>
                  </a:lnTo>
                  <a:lnTo>
                    <a:pt x="567" y="698"/>
                  </a:lnTo>
                  <a:lnTo>
                    <a:pt x="571" y="702"/>
                  </a:lnTo>
                  <a:lnTo>
                    <a:pt x="579" y="702"/>
                  </a:lnTo>
                  <a:lnTo>
                    <a:pt x="587" y="702"/>
                  </a:lnTo>
                  <a:lnTo>
                    <a:pt x="591" y="702"/>
                  </a:lnTo>
                  <a:lnTo>
                    <a:pt x="595" y="702"/>
                  </a:lnTo>
                  <a:lnTo>
                    <a:pt x="599" y="702"/>
                  </a:lnTo>
                  <a:lnTo>
                    <a:pt x="603" y="702"/>
                  </a:lnTo>
                  <a:lnTo>
                    <a:pt x="607" y="702"/>
                  </a:lnTo>
                  <a:lnTo>
                    <a:pt x="611" y="706"/>
                  </a:lnTo>
                  <a:lnTo>
                    <a:pt x="615" y="706"/>
                  </a:lnTo>
                  <a:lnTo>
                    <a:pt x="619" y="706"/>
                  </a:lnTo>
                  <a:lnTo>
                    <a:pt x="619" y="710"/>
                  </a:lnTo>
                  <a:lnTo>
                    <a:pt x="619" y="706"/>
                  </a:lnTo>
                  <a:lnTo>
                    <a:pt x="615" y="706"/>
                  </a:lnTo>
                  <a:lnTo>
                    <a:pt x="611" y="706"/>
                  </a:lnTo>
                  <a:lnTo>
                    <a:pt x="607" y="706"/>
                  </a:lnTo>
                  <a:lnTo>
                    <a:pt x="603" y="706"/>
                  </a:lnTo>
                  <a:lnTo>
                    <a:pt x="603" y="710"/>
                  </a:lnTo>
                  <a:lnTo>
                    <a:pt x="603" y="714"/>
                  </a:lnTo>
                  <a:lnTo>
                    <a:pt x="599" y="710"/>
                  </a:lnTo>
                  <a:lnTo>
                    <a:pt x="595" y="714"/>
                  </a:lnTo>
                  <a:lnTo>
                    <a:pt x="587" y="718"/>
                  </a:lnTo>
                  <a:lnTo>
                    <a:pt x="583" y="718"/>
                  </a:lnTo>
                  <a:lnTo>
                    <a:pt x="583" y="722"/>
                  </a:lnTo>
                  <a:lnTo>
                    <a:pt x="583" y="726"/>
                  </a:lnTo>
                  <a:lnTo>
                    <a:pt x="583" y="730"/>
                  </a:lnTo>
                  <a:lnTo>
                    <a:pt x="583" y="734"/>
                  </a:lnTo>
                  <a:lnTo>
                    <a:pt x="583" y="738"/>
                  </a:lnTo>
                  <a:lnTo>
                    <a:pt x="583" y="742"/>
                  </a:lnTo>
                  <a:lnTo>
                    <a:pt x="579" y="742"/>
                  </a:lnTo>
                  <a:lnTo>
                    <a:pt x="575" y="742"/>
                  </a:lnTo>
                  <a:lnTo>
                    <a:pt x="571" y="742"/>
                  </a:lnTo>
                  <a:lnTo>
                    <a:pt x="567" y="738"/>
                  </a:lnTo>
                  <a:lnTo>
                    <a:pt x="563" y="738"/>
                  </a:lnTo>
                  <a:lnTo>
                    <a:pt x="559" y="734"/>
                  </a:lnTo>
                  <a:lnTo>
                    <a:pt x="559" y="730"/>
                  </a:lnTo>
                  <a:lnTo>
                    <a:pt x="563" y="730"/>
                  </a:lnTo>
                  <a:lnTo>
                    <a:pt x="563" y="734"/>
                  </a:lnTo>
                  <a:lnTo>
                    <a:pt x="567" y="734"/>
                  </a:lnTo>
                  <a:lnTo>
                    <a:pt x="567" y="730"/>
                  </a:lnTo>
                  <a:lnTo>
                    <a:pt x="567" y="726"/>
                  </a:lnTo>
                  <a:lnTo>
                    <a:pt x="567" y="730"/>
                  </a:lnTo>
                  <a:lnTo>
                    <a:pt x="571" y="734"/>
                  </a:lnTo>
                  <a:lnTo>
                    <a:pt x="567" y="734"/>
                  </a:lnTo>
                  <a:lnTo>
                    <a:pt x="571" y="734"/>
                  </a:lnTo>
                  <a:lnTo>
                    <a:pt x="571" y="730"/>
                  </a:lnTo>
                  <a:lnTo>
                    <a:pt x="571" y="726"/>
                  </a:lnTo>
                  <a:lnTo>
                    <a:pt x="575" y="726"/>
                  </a:lnTo>
                  <a:lnTo>
                    <a:pt x="579" y="722"/>
                  </a:lnTo>
                  <a:lnTo>
                    <a:pt x="579" y="718"/>
                  </a:lnTo>
                  <a:lnTo>
                    <a:pt x="575" y="718"/>
                  </a:lnTo>
                  <a:lnTo>
                    <a:pt x="571" y="722"/>
                  </a:lnTo>
                  <a:lnTo>
                    <a:pt x="567" y="722"/>
                  </a:lnTo>
                  <a:lnTo>
                    <a:pt x="567" y="726"/>
                  </a:lnTo>
                  <a:lnTo>
                    <a:pt x="563" y="726"/>
                  </a:lnTo>
                  <a:lnTo>
                    <a:pt x="563" y="722"/>
                  </a:lnTo>
                  <a:lnTo>
                    <a:pt x="559" y="726"/>
                  </a:lnTo>
                  <a:lnTo>
                    <a:pt x="563" y="726"/>
                  </a:lnTo>
                  <a:lnTo>
                    <a:pt x="559" y="730"/>
                  </a:lnTo>
                  <a:lnTo>
                    <a:pt x="559" y="726"/>
                  </a:lnTo>
                  <a:lnTo>
                    <a:pt x="559" y="730"/>
                  </a:lnTo>
                  <a:lnTo>
                    <a:pt x="555" y="730"/>
                  </a:lnTo>
                  <a:lnTo>
                    <a:pt x="559" y="734"/>
                  </a:lnTo>
                  <a:lnTo>
                    <a:pt x="555" y="734"/>
                  </a:lnTo>
                  <a:lnTo>
                    <a:pt x="551" y="730"/>
                  </a:lnTo>
                  <a:lnTo>
                    <a:pt x="547" y="730"/>
                  </a:lnTo>
                  <a:lnTo>
                    <a:pt x="547" y="726"/>
                  </a:lnTo>
                  <a:lnTo>
                    <a:pt x="551" y="726"/>
                  </a:lnTo>
                  <a:lnTo>
                    <a:pt x="555" y="726"/>
                  </a:lnTo>
                  <a:lnTo>
                    <a:pt x="555" y="730"/>
                  </a:lnTo>
                  <a:lnTo>
                    <a:pt x="555" y="726"/>
                  </a:lnTo>
                  <a:lnTo>
                    <a:pt x="551" y="726"/>
                  </a:lnTo>
                  <a:lnTo>
                    <a:pt x="551" y="722"/>
                  </a:lnTo>
                  <a:lnTo>
                    <a:pt x="551" y="718"/>
                  </a:lnTo>
                  <a:lnTo>
                    <a:pt x="555" y="718"/>
                  </a:lnTo>
                  <a:lnTo>
                    <a:pt x="559" y="718"/>
                  </a:lnTo>
                  <a:lnTo>
                    <a:pt x="563" y="718"/>
                  </a:lnTo>
                  <a:lnTo>
                    <a:pt x="563" y="714"/>
                  </a:lnTo>
                  <a:lnTo>
                    <a:pt x="567" y="714"/>
                  </a:lnTo>
                  <a:lnTo>
                    <a:pt x="571" y="714"/>
                  </a:lnTo>
                  <a:lnTo>
                    <a:pt x="575" y="714"/>
                  </a:lnTo>
                  <a:lnTo>
                    <a:pt x="571" y="714"/>
                  </a:lnTo>
                  <a:lnTo>
                    <a:pt x="567" y="714"/>
                  </a:lnTo>
                  <a:lnTo>
                    <a:pt x="563" y="710"/>
                  </a:lnTo>
                  <a:lnTo>
                    <a:pt x="559" y="714"/>
                  </a:lnTo>
                  <a:lnTo>
                    <a:pt x="559" y="710"/>
                  </a:lnTo>
                  <a:lnTo>
                    <a:pt x="559" y="714"/>
                  </a:lnTo>
                  <a:lnTo>
                    <a:pt x="555" y="714"/>
                  </a:lnTo>
                  <a:lnTo>
                    <a:pt x="551" y="714"/>
                  </a:lnTo>
                  <a:lnTo>
                    <a:pt x="555" y="714"/>
                  </a:lnTo>
                  <a:lnTo>
                    <a:pt x="555" y="718"/>
                  </a:lnTo>
                  <a:lnTo>
                    <a:pt x="551" y="718"/>
                  </a:lnTo>
                  <a:lnTo>
                    <a:pt x="551" y="722"/>
                  </a:lnTo>
                  <a:lnTo>
                    <a:pt x="551" y="726"/>
                  </a:lnTo>
                  <a:lnTo>
                    <a:pt x="547" y="726"/>
                  </a:lnTo>
                  <a:lnTo>
                    <a:pt x="543" y="722"/>
                  </a:lnTo>
                  <a:lnTo>
                    <a:pt x="547" y="722"/>
                  </a:lnTo>
                  <a:lnTo>
                    <a:pt x="543" y="718"/>
                  </a:lnTo>
                  <a:lnTo>
                    <a:pt x="547" y="718"/>
                  </a:lnTo>
                  <a:lnTo>
                    <a:pt x="551" y="710"/>
                  </a:lnTo>
                  <a:lnTo>
                    <a:pt x="547" y="710"/>
                  </a:lnTo>
                  <a:lnTo>
                    <a:pt x="547" y="714"/>
                  </a:lnTo>
                  <a:lnTo>
                    <a:pt x="543" y="714"/>
                  </a:lnTo>
                  <a:lnTo>
                    <a:pt x="543" y="718"/>
                  </a:lnTo>
                  <a:lnTo>
                    <a:pt x="539" y="718"/>
                  </a:lnTo>
                  <a:lnTo>
                    <a:pt x="539" y="714"/>
                  </a:lnTo>
                  <a:lnTo>
                    <a:pt x="543" y="714"/>
                  </a:lnTo>
                  <a:lnTo>
                    <a:pt x="543" y="710"/>
                  </a:lnTo>
                  <a:lnTo>
                    <a:pt x="539" y="710"/>
                  </a:lnTo>
                  <a:lnTo>
                    <a:pt x="543" y="710"/>
                  </a:lnTo>
                  <a:lnTo>
                    <a:pt x="543" y="706"/>
                  </a:lnTo>
                  <a:lnTo>
                    <a:pt x="543" y="702"/>
                  </a:lnTo>
                  <a:lnTo>
                    <a:pt x="539" y="702"/>
                  </a:lnTo>
                  <a:lnTo>
                    <a:pt x="543" y="706"/>
                  </a:lnTo>
                  <a:lnTo>
                    <a:pt x="547" y="706"/>
                  </a:lnTo>
                  <a:lnTo>
                    <a:pt x="547" y="702"/>
                  </a:lnTo>
                  <a:lnTo>
                    <a:pt x="551" y="702"/>
                  </a:lnTo>
                  <a:lnTo>
                    <a:pt x="551" y="706"/>
                  </a:lnTo>
                  <a:lnTo>
                    <a:pt x="555" y="706"/>
                  </a:lnTo>
                  <a:lnTo>
                    <a:pt x="555" y="702"/>
                  </a:lnTo>
                  <a:lnTo>
                    <a:pt x="551" y="706"/>
                  </a:lnTo>
                  <a:lnTo>
                    <a:pt x="551" y="702"/>
                  </a:lnTo>
                  <a:lnTo>
                    <a:pt x="555" y="698"/>
                  </a:lnTo>
                  <a:lnTo>
                    <a:pt x="555" y="702"/>
                  </a:lnTo>
                  <a:lnTo>
                    <a:pt x="559" y="702"/>
                  </a:lnTo>
                  <a:lnTo>
                    <a:pt x="559" y="706"/>
                  </a:lnTo>
                  <a:lnTo>
                    <a:pt x="555" y="706"/>
                  </a:lnTo>
                  <a:lnTo>
                    <a:pt x="555" y="710"/>
                  </a:lnTo>
                  <a:lnTo>
                    <a:pt x="551" y="710"/>
                  </a:lnTo>
                  <a:lnTo>
                    <a:pt x="555" y="710"/>
                  </a:lnTo>
                  <a:lnTo>
                    <a:pt x="559" y="710"/>
                  </a:lnTo>
                  <a:lnTo>
                    <a:pt x="559" y="706"/>
                  </a:lnTo>
                  <a:lnTo>
                    <a:pt x="559" y="702"/>
                  </a:lnTo>
                  <a:lnTo>
                    <a:pt x="555" y="702"/>
                  </a:lnTo>
                  <a:lnTo>
                    <a:pt x="555" y="698"/>
                  </a:lnTo>
                  <a:lnTo>
                    <a:pt x="559" y="698"/>
                  </a:lnTo>
                  <a:lnTo>
                    <a:pt x="559" y="694"/>
                  </a:lnTo>
                  <a:lnTo>
                    <a:pt x="555" y="690"/>
                  </a:lnTo>
                  <a:lnTo>
                    <a:pt x="551" y="690"/>
                  </a:lnTo>
                  <a:lnTo>
                    <a:pt x="551" y="686"/>
                  </a:lnTo>
                  <a:lnTo>
                    <a:pt x="547" y="686"/>
                  </a:lnTo>
                  <a:lnTo>
                    <a:pt x="547" y="690"/>
                  </a:lnTo>
                  <a:lnTo>
                    <a:pt x="551" y="690"/>
                  </a:lnTo>
                  <a:lnTo>
                    <a:pt x="555" y="690"/>
                  </a:lnTo>
                  <a:lnTo>
                    <a:pt x="555" y="694"/>
                  </a:lnTo>
                  <a:lnTo>
                    <a:pt x="559" y="694"/>
                  </a:lnTo>
                  <a:lnTo>
                    <a:pt x="555" y="698"/>
                  </a:lnTo>
                  <a:lnTo>
                    <a:pt x="555" y="694"/>
                  </a:lnTo>
                  <a:lnTo>
                    <a:pt x="551" y="694"/>
                  </a:lnTo>
                  <a:lnTo>
                    <a:pt x="547" y="690"/>
                  </a:lnTo>
                  <a:lnTo>
                    <a:pt x="547" y="694"/>
                  </a:lnTo>
                  <a:lnTo>
                    <a:pt x="551" y="694"/>
                  </a:lnTo>
                  <a:lnTo>
                    <a:pt x="551" y="698"/>
                  </a:lnTo>
                  <a:lnTo>
                    <a:pt x="547" y="698"/>
                  </a:lnTo>
                  <a:lnTo>
                    <a:pt x="551" y="698"/>
                  </a:lnTo>
                  <a:lnTo>
                    <a:pt x="547" y="698"/>
                  </a:lnTo>
                  <a:lnTo>
                    <a:pt x="547" y="702"/>
                  </a:lnTo>
                  <a:lnTo>
                    <a:pt x="547" y="698"/>
                  </a:lnTo>
                  <a:lnTo>
                    <a:pt x="547" y="694"/>
                  </a:lnTo>
                  <a:lnTo>
                    <a:pt x="547" y="702"/>
                  </a:lnTo>
                  <a:lnTo>
                    <a:pt x="543" y="702"/>
                  </a:lnTo>
                  <a:lnTo>
                    <a:pt x="543" y="698"/>
                  </a:lnTo>
                  <a:lnTo>
                    <a:pt x="543" y="694"/>
                  </a:lnTo>
                  <a:lnTo>
                    <a:pt x="543" y="698"/>
                  </a:lnTo>
                  <a:lnTo>
                    <a:pt x="543" y="702"/>
                  </a:lnTo>
                  <a:lnTo>
                    <a:pt x="543" y="698"/>
                  </a:lnTo>
                  <a:lnTo>
                    <a:pt x="543" y="694"/>
                  </a:lnTo>
                  <a:lnTo>
                    <a:pt x="539" y="694"/>
                  </a:lnTo>
                  <a:lnTo>
                    <a:pt x="539" y="690"/>
                  </a:lnTo>
                  <a:lnTo>
                    <a:pt x="535" y="686"/>
                  </a:lnTo>
                  <a:lnTo>
                    <a:pt x="539" y="686"/>
                  </a:lnTo>
                  <a:lnTo>
                    <a:pt x="539" y="690"/>
                  </a:lnTo>
                  <a:lnTo>
                    <a:pt x="543" y="690"/>
                  </a:lnTo>
                  <a:lnTo>
                    <a:pt x="539" y="686"/>
                  </a:lnTo>
                  <a:lnTo>
                    <a:pt x="539" y="682"/>
                  </a:lnTo>
                  <a:lnTo>
                    <a:pt x="535" y="682"/>
                  </a:lnTo>
                  <a:lnTo>
                    <a:pt x="535" y="678"/>
                  </a:lnTo>
                  <a:lnTo>
                    <a:pt x="531" y="678"/>
                  </a:lnTo>
                  <a:lnTo>
                    <a:pt x="531" y="674"/>
                  </a:lnTo>
                  <a:lnTo>
                    <a:pt x="535" y="674"/>
                  </a:lnTo>
                  <a:lnTo>
                    <a:pt x="539" y="674"/>
                  </a:lnTo>
                  <a:lnTo>
                    <a:pt x="539" y="670"/>
                  </a:lnTo>
                  <a:lnTo>
                    <a:pt x="543" y="670"/>
                  </a:lnTo>
                  <a:lnTo>
                    <a:pt x="539" y="670"/>
                  </a:lnTo>
                  <a:lnTo>
                    <a:pt x="539" y="666"/>
                  </a:lnTo>
                  <a:lnTo>
                    <a:pt x="543" y="666"/>
                  </a:lnTo>
                  <a:lnTo>
                    <a:pt x="539" y="666"/>
                  </a:lnTo>
                  <a:lnTo>
                    <a:pt x="539" y="670"/>
                  </a:lnTo>
                  <a:lnTo>
                    <a:pt x="539" y="674"/>
                  </a:lnTo>
                  <a:lnTo>
                    <a:pt x="535" y="674"/>
                  </a:lnTo>
                  <a:lnTo>
                    <a:pt x="535" y="670"/>
                  </a:lnTo>
                  <a:lnTo>
                    <a:pt x="531" y="670"/>
                  </a:lnTo>
                  <a:lnTo>
                    <a:pt x="531" y="666"/>
                  </a:lnTo>
                  <a:lnTo>
                    <a:pt x="535" y="666"/>
                  </a:lnTo>
                  <a:lnTo>
                    <a:pt x="539" y="666"/>
                  </a:lnTo>
                  <a:lnTo>
                    <a:pt x="535" y="666"/>
                  </a:lnTo>
                  <a:lnTo>
                    <a:pt x="531" y="666"/>
                  </a:lnTo>
                  <a:lnTo>
                    <a:pt x="527" y="662"/>
                  </a:lnTo>
                  <a:lnTo>
                    <a:pt x="527" y="658"/>
                  </a:lnTo>
                  <a:lnTo>
                    <a:pt x="531" y="658"/>
                  </a:lnTo>
                  <a:lnTo>
                    <a:pt x="535" y="662"/>
                  </a:lnTo>
                  <a:lnTo>
                    <a:pt x="539" y="662"/>
                  </a:lnTo>
                  <a:lnTo>
                    <a:pt x="535" y="658"/>
                  </a:lnTo>
                  <a:lnTo>
                    <a:pt x="531" y="658"/>
                  </a:lnTo>
                  <a:lnTo>
                    <a:pt x="531" y="654"/>
                  </a:lnTo>
                  <a:lnTo>
                    <a:pt x="535" y="654"/>
                  </a:lnTo>
                  <a:lnTo>
                    <a:pt x="539" y="658"/>
                  </a:lnTo>
                  <a:lnTo>
                    <a:pt x="539" y="654"/>
                  </a:lnTo>
                  <a:lnTo>
                    <a:pt x="535" y="654"/>
                  </a:lnTo>
                  <a:lnTo>
                    <a:pt x="531" y="654"/>
                  </a:lnTo>
                  <a:lnTo>
                    <a:pt x="531" y="650"/>
                  </a:lnTo>
                  <a:lnTo>
                    <a:pt x="535" y="650"/>
                  </a:lnTo>
                  <a:lnTo>
                    <a:pt x="531" y="650"/>
                  </a:lnTo>
                  <a:lnTo>
                    <a:pt x="531" y="646"/>
                  </a:lnTo>
                  <a:lnTo>
                    <a:pt x="535" y="646"/>
                  </a:lnTo>
                  <a:lnTo>
                    <a:pt x="539" y="646"/>
                  </a:lnTo>
                  <a:lnTo>
                    <a:pt x="539" y="650"/>
                  </a:lnTo>
                  <a:lnTo>
                    <a:pt x="539" y="646"/>
                  </a:lnTo>
                  <a:lnTo>
                    <a:pt x="535" y="646"/>
                  </a:lnTo>
                  <a:lnTo>
                    <a:pt x="535" y="642"/>
                  </a:lnTo>
                  <a:lnTo>
                    <a:pt x="535" y="638"/>
                  </a:lnTo>
                  <a:lnTo>
                    <a:pt x="535" y="642"/>
                  </a:lnTo>
                  <a:lnTo>
                    <a:pt x="539" y="642"/>
                  </a:lnTo>
                  <a:lnTo>
                    <a:pt x="535" y="642"/>
                  </a:lnTo>
                  <a:lnTo>
                    <a:pt x="535" y="638"/>
                  </a:lnTo>
                  <a:lnTo>
                    <a:pt x="535" y="634"/>
                  </a:lnTo>
                  <a:lnTo>
                    <a:pt x="539" y="634"/>
                  </a:lnTo>
                  <a:lnTo>
                    <a:pt x="535" y="634"/>
                  </a:lnTo>
                  <a:lnTo>
                    <a:pt x="535" y="638"/>
                  </a:lnTo>
                  <a:lnTo>
                    <a:pt x="535" y="642"/>
                  </a:lnTo>
                  <a:lnTo>
                    <a:pt x="531" y="646"/>
                  </a:lnTo>
                  <a:lnTo>
                    <a:pt x="531" y="642"/>
                  </a:lnTo>
                  <a:lnTo>
                    <a:pt x="531" y="638"/>
                  </a:lnTo>
                  <a:lnTo>
                    <a:pt x="531" y="634"/>
                  </a:lnTo>
                  <a:lnTo>
                    <a:pt x="531" y="630"/>
                  </a:lnTo>
                  <a:lnTo>
                    <a:pt x="527" y="630"/>
                  </a:lnTo>
                  <a:lnTo>
                    <a:pt x="531" y="630"/>
                  </a:lnTo>
                  <a:lnTo>
                    <a:pt x="531" y="626"/>
                  </a:lnTo>
                  <a:lnTo>
                    <a:pt x="535" y="626"/>
                  </a:lnTo>
                  <a:lnTo>
                    <a:pt x="531" y="626"/>
                  </a:lnTo>
                  <a:lnTo>
                    <a:pt x="531" y="622"/>
                  </a:lnTo>
                  <a:lnTo>
                    <a:pt x="535" y="622"/>
                  </a:lnTo>
                  <a:lnTo>
                    <a:pt x="535" y="618"/>
                  </a:lnTo>
                  <a:lnTo>
                    <a:pt x="531" y="618"/>
                  </a:lnTo>
                  <a:lnTo>
                    <a:pt x="535" y="618"/>
                  </a:lnTo>
                  <a:lnTo>
                    <a:pt x="531" y="618"/>
                  </a:lnTo>
                  <a:lnTo>
                    <a:pt x="531" y="614"/>
                  </a:lnTo>
                  <a:lnTo>
                    <a:pt x="527" y="614"/>
                  </a:lnTo>
                  <a:lnTo>
                    <a:pt x="527" y="610"/>
                  </a:lnTo>
                  <a:lnTo>
                    <a:pt x="531" y="610"/>
                  </a:lnTo>
                  <a:lnTo>
                    <a:pt x="531" y="614"/>
                  </a:lnTo>
                  <a:lnTo>
                    <a:pt x="531" y="610"/>
                  </a:lnTo>
                  <a:lnTo>
                    <a:pt x="535" y="610"/>
                  </a:lnTo>
                  <a:lnTo>
                    <a:pt x="539" y="610"/>
                  </a:lnTo>
                  <a:lnTo>
                    <a:pt x="543" y="614"/>
                  </a:lnTo>
                  <a:lnTo>
                    <a:pt x="543" y="618"/>
                  </a:lnTo>
                  <a:lnTo>
                    <a:pt x="543" y="614"/>
                  </a:lnTo>
                  <a:lnTo>
                    <a:pt x="547" y="614"/>
                  </a:lnTo>
                  <a:lnTo>
                    <a:pt x="543" y="614"/>
                  </a:lnTo>
                  <a:lnTo>
                    <a:pt x="543" y="610"/>
                  </a:lnTo>
                  <a:lnTo>
                    <a:pt x="539" y="610"/>
                  </a:lnTo>
                  <a:lnTo>
                    <a:pt x="543" y="610"/>
                  </a:lnTo>
                  <a:lnTo>
                    <a:pt x="547" y="610"/>
                  </a:lnTo>
                  <a:lnTo>
                    <a:pt x="543" y="610"/>
                  </a:lnTo>
                  <a:lnTo>
                    <a:pt x="539" y="606"/>
                  </a:lnTo>
                  <a:lnTo>
                    <a:pt x="539" y="603"/>
                  </a:lnTo>
                  <a:lnTo>
                    <a:pt x="539" y="606"/>
                  </a:lnTo>
                  <a:lnTo>
                    <a:pt x="535" y="606"/>
                  </a:lnTo>
                  <a:lnTo>
                    <a:pt x="531" y="606"/>
                  </a:lnTo>
                  <a:lnTo>
                    <a:pt x="527" y="606"/>
                  </a:lnTo>
                  <a:lnTo>
                    <a:pt x="523" y="606"/>
                  </a:lnTo>
                  <a:lnTo>
                    <a:pt x="527" y="603"/>
                  </a:lnTo>
                  <a:lnTo>
                    <a:pt x="531" y="603"/>
                  </a:lnTo>
                  <a:lnTo>
                    <a:pt x="531" y="606"/>
                  </a:lnTo>
                  <a:lnTo>
                    <a:pt x="535" y="606"/>
                  </a:lnTo>
                  <a:lnTo>
                    <a:pt x="531" y="606"/>
                  </a:lnTo>
                  <a:lnTo>
                    <a:pt x="531" y="603"/>
                  </a:lnTo>
                  <a:lnTo>
                    <a:pt x="535" y="603"/>
                  </a:lnTo>
                  <a:lnTo>
                    <a:pt x="531" y="603"/>
                  </a:lnTo>
                  <a:lnTo>
                    <a:pt x="527" y="599"/>
                  </a:lnTo>
                  <a:lnTo>
                    <a:pt x="531" y="595"/>
                  </a:lnTo>
                  <a:lnTo>
                    <a:pt x="535" y="595"/>
                  </a:lnTo>
                  <a:lnTo>
                    <a:pt x="535" y="599"/>
                  </a:lnTo>
                  <a:lnTo>
                    <a:pt x="535" y="595"/>
                  </a:lnTo>
                  <a:lnTo>
                    <a:pt x="535" y="591"/>
                  </a:lnTo>
                  <a:lnTo>
                    <a:pt x="531" y="587"/>
                  </a:lnTo>
                  <a:lnTo>
                    <a:pt x="531" y="583"/>
                  </a:lnTo>
                  <a:lnTo>
                    <a:pt x="527" y="587"/>
                  </a:lnTo>
                  <a:lnTo>
                    <a:pt x="531" y="587"/>
                  </a:lnTo>
                  <a:lnTo>
                    <a:pt x="527" y="587"/>
                  </a:lnTo>
                  <a:lnTo>
                    <a:pt x="523" y="587"/>
                  </a:lnTo>
                  <a:lnTo>
                    <a:pt x="519" y="583"/>
                  </a:lnTo>
                  <a:lnTo>
                    <a:pt x="519" y="579"/>
                  </a:lnTo>
                  <a:lnTo>
                    <a:pt x="523" y="579"/>
                  </a:lnTo>
                  <a:lnTo>
                    <a:pt x="519" y="579"/>
                  </a:lnTo>
                  <a:lnTo>
                    <a:pt x="519" y="583"/>
                  </a:lnTo>
                  <a:lnTo>
                    <a:pt x="515" y="583"/>
                  </a:lnTo>
                  <a:lnTo>
                    <a:pt x="511" y="583"/>
                  </a:lnTo>
                  <a:lnTo>
                    <a:pt x="511" y="587"/>
                  </a:lnTo>
                  <a:lnTo>
                    <a:pt x="511" y="583"/>
                  </a:lnTo>
                  <a:lnTo>
                    <a:pt x="515" y="583"/>
                  </a:lnTo>
                  <a:lnTo>
                    <a:pt x="515" y="587"/>
                  </a:lnTo>
                  <a:lnTo>
                    <a:pt x="515" y="591"/>
                  </a:lnTo>
                  <a:lnTo>
                    <a:pt x="511" y="591"/>
                  </a:lnTo>
                  <a:lnTo>
                    <a:pt x="511" y="587"/>
                  </a:lnTo>
                  <a:lnTo>
                    <a:pt x="511" y="583"/>
                  </a:lnTo>
                  <a:lnTo>
                    <a:pt x="511" y="579"/>
                  </a:lnTo>
                  <a:lnTo>
                    <a:pt x="515" y="579"/>
                  </a:lnTo>
                  <a:lnTo>
                    <a:pt x="515" y="575"/>
                  </a:lnTo>
                  <a:lnTo>
                    <a:pt x="519" y="575"/>
                  </a:lnTo>
                  <a:lnTo>
                    <a:pt x="519" y="579"/>
                  </a:lnTo>
                  <a:lnTo>
                    <a:pt x="519" y="575"/>
                  </a:lnTo>
                  <a:lnTo>
                    <a:pt x="519" y="571"/>
                  </a:lnTo>
                  <a:lnTo>
                    <a:pt x="523" y="571"/>
                  </a:lnTo>
                  <a:lnTo>
                    <a:pt x="523" y="567"/>
                  </a:lnTo>
                  <a:lnTo>
                    <a:pt x="527" y="563"/>
                  </a:lnTo>
                  <a:lnTo>
                    <a:pt x="531" y="563"/>
                  </a:lnTo>
                  <a:lnTo>
                    <a:pt x="535" y="563"/>
                  </a:lnTo>
                  <a:lnTo>
                    <a:pt x="535" y="567"/>
                  </a:lnTo>
                  <a:lnTo>
                    <a:pt x="535" y="571"/>
                  </a:lnTo>
                  <a:lnTo>
                    <a:pt x="535" y="567"/>
                  </a:lnTo>
                  <a:lnTo>
                    <a:pt x="535" y="571"/>
                  </a:lnTo>
                  <a:lnTo>
                    <a:pt x="531" y="575"/>
                  </a:lnTo>
                  <a:lnTo>
                    <a:pt x="531" y="571"/>
                  </a:lnTo>
                  <a:lnTo>
                    <a:pt x="527" y="571"/>
                  </a:lnTo>
                  <a:lnTo>
                    <a:pt x="531" y="575"/>
                  </a:lnTo>
                  <a:lnTo>
                    <a:pt x="535" y="575"/>
                  </a:lnTo>
                  <a:lnTo>
                    <a:pt x="535" y="571"/>
                  </a:lnTo>
                  <a:lnTo>
                    <a:pt x="535" y="575"/>
                  </a:lnTo>
                  <a:lnTo>
                    <a:pt x="539" y="575"/>
                  </a:lnTo>
                  <a:lnTo>
                    <a:pt x="535" y="575"/>
                  </a:lnTo>
                  <a:lnTo>
                    <a:pt x="535" y="571"/>
                  </a:lnTo>
                  <a:lnTo>
                    <a:pt x="539" y="571"/>
                  </a:lnTo>
                  <a:lnTo>
                    <a:pt x="539" y="575"/>
                  </a:lnTo>
                  <a:lnTo>
                    <a:pt x="539" y="579"/>
                  </a:lnTo>
                  <a:lnTo>
                    <a:pt x="535" y="579"/>
                  </a:lnTo>
                  <a:lnTo>
                    <a:pt x="539" y="583"/>
                  </a:lnTo>
                  <a:lnTo>
                    <a:pt x="539" y="579"/>
                  </a:lnTo>
                  <a:lnTo>
                    <a:pt x="539" y="575"/>
                  </a:lnTo>
                  <a:lnTo>
                    <a:pt x="543" y="575"/>
                  </a:lnTo>
                  <a:lnTo>
                    <a:pt x="543" y="571"/>
                  </a:lnTo>
                  <a:lnTo>
                    <a:pt x="543" y="575"/>
                  </a:lnTo>
                  <a:lnTo>
                    <a:pt x="539" y="575"/>
                  </a:lnTo>
                  <a:lnTo>
                    <a:pt x="543" y="571"/>
                  </a:lnTo>
                  <a:lnTo>
                    <a:pt x="543" y="567"/>
                  </a:lnTo>
                  <a:lnTo>
                    <a:pt x="539" y="567"/>
                  </a:lnTo>
                  <a:lnTo>
                    <a:pt x="543" y="563"/>
                  </a:lnTo>
                  <a:lnTo>
                    <a:pt x="547" y="563"/>
                  </a:lnTo>
                  <a:lnTo>
                    <a:pt x="547" y="559"/>
                  </a:lnTo>
                  <a:lnTo>
                    <a:pt x="543" y="559"/>
                  </a:lnTo>
                  <a:lnTo>
                    <a:pt x="543" y="563"/>
                  </a:lnTo>
                  <a:lnTo>
                    <a:pt x="543" y="555"/>
                  </a:lnTo>
                  <a:lnTo>
                    <a:pt x="547" y="555"/>
                  </a:lnTo>
                  <a:lnTo>
                    <a:pt x="551" y="555"/>
                  </a:lnTo>
                  <a:lnTo>
                    <a:pt x="555" y="555"/>
                  </a:lnTo>
                  <a:lnTo>
                    <a:pt x="551" y="555"/>
                  </a:lnTo>
                  <a:lnTo>
                    <a:pt x="547" y="555"/>
                  </a:lnTo>
                  <a:lnTo>
                    <a:pt x="547" y="551"/>
                  </a:lnTo>
                  <a:lnTo>
                    <a:pt x="547" y="555"/>
                  </a:lnTo>
                  <a:lnTo>
                    <a:pt x="543" y="551"/>
                  </a:lnTo>
                  <a:lnTo>
                    <a:pt x="547" y="551"/>
                  </a:lnTo>
                  <a:lnTo>
                    <a:pt x="547" y="547"/>
                  </a:lnTo>
                  <a:lnTo>
                    <a:pt x="543" y="547"/>
                  </a:lnTo>
                  <a:lnTo>
                    <a:pt x="547" y="547"/>
                  </a:lnTo>
                  <a:lnTo>
                    <a:pt x="551" y="543"/>
                  </a:lnTo>
                  <a:lnTo>
                    <a:pt x="555" y="543"/>
                  </a:lnTo>
                  <a:lnTo>
                    <a:pt x="555" y="539"/>
                  </a:lnTo>
                  <a:lnTo>
                    <a:pt x="555" y="535"/>
                  </a:lnTo>
                  <a:lnTo>
                    <a:pt x="551" y="531"/>
                  </a:lnTo>
                  <a:lnTo>
                    <a:pt x="547" y="531"/>
                  </a:lnTo>
                  <a:lnTo>
                    <a:pt x="547" y="527"/>
                  </a:lnTo>
                  <a:lnTo>
                    <a:pt x="551" y="523"/>
                  </a:lnTo>
                  <a:lnTo>
                    <a:pt x="555" y="519"/>
                  </a:lnTo>
                  <a:lnTo>
                    <a:pt x="551" y="519"/>
                  </a:lnTo>
                  <a:close/>
                  <a:moveTo>
                    <a:pt x="539" y="547"/>
                  </a:moveTo>
                  <a:lnTo>
                    <a:pt x="539" y="543"/>
                  </a:lnTo>
                  <a:lnTo>
                    <a:pt x="535" y="543"/>
                  </a:lnTo>
                  <a:lnTo>
                    <a:pt x="539" y="543"/>
                  </a:lnTo>
                  <a:lnTo>
                    <a:pt x="539" y="547"/>
                  </a:lnTo>
                  <a:close/>
                  <a:moveTo>
                    <a:pt x="511" y="630"/>
                  </a:moveTo>
                  <a:lnTo>
                    <a:pt x="511" y="626"/>
                  </a:lnTo>
                  <a:lnTo>
                    <a:pt x="515" y="626"/>
                  </a:lnTo>
                  <a:lnTo>
                    <a:pt x="515" y="630"/>
                  </a:lnTo>
                  <a:lnTo>
                    <a:pt x="511" y="630"/>
                  </a:lnTo>
                  <a:close/>
                  <a:moveTo>
                    <a:pt x="519" y="630"/>
                  </a:moveTo>
                  <a:lnTo>
                    <a:pt x="515" y="630"/>
                  </a:lnTo>
                  <a:lnTo>
                    <a:pt x="515" y="626"/>
                  </a:lnTo>
                  <a:lnTo>
                    <a:pt x="519" y="626"/>
                  </a:lnTo>
                  <a:lnTo>
                    <a:pt x="519" y="630"/>
                  </a:lnTo>
                  <a:close/>
                  <a:moveTo>
                    <a:pt x="535" y="718"/>
                  </a:moveTo>
                  <a:lnTo>
                    <a:pt x="535" y="714"/>
                  </a:lnTo>
                  <a:lnTo>
                    <a:pt x="535" y="710"/>
                  </a:lnTo>
                  <a:lnTo>
                    <a:pt x="539" y="710"/>
                  </a:lnTo>
                  <a:lnTo>
                    <a:pt x="539" y="714"/>
                  </a:lnTo>
                  <a:lnTo>
                    <a:pt x="539" y="718"/>
                  </a:lnTo>
                  <a:lnTo>
                    <a:pt x="535" y="718"/>
                  </a:lnTo>
                  <a:close/>
                  <a:moveTo>
                    <a:pt x="539" y="531"/>
                  </a:moveTo>
                  <a:lnTo>
                    <a:pt x="535" y="531"/>
                  </a:lnTo>
                  <a:lnTo>
                    <a:pt x="539" y="531"/>
                  </a:lnTo>
                  <a:close/>
                  <a:moveTo>
                    <a:pt x="519" y="571"/>
                  </a:moveTo>
                  <a:lnTo>
                    <a:pt x="519" y="567"/>
                  </a:lnTo>
                  <a:lnTo>
                    <a:pt x="523" y="567"/>
                  </a:lnTo>
                  <a:lnTo>
                    <a:pt x="519" y="567"/>
                  </a:lnTo>
                  <a:lnTo>
                    <a:pt x="523" y="567"/>
                  </a:lnTo>
                  <a:lnTo>
                    <a:pt x="523" y="563"/>
                  </a:lnTo>
                  <a:lnTo>
                    <a:pt x="523" y="567"/>
                  </a:lnTo>
                  <a:lnTo>
                    <a:pt x="523" y="571"/>
                  </a:lnTo>
                  <a:lnTo>
                    <a:pt x="519" y="571"/>
                  </a:lnTo>
                  <a:close/>
                  <a:moveTo>
                    <a:pt x="535" y="595"/>
                  </a:moveTo>
                  <a:lnTo>
                    <a:pt x="531" y="595"/>
                  </a:lnTo>
                  <a:lnTo>
                    <a:pt x="531" y="591"/>
                  </a:lnTo>
                  <a:lnTo>
                    <a:pt x="535" y="591"/>
                  </a:lnTo>
                  <a:lnTo>
                    <a:pt x="535" y="595"/>
                  </a:lnTo>
                  <a:close/>
                  <a:moveTo>
                    <a:pt x="531" y="622"/>
                  </a:moveTo>
                  <a:lnTo>
                    <a:pt x="527" y="622"/>
                  </a:lnTo>
                  <a:lnTo>
                    <a:pt x="527" y="618"/>
                  </a:lnTo>
                  <a:lnTo>
                    <a:pt x="531" y="622"/>
                  </a:lnTo>
                  <a:close/>
                  <a:moveTo>
                    <a:pt x="519" y="626"/>
                  </a:moveTo>
                  <a:lnTo>
                    <a:pt x="523" y="626"/>
                  </a:lnTo>
                  <a:lnTo>
                    <a:pt x="519" y="626"/>
                  </a:lnTo>
                  <a:close/>
                  <a:moveTo>
                    <a:pt x="511" y="638"/>
                  </a:moveTo>
                  <a:lnTo>
                    <a:pt x="511" y="634"/>
                  </a:lnTo>
                  <a:lnTo>
                    <a:pt x="515" y="634"/>
                  </a:lnTo>
                  <a:lnTo>
                    <a:pt x="515" y="638"/>
                  </a:lnTo>
                  <a:lnTo>
                    <a:pt x="511" y="638"/>
                  </a:lnTo>
                  <a:close/>
                  <a:moveTo>
                    <a:pt x="535" y="686"/>
                  </a:moveTo>
                  <a:lnTo>
                    <a:pt x="531" y="686"/>
                  </a:lnTo>
                  <a:lnTo>
                    <a:pt x="531" y="682"/>
                  </a:lnTo>
                  <a:lnTo>
                    <a:pt x="535" y="682"/>
                  </a:lnTo>
                  <a:lnTo>
                    <a:pt x="535" y="686"/>
                  </a:lnTo>
                  <a:close/>
                  <a:moveTo>
                    <a:pt x="523" y="706"/>
                  </a:moveTo>
                  <a:lnTo>
                    <a:pt x="523" y="702"/>
                  </a:lnTo>
                  <a:lnTo>
                    <a:pt x="527" y="702"/>
                  </a:lnTo>
                  <a:lnTo>
                    <a:pt x="523" y="706"/>
                  </a:lnTo>
                  <a:close/>
                  <a:moveTo>
                    <a:pt x="543" y="730"/>
                  </a:moveTo>
                  <a:lnTo>
                    <a:pt x="543" y="734"/>
                  </a:lnTo>
                  <a:lnTo>
                    <a:pt x="543" y="738"/>
                  </a:lnTo>
                  <a:lnTo>
                    <a:pt x="543" y="734"/>
                  </a:lnTo>
                  <a:lnTo>
                    <a:pt x="539" y="734"/>
                  </a:lnTo>
                  <a:lnTo>
                    <a:pt x="543" y="734"/>
                  </a:lnTo>
                  <a:lnTo>
                    <a:pt x="543" y="730"/>
                  </a:lnTo>
                  <a:close/>
                  <a:moveTo>
                    <a:pt x="591" y="754"/>
                  </a:moveTo>
                  <a:lnTo>
                    <a:pt x="591" y="750"/>
                  </a:lnTo>
                  <a:lnTo>
                    <a:pt x="587" y="750"/>
                  </a:lnTo>
                  <a:lnTo>
                    <a:pt x="591" y="750"/>
                  </a:lnTo>
                  <a:lnTo>
                    <a:pt x="595" y="750"/>
                  </a:lnTo>
                  <a:lnTo>
                    <a:pt x="591" y="750"/>
                  </a:lnTo>
                  <a:lnTo>
                    <a:pt x="591" y="754"/>
                  </a:lnTo>
                  <a:close/>
                  <a:moveTo>
                    <a:pt x="0" y="187"/>
                  </a:moveTo>
                  <a:lnTo>
                    <a:pt x="0" y="183"/>
                  </a:lnTo>
                  <a:lnTo>
                    <a:pt x="4" y="183"/>
                  </a:lnTo>
                  <a:lnTo>
                    <a:pt x="0" y="183"/>
                  </a:lnTo>
                  <a:lnTo>
                    <a:pt x="0" y="187"/>
                  </a:lnTo>
                  <a:close/>
                  <a:moveTo>
                    <a:pt x="543" y="503"/>
                  </a:moveTo>
                  <a:lnTo>
                    <a:pt x="543" y="507"/>
                  </a:lnTo>
                  <a:lnTo>
                    <a:pt x="539" y="507"/>
                  </a:lnTo>
                  <a:lnTo>
                    <a:pt x="539" y="511"/>
                  </a:lnTo>
                  <a:lnTo>
                    <a:pt x="535" y="511"/>
                  </a:lnTo>
                  <a:lnTo>
                    <a:pt x="531" y="511"/>
                  </a:lnTo>
                  <a:lnTo>
                    <a:pt x="531" y="507"/>
                  </a:lnTo>
                  <a:lnTo>
                    <a:pt x="531" y="503"/>
                  </a:lnTo>
                  <a:lnTo>
                    <a:pt x="535" y="503"/>
                  </a:lnTo>
                  <a:lnTo>
                    <a:pt x="535" y="495"/>
                  </a:lnTo>
                  <a:lnTo>
                    <a:pt x="531" y="495"/>
                  </a:lnTo>
                  <a:lnTo>
                    <a:pt x="531" y="491"/>
                  </a:lnTo>
                  <a:lnTo>
                    <a:pt x="535" y="487"/>
                  </a:lnTo>
                  <a:lnTo>
                    <a:pt x="535" y="483"/>
                  </a:lnTo>
                  <a:lnTo>
                    <a:pt x="535" y="479"/>
                  </a:lnTo>
                  <a:lnTo>
                    <a:pt x="539" y="479"/>
                  </a:lnTo>
                  <a:lnTo>
                    <a:pt x="535" y="479"/>
                  </a:lnTo>
                  <a:lnTo>
                    <a:pt x="539" y="479"/>
                  </a:lnTo>
                  <a:lnTo>
                    <a:pt x="543" y="479"/>
                  </a:lnTo>
                  <a:lnTo>
                    <a:pt x="543" y="483"/>
                  </a:lnTo>
                  <a:lnTo>
                    <a:pt x="543" y="487"/>
                  </a:lnTo>
                  <a:lnTo>
                    <a:pt x="547" y="487"/>
                  </a:lnTo>
                  <a:lnTo>
                    <a:pt x="543" y="491"/>
                  </a:lnTo>
                  <a:lnTo>
                    <a:pt x="539" y="491"/>
                  </a:lnTo>
                  <a:lnTo>
                    <a:pt x="539" y="495"/>
                  </a:lnTo>
                  <a:lnTo>
                    <a:pt x="543" y="495"/>
                  </a:lnTo>
                  <a:lnTo>
                    <a:pt x="539" y="495"/>
                  </a:lnTo>
                  <a:lnTo>
                    <a:pt x="539" y="491"/>
                  </a:lnTo>
                  <a:lnTo>
                    <a:pt x="539" y="495"/>
                  </a:lnTo>
                  <a:lnTo>
                    <a:pt x="543" y="499"/>
                  </a:lnTo>
                  <a:lnTo>
                    <a:pt x="543" y="503"/>
                  </a:lnTo>
                  <a:close/>
                  <a:moveTo>
                    <a:pt x="543" y="495"/>
                  </a:moveTo>
                  <a:lnTo>
                    <a:pt x="543" y="491"/>
                  </a:lnTo>
                  <a:lnTo>
                    <a:pt x="539" y="491"/>
                  </a:lnTo>
                  <a:lnTo>
                    <a:pt x="543" y="491"/>
                  </a:lnTo>
                  <a:lnTo>
                    <a:pt x="543" y="495"/>
                  </a:lnTo>
                  <a:close/>
                  <a:moveTo>
                    <a:pt x="523" y="519"/>
                  </a:moveTo>
                  <a:lnTo>
                    <a:pt x="523" y="515"/>
                  </a:lnTo>
                  <a:lnTo>
                    <a:pt x="527" y="515"/>
                  </a:lnTo>
                  <a:lnTo>
                    <a:pt x="527" y="519"/>
                  </a:lnTo>
                  <a:lnTo>
                    <a:pt x="523" y="519"/>
                  </a:lnTo>
                  <a:close/>
                  <a:moveTo>
                    <a:pt x="535" y="523"/>
                  </a:moveTo>
                  <a:lnTo>
                    <a:pt x="539" y="523"/>
                  </a:lnTo>
                  <a:lnTo>
                    <a:pt x="539" y="519"/>
                  </a:lnTo>
                  <a:lnTo>
                    <a:pt x="539" y="523"/>
                  </a:lnTo>
                  <a:lnTo>
                    <a:pt x="535" y="523"/>
                  </a:lnTo>
                  <a:close/>
                  <a:moveTo>
                    <a:pt x="547" y="527"/>
                  </a:moveTo>
                  <a:lnTo>
                    <a:pt x="547" y="523"/>
                  </a:lnTo>
                  <a:lnTo>
                    <a:pt x="547" y="527"/>
                  </a:lnTo>
                  <a:close/>
                  <a:moveTo>
                    <a:pt x="539" y="527"/>
                  </a:moveTo>
                  <a:lnTo>
                    <a:pt x="539" y="523"/>
                  </a:lnTo>
                  <a:lnTo>
                    <a:pt x="543" y="527"/>
                  </a:lnTo>
                  <a:lnTo>
                    <a:pt x="539" y="527"/>
                  </a:lnTo>
                  <a:close/>
                  <a:moveTo>
                    <a:pt x="539" y="531"/>
                  </a:moveTo>
                  <a:lnTo>
                    <a:pt x="535" y="531"/>
                  </a:lnTo>
                  <a:lnTo>
                    <a:pt x="535" y="527"/>
                  </a:lnTo>
                  <a:lnTo>
                    <a:pt x="539" y="527"/>
                  </a:lnTo>
                  <a:lnTo>
                    <a:pt x="539" y="531"/>
                  </a:lnTo>
                  <a:close/>
                  <a:moveTo>
                    <a:pt x="535" y="531"/>
                  </a:moveTo>
                  <a:lnTo>
                    <a:pt x="535" y="527"/>
                  </a:lnTo>
                  <a:lnTo>
                    <a:pt x="535" y="531"/>
                  </a:lnTo>
                  <a:close/>
                  <a:moveTo>
                    <a:pt x="535" y="535"/>
                  </a:moveTo>
                  <a:lnTo>
                    <a:pt x="535" y="531"/>
                  </a:lnTo>
                  <a:lnTo>
                    <a:pt x="535" y="535"/>
                  </a:lnTo>
                  <a:close/>
                  <a:moveTo>
                    <a:pt x="551" y="543"/>
                  </a:moveTo>
                  <a:lnTo>
                    <a:pt x="547" y="543"/>
                  </a:lnTo>
                  <a:lnTo>
                    <a:pt x="547" y="547"/>
                  </a:lnTo>
                  <a:lnTo>
                    <a:pt x="543" y="543"/>
                  </a:lnTo>
                  <a:lnTo>
                    <a:pt x="547" y="543"/>
                  </a:lnTo>
                  <a:lnTo>
                    <a:pt x="543" y="543"/>
                  </a:lnTo>
                  <a:lnTo>
                    <a:pt x="543" y="539"/>
                  </a:lnTo>
                  <a:lnTo>
                    <a:pt x="547" y="539"/>
                  </a:lnTo>
                  <a:lnTo>
                    <a:pt x="547" y="535"/>
                  </a:lnTo>
                  <a:lnTo>
                    <a:pt x="551" y="535"/>
                  </a:lnTo>
                  <a:lnTo>
                    <a:pt x="555" y="535"/>
                  </a:lnTo>
                  <a:lnTo>
                    <a:pt x="555" y="539"/>
                  </a:lnTo>
                  <a:lnTo>
                    <a:pt x="551" y="539"/>
                  </a:lnTo>
                  <a:lnTo>
                    <a:pt x="555" y="539"/>
                  </a:lnTo>
                  <a:lnTo>
                    <a:pt x="551" y="543"/>
                  </a:lnTo>
                  <a:close/>
                  <a:moveTo>
                    <a:pt x="531" y="539"/>
                  </a:moveTo>
                  <a:lnTo>
                    <a:pt x="527" y="535"/>
                  </a:lnTo>
                  <a:lnTo>
                    <a:pt x="531" y="535"/>
                  </a:lnTo>
                  <a:lnTo>
                    <a:pt x="531" y="539"/>
                  </a:lnTo>
                  <a:close/>
                  <a:moveTo>
                    <a:pt x="535" y="539"/>
                  </a:moveTo>
                  <a:lnTo>
                    <a:pt x="535" y="535"/>
                  </a:lnTo>
                  <a:lnTo>
                    <a:pt x="535" y="539"/>
                  </a:lnTo>
                  <a:close/>
                  <a:moveTo>
                    <a:pt x="531" y="539"/>
                  </a:moveTo>
                  <a:lnTo>
                    <a:pt x="531" y="535"/>
                  </a:lnTo>
                  <a:lnTo>
                    <a:pt x="535" y="539"/>
                  </a:lnTo>
                  <a:lnTo>
                    <a:pt x="531" y="539"/>
                  </a:lnTo>
                  <a:close/>
                  <a:moveTo>
                    <a:pt x="539" y="543"/>
                  </a:moveTo>
                  <a:lnTo>
                    <a:pt x="539" y="539"/>
                  </a:lnTo>
                  <a:lnTo>
                    <a:pt x="539" y="535"/>
                  </a:lnTo>
                  <a:lnTo>
                    <a:pt x="539" y="539"/>
                  </a:lnTo>
                  <a:lnTo>
                    <a:pt x="543" y="539"/>
                  </a:lnTo>
                  <a:lnTo>
                    <a:pt x="539" y="543"/>
                  </a:lnTo>
                  <a:close/>
                  <a:moveTo>
                    <a:pt x="531" y="543"/>
                  </a:moveTo>
                  <a:lnTo>
                    <a:pt x="531" y="539"/>
                  </a:lnTo>
                  <a:lnTo>
                    <a:pt x="535" y="539"/>
                  </a:lnTo>
                  <a:lnTo>
                    <a:pt x="539" y="539"/>
                  </a:lnTo>
                  <a:lnTo>
                    <a:pt x="535" y="539"/>
                  </a:lnTo>
                  <a:lnTo>
                    <a:pt x="531" y="543"/>
                  </a:lnTo>
                  <a:close/>
                  <a:moveTo>
                    <a:pt x="531" y="543"/>
                  </a:moveTo>
                  <a:lnTo>
                    <a:pt x="527" y="543"/>
                  </a:lnTo>
                  <a:lnTo>
                    <a:pt x="527" y="539"/>
                  </a:lnTo>
                  <a:lnTo>
                    <a:pt x="531" y="539"/>
                  </a:lnTo>
                  <a:lnTo>
                    <a:pt x="531" y="543"/>
                  </a:lnTo>
                  <a:close/>
                  <a:moveTo>
                    <a:pt x="539" y="543"/>
                  </a:moveTo>
                  <a:lnTo>
                    <a:pt x="543" y="543"/>
                  </a:lnTo>
                  <a:lnTo>
                    <a:pt x="539" y="543"/>
                  </a:lnTo>
                  <a:close/>
                  <a:moveTo>
                    <a:pt x="535" y="543"/>
                  </a:moveTo>
                  <a:lnTo>
                    <a:pt x="531" y="543"/>
                  </a:lnTo>
                  <a:lnTo>
                    <a:pt x="535" y="543"/>
                  </a:lnTo>
                  <a:close/>
                  <a:moveTo>
                    <a:pt x="519" y="547"/>
                  </a:moveTo>
                  <a:lnTo>
                    <a:pt x="519" y="543"/>
                  </a:lnTo>
                  <a:lnTo>
                    <a:pt x="519" y="547"/>
                  </a:lnTo>
                  <a:close/>
                  <a:moveTo>
                    <a:pt x="531" y="547"/>
                  </a:moveTo>
                  <a:lnTo>
                    <a:pt x="531" y="543"/>
                  </a:lnTo>
                  <a:lnTo>
                    <a:pt x="535" y="543"/>
                  </a:lnTo>
                  <a:lnTo>
                    <a:pt x="535" y="547"/>
                  </a:lnTo>
                  <a:lnTo>
                    <a:pt x="539" y="547"/>
                  </a:lnTo>
                  <a:lnTo>
                    <a:pt x="535" y="547"/>
                  </a:lnTo>
                  <a:lnTo>
                    <a:pt x="531" y="547"/>
                  </a:lnTo>
                  <a:close/>
                  <a:moveTo>
                    <a:pt x="539" y="551"/>
                  </a:moveTo>
                  <a:lnTo>
                    <a:pt x="535" y="551"/>
                  </a:lnTo>
                  <a:lnTo>
                    <a:pt x="531" y="551"/>
                  </a:lnTo>
                  <a:lnTo>
                    <a:pt x="531" y="547"/>
                  </a:lnTo>
                  <a:lnTo>
                    <a:pt x="535" y="547"/>
                  </a:lnTo>
                  <a:lnTo>
                    <a:pt x="539" y="547"/>
                  </a:lnTo>
                  <a:lnTo>
                    <a:pt x="539" y="551"/>
                  </a:lnTo>
                  <a:close/>
                  <a:moveTo>
                    <a:pt x="531" y="555"/>
                  </a:moveTo>
                  <a:lnTo>
                    <a:pt x="531" y="551"/>
                  </a:lnTo>
                  <a:lnTo>
                    <a:pt x="531" y="555"/>
                  </a:lnTo>
                  <a:close/>
                  <a:moveTo>
                    <a:pt x="535" y="555"/>
                  </a:moveTo>
                  <a:lnTo>
                    <a:pt x="535" y="551"/>
                  </a:lnTo>
                  <a:lnTo>
                    <a:pt x="539" y="551"/>
                  </a:lnTo>
                  <a:lnTo>
                    <a:pt x="539" y="555"/>
                  </a:lnTo>
                  <a:lnTo>
                    <a:pt x="535" y="555"/>
                  </a:lnTo>
                  <a:close/>
                  <a:moveTo>
                    <a:pt x="531" y="555"/>
                  </a:moveTo>
                  <a:lnTo>
                    <a:pt x="527" y="555"/>
                  </a:lnTo>
                  <a:lnTo>
                    <a:pt x="527" y="551"/>
                  </a:lnTo>
                  <a:lnTo>
                    <a:pt x="531" y="551"/>
                  </a:lnTo>
                  <a:lnTo>
                    <a:pt x="531" y="555"/>
                  </a:lnTo>
                  <a:close/>
                  <a:moveTo>
                    <a:pt x="535" y="555"/>
                  </a:moveTo>
                  <a:lnTo>
                    <a:pt x="539" y="555"/>
                  </a:lnTo>
                  <a:lnTo>
                    <a:pt x="535" y="555"/>
                  </a:lnTo>
                  <a:close/>
                  <a:moveTo>
                    <a:pt x="535" y="559"/>
                  </a:moveTo>
                  <a:lnTo>
                    <a:pt x="535" y="555"/>
                  </a:lnTo>
                  <a:lnTo>
                    <a:pt x="539" y="555"/>
                  </a:lnTo>
                  <a:lnTo>
                    <a:pt x="539" y="559"/>
                  </a:lnTo>
                  <a:lnTo>
                    <a:pt x="535" y="559"/>
                  </a:lnTo>
                  <a:close/>
                  <a:moveTo>
                    <a:pt x="543" y="563"/>
                  </a:moveTo>
                  <a:lnTo>
                    <a:pt x="539" y="563"/>
                  </a:lnTo>
                  <a:lnTo>
                    <a:pt x="539" y="559"/>
                  </a:lnTo>
                  <a:lnTo>
                    <a:pt x="539" y="555"/>
                  </a:lnTo>
                  <a:lnTo>
                    <a:pt x="543" y="555"/>
                  </a:lnTo>
                  <a:lnTo>
                    <a:pt x="543" y="559"/>
                  </a:lnTo>
                  <a:lnTo>
                    <a:pt x="543" y="563"/>
                  </a:lnTo>
                  <a:close/>
                  <a:moveTo>
                    <a:pt x="527" y="563"/>
                  </a:moveTo>
                  <a:lnTo>
                    <a:pt x="527" y="559"/>
                  </a:lnTo>
                  <a:lnTo>
                    <a:pt x="531" y="555"/>
                  </a:lnTo>
                  <a:lnTo>
                    <a:pt x="531" y="559"/>
                  </a:lnTo>
                  <a:lnTo>
                    <a:pt x="531" y="563"/>
                  </a:lnTo>
                  <a:lnTo>
                    <a:pt x="527" y="563"/>
                  </a:lnTo>
                  <a:close/>
                  <a:moveTo>
                    <a:pt x="535" y="563"/>
                  </a:moveTo>
                  <a:lnTo>
                    <a:pt x="535" y="559"/>
                  </a:lnTo>
                  <a:lnTo>
                    <a:pt x="539" y="559"/>
                  </a:lnTo>
                  <a:lnTo>
                    <a:pt x="539" y="563"/>
                  </a:lnTo>
                  <a:lnTo>
                    <a:pt x="535" y="563"/>
                  </a:lnTo>
                  <a:close/>
                  <a:moveTo>
                    <a:pt x="527" y="563"/>
                  </a:moveTo>
                  <a:lnTo>
                    <a:pt x="527" y="559"/>
                  </a:lnTo>
                  <a:lnTo>
                    <a:pt x="527" y="563"/>
                  </a:lnTo>
                  <a:close/>
                  <a:moveTo>
                    <a:pt x="535" y="567"/>
                  </a:moveTo>
                  <a:lnTo>
                    <a:pt x="535" y="563"/>
                  </a:lnTo>
                  <a:lnTo>
                    <a:pt x="535" y="567"/>
                  </a:lnTo>
                  <a:close/>
                  <a:moveTo>
                    <a:pt x="539" y="567"/>
                  </a:moveTo>
                  <a:lnTo>
                    <a:pt x="535" y="567"/>
                  </a:lnTo>
                  <a:lnTo>
                    <a:pt x="539" y="567"/>
                  </a:lnTo>
                  <a:lnTo>
                    <a:pt x="539" y="563"/>
                  </a:lnTo>
                  <a:lnTo>
                    <a:pt x="539" y="567"/>
                  </a:lnTo>
                  <a:close/>
                  <a:moveTo>
                    <a:pt x="539" y="571"/>
                  </a:moveTo>
                  <a:lnTo>
                    <a:pt x="535" y="571"/>
                  </a:lnTo>
                  <a:lnTo>
                    <a:pt x="535" y="567"/>
                  </a:lnTo>
                  <a:lnTo>
                    <a:pt x="539" y="567"/>
                  </a:lnTo>
                  <a:lnTo>
                    <a:pt x="539" y="571"/>
                  </a:lnTo>
                  <a:close/>
                  <a:moveTo>
                    <a:pt x="527" y="595"/>
                  </a:moveTo>
                  <a:lnTo>
                    <a:pt x="527" y="591"/>
                  </a:lnTo>
                  <a:lnTo>
                    <a:pt x="531" y="591"/>
                  </a:lnTo>
                  <a:lnTo>
                    <a:pt x="531" y="595"/>
                  </a:lnTo>
                  <a:lnTo>
                    <a:pt x="527" y="595"/>
                  </a:lnTo>
                  <a:close/>
                  <a:moveTo>
                    <a:pt x="519" y="606"/>
                  </a:moveTo>
                  <a:lnTo>
                    <a:pt x="523" y="606"/>
                  </a:lnTo>
                  <a:lnTo>
                    <a:pt x="519" y="606"/>
                  </a:lnTo>
                  <a:close/>
                  <a:moveTo>
                    <a:pt x="519" y="606"/>
                  </a:moveTo>
                  <a:lnTo>
                    <a:pt x="515" y="606"/>
                  </a:lnTo>
                  <a:lnTo>
                    <a:pt x="519" y="606"/>
                  </a:lnTo>
                  <a:close/>
                  <a:moveTo>
                    <a:pt x="531" y="610"/>
                  </a:moveTo>
                  <a:lnTo>
                    <a:pt x="527" y="610"/>
                  </a:lnTo>
                  <a:lnTo>
                    <a:pt x="531" y="606"/>
                  </a:lnTo>
                  <a:lnTo>
                    <a:pt x="535" y="606"/>
                  </a:lnTo>
                  <a:lnTo>
                    <a:pt x="535" y="610"/>
                  </a:lnTo>
                  <a:lnTo>
                    <a:pt x="539" y="610"/>
                  </a:lnTo>
                  <a:lnTo>
                    <a:pt x="539" y="606"/>
                  </a:lnTo>
                  <a:lnTo>
                    <a:pt x="539" y="610"/>
                  </a:lnTo>
                  <a:lnTo>
                    <a:pt x="535" y="610"/>
                  </a:lnTo>
                  <a:lnTo>
                    <a:pt x="531" y="610"/>
                  </a:lnTo>
                  <a:close/>
                  <a:moveTo>
                    <a:pt x="523" y="614"/>
                  </a:moveTo>
                  <a:lnTo>
                    <a:pt x="519" y="610"/>
                  </a:lnTo>
                  <a:lnTo>
                    <a:pt x="515" y="610"/>
                  </a:lnTo>
                  <a:lnTo>
                    <a:pt x="519" y="610"/>
                  </a:lnTo>
                  <a:lnTo>
                    <a:pt x="523" y="610"/>
                  </a:lnTo>
                  <a:lnTo>
                    <a:pt x="523" y="606"/>
                  </a:lnTo>
                  <a:lnTo>
                    <a:pt x="523" y="610"/>
                  </a:lnTo>
                  <a:lnTo>
                    <a:pt x="523" y="614"/>
                  </a:lnTo>
                  <a:close/>
                  <a:moveTo>
                    <a:pt x="519" y="626"/>
                  </a:moveTo>
                  <a:lnTo>
                    <a:pt x="515" y="626"/>
                  </a:lnTo>
                  <a:lnTo>
                    <a:pt x="515" y="622"/>
                  </a:lnTo>
                  <a:lnTo>
                    <a:pt x="515" y="618"/>
                  </a:lnTo>
                  <a:lnTo>
                    <a:pt x="515" y="622"/>
                  </a:lnTo>
                  <a:lnTo>
                    <a:pt x="511" y="622"/>
                  </a:lnTo>
                  <a:lnTo>
                    <a:pt x="511" y="618"/>
                  </a:lnTo>
                  <a:lnTo>
                    <a:pt x="515" y="618"/>
                  </a:lnTo>
                  <a:lnTo>
                    <a:pt x="511" y="618"/>
                  </a:lnTo>
                  <a:lnTo>
                    <a:pt x="511" y="614"/>
                  </a:lnTo>
                  <a:lnTo>
                    <a:pt x="511" y="610"/>
                  </a:lnTo>
                  <a:lnTo>
                    <a:pt x="515" y="610"/>
                  </a:lnTo>
                  <a:lnTo>
                    <a:pt x="515" y="614"/>
                  </a:lnTo>
                  <a:lnTo>
                    <a:pt x="515" y="618"/>
                  </a:lnTo>
                  <a:lnTo>
                    <a:pt x="519" y="618"/>
                  </a:lnTo>
                  <a:lnTo>
                    <a:pt x="519" y="622"/>
                  </a:lnTo>
                  <a:lnTo>
                    <a:pt x="519" y="626"/>
                  </a:lnTo>
                  <a:close/>
                  <a:moveTo>
                    <a:pt x="519" y="622"/>
                  </a:moveTo>
                  <a:lnTo>
                    <a:pt x="519" y="614"/>
                  </a:lnTo>
                  <a:lnTo>
                    <a:pt x="515" y="614"/>
                  </a:lnTo>
                  <a:lnTo>
                    <a:pt x="519" y="614"/>
                  </a:lnTo>
                  <a:lnTo>
                    <a:pt x="523" y="614"/>
                  </a:lnTo>
                  <a:lnTo>
                    <a:pt x="523" y="618"/>
                  </a:lnTo>
                  <a:lnTo>
                    <a:pt x="519" y="622"/>
                  </a:lnTo>
                  <a:close/>
                  <a:moveTo>
                    <a:pt x="527" y="618"/>
                  </a:moveTo>
                  <a:lnTo>
                    <a:pt x="527" y="614"/>
                  </a:lnTo>
                  <a:lnTo>
                    <a:pt x="531" y="614"/>
                  </a:lnTo>
                  <a:lnTo>
                    <a:pt x="531" y="618"/>
                  </a:lnTo>
                  <a:lnTo>
                    <a:pt x="527" y="618"/>
                  </a:lnTo>
                  <a:close/>
                  <a:moveTo>
                    <a:pt x="527" y="626"/>
                  </a:moveTo>
                  <a:lnTo>
                    <a:pt x="523" y="626"/>
                  </a:lnTo>
                  <a:lnTo>
                    <a:pt x="519" y="626"/>
                  </a:lnTo>
                  <a:lnTo>
                    <a:pt x="519" y="622"/>
                  </a:lnTo>
                  <a:lnTo>
                    <a:pt x="523" y="622"/>
                  </a:lnTo>
                  <a:lnTo>
                    <a:pt x="523" y="618"/>
                  </a:lnTo>
                  <a:lnTo>
                    <a:pt x="523" y="622"/>
                  </a:lnTo>
                  <a:lnTo>
                    <a:pt x="523" y="618"/>
                  </a:lnTo>
                  <a:lnTo>
                    <a:pt x="523" y="614"/>
                  </a:lnTo>
                  <a:lnTo>
                    <a:pt x="527" y="614"/>
                  </a:lnTo>
                  <a:lnTo>
                    <a:pt x="527" y="618"/>
                  </a:lnTo>
                  <a:lnTo>
                    <a:pt x="527" y="622"/>
                  </a:lnTo>
                  <a:lnTo>
                    <a:pt x="527" y="626"/>
                  </a:lnTo>
                  <a:lnTo>
                    <a:pt x="527" y="622"/>
                  </a:lnTo>
                  <a:lnTo>
                    <a:pt x="527" y="626"/>
                  </a:lnTo>
                  <a:close/>
                  <a:moveTo>
                    <a:pt x="531" y="622"/>
                  </a:moveTo>
                  <a:lnTo>
                    <a:pt x="531" y="618"/>
                  </a:lnTo>
                  <a:lnTo>
                    <a:pt x="527" y="618"/>
                  </a:lnTo>
                  <a:lnTo>
                    <a:pt x="531" y="618"/>
                  </a:lnTo>
                  <a:lnTo>
                    <a:pt x="531" y="622"/>
                  </a:lnTo>
                  <a:close/>
                  <a:moveTo>
                    <a:pt x="535" y="622"/>
                  </a:moveTo>
                  <a:lnTo>
                    <a:pt x="531" y="622"/>
                  </a:lnTo>
                  <a:lnTo>
                    <a:pt x="531" y="618"/>
                  </a:lnTo>
                  <a:lnTo>
                    <a:pt x="535" y="618"/>
                  </a:lnTo>
                  <a:lnTo>
                    <a:pt x="535" y="622"/>
                  </a:lnTo>
                  <a:close/>
                  <a:moveTo>
                    <a:pt x="511" y="626"/>
                  </a:moveTo>
                  <a:lnTo>
                    <a:pt x="515" y="626"/>
                  </a:lnTo>
                  <a:lnTo>
                    <a:pt x="511" y="626"/>
                  </a:lnTo>
                  <a:lnTo>
                    <a:pt x="511" y="622"/>
                  </a:lnTo>
                  <a:lnTo>
                    <a:pt x="515" y="622"/>
                  </a:lnTo>
                  <a:lnTo>
                    <a:pt x="515" y="626"/>
                  </a:lnTo>
                  <a:lnTo>
                    <a:pt x="511" y="626"/>
                  </a:lnTo>
                  <a:close/>
                  <a:moveTo>
                    <a:pt x="527" y="646"/>
                  </a:moveTo>
                  <a:lnTo>
                    <a:pt x="527" y="650"/>
                  </a:lnTo>
                  <a:lnTo>
                    <a:pt x="527" y="646"/>
                  </a:lnTo>
                  <a:lnTo>
                    <a:pt x="531" y="646"/>
                  </a:lnTo>
                  <a:lnTo>
                    <a:pt x="531" y="650"/>
                  </a:lnTo>
                  <a:lnTo>
                    <a:pt x="527" y="654"/>
                  </a:lnTo>
                  <a:lnTo>
                    <a:pt x="527" y="658"/>
                  </a:lnTo>
                  <a:lnTo>
                    <a:pt x="523" y="658"/>
                  </a:lnTo>
                  <a:lnTo>
                    <a:pt x="523" y="654"/>
                  </a:lnTo>
                  <a:lnTo>
                    <a:pt x="527" y="654"/>
                  </a:lnTo>
                  <a:lnTo>
                    <a:pt x="523" y="654"/>
                  </a:lnTo>
                  <a:lnTo>
                    <a:pt x="523" y="650"/>
                  </a:lnTo>
                  <a:lnTo>
                    <a:pt x="523" y="646"/>
                  </a:lnTo>
                  <a:lnTo>
                    <a:pt x="523" y="642"/>
                  </a:lnTo>
                  <a:lnTo>
                    <a:pt x="527" y="642"/>
                  </a:lnTo>
                  <a:lnTo>
                    <a:pt x="523" y="642"/>
                  </a:lnTo>
                  <a:lnTo>
                    <a:pt x="523" y="646"/>
                  </a:lnTo>
                  <a:lnTo>
                    <a:pt x="523" y="642"/>
                  </a:lnTo>
                  <a:lnTo>
                    <a:pt x="519" y="646"/>
                  </a:lnTo>
                  <a:lnTo>
                    <a:pt x="523" y="646"/>
                  </a:lnTo>
                  <a:lnTo>
                    <a:pt x="519" y="650"/>
                  </a:lnTo>
                  <a:lnTo>
                    <a:pt x="519" y="654"/>
                  </a:lnTo>
                  <a:lnTo>
                    <a:pt x="519" y="650"/>
                  </a:lnTo>
                  <a:lnTo>
                    <a:pt x="515" y="646"/>
                  </a:lnTo>
                  <a:lnTo>
                    <a:pt x="515" y="642"/>
                  </a:lnTo>
                  <a:lnTo>
                    <a:pt x="515" y="638"/>
                  </a:lnTo>
                  <a:lnTo>
                    <a:pt x="515" y="642"/>
                  </a:lnTo>
                  <a:lnTo>
                    <a:pt x="519" y="642"/>
                  </a:lnTo>
                  <a:lnTo>
                    <a:pt x="519" y="646"/>
                  </a:lnTo>
                  <a:lnTo>
                    <a:pt x="519" y="642"/>
                  </a:lnTo>
                  <a:lnTo>
                    <a:pt x="515" y="642"/>
                  </a:lnTo>
                  <a:lnTo>
                    <a:pt x="515" y="638"/>
                  </a:lnTo>
                  <a:lnTo>
                    <a:pt x="519" y="642"/>
                  </a:lnTo>
                  <a:lnTo>
                    <a:pt x="519" y="638"/>
                  </a:lnTo>
                  <a:lnTo>
                    <a:pt x="523" y="642"/>
                  </a:lnTo>
                  <a:lnTo>
                    <a:pt x="523" y="638"/>
                  </a:lnTo>
                  <a:lnTo>
                    <a:pt x="523" y="634"/>
                  </a:lnTo>
                  <a:lnTo>
                    <a:pt x="519" y="630"/>
                  </a:lnTo>
                  <a:lnTo>
                    <a:pt x="519" y="626"/>
                  </a:lnTo>
                  <a:lnTo>
                    <a:pt x="523" y="626"/>
                  </a:lnTo>
                  <a:lnTo>
                    <a:pt x="527" y="626"/>
                  </a:lnTo>
                  <a:lnTo>
                    <a:pt x="527" y="630"/>
                  </a:lnTo>
                  <a:lnTo>
                    <a:pt x="527" y="634"/>
                  </a:lnTo>
                  <a:lnTo>
                    <a:pt x="527" y="638"/>
                  </a:lnTo>
                  <a:lnTo>
                    <a:pt x="531" y="638"/>
                  </a:lnTo>
                  <a:lnTo>
                    <a:pt x="527" y="642"/>
                  </a:lnTo>
                  <a:lnTo>
                    <a:pt x="527" y="646"/>
                  </a:lnTo>
                  <a:close/>
                  <a:moveTo>
                    <a:pt x="519" y="634"/>
                  </a:moveTo>
                  <a:lnTo>
                    <a:pt x="515" y="630"/>
                  </a:lnTo>
                  <a:lnTo>
                    <a:pt x="519" y="630"/>
                  </a:lnTo>
                  <a:lnTo>
                    <a:pt x="519" y="634"/>
                  </a:lnTo>
                  <a:close/>
                  <a:moveTo>
                    <a:pt x="515" y="634"/>
                  </a:moveTo>
                  <a:lnTo>
                    <a:pt x="515" y="630"/>
                  </a:lnTo>
                  <a:lnTo>
                    <a:pt x="515" y="634"/>
                  </a:lnTo>
                  <a:lnTo>
                    <a:pt x="511" y="634"/>
                  </a:lnTo>
                  <a:lnTo>
                    <a:pt x="511" y="630"/>
                  </a:lnTo>
                  <a:lnTo>
                    <a:pt x="515" y="630"/>
                  </a:lnTo>
                  <a:lnTo>
                    <a:pt x="519" y="634"/>
                  </a:lnTo>
                  <a:lnTo>
                    <a:pt x="515" y="634"/>
                  </a:lnTo>
                  <a:close/>
                  <a:moveTo>
                    <a:pt x="523" y="638"/>
                  </a:moveTo>
                  <a:lnTo>
                    <a:pt x="519" y="638"/>
                  </a:lnTo>
                  <a:lnTo>
                    <a:pt x="515" y="638"/>
                  </a:lnTo>
                  <a:lnTo>
                    <a:pt x="515" y="634"/>
                  </a:lnTo>
                  <a:lnTo>
                    <a:pt x="519" y="634"/>
                  </a:lnTo>
                  <a:lnTo>
                    <a:pt x="523" y="634"/>
                  </a:lnTo>
                  <a:lnTo>
                    <a:pt x="523" y="638"/>
                  </a:lnTo>
                  <a:close/>
                  <a:moveTo>
                    <a:pt x="531" y="646"/>
                  </a:moveTo>
                  <a:lnTo>
                    <a:pt x="527" y="642"/>
                  </a:lnTo>
                  <a:lnTo>
                    <a:pt x="531" y="642"/>
                  </a:lnTo>
                  <a:lnTo>
                    <a:pt x="531" y="646"/>
                  </a:lnTo>
                  <a:close/>
                  <a:moveTo>
                    <a:pt x="519" y="654"/>
                  </a:moveTo>
                  <a:lnTo>
                    <a:pt x="515" y="650"/>
                  </a:lnTo>
                  <a:lnTo>
                    <a:pt x="515" y="654"/>
                  </a:lnTo>
                  <a:lnTo>
                    <a:pt x="515" y="650"/>
                  </a:lnTo>
                  <a:lnTo>
                    <a:pt x="511" y="650"/>
                  </a:lnTo>
                  <a:lnTo>
                    <a:pt x="511" y="646"/>
                  </a:lnTo>
                  <a:lnTo>
                    <a:pt x="515" y="646"/>
                  </a:lnTo>
                  <a:lnTo>
                    <a:pt x="519" y="650"/>
                  </a:lnTo>
                  <a:lnTo>
                    <a:pt x="519" y="654"/>
                  </a:lnTo>
                  <a:close/>
                  <a:moveTo>
                    <a:pt x="519" y="662"/>
                  </a:moveTo>
                  <a:lnTo>
                    <a:pt x="519" y="666"/>
                  </a:lnTo>
                  <a:lnTo>
                    <a:pt x="515" y="666"/>
                  </a:lnTo>
                  <a:lnTo>
                    <a:pt x="515" y="662"/>
                  </a:lnTo>
                  <a:lnTo>
                    <a:pt x="519" y="662"/>
                  </a:lnTo>
                  <a:lnTo>
                    <a:pt x="515" y="662"/>
                  </a:lnTo>
                  <a:lnTo>
                    <a:pt x="515" y="658"/>
                  </a:lnTo>
                  <a:lnTo>
                    <a:pt x="515" y="662"/>
                  </a:lnTo>
                  <a:lnTo>
                    <a:pt x="519" y="662"/>
                  </a:lnTo>
                  <a:lnTo>
                    <a:pt x="519" y="658"/>
                  </a:lnTo>
                  <a:lnTo>
                    <a:pt x="515" y="658"/>
                  </a:lnTo>
                  <a:lnTo>
                    <a:pt x="515" y="654"/>
                  </a:lnTo>
                  <a:lnTo>
                    <a:pt x="519" y="654"/>
                  </a:lnTo>
                  <a:lnTo>
                    <a:pt x="519" y="658"/>
                  </a:lnTo>
                  <a:lnTo>
                    <a:pt x="523" y="658"/>
                  </a:lnTo>
                  <a:lnTo>
                    <a:pt x="519" y="662"/>
                  </a:lnTo>
                  <a:close/>
                  <a:moveTo>
                    <a:pt x="523" y="666"/>
                  </a:moveTo>
                  <a:lnTo>
                    <a:pt x="523" y="662"/>
                  </a:lnTo>
                  <a:lnTo>
                    <a:pt x="527" y="662"/>
                  </a:lnTo>
                  <a:lnTo>
                    <a:pt x="527" y="666"/>
                  </a:lnTo>
                  <a:lnTo>
                    <a:pt x="523" y="666"/>
                  </a:lnTo>
                  <a:close/>
                  <a:moveTo>
                    <a:pt x="531" y="674"/>
                  </a:moveTo>
                  <a:lnTo>
                    <a:pt x="527" y="670"/>
                  </a:lnTo>
                  <a:lnTo>
                    <a:pt x="527" y="666"/>
                  </a:lnTo>
                  <a:lnTo>
                    <a:pt x="531" y="666"/>
                  </a:lnTo>
                  <a:lnTo>
                    <a:pt x="527" y="666"/>
                  </a:lnTo>
                  <a:lnTo>
                    <a:pt x="531" y="666"/>
                  </a:lnTo>
                  <a:lnTo>
                    <a:pt x="531" y="670"/>
                  </a:lnTo>
                  <a:lnTo>
                    <a:pt x="531" y="674"/>
                  </a:lnTo>
                  <a:lnTo>
                    <a:pt x="535" y="674"/>
                  </a:lnTo>
                  <a:lnTo>
                    <a:pt x="531" y="674"/>
                  </a:lnTo>
                  <a:close/>
                  <a:moveTo>
                    <a:pt x="515" y="674"/>
                  </a:moveTo>
                  <a:lnTo>
                    <a:pt x="511" y="670"/>
                  </a:lnTo>
                  <a:lnTo>
                    <a:pt x="515" y="670"/>
                  </a:lnTo>
                  <a:lnTo>
                    <a:pt x="515" y="666"/>
                  </a:lnTo>
                  <a:lnTo>
                    <a:pt x="519" y="666"/>
                  </a:lnTo>
                  <a:lnTo>
                    <a:pt x="519" y="670"/>
                  </a:lnTo>
                  <a:lnTo>
                    <a:pt x="515" y="670"/>
                  </a:lnTo>
                  <a:lnTo>
                    <a:pt x="515" y="674"/>
                  </a:lnTo>
                  <a:close/>
                  <a:moveTo>
                    <a:pt x="519" y="674"/>
                  </a:moveTo>
                  <a:lnTo>
                    <a:pt x="519" y="670"/>
                  </a:lnTo>
                  <a:lnTo>
                    <a:pt x="519" y="674"/>
                  </a:lnTo>
                  <a:close/>
                  <a:moveTo>
                    <a:pt x="527" y="674"/>
                  </a:moveTo>
                  <a:lnTo>
                    <a:pt x="523" y="674"/>
                  </a:lnTo>
                  <a:lnTo>
                    <a:pt x="523" y="670"/>
                  </a:lnTo>
                  <a:lnTo>
                    <a:pt x="527" y="674"/>
                  </a:lnTo>
                  <a:close/>
                  <a:moveTo>
                    <a:pt x="523" y="682"/>
                  </a:moveTo>
                  <a:lnTo>
                    <a:pt x="523" y="678"/>
                  </a:lnTo>
                  <a:lnTo>
                    <a:pt x="523" y="674"/>
                  </a:lnTo>
                  <a:lnTo>
                    <a:pt x="527" y="674"/>
                  </a:lnTo>
                  <a:lnTo>
                    <a:pt x="527" y="670"/>
                  </a:lnTo>
                  <a:lnTo>
                    <a:pt x="527" y="674"/>
                  </a:lnTo>
                  <a:lnTo>
                    <a:pt x="531" y="674"/>
                  </a:lnTo>
                  <a:lnTo>
                    <a:pt x="531" y="678"/>
                  </a:lnTo>
                  <a:lnTo>
                    <a:pt x="527" y="678"/>
                  </a:lnTo>
                  <a:lnTo>
                    <a:pt x="523" y="682"/>
                  </a:lnTo>
                  <a:close/>
                  <a:moveTo>
                    <a:pt x="531" y="682"/>
                  </a:moveTo>
                  <a:lnTo>
                    <a:pt x="531" y="678"/>
                  </a:lnTo>
                  <a:lnTo>
                    <a:pt x="531" y="674"/>
                  </a:lnTo>
                  <a:lnTo>
                    <a:pt x="531" y="678"/>
                  </a:lnTo>
                  <a:lnTo>
                    <a:pt x="531" y="682"/>
                  </a:lnTo>
                  <a:close/>
                  <a:moveTo>
                    <a:pt x="531" y="682"/>
                  </a:moveTo>
                  <a:lnTo>
                    <a:pt x="527" y="682"/>
                  </a:lnTo>
                  <a:lnTo>
                    <a:pt x="527" y="678"/>
                  </a:lnTo>
                  <a:lnTo>
                    <a:pt x="531" y="682"/>
                  </a:lnTo>
                  <a:close/>
                  <a:moveTo>
                    <a:pt x="519" y="690"/>
                  </a:moveTo>
                  <a:lnTo>
                    <a:pt x="519" y="686"/>
                  </a:lnTo>
                  <a:lnTo>
                    <a:pt x="523" y="686"/>
                  </a:lnTo>
                  <a:lnTo>
                    <a:pt x="523" y="682"/>
                  </a:lnTo>
                  <a:lnTo>
                    <a:pt x="527" y="682"/>
                  </a:lnTo>
                  <a:lnTo>
                    <a:pt x="527" y="686"/>
                  </a:lnTo>
                  <a:lnTo>
                    <a:pt x="523" y="686"/>
                  </a:lnTo>
                  <a:lnTo>
                    <a:pt x="519" y="690"/>
                  </a:lnTo>
                  <a:close/>
                  <a:moveTo>
                    <a:pt x="535" y="686"/>
                  </a:moveTo>
                  <a:lnTo>
                    <a:pt x="535" y="682"/>
                  </a:lnTo>
                  <a:lnTo>
                    <a:pt x="535" y="686"/>
                  </a:lnTo>
                  <a:close/>
                  <a:moveTo>
                    <a:pt x="539" y="686"/>
                  </a:moveTo>
                  <a:lnTo>
                    <a:pt x="539" y="682"/>
                  </a:lnTo>
                  <a:lnTo>
                    <a:pt x="539" y="686"/>
                  </a:lnTo>
                  <a:close/>
                  <a:moveTo>
                    <a:pt x="515" y="690"/>
                  </a:moveTo>
                  <a:lnTo>
                    <a:pt x="519" y="690"/>
                  </a:lnTo>
                  <a:lnTo>
                    <a:pt x="519" y="686"/>
                  </a:lnTo>
                  <a:lnTo>
                    <a:pt x="519" y="682"/>
                  </a:lnTo>
                  <a:lnTo>
                    <a:pt x="519" y="686"/>
                  </a:lnTo>
                  <a:lnTo>
                    <a:pt x="519" y="690"/>
                  </a:lnTo>
                  <a:lnTo>
                    <a:pt x="515" y="690"/>
                  </a:lnTo>
                  <a:close/>
                  <a:moveTo>
                    <a:pt x="535" y="694"/>
                  </a:moveTo>
                  <a:lnTo>
                    <a:pt x="531" y="694"/>
                  </a:lnTo>
                  <a:lnTo>
                    <a:pt x="535" y="694"/>
                  </a:lnTo>
                  <a:lnTo>
                    <a:pt x="535" y="690"/>
                  </a:lnTo>
                  <a:lnTo>
                    <a:pt x="535" y="694"/>
                  </a:lnTo>
                  <a:close/>
                  <a:moveTo>
                    <a:pt x="523" y="702"/>
                  </a:moveTo>
                  <a:lnTo>
                    <a:pt x="519" y="702"/>
                  </a:lnTo>
                  <a:lnTo>
                    <a:pt x="519" y="698"/>
                  </a:lnTo>
                  <a:lnTo>
                    <a:pt x="523" y="694"/>
                  </a:lnTo>
                  <a:lnTo>
                    <a:pt x="523" y="698"/>
                  </a:lnTo>
                  <a:lnTo>
                    <a:pt x="523" y="694"/>
                  </a:lnTo>
                  <a:lnTo>
                    <a:pt x="523" y="690"/>
                  </a:lnTo>
                  <a:lnTo>
                    <a:pt x="523" y="694"/>
                  </a:lnTo>
                  <a:lnTo>
                    <a:pt x="523" y="698"/>
                  </a:lnTo>
                  <a:lnTo>
                    <a:pt x="523" y="702"/>
                  </a:lnTo>
                  <a:close/>
                  <a:moveTo>
                    <a:pt x="539" y="694"/>
                  </a:moveTo>
                  <a:lnTo>
                    <a:pt x="535" y="694"/>
                  </a:lnTo>
                  <a:lnTo>
                    <a:pt x="539" y="694"/>
                  </a:lnTo>
                  <a:close/>
                  <a:moveTo>
                    <a:pt x="535" y="698"/>
                  </a:moveTo>
                  <a:lnTo>
                    <a:pt x="531" y="698"/>
                  </a:lnTo>
                  <a:lnTo>
                    <a:pt x="527" y="694"/>
                  </a:lnTo>
                  <a:lnTo>
                    <a:pt x="531" y="694"/>
                  </a:lnTo>
                  <a:lnTo>
                    <a:pt x="535" y="698"/>
                  </a:lnTo>
                  <a:close/>
                  <a:moveTo>
                    <a:pt x="519" y="698"/>
                  </a:moveTo>
                  <a:lnTo>
                    <a:pt x="519" y="694"/>
                  </a:lnTo>
                  <a:lnTo>
                    <a:pt x="523" y="694"/>
                  </a:lnTo>
                  <a:lnTo>
                    <a:pt x="519" y="694"/>
                  </a:lnTo>
                  <a:lnTo>
                    <a:pt x="519" y="698"/>
                  </a:lnTo>
                  <a:close/>
                  <a:moveTo>
                    <a:pt x="539" y="698"/>
                  </a:moveTo>
                  <a:lnTo>
                    <a:pt x="535" y="698"/>
                  </a:lnTo>
                  <a:lnTo>
                    <a:pt x="535" y="694"/>
                  </a:lnTo>
                  <a:lnTo>
                    <a:pt x="539" y="694"/>
                  </a:lnTo>
                  <a:lnTo>
                    <a:pt x="539" y="698"/>
                  </a:lnTo>
                  <a:close/>
                  <a:moveTo>
                    <a:pt x="523" y="702"/>
                  </a:moveTo>
                  <a:lnTo>
                    <a:pt x="523" y="698"/>
                  </a:lnTo>
                  <a:lnTo>
                    <a:pt x="527" y="698"/>
                  </a:lnTo>
                  <a:lnTo>
                    <a:pt x="523" y="702"/>
                  </a:lnTo>
                  <a:close/>
                  <a:moveTo>
                    <a:pt x="551" y="702"/>
                  </a:moveTo>
                  <a:lnTo>
                    <a:pt x="551" y="698"/>
                  </a:lnTo>
                  <a:lnTo>
                    <a:pt x="551" y="702"/>
                  </a:lnTo>
                  <a:close/>
                  <a:moveTo>
                    <a:pt x="539" y="706"/>
                  </a:moveTo>
                  <a:lnTo>
                    <a:pt x="539" y="702"/>
                  </a:lnTo>
                  <a:lnTo>
                    <a:pt x="535" y="702"/>
                  </a:lnTo>
                  <a:lnTo>
                    <a:pt x="535" y="698"/>
                  </a:lnTo>
                  <a:lnTo>
                    <a:pt x="539" y="702"/>
                  </a:lnTo>
                  <a:lnTo>
                    <a:pt x="539" y="706"/>
                  </a:lnTo>
                  <a:close/>
                  <a:moveTo>
                    <a:pt x="523" y="702"/>
                  </a:moveTo>
                  <a:lnTo>
                    <a:pt x="527" y="702"/>
                  </a:lnTo>
                  <a:lnTo>
                    <a:pt x="527" y="698"/>
                  </a:lnTo>
                  <a:lnTo>
                    <a:pt x="527" y="702"/>
                  </a:lnTo>
                  <a:lnTo>
                    <a:pt x="523" y="702"/>
                  </a:lnTo>
                  <a:close/>
                  <a:moveTo>
                    <a:pt x="535" y="710"/>
                  </a:moveTo>
                  <a:lnTo>
                    <a:pt x="531" y="710"/>
                  </a:lnTo>
                  <a:lnTo>
                    <a:pt x="531" y="706"/>
                  </a:lnTo>
                  <a:lnTo>
                    <a:pt x="535" y="706"/>
                  </a:lnTo>
                  <a:lnTo>
                    <a:pt x="531" y="706"/>
                  </a:lnTo>
                  <a:lnTo>
                    <a:pt x="531" y="702"/>
                  </a:lnTo>
                  <a:lnTo>
                    <a:pt x="535" y="706"/>
                  </a:lnTo>
                  <a:lnTo>
                    <a:pt x="535" y="710"/>
                  </a:lnTo>
                  <a:close/>
                  <a:moveTo>
                    <a:pt x="539" y="710"/>
                  </a:moveTo>
                  <a:lnTo>
                    <a:pt x="539" y="706"/>
                  </a:lnTo>
                  <a:lnTo>
                    <a:pt x="535" y="706"/>
                  </a:lnTo>
                  <a:lnTo>
                    <a:pt x="535" y="702"/>
                  </a:lnTo>
                  <a:lnTo>
                    <a:pt x="535" y="706"/>
                  </a:lnTo>
                  <a:lnTo>
                    <a:pt x="539" y="706"/>
                  </a:lnTo>
                  <a:lnTo>
                    <a:pt x="539" y="710"/>
                  </a:lnTo>
                  <a:close/>
                  <a:moveTo>
                    <a:pt x="523" y="706"/>
                  </a:moveTo>
                  <a:lnTo>
                    <a:pt x="527" y="706"/>
                  </a:lnTo>
                  <a:lnTo>
                    <a:pt x="523" y="706"/>
                  </a:lnTo>
                  <a:close/>
                  <a:moveTo>
                    <a:pt x="619" y="766"/>
                  </a:moveTo>
                  <a:lnTo>
                    <a:pt x="615" y="766"/>
                  </a:lnTo>
                  <a:lnTo>
                    <a:pt x="611" y="766"/>
                  </a:lnTo>
                  <a:lnTo>
                    <a:pt x="603" y="766"/>
                  </a:lnTo>
                  <a:lnTo>
                    <a:pt x="603" y="762"/>
                  </a:lnTo>
                  <a:lnTo>
                    <a:pt x="599" y="762"/>
                  </a:lnTo>
                  <a:lnTo>
                    <a:pt x="599" y="766"/>
                  </a:lnTo>
                  <a:lnTo>
                    <a:pt x="595" y="766"/>
                  </a:lnTo>
                  <a:lnTo>
                    <a:pt x="591" y="766"/>
                  </a:lnTo>
                  <a:lnTo>
                    <a:pt x="591" y="762"/>
                  </a:lnTo>
                  <a:lnTo>
                    <a:pt x="591" y="766"/>
                  </a:lnTo>
                  <a:lnTo>
                    <a:pt x="587" y="766"/>
                  </a:lnTo>
                  <a:lnTo>
                    <a:pt x="583" y="766"/>
                  </a:lnTo>
                  <a:lnTo>
                    <a:pt x="583" y="762"/>
                  </a:lnTo>
                  <a:lnTo>
                    <a:pt x="587" y="762"/>
                  </a:lnTo>
                  <a:lnTo>
                    <a:pt x="591" y="762"/>
                  </a:lnTo>
                  <a:lnTo>
                    <a:pt x="587" y="762"/>
                  </a:lnTo>
                  <a:lnTo>
                    <a:pt x="583" y="762"/>
                  </a:lnTo>
                  <a:lnTo>
                    <a:pt x="579" y="762"/>
                  </a:lnTo>
                  <a:lnTo>
                    <a:pt x="583" y="762"/>
                  </a:lnTo>
                  <a:lnTo>
                    <a:pt x="579" y="762"/>
                  </a:lnTo>
                  <a:lnTo>
                    <a:pt x="575" y="762"/>
                  </a:lnTo>
                  <a:lnTo>
                    <a:pt x="579" y="762"/>
                  </a:lnTo>
                  <a:lnTo>
                    <a:pt x="579" y="758"/>
                  </a:lnTo>
                  <a:lnTo>
                    <a:pt x="575" y="758"/>
                  </a:lnTo>
                  <a:lnTo>
                    <a:pt x="575" y="762"/>
                  </a:lnTo>
                  <a:lnTo>
                    <a:pt x="571" y="762"/>
                  </a:lnTo>
                  <a:lnTo>
                    <a:pt x="571" y="758"/>
                  </a:lnTo>
                  <a:lnTo>
                    <a:pt x="571" y="762"/>
                  </a:lnTo>
                  <a:lnTo>
                    <a:pt x="567" y="762"/>
                  </a:lnTo>
                  <a:lnTo>
                    <a:pt x="567" y="758"/>
                  </a:lnTo>
                  <a:lnTo>
                    <a:pt x="571" y="758"/>
                  </a:lnTo>
                  <a:lnTo>
                    <a:pt x="567" y="758"/>
                  </a:lnTo>
                  <a:lnTo>
                    <a:pt x="567" y="754"/>
                  </a:lnTo>
                  <a:lnTo>
                    <a:pt x="571" y="754"/>
                  </a:lnTo>
                  <a:lnTo>
                    <a:pt x="571" y="758"/>
                  </a:lnTo>
                  <a:lnTo>
                    <a:pt x="575" y="758"/>
                  </a:lnTo>
                  <a:lnTo>
                    <a:pt x="571" y="758"/>
                  </a:lnTo>
                  <a:lnTo>
                    <a:pt x="571" y="754"/>
                  </a:lnTo>
                  <a:lnTo>
                    <a:pt x="575" y="758"/>
                  </a:lnTo>
                  <a:lnTo>
                    <a:pt x="575" y="754"/>
                  </a:lnTo>
                  <a:lnTo>
                    <a:pt x="579" y="754"/>
                  </a:lnTo>
                  <a:lnTo>
                    <a:pt x="583" y="758"/>
                  </a:lnTo>
                  <a:lnTo>
                    <a:pt x="583" y="754"/>
                  </a:lnTo>
                  <a:lnTo>
                    <a:pt x="587" y="754"/>
                  </a:lnTo>
                  <a:lnTo>
                    <a:pt x="587" y="758"/>
                  </a:lnTo>
                  <a:lnTo>
                    <a:pt x="587" y="754"/>
                  </a:lnTo>
                  <a:lnTo>
                    <a:pt x="591" y="758"/>
                  </a:lnTo>
                  <a:lnTo>
                    <a:pt x="595" y="758"/>
                  </a:lnTo>
                  <a:lnTo>
                    <a:pt x="591" y="758"/>
                  </a:lnTo>
                  <a:lnTo>
                    <a:pt x="591" y="754"/>
                  </a:lnTo>
                  <a:lnTo>
                    <a:pt x="587" y="754"/>
                  </a:lnTo>
                  <a:lnTo>
                    <a:pt x="583" y="754"/>
                  </a:lnTo>
                  <a:lnTo>
                    <a:pt x="583" y="750"/>
                  </a:lnTo>
                  <a:lnTo>
                    <a:pt x="587" y="750"/>
                  </a:lnTo>
                  <a:lnTo>
                    <a:pt x="591" y="754"/>
                  </a:lnTo>
                  <a:lnTo>
                    <a:pt x="595" y="754"/>
                  </a:lnTo>
                  <a:lnTo>
                    <a:pt x="595" y="750"/>
                  </a:lnTo>
                  <a:lnTo>
                    <a:pt x="595" y="754"/>
                  </a:lnTo>
                  <a:lnTo>
                    <a:pt x="599" y="754"/>
                  </a:lnTo>
                  <a:lnTo>
                    <a:pt x="599" y="758"/>
                  </a:lnTo>
                  <a:lnTo>
                    <a:pt x="599" y="754"/>
                  </a:lnTo>
                  <a:lnTo>
                    <a:pt x="603" y="754"/>
                  </a:lnTo>
                  <a:lnTo>
                    <a:pt x="607" y="754"/>
                  </a:lnTo>
                  <a:lnTo>
                    <a:pt x="607" y="758"/>
                  </a:lnTo>
                  <a:lnTo>
                    <a:pt x="607" y="762"/>
                  </a:lnTo>
                  <a:lnTo>
                    <a:pt x="607" y="758"/>
                  </a:lnTo>
                  <a:lnTo>
                    <a:pt x="611" y="758"/>
                  </a:lnTo>
                  <a:lnTo>
                    <a:pt x="607" y="758"/>
                  </a:lnTo>
                  <a:lnTo>
                    <a:pt x="611" y="758"/>
                  </a:lnTo>
                  <a:lnTo>
                    <a:pt x="611" y="754"/>
                  </a:lnTo>
                  <a:lnTo>
                    <a:pt x="607" y="754"/>
                  </a:lnTo>
                  <a:lnTo>
                    <a:pt x="603" y="754"/>
                  </a:lnTo>
                  <a:lnTo>
                    <a:pt x="603" y="750"/>
                  </a:lnTo>
                  <a:lnTo>
                    <a:pt x="599" y="750"/>
                  </a:lnTo>
                  <a:lnTo>
                    <a:pt x="595" y="750"/>
                  </a:lnTo>
                  <a:lnTo>
                    <a:pt x="595" y="746"/>
                  </a:lnTo>
                  <a:lnTo>
                    <a:pt x="595" y="742"/>
                  </a:lnTo>
                  <a:lnTo>
                    <a:pt x="595" y="738"/>
                  </a:lnTo>
                  <a:lnTo>
                    <a:pt x="599" y="738"/>
                  </a:lnTo>
                  <a:lnTo>
                    <a:pt x="607" y="734"/>
                  </a:lnTo>
                  <a:lnTo>
                    <a:pt x="607" y="730"/>
                  </a:lnTo>
                  <a:lnTo>
                    <a:pt x="603" y="730"/>
                  </a:lnTo>
                  <a:lnTo>
                    <a:pt x="599" y="730"/>
                  </a:lnTo>
                  <a:lnTo>
                    <a:pt x="595" y="730"/>
                  </a:lnTo>
                  <a:lnTo>
                    <a:pt x="595" y="734"/>
                  </a:lnTo>
                  <a:lnTo>
                    <a:pt x="591" y="734"/>
                  </a:lnTo>
                  <a:lnTo>
                    <a:pt x="591" y="730"/>
                  </a:lnTo>
                  <a:lnTo>
                    <a:pt x="591" y="726"/>
                  </a:lnTo>
                  <a:lnTo>
                    <a:pt x="591" y="722"/>
                  </a:lnTo>
                  <a:lnTo>
                    <a:pt x="595" y="722"/>
                  </a:lnTo>
                  <a:lnTo>
                    <a:pt x="595" y="718"/>
                  </a:lnTo>
                  <a:lnTo>
                    <a:pt x="591" y="718"/>
                  </a:lnTo>
                  <a:lnTo>
                    <a:pt x="595" y="718"/>
                  </a:lnTo>
                  <a:lnTo>
                    <a:pt x="599" y="718"/>
                  </a:lnTo>
                  <a:lnTo>
                    <a:pt x="603" y="714"/>
                  </a:lnTo>
                  <a:lnTo>
                    <a:pt x="603" y="710"/>
                  </a:lnTo>
                  <a:lnTo>
                    <a:pt x="607" y="710"/>
                  </a:lnTo>
                  <a:lnTo>
                    <a:pt x="607" y="714"/>
                  </a:lnTo>
                  <a:lnTo>
                    <a:pt x="611" y="714"/>
                  </a:lnTo>
                  <a:lnTo>
                    <a:pt x="615" y="714"/>
                  </a:lnTo>
                  <a:lnTo>
                    <a:pt x="619" y="714"/>
                  </a:lnTo>
                  <a:lnTo>
                    <a:pt x="619" y="718"/>
                  </a:lnTo>
                  <a:lnTo>
                    <a:pt x="619" y="726"/>
                  </a:lnTo>
                  <a:lnTo>
                    <a:pt x="619" y="730"/>
                  </a:lnTo>
                  <a:lnTo>
                    <a:pt x="619" y="734"/>
                  </a:lnTo>
                  <a:lnTo>
                    <a:pt x="619" y="742"/>
                  </a:lnTo>
                  <a:lnTo>
                    <a:pt x="619" y="746"/>
                  </a:lnTo>
                  <a:lnTo>
                    <a:pt x="619" y="754"/>
                  </a:lnTo>
                  <a:lnTo>
                    <a:pt x="619" y="758"/>
                  </a:lnTo>
                  <a:lnTo>
                    <a:pt x="619" y="766"/>
                  </a:lnTo>
                  <a:close/>
                  <a:moveTo>
                    <a:pt x="547" y="730"/>
                  </a:moveTo>
                  <a:lnTo>
                    <a:pt x="551" y="730"/>
                  </a:lnTo>
                  <a:lnTo>
                    <a:pt x="547" y="730"/>
                  </a:lnTo>
                  <a:lnTo>
                    <a:pt x="543" y="730"/>
                  </a:lnTo>
                  <a:lnTo>
                    <a:pt x="539" y="726"/>
                  </a:lnTo>
                  <a:lnTo>
                    <a:pt x="535" y="726"/>
                  </a:lnTo>
                  <a:lnTo>
                    <a:pt x="531" y="726"/>
                  </a:lnTo>
                  <a:lnTo>
                    <a:pt x="531" y="722"/>
                  </a:lnTo>
                  <a:lnTo>
                    <a:pt x="527" y="722"/>
                  </a:lnTo>
                  <a:lnTo>
                    <a:pt x="527" y="718"/>
                  </a:lnTo>
                  <a:lnTo>
                    <a:pt x="523" y="718"/>
                  </a:lnTo>
                  <a:lnTo>
                    <a:pt x="527" y="718"/>
                  </a:lnTo>
                  <a:lnTo>
                    <a:pt x="531" y="718"/>
                  </a:lnTo>
                  <a:lnTo>
                    <a:pt x="531" y="722"/>
                  </a:lnTo>
                  <a:lnTo>
                    <a:pt x="535" y="722"/>
                  </a:lnTo>
                  <a:lnTo>
                    <a:pt x="539" y="722"/>
                  </a:lnTo>
                  <a:lnTo>
                    <a:pt x="539" y="726"/>
                  </a:lnTo>
                  <a:lnTo>
                    <a:pt x="543" y="726"/>
                  </a:lnTo>
                  <a:lnTo>
                    <a:pt x="543" y="730"/>
                  </a:lnTo>
                  <a:lnTo>
                    <a:pt x="543" y="726"/>
                  </a:lnTo>
                  <a:lnTo>
                    <a:pt x="547" y="730"/>
                  </a:lnTo>
                  <a:close/>
                  <a:moveTo>
                    <a:pt x="543" y="722"/>
                  </a:moveTo>
                  <a:lnTo>
                    <a:pt x="539" y="722"/>
                  </a:lnTo>
                  <a:lnTo>
                    <a:pt x="539" y="718"/>
                  </a:lnTo>
                  <a:lnTo>
                    <a:pt x="543" y="718"/>
                  </a:lnTo>
                  <a:lnTo>
                    <a:pt x="543" y="722"/>
                  </a:lnTo>
                  <a:lnTo>
                    <a:pt x="547" y="722"/>
                  </a:lnTo>
                  <a:lnTo>
                    <a:pt x="543" y="722"/>
                  </a:lnTo>
                  <a:close/>
                  <a:moveTo>
                    <a:pt x="535" y="730"/>
                  </a:moveTo>
                  <a:lnTo>
                    <a:pt x="531" y="730"/>
                  </a:lnTo>
                  <a:lnTo>
                    <a:pt x="535" y="730"/>
                  </a:lnTo>
                  <a:close/>
                  <a:moveTo>
                    <a:pt x="547" y="742"/>
                  </a:moveTo>
                  <a:lnTo>
                    <a:pt x="547" y="738"/>
                  </a:lnTo>
                  <a:lnTo>
                    <a:pt x="543" y="738"/>
                  </a:lnTo>
                  <a:lnTo>
                    <a:pt x="543" y="742"/>
                  </a:lnTo>
                  <a:lnTo>
                    <a:pt x="543" y="738"/>
                  </a:lnTo>
                  <a:lnTo>
                    <a:pt x="543" y="734"/>
                  </a:lnTo>
                  <a:lnTo>
                    <a:pt x="547" y="738"/>
                  </a:lnTo>
                  <a:lnTo>
                    <a:pt x="551" y="738"/>
                  </a:lnTo>
                  <a:lnTo>
                    <a:pt x="547" y="738"/>
                  </a:lnTo>
                  <a:lnTo>
                    <a:pt x="543" y="734"/>
                  </a:lnTo>
                  <a:lnTo>
                    <a:pt x="547" y="734"/>
                  </a:lnTo>
                  <a:lnTo>
                    <a:pt x="551" y="734"/>
                  </a:lnTo>
                  <a:lnTo>
                    <a:pt x="547" y="734"/>
                  </a:lnTo>
                  <a:lnTo>
                    <a:pt x="551" y="734"/>
                  </a:lnTo>
                  <a:lnTo>
                    <a:pt x="551" y="738"/>
                  </a:lnTo>
                  <a:lnTo>
                    <a:pt x="555" y="738"/>
                  </a:lnTo>
                  <a:lnTo>
                    <a:pt x="555" y="734"/>
                  </a:lnTo>
                  <a:lnTo>
                    <a:pt x="555" y="738"/>
                  </a:lnTo>
                  <a:lnTo>
                    <a:pt x="559" y="734"/>
                  </a:lnTo>
                  <a:lnTo>
                    <a:pt x="559" y="738"/>
                  </a:lnTo>
                  <a:lnTo>
                    <a:pt x="559" y="742"/>
                  </a:lnTo>
                  <a:lnTo>
                    <a:pt x="559" y="738"/>
                  </a:lnTo>
                  <a:lnTo>
                    <a:pt x="563" y="738"/>
                  </a:lnTo>
                  <a:lnTo>
                    <a:pt x="563" y="742"/>
                  </a:lnTo>
                  <a:lnTo>
                    <a:pt x="559" y="742"/>
                  </a:lnTo>
                  <a:lnTo>
                    <a:pt x="559" y="746"/>
                  </a:lnTo>
                  <a:lnTo>
                    <a:pt x="563" y="746"/>
                  </a:lnTo>
                  <a:lnTo>
                    <a:pt x="559" y="746"/>
                  </a:lnTo>
                  <a:lnTo>
                    <a:pt x="559" y="750"/>
                  </a:lnTo>
                  <a:lnTo>
                    <a:pt x="555" y="746"/>
                  </a:lnTo>
                  <a:lnTo>
                    <a:pt x="555" y="750"/>
                  </a:lnTo>
                  <a:lnTo>
                    <a:pt x="551" y="750"/>
                  </a:lnTo>
                  <a:lnTo>
                    <a:pt x="551" y="746"/>
                  </a:lnTo>
                  <a:lnTo>
                    <a:pt x="555" y="746"/>
                  </a:lnTo>
                  <a:lnTo>
                    <a:pt x="555" y="742"/>
                  </a:lnTo>
                  <a:lnTo>
                    <a:pt x="551" y="742"/>
                  </a:lnTo>
                  <a:lnTo>
                    <a:pt x="551" y="746"/>
                  </a:lnTo>
                  <a:lnTo>
                    <a:pt x="547" y="746"/>
                  </a:lnTo>
                  <a:lnTo>
                    <a:pt x="547" y="742"/>
                  </a:lnTo>
                  <a:close/>
                  <a:moveTo>
                    <a:pt x="539" y="738"/>
                  </a:moveTo>
                  <a:lnTo>
                    <a:pt x="539" y="734"/>
                  </a:lnTo>
                  <a:lnTo>
                    <a:pt x="539" y="738"/>
                  </a:lnTo>
                  <a:close/>
                  <a:moveTo>
                    <a:pt x="587" y="750"/>
                  </a:moveTo>
                  <a:lnTo>
                    <a:pt x="583" y="750"/>
                  </a:lnTo>
                  <a:lnTo>
                    <a:pt x="583" y="746"/>
                  </a:lnTo>
                  <a:lnTo>
                    <a:pt x="583" y="742"/>
                  </a:lnTo>
                  <a:lnTo>
                    <a:pt x="587" y="742"/>
                  </a:lnTo>
                  <a:lnTo>
                    <a:pt x="587" y="738"/>
                  </a:lnTo>
                  <a:lnTo>
                    <a:pt x="587" y="734"/>
                  </a:lnTo>
                  <a:lnTo>
                    <a:pt x="591" y="734"/>
                  </a:lnTo>
                  <a:lnTo>
                    <a:pt x="591" y="738"/>
                  </a:lnTo>
                  <a:lnTo>
                    <a:pt x="587" y="738"/>
                  </a:lnTo>
                  <a:lnTo>
                    <a:pt x="591" y="742"/>
                  </a:lnTo>
                  <a:lnTo>
                    <a:pt x="591" y="746"/>
                  </a:lnTo>
                  <a:lnTo>
                    <a:pt x="587" y="746"/>
                  </a:lnTo>
                  <a:lnTo>
                    <a:pt x="587" y="742"/>
                  </a:lnTo>
                  <a:lnTo>
                    <a:pt x="587" y="746"/>
                  </a:lnTo>
                  <a:lnTo>
                    <a:pt x="587" y="750"/>
                  </a:lnTo>
                  <a:close/>
                  <a:moveTo>
                    <a:pt x="571" y="746"/>
                  </a:moveTo>
                  <a:lnTo>
                    <a:pt x="571" y="750"/>
                  </a:lnTo>
                  <a:lnTo>
                    <a:pt x="567" y="750"/>
                  </a:lnTo>
                  <a:lnTo>
                    <a:pt x="567" y="746"/>
                  </a:lnTo>
                  <a:lnTo>
                    <a:pt x="567" y="750"/>
                  </a:lnTo>
                  <a:lnTo>
                    <a:pt x="571" y="750"/>
                  </a:lnTo>
                  <a:lnTo>
                    <a:pt x="567" y="754"/>
                  </a:lnTo>
                  <a:lnTo>
                    <a:pt x="567" y="750"/>
                  </a:lnTo>
                  <a:lnTo>
                    <a:pt x="563" y="750"/>
                  </a:lnTo>
                  <a:lnTo>
                    <a:pt x="563" y="746"/>
                  </a:lnTo>
                  <a:lnTo>
                    <a:pt x="567" y="746"/>
                  </a:lnTo>
                  <a:lnTo>
                    <a:pt x="567" y="742"/>
                  </a:lnTo>
                  <a:lnTo>
                    <a:pt x="571" y="742"/>
                  </a:lnTo>
                  <a:lnTo>
                    <a:pt x="571" y="746"/>
                  </a:lnTo>
                  <a:close/>
                  <a:moveTo>
                    <a:pt x="575" y="746"/>
                  </a:moveTo>
                  <a:lnTo>
                    <a:pt x="579" y="746"/>
                  </a:lnTo>
                  <a:lnTo>
                    <a:pt x="583" y="750"/>
                  </a:lnTo>
                  <a:lnTo>
                    <a:pt x="583" y="754"/>
                  </a:lnTo>
                  <a:lnTo>
                    <a:pt x="579" y="754"/>
                  </a:lnTo>
                  <a:lnTo>
                    <a:pt x="575" y="754"/>
                  </a:lnTo>
                  <a:lnTo>
                    <a:pt x="575" y="750"/>
                  </a:lnTo>
                  <a:lnTo>
                    <a:pt x="571" y="750"/>
                  </a:lnTo>
                  <a:lnTo>
                    <a:pt x="571" y="746"/>
                  </a:lnTo>
                  <a:lnTo>
                    <a:pt x="575" y="746"/>
                  </a:lnTo>
                  <a:close/>
                  <a:moveTo>
                    <a:pt x="547" y="750"/>
                  </a:moveTo>
                  <a:lnTo>
                    <a:pt x="543" y="746"/>
                  </a:lnTo>
                  <a:lnTo>
                    <a:pt x="547" y="746"/>
                  </a:lnTo>
                  <a:lnTo>
                    <a:pt x="547" y="750"/>
                  </a:lnTo>
                  <a:close/>
                  <a:moveTo>
                    <a:pt x="591" y="750"/>
                  </a:moveTo>
                  <a:lnTo>
                    <a:pt x="587" y="746"/>
                  </a:lnTo>
                  <a:lnTo>
                    <a:pt x="591" y="746"/>
                  </a:lnTo>
                  <a:lnTo>
                    <a:pt x="591" y="750"/>
                  </a:lnTo>
                  <a:close/>
                  <a:moveTo>
                    <a:pt x="563" y="746"/>
                  </a:moveTo>
                  <a:lnTo>
                    <a:pt x="563" y="750"/>
                  </a:lnTo>
                  <a:lnTo>
                    <a:pt x="559" y="750"/>
                  </a:lnTo>
                  <a:lnTo>
                    <a:pt x="559" y="746"/>
                  </a:lnTo>
                  <a:lnTo>
                    <a:pt x="563" y="746"/>
                  </a:lnTo>
                  <a:close/>
                  <a:moveTo>
                    <a:pt x="559" y="754"/>
                  </a:moveTo>
                  <a:lnTo>
                    <a:pt x="563" y="754"/>
                  </a:lnTo>
                  <a:lnTo>
                    <a:pt x="559" y="754"/>
                  </a:lnTo>
                  <a:close/>
                  <a:moveTo>
                    <a:pt x="579" y="766"/>
                  </a:moveTo>
                  <a:lnTo>
                    <a:pt x="575" y="766"/>
                  </a:lnTo>
                  <a:lnTo>
                    <a:pt x="579" y="766"/>
                  </a:lnTo>
                  <a:lnTo>
                    <a:pt x="583" y="766"/>
                  </a:lnTo>
                  <a:lnTo>
                    <a:pt x="579" y="766"/>
                  </a:lnTo>
                  <a:close/>
                  <a:moveTo>
                    <a:pt x="591" y="766"/>
                  </a:moveTo>
                  <a:lnTo>
                    <a:pt x="587" y="766"/>
                  </a:lnTo>
                  <a:lnTo>
                    <a:pt x="591" y="766"/>
                  </a:lnTo>
                  <a:close/>
                  <a:moveTo>
                    <a:pt x="599" y="770"/>
                  </a:moveTo>
                  <a:lnTo>
                    <a:pt x="599" y="766"/>
                  </a:lnTo>
                  <a:lnTo>
                    <a:pt x="603" y="766"/>
                  </a:lnTo>
                  <a:lnTo>
                    <a:pt x="607" y="766"/>
                  </a:lnTo>
                  <a:lnTo>
                    <a:pt x="611" y="770"/>
                  </a:lnTo>
                  <a:lnTo>
                    <a:pt x="607" y="770"/>
                  </a:lnTo>
                  <a:lnTo>
                    <a:pt x="603" y="770"/>
                  </a:lnTo>
                  <a:lnTo>
                    <a:pt x="599" y="770"/>
                  </a:lnTo>
                  <a:close/>
                  <a:moveTo>
                    <a:pt x="591" y="766"/>
                  </a:moveTo>
                  <a:lnTo>
                    <a:pt x="587" y="766"/>
                  </a:lnTo>
                  <a:lnTo>
                    <a:pt x="587" y="770"/>
                  </a:lnTo>
                  <a:lnTo>
                    <a:pt x="591" y="770"/>
                  </a:lnTo>
                  <a:lnTo>
                    <a:pt x="591" y="774"/>
                  </a:lnTo>
                  <a:lnTo>
                    <a:pt x="591" y="770"/>
                  </a:lnTo>
                  <a:lnTo>
                    <a:pt x="591" y="774"/>
                  </a:lnTo>
                  <a:lnTo>
                    <a:pt x="587" y="774"/>
                  </a:lnTo>
                  <a:lnTo>
                    <a:pt x="587" y="770"/>
                  </a:lnTo>
                  <a:lnTo>
                    <a:pt x="587" y="774"/>
                  </a:lnTo>
                  <a:lnTo>
                    <a:pt x="587" y="770"/>
                  </a:lnTo>
                  <a:lnTo>
                    <a:pt x="583" y="770"/>
                  </a:lnTo>
                  <a:lnTo>
                    <a:pt x="583" y="766"/>
                  </a:lnTo>
                  <a:lnTo>
                    <a:pt x="587" y="770"/>
                  </a:lnTo>
                  <a:lnTo>
                    <a:pt x="587" y="766"/>
                  </a:lnTo>
                  <a:lnTo>
                    <a:pt x="591" y="766"/>
                  </a:lnTo>
                  <a:close/>
                  <a:moveTo>
                    <a:pt x="627" y="766"/>
                  </a:moveTo>
                  <a:lnTo>
                    <a:pt x="631" y="766"/>
                  </a:lnTo>
                  <a:lnTo>
                    <a:pt x="635" y="766"/>
                  </a:lnTo>
                  <a:lnTo>
                    <a:pt x="639" y="766"/>
                  </a:lnTo>
                  <a:lnTo>
                    <a:pt x="639" y="770"/>
                  </a:lnTo>
                  <a:lnTo>
                    <a:pt x="643" y="770"/>
                  </a:lnTo>
                  <a:lnTo>
                    <a:pt x="643" y="774"/>
                  </a:lnTo>
                  <a:lnTo>
                    <a:pt x="639" y="774"/>
                  </a:lnTo>
                  <a:lnTo>
                    <a:pt x="639" y="778"/>
                  </a:lnTo>
                  <a:lnTo>
                    <a:pt x="635" y="774"/>
                  </a:lnTo>
                  <a:lnTo>
                    <a:pt x="631" y="774"/>
                  </a:lnTo>
                  <a:lnTo>
                    <a:pt x="627" y="774"/>
                  </a:lnTo>
                  <a:lnTo>
                    <a:pt x="631" y="774"/>
                  </a:lnTo>
                  <a:lnTo>
                    <a:pt x="627" y="774"/>
                  </a:lnTo>
                  <a:lnTo>
                    <a:pt x="623" y="774"/>
                  </a:lnTo>
                  <a:lnTo>
                    <a:pt x="623" y="770"/>
                  </a:lnTo>
                  <a:lnTo>
                    <a:pt x="623" y="766"/>
                  </a:lnTo>
                  <a:lnTo>
                    <a:pt x="627" y="766"/>
                  </a:lnTo>
                  <a:close/>
                  <a:moveTo>
                    <a:pt x="595" y="770"/>
                  </a:moveTo>
                  <a:lnTo>
                    <a:pt x="595" y="766"/>
                  </a:lnTo>
                  <a:lnTo>
                    <a:pt x="595" y="770"/>
                  </a:lnTo>
                  <a:close/>
                  <a:moveTo>
                    <a:pt x="627" y="786"/>
                  </a:moveTo>
                  <a:lnTo>
                    <a:pt x="623" y="786"/>
                  </a:lnTo>
                  <a:lnTo>
                    <a:pt x="623" y="782"/>
                  </a:lnTo>
                  <a:lnTo>
                    <a:pt x="619" y="782"/>
                  </a:lnTo>
                  <a:lnTo>
                    <a:pt x="619" y="778"/>
                  </a:lnTo>
                  <a:lnTo>
                    <a:pt x="615" y="778"/>
                  </a:lnTo>
                  <a:lnTo>
                    <a:pt x="615" y="782"/>
                  </a:lnTo>
                  <a:lnTo>
                    <a:pt x="611" y="778"/>
                  </a:lnTo>
                  <a:lnTo>
                    <a:pt x="615" y="778"/>
                  </a:lnTo>
                  <a:lnTo>
                    <a:pt x="611" y="778"/>
                  </a:lnTo>
                  <a:lnTo>
                    <a:pt x="615" y="774"/>
                  </a:lnTo>
                  <a:lnTo>
                    <a:pt x="611" y="774"/>
                  </a:lnTo>
                  <a:lnTo>
                    <a:pt x="607" y="774"/>
                  </a:lnTo>
                  <a:lnTo>
                    <a:pt x="607" y="778"/>
                  </a:lnTo>
                  <a:lnTo>
                    <a:pt x="611" y="778"/>
                  </a:lnTo>
                  <a:lnTo>
                    <a:pt x="611" y="782"/>
                  </a:lnTo>
                  <a:lnTo>
                    <a:pt x="607" y="782"/>
                  </a:lnTo>
                  <a:lnTo>
                    <a:pt x="603" y="778"/>
                  </a:lnTo>
                  <a:lnTo>
                    <a:pt x="607" y="778"/>
                  </a:lnTo>
                  <a:lnTo>
                    <a:pt x="603" y="778"/>
                  </a:lnTo>
                  <a:lnTo>
                    <a:pt x="599" y="778"/>
                  </a:lnTo>
                  <a:lnTo>
                    <a:pt x="603" y="774"/>
                  </a:lnTo>
                  <a:lnTo>
                    <a:pt x="599" y="774"/>
                  </a:lnTo>
                  <a:lnTo>
                    <a:pt x="595" y="774"/>
                  </a:lnTo>
                  <a:lnTo>
                    <a:pt x="599" y="770"/>
                  </a:lnTo>
                  <a:lnTo>
                    <a:pt x="603" y="770"/>
                  </a:lnTo>
                  <a:lnTo>
                    <a:pt x="607" y="770"/>
                  </a:lnTo>
                  <a:lnTo>
                    <a:pt x="611" y="770"/>
                  </a:lnTo>
                  <a:lnTo>
                    <a:pt x="615" y="770"/>
                  </a:lnTo>
                  <a:lnTo>
                    <a:pt x="615" y="766"/>
                  </a:lnTo>
                  <a:lnTo>
                    <a:pt x="619" y="766"/>
                  </a:lnTo>
                  <a:lnTo>
                    <a:pt x="623" y="770"/>
                  </a:lnTo>
                  <a:lnTo>
                    <a:pt x="619" y="774"/>
                  </a:lnTo>
                  <a:lnTo>
                    <a:pt x="615" y="774"/>
                  </a:lnTo>
                  <a:lnTo>
                    <a:pt x="615" y="770"/>
                  </a:lnTo>
                  <a:lnTo>
                    <a:pt x="611" y="770"/>
                  </a:lnTo>
                  <a:lnTo>
                    <a:pt x="615" y="774"/>
                  </a:lnTo>
                  <a:lnTo>
                    <a:pt x="619" y="774"/>
                  </a:lnTo>
                  <a:lnTo>
                    <a:pt x="623" y="774"/>
                  </a:lnTo>
                  <a:lnTo>
                    <a:pt x="619" y="778"/>
                  </a:lnTo>
                  <a:lnTo>
                    <a:pt x="619" y="774"/>
                  </a:lnTo>
                  <a:lnTo>
                    <a:pt x="615" y="774"/>
                  </a:lnTo>
                  <a:lnTo>
                    <a:pt x="619" y="778"/>
                  </a:lnTo>
                  <a:lnTo>
                    <a:pt x="623" y="778"/>
                  </a:lnTo>
                  <a:lnTo>
                    <a:pt x="623" y="782"/>
                  </a:lnTo>
                  <a:lnTo>
                    <a:pt x="627" y="778"/>
                  </a:lnTo>
                  <a:lnTo>
                    <a:pt x="627" y="782"/>
                  </a:lnTo>
                  <a:lnTo>
                    <a:pt x="627" y="786"/>
                  </a:lnTo>
                  <a:close/>
                  <a:moveTo>
                    <a:pt x="643" y="770"/>
                  </a:moveTo>
                  <a:lnTo>
                    <a:pt x="639" y="770"/>
                  </a:lnTo>
                  <a:lnTo>
                    <a:pt x="643" y="770"/>
                  </a:lnTo>
                  <a:close/>
                  <a:moveTo>
                    <a:pt x="647" y="774"/>
                  </a:moveTo>
                  <a:lnTo>
                    <a:pt x="651" y="774"/>
                  </a:lnTo>
                  <a:lnTo>
                    <a:pt x="647" y="774"/>
                  </a:lnTo>
                  <a:close/>
                  <a:moveTo>
                    <a:pt x="643" y="774"/>
                  </a:moveTo>
                  <a:lnTo>
                    <a:pt x="643" y="778"/>
                  </a:lnTo>
                  <a:lnTo>
                    <a:pt x="639" y="774"/>
                  </a:lnTo>
                  <a:lnTo>
                    <a:pt x="643" y="774"/>
                  </a:lnTo>
                  <a:close/>
                  <a:moveTo>
                    <a:pt x="631" y="782"/>
                  </a:moveTo>
                  <a:lnTo>
                    <a:pt x="635" y="782"/>
                  </a:lnTo>
                  <a:lnTo>
                    <a:pt x="631" y="782"/>
                  </a:lnTo>
                  <a:close/>
                  <a:moveTo>
                    <a:pt x="635" y="786"/>
                  </a:moveTo>
                  <a:lnTo>
                    <a:pt x="635" y="782"/>
                  </a:lnTo>
                  <a:lnTo>
                    <a:pt x="639" y="786"/>
                  </a:lnTo>
                  <a:lnTo>
                    <a:pt x="635" y="786"/>
                  </a:lnTo>
                  <a:close/>
                  <a:moveTo>
                    <a:pt x="631" y="790"/>
                  </a:moveTo>
                  <a:lnTo>
                    <a:pt x="635" y="790"/>
                  </a:lnTo>
                  <a:lnTo>
                    <a:pt x="635" y="786"/>
                  </a:lnTo>
                  <a:lnTo>
                    <a:pt x="635" y="790"/>
                  </a:lnTo>
                  <a:lnTo>
                    <a:pt x="631" y="790"/>
                  </a:lnTo>
                  <a:close/>
                  <a:moveTo>
                    <a:pt x="639" y="790"/>
                  </a:moveTo>
                  <a:lnTo>
                    <a:pt x="635" y="790"/>
                  </a:lnTo>
                  <a:lnTo>
                    <a:pt x="639" y="79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5" name="Freeform 183"/>
            <p:cNvSpPr>
              <a:spLocks noEditPoints="1"/>
            </p:cNvSpPr>
            <p:nvPr>
              <p:custDataLst>
                <p:tags r:id="rId377"/>
              </p:custDataLst>
            </p:nvPr>
          </p:nvSpPr>
          <p:spPr bwMode="gray">
            <a:xfrm>
              <a:off x="7540919" y="4634514"/>
              <a:ext cx="336655" cy="277332"/>
            </a:xfrm>
            <a:custGeom>
              <a:avLst/>
              <a:gdLst/>
              <a:ahLst/>
              <a:cxnLst>
                <a:cxn ang="0">
                  <a:pos x="95" y="12"/>
                </a:cxn>
                <a:cxn ang="0">
                  <a:pos x="83" y="16"/>
                </a:cxn>
                <a:cxn ang="0">
                  <a:pos x="139" y="24"/>
                </a:cxn>
                <a:cxn ang="0">
                  <a:pos x="179" y="43"/>
                </a:cxn>
                <a:cxn ang="0">
                  <a:pos x="179" y="59"/>
                </a:cxn>
                <a:cxn ang="0">
                  <a:pos x="167" y="35"/>
                </a:cxn>
                <a:cxn ang="0">
                  <a:pos x="151" y="24"/>
                </a:cxn>
                <a:cxn ang="0">
                  <a:pos x="155" y="28"/>
                </a:cxn>
                <a:cxn ang="0">
                  <a:pos x="175" y="39"/>
                </a:cxn>
                <a:cxn ang="0">
                  <a:pos x="71" y="119"/>
                </a:cxn>
                <a:cxn ang="0">
                  <a:pos x="56" y="115"/>
                </a:cxn>
                <a:cxn ang="0">
                  <a:pos x="44" y="111"/>
                </a:cxn>
                <a:cxn ang="0">
                  <a:pos x="40" y="119"/>
                </a:cxn>
                <a:cxn ang="0">
                  <a:pos x="24" y="127"/>
                </a:cxn>
                <a:cxn ang="0">
                  <a:pos x="28" y="127"/>
                </a:cxn>
                <a:cxn ang="0">
                  <a:pos x="28" y="143"/>
                </a:cxn>
                <a:cxn ang="0">
                  <a:pos x="4" y="143"/>
                </a:cxn>
                <a:cxn ang="0">
                  <a:pos x="0" y="63"/>
                </a:cxn>
                <a:cxn ang="0">
                  <a:pos x="16" y="31"/>
                </a:cxn>
                <a:cxn ang="0">
                  <a:pos x="40" y="39"/>
                </a:cxn>
                <a:cxn ang="0">
                  <a:pos x="59" y="47"/>
                </a:cxn>
                <a:cxn ang="0">
                  <a:pos x="71" y="67"/>
                </a:cxn>
                <a:cxn ang="0">
                  <a:pos x="87" y="79"/>
                </a:cxn>
                <a:cxn ang="0">
                  <a:pos x="103" y="91"/>
                </a:cxn>
                <a:cxn ang="0">
                  <a:pos x="91" y="107"/>
                </a:cxn>
                <a:cxn ang="0">
                  <a:pos x="107" y="119"/>
                </a:cxn>
                <a:cxn ang="0">
                  <a:pos x="115" y="139"/>
                </a:cxn>
                <a:cxn ang="0">
                  <a:pos x="127" y="147"/>
                </a:cxn>
                <a:cxn ang="0">
                  <a:pos x="139" y="159"/>
                </a:cxn>
                <a:cxn ang="0">
                  <a:pos x="147" y="163"/>
                </a:cxn>
                <a:cxn ang="0">
                  <a:pos x="139" y="167"/>
                </a:cxn>
                <a:cxn ang="0">
                  <a:pos x="123" y="163"/>
                </a:cxn>
                <a:cxn ang="0">
                  <a:pos x="99" y="151"/>
                </a:cxn>
                <a:cxn ang="0">
                  <a:pos x="91" y="139"/>
                </a:cxn>
                <a:cxn ang="0">
                  <a:pos x="151" y="28"/>
                </a:cxn>
                <a:cxn ang="0">
                  <a:pos x="131" y="75"/>
                </a:cxn>
                <a:cxn ang="0">
                  <a:pos x="135" y="71"/>
                </a:cxn>
                <a:cxn ang="0">
                  <a:pos x="151" y="71"/>
                </a:cxn>
                <a:cxn ang="0">
                  <a:pos x="159" y="51"/>
                </a:cxn>
                <a:cxn ang="0">
                  <a:pos x="171" y="59"/>
                </a:cxn>
                <a:cxn ang="0">
                  <a:pos x="159" y="75"/>
                </a:cxn>
                <a:cxn ang="0">
                  <a:pos x="143" y="87"/>
                </a:cxn>
                <a:cxn ang="0">
                  <a:pos x="123" y="83"/>
                </a:cxn>
                <a:cxn ang="0">
                  <a:pos x="111" y="75"/>
                </a:cxn>
                <a:cxn ang="0">
                  <a:pos x="207" y="75"/>
                </a:cxn>
                <a:cxn ang="0">
                  <a:pos x="207" y="75"/>
                </a:cxn>
                <a:cxn ang="0">
                  <a:pos x="223" y="87"/>
                </a:cxn>
                <a:cxn ang="0">
                  <a:pos x="215" y="95"/>
                </a:cxn>
                <a:cxn ang="0">
                  <a:pos x="207" y="75"/>
                </a:cxn>
                <a:cxn ang="0">
                  <a:pos x="107" y="75"/>
                </a:cxn>
                <a:cxn ang="0">
                  <a:pos x="36" y="131"/>
                </a:cxn>
                <a:cxn ang="0">
                  <a:pos x="155" y="135"/>
                </a:cxn>
                <a:cxn ang="0">
                  <a:pos x="179" y="143"/>
                </a:cxn>
                <a:cxn ang="0">
                  <a:pos x="36" y="143"/>
                </a:cxn>
                <a:cxn ang="0">
                  <a:pos x="147" y="151"/>
                </a:cxn>
                <a:cxn ang="0">
                  <a:pos x="151" y="151"/>
                </a:cxn>
                <a:cxn ang="0">
                  <a:pos x="151" y="155"/>
                </a:cxn>
                <a:cxn ang="0">
                  <a:pos x="151" y="167"/>
                </a:cxn>
                <a:cxn ang="0">
                  <a:pos x="195" y="183"/>
                </a:cxn>
                <a:cxn ang="0">
                  <a:pos x="187" y="187"/>
                </a:cxn>
                <a:cxn ang="0">
                  <a:pos x="191" y="187"/>
                </a:cxn>
              </a:cxnLst>
              <a:rect l="0" t="0" r="r" b="b"/>
              <a:pathLst>
                <a:path w="227" h="187">
                  <a:moveTo>
                    <a:pt x="131" y="4"/>
                  </a:moveTo>
                  <a:lnTo>
                    <a:pt x="131" y="0"/>
                  </a:lnTo>
                  <a:lnTo>
                    <a:pt x="127" y="0"/>
                  </a:lnTo>
                  <a:lnTo>
                    <a:pt x="131" y="0"/>
                  </a:lnTo>
                  <a:lnTo>
                    <a:pt x="131" y="4"/>
                  </a:lnTo>
                  <a:close/>
                  <a:moveTo>
                    <a:pt x="95" y="8"/>
                  </a:moveTo>
                  <a:lnTo>
                    <a:pt x="95" y="12"/>
                  </a:lnTo>
                  <a:lnTo>
                    <a:pt x="99" y="12"/>
                  </a:lnTo>
                  <a:lnTo>
                    <a:pt x="95" y="12"/>
                  </a:lnTo>
                  <a:lnTo>
                    <a:pt x="95" y="16"/>
                  </a:lnTo>
                  <a:lnTo>
                    <a:pt x="91" y="16"/>
                  </a:lnTo>
                  <a:lnTo>
                    <a:pt x="87" y="16"/>
                  </a:lnTo>
                  <a:lnTo>
                    <a:pt x="87" y="12"/>
                  </a:lnTo>
                  <a:lnTo>
                    <a:pt x="83" y="16"/>
                  </a:lnTo>
                  <a:lnTo>
                    <a:pt x="83" y="12"/>
                  </a:lnTo>
                  <a:lnTo>
                    <a:pt x="87" y="8"/>
                  </a:lnTo>
                  <a:lnTo>
                    <a:pt x="91" y="12"/>
                  </a:lnTo>
                  <a:lnTo>
                    <a:pt x="95" y="12"/>
                  </a:lnTo>
                  <a:lnTo>
                    <a:pt x="95" y="8"/>
                  </a:lnTo>
                  <a:close/>
                  <a:moveTo>
                    <a:pt x="143" y="24"/>
                  </a:moveTo>
                  <a:lnTo>
                    <a:pt x="139" y="24"/>
                  </a:lnTo>
                  <a:lnTo>
                    <a:pt x="135" y="20"/>
                  </a:lnTo>
                  <a:lnTo>
                    <a:pt x="139" y="20"/>
                  </a:lnTo>
                  <a:lnTo>
                    <a:pt x="139" y="16"/>
                  </a:lnTo>
                  <a:lnTo>
                    <a:pt x="143" y="20"/>
                  </a:lnTo>
                  <a:lnTo>
                    <a:pt x="143" y="24"/>
                  </a:lnTo>
                  <a:close/>
                  <a:moveTo>
                    <a:pt x="175" y="43"/>
                  </a:moveTo>
                  <a:lnTo>
                    <a:pt x="179" y="43"/>
                  </a:lnTo>
                  <a:lnTo>
                    <a:pt x="179" y="47"/>
                  </a:lnTo>
                  <a:lnTo>
                    <a:pt x="183" y="47"/>
                  </a:lnTo>
                  <a:lnTo>
                    <a:pt x="183" y="51"/>
                  </a:lnTo>
                  <a:lnTo>
                    <a:pt x="183" y="55"/>
                  </a:lnTo>
                  <a:lnTo>
                    <a:pt x="183" y="59"/>
                  </a:lnTo>
                  <a:lnTo>
                    <a:pt x="179" y="63"/>
                  </a:lnTo>
                  <a:lnTo>
                    <a:pt x="179" y="59"/>
                  </a:lnTo>
                  <a:lnTo>
                    <a:pt x="175" y="55"/>
                  </a:lnTo>
                  <a:lnTo>
                    <a:pt x="175" y="51"/>
                  </a:lnTo>
                  <a:lnTo>
                    <a:pt x="175" y="47"/>
                  </a:lnTo>
                  <a:lnTo>
                    <a:pt x="175" y="43"/>
                  </a:lnTo>
                  <a:lnTo>
                    <a:pt x="171" y="43"/>
                  </a:lnTo>
                  <a:lnTo>
                    <a:pt x="171" y="39"/>
                  </a:lnTo>
                  <a:lnTo>
                    <a:pt x="167" y="35"/>
                  </a:lnTo>
                  <a:lnTo>
                    <a:pt x="163" y="35"/>
                  </a:lnTo>
                  <a:lnTo>
                    <a:pt x="163" y="31"/>
                  </a:lnTo>
                  <a:lnTo>
                    <a:pt x="159" y="31"/>
                  </a:lnTo>
                  <a:lnTo>
                    <a:pt x="159" y="28"/>
                  </a:lnTo>
                  <a:lnTo>
                    <a:pt x="155" y="28"/>
                  </a:lnTo>
                  <a:lnTo>
                    <a:pt x="151" y="28"/>
                  </a:lnTo>
                  <a:lnTo>
                    <a:pt x="151" y="24"/>
                  </a:lnTo>
                  <a:lnTo>
                    <a:pt x="147" y="24"/>
                  </a:lnTo>
                  <a:lnTo>
                    <a:pt x="151" y="24"/>
                  </a:lnTo>
                  <a:lnTo>
                    <a:pt x="147" y="24"/>
                  </a:lnTo>
                  <a:lnTo>
                    <a:pt x="147" y="20"/>
                  </a:lnTo>
                  <a:lnTo>
                    <a:pt x="151" y="24"/>
                  </a:lnTo>
                  <a:lnTo>
                    <a:pt x="155" y="24"/>
                  </a:lnTo>
                  <a:lnTo>
                    <a:pt x="155" y="28"/>
                  </a:lnTo>
                  <a:lnTo>
                    <a:pt x="159" y="28"/>
                  </a:lnTo>
                  <a:lnTo>
                    <a:pt x="163" y="31"/>
                  </a:lnTo>
                  <a:lnTo>
                    <a:pt x="167" y="31"/>
                  </a:lnTo>
                  <a:lnTo>
                    <a:pt x="167" y="35"/>
                  </a:lnTo>
                  <a:lnTo>
                    <a:pt x="171" y="35"/>
                  </a:lnTo>
                  <a:lnTo>
                    <a:pt x="171" y="39"/>
                  </a:lnTo>
                  <a:lnTo>
                    <a:pt x="175" y="39"/>
                  </a:lnTo>
                  <a:lnTo>
                    <a:pt x="175" y="43"/>
                  </a:lnTo>
                  <a:close/>
                  <a:moveTo>
                    <a:pt x="79" y="131"/>
                  </a:moveTo>
                  <a:lnTo>
                    <a:pt x="79" y="127"/>
                  </a:lnTo>
                  <a:lnTo>
                    <a:pt x="79" y="123"/>
                  </a:lnTo>
                  <a:lnTo>
                    <a:pt x="75" y="123"/>
                  </a:lnTo>
                  <a:lnTo>
                    <a:pt x="75" y="119"/>
                  </a:lnTo>
                  <a:lnTo>
                    <a:pt x="71" y="119"/>
                  </a:lnTo>
                  <a:lnTo>
                    <a:pt x="67" y="119"/>
                  </a:lnTo>
                  <a:lnTo>
                    <a:pt x="63" y="119"/>
                  </a:lnTo>
                  <a:lnTo>
                    <a:pt x="63" y="115"/>
                  </a:lnTo>
                  <a:lnTo>
                    <a:pt x="59" y="115"/>
                  </a:lnTo>
                  <a:lnTo>
                    <a:pt x="59" y="111"/>
                  </a:lnTo>
                  <a:lnTo>
                    <a:pt x="59" y="115"/>
                  </a:lnTo>
                  <a:lnTo>
                    <a:pt x="56" y="115"/>
                  </a:lnTo>
                  <a:lnTo>
                    <a:pt x="56" y="111"/>
                  </a:lnTo>
                  <a:lnTo>
                    <a:pt x="52" y="111"/>
                  </a:lnTo>
                  <a:lnTo>
                    <a:pt x="52" y="115"/>
                  </a:lnTo>
                  <a:lnTo>
                    <a:pt x="52" y="111"/>
                  </a:lnTo>
                  <a:lnTo>
                    <a:pt x="48" y="115"/>
                  </a:lnTo>
                  <a:lnTo>
                    <a:pt x="44" y="115"/>
                  </a:lnTo>
                  <a:lnTo>
                    <a:pt x="44" y="111"/>
                  </a:lnTo>
                  <a:lnTo>
                    <a:pt x="40" y="111"/>
                  </a:lnTo>
                  <a:lnTo>
                    <a:pt x="44" y="111"/>
                  </a:lnTo>
                  <a:lnTo>
                    <a:pt x="44" y="115"/>
                  </a:lnTo>
                  <a:lnTo>
                    <a:pt x="44" y="119"/>
                  </a:lnTo>
                  <a:lnTo>
                    <a:pt x="40" y="119"/>
                  </a:lnTo>
                  <a:lnTo>
                    <a:pt x="36" y="119"/>
                  </a:lnTo>
                  <a:lnTo>
                    <a:pt x="40" y="119"/>
                  </a:lnTo>
                  <a:lnTo>
                    <a:pt x="40" y="123"/>
                  </a:lnTo>
                  <a:lnTo>
                    <a:pt x="36" y="123"/>
                  </a:lnTo>
                  <a:lnTo>
                    <a:pt x="32" y="127"/>
                  </a:lnTo>
                  <a:lnTo>
                    <a:pt x="28" y="127"/>
                  </a:lnTo>
                  <a:lnTo>
                    <a:pt x="28" y="123"/>
                  </a:lnTo>
                  <a:lnTo>
                    <a:pt x="24" y="123"/>
                  </a:lnTo>
                  <a:lnTo>
                    <a:pt x="24" y="127"/>
                  </a:lnTo>
                  <a:lnTo>
                    <a:pt x="20" y="127"/>
                  </a:lnTo>
                  <a:lnTo>
                    <a:pt x="20" y="123"/>
                  </a:lnTo>
                  <a:lnTo>
                    <a:pt x="16" y="123"/>
                  </a:lnTo>
                  <a:lnTo>
                    <a:pt x="20" y="123"/>
                  </a:lnTo>
                  <a:lnTo>
                    <a:pt x="20" y="127"/>
                  </a:lnTo>
                  <a:lnTo>
                    <a:pt x="24" y="127"/>
                  </a:lnTo>
                  <a:lnTo>
                    <a:pt x="28" y="127"/>
                  </a:lnTo>
                  <a:lnTo>
                    <a:pt x="32" y="127"/>
                  </a:lnTo>
                  <a:lnTo>
                    <a:pt x="32" y="131"/>
                  </a:lnTo>
                  <a:lnTo>
                    <a:pt x="36" y="131"/>
                  </a:lnTo>
                  <a:lnTo>
                    <a:pt x="36" y="135"/>
                  </a:lnTo>
                  <a:lnTo>
                    <a:pt x="36" y="139"/>
                  </a:lnTo>
                  <a:lnTo>
                    <a:pt x="32" y="139"/>
                  </a:lnTo>
                  <a:lnTo>
                    <a:pt x="28" y="143"/>
                  </a:lnTo>
                  <a:lnTo>
                    <a:pt x="24" y="143"/>
                  </a:lnTo>
                  <a:lnTo>
                    <a:pt x="20" y="143"/>
                  </a:lnTo>
                  <a:lnTo>
                    <a:pt x="16" y="143"/>
                  </a:lnTo>
                  <a:lnTo>
                    <a:pt x="12" y="143"/>
                  </a:lnTo>
                  <a:lnTo>
                    <a:pt x="8" y="143"/>
                  </a:lnTo>
                  <a:lnTo>
                    <a:pt x="8" y="139"/>
                  </a:lnTo>
                  <a:lnTo>
                    <a:pt x="4" y="143"/>
                  </a:lnTo>
                  <a:lnTo>
                    <a:pt x="0" y="143"/>
                  </a:lnTo>
                  <a:lnTo>
                    <a:pt x="0" y="139"/>
                  </a:lnTo>
                  <a:lnTo>
                    <a:pt x="0" y="99"/>
                  </a:lnTo>
                  <a:lnTo>
                    <a:pt x="0" y="95"/>
                  </a:lnTo>
                  <a:lnTo>
                    <a:pt x="0" y="91"/>
                  </a:lnTo>
                  <a:lnTo>
                    <a:pt x="0" y="83"/>
                  </a:lnTo>
                  <a:lnTo>
                    <a:pt x="0" y="63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31"/>
                  </a:lnTo>
                  <a:lnTo>
                    <a:pt x="20" y="31"/>
                  </a:lnTo>
                  <a:lnTo>
                    <a:pt x="24" y="31"/>
                  </a:lnTo>
                  <a:lnTo>
                    <a:pt x="28" y="35"/>
                  </a:lnTo>
                  <a:lnTo>
                    <a:pt x="32" y="35"/>
                  </a:lnTo>
                  <a:lnTo>
                    <a:pt x="36" y="35"/>
                  </a:lnTo>
                  <a:lnTo>
                    <a:pt x="40" y="35"/>
                  </a:lnTo>
                  <a:lnTo>
                    <a:pt x="40" y="39"/>
                  </a:lnTo>
                  <a:lnTo>
                    <a:pt x="44" y="39"/>
                  </a:lnTo>
                  <a:lnTo>
                    <a:pt x="44" y="43"/>
                  </a:lnTo>
                  <a:lnTo>
                    <a:pt x="48" y="43"/>
                  </a:lnTo>
                  <a:lnTo>
                    <a:pt x="52" y="43"/>
                  </a:lnTo>
                  <a:lnTo>
                    <a:pt x="56" y="43"/>
                  </a:lnTo>
                  <a:lnTo>
                    <a:pt x="56" y="47"/>
                  </a:lnTo>
                  <a:lnTo>
                    <a:pt x="59" y="47"/>
                  </a:lnTo>
                  <a:lnTo>
                    <a:pt x="59" y="51"/>
                  </a:lnTo>
                  <a:lnTo>
                    <a:pt x="63" y="55"/>
                  </a:lnTo>
                  <a:lnTo>
                    <a:pt x="67" y="55"/>
                  </a:lnTo>
                  <a:lnTo>
                    <a:pt x="67" y="59"/>
                  </a:lnTo>
                  <a:lnTo>
                    <a:pt x="71" y="59"/>
                  </a:lnTo>
                  <a:lnTo>
                    <a:pt x="71" y="63"/>
                  </a:lnTo>
                  <a:lnTo>
                    <a:pt x="71" y="67"/>
                  </a:lnTo>
                  <a:lnTo>
                    <a:pt x="71" y="71"/>
                  </a:lnTo>
                  <a:lnTo>
                    <a:pt x="71" y="75"/>
                  </a:lnTo>
                  <a:lnTo>
                    <a:pt x="75" y="75"/>
                  </a:lnTo>
                  <a:lnTo>
                    <a:pt x="79" y="75"/>
                  </a:lnTo>
                  <a:lnTo>
                    <a:pt x="83" y="75"/>
                  </a:lnTo>
                  <a:lnTo>
                    <a:pt x="83" y="79"/>
                  </a:lnTo>
                  <a:lnTo>
                    <a:pt x="87" y="79"/>
                  </a:lnTo>
                  <a:lnTo>
                    <a:pt x="91" y="79"/>
                  </a:lnTo>
                  <a:lnTo>
                    <a:pt x="91" y="83"/>
                  </a:lnTo>
                  <a:lnTo>
                    <a:pt x="95" y="83"/>
                  </a:lnTo>
                  <a:lnTo>
                    <a:pt x="99" y="83"/>
                  </a:lnTo>
                  <a:lnTo>
                    <a:pt x="99" y="87"/>
                  </a:lnTo>
                  <a:lnTo>
                    <a:pt x="103" y="87"/>
                  </a:lnTo>
                  <a:lnTo>
                    <a:pt x="103" y="91"/>
                  </a:lnTo>
                  <a:lnTo>
                    <a:pt x="103" y="95"/>
                  </a:lnTo>
                  <a:lnTo>
                    <a:pt x="99" y="95"/>
                  </a:lnTo>
                  <a:lnTo>
                    <a:pt x="95" y="95"/>
                  </a:lnTo>
                  <a:lnTo>
                    <a:pt x="91" y="95"/>
                  </a:lnTo>
                  <a:lnTo>
                    <a:pt x="91" y="99"/>
                  </a:lnTo>
                  <a:lnTo>
                    <a:pt x="91" y="103"/>
                  </a:lnTo>
                  <a:lnTo>
                    <a:pt x="91" y="107"/>
                  </a:lnTo>
                  <a:lnTo>
                    <a:pt x="95" y="111"/>
                  </a:lnTo>
                  <a:lnTo>
                    <a:pt x="99" y="111"/>
                  </a:lnTo>
                  <a:lnTo>
                    <a:pt x="99" y="115"/>
                  </a:lnTo>
                  <a:lnTo>
                    <a:pt x="103" y="119"/>
                  </a:lnTo>
                  <a:lnTo>
                    <a:pt x="107" y="119"/>
                  </a:lnTo>
                  <a:lnTo>
                    <a:pt x="107" y="123"/>
                  </a:lnTo>
                  <a:lnTo>
                    <a:pt x="107" y="119"/>
                  </a:lnTo>
                  <a:lnTo>
                    <a:pt x="107" y="123"/>
                  </a:lnTo>
                  <a:lnTo>
                    <a:pt x="107" y="127"/>
                  </a:lnTo>
                  <a:lnTo>
                    <a:pt x="107" y="131"/>
                  </a:lnTo>
                  <a:lnTo>
                    <a:pt x="111" y="131"/>
                  </a:lnTo>
                  <a:lnTo>
                    <a:pt x="111" y="135"/>
                  </a:lnTo>
                  <a:lnTo>
                    <a:pt x="115" y="135"/>
                  </a:lnTo>
                  <a:lnTo>
                    <a:pt x="115" y="139"/>
                  </a:lnTo>
                  <a:lnTo>
                    <a:pt x="119" y="139"/>
                  </a:lnTo>
                  <a:lnTo>
                    <a:pt x="123" y="139"/>
                  </a:lnTo>
                  <a:lnTo>
                    <a:pt x="127" y="139"/>
                  </a:lnTo>
                  <a:lnTo>
                    <a:pt x="127" y="143"/>
                  </a:lnTo>
                  <a:lnTo>
                    <a:pt x="123" y="143"/>
                  </a:lnTo>
                  <a:lnTo>
                    <a:pt x="123" y="147"/>
                  </a:lnTo>
                  <a:lnTo>
                    <a:pt x="127" y="147"/>
                  </a:lnTo>
                  <a:lnTo>
                    <a:pt x="127" y="151"/>
                  </a:lnTo>
                  <a:lnTo>
                    <a:pt x="131" y="151"/>
                  </a:lnTo>
                  <a:lnTo>
                    <a:pt x="135" y="151"/>
                  </a:lnTo>
                  <a:lnTo>
                    <a:pt x="131" y="151"/>
                  </a:lnTo>
                  <a:lnTo>
                    <a:pt x="131" y="155"/>
                  </a:lnTo>
                  <a:lnTo>
                    <a:pt x="135" y="159"/>
                  </a:lnTo>
                  <a:lnTo>
                    <a:pt x="139" y="159"/>
                  </a:lnTo>
                  <a:lnTo>
                    <a:pt x="143" y="159"/>
                  </a:lnTo>
                  <a:lnTo>
                    <a:pt x="143" y="163"/>
                  </a:lnTo>
                  <a:lnTo>
                    <a:pt x="147" y="163"/>
                  </a:lnTo>
                  <a:lnTo>
                    <a:pt x="147" y="159"/>
                  </a:lnTo>
                  <a:lnTo>
                    <a:pt x="151" y="159"/>
                  </a:lnTo>
                  <a:lnTo>
                    <a:pt x="151" y="163"/>
                  </a:lnTo>
                  <a:lnTo>
                    <a:pt x="147" y="163"/>
                  </a:lnTo>
                  <a:lnTo>
                    <a:pt x="143" y="163"/>
                  </a:lnTo>
                  <a:lnTo>
                    <a:pt x="143" y="167"/>
                  </a:lnTo>
                  <a:lnTo>
                    <a:pt x="147" y="167"/>
                  </a:lnTo>
                  <a:lnTo>
                    <a:pt x="143" y="167"/>
                  </a:lnTo>
                  <a:lnTo>
                    <a:pt x="143" y="171"/>
                  </a:lnTo>
                  <a:lnTo>
                    <a:pt x="139" y="171"/>
                  </a:lnTo>
                  <a:lnTo>
                    <a:pt x="139" y="167"/>
                  </a:lnTo>
                  <a:lnTo>
                    <a:pt x="135" y="167"/>
                  </a:lnTo>
                  <a:lnTo>
                    <a:pt x="139" y="167"/>
                  </a:lnTo>
                  <a:lnTo>
                    <a:pt x="135" y="167"/>
                  </a:lnTo>
                  <a:lnTo>
                    <a:pt x="135" y="163"/>
                  </a:lnTo>
                  <a:lnTo>
                    <a:pt x="131" y="163"/>
                  </a:lnTo>
                  <a:lnTo>
                    <a:pt x="127" y="163"/>
                  </a:lnTo>
                  <a:lnTo>
                    <a:pt x="123" y="163"/>
                  </a:lnTo>
                  <a:lnTo>
                    <a:pt x="119" y="163"/>
                  </a:lnTo>
                  <a:lnTo>
                    <a:pt x="115" y="159"/>
                  </a:lnTo>
                  <a:lnTo>
                    <a:pt x="111" y="159"/>
                  </a:lnTo>
                  <a:lnTo>
                    <a:pt x="107" y="159"/>
                  </a:lnTo>
                  <a:lnTo>
                    <a:pt x="103" y="159"/>
                  </a:lnTo>
                  <a:lnTo>
                    <a:pt x="99" y="155"/>
                  </a:lnTo>
                  <a:lnTo>
                    <a:pt x="99" y="151"/>
                  </a:lnTo>
                  <a:lnTo>
                    <a:pt x="95" y="151"/>
                  </a:lnTo>
                  <a:lnTo>
                    <a:pt x="95" y="147"/>
                  </a:lnTo>
                  <a:lnTo>
                    <a:pt x="91" y="147"/>
                  </a:lnTo>
                  <a:lnTo>
                    <a:pt x="91" y="143"/>
                  </a:lnTo>
                  <a:lnTo>
                    <a:pt x="87" y="143"/>
                  </a:lnTo>
                  <a:lnTo>
                    <a:pt x="87" y="139"/>
                  </a:lnTo>
                  <a:lnTo>
                    <a:pt x="91" y="139"/>
                  </a:lnTo>
                  <a:lnTo>
                    <a:pt x="87" y="139"/>
                  </a:lnTo>
                  <a:lnTo>
                    <a:pt x="83" y="139"/>
                  </a:lnTo>
                  <a:lnTo>
                    <a:pt x="83" y="135"/>
                  </a:lnTo>
                  <a:lnTo>
                    <a:pt x="83" y="131"/>
                  </a:lnTo>
                  <a:lnTo>
                    <a:pt x="79" y="131"/>
                  </a:lnTo>
                  <a:close/>
                  <a:moveTo>
                    <a:pt x="147" y="28"/>
                  </a:moveTo>
                  <a:lnTo>
                    <a:pt x="151" y="28"/>
                  </a:lnTo>
                  <a:lnTo>
                    <a:pt x="147" y="28"/>
                  </a:lnTo>
                  <a:close/>
                  <a:moveTo>
                    <a:pt x="175" y="31"/>
                  </a:moveTo>
                  <a:lnTo>
                    <a:pt x="175" y="28"/>
                  </a:lnTo>
                  <a:lnTo>
                    <a:pt x="175" y="31"/>
                  </a:lnTo>
                  <a:close/>
                  <a:moveTo>
                    <a:pt x="123" y="75"/>
                  </a:moveTo>
                  <a:lnTo>
                    <a:pt x="127" y="75"/>
                  </a:lnTo>
                  <a:lnTo>
                    <a:pt x="131" y="75"/>
                  </a:lnTo>
                  <a:lnTo>
                    <a:pt x="135" y="75"/>
                  </a:lnTo>
                  <a:lnTo>
                    <a:pt x="135" y="71"/>
                  </a:lnTo>
                  <a:lnTo>
                    <a:pt x="135" y="67"/>
                  </a:lnTo>
                  <a:lnTo>
                    <a:pt x="139" y="63"/>
                  </a:lnTo>
                  <a:lnTo>
                    <a:pt x="139" y="67"/>
                  </a:lnTo>
                  <a:lnTo>
                    <a:pt x="135" y="67"/>
                  </a:lnTo>
                  <a:lnTo>
                    <a:pt x="135" y="71"/>
                  </a:lnTo>
                  <a:lnTo>
                    <a:pt x="139" y="75"/>
                  </a:lnTo>
                  <a:lnTo>
                    <a:pt x="143" y="75"/>
                  </a:lnTo>
                  <a:lnTo>
                    <a:pt x="143" y="71"/>
                  </a:lnTo>
                  <a:lnTo>
                    <a:pt x="143" y="75"/>
                  </a:lnTo>
                  <a:lnTo>
                    <a:pt x="147" y="75"/>
                  </a:lnTo>
                  <a:lnTo>
                    <a:pt x="151" y="75"/>
                  </a:lnTo>
                  <a:lnTo>
                    <a:pt x="151" y="71"/>
                  </a:lnTo>
                  <a:lnTo>
                    <a:pt x="151" y="67"/>
                  </a:lnTo>
                  <a:lnTo>
                    <a:pt x="155" y="63"/>
                  </a:lnTo>
                  <a:lnTo>
                    <a:pt x="159" y="63"/>
                  </a:lnTo>
                  <a:lnTo>
                    <a:pt x="163" y="63"/>
                  </a:lnTo>
                  <a:lnTo>
                    <a:pt x="163" y="59"/>
                  </a:lnTo>
                  <a:lnTo>
                    <a:pt x="159" y="55"/>
                  </a:lnTo>
                  <a:lnTo>
                    <a:pt x="159" y="51"/>
                  </a:lnTo>
                  <a:lnTo>
                    <a:pt x="163" y="51"/>
                  </a:lnTo>
                  <a:lnTo>
                    <a:pt x="167" y="51"/>
                  </a:lnTo>
                  <a:lnTo>
                    <a:pt x="167" y="47"/>
                  </a:lnTo>
                  <a:lnTo>
                    <a:pt x="171" y="51"/>
                  </a:lnTo>
                  <a:lnTo>
                    <a:pt x="167" y="51"/>
                  </a:lnTo>
                  <a:lnTo>
                    <a:pt x="171" y="51"/>
                  </a:lnTo>
                  <a:lnTo>
                    <a:pt x="171" y="59"/>
                  </a:lnTo>
                  <a:lnTo>
                    <a:pt x="171" y="63"/>
                  </a:lnTo>
                  <a:lnTo>
                    <a:pt x="167" y="63"/>
                  </a:lnTo>
                  <a:lnTo>
                    <a:pt x="167" y="67"/>
                  </a:lnTo>
                  <a:lnTo>
                    <a:pt x="167" y="71"/>
                  </a:lnTo>
                  <a:lnTo>
                    <a:pt x="167" y="75"/>
                  </a:lnTo>
                  <a:lnTo>
                    <a:pt x="163" y="75"/>
                  </a:lnTo>
                  <a:lnTo>
                    <a:pt x="159" y="75"/>
                  </a:lnTo>
                  <a:lnTo>
                    <a:pt x="159" y="79"/>
                  </a:lnTo>
                  <a:lnTo>
                    <a:pt x="155" y="79"/>
                  </a:lnTo>
                  <a:lnTo>
                    <a:pt x="155" y="83"/>
                  </a:lnTo>
                  <a:lnTo>
                    <a:pt x="151" y="83"/>
                  </a:lnTo>
                  <a:lnTo>
                    <a:pt x="147" y="83"/>
                  </a:lnTo>
                  <a:lnTo>
                    <a:pt x="147" y="87"/>
                  </a:lnTo>
                  <a:lnTo>
                    <a:pt x="143" y="87"/>
                  </a:lnTo>
                  <a:lnTo>
                    <a:pt x="139" y="87"/>
                  </a:lnTo>
                  <a:lnTo>
                    <a:pt x="135" y="87"/>
                  </a:lnTo>
                  <a:lnTo>
                    <a:pt x="131" y="87"/>
                  </a:lnTo>
                  <a:lnTo>
                    <a:pt x="127" y="87"/>
                  </a:lnTo>
                  <a:lnTo>
                    <a:pt x="127" y="83"/>
                  </a:lnTo>
                  <a:lnTo>
                    <a:pt x="123" y="87"/>
                  </a:lnTo>
                  <a:lnTo>
                    <a:pt x="123" y="83"/>
                  </a:lnTo>
                  <a:lnTo>
                    <a:pt x="119" y="83"/>
                  </a:lnTo>
                  <a:lnTo>
                    <a:pt x="119" y="79"/>
                  </a:lnTo>
                  <a:lnTo>
                    <a:pt x="115" y="79"/>
                  </a:lnTo>
                  <a:lnTo>
                    <a:pt x="111" y="79"/>
                  </a:lnTo>
                  <a:lnTo>
                    <a:pt x="111" y="75"/>
                  </a:lnTo>
                  <a:lnTo>
                    <a:pt x="111" y="71"/>
                  </a:lnTo>
                  <a:lnTo>
                    <a:pt x="111" y="75"/>
                  </a:lnTo>
                  <a:lnTo>
                    <a:pt x="115" y="75"/>
                  </a:lnTo>
                  <a:lnTo>
                    <a:pt x="119" y="75"/>
                  </a:lnTo>
                  <a:lnTo>
                    <a:pt x="123" y="75"/>
                  </a:lnTo>
                  <a:close/>
                  <a:moveTo>
                    <a:pt x="75" y="59"/>
                  </a:moveTo>
                  <a:lnTo>
                    <a:pt x="75" y="55"/>
                  </a:lnTo>
                  <a:lnTo>
                    <a:pt x="75" y="59"/>
                  </a:lnTo>
                  <a:close/>
                  <a:moveTo>
                    <a:pt x="207" y="75"/>
                  </a:moveTo>
                  <a:lnTo>
                    <a:pt x="207" y="71"/>
                  </a:lnTo>
                  <a:lnTo>
                    <a:pt x="203" y="67"/>
                  </a:lnTo>
                  <a:lnTo>
                    <a:pt x="207" y="67"/>
                  </a:lnTo>
                  <a:lnTo>
                    <a:pt x="207" y="63"/>
                  </a:lnTo>
                  <a:lnTo>
                    <a:pt x="207" y="67"/>
                  </a:lnTo>
                  <a:lnTo>
                    <a:pt x="207" y="71"/>
                  </a:lnTo>
                  <a:lnTo>
                    <a:pt x="207" y="75"/>
                  </a:lnTo>
                  <a:close/>
                  <a:moveTo>
                    <a:pt x="91" y="71"/>
                  </a:moveTo>
                  <a:lnTo>
                    <a:pt x="91" y="67"/>
                  </a:lnTo>
                  <a:lnTo>
                    <a:pt x="95" y="71"/>
                  </a:lnTo>
                  <a:lnTo>
                    <a:pt x="91" y="71"/>
                  </a:lnTo>
                  <a:close/>
                  <a:moveTo>
                    <a:pt x="219" y="83"/>
                  </a:moveTo>
                  <a:lnTo>
                    <a:pt x="219" y="87"/>
                  </a:lnTo>
                  <a:lnTo>
                    <a:pt x="223" y="87"/>
                  </a:lnTo>
                  <a:lnTo>
                    <a:pt x="223" y="91"/>
                  </a:lnTo>
                  <a:lnTo>
                    <a:pt x="227" y="91"/>
                  </a:lnTo>
                  <a:lnTo>
                    <a:pt x="227" y="95"/>
                  </a:lnTo>
                  <a:lnTo>
                    <a:pt x="227" y="99"/>
                  </a:lnTo>
                  <a:lnTo>
                    <a:pt x="223" y="99"/>
                  </a:lnTo>
                  <a:lnTo>
                    <a:pt x="219" y="99"/>
                  </a:lnTo>
                  <a:lnTo>
                    <a:pt x="215" y="95"/>
                  </a:lnTo>
                  <a:lnTo>
                    <a:pt x="215" y="91"/>
                  </a:lnTo>
                  <a:lnTo>
                    <a:pt x="215" y="87"/>
                  </a:lnTo>
                  <a:lnTo>
                    <a:pt x="211" y="87"/>
                  </a:lnTo>
                  <a:lnTo>
                    <a:pt x="211" y="83"/>
                  </a:lnTo>
                  <a:lnTo>
                    <a:pt x="207" y="83"/>
                  </a:lnTo>
                  <a:lnTo>
                    <a:pt x="207" y="79"/>
                  </a:lnTo>
                  <a:lnTo>
                    <a:pt x="207" y="75"/>
                  </a:lnTo>
                  <a:lnTo>
                    <a:pt x="211" y="75"/>
                  </a:lnTo>
                  <a:lnTo>
                    <a:pt x="215" y="79"/>
                  </a:lnTo>
                  <a:lnTo>
                    <a:pt x="219" y="83"/>
                  </a:lnTo>
                  <a:close/>
                  <a:moveTo>
                    <a:pt x="107" y="79"/>
                  </a:moveTo>
                  <a:lnTo>
                    <a:pt x="103" y="79"/>
                  </a:lnTo>
                  <a:lnTo>
                    <a:pt x="103" y="75"/>
                  </a:lnTo>
                  <a:lnTo>
                    <a:pt x="107" y="75"/>
                  </a:lnTo>
                  <a:lnTo>
                    <a:pt x="107" y="79"/>
                  </a:lnTo>
                  <a:close/>
                  <a:moveTo>
                    <a:pt x="40" y="127"/>
                  </a:moveTo>
                  <a:lnTo>
                    <a:pt x="36" y="127"/>
                  </a:lnTo>
                  <a:lnTo>
                    <a:pt x="40" y="127"/>
                  </a:lnTo>
                  <a:close/>
                  <a:moveTo>
                    <a:pt x="40" y="135"/>
                  </a:moveTo>
                  <a:lnTo>
                    <a:pt x="40" y="131"/>
                  </a:lnTo>
                  <a:lnTo>
                    <a:pt x="36" y="131"/>
                  </a:lnTo>
                  <a:lnTo>
                    <a:pt x="36" y="127"/>
                  </a:lnTo>
                  <a:lnTo>
                    <a:pt x="32" y="127"/>
                  </a:lnTo>
                  <a:lnTo>
                    <a:pt x="36" y="127"/>
                  </a:lnTo>
                  <a:lnTo>
                    <a:pt x="36" y="131"/>
                  </a:lnTo>
                  <a:lnTo>
                    <a:pt x="40" y="131"/>
                  </a:lnTo>
                  <a:lnTo>
                    <a:pt x="40" y="135"/>
                  </a:lnTo>
                  <a:close/>
                  <a:moveTo>
                    <a:pt x="155" y="135"/>
                  </a:moveTo>
                  <a:lnTo>
                    <a:pt x="151" y="135"/>
                  </a:lnTo>
                  <a:lnTo>
                    <a:pt x="151" y="131"/>
                  </a:lnTo>
                  <a:lnTo>
                    <a:pt x="151" y="127"/>
                  </a:lnTo>
                  <a:lnTo>
                    <a:pt x="151" y="131"/>
                  </a:lnTo>
                  <a:lnTo>
                    <a:pt x="151" y="135"/>
                  </a:lnTo>
                  <a:lnTo>
                    <a:pt x="155" y="135"/>
                  </a:lnTo>
                  <a:close/>
                  <a:moveTo>
                    <a:pt x="179" y="143"/>
                  </a:moveTo>
                  <a:lnTo>
                    <a:pt x="175" y="139"/>
                  </a:lnTo>
                  <a:lnTo>
                    <a:pt x="179" y="139"/>
                  </a:lnTo>
                  <a:lnTo>
                    <a:pt x="183" y="139"/>
                  </a:lnTo>
                  <a:lnTo>
                    <a:pt x="183" y="143"/>
                  </a:lnTo>
                  <a:lnTo>
                    <a:pt x="179" y="143"/>
                  </a:lnTo>
                  <a:close/>
                  <a:moveTo>
                    <a:pt x="36" y="139"/>
                  </a:moveTo>
                  <a:lnTo>
                    <a:pt x="36" y="143"/>
                  </a:lnTo>
                  <a:lnTo>
                    <a:pt x="32" y="139"/>
                  </a:lnTo>
                  <a:lnTo>
                    <a:pt x="36" y="139"/>
                  </a:lnTo>
                  <a:close/>
                  <a:moveTo>
                    <a:pt x="143" y="147"/>
                  </a:moveTo>
                  <a:lnTo>
                    <a:pt x="139" y="147"/>
                  </a:lnTo>
                  <a:lnTo>
                    <a:pt x="139" y="143"/>
                  </a:lnTo>
                  <a:lnTo>
                    <a:pt x="143" y="147"/>
                  </a:lnTo>
                  <a:close/>
                  <a:moveTo>
                    <a:pt x="147" y="151"/>
                  </a:moveTo>
                  <a:lnTo>
                    <a:pt x="143" y="151"/>
                  </a:lnTo>
                  <a:lnTo>
                    <a:pt x="143" y="147"/>
                  </a:lnTo>
                  <a:lnTo>
                    <a:pt x="143" y="143"/>
                  </a:lnTo>
                  <a:lnTo>
                    <a:pt x="143" y="147"/>
                  </a:lnTo>
                  <a:lnTo>
                    <a:pt x="147" y="147"/>
                  </a:lnTo>
                  <a:lnTo>
                    <a:pt x="151" y="147"/>
                  </a:lnTo>
                  <a:lnTo>
                    <a:pt x="151" y="151"/>
                  </a:lnTo>
                  <a:lnTo>
                    <a:pt x="147" y="151"/>
                  </a:lnTo>
                  <a:close/>
                  <a:moveTo>
                    <a:pt x="155" y="159"/>
                  </a:moveTo>
                  <a:lnTo>
                    <a:pt x="151" y="159"/>
                  </a:lnTo>
                  <a:lnTo>
                    <a:pt x="151" y="155"/>
                  </a:lnTo>
                  <a:lnTo>
                    <a:pt x="147" y="155"/>
                  </a:lnTo>
                  <a:lnTo>
                    <a:pt x="147" y="151"/>
                  </a:lnTo>
                  <a:lnTo>
                    <a:pt x="151" y="155"/>
                  </a:lnTo>
                  <a:lnTo>
                    <a:pt x="151" y="159"/>
                  </a:lnTo>
                  <a:lnTo>
                    <a:pt x="155" y="159"/>
                  </a:lnTo>
                  <a:lnTo>
                    <a:pt x="155" y="155"/>
                  </a:lnTo>
                  <a:lnTo>
                    <a:pt x="155" y="159"/>
                  </a:lnTo>
                  <a:close/>
                  <a:moveTo>
                    <a:pt x="151" y="167"/>
                  </a:moveTo>
                  <a:lnTo>
                    <a:pt x="147" y="167"/>
                  </a:lnTo>
                  <a:lnTo>
                    <a:pt x="151" y="167"/>
                  </a:lnTo>
                  <a:close/>
                  <a:moveTo>
                    <a:pt x="179" y="171"/>
                  </a:moveTo>
                  <a:lnTo>
                    <a:pt x="175" y="171"/>
                  </a:lnTo>
                  <a:lnTo>
                    <a:pt x="175" y="167"/>
                  </a:lnTo>
                  <a:lnTo>
                    <a:pt x="179" y="167"/>
                  </a:lnTo>
                  <a:lnTo>
                    <a:pt x="179" y="171"/>
                  </a:lnTo>
                  <a:close/>
                  <a:moveTo>
                    <a:pt x="199" y="183"/>
                  </a:moveTo>
                  <a:lnTo>
                    <a:pt x="195" y="183"/>
                  </a:lnTo>
                  <a:lnTo>
                    <a:pt x="199" y="183"/>
                  </a:lnTo>
                  <a:lnTo>
                    <a:pt x="199" y="179"/>
                  </a:lnTo>
                  <a:lnTo>
                    <a:pt x="199" y="183"/>
                  </a:lnTo>
                  <a:lnTo>
                    <a:pt x="203" y="183"/>
                  </a:lnTo>
                  <a:lnTo>
                    <a:pt x="199" y="183"/>
                  </a:lnTo>
                  <a:close/>
                  <a:moveTo>
                    <a:pt x="191" y="187"/>
                  </a:moveTo>
                  <a:lnTo>
                    <a:pt x="187" y="187"/>
                  </a:lnTo>
                  <a:lnTo>
                    <a:pt x="187" y="183"/>
                  </a:lnTo>
                  <a:lnTo>
                    <a:pt x="183" y="183"/>
                  </a:lnTo>
                  <a:lnTo>
                    <a:pt x="187" y="183"/>
                  </a:lnTo>
                  <a:lnTo>
                    <a:pt x="191" y="183"/>
                  </a:lnTo>
                  <a:lnTo>
                    <a:pt x="191" y="187"/>
                  </a:lnTo>
                  <a:lnTo>
                    <a:pt x="195" y="187"/>
                  </a:lnTo>
                  <a:lnTo>
                    <a:pt x="191" y="18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6" name="Freeform 184"/>
            <p:cNvSpPr>
              <a:spLocks noEditPoints="1"/>
            </p:cNvSpPr>
            <p:nvPr>
              <p:custDataLst>
                <p:tags r:id="rId378"/>
              </p:custDataLst>
            </p:nvPr>
          </p:nvSpPr>
          <p:spPr bwMode="gray">
            <a:xfrm>
              <a:off x="3671606" y="3396155"/>
              <a:ext cx="568013" cy="290681"/>
            </a:xfrm>
            <a:custGeom>
              <a:avLst/>
              <a:gdLst/>
              <a:ahLst/>
              <a:cxnLst>
                <a:cxn ang="0">
                  <a:pos x="343" y="16"/>
                </a:cxn>
                <a:cxn ang="0">
                  <a:pos x="343" y="8"/>
                </a:cxn>
                <a:cxn ang="0">
                  <a:pos x="347" y="0"/>
                </a:cxn>
                <a:cxn ang="0">
                  <a:pos x="351" y="8"/>
                </a:cxn>
                <a:cxn ang="0">
                  <a:pos x="363" y="8"/>
                </a:cxn>
                <a:cxn ang="0">
                  <a:pos x="371" y="4"/>
                </a:cxn>
                <a:cxn ang="0">
                  <a:pos x="375" y="12"/>
                </a:cxn>
                <a:cxn ang="0">
                  <a:pos x="379" y="12"/>
                </a:cxn>
                <a:cxn ang="0">
                  <a:pos x="375" y="20"/>
                </a:cxn>
                <a:cxn ang="0">
                  <a:pos x="371" y="32"/>
                </a:cxn>
                <a:cxn ang="0">
                  <a:pos x="367" y="40"/>
                </a:cxn>
                <a:cxn ang="0">
                  <a:pos x="367" y="52"/>
                </a:cxn>
                <a:cxn ang="0">
                  <a:pos x="363" y="56"/>
                </a:cxn>
                <a:cxn ang="0">
                  <a:pos x="371" y="64"/>
                </a:cxn>
                <a:cxn ang="0">
                  <a:pos x="363" y="72"/>
                </a:cxn>
                <a:cxn ang="0">
                  <a:pos x="367" y="80"/>
                </a:cxn>
                <a:cxn ang="0">
                  <a:pos x="367" y="88"/>
                </a:cxn>
                <a:cxn ang="0">
                  <a:pos x="359" y="96"/>
                </a:cxn>
                <a:cxn ang="0">
                  <a:pos x="363" y="104"/>
                </a:cxn>
                <a:cxn ang="0">
                  <a:pos x="355" y="108"/>
                </a:cxn>
                <a:cxn ang="0">
                  <a:pos x="347" y="104"/>
                </a:cxn>
                <a:cxn ang="0">
                  <a:pos x="339" y="108"/>
                </a:cxn>
                <a:cxn ang="0">
                  <a:pos x="343" y="100"/>
                </a:cxn>
                <a:cxn ang="0">
                  <a:pos x="343" y="88"/>
                </a:cxn>
                <a:cxn ang="0">
                  <a:pos x="343" y="80"/>
                </a:cxn>
                <a:cxn ang="0">
                  <a:pos x="339" y="80"/>
                </a:cxn>
                <a:cxn ang="0">
                  <a:pos x="335" y="72"/>
                </a:cxn>
                <a:cxn ang="0">
                  <a:pos x="339" y="68"/>
                </a:cxn>
                <a:cxn ang="0">
                  <a:pos x="331" y="72"/>
                </a:cxn>
                <a:cxn ang="0">
                  <a:pos x="335" y="60"/>
                </a:cxn>
                <a:cxn ang="0">
                  <a:pos x="335" y="56"/>
                </a:cxn>
                <a:cxn ang="0">
                  <a:pos x="339" y="44"/>
                </a:cxn>
                <a:cxn ang="0">
                  <a:pos x="343" y="32"/>
                </a:cxn>
                <a:cxn ang="0">
                  <a:pos x="343" y="28"/>
                </a:cxn>
                <a:cxn ang="0">
                  <a:pos x="0" y="60"/>
                </a:cxn>
                <a:cxn ang="0">
                  <a:pos x="4" y="60"/>
                </a:cxn>
                <a:cxn ang="0">
                  <a:pos x="60" y="72"/>
                </a:cxn>
                <a:cxn ang="0">
                  <a:pos x="52" y="76"/>
                </a:cxn>
                <a:cxn ang="0">
                  <a:pos x="56" y="76"/>
                </a:cxn>
                <a:cxn ang="0">
                  <a:pos x="40" y="72"/>
                </a:cxn>
                <a:cxn ang="0">
                  <a:pos x="44" y="80"/>
                </a:cxn>
                <a:cxn ang="0">
                  <a:pos x="52" y="80"/>
                </a:cxn>
                <a:cxn ang="0">
                  <a:pos x="84" y="92"/>
                </a:cxn>
                <a:cxn ang="0">
                  <a:pos x="92" y="92"/>
                </a:cxn>
                <a:cxn ang="0">
                  <a:pos x="96" y="92"/>
                </a:cxn>
                <a:cxn ang="0">
                  <a:pos x="96" y="108"/>
                </a:cxn>
                <a:cxn ang="0">
                  <a:pos x="219" y="196"/>
                </a:cxn>
                <a:cxn ang="0">
                  <a:pos x="219" y="192"/>
                </a:cxn>
              </a:cxnLst>
              <a:rect l="0" t="0" r="r" b="b"/>
              <a:pathLst>
                <a:path w="383" h="196">
                  <a:moveTo>
                    <a:pt x="343" y="24"/>
                  </a:moveTo>
                  <a:lnTo>
                    <a:pt x="343" y="20"/>
                  </a:lnTo>
                  <a:lnTo>
                    <a:pt x="343" y="16"/>
                  </a:lnTo>
                  <a:lnTo>
                    <a:pt x="343" y="12"/>
                  </a:lnTo>
                  <a:lnTo>
                    <a:pt x="339" y="8"/>
                  </a:lnTo>
                  <a:lnTo>
                    <a:pt x="343" y="8"/>
                  </a:lnTo>
                  <a:lnTo>
                    <a:pt x="343" y="4"/>
                  </a:lnTo>
                  <a:lnTo>
                    <a:pt x="347" y="4"/>
                  </a:lnTo>
                  <a:lnTo>
                    <a:pt x="347" y="0"/>
                  </a:lnTo>
                  <a:lnTo>
                    <a:pt x="351" y="0"/>
                  </a:lnTo>
                  <a:lnTo>
                    <a:pt x="351" y="4"/>
                  </a:lnTo>
                  <a:lnTo>
                    <a:pt x="351" y="8"/>
                  </a:lnTo>
                  <a:lnTo>
                    <a:pt x="355" y="8"/>
                  </a:lnTo>
                  <a:lnTo>
                    <a:pt x="359" y="8"/>
                  </a:lnTo>
                  <a:lnTo>
                    <a:pt x="363" y="8"/>
                  </a:lnTo>
                  <a:lnTo>
                    <a:pt x="367" y="8"/>
                  </a:lnTo>
                  <a:lnTo>
                    <a:pt x="367" y="4"/>
                  </a:lnTo>
                  <a:lnTo>
                    <a:pt x="371" y="4"/>
                  </a:lnTo>
                  <a:lnTo>
                    <a:pt x="375" y="4"/>
                  </a:lnTo>
                  <a:lnTo>
                    <a:pt x="375" y="8"/>
                  </a:lnTo>
                  <a:lnTo>
                    <a:pt x="375" y="12"/>
                  </a:lnTo>
                  <a:lnTo>
                    <a:pt x="379" y="12"/>
                  </a:lnTo>
                  <a:lnTo>
                    <a:pt x="383" y="12"/>
                  </a:lnTo>
                  <a:lnTo>
                    <a:pt x="379" y="12"/>
                  </a:lnTo>
                  <a:lnTo>
                    <a:pt x="379" y="16"/>
                  </a:lnTo>
                  <a:lnTo>
                    <a:pt x="379" y="20"/>
                  </a:lnTo>
                  <a:lnTo>
                    <a:pt x="375" y="20"/>
                  </a:lnTo>
                  <a:lnTo>
                    <a:pt x="371" y="24"/>
                  </a:lnTo>
                  <a:lnTo>
                    <a:pt x="371" y="28"/>
                  </a:lnTo>
                  <a:lnTo>
                    <a:pt x="371" y="32"/>
                  </a:lnTo>
                  <a:lnTo>
                    <a:pt x="371" y="36"/>
                  </a:lnTo>
                  <a:lnTo>
                    <a:pt x="371" y="40"/>
                  </a:lnTo>
                  <a:lnTo>
                    <a:pt x="367" y="40"/>
                  </a:lnTo>
                  <a:lnTo>
                    <a:pt x="367" y="44"/>
                  </a:lnTo>
                  <a:lnTo>
                    <a:pt x="371" y="44"/>
                  </a:lnTo>
                  <a:lnTo>
                    <a:pt x="367" y="52"/>
                  </a:lnTo>
                  <a:lnTo>
                    <a:pt x="363" y="52"/>
                  </a:lnTo>
                  <a:lnTo>
                    <a:pt x="359" y="52"/>
                  </a:lnTo>
                  <a:lnTo>
                    <a:pt x="363" y="56"/>
                  </a:lnTo>
                  <a:lnTo>
                    <a:pt x="363" y="60"/>
                  </a:lnTo>
                  <a:lnTo>
                    <a:pt x="367" y="64"/>
                  </a:lnTo>
                  <a:lnTo>
                    <a:pt x="371" y="64"/>
                  </a:lnTo>
                  <a:lnTo>
                    <a:pt x="367" y="68"/>
                  </a:lnTo>
                  <a:lnTo>
                    <a:pt x="367" y="72"/>
                  </a:lnTo>
                  <a:lnTo>
                    <a:pt x="363" y="72"/>
                  </a:lnTo>
                  <a:lnTo>
                    <a:pt x="363" y="76"/>
                  </a:lnTo>
                  <a:lnTo>
                    <a:pt x="363" y="80"/>
                  </a:lnTo>
                  <a:lnTo>
                    <a:pt x="367" y="80"/>
                  </a:lnTo>
                  <a:lnTo>
                    <a:pt x="367" y="84"/>
                  </a:lnTo>
                  <a:lnTo>
                    <a:pt x="371" y="84"/>
                  </a:lnTo>
                  <a:lnTo>
                    <a:pt x="367" y="88"/>
                  </a:lnTo>
                  <a:lnTo>
                    <a:pt x="363" y="88"/>
                  </a:lnTo>
                  <a:lnTo>
                    <a:pt x="363" y="92"/>
                  </a:lnTo>
                  <a:lnTo>
                    <a:pt x="359" y="96"/>
                  </a:lnTo>
                  <a:lnTo>
                    <a:pt x="363" y="96"/>
                  </a:lnTo>
                  <a:lnTo>
                    <a:pt x="363" y="100"/>
                  </a:lnTo>
                  <a:lnTo>
                    <a:pt x="363" y="104"/>
                  </a:lnTo>
                  <a:lnTo>
                    <a:pt x="359" y="104"/>
                  </a:lnTo>
                  <a:lnTo>
                    <a:pt x="359" y="108"/>
                  </a:lnTo>
                  <a:lnTo>
                    <a:pt x="355" y="108"/>
                  </a:lnTo>
                  <a:lnTo>
                    <a:pt x="351" y="108"/>
                  </a:lnTo>
                  <a:lnTo>
                    <a:pt x="351" y="104"/>
                  </a:lnTo>
                  <a:lnTo>
                    <a:pt x="347" y="104"/>
                  </a:lnTo>
                  <a:lnTo>
                    <a:pt x="343" y="104"/>
                  </a:lnTo>
                  <a:lnTo>
                    <a:pt x="343" y="108"/>
                  </a:lnTo>
                  <a:lnTo>
                    <a:pt x="339" y="108"/>
                  </a:lnTo>
                  <a:lnTo>
                    <a:pt x="339" y="104"/>
                  </a:lnTo>
                  <a:lnTo>
                    <a:pt x="339" y="100"/>
                  </a:lnTo>
                  <a:lnTo>
                    <a:pt x="343" y="100"/>
                  </a:lnTo>
                  <a:lnTo>
                    <a:pt x="343" y="96"/>
                  </a:lnTo>
                  <a:lnTo>
                    <a:pt x="343" y="92"/>
                  </a:lnTo>
                  <a:lnTo>
                    <a:pt x="343" y="88"/>
                  </a:lnTo>
                  <a:lnTo>
                    <a:pt x="339" y="88"/>
                  </a:lnTo>
                  <a:lnTo>
                    <a:pt x="343" y="84"/>
                  </a:lnTo>
                  <a:lnTo>
                    <a:pt x="343" y="80"/>
                  </a:lnTo>
                  <a:lnTo>
                    <a:pt x="343" y="76"/>
                  </a:lnTo>
                  <a:lnTo>
                    <a:pt x="339" y="76"/>
                  </a:lnTo>
                  <a:lnTo>
                    <a:pt x="339" y="80"/>
                  </a:lnTo>
                  <a:lnTo>
                    <a:pt x="335" y="80"/>
                  </a:lnTo>
                  <a:lnTo>
                    <a:pt x="335" y="76"/>
                  </a:lnTo>
                  <a:lnTo>
                    <a:pt x="335" y="72"/>
                  </a:lnTo>
                  <a:lnTo>
                    <a:pt x="339" y="76"/>
                  </a:lnTo>
                  <a:lnTo>
                    <a:pt x="339" y="72"/>
                  </a:lnTo>
                  <a:lnTo>
                    <a:pt x="339" y="68"/>
                  </a:lnTo>
                  <a:lnTo>
                    <a:pt x="339" y="72"/>
                  </a:lnTo>
                  <a:lnTo>
                    <a:pt x="335" y="72"/>
                  </a:lnTo>
                  <a:lnTo>
                    <a:pt x="331" y="72"/>
                  </a:lnTo>
                  <a:lnTo>
                    <a:pt x="331" y="68"/>
                  </a:lnTo>
                  <a:lnTo>
                    <a:pt x="331" y="64"/>
                  </a:lnTo>
                  <a:lnTo>
                    <a:pt x="335" y="60"/>
                  </a:lnTo>
                  <a:lnTo>
                    <a:pt x="331" y="60"/>
                  </a:lnTo>
                  <a:lnTo>
                    <a:pt x="335" y="60"/>
                  </a:lnTo>
                  <a:lnTo>
                    <a:pt x="335" y="56"/>
                  </a:lnTo>
                  <a:lnTo>
                    <a:pt x="339" y="52"/>
                  </a:lnTo>
                  <a:lnTo>
                    <a:pt x="339" y="48"/>
                  </a:lnTo>
                  <a:lnTo>
                    <a:pt x="339" y="44"/>
                  </a:lnTo>
                  <a:lnTo>
                    <a:pt x="339" y="40"/>
                  </a:lnTo>
                  <a:lnTo>
                    <a:pt x="343" y="36"/>
                  </a:lnTo>
                  <a:lnTo>
                    <a:pt x="343" y="32"/>
                  </a:lnTo>
                  <a:lnTo>
                    <a:pt x="343" y="28"/>
                  </a:lnTo>
                  <a:lnTo>
                    <a:pt x="343" y="32"/>
                  </a:lnTo>
                  <a:lnTo>
                    <a:pt x="343" y="28"/>
                  </a:lnTo>
                  <a:lnTo>
                    <a:pt x="343" y="24"/>
                  </a:lnTo>
                  <a:close/>
                  <a:moveTo>
                    <a:pt x="4" y="60"/>
                  </a:moveTo>
                  <a:lnTo>
                    <a:pt x="0" y="60"/>
                  </a:lnTo>
                  <a:lnTo>
                    <a:pt x="0" y="56"/>
                  </a:lnTo>
                  <a:lnTo>
                    <a:pt x="4" y="56"/>
                  </a:lnTo>
                  <a:lnTo>
                    <a:pt x="4" y="60"/>
                  </a:lnTo>
                  <a:close/>
                  <a:moveTo>
                    <a:pt x="64" y="76"/>
                  </a:moveTo>
                  <a:lnTo>
                    <a:pt x="64" y="72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close/>
                  <a:moveTo>
                    <a:pt x="52" y="76"/>
                  </a:moveTo>
                  <a:lnTo>
                    <a:pt x="48" y="72"/>
                  </a:lnTo>
                  <a:lnTo>
                    <a:pt x="52" y="72"/>
                  </a:lnTo>
                  <a:lnTo>
                    <a:pt x="56" y="76"/>
                  </a:lnTo>
                  <a:lnTo>
                    <a:pt x="52" y="76"/>
                  </a:lnTo>
                  <a:close/>
                  <a:moveTo>
                    <a:pt x="40" y="76"/>
                  </a:moveTo>
                  <a:lnTo>
                    <a:pt x="40" y="72"/>
                  </a:lnTo>
                  <a:lnTo>
                    <a:pt x="40" y="76"/>
                  </a:lnTo>
                  <a:close/>
                  <a:moveTo>
                    <a:pt x="48" y="80"/>
                  </a:moveTo>
                  <a:lnTo>
                    <a:pt x="44" y="80"/>
                  </a:lnTo>
                  <a:lnTo>
                    <a:pt x="44" y="76"/>
                  </a:lnTo>
                  <a:lnTo>
                    <a:pt x="48" y="76"/>
                  </a:lnTo>
                  <a:lnTo>
                    <a:pt x="52" y="80"/>
                  </a:lnTo>
                  <a:lnTo>
                    <a:pt x="48" y="80"/>
                  </a:lnTo>
                  <a:close/>
                  <a:moveTo>
                    <a:pt x="88" y="92"/>
                  </a:moveTo>
                  <a:lnTo>
                    <a:pt x="84" y="92"/>
                  </a:lnTo>
                  <a:lnTo>
                    <a:pt x="84" y="88"/>
                  </a:lnTo>
                  <a:lnTo>
                    <a:pt x="88" y="92"/>
                  </a:lnTo>
                  <a:lnTo>
                    <a:pt x="92" y="92"/>
                  </a:lnTo>
                  <a:lnTo>
                    <a:pt x="92" y="88"/>
                  </a:lnTo>
                  <a:lnTo>
                    <a:pt x="96" y="88"/>
                  </a:lnTo>
                  <a:lnTo>
                    <a:pt x="96" y="92"/>
                  </a:lnTo>
                  <a:lnTo>
                    <a:pt x="92" y="92"/>
                  </a:lnTo>
                  <a:lnTo>
                    <a:pt x="88" y="92"/>
                  </a:lnTo>
                  <a:close/>
                  <a:moveTo>
                    <a:pt x="96" y="108"/>
                  </a:moveTo>
                  <a:lnTo>
                    <a:pt x="92" y="108"/>
                  </a:lnTo>
                  <a:lnTo>
                    <a:pt x="96" y="108"/>
                  </a:lnTo>
                  <a:close/>
                  <a:moveTo>
                    <a:pt x="219" y="196"/>
                  </a:moveTo>
                  <a:lnTo>
                    <a:pt x="215" y="196"/>
                  </a:lnTo>
                  <a:lnTo>
                    <a:pt x="215" y="192"/>
                  </a:lnTo>
                  <a:lnTo>
                    <a:pt x="219" y="192"/>
                  </a:lnTo>
                  <a:lnTo>
                    <a:pt x="223" y="192"/>
                  </a:lnTo>
                  <a:lnTo>
                    <a:pt x="219" y="19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7" name="Freeform 186"/>
            <p:cNvSpPr>
              <a:spLocks noEditPoints="1"/>
            </p:cNvSpPr>
            <p:nvPr>
              <p:custDataLst>
                <p:tags r:id="rId379"/>
              </p:custDataLst>
            </p:nvPr>
          </p:nvSpPr>
          <p:spPr bwMode="gray">
            <a:xfrm>
              <a:off x="4748310" y="5202527"/>
              <a:ext cx="479029" cy="745981"/>
            </a:xfrm>
            <a:custGeom>
              <a:avLst/>
              <a:gdLst/>
              <a:ahLst/>
              <a:cxnLst>
                <a:cxn ang="0">
                  <a:pos x="12" y="123"/>
                </a:cxn>
                <a:cxn ang="0">
                  <a:pos x="28" y="131"/>
                </a:cxn>
                <a:cxn ang="0">
                  <a:pos x="44" y="123"/>
                </a:cxn>
                <a:cxn ang="0">
                  <a:pos x="52" y="99"/>
                </a:cxn>
                <a:cxn ang="0">
                  <a:pos x="52" y="60"/>
                </a:cxn>
                <a:cxn ang="0">
                  <a:pos x="60" y="64"/>
                </a:cxn>
                <a:cxn ang="0">
                  <a:pos x="64" y="83"/>
                </a:cxn>
                <a:cxn ang="0">
                  <a:pos x="72" y="91"/>
                </a:cxn>
                <a:cxn ang="0">
                  <a:pos x="84" y="80"/>
                </a:cxn>
                <a:cxn ang="0">
                  <a:pos x="96" y="64"/>
                </a:cxn>
                <a:cxn ang="0">
                  <a:pos x="116" y="68"/>
                </a:cxn>
                <a:cxn ang="0">
                  <a:pos x="128" y="72"/>
                </a:cxn>
                <a:cxn ang="0">
                  <a:pos x="136" y="64"/>
                </a:cxn>
                <a:cxn ang="0">
                  <a:pos x="152" y="48"/>
                </a:cxn>
                <a:cxn ang="0">
                  <a:pos x="156" y="28"/>
                </a:cxn>
                <a:cxn ang="0">
                  <a:pos x="175" y="12"/>
                </a:cxn>
                <a:cxn ang="0">
                  <a:pos x="191" y="0"/>
                </a:cxn>
                <a:cxn ang="0">
                  <a:pos x="211" y="4"/>
                </a:cxn>
                <a:cxn ang="0">
                  <a:pos x="227" y="24"/>
                </a:cxn>
                <a:cxn ang="0">
                  <a:pos x="231" y="44"/>
                </a:cxn>
                <a:cxn ang="0">
                  <a:pos x="231" y="64"/>
                </a:cxn>
                <a:cxn ang="0">
                  <a:pos x="223" y="68"/>
                </a:cxn>
                <a:cxn ang="0">
                  <a:pos x="215" y="87"/>
                </a:cxn>
                <a:cxn ang="0">
                  <a:pos x="219" y="99"/>
                </a:cxn>
                <a:cxn ang="0">
                  <a:pos x="235" y="91"/>
                </a:cxn>
                <a:cxn ang="0">
                  <a:pos x="243" y="103"/>
                </a:cxn>
                <a:cxn ang="0">
                  <a:pos x="239" y="123"/>
                </a:cxn>
                <a:cxn ang="0">
                  <a:pos x="223" y="139"/>
                </a:cxn>
                <a:cxn ang="0">
                  <a:pos x="215" y="159"/>
                </a:cxn>
                <a:cxn ang="0">
                  <a:pos x="203" y="179"/>
                </a:cxn>
                <a:cxn ang="0">
                  <a:pos x="191" y="191"/>
                </a:cxn>
                <a:cxn ang="0">
                  <a:pos x="175" y="207"/>
                </a:cxn>
                <a:cxn ang="0">
                  <a:pos x="160" y="219"/>
                </a:cxn>
                <a:cxn ang="0">
                  <a:pos x="144" y="227"/>
                </a:cxn>
                <a:cxn ang="0">
                  <a:pos x="132" y="231"/>
                </a:cxn>
                <a:cxn ang="0">
                  <a:pos x="104" y="231"/>
                </a:cxn>
                <a:cxn ang="0">
                  <a:pos x="84" y="235"/>
                </a:cxn>
                <a:cxn ang="0">
                  <a:pos x="64" y="239"/>
                </a:cxn>
                <a:cxn ang="0">
                  <a:pos x="44" y="247"/>
                </a:cxn>
                <a:cxn ang="0">
                  <a:pos x="32" y="235"/>
                </a:cxn>
                <a:cxn ang="0">
                  <a:pos x="28" y="239"/>
                </a:cxn>
                <a:cxn ang="0">
                  <a:pos x="28" y="227"/>
                </a:cxn>
                <a:cxn ang="0">
                  <a:pos x="24" y="207"/>
                </a:cxn>
                <a:cxn ang="0">
                  <a:pos x="24" y="191"/>
                </a:cxn>
                <a:cxn ang="0">
                  <a:pos x="16" y="175"/>
                </a:cxn>
                <a:cxn ang="0">
                  <a:pos x="8" y="151"/>
                </a:cxn>
                <a:cxn ang="0">
                  <a:pos x="0" y="127"/>
                </a:cxn>
                <a:cxn ang="0">
                  <a:pos x="191" y="143"/>
                </a:cxn>
                <a:cxn ang="0">
                  <a:pos x="187" y="127"/>
                </a:cxn>
                <a:cxn ang="0">
                  <a:pos x="172" y="131"/>
                </a:cxn>
                <a:cxn ang="0">
                  <a:pos x="160" y="147"/>
                </a:cxn>
                <a:cxn ang="0">
                  <a:pos x="168" y="163"/>
                </a:cxn>
                <a:cxn ang="0">
                  <a:pos x="183" y="155"/>
                </a:cxn>
                <a:cxn ang="0">
                  <a:pos x="319" y="503"/>
                </a:cxn>
              </a:cxnLst>
              <a:rect l="0" t="0" r="r" b="b"/>
              <a:pathLst>
                <a:path w="323" h="503">
                  <a:moveTo>
                    <a:pt x="8" y="115"/>
                  </a:moveTo>
                  <a:lnTo>
                    <a:pt x="8" y="119"/>
                  </a:lnTo>
                  <a:lnTo>
                    <a:pt x="12" y="119"/>
                  </a:lnTo>
                  <a:lnTo>
                    <a:pt x="12" y="115"/>
                  </a:lnTo>
                  <a:lnTo>
                    <a:pt x="12" y="119"/>
                  </a:lnTo>
                  <a:lnTo>
                    <a:pt x="12" y="123"/>
                  </a:lnTo>
                  <a:lnTo>
                    <a:pt x="12" y="127"/>
                  </a:lnTo>
                  <a:lnTo>
                    <a:pt x="16" y="127"/>
                  </a:lnTo>
                  <a:lnTo>
                    <a:pt x="20" y="127"/>
                  </a:lnTo>
                  <a:lnTo>
                    <a:pt x="20" y="131"/>
                  </a:lnTo>
                  <a:lnTo>
                    <a:pt x="24" y="131"/>
                  </a:lnTo>
                  <a:lnTo>
                    <a:pt x="28" y="131"/>
                  </a:lnTo>
                  <a:lnTo>
                    <a:pt x="32" y="127"/>
                  </a:lnTo>
                  <a:lnTo>
                    <a:pt x="36" y="131"/>
                  </a:lnTo>
                  <a:lnTo>
                    <a:pt x="40" y="131"/>
                  </a:lnTo>
                  <a:lnTo>
                    <a:pt x="40" y="127"/>
                  </a:lnTo>
                  <a:lnTo>
                    <a:pt x="44" y="127"/>
                  </a:lnTo>
                  <a:lnTo>
                    <a:pt x="44" y="123"/>
                  </a:lnTo>
                  <a:lnTo>
                    <a:pt x="48" y="123"/>
                  </a:lnTo>
                  <a:lnTo>
                    <a:pt x="52" y="119"/>
                  </a:lnTo>
                  <a:lnTo>
                    <a:pt x="52" y="115"/>
                  </a:lnTo>
                  <a:lnTo>
                    <a:pt x="52" y="111"/>
                  </a:lnTo>
                  <a:lnTo>
                    <a:pt x="52" y="103"/>
                  </a:lnTo>
                  <a:lnTo>
                    <a:pt x="52" y="99"/>
                  </a:lnTo>
                  <a:lnTo>
                    <a:pt x="52" y="95"/>
                  </a:lnTo>
                  <a:lnTo>
                    <a:pt x="52" y="83"/>
                  </a:lnTo>
                  <a:lnTo>
                    <a:pt x="52" y="72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60" y="60"/>
                  </a:lnTo>
                  <a:lnTo>
                    <a:pt x="60" y="64"/>
                  </a:lnTo>
                  <a:lnTo>
                    <a:pt x="64" y="68"/>
                  </a:lnTo>
                  <a:lnTo>
                    <a:pt x="60" y="68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3"/>
                  </a:lnTo>
                  <a:lnTo>
                    <a:pt x="60" y="83"/>
                  </a:lnTo>
                  <a:lnTo>
                    <a:pt x="60" y="87"/>
                  </a:lnTo>
                  <a:lnTo>
                    <a:pt x="60" y="91"/>
                  </a:lnTo>
                  <a:lnTo>
                    <a:pt x="64" y="91"/>
                  </a:lnTo>
                  <a:lnTo>
                    <a:pt x="68" y="91"/>
                  </a:lnTo>
                  <a:lnTo>
                    <a:pt x="72" y="91"/>
                  </a:lnTo>
                  <a:lnTo>
                    <a:pt x="76" y="91"/>
                  </a:lnTo>
                  <a:lnTo>
                    <a:pt x="80" y="91"/>
                  </a:lnTo>
                  <a:lnTo>
                    <a:pt x="80" y="87"/>
                  </a:lnTo>
                  <a:lnTo>
                    <a:pt x="84" y="87"/>
                  </a:lnTo>
                  <a:lnTo>
                    <a:pt x="84" y="83"/>
                  </a:lnTo>
                  <a:lnTo>
                    <a:pt x="84" y="80"/>
                  </a:lnTo>
                  <a:lnTo>
                    <a:pt x="88" y="80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64"/>
                  </a:lnTo>
                  <a:lnTo>
                    <a:pt x="96" y="60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8" y="64"/>
                  </a:lnTo>
                  <a:lnTo>
                    <a:pt x="112" y="68"/>
                  </a:lnTo>
                  <a:lnTo>
                    <a:pt x="116" y="68"/>
                  </a:lnTo>
                  <a:lnTo>
                    <a:pt x="116" y="72"/>
                  </a:lnTo>
                  <a:lnTo>
                    <a:pt x="120" y="72"/>
                  </a:lnTo>
                  <a:lnTo>
                    <a:pt x="120" y="68"/>
                  </a:lnTo>
                  <a:lnTo>
                    <a:pt x="120" y="72"/>
                  </a:lnTo>
                  <a:lnTo>
                    <a:pt x="124" y="72"/>
                  </a:lnTo>
                  <a:lnTo>
                    <a:pt x="128" y="72"/>
                  </a:lnTo>
                  <a:lnTo>
                    <a:pt x="128" y="68"/>
                  </a:lnTo>
                  <a:lnTo>
                    <a:pt x="128" y="72"/>
                  </a:lnTo>
                  <a:lnTo>
                    <a:pt x="132" y="72"/>
                  </a:lnTo>
                  <a:lnTo>
                    <a:pt x="132" y="68"/>
                  </a:lnTo>
                  <a:lnTo>
                    <a:pt x="136" y="68"/>
                  </a:lnTo>
                  <a:lnTo>
                    <a:pt x="136" y="64"/>
                  </a:lnTo>
                  <a:lnTo>
                    <a:pt x="140" y="60"/>
                  </a:lnTo>
                  <a:lnTo>
                    <a:pt x="140" y="56"/>
                  </a:lnTo>
                  <a:lnTo>
                    <a:pt x="140" y="52"/>
                  </a:lnTo>
                  <a:lnTo>
                    <a:pt x="144" y="48"/>
                  </a:lnTo>
                  <a:lnTo>
                    <a:pt x="148" y="48"/>
                  </a:lnTo>
                  <a:lnTo>
                    <a:pt x="152" y="48"/>
                  </a:lnTo>
                  <a:lnTo>
                    <a:pt x="152" y="44"/>
                  </a:lnTo>
                  <a:lnTo>
                    <a:pt x="156" y="44"/>
                  </a:lnTo>
                  <a:lnTo>
                    <a:pt x="156" y="40"/>
                  </a:lnTo>
                  <a:lnTo>
                    <a:pt x="156" y="36"/>
                  </a:lnTo>
                  <a:lnTo>
                    <a:pt x="156" y="32"/>
                  </a:lnTo>
                  <a:lnTo>
                    <a:pt x="156" y="28"/>
                  </a:lnTo>
                  <a:lnTo>
                    <a:pt x="160" y="28"/>
                  </a:lnTo>
                  <a:lnTo>
                    <a:pt x="164" y="24"/>
                  </a:lnTo>
                  <a:lnTo>
                    <a:pt x="168" y="24"/>
                  </a:lnTo>
                  <a:lnTo>
                    <a:pt x="168" y="20"/>
                  </a:lnTo>
                  <a:lnTo>
                    <a:pt x="172" y="16"/>
                  </a:lnTo>
                  <a:lnTo>
                    <a:pt x="175" y="12"/>
                  </a:lnTo>
                  <a:lnTo>
                    <a:pt x="175" y="8"/>
                  </a:lnTo>
                  <a:lnTo>
                    <a:pt x="179" y="8"/>
                  </a:lnTo>
                  <a:lnTo>
                    <a:pt x="183" y="8"/>
                  </a:lnTo>
                  <a:lnTo>
                    <a:pt x="187" y="8"/>
                  </a:lnTo>
                  <a:lnTo>
                    <a:pt x="187" y="4"/>
                  </a:lnTo>
                  <a:lnTo>
                    <a:pt x="191" y="0"/>
                  </a:lnTo>
                  <a:lnTo>
                    <a:pt x="195" y="0"/>
                  </a:lnTo>
                  <a:lnTo>
                    <a:pt x="199" y="0"/>
                  </a:lnTo>
                  <a:lnTo>
                    <a:pt x="203" y="0"/>
                  </a:lnTo>
                  <a:lnTo>
                    <a:pt x="203" y="4"/>
                  </a:lnTo>
                  <a:lnTo>
                    <a:pt x="207" y="4"/>
                  </a:lnTo>
                  <a:lnTo>
                    <a:pt x="211" y="4"/>
                  </a:lnTo>
                  <a:lnTo>
                    <a:pt x="215" y="4"/>
                  </a:lnTo>
                  <a:lnTo>
                    <a:pt x="219" y="4"/>
                  </a:lnTo>
                  <a:lnTo>
                    <a:pt x="223" y="4"/>
                  </a:lnTo>
                  <a:lnTo>
                    <a:pt x="223" y="8"/>
                  </a:lnTo>
                  <a:lnTo>
                    <a:pt x="227" y="20"/>
                  </a:lnTo>
                  <a:lnTo>
                    <a:pt x="227" y="24"/>
                  </a:lnTo>
                  <a:lnTo>
                    <a:pt x="227" y="28"/>
                  </a:lnTo>
                  <a:lnTo>
                    <a:pt x="227" y="32"/>
                  </a:lnTo>
                  <a:lnTo>
                    <a:pt x="231" y="32"/>
                  </a:lnTo>
                  <a:lnTo>
                    <a:pt x="231" y="36"/>
                  </a:lnTo>
                  <a:lnTo>
                    <a:pt x="231" y="40"/>
                  </a:lnTo>
                  <a:lnTo>
                    <a:pt x="231" y="44"/>
                  </a:lnTo>
                  <a:lnTo>
                    <a:pt x="235" y="44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31" y="56"/>
                  </a:lnTo>
                  <a:lnTo>
                    <a:pt x="235" y="56"/>
                  </a:lnTo>
                  <a:lnTo>
                    <a:pt x="231" y="64"/>
                  </a:lnTo>
                  <a:lnTo>
                    <a:pt x="231" y="68"/>
                  </a:lnTo>
                  <a:lnTo>
                    <a:pt x="231" y="72"/>
                  </a:lnTo>
                  <a:lnTo>
                    <a:pt x="231" y="76"/>
                  </a:lnTo>
                  <a:lnTo>
                    <a:pt x="231" y="72"/>
                  </a:lnTo>
                  <a:lnTo>
                    <a:pt x="227" y="72"/>
                  </a:lnTo>
                  <a:lnTo>
                    <a:pt x="223" y="68"/>
                  </a:lnTo>
                  <a:lnTo>
                    <a:pt x="219" y="72"/>
                  </a:lnTo>
                  <a:lnTo>
                    <a:pt x="219" y="76"/>
                  </a:lnTo>
                  <a:lnTo>
                    <a:pt x="219" y="80"/>
                  </a:lnTo>
                  <a:lnTo>
                    <a:pt x="215" y="80"/>
                  </a:lnTo>
                  <a:lnTo>
                    <a:pt x="215" y="83"/>
                  </a:lnTo>
                  <a:lnTo>
                    <a:pt x="215" y="87"/>
                  </a:lnTo>
                  <a:lnTo>
                    <a:pt x="215" y="91"/>
                  </a:lnTo>
                  <a:lnTo>
                    <a:pt x="215" y="87"/>
                  </a:lnTo>
                  <a:lnTo>
                    <a:pt x="215" y="91"/>
                  </a:lnTo>
                  <a:lnTo>
                    <a:pt x="219" y="91"/>
                  </a:lnTo>
                  <a:lnTo>
                    <a:pt x="219" y="95"/>
                  </a:lnTo>
                  <a:lnTo>
                    <a:pt x="219" y="99"/>
                  </a:lnTo>
                  <a:lnTo>
                    <a:pt x="223" y="99"/>
                  </a:lnTo>
                  <a:lnTo>
                    <a:pt x="227" y="99"/>
                  </a:lnTo>
                  <a:lnTo>
                    <a:pt x="231" y="99"/>
                  </a:lnTo>
                  <a:lnTo>
                    <a:pt x="231" y="95"/>
                  </a:lnTo>
                  <a:lnTo>
                    <a:pt x="231" y="91"/>
                  </a:lnTo>
                  <a:lnTo>
                    <a:pt x="235" y="91"/>
                  </a:lnTo>
                  <a:lnTo>
                    <a:pt x="239" y="91"/>
                  </a:lnTo>
                  <a:lnTo>
                    <a:pt x="243" y="91"/>
                  </a:lnTo>
                  <a:lnTo>
                    <a:pt x="247" y="91"/>
                  </a:lnTo>
                  <a:lnTo>
                    <a:pt x="247" y="95"/>
                  </a:lnTo>
                  <a:lnTo>
                    <a:pt x="243" y="99"/>
                  </a:lnTo>
                  <a:lnTo>
                    <a:pt x="243" y="103"/>
                  </a:lnTo>
                  <a:lnTo>
                    <a:pt x="243" y="107"/>
                  </a:lnTo>
                  <a:lnTo>
                    <a:pt x="243" y="111"/>
                  </a:lnTo>
                  <a:lnTo>
                    <a:pt x="243" y="115"/>
                  </a:lnTo>
                  <a:lnTo>
                    <a:pt x="239" y="115"/>
                  </a:lnTo>
                  <a:lnTo>
                    <a:pt x="239" y="119"/>
                  </a:lnTo>
                  <a:lnTo>
                    <a:pt x="239" y="123"/>
                  </a:lnTo>
                  <a:lnTo>
                    <a:pt x="235" y="127"/>
                  </a:lnTo>
                  <a:lnTo>
                    <a:pt x="235" y="131"/>
                  </a:lnTo>
                  <a:lnTo>
                    <a:pt x="231" y="131"/>
                  </a:lnTo>
                  <a:lnTo>
                    <a:pt x="227" y="131"/>
                  </a:lnTo>
                  <a:lnTo>
                    <a:pt x="227" y="135"/>
                  </a:lnTo>
                  <a:lnTo>
                    <a:pt x="223" y="139"/>
                  </a:lnTo>
                  <a:lnTo>
                    <a:pt x="219" y="143"/>
                  </a:lnTo>
                  <a:lnTo>
                    <a:pt x="219" y="147"/>
                  </a:lnTo>
                  <a:lnTo>
                    <a:pt x="219" y="151"/>
                  </a:lnTo>
                  <a:lnTo>
                    <a:pt x="215" y="151"/>
                  </a:lnTo>
                  <a:lnTo>
                    <a:pt x="215" y="155"/>
                  </a:lnTo>
                  <a:lnTo>
                    <a:pt x="215" y="159"/>
                  </a:lnTo>
                  <a:lnTo>
                    <a:pt x="211" y="159"/>
                  </a:lnTo>
                  <a:lnTo>
                    <a:pt x="211" y="167"/>
                  </a:lnTo>
                  <a:lnTo>
                    <a:pt x="207" y="167"/>
                  </a:lnTo>
                  <a:lnTo>
                    <a:pt x="207" y="171"/>
                  </a:lnTo>
                  <a:lnTo>
                    <a:pt x="203" y="175"/>
                  </a:lnTo>
                  <a:lnTo>
                    <a:pt x="203" y="179"/>
                  </a:lnTo>
                  <a:lnTo>
                    <a:pt x="199" y="179"/>
                  </a:lnTo>
                  <a:lnTo>
                    <a:pt x="199" y="183"/>
                  </a:lnTo>
                  <a:lnTo>
                    <a:pt x="195" y="183"/>
                  </a:lnTo>
                  <a:lnTo>
                    <a:pt x="195" y="187"/>
                  </a:lnTo>
                  <a:lnTo>
                    <a:pt x="191" y="187"/>
                  </a:lnTo>
                  <a:lnTo>
                    <a:pt x="191" y="191"/>
                  </a:lnTo>
                  <a:lnTo>
                    <a:pt x="187" y="191"/>
                  </a:lnTo>
                  <a:lnTo>
                    <a:pt x="187" y="195"/>
                  </a:lnTo>
                  <a:lnTo>
                    <a:pt x="183" y="199"/>
                  </a:lnTo>
                  <a:lnTo>
                    <a:pt x="179" y="203"/>
                  </a:lnTo>
                  <a:lnTo>
                    <a:pt x="179" y="207"/>
                  </a:lnTo>
                  <a:lnTo>
                    <a:pt x="175" y="207"/>
                  </a:lnTo>
                  <a:lnTo>
                    <a:pt x="175" y="211"/>
                  </a:lnTo>
                  <a:lnTo>
                    <a:pt x="172" y="211"/>
                  </a:lnTo>
                  <a:lnTo>
                    <a:pt x="168" y="211"/>
                  </a:lnTo>
                  <a:lnTo>
                    <a:pt x="168" y="215"/>
                  </a:lnTo>
                  <a:lnTo>
                    <a:pt x="164" y="219"/>
                  </a:lnTo>
                  <a:lnTo>
                    <a:pt x="160" y="219"/>
                  </a:lnTo>
                  <a:lnTo>
                    <a:pt x="160" y="223"/>
                  </a:lnTo>
                  <a:lnTo>
                    <a:pt x="156" y="223"/>
                  </a:lnTo>
                  <a:lnTo>
                    <a:pt x="152" y="223"/>
                  </a:lnTo>
                  <a:lnTo>
                    <a:pt x="152" y="227"/>
                  </a:lnTo>
                  <a:lnTo>
                    <a:pt x="148" y="227"/>
                  </a:lnTo>
                  <a:lnTo>
                    <a:pt x="144" y="227"/>
                  </a:lnTo>
                  <a:lnTo>
                    <a:pt x="140" y="227"/>
                  </a:lnTo>
                  <a:lnTo>
                    <a:pt x="136" y="227"/>
                  </a:lnTo>
                  <a:lnTo>
                    <a:pt x="136" y="231"/>
                  </a:lnTo>
                  <a:lnTo>
                    <a:pt x="140" y="231"/>
                  </a:lnTo>
                  <a:lnTo>
                    <a:pt x="136" y="231"/>
                  </a:lnTo>
                  <a:lnTo>
                    <a:pt x="132" y="231"/>
                  </a:lnTo>
                  <a:lnTo>
                    <a:pt x="128" y="231"/>
                  </a:lnTo>
                  <a:lnTo>
                    <a:pt x="124" y="235"/>
                  </a:lnTo>
                  <a:lnTo>
                    <a:pt x="120" y="235"/>
                  </a:lnTo>
                  <a:lnTo>
                    <a:pt x="112" y="231"/>
                  </a:lnTo>
                  <a:lnTo>
                    <a:pt x="108" y="231"/>
                  </a:lnTo>
                  <a:lnTo>
                    <a:pt x="104" y="231"/>
                  </a:lnTo>
                  <a:lnTo>
                    <a:pt x="100" y="231"/>
                  </a:lnTo>
                  <a:lnTo>
                    <a:pt x="96" y="231"/>
                  </a:lnTo>
                  <a:lnTo>
                    <a:pt x="92" y="231"/>
                  </a:lnTo>
                  <a:lnTo>
                    <a:pt x="88" y="231"/>
                  </a:lnTo>
                  <a:lnTo>
                    <a:pt x="84" y="231"/>
                  </a:lnTo>
                  <a:lnTo>
                    <a:pt x="84" y="235"/>
                  </a:lnTo>
                  <a:lnTo>
                    <a:pt x="80" y="235"/>
                  </a:lnTo>
                  <a:lnTo>
                    <a:pt x="80" y="239"/>
                  </a:lnTo>
                  <a:lnTo>
                    <a:pt x="76" y="239"/>
                  </a:lnTo>
                  <a:lnTo>
                    <a:pt x="72" y="239"/>
                  </a:lnTo>
                  <a:lnTo>
                    <a:pt x="68" y="239"/>
                  </a:lnTo>
                  <a:lnTo>
                    <a:pt x="64" y="239"/>
                  </a:lnTo>
                  <a:lnTo>
                    <a:pt x="60" y="239"/>
                  </a:lnTo>
                  <a:lnTo>
                    <a:pt x="60" y="243"/>
                  </a:lnTo>
                  <a:lnTo>
                    <a:pt x="56" y="243"/>
                  </a:lnTo>
                  <a:lnTo>
                    <a:pt x="52" y="247"/>
                  </a:lnTo>
                  <a:lnTo>
                    <a:pt x="48" y="247"/>
                  </a:lnTo>
                  <a:lnTo>
                    <a:pt x="44" y="247"/>
                  </a:lnTo>
                  <a:lnTo>
                    <a:pt x="44" y="243"/>
                  </a:lnTo>
                  <a:lnTo>
                    <a:pt x="40" y="243"/>
                  </a:lnTo>
                  <a:lnTo>
                    <a:pt x="40" y="239"/>
                  </a:lnTo>
                  <a:lnTo>
                    <a:pt x="36" y="239"/>
                  </a:lnTo>
                  <a:lnTo>
                    <a:pt x="32" y="239"/>
                  </a:lnTo>
                  <a:lnTo>
                    <a:pt x="32" y="235"/>
                  </a:lnTo>
                  <a:lnTo>
                    <a:pt x="36" y="235"/>
                  </a:lnTo>
                  <a:lnTo>
                    <a:pt x="32" y="235"/>
                  </a:lnTo>
                  <a:lnTo>
                    <a:pt x="32" y="231"/>
                  </a:lnTo>
                  <a:lnTo>
                    <a:pt x="28" y="231"/>
                  </a:lnTo>
                  <a:lnTo>
                    <a:pt x="28" y="235"/>
                  </a:lnTo>
                  <a:lnTo>
                    <a:pt x="28" y="239"/>
                  </a:lnTo>
                  <a:lnTo>
                    <a:pt x="28" y="235"/>
                  </a:lnTo>
                  <a:lnTo>
                    <a:pt x="24" y="231"/>
                  </a:lnTo>
                  <a:lnTo>
                    <a:pt x="28" y="231"/>
                  </a:lnTo>
                  <a:lnTo>
                    <a:pt x="28" y="227"/>
                  </a:lnTo>
                  <a:lnTo>
                    <a:pt x="28" y="231"/>
                  </a:lnTo>
                  <a:lnTo>
                    <a:pt x="28" y="227"/>
                  </a:lnTo>
                  <a:lnTo>
                    <a:pt x="28" y="223"/>
                  </a:lnTo>
                  <a:lnTo>
                    <a:pt x="24" y="219"/>
                  </a:lnTo>
                  <a:lnTo>
                    <a:pt x="24" y="215"/>
                  </a:lnTo>
                  <a:lnTo>
                    <a:pt x="20" y="211"/>
                  </a:lnTo>
                  <a:lnTo>
                    <a:pt x="20" y="207"/>
                  </a:lnTo>
                  <a:lnTo>
                    <a:pt x="24" y="207"/>
                  </a:lnTo>
                  <a:lnTo>
                    <a:pt x="24" y="203"/>
                  </a:lnTo>
                  <a:lnTo>
                    <a:pt x="28" y="203"/>
                  </a:lnTo>
                  <a:lnTo>
                    <a:pt x="28" y="199"/>
                  </a:lnTo>
                  <a:lnTo>
                    <a:pt x="28" y="195"/>
                  </a:lnTo>
                  <a:lnTo>
                    <a:pt x="24" y="195"/>
                  </a:lnTo>
                  <a:lnTo>
                    <a:pt x="24" y="191"/>
                  </a:lnTo>
                  <a:lnTo>
                    <a:pt x="24" y="187"/>
                  </a:lnTo>
                  <a:lnTo>
                    <a:pt x="24" y="183"/>
                  </a:lnTo>
                  <a:lnTo>
                    <a:pt x="20" y="183"/>
                  </a:lnTo>
                  <a:lnTo>
                    <a:pt x="20" y="179"/>
                  </a:lnTo>
                  <a:lnTo>
                    <a:pt x="20" y="175"/>
                  </a:lnTo>
                  <a:lnTo>
                    <a:pt x="16" y="175"/>
                  </a:lnTo>
                  <a:lnTo>
                    <a:pt x="16" y="171"/>
                  </a:lnTo>
                  <a:lnTo>
                    <a:pt x="12" y="167"/>
                  </a:lnTo>
                  <a:lnTo>
                    <a:pt x="12" y="163"/>
                  </a:lnTo>
                  <a:lnTo>
                    <a:pt x="12" y="159"/>
                  </a:lnTo>
                  <a:lnTo>
                    <a:pt x="8" y="155"/>
                  </a:lnTo>
                  <a:lnTo>
                    <a:pt x="8" y="151"/>
                  </a:lnTo>
                  <a:lnTo>
                    <a:pt x="8" y="147"/>
                  </a:lnTo>
                  <a:lnTo>
                    <a:pt x="8" y="143"/>
                  </a:lnTo>
                  <a:lnTo>
                    <a:pt x="4" y="139"/>
                  </a:lnTo>
                  <a:lnTo>
                    <a:pt x="4" y="135"/>
                  </a:lnTo>
                  <a:lnTo>
                    <a:pt x="0" y="131"/>
                  </a:lnTo>
                  <a:lnTo>
                    <a:pt x="0" y="127"/>
                  </a:lnTo>
                  <a:lnTo>
                    <a:pt x="0" y="123"/>
                  </a:lnTo>
                  <a:lnTo>
                    <a:pt x="4" y="123"/>
                  </a:lnTo>
                  <a:lnTo>
                    <a:pt x="4" y="119"/>
                  </a:lnTo>
                  <a:lnTo>
                    <a:pt x="4" y="115"/>
                  </a:lnTo>
                  <a:lnTo>
                    <a:pt x="8" y="115"/>
                  </a:lnTo>
                  <a:close/>
                  <a:moveTo>
                    <a:pt x="191" y="143"/>
                  </a:moveTo>
                  <a:lnTo>
                    <a:pt x="191" y="139"/>
                  </a:lnTo>
                  <a:lnTo>
                    <a:pt x="195" y="139"/>
                  </a:lnTo>
                  <a:lnTo>
                    <a:pt x="191" y="135"/>
                  </a:lnTo>
                  <a:lnTo>
                    <a:pt x="191" y="131"/>
                  </a:lnTo>
                  <a:lnTo>
                    <a:pt x="187" y="131"/>
                  </a:lnTo>
                  <a:lnTo>
                    <a:pt x="187" y="127"/>
                  </a:lnTo>
                  <a:lnTo>
                    <a:pt x="183" y="127"/>
                  </a:lnTo>
                  <a:lnTo>
                    <a:pt x="183" y="123"/>
                  </a:lnTo>
                  <a:lnTo>
                    <a:pt x="179" y="123"/>
                  </a:lnTo>
                  <a:lnTo>
                    <a:pt x="179" y="127"/>
                  </a:lnTo>
                  <a:lnTo>
                    <a:pt x="175" y="127"/>
                  </a:lnTo>
                  <a:lnTo>
                    <a:pt x="172" y="131"/>
                  </a:lnTo>
                  <a:lnTo>
                    <a:pt x="168" y="131"/>
                  </a:lnTo>
                  <a:lnTo>
                    <a:pt x="168" y="135"/>
                  </a:lnTo>
                  <a:lnTo>
                    <a:pt x="164" y="139"/>
                  </a:lnTo>
                  <a:lnTo>
                    <a:pt x="164" y="143"/>
                  </a:lnTo>
                  <a:lnTo>
                    <a:pt x="160" y="143"/>
                  </a:lnTo>
                  <a:lnTo>
                    <a:pt x="160" y="147"/>
                  </a:lnTo>
                  <a:lnTo>
                    <a:pt x="160" y="151"/>
                  </a:lnTo>
                  <a:lnTo>
                    <a:pt x="164" y="151"/>
                  </a:lnTo>
                  <a:lnTo>
                    <a:pt x="164" y="155"/>
                  </a:lnTo>
                  <a:lnTo>
                    <a:pt x="164" y="159"/>
                  </a:lnTo>
                  <a:lnTo>
                    <a:pt x="168" y="159"/>
                  </a:lnTo>
                  <a:lnTo>
                    <a:pt x="168" y="163"/>
                  </a:lnTo>
                  <a:lnTo>
                    <a:pt x="172" y="163"/>
                  </a:lnTo>
                  <a:lnTo>
                    <a:pt x="175" y="163"/>
                  </a:lnTo>
                  <a:lnTo>
                    <a:pt x="175" y="159"/>
                  </a:lnTo>
                  <a:lnTo>
                    <a:pt x="175" y="155"/>
                  </a:lnTo>
                  <a:lnTo>
                    <a:pt x="179" y="155"/>
                  </a:lnTo>
                  <a:lnTo>
                    <a:pt x="183" y="155"/>
                  </a:lnTo>
                  <a:lnTo>
                    <a:pt x="187" y="151"/>
                  </a:lnTo>
                  <a:lnTo>
                    <a:pt x="191" y="151"/>
                  </a:lnTo>
                  <a:lnTo>
                    <a:pt x="191" y="147"/>
                  </a:lnTo>
                  <a:lnTo>
                    <a:pt x="191" y="143"/>
                  </a:lnTo>
                  <a:close/>
                  <a:moveTo>
                    <a:pt x="323" y="503"/>
                  </a:moveTo>
                  <a:lnTo>
                    <a:pt x="319" y="503"/>
                  </a:lnTo>
                  <a:lnTo>
                    <a:pt x="319" y="499"/>
                  </a:lnTo>
                  <a:lnTo>
                    <a:pt x="323" y="499"/>
                  </a:lnTo>
                  <a:lnTo>
                    <a:pt x="323" y="50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8" name="Freeform 187"/>
            <p:cNvSpPr>
              <a:spLocks noEditPoints="1"/>
            </p:cNvSpPr>
            <p:nvPr>
              <p:custDataLst>
                <p:tags r:id="rId380"/>
              </p:custDataLst>
            </p:nvPr>
          </p:nvSpPr>
          <p:spPr bwMode="gray">
            <a:xfrm>
              <a:off x="3966735" y="3350181"/>
              <a:ext cx="504242" cy="479029"/>
            </a:xfrm>
            <a:custGeom>
              <a:avLst/>
              <a:gdLst/>
              <a:ahLst/>
              <a:cxnLst>
                <a:cxn ang="0">
                  <a:pos x="224" y="4"/>
                </a:cxn>
                <a:cxn ang="0">
                  <a:pos x="236" y="4"/>
                </a:cxn>
                <a:cxn ang="0">
                  <a:pos x="252" y="8"/>
                </a:cxn>
                <a:cxn ang="0">
                  <a:pos x="256" y="16"/>
                </a:cxn>
                <a:cxn ang="0">
                  <a:pos x="272" y="20"/>
                </a:cxn>
                <a:cxn ang="0">
                  <a:pos x="284" y="20"/>
                </a:cxn>
                <a:cxn ang="0">
                  <a:pos x="296" y="20"/>
                </a:cxn>
                <a:cxn ang="0">
                  <a:pos x="308" y="27"/>
                </a:cxn>
                <a:cxn ang="0">
                  <a:pos x="328" y="27"/>
                </a:cxn>
                <a:cxn ang="0">
                  <a:pos x="316" y="43"/>
                </a:cxn>
                <a:cxn ang="0">
                  <a:pos x="300" y="51"/>
                </a:cxn>
                <a:cxn ang="0">
                  <a:pos x="288" y="63"/>
                </a:cxn>
                <a:cxn ang="0">
                  <a:pos x="284" y="63"/>
                </a:cxn>
                <a:cxn ang="0">
                  <a:pos x="272" y="83"/>
                </a:cxn>
                <a:cxn ang="0">
                  <a:pos x="280" y="99"/>
                </a:cxn>
                <a:cxn ang="0">
                  <a:pos x="272" y="111"/>
                </a:cxn>
                <a:cxn ang="0">
                  <a:pos x="264" y="123"/>
                </a:cxn>
                <a:cxn ang="0">
                  <a:pos x="252" y="131"/>
                </a:cxn>
                <a:cxn ang="0">
                  <a:pos x="240" y="143"/>
                </a:cxn>
                <a:cxn ang="0">
                  <a:pos x="224" y="143"/>
                </a:cxn>
                <a:cxn ang="0">
                  <a:pos x="208" y="147"/>
                </a:cxn>
                <a:cxn ang="0">
                  <a:pos x="196" y="155"/>
                </a:cxn>
                <a:cxn ang="0">
                  <a:pos x="184" y="155"/>
                </a:cxn>
                <a:cxn ang="0">
                  <a:pos x="180" y="143"/>
                </a:cxn>
                <a:cxn ang="0">
                  <a:pos x="164" y="131"/>
                </a:cxn>
                <a:cxn ang="0">
                  <a:pos x="168" y="119"/>
                </a:cxn>
                <a:cxn ang="0">
                  <a:pos x="164" y="107"/>
                </a:cxn>
                <a:cxn ang="0">
                  <a:pos x="168" y="95"/>
                </a:cxn>
                <a:cxn ang="0">
                  <a:pos x="168" y="83"/>
                </a:cxn>
                <a:cxn ang="0">
                  <a:pos x="172" y="67"/>
                </a:cxn>
                <a:cxn ang="0">
                  <a:pos x="180" y="51"/>
                </a:cxn>
                <a:cxn ang="0">
                  <a:pos x="176" y="43"/>
                </a:cxn>
                <a:cxn ang="0">
                  <a:pos x="168" y="39"/>
                </a:cxn>
                <a:cxn ang="0">
                  <a:pos x="152" y="35"/>
                </a:cxn>
                <a:cxn ang="0">
                  <a:pos x="140" y="39"/>
                </a:cxn>
                <a:cxn ang="0">
                  <a:pos x="144" y="31"/>
                </a:cxn>
                <a:cxn ang="0">
                  <a:pos x="140" y="24"/>
                </a:cxn>
                <a:cxn ang="0">
                  <a:pos x="144" y="20"/>
                </a:cxn>
                <a:cxn ang="0">
                  <a:pos x="136" y="12"/>
                </a:cxn>
                <a:cxn ang="0">
                  <a:pos x="152" y="4"/>
                </a:cxn>
                <a:cxn ang="0">
                  <a:pos x="168" y="4"/>
                </a:cxn>
                <a:cxn ang="0">
                  <a:pos x="188" y="0"/>
                </a:cxn>
                <a:cxn ang="0">
                  <a:pos x="204" y="4"/>
                </a:cxn>
                <a:cxn ang="0">
                  <a:pos x="196" y="163"/>
                </a:cxn>
                <a:cxn ang="0">
                  <a:pos x="336" y="79"/>
                </a:cxn>
                <a:cxn ang="0">
                  <a:pos x="312" y="87"/>
                </a:cxn>
                <a:cxn ang="0">
                  <a:pos x="324" y="83"/>
                </a:cxn>
                <a:cxn ang="0">
                  <a:pos x="320" y="91"/>
                </a:cxn>
                <a:cxn ang="0">
                  <a:pos x="296" y="95"/>
                </a:cxn>
                <a:cxn ang="0">
                  <a:pos x="300" y="103"/>
                </a:cxn>
                <a:cxn ang="0">
                  <a:pos x="68" y="299"/>
                </a:cxn>
                <a:cxn ang="0">
                  <a:pos x="68" y="303"/>
                </a:cxn>
                <a:cxn ang="0">
                  <a:pos x="4" y="303"/>
                </a:cxn>
                <a:cxn ang="0">
                  <a:pos x="60" y="315"/>
                </a:cxn>
                <a:cxn ang="0">
                  <a:pos x="68" y="307"/>
                </a:cxn>
                <a:cxn ang="0">
                  <a:pos x="24" y="315"/>
                </a:cxn>
                <a:cxn ang="0">
                  <a:pos x="32" y="307"/>
                </a:cxn>
                <a:cxn ang="0">
                  <a:pos x="24" y="319"/>
                </a:cxn>
                <a:cxn ang="0">
                  <a:pos x="40" y="323"/>
                </a:cxn>
                <a:cxn ang="0">
                  <a:pos x="44" y="319"/>
                </a:cxn>
                <a:cxn ang="0">
                  <a:pos x="4" y="319"/>
                </a:cxn>
              </a:cxnLst>
              <a:rect l="0" t="0" r="r" b="b"/>
              <a:pathLst>
                <a:path w="340" h="323">
                  <a:moveTo>
                    <a:pt x="208" y="8"/>
                  </a:moveTo>
                  <a:lnTo>
                    <a:pt x="212" y="8"/>
                  </a:lnTo>
                  <a:lnTo>
                    <a:pt x="216" y="4"/>
                  </a:lnTo>
                  <a:lnTo>
                    <a:pt x="220" y="4"/>
                  </a:lnTo>
                  <a:lnTo>
                    <a:pt x="224" y="4"/>
                  </a:lnTo>
                  <a:lnTo>
                    <a:pt x="224" y="8"/>
                  </a:lnTo>
                  <a:lnTo>
                    <a:pt x="228" y="8"/>
                  </a:lnTo>
                  <a:lnTo>
                    <a:pt x="232" y="8"/>
                  </a:lnTo>
                  <a:lnTo>
                    <a:pt x="232" y="4"/>
                  </a:lnTo>
                  <a:lnTo>
                    <a:pt x="236" y="4"/>
                  </a:lnTo>
                  <a:lnTo>
                    <a:pt x="236" y="8"/>
                  </a:lnTo>
                  <a:lnTo>
                    <a:pt x="240" y="8"/>
                  </a:lnTo>
                  <a:lnTo>
                    <a:pt x="244" y="8"/>
                  </a:lnTo>
                  <a:lnTo>
                    <a:pt x="248" y="8"/>
                  </a:lnTo>
                  <a:lnTo>
                    <a:pt x="252" y="8"/>
                  </a:lnTo>
                  <a:lnTo>
                    <a:pt x="256" y="8"/>
                  </a:lnTo>
                  <a:lnTo>
                    <a:pt x="256" y="12"/>
                  </a:lnTo>
                  <a:lnTo>
                    <a:pt x="252" y="12"/>
                  </a:lnTo>
                  <a:lnTo>
                    <a:pt x="256" y="12"/>
                  </a:lnTo>
                  <a:lnTo>
                    <a:pt x="256" y="16"/>
                  </a:lnTo>
                  <a:lnTo>
                    <a:pt x="256" y="12"/>
                  </a:lnTo>
                  <a:lnTo>
                    <a:pt x="260" y="16"/>
                  </a:lnTo>
                  <a:lnTo>
                    <a:pt x="264" y="16"/>
                  </a:lnTo>
                  <a:lnTo>
                    <a:pt x="268" y="20"/>
                  </a:lnTo>
                  <a:lnTo>
                    <a:pt x="272" y="20"/>
                  </a:lnTo>
                  <a:lnTo>
                    <a:pt x="276" y="20"/>
                  </a:lnTo>
                  <a:lnTo>
                    <a:pt x="280" y="20"/>
                  </a:lnTo>
                  <a:lnTo>
                    <a:pt x="284" y="20"/>
                  </a:lnTo>
                  <a:lnTo>
                    <a:pt x="288" y="20"/>
                  </a:lnTo>
                  <a:lnTo>
                    <a:pt x="284" y="20"/>
                  </a:lnTo>
                  <a:lnTo>
                    <a:pt x="288" y="20"/>
                  </a:lnTo>
                  <a:lnTo>
                    <a:pt x="288" y="16"/>
                  </a:lnTo>
                  <a:lnTo>
                    <a:pt x="288" y="20"/>
                  </a:lnTo>
                  <a:lnTo>
                    <a:pt x="292" y="20"/>
                  </a:lnTo>
                  <a:lnTo>
                    <a:pt x="296" y="20"/>
                  </a:lnTo>
                  <a:lnTo>
                    <a:pt x="296" y="24"/>
                  </a:lnTo>
                  <a:lnTo>
                    <a:pt x="300" y="27"/>
                  </a:lnTo>
                  <a:lnTo>
                    <a:pt x="304" y="24"/>
                  </a:lnTo>
                  <a:lnTo>
                    <a:pt x="304" y="27"/>
                  </a:lnTo>
                  <a:lnTo>
                    <a:pt x="308" y="27"/>
                  </a:lnTo>
                  <a:lnTo>
                    <a:pt x="312" y="27"/>
                  </a:lnTo>
                  <a:lnTo>
                    <a:pt x="316" y="27"/>
                  </a:lnTo>
                  <a:lnTo>
                    <a:pt x="320" y="24"/>
                  </a:lnTo>
                  <a:lnTo>
                    <a:pt x="324" y="27"/>
                  </a:lnTo>
                  <a:lnTo>
                    <a:pt x="328" y="27"/>
                  </a:lnTo>
                  <a:lnTo>
                    <a:pt x="324" y="31"/>
                  </a:lnTo>
                  <a:lnTo>
                    <a:pt x="324" y="35"/>
                  </a:lnTo>
                  <a:lnTo>
                    <a:pt x="324" y="39"/>
                  </a:lnTo>
                  <a:lnTo>
                    <a:pt x="320" y="39"/>
                  </a:lnTo>
                  <a:lnTo>
                    <a:pt x="316" y="43"/>
                  </a:lnTo>
                  <a:lnTo>
                    <a:pt x="312" y="47"/>
                  </a:lnTo>
                  <a:lnTo>
                    <a:pt x="308" y="47"/>
                  </a:lnTo>
                  <a:lnTo>
                    <a:pt x="308" y="51"/>
                  </a:lnTo>
                  <a:lnTo>
                    <a:pt x="304" y="51"/>
                  </a:lnTo>
                  <a:lnTo>
                    <a:pt x="300" y="51"/>
                  </a:lnTo>
                  <a:lnTo>
                    <a:pt x="296" y="55"/>
                  </a:lnTo>
                  <a:lnTo>
                    <a:pt x="292" y="55"/>
                  </a:lnTo>
                  <a:lnTo>
                    <a:pt x="288" y="55"/>
                  </a:lnTo>
                  <a:lnTo>
                    <a:pt x="288" y="59"/>
                  </a:lnTo>
                  <a:lnTo>
                    <a:pt x="288" y="63"/>
                  </a:lnTo>
                  <a:lnTo>
                    <a:pt x="288" y="67"/>
                  </a:lnTo>
                  <a:lnTo>
                    <a:pt x="284" y="67"/>
                  </a:lnTo>
                  <a:lnTo>
                    <a:pt x="284" y="63"/>
                  </a:lnTo>
                  <a:lnTo>
                    <a:pt x="288" y="63"/>
                  </a:lnTo>
                  <a:lnTo>
                    <a:pt x="284" y="63"/>
                  </a:lnTo>
                  <a:lnTo>
                    <a:pt x="284" y="67"/>
                  </a:lnTo>
                  <a:lnTo>
                    <a:pt x="280" y="71"/>
                  </a:lnTo>
                  <a:lnTo>
                    <a:pt x="276" y="75"/>
                  </a:lnTo>
                  <a:lnTo>
                    <a:pt x="276" y="79"/>
                  </a:lnTo>
                  <a:lnTo>
                    <a:pt x="272" y="83"/>
                  </a:lnTo>
                  <a:lnTo>
                    <a:pt x="272" y="87"/>
                  </a:lnTo>
                  <a:lnTo>
                    <a:pt x="272" y="95"/>
                  </a:lnTo>
                  <a:lnTo>
                    <a:pt x="272" y="99"/>
                  </a:lnTo>
                  <a:lnTo>
                    <a:pt x="276" y="99"/>
                  </a:lnTo>
                  <a:lnTo>
                    <a:pt x="280" y="99"/>
                  </a:lnTo>
                  <a:lnTo>
                    <a:pt x="280" y="103"/>
                  </a:lnTo>
                  <a:lnTo>
                    <a:pt x="276" y="103"/>
                  </a:lnTo>
                  <a:lnTo>
                    <a:pt x="276" y="107"/>
                  </a:lnTo>
                  <a:lnTo>
                    <a:pt x="272" y="107"/>
                  </a:lnTo>
                  <a:lnTo>
                    <a:pt x="272" y="111"/>
                  </a:lnTo>
                  <a:lnTo>
                    <a:pt x="268" y="111"/>
                  </a:lnTo>
                  <a:lnTo>
                    <a:pt x="268" y="115"/>
                  </a:lnTo>
                  <a:lnTo>
                    <a:pt x="268" y="119"/>
                  </a:lnTo>
                  <a:lnTo>
                    <a:pt x="264" y="119"/>
                  </a:lnTo>
                  <a:lnTo>
                    <a:pt x="264" y="123"/>
                  </a:lnTo>
                  <a:lnTo>
                    <a:pt x="264" y="127"/>
                  </a:lnTo>
                  <a:lnTo>
                    <a:pt x="260" y="127"/>
                  </a:lnTo>
                  <a:lnTo>
                    <a:pt x="256" y="127"/>
                  </a:lnTo>
                  <a:lnTo>
                    <a:pt x="252" y="127"/>
                  </a:lnTo>
                  <a:lnTo>
                    <a:pt x="252" y="131"/>
                  </a:lnTo>
                  <a:lnTo>
                    <a:pt x="248" y="135"/>
                  </a:lnTo>
                  <a:lnTo>
                    <a:pt x="248" y="139"/>
                  </a:lnTo>
                  <a:lnTo>
                    <a:pt x="244" y="139"/>
                  </a:lnTo>
                  <a:lnTo>
                    <a:pt x="244" y="143"/>
                  </a:lnTo>
                  <a:lnTo>
                    <a:pt x="240" y="143"/>
                  </a:lnTo>
                  <a:lnTo>
                    <a:pt x="236" y="143"/>
                  </a:lnTo>
                  <a:lnTo>
                    <a:pt x="232" y="147"/>
                  </a:lnTo>
                  <a:lnTo>
                    <a:pt x="232" y="143"/>
                  </a:lnTo>
                  <a:lnTo>
                    <a:pt x="228" y="143"/>
                  </a:lnTo>
                  <a:lnTo>
                    <a:pt x="224" y="143"/>
                  </a:lnTo>
                  <a:lnTo>
                    <a:pt x="220" y="143"/>
                  </a:lnTo>
                  <a:lnTo>
                    <a:pt x="216" y="143"/>
                  </a:lnTo>
                  <a:lnTo>
                    <a:pt x="212" y="143"/>
                  </a:lnTo>
                  <a:lnTo>
                    <a:pt x="208" y="143"/>
                  </a:lnTo>
                  <a:lnTo>
                    <a:pt x="208" y="147"/>
                  </a:lnTo>
                  <a:lnTo>
                    <a:pt x="204" y="147"/>
                  </a:lnTo>
                  <a:lnTo>
                    <a:pt x="200" y="147"/>
                  </a:lnTo>
                  <a:lnTo>
                    <a:pt x="200" y="151"/>
                  </a:lnTo>
                  <a:lnTo>
                    <a:pt x="196" y="151"/>
                  </a:lnTo>
                  <a:lnTo>
                    <a:pt x="196" y="155"/>
                  </a:lnTo>
                  <a:lnTo>
                    <a:pt x="192" y="155"/>
                  </a:lnTo>
                  <a:lnTo>
                    <a:pt x="192" y="159"/>
                  </a:lnTo>
                  <a:lnTo>
                    <a:pt x="188" y="159"/>
                  </a:lnTo>
                  <a:lnTo>
                    <a:pt x="188" y="155"/>
                  </a:lnTo>
                  <a:lnTo>
                    <a:pt x="184" y="155"/>
                  </a:lnTo>
                  <a:lnTo>
                    <a:pt x="184" y="151"/>
                  </a:lnTo>
                  <a:lnTo>
                    <a:pt x="180" y="151"/>
                  </a:lnTo>
                  <a:lnTo>
                    <a:pt x="184" y="147"/>
                  </a:lnTo>
                  <a:lnTo>
                    <a:pt x="180" y="147"/>
                  </a:lnTo>
                  <a:lnTo>
                    <a:pt x="180" y="143"/>
                  </a:lnTo>
                  <a:lnTo>
                    <a:pt x="176" y="139"/>
                  </a:lnTo>
                  <a:lnTo>
                    <a:pt x="172" y="135"/>
                  </a:lnTo>
                  <a:lnTo>
                    <a:pt x="168" y="135"/>
                  </a:lnTo>
                  <a:lnTo>
                    <a:pt x="164" y="135"/>
                  </a:lnTo>
                  <a:lnTo>
                    <a:pt x="164" y="131"/>
                  </a:lnTo>
                  <a:lnTo>
                    <a:pt x="164" y="127"/>
                  </a:lnTo>
                  <a:lnTo>
                    <a:pt x="160" y="127"/>
                  </a:lnTo>
                  <a:lnTo>
                    <a:pt x="164" y="123"/>
                  </a:lnTo>
                  <a:lnTo>
                    <a:pt x="164" y="119"/>
                  </a:lnTo>
                  <a:lnTo>
                    <a:pt x="168" y="119"/>
                  </a:lnTo>
                  <a:lnTo>
                    <a:pt x="172" y="115"/>
                  </a:lnTo>
                  <a:lnTo>
                    <a:pt x="168" y="115"/>
                  </a:lnTo>
                  <a:lnTo>
                    <a:pt x="168" y="111"/>
                  </a:lnTo>
                  <a:lnTo>
                    <a:pt x="164" y="111"/>
                  </a:lnTo>
                  <a:lnTo>
                    <a:pt x="164" y="107"/>
                  </a:lnTo>
                  <a:lnTo>
                    <a:pt x="164" y="103"/>
                  </a:lnTo>
                  <a:lnTo>
                    <a:pt x="168" y="103"/>
                  </a:lnTo>
                  <a:lnTo>
                    <a:pt x="168" y="99"/>
                  </a:lnTo>
                  <a:lnTo>
                    <a:pt x="172" y="95"/>
                  </a:lnTo>
                  <a:lnTo>
                    <a:pt x="168" y="95"/>
                  </a:lnTo>
                  <a:lnTo>
                    <a:pt x="164" y="91"/>
                  </a:lnTo>
                  <a:lnTo>
                    <a:pt x="164" y="87"/>
                  </a:lnTo>
                  <a:lnTo>
                    <a:pt x="160" y="83"/>
                  </a:lnTo>
                  <a:lnTo>
                    <a:pt x="164" y="83"/>
                  </a:lnTo>
                  <a:lnTo>
                    <a:pt x="168" y="83"/>
                  </a:lnTo>
                  <a:lnTo>
                    <a:pt x="172" y="75"/>
                  </a:lnTo>
                  <a:lnTo>
                    <a:pt x="168" y="75"/>
                  </a:lnTo>
                  <a:lnTo>
                    <a:pt x="168" y="71"/>
                  </a:lnTo>
                  <a:lnTo>
                    <a:pt x="172" y="71"/>
                  </a:lnTo>
                  <a:lnTo>
                    <a:pt x="172" y="67"/>
                  </a:lnTo>
                  <a:lnTo>
                    <a:pt x="172" y="63"/>
                  </a:lnTo>
                  <a:lnTo>
                    <a:pt x="172" y="59"/>
                  </a:lnTo>
                  <a:lnTo>
                    <a:pt x="172" y="55"/>
                  </a:lnTo>
                  <a:lnTo>
                    <a:pt x="176" y="51"/>
                  </a:lnTo>
                  <a:lnTo>
                    <a:pt x="180" y="51"/>
                  </a:lnTo>
                  <a:lnTo>
                    <a:pt x="180" y="47"/>
                  </a:lnTo>
                  <a:lnTo>
                    <a:pt x="180" y="43"/>
                  </a:lnTo>
                  <a:lnTo>
                    <a:pt x="184" y="43"/>
                  </a:lnTo>
                  <a:lnTo>
                    <a:pt x="180" y="43"/>
                  </a:lnTo>
                  <a:lnTo>
                    <a:pt x="176" y="43"/>
                  </a:lnTo>
                  <a:lnTo>
                    <a:pt x="176" y="39"/>
                  </a:lnTo>
                  <a:lnTo>
                    <a:pt x="176" y="35"/>
                  </a:lnTo>
                  <a:lnTo>
                    <a:pt x="172" y="35"/>
                  </a:lnTo>
                  <a:lnTo>
                    <a:pt x="168" y="35"/>
                  </a:lnTo>
                  <a:lnTo>
                    <a:pt x="168" y="39"/>
                  </a:lnTo>
                  <a:lnTo>
                    <a:pt x="164" y="39"/>
                  </a:lnTo>
                  <a:lnTo>
                    <a:pt x="160" y="39"/>
                  </a:lnTo>
                  <a:lnTo>
                    <a:pt x="156" y="39"/>
                  </a:lnTo>
                  <a:lnTo>
                    <a:pt x="152" y="39"/>
                  </a:lnTo>
                  <a:lnTo>
                    <a:pt x="152" y="35"/>
                  </a:lnTo>
                  <a:lnTo>
                    <a:pt x="152" y="31"/>
                  </a:lnTo>
                  <a:lnTo>
                    <a:pt x="148" y="31"/>
                  </a:lnTo>
                  <a:lnTo>
                    <a:pt x="148" y="35"/>
                  </a:lnTo>
                  <a:lnTo>
                    <a:pt x="144" y="35"/>
                  </a:lnTo>
                  <a:lnTo>
                    <a:pt x="140" y="39"/>
                  </a:lnTo>
                  <a:lnTo>
                    <a:pt x="140" y="35"/>
                  </a:lnTo>
                  <a:lnTo>
                    <a:pt x="140" y="31"/>
                  </a:lnTo>
                  <a:lnTo>
                    <a:pt x="144" y="31"/>
                  </a:lnTo>
                  <a:lnTo>
                    <a:pt x="144" y="27"/>
                  </a:lnTo>
                  <a:lnTo>
                    <a:pt x="144" y="31"/>
                  </a:lnTo>
                  <a:lnTo>
                    <a:pt x="140" y="31"/>
                  </a:lnTo>
                  <a:lnTo>
                    <a:pt x="140" y="27"/>
                  </a:lnTo>
                  <a:lnTo>
                    <a:pt x="144" y="27"/>
                  </a:lnTo>
                  <a:lnTo>
                    <a:pt x="140" y="27"/>
                  </a:lnTo>
                  <a:lnTo>
                    <a:pt x="140" y="24"/>
                  </a:lnTo>
                  <a:lnTo>
                    <a:pt x="140" y="27"/>
                  </a:lnTo>
                  <a:lnTo>
                    <a:pt x="144" y="24"/>
                  </a:lnTo>
                  <a:lnTo>
                    <a:pt x="140" y="24"/>
                  </a:lnTo>
                  <a:lnTo>
                    <a:pt x="144" y="24"/>
                  </a:lnTo>
                  <a:lnTo>
                    <a:pt x="144" y="20"/>
                  </a:lnTo>
                  <a:lnTo>
                    <a:pt x="140" y="24"/>
                  </a:lnTo>
                  <a:lnTo>
                    <a:pt x="140" y="20"/>
                  </a:lnTo>
                  <a:lnTo>
                    <a:pt x="136" y="20"/>
                  </a:lnTo>
                  <a:lnTo>
                    <a:pt x="136" y="16"/>
                  </a:lnTo>
                  <a:lnTo>
                    <a:pt x="136" y="12"/>
                  </a:lnTo>
                  <a:lnTo>
                    <a:pt x="140" y="12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8" y="8"/>
                  </a:lnTo>
                  <a:lnTo>
                    <a:pt x="152" y="4"/>
                  </a:lnTo>
                  <a:lnTo>
                    <a:pt x="156" y="0"/>
                  </a:lnTo>
                  <a:lnTo>
                    <a:pt x="160" y="0"/>
                  </a:lnTo>
                  <a:lnTo>
                    <a:pt x="164" y="0"/>
                  </a:lnTo>
                  <a:lnTo>
                    <a:pt x="164" y="4"/>
                  </a:lnTo>
                  <a:lnTo>
                    <a:pt x="168" y="4"/>
                  </a:lnTo>
                  <a:lnTo>
                    <a:pt x="172" y="4"/>
                  </a:lnTo>
                  <a:lnTo>
                    <a:pt x="176" y="4"/>
                  </a:lnTo>
                  <a:lnTo>
                    <a:pt x="180" y="4"/>
                  </a:lnTo>
                  <a:lnTo>
                    <a:pt x="184" y="4"/>
                  </a:lnTo>
                  <a:lnTo>
                    <a:pt x="188" y="0"/>
                  </a:lnTo>
                  <a:lnTo>
                    <a:pt x="188" y="4"/>
                  </a:lnTo>
                  <a:lnTo>
                    <a:pt x="192" y="4"/>
                  </a:lnTo>
                  <a:lnTo>
                    <a:pt x="196" y="4"/>
                  </a:lnTo>
                  <a:lnTo>
                    <a:pt x="200" y="4"/>
                  </a:lnTo>
                  <a:lnTo>
                    <a:pt x="204" y="4"/>
                  </a:lnTo>
                  <a:lnTo>
                    <a:pt x="204" y="8"/>
                  </a:lnTo>
                  <a:lnTo>
                    <a:pt x="208" y="8"/>
                  </a:lnTo>
                  <a:close/>
                  <a:moveTo>
                    <a:pt x="196" y="163"/>
                  </a:moveTo>
                  <a:lnTo>
                    <a:pt x="196" y="159"/>
                  </a:lnTo>
                  <a:lnTo>
                    <a:pt x="196" y="163"/>
                  </a:lnTo>
                  <a:close/>
                  <a:moveTo>
                    <a:pt x="232" y="175"/>
                  </a:moveTo>
                  <a:lnTo>
                    <a:pt x="232" y="171"/>
                  </a:lnTo>
                  <a:lnTo>
                    <a:pt x="232" y="175"/>
                  </a:lnTo>
                  <a:close/>
                  <a:moveTo>
                    <a:pt x="340" y="79"/>
                  </a:moveTo>
                  <a:lnTo>
                    <a:pt x="336" y="79"/>
                  </a:lnTo>
                  <a:lnTo>
                    <a:pt x="332" y="75"/>
                  </a:lnTo>
                  <a:lnTo>
                    <a:pt x="336" y="75"/>
                  </a:lnTo>
                  <a:lnTo>
                    <a:pt x="340" y="75"/>
                  </a:lnTo>
                  <a:lnTo>
                    <a:pt x="340" y="79"/>
                  </a:lnTo>
                  <a:close/>
                  <a:moveTo>
                    <a:pt x="312" y="87"/>
                  </a:moveTo>
                  <a:lnTo>
                    <a:pt x="312" y="83"/>
                  </a:lnTo>
                  <a:lnTo>
                    <a:pt x="316" y="83"/>
                  </a:lnTo>
                  <a:lnTo>
                    <a:pt x="320" y="79"/>
                  </a:lnTo>
                  <a:lnTo>
                    <a:pt x="324" y="79"/>
                  </a:lnTo>
                  <a:lnTo>
                    <a:pt x="324" y="83"/>
                  </a:lnTo>
                  <a:lnTo>
                    <a:pt x="328" y="83"/>
                  </a:lnTo>
                  <a:lnTo>
                    <a:pt x="328" y="87"/>
                  </a:lnTo>
                  <a:lnTo>
                    <a:pt x="324" y="87"/>
                  </a:lnTo>
                  <a:lnTo>
                    <a:pt x="324" y="91"/>
                  </a:lnTo>
                  <a:lnTo>
                    <a:pt x="320" y="91"/>
                  </a:lnTo>
                  <a:lnTo>
                    <a:pt x="316" y="91"/>
                  </a:lnTo>
                  <a:lnTo>
                    <a:pt x="316" y="87"/>
                  </a:lnTo>
                  <a:lnTo>
                    <a:pt x="312" y="87"/>
                  </a:lnTo>
                  <a:close/>
                  <a:moveTo>
                    <a:pt x="296" y="99"/>
                  </a:moveTo>
                  <a:lnTo>
                    <a:pt x="296" y="95"/>
                  </a:lnTo>
                  <a:lnTo>
                    <a:pt x="300" y="95"/>
                  </a:lnTo>
                  <a:lnTo>
                    <a:pt x="300" y="99"/>
                  </a:lnTo>
                  <a:lnTo>
                    <a:pt x="296" y="99"/>
                  </a:lnTo>
                  <a:close/>
                  <a:moveTo>
                    <a:pt x="296" y="103"/>
                  </a:moveTo>
                  <a:lnTo>
                    <a:pt x="300" y="103"/>
                  </a:lnTo>
                  <a:lnTo>
                    <a:pt x="296" y="103"/>
                  </a:lnTo>
                  <a:close/>
                  <a:moveTo>
                    <a:pt x="68" y="303"/>
                  </a:moveTo>
                  <a:lnTo>
                    <a:pt x="68" y="299"/>
                  </a:lnTo>
                  <a:lnTo>
                    <a:pt x="64" y="299"/>
                  </a:lnTo>
                  <a:lnTo>
                    <a:pt x="68" y="299"/>
                  </a:lnTo>
                  <a:lnTo>
                    <a:pt x="68" y="295"/>
                  </a:lnTo>
                  <a:lnTo>
                    <a:pt x="72" y="295"/>
                  </a:lnTo>
                  <a:lnTo>
                    <a:pt x="72" y="299"/>
                  </a:lnTo>
                  <a:lnTo>
                    <a:pt x="68" y="299"/>
                  </a:lnTo>
                  <a:lnTo>
                    <a:pt x="68" y="303"/>
                  </a:lnTo>
                  <a:close/>
                  <a:moveTo>
                    <a:pt x="8" y="307"/>
                  </a:moveTo>
                  <a:lnTo>
                    <a:pt x="4" y="307"/>
                  </a:lnTo>
                  <a:lnTo>
                    <a:pt x="4" y="303"/>
                  </a:lnTo>
                  <a:lnTo>
                    <a:pt x="4" y="299"/>
                  </a:lnTo>
                  <a:lnTo>
                    <a:pt x="4" y="303"/>
                  </a:lnTo>
                  <a:lnTo>
                    <a:pt x="8" y="303"/>
                  </a:lnTo>
                  <a:lnTo>
                    <a:pt x="8" y="307"/>
                  </a:lnTo>
                  <a:close/>
                  <a:moveTo>
                    <a:pt x="60" y="315"/>
                  </a:moveTo>
                  <a:lnTo>
                    <a:pt x="56" y="315"/>
                  </a:lnTo>
                  <a:lnTo>
                    <a:pt x="60" y="315"/>
                  </a:lnTo>
                  <a:lnTo>
                    <a:pt x="60" y="311"/>
                  </a:lnTo>
                  <a:lnTo>
                    <a:pt x="64" y="307"/>
                  </a:lnTo>
                  <a:lnTo>
                    <a:pt x="64" y="303"/>
                  </a:lnTo>
                  <a:lnTo>
                    <a:pt x="68" y="303"/>
                  </a:lnTo>
                  <a:lnTo>
                    <a:pt x="68" y="307"/>
                  </a:lnTo>
                  <a:lnTo>
                    <a:pt x="64" y="311"/>
                  </a:lnTo>
                  <a:lnTo>
                    <a:pt x="64" y="315"/>
                  </a:lnTo>
                  <a:lnTo>
                    <a:pt x="60" y="315"/>
                  </a:lnTo>
                  <a:close/>
                  <a:moveTo>
                    <a:pt x="24" y="319"/>
                  </a:moveTo>
                  <a:lnTo>
                    <a:pt x="24" y="315"/>
                  </a:lnTo>
                  <a:lnTo>
                    <a:pt x="20" y="315"/>
                  </a:lnTo>
                  <a:lnTo>
                    <a:pt x="20" y="311"/>
                  </a:lnTo>
                  <a:lnTo>
                    <a:pt x="24" y="311"/>
                  </a:lnTo>
                  <a:lnTo>
                    <a:pt x="28" y="307"/>
                  </a:lnTo>
                  <a:lnTo>
                    <a:pt x="32" y="307"/>
                  </a:lnTo>
                  <a:lnTo>
                    <a:pt x="28" y="307"/>
                  </a:lnTo>
                  <a:lnTo>
                    <a:pt x="28" y="311"/>
                  </a:lnTo>
                  <a:lnTo>
                    <a:pt x="28" y="315"/>
                  </a:lnTo>
                  <a:lnTo>
                    <a:pt x="24" y="315"/>
                  </a:lnTo>
                  <a:lnTo>
                    <a:pt x="24" y="319"/>
                  </a:lnTo>
                  <a:close/>
                  <a:moveTo>
                    <a:pt x="16" y="319"/>
                  </a:moveTo>
                  <a:lnTo>
                    <a:pt x="12" y="315"/>
                  </a:lnTo>
                  <a:lnTo>
                    <a:pt x="16" y="315"/>
                  </a:lnTo>
                  <a:lnTo>
                    <a:pt x="16" y="319"/>
                  </a:lnTo>
                  <a:close/>
                  <a:moveTo>
                    <a:pt x="40" y="323"/>
                  </a:moveTo>
                  <a:lnTo>
                    <a:pt x="36" y="319"/>
                  </a:lnTo>
                  <a:lnTo>
                    <a:pt x="36" y="315"/>
                  </a:lnTo>
                  <a:lnTo>
                    <a:pt x="40" y="315"/>
                  </a:lnTo>
                  <a:lnTo>
                    <a:pt x="44" y="315"/>
                  </a:lnTo>
                  <a:lnTo>
                    <a:pt x="44" y="319"/>
                  </a:lnTo>
                  <a:lnTo>
                    <a:pt x="40" y="323"/>
                  </a:lnTo>
                  <a:close/>
                  <a:moveTo>
                    <a:pt x="4" y="323"/>
                  </a:moveTo>
                  <a:lnTo>
                    <a:pt x="0" y="323"/>
                  </a:lnTo>
                  <a:lnTo>
                    <a:pt x="4" y="323"/>
                  </a:lnTo>
                  <a:lnTo>
                    <a:pt x="4" y="319"/>
                  </a:lnTo>
                  <a:lnTo>
                    <a:pt x="4" y="32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9" name="Freeform 188"/>
            <p:cNvSpPr>
              <a:spLocks noEditPoints="1"/>
            </p:cNvSpPr>
            <p:nvPr>
              <p:custDataLst>
                <p:tags r:id="rId381"/>
              </p:custDataLst>
            </p:nvPr>
          </p:nvSpPr>
          <p:spPr bwMode="gray">
            <a:xfrm>
              <a:off x="376238" y="2366909"/>
              <a:ext cx="8033756" cy="1709972"/>
            </a:xfrm>
            <a:custGeom>
              <a:avLst/>
              <a:gdLst/>
              <a:ahLst/>
              <a:cxnLst>
                <a:cxn ang="0">
                  <a:pos x="407" y="303"/>
                </a:cxn>
                <a:cxn ang="0">
                  <a:pos x="375" y="299"/>
                </a:cxn>
                <a:cxn ang="0">
                  <a:pos x="303" y="375"/>
                </a:cxn>
                <a:cxn ang="0">
                  <a:pos x="232" y="415"/>
                </a:cxn>
                <a:cxn ang="0">
                  <a:pos x="315" y="335"/>
                </a:cxn>
                <a:cxn ang="0">
                  <a:pos x="248" y="315"/>
                </a:cxn>
                <a:cxn ang="0">
                  <a:pos x="216" y="275"/>
                </a:cxn>
                <a:cxn ang="0">
                  <a:pos x="204" y="232"/>
                </a:cxn>
                <a:cxn ang="0">
                  <a:pos x="232" y="184"/>
                </a:cxn>
                <a:cxn ang="0">
                  <a:pos x="160" y="148"/>
                </a:cxn>
                <a:cxn ang="0">
                  <a:pos x="248" y="128"/>
                </a:cxn>
                <a:cxn ang="0">
                  <a:pos x="176" y="80"/>
                </a:cxn>
                <a:cxn ang="0">
                  <a:pos x="276" y="20"/>
                </a:cxn>
                <a:cxn ang="0">
                  <a:pos x="387" y="12"/>
                </a:cxn>
                <a:cxn ang="0">
                  <a:pos x="547" y="40"/>
                </a:cxn>
                <a:cxn ang="0">
                  <a:pos x="639" y="303"/>
                </a:cxn>
                <a:cxn ang="0">
                  <a:pos x="714" y="419"/>
                </a:cxn>
                <a:cxn ang="0">
                  <a:pos x="682" y="359"/>
                </a:cxn>
                <a:cxn ang="0">
                  <a:pos x="651" y="335"/>
                </a:cxn>
                <a:cxn ang="0">
                  <a:pos x="599" y="315"/>
                </a:cxn>
                <a:cxn ang="0">
                  <a:pos x="499" y="283"/>
                </a:cxn>
                <a:cxn ang="0">
                  <a:pos x="459" y="283"/>
                </a:cxn>
                <a:cxn ang="0">
                  <a:pos x="1540" y="794"/>
                </a:cxn>
                <a:cxn ang="0">
                  <a:pos x="1552" y="826"/>
                </a:cxn>
                <a:cxn ang="0">
                  <a:pos x="1476" y="894"/>
                </a:cxn>
                <a:cxn ang="0">
                  <a:pos x="1480" y="1026"/>
                </a:cxn>
                <a:cxn ang="0">
                  <a:pos x="1416" y="946"/>
                </a:cxn>
                <a:cxn ang="0">
                  <a:pos x="1341" y="942"/>
                </a:cxn>
                <a:cxn ang="0">
                  <a:pos x="1261" y="950"/>
                </a:cxn>
                <a:cxn ang="0">
                  <a:pos x="1205" y="1014"/>
                </a:cxn>
                <a:cxn ang="0">
                  <a:pos x="1089" y="910"/>
                </a:cxn>
                <a:cxn ang="0">
                  <a:pos x="906" y="862"/>
                </a:cxn>
                <a:cxn ang="0">
                  <a:pos x="842" y="778"/>
                </a:cxn>
                <a:cxn ang="0">
                  <a:pos x="822" y="615"/>
                </a:cxn>
                <a:cxn ang="0">
                  <a:pos x="838" y="587"/>
                </a:cxn>
                <a:cxn ang="0">
                  <a:pos x="1002" y="547"/>
                </a:cxn>
                <a:cxn ang="0">
                  <a:pos x="1277" y="559"/>
                </a:cxn>
                <a:cxn ang="0">
                  <a:pos x="1448" y="639"/>
                </a:cxn>
                <a:cxn ang="0">
                  <a:pos x="1568" y="635"/>
                </a:cxn>
                <a:cxn ang="0">
                  <a:pos x="1672" y="647"/>
                </a:cxn>
                <a:cxn ang="0">
                  <a:pos x="1640" y="698"/>
                </a:cxn>
                <a:cxn ang="0">
                  <a:pos x="1564" y="758"/>
                </a:cxn>
                <a:cxn ang="0">
                  <a:pos x="1544" y="754"/>
                </a:cxn>
                <a:cxn ang="0">
                  <a:pos x="507" y="295"/>
                </a:cxn>
                <a:cxn ang="0">
                  <a:pos x="1484" y="994"/>
                </a:cxn>
                <a:cxn ang="0">
                  <a:pos x="116" y="200"/>
                </a:cxn>
                <a:cxn ang="0">
                  <a:pos x="471" y="287"/>
                </a:cxn>
                <a:cxn ang="0">
                  <a:pos x="666" y="359"/>
                </a:cxn>
                <a:cxn ang="0">
                  <a:pos x="654" y="343"/>
                </a:cxn>
                <a:cxn ang="0">
                  <a:pos x="383" y="343"/>
                </a:cxn>
                <a:cxn ang="0">
                  <a:pos x="375" y="343"/>
                </a:cxn>
                <a:cxn ang="0">
                  <a:pos x="678" y="371"/>
                </a:cxn>
                <a:cxn ang="0">
                  <a:pos x="359" y="375"/>
                </a:cxn>
                <a:cxn ang="0">
                  <a:pos x="682" y="399"/>
                </a:cxn>
                <a:cxn ang="0">
                  <a:pos x="666" y="391"/>
                </a:cxn>
                <a:cxn ang="0">
                  <a:pos x="706" y="407"/>
                </a:cxn>
                <a:cxn ang="0">
                  <a:pos x="710" y="411"/>
                </a:cxn>
                <a:cxn ang="0">
                  <a:pos x="156" y="451"/>
                </a:cxn>
                <a:cxn ang="0">
                  <a:pos x="88" y="475"/>
                </a:cxn>
                <a:cxn ang="0">
                  <a:pos x="32" y="483"/>
                </a:cxn>
                <a:cxn ang="0">
                  <a:pos x="1628" y="710"/>
                </a:cxn>
                <a:cxn ang="0">
                  <a:pos x="1261" y="958"/>
                </a:cxn>
                <a:cxn ang="0">
                  <a:pos x="335" y="1122"/>
                </a:cxn>
              </a:cxnLst>
              <a:rect l="0" t="0" r="r" b="b"/>
              <a:pathLst>
                <a:path w="5417" h="1153">
                  <a:moveTo>
                    <a:pt x="447" y="283"/>
                  </a:moveTo>
                  <a:lnTo>
                    <a:pt x="447" y="279"/>
                  </a:lnTo>
                  <a:lnTo>
                    <a:pt x="451" y="279"/>
                  </a:lnTo>
                  <a:lnTo>
                    <a:pt x="455" y="279"/>
                  </a:lnTo>
                  <a:lnTo>
                    <a:pt x="459" y="279"/>
                  </a:lnTo>
                  <a:lnTo>
                    <a:pt x="459" y="283"/>
                  </a:lnTo>
                  <a:lnTo>
                    <a:pt x="455" y="283"/>
                  </a:lnTo>
                  <a:lnTo>
                    <a:pt x="451" y="287"/>
                  </a:lnTo>
                  <a:lnTo>
                    <a:pt x="455" y="287"/>
                  </a:lnTo>
                  <a:lnTo>
                    <a:pt x="455" y="291"/>
                  </a:lnTo>
                  <a:lnTo>
                    <a:pt x="451" y="291"/>
                  </a:lnTo>
                  <a:lnTo>
                    <a:pt x="451" y="287"/>
                  </a:lnTo>
                  <a:lnTo>
                    <a:pt x="451" y="291"/>
                  </a:lnTo>
                  <a:lnTo>
                    <a:pt x="451" y="295"/>
                  </a:lnTo>
                  <a:lnTo>
                    <a:pt x="447" y="295"/>
                  </a:lnTo>
                  <a:lnTo>
                    <a:pt x="443" y="295"/>
                  </a:lnTo>
                  <a:lnTo>
                    <a:pt x="439" y="295"/>
                  </a:lnTo>
                  <a:lnTo>
                    <a:pt x="439" y="291"/>
                  </a:lnTo>
                  <a:lnTo>
                    <a:pt x="439" y="295"/>
                  </a:lnTo>
                  <a:lnTo>
                    <a:pt x="435" y="295"/>
                  </a:lnTo>
                  <a:lnTo>
                    <a:pt x="435" y="291"/>
                  </a:lnTo>
                  <a:lnTo>
                    <a:pt x="435" y="295"/>
                  </a:lnTo>
                  <a:lnTo>
                    <a:pt x="431" y="295"/>
                  </a:lnTo>
                  <a:lnTo>
                    <a:pt x="431" y="299"/>
                  </a:lnTo>
                  <a:lnTo>
                    <a:pt x="435" y="299"/>
                  </a:lnTo>
                  <a:lnTo>
                    <a:pt x="431" y="299"/>
                  </a:lnTo>
                  <a:lnTo>
                    <a:pt x="431" y="295"/>
                  </a:lnTo>
                  <a:lnTo>
                    <a:pt x="431" y="299"/>
                  </a:lnTo>
                  <a:lnTo>
                    <a:pt x="431" y="303"/>
                  </a:lnTo>
                  <a:lnTo>
                    <a:pt x="431" y="299"/>
                  </a:lnTo>
                  <a:lnTo>
                    <a:pt x="427" y="299"/>
                  </a:lnTo>
                  <a:lnTo>
                    <a:pt x="427" y="303"/>
                  </a:lnTo>
                  <a:lnTo>
                    <a:pt x="423" y="307"/>
                  </a:lnTo>
                  <a:lnTo>
                    <a:pt x="419" y="307"/>
                  </a:lnTo>
                  <a:lnTo>
                    <a:pt x="419" y="303"/>
                  </a:lnTo>
                  <a:lnTo>
                    <a:pt x="423" y="303"/>
                  </a:lnTo>
                  <a:lnTo>
                    <a:pt x="423" y="299"/>
                  </a:lnTo>
                  <a:lnTo>
                    <a:pt x="423" y="303"/>
                  </a:lnTo>
                  <a:lnTo>
                    <a:pt x="419" y="303"/>
                  </a:lnTo>
                  <a:lnTo>
                    <a:pt x="419" y="307"/>
                  </a:lnTo>
                  <a:lnTo>
                    <a:pt x="419" y="303"/>
                  </a:lnTo>
                  <a:lnTo>
                    <a:pt x="415" y="303"/>
                  </a:lnTo>
                  <a:lnTo>
                    <a:pt x="419" y="307"/>
                  </a:lnTo>
                  <a:lnTo>
                    <a:pt x="415" y="307"/>
                  </a:lnTo>
                  <a:lnTo>
                    <a:pt x="411" y="311"/>
                  </a:lnTo>
                  <a:lnTo>
                    <a:pt x="407" y="311"/>
                  </a:lnTo>
                  <a:lnTo>
                    <a:pt x="411" y="311"/>
                  </a:lnTo>
                  <a:lnTo>
                    <a:pt x="407" y="311"/>
                  </a:lnTo>
                  <a:lnTo>
                    <a:pt x="403" y="311"/>
                  </a:lnTo>
                  <a:lnTo>
                    <a:pt x="403" y="315"/>
                  </a:lnTo>
                  <a:lnTo>
                    <a:pt x="399" y="315"/>
                  </a:lnTo>
                  <a:lnTo>
                    <a:pt x="399" y="311"/>
                  </a:lnTo>
                  <a:lnTo>
                    <a:pt x="395" y="311"/>
                  </a:lnTo>
                  <a:lnTo>
                    <a:pt x="399" y="307"/>
                  </a:lnTo>
                  <a:lnTo>
                    <a:pt x="403" y="307"/>
                  </a:lnTo>
                  <a:lnTo>
                    <a:pt x="403" y="303"/>
                  </a:lnTo>
                  <a:lnTo>
                    <a:pt x="407" y="303"/>
                  </a:lnTo>
                  <a:lnTo>
                    <a:pt x="411" y="299"/>
                  </a:lnTo>
                  <a:lnTo>
                    <a:pt x="407" y="299"/>
                  </a:lnTo>
                  <a:lnTo>
                    <a:pt x="403" y="303"/>
                  </a:lnTo>
                  <a:lnTo>
                    <a:pt x="399" y="299"/>
                  </a:lnTo>
                  <a:lnTo>
                    <a:pt x="399" y="291"/>
                  </a:lnTo>
                  <a:lnTo>
                    <a:pt x="403" y="291"/>
                  </a:lnTo>
                  <a:lnTo>
                    <a:pt x="403" y="287"/>
                  </a:lnTo>
                  <a:lnTo>
                    <a:pt x="407" y="283"/>
                  </a:lnTo>
                  <a:lnTo>
                    <a:pt x="407" y="279"/>
                  </a:lnTo>
                  <a:lnTo>
                    <a:pt x="407" y="275"/>
                  </a:lnTo>
                  <a:lnTo>
                    <a:pt x="403" y="275"/>
                  </a:lnTo>
                  <a:lnTo>
                    <a:pt x="407" y="275"/>
                  </a:lnTo>
                  <a:lnTo>
                    <a:pt x="411" y="275"/>
                  </a:lnTo>
                  <a:lnTo>
                    <a:pt x="415" y="271"/>
                  </a:lnTo>
                  <a:lnTo>
                    <a:pt x="419" y="267"/>
                  </a:lnTo>
                  <a:lnTo>
                    <a:pt x="423" y="267"/>
                  </a:lnTo>
                  <a:lnTo>
                    <a:pt x="423" y="271"/>
                  </a:lnTo>
                  <a:lnTo>
                    <a:pt x="427" y="271"/>
                  </a:lnTo>
                  <a:lnTo>
                    <a:pt x="427" y="267"/>
                  </a:lnTo>
                  <a:lnTo>
                    <a:pt x="431" y="267"/>
                  </a:lnTo>
                  <a:lnTo>
                    <a:pt x="431" y="271"/>
                  </a:lnTo>
                  <a:lnTo>
                    <a:pt x="435" y="271"/>
                  </a:lnTo>
                  <a:lnTo>
                    <a:pt x="439" y="271"/>
                  </a:lnTo>
                  <a:lnTo>
                    <a:pt x="435" y="271"/>
                  </a:lnTo>
                  <a:lnTo>
                    <a:pt x="431" y="267"/>
                  </a:lnTo>
                  <a:lnTo>
                    <a:pt x="427" y="267"/>
                  </a:lnTo>
                  <a:lnTo>
                    <a:pt x="427" y="263"/>
                  </a:lnTo>
                  <a:lnTo>
                    <a:pt x="427" y="259"/>
                  </a:lnTo>
                  <a:lnTo>
                    <a:pt x="431" y="259"/>
                  </a:lnTo>
                  <a:lnTo>
                    <a:pt x="435" y="259"/>
                  </a:lnTo>
                  <a:lnTo>
                    <a:pt x="439" y="255"/>
                  </a:lnTo>
                  <a:lnTo>
                    <a:pt x="435" y="255"/>
                  </a:lnTo>
                  <a:lnTo>
                    <a:pt x="431" y="255"/>
                  </a:lnTo>
                  <a:lnTo>
                    <a:pt x="431" y="259"/>
                  </a:lnTo>
                  <a:lnTo>
                    <a:pt x="427" y="259"/>
                  </a:lnTo>
                  <a:lnTo>
                    <a:pt x="427" y="263"/>
                  </a:lnTo>
                  <a:lnTo>
                    <a:pt x="423" y="263"/>
                  </a:lnTo>
                  <a:lnTo>
                    <a:pt x="419" y="263"/>
                  </a:lnTo>
                  <a:lnTo>
                    <a:pt x="415" y="263"/>
                  </a:lnTo>
                  <a:lnTo>
                    <a:pt x="411" y="263"/>
                  </a:lnTo>
                  <a:lnTo>
                    <a:pt x="407" y="267"/>
                  </a:lnTo>
                  <a:lnTo>
                    <a:pt x="403" y="267"/>
                  </a:lnTo>
                  <a:lnTo>
                    <a:pt x="399" y="271"/>
                  </a:lnTo>
                  <a:lnTo>
                    <a:pt x="399" y="275"/>
                  </a:lnTo>
                  <a:lnTo>
                    <a:pt x="395" y="275"/>
                  </a:lnTo>
                  <a:lnTo>
                    <a:pt x="395" y="279"/>
                  </a:lnTo>
                  <a:lnTo>
                    <a:pt x="391" y="279"/>
                  </a:lnTo>
                  <a:lnTo>
                    <a:pt x="391" y="283"/>
                  </a:lnTo>
                  <a:lnTo>
                    <a:pt x="391" y="287"/>
                  </a:lnTo>
                  <a:lnTo>
                    <a:pt x="387" y="287"/>
                  </a:lnTo>
                  <a:lnTo>
                    <a:pt x="383" y="287"/>
                  </a:lnTo>
                  <a:lnTo>
                    <a:pt x="379" y="287"/>
                  </a:lnTo>
                  <a:lnTo>
                    <a:pt x="383" y="287"/>
                  </a:lnTo>
                  <a:lnTo>
                    <a:pt x="387" y="291"/>
                  </a:lnTo>
                  <a:lnTo>
                    <a:pt x="383" y="295"/>
                  </a:lnTo>
                  <a:lnTo>
                    <a:pt x="379" y="295"/>
                  </a:lnTo>
                  <a:lnTo>
                    <a:pt x="375" y="299"/>
                  </a:lnTo>
                  <a:lnTo>
                    <a:pt x="379" y="295"/>
                  </a:lnTo>
                  <a:lnTo>
                    <a:pt x="379" y="299"/>
                  </a:lnTo>
                  <a:lnTo>
                    <a:pt x="379" y="303"/>
                  </a:lnTo>
                  <a:lnTo>
                    <a:pt x="375" y="303"/>
                  </a:lnTo>
                  <a:lnTo>
                    <a:pt x="375" y="299"/>
                  </a:lnTo>
                  <a:lnTo>
                    <a:pt x="375" y="303"/>
                  </a:lnTo>
                  <a:lnTo>
                    <a:pt x="371" y="303"/>
                  </a:lnTo>
                  <a:lnTo>
                    <a:pt x="367" y="303"/>
                  </a:lnTo>
                  <a:lnTo>
                    <a:pt x="371" y="307"/>
                  </a:lnTo>
                  <a:lnTo>
                    <a:pt x="367" y="307"/>
                  </a:lnTo>
                  <a:lnTo>
                    <a:pt x="363" y="307"/>
                  </a:lnTo>
                  <a:lnTo>
                    <a:pt x="367" y="307"/>
                  </a:lnTo>
                  <a:lnTo>
                    <a:pt x="363" y="311"/>
                  </a:lnTo>
                  <a:lnTo>
                    <a:pt x="363" y="315"/>
                  </a:lnTo>
                  <a:lnTo>
                    <a:pt x="367" y="315"/>
                  </a:lnTo>
                  <a:lnTo>
                    <a:pt x="371" y="315"/>
                  </a:lnTo>
                  <a:lnTo>
                    <a:pt x="371" y="319"/>
                  </a:lnTo>
                  <a:lnTo>
                    <a:pt x="375" y="319"/>
                  </a:lnTo>
                  <a:lnTo>
                    <a:pt x="375" y="323"/>
                  </a:lnTo>
                  <a:lnTo>
                    <a:pt x="371" y="327"/>
                  </a:lnTo>
                  <a:lnTo>
                    <a:pt x="367" y="327"/>
                  </a:lnTo>
                  <a:lnTo>
                    <a:pt x="367" y="331"/>
                  </a:lnTo>
                  <a:lnTo>
                    <a:pt x="363" y="331"/>
                  </a:lnTo>
                  <a:lnTo>
                    <a:pt x="367" y="331"/>
                  </a:lnTo>
                  <a:lnTo>
                    <a:pt x="363" y="331"/>
                  </a:lnTo>
                  <a:lnTo>
                    <a:pt x="359" y="335"/>
                  </a:lnTo>
                  <a:lnTo>
                    <a:pt x="363" y="335"/>
                  </a:lnTo>
                  <a:lnTo>
                    <a:pt x="363" y="339"/>
                  </a:lnTo>
                  <a:lnTo>
                    <a:pt x="359" y="339"/>
                  </a:lnTo>
                  <a:lnTo>
                    <a:pt x="355" y="339"/>
                  </a:lnTo>
                  <a:lnTo>
                    <a:pt x="355" y="343"/>
                  </a:lnTo>
                  <a:lnTo>
                    <a:pt x="351" y="339"/>
                  </a:lnTo>
                  <a:lnTo>
                    <a:pt x="351" y="343"/>
                  </a:lnTo>
                  <a:lnTo>
                    <a:pt x="347" y="343"/>
                  </a:lnTo>
                  <a:lnTo>
                    <a:pt x="347" y="347"/>
                  </a:lnTo>
                  <a:lnTo>
                    <a:pt x="343" y="347"/>
                  </a:lnTo>
                  <a:lnTo>
                    <a:pt x="339" y="347"/>
                  </a:lnTo>
                  <a:lnTo>
                    <a:pt x="339" y="351"/>
                  </a:lnTo>
                  <a:lnTo>
                    <a:pt x="335" y="351"/>
                  </a:lnTo>
                  <a:lnTo>
                    <a:pt x="335" y="355"/>
                  </a:lnTo>
                  <a:lnTo>
                    <a:pt x="331" y="355"/>
                  </a:lnTo>
                  <a:lnTo>
                    <a:pt x="327" y="359"/>
                  </a:lnTo>
                  <a:lnTo>
                    <a:pt x="331" y="359"/>
                  </a:lnTo>
                  <a:lnTo>
                    <a:pt x="331" y="363"/>
                  </a:lnTo>
                  <a:lnTo>
                    <a:pt x="327" y="363"/>
                  </a:lnTo>
                  <a:lnTo>
                    <a:pt x="327" y="367"/>
                  </a:lnTo>
                  <a:lnTo>
                    <a:pt x="323" y="367"/>
                  </a:lnTo>
                  <a:lnTo>
                    <a:pt x="319" y="367"/>
                  </a:lnTo>
                  <a:lnTo>
                    <a:pt x="319" y="371"/>
                  </a:lnTo>
                  <a:lnTo>
                    <a:pt x="315" y="371"/>
                  </a:lnTo>
                  <a:lnTo>
                    <a:pt x="315" y="367"/>
                  </a:lnTo>
                  <a:lnTo>
                    <a:pt x="311" y="367"/>
                  </a:lnTo>
                  <a:lnTo>
                    <a:pt x="311" y="371"/>
                  </a:lnTo>
                  <a:lnTo>
                    <a:pt x="311" y="375"/>
                  </a:lnTo>
                  <a:lnTo>
                    <a:pt x="307" y="371"/>
                  </a:lnTo>
                  <a:lnTo>
                    <a:pt x="307" y="375"/>
                  </a:lnTo>
                  <a:lnTo>
                    <a:pt x="303" y="375"/>
                  </a:lnTo>
                  <a:lnTo>
                    <a:pt x="307" y="375"/>
                  </a:lnTo>
                  <a:lnTo>
                    <a:pt x="307" y="379"/>
                  </a:lnTo>
                  <a:lnTo>
                    <a:pt x="303" y="379"/>
                  </a:lnTo>
                  <a:lnTo>
                    <a:pt x="303" y="375"/>
                  </a:lnTo>
                  <a:lnTo>
                    <a:pt x="303" y="379"/>
                  </a:lnTo>
                  <a:lnTo>
                    <a:pt x="299" y="379"/>
                  </a:lnTo>
                  <a:lnTo>
                    <a:pt x="296" y="379"/>
                  </a:lnTo>
                  <a:lnTo>
                    <a:pt x="296" y="383"/>
                  </a:lnTo>
                  <a:lnTo>
                    <a:pt x="299" y="379"/>
                  </a:lnTo>
                  <a:lnTo>
                    <a:pt x="299" y="383"/>
                  </a:lnTo>
                  <a:lnTo>
                    <a:pt x="303" y="383"/>
                  </a:lnTo>
                  <a:lnTo>
                    <a:pt x="299" y="383"/>
                  </a:lnTo>
                  <a:lnTo>
                    <a:pt x="303" y="383"/>
                  </a:lnTo>
                  <a:lnTo>
                    <a:pt x="299" y="387"/>
                  </a:lnTo>
                  <a:lnTo>
                    <a:pt x="299" y="383"/>
                  </a:lnTo>
                  <a:lnTo>
                    <a:pt x="299" y="387"/>
                  </a:lnTo>
                  <a:lnTo>
                    <a:pt x="296" y="387"/>
                  </a:lnTo>
                  <a:lnTo>
                    <a:pt x="299" y="383"/>
                  </a:lnTo>
                  <a:lnTo>
                    <a:pt x="296" y="383"/>
                  </a:lnTo>
                  <a:lnTo>
                    <a:pt x="296" y="387"/>
                  </a:lnTo>
                  <a:lnTo>
                    <a:pt x="296" y="391"/>
                  </a:lnTo>
                  <a:lnTo>
                    <a:pt x="296" y="387"/>
                  </a:lnTo>
                  <a:lnTo>
                    <a:pt x="292" y="387"/>
                  </a:lnTo>
                  <a:lnTo>
                    <a:pt x="292" y="391"/>
                  </a:lnTo>
                  <a:lnTo>
                    <a:pt x="288" y="391"/>
                  </a:lnTo>
                  <a:lnTo>
                    <a:pt x="284" y="391"/>
                  </a:lnTo>
                  <a:lnTo>
                    <a:pt x="284" y="395"/>
                  </a:lnTo>
                  <a:lnTo>
                    <a:pt x="280" y="395"/>
                  </a:lnTo>
                  <a:lnTo>
                    <a:pt x="280" y="399"/>
                  </a:lnTo>
                  <a:lnTo>
                    <a:pt x="280" y="395"/>
                  </a:lnTo>
                  <a:lnTo>
                    <a:pt x="280" y="391"/>
                  </a:lnTo>
                  <a:lnTo>
                    <a:pt x="276" y="391"/>
                  </a:lnTo>
                  <a:lnTo>
                    <a:pt x="276" y="395"/>
                  </a:lnTo>
                  <a:lnTo>
                    <a:pt x="272" y="395"/>
                  </a:lnTo>
                  <a:lnTo>
                    <a:pt x="272" y="399"/>
                  </a:lnTo>
                  <a:lnTo>
                    <a:pt x="268" y="399"/>
                  </a:lnTo>
                  <a:lnTo>
                    <a:pt x="264" y="399"/>
                  </a:lnTo>
                  <a:lnTo>
                    <a:pt x="264" y="403"/>
                  </a:lnTo>
                  <a:lnTo>
                    <a:pt x="264" y="399"/>
                  </a:lnTo>
                  <a:lnTo>
                    <a:pt x="260" y="399"/>
                  </a:lnTo>
                  <a:lnTo>
                    <a:pt x="260" y="403"/>
                  </a:lnTo>
                  <a:lnTo>
                    <a:pt x="256" y="403"/>
                  </a:lnTo>
                  <a:lnTo>
                    <a:pt x="252" y="403"/>
                  </a:lnTo>
                  <a:lnTo>
                    <a:pt x="252" y="399"/>
                  </a:lnTo>
                  <a:lnTo>
                    <a:pt x="256" y="399"/>
                  </a:lnTo>
                  <a:lnTo>
                    <a:pt x="252" y="399"/>
                  </a:lnTo>
                  <a:lnTo>
                    <a:pt x="248" y="399"/>
                  </a:lnTo>
                  <a:lnTo>
                    <a:pt x="248" y="403"/>
                  </a:lnTo>
                  <a:lnTo>
                    <a:pt x="248" y="407"/>
                  </a:lnTo>
                  <a:lnTo>
                    <a:pt x="244" y="407"/>
                  </a:lnTo>
                  <a:lnTo>
                    <a:pt x="244" y="411"/>
                  </a:lnTo>
                  <a:lnTo>
                    <a:pt x="244" y="407"/>
                  </a:lnTo>
                  <a:lnTo>
                    <a:pt x="240" y="411"/>
                  </a:lnTo>
                  <a:lnTo>
                    <a:pt x="236" y="411"/>
                  </a:lnTo>
                  <a:lnTo>
                    <a:pt x="236" y="407"/>
                  </a:lnTo>
                  <a:lnTo>
                    <a:pt x="236" y="411"/>
                  </a:lnTo>
                  <a:lnTo>
                    <a:pt x="232" y="415"/>
                  </a:lnTo>
                  <a:lnTo>
                    <a:pt x="232" y="411"/>
                  </a:lnTo>
                  <a:lnTo>
                    <a:pt x="228" y="411"/>
                  </a:lnTo>
                  <a:lnTo>
                    <a:pt x="228" y="407"/>
                  </a:lnTo>
                  <a:lnTo>
                    <a:pt x="228" y="411"/>
                  </a:lnTo>
                  <a:lnTo>
                    <a:pt x="228" y="415"/>
                  </a:lnTo>
                  <a:lnTo>
                    <a:pt x="224" y="415"/>
                  </a:lnTo>
                  <a:lnTo>
                    <a:pt x="224" y="411"/>
                  </a:lnTo>
                  <a:lnTo>
                    <a:pt x="224" y="407"/>
                  </a:lnTo>
                  <a:lnTo>
                    <a:pt x="228" y="407"/>
                  </a:lnTo>
                  <a:lnTo>
                    <a:pt x="232" y="407"/>
                  </a:lnTo>
                  <a:lnTo>
                    <a:pt x="232" y="403"/>
                  </a:lnTo>
                  <a:lnTo>
                    <a:pt x="236" y="403"/>
                  </a:lnTo>
                  <a:lnTo>
                    <a:pt x="236" y="399"/>
                  </a:lnTo>
                  <a:lnTo>
                    <a:pt x="240" y="399"/>
                  </a:lnTo>
                  <a:lnTo>
                    <a:pt x="240" y="395"/>
                  </a:lnTo>
                  <a:lnTo>
                    <a:pt x="244" y="395"/>
                  </a:lnTo>
                  <a:lnTo>
                    <a:pt x="248" y="391"/>
                  </a:lnTo>
                  <a:lnTo>
                    <a:pt x="256" y="391"/>
                  </a:lnTo>
                  <a:lnTo>
                    <a:pt x="260" y="391"/>
                  </a:lnTo>
                  <a:lnTo>
                    <a:pt x="264" y="395"/>
                  </a:lnTo>
                  <a:lnTo>
                    <a:pt x="264" y="391"/>
                  </a:lnTo>
                  <a:lnTo>
                    <a:pt x="268" y="391"/>
                  </a:lnTo>
                  <a:lnTo>
                    <a:pt x="268" y="395"/>
                  </a:lnTo>
                  <a:lnTo>
                    <a:pt x="272" y="395"/>
                  </a:lnTo>
                  <a:lnTo>
                    <a:pt x="272" y="391"/>
                  </a:lnTo>
                  <a:lnTo>
                    <a:pt x="268" y="391"/>
                  </a:lnTo>
                  <a:lnTo>
                    <a:pt x="268" y="387"/>
                  </a:lnTo>
                  <a:lnTo>
                    <a:pt x="268" y="383"/>
                  </a:lnTo>
                  <a:lnTo>
                    <a:pt x="272" y="383"/>
                  </a:lnTo>
                  <a:lnTo>
                    <a:pt x="272" y="379"/>
                  </a:lnTo>
                  <a:lnTo>
                    <a:pt x="276" y="379"/>
                  </a:lnTo>
                  <a:lnTo>
                    <a:pt x="276" y="375"/>
                  </a:lnTo>
                  <a:lnTo>
                    <a:pt x="280" y="375"/>
                  </a:lnTo>
                  <a:lnTo>
                    <a:pt x="284" y="375"/>
                  </a:lnTo>
                  <a:lnTo>
                    <a:pt x="288" y="371"/>
                  </a:lnTo>
                  <a:lnTo>
                    <a:pt x="292" y="371"/>
                  </a:lnTo>
                  <a:lnTo>
                    <a:pt x="296" y="371"/>
                  </a:lnTo>
                  <a:lnTo>
                    <a:pt x="296" y="367"/>
                  </a:lnTo>
                  <a:lnTo>
                    <a:pt x="296" y="363"/>
                  </a:lnTo>
                  <a:lnTo>
                    <a:pt x="299" y="359"/>
                  </a:lnTo>
                  <a:lnTo>
                    <a:pt x="303" y="355"/>
                  </a:lnTo>
                  <a:lnTo>
                    <a:pt x="307" y="355"/>
                  </a:lnTo>
                  <a:lnTo>
                    <a:pt x="307" y="351"/>
                  </a:lnTo>
                  <a:lnTo>
                    <a:pt x="311" y="351"/>
                  </a:lnTo>
                  <a:lnTo>
                    <a:pt x="311" y="355"/>
                  </a:lnTo>
                  <a:lnTo>
                    <a:pt x="315" y="355"/>
                  </a:lnTo>
                  <a:lnTo>
                    <a:pt x="315" y="351"/>
                  </a:lnTo>
                  <a:lnTo>
                    <a:pt x="311" y="355"/>
                  </a:lnTo>
                  <a:lnTo>
                    <a:pt x="311" y="351"/>
                  </a:lnTo>
                  <a:lnTo>
                    <a:pt x="311" y="347"/>
                  </a:lnTo>
                  <a:lnTo>
                    <a:pt x="311" y="343"/>
                  </a:lnTo>
                  <a:lnTo>
                    <a:pt x="311" y="339"/>
                  </a:lnTo>
                  <a:lnTo>
                    <a:pt x="315" y="335"/>
                  </a:lnTo>
                  <a:lnTo>
                    <a:pt x="319" y="335"/>
                  </a:lnTo>
                  <a:lnTo>
                    <a:pt x="319" y="339"/>
                  </a:lnTo>
                  <a:lnTo>
                    <a:pt x="319" y="335"/>
                  </a:lnTo>
                  <a:lnTo>
                    <a:pt x="315" y="335"/>
                  </a:lnTo>
                  <a:lnTo>
                    <a:pt x="311" y="335"/>
                  </a:lnTo>
                  <a:lnTo>
                    <a:pt x="311" y="331"/>
                  </a:lnTo>
                  <a:lnTo>
                    <a:pt x="315" y="327"/>
                  </a:lnTo>
                  <a:lnTo>
                    <a:pt x="319" y="323"/>
                  </a:lnTo>
                  <a:lnTo>
                    <a:pt x="319" y="319"/>
                  </a:lnTo>
                  <a:lnTo>
                    <a:pt x="323" y="319"/>
                  </a:lnTo>
                  <a:lnTo>
                    <a:pt x="323" y="315"/>
                  </a:lnTo>
                  <a:lnTo>
                    <a:pt x="319" y="319"/>
                  </a:lnTo>
                  <a:lnTo>
                    <a:pt x="315" y="319"/>
                  </a:lnTo>
                  <a:lnTo>
                    <a:pt x="315" y="323"/>
                  </a:lnTo>
                  <a:lnTo>
                    <a:pt x="311" y="323"/>
                  </a:lnTo>
                  <a:lnTo>
                    <a:pt x="307" y="323"/>
                  </a:lnTo>
                  <a:lnTo>
                    <a:pt x="303" y="327"/>
                  </a:lnTo>
                  <a:lnTo>
                    <a:pt x="299" y="327"/>
                  </a:lnTo>
                  <a:lnTo>
                    <a:pt x="299" y="323"/>
                  </a:lnTo>
                  <a:lnTo>
                    <a:pt x="296" y="323"/>
                  </a:lnTo>
                  <a:lnTo>
                    <a:pt x="296" y="319"/>
                  </a:lnTo>
                  <a:lnTo>
                    <a:pt x="299" y="319"/>
                  </a:lnTo>
                  <a:lnTo>
                    <a:pt x="299" y="315"/>
                  </a:lnTo>
                  <a:lnTo>
                    <a:pt x="303" y="315"/>
                  </a:lnTo>
                  <a:lnTo>
                    <a:pt x="303" y="319"/>
                  </a:lnTo>
                  <a:lnTo>
                    <a:pt x="303" y="315"/>
                  </a:lnTo>
                  <a:lnTo>
                    <a:pt x="299" y="315"/>
                  </a:lnTo>
                  <a:lnTo>
                    <a:pt x="296" y="311"/>
                  </a:lnTo>
                  <a:lnTo>
                    <a:pt x="296" y="315"/>
                  </a:lnTo>
                  <a:lnTo>
                    <a:pt x="299" y="315"/>
                  </a:lnTo>
                  <a:lnTo>
                    <a:pt x="296" y="319"/>
                  </a:lnTo>
                  <a:lnTo>
                    <a:pt x="292" y="319"/>
                  </a:lnTo>
                  <a:lnTo>
                    <a:pt x="292" y="323"/>
                  </a:lnTo>
                  <a:lnTo>
                    <a:pt x="296" y="331"/>
                  </a:lnTo>
                  <a:lnTo>
                    <a:pt x="292" y="331"/>
                  </a:lnTo>
                  <a:lnTo>
                    <a:pt x="288" y="331"/>
                  </a:lnTo>
                  <a:lnTo>
                    <a:pt x="288" y="327"/>
                  </a:lnTo>
                  <a:lnTo>
                    <a:pt x="284" y="323"/>
                  </a:lnTo>
                  <a:lnTo>
                    <a:pt x="280" y="319"/>
                  </a:lnTo>
                  <a:lnTo>
                    <a:pt x="280" y="323"/>
                  </a:lnTo>
                  <a:lnTo>
                    <a:pt x="276" y="323"/>
                  </a:lnTo>
                  <a:lnTo>
                    <a:pt x="276" y="319"/>
                  </a:lnTo>
                  <a:lnTo>
                    <a:pt x="272" y="319"/>
                  </a:lnTo>
                  <a:lnTo>
                    <a:pt x="272" y="315"/>
                  </a:lnTo>
                  <a:lnTo>
                    <a:pt x="268" y="315"/>
                  </a:lnTo>
                  <a:lnTo>
                    <a:pt x="264" y="319"/>
                  </a:lnTo>
                  <a:lnTo>
                    <a:pt x="260" y="319"/>
                  </a:lnTo>
                  <a:lnTo>
                    <a:pt x="260" y="323"/>
                  </a:lnTo>
                  <a:lnTo>
                    <a:pt x="256" y="323"/>
                  </a:lnTo>
                  <a:lnTo>
                    <a:pt x="256" y="327"/>
                  </a:lnTo>
                  <a:lnTo>
                    <a:pt x="252" y="327"/>
                  </a:lnTo>
                  <a:lnTo>
                    <a:pt x="248" y="327"/>
                  </a:lnTo>
                  <a:lnTo>
                    <a:pt x="244" y="327"/>
                  </a:lnTo>
                  <a:lnTo>
                    <a:pt x="244" y="323"/>
                  </a:lnTo>
                  <a:lnTo>
                    <a:pt x="244" y="327"/>
                  </a:lnTo>
                  <a:lnTo>
                    <a:pt x="248" y="327"/>
                  </a:lnTo>
                  <a:lnTo>
                    <a:pt x="248" y="323"/>
                  </a:lnTo>
                  <a:lnTo>
                    <a:pt x="252" y="323"/>
                  </a:lnTo>
                  <a:lnTo>
                    <a:pt x="248" y="323"/>
                  </a:lnTo>
                  <a:lnTo>
                    <a:pt x="248" y="319"/>
                  </a:lnTo>
                  <a:lnTo>
                    <a:pt x="248" y="315"/>
                  </a:lnTo>
                  <a:lnTo>
                    <a:pt x="252" y="315"/>
                  </a:lnTo>
                  <a:lnTo>
                    <a:pt x="248" y="315"/>
                  </a:lnTo>
                  <a:lnTo>
                    <a:pt x="244" y="315"/>
                  </a:lnTo>
                  <a:lnTo>
                    <a:pt x="244" y="311"/>
                  </a:lnTo>
                  <a:lnTo>
                    <a:pt x="244" y="307"/>
                  </a:lnTo>
                  <a:lnTo>
                    <a:pt x="248" y="307"/>
                  </a:lnTo>
                  <a:lnTo>
                    <a:pt x="248" y="303"/>
                  </a:lnTo>
                  <a:lnTo>
                    <a:pt x="248" y="299"/>
                  </a:lnTo>
                  <a:lnTo>
                    <a:pt x="244" y="299"/>
                  </a:lnTo>
                  <a:lnTo>
                    <a:pt x="244" y="295"/>
                  </a:lnTo>
                  <a:lnTo>
                    <a:pt x="240" y="291"/>
                  </a:lnTo>
                  <a:lnTo>
                    <a:pt x="244" y="287"/>
                  </a:lnTo>
                  <a:lnTo>
                    <a:pt x="240" y="287"/>
                  </a:lnTo>
                  <a:lnTo>
                    <a:pt x="240" y="291"/>
                  </a:lnTo>
                  <a:lnTo>
                    <a:pt x="240" y="287"/>
                  </a:lnTo>
                  <a:lnTo>
                    <a:pt x="240" y="283"/>
                  </a:lnTo>
                  <a:lnTo>
                    <a:pt x="240" y="279"/>
                  </a:lnTo>
                  <a:lnTo>
                    <a:pt x="244" y="279"/>
                  </a:lnTo>
                  <a:lnTo>
                    <a:pt x="244" y="275"/>
                  </a:lnTo>
                  <a:lnTo>
                    <a:pt x="244" y="279"/>
                  </a:lnTo>
                  <a:lnTo>
                    <a:pt x="244" y="275"/>
                  </a:lnTo>
                  <a:lnTo>
                    <a:pt x="248" y="275"/>
                  </a:lnTo>
                  <a:lnTo>
                    <a:pt x="244" y="275"/>
                  </a:lnTo>
                  <a:lnTo>
                    <a:pt x="240" y="279"/>
                  </a:lnTo>
                  <a:lnTo>
                    <a:pt x="240" y="283"/>
                  </a:lnTo>
                  <a:lnTo>
                    <a:pt x="236" y="283"/>
                  </a:lnTo>
                  <a:lnTo>
                    <a:pt x="236" y="287"/>
                  </a:lnTo>
                  <a:lnTo>
                    <a:pt x="240" y="287"/>
                  </a:lnTo>
                  <a:lnTo>
                    <a:pt x="236" y="291"/>
                  </a:lnTo>
                  <a:lnTo>
                    <a:pt x="236" y="295"/>
                  </a:lnTo>
                  <a:lnTo>
                    <a:pt x="232" y="295"/>
                  </a:lnTo>
                  <a:lnTo>
                    <a:pt x="228" y="295"/>
                  </a:lnTo>
                  <a:lnTo>
                    <a:pt x="224" y="299"/>
                  </a:lnTo>
                  <a:lnTo>
                    <a:pt x="220" y="299"/>
                  </a:lnTo>
                  <a:lnTo>
                    <a:pt x="216" y="299"/>
                  </a:lnTo>
                  <a:lnTo>
                    <a:pt x="212" y="299"/>
                  </a:lnTo>
                  <a:lnTo>
                    <a:pt x="212" y="295"/>
                  </a:lnTo>
                  <a:lnTo>
                    <a:pt x="212" y="291"/>
                  </a:lnTo>
                  <a:lnTo>
                    <a:pt x="208" y="291"/>
                  </a:lnTo>
                  <a:lnTo>
                    <a:pt x="208" y="287"/>
                  </a:lnTo>
                  <a:lnTo>
                    <a:pt x="204" y="287"/>
                  </a:lnTo>
                  <a:lnTo>
                    <a:pt x="200" y="283"/>
                  </a:lnTo>
                  <a:lnTo>
                    <a:pt x="196" y="283"/>
                  </a:lnTo>
                  <a:lnTo>
                    <a:pt x="200" y="283"/>
                  </a:lnTo>
                  <a:lnTo>
                    <a:pt x="200" y="279"/>
                  </a:lnTo>
                  <a:lnTo>
                    <a:pt x="196" y="279"/>
                  </a:lnTo>
                  <a:lnTo>
                    <a:pt x="192" y="279"/>
                  </a:lnTo>
                  <a:lnTo>
                    <a:pt x="196" y="279"/>
                  </a:lnTo>
                  <a:lnTo>
                    <a:pt x="200" y="275"/>
                  </a:lnTo>
                  <a:lnTo>
                    <a:pt x="200" y="271"/>
                  </a:lnTo>
                  <a:lnTo>
                    <a:pt x="204" y="271"/>
                  </a:lnTo>
                  <a:lnTo>
                    <a:pt x="208" y="275"/>
                  </a:lnTo>
                  <a:lnTo>
                    <a:pt x="212" y="275"/>
                  </a:lnTo>
                  <a:lnTo>
                    <a:pt x="208" y="275"/>
                  </a:lnTo>
                  <a:lnTo>
                    <a:pt x="208" y="279"/>
                  </a:lnTo>
                  <a:lnTo>
                    <a:pt x="212" y="275"/>
                  </a:lnTo>
                  <a:lnTo>
                    <a:pt x="216" y="275"/>
                  </a:lnTo>
                  <a:lnTo>
                    <a:pt x="216" y="279"/>
                  </a:lnTo>
                  <a:lnTo>
                    <a:pt x="220" y="279"/>
                  </a:lnTo>
                  <a:lnTo>
                    <a:pt x="224" y="275"/>
                  </a:lnTo>
                  <a:lnTo>
                    <a:pt x="220" y="275"/>
                  </a:lnTo>
                  <a:lnTo>
                    <a:pt x="220" y="271"/>
                  </a:lnTo>
                  <a:lnTo>
                    <a:pt x="216" y="271"/>
                  </a:lnTo>
                  <a:lnTo>
                    <a:pt x="220" y="271"/>
                  </a:lnTo>
                  <a:lnTo>
                    <a:pt x="220" y="267"/>
                  </a:lnTo>
                  <a:lnTo>
                    <a:pt x="216" y="271"/>
                  </a:lnTo>
                  <a:lnTo>
                    <a:pt x="212" y="271"/>
                  </a:lnTo>
                  <a:lnTo>
                    <a:pt x="208" y="271"/>
                  </a:lnTo>
                  <a:lnTo>
                    <a:pt x="204" y="271"/>
                  </a:lnTo>
                  <a:lnTo>
                    <a:pt x="200" y="271"/>
                  </a:lnTo>
                  <a:lnTo>
                    <a:pt x="196" y="271"/>
                  </a:lnTo>
                  <a:lnTo>
                    <a:pt x="196" y="267"/>
                  </a:lnTo>
                  <a:lnTo>
                    <a:pt x="200" y="267"/>
                  </a:lnTo>
                  <a:lnTo>
                    <a:pt x="204" y="267"/>
                  </a:lnTo>
                  <a:lnTo>
                    <a:pt x="200" y="267"/>
                  </a:lnTo>
                  <a:lnTo>
                    <a:pt x="196" y="267"/>
                  </a:lnTo>
                  <a:lnTo>
                    <a:pt x="196" y="263"/>
                  </a:lnTo>
                  <a:lnTo>
                    <a:pt x="192" y="263"/>
                  </a:lnTo>
                  <a:lnTo>
                    <a:pt x="196" y="263"/>
                  </a:lnTo>
                  <a:lnTo>
                    <a:pt x="196" y="259"/>
                  </a:lnTo>
                  <a:lnTo>
                    <a:pt x="200" y="259"/>
                  </a:lnTo>
                  <a:lnTo>
                    <a:pt x="200" y="255"/>
                  </a:lnTo>
                  <a:lnTo>
                    <a:pt x="204" y="255"/>
                  </a:lnTo>
                  <a:lnTo>
                    <a:pt x="204" y="251"/>
                  </a:lnTo>
                  <a:lnTo>
                    <a:pt x="204" y="255"/>
                  </a:lnTo>
                  <a:lnTo>
                    <a:pt x="200" y="255"/>
                  </a:lnTo>
                  <a:lnTo>
                    <a:pt x="200" y="259"/>
                  </a:lnTo>
                  <a:lnTo>
                    <a:pt x="196" y="259"/>
                  </a:lnTo>
                  <a:lnTo>
                    <a:pt x="196" y="263"/>
                  </a:lnTo>
                  <a:lnTo>
                    <a:pt x="192" y="263"/>
                  </a:lnTo>
                  <a:lnTo>
                    <a:pt x="196" y="263"/>
                  </a:lnTo>
                  <a:lnTo>
                    <a:pt x="192" y="267"/>
                  </a:lnTo>
                  <a:lnTo>
                    <a:pt x="188" y="263"/>
                  </a:lnTo>
                  <a:lnTo>
                    <a:pt x="192" y="263"/>
                  </a:lnTo>
                  <a:lnTo>
                    <a:pt x="188" y="259"/>
                  </a:lnTo>
                  <a:lnTo>
                    <a:pt x="184" y="259"/>
                  </a:lnTo>
                  <a:lnTo>
                    <a:pt x="188" y="259"/>
                  </a:lnTo>
                  <a:lnTo>
                    <a:pt x="188" y="255"/>
                  </a:lnTo>
                  <a:lnTo>
                    <a:pt x="184" y="255"/>
                  </a:lnTo>
                  <a:lnTo>
                    <a:pt x="180" y="255"/>
                  </a:lnTo>
                  <a:lnTo>
                    <a:pt x="180" y="251"/>
                  </a:lnTo>
                  <a:lnTo>
                    <a:pt x="184" y="251"/>
                  </a:lnTo>
                  <a:lnTo>
                    <a:pt x="188" y="251"/>
                  </a:lnTo>
                  <a:lnTo>
                    <a:pt x="184" y="251"/>
                  </a:lnTo>
                  <a:lnTo>
                    <a:pt x="184" y="248"/>
                  </a:lnTo>
                  <a:lnTo>
                    <a:pt x="188" y="248"/>
                  </a:lnTo>
                  <a:lnTo>
                    <a:pt x="188" y="244"/>
                  </a:lnTo>
                  <a:lnTo>
                    <a:pt x="188" y="240"/>
                  </a:lnTo>
                  <a:lnTo>
                    <a:pt x="192" y="240"/>
                  </a:lnTo>
                  <a:lnTo>
                    <a:pt x="192" y="236"/>
                  </a:lnTo>
                  <a:lnTo>
                    <a:pt x="196" y="236"/>
                  </a:lnTo>
                  <a:lnTo>
                    <a:pt x="196" y="232"/>
                  </a:lnTo>
                  <a:lnTo>
                    <a:pt x="200" y="232"/>
                  </a:lnTo>
                  <a:lnTo>
                    <a:pt x="204" y="232"/>
                  </a:lnTo>
                  <a:lnTo>
                    <a:pt x="204" y="236"/>
                  </a:lnTo>
                  <a:lnTo>
                    <a:pt x="204" y="232"/>
                  </a:lnTo>
                  <a:lnTo>
                    <a:pt x="200" y="232"/>
                  </a:lnTo>
                  <a:lnTo>
                    <a:pt x="204" y="228"/>
                  </a:lnTo>
                  <a:lnTo>
                    <a:pt x="208" y="224"/>
                  </a:lnTo>
                  <a:lnTo>
                    <a:pt x="204" y="228"/>
                  </a:lnTo>
                  <a:lnTo>
                    <a:pt x="200" y="224"/>
                  </a:lnTo>
                  <a:lnTo>
                    <a:pt x="204" y="220"/>
                  </a:lnTo>
                  <a:lnTo>
                    <a:pt x="208" y="220"/>
                  </a:lnTo>
                  <a:lnTo>
                    <a:pt x="208" y="216"/>
                  </a:lnTo>
                  <a:lnTo>
                    <a:pt x="204" y="216"/>
                  </a:lnTo>
                  <a:lnTo>
                    <a:pt x="208" y="212"/>
                  </a:lnTo>
                  <a:lnTo>
                    <a:pt x="212" y="212"/>
                  </a:lnTo>
                  <a:lnTo>
                    <a:pt x="216" y="212"/>
                  </a:lnTo>
                  <a:lnTo>
                    <a:pt x="220" y="212"/>
                  </a:lnTo>
                  <a:lnTo>
                    <a:pt x="220" y="216"/>
                  </a:lnTo>
                  <a:lnTo>
                    <a:pt x="224" y="216"/>
                  </a:lnTo>
                  <a:lnTo>
                    <a:pt x="224" y="220"/>
                  </a:lnTo>
                  <a:lnTo>
                    <a:pt x="228" y="220"/>
                  </a:lnTo>
                  <a:lnTo>
                    <a:pt x="228" y="216"/>
                  </a:lnTo>
                  <a:lnTo>
                    <a:pt x="232" y="216"/>
                  </a:lnTo>
                  <a:lnTo>
                    <a:pt x="236" y="212"/>
                  </a:lnTo>
                  <a:lnTo>
                    <a:pt x="240" y="208"/>
                  </a:lnTo>
                  <a:lnTo>
                    <a:pt x="240" y="204"/>
                  </a:lnTo>
                  <a:lnTo>
                    <a:pt x="244" y="208"/>
                  </a:lnTo>
                  <a:lnTo>
                    <a:pt x="248" y="208"/>
                  </a:lnTo>
                  <a:lnTo>
                    <a:pt x="252" y="208"/>
                  </a:lnTo>
                  <a:lnTo>
                    <a:pt x="256" y="208"/>
                  </a:lnTo>
                  <a:lnTo>
                    <a:pt x="264" y="200"/>
                  </a:lnTo>
                  <a:lnTo>
                    <a:pt x="264" y="196"/>
                  </a:lnTo>
                  <a:lnTo>
                    <a:pt x="260" y="192"/>
                  </a:lnTo>
                  <a:lnTo>
                    <a:pt x="260" y="188"/>
                  </a:lnTo>
                  <a:lnTo>
                    <a:pt x="256" y="184"/>
                  </a:lnTo>
                  <a:lnTo>
                    <a:pt x="252" y="184"/>
                  </a:lnTo>
                  <a:lnTo>
                    <a:pt x="252" y="180"/>
                  </a:lnTo>
                  <a:lnTo>
                    <a:pt x="256" y="180"/>
                  </a:lnTo>
                  <a:lnTo>
                    <a:pt x="260" y="180"/>
                  </a:lnTo>
                  <a:lnTo>
                    <a:pt x="264" y="176"/>
                  </a:lnTo>
                  <a:lnTo>
                    <a:pt x="264" y="172"/>
                  </a:lnTo>
                  <a:lnTo>
                    <a:pt x="260" y="172"/>
                  </a:lnTo>
                  <a:lnTo>
                    <a:pt x="256" y="172"/>
                  </a:lnTo>
                  <a:lnTo>
                    <a:pt x="260" y="172"/>
                  </a:lnTo>
                  <a:lnTo>
                    <a:pt x="260" y="168"/>
                  </a:lnTo>
                  <a:lnTo>
                    <a:pt x="256" y="168"/>
                  </a:lnTo>
                  <a:lnTo>
                    <a:pt x="256" y="172"/>
                  </a:lnTo>
                  <a:lnTo>
                    <a:pt x="252" y="176"/>
                  </a:lnTo>
                  <a:lnTo>
                    <a:pt x="252" y="172"/>
                  </a:lnTo>
                  <a:lnTo>
                    <a:pt x="248" y="172"/>
                  </a:lnTo>
                  <a:lnTo>
                    <a:pt x="248" y="176"/>
                  </a:lnTo>
                  <a:lnTo>
                    <a:pt x="244" y="176"/>
                  </a:lnTo>
                  <a:lnTo>
                    <a:pt x="248" y="176"/>
                  </a:lnTo>
                  <a:lnTo>
                    <a:pt x="244" y="176"/>
                  </a:lnTo>
                  <a:lnTo>
                    <a:pt x="240" y="176"/>
                  </a:lnTo>
                  <a:lnTo>
                    <a:pt x="240" y="180"/>
                  </a:lnTo>
                  <a:lnTo>
                    <a:pt x="236" y="180"/>
                  </a:lnTo>
                  <a:lnTo>
                    <a:pt x="236" y="184"/>
                  </a:lnTo>
                  <a:lnTo>
                    <a:pt x="232" y="184"/>
                  </a:lnTo>
                  <a:lnTo>
                    <a:pt x="232" y="180"/>
                  </a:lnTo>
                  <a:lnTo>
                    <a:pt x="228" y="176"/>
                  </a:lnTo>
                  <a:lnTo>
                    <a:pt x="224" y="176"/>
                  </a:lnTo>
                  <a:lnTo>
                    <a:pt x="224" y="180"/>
                  </a:lnTo>
                  <a:lnTo>
                    <a:pt x="228" y="180"/>
                  </a:lnTo>
                  <a:lnTo>
                    <a:pt x="228" y="184"/>
                  </a:lnTo>
                  <a:lnTo>
                    <a:pt x="224" y="184"/>
                  </a:lnTo>
                  <a:lnTo>
                    <a:pt x="224" y="180"/>
                  </a:lnTo>
                  <a:lnTo>
                    <a:pt x="220" y="180"/>
                  </a:lnTo>
                  <a:lnTo>
                    <a:pt x="216" y="180"/>
                  </a:lnTo>
                  <a:lnTo>
                    <a:pt x="212" y="180"/>
                  </a:lnTo>
                  <a:lnTo>
                    <a:pt x="208" y="180"/>
                  </a:lnTo>
                  <a:lnTo>
                    <a:pt x="204" y="180"/>
                  </a:lnTo>
                  <a:lnTo>
                    <a:pt x="200" y="180"/>
                  </a:lnTo>
                  <a:lnTo>
                    <a:pt x="200" y="184"/>
                  </a:lnTo>
                  <a:lnTo>
                    <a:pt x="204" y="184"/>
                  </a:lnTo>
                  <a:lnTo>
                    <a:pt x="204" y="180"/>
                  </a:lnTo>
                  <a:lnTo>
                    <a:pt x="204" y="184"/>
                  </a:lnTo>
                  <a:lnTo>
                    <a:pt x="200" y="184"/>
                  </a:lnTo>
                  <a:lnTo>
                    <a:pt x="196" y="184"/>
                  </a:lnTo>
                  <a:lnTo>
                    <a:pt x="196" y="180"/>
                  </a:lnTo>
                  <a:lnTo>
                    <a:pt x="192" y="180"/>
                  </a:lnTo>
                  <a:lnTo>
                    <a:pt x="188" y="180"/>
                  </a:lnTo>
                  <a:lnTo>
                    <a:pt x="184" y="180"/>
                  </a:lnTo>
                  <a:lnTo>
                    <a:pt x="180" y="180"/>
                  </a:lnTo>
                  <a:lnTo>
                    <a:pt x="180" y="176"/>
                  </a:lnTo>
                  <a:lnTo>
                    <a:pt x="176" y="176"/>
                  </a:lnTo>
                  <a:lnTo>
                    <a:pt x="176" y="172"/>
                  </a:lnTo>
                  <a:lnTo>
                    <a:pt x="180" y="172"/>
                  </a:lnTo>
                  <a:lnTo>
                    <a:pt x="176" y="172"/>
                  </a:lnTo>
                  <a:lnTo>
                    <a:pt x="176" y="168"/>
                  </a:lnTo>
                  <a:lnTo>
                    <a:pt x="172" y="168"/>
                  </a:lnTo>
                  <a:lnTo>
                    <a:pt x="172" y="164"/>
                  </a:lnTo>
                  <a:lnTo>
                    <a:pt x="168" y="164"/>
                  </a:lnTo>
                  <a:lnTo>
                    <a:pt x="172" y="164"/>
                  </a:lnTo>
                  <a:lnTo>
                    <a:pt x="172" y="160"/>
                  </a:lnTo>
                  <a:lnTo>
                    <a:pt x="172" y="164"/>
                  </a:lnTo>
                  <a:lnTo>
                    <a:pt x="176" y="164"/>
                  </a:lnTo>
                  <a:lnTo>
                    <a:pt x="180" y="160"/>
                  </a:lnTo>
                  <a:lnTo>
                    <a:pt x="180" y="164"/>
                  </a:lnTo>
                  <a:lnTo>
                    <a:pt x="184" y="164"/>
                  </a:lnTo>
                  <a:lnTo>
                    <a:pt x="184" y="160"/>
                  </a:lnTo>
                  <a:lnTo>
                    <a:pt x="180" y="160"/>
                  </a:lnTo>
                  <a:lnTo>
                    <a:pt x="176" y="160"/>
                  </a:lnTo>
                  <a:lnTo>
                    <a:pt x="172" y="160"/>
                  </a:lnTo>
                  <a:lnTo>
                    <a:pt x="168" y="160"/>
                  </a:lnTo>
                  <a:lnTo>
                    <a:pt x="164" y="156"/>
                  </a:lnTo>
                  <a:lnTo>
                    <a:pt x="160" y="156"/>
                  </a:lnTo>
                  <a:lnTo>
                    <a:pt x="156" y="156"/>
                  </a:lnTo>
                  <a:lnTo>
                    <a:pt x="156" y="152"/>
                  </a:lnTo>
                  <a:lnTo>
                    <a:pt x="152" y="152"/>
                  </a:lnTo>
                  <a:lnTo>
                    <a:pt x="152" y="148"/>
                  </a:lnTo>
                  <a:lnTo>
                    <a:pt x="156" y="148"/>
                  </a:lnTo>
                  <a:lnTo>
                    <a:pt x="156" y="152"/>
                  </a:lnTo>
                  <a:lnTo>
                    <a:pt x="152" y="152"/>
                  </a:lnTo>
                  <a:lnTo>
                    <a:pt x="156" y="152"/>
                  </a:lnTo>
                  <a:lnTo>
                    <a:pt x="160" y="148"/>
                  </a:lnTo>
                  <a:lnTo>
                    <a:pt x="164" y="148"/>
                  </a:lnTo>
                  <a:lnTo>
                    <a:pt x="164" y="144"/>
                  </a:lnTo>
                  <a:lnTo>
                    <a:pt x="168" y="148"/>
                  </a:lnTo>
                  <a:lnTo>
                    <a:pt x="168" y="144"/>
                  </a:lnTo>
                  <a:lnTo>
                    <a:pt x="172" y="144"/>
                  </a:lnTo>
                  <a:lnTo>
                    <a:pt x="168" y="144"/>
                  </a:lnTo>
                  <a:lnTo>
                    <a:pt x="172" y="144"/>
                  </a:lnTo>
                  <a:lnTo>
                    <a:pt x="172" y="140"/>
                  </a:lnTo>
                  <a:lnTo>
                    <a:pt x="176" y="140"/>
                  </a:lnTo>
                  <a:lnTo>
                    <a:pt x="180" y="136"/>
                  </a:lnTo>
                  <a:lnTo>
                    <a:pt x="184" y="140"/>
                  </a:lnTo>
                  <a:lnTo>
                    <a:pt x="188" y="140"/>
                  </a:lnTo>
                  <a:lnTo>
                    <a:pt x="192" y="140"/>
                  </a:lnTo>
                  <a:lnTo>
                    <a:pt x="188" y="136"/>
                  </a:lnTo>
                  <a:lnTo>
                    <a:pt x="184" y="136"/>
                  </a:lnTo>
                  <a:lnTo>
                    <a:pt x="188" y="136"/>
                  </a:lnTo>
                  <a:lnTo>
                    <a:pt x="188" y="132"/>
                  </a:lnTo>
                  <a:lnTo>
                    <a:pt x="192" y="132"/>
                  </a:lnTo>
                  <a:lnTo>
                    <a:pt x="196" y="132"/>
                  </a:lnTo>
                  <a:lnTo>
                    <a:pt x="200" y="132"/>
                  </a:lnTo>
                  <a:lnTo>
                    <a:pt x="204" y="128"/>
                  </a:lnTo>
                  <a:lnTo>
                    <a:pt x="208" y="128"/>
                  </a:lnTo>
                  <a:lnTo>
                    <a:pt x="212" y="128"/>
                  </a:lnTo>
                  <a:lnTo>
                    <a:pt x="216" y="128"/>
                  </a:lnTo>
                  <a:lnTo>
                    <a:pt x="220" y="128"/>
                  </a:lnTo>
                  <a:lnTo>
                    <a:pt x="216" y="128"/>
                  </a:lnTo>
                  <a:lnTo>
                    <a:pt x="220" y="128"/>
                  </a:lnTo>
                  <a:lnTo>
                    <a:pt x="216" y="132"/>
                  </a:lnTo>
                  <a:lnTo>
                    <a:pt x="216" y="136"/>
                  </a:lnTo>
                  <a:lnTo>
                    <a:pt x="212" y="136"/>
                  </a:lnTo>
                  <a:lnTo>
                    <a:pt x="216" y="136"/>
                  </a:lnTo>
                  <a:lnTo>
                    <a:pt x="216" y="140"/>
                  </a:lnTo>
                  <a:lnTo>
                    <a:pt x="220" y="140"/>
                  </a:lnTo>
                  <a:lnTo>
                    <a:pt x="224" y="140"/>
                  </a:lnTo>
                  <a:lnTo>
                    <a:pt x="228" y="140"/>
                  </a:lnTo>
                  <a:lnTo>
                    <a:pt x="232" y="140"/>
                  </a:lnTo>
                  <a:lnTo>
                    <a:pt x="236" y="140"/>
                  </a:lnTo>
                  <a:lnTo>
                    <a:pt x="240" y="140"/>
                  </a:lnTo>
                  <a:lnTo>
                    <a:pt x="244" y="140"/>
                  </a:lnTo>
                  <a:lnTo>
                    <a:pt x="248" y="144"/>
                  </a:lnTo>
                  <a:lnTo>
                    <a:pt x="248" y="140"/>
                  </a:lnTo>
                  <a:lnTo>
                    <a:pt x="252" y="140"/>
                  </a:lnTo>
                  <a:lnTo>
                    <a:pt x="252" y="136"/>
                  </a:lnTo>
                  <a:lnTo>
                    <a:pt x="256" y="136"/>
                  </a:lnTo>
                  <a:lnTo>
                    <a:pt x="260" y="136"/>
                  </a:lnTo>
                  <a:lnTo>
                    <a:pt x="260" y="140"/>
                  </a:lnTo>
                  <a:lnTo>
                    <a:pt x="256" y="140"/>
                  </a:lnTo>
                  <a:lnTo>
                    <a:pt x="260" y="140"/>
                  </a:lnTo>
                  <a:lnTo>
                    <a:pt x="260" y="136"/>
                  </a:lnTo>
                  <a:lnTo>
                    <a:pt x="260" y="132"/>
                  </a:lnTo>
                  <a:lnTo>
                    <a:pt x="256" y="132"/>
                  </a:lnTo>
                  <a:lnTo>
                    <a:pt x="252" y="132"/>
                  </a:lnTo>
                  <a:lnTo>
                    <a:pt x="248" y="132"/>
                  </a:lnTo>
                  <a:lnTo>
                    <a:pt x="248" y="136"/>
                  </a:lnTo>
                  <a:lnTo>
                    <a:pt x="244" y="132"/>
                  </a:lnTo>
                  <a:lnTo>
                    <a:pt x="248" y="132"/>
                  </a:lnTo>
                  <a:lnTo>
                    <a:pt x="248" y="128"/>
                  </a:lnTo>
                  <a:lnTo>
                    <a:pt x="244" y="124"/>
                  </a:lnTo>
                  <a:lnTo>
                    <a:pt x="240" y="124"/>
                  </a:lnTo>
                  <a:lnTo>
                    <a:pt x="236" y="124"/>
                  </a:lnTo>
                  <a:lnTo>
                    <a:pt x="236" y="120"/>
                  </a:lnTo>
                  <a:lnTo>
                    <a:pt x="240" y="116"/>
                  </a:lnTo>
                  <a:lnTo>
                    <a:pt x="244" y="120"/>
                  </a:lnTo>
                  <a:lnTo>
                    <a:pt x="244" y="124"/>
                  </a:lnTo>
                  <a:lnTo>
                    <a:pt x="248" y="128"/>
                  </a:lnTo>
                  <a:lnTo>
                    <a:pt x="252" y="132"/>
                  </a:lnTo>
                  <a:lnTo>
                    <a:pt x="256" y="128"/>
                  </a:lnTo>
                  <a:lnTo>
                    <a:pt x="260" y="128"/>
                  </a:lnTo>
                  <a:lnTo>
                    <a:pt x="260" y="132"/>
                  </a:lnTo>
                  <a:lnTo>
                    <a:pt x="264" y="132"/>
                  </a:lnTo>
                  <a:lnTo>
                    <a:pt x="268" y="132"/>
                  </a:lnTo>
                  <a:lnTo>
                    <a:pt x="272" y="132"/>
                  </a:lnTo>
                  <a:lnTo>
                    <a:pt x="272" y="128"/>
                  </a:lnTo>
                  <a:lnTo>
                    <a:pt x="272" y="124"/>
                  </a:lnTo>
                  <a:lnTo>
                    <a:pt x="268" y="128"/>
                  </a:lnTo>
                  <a:lnTo>
                    <a:pt x="264" y="128"/>
                  </a:lnTo>
                  <a:lnTo>
                    <a:pt x="264" y="124"/>
                  </a:lnTo>
                  <a:lnTo>
                    <a:pt x="260" y="124"/>
                  </a:lnTo>
                  <a:lnTo>
                    <a:pt x="256" y="124"/>
                  </a:lnTo>
                  <a:lnTo>
                    <a:pt x="256" y="128"/>
                  </a:lnTo>
                  <a:lnTo>
                    <a:pt x="252" y="128"/>
                  </a:lnTo>
                  <a:lnTo>
                    <a:pt x="248" y="128"/>
                  </a:lnTo>
                  <a:lnTo>
                    <a:pt x="248" y="124"/>
                  </a:lnTo>
                  <a:lnTo>
                    <a:pt x="248" y="120"/>
                  </a:lnTo>
                  <a:lnTo>
                    <a:pt x="248" y="116"/>
                  </a:lnTo>
                  <a:lnTo>
                    <a:pt x="252" y="116"/>
                  </a:lnTo>
                  <a:lnTo>
                    <a:pt x="248" y="116"/>
                  </a:lnTo>
                  <a:lnTo>
                    <a:pt x="240" y="116"/>
                  </a:lnTo>
                  <a:lnTo>
                    <a:pt x="236" y="116"/>
                  </a:lnTo>
                  <a:lnTo>
                    <a:pt x="240" y="116"/>
                  </a:lnTo>
                  <a:lnTo>
                    <a:pt x="240" y="112"/>
                  </a:lnTo>
                  <a:lnTo>
                    <a:pt x="236" y="116"/>
                  </a:lnTo>
                  <a:lnTo>
                    <a:pt x="232" y="116"/>
                  </a:lnTo>
                  <a:lnTo>
                    <a:pt x="228" y="116"/>
                  </a:lnTo>
                  <a:lnTo>
                    <a:pt x="224" y="116"/>
                  </a:lnTo>
                  <a:lnTo>
                    <a:pt x="220" y="112"/>
                  </a:lnTo>
                  <a:lnTo>
                    <a:pt x="216" y="112"/>
                  </a:lnTo>
                  <a:lnTo>
                    <a:pt x="220" y="112"/>
                  </a:lnTo>
                  <a:lnTo>
                    <a:pt x="216" y="108"/>
                  </a:lnTo>
                  <a:lnTo>
                    <a:pt x="216" y="104"/>
                  </a:lnTo>
                  <a:lnTo>
                    <a:pt x="216" y="100"/>
                  </a:lnTo>
                  <a:lnTo>
                    <a:pt x="212" y="100"/>
                  </a:lnTo>
                  <a:lnTo>
                    <a:pt x="208" y="100"/>
                  </a:lnTo>
                  <a:lnTo>
                    <a:pt x="208" y="96"/>
                  </a:lnTo>
                  <a:lnTo>
                    <a:pt x="204" y="96"/>
                  </a:lnTo>
                  <a:lnTo>
                    <a:pt x="196" y="92"/>
                  </a:lnTo>
                  <a:lnTo>
                    <a:pt x="196" y="88"/>
                  </a:lnTo>
                  <a:lnTo>
                    <a:pt x="192" y="88"/>
                  </a:lnTo>
                  <a:lnTo>
                    <a:pt x="188" y="88"/>
                  </a:lnTo>
                  <a:lnTo>
                    <a:pt x="184" y="88"/>
                  </a:lnTo>
                  <a:lnTo>
                    <a:pt x="184" y="84"/>
                  </a:lnTo>
                  <a:lnTo>
                    <a:pt x="180" y="84"/>
                  </a:lnTo>
                  <a:lnTo>
                    <a:pt x="180" y="80"/>
                  </a:lnTo>
                  <a:lnTo>
                    <a:pt x="176" y="80"/>
                  </a:lnTo>
                  <a:lnTo>
                    <a:pt x="172" y="80"/>
                  </a:lnTo>
                  <a:lnTo>
                    <a:pt x="176" y="80"/>
                  </a:lnTo>
                  <a:lnTo>
                    <a:pt x="172" y="80"/>
                  </a:lnTo>
                  <a:lnTo>
                    <a:pt x="176" y="80"/>
                  </a:lnTo>
                  <a:lnTo>
                    <a:pt x="180" y="80"/>
                  </a:lnTo>
                  <a:lnTo>
                    <a:pt x="180" y="76"/>
                  </a:lnTo>
                  <a:lnTo>
                    <a:pt x="180" y="72"/>
                  </a:lnTo>
                  <a:lnTo>
                    <a:pt x="180" y="68"/>
                  </a:lnTo>
                  <a:lnTo>
                    <a:pt x="184" y="68"/>
                  </a:lnTo>
                  <a:lnTo>
                    <a:pt x="188" y="68"/>
                  </a:lnTo>
                  <a:lnTo>
                    <a:pt x="192" y="68"/>
                  </a:lnTo>
                  <a:lnTo>
                    <a:pt x="196" y="68"/>
                  </a:lnTo>
                  <a:lnTo>
                    <a:pt x="200" y="64"/>
                  </a:lnTo>
                  <a:lnTo>
                    <a:pt x="204" y="64"/>
                  </a:lnTo>
                  <a:lnTo>
                    <a:pt x="208" y="64"/>
                  </a:lnTo>
                  <a:lnTo>
                    <a:pt x="212" y="64"/>
                  </a:lnTo>
                  <a:lnTo>
                    <a:pt x="216" y="64"/>
                  </a:lnTo>
                  <a:lnTo>
                    <a:pt x="220" y="60"/>
                  </a:lnTo>
                  <a:lnTo>
                    <a:pt x="224" y="60"/>
                  </a:lnTo>
                  <a:lnTo>
                    <a:pt x="224" y="56"/>
                  </a:lnTo>
                  <a:lnTo>
                    <a:pt x="228" y="52"/>
                  </a:lnTo>
                  <a:lnTo>
                    <a:pt x="224" y="56"/>
                  </a:lnTo>
                  <a:lnTo>
                    <a:pt x="228" y="52"/>
                  </a:lnTo>
                  <a:lnTo>
                    <a:pt x="228" y="48"/>
                  </a:lnTo>
                  <a:lnTo>
                    <a:pt x="228" y="44"/>
                  </a:lnTo>
                  <a:lnTo>
                    <a:pt x="232" y="44"/>
                  </a:lnTo>
                  <a:lnTo>
                    <a:pt x="228" y="44"/>
                  </a:lnTo>
                  <a:lnTo>
                    <a:pt x="232" y="40"/>
                  </a:lnTo>
                  <a:lnTo>
                    <a:pt x="236" y="40"/>
                  </a:lnTo>
                  <a:lnTo>
                    <a:pt x="236" y="36"/>
                  </a:lnTo>
                  <a:lnTo>
                    <a:pt x="240" y="32"/>
                  </a:lnTo>
                  <a:lnTo>
                    <a:pt x="244" y="28"/>
                  </a:lnTo>
                  <a:lnTo>
                    <a:pt x="248" y="28"/>
                  </a:lnTo>
                  <a:lnTo>
                    <a:pt x="248" y="32"/>
                  </a:lnTo>
                  <a:lnTo>
                    <a:pt x="244" y="32"/>
                  </a:lnTo>
                  <a:lnTo>
                    <a:pt x="248" y="32"/>
                  </a:lnTo>
                  <a:lnTo>
                    <a:pt x="248" y="28"/>
                  </a:lnTo>
                  <a:lnTo>
                    <a:pt x="252" y="28"/>
                  </a:lnTo>
                  <a:lnTo>
                    <a:pt x="256" y="28"/>
                  </a:lnTo>
                  <a:lnTo>
                    <a:pt x="260" y="28"/>
                  </a:lnTo>
                  <a:lnTo>
                    <a:pt x="264" y="28"/>
                  </a:lnTo>
                  <a:lnTo>
                    <a:pt x="264" y="24"/>
                  </a:lnTo>
                  <a:lnTo>
                    <a:pt x="268" y="24"/>
                  </a:lnTo>
                  <a:lnTo>
                    <a:pt x="268" y="20"/>
                  </a:lnTo>
                  <a:lnTo>
                    <a:pt x="272" y="20"/>
                  </a:lnTo>
                  <a:lnTo>
                    <a:pt x="276" y="20"/>
                  </a:lnTo>
                  <a:lnTo>
                    <a:pt x="276" y="24"/>
                  </a:lnTo>
                  <a:lnTo>
                    <a:pt x="272" y="24"/>
                  </a:lnTo>
                  <a:lnTo>
                    <a:pt x="276" y="24"/>
                  </a:lnTo>
                  <a:lnTo>
                    <a:pt x="276" y="28"/>
                  </a:lnTo>
                  <a:lnTo>
                    <a:pt x="276" y="24"/>
                  </a:lnTo>
                  <a:lnTo>
                    <a:pt x="280" y="24"/>
                  </a:lnTo>
                  <a:lnTo>
                    <a:pt x="284" y="24"/>
                  </a:lnTo>
                  <a:lnTo>
                    <a:pt x="284" y="20"/>
                  </a:lnTo>
                  <a:lnTo>
                    <a:pt x="280" y="20"/>
                  </a:lnTo>
                  <a:lnTo>
                    <a:pt x="280" y="24"/>
                  </a:lnTo>
                  <a:lnTo>
                    <a:pt x="276" y="20"/>
                  </a:lnTo>
                  <a:lnTo>
                    <a:pt x="272" y="20"/>
                  </a:lnTo>
                  <a:lnTo>
                    <a:pt x="276" y="16"/>
                  </a:lnTo>
                  <a:lnTo>
                    <a:pt x="280" y="16"/>
                  </a:lnTo>
                  <a:lnTo>
                    <a:pt x="280" y="12"/>
                  </a:lnTo>
                  <a:lnTo>
                    <a:pt x="284" y="12"/>
                  </a:lnTo>
                  <a:lnTo>
                    <a:pt x="288" y="12"/>
                  </a:lnTo>
                  <a:lnTo>
                    <a:pt x="284" y="12"/>
                  </a:lnTo>
                  <a:lnTo>
                    <a:pt x="288" y="12"/>
                  </a:lnTo>
                  <a:lnTo>
                    <a:pt x="284" y="12"/>
                  </a:lnTo>
                  <a:lnTo>
                    <a:pt x="284" y="16"/>
                  </a:lnTo>
                  <a:lnTo>
                    <a:pt x="288" y="16"/>
                  </a:lnTo>
                  <a:lnTo>
                    <a:pt x="292" y="16"/>
                  </a:lnTo>
                  <a:lnTo>
                    <a:pt x="292" y="12"/>
                  </a:lnTo>
                  <a:lnTo>
                    <a:pt x="292" y="16"/>
                  </a:lnTo>
                  <a:lnTo>
                    <a:pt x="296" y="16"/>
                  </a:lnTo>
                  <a:lnTo>
                    <a:pt x="296" y="12"/>
                  </a:lnTo>
                  <a:lnTo>
                    <a:pt x="299" y="12"/>
                  </a:lnTo>
                  <a:lnTo>
                    <a:pt x="303" y="12"/>
                  </a:lnTo>
                  <a:lnTo>
                    <a:pt x="307" y="12"/>
                  </a:lnTo>
                  <a:lnTo>
                    <a:pt x="311" y="8"/>
                  </a:lnTo>
                  <a:lnTo>
                    <a:pt x="315" y="8"/>
                  </a:lnTo>
                  <a:lnTo>
                    <a:pt x="315" y="4"/>
                  </a:lnTo>
                  <a:lnTo>
                    <a:pt x="319" y="4"/>
                  </a:lnTo>
                  <a:lnTo>
                    <a:pt x="323" y="0"/>
                  </a:lnTo>
                  <a:lnTo>
                    <a:pt x="327" y="0"/>
                  </a:lnTo>
                  <a:lnTo>
                    <a:pt x="331" y="0"/>
                  </a:lnTo>
                  <a:lnTo>
                    <a:pt x="335" y="0"/>
                  </a:lnTo>
                  <a:lnTo>
                    <a:pt x="335" y="4"/>
                  </a:lnTo>
                  <a:lnTo>
                    <a:pt x="339" y="4"/>
                  </a:lnTo>
                  <a:lnTo>
                    <a:pt x="343" y="4"/>
                  </a:lnTo>
                  <a:lnTo>
                    <a:pt x="339" y="8"/>
                  </a:lnTo>
                  <a:lnTo>
                    <a:pt x="335" y="8"/>
                  </a:lnTo>
                  <a:lnTo>
                    <a:pt x="331" y="12"/>
                  </a:lnTo>
                  <a:lnTo>
                    <a:pt x="335" y="12"/>
                  </a:lnTo>
                  <a:lnTo>
                    <a:pt x="335" y="16"/>
                  </a:lnTo>
                  <a:lnTo>
                    <a:pt x="335" y="12"/>
                  </a:lnTo>
                  <a:lnTo>
                    <a:pt x="339" y="12"/>
                  </a:lnTo>
                  <a:lnTo>
                    <a:pt x="343" y="12"/>
                  </a:lnTo>
                  <a:lnTo>
                    <a:pt x="343" y="8"/>
                  </a:lnTo>
                  <a:lnTo>
                    <a:pt x="347" y="8"/>
                  </a:lnTo>
                  <a:lnTo>
                    <a:pt x="347" y="4"/>
                  </a:lnTo>
                  <a:lnTo>
                    <a:pt x="351" y="4"/>
                  </a:lnTo>
                  <a:lnTo>
                    <a:pt x="351" y="8"/>
                  </a:lnTo>
                  <a:lnTo>
                    <a:pt x="347" y="8"/>
                  </a:lnTo>
                  <a:lnTo>
                    <a:pt x="351" y="8"/>
                  </a:lnTo>
                  <a:lnTo>
                    <a:pt x="351" y="4"/>
                  </a:lnTo>
                  <a:lnTo>
                    <a:pt x="355" y="8"/>
                  </a:lnTo>
                  <a:lnTo>
                    <a:pt x="355" y="12"/>
                  </a:lnTo>
                  <a:lnTo>
                    <a:pt x="359" y="12"/>
                  </a:lnTo>
                  <a:lnTo>
                    <a:pt x="363" y="12"/>
                  </a:lnTo>
                  <a:lnTo>
                    <a:pt x="363" y="16"/>
                  </a:lnTo>
                  <a:lnTo>
                    <a:pt x="367" y="12"/>
                  </a:lnTo>
                  <a:lnTo>
                    <a:pt x="371" y="12"/>
                  </a:lnTo>
                  <a:lnTo>
                    <a:pt x="375" y="12"/>
                  </a:lnTo>
                  <a:lnTo>
                    <a:pt x="379" y="12"/>
                  </a:lnTo>
                  <a:lnTo>
                    <a:pt x="383" y="12"/>
                  </a:lnTo>
                  <a:lnTo>
                    <a:pt x="387" y="12"/>
                  </a:lnTo>
                  <a:lnTo>
                    <a:pt x="391" y="12"/>
                  </a:lnTo>
                  <a:lnTo>
                    <a:pt x="391" y="16"/>
                  </a:lnTo>
                  <a:lnTo>
                    <a:pt x="387" y="16"/>
                  </a:lnTo>
                  <a:lnTo>
                    <a:pt x="387" y="20"/>
                  </a:lnTo>
                  <a:lnTo>
                    <a:pt x="391" y="20"/>
                  </a:lnTo>
                  <a:lnTo>
                    <a:pt x="395" y="20"/>
                  </a:lnTo>
                  <a:lnTo>
                    <a:pt x="391" y="20"/>
                  </a:lnTo>
                  <a:lnTo>
                    <a:pt x="387" y="20"/>
                  </a:lnTo>
                  <a:lnTo>
                    <a:pt x="391" y="20"/>
                  </a:lnTo>
                  <a:lnTo>
                    <a:pt x="395" y="20"/>
                  </a:lnTo>
                  <a:lnTo>
                    <a:pt x="399" y="20"/>
                  </a:lnTo>
                  <a:lnTo>
                    <a:pt x="399" y="24"/>
                  </a:lnTo>
                  <a:lnTo>
                    <a:pt x="395" y="24"/>
                  </a:lnTo>
                  <a:lnTo>
                    <a:pt x="399" y="24"/>
                  </a:lnTo>
                  <a:lnTo>
                    <a:pt x="403" y="24"/>
                  </a:lnTo>
                  <a:lnTo>
                    <a:pt x="407" y="24"/>
                  </a:lnTo>
                  <a:lnTo>
                    <a:pt x="411" y="24"/>
                  </a:lnTo>
                  <a:lnTo>
                    <a:pt x="415" y="24"/>
                  </a:lnTo>
                  <a:lnTo>
                    <a:pt x="415" y="20"/>
                  </a:lnTo>
                  <a:lnTo>
                    <a:pt x="419" y="20"/>
                  </a:lnTo>
                  <a:lnTo>
                    <a:pt x="419" y="24"/>
                  </a:lnTo>
                  <a:lnTo>
                    <a:pt x="423" y="24"/>
                  </a:lnTo>
                  <a:lnTo>
                    <a:pt x="427" y="24"/>
                  </a:lnTo>
                  <a:lnTo>
                    <a:pt x="427" y="20"/>
                  </a:lnTo>
                  <a:lnTo>
                    <a:pt x="435" y="20"/>
                  </a:lnTo>
                  <a:lnTo>
                    <a:pt x="435" y="24"/>
                  </a:lnTo>
                  <a:lnTo>
                    <a:pt x="439" y="24"/>
                  </a:lnTo>
                  <a:lnTo>
                    <a:pt x="443" y="24"/>
                  </a:lnTo>
                  <a:lnTo>
                    <a:pt x="447" y="24"/>
                  </a:lnTo>
                  <a:lnTo>
                    <a:pt x="447" y="28"/>
                  </a:lnTo>
                  <a:lnTo>
                    <a:pt x="451" y="28"/>
                  </a:lnTo>
                  <a:lnTo>
                    <a:pt x="455" y="24"/>
                  </a:lnTo>
                  <a:lnTo>
                    <a:pt x="455" y="28"/>
                  </a:lnTo>
                  <a:lnTo>
                    <a:pt x="459" y="28"/>
                  </a:lnTo>
                  <a:lnTo>
                    <a:pt x="463" y="32"/>
                  </a:lnTo>
                  <a:lnTo>
                    <a:pt x="467" y="32"/>
                  </a:lnTo>
                  <a:lnTo>
                    <a:pt x="471" y="32"/>
                  </a:lnTo>
                  <a:lnTo>
                    <a:pt x="475" y="32"/>
                  </a:lnTo>
                  <a:lnTo>
                    <a:pt x="479" y="32"/>
                  </a:lnTo>
                  <a:lnTo>
                    <a:pt x="483" y="32"/>
                  </a:lnTo>
                  <a:lnTo>
                    <a:pt x="487" y="32"/>
                  </a:lnTo>
                  <a:lnTo>
                    <a:pt x="491" y="32"/>
                  </a:lnTo>
                  <a:lnTo>
                    <a:pt x="495" y="36"/>
                  </a:lnTo>
                  <a:lnTo>
                    <a:pt x="499" y="36"/>
                  </a:lnTo>
                  <a:lnTo>
                    <a:pt x="503" y="36"/>
                  </a:lnTo>
                  <a:lnTo>
                    <a:pt x="507" y="36"/>
                  </a:lnTo>
                  <a:lnTo>
                    <a:pt x="511" y="36"/>
                  </a:lnTo>
                  <a:lnTo>
                    <a:pt x="515" y="36"/>
                  </a:lnTo>
                  <a:lnTo>
                    <a:pt x="515" y="32"/>
                  </a:lnTo>
                  <a:lnTo>
                    <a:pt x="523" y="32"/>
                  </a:lnTo>
                  <a:lnTo>
                    <a:pt x="527" y="32"/>
                  </a:lnTo>
                  <a:lnTo>
                    <a:pt x="531" y="32"/>
                  </a:lnTo>
                  <a:lnTo>
                    <a:pt x="535" y="32"/>
                  </a:lnTo>
                  <a:lnTo>
                    <a:pt x="539" y="36"/>
                  </a:lnTo>
                  <a:lnTo>
                    <a:pt x="543" y="36"/>
                  </a:lnTo>
                  <a:lnTo>
                    <a:pt x="543" y="40"/>
                  </a:lnTo>
                  <a:lnTo>
                    <a:pt x="547" y="40"/>
                  </a:lnTo>
                  <a:lnTo>
                    <a:pt x="551" y="40"/>
                  </a:lnTo>
                  <a:lnTo>
                    <a:pt x="551" y="44"/>
                  </a:lnTo>
                  <a:lnTo>
                    <a:pt x="555" y="44"/>
                  </a:lnTo>
                  <a:lnTo>
                    <a:pt x="559" y="44"/>
                  </a:lnTo>
                  <a:lnTo>
                    <a:pt x="563" y="44"/>
                  </a:lnTo>
                  <a:lnTo>
                    <a:pt x="563" y="48"/>
                  </a:lnTo>
                  <a:lnTo>
                    <a:pt x="563" y="52"/>
                  </a:lnTo>
                  <a:lnTo>
                    <a:pt x="563" y="64"/>
                  </a:lnTo>
                  <a:lnTo>
                    <a:pt x="563" y="76"/>
                  </a:lnTo>
                  <a:lnTo>
                    <a:pt x="563" y="84"/>
                  </a:lnTo>
                  <a:lnTo>
                    <a:pt x="563" y="88"/>
                  </a:lnTo>
                  <a:lnTo>
                    <a:pt x="563" y="92"/>
                  </a:lnTo>
                  <a:lnTo>
                    <a:pt x="563" y="96"/>
                  </a:lnTo>
                  <a:lnTo>
                    <a:pt x="563" y="104"/>
                  </a:lnTo>
                  <a:lnTo>
                    <a:pt x="563" y="108"/>
                  </a:lnTo>
                  <a:lnTo>
                    <a:pt x="563" y="116"/>
                  </a:lnTo>
                  <a:lnTo>
                    <a:pt x="563" y="120"/>
                  </a:lnTo>
                  <a:lnTo>
                    <a:pt x="563" y="124"/>
                  </a:lnTo>
                  <a:lnTo>
                    <a:pt x="563" y="128"/>
                  </a:lnTo>
                  <a:lnTo>
                    <a:pt x="563" y="140"/>
                  </a:lnTo>
                  <a:lnTo>
                    <a:pt x="563" y="152"/>
                  </a:lnTo>
                  <a:lnTo>
                    <a:pt x="563" y="164"/>
                  </a:lnTo>
                  <a:lnTo>
                    <a:pt x="563" y="188"/>
                  </a:lnTo>
                  <a:lnTo>
                    <a:pt x="563" y="196"/>
                  </a:lnTo>
                  <a:lnTo>
                    <a:pt x="563" y="200"/>
                  </a:lnTo>
                  <a:lnTo>
                    <a:pt x="563" y="216"/>
                  </a:lnTo>
                  <a:lnTo>
                    <a:pt x="563" y="228"/>
                  </a:lnTo>
                  <a:lnTo>
                    <a:pt x="563" y="271"/>
                  </a:lnTo>
                  <a:lnTo>
                    <a:pt x="563" y="283"/>
                  </a:lnTo>
                  <a:lnTo>
                    <a:pt x="563" y="287"/>
                  </a:lnTo>
                  <a:lnTo>
                    <a:pt x="571" y="287"/>
                  </a:lnTo>
                  <a:lnTo>
                    <a:pt x="579" y="287"/>
                  </a:lnTo>
                  <a:lnTo>
                    <a:pt x="583" y="287"/>
                  </a:lnTo>
                  <a:lnTo>
                    <a:pt x="583" y="283"/>
                  </a:lnTo>
                  <a:lnTo>
                    <a:pt x="587" y="283"/>
                  </a:lnTo>
                  <a:lnTo>
                    <a:pt x="591" y="283"/>
                  </a:lnTo>
                  <a:lnTo>
                    <a:pt x="591" y="287"/>
                  </a:lnTo>
                  <a:lnTo>
                    <a:pt x="591" y="291"/>
                  </a:lnTo>
                  <a:lnTo>
                    <a:pt x="595" y="295"/>
                  </a:lnTo>
                  <a:lnTo>
                    <a:pt x="599" y="295"/>
                  </a:lnTo>
                  <a:lnTo>
                    <a:pt x="599" y="299"/>
                  </a:lnTo>
                  <a:lnTo>
                    <a:pt x="603" y="303"/>
                  </a:lnTo>
                  <a:lnTo>
                    <a:pt x="607" y="303"/>
                  </a:lnTo>
                  <a:lnTo>
                    <a:pt x="611" y="307"/>
                  </a:lnTo>
                  <a:lnTo>
                    <a:pt x="615" y="311"/>
                  </a:lnTo>
                  <a:lnTo>
                    <a:pt x="615" y="315"/>
                  </a:lnTo>
                  <a:lnTo>
                    <a:pt x="615" y="319"/>
                  </a:lnTo>
                  <a:lnTo>
                    <a:pt x="619" y="319"/>
                  </a:lnTo>
                  <a:lnTo>
                    <a:pt x="619" y="315"/>
                  </a:lnTo>
                  <a:lnTo>
                    <a:pt x="623" y="315"/>
                  </a:lnTo>
                  <a:lnTo>
                    <a:pt x="627" y="315"/>
                  </a:lnTo>
                  <a:lnTo>
                    <a:pt x="631" y="315"/>
                  </a:lnTo>
                  <a:lnTo>
                    <a:pt x="631" y="311"/>
                  </a:lnTo>
                  <a:lnTo>
                    <a:pt x="631" y="307"/>
                  </a:lnTo>
                  <a:lnTo>
                    <a:pt x="635" y="307"/>
                  </a:lnTo>
                  <a:lnTo>
                    <a:pt x="635" y="303"/>
                  </a:lnTo>
                  <a:lnTo>
                    <a:pt x="639" y="303"/>
                  </a:lnTo>
                  <a:lnTo>
                    <a:pt x="639" y="299"/>
                  </a:lnTo>
                  <a:lnTo>
                    <a:pt x="643" y="299"/>
                  </a:lnTo>
                  <a:lnTo>
                    <a:pt x="647" y="299"/>
                  </a:lnTo>
                  <a:lnTo>
                    <a:pt x="651" y="303"/>
                  </a:lnTo>
                  <a:lnTo>
                    <a:pt x="654" y="303"/>
                  </a:lnTo>
                  <a:lnTo>
                    <a:pt x="654" y="307"/>
                  </a:lnTo>
                  <a:lnTo>
                    <a:pt x="651" y="307"/>
                  </a:lnTo>
                  <a:lnTo>
                    <a:pt x="654" y="311"/>
                  </a:lnTo>
                  <a:lnTo>
                    <a:pt x="658" y="311"/>
                  </a:lnTo>
                  <a:lnTo>
                    <a:pt x="658" y="315"/>
                  </a:lnTo>
                  <a:lnTo>
                    <a:pt x="662" y="315"/>
                  </a:lnTo>
                  <a:lnTo>
                    <a:pt x="662" y="319"/>
                  </a:lnTo>
                  <a:lnTo>
                    <a:pt x="666" y="319"/>
                  </a:lnTo>
                  <a:lnTo>
                    <a:pt x="666" y="323"/>
                  </a:lnTo>
                  <a:lnTo>
                    <a:pt x="670" y="323"/>
                  </a:lnTo>
                  <a:lnTo>
                    <a:pt x="670" y="327"/>
                  </a:lnTo>
                  <a:lnTo>
                    <a:pt x="674" y="327"/>
                  </a:lnTo>
                  <a:lnTo>
                    <a:pt x="678" y="331"/>
                  </a:lnTo>
                  <a:lnTo>
                    <a:pt x="678" y="335"/>
                  </a:lnTo>
                  <a:lnTo>
                    <a:pt x="682" y="335"/>
                  </a:lnTo>
                  <a:lnTo>
                    <a:pt x="682" y="339"/>
                  </a:lnTo>
                  <a:lnTo>
                    <a:pt x="682" y="343"/>
                  </a:lnTo>
                  <a:lnTo>
                    <a:pt x="686" y="343"/>
                  </a:lnTo>
                  <a:lnTo>
                    <a:pt x="686" y="347"/>
                  </a:lnTo>
                  <a:lnTo>
                    <a:pt x="690" y="351"/>
                  </a:lnTo>
                  <a:lnTo>
                    <a:pt x="690" y="355"/>
                  </a:lnTo>
                  <a:lnTo>
                    <a:pt x="694" y="355"/>
                  </a:lnTo>
                  <a:lnTo>
                    <a:pt x="694" y="359"/>
                  </a:lnTo>
                  <a:lnTo>
                    <a:pt x="694" y="363"/>
                  </a:lnTo>
                  <a:lnTo>
                    <a:pt x="698" y="363"/>
                  </a:lnTo>
                  <a:lnTo>
                    <a:pt x="698" y="367"/>
                  </a:lnTo>
                  <a:lnTo>
                    <a:pt x="702" y="371"/>
                  </a:lnTo>
                  <a:lnTo>
                    <a:pt x="702" y="375"/>
                  </a:lnTo>
                  <a:lnTo>
                    <a:pt x="706" y="375"/>
                  </a:lnTo>
                  <a:lnTo>
                    <a:pt x="710" y="375"/>
                  </a:lnTo>
                  <a:lnTo>
                    <a:pt x="710" y="379"/>
                  </a:lnTo>
                  <a:lnTo>
                    <a:pt x="714" y="379"/>
                  </a:lnTo>
                  <a:lnTo>
                    <a:pt x="718" y="379"/>
                  </a:lnTo>
                  <a:lnTo>
                    <a:pt x="718" y="383"/>
                  </a:lnTo>
                  <a:lnTo>
                    <a:pt x="722" y="383"/>
                  </a:lnTo>
                  <a:lnTo>
                    <a:pt x="722" y="387"/>
                  </a:lnTo>
                  <a:lnTo>
                    <a:pt x="726" y="387"/>
                  </a:lnTo>
                  <a:lnTo>
                    <a:pt x="730" y="387"/>
                  </a:lnTo>
                  <a:lnTo>
                    <a:pt x="730" y="391"/>
                  </a:lnTo>
                  <a:lnTo>
                    <a:pt x="726" y="391"/>
                  </a:lnTo>
                  <a:lnTo>
                    <a:pt x="726" y="395"/>
                  </a:lnTo>
                  <a:lnTo>
                    <a:pt x="726" y="399"/>
                  </a:lnTo>
                  <a:lnTo>
                    <a:pt x="726" y="403"/>
                  </a:lnTo>
                  <a:lnTo>
                    <a:pt x="730" y="407"/>
                  </a:lnTo>
                  <a:lnTo>
                    <a:pt x="726" y="407"/>
                  </a:lnTo>
                  <a:lnTo>
                    <a:pt x="726" y="411"/>
                  </a:lnTo>
                  <a:lnTo>
                    <a:pt x="722" y="415"/>
                  </a:lnTo>
                  <a:lnTo>
                    <a:pt x="718" y="415"/>
                  </a:lnTo>
                  <a:lnTo>
                    <a:pt x="718" y="419"/>
                  </a:lnTo>
                  <a:lnTo>
                    <a:pt x="718" y="415"/>
                  </a:lnTo>
                  <a:lnTo>
                    <a:pt x="718" y="419"/>
                  </a:lnTo>
                  <a:lnTo>
                    <a:pt x="714" y="419"/>
                  </a:lnTo>
                  <a:lnTo>
                    <a:pt x="714" y="415"/>
                  </a:lnTo>
                  <a:lnTo>
                    <a:pt x="714" y="411"/>
                  </a:lnTo>
                  <a:lnTo>
                    <a:pt x="718" y="411"/>
                  </a:lnTo>
                  <a:lnTo>
                    <a:pt x="722" y="407"/>
                  </a:lnTo>
                  <a:lnTo>
                    <a:pt x="722" y="403"/>
                  </a:lnTo>
                  <a:lnTo>
                    <a:pt x="722" y="407"/>
                  </a:lnTo>
                  <a:lnTo>
                    <a:pt x="718" y="407"/>
                  </a:lnTo>
                  <a:lnTo>
                    <a:pt x="718" y="411"/>
                  </a:lnTo>
                  <a:lnTo>
                    <a:pt x="718" y="407"/>
                  </a:lnTo>
                  <a:lnTo>
                    <a:pt x="714" y="411"/>
                  </a:lnTo>
                  <a:lnTo>
                    <a:pt x="714" y="407"/>
                  </a:lnTo>
                  <a:lnTo>
                    <a:pt x="718" y="407"/>
                  </a:lnTo>
                  <a:lnTo>
                    <a:pt x="718" y="403"/>
                  </a:lnTo>
                  <a:lnTo>
                    <a:pt x="714" y="403"/>
                  </a:lnTo>
                  <a:lnTo>
                    <a:pt x="714" y="399"/>
                  </a:lnTo>
                  <a:lnTo>
                    <a:pt x="714" y="395"/>
                  </a:lnTo>
                  <a:lnTo>
                    <a:pt x="714" y="391"/>
                  </a:lnTo>
                  <a:lnTo>
                    <a:pt x="710" y="391"/>
                  </a:lnTo>
                  <a:lnTo>
                    <a:pt x="710" y="387"/>
                  </a:lnTo>
                  <a:lnTo>
                    <a:pt x="714" y="387"/>
                  </a:lnTo>
                  <a:lnTo>
                    <a:pt x="710" y="387"/>
                  </a:lnTo>
                  <a:lnTo>
                    <a:pt x="710" y="391"/>
                  </a:lnTo>
                  <a:lnTo>
                    <a:pt x="706" y="391"/>
                  </a:lnTo>
                  <a:lnTo>
                    <a:pt x="706" y="387"/>
                  </a:lnTo>
                  <a:lnTo>
                    <a:pt x="706" y="391"/>
                  </a:lnTo>
                  <a:lnTo>
                    <a:pt x="702" y="391"/>
                  </a:lnTo>
                  <a:lnTo>
                    <a:pt x="698" y="391"/>
                  </a:lnTo>
                  <a:lnTo>
                    <a:pt x="702" y="391"/>
                  </a:lnTo>
                  <a:lnTo>
                    <a:pt x="702" y="395"/>
                  </a:lnTo>
                  <a:lnTo>
                    <a:pt x="702" y="399"/>
                  </a:lnTo>
                  <a:lnTo>
                    <a:pt x="698" y="399"/>
                  </a:lnTo>
                  <a:lnTo>
                    <a:pt x="694" y="399"/>
                  </a:lnTo>
                  <a:lnTo>
                    <a:pt x="694" y="395"/>
                  </a:lnTo>
                  <a:lnTo>
                    <a:pt x="698" y="395"/>
                  </a:lnTo>
                  <a:lnTo>
                    <a:pt x="698" y="391"/>
                  </a:lnTo>
                  <a:lnTo>
                    <a:pt x="698" y="387"/>
                  </a:lnTo>
                  <a:lnTo>
                    <a:pt x="698" y="383"/>
                  </a:lnTo>
                  <a:lnTo>
                    <a:pt x="702" y="383"/>
                  </a:lnTo>
                  <a:lnTo>
                    <a:pt x="698" y="383"/>
                  </a:lnTo>
                  <a:lnTo>
                    <a:pt x="698" y="379"/>
                  </a:lnTo>
                  <a:lnTo>
                    <a:pt x="694" y="379"/>
                  </a:lnTo>
                  <a:lnTo>
                    <a:pt x="694" y="375"/>
                  </a:lnTo>
                  <a:lnTo>
                    <a:pt x="690" y="375"/>
                  </a:lnTo>
                  <a:lnTo>
                    <a:pt x="690" y="371"/>
                  </a:lnTo>
                  <a:lnTo>
                    <a:pt x="694" y="371"/>
                  </a:lnTo>
                  <a:lnTo>
                    <a:pt x="690" y="371"/>
                  </a:lnTo>
                  <a:lnTo>
                    <a:pt x="686" y="371"/>
                  </a:lnTo>
                  <a:lnTo>
                    <a:pt x="686" y="367"/>
                  </a:lnTo>
                  <a:lnTo>
                    <a:pt x="686" y="363"/>
                  </a:lnTo>
                  <a:lnTo>
                    <a:pt x="682" y="363"/>
                  </a:lnTo>
                  <a:lnTo>
                    <a:pt x="678" y="363"/>
                  </a:lnTo>
                  <a:lnTo>
                    <a:pt x="674" y="363"/>
                  </a:lnTo>
                  <a:lnTo>
                    <a:pt x="674" y="359"/>
                  </a:lnTo>
                  <a:lnTo>
                    <a:pt x="678" y="359"/>
                  </a:lnTo>
                  <a:lnTo>
                    <a:pt x="682" y="359"/>
                  </a:lnTo>
                  <a:lnTo>
                    <a:pt x="682" y="355"/>
                  </a:lnTo>
                  <a:lnTo>
                    <a:pt x="682" y="359"/>
                  </a:lnTo>
                  <a:lnTo>
                    <a:pt x="678" y="359"/>
                  </a:lnTo>
                  <a:lnTo>
                    <a:pt x="678" y="355"/>
                  </a:lnTo>
                  <a:lnTo>
                    <a:pt x="674" y="355"/>
                  </a:lnTo>
                  <a:lnTo>
                    <a:pt x="678" y="351"/>
                  </a:lnTo>
                  <a:lnTo>
                    <a:pt x="674" y="351"/>
                  </a:lnTo>
                  <a:lnTo>
                    <a:pt x="674" y="347"/>
                  </a:lnTo>
                  <a:lnTo>
                    <a:pt x="682" y="351"/>
                  </a:lnTo>
                  <a:lnTo>
                    <a:pt x="678" y="351"/>
                  </a:lnTo>
                  <a:lnTo>
                    <a:pt x="678" y="347"/>
                  </a:lnTo>
                  <a:lnTo>
                    <a:pt x="674" y="347"/>
                  </a:lnTo>
                  <a:lnTo>
                    <a:pt x="674" y="343"/>
                  </a:lnTo>
                  <a:lnTo>
                    <a:pt x="678" y="343"/>
                  </a:lnTo>
                  <a:lnTo>
                    <a:pt x="682" y="343"/>
                  </a:lnTo>
                  <a:lnTo>
                    <a:pt x="678" y="343"/>
                  </a:lnTo>
                  <a:lnTo>
                    <a:pt x="674" y="343"/>
                  </a:lnTo>
                  <a:lnTo>
                    <a:pt x="674" y="347"/>
                  </a:lnTo>
                  <a:lnTo>
                    <a:pt x="670" y="343"/>
                  </a:lnTo>
                  <a:lnTo>
                    <a:pt x="670" y="339"/>
                  </a:lnTo>
                  <a:lnTo>
                    <a:pt x="674" y="339"/>
                  </a:lnTo>
                  <a:lnTo>
                    <a:pt x="670" y="339"/>
                  </a:lnTo>
                  <a:lnTo>
                    <a:pt x="670" y="343"/>
                  </a:lnTo>
                  <a:lnTo>
                    <a:pt x="670" y="339"/>
                  </a:lnTo>
                  <a:lnTo>
                    <a:pt x="666" y="339"/>
                  </a:lnTo>
                  <a:lnTo>
                    <a:pt x="666" y="335"/>
                  </a:lnTo>
                  <a:lnTo>
                    <a:pt x="670" y="331"/>
                  </a:lnTo>
                  <a:lnTo>
                    <a:pt x="666" y="331"/>
                  </a:lnTo>
                  <a:lnTo>
                    <a:pt x="670" y="331"/>
                  </a:lnTo>
                  <a:lnTo>
                    <a:pt x="670" y="327"/>
                  </a:lnTo>
                  <a:lnTo>
                    <a:pt x="670" y="331"/>
                  </a:lnTo>
                  <a:lnTo>
                    <a:pt x="670" y="327"/>
                  </a:lnTo>
                  <a:lnTo>
                    <a:pt x="670" y="331"/>
                  </a:lnTo>
                  <a:lnTo>
                    <a:pt x="666" y="331"/>
                  </a:lnTo>
                  <a:lnTo>
                    <a:pt x="666" y="335"/>
                  </a:lnTo>
                  <a:lnTo>
                    <a:pt x="662" y="335"/>
                  </a:lnTo>
                  <a:lnTo>
                    <a:pt x="662" y="331"/>
                  </a:lnTo>
                  <a:lnTo>
                    <a:pt x="658" y="331"/>
                  </a:lnTo>
                  <a:lnTo>
                    <a:pt x="654" y="327"/>
                  </a:lnTo>
                  <a:lnTo>
                    <a:pt x="654" y="323"/>
                  </a:lnTo>
                  <a:lnTo>
                    <a:pt x="651" y="323"/>
                  </a:lnTo>
                  <a:lnTo>
                    <a:pt x="651" y="319"/>
                  </a:lnTo>
                  <a:lnTo>
                    <a:pt x="651" y="315"/>
                  </a:lnTo>
                  <a:lnTo>
                    <a:pt x="651" y="311"/>
                  </a:lnTo>
                  <a:lnTo>
                    <a:pt x="647" y="311"/>
                  </a:lnTo>
                  <a:lnTo>
                    <a:pt x="647" y="307"/>
                  </a:lnTo>
                  <a:lnTo>
                    <a:pt x="647" y="311"/>
                  </a:lnTo>
                  <a:lnTo>
                    <a:pt x="651" y="315"/>
                  </a:lnTo>
                  <a:lnTo>
                    <a:pt x="647" y="315"/>
                  </a:lnTo>
                  <a:lnTo>
                    <a:pt x="647" y="311"/>
                  </a:lnTo>
                  <a:lnTo>
                    <a:pt x="647" y="315"/>
                  </a:lnTo>
                  <a:lnTo>
                    <a:pt x="647" y="319"/>
                  </a:lnTo>
                  <a:lnTo>
                    <a:pt x="651" y="319"/>
                  </a:lnTo>
                  <a:lnTo>
                    <a:pt x="651" y="323"/>
                  </a:lnTo>
                  <a:lnTo>
                    <a:pt x="651" y="327"/>
                  </a:lnTo>
                  <a:lnTo>
                    <a:pt x="651" y="331"/>
                  </a:lnTo>
                  <a:lnTo>
                    <a:pt x="654" y="331"/>
                  </a:lnTo>
                  <a:lnTo>
                    <a:pt x="654" y="335"/>
                  </a:lnTo>
                  <a:lnTo>
                    <a:pt x="651" y="335"/>
                  </a:lnTo>
                  <a:lnTo>
                    <a:pt x="647" y="335"/>
                  </a:lnTo>
                  <a:lnTo>
                    <a:pt x="647" y="331"/>
                  </a:lnTo>
                  <a:lnTo>
                    <a:pt x="643" y="331"/>
                  </a:lnTo>
                  <a:lnTo>
                    <a:pt x="639" y="331"/>
                  </a:lnTo>
                  <a:lnTo>
                    <a:pt x="643" y="327"/>
                  </a:lnTo>
                  <a:lnTo>
                    <a:pt x="639" y="327"/>
                  </a:lnTo>
                  <a:lnTo>
                    <a:pt x="639" y="323"/>
                  </a:lnTo>
                  <a:lnTo>
                    <a:pt x="639" y="319"/>
                  </a:lnTo>
                  <a:lnTo>
                    <a:pt x="643" y="319"/>
                  </a:lnTo>
                  <a:lnTo>
                    <a:pt x="639" y="319"/>
                  </a:lnTo>
                  <a:lnTo>
                    <a:pt x="639" y="315"/>
                  </a:lnTo>
                  <a:lnTo>
                    <a:pt x="635" y="315"/>
                  </a:lnTo>
                  <a:lnTo>
                    <a:pt x="635" y="319"/>
                  </a:lnTo>
                  <a:lnTo>
                    <a:pt x="639" y="319"/>
                  </a:lnTo>
                  <a:lnTo>
                    <a:pt x="639" y="323"/>
                  </a:lnTo>
                  <a:lnTo>
                    <a:pt x="635" y="323"/>
                  </a:lnTo>
                  <a:lnTo>
                    <a:pt x="631" y="323"/>
                  </a:lnTo>
                  <a:lnTo>
                    <a:pt x="631" y="319"/>
                  </a:lnTo>
                  <a:lnTo>
                    <a:pt x="627" y="319"/>
                  </a:lnTo>
                  <a:lnTo>
                    <a:pt x="623" y="315"/>
                  </a:lnTo>
                  <a:lnTo>
                    <a:pt x="623" y="319"/>
                  </a:lnTo>
                  <a:lnTo>
                    <a:pt x="623" y="323"/>
                  </a:lnTo>
                  <a:lnTo>
                    <a:pt x="623" y="319"/>
                  </a:lnTo>
                  <a:lnTo>
                    <a:pt x="627" y="319"/>
                  </a:lnTo>
                  <a:lnTo>
                    <a:pt x="631" y="319"/>
                  </a:lnTo>
                  <a:lnTo>
                    <a:pt x="631" y="323"/>
                  </a:lnTo>
                  <a:lnTo>
                    <a:pt x="627" y="323"/>
                  </a:lnTo>
                  <a:lnTo>
                    <a:pt x="631" y="323"/>
                  </a:lnTo>
                  <a:lnTo>
                    <a:pt x="635" y="323"/>
                  </a:lnTo>
                  <a:lnTo>
                    <a:pt x="631" y="327"/>
                  </a:lnTo>
                  <a:lnTo>
                    <a:pt x="635" y="327"/>
                  </a:lnTo>
                  <a:lnTo>
                    <a:pt x="639" y="327"/>
                  </a:lnTo>
                  <a:lnTo>
                    <a:pt x="639" y="331"/>
                  </a:lnTo>
                  <a:lnTo>
                    <a:pt x="635" y="335"/>
                  </a:lnTo>
                  <a:lnTo>
                    <a:pt x="635" y="331"/>
                  </a:lnTo>
                  <a:lnTo>
                    <a:pt x="631" y="331"/>
                  </a:lnTo>
                  <a:lnTo>
                    <a:pt x="631" y="335"/>
                  </a:lnTo>
                  <a:lnTo>
                    <a:pt x="631" y="331"/>
                  </a:lnTo>
                  <a:lnTo>
                    <a:pt x="635" y="335"/>
                  </a:lnTo>
                  <a:lnTo>
                    <a:pt x="631" y="335"/>
                  </a:lnTo>
                  <a:lnTo>
                    <a:pt x="631" y="331"/>
                  </a:lnTo>
                  <a:lnTo>
                    <a:pt x="627" y="335"/>
                  </a:lnTo>
                  <a:lnTo>
                    <a:pt x="631" y="335"/>
                  </a:lnTo>
                  <a:lnTo>
                    <a:pt x="627" y="335"/>
                  </a:lnTo>
                  <a:lnTo>
                    <a:pt x="627" y="331"/>
                  </a:lnTo>
                  <a:lnTo>
                    <a:pt x="623" y="331"/>
                  </a:lnTo>
                  <a:lnTo>
                    <a:pt x="619" y="331"/>
                  </a:lnTo>
                  <a:lnTo>
                    <a:pt x="619" y="327"/>
                  </a:lnTo>
                  <a:lnTo>
                    <a:pt x="615" y="327"/>
                  </a:lnTo>
                  <a:lnTo>
                    <a:pt x="615" y="323"/>
                  </a:lnTo>
                  <a:lnTo>
                    <a:pt x="615" y="327"/>
                  </a:lnTo>
                  <a:lnTo>
                    <a:pt x="611" y="323"/>
                  </a:lnTo>
                  <a:lnTo>
                    <a:pt x="611" y="319"/>
                  </a:lnTo>
                  <a:lnTo>
                    <a:pt x="607" y="319"/>
                  </a:lnTo>
                  <a:lnTo>
                    <a:pt x="607" y="315"/>
                  </a:lnTo>
                  <a:lnTo>
                    <a:pt x="603" y="315"/>
                  </a:lnTo>
                  <a:lnTo>
                    <a:pt x="599" y="315"/>
                  </a:lnTo>
                  <a:lnTo>
                    <a:pt x="603" y="311"/>
                  </a:lnTo>
                  <a:lnTo>
                    <a:pt x="599" y="311"/>
                  </a:lnTo>
                  <a:lnTo>
                    <a:pt x="599" y="315"/>
                  </a:lnTo>
                  <a:lnTo>
                    <a:pt x="595" y="311"/>
                  </a:lnTo>
                  <a:lnTo>
                    <a:pt x="591" y="311"/>
                  </a:lnTo>
                  <a:lnTo>
                    <a:pt x="591" y="307"/>
                  </a:lnTo>
                  <a:lnTo>
                    <a:pt x="587" y="307"/>
                  </a:lnTo>
                  <a:lnTo>
                    <a:pt x="583" y="307"/>
                  </a:lnTo>
                  <a:lnTo>
                    <a:pt x="583" y="303"/>
                  </a:lnTo>
                  <a:lnTo>
                    <a:pt x="587" y="299"/>
                  </a:lnTo>
                  <a:lnTo>
                    <a:pt x="583" y="299"/>
                  </a:lnTo>
                  <a:lnTo>
                    <a:pt x="583" y="295"/>
                  </a:lnTo>
                  <a:lnTo>
                    <a:pt x="587" y="295"/>
                  </a:lnTo>
                  <a:lnTo>
                    <a:pt x="587" y="299"/>
                  </a:lnTo>
                  <a:lnTo>
                    <a:pt x="587" y="303"/>
                  </a:lnTo>
                  <a:lnTo>
                    <a:pt x="591" y="303"/>
                  </a:lnTo>
                  <a:lnTo>
                    <a:pt x="591" y="299"/>
                  </a:lnTo>
                  <a:lnTo>
                    <a:pt x="587" y="299"/>
                  </a:lnTo>
                  <a:lnTo>
                    <a:pt x="591" y="295"/>
                  </a:lnTo>
                  <a:lnTo>
                    <a:pt x="595" y="299"/>
                  </a:lnTo>
                  <a:lnTo>
                    <a:pt x="595" y="295"/>
                  </a:lnTo>
                  <a:lnTo>
                    <a:pt x="591" y="295"/>
                  </a:lnTo>
                  <a:lnTo>
                    <a:pt x="587" y="295"/>
                  </a:lnTo>
                  <a:lnTo>
                    <a:pt x="587" y="291"/>
                  </a:lnTo>
                  <a:lnTo>
                    <a:pt x="583" y="291"/>
                  </a:lnTo>
                  <a:lnTo>
                    <a:pt x="583" y="295"/>
                  </a:lnTo>
                  <a:lnTo>
                    <a:pt x="579" y="299"/>
                  </a:lnTo>
                  <a:lnTo>
                    <a:pt x="575" y="299"/>
                  </a:lnTo>
                  <a:lnTo>
                    <a:pt x="571" y="299"/>
                  </a:lnTo>
                  <a:lnTo>
                    <a:pt x="567" y="299"/>
                  </a:lnTo>
                  <a:lnTo>
                    <a:pt x="563" y="299"/>
                  </a:lnTo>
                  <a:lnTo>
                    <a:pt x="559" y="295"/>
                  </a:lnTo>
                  <a:lnTo>
                    <a:pt x="555" y="295"/>
                  </a:lnTo>
                  <a:lnTo>
                    <a:pt x="559" y="295"/>
                  </a:lnTo>
                  <a:lnTo>
                    <a:pt x="559" y="291"/>
                  </a:lnTo>
                  <a:lnTo>
                    <a:pt x="555" y="291"/>
                  </a:lnTo>
                  <a:lnTo>
                    <a:pt x="555" y="295"/>
                  </a:lnTo>
                  <a:lnTo>
                    <a:pt x="551" y="295"/>
                  </a:lnTo>
                  <a:lnTo>
                    <a:pt x="551" y="291"/>
                  </a:lnTo>
                  <a:lnTo>
                    <a:pt x="547" y="291"/>
                  </a:lnTo>
                  <a:lnTo>
                    <a:pt x="539" y="291"/>
                  </a:lnTo>
                  <a:lnTo>
                    <a:pt x="535" y="291"/>
                  </a:lnTo>
                  <a:lnTo>
                    <a:pt x="531" y="291"/>
                  </a:lnTo>
                  <a:lnTo>
                    <a:pt x="527" y="291"/>
                  </a:lnTo>
                  <a:lnTo>
                    <a:pt x="523" y="291"/>
                  </a:lnTo>
                  <a:lnTo>
                    <a:pt x="519" y="291"/>
                  </a:lnTo>
                  <a:lnTo>
                    <a:pt x="515" y="291"/>
                  </a:lnTo>
                  <a:lnTo>
                    <a:pt x="515" y="287"/>
                  </a:lnTo>
                  <a:lnTo>
                    <a:pt x="511" y="287"/>
                  </a:lnTo>
                  <a:lnTo>
                    <a:pt x="507" y="287"/>
                  </a:lnTo>
                  <a:lnTo>
                    <a:pt x="503" y="287"/>
                  </a:lnTo>
                  <a:lnTo>
                    <a:pt x="503" y="283"/>
                  </a:lnTo>
                  <a:lnTo>
                    <a:pt x="503" y="279"/>
                  </a:lnTo>
                  <a:lnTo>
                    <a:pt x="507" y="279"/>
                  </a:lnTo>
                  <a:lnTo>
                    <a:pt x="507" y="275"/>
                  </a:lnTo>
                  <a:lnTo>
                    <a:pt x="503" y="279"/>
                  </a:lnTo>
                  <a:lnTo>
                    <a:pt x="499" y="283"/>
                  </a:lnTo>
                  <a:lnTo>
                    <a:pt x="495" y="283"/>
                  </a:lnTo>
                  <a:lnTo>
                    <a:pt x="491" y="283"/>
                  </a:lnTo>
                  <a:lnTo>
                    <a:pt x="487" y="279"/>
                  </a:lnTo>
                  <a:lnTo>
                    <a:pt x="491" y="279"/>
                  </a:lnTo>
                  <a:lnTo>
                    <a:pt x="491" y="275"/>
                  </a:lnTo>
                  <a:lnTo>
                    <a:pt x="491" y="279"/>
                  </a:lnTo>
                  <a:lnTo>
                    <a:pt x="487" y="279"/>
                  </a:lnTo>
                  <a:lnTo>
                    <a:pt x="487" y="275"/>
                  </a:lnTo>
                  <a:lnTo>
                    <a:pt x="487" y="279"/>
                  </a:lnTo>
                  <a:lnTo>
                    <a:pt x="483" y="279"/>
                  </a:lnTo>
                  <a:lnTo>
                    <a:pt x="483" y="275"/>
                  </a:lnTo>
                  <a:lnTo>
                    <a:pt x="487" y="275"/>
                  </a:lnTo>
                  <a:lnTo>
                    <a:pt x="483" y="275"/>
                  </a:lnTo>
                  <a:lnTo>
                    <a:pt x="479" y="275"/>
                  </a:lnTo>
                  <a:lnTo>
                    <a:pt x="475" y="275"/>
                  </a:lnTo>
                  <a:lnTo>
                    <a:pt x="479" y="275"/>
                  </a:lnTo>
                  <a:lnTo>
                    <a:pt x="483" y="271"/>
                  </a:lnTo>
                  <a:lnTo>
                    <a:pt x="479" y="271"/>
                  </a:lnTo>
                  <a:lnTo>
                    <a:pt x="475" y="271"/>
                  </a:lnTo>
                  <a:lnTo>
                    <a:pt x="479" y="267"/>
                  </a:lnTo>
                  <a:lnTo>
                    <a:pt x="483" y="267"/>
                  </a:lnTo>
                  <a:lnTo>
                    <a:pt x="483" y="263"/>
                  </a:lnTo>
                  <a:lnTo>
                    <a:pt x="479" y="263"/>
                  </a:lnTo>
                  <a:lnTo>
                    <a:pt x="479" y="267"/>
                  </a:lnTo>
                  <a:lnTo>
                    <a:pt x="475" y="267"/>
                  </a:lnTo>
                  <a:lnTo>
                    <a:pt x="471" y="271"/>
                  </a:lnTo>
                  <a:lnTo>
                    <a:pt x="471" y="267"/>
                  </a:lnTo>
                  <a:lnTo>
                    <a:pt x="467" y="267"/>
                  </a:lnTo>
                  <a:lnTo>
                    <a:pt x="467" y="271"/>
                  </a:lnTo>
                  <a:lnTo>
                    <a:pt x="463" y="271"/>
                  </a:lnTo>
                  <a:lnTo>
                    <a:pt x="463" y="267"/>
                  </a:lnTo>
                  <a:lnTo>
                    <a:pt x="463" y="263"/>
                  </a:lnTo>
                  <a:lnTo>
                    <a:pt x="463" y="271"/>
                  </a:lnTo>
                  <a:lnTo>
                    <a:pt x="459" y="271"/>
                  </a:lnTo>
                  <a:lnTo>
                    <a:pt x="455" y="271"/>
                  </a:lnTo>
                  <a:lnTo>
                    <a:pt x="459" y="267"/>
                  </a:lnTo>
                  <a:lnTo>
                    <a:pt x="459" y="263"/>
                  </a:lnTo>
                  <a:lnTo>
                    <a:pt x="459" y="267"/>
                  </a:lnTo>
                  <a:lnTo>
                    <a:pt x="455" y="267"/>
                  </a:lnTo>
                  <a:lnTo>
                    <a:pt x="451" y="267"/>
                  </a:lnTo>
                  <a:lnTo>
                    <a:pt x="455" y="267"/>
                  </a:lnTo>
                  <a:lnTo>
                    <a:pt x="451" y="271"/>
                  </a:lnTo>
                  <a:lnTo>
                    <a:pt x="447" y="271"/>
                  </a:lnTo>
                  <a:lnTo>
                    <a:pt x="447" y="275"/>
                  </a:lnTo>
                  <a:lnTo>
                    <a:pt x="447" y="271"/>
                  </a:lnTo>
                  <a:lnTo>
                    <a:pt x="451" y="275"/>
                  </a:lnTo>
                  <a:lnTo>
                    <a:pt x="447" y="275"/>
                  </a:lnTo>
                  <a:lnTo>
                    <a:pt x="451" y="275"/>
                  </a:lnTo>
                  <a:lnTo>
                    <a:pt x="455" y="279"/>
                  </a:lnTo>
                  <a:lnTo>
                    <a:pt x="451" y="279"/>
                  </a:lnTo>
                  <a:lnTo>
                    <a:pt x="447" y="279"/>
                  </a:lnTo>
                  <a:lnTo>
                    <a:pt x="447" y="283"/>
                  </a:lnTo>
                  <a:close/>
                  <a:moveTo>
                    <a:pt x="463" y="283"/>
                  </a:moveTo>
                  <a:lnTo>
                    <a:pt x="459" y="283"/>
                  </a:lnTo>
                  <a:lnTo>
                    <a:pt x="463" y="283"/>
                  </a:lnTo>
                  <a:lnTo>
                    <a:pt x="459" y="287"/>
                  </a:lnTo>
                  <a:lnTo>
                    <a:pt x="459" y="283"/>
                  </a:lnTo>
                  <a:lnTo>
                    <a:pt x="463" y="279"/>
                  </a:lnTo>
                  <a:lnTo>
                    <a:pt x="463" y="283"/>
                  </a:lnTo>
                  <a:close/>
                  <a:moveTo>
                    <a:pt x="240" y="411"/>
                  </a:moveTo>
                  <a:lnTo>
                    <a:pt x="240" y="415"/>
                  </a:lnTo>
                  <a:lnTo>
                    <a:pt x="240" y="411"/>
                  </a:lnTo>
                  <a:close/>
                  <a:moveTo>
                    <a:pt x="1540" y="754"/>
                  </a:moveTo>
                  <a:lnTo>
                    <a:pt x="1540" y="758"/>
                  </a:lnTo>
                  <a:lnTo>
                    <a:pt x="1540" y="754"/>
                  </a:lnTo>
                  <a:lnTo>
                    <a:pt x="1536" y="754"/>
                  </a:lnTo>
                  <a:lnTo>
                    <a:pt x="1540" y="758"/>
                  </a:lnTo>
                  <a:lnTo>
                    <a:pt x="1540" y="762"/>
                  </a:lnTo>
                  <a:lnTo>
                    <a:pt x="1540" y="766"/>
                  </a:lnTo>
                  <a:lnTo>
                    <a:pt x="1540" y="770"/>
                  </a:lnTo>
                  <a:lnTo>
                    <a:pt x="1540" y="774"/>
                  </a:lnTo>
                  <a:lnTo>
                    <a:pt x="1536" y="774"/>
                  </a:lnTo>
                  <a:lnTo>
                    <a:pt x="1536" y="770"/>
                  </a:lnTo>
                  <a:lnTo>
                    <a:pt x="1536" y="766"/>
                  </a:lnTo>
                  <a:lnTo>
                    <a:pt x="1536" y="770"/>
                  </a:lnTo>
                  <a:lnTo>
                    <a:pt x="1536" y="774"/>
                  </a:lnTo>
                  <a:lnTo>
                    <a:pt x="1540" y="774"/>
                  </a:lnTo>
                  <a:lnTo>
                    <a:pt x="1540" y="778"/>
                  </a:lnTo>
                  <a:lnTo>
                    <a:pt x="1540" y="782"/>
                  </a:lnTo>
                  <a:lnTo>
                    <a:pt x="1540" y="778"/>
                  </a:lnTo>
                  <a:lnTo>
                    <a:pt x="1536" y="778"/>
                  </a:lnTo>
                  <a:lnTo>
                    <a:pt x="1532" y="774"/>
                  </a:lnTo>
                  <a:lnTo>
                    <a:pt x="1528" y="774"/>
                  </a:lnTo>
                  <a:lnTo>
                    <a:pt x="1528" y="770"/>
                  </a:lnTo>
                  <a:lnTo>
                    <a:pt x="1528" y="766"/>
                  </a:lnTo>
                  <a:lnTo>
                    <a:pt x="1532" y="766"/>
                  </a:lnTo>
                  <a:lnTo>
                    <a:pt x="1532" y="762"/>
                  </a:lnTo>
                  <a:lnTo>
                    <a:pt x="1532" y="766"/>
                  </a:lnTo>
                  <a:lnTo>
                    <a:pt x="1528" y="766"/>
                  </a:lnTo>
                  <a:lnTo>
                    <a:pt x="1528" y="770"/>
                  </a:lnTo>
                  <a:lnTo>
                    <a:pt x="1528" y="774"/>
                  </a:lnTo>
                  <a:lnTo>
                    <a:pt x="1532" y="774"/>
                  </a:lnTo>
                  <a:lnTo>
                    <a:pt x="1532" y="778"/>
                  </a:lnTo>
                  <a:lnTo>
                    <a:pt x="1536" y="778"/>
                  </a:lnTo>
                  <a:lnTo>
                    <a:pt x="1540" y="782"/>
                  </a:lnTo>
                  <a:lnTo>
                    <a:pt x="1544" y="782"/>
                  </a:lnTo>
                  <a:lnTo>
                    <a:pt x="1544" y="786"/>
                  </a:lnTo>
                  <a:lnTo>
                    <a:pt x="1540" y="790"/>
                  </a:lnTo>
                  <a:lnTo>
                    <a:pt x="1540" y="786"/>
                  </a:lnTo>
                  <a:lnTo>
                    <a:pt x="1536" y="786"/>
                  </a:lnTo>
                  <a:lnTo>
                    <a:pt x="1532" y="782"/>
                  </a:lnTo>
                  <a:lnTo>
                    <a:pt x="1532" y="778"/>
                  </a:lnTo>
                  <a:lnTo>
                    <a:pt x="1528" y="778"/>
                  </a:lnTo>
                  <a:lnTo>
                    <a:pt x="1532" y="778"/>
                  </a:lnTo>
                  <a:lnTo>
                    <a:pt x="1532" y="782"/>
                  </a:lnTo>
                  <a:lnTo>
                    <a:pt x="1536" y="786"/>
                  </a:lnTo>
                  <a:lnTo>
                    <a:pt x="1540" y="790"/>
                  </a:lnTo>
                  <a:lnTo>
                    <a:pt x="1544" y="790"/>
                  </a:lnTo>
                  <a:lnTo>
                    <a:pt x="1544" y="794"/>
                  </a:lnTo>
                  <a:lnTo>
                    <a:pt x="1540" y="794"/>
                  </a:lnTo>
                  <a:lnTo>
                    <a:pt x="1540" y="798"/>
                  </a:lnTo>
                  <a:lnTo>
                    <a:pt x="1540" y="794"/>
                  </a:lnTo>
                  <a:lnTo>
                    <a:pt x="1536" y="794"/>
                  </a:lnTo>
                  <a:lnTo>
                    <a:pt x="1540" y="794"/>
                  </a:lnTo>
                  <a:lnTo>
                    <a:pt x="1540" y="798"/>
                  </a:lnTo>
                  <a:lnTo>
                    <a:pt x="1544" y="798"/>
                  </a:lnTo>
                  <a:lnTo>
                    <a:pt x="1540" y="802"/>
                  </a:lnTo>
                  <a:lnTo>
                    <a:pt x="1536" y="798"/>
                  </a:lnTo>
                  <a:lnTo>
                    <a:pt x="1532" y="798"/>
                  </a:lnTo>
                  <a:lnTo>
                    <a:pt x="1532" y="794"/>
                  </a:lnTo>
                  <a:lnTo>
                    <a:pt x="1528" y="794"/>
                  </a:lnTo>
                  <a:lnTo>
                    <a:pt x="1532" y="794"/>
                  </a:lnTo>
                  <a:lnTo>
                    <a:pt x="1532" y="798"/>
                  </a:lnTo>
                  <a:lnTo>
                    <a:pt x="1536" y="798"/>
                  </a:lnTo>
                  <a:lnTo>
                    <a:pt x="1536" y="802"/>
                  </a:lnTo>
                  <a:lnTo>
                    <a:pt x="1540" y="802"/>
                  </a:lnTo>
                  <a:lnTo>
                    <a:pt x="1540" y="806"/>
                  </a:lnTo>
                  <a:lnTo>
                    <a:pt x="1540" y="802"/>
                  </a:lnTo>
                  <a:lnTo>
                    <a:pt x="1544" y="802"/>
                  </a:lnTo>
                  <a:lnTo>
                    <a:pt x="1548" y="802"/>
                  </a:lnTo>
                  <a:lnTo>
                    <a:pt x="1548" y="806"/>
                  </a:lnTo>
                  <a:lnTo>
                    <a:pt x="1548" y="810"/>
                  </a:lnTo>
                  <a:lnTo>
                    <a:pt x="1548" y="814"/>
                  </a:lnTo>
                  <a:lnTo>
                    <a:pt x="1548" y="818"/>
                  </a:lnTo>
                  <a:lnTo>
                    <a:pt x="1552" y="818"/>
                  </a:lnTo>
                  <a:lnTo>
                    <a:pt x="1552" y="822"/>
                  </a:lnTo>
                  <a:lnTo>
                    <a:pt x="1552" y="826"/>
                  </a:lnTo>
                  <a:lnTo>
                    <a:pt x="1552" y="822"/>
                  </a:lnTo>
                  <a:lnTo>
                    <a:pt x="1552" y="818"/>
                  </a:lnTo>
                  <a:lnTo>
                    <a:pt x="1548" y="818"/>
                  </a:lnTo>
                  <a:lnTo>
                    <a:pt x="1548" y="814"/>
                  </a:lnTo>
                  <a:lnTo>
                    <a:pt x="1548" y="810"/>
                  </a:lnTo>
                  <a:lnTo>
                    <a:pt x="1548" y="806"/>
                  </a:lnTo>
                  <a:lnTo>
                    <a:pt x="1548" y="810"/>
                  </a:lnTo>
                  <a:lnTo>
                    <a:pt x="1544" y="810"/>
                  </a:lnTo>
                  <a:lnTo>
                    <a:pt x="1548" y="814"/>
                  </a:lnTo>
                  <a:lnTo>
                    <a:pt x="1548" y="818"/>
                  </a:lnTo>
                  <a:lnTo>
                    <a:pt x="1548" y="822"/>
                  </a:lnTo>
                  <a:lnTo>
                    <a:pt x="1548" y="818"/>
                  </a:lnTo>
                  <a:lnTo>
                    <a:pt x="1548" y="814"/>
                  </a:lnTo>
                  <a:lnTo>
                    <a:pt x="1548" y="818"/>
                  </a:lnTo>
                  <a:lnTo>
                    <a:pt x="1544" y="818"/>
                  </a:lnTo>
                  <a:lnTo>
                    <a:pt x="1544" y="814"/>
                  </a:lnTo>
                  <a:lnTo>
                    <a:pt x="1544" y="818"/>
                  </a:lnTo>
                  <a:lnTo>
                    <a:pt x="1540" y="818"/>
                  </a:lnTo>
                  <a:lnTo>
                    <a:pt x="1540" y="822"/>
                  </a:lnTo>
                  <a:lnTo>
                    <a:pt x="1536" y="822"/>
                  </a:lnTo>
                  <a:lnTo>
                    <a:pt x="1536" y="818"/>
                  </a:lnTo>
                  <a:lnTo>
                    <a:pt x="1536" y="822"/>
                  </a:lnTo>
                  <a:lnTo>
                    <a:pt x="1540" y="822"/>
                  </a:lnTo>
                  <a:lnTo>
                    <a:pt x="1544" y="822"/>
                  </a:lnTo>
                  <a:lnTo>
                    <a:pt x="1540" y="822"/>
                  </a:lnTo>
                  <a:lnTo>
                    <a:pt x="1544" y="822"/>
                  </a:lnTo>
                  <a:lnTo>
                    <a:pt x="1548" y="822"/>
                  </a:lnTo>
                  <a:lnTo>
                    <a:pt x="1544" y="826"/>
                  </a:lnTo>
                  <a:lnTo>
                    <a:pt x="1544" y="830"/>
                  </a:lnTo>
                  <a:lnTo>
                    <a:pt x="1544" y="826"/>
                  </a:lnTo>
                  <a:lnTo>
                    <a:pt x="1544" y="830"/>
                  </a:lnTo>
                  <a:lnTo>
                    <a:pt x="1548" y="826"/>
                  </a:lnTo>
                  <a:lnTo>
                    <a:pt x="1548" y="822"/>
                  </a:lnTo>
                  <a:lnTo>
                    <a:pt x="1552" y="826"/>
                  </a:lnTo>
                  <a:lnTo>
                    <a:pt x="1552" y="830"/>
                  </a:lnTo>
                  <a:lnTo>
                    <a:pt x="1548" y="830"/>
                  </a:lnTo>
                  <a:lnTo>
                    <a:pt x="1548" y="834"/>
                  </a:lnTo>
                  <a:lnTo>
                    <a:pt x="1544" y="834"/>
                  </a:lnTo>
                  <a:lnTo>
                    <a:pt x="1540" y="834"/>
                  </a:lnTo>
                  <a:lnTo>
                    <a:pt x="1536" y="834"/>
                  </a:lnTo>
                  <a:lnTo>
                    <a:pt x="1536" y="830"/>
                  </a:lnTo>
                  <a:lnTo>
                    <a:pt x="1540" y="830"/>
                  </a:lnTo>
                  <a:lnTo>
                    <a:pt x="1536" y="830"/>
                  </a:lnTo>
                  <a:lnTo>
                    <a:pt x="1536" y="834"/>
                  </a:lnTo>
                  <a:lnTo>
                    <a:pt x="1532" y="834"/>
                  </a:lnTo>
                  <a:lnTo>
                    <a:pt x="1532" y="830"/>
                  </a:lnTo>
                  <a:lnTo>
                    <a:pt x="1532" y="834"/>
                  </a:lnTo>
                  <a:lnTo>
                    <a:pt x="1540" y="834"/>
                  </a:lnTo>
                  <a:lnTo>
                    <a:pt x="1540" y="838"/>
                  </a:lnTo>
                  <a:lnTo>
                    <a:pt x="1536" y="838"/>
                  </a:lnTo>
                  <a:lnTo>
                    <a:pt x="1536" y="842"/>
                  </a:lnTo>
                  <a:lnTo>
                    <a:pt x="1532" y="842"/>
                  </a:lnTo>
                  <a:lnTo>
                    <a:pt x="1532" y="838"/>
                  </a:lnTo>
                  <a:lnTo>
                    <a:pt x="1532" y="842"/>
                  </a:lnTo>
                  <a:lnTo>
                    <a:pt x="1536" y="842"/>
                  </a:lnTo>
                  <a:lnTo>
                    <a:pt x="1540" y="842"/>
                  </a:lnTo>
                  <a:lnTo>
                    <a:pt x="1544" y="842"/>
                  </a:lnTo>
                  <a:lnTo>
                    <a:pt x="1540" y="842"/>
                  </a:lnTo>
                  <a:lnTo>
                    <a:pt x="1540" y="846"/>
                  </a:lnTo>
                  <a:lnTo>
                    <a:pt x="1536" y="846"/>
                  </a:lnTo>
                  <a:lnTo>
                    <a:pt x="1528" y="850"/>
                  </a:lnTo>
                  <a:lnTo>
                    <a:pt x="1524" y="850"/>
                  </a:lnTo>
                  <a:lnTo>
                    <a:pt x="1528" y="850"/>
                  </a:lnTo>
                  <a:lnTo>
                    <a:pt x="1524" y="846"/>
                  </a:lnTo>
                  <a:lnTo>
                    <a:pt x="1524" y="850"/>
                  </a:lnTo>
                  <a:lnTo>
                    <a:pt x="1524" y="854"/>
                  </a:lnTo>
                  <a:lnTo>
                    <a:pt x="1520" y="854"/>
                  </a:lnTo>
                  <a:lnTo>
                    <a:pt x="1520" y="858"/>
                  </a:lnTo>
                  <a:lnTo>
                    <a:pt x="1516" y="858"/>
                  </a:lnTo>
                  <a:lnTo>
                    <a:pt x="1516" y="862"/>
                  </a:lnTo>
                  <a:lnTo>
                    <a:pt x="1516" y="858"/>
                  </a:lnTo>
                  <a:lnTo>
                    <a:pt x="1516" y="862"/>
                  </a:lnTo>
                  <a:lnTo>
                    <a:pt x="1516" y="866"/>
                  </a:lnTo>
                  <a:lnTo>
                    <a:pt x="1516" y="862"/>
                  </a:lnTo>
                  <a:lnTo>
                    <a:pt x="1512" y="862"/>
                  </a:lnTo>
                  <a:lnTo>
                    <a:pt x="1508" y="866"/>
                  </a:lnTo>
                  <a:lnTo>
                    <a:pt x="1504" y="866"/>
                  </a:lnTo>
                  <a:lnTo>
                    <a:pt x="1504" y="870"/>
                  </a:lnTo>
                  <a:lnTo>
                    <a:pt x="1500" y="870"/>
                  </a:lnTo>
                  <a:lnTo>
                    <a:pt x="1500" y="874"/>
                  </a:lnTo>
                  <a:lnTo>
                    <a:pt x="1496" y="878"/>
                  </a:lnTo>
                  <a:lnTo>
                    <a:pt x="1496" y="874"/>
                  </a:lnTo>
                  <a:lnTo>
                    <a:pt x="1496" y="878"/>
                  </a:lnTo>
                  <a:lnTo>
                    <a:pt x="1496" y="882"/>
                  </a:lnTo>
                  <a:lnTo>
                    <a:pt x="1492" y="882"/>
                  </a:lnTo>
                  <a:lnTo>
                    <a:pt x="1488" y="886"/>
                  </a:lnTo>
                  <a:lnTo>
                    <a:pt x="1488" y="890"/>
                  </a:lnTo>
                  <a:lnTo>
                    <a:pt x="1484" y="890"/>
                  </a:lnTo>
                  <a:lnTo>
                    <a:pt x="1480" y="894"/>
                  </a:lnTo>
                  <a:lnTo>
                    <a:pt x="1476" y="890"/>
                  </a:lnTo>
                  <a:lnTo>
                    <a:pt x="1476" y="894"/>
                  </a:lnTo>
                  <a:lnTo>
                    <a:pt x="1480" y="894"/>
                  </a:lnTo>
                  <a:lnTo>
                    <a:pt x="1476" y="898"/>
                  </a:lnTo>
                  <a:lnTo>
                    <a:pt x="1476" y="894"/>
                  </a:lnTo>
                  <a:lnTo>
                    <a:pt x="1472" y="894"/>
                  </a:lnTo>
                  <a:lnTo>
                    <a:pt x="1472" y="890"/>
                  </a:lnTo>
                  <a:lnTo>
                    <a:pt x="1472" y="894"/>
                  </a:lnTo>
                  <a:lnTo>
                    <a:pt x="1476" y="898"/>
                  </a:lnTo>
                  <a:lnTo>
                    <a:pt x="1472" y="898"/>
                  </a:lnTo>
                  <a:lnTo>
                    <a:pt x="1472" y="902"/>
                  </a:lnTo>
                  <a:lnTo>
                    <a:pt x="1472" y="906"/>
                  </a:lnTo>
                  <a:lnTo>
                    <a:pt x="1468" y="906"/>
                  </a:lnTo>
                  <a:lnTo>
                    <a:pt x="1468" y="910"/>
                  </a:lnTo>
                  <a:lnTo>
                    <a:pt x="1464" y="910"/>
                  </a:lnTo>
                  <a:lnTo>
                    <a:pt x="1468" y="914"/>
                  </a:lnTo>
                  <a:lnTo>
                    <a:pt x="1468" y="910"/>
                  </a:lnTo>
                  <a:lnTo>
                    <a:pt x="1468" y="914"/>
                  </a:lnTo>
                  <a:lnTo>
                    <a:pt x="1468" y="918"/>
                  </a:lnTo>
                  <a:lnTo>
                    <a:pt x="1464" y="918"/>
                  </a:lnTo>
                  <a:lnTo>
                    <a:pt x="1464" y="922"/>
                  </a:lnTo>
                  <a:lnTo>
                    <a:pt x="1464" y="918"/>
                  </a:lnTo>
                  <a:lnTo>
                    <a:pt x="1464" y="922"/>
                  </a:lnTo>
                  <a:lnTo>
                    <a:pt x="1464" y="926"/>
                  </a:lnTo>
                  <a:lnTo>
                    <a:pt x="1464" y="930"/>
                  </a:lnTo>
                  <a:lnTo>
                    <a:pt x="1464" y="934"/>
                  </a:lnTo>
                  <a:lnTo>
                    <a:pt x="1464" y="938"/>
                  </a:lnTo>
                  <a:lnTo>
                    <a:pt x="1464" y="942"/>
                  </a:lnTo>
                  <a:lnTo>
                    <a:pt x="1468" y="942"/>
                  </a:lnTo>
                  <a:lnTo>
                    <a:pt x="1468" y="946"/>
                  </a:lnTo>
                  <a:lnTo>
                    <a:pt x="1468" y="950"/>
                  </a:lnTo>
                  <a:lnTo>
                    <a:pt x="1472" y="958"/>
                  </a:lnTo>
                  <a:lnTo>
                    <a:pt x="1472" y="962"/>
                  </a:lnTo>
                  <a:lnTo>
                    <a:pt x="1476" y="966"/>
                  </a:lnTo>
                  <a:lnTo>
                    <a:pt x="1476" y="970"/>
                  </a:lnTo>
                  <a:lnTo>
                    <a:pt x="1476" y="974"/>
                  </a:lnTo>
                  <a:lnTo>
                    <a:pt x="1476" y="978"/>
                  </a:lnTo>
                  <a:lnTo>
                    <a:pt x="1480" y="982"/>
                  </a:lnTo>
                  <a:lnTo>
                    <a:pt x="1476" y="982"/>
                  </a:lnTo>
                  <a:lnTo>
                    <a:pt x="1476" y="978"/>
                  </a:lnTo>
                  <a:lnTo>
                    <a:pt x="1476" y="974"/>
                  </a:lnTo>
                  <a:lnTo>
                    <a:pt x="1476" y="970"/>
                  </a:lnTo>
                  <a:lnTo>
                    <a:pt x="1472" y="970"/>
                  </a:lnTo>
                  <a:lnTo>
                    <a:pt x="1472" y="966"/>
                  </a:lnTo>
                  <a:lnTo>
                    <a:pt x="1476" y="966"/>
                  </a:lnTo>
                  <a:lnTo>
                    <a:pt x="1472" y="966"/>
                  </a:lnTo>
                  <a:lnTo>
                    <a:pt x="1476" y="974"/>
                  </a:lnTo>
                  <a:lnTo>
                    <a:pt x="1476" y="978"/>
                  </a:lnTo>
                  <a:lnTo>
                    <a:pt x="1480" y="982"/>
                  </a:lnTo>
                  <a:lnTo>
                    <a:pt x="1480" y="986"/>
                  </a:lnTo>
                  <a:lnTo>
                    <a:pt x="1480" y="990"/>
                  </a:lnTo>
                  <a:lnTo>
                    <a:pt x="1484" y="998"/>
                  </a:lnTo>
                  <a:lnTo>
                    <a:pt x="1484" y="1002"/>
                  </a:lnTo>
                  <a:lnTo>
                    <a:pt x="1484" y="1006"/>
                  </a:lnTo>
                  <a:lnTo>
                    <a:pt x="1484" y="1010"/>
                  </a:lnTo>
                  <a:lnTo>
                    <a:pt x="1484" y="1014"/>
                  </a:lnTo>
                  <a:lnTo>
                    <a:pt x="1484" y="1022"/>
                  </a:lnTo>
                  <a:lnTo>
                    <a:pt x="1484" y="1026"/>
                  </a:lnTo>
                  <a:lnTo>
                    <a:pt x="1480" y="1026"/>
                  </a:lnTo>
                  <a:lnTo>
                    <a:pt x="1480" y="1030"/>
                  </a:lnTo>
                  <a:lnTo>
                    <a:pt x="1480" y="1034"/>
                  </a:lnTo>
                  <a:lnTo>
                    <a:pt x="1476" y="1034"/>
                  </a:lnTo>
                  <a:lnTo>
                    <a:pt x="1472" y="1034"/>
                  </a:lnTo>
                  <a:lnTo>
                    <a:pt x="1468" y="1038"/>
                  </a:lnTo>
                  <a:lnTo>
                    <a:pt x="1468" y="1034"/>
                  </a:lnTo>
                  <a:lnTo>
                    <a:pt x="1472" y="1034"/>
                  </a:lnTo>
                  <a:lnTo>
                    <a:pt x="1468" y="1034"/>
                  </a:lnTo>
                  <a:lnTo>
                    <a:pt x="1468" y="1030"/>
                  </a:lnTo>
                  <a:lnTo>
                    <a:pt x="1464" y="1022"/>
                  </a:lnTo>
                  <a:lnTo>
                    <a:pt x="1460" y="1022"/>
                  </a:lnTo>
                  <a:lnTo>
                    <a:pt x="1460" y="1018"/>
                  </a:lnTo>
                  <a:lnTo>
                    <a:pt x="1456" y="1014"/>
                  </a:lnTo>
                  <a:lnTo>
                    <a:pt x="1456" y="1010"/>
                  </a:lnTo>
                  <a:lnTo>
                    <a:pt x="1460" y="1006"/>
                  </a:lnTo>
                  <a:lnTo>
                    <a:pt x="1456" y="1006"/>
                  </a:lnTo>
                  <a:lnTo>
                    <a:pt x="1456" y="1010"/>
                  </a:lnTo>
                  <a:lnTo>
                    <a:pt x="1456" y="1006"/>
                  </a:lnTo>
                  <a:lnTo>
                    <a:pt x="1456" y="1002"/>
                  </a:lnTo>
                  <a:lnTo>
                    <a:pt x="1452" y="1002"/>
                  </a:lnTo>
                  <a:lnTo>
                    <a:pt x="1452" y="1006"/>
                  </a:lnTo>
                  <a:lnTo>
                    <a:pt x="1452" y="1002"/>
                  </a:lnTo>
                  <a:lnTo>
                    <a:pt x="1448" y="1002"/>
                  </a:lnTo>
                  <a:lnTo>
                    <a:pt x="1448" y="998"/>
                  </a:lnTo>
                  <a:lnTo>
                    <a:pt x="1448" y="994"/>
                  </a:lnTo>
                  <a:lnTo>
                    <a:pt x="1448" y="990"/>
                  </a:lnTo>
                  <a:lnTo>
                    <a:pt x="1444" y="990"/>
                  </a:lnTo>
                  <a:lnTo>
                    <a:pt x="1448" y="990"/>
                  </a:lnTo>
                  <a:lnTo>
                    <a:pt x="1444" y="990"/>
                  </a:lnTo>
                  <a:lnTo>
                    <a:pt x="1448" y="986"/>
                  </a:lnTo>
                  <a:lnTo>
                    <a:pt x="1448" y="982"/>
                  </a:lnTo>
                  <a:lnTo>
                    <a:pt x="1444" y="978"/>
                  </a:lnTo>
                  <a:lnTo>
                    <a:pt x="1444" y="982"/>
                  </a:lnTo>
                  <a:lnTo>
                    <a:pt x="1448" y="982"/>
                  </a:lnTo>
                  <a:lnTo>
                    <a:pt x="1444" y="986"/>
                  </a:lnTo>
                  <a:lnTo>
                    <a:pt x="1444" y="982"/>
                  </a:lnTo>
                  <a:lnTo>
                    <a:pt x="1444" y="978"/>
                  </a:lnTo>
                  <a:lnTo>
                    <a:pt x="1444" y="974"/>
                  </a:lnTo>
                  <a:lnTo>
                    <a:pt x="1444" y="970"/>
                  </a:lnTo>
                  <a:lnTo>
                    <a:pt x="1444" y="966"/>
                  </a:lnTo>
                  <a:lnTo>
                    <a:pt x="1444" y="962"/>
                  </a:lnTo>
                  <a:lnTo>
                    <a:pt x="1444" y="958"/>
                  </a:lnTo>
                  <a:lnTo>
                    <a:pt x="1440" y="958"/>
                  </a:lnTo>
                  <a:lnTo>
                    <a:pt x="1440" y="954"/>
                  </a:lnTo>
                  <a:lnTo>
                    <a:pt x="1436" y="954"/>
                  </a:lnTo>
                  <a:lnTo>
                    <a:pt x="1436" y="950"/>
                  </a:lnTo>
                  <a:lnTo>
                    <a:pt x="1432" y="950"/>
                  </a:lnTo>
                  <a:lnTo>
                    <a:pt x="1432" y="946"/>
                  </a:lnTo>
                  <a:lnTo>
                    <a:pt x="1432" y="942"/>
                  </a:lnTo>
                  <a:lnTo>
                    <a:pt x="1428" y="942"/>
                  </a:lnTo>
                  <a:lnTo>
                    <a:pt x="1424" y="942"/>
                  </a:lnTo>
                  <a:lnTo>
                    <a:pt x="1424" y="938"/>
                  </a:lnTo>
                  <a:lnTo>
                    <a:pt x="1420" y="938"/>
                  </a:lnTo>
                  <a:lnTo>
                    <a:pt x="1416" y="942"/>
                  </a:lnTo>
                  <a:lnTo>
                    <a:pt x="1420" y="942"/>
                  </a:lnTo>
                  <a:lnTo>
                    <a:pt x="1416" y="942"/>
                  </a:lnTo>
                  <a:lnTo>
                    <a:pt x="1416" y="946"/>
                  </a:lnTo>
                  <a:lnTo>
                    <a:pt x="1412" y="946"/>
                  </a:lnTo>
                  <a:lnTo>
                    <a:pt x="1408" y="946"/>
                  </a:lnTo>
                  <a:lnTo>
                    <a:pt x="1404" y="946"/>
                  </a:lnTo>
                  <a:lnTo>
                    <a:pt x="1404" y="942"/>
                  </a:lnTo>
                  <a:lnTo>
                    <a:pt x="1400" y="942"/>
                  </a:lnTo>
                  <a:lnTo>
                    <a:pt x="1400" y="938"/>
                  </a:lnTo>
                  <a:lnTo>
                    <a:pt x="1400" y="942"/>
                  </a:lnTo>
                  <a:lnTo>
                    <a:pt x="1404" y="942"/>
                  </a:lnTo>
                  <a:lnTo>
                    <a:pt x="1400" y="938"/>
                  </a:lnTo>
                  <a:lnTo>
                    <a:pt x="1400" y="934"/>
                  </a:lnTo>
                  <a:lnTo>
                    <a:pt x="1396" y="934"/>
                  </a:lnTo>
                  <a:lnTo>
                    <a:pt x="1396" y="938"/>
                  </a:lnTo>
                  <a:lnTo>
                    <a:pt x="1400" y="938"/>
                  </a:lnTo>
                  <a:lnTo>
                    <a:pt x="1396" y="938"/>
                  </a:lnTo>
                  <a:lnTo>
                    <a:pt x="1396" y="934"/>
                  </a:lnTo>
                  <a:lnTo>
                    <a:pt x="1392" y="934"/>
                  </a:lnTo>
                  <a:lnTo>
                    <a:pt x="1388" y="934"/>
                  </a:lnTo>
                  <a:lnTo>
                    <a:pt x="1392" y="934"/>
                  </a:lnTo>
                  <a:lnTo>
                    <a:pt x="1392" y="930"/>
                  </a:lnTo>
                  <a:lnTo>
                    <a:pt x="1388" y="930"/>
                  </a:lnTo>
                  <a:lnTo>
                    <a:pt x="1388" y="934"/>
                  </a:lnTo>
                  <a:lnTo>
                    <a:pt x="1384" y="934"/>
                  </a:lnTo>
                  <a:lnTo>
                    <a:pt x="1380" y="934"/>
                  </a:lnTo>
                  <a:lnTo>
                    <a:pt x="1376" y="934"/>
                  </a:lnTo>
                  <a:lnTo>
                    <a:pt x="1380" y="934"/>
                  </a:lnTo>
                  <a:lnTo>
                    <a:pt x="1380" y="930"/>
                  </a:lnTo>
                  <a:lnTo>
                    <a:pt x="1376" y="930"/>
                  </a:lnTo>
                  <a:lnTo>
                    <a:pt x="1376" y="934"/>
                  </a:lnTo>
                  <a:lnTo>
                    <a:pt x="1372" y="934"/>
                  </a:lnTo>
                  <a:lnTo>
                    <a:pt x="1376" y="934"/>
                  </a:lnTo>
                  <a:lnTo>
                    <a:pt x="1372" y="930"/>
                  </a:lnTo>
                  <a:lnTo>
                    <a:pt x="1372" y="934"/>
                  </a:lnTo>
                  <a:lnTo>
                    <a:pt x="1368" y="938"/>
                  </a:lnTo>
                  <a:lnTo>
                    <a:pt x="1364" y="938"/>
                  </a:lnTo>
                  <a:lnTo>
                    <a:pt x="1368" y="938"/>
                  </a:lnTo>
                  <a:lnTo>
                    <a:pt x="1368" y="934"/>
                  </a:lnTo>
                  <a:lnTo>
                    <a:pt x="1364" y="934"/>
                  </a:lnTo>
                  <a:lnTo>
                    <a:pt x="1364" y="930"/>
                  </a:lnTo>
                  <a:lnTo>
                    <a:pt x="1364" y="926"/>
                  </a:lnTo>
                  <a:lnTo>
                    <a:pt x="1364" y="930"/>
                  </a:lnTo>
                  <a:lnTo>
                    <a:pt x="1364" y="934"/>
                  </a:lnTo>
                  <a:lnTo>
                    <a:pt x="1360" y="934"/>
                  </a:lnTo>
                  <a:lnTo>
                    <a:pt x="1357" y="934"/>
                  </a:lnTo>
                  <a:lnTo>
                    <a:pt x="1353" y="934"/>
                  </a:lnTo>
                  <a:lnTo>
                    <a:pt x="1349" y="934"/>
                  </a:lnTo>
                  <a:lnTo>
                    <a:pt x="1345" y="934"/>
                  </a:lnTo>
                  <a:lnTo>
                    <a:pt x="1345" y="938"/>
                  </a:lnTo>
                  <a:lnTo>
                    <a:pt x="1341" y="938"/>
                  </a:lnTo>
                  <a:lnTo>
                    <a:pt x="1337" y="938"/>
                  </a:lnTo>
                  <a:lnTo>
                    <a:pt x="1337" y="934"/>
                  </a:lnTo>
                  <a:lnTo>
                    <a:pt x="1333" y="934"/>
                  </a:lnTo>
                  <a:lnTo>
                    <a:pt x="1329" y="938"/>
                  </a:lnTo>
                  <a:lnTo>
                    <a:pt x="1329" y="942"/>
                  </a:lnTo>
                  <a:lnTo>
                    <a:pt x="1333" y="942"/>
                  </a:lnTo>
                  <a:lnTo>
                    <a:pt x="1337" y="938"/>
                  </a:lnTo>
                  <a:lnTo>
                    <a:pt x="1341" y="938"/>
                  </a:lnTo>
                  <a:lnTo>
                    <a:pt x="1341" y="942"/>
                  </a:lnTo>
                  <a:lnTo>
                    <a:pt x="1337" y="942"/>
                  </a:lnTo>
                  <a:lnTo>
                    <a:pt x="1341" y="942"/>
                  </a:lnTo>
                  <a:lnTo>
                    <a:pt x="1341" y="938"/>
                  </a:lnTo>
                  <a:lnTo>
                    <a:pt x="1345" y="942"/>
                  </a:lnTo>
                  <a:lnTo>
                    <a:pt x="1345" y="946"/>
                  </a:lnTo>
                  <a:lnTo>
                    <a:pt x="1341" y="946"/>
                  </a:lnTo>
                  <a:lnTo>
                    <a:pt x="1337" y="950"/>
                  </a:lnTo>
                  <a:lnTo>
                    <a:pt x="1341" y="950"/>
                  </a:lnTo>
                  <a:lnTo>
                    <a:pt x="1341" y="954"/>
                  </a:lnTo>
                  <a:lnTo>
                    <a:pt x="1345" y="954"/>
                  </a:lnTo>
                  <a:lnTo>
                    <a:pt x="1349" y="954"/>
                  </a:lnTo>
                  <a:lnTo>
                    <a:pt x="1349" y="958"/>
                  </a:lnTo>
                  <a:lnTo>
                    <a:pt x="1349" y="962"/>
                  </a:lnTo>
                  <a:lnTo>
                    <a:pt x="1345" y="958"/>
                  </a:lnTo>
                  <a:lnTo>
                    <a:pt x="1345" y="962"/>
                  </a:lnTo>
                  <a:lnTo>
                    <a:pt x="1345" y="958"/>
                  </a:lnTo>
                  <a:lnTo>
                    <a:pt x="1341" y="958"/>
                  </a:lnTo>
                  <a:lnTo>
                    <a:pt x="1341" y="954"/>
                  </a:lnTo>
                  <a:lnTo>
                    <a:pt x="1337" y="954"/>
                  </a:lnTo>
                  <a:lnTo>
                    <a:pt x="1337" y="950"/>
                  </a:lnTo>
                  <a:lnTo>
                    <a:pt x="1333" y="950"/>
                  </a:lnTo>
                  <a:lnTo>
                    <a:pt x="1333" y="954"/>
                  </a:lnTo>
                  <a:lnTo>
                    <a:pt x="1333" y="958"/>
                  </a:lnTo>
                  <a:lnTo>
                    <a:pt x="1329" y="958"/>
                  </a:lnTo>
                  <a:lnTo>
                    <a:pt x="1329" y="954"/>
                  </a:lnTo>
                  <a:lnTo>
                    <a:pt x="1325" y="954"/>
                  </a:lnTo>
                  <a:lnTo>
                    <a:pt x="1325" y="958"/>
                  </a:lnTo>
                  <a:lnTo>
                    <a:pt x="1321" y="958"/>
                  </a:lnTo>
                  <a:lnTo>
                    <a:pt x="1317" y="958"/>
                  </a:lnTo>
                  <a:lnTo>
                    <a:pt x="1317" y="954"/>
                  </a:lnTo>
                  <a:lnTo>
                    <a:pt x="1313" y="954"/>
                  </a:lnTo>
                  <a:lnTo>
                    <a:pt x="1317" y="954"/>
                  </a:lnTo>
                  <a:lnTo>
                    <a:pt x="1317" y="958"/>
                  </a:lnTo>
                  <a:lnTo>
                    <a:pt x="1317" y="954"/>
                  </a:lnTo>
                  <a:lnTo>
                    <a:pt x="1317" y="950"/>
                  </a:lnTo>
                  <a:lnTo>
                    <a:pt x="1313" y="950"/>
                  </a:lnTo>
                  <a:lnTo>
                    <a:pt x="1309" y="946"/>
                  </a:lnTo>
                  <a:lnTo>
                    <a:pt x="1305" y="946"/>
                  </a:lnTo>
                  <a:lnTo>
                    <a:pt x="1301" y="946"/>
                  </a:lnTo>
                  <a:lnTo>
                    <a:pt x="1301" y="950"/>
                  </a:lnTo>
                  <a:lnTo>
                    <a:pt x="1297" y="950"/>
                  </a:lnTo>
                  <a:lnTo>
                    <a:pt x="1293" y="950"/>
                  </a:lnTo>
                  <a:lnTo>
                    <a:pt x="1289" y="946"/>
                  </a:lnTo>
                  <a:lnTo>
                    <a:pt x="1285" y="946"/>
                  </a:lnTo>
                  <a:lnTo>
                    <a:pt x="1281" y="946"/>
                  </a:lnTo>
                  <a:lnTo>
                    <a:pt x="1277" y="946"/>
                  </a:lnTo>
                  <a:lnTo>
                    <a:pt x="1277" y="942"/>
                  </a:lnTo>
                  <a:lnTo>
                    <a:pt x="1273" y="946"/>
                  </a:lnTo>
                  <a:lnTo>
                    <a:pt x="1277" y="946"/>
                  </a:lnTo>
                  <a:lnTo>
                    <a:pt x="1273" y="946"/>
                  </a:lnTo>
                  <a:lnTo>
                    <a:pt x="1273" y="950"/>
                  </a:lnTo>
                  <a:lnTo>
                    <a:pt x="1269" y="950"/>
                  </a:lnTo>
                  <a:lnTo>
                    <a:pt x="1265" y="950"/>
                  </a:lnTo>
                  <a:lnTo>
                    <a:pt x="1265" y="954"/>
                  </a:lnTo>
                  <a:lnTo>
                    <a:pt x="1261" y="954"/>
                  </a:lnTo>
                  <a:lnTo>
                    <a:pt x="1265" y="950"/>
                  </a:lnTo>
                  <a:lnTo>
                    <a:pt x="1261" y="950"/>
                  </a:lnTo>
                  <a:lnTo>
                    <a:pt x="1265" y="950"/>
                  </a:lnTo>
                  <a:lnTo>
                    <a:pt x="1265" y="946"/>
                  </a:lnTo>
                  <a:lnTo>
                    <a:pt x="1261" y="946"/>
                  </a:lnTo>
                  <a:lnTo>
                    <a:pt x="1257" y="946"/>
                  </a:lnTo>
                  <a:lnTo>
                    <a:pt x="1257" y="950"/>
                  </a:lnTo>
                  <a:lnTo>
                    <a:pt x="1261" y="954"/>
                  </a:lnTo>
                  <a:lnTo>
                    <a:pt x="1257" y="958"/>
                  </a:lnTo>
                  <a:lnTo>
                    <a:pt x="1253" y="962"/>
                  </a:lnTo>
                  <a:lnTo>
                    <a:pt x="1249" y="966"/>
                  </a:lnTo>
                  <a:lnTo>
                    <a:pt x="1245" y="966"/>
                  </a:lnTo>
                  <a:lnTo>
                    <a:pt x="1245" y="970"/>
                  </a:lnTo>
                  <a:lnTo>
                    <a:pt x="1245" y="966"/>
                  </a:lnTo>
                  <a:lnTo>
                    <a:pt x="1249" y="966"/>
                  </a:lnTo>
                  <a:lnTo>
                    <a:pt x="1245" y="966"/>
                  </a:lnTo>
                  <a:lnTo>
                    <a:pt x="1245" y="970"/>
                  </a:lnTo>
                  <a:lnTo>
                    <a:pt x="1241" y="970"/>
                  </a:lnTo>
                  <a:lnTo>
                    <a:pt x="1245" y="970"/>
                  </a:lnTo>
                  <a:lnTo>
                    <a:pt x="1245" y="966"/>
                  </a:lnTo>
                  <a:lnTo>
                    <a:pt x="1241" y="970"/>
                  </a:lnTo>
                  <a:lnTo>
                    <a:pt x="1241" y="966"/>
                  </a:lnTo>
                  <a:lnTo>
                    <a:pt x="1237" y="966"/>
                  </a:lnTo>
                  <a:lnTo>
                    <a:pt x="1237" y="970"/>
                  </a:lnTo>
                  <a:lnTo>
                    <a:pt x="1237" y="966"/>
                  </a:lnTo>
                  <a:lnTo>
                    <a:pt x="1233" y="966"/>
                  </a:lnTo>
                  <a:lnTo>
                    <a:pt x="1233" y="970"/>
                  </a:lnTo>
                  <a:lnTo>
                    <a:pt x="1237" y="970"/>
                  </a:lnTo>
                  <a:lnTo>
                    <a:pt x="1233" y="974"/>
                  </a:lnTo>
                  <a:lnTo>
                    <a:pt x="1233" y="970"/>
                  </a:lnTo>
                  <a:lnTo>
                    <a:pt x="1229" y="974"/>
                  </a:lnTo>
                  <a:lnTo>
                    <a:pt x="1233" y="974"/>
                  </a:lnTo>
                  <a:lnTo>
                    <a:pt x="1229" y="978"/>
                  </a:lnTo>
                  <a:lnTo>
                    <a:pt x="1225" y="978"/>
                  </a:lnTo>
                  <a:lnTo>
                    <a:pt x="1229" y="978"/>
                  </a:lnTo>
                  <a:lnTo>
                    <a:pt x="1225" y="982"/>
                  </a:lnTo>
                  <a:lnTo>
                    <a:pt x="1221" y="982"/>
                  </a:lnTo>
                  <a:lnTo>
                    <a:pt x="1221" y="986"/>
                  </a:lnTo>
                  <a:lnTo>
                    <a:pt x="1225" y="986"/>
                  </a:lnTo>
                  <a:lnTo>
                    <a:pt x="1221" y="994"/>
                  </a:lnTo>
                  <a:lnTo>
                    <a:pt x="1217" y="994"/>
                  </a:lnTo>
                  <a:lnTo>
                    <a:pt x="1217" y="990"/>
                  </a:lnTo>
                  <a:lnTo>
                    <a:pt x="1217" y="994"/>
                  </a:lnTo>
                  <a:lnTo>
                    <a:pt x="1221" y="994"/>
                  </a:lnTo>
                  <a:lnTo>
                    <a:pt x="1221" y="998"/>
                  </a:lnTo>
                  <a:lnTo>
                    <a:pt x="1221" y="1002"/>
                  </a:lnTo>
                  <a:lnTo>
                    <a:pt x="1221" y="1006"/>
                  </a:lnTo>
                  <a:lnTo>
                    <a:pt x="1221" y="1010"/>
                  </a:lnTo>
                  <a:lnTo>
                    <a:pt x="1221" y="1014"/>
                  </a:lnTo>
                  <a:lnTo>
                    <a:pt x="1225" y="1014"/>
                  </a:lnTo>
                  <a:lnTo>
                    <a:pt x="1225" y="1018"/>
                  </a:lnTo>
                  <a:lnTo>
                    <a:pt x="1225" y="1022"/>
                  </a:lnTo>
                  <a:lnTo>
                    <a:pt x="1221" y="1022"/>
                  </a:lnTo>
                  <a:lnTo>
                    <a:pt x="1221" y="1018"/>
                  </a:lnTo>
                  <a:lnTo>
                    <a:pt x="1217" y="1018"/>
                  </a:lnTo>
                  <a:lnTo>
                    <a:pt x="1213" y="1018"/>
                  </a:lnTo>
                  <a:lnTo>
                    <a:pt x="1209" y="1018"/>
                  </a:lnTo>
                  <a:lnTo>
                    <a:pt x="1209" y="1014"/>
                  </a:lnTo>
                  <a:lnTo>
                    <a:pt x="1205" y="1014"/>
                  </a:lnTo>
                  <a:lnTo>
                    <a:pt x="1201" y="1014"/>
                  </a:lnTo>
                  <a:lnTo>
                    <a:pt x="1201" y="1010"/>
                  </a:lnTo>
                  <a:lnTo>
                    <a:pt x="1197" y="1010"/>
                  </a:lnTo>
                  <a:lnTo>
                    <a:pt x="1197" y="1006"/>
                  </a:lnTo>
                  <a:lnTo>
                    <a:pt x="1193" y="1002"/>
                  </a:lnTo>
                  <a:lnTo>
                    <a:pt x="1193" y="998"/>
                  </a:lnTo>
                  <a:lnTo>
                    <a:pt x="1193" y="994"/>
                  </a:lnTo>
                  <a:lnTo>
                    <a:pt x="1193" y="990"/>
                  </a:lnTo>
                  <a:lnTo>
                    <a:pt x="1189" y="990"/>
                  </a:lnTo>
                  <a:lnTo>
                    <a:pt x="1189" y="986"/>
                  </a:lnTo>
                  <a:lnTo>
                    <a:pt x="1185" y="986"/>
                  </a:lnTo>
                  <a:lnTo>
                    <a:pt x="1185" y="982"/>
                  </a:lnTo>
                  <a:lnTo>
                    <a:pt x="1181" y="978"/>
                  </a:lnTo>
                  <a:lnTo>
                    <a:pt x="1181" y="974"/>
                  </a:lnTo>
                  <a:lnTo>
                    <a:pt x="1177" y="974"/>
                  </a:lnTo>
                  <a:lnTo>
                    <a:pt x="1177" y="970"/>
                  </a:lnTo>
                  <a:lnTo>
                    <a:pt x="1177" y="966"/>
                  </a:lnTo>
                  <a:lnTo>
                    <a:pt x="1173" y="962"/>
                  </a:lnTo>
                  <a:lnTo>
                    <a:pt x="1173" y="958"/>
                  </a:lnTo>
                  <a:lnTo>
                    <a:pt x="1169" y="954"/>
                  </a:lnTo>
                  <a:lnTo>
                    <a:pt x="1169" y="950"/>
                  </a:lnTo>
                  <a:lnTo>
                    <a:pt x="1165" y="950"/>
                  </a:lnTo>
                  <a:lnTo>
                    <a:pt x="1161" y="950"/>
                  </a:lnTo>
                  <a:lnTo>
                    <a:pt x="1161" y="946"/>
                  </a:lnTo>
                  <a:lnTo>
                    <a:pt x="1157" y="946"/>
                  </a:lnTo>
                  <a:lnTo>
                    <a:pt x="1153" y="946"/>
                  </a:lnTo>
                  <a:lnTo>
                    <a:pt x="1149" y="946"/>
                  </a:lnTo>
                  <a:lnTo>
                    <a:pt x="1149" y="942"/>
                  </a:lnTo>
                  <a:lnTo>
                    <a:pt x="1149" y="946"/>
                  </a:lnTo>
                  <a:lnTo>
                    <a:pt x="1145" y="946"/>
                  </a:lnTo>
                  <a:lnTo>
                    <a:pt x="1141" y="946"/>
                  </a:lnTo>
                  <a:lnTo>
                    <a:pt x="1141" y="950"/>
                  </a:lnTo>
                  <a:lnTo>
                    <a:pt x="1141" y="954"/>
                  </a:lnTo>
                  <a:lnTo>
                    <a:pt x="1141" y="958"/>
                  </a:lnTo>
                  <a:lnTo>
                    <a:pt x="1137" y="958"/>
                  </a:lnTo>
                  <a:lnTo>
                    <a:pt x="1137" y="962"/>
                  </a:lnTo>
                  <a:lnTo>
                    <a:pt x="1133" y="962"/>
                  </a:lnTo>
                  <a:lnTo>
                    <a:pt x="1129" y="958"/>
                  </a:lnTo>
                  <a:lnTo>
                    <a:pt x="1125" y="958"/>
                  </a:lnTo>
                  <a:lnTo>
                    <a:pt x="1125" y="954"/>
                  </a:lnTo>
                  <a:lnTo>
                    <a:pt x="1121" y="954"/>
                  </a:lnTo>
                  <a:lnTo>
                    <a:pt x="1121" y="950"/>
                  </a:lnTo>
                  <a:lnTo>
                    <a:pt x="1117" y="950"/>
                  </a:lnTo>
                  <a:lnTo>
                    <a:pt x="1113" y="946"/>
                  </a:lnTo>
                  <a:lnTo>
                    <a:pt x="1113" y="942"/>
                  </a:lnTo>
                  <a:lnTo>
                    <a:pt x="1113" y="938"/>
                  </a:lnTo>
                  <a:lnTo>
                    <a:pt x="1109" y="934"/>
                  </a:lnTo>
                  <a:lnTo>
                    <a:pt x="1109" y="930"/>
                  </a:lnTo>
                  <a:lnTo>
                    <a:pt x="1105" y="926"/>
                  </a:lnTo>
                  <a:lnTo>
                    <a:pt x="1101" y="926"/>
                  </a:lnTo>
                  <a:lnTo>
                    <a:pt x="1101" y="922"/>
                  </a:lnTo>
                  <a:lnTo>
                    <a:pt x="1097" y="922"/>
                  </a:lnTo>
                  <a:lnTo>
                    <a:pt x="1097" y="918"/>
                  </a:lnTo>
                  <a:lnTo>
                    <a:pt x="1093" y="918"/>
                  </a:lnTo>
                  <a:lnTo>
                    <a:pt x="1093" y="914"/>
                  </a:lnTo>
                  <a:lnTo>
                    <a:pt x="1089" y="914"/>
                  </a:lnTo>
                  <a:lnTo>
                    <a:pt x="1089" y="910"/>
                  </a:lnTo>
                  <a:lnTo>
                    <a:pt x="1085" y="910"/>
                  </a:lnTo>
                  <a:lnTo>
                    <a:pt x="1085" y="906"/>
                  </a:lnTo>
                  <a:lnTo>
                    <a:pt x="1081" y="906"/>
                  </a:lnTo>
                  <a:lnTo>
                    <a:pt x="1077" y="906"/>
                  </a:lnTo>
                  <a:lnTo>
                    <a:pt x="1073" y="906"/>
                  </a:lnTo>
                  <a:lnTo>
                    <a:pt x="1069" y="906"/>
                  </a:lnTo>
                  <a:lnTo>
                    <a:pt x="1065" y="906"/>
                  </a:lnTo>
                  <a:lnTo>
                    <a:pt x="1057" y="906"/>
                  </a:lnTo>
                  <a:lnTo>
                    <a:pt x="1057" y="910"/>
                  </a:lnTo>
                  <a:lnTo>
                    <a:pt x="1057" y="914"/>
                  </a:lnTo>
                  <a:lnTo>
                    <a:pt x="1049" y="914"/>
                  </a:lnTo>
                  <a:lnTo>
                    <a:pt x="1045" y="914"/>
                  </a:lnTo>
                  <a:lnTo>
                    <a:pt x="1037" y="914"/>
                  </a:lnTo>
                  <a:lnTo>
                    <a:pt x="1033" y="914"/>
                  </a:lnTo>
                  <a:lnTo>
                    <a:pt x="1029" y="914"/>
                  </a:lnTo>
                  <a:lnTo>
                    <a:pt x="1025" y="914"/>
                  </a:lnTo>
                  <a:lnTo>
                    <a:pt x="1017" y="914"/>
                  </a:lnTo>
                  <a:lnTo>
                    <a:pt x="1009" y="914"/>
                  </a:lnTo>
                  <a:lnTo>
                    <a:pt x="1002" y="910"/>
                  </a:lnTo>
                  <a:lnTo>
                    <a:pt x="998" y="906"/>
                  </a:lnTo>
                  <a:lnTo>
                    <a:pt x="994" y="906"/>
                  </a:lnTo>
                  <a:lnTo>
                    <a:pt x="990" y="902"/>
                  </a:lnTo>
                  <a:lnTo>
                    <a:pt x="986" y="902"/>
                  </a:lnTo>
                  <a:lnTo>
                    <a:pt x="982" y="902"/>
                  </a:lnTo>
                  <a:lnTo>
                    <a:pt x="978" y="898"/>
                  </a:lnTo>
                  <a:lnTo>
                    <a:pt x="974" y="898"/>
                  </a:lnTo>
                  <a:lnTo>
                    <a:pt x="970" y="898"/>
                  </a:lnTo>
                  <a:lnTo>
                    <a:pt x="966" y="894"/>
                  </a:lnTo>
                  <a:lnTo>
                    <a:pt x="962" y="894"/>
                  </a:lnTo>
                  <a:lnTo>
                    <a:pt x="958" y="890"/>
                  </a:lnTo>
                  <a:lnTo>
                    <a:pt x="962" y="890"/>
                  </a:lnTo>
                  <a:lnTo>
                    <a:pt x="962" y="886"/>
                  </a:lnTo>
                  <a:lnTo>
                    <a:pt x="958" y="886"/>
                  </a:lnTo>
                  <a:lnTo>
                    <a:pt x="954" y="890"/>
                  </a:lnTo>
                  <a:lnTo>
                    <a:pt x="950" y="890"/>
                  </a:lnTo>
                  <a:lnTo>
                    <a:pt x="946" y="890"/>
                  </a:lnTo>
                  <a:lnTo>
                    <a:pt x="942" y="890"/>
                  </a:lnTo>
                  <a:lnTo>
                    <a:pt x="938" y="890"/>
                  </a:lnTo>
                  <a:lnTo>
                    <a:pt x="934" y="890"/>
                  </a:lnTo>
                  <a:lnTo>
                    <a:pt x="930" y="890"/>
                  </a:lnTo>
                  <a:lnTo>
                    <a:pt x="926" y="890"/>
                  </a:lnTo>
                  <a:lnTo>
                    <a:pt x="922" y="890"/>
                  </a:lnTo>
                  <a:lnTo>
                    <a:pt x="926" y="890"/>
                  </a:lnTo>
                  <a:lnTo>
                    <a:pt x="922" y="890"/>
                  </a:lnTo>
                  <a:lnTo>
                    <a:pt x="922" y="886"/>
                  </a:lnTo>
                  <a:lnTo>
                    <a:pt x="922" y="890"/>
                  </a:lnTo>
                  <a:lnTo>
                    <a:pt x="922" y="886"/>
                  </a:lnTo>
                  <a:lnTo>
                    <a:pt x="922" y="882"/>
                  </a:lnTo>
                  <a:lnTo>
                    <a:pt x="922" y="878"/>
                  </a:lnTo>
                  <a:lnTo>
                    <a:pt x="918" y="878"/>
                  </a:lnTo>
                  <a:lnTo>
                    <a:pt x="918" y="874"/>
                  </a:lnTo>
                  <a:lnTo>
                    <a:pt x="914" y="874"/>
                  </a:lnTo>
                  <a:lnTo>
                    <a:pt x="914" y="870"/>
                  </a:lnTo>
                  <a:lnTo>
                    <a:pt x="910" y="870"/>
                  </a:lnTo>
                  <a:lnTo>
                    <a:pt x="910" y="866"/>
                  </a:lnTo>
                  <a:lnTo>
                    <a:pt x="906" y="866"/>
                  </a:lnTo>
                  <a:lnTo>
                    <a:pt x="906" y="862"/>
                  </a:lnTo>
                  <a:lnTo>
                    <a:pt x="902" y="862"/>
                  </a:lnTo>
                  <a:lnTo>
                    <a:pt x="898" y="862"/>
                  </a:lnTo>
                  <a:lnTo>
                    <a:pt x="894" y="862"/>
                  </a:lnTo>
                  <a:lnTo>
                    <a:pt x="894" y="858"/>
                  </a:lnTo>
                  <a:lnTo>
                    <a:pt x="890" y="858"/>
                  </a:lnTo>
                  <a:lnTo>
                    <a:pt x="890" y="854"/>
                  </a:lnTo>
                  <a:lnTo>
                    <a:pt x="886" y="854"/>
                  </a:lnTo>
                  <a:lnTo>
                    <a:pt x="882" y="854"/>
                  </a:lnTo>
                  <a:lnTo>
                    <a:pt x="878" y="854"/>
                  </a:lnTo>
                  <a:lnTo>
                    <a:pt x="874" y="854"/>
                  </a:lnTo>
                  <a:lnTo>
                    <a:pt x="874" y="850"/>
                  </a:lnTo>
                  <a:lnTo>
                    <a:pt x="870" y="850"/>
                  </a:lnTo>
                  <a:lnTo>
                    <a:pt x="870" y="846"/>
                  </a:lnTo>
                  <a:lnTo>
                    <a:pt x="870" y="842"/>
                  </a:lnTo>
                  <a:lnTo>
                    <a:pt x="870" y="838"/>
                  </a:lnTo>
                  <a:lnTo>
                    <a:pt x="866" y="838"/>
                  </a:lnTo>
                  <a:lnTo>
                    <a:pt x="866" y="834"/>
                  </a:lnTo>
                  <a:lnTo>
                    <a:pt x="866" y="830"/>
                  </a:lnTo>
                  <a:lnTo>
                    <a:pt x="862" y="830"/>
                  </a:lnTo>
                  <a:lnTo>
                    <a:pt x="862" y="826"/>
                  </a:lnTo>
                  <a:lnTo>
                    <a:pt x="858" y="826"/>
                  </a:lnTo>
                  <a:lnTo>
                    <a:pt x="858" y="822"/>
                  </a:lnTo>
                  <a:lnTo>
                    <a:pt x="854" y="818"/>
                  </a:lnTo>
                  <a:lnTo>
                    <a:pt x="854" y="814"/>
                  </a:lnTo>
                  <a:lnTo>
                    <a:pt x="850" y="814"/>
                  </a:lnTo>
                  <a:lnTo>
                    <a:pt x="850" y="810"/>
                  </a:lnTo>
                  <a:lnTo>
                    <a:pt x="854" y="810"/>
                  </a:lnTo>
                  <a:lnTo>
                    <a:pt x="854" y="806"/>
                  </a:lnTo>
                  <a:lnTo>
                    <a:pt x="854" y="802"/>
                  </a:lnTo>
                  <a:lnTo>
                    <a:pt x="850" y="802"/>
                  </a:lnTo>
                  <a:lnTo>
                    <a:pt x="846" y="802"/>
                  </a:lnTo>
                  <a:lnTo>
                    <a:pt x="846" y="798"/>
                  </a:lnTo>
                  <a:lnTo>
                    <a:pt x="846" y="794"/>
                  </a:lnTo>
                  <a:lnTo>
                    <a:pt x="842" y="790"/>
                  </a:lnTo>
                  <a:lnTo>
                    <a:pt x="842" y="786"/>
                  </a:lnTo>
                  <a:lnTo>
                    <a:pt x="846" y="786"/>
                  </a:lnTo>
                  <a:lnTo>
                    <a:pt x="846" y="790"/>
                  </a:lnTo>
                  <a:lnTo>
                    <a:pt x="850" y="794"/>
                  </a:lnTo>
                  <a:lnTo>
                    <a:pt x="850" y="790"/>
                  </a:lnTo>
                  <a:lnTo>
                    <a:pt x="850" y="786"/>
                  </a:lnTo>
                  <a:lnTo>
                    <a:pt x="846" y="786"/>
                  </a:lnTo>
                  <a:lnTo>
                    <a:pt x="846" y="782"/>
                  </a:lnTo>
                  <a:lnTo>
                    <a:pt x="846" y="778"/>
                  </a:lnTo>
                  <a:lnTo>
                    <a:pt x="846" y="782"/>
                  </a:lnTo>
                  <a:lnTo>
                    <a:pt x="850" y="782"/>
                  </a:lnTo>
                  <a:lnTo>
                    <a:pt x="850" y="778"/>
                  </a:lnTo>
                  <a:lnTo>
                    <a:pt x="854" y="782"/>
                  </a:lnTo>
                  <a:lnTo>
                    <a:pt x="854" y="778"/>
                  </a:lnTo>
                  <a:lnTo>
                    <a:pt x="858" y="778"/>
                  </a:lnTo>
                  <a:lnTo>
                    <a:pt x="858" y="782"/>
                  </a:lnTo>
                  <a:lnTo>
                    <a:pt x="858" y="778"/>
                  </a:lnTo>
                  <a:lnTo>
                    <a:pt x="854" y="778"/>
                  </a:lnTo>
                  <a:lnTo>
                    <a:pt x="854" y="782"/>
                  </a:lnTo>
                  <a:lnTo>
                    <a:pt x="854" y="778"/>
                  </a:lnTo>
                  <a:lnTo>
                    <a:pt x="850" y="778"/>
                  </a:lnTo>
                  <a:lnTo>
                    <a:pt x="846" y="778"/>
                  </a:lnTo>
                  <a:lnTo>
                    <a:pt x="842" y="778"/>
                  </a:lnTo>
                  <a:lnTo>
                    <a:pt x="842" y="782"/>
                  </a:lnTo>
                  <a:lnTo>
                    <a:pt x="842" y="786"/>
                  </a:lnTo>
                  <a:lnTo>
                    <a:pt x="842" y="782"/>
                  </a:lnTo>
                  <a:lnTo>
                    <a:pt x="838" y="782"/>
                  </a:lnTo>
                  <a:lnTo>
                    <a:pt x="838" y="778"/>
                  </a:lnTo>
                  <a:lnTo>
                    <a:pt x="834" y="778"/>
                  </a:lnTo>
                  <a:lnTo>
                    <a:pt x="838" y="778"/>
                  </a:lnTo>
                  <a:lnTo>
                    <a:pt x="834" y="774"/>
                  </a:lnTo>
                  <a:lnTo>
                    <a:pt x="834" y="770"/>
                  </a:lnTo>
                  <a:lnTo>
                    <a:pt x="830" y="770"/>
                  </a:lnTo>
                  <a:lnTo>
                    <a:pt x="830" y="766"/>
                  </a:lnTo>
                  <a:lnTo>
                    <a:pt x="826" y="766"/>
                  </a:lnTo>
                  <a:lnTo>
                    <a:pt x="826" y="762"/>
                  </a:lnTo>
                  <a:lnTo>
                    <a:pt x="826" y="758"/>
                  </a:lnTo>
                  <a:lnTo>
                    <a:pt x="822" y="754"/>
                  </a:lnTo>
                  <a:lnTo>
                    <a:pt x="822" y="750"/>
                  </a:lnTo>
                  <a:lnTo>
                    <a:pt x="822" y="746"/>
                  </a:lnTo>
                  <a:lnTo>
                    <a:pt x="822" y="742"/>
                  </a:lnTo>
                  <a:lnTo>
                    <a:pt x="818" y="738"/>
                  </a:lnTo>
                  <a:lnTo>
                    <a:pt x="814" y="734"/>
                  </a:lnTo>
                  <a:lnTo>
                    <a:pt x="814" y="730"/>
                  </a:lnTo>
                  <a:lnTo>
                    <a:pt x="814" y="726"/>
                  </a:lnTo>
                  <a:lnTo>
                    <a:pt x="818" y="726"/>
                  </a:lnTo>
                  <a:lnTo>
                    <a:pt x="818" y="722"/>
                  </a:lnTo>
                  <a:lnTo>
                    <a:pt x="818" y="718"/>
                  </a:lnTo>
                  <a:lnTo>
                    <a:pt x="818" y="714"/>
                  </a:lnTo>
                  <a:lnTo>
                    <a:pt x="818" y="710"/>
                  </a:lnTo>
                  <a:lnTo>
                    <a:pt x="818" y="706"/>
                  </a:lnTo>
                  <a:lnTo>
                    <a:pt x="818" y="702"/>
                  </a:lnTo>
                  <a:lnTo>
                    <a:pt x="818" y="698"/>
                  </a:lnTo>
                  <a:lnTo>
                    <a:pt x="814" y="698"/>
                  </a:lnTo>
                  <a:lnTo>
                    <a:pt x="814" y="694"/>
                  </a:lnTo>
                  <a:lnTo>
                    <a:pt x="814" y="690"/>
                  </a:lnTo>
                  <a:lnTo>
                    <a:pt x="814" y="687"/>
                  </a:lnTo>
                  <a:lnTo>
                    <a:pt x="814" y="683"/>
                  </a:lnTo>
                  <a:lnTo>
                    <a:pt x="810" y="683"/>
                  </a:lnTo>
                  <a:lnTo>
                    <a:pt x="810" y="679"/>
                  </a:lnTo>
                  <a:lnTo>
                    <a:pt x="814" y="679"/>
                  </a:lnTo>
                  <a:lnTo>
                    <a:pt x="814" y="675"/>
                  </a:lnTo>
                  <a:lnTo>
                    <a:pt x="814" y="671"/>
                  </a:lnTo>
                  <a:lnTo>
                    <a:pt x="818" y="671"/>
                  </a:lnTo>
                  <a:lnTo>
                    <a:pt x="818" y="667"/>
                  </a:lnTo>
                  <a:lnTo>
                    <a:pt x="814" y="671"/>
                  </a:lnTo>
                  <a:lnTo>
                    <a:pt x="814" y="667"/>
                  </a:lnTo>
                  <a:lnTo>
                    <a:pt x="818" y="667"/>
                  </a:lnTo>
                  <a:lnTo>
                    <a:pt x="818" y="663"/>
                  </a:lnTo>
                  <a:lnTo>
                    <a:pt x="818" y="659"/>
                  </a:lnTo>
                  <a:lnTo>
                    <a:pt x="818" y="655"/>
                  </a:lnTo>
                  <a:lnTo>
                    <a:pt x="818" y="647"/>
                  </a:lnTo>
                  <a:lnTo>
                    <a:pt x="818" y="643"/>
                  </a:lnTo>
                  <a:lnTo>
                    <a:pt x="818" y="639"/>
                  </a:lnTo>
                  <a:lnTo>
                    <a:pt x="818" y="635"/>
                  </a:lnTo>
                  <a:lnTo>
                    <a:pt x="822" y="631"/>
                  </a:lnTo>
                  <a:lnTo>
                    <a:pt x="822" y="627"/>
                  </a:lnTo>
                  <a:lnTo>
                    <a:pt x="822" y="623"/>
                  </a:lnTo>
                  <a:lnTo>
                    <a:pt x="822" y="619"/>
                  </a:lnTo>
                  <a:lnTo>
                    <a:pt x="822" y="615"/>
                  </a:lnTo>
                  <a:lnTo>
                    <a:pt x="822" y="611"/>
                  </a:lnTo>
                  <a:lnTo>
                    <a:pt x="826" y="611"/>
                  </a:lnTo>
                  <a:lnTo>
                    <a:pt x="826" y="607"/>
                  </a:lnTo>
                  <a:lnTo>
                    <a:pt x="830" y="611"/>
                  </a:lnTo>
                  <a:lnTo>
                    <a:pt x="834" y="611"/>
                  </a:lnTo>
                  <a:lnTo>
                    <a:pt x="830" y="611"/>
                  </a:lnTo>
                  <a:lnTo>
                    <a:pt x="830" y="607"/>
                  </a:lnTo>
                  <a:lnTo>
                    <a:pt x="826" y="607"/>
                  </a:lnTo>
                  <a:lnTo>
                    <a:pt x="822" y="607"/>
                  </a:lnTo>
                  <a:lnTo>
                    <a:pt x="818" y="607"/>
                  </a:lnTo>
                  <a:lnTo>
                    <a:pt x="818" y="603"/>
                  </a:lnTo>
                  <a:lnTo>
                    <a:pt x="818" y="599"/>
                  </a:lnTo>
                  <a:lnTo>
                    <a:pt x="818" y="603"/>
                  </a:lnTo>
                  <a:lnTo>
                    <a:pt x="822" y="607"/>
                  </a:lnTo>
                  <a:lnTo>
                    <a:pt x="822" y="603"/>
                  </a:lnTo>
                  <a:lnTo>
                    <a:pt x="822" y="599"/>
                  </a:lnTo>
                  <a:lnTo>
                    <a:pt x="818" y="599"/>
                  </a:lnTo>
                  <a:lnTo>
                    <a:pt x="818" y="595"/>
                  </a:lnTo>
                  <a:lnTo>
                    <a:pt x="822" y="595"/>
                  </a:lnTo>
                  <a:lnTo>
                    <a:pt x="822" y="591"/>
                  </a:lnTo>
                  <a:lnTo>
                    <a:pt x="818" y="591"/>
                  </a:lnTo>
                  <a:lnTo>
                    <a:pt x="818" y="595"/>
                  </a:lnTo>
                  <a:lnTo>
                    <a:pt x="818" y="591"/>
                  </a:lnTo>
                  <a:lnTo>
                    <a:pt x="818" y="587"/>
                  </a:lnTo>
                  <a:lnTo>
                    <a:pt x="814" y="583"/>
                  </a:lnTo>
                  <a:lnTo>
                    <a:pt x="814" y="579"/>
                  </a:lnTo>
                  <a:lnTo>
                    <a:pt x="814" y="575"/>
                  </a:lnTo>
                  <a:lnTo>
                    <a:pt x="810" y="571"/>
                  </a:lnTo>
                  <a:lnTo>
                    <a:pt x="810" y="567"/>
                  </a:lnTo>
                  <a:lnTo>
                    <a:pt x="810" y="563"/>
                  </a:lnTo>
                  <a:lnTo>
                    <a:pt x="814" y="563"/>
                  </a:lnTo>
                  <a:lnTo>
                    <a:pt x="818" y="563"/>
                  </a:lnTo>
                  <a:lnTo>
                    <a:pt x="818" y="567"/>
                  </a:lnTo>
                  <a:lnTo>
                    <a:pt x="822" y="567"/>
                  </a:lnTo>
                  <a:lnTo>
                    <a:pt x="826" y="567"/>
                  </a:lnTo>
                  <a:lnTo>
                    <a:pt x="830" y="567"/>
                  </a:lnTo>
                  <a:lnTo>
                    <a:pt x="834" y="567"/>
                  </a:lnTo>
                  <a:lnTo>
                    <a:pt x="838" y="567"/>
                  </a:lnTo>
                  <a:lnTo>
                    <a:pt x="838" y="571"/>
                  </a:lnTo>
                  <a:lnTo>
                    <a:pt x="842" y="571"/>
                  </a:lnTo>
                  <a:lnTo>
                    <a:pt x="838" y="575"/>
                  </a:lnTo>
                  <a:lnTo>
                    <a:pt x="838" y="579"/>
                  </a:lnTo>
                  <a:lnTo>
                    <a:pt x="834" y="579"/>
                  </a:lnTo>
                  <a:lnTo>
                    <a:pt x="834" y="583"/>
                  </a:lnTo>
                  <a:lnTo>
                    <a:pt x="838" y="583"/>
                  </a:lnTo>
                  <a:lnTo>
                    <a:pt x="834" y="583"/>
                  </a:lnTo>
                  <a:lnTo>
                    <a:pt x="834" y="579"/>
                  </a:lnTo>
                  <a:lnTo>
                    <a:pt x="838" y="579"/>
                  </a:lnTo>
                  <a:lnTo>
                    <a:pt x="838" y="575"/>
                  </a:lnTo>
                  <a:lnTo>
                    <a:pt x="842" y="571"/>
                  </a:lnTo>
                  <a:lnTo>
                    <a:pt x="842" y="575"/>
                  </a:lnTo>
                  <a:lnTo>
                    <a:pt x="842" y="579"/>
                  </a:lnTo>
                  <a:lnTo>
                    <a:pt x="838" y="579"/>
                  </a:lnTo>
                  <a:lnTo>
                    <a:pt x="842" y="579"/>
                  </a:lnTo>
                  <a:lnTo>
                    <a:pt x="842" y="583"/>
                  </a:lnTo>
                  <a:lnTo>
                    <a:pt x="842" y="587"/>
                  </a:lnTo>
                  <a:lnTo>
                    <a:pt x="838" y="587"/>
                  </a:lnTo>
                  <a:lnTo>
                    <a:pt x="842" y="583"/>
                  </a:lnTo>
                  <a:lnTo>
                    <a:pt x="838" y="583"/>
                  </a:lnTo>
                  <a:lnTo>
                    <a:pt x="838" y="587"/>
                  </a:lnTo>
                  <a:lnTo>
                    <a:pt x="838" y="583"/>
                  </a:lnTo>
                  <a:lnTo>
                    <a:pt x="838" y="587"/>
                  </a:lnTo>
                  <a:lnTo>
                    <a:pt x="834" y="587"/>
                  </a:lnTo>
                  <a:lnTo>
                    <a:pt x="834" y="591"/>
                  </a:lnTo>
                  <a:lnTo>
                    <a:pt x="838" y="591"/>
                  </a:lnTo>
                  <a:lnTo>
                    <a:pt x="838" y="587"/>
                  </a:lnTo>
                  <a:lnTo>
                    <a:pt x="838" y="591"/>
                  </a:lnTo>
                  <a:lnTo>
                    <a:pt x="842" y="587"/>
                  </a:lnTo>
                  <a:lnTo>
                    <a:pt x="846" y="583"/>
                  </a:lnTo>
                  <a:lnTo>
                    <a:pt x="846" y="579"/>
                  </a:lnTo>
                  <a:lnTo>
                    <a:pt x="842" y="579"/>
                  </a:lnTo>
                  <a:lnTo>
                    <a:pt x="846" y="575"/>
                  </a:lnTo>
                  <a:lnTo>
                    <a:pt x="846" y="571"/>
                  </a:lnTo>
                  <a:lnTo>
                    <a:pt x="846" y="567"/>
                  </a:lnTo>
                  <a:lnTo>
                    <a:pt x="842" y="567"/>
                  </a:lnTo>
                  <a:lnTo>
                    <a:pt x="842" y="563"/>
                  </a:lnTo>
                  <a:lnTo>
                    <a:pt x="846" y="563"/>
                  </a:lnTo>
                  <a:lnTo>
                    <a:pt x="842" y="559"/>
                  </a:lnTo>
                  <a:lnTo>
                    <a:pt x="842" y="563"/>
                  </a:lnTo>
                  <a:lnTo>
                    <a:pt x="838" y="559"/>
                  </a:lnTo>
                  <a:lnTo>
                    <a:pt x="842" y="559"/>
                  </a:lnTo>
                  <a:lnTo>
                    <a:pt x="842" y="555"/>
                  </a:lnTo>
                  <a:lnTo>
                    <a:pt x="838" y="551"/>
                  </a:lnTo>
                  <a:lnTo>
                    <a:pt x="838" y="547"/>
                  </a:lnTo>
                  <a:lnTo>
                    <a:pt x="842" y="547"/>
                  </a:lnTo>
                  <a:lnTo>
                    <a:pt x="846" y="547"/>
                  </a:lnTo>
                  <a:lnTo>
                    <a:pt x="850" y="547"/>
                  </a:lnTo>
                  <a:lnTo>
                    <a:pt x="866" y="547"/>
                  </a:lnTo>
                  <a:lnTo>
                    <a:pt x="874" y="547"/>
                  </a:lnTo>
                  <a:lnTo>
                    <a:pt x="878" y="547"/>
                  </a:lnTo>
                  <a:lnTo>
                    <a:pt x="882" y="547"/>
                  </a:lnTo>
                  <a:lnTo>
                    <a:pt x="890" y="547"/>
                  </a:lnTo>
                  <a:lnTo>
                    <a:pt x="894" y="547"/>
                  </a:lnTo>
                  <a:lnTo>
                    <a:pt x="898" y="547"/>
                  </a:lnTo>
                  <a:lnTo>
                    <a:pt x="906" y="547"/>
                  </a:lnTo>
                  <a:lnTo>
                    <a:pt x="910" y="547"/>
                  </a:lnTo>
                  <a:lnTo>
                    <a:pt x="914" y="547"/>
                  </a:lnTo>
                  <a:lnTo>
                    <a:pt x="918" y="547"/>
                  </a:lnTo>
                  <a:lnTo>
                    <a:pt x="922" y="547"/>
                  </a:lnTo>
                  <a:lnTo>
                    <a:pt x="926" y="547"/>
                  </a:lnTo>
                  <a:lnTo>
                    <a:pt x="942" y="547"/>
                  </a:lnTo>
                  <a:lnTo>
                    <a:pt x="946" y="547"/>
                  </a:lnTo>
                  <a:lnTo>
                    <a:pt x="950" y="547"/>
                  </a:lnTo>
                  <a:lnTo>
                    <a:pt x="954" y="547"/>
                  </a:lnTo>
                  <a:lnTo>
                    <a:pt x="958" y="547"/>
                  </a:lnTo>
                  <a:lnTo>
                    <a:pt x="962" y="547"/>
                  </a:lnTo>
                  <a:lnTo>
                    <a:pt x="966" y="547"/>
                  </a:lnTo>
                  <a:lnTo>
                    <a:pt x="970" y="547"/>
                  </a:lnTo>
                  <a:lnTo>
                    <a:pt x="978" y="547"/>
                  </a:lnTo>
                  <a:lnTo>
                    <a:pt x="982" y="547"/>
                  </a:lnTo>
                  <a:lnTo>
                    <a:pt x="986" y="547"/>
                  </a:lnTo>
                  <a:lnTo>
                    <a:pt x="994" y="547"/>
                  </a:lnTo>
                  <a:lnTo>
                    <a:pt x="998" y="547"/>
                  </a:lnTo>
                  <a:lnTo>
                    <a:pt x="1002" y="547"/>
                  </a:lnTo>
                  <a:lnTo>
                    <a:pt x="1005" y="547"/>
                  </a:lnTo>
                  <a:lnTo>
                    <a:pt x="1009" y="547"/>
                  </a:lnTo>
                  <a:lnTo>
                    <a:pt x="1021" y="547"/>
                  </a:lnTo>
                  <a:lnTo>
                    <a:pt x="1025" y="547"/>
                  </a:lnTo>
                  <a:lnTo>
                    <a:pt x="1029" y="547"/>
                  </a:lnTo>
                  <a:lnTo>
                    <a:pt x="1033" y="547"/>
                  </a:lnTo>
                  <a:lnTo>
                    <a:pt x="1037" y="547"/>
                  </a:lnTo>
                  <a:lnTo>
                    <a:pt x="1041" y="547"/>
                  </a:lnTo>
                  <a:lnTo>
                    <a:pt x="1049" y="547"/>
                  </a:lnTo>
                  <a:lnTo>
                    <a:pt x="1053" y="547"/>
                  </a:lnTo>
                  <a:lnTo>
                    <a:pt x="1057" y="547"/>
                  </a:lnTo>
                  <a:lnTo>
                    <a:pt x="1061" y="547"/>
                  </a:lnTo>
                  <a:lnTo>
                    <a:pt x="1065" y="547"/>
                  </a:lnTo>
                  <a:lnTo>
                    <a:pt x="1069" y="547"/>
                  </a:lnTo>
                  <a:lnTo>
                    <a:pt x="1073" y="547"/>
                  </a:lnTo>
                  <a:lnTo>
                    <a:pt x="1081" y="547"/>
                  </a:lnTo>
                  <a:lnTo>
                    <a:pt x="1085" y="547"/>
                  </a:lnTo>
                  <a:lnTo>
                    <a:pt x="1089" y="547"/>
                  </a:lnTo>
                  <a:lnTo>
                    <a:pt x="1093" y="547"/>
                  </a:lnTo>
                  <a:lnTo>
                    <a:pt x="1097" y="547"/>
                  </a:lnTo>
                  <a:lnTo>
                    <a:pt x="1105" y="547"/>
                  </a:lnTo>
                  <a:lnTo>
                    <a:pt x="1109" y="547"/>
                  </a:lnTo>
                  <a:lnTo>
                    <a:pt x="1117" y="547"/>
                  </a:lnTo>
                  <a:lnTo>
                    <a:pt x="1121" y="547"/>
                  </a:lnTo>
                  <a:lnTo>
                    <a:pt x="1125" y="547"/>
                  </a:lnTo>
                  <a:lnTo>
                    <a:pt x="1129" y="547"/>
                  </a:lnTo>
                  <a:lnTo>
                    <a:pt x="1133" y="547"/>
                  </a:lnTo>
                  <a:lnTo>
                    <a:pt x="1137" y="547"/>
                  </a:lnTo>
                  <a:lnTo>
                    <a:pt x="1141" y="547"/>
                  </a:lnTo>
                  <a:lnTo>
                    <a:pt x="1145" y="547"/>
                  </a:lnTo>
                  <a:lnTo>
                    <a:pt x="1149" y="547"/>
                  </a:lnTo>
                  <a:lnTo>
                    <a:pt x="1161" y="547"/>
                  </a:lnTo>
                  <a:lnTo>
                    <a:pt x="1165" y="547"/>
                  </a:lnTo>
                  <a:lnTo>
                    <a:pt x="1177" y="547"/>
                  </a:lnTo>
                  <a:lnTo>
                    <a:pt x="1185" y="547"/>
                  </a:lnTo>
                  <a:lnTo>
                    <a:pt x="1193" y="547"/>
                  </a:lnTo>
                  <a:lnTo>
                    <a:pt x="1201" y="547"/>
                  </a:lnTo>
                  <a:lnTo>
                    <a:pt x="1205" y="547"/>
                  </a:lnTo>
                  <a:lnTo>
                    <a:pt x="1209" y="547"/>
                  </a:lnTo>
                  <a:lnTo>
                    <a:pt x="1213" y="547"/>
                  </a:lnTo>
                  <a:lnTo>
                    <a:pt x="1217" y="547"/>
                  </a:lnTo>
                  <a:lnTo>
                    <a:pt x="1221" y="547"/>
                  </a:lnTo>
                  <a:lnTo>
                    <a:pt x="1225" y="547"/>
                  </a:lnTo>
                  <a:lnTo>
                    <a:pt x="1253" y="547"/>
                  </a:lnTo>
                  <a:lnTo>
                    <a:pt x="1257" y="547"/>
                  </a:lnTo>
                  <a:lnTo>
                    <a:pt x="1257" y="543"/>
                  </a:lnTo>
                  <a:lnTo>
                    <a:pt x="1257" y="539"/>
                  </a:lnTo>
                  <a:lnTo>
                    <a:pt x="1261" y="539"/>
                  </a:lnTo>
                  <a:lnTo>
                    <a:pt x="1261" y="543"/>
                  </a:lnTo>
                  <a:lnTo>
                    <a:pt x="1261" y="547"/>
                  </a:lnTo>
                  <a:lnTo>
                    <a:pt x="1265" y="547"/>
                  </a:lnTo>
                  <a:lnTo>
                    <a:pt x="1265" y="551"/>
                  </a:lnTo>
                  <a:lnTo>
                    <a:pt x="1265" y="555"/>
                  </a:lnTo>
                  <a:lnTo>
                    <a:pt x="1269" y="555"/>
                  </a:lnTo>
                  <a:lnTo>
                    <a:pt x="1273" y="555"/>
                  </a:lnTo>
                  <a:lnTo>
                    <a:pt x="1277" y="555"/>
                  </a:lnTo>
                  <a:lnTo>
                    <a:pt x="1277" y="559"/>
                  </a:lnTo>
                  <a:lnTo>
                    <a:pt x="1281" y="559"/>
                  </a:lnTo>
                  <a:lnTo>
                    <a:pt x="1285" y="555"/>
                  </a:lnTo>
                  <a:lnTo>
                    <a:pt x="1289" y="555"/>
                  </a:lnTo>
                  <a:lnTo>
                    <a:pt x="1293" y="559"/>
                  </a:lnTo>
                  <a:lnTo>
                    <a:pt x="1297" y="559"/>
                  </a:lnTo>
                  <a:lnTo>
                    <a:pt x="1297" y="563"/>
                  </a:lnTo>
                  <a:lnTo>
                    <a:pt x="1301" y="567"/>
                  </a:lnTo>
                  <a:lnTo>
                    <a:pt x="1301" y="563"/>
                  </a:lnTo>
                  <a:lnTo>
                    <a:pt x="1305" y="563"/>
                  </a:lnTo>
                  <a:lnTo>
                    <a:pt x="1305" y="567"/>
                  </a:lnTo>
                  <a:lnTo>
                    <a:pt x="1309" y="567"/>
                  </a:lnTo>
                  <a:lnTo>
                    <a:pt x="1313" y="567"/>
                  </a:lnTo>
                  <a:lnTo>
                    <a:pt x="1313" y="571"/>
                  </a:lnTo>
                  <a:lnTo>
                    <a:pt x="1313" y="567"/>
                  </a:lnTo>
                  <a:lnTo>
                    <a:pt x="1317" y="567"/>
                  </a:lnTo>
                  <a:lnTo>
                    <a:pt x="1321" y="567"/>
                  </a:lnTo>
                  <a:lnTo>
                    <a:pt x="1321" y="563"/>
                  </a:lnTo>
                  <a:lnTo>
                    <a:pt x="1321" y="567"/>
                  </a:lnTo>
                  <a:lnTo>
                    <a:pt x="1325" y="567"/>
                  </a:lnTo>
                  <a:lnTo>
                    <a:pt x="1329" y="567"/>
                  </a:lnTo>
                  <a:lnTo>
                    <a:pt x="1333" y="567"/>
                  </a:lnTo>
                  <a:lnTo>
                    <a:pt x="1333" y="571"/>
                  </a:lnTo>
                  <a:lnTo>
                    <a:pt x="1337" y="571"/>
                  </a:lnTo>
                  <a:lnTo>
                    <a:pt x="1341" y="571"/>
                  </a:lnTo>
                  <a:lnTo>
                    <a:pt x="1345" y="571"/>
                  </a:lnTo>
                  <a:lnTo>
                    <a:pt x="1349" y="567"/>
                  </a:lnTo>
                  <a:lnTo>
                    <a:pt x="1353" y="563"/>
                  </a:lnTo>
                  <a:lnTo>
                    <a:pt x="1357" y="563"/>
                  </a:lnTo>
                  <a:lnTo>
                    <a:pt x="1360" y="563"/>
                  </a:lnTo>
                  <a:lnTo>
                    <a:pt x="1372" y="571"/>
                  </a:lnTo>
                  <a:lnTo>
                    <a:pt x="1376" y="571"/>
                  </a:lnTo>
                  <a:lnTo>
                    <a:pt x="1376" y="575"/>
                  </a:lnTo>
                  <a:lnTo>
                    <a:pt x="1380" y="575"/>
                  </a:lnTo>
                  <a:lnTo>
                    <a:pt x="1384" y="579"/>
                  </a:lnTo>
                  <a:lnTo>
                    <a:pt x="1388" y="579"/>
                  </a:lnTo>
                  <a:lnTo>
                    <a:pt x="1392" y="583"/>
                  </a:lnTo>
                  <a:lnTo>
                    <a:pt x="1396" y="583"/>
                  </a:lnTo>
                  <a:lnTo>
                    <a:pt x="1396" y="587"/>
                  </a:lnTo>
                  <a:lnTo>
                    <a:pt x="1400" y="587"/>
                  </a:lnTo>
                  <a:lnTo>
                    <a:pt x="1404" y="587"/>
                  </a:lnTo>
                  <a:lnTo>
                    <a:pt x="1404" y="591"/>
                  </a:lnTo>
                  <a:lnTo>
                    <a:pt x="1412" y="595"/>
                  </a:lnTo>
                  <a:lnTo>
                    <a:pt x="1412" y="599"/>
                  </a:lnTo>
                  <a:lnTo>
                    <a:pt x="1416" y="603"/>
                  </a:lnTo>
                  <a:lnTo>
                    <a:pt x="1420" y="603"/>
                  </a:lnTo>
                  <a:lnTo>
                    <a:pt x="1424" y="603"/>
                  </a:lnTo>
                  <a:lnTo>
                    <a:pt x="1424" y="607"/>
                  </a:lnTo>
                  <a:lnTo>
                    <a:pt x="1424" y="611"/>
                  </a:lnTo>
                  <a:lnTo>
                    <a:pt x="1428" y="611"/>
                  </a:lnTo>
                  <a:lnTo>
                    <a:pt x="1432" y="611"/>
                  </a:lnTo>
                  <a:lnTo>
                    <a:pt x="1432" y="615"/>
                  </a:lnTo>
                  <a:lnTo>
                    <a:pt x="1432" y="619"/>
                  </a:lnTo>
                  <a:lnTo>
                    <a:pt x="1436" y="619"/>
                  </a:lnTo>
                  <a:lnTo>
                    <a:pt x="1440" y="623"/>
                  </a:lnTo>
                  <a:lnTo>
                    <a:pt x="1444" y="627"/>
                  </a:lnTo>
                  <a:lnTo>
                    <a:pt x="1448" y="627"/>
                  </a:lnTo>
                  <a:lnTo>
                    <a:pt x="1448" y="639"/>
                  </a:lnTo>
                  <a:lnTo>
                    <a:pt x="1452" y="647"/>
                  </a:lnTo>
                  <a:lnTo>
                    <a:pt x="1452" y="659"/>
                  </a:lnTo>
                  <a:lnTo>
                    <a:pt x="1452" y="667"/>
                  </a:lnTo>
                  <a:lnTo>
                    <a:pt x="1452" y="671"/>
                  </a:lnTo>
                  <a:lnTo>
                    <a:pt x="1452" y="675"/>
                  </a:lnTo>
                  <a:lnTo>
                    <a:pt x="1448" y="675"/>
                  </a:lnTo>
                  <a:lnTo>
                    <a:pt x="1448" y="679"/>
                  </a:lnTo>
                  <a:lnTo>
                    <a:pt x="1448" y="683"/>
                  </a:lnTo>
                  <a:lnTo>
                    <a:pt x="1448" y="687"/>
                  </a:lnTo>
                  <a:lnTo>
                    <a:pt x="1444" y="687"/>
                  </a:lnTo>
                  <a:lnTo>
                    <a:pt x="1444" y="690"/>
                  </a:lnTo>
                  <a:lnTo>
                    <a:pt x="1440" y="690"/>
                  </a:lnTo>
                  <a:lnTo>
                    <a:pt x="1440" y="694"/>
                  </a:lnTo>
                  <a:lnTo>
                    <a:pt x="1436" y="698"/>
                  </a:lnTo>
                  <a:lnTo>
                    <a:pt x="1440" y="698"/>
                  </a:lnTo>
                  <a:lnTo>
                    <a:pt x="1440" y="702"/>
                  </a:lnTo>
                  <a:lnTo>
                    <a:pt x="1444" y="706"/>
                  </a:lnTo>
                  <a:lnTo>
                    <a:pt x="1448" y="706"/>
                  </a:lnTo>
                  <a:lnTo>
                    <a:pt x="1452" y="702"/>
                  </a:lnTo>
                  <a:lnTo>
                    <a:pt x="1456" y="698"/>
                  </a:lnTo>
                  <a:lnTo>
                    <a:pt x="1460" y="698"/>
                  </a:lnTo>
                  <a:lnTo>
                    <a:pt x="1464" y="694"/>
                  </a:lnTo>
                  <a:lnTo>
                    <a:pt x="1468" y="694"/>
                  </a:lnTo>
                  <a:lnTo>
                    <a:pt x="1472" y="694"/>
                  </a:lnTo>
                  <a:lnTo>
                    <a:pt x="1476" y="690"/>
                  </a:lnTo>
                  <a:lnTo>
                    <a:pt x="1484" y="690"/>
                  </a:lnTo>
                  <a:lnTo>
                    <a:pt x="1488" y="687"/>
                  </a:lnTo>
                  <a:lnTo>
                    <a:pt x="1492" y="687"/>
                  </a:lnTo>
                  <a:lnTo>
                    <a:pt x="1496" y="683"/>
                  </a:lnTo>
                  <a:lnTo>
                    <a:pt x="1500" y="683"/>
                  </a:lnTo>
                  <a:lnTo>
                    <a:pt x="1500" y="679"/>
                  </a:lnTo>
                  <a:lnTo>
                    <a:pt x="1504" y="679"/>
                  </a:lnTo>
                  <a:lnTo>
                    <a:pt x="1500" y="679"/>
                  </a:lnTo>
                  <a:lnTo>
                    <a:pt x="1500" y="675"/>
                  </a:lnTo>
                  <a:lnTo>
                    <a:pt x="1500" y="671"/>
                  </a:lnTo>
                  <a:lnTo>
                    <a:pt x="1500" y="667"/>
                  </a:lnTo>
                  <a:lnTo>
                    <a:pt x="1504" y="663"/>
                  </a:lnTo>
                  <a:lnTo>
                    <a:pt x="1512" y="663"/>
                  </a:lnTo>
                  <a:lnTo>
                    <a:pt x="1516" y="663"/>
                  </a:lnTo>
                  <a:lnTo>
                    <a:pt x="1520" y="663"/>
                  </a:lnTo>
                  <a:lnTo>
                    <a:pt x="1524" y="663"/>
                  </a:lnTo>
                  <a:lnTo>
                    <a:pt x="1528" y="663"/>
                  </a:lnTo>
                  <a:lnTo>
                    <a:pt x="1532" y="663"/>
                  </a:lnTo>
                  <a:lnTo>
                    <a:pt x="1536" y="663"/>
                  </a:lnTo>
                  <a:lnTo>
                    <a:pt x="1536" y="659"/>
                  </a:lnTo>
                  <a:lnTo>
                    <a:pt x="1540" y="659"/>
                  </a:lnTo>
                  <a:lnTo>
                    <a:pt x="1540" y="655"/>
                  </a:lnTo>
                  <a:lnTo>
                    <a:pt x="1544" y="651"/>
                  </a:lnTo>
                  <a:lnTo>
                    <a:pt x="1548" y="651"/>
                  </a:lnTo>
                  <a:lnTo>
                    <a:pt x="1548" y="647"/>
                  </a:lnTo>
                  <a:lnTo>
                    <a:pt x="1552" y="647"/>
                  </a:lnTo>
                  <a:lnTo>
                    <a:pt x="1552" y="643"/>
                  </a:lnTo>
                  <a:lnTo>
                    <a:pt x="1556" y="639"/>
                  </a:lnTo>
                  <a:lnTo>
                    <a:pt x="1560" y="639"/>
                  </a:lnTo>
                  <a:lnTo>
                    <a:pt x="1560" y="635"/>
                  </a:lnTo>
                  <a:lnTo>
                    <a:pt x="1564" y="635"/>
                  </a:lnTo>
                  <a:lnTo>
                    <a:pt x="1568" y="635"/>
                  </a:lnTo>
                  <a:lnTo>
                    <a:pt x="1572" y="635"/>
                  </a:lnTo>
                  <a:lnTo>
                    <a:pt x="1580" y="635"/>
                  </a:lnTo>
                  <a:lnTo>
                    <a:pt x="1584" y="635"/>
                  </a:lnTo>
                  <a:lnTo>
                    <a:pt x="1588" y="635"/>
                  </a:lnTo>
                  <a:lnTo>
                    <a:pt x="1592" y="635"/>
                  </a:lnTo>
                  <a:lnTo>
                    <a:pt x="1596" y="635"/>
                  </a:lnTo>
                  <a:lnTo>
                    <a:pt x="1600" y="635"/>
                  </a:lnTo>
                  <a:lnTo>
                    <a:pt x="1604" y="635"/>
                  </a:lnTo>
                  <a:lnTo>
                    <a:pt x="1608" y="635"/>
                  </a:lnTo>
                  <a:lnTo>
                    <a:pt x="1612" y="635"/>
                  </a:lnTo>
                  <a:lnTo>
                    <a:pt x="1616" y="635"/>
                  </a:lnTo>
                  <a:lnTo>
                    <a:pt x="1616" y="631"/>
                  </a:lnTo>
                  <a:lnTo>
                    <a:pt x="1616" y="627"/>
                  </a:lnTo>
                  <a:lnTo>
                    <a:pt x="1620" y="627"/>
                  </a:lnTo>
                  <a:lnTo>
                    <a:pt x="1620" y="631"/>
                  </a:lnTo>
                  <a:lnTo>
                    <a:pt x="1620" y="627"/>
                  </a:lnTo>
                  <a:lnTo>
                    <a:pt x="1624" y="631"/>
                  </a:lnTo>
                  <a:lnTo>
                    <a:pt x="1628" y="627"/>
                  </a:lnTo>
                  <a:lnTo>
                    <a:pt x="1628" y="623"/>
                  </a:lnTo>
                  <a:lnTo>
                    <a:pt x="1628" y="619"/>
                  </a:lnTo>
                  <a:lnTo>
                    <a:pt x="1632" y="619"/>
                  </a:lnTo>
                  <a:lnTo>
                    <a:pt x="1632" y="615"/>
                  </a:lnTo>
                  <a:lnTo>
                    <a:pt x="1632" y="611"/>
                  </a:lnTo>
                  <a:lnTo>
                    <a:pt x="1632" y="607"/>
                  </a:lnTo>
                  <a:lnTo>
                    <a:pt x="1636" y="607"/>
                  </a:lnTo>
                  <a:lnTo>
                    <a:pt x="1636" y="603"/>
                  </a:lnTo>
                  <a:lnTo>
                    <a:pt x="1636" y="599"/>
                  </a:lnTo>
                  <a:lnTo>
                    <a:pt x="1640" y="595"/>
                  </a:lnTo>
                  <a:lnTo>
                    <a:pt x="1640" y="591"/>
                  </a:lnTo>
                  <a:lnTo>
                    <a:pt x="1644" y="591"/>
                  </a:lnTo>
                  <a:lnTo>
                    <a:pt x="1648" y="587"/>
                  </a:lnTo>
                  <a:lnTo>
                    <a:pt x="1648" y="583"/>
                  </a:lnTo>
                  <a:lnTo>
                    <a:pt x="1652" y="583"/>
                  </a:lnTo>
                  <a:lnTo>
                    <a:pt x="1652" y="587"/>
                  </a:lnTo>
                  <a:lnTo>
                    <a:pt x="1656" y="587"/>
                  </a:lnTo>
                  <a:lnTo>
                    <a:pt x="1660" y="587"/>
                  </a:lnTo>
                  <a:lnTo>
                    <a:pt x="1664" y="583"/>
                  </a:lnTo>
                  <a:lnTo>
                    <a:pt x="1668" y="587"/>
                  </a:lnTo>
                  <a:lnTo>
                    <a:pt x="1668" y="591"/>
                  </a:lnTo>
                  <a:lnTo>
                    <a:pt x="1672" y="591"/>
                  </a:lnTo>
                  <a:lnTo>
                    <a:pt x="1672" y="595"/>
                  </a:lnTo>
                  <a:lnTo>
                    <a:pt x="1672" y="607"/>
                  </a:lnTo>
                  <a:lnTo>
                    <a:pt x="1672" y="615"/>
                  </a:lnTo>
                  <a:lnTo>
                    <a:pt x="1672" y="619"/>
                  </a:lnTo>
                  <a:lnTo>
                    <a:pt x="1672" y="623"/>
                  </a:lnTo>
                  <a:lnTo>
                    <a:pt x="1676" y="623"/>
                  </a:lnTo>
                  <a:lnTo>
                    <a:pt x="1676" y="627"/>
                  </a:lnTo>
                  <a:lnTo>
                    <a:pt x="1676" y="631"/>
                  </a:lnTo>
                  <a:lnTo>
                    <a:pt x="1680" y="631"/>
                  </a:lnTo>
                  <a:lnTo>
                    <a:pt x="1680" y="635"/>
                  </a:lnTo>
                  <a:lnTo>
                    <a:pt x="1684" y="635"/>
                  </a:lnTo>
                  <a:lnTo>
                    <a:pt x="1680" y="635"/>
                  </a:lnTo>
                  <a:lnTo>
                    <a:pt x="1680" y="639"/>
                  </a:lnTo>
                  <a:lnTo>
                    <a:pt x="1684" y="639"/>
                  </a:lnTo>
                  <a:lnTo>
                    <a:pt x="1680" y="643"/>
                  </a:lnTo>
                  <a:lnTo>
                    <a:pt x="1676" y="643"/>
                  </a:lnTo>
                  <a:lnTo>
                    <a:pt x="1672" y="647"/>
                  </a:lnTo>
                  <a:lnTo>
                    <a:pt x="1672" y="643"/>
                  </a:lnTo>
                  <a:lnTo>
                    <a:pt x="1668" y="647"/>
                  </a:lnTo>
                  <a:lnTo>
                    <a:pt x="1668" y="651"/>
                  </a:lnTo>
                  <a:lnTo>
                    <a:pt x="1668" y="647"/>
                  </a:lnTo>
                  <a:lnTo>
                    <a:pt x="1664" y="647"/>
                  </a:lnTo>
                  <a:lnTo>
                    <a:pt x="1660" y="647"/>
                  </a:lnTo>
                  <a:lnTo>
                    <a:pt x="1660" y="651"/>
                  </a:lnTo>
                  <a:lnTo>
                    <a:pt x="1656" y="651"/>
                  </a:lnTo>
                  <a:lnTo>
                    <a:pt x="1656" y="647"/>
                  </a:lnTo>
                  <a:lnTo>
                    <a:pt x="1656" y="643"/>
                  </a:lnTo>
                  <a:lnTo>
                    <a:pt x="1656" y="647"/>
                  </a:lnTo>
                  <a:lnTo>
                    <a:pt x="1652" y="647"/>
                  </a:lnTo>
                  <a:lnTo>
                    <a:pt x="1652" y="651"/>
                  </a:lnTo>
                  <a:lnTo>
                    <a:pt x="1652" y="655"/>
                  </a:lnTo>
                  <a:lnTo>
                    <a:pt x="1648" y="659"/>
                  </a:lnTo>
                  <a:lnTo>
                    <a:pt x="1648" y="655"/>
                  </a:lnTo>
                  <a:lnTo>
                    <a:pt x="1644" y="659"/>
                  </a:lnTo>
                  <a:lnTo>
                    <a:pt x="1644" y="655"/>
                  </a:lnTo>
                  <a:lnTo>
                    <a:pt x="1644" y="659"/>
                  </a:lnTo>
                  <a:lnTo>
                    <a:pt x="1644" y="655"/>
                  </a:lnTo>
                  <a:lnTo>
                    <a:pt x="1644" y="659"/>
                  </a:lnTo>
                  <a:lnTo>
                    <a:pt x="1640" y="659"/>
                  </a:lnTo>
                  <a:lnTo>
                    <a:pt x="1644" y="659"/>
                  </a:lnTo>
                  <a:lnTo>
                    <a:pt x="1640" y="663"/>
                  </a:lnTo>
                  <a:lnTo>
                    <a:pt x="1640" y="659"/>
                  </a:lnTo>
                  <a:lnTo>
                    <a:pt x="1640" y="655"/>
                  </a:lnTo>
                  <a:lnTo>
                    <a:pt x="1640" y="659"/>
                  </a:lnTo>
                  <a:lnTo>
                    <a:pt x="1640" y="663"/>
                  </a:lnTo>
                  <a:lnTo>
                    <a:pt x="1640" y="659"/>
                  </a:lnTo>
                  <a:lnTo>
                    <a:pt x="1636" y="659"/>
                  </a:lnTo>
                  <a:lnTo>
                    <a:pt x="1636" y="663"/>
                  </a:lnTo>
                  <a:lnTo>
                    <a:pt x="1632" y="663"/>
                  </a:lnTo>
                  <a:lnTo>
                    <a:pt x="1636" y="663"/>
                  </a:lnTo>
                  <a:lnTo>
                    <a:pt x="1636" y="667"/>
                  </a:lnTo>
                  <a:lnTo>
                    <a:pt x="1632" y="667"/>
                  </a:lnTo>
                  <a:lnTo>
                    <a:pt x="1632" y="671"/>
                  </a:lnTo>
                  <a:lnTo>
                    <a:pt x="1628" y="671"/>
                  </a:lnTo>
                  <a:lnTo>
                    <a:pt x="1628" y="675"/>
                  </a:lnTo>
                  <a:lnTo>
                    <a:pt x="1628" y="679"/>
                  </a:lnTo>
                  <a:lnTo>
                    <a:pt x="1624" y="679"/>
                  </a:lnTo>
                  <a:lnTo>
                    <a:pt x="1624" y="683"/>
                  </a:lnTo>
                  <a:lnTo>
                    <a:pt x="1628" y="687"/>
                  </a:lnTo>
                  <a:lnTo>
                    <a:pt x="1628" y="683"/>
                  </a:lnTo>
                  <a:lnTo>
                    <a:pt x="1628" y="687"/>
                  </a:lnTo>
                  <a:lnTo>
                    <a:pt x="1624" y="687"/>
                  </a:lnTo>
                  <a:lnTo>
                    <a:pt x="1620" y="690"/>
                  </a:lnTo>
                  <a:lnTo>
                    <a:pt x="1624" y="694"/>
                  </a:lnTo>
                  <a:lnTo>
                    <a:pt x="1628" y="694"/>
                  </a:lnTo>
                  <a:lnTo>
                    <a:pt x="1628" y="698"/>
                  </a:lnTo>
                  <a:lnTo>
                    <a:pt x="1628" y="702"/>
                  </a:lnTo>
                  <a:lnTo>
                    <a:pt x="1632" y="702"/>
                  </a:lnTo>
                  <a:lnTo>
                    <a:pt x="1632" y="706"/>
                  </a:lnTo>
                  <a:lnTo>
                    <a:pt x="1636" y="702"/>
                  </a:lnTo>
                  <a:lnTo>
                    <a:pt x="1636" y="698"/>
                  </a:lnTo>
                  <a:lnTo>
                    <a:pt x="1632" y="698"/>
                  </a:lnTo>
                  <a:lnTo>
                    <a:pt x="1636" y="698"/>
                  </a:lnTo>
                  <a:lnTo>
                    <a:pt x="1640" y="698"/>
                  </a:lnTo>
                  <a:lnTo>
                    <a:pt x="1640" y="702"/>
                  </a:lnTo>
                  <a:lnTo>
                    <a:pt x="1640" y="706"/>
                  </a:lnTo>
                  <a:lnTo>
                    <a:pt x="1636" y="706"/>
                  </a:lnTo>
                  <a:lnTo>
                    <a:pt x="1632" y="706"/>
                  </a:lnTo>
                  <a:lnTo>
                    <a:pt x="1628" y="706"/>
                  </a:lnTo>
                  <a:lnTo>
                    <a:pt x="1628" y="702"/>
                  </a:lnTo>
                  <a:lnTo>
                    <a:pt x="1624" y="706"/>
                  </a:lnTo>
                  <a:lnTo>
                    <a:pt x="1620" y="710"/>
                  </a:lnTo>
                  <a:lnTo>
                    <a:pt x="1620" y="706"/>
                  </a:lnTo>
                  <a:lnTo>
                    <a:pt x="1620" y="702"/>
                  </a:lnTo>
                  <a:lnTo>
                    <a:pt x="1620" y="706"/>
                  </a:lnTo>
                  <a:lnTo>
                    <a:pt x="1616" y="706"/>
                  </a:lnTo>
                  <a:lnTo>
                    <a:pt x="1616" y="702"/>
                  </a:lnTo>
                  <a:lnTo>
                    <a:pt x="1616" y="706"/>
                  </a:lnTo>
                  <a:lnTo>
                    <a:pt x="1616" y="710"/>
                  </a:lnTo>
                  <a:lnTo>
                    <a:pt x="1612" y="710"/>
                  </a:lnTo>
                  <a:lnTo>
                    <a:pt x="1612" y="714"/>
                  </a:lnTo>
                  <a:lnTo>
                    <a:pt x="1608" y="714"/>
                  </a:lnTo>
                  <a:lnTo>
                    <a:pt x="1608" y="710"/>
                  </a:lnTo>
                  <a:lnTo>
                    <a:pt x="1604" y="714"/>
                  </a:lnTo>
                  <a:lnTo>
                    <a:pt x="1600" y="714"/>
                  </a:lnTo>
                  <a:lnTo>
                    <a:pt x="1596" y="714"/>
                  </a:lnTo>
                  <a:lnTo>
                    <a:pt x="1592" y="714"/>
                  </a:lnTo>
                  <a:lnTo>
                    <a:pt x="1588" y="714"/>
                  </a:lnTo>
                  <a:lnTo>
                    <a:pt x="1588" y="718"/>
                  </a:lnTo>
                  <a:lnTo>
                    <a:pt x="1584" y="718"/>
                  </a:lnTo>
                  <a:lnTo>
                    <a:pt x="1580" y="718"/>
                  </a:lnTo>
                  <a:lnTo>
                    <a:pt x="1580" y="722"/>
                  </a:lnTo>
                  <a:lnTo>
                    <a:pt x="1576" y="722"/>
                  </a:lnTo>
                  <a:lnTo>
                    <a:pt x="1580" y="722"/>
                  </a:lnTo>
                  <a:lnTo>
                    <a:pt x="1580" y="718"/>
                  </a:lnTo>
                  <a:lnTo>
                    <a:pt x="1580" y="714"/>
                  </a:lnTo>
                  <a:lnTo>
                    <a:pt x="1576" y="714"/>
                  </a:lnTo>
                  <a:lnTo>
                    <a:pt x="1580" y="714"/>
                  </a:lnTo>
                  <a:lnTo>
                    <a:pt x="1580" y="718"/>
                  </a:lnTo>
                  <a:lnTo>
                    <a:pt x="1576" y="722"/>
                  </a:lnTo>
                  <a:lnTo>
                    <a:pt x="1576" y="726"/>
                  </a:lnTo>
                  <a:lnTo>
                    <a:pt x="1572" y="726"/>
                  </a:lnTo>
                  <a:lnTo>
                    <a:pt x="1572" y="730"/>
                  </a:lnTo>
                  <a:lnTo>
                    <a:pt x="1576" y="730"/>
                  </a:lnTo>
                  <a:lnTo>
                    <a:pt x="1576" y="734"/>
                  </a:lnTo>
                  <a:lnTo>
                    <a:pt x="1576" y="738"/>
                  </a:lnTo>
                  <a:lnTo>
                    <a:pt x="1576" y="746"/>
                  </a:lnTo>
                  <a:lnTo>
                    <a:pt x="1576" y="742"/>
                  </a:lnTo>
                  <a:lnTo>
                    <a:pt x="1576" y="738"/>
                  </a:lnTo>
                  <a:lnTo>
                    <a:pt x="1576" y="742"/>
                  </a:lnTo>
                  <a:lnTo>
                    <a:pt x="1576" y="746"/>
                  </a:lnTo>
                  <a:lnTo>
                    <a:pt x="1572" y="746"/>
                  </a:lnTo>
                  <a:lnTo>
                    <a:pt x="1572" y="750"/>
                  </a:lnTo>
                  <a:lnTo>
                    <a:pt x="1568" y="750"/>
                  </a:lnTo>
                  <a:lnTo>
                    <a:pt x="1568" y="754"/>
                  </a:lnTo>
                  <a:lnTo>
                    <a:pt x="1572" y="754"/>
                  </a:lnTo>
                  <a:lnTo>
                    <a:pt x="1568" y="754"/>
                  </a:lnTo>
                  <a:lnTo>
                    <a:pt x="1568" y="758"/>
                  </a:lnTo>
                  <a:lnTo>
                    <a:pt x="1564" y="758"/>
                  </a:lnTo>
                  <a:lnTo>
                    <a:pt x="1564" y="762"/>
                  </a:lnTo>
                  <a:lnTo>
                    <a:pt x="1564" y="758"/>
                  </a:lnTo>
                  <a:lnTo>
                    <a:pt x="1560" y="758"/>
                  </a:lnTo>
                  <a:lnTo>
                    <a:pt x="1560" y="754"/>
                  </a:lnTo>
                  <a:lnTo>
                    <a:pt x="1556" y="754"/>
                  </a:lnTo>
                  <a:lnTo>
                    <a:pt x="1552" y="750"/>
                  </a:lnTo>
                  <a:lnTo>
                    <a:pt x="1552" y="746"/>
                  </a:lnTo>
                  <a:lnTo>
                    <a:pt x="1556" y="746"/>
                  </a:lnTo>
                  <a:lnTo>
                    <a:pt x="1556" y="742"/>
                  </a:lnTo>
                  <a:lnTo>
                    <a:pt x="1560" y="742"/>
                  </a:lnTo>
                  <a:lnTo>
                    <a:pt x="1560" y="738"/>
                  </a:lnTo>
                  <a:lnTo>
                    <a:pt x="1560" y="742"/>
                  </a:lnTo>
                  <a:lnTo>
                    <a:pt x="1556" y="742"/>
                  </a:lnTo>
                  <a:lnTo>
                    <a:pt x="1556" y="746"/>
                  </a:lnTo>
                  <a:lnTo>
                    <a:pt x="1552" y="746"/>
                  </a:lnTo>
                  <a:lnTo>
                    <a:pt x="1552" y="750"/>
                  </a:lnTo>
                  <a:lnTo>
                    <a:pt x="1556" y="754"/>
                  </a:lnTo>
                  <a:lnTo>
                    <a:pt x="1556" y="758"/>
                  </a:lnTo>
                  <a:lnTo>
                    <a:pt x="1556" y="762"/>
                  </a:lnTo>
                  <a:lnTo>
                    <a:pt x="1560" y="766"/>
                  </a:lnTo>
                  <a:lnTo>
                    <a:pt x="1560" y="770"/>
                  </a:lnTo>
                  <a:lnTo>
                    <a:pt x="1560" y="774"/>
                  </a:lnTo>
                  <a:lnTo>
                    <a:pt x="1560" y="770"/>
                  </a:lnTo>
                  <a:lnTo>
                    <a:pt x="1560" y="774"/>
                  </a:lnTo>
                  <a:lnTo>
                    <a:pt x="1560" y="778"/>
                  </a:lnTo>
                  <a:lnTo>
                    <a:pt x="1556" y="778"/>
                  </a:lnTo>
                  <a:lnTo>
                    <a:pt x="1556" y="782"/>
                  </a:lnTo>
                  <a:lnTo>
                    <a:pt x="1556" y="786"/>
                  </a:lnTo>
                  <a:lnTo>
                    <a:pt x="1552" y="786"/>
                  </a:lnTo>
                  <a:lnTo>
                    <a:pt x="1552" y="790"/>
                  </a:lnTo>
                  <a:lnTo>
                    <a:pt x="1548" y="794"/>
                  </a:lnTo>
                  <a:lnTo>
                    <a:pt x="1548" y="798"/>
                  </a:lnTo>
                  <a:lnTo>
                    <a:pt x="1548" y="794"/>
                  </a:lnTo>
                  <a:lnTo>
                    <a:pt x="1548" y="790"/>
                  </a:lnTo>
                  <a:lnTo>
                    <a:pt x="1548" y="786"/>
                  </a:lnTo>
                  <a:lnTo>
                    <a:pt x="1552" y="786"/>
                  </a:lnTo>
                  <a:lnTo>
                    <a:pt x="1552" y="782"/>
                  </a:lnTo>
                  <a:lnTo>
                    <a:pt x="1548" y="782"/>
                  </a:lnTo>
                  <a:lnTo>
                    <a:pt x="1548" y="778"/>
                  </a:lnTo>
                  <a:lnTo>
                    <a:pt x="1548" y="774"/>
                  </a:lnTo>
                  <a:lnTo>
                    <a:pt x="1548" y="778"/>
                  </a:lnTo>
                  <a:lnTo>
                    <a:pt x="1544" y="778"/>
                  </a:lnTo>
                  <a:lnTo>
                    <a:pt x="1544" y="774"/>
                  </a:lnTo>
                  <a:lnTo>
                    <a:pt x="1540" y="770"/>
                  </a:lnTo>
                  <a:lnTo>
                    <a:pt x="1544" y="770"/>
                  </a:lnTo>
                  <a:lnTo>
                    <a:pt x="1548" y="770"/>
                  </a:lnTo>
                  <a:lnTo>
                    <a:pt x="1548" y="766"/>
                  </a:lnTo>
                  <a:lnTo>
                    <a:pt x="1548" y="770"/>
                  </a:lnTo>
                  <a:lnTo>
                    <a:pt x="1544" y="770"/>
                  </a:lnTo>
                  <a:lnTo>
                    <a:pt x="1544" y="766"/>
                  </a:lnTo>
                  <a:lnTo>
                    <a:pt x="1540" y="766"/>
                  </a:lnTo>
                  <a:lnTo>
                    <a:pt x="1544" y="762"/>
                  </a:lnTo>
                  <a:lnTo>
                    <a:pt x="1544" y="766"/>
                  </a:lnTo>
                  <a:lnTo>
                    <a:pt x="1544" y="762"/>
                  </a:lnTo>
                  <a:lnTo>
                    <a:pt x="1540" y="762"/>
                  </a:lnTo>
                  <a:lnTo>
                    <a:pt x="1540" y="758"/>
                  </a:lnTo>
                  <a:lnTo>
                    <a:pt x="1544" y="762"/>
                  </a:lnTo>
                  <a:lnTo>
                    <a:pt x="1544" y="758"/>
                  </a:lnTo>
                  <a:lnTo>
                    <a:pt x="1544" y="754"/>
                  </a:lnTo>
                  <a:lnTo>
                    <a:pt x="1548" y="754"/>
                  </a:lnTo>
                  <a:lnTo>
                    <a:pt x="1548" y="750"/>
                  </a:lnTo>
                  <a:lnTo>
                    <a:pt x="1548" y="746"/>
                  </a:lnTo>
                  <a:lnTo>
                    <a:pt x="1544" y="750"/>
                  </a:lnTo>
                  <a:lnTo>
                    <a:pt x="1544" y="754"/>
                  </a:lnTo>
                  <a:lnTo>
                    <a:pt x="1544" y="750"/>
                  </a:lnTo>
                  <a:lnTo>
                    <a:pt x="1540" y="754"/>
                  </a:lnTo>
                  <a:close/>
                  <a:moveTo>
                    <a:pt x="834" y="555"/>
                  </a:moveTo>
                  <a:lnTo>
                    <a:pt x="834" y="559"/>
                  </a:lnTo>
                  <a:lnTo>
                    <a:pt x="834" y="555"/>
                  </a:lnTo>
                  <a:close/>
                  <a:moveTo>
                    <a:pt x="882" y="862"/>
                  </a:moveTo>
                  <a:lnTo>
                    <a:pt x="886" y="862"/>
                  </a:lnTo>
                  <a:lnTo>
                    <a:pt x="882" y="862"/>
                  </a:lnTo>
                  <a:close/>
                  <a:moveTo>
                    <a:pt x="204" y="128"/>
                  </a:moveTo>
                  <a:lnTo>
                    <a:pt x="200" y="128"/>
                  </a:lnTo>
                  <a:lnTo>
                    <a:pt x="192" y="132"/>
                  </a:lnTo>
                  <a:lnTo>
                    <a:pt x="196" y="128"/>
                  </a:lnTo>
                  <a:lnTo>
                    <a:pt x="200" y="128"/>
                  </a:lnTo>
                  <a:lnTo>
                    <a:pt x="204" y="128"/>
                  </a:lnTo>
                  <a:close/>
                  <a:moveTo>
                    <a:pt x="180" y="136"/>
                  </a:moveTo>
                  <a:lnTo>
                    <a:pt x="176" y="140"/>
                  </a:lnTo>
                  <a:lnTo>
                    <a:pt x="176" y="136"/>
                  </a:lnTo>
                  <a:lnTo>
                    <a:pt x="180" y="136"/>
                  </a:lnTo>
                  <a:close/>
                  <a:moveTo>
                    <a:pt x="240" y="204"/>
                  </a:moveTo>
                  <a:lnTo>
                    <a:pt x="236" y="204"/>
                  </a:lnTo>
                  <a:lnTo>
                    <a:pt x="240" y="204"/>
                  </a:lnTo>
                  <a:close/>
                  <a:moveTo>
                    <a:pt x="455" y="275"/>
                  </a:moveTo>
                  <a:lnTo>
                    <a:pt x="455" y="279"/>
                  </a:lnTo>
                  <a:lnTo>
                    <a:pt x="455" y="275"/>
                  </a:lnTo>
                  <a:lnTo>
                    <a:pt x="451" y="275"/>
                  </a:lnTo>
                  <a:lnTo>
                    <a:pt x="455" y="275"/>
                  </a:lnTo>
                  <a:close/>
                  <a:moveTo>
                    <a:pt x="88" y="287"/>
                  </a:moveTo>
                  <a:lnTo>
                    <a:pt x="88" y="283"/>
                  </a:lnTo>
                  <a:lnTo>
                    <a:pt x="84" y="283"/>
                  </a:lnTo>
                  <a:lnTo>
                    <a:pt x="80" y="283"/>
                  </a:lnTo>
                  <a:lnTo>
                    <a:pt x="76" y="279"/>
                  </a:lnTo>
                  <a:lnTo>
                    <a:pt x="80" y="279"/>
                  </a:lnTo>
                  <a:lnTo>
                    <a:pt x="80" y="283"/>
                  </a:lnTo>
                  <a:lnTo>
                    <a:pt x="84" y="283"/>
                  </a:lnTo>
                  <a:lnTo>
                    <a:pt x="88" y="283"/>
                  </a:lnTo>
                  <a:lnTo>
                    <a:pt x="88" y="287"/>
                  </a:lnTo>
                  <a:close/>
                  <a:moveTo>
                    <a:pt x="499" y="283"/>
                  </a:moveTo>
                  <a:lnTo>
                    <a:pt x="499" y="287"/>
                  </a:lnTo>
                  <a:lnTo>
                    <a:pt x="499" y="283"/>
                  </a:lnTo>
                  <a:close/>
                  <a:moveTo>
                    <a:pt x="455" y="283"/>
                  </a:moveTo>
                  <a:lnTo>
                    <a:pt x="455" y="287"/>
                  </a:lnTo>
                  <a:lnTo>
                    <a:pt x="455" y="283"/>
                  </a:lnTo>
                  <a:close/>
                  <a:moveTo>
                    <a:pt x="455" y="287"/>
                  </a:moveTo>
                  <a:lnTo>
                    <a:pt x="455" y="291"/>
                  </a:lnTo>
                  <a:lnTo>
                    <a:pt x="451" y="291"/>
                  </a:lnTo>
                  <a:lnTo>
                    <a:pt x="455" y="291"/>
                  </a:lnTo>
                  <a:lnTo>
                    <a:pt x="455" y="287"/>
                  </a:lnTo>
                  <a:close/>
                  <a:moveTo>
                    <a:pt x="515" y="295"/>
                  </a:moveTo>
                  <a:lnTo>
                    <a:pt x="511" y="295"/>
                  </a:lnTo>
                  <a:lnTo>
                    <a:pt x="507" y="295"/>
                  </a:lnTo>
                  <a:lnTo>
                    <a:pt x="507" y="299"/>
                  </a:lnTo>
                  <a:lnTo>
                    <a:pt x="507" y="295"/>
                  </a:lnTo>
                  <a:lnTo>
                    <a:pt x="511" y="295"/>
                  </a:lnTo>
                  <a:lnTo>
                    <a:pt x="511" y="291"/>
                  </a:lnTo>
                  <a:lnTo>
                    <a:pt x="515" y="291"/>
                  </a:lnTo>
                  <a:lnTo>
                    <a:pt x="515" y="295"/>
                  </a:lnTo>
                  <a:close/>
                  <a:moveTo>
                    <a:pt x="260" y="327"/>
                  </a:moveTo>
                  <a:lnTo>
                    <a:pt x="260" y="323"/>
                  </a:lnTo>
                  <a:lnTo>
                    <a:pt x="264" y="323"/>
                  </a:lnTo>
                  <a:lnTo>
                    <a:pt x="260" y="327"/>
                  </a:lnTo>
                  <a:close/>
                  <a:moveTo>
                    <a:pt x="662" y="335"/>
                  </a:moveTo>
                  <a:lnTo>
                    <a:pt x="658" y="335"/>
                  </a:lnTo>
                  <a:lnTo>
                    <a:pt x="658" y="331"/>
                  </a:lnTo>
                  <a:lnTo>
                    <a:pt x="662" y="335"/>
                  </a:lnTo>
                  <a:close/>
                  <a:moveTo>
                    <a:pt x="120" y="363"/>
                  </a:moveTo>
                  <a:lnTo>
                    <a:pt x="116" y="363"/>
                  </a:lnTo>
                  <a:lnTo>
                    <a:pt x="116" y="359"/>
                  </a:lnTo>
                  <a:lnTo>
                    <a:pt x="120" y="359"/>
                  </a:lnTo>
                  <a:lnTo>
                    <a:pt x="120" y="363"/>
                  </a:lnTo>
                  <a:close/>
                  <a:moveTo>
                    <a:pt x="128" y="375"/>
                  </a:moveTo>
                  <a:lnTo>
                    <a:pt x="132" y="375"/>
                  </a:lnTo>
                  <a:lnTo>
                    <a:pt x="128" y="375"/>
                  </a:lnTo>
                  <a:close/>
                  <a:moveTo>
                    <a:pt x="363" y="375"/>
                  </a:moveTo>
                  <a:lnTo>
                    <a:pt x="359" y="375"/>
                  </a:lnTo>
                  <a:lnTo>
                    <a:pt x="363" y="375"/>
                  </a:lnTo>
                  <a:close/>
                  <a:moveTo>
                    <a:pt x="367" y="375"/>
                  </a:moveTo>
                  <a:lnTo>
                    <a:pt x="363" y="375"/>
                  </a:lnTo>
                  <a:lnTo>
                    <a:pt x="367" y="375"/>
                  </a:lnTo>
                  <a:close/>
                  <a:moveTo>
                    <a:pt x="343" y="391"/>
                  </a:moveTo>
                  <a:lnTo>
                    <a:pt x="343" y="395"/>
                  </a:lnTo>
                  <a:lnTo>
                    <a:pt x="339" y="395"/>
                  </a:lnTo>
                  <a:lnTo>
                    <a:pt x="339" y="391"/>
                  </a:lnTo>
                  <a:lnTo>
                    <a:pt x="343" y="391"/>
                  </a:lnTo>
                  <a:close/>
                  <a:moveTo>
                    <a:pt x="678" y="391"/>
                  </a:moveTo>
                  <a:lnTo>
                    <a:pt x="678" y="395"/>
                  </a:lnTo>
                  <a:lnTo>
                    <a:pt x="678" y="391"/>
                  </a:lnTo>
                  <a:close/>
                  <a:moveTo>
                    <a:pt x="1576" y="726"/>
                  </a:moveTo>
                  <a:lnTo>
                    <a:pt x="1576" y="730"/>
                  </a:lnTo>
                  <a:lnTo>
                    <a:pt x="1572" y="730"/>
                  </a:lnTo>
                  <a:lnTo>
                    <a:pt x="1572" y="726"/>
                  </a:lnTo>
                  <a:lnTo>
                    <a:pt x="1576" y="726"/>
                  </a:lnTo>
                  <a:close/>
                  <a:moveTo>
                    <a:pt x="1552" y="838"/>
                  </a:moveTo>
                  <a:lnTo>
                    <a:pt x="1552" y="834"/>
                  </a:lnTo>
                  <a:lnTo>
                    <a:pt x="1556" y="834"/>
                  </a:lnTo>
                  <a:lnTo>
                    <a:pt x="1556" y="830"/>
                  </a:lnTo>
                  <a:lnTo>
                    <a:pt x="1552" y="826"/>
                  </a:lnTo>
                  <a:lnTo>
                    <a:pt x="1556" y="826"/>
                  </a:lnTo>
                  <a:lnTo>
                    <a:pt x="1556" y="830"/>
                  </a:lnTo>
                  <a:lnTo>
                    <a:pt x="1556" y="834"/>
                  </a:lnTo>
                  <a:lnTo>
                    <a:pt x="1552" y="838"/>
                  </a:lnTo>
                  <a:close/>
                  <a:moveTo>
                    <a:pt x="1476" y="974"/>
                  </a:moveTo>
                  <a:lnTo>
                    <a:pt x="1476" y="970"/>
                  </a:lnTo>
                  <a:lnTo>
                    <a:pt x="1476" y="974"/>
                  </a:lnTo>
                  <a:close/>
                  <a:moveTo>
                    <a:pt x="1480" y="982"/>
                  </a:moveTo>
                  <a:lnTo>
                    <a:pt x="1480" y="986"/>
                  </a:lnTo>
                  <a:lnTo>
                    <a:pt x="1480" y="990"/>
                  </a:lnTo>
                  <a:lnTo>
                    <a:pt x="1484" y="994"/>
                  </a:lnTo>
                  <a:lnTo>
                    <a:pt x="1484" y="998"/>
                  </a:lnTo>
                  <a:lnTo>
                    <a:pt x="1484" y="994"/>
                  </a:lnTo>
                  <a:lnTo>
                    <a:pt x="1480" y="990"/>
                  </a:lnTo>
                  <a:lnTo>
                    <a:pt x="1480" y="986"/>
                  </a:lnTo>
                  <a:lnTo>
                    <a:pt x="1480" y="982"/>
                  </a:lnTo>
                  <a:close/>
                  <a:moveTo>
                    <a:pt x="1225" y="990"/>
                  </a:moveTo>
                  <a:lnTo>
                    <a:pt x="1225" y="994"/>
                  </a:lnTo>
                  <a:lnTo>
                    <a:pt x="1221" y="994"/>
                  </a:lnTo>
                  <a:lnTo>
                    <a:pt x="1225" y="990"/>
                  </a:lnTo>
                  <a:lnTo>
                    <a:pt x="1225" y="986"/>
                  </a:lnTo>
                  <a:lnTo>
                    <a:pt x="1229" y="982"/>
                  </a:lnTo>
                  <a:lnTo>
                    <a:pt x="1229" y="986"/>
                  </a:lnTo>
                  <a:lnTo>
                    <a:pt x="1225" y="986"/>
                  </a:lnTo>
                  <a:lnTo>
                    <a:pt x="1225" y="990"/>
                  </a:lnTo>
                  <a:close/>
                  <a:moveTo>
                    <a:pt x="1225" y="1006"/>
                  </a:moveTo>
                  <a:lnTo>
                    <a:pt x="1225" y="1002"/>
                  </a:lnTo>
                  <a:lnTo>
                    <a:pt x="1221" y="1002"/>
                  </a:lnTo>
                  <a:lnTo>
                    <a:pt x="1221" y="998"/>
                  </a:lnTo>
                  <a:lnTo>
                    <a:pt x="1221" y="994"/>
                  </a:lnTo>
                  <a:lnTo>
                    <a:pt x="1221" y="998"/>
                  </a:lnTo>
                  <a:lnTo>
                    <a:pt x="1225" y="1002"/>
                  </a:lnTo>
                  <a:lnTo>
                    <a:pt x="1225" y="1006"/>
                  </a:lnTo>
                  <a:lnTo>
                    <a:pt x="1225" y="1010"/>
                  </a:lnTo>
                  <a:lnTo>
                    <a:pt x="1225" y="1014"/>
                  </a:lnTo>
                  <a:lnTo>
                    <a:pt x="1225" y="1018"/>
                  </a:lnTo>
                  <a:lnTo>
                    <a:pt x="1225" y="1014"/>
                  </a:lnTo>
                  <a:lnTo>
                    <a:pt x="1225" y="1010"/>
                  </a:lnTo>
                  <a:lnTo>
                    <a:pt x="1225" y="1006"/>
                  </a:lnTo>
                  <a:close/>
                  <a:moveTo>
                    <a:pt x="140" y="216"/>
                  </a:moveTo>
                  <a:lnTo>
                    <a:pt x="136" y="216"/>
                  </a:lnTo>
                  <a:lnTo>
                    <a:pt x="132" y="216"/>
                  </a:lnTo>
                  <a:lnTo>
                    <a:pt x="128" y="220"/>
                  </a:lnTo>
                  <a:lnTo>
                    <a:pt x="128" y="216"/>
                  </a:lnTo>
                  <a:lnTo>
                    <a:pt x="124" y="216"/>
                  </a:lnTo>
                  <a:lnTo>
                    <a:pt x="120" y="216"/>
                  </a:lnTo>
                  <a:lnTo>
                    <a:pt x="120" y="212"/>
                  </a:lnTo>
                  <a:lnTo>
                    <a:pt x="116" y="208"/>
                  </a:lnTo>
                  <a:lnTo>
                    <a:pt x="112" y="208"/>
                  </a:lnTo>
                  <a:lnTo>
                    <a:pt x="108" y="208"/>
                  </a:lnTo>
                  <a:lnTo>
                    <a:pt x="112" y="208"/>
                  </a:lnTo>
                  <a:lnTo>
                    <a:pt x="116" y="208"/>
                  </a:lnTo>
                  <a:lnTo>
                    <a:pt x="116" y="212"/>
                  </a:lnTo>
                  <a:lnTo>
                    <a:pt x="120" y="212"/>
                  </a:lnTo>
                  <a:lnTo>
                    <a:pt x="116" y="212"/>
                  </a:lnTo>
                  <a:lnTo>
                    <a:pt x="112" y="208"/>
                  </a:lnTo>
                  <a:lnTo>
                    <a:pt x="108" y="208"/>
                  </a:lnTo>
                  <a:lnTo>
                    <a:pt x="104" y="208"/>
                  </a:lnTo>
                  <a:lnTo>
                    <a:pt x="104" y="212"/>
                  </a:lnTo>
                  <a:lnTo>
                    <a:pt x="100" y="212"/>
                  </a:lnTo>
                  <a:lnTo>
                    <a:pt x="96" y="212"/>
                  </a:lnTo>
                  <a:lnTo>
                    <a:pt x="96" y="208"/>
                  </a:lnTo>
                  <a:lnTo>
                    <a:pt x="96" y="204"/>
                  </a:lnTo>
                  <a:lnTo>
                    <a:pt x="96" y="200"/>
                  </a:lnTo>
                  <a:lnTo>
                    <a:pt x="100" y="200"/>
                  </a:lnTo>
                  <a:lnTo>
                    <a:pt x="100" y="204"/>
                  </a:lnTo>
                  <a:lnTo>
                    <a:pt x="104" y="204"/>
                  </a:lnTo>
                  <a:lnTo>
                    <a:pt x="108" y="204"/>
                  </a:lnTo>
                  <a:lnTo>
                    <a:pt x="112" y="204"/>
                  </a:lnTo>
                  <a:lnTo>
                    <a:pt x="116" y="200"/>
                  </a:lnTo>
                  <a:lnTo>
                    <a:pt x="120" y="200"/>
                  </a:lnTo>
                  <a:lnTo>
                    <a:pt x="120" y="204"/>
                  </a:lnTo>
                  <a:lnTo>
                    <a:pt x="124" y="204"/>
                  </a:lnTo>
                  <a:lnTo>
                    <a:pt x="124" y="208"/>
                  </a:lnTo>
                  <a:lnTo>
                    <a:pt x="128" y="208"/>
                  </a:lnTo>
                  <a:lnTo>
                    <a:pt x="132" y="208"/>
                  </a:lnTo>
                  <a:lnTo>
                    <a:pt x="132" y="212"/>
                  </a:lnTo>
                  <a:lnTo>
                    <a:pt x="136" y="212"/>
                  </a:lnTo>
                  <a:lnTo>
                    <a:pt x="140" y="212"/>
                  </a:lnTo>
                  <a:lnTo>
                    <a:pt x="144" y="212"/>
                  </a:lnTo>
                  <a:lnTo>
                    <a:pt x="140" y="216"/>
                  </a:lnTo>
                  <a:close/>
                  <a:moveTo>
                    <a:pt x="455" y="271"/>
                  </a:moveTo>
                  <a:lnTo>
                    <a:pt x="459" y="271"/>
                  </a:lnTo>
                  <a:lnTo>
                    <a:pt x="455" y="275"/>
                  </a:lnTo>
                  <a:lnTo>
                    <a:pt x="455" y="271"/>
                  </a:lnTo>
                  <a:close/>
                  <a:moveTo>
                    <a:pt x="491" y="279"/>
                  </a:moveTo>
                  <a:lnTo>
                    <a:pt x="487" y="279"/>
                  </a:lnTo>
                  <a:lnTo>
                    <a:pt x="483" y="283"/>
                  </a:lnTo>
                  <a:lnTo>
                    <a:pt x="483" y="279"/>
                  </a:lnTo>
                  <a:lnTo>
                    <a:pt x="487" y="279"/>
                  </a:lnTo>
                  <a:lnTo>
                    <a:pt x="491" y="279"/>
                  </a:lnTo>
                  <a:close/>
                  <a:moveTo>
                    <a:pt x="487" y="283"/>
                  </a:moveTo>
                  <a:lnTo>
                    <a:pt x="483" y="283"/>
                  </a:lnTo>
                  <a:lnTo>
                    <a:pt x="479" y="283"/>
                  </a:lnTo>
                  <a:lnTo>
                    <a:pt x="479" y="287"/>
                  </a:lnTo>
                  <a:lnTo>
                    <a:pt x="475" y="287"/>
                  </a:lnTo>
                  <a:lnTo>
                    <a:pt x="479" y="287"/>
                  </a:lnTo>
                  <a:lnTo>
                    <a:pt x="479" y="283"/>
                  </a:lnTo>
                  <a:lnTo>
                    <a:pt x="475" y="283"/>
                  </a:lnTo>
                  <a:lnTo>
                    <a:pt x="479" y="283"/>
                  </a:lnTo>
                  <a:lnTo>
                    <a:pt x="479" y="279"/>
                  </a:lnTo>
                  <a:lnTo>
                    <a:pt x="479" y="283"/>
                  </a:lnTo>
                  <a:lnTo>
                    <a:pt x="483" y="283"/>
                  </a:lnTo>
                  <a:lnTo>
                    <a:pt x="487" y="283"/>
                  </a:lnTo>
                  <a:close/>
                  <a:moveTo>
                    <a:pt x="184" y="283"/>
                  </a:moveTo>
                  <a:lnTo>
                    <a:pt x="188" y="283"/>
                  </a:lnTo>
                  <a:lnTo>
                    <a:pt x="188" y="287"/>
                  </a:lnTo>
                  <a:lnTo>
                    <a:pt x="188" y="291"/>
                  </a:lnTo>
                  <a:lnTo>
                    <a:pt x="192" y="295"/>
                  </a:lnTo>
                  <a:lnTo>
                    <a:pt x="188" y="295"/>
                  </a:lnTo>
                  <a:lnTo>
                    <a:pt x="184" y="295"/>
                  </a:lnTo>
                  <a:lnTo>
                    <a:pt x="180" y="295"/>
                  </a:lnTo>
                  <a:lnTo>
                    <a:pt x="180" y="299"/>
                  </a:lnTo>
                  <a:lnTo>
                    <a:pt x="184" y="299"/>
                  </a:lnTo>
                  <a:lnTo>
                    <a:pt x="180" y="299"/>
                  </a:lnTo>
                  <a:lnTo>
                    <a:pt x="176" y="295"/>
                  </a:lnTo>
                  <a:lnTo>
                    <a:pt x="168" y="295"/>
                  </a:lnTo>
                  <a:lnTo>
                    <a:pt x="168" y="291"/>
                  </a:lnTo>
                  <a:lnTo>
                    <a:pt x="164" y="291"/>
                  </a:lnTo>
                  <a:lnTo>
                    <a:pt x="164" y="287"/>
                  </a:lnTo>
                  <a:lnTo>
                    <a:pt x="168" y="287"/>
                  </a:lnTo>
                  <a:lnTo>
                    <a:pt x="172" y="287"/>
                  </a:lnTo>
                  <a:lnTo>
                    <a:pt x="172" y="283"/>
                  </a:lnTo>
                  <a:lnTo>
                    <a:pt x="176" y="283"/>
                  </a:lnTo>
                  <a:lnTo>
                    <a:pt x="180" y="283"/>
                  </a:lnTo>
                  <a:lnTo>
                    <a:pt x="184" y="283"/>
                  </a:lnTo>
                  <a:close/>
                  <a:moveTo>
                    <a:pt x="471" y="287"/>
                  </a:moveTo>
                  <a:lnTo>
                    <a:pt x="467" y="287"/>
                  </a:lnTo>
                  <a:lnTo>
                    <a:pt x="467" y="291"/>
                  </a:lnTo>
                  <a:lnTo>
                    <a:pt x="463" y="295"/>
                  </a:lnTo>
                  <a:lnTo>
                    <a:pt x="459" y="299"/>
                  </a:lnTo>
                  <a:lnTo>
                    <a:pt x="459" y="295"/>
                  </a:lnTo>
                  <a:lnTo>
                    <a:pt x="463" y="291"/>
                  </a:lnTo>
                  <a:lnTo>
                    <a:pt x="467" y="291"/>
                  </a:lnTo>
                  <a:lnTo>
                    <a:pt x="467" y="287"/>
                  </a:lnTo>
                  <a:lnTo>
                    <a:pt x="467" y="283"/>
                  </a:lnTo>
                  <a:lnTo>
                    <a:pt x="471" y="283"/>
                  </a:lnTo>
                  <a:lnTo>
                    <a:pt x="471" y="287"/>
                  </a:lnTo>
                  <a:close/>
                  <a:moveTo>
                    <a:pt x="459" y="291"/>
                  </a:moveTo>
                  <a:lnTo>
                    <a:pt x="455" y="291"/>
                  </a:lnTo>
                  <a:lnTo>
                    <a:pt x="459" y="287"/>
                  </a:lnTo>
                  <a:lnTo>
                    <a:pt x="459" y="291"/>
                  </a:lnTo>
                  <a:close/>
                  <a:moveTo>
                    <a:pt x="459" y="291"/>
                  </a:moveTo>
                  <a:lnTo>
                    <a:pt x="459" y="295"/>
                  </a:lnTo>
                  <a:lnTo>
                    <a:pt x="455" y="295"/>
                  </a:lnTo>
                  <a:lnTo>
                    <a:pt x="455" y="291"/>
                  </a:lnTo>
                  <a:lnTo>
                    <a:pt x="459" y="291"/>
                  </a:lnTo>
                  <a:close/>
                  <a:moveTo>
                    <a:pt x="375" y="307"/>
                  </a:moveTo>
                  <a:lnTo>
                    <a:pt x="375" y="311"/>
                  </a:lnTo>
                  <a:lnTo>
                    <a:pt x="371" y="311"/>
                  </a:lnTo>
                  <a:lnTo>
                    <a:pt x="371" y="307"/>
                  </a:lnTo>
                  <a:lnTo>
                    <a:pt x="375" y="307"/>
                  </a:lnTo>
                  <a:close/>
                  <a:moveTo>
                    <a:pt x="415" y="307"/>
                  </a:moveTo>
                  <a:lnTo>
                    <a:pt x="415" y="311"/>
                  </a:lnTo>
                  <a:lnTo>
                    <a:pt x="415" y="307"/>
                  </a:lnTo>
                  <a:close/>
                  <a:moveTo>
                    <a:pt x="391" y="327"/>
                  </a:moveTo>
                  <a:lnTo>
                    <a:pt x="387" y="331"/>
                  </a:lnTo>
                  <a:lnTo>
                    <a:pt x="387" y="327"/>
                  </a:lnTo>
                  <a:lnTo>
                    <a:pt x="391" y="327"/>
                  </a:lnTo>
                  <a:close/>
                  <a:moveTo>
                    <a:pt x="387" y="339"/>
                  </a:moveTo>
                  <a:lnTo>
                    <a:pt x="383" y="343"/>
                  </a:lnTo>
                  <a:lnTo>
                    <a:pt x="383" y="339"/>
                  </a:lnTo>
                  <a:lnTo>
                    <a:pt x="379" y="339"/>
                  </a:lnTo>
                  <a:lnTo>
                    <a:pt x="379" y="335"/>
                  </a:lnTo>
                  <a:lnTo>
                    <a:pt x="383" y="339"/>
                  </a:lnTo>
                  <a:lnTo>
                    <a:pt x="383" y="335"/>
                  </a:lnTo>
                  <a:lnTo>
                    <a:pt x="379" y="335"/>
                  </a:lnTo>
                  <a:lnTo>
                    <a:pt x="383" y="335"/>
                  </a:lnTo>
                  <a:lnTo>
                    <a:pt x="383" y="331"/>
                  </a:lnTo>
                  <a:lnTo>
                    <a:pt x="387" y="331"/>
                  </a:lnTo>
                  <a:lnTo>
                    <a:pt x="391" y="331"/>
                  </a:lnTo>
                  <a:lnTo>
                    <a:pt x="395" y="331"/>
                  </a:lnTo>
                  <a:lnTo>
                    <a:pt x="395" y="335"/>
                  </a:lnTo>
                  <a:lnTo>
                    <a:pt x="395" y="339"/>
                  </a:lnTo>
                  <a:lnTo>
                    <a:pt x="391" y="335"/>
                  </a:lnTo>
                  <a:lnTo>
                    <a:pt x="391" y="339"/>
                  </a:lnTo>
                  <a:lnTo>
                    <a:pt x="387" y="339"/>
                  </a:lnTo>
                  <a:close/>
                  <a:moveTo>
                    <a:pt x="670" y="355"/>
                  </a:moveTo>
                  <a:lnTo>
                    <a:pt x="666" y="355"/>
                  </a:lnTo>
                  <a:lnTo>
                    <a:pt x="670" y="355"/>
                  </a:lnTo>
                  <a:lnTo>
                    <a:pt x="670" y="359"/>
                  </a:lnTo>
                  <a:lnTo>
                    <a:pt x="666" y="359"/>
                  </a:lnTo>
                  <a:lnTo>
                    <a:pt x="666" y="355"/>
                  </a:lnTo>
                  <a:lnTo>
                    <a:pt x="666" y="359"/>
                  </a:lnTo>
                  <a:lnTo>
                    <a:pt x="662" y="363"/>
                  </a:lnTo>
                  <a:lnTo>
                    <a:pt x="658" y="363"/>
                  </a:lnTo>
                  <a:lnTo>
                    <a:pt x="658" y="359"/>
                  </a:lnTo>
                  <a:lnTo>
                    <a:pt x="662" y="355"/>
                  </a:lnTo>
                  <a:lnTo>
                    <a:pt x="662" y="359"/>
                  </a:lnTo>
                  <a:lnTo>
                    <a:pt x="662" y="355"/>
                  </a:lnTo>
                  <a:lnTo>
                    <a:pt x="658" y="355"/>
                  </a:lnTo>
                  <a:lnTo>
                    <a:pt x="662" y="355"/>
                  </a:lnTo>
                  <a:lnTo>
                    <a:pt x="662" y="351"/>
                  </a:lnTo>
                  <a:lnTo>
                    <a:pt x="658" y="351"/>
                  </a:lnTo>
                  <a:lnTo>
                    <a:pt x="658" y="347"/>
                  </a:lnTo>
                  <a:lnTo>
                    <a:pt x="658" y="339"/>
                  </a:lnTo>
                  <a:lnTo>
                    <a:pt x="654" y="335"/>
                  </a:lnTo>
                  <a:lnTo>
                    <a:pt x="654" y="331"/>
                  </a:lnTo>
                  <a:lnTo>
                    <a:pt x="654" y="335"/>
                  </a:lnTo>
                  <a:lnTo>
                    <a:pt x="658" y="335"/>
                  </a:lnTo>
                  <a:lnTo>
                    <a:pt x="658" y="339"/>
                  </a:lnTo>
                  <a:lnTo>
                    <a:pt x="658" y="335"/>
                  </a:lnTo>
                  <a:lnTo>
                    <a:pt x="662" y="335"/>
                  </a:lnTo>
                  <a:lnTo>
                    <a:pt x="662" y="339"/>
                  </a:lnTo>
                  <a:lnTo>
                    <a:pt x="666" y="339"/>
                  </a:lnTo>
                  <a:lnTo>
                    <a:pt x="666" y="343"/>
                  </a:lnTo>
                  <a:lnTo>
                    <a:pt x="670" y="347"/>
                  </a:lnTo>
                  <a:lnTo>
                    <a:pt x="670" y="351"/>
                  </a:lnTo>
                  <a:lnTo>
                    <a:pt x="670" y="347"/>
                  </a:lnTo>
                  <a:lnTo>
                    <a:pt x="666" y="347"/>
                  </a:lnTo>
                  <a:lnTo>
                    <a:pt x="666" y="343"/>
                  </a:lnTo>
                  <a:lnTo>
                    <a:pt x="666" y="339"/>
                  </a:lnTo>
                  <a:lnTo>
                    <a:pt x="662" y="339"/>
                  </a:lnTo>
                  <a:lnTo>
                    <a:pt x="662" y="343"/>
                  </a:lnTo>
                  <a:lnTo>
                    <a:pt x="666" y="343"/>
                  </a:lnTo>
                  <a:lnTo>
                    <a:pt x="666" y="347"/>
                  </a:lnTo>
                  <a:lnTo>
                    <a:pt x="666" y="351"/>
                  </a:lnTo>
                  <a:lnTo>
                    <a:pt x="670" y="351"/>
                  </a:lnTo>
                  <a:lnTo>
                    <a:pt x="670" y="355"/>
                  </a:lnTo>
                  <a:close/>
                  <a:moveTo>
                    <a:pt x="635" y="347"/>
                  </a:moveTo>
                  <a:lnTo>
                    <a:pt x="631" y="347"/>
                  </a:lnTo>
                  <a:lnTo>
                    <a:pt x="635" y="343"/>
                  </a:lnTo>
                  <a:lnTo>
                    <a:pt x="639" y="343"/>
                  </a:lnTo>
                  <a:lnTo>
                    <a:pt x="635" y="343"/>
                  </a:lnTo>
                  <a:lnTo>
                    <a:pt x="631" y="339"/>
                  </a:lnTo>
                  <a:lnTo>
                    <a:pt x="635" y="335"/>
                  </a:lnTo>
                  <a:lnTo>
                    <a:pt x="635" y="339"/>
                  </a:lnTo>
                  <a:lnTo>
                    <a:pt x="635" y="335"/>
                  </a:lnTo>
                  <a:lnTo>
                    <a:pt x="639" y="335"/>
                  </a:lnTo>
                  <a:lnTo>
                    <a:pt x="643" y="335"/>
                  </a:lnTo>
                  <a:lnTo>
                    <a:pt x="647" y="335"/>
                  </a:lnTo>
                  <a:lnTo>
                    <a:pt x="647" y="339"/>
                  </a:lnTo>
                  <a:lnTo>
                    <a:pt x="643" y="339"/>
                  </a:lnTo>
                  <a:lnTo>
                    <a:pt x="643" y="343"/>
                  </a:lnTo>
                  <a:lnTo>
                    <a:pt x="647" y="343"/>
                  </a:lnTo>
                  <a:lnTo>
                    <a:pt x="647" y="339"/>
                  </a:lnTo>
                  <a:lnTo>
                    <a:pt x="651" y="339"/>
                  </a:lnTo>
                  <a:lnTo>
                    <a:pt x="654" y="339"/>
                  </a:lnTo>
                  <a:lnTo>
                    <a:pt x="654" y="343"/>
                  </a:lnTo>
                  <a:lnTo>
                    <a:pt x="651" y="343"/>
                  </a:lnTo>
                  <a:lnTo>
                    <a:pt x="654" y="343"/>
                  </a:lnTo>
                  <a:lnTo>
                    <a:pt x="654" y="347"/>
                  </a:lnTo>
                  <a:lnTo>
                    <a:pt x="651" y="347"/>
                  </a:lnTo>
                  <a:lnTo>
                    <a:pt x="647" y="347"/>
                  </a:lnTo>
                  <a:lnTo>
                    <a:pt x="647" y="343"/>
                  </a:lnTo>
                  <a:lnTo>
                    <a:pt x="643" y="343"/>
                  </a:lnTo>
                  <a:lnTo>
                    <a:pt x="639" y="343"/>
                  </a:lnTo>
                  <a:lnTo>
                    <a:pt x="643" y="343"/>
                  </a:lnTo>
                  <a:lnTo>
                    <a:pt x="647" y="343"/>
                  </a:lnTo>
                  <a:lnTo>
                    <a:pt x="647" y="347"/>
                  </a:lnTo>
                  <a:lnTo>
                    <a:pt x="651" y="347"/>
                  </a:lnTo>
                  <a:lnTo>
                    <a:pt x="654" y="347"/>
                  </a:lnTo>
                  <a:lnTo>
                    <a:pt x="654" y="351"/>
                  </a:lnTo>
                  <a:lnTo>
                    <a:pt x="654" y="355"/>
                  </a:lnTo>
                  <a:lnTo>
                    <a:pt x="651" y="355"/>
                  </a:lnTo>
                  <a:lnTo>
                    <a:pt x="651" y="351"/>
                  </a:lnTo>
                  <a:lnTo>
                    <a:pt x="647" y="351"/>
                  </a:lnTo>
                  <a:lnTo>
                    <a:pt x="647" y="347"/>
                  </a:lnTo>
                  <a:lnTo>
                    <a:pt x="643" y="347"/>
                  </a:lnTo>
                  <a:lnTo>
                    <a:pt x="643" y="351"/>
                  </a:lnTo>
                  <a:lnTo>
                    <a:pt x="647" y="351"/>
                  </a:lnTo>
                  <a:lnTo>
                    <a:pt x="647" y="355"/>
                  </a:lnTo>
                  <a:lnTo>
                    <a:pt x="643" y="355"/>
                  </a:lnTo>
                  <a:lnTo>
                    <a:pt x="639" y="355"/>
                  </a:lnTo>
                  <a:lnTo>
                    <a:pt x="639" y="351"/>
                  </a:lnTo>
                  <a:lnTo>
                    <a:pt x="639" y="355"/>
                  </a:lnTo>
                  <a:lnTo>
                    <a:pt x="643" y="355"/>
                  </a:lnTo>
                  <a:lnTo>
                    <a:pt x="639" y="351"/>
                  </a:lnTo>
                  <a:lnTo>
                    <a:pt x="635" y="347"/>
                  </a:lnTo>
                  <a:close/>
                  <a:moveTo>
                    <a:pt x="375" y="339"/>
                  </a:moveTo>
                  <a:lnTo>
                    <a:pt x="379" y="339"/>
                  </a:lnTo>
                  <a:lnTo>
                    <a:pt x="383" y="339"/>
                  </a:lnTo>
                  <a:lnTo>
                    <a:pt x="383" y="343"/>
                  </a:lnTo>
                  <a:lnTo>
                    <a:pt x="379" y="343"/>
                  </a:lnTo>
                  <a:lnTo>
                    <a:pt x="379" y="339"/>
                  </a:lnTo>
                  <a:lnTo>
                    <a:pt x="375" y="339"/>
                  </a:lnTo>
                  <a:close/>
                  <a:moveTo>
                    <a:pt x="631" y="339"/>
                  </a:moveTo>
                  <a:lnTo>
                    <a:pt x="635" y="339"/>
                  </a:lnTo>
                  <a:lnTo>
                    <a:pt x="635" y="343"/>
                  </a:lnTo>
                  <a:lnTo>
                    <a:pt x="631" y="343"/>
                  </a:lnTo>
                  <a:lnTo>
                    <a:pt x="631" y="339"/>
                  </a:lnTo>
                  <a:close/>
                  <a:moveTo>
                    <a:pt x="371" y="351"/>
                  </a:moveTo>
                  <a:lnTo>
                    <a:pt x="371" y="347"/>
                  </a:lnTo>
                  <a:lnTo>
                    <a:pt x="367" y="347"/>
                  </a:lnTo>
                  <a:lnTo>
                    <a:pt x="371" y="343"/>
                  </a:lnTo>
                  <a:lnTo>
                    <a:pt x="371" y="347"/>
                  </a:lnTo>
                  <a:lnTo>
                    <a:pt x="371" y="351"/>
                  </a:lnTo>
                  <a:lnTo>
                    <a:pt x="375" y="347"/>
                  </a:lnTo>
                  <a:lnTo>
                    <a:pt x="375" y="343"/>
                  </a:lnTo>
                  <a:lnTo>
                    <a:pt x="379" y="347"/>
                  </a:lnTo>
                  <a:lnTo>
                    <a:pt x="379" y="343"/>
                  </a:lnTo>
                  <a:lnTo>
                    <a:pt x="379" y="347"/>
                  </a:lnTo>
                  <a:lnTo>
                    <a:pt x="379" y="343"/>
                  </a:lnTo>
                  <a:lnTo>
                    <a:pt x="375" y="343"/>
                  </a:lnTo>
                  <a:lnTo>
                    <a:pt x="379" y="343"/>
                  </a:lnTo>
                  <a:lnTo>
                    <a:pt x="383" y="343"/>
                  </a:lnTo>
                  <a:lnTo>
                    <a:pt x="383" y="347"/>
                  </a:lnTo>
                  <a:lnTo>
                    <a:pt x="383" y="343"/>
                  </a:lnTo>
                  <a:lnTo>
                    <a:pt x="387" y="343"/>
                  </a:lnTo>
                  <a:lnTo>
                    <a:pt x="391" y="343"/>
                  </a:lnTo>
                  <a:lnTo>
                    <a:pt x="391" y="347"/>
                  </a:lnTo>
                  <a:lnTo>
                    <a:pt x="387" y="347"/>
                  </a:lnTo>
                  <a:lnTo>
                    <a:pt x="391" y="351"/>
                  </a:lnTo>
                  <a:lnTo>
                    <a:pt x="395" y="351"/>
                  </a:lnTo>
                  <a:lnTo>
                    <a:pt x="391" y="351"/>
                  </a:lnTo>
                  <a:lnTo>
                    <a:pt x="391" y="355"/>
                  </a:lnTo>
                  <a:lnTo>
                    <a:pt x="387" y="355"/>
                  </a:lnTo>
                  <a:lnTo>
                    <a:pt x="383" y="351"/>
                  </a:lnTo>
                  <a:lnTo>
                    <a:pt x="379" y="355"/>
                  </a:lnTo>
                  <a:lnTo>
                    <a:pt x="383" y="355"/>
                  </a:lnTo>
                  <a:lnTo>
                    <a:pt x="387" y="355"/>
                  </a:lnTo>
                  <a:lnTo>
                    <a:pt x="387" y="359"/>
                  </a:lnTo>
                  <a:lnTo>
                    <a:pt x="383" y="359"/>
                  </a:lnTo>
                  <a:lnTo>
                    <a:pt x="379" y="355"/>
                  </a:lnTo>
                  <a:lnTo>
                    <a:pt x="379" y="359"/>
                  </a:lnTo>
                  <a:lnTo>
                    <a:pt x="383" y="359"/>
                  </a:lnTo>
                  <a:lnTo>
                    <a:pt x="379" y="359"/>
                  </a:lnTo>
                  <a:lnTo>
                    <a:pt x="375" y="359"/>
                  </a:lnTo>
                  <a:lnTo>
                    <a:pt x="375" y="363"/>
                  </a:lnTo>
                  <a:lnTo>
                    <a:pt x="371" y="363"/>
                  </a:lnTo>
                  <a:lnTo>
                    <a:pt x="371" y="367"/>
                  </a:lnTo>
                  <a:lnTo>
                    <a:pt x="367" y="367"/>
                  </a:lnTo>
                  <a:lnTo>
                    <a:pt x="367" y="371"/>
                  </a:lnTo>
                  <a:lnTo>
                    <a:pt x="363" y="371"/>
                  </a:lnTo>
                  <a:lnTo>
                    <a:pt x="363" y="367"/>
                  </a:lnTo>
                  <a:lnTo>
                    <a:pt x="367" y="367"/>
                  </a:lnTo>
                  <a:lnTo>
                    <a:pt x="367" y="363"/>
                  </a:lnTo>
                  <a:lnTo>
                    <a:pt x="367" y="367"/>
                  </a:lnTo>
                  <a:lnTo>
                    <a:pt x="367" y="363"/>
                  </a:lnTo>
                  <a:lnTo>
                    <a:pt x="371" y="363"/>
                  </a:lnTo>
                  <a:lnTo>
                    <a:pt x="367" y="363"/>
                  </a:lnTo>
                  <a:lnTo>
                    <a:pt x="363" y="363"/>
                  </a:lnTo>
                  <a:lnTo>
                    <a:pt x="363" y="367"/>
                  </a:lnTo>
                  <a:lnTo>
                    <a:pt x="363" y="363"/>
                  </a:lnTo>
                  <a:lnTo>
                    <a:pt x="367" y="363"/>
                  </a:lnTo>
                  <a:lnTo>
                    <a:pt x="363" y="363"/>
                  </a:lnTo>
                  <a:lnTo>
                    <a:pt x="359" y="363"/>
                  </a:lnTo>
                  <a:lnTo>
                    <a:pt x="363" y="363"/>
                  </a:lnTo>
                  <a:lnTo>
                    <a:pt x="363" y="367"/>
                  </a:lnTo>
                  <a:lnTo>
                    <a:pt x="359" y="367"/>
                  </a:lnTo>
                  <a:lnTo>
                    <a:pt x="359" y="363"/>
                  </a:lnTo>
                  <a:lnTo>
                    <a:pt x="359" y="359"/>
                  </a:lnTo>
                  <a:lnTo>
                    <a:pt x="355" y="359"/>
                  </a:lnTo>
                  <a:lnTo>
                    <a:pt x="355" y="355"/>
                  </a:lnTo>
                  <a:lnTo>
                    <a:pt x="355" y="351"/>
                  </a:lnTo>
                  <a:lnTo>
                    <a:pt x="359" y="351"/>
                  </a:lnTo>
                  <a:lnTo>
                    <a:pt x="363" y="351"/>
                  </a:lnTo>
                  <a:lnTo>
                    <a:pt x="367" y="351"/>
                  </a:lnTo>
                  <a:lnTo>
                    <a:pt x="367" y="355"/>
                  </a:lnTo>
                  <a:lnTo>
                    <a:pt x="367" y="359"/>
                  </a:lnTo>
                  <a:lnTo>
                    <a:pt x="371" y="359"/>
                  </a:lnTo>
                  <a:lnTo>
                    <a:pt x="367" y="355"/>
                  </a:lnTo>
                  <a:lnTo>
                    <a:pt x="367" y="351"/>
                  </a:lnTo>
                  <a:lnTo>
                    <a:pt x="371" y="351"/>
                  </a:lnTo>
                  <a:close/>
                  <a:moveTo>
                    <a:pt x="375" y="343"/>
                  </a:moveTo>
                  <a:lnTo>
                    <a:pt x="379" y="343"/>
                  </a:lnTo>
                  <a:lnTo>
                    <a:pt x="379" y="347"/>
                  </a:lnTo>
                  <a:lnTo>
                    <a:pt x="375" y="347"/>
                  </a:lnTo>
                  <a:lnTo>
                    <a:pt x="375" y="343"/>
                  </a:lnTo>
                  <a:lnTo>
                    <a:pt x="371" y="343"/>
                  </a:lnTo>
                  <a:lnTo>
                    <a:pt x="375" y="343"/>
                  </a:lnTo>
                  <a:close/>
                  <a:moveTo>
                    <a:pt x="658" y="375"/>
                  </a:moveTo>
                  <a:lnTo>
                    <a:pt x="658" y="379"/>
                  </a:lnTo>
                  <a:lnTo>
                    <a:pt x="658" y="383"/>
                  </a:lnTo>
                  <a:lnTo>
                    <a:pt x="654" y="379"/>
                  </a:lnTo>
                  <a:lnTo>
                    <a:pt x="654" y="375"/>
                  </a:lnTo>
                  <a:lnTo>
                    <a:pt x="654" y="371"/>
                  </a:lnTo>
                  <a:lnTo>
                    <a:pt x="651" y="375"/>
                  </a:lnTo>
                  <a:lnTo>
                    <a:pt x="651" y="371"/>
                  </a:lnTo>
                  <a:lnTo>
                    <a:pt x="647" y="367"/>
                  </a:lnTo>
                  <a:lnTo>
                    <a:pt x="647" y="363"/>
                  </a:lnTo>
                  <a:lnTo>
                    <a:pt x="647" y="359"/>
                  </a:lnTo>
                  <a:lnTo>
                    <a:pt x="643" y="359"/>
                  </a:lnTo>
                  <a:lnTo>
                    <a:pt x="643" y="355"/>
                  </a:lnTo>
                  <a:lnTo>
                    <a:pt x="647" y="355"/>
                  </a:lnTo>
                  <a:lnTo>
                    <a:pt x="647" y="351"/>
                  </a:lnTo>
                  <a:lnTo>
                    <a:pt x="651" y="355"/>
                  </a:lnTo>
                  <a:lnTo>
                    <a:pt x="654" y="355"/>
                  </a:lnTo>
                  <a:lnTo>
                    <a:pt x="654" y="359"/>
                  </a:lnTo>
                  <a:lnTo>
                    <a:pt x="658" y="363"/>
                  </a:lnTo>
                  <a:lnTo>
                    <a:pt x="658" y="367"/>
                  </a:lnTo>
                  <a:lnTo>
                    <a:pt x="658" y="371"/>
                  </a:lnTo>
                  <a:lnTo>
                    <a:pt x="658" y="375"/>
                  </a:lnTo>
                  <a:close/>
                  <a:moveTo>
                    <a:pt x="654" y="355"/>
                  </a:moveTo>
                  <a:lnTo>
                    <a:pt x="658" y="355"/>
                  </a:lnTo>
                  <a:lnTo>
                    <a:pt x="654" y="359"/>
                  </a:lnTo>
                  <a:lnTo>
                    <a:pt x="654" y="355"/>
                  </a:lnTo>
                  <a:close/>
                  <a:moveTo>
                    <a:pt x="643" y="359"/>
                  </a:moveTo>
                  <a:lnTo>
                    <a:pt x="647" y="359"/>
                  </a:lnTo>
                  <a:lnTo>
                    <a:pt x="647" y="363"/>
                  </a:lnTo>
                  <a:lnTo>
                    <a:pt x="643" y="363"/>
                  </a:lnTo>
                  <a:lnTo>
                    <a:pt x="643" y="367"/>
                  </a:lnTo>
                  <a:lnTo>
                    <a:pt x="643" y="363"/>
                  </a:lnTo>
                  <a:lnTo>
                    <a:pt x="643" y="359"/>
                  </a:lnTo>
                  <a:lnTo>
                    <a:pt x="639" y="359"/>
                  </a:lnTo>
                  <a:lnTo>
                    <a:pt x="643" y="359"/>
                  </a:lnTo>
                  <a:close/>
                  <a:moveTo>
                    <a:pt x="383" y="363"/>
                  </a:moveTo>
                  <a:lnTo>
                    <a:pt x="379" y="363"/>
                  </a:lnTo>
                  <a:lnTo>
                    <a:pt x="375" y="363"/>
                  </a:lnTo>
                  <a:lnTo>
                    <a:pt x="375" y="367"/>
                  </a:lnTo>
                  <a:lnTo>
                    <a:pt x="375" y="363"/>
                  </a:lnTo>
                  <a:lnTo>
                    <a:pt x="375" y="359"/>
                  </a:lnTo>
                  <a:lnTo>
                    <a:pt x="379" y="359"/>
                  </a:lnTo>
                  <a:lnTo>
                    <a:pt x="383" y="359"/>
                  </a:lnTo>
                  <a:lnTo>
                    <a:pt x="383" y="363"/>
                  </a:lnTo>
                  <a:close/>
                  <a:moveTo>
                    <a:pt x="682" y="367"/>
                  </a:moveTo>
                  <a:lnTo>
                    <a:pt x="686" y="367"/>
                  </a:lnTo>
                  <a:lnTo>
                    <a:pt x="682" y="371"/>
                  </a:lnTo>
                  <a:lnTo>
                    <a:pt x="686" y="375"/>
                  </a:lnTo>
                  <a:lnTo>
                    <a:pt x="682" y="375"/>
                  </a:lnTo>
                  <a:lnTo>
                    <a:pt x="682" y="371"/>
                  </a:lnTo>
                  <a:lnTo>
                    <a:pt x="678" y="371"/>
                  </a:lnTo>
                  <a:lnTo>
                    <a:pt x="678" y="367"/>
                  </a:lnTo>
                  <a:lnTo>
                    <a:pt x="678" y="371"/>
                  </a:lnTo>
                  <a:lnTo>
                    <a:pt x="682" y="375"/>
                  </a:lnTo>
                  <a:lnTo>
                    <a:pt x="682" y="379"/>
                  </a:lnTo>
                  <a:lnTo>
                    <a:pt x="678" y="379"/>
                  </a:lnTo>
                  <a:lnTo>
                    <a:pt x="674" y="379"/>
                  </a:lnTo>
                  <a:lnTo>
                    <a:pt x="674" y="375"/>
                  </a:lnTo>
                  <a:lnTo>
                    <a:pt x="674" y="371"/>
                  </a:lnTo>
                  <a:lnTo>
                    <a:pt x="670" y="371"/>
                  </a:lnTo>
                  <a:lnTo>
                    <a:pt x="670" y="367"/>
                  </a:lnTo>
                  <a:lnTo>
                    <a:pt x="666" y="363"/>
                  </a:lnTo>
                  <a:lnTo>
                    <a:pt x="670" y="363"/>
                  </a:lnTo>
                  <a:lnTo>
                    <a:pt x="674" y="363"/>
                  </a:lnTo>
                  <a:lnTo>
                    <a:pt x="678" y="363"/>
                  </a:lnTo>
                  <a:lnTo>
                    <a:pt x="678" y="367"/>
                  </a:lnTo>
                  <a:lnTo>
                    <a:pt x="682" y="363"/>
                  </a:lnTo>
                  <a:lnTo>
                    <a:pt x="682" y="367"/>
                  </a:lnTo>
                  <a:close/>
                  <a:moveTo>
                    <a:pt x="670" y="383"/>
                  </a:moveTo>
                  <a:lnTo>
                    <a:pt x="670" y="379"/>
                  </a:lnTo>
                  <a:lnTo>
                    <a:pt x="670" y="383"/>
                  </a:lnTo>
                  <a:lnTo>
                    <a:pt x="670" y="387"/>
                  </a:lnTo>
                  <a:lnTo>
                    <a:pt x="666" y="387"/>
                  </a:lnTo>
                  <a:lnTo>
                    <a:pt x="666" y="383"/>
                  </a:lnTo>
                  <a:lnTo>
                    <a:pt x="666" y="387"/>
                  </a:lnTo>
                  <a:lnTo>
                    <a:pt x="662" y="383"/>
                  </a:lnTo>
                  <a:lnTo>
                    <a:pt x="666" y="383"/>
                  </a:lnTo>
                  <a:lnTo>
                    <a:pt x="662" y="379"/>
                  </a:lnTo>
                  <a:lnTo>
                    <a:pt x="666" y="379"/>
                  </a:lnTo>
                  <a:lnTo>
                    <a:pt x="666" y="375"/>
                  </a:lnTo>
                  <a:lnTo>
                    <a:pt x="662" y="375"/>
                  </a:lnTo>
                  <a:lnTo>
                    <a:pt x="662" y="371"/>
                  </a:lnTo>
                  <a:lnTo>
                    <a:pt x="662" y="367"/>
                  </a:lnTo>
                  <a:lnTo>
                    <a:pt x="666" y="367"/>
                  </a:lnTo>
                  <a:lnTo>
                    <a:pt x="662" y="367"/>
                  </a:lnTo>
                  <a:lnTo>
                    <a:pt x="666" y="367"/>
                  </a:lnTo>
                  <a:lnTo>
                    <a:pt x="670" y="367"/>
                  </a:lnTo>
                  <a:lnTo>
                    <a:pt x="670" y="371"/>
                  </a:lnTo>
                  <a:lnTo>
                    <a:pt x="670" y="375"/>
                  </a:lnTo>
                  <a:lnTo>
                    <a:pt x="666" y="375"/>
                  </a:lnTo>
                  <a:lnTo>
                    <a:pt x="670" y="375"/>
                  </a:lnTo>
                  <a:lnTo>
                    <a:pt x="670" y="371"/>
                  </a:lnTo>
                  <a:lnTo>
                    <a:pt x="674" y="371"/>
                  </a:lnTo>
                  <a:lnTo>
                    <a:pt x="674" y="375"/>
                  </a:lnTo>
                  <a:lnTo>
                    <a:pt x="670" y="375"/>
                  </a:lnTo>
                  <a:lnTo>
                    <a:pt x="670" y="379"/>
                  </a:lnTo>
                  <a:lnTo>
                    <a:pt x="670" y="383"/>
                  </a:lnTo>
                  <a:close/>
                  <a:moveTo>
                    <a:pt x="686" y="371"/>
                  </a:moveTo>
                  <a:lnTo>
                    <a:pt x="690" y="371"/>
                  </a:lnTo>
                  <a:lnTo>
                    <a:pt x="690" y="375"/>
                  </a:lnTo>
                  <a:lnTo>
                    <a:pt x="686" y="375"/>
                  </a:lnTo>
                  <a:lnTo>
                    <a:pt x="682" y="375"/>
                  </a:lnTo>
                  <a:lnTo>
                    <a:pt x="686" y="375"/>
                  </a:lnTo>
                  <a:lnTo>
                    <a:pt x="686" y="371"/>
                  </a:lnTo>
                  <a:close/>
                  <a:moveTo>
                    <a:pt x="359" y="375"/>
                  </a:moveTo>
                  <a:lnTo>
                    <a:pt x="355" y="379"/>
                  </a:lnTo>
                  <a:lnTo>
                    <a:pt x="355" y="375"/>
                  </a:lnTo>
                  <a:lnTo>
                    <a:pt x="359" y="375"/>
                  </a:lnTo>
                  <a:close/>
                  <a:moveTo>
                    <a:pt x="315" y="375"/>
                  </a:moveTo>
                  <a:lnTo>
                    <a:pt x="319" y="375"/>
                  </a:lnTo>
                  <a:lnTo>
                    <a:pt x="315" y="375"/>
                  </a:lnTo>
                  <a:close/>
                  <a:moveTo>
                    <a:pt x="698" y="387"/>
                  </a:moveTo>
                  <a:lnTo>
                    <a:pt x="698" y="383"/>
                  </a:lnTo>
                  <a:lnTo>
                    <a:pt x="694" y="383"/>
                  </a:lnTo>
                  <a:lnTo>
                    <a:pt x="694" y="379"/>
                  </a:lnTo>
                  <a:lnTo>
                    <a:pt x="698" y="379"/>
                  </a:lnTo>
                  <a:lnTo>
                    <a:pt x="698" y="383"/>
                  </a:lnTo>
                  <a:lnTo>
                    <a:pt x="698" y="387"/>
                  </a:lnTo>
                  <a:close/>
                  <a:moveTo>
                    <a:pt x="686" y="383"/>
                  </a:moveTo>
                  <a:lnTo>
                    <a:pt x="682" y="379"/>
                  </a:lnTo>
                  <a:lnTo>
                    <a:pt x="686" y="379"/>
                  </a:lnTo>
                  <a:lnTo>
                    <a:pt x="690" y="379"/>
                  </a:lnTo>
                  <a:lnTo>
                    <a:pt x="690" y="383"/>
                  </a:lnTo>
                  <a:lnTo>
                    <a:pt x="686" y="383"/>
                  </a:lnTo>
                  <a:close/>
                  <a:moveTo>
                    <a:pt x="694" y="391"/>
                  </a:moveTo>
                  <a:lnTo>
                    <a:pt x="690" y="391"/>
                  </a:lnTo>
                  <a:lnTo>
                    <a:pt x="694" y="387"/>
                  </a:lnTo>
                  <a:lnTo>
                    <a:pt x="690" y="387"/>
                  </a:lnTo>
                  <a:lnTo>
                    <a:pt x="686" y="387"/>
                  </a:lnTo>
                  <a:lnTo>
                    <a:pt x="686" y="383"/>
                  </a:lnTo>
                  <a:lnTo>
                    <a:pt x="690" y="383"/>
                  </a:lnTo>
                  <a:lnTo>
                    <a:pt x="690" y="379"/>
                  </a:lnTo>
                  <a:lnTo>
                    <a:pt x="694" y="379"/>
                  </a:lnTo>
                  <a:lnTo>
                    <a:pt x="694" y="383"/>
                  </a:lnTo>
                  <a:lnTo>
                    <a:pt x="698" y="387"/>
                  </a:lnTo>
                  <a:lnTo>
                    <a:pt x="698" y="391"/>
                  </a:lnTo>
                  <a:lnTo>
                    <a:pt x="694" y="391"/>
                  </a:lnTo>
                  <a:close/>
                  <a:moveTo>
                    <a:pt x="694" y="403"/>
                  </a:moveTo>
                  <a:lnTo>
                    <a:pt x="694" y="399"/>
                  </a:lnTo>
                  <a:lnTo>
                    <a:pt x="690" y="399"/>
                  </a:lnTo>
                  <a:lnTo>
                    <a:pt x="694" y="403"/>
                  </a:lnTo>
                  <a:lnTo>
                    <a:pt x="698" y="407"/>
                  </a:lnTo>
                  <a:lnTo>
                    <a:pt x="694" y="407"/>
                  </a:lnTo>
                  <a:lnTo>
                    <a:pt x="698" y="407"/>
                  </a:lnTo>
                  <a:lnTo>
                    <a:pt x="698" y="411"/>
                  </a:lnTo>
                  <a:lnTo>
                    <a:pt x="694" y="411"/>
                  </a:lnTo>
                  <a:lnTo>
                    <a:pt x="698" y="411"/>
                  </a:lnTo>
                  <a:lnTo>
                    <a:pt x="698" y="415"/>
                  </a:lnTo>
                  <a:lnTo>
                    <a:pt x="698" y="419"/>
                  </a:lnTo>
                  <a:lnTo>
                    <a:pt x="694" y="419"/>
                  </a:lnTo>
                  <a:lnTo>
                    <a:pt x="694" y="415"/>
                  </a:lnTo>
                  <a:lnTo>
                    <a:pt x="690" y="411"/>
                  </a:lnTo>
                  <a:lnTo>
                    <a:pt x="690" y="415"/>
                  </a:lnTo>
                  <a:lnTo>
                    <a:pt x="690" y="411"/>
                  </a:lnTo>
                  <a:lnTo>
                    <a:pt x="690" y="407"/>
                  </a:lnTo>
                  <a:lnTo>
                    <a:pt x="686" y="407"/>
                  </a:lnTo>
                  <a:lnTo>
                    <a:pt x="682" y="407"/>
                  </a:lnTo>
                  <a:lnTo>
                    <a:pt x="686" y="407"/>
                  </a:lnTo>
                  <a:lnTo>
                    <a:pt x="682" y="407"/>
                  </a:lnTo>
                  <a:lnTo>
                    <a:pt x="678" y="407"/>
                  </a:lnTo>
                  <a:lnTo>
                    <a:pt x="678" y="403"/>
                  </a:lnTo>
                  <a:lnTo>
                    <a:pt x="682" y="403"/>
                  </a:lnTo>
                  <a:lnTo>
                    <a:pt x="686" y="403"/>
                  </a:lnTo>
                  <a:lnTo>
                    <a:pt x="682" y="403"/>
                  </a:lnTo>
                  <a:lnTo>
                    <a:pt x="682" y="399"/>
                  </a:lnTo>
                  <a:lnTo>
                    <a:pt x="686" y="399"/>
                  </a:lnTo>
                  <a:lnTo>
                    <a:pt x="682" y="399"/>
                  </a:lnTo>
                  <a:lnTo>
                    <a:pt x="678" y="399"/>
                  </a:lnTo>
                  <a:lnTo>
                    <a:pt x="678" y="395"/>
                  </a:lnTo>
                  <a:lnTo>
                    <a:pt x="682" y="391"/>
                  </a:lnTo>
                  <a:lnTo>
                    <a:pt x="678" y="391"/>
                  </a:lnTo>
                  <a:lnTo>
                    <a:pt x="678" y="383"/>
                  </a:lnTo>
                  <a:lnTo>
                    <a:pt x="674" y="383"/>
                  </a:lnTo>
                  <a:lnTo>
                    <a:pt x="674" y="379"/>
                  </a:lnTo>
                  <a:lnTo>
                    <a:pt x="678" y="379"/>
                  </a:lnTo>
                  <a:lnTo>
                    <a:pt x="682" y="379"/>
                  </a:lnTo>
                  <a:lnTo>
                    <a:pt x="682" y="383"/>
                  </a:lnTo>
                  <a:lnTo>
                    <a:pt x="682" y="387"/>
                  </a:lnTo>
                  <a:lnTo>
                    <a:pt x="686" y="387"/>
                  </a:lnTo>
                  <a:lnTo>
                    <a:pt x="690" y="391"/>
                  </a:lnTo>
                  <a:lnTo>
                    <a:pt x="690" y="395"/>
                  </a:lnTo>
                  <a:lnTo>
                    <a:pt x="694" y="395"/>
                  </a:lnTo>
                  <a:lnTo>
                    <a:pt x="694" y="399"/>
                  </a:lnTo>
                  <a:lnTo>
                    <a:pt x="698" y="399"/>
                  </a:lnTo>
                  <a:lnTo>
                    <a:pt x="698" y="403"/>
                  </a:lnTo>
                  <a:lnTo>
                    <a:pt x="694" y="403"/>
                  </a:lnTo>
                  <a:close/>
                  <a:moveTo>
                    <a:pt x="678" y="387"/>
                  </a:moveTo>
                  <a:lnTo>
                    <a:pt x="674" y="391"/>
                  </a:lnTo>
                  <a:lnTo>
                    <a:pt x="670" y="391"/>
                  </a:lnTo>
                  <a:lnTo>
                    <a:pt x="674" y="387"/>
                  </a:lnTo>
                  <a:lnTo>
                    <a:pt x="678" y="383"/>
                  </a:lnTo>
                  <a:lnTo>
                    <a:pt x="678" y="387"/>
                  </a:lnTo>
                  <a:close/>
                  <a:moveTo>
                    <a:pt x="706" y="407"/>
                  </a:moveTo>
                  <a:lnTo>
                    <a:pt x="706" y="403"/>
                  </a:lnTo>
                  <a:lnTo>
                    <a:pt x="710" y="403"/>
                  </a:lnTo>
                  <a:lnTo>
                    <a:pt x="710" y="399"/>
                  </a:lnTo>
                  <a:lnTo>
                    <a:pt x="710" y="395"/>
                  </a:lnTo>
                  <a:lnTo>
                    <a:pt x="706" y="399"/>
                  </a:lnTo>
                  <a:lnTo>
                    <a:pt x="710" y="399"/>
                  </a:lnTo>
                  <a:lnTo>
                    <a:pt x="710" y="403"/>
                  </a:lnTo>
                  <a:lnTo>
                    <a:pt x="706" y="403"/>
                  </a:lnTo>
                  <a:lnTo>
                    <a:pt x="706" y="399"/>
                  </a:lnTo>
                  <a:lnTo>
                    <a:pt x="706" y="403"/>
                  </a:lnTo>
                  <a:lnTo>
                    <a:pt x="706" y="407"/>
                  </a:lnTo>
                  <a:lnTo>
                    <a:pt x="702" y="403"/>
                  </a:lnTo>
                  <a:lnTo>
                    <a:pt x="702" y="399"/>
                  </a:lnTo>
                  <a:lnTo>
                    <a:pt x="702" y="395"/>
                  </a:lnTo>
                  <a:lnTo>
                    <a:pt x="706" y="395"/>
                  </a:lnTo>
                  <a:lnTo>
                    <a:pt x="702" y="395"/>
                  </a:lnTo>
                  <a:lnTo>
                    <a:pt x="702" y="391"/>
                  </a:lnTo>
                  <a:lnTo>
                    <a:pt x="706" y="391"/>
                  </a:lnTo>
                  <a:lnTo>
                    <a:pt x="710" y="391"/>
                  </a:lnTo>
                  <a:lnTo>
                    <a:pt x="714" y="391"/>
                  </a:lnTo>
                  <a:lnTo>
                    <a:pt x="714" y="395"/>
                  </a:lnTo>
                  <a:lnTo>
                    <a:pt x="714" y="399"/>
                  </a:lnTo>
                  <a:lnTo>
                    <a:pt x="714" y="403"/>
                  </a:lnTo>
                  <a:lnTo>
                    <a:pt x="714" y="407"/>
                  </a:lnTo>
                  <a:lnTo>
                    <a:pt x="710" y="407"/>
                  </a:lnTo>
                  <a:lnTo>
                    <a:pt x="710" y="403"/>
                  </a:lnTo>
                  <a:lnTo>
                    <a:pt x="710" y="407"/>
                  </a:lnTo>
                  <a:lnTo>
                    <a:pt x="706" y="407"/>
                  </a:lnTo>
                  <a:close/>
                  <a:moveTo>
                    <a:pt x="666" y="391"/>
                  </a:moveTo>
                  <a:lnTo>
                    <a:pt x="662" y="391"/>
                  </a:lnTo>
                  <a:lnTo>
                    <a:pt x="666" y="391"/>
                  </a:lnTo>
                  <a:close/>
                  <a:moveTo>
                    <a:pt x="292" y="391"/>
                  </a:moveTo>
                  <a:lnTo>
                    <a:pt x="296" y="391"/>
                  </a:lnTo>
                  <a:lnTo>
                    <a:pt x="292" y="395"/>
                  </a:lnTo>
                  <a:lnTo>
                    <a:pt x="292" y="391"/>
                  </a:lnTo>
                  <a:close/>
                  <a:moveTo>
                    <a:pt x="678" y="395"/>
                  </a:moveTo>
                  <a:lnTo>
                    <a:pt x="674" y="395"/>
                  </a:lnTo>
                  <a:lnTo>
                    <a:pt x="674" y="391"/>
                  </a:lnTo>
                  <a:lnTo>
                    <a:pt x="678" y="395"/>
                  </a:lnTo>
                  <a:close/>
                  <a:moveTo>
                    <a:pt x="678" y="399"/>
                  </a:moveTo>
                  <a:lnTo>
                    <a:pt x="678" y="403"/>
                  </a:lnTo>
                  <a:lnTo>
                    <a:pt x="678" y="399"/>
                  </a:lnTo>
                  <a:close/>
                  <a:moveTo>
                    <a:pt x="674" y="403"/>
                  </a:moveTo>
                  <a:lnTo>
                    <a:pt x="670" y="403"/>
                  </a:lnTo>
                  <a:lnTo>
                    <a:pt x="670" y="399"/>
                  </a:lnTo>
                  <a:lnTo>
                    <a:pt x="674" y="399"/>
                  </a:lnTo>
                  <a:lnTo>
                    <a:pt x="674" y="403"/>
                  </a:lnTo>
                  <a:close/>
                  <a:moveTo>
                    <a:pt x="674" y="399"/>
                  </a:moveTo>
                  <a:lnTo>
                    <a:pt x="678" y="399"/>
                  </a:lnTo>
                  <a:lnTo>
                    <a:pt x="678" y="403"/>
                  </a:lnTo>
                  <a:lnTo>
                    <a:pt x="674" y="403"/>
                  </a:lnTo>
                  <a:lnTo>
                    <a:pt x="674" y="399"/>
                  </a:lnTo>
                  <a:close/>
                  <a:moveTo>
                    <a:pt x="678" y="403"/>
                  </a:moveTo>
                  <a:lnTo>
                    <a:pt x="674" y="403"/>
                  </a:lnTo>
                  <a:lnTo>
                    <a:pt x="674" y="407"/>
                  </a:lnTo>
                  <a:lnTo>
                    <a:pt x="674" y="403"/>
                  </a:lnTo>
                  <a:lnTo>
                    <a:pt x="678" y="403"/>
                  </a:lnTo>
                  <a:close/>
                  <a:moveTo>
                    <a:pt x="702" y="403"/>
                  </a:moveTo>
                  <a:lnTo>
                    <a:pt x="706" y="407"/>
                  </a:lnTo>
                  <a:lnTo>
                    <a:pt x="702" y="407"/>
                  </a:lnTo>
                  <a:lnTo>
                    <a:pt x="702" y="403"/>
                  </a:lnTo>
                  <a:close/>
                  <a:moveTo>
                    <a:pt x="264" y="403"/>
                  </a:moveTo>
                  <a:lnTo>
                    <a:pt x="268" y="403"/>
                  </a:lnTo>
                  <a:lnTo>
                    <a:pt x="268" y="407"/>
                  </a:lnTo>
                  <a:lnTo>
                    <a:pt x="264" y="407"/>
                  </a:lnTo>
                  <a:lnTo>
                    <a:pt x="264" y="411"/>
                  </a:lnTo>
                  <a:lnTo>
                    <a:pt x="264" y="407"/>
                  </a:lnTo>
                  <a:lnTo>
                    <a:pt x="264" y="403"/>
                  </a:lnTo>
                  <a:close/>
                  <a:moveTo>
                    <a:pt x="272" y="403"/>
                  </a:moveTo>
                  <a:lnTo>
                    <a:pt x="272" y="407"/>
                  </a:lnTo>
                  <a:lnTo>
                    <a:pt x="268" y="407"/>
                  </a:lnTo>
                  <a:lnTo>
                    <a:pt x="268" y="403"/>
                  </a:lnTo>
                  <a:lnTo>
                    <a:pt x="272" y="403"/>
                  </a:lnTo>
                  <a:close/>
                  <a:moveTo>
                    <a:pt x="678" y="403"/>
                  </a:moveTo>
                  <a:lnTo>
                    <a:pt x="678" y="407"/>
                  </a:lnTo>
                  <a:lnTo>
                    <a:pt x="678" y="403"/>
                  </a:lnTo>
                  <a:close/>
                  <a:moveTo>
                    <a:pt x="276" y="407"/>
                  </a:moveTo>
                  <a:lnTo>
                    <a:pt x="276" y="411"/>
                  </a:lnTo>
                  <a:lnTo>
                    <a:pt x="272" y="411"/>
                  </a:lnTo>
                  <a:lnTo>
                    <a:pt x="272" y="415"/>
                  </a:lnTo>
                  <a:lnTo>
                    <a:pt x="272" y="411"/>
                  </a:lnTo>
                  <a:lnTo>
                    <a:pt x="272" y="407"/>
                  </a:lnTo>
                  <a:lnTo>
                    <a:pt x="276" y="407"/>
                  </a:lnTo>
                  <a:lnTo>
                    <a:pt x="276" y="411"/>
                  </a:lnTo>
                  <a:lnTo>
                    <a:pt x="276" y="407"/>
                  </a:lnTo>
                  <a:close/>
                  <a:moveTo>
                    <a:pt x="706" y="407"/>
                  </a:moveTo>
                  <a:lnTo>
                    <a:pt x="710" y="411"/>
                  </a:lnTo>
                  <a:lnTo>
                    <a:pt x="706" y="411"/>
                  </a:lnTo>
                  <a:lnTo>
                    <a:pt x="706" y="407"/>
                  </a:lnTo>
                  <a:close/>
                  <a:moveTo>
                    <a:pt x="682" y="407"/>
                  </a:moveTo>
                  <a:lnTo>
                    <a:pt x="682" y="411"/>
                  </a:lnTo>
                  <a:lnTo>
                    <a:pt x="686" y="415"/>
                  </a:lnTo>
                  <a:lnTo>
                    <a:pt x="686" y="419"/>
                  </a:lnTo>
                  <a:lnTo>
                    <a:pt x="690" y="419"/>
                  </a:lnTo>
                  <a:lnTo>
                    <a:pt x="686" y="419"/>
                  </a:lnTo>
                  <a:lnTo>
                    <a:pt x="686" y="415"/>
                  </a:lnTo>
                  <a:lnTo>
                    <a:pt x="682" y="415"/>
                  </a:lnTo>
                  <a:lnTo>
                    <a:pt x="682" y="411"/>
                  </a:lnTo>
                  <a:lnTo>
                    <a:pt x="678" y="411"/>
                  </a:lnTo>
                  <a:lnTo>
                    <a:pt x="682" y="407"/>
                  </a:lnTo>
                  <a:close/>
                  <a:moveTo>
                    <a:pt x="284" y="407"/>
                  </a:moveTo>
                  <a:lnTo>
                    <a:pt x="284" y="411"/>
                  </a:lnTo>
                  <a:lnTo>
                    <a:pt x="280" y="411"/>
                  </a:lnTo>
                  <a:lnTo>
                    <a:pt x="284" y="407"/>
                  </a:lnTo>
                  <a:close/>
                  <a:moveTo>
                    <a:pt x="686" y="407"/>
                  </a:moveTo>
                  <a:lnTo>
                    <a:pt x="686" y="411"/>
                  </a:lnTo>
                  <a:lnTo>
                    <a:pt x="690" y="411"/>
                  </a:lnTo>
                  <a:lnTo>
                    <a:pt x="686" y="411"/>
                  </a:lnTo>
                  <a:lnTo>
                    <a:pt x="686" y="407"/>
                  </a:lnTo>
                  <a:close/>
                  <a:moveTo>
                    <a:pt x="248" y="407"/>
                  </a:moveTo>
                  <a:lnTo>
                    <a:pt x="252" y="407"/>
                  </a:lnTo>
                  <a:lnTo>
                    <a:pt x="252" y="411"/>
                  </a:lnTo>
                  <a:lnTo>
                    <a:pt x="248" y="411"/>
                  </a:lnTo>
                  <a:lnTo>
                    <a:pt x="248" y="407"/>
                  </a:lnTo>
                  <a:close/>
                  <a:moveTo>
                    <a:pt x="284" y="411"/>
                  </a:moveTo>
                  <a:lnTo>
                    <a:pt x="284" y="415"/>
                  </a:lnTo>
                  <a:lnTo>
                    <a:pt x="284" y="411"/>
                  </a:lnTo>
                  <a:close/>
                  <a:moveTo>
                    <a:pt x="212" y="423"/>
                  </a:moveTo>
                  <a:lnTo>
                    <a:pt x="208" y="423"/>
                  </a:lnTo>
                  <a:lnTo>
                    <a:pt x="208" y="427"/>
                  </a:lnTo>
                  <a:lnTo>
                    <a:pt x="204" y="427"/>
                  </a:lnTo>
                  <a:lnTo>
                    <a:pt x="200" y="427"/>
                  </a:lnTo>
                  <a:lnTo>
                    <a:pt x="200" y="423"/>
                  </a:lnTo>
                  <a:lnTo>
                    <a:pt x="200" y="419"/>
                  </a:lnTo>
                  <a:lnTo>
                    <a:pt x="204" y="419"/>
                  </a:lnTo>
                  <a:lnTo>
                    <a:pt x="208" y="415"/>
                  </a:lnTo>
                  <a:lnTo>
                    <a:pt x="212" y="415"/>
                  </a:lnTo>
                  <a:lnTo>
                    <a:pt x="216" y="411"/>
                  </a:lnTo>
                  <a:lnTo>
                    <a:pt x="220" y="411"/>
                  </a:lnTo>
                  <a:lnTo>
                    <a:pt x="224" y="415"/>
                  </a:lnTo>
                  <a:lnTo>
                    <a:pt x="224" y="419"/>
                  </a:lnTo>
                  <a:lnTo>
                    <a:pt x="228" y="419"/>
                  </a:lnTo>
                  <a:lnTo>
                    <a:pt x="224" y="419"/>
                  </a:lnTo>
                  <a:lnTo>
                    <a:pt x="220" y="419"/>
                  </a:lnTo>
                  <a:lnTo>
                    <a:pt x="220" y="423"/>
                  </a:lnTo>
                  <a:lnTo>
                    <a:pt x="220" y="419"/>
                  </a:lnTo>
                  <a:lnTo>
                    <a:pt x="216" y="419"/>
                  </a:lnTo>
                  <a:lnTo>
                    <a:pt x="212" y="419"/>
                  </a:lnTo>
                  <a:lnTo>
                    <a:pt x="212" y="423"/>
                  </a:lnTo>
                  <a:close/>
                  <a:moveTo>
                    <a:pt x="710" y="411"/>
                  </a:moveTo>
                  <a:lnTo>
                    <a:pt x="710" y="415"/>
                  </a:lnTo>
                  <a:lnTo>
                    <a:pt x="706" y="415"/>
                  </a:lnTo>
                  <a:lnTo>
                    <a:pt x="710" y="411"/>
                  </a:lnTo>
                  <a:close/>
                  <a:moveTo>
                    <a:pt x="690" y="415"/>
                  </a:moveTo>
                  <a:lnTo>
                    <a:pt x="690" y="419"/>
                  </a:lnTo>
                  <a:lnTo>
                    <a:pt x="686" y="415"/>
                  </a:lnTo>
                  <a:lnTo>
                    <a:pt x="690" y="415"/>
                  </a:lnTo>
                  <a:close/>
                  <a:moveTo>
                    <a:pt x="232" y="423"/>
                  </a:moveTo>
                  <a:lnTo>
                    <a:pt x="236" y="423"/>
                  </a:lnTo>
                  <a:lnTo>
                    <a:pt x="236" y="427"/>
                  </a:lnTo>
                  <a:lnTo>
                    <a:pt x="232" y="427"/>
                  </a:lnTo>
                  <a:lnTo>
                    <a:pt x="232" y="423"/>
                  </a:lnTo>
                  <a:close/>
                  <a:moveTo>
                    <a:pt x="192" y="431"/>
                  </a:moveTo>
                  <a:lnTo>
                    <a:pt x="188" y="431"/>
                  </a:lnTo>
                  <a:lnTo>
                    <a:pt x="188" y="427"/>
                  </a:lnTo>
                  <a:lnTo>
                    <a:pt x="192" y="427"/>
                  </a:lnTo>
                  <a:lnTo>
                    <a:pt x="192" y="431"/>
                  </a:lnTo>
                  <a:close/>
                  <a:moveTo>
                    <a:pt x="184" y="435"/>
                  </a:moveTo>
                  <a:lnTo>
                    <a:pt x="184" y="431"/>
                  </a:lnTo>
                  <a:lnTo>
                    <a:pt x="188" y="431"/>
                  </a:lnTo>
                  <a:lnTo>
                    <a:pt x="188" y="435"/>
                  </a:lnTo>
                  <a:lnTo>
                    <a:pt x="184" y="435"/>
                  </a:lnTo>
                  <a:close/>
                  <a:moveTo>
                    <a:pt x="200" y="431"/>
                  </a:moveTo>
                  <a:lnTo>
                    <a:pt x="200" y="435"/>
                  </a:lnTo>
                  <a:lnTo>
                    <a:pt x="196" y="435"/>
                  </a:lnTo>
                  <a:lnTo>
                    <a:pt x="196" y="431"/>
                  </a:lnTo>
                  <a:lnTo>
                    <a:pt x="200" y="431"/>
                  </a:lnTo>
                  <a:close/>
                  <a:moveTo>
                    <a:pt x="168" y="443"/>
                  </a:moveTo>
                  <a:lnTo>
                    <a:pt x="172" y="443"/>
                  </a:lnTo>
                  <a:lnTo>
                    <a:pt x="168" y="439"/>
                  </a:lnTo>
                  <a:lnTo>
                    <a:pt x="168" y="435"/>
                  </a:lnTo>
                  <a:lnTo>
                    <a:pt x="172" y="435"/>
                  </a:lnTo>
                  <a:lnTo>
                    <a:pt x="176" y="435"/>
                  </a:lnTo>
                  <a:lnTo>
                    <a:pt x="176" y="439"/>
                  </a:lnTo>
                  <a:lnTo>
                    <a:pt x="176" y="435"/>
                  </a:lnTo>
                  <a:lnTo>
                    <a:pt x="180" y="435"/>
                  </a:lnTo>
                  <a:lnTo>
                    <a:pt x="180" y="439"/>
                  </a:lnTo>
                  <a:lnTo>
                    <a:pt x="176" y="439"/>
                  </a:lnTo>
                  <a:lnTo>
                    <a:pt x="176" y="443"/>
                  </a:lnTo>
                  <a:lnTo>
                    <a:pt x="176" y="439"/>
                  </a:lnTo>
                  <a:lnTo>
                    <a:pt x="180" y="439"/>
                  </a:lnTo>
                  <a:lnTo>
                    <a:pt x="180" y="443"/>
                  </a:lnTo>
                  <a:lnTo>
                    <a:pt x="176" y="443"/>
                  </a:lnTo>
                  <a:lnTo>
                    <a:pt x="176" y="447"/>
                  </a:lnTo>
                  <a:lnTo>
                    <a:pt x="172" y="447"/>
                  </a:lnTo>
                  <a:lnTo>
                    <a:pt x="168" y="447"/>
                  </a:lnTo>
                  <a:lnTo>
                    <a:pt x="164" y="451"/>
                  </a:lnTo>
                  <a:lnTo>
                    <a:pt x="160" y="451"/>
                  </a:lnTo>
                  <a:lnTo>
                    <a:pt x="156" y="451"/>
                  </a:lnTo>
                  <a:lnTo>
                    <a:pt x="160" y="451"/>
                  </a:lnTo>
                  <a:lnTo>
                    <a:pt x="160" y="447"/>
                  </a:lnTo>
                  <a:lnTo>
                    <a:pt x="164" y="447"/>
                  </a:lnTo>
                  <a:lnTo>
                    <a:pt x="168" y="447"/>
                  </a:lnTo>
                  <a:lnTo>
                    <a:pt x="168" y="443"/>
                  </a:lnTo>
                  <a:close/>
                  <a:moveTo>
                    <a:pt x="180" y="443"/>
                  </a:moveTo>
                  <a:lnTo>
                    <a:pt x="180" y="439"/>
                  </a:lnTo>
                  <a:lnTo>
                    <a:pt x="184" y="439"/>
                  </a:lnTo>
                  <a:lnTo>
                    <a:pt x="180" y="443"/>
                  </a:lnTo>
                  <a:close/>
                  <a:moveTo>
                    <a:pt x="156" y="447"/>
                  </a:moveTo>
                  <a:lnTo>
                    <a:pt x="156" y="451"/>
                  </a:lnTo>
                  <a:lnTo>
                    <a:pt x="152" y="451"/>
                  </a:lnTo>
                  <a:lnTo>
                    <a:pt x="148" y="451"/>
                  </a:lnTo>
                  <a:lnTo>
                    <a:pt x="148" y="455"/>
                  </a:lnTo>
                  <a:lnTo>
                    <a:pt x="148" y="459"/>
                  </a:lnTo>
                  <a:lnTo>
                    <a:pt x="144" y="459"/>
                  </a:lnTo>
                  <a:lnTo>
                    <a:pt x="140" y="459"/>
                  </a:lnTo>
                  <a:lnTo>
                    <a:pt x="140" y="463"/>
                  </a:lnTo>
                  <a:lnTo>
                    <a:pt x="136" y="463"/>
                  </a:lnTo>
                  <a:lnTo>
                    <a:pt x="140" y="459"/>
                  </a:lnTo>
                  <a:lnTo>
                    <a:pt x="144" y="455"/>
                  </a:lnTo>
                  <a:lnTo>
                    <a:pt x="140" y="455"/>
                  </a:lnTo>
                  <a:lnTo>
                    <a:pt x="144" y="455"/>
                  </a:lnTo>
                  <a:lnTo>
                    <a:pt x="144" y="451"/>
                  </a:lnTo>
                  <a:lnTo>
                    <a:pt x="148" y="451"/>
                  </a:lnTo>
                  <a:lnTo>
                    <a:pt x="148" y="447"/>
                  </a:lnTo>
                  <a:lnTo>
                    <a:pt x="152" y="447"/>
                  </a:lnTo>
                  <a:lnTo>
                    <a:pt x="156" y="447"/>
                  </a:lnTo>
                  <a:close/>
                  <a:moveTo>
                    <a:pt x="5313" y="463"/>
                  </a:moveTo>
                  <a:lnTo>
                    <a:pt x="5313" y="459"/>
                  </a:lnTo>
                  <a:lnTo>
                    <a:pt x="5309" y="463"/>
                  </a:lnTo>
                  <a:lnTo>
                    <a:pt x="5309" y="459"/>
                  </a:lnTo>
                  <a:lnTo>
                    <a:pt x="5313" y="459"/>
                  </a:lnTo>
                  <a:lnTo>
                    <a:pt x="5317" y="459"/>
                  </a:lnTo>
                  <a:lnTo>
                    <a:pt x="5321" y="459"/>
                  </a:lnTo>
                  <a:lnTo>
                    <a:pt x="5321" y="463"/>
                  </a:lnTo>
                  <a:lnTo>
                    <a:pt x="5317" y="463"/>
                  </a:lnTo>
                  <a:lnTo>
                    <a:pt x="5313" y="463"/>
                  </a:lnTo>
                  <a:close/>
                  <a:moveTo>
                    <a:pt x="124" y="463"/>
                  </a:moveTo>
                  <a:lnTo>
                    <a:pt x="128" y="459"/>
                  </a:lnTo>
                  <a:lnTo>
                    <a:pt x="128" y="463"/>
                  </a:lnTo>
                  <a:lnTo>
                    <a:pt x="124" y="463"/>
                  </a:lnTo>
                  <a:close/>
                  <a:moveTo>
                    <a:pt x="112" y="467"/>
                  </a:moveTo>
                  <a:lnTo>
                    <a:pt x="116" y="467"/>
                  </a:lnTo>
                  <a:lnTo>
                    <a:pt x="112" y="467"/>
                  </a:lnTo>
                  <a:close/>
                  <a:moveTo>
                    <a:pt x="5325" y="471"/>
                  </a:moveTo>
                  <a:lnTo>
                    <a:pt x="5321" y="471"/>
                  </a:lnTo>
                  <a:lnTo>
                    <a:pt x="5325" y="471"/>
                  </a:lnTo>
                  <a:close/>
                  <a:moveTo>
                    <a:pt x="48" y="479"/>
                  </a:moveTo>
                  <a:lnTo>
                    <a:pt x="52" y="479"/>
                  </a:lnTo>
                  <a:lnTo>
                    <a:pt x="56" y="479"/>
                  </a:lnTo>
                  <a:lnTo>
                    <a:pt x="56" y="475"/>
                  </a:lnTo>
                  <a:lnTo>
                    <a:pt x="60" y="475"/>
                  </a:lnTo>
                  <a:lnTo>
                    <a:pt x="56" y="475"/>
                  </a:lnTo>
                  <a:lnTo>
                    <a:pt x="56" y="471"/>
                  </a:lnTo>
                  <a:lnTo>
                    <a:pt x="60" y="471"/>
                  </a:lnTo>
                  <a:lnTo>
                    <a:pt x="64" y="471"/>
                  </a:lnTo>
                  <a:lnTo>
                    <a:pt x="64" y="475"/>
                  </a:lnTo>
                  <a:lnTo>
                    <a:pt x="60" y="479"/>
                  </a:lnTo>
                  <a:lnTo>
                    <a:pt x="56" y="479"/>
                  </a:lnTo>
                  <a:lnTo>
                    <a:pt x="52" y="479"/>
                  </a:lnTo>
                  <a:lnTo>
                    <a:pt x="48" y="479"/>
                  </a:lnTo>
                  <a:lnTo>
                    <a:pt x="44" y="479"/>
                  </a:lnTo>
                  <a:lnTo>
                    <a:pt x="48" y="479"/>
                  </a:lnTo>
                  <a:close/>
                  <a:moveTo>
                    <a:pt x="84" y="475"/>
                  </a:moveTo>
                  <a:lnTo>
                    <a:pt x="84" y="471"/>
                  </a:lnTo>
                  <a:lnTo>
                    <a:pt x="88" y="471"/>
                  </a:lnTo>
                  <a:lnTo>
                    <a:pt x="88" y="475"/>
                  </a:lnTo>
                  <a:lnTo>
                    <a:pt x="84" y="475"/>
                  </a:lnTo>
                  <a:close/>
                  <a:moveTo>
                    <a:pt x="72" y="479"/>
                  </a:moveTo>
                  <a:lnTo>
                    <a:pt x="68" y="479"/>
                  </a:lnTo>
                  <a:lnTo>
                    <a:pt x="64" y="479"/>
                  </a:lnTo>
                  <a:lnTo>
                    <a:pt x="60" y="479"/>
                  </a:lnTo>
                  <a:lnTo>
                    <a:pt x="64" y="479"/>
                  </a:lnTo>
                  <a:lnTo>
                    <a:pt x="68" y="479"/>
                  </a:lnTo>
                  <a:lnTo>
                    <a:pt x="72" y="479"/>
                  </a:lnTo>
                  <a:lnTo>
                    <a:pt x="76" y="479"/>
                  </a:lnTo>
                  <a:lnTo>
                    <a:pt x="80" y="479"/>
                  </a:lnTo>
                  <a:lnTo>
                    <a:pt x="76" y="479"/>
                  </a:lnTo>
                  <a:lnTo>
                    <a:pt x="72" y="479"/>
                  </a:lnTo>
                  <a:close/>
                  <a:moveTo>
                    <a:pt x="5381" y="483"/>
                  </a:moveTo>
                  <a:lnTo>
                    <a:pt x="5385" y="479"/>
                  </a:lnTo>
                  <a:lnTo>
                    <a:pt x="5385" y="483"/>
                  </a:lnTo>
                  <a:lnTo>
                    <a:pt x="5381" y="483"/>
                  </a:lnTo>
                  <a:close/>
                  <a:moveTo>
                    <a:pt x="32" y="483"/>
                  </a:moveTo>
                  <a:lnTo>
                    <a:pt x="28" y="483"/>
                  </a:lnTo>
                  <a:lnTo>
                    <a:pt x="28" y="479"/>
                  </a:lnTo>
                  <a:lnTo>
                    <a:pt x="32" y="479"/>
                  </a:lnTo>
                  <a:lnTo>
                    <a:pt x="32" y="483"/>
                  </a:lnTo>
                  <a:close/>
                  <a:moveTo>
                    <a:pt x="5417" y="483"/>
                  </a:moveTo>
                  <a:lnTo>
                    <a:pt x="5413" y="483"/>
                  </a:lnTo>
                  <a:lnTo>
                    <a:pt x="5417" y="479"/>
                  </a:lnTo>
                  <a:lnTo>
                    <a:pt x="5417" y="483"/>
                  </a:lnTo>
                  <a:close/>
                  <a:moveTo>
                    <a:pt x="5397" y="483"/>
                  </a:moveTo>
                  <a:lnTo>
                    <a:pt x="5401" y="483"/>
                  </a:lnTo>
                  <a:lnTo>
                    <a:pt x="5397" y="483"/>
                  </a:lnTo>
                  <a:close/>
                  <a:moveTo>
                    <a:pt x="20" y="491"/>
                  </a:moveTo>
                  <a:lnTo>
                    <a:pt x="16" y="491"/>
                  </a:lnTo>
                  <a:lnTo>
                    <a:pt x="16" y="487"/>
                  </a:lnTo>
                  <a:lnTo>
                    <a:pt x="20" y="487"/>
                  </a:lnTo>
                  <a:lnTo>
                    <a:pt x="20" y="483"/>
                  </a:lnTo>
                  <a:lnTo>
                    <a:pt x="24" y="483"/>
                  </a:lnTo>
                  <a:lnTo>
                    <a:pt x="28" y="487"/>
                  </a:lnTo>
                  <a:lnTo>
                    <a:pt x="24" y="487"/>
                  </a:lnTo>
                  <a:lnTo>
                    <a:pt x="20" y="487"/>
                  </a:lnTo>
                  <a:lnTo>
                    <a:pt x="20" y="491"/>
                  </a:lnTo>
                  <a:close/>
                  <a:moveTo>
                    <a:pt x="8" y="487"/>
                  </a:moveTo>
                  <a:lnTo>
                    <a:pt x="12" y="487"/>
                  </a:lnTo>
                  <a:lnTo>
                    <a:pt x="16" y="487"/>
                  </a:lnTo>
                  <a:lnTo>
                    <a:pt x="16" y="483"/>
                  </a:lnTo>
                  <a:lnTo>
                    <a:pt x="16" y="487"/>
                  </a:lnTo>
                  <a:lnTo>
                    <a:pt x="12" y="487"/>
                  </a:lnTo>
                  <a:lnTo>
                    <a:pt x="8" y="487"/>
                  </a:lnTo>
                  <a:close/>
                  <a:moveTo>
                    <a:pt x="4" y="491"/>
                  </a:moveTo>
                  <a:lnTo>
                    <a:pt x="0" y="487"/>
                  </a:lnTo>
                  <a:lnTo>
                    <a:pt x="4" y="487"/>
                  </a:lnTo>
                  <a:lnTo>
                    <a:pt x="0" y="487"/>
                  </a:lnTo>
                  <a:lnTo>
                    <a:pt x="0" y="483"/>
                  </a:lnTo>
                  <a:lnTo>
                    <a:pt x="4" y="483"/>
                  </a:lnTo>
                  <a:lnTo>
                    <a:pt x="4" y="487"/>
                  </a:lnTo>
                  <a:lnTo>
                    <a:pt x="4" y="491"/>
                  </a:lnTo>
                  <a:close/>
                  <a:moveTo>
                    <a:pt x="32" y="487"/>
                  </a:moveTo>
                  <a:lnTo>
                    <a:pt x="28" y="487"/>
                  </a:lnTo>
                  <a:lnTo>
                    <a:pt x="28" y="483"/>
                  </a:lnTo>
                  <a:lnTo>
                    <a:pt x="32" y="483"/>
                  </a:lnTo>
                  <a:lnTo>
                    <a:pt x="32" y="487"/>
                  </a:lnTo>
                  <a:lnTo>
                    <a:pt x="32" y="483"/>
                  </a:lnTo>
                  <a:lnTo>
                    <a:pt x="32" y="487"/>
                  </a:lnTo>
                  <a:close/>
                  <a:moveTo>
                    <a:pt x="28" y="487"/>
                  </a:moveTo>
                  <a:lnTo>
                    <a:pt x="28" y="483"/>
                  </a:lnTo>
                  <a:lnTo>
                    <a:pt x="28" y="487"/>
                  </a:lnTo>
                  <a:close/>
                  <a:moveTo>
                    <a:pt x="5409" y="495"/>
                  </a:moveTo>
                  <a:lnTo>
                    <a:pt x="5405" y="491"/>
                  </a:lnTo>
                  <a:lnTo>
                    <a:pt x="5401" y="491"/>
                  </a:lnTo>
                  <a:lnTo>
                    <a:pt x="5401" y="487"/>
                  </a:lnTo>
                  <a:lnTo>
                    <a:pt x="5401" y="491"/>
                  </a:lnTo>
                  <a:lnTo>
                    <a:pt x="5405" y="491"/>
                  </a:lnTo>
                  <a:lnTo>
                    <a:pt x="5409" y="491"/>
                  </a:lnTo>
                  <a:lnTo>
                    <a:pt x="5409" y="495"/>
                  </a:lnTo>
                  <a:lnTo>
                    <a:pt x="5413" y="495"/>
                  </a:lnTo>
                  <a:lnTo>
                    <a:pt x="5409" y="495"/>
                  </a:lnTo>
                  <a:close/>
                  <a:moveTo>
                    <a:pt x="838" y="555"/>
                  </a:moveTo>
                  <a:lnTo>
                    <a:pt x="838" y="559"/>
                  </a:lnTo>
                  <a:lnTo>
                    <a:pt x="834" y="555"/>
                  </a:lnTo>
                  <a:lnTo>
                    <a:pt x="838" y="555"/>
                  </a:lnTo>
                  <a:close/>
                  <a:moveTo>
                    <a:pt x="838" y="559"/>
                  </a:moveTo>
                  <a:lnTo>
                    <a:pt x="838" y="563"/>
                  </a:lnTo>
                  <a:lnTo>
                    <a:pt x="838" y="559"/>
                  </a:lnTo>
                  <a:lnTo>
                    <a:pt x="834" y="559"/>
                  </a:lnTo>
                  <a:lnTo>
                    <a:pt x="838" y="559"/>
                  </a:lnTo>
                  <a:close/>
                  <a:moveTo>
                    <a:pt x="842" y="563"/>
                  </a:moveTo>
                  <a:lnTo>
                    <a:pt x="842" y="567"/>
                  </a:lnTo>
                  <a:lnTo>
                    <a:pt x="846" y="571"/>
                  </a:lnTo>
                  <a:lnTo>
                    <a:pt x="842" y="571"/>
                  </a:lnTo>
                  <a:lnTo>
                    <a:pt x="842" y="567"/>
                  </a:lnTo>
                  <a:lnTo>
                    <a:pt x="838" y="567"/>
                  </a:lnTo>
                  <a:lnTo>
                    <a:pt x="838" y="563"/>
                  </a:lnTo>
                  <a:lnTo>
                    <a:pt x="842" y="563"/>
                  </a:lnTo>
                  <a:close/>
                  <a:moveTo>
                    <a:pt x="846" y="583"/>
                  </a:moveTo>
                  <a:lnTo>
                    <a:pt x="842" y="583"/>
                  </a:lnTo>
                  <a:lnTo>
                    <a:pt x="842" y="579"/>
                  </a:lnTo>
                  <a:lnTo>
                    <a:pt x="842" y="583"/>
                  </a:lnTo>
                  <a:lnTo>
                    <a:pt x="846" y="583"/>
                  </a:lnTo>
                  <a:close/>
                  <a:moveTo>
                    <a:pt x="1664" y="647"/>
                  </a:moveTo>
                  <a:lnTo>
                    <a:pt x="1664" y="651"/>
                  </a:lnTo>
                  <a:lnTo>
                    <a:pt x="1660" y="651"/>
                  </a:lnTo>
                  <a:lnTo>
                    <a:pt x="1660" y="647"/>
                  </a:lnTo>
                  <a:lnTo>
                    <a:pt x="1664" y="647"/>
                  </a:lnTo>
                  <a:close/>
                  <a:moveTo>
                    <a:pt x="1660" y="651"/>
                  </a:moveTo>
                  <a:lnTo>
                    <a:pt x="1656" y="655"/>
                  </a:lnTo>
                  <a:lnTo>
                    <a:pt x="1656" y="651"/>
                  </a:lnTo>
                  <a:lnTo>
                    <a:pt x="1660" y="651"/>
                  </a:lnTo>
                  <a:close/>
                  <a:moveTo>
                    <a:pt x="1620" y="706"/>
                  </a:moveTo>
                  <a:lnTo>
                    <a:pt x="1620" y="710"/>
                  </a:lnTo>
                  <a:lnTo>
                    <a:pt x="1616" y="710"/>
                  </a:lnTo>
                  <a:lnTo>
                    <a:pt x="1616" y="706"/>
                  </a:lnTo>
                  <a:lnTo>
                    <a:pt x="1620" y="706"/>
                  </a:lnTo>
                  <a:close/>
                  <a:moveTo>
                    <a:pt x="1628" y="710"/>
                  </a:moveTo>
                  <a:lnTo>
                    <a:pt x="1628" y="714"/>
                  </a:lnTo>
                  <a:lnTo>
                    <a:pt x="1624" y="714"/>
                  </a:lnTo>
                  <a:lnTo>
                    <a:pt x="1624" y="710"/>
                  </a:lnTo>
                  <a:lnTo>
                    <a:pt x="1628" y="710"/>
                  </a:lnTo>
                  <a:close/>
                  <a:moveTo>
                    <a:pt x="1636" y="710"/>
                  </a:moveTo>
                  <a:lnTo>
                    <a:pt x="1636" y="714"/>
                  </a:lnTo>
                  <a:lnTo>
                    <a:pt x="1640" y="714"/>
                  </a:lnTo>
                  <a:lnTo>
                    <a:pt x="1636" y="714"/>
                  </a:lnTo>
                  <a:lnTo>
                    <a:pt x="1632" y="714"/>
                  </a:lnTo>
                  <a:lnTo>
                    <a:pt x="1636" y="714"/>
                  </a:lnTo>
                  <a:lnTo>
                    <a:pt x="1636" y="710"/>
                  </a:lnTo>
                  <a:close/>
                  <a:moveTo>
                    <a:pt x="1592" y="726"/>
                  </a:moveTo>
                  <a:lnTo>
                    <a:pt x="1592" y="722"/>
                  </a:lnTo>
                  <a:lnTo>
                    <a:pt x="1592" y="726"/>
                  </a:lnTo>
                  <a:lnTo>
                    <a:pt x="1588" y="726"/>
                  </a:lnTo>
                  <a:lnTo>
                    <a:pt x="1584" y="726"/>
                  </a:lnTo>
                  <a:lnTo>
                    <a:pt x="1580" y="726"/>
                  </a:lnTo>
                  <a:lnTo>
                    <a:pt x="1576" y="726"/>
                  </a:lnTo>
                  <a:lnTo>
                    <a:pt x="1576" y="722"/>
                  </a:lnTo>
                  <a:lnTo>
                    <a:pt x="1580" y="722"/>
                  </a:lnTo>
                  <a:lnTo>
                    <a:pt x="1584" y="722"/>
                  </a:lnTo>
                  <a:lnTo>
                    <a:pt x="1588" y="722"/>
                  </a:lnTo>
                  <a:lnTo>
                    <a:pt x="1592" y="718"/>
                  </a:lnTo>
                  <a:lnTo>
                    <a:pt x="1596" y="718"/>
                  </a:lnTo>
                  <a:lnTo>
                    <a:pt x="1600" y="718"/>
                  </a:lnTo>
                  <a:lnTo>
                    <a:pt x="1604" y="714"/>
                  </a:lnTo>
                  <a:lnTo>
                    <a:pt x="1604" y="718"/>
                  </a:lnTo>
                  <a:lnTo>
                    <a:pt x="1600" y="718"/>
                  </a:lnTo>
                  <a:lnTo>
                    <a:pt x="1596" y="722"/>
                  </a:lnTo>
                  <a:lnTo>
                    <a:pt x="1600" y="722"/>
                  </a:lnTo>
                  <a:lnTo>
                    <a:pt x="1600" y="718"/>
                  </a:lnTo>
                  <a:lnTo>
                    <a:pt x="1604" y="718"/>
                  </a:lnTo>
                  <a:lnTo>
                    <a:pt x="1608" y="718"/>
                  </a:lnTo>
                  <a:lnTo>
                    <a:pt x="1604" y="718"/>
                  </a:lnTo>
                  <a:lnTo>
                    <a:pt x="1600" y="722"/>
                  </a:lnTo>
                  <a:lnTo>
                    <a:pt x="1596" y="722"/>
                  </a:lnTo>
                  <a:lnTo>
                    <a:pt x="1592" y="726"/>
                  </a:lnTo>
                  <a:close/>
                  <a:moveTo>
                    <a:pt x="882" y="862"/>
                  </a:moveTo>
                  <a:lnTo>
                    <a:pt x="878" y="862"/>
                  </a:lnTo>
                  <a:lnTo>
                    <a:pt x="882" y="862"/>
                  </a:lnTo>
                  <a:close/>
                  <a:moveTo>
                    <a:pt x="902" y="874"/>
                  </a:moveTo>
                  <a:lnTo>
                    <a:pt x="906" y="874"/>
                  </a:lnTo>
                  <a:lnTo>
                    <a:pt x="902" y="874"/>
                  </a:lnTo>
                  <a:close/>
                  <a:moveTo>
                    <a:pt x="902" y="882"/>
                  </a:moveTo>
                  <a:lnTo>
                    <a:pt x="906" y="886"/>
                  </a:lnTo>
                  <a:lnTo>
                    <a:pt x="902" y="886"/>
                  </a:lnTo>
                  <a:lnTo>
                    <a:pt x="902" y="882"/>
                  </a:lnTo>
                  <a:close/>
                  <a:moveTo>
                    <a:pt x="1388" y="934"/>
                  </a:moveTo>
                  <a:lnTo>
                    <a:pt x="1384" y="934"/>
                  </a:lnTo>
                  <a:lnTo>
                    <a:pt x="1380" y="934"/>
                  </a:lnTo>
                  <a:lnTo>
                    <a:pt x="1376" y="934"/>
                  </a:lnTo>
                  <a:lnTo>
                    <a:pt x="1380" y="934"/>
                  </a:lnTo>
                  <a:lnTo>
                    <a:pt x="1384" y="934"/>
                  </a:lnTo>
                  <a:lnTo>
                    <a:pt x="1388" y="934"/>
                  </a:lnTo>
                  <a:close/>
                  <a:moveTo>
                    <a:pt x="1309" y="950"/>
                  </a:moveTo>
                  <a:lnTo>
                    <a:pt x="1305" y="950"/>
                  </a:lnTo>
                  <a:lnTo>
                    <a:pt x="1309" y="950"/>
                  </a:lnTo>
                  <a:close/>
                  <a:moveTo>
                    <a:pt x="1261" y="954"/>
                  </a:moveTo>
                  <a:lnTo>
                    <a:pt x="1261" y="958"/>
                  </a:lnTo>
                  <a:lnTo>
                    <a:pt x="1257" y="958"/>
                  </a:lnTo>
                  <a:lnTo>
                    <a:pt x="1261" y="958"/>
                  </a:lnTo>
                  <a:lnTo>
                    <a:pt x="1261" y="954"/>
                  </a:lnTo>
                  <a:close/>
                  <a:moveTo>
                    <a:pt x="1233" y="978"/>
                  </a:moveTo>
                  <a:lnTo>
                    <a:pt x="1233" y="974"/>
                  </a:lnTo>
                  <a:lnTo>
                    <a:pt x="1237" y="974"/>
                  </a:lnTo>
                  <a:lnTo>
                    <a:pt x="1233" y="978"/>
                  </a:lnTo>
                  <a:close/>
                  <a:moveTo>
                    <a:pt x="1233" y="978"/>
                  </a:moveTo>
                  <a:lnTo>
                    <a:pt x="1229" y="978"/>
                  </a:lnTo>
                  <a:lnTo>
                    <a:pt x="1229" y="982"/>
                  </a:lnTo>
                  <a:lnTo>
                    <a:pt x="1229" y="978"/>
                  </a:lnTo>
                  <a:lnTo>
                    <a:pt x="1233" y="978"/>
                  </a:lnTo>
                  <a:close/>
                  <a:moveTo>
                    <a:pt x="1480" y="1034"/>
                  </a:moveTo>
                  <a:lnTo>
                    <a:pt x="1480" y="1030"/>
                  </a:lnTo>
                  <a:lnTo>
                    <a:pt x="1480" y="1034"/>
                  </a:lnTo>
                  <a:lnTo>
                    <a:pt x="1476" y="1038"/>
                  </a:lnTo>
                  <a:lnTo>
                    <a:pt x="1480" y="1038"/>
                  </a:lnTo>
                  <a:lnTo>
                    <a:pt x="1480" y="1034"/>
                  </a:lnTo>
                  <a:close/>
                  <a:moveTo>
                    <a:pt x="284" y="1098"/>
                  </a:moveTo>
                  <a:lnTo>
                    <a:pt x="280" y="1098"/>
                  </a:lnTo>
                  <a:lnTo>
                    <a:pt x="280" y="1094"/>
                  </a:lnTo>
                  <a:lnTo>
                    <a:pt x="280" y="1090"/>
                  </a:lnTo>
                  <a:lnTo>
                    <a:pt x="284" y="1090"/>
                  </a:lnTo>
                  <a:lnTo>
                    <a:pt x="284" y="1094"/>
                  </a:lnTo>
                  <a:lnTo>
                    <a:pt x="288" y="1094"/>
                  </a:lnTo>
                  <a:lnTo>
                    <a:pt x="284" y="1098"/>
                  </a:lnTo>
                  <a:close/>
                  <a:moveTo>
                    <a:pt x="272" y="1098"/>
                  </a:moveTo>
                  <a:lnTo>
                    <a:pt x="272" y="1094"/>
                  </a:lnTo>
                  <a:lnTo>
                    <a:pt x="276" y="1094"/>
                  </a:lnTo>
                  <a:lnTo>
                    <a:pt x="276" y="1098"/>
                  </a:lnTo>
                  <a:lnTo>
                    <a:pt x="272" y="1098"/>
                  </a:lnTo>
                  <a:close/>
                  <a:moveTo>
                    <a:pt x="307" y="1110"/>
                  </a:moveTo>
                  <a:lnTo>
                    <a:pt x="303" y="1110"/>
                  </a:lnTo>
                  <a:lnTo>
                    <a:pt x="303" y="1106"/>
                  </a:lnTo>
                  <a:lnTo>
                    <a:pt x="299" y="1102"/>
                  </a:lnTo>
                  <a:lnTo>
                    <a:pt x="303" y="1102"/>
                  </a:lnTo>
                  <a:lnTo>
                    <a:pt x="307" y="1102"/>
                  </a:lnTo>
                  <a:lnTo>
                    <a:pt x="307" y="1106"/>
                  </a:lnTo>
                  <a:lnTo>
                    <a:pt x="311" y="1110"/>
                  </a:lnTo>
                  <a:lnTo>
                    <a:pt x="307" y="1110"/>
                  </a:lnTo>
                  <a:close/>
                  <a:moveTo>
                    <a:pt x="323" y="1114"/>
                  </a:moveTo>
                  <a:lnTo>
                    <a:pt x="319" y="1114"/>
                  </a:lnTo>
                  <a:lnTo>
                    <a:pt x="315" y="1114"/>
                  </a:lnTo>
                  <a:lnTo>
                    <a:pt x="315" y="1110"/>
                  </a:lnTo>
                  <a:lnTo>
                    <a:pt x="319" y="1110"/>
                  </a:lnTo>
                  <a:lnTo>
                    <a:pt x="323" y="1110"/>
                  </a:lnTo>
                  <a:lnTo>
                    <a:pt x="323" y="1114"/>
                  </a:lnTo>
                  <a:close/>
                  <a:moveTo>
                    <a:pt x="331" y="1122"/>
                  </a:moveTo>
                  <a:lnTo>
                    <a:pt x="327" y="1122"/>
                  </a:lnTo>
                  <a:lnTo>
                    <a:pt x="327" y="1118"/>
                  </a:lnTo>
                  <a:lnTo>
                    <a:pt x="323" y="1118"/>
                  </a:lnTo>
                  <a:lnTo>
                    <a:pt x="323" y="1114"/>
                  </a:lnTo>
                  <a:lnTo>
                    <a:pt x="327" y="1114"/>
                  </a:lnTo>
                  <a:lnTo>
                    <a:pt x="327" y="1118"/>
                  </a:lnTo>
                  <a:lnTo>
                    <a:pt x="331" y="1118"/>
                  </a:lnTo>
                  <a:lnTo>
                    <a:pt x="331" y="1114"/>
                  </a:lnTo>
                  <a:lnTo>
                    <a:pt x="331" y="1118"/>
                  </a:lnTo>
                  <a:lnTo>
                    <a:pt x="335" y="1118"/>
                  </a:lnTo>
                  <a:lnTo>
                    <a:pt x="335" y="1122"/>
                  </a:lnTo>
                  <a:lnTo>
                    <a:pt x="331" y="1122"/>
                  </a:lnTo>
                  <a:close/>
                  <a:moveTo>
                    <a:pt x="323" y="1118"/>
                  </a:moveTo>
                  <a:lnTo>
                    <a:pt x="319" y="1118"/>
                  </a:lnTo>
                  <a:lnTo>
                    <a:pt x="323" y="1118"/>
                  </a:lnTo>
                  <a:close/>
                  <a:moveTo>
                    <a:pt x="339" y="1129"/>
                  </a:moveTo>
                  <a:lnTo>
                    <a:pt x="343" y="1129"/>
                  </a:lnTo>
                  <a:lnTo>
                    <a:pt x="347" y="1133"/>
                  </a:lnTo>
                  <a:lnTo>
                    <a:pt x="347" y="1137"/>
                  </a:lnTo>
                  <a:lnTo>
                    <a:pt x="351" y="1137"/>
                  </a:lnTo>
                  <a:lnTo>
                    <a:pt x="351" y="1141"/>
                  </a:lnTo>
                  <a:lnTo>
                    <a:pt x="355" y="1141"/>
                  </a:lnTo>
                  <a:lnTo>
                    <a:pt x="351" y="1145"/>
                  </a:lnTo>
                  <a:lnTo>
                    <a:pt x="347" y="1145"/>
                  </a:lnTo>
                  <a:lnTo>
                    <a:pt x="343" y="1149"/>
                  </a:lnTo>
                  <a:lnTo>
                    <a:pt x="343" y="1153"/>
                  </a:lnTo>
                  <a:lnTo>
                    <a:pt x="339" y="1153"/>
                  </a:lnTo>
                  <a:lnTo>
                    <a:pt x="335" y="1149"/>
                  </a:lnTo>
                  <a:lnTo>
                    <a:pt x="335" y="1145"/>
                  </a:lnTo>
                  <a:lnTo>
                    <a:pt x="335" y="1141"/>
                  </a:lnTo>
                  <a:lnTo>
                    <a:pt x="335" y="1137"/>
                  </a:lnTo>
                  <a:lnTo>
                    <a:pt x="339" y="1133"/>
                  </a:lnTo>
                  <a:lnTo>
                    <a:pt x="335" y="1129"/>
                  </a:lnTo>
                  <a:lnTo>
                    <a:pt x="339" y="112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0" name="Freeform 189"/>
            <p:cNvSpPr>
              <a:spLocks/>
            </p:cNvSpPr>
            <p:nvPr>
              <p:custDataLst>
                <p:tags r:id="rId382"/>
              </p:custDataLst>
            </p:nvPr>
          </p:nvSpPr>
          <p:spPr bwMode="gray">
            <a:xfrm>
              <a:off x="2772869" y="2538945"/>
              <a:ext cx="53390" cy="41526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20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28" y="12"/>
                </a:cxn>
                <a:cxn ang="0">
                  <a:pos x="24" y="16"/>
                </a:cxn>
                <a:cxn ang="0">
                  <a:pos x="28" y="16"/>
                </a:cxn>
                <a:cxn ang="0">
                  <a:pos x="32" y="16"/>
                </a:cxn>
                <a:cxn ang="0">
                  <a:pos x="32" y="16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32" y="16"/>
                </a:cxn>
                <a:cxn ang="0">
                  <a:pos x="28" y="20"/>
                </a:cxn>
                <a:cxn ang="0">
                  <a:pos x="28" y="20"/>
                </a:cxn>
                <a:cxn ang="0">
                  <a:pos x="28" y="20"/>
                </a:cxn>
                <a:cxn ang="0">
                  <a:pos x="24" y="20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8" y="24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0" y="12"/>
                </a:cxn>
              </a:cxnLst>
              <a:rect l="0" t="0" r="r" b="b"/>
              <a:pathLst>
                <a:path w="36" h="28">
                  <a:moveTo>
                    <a:pt x="0" y="12"/>
                  </a:move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1" name="Freeform 190"/>
            <p:cNvSpPr>
              <a:spLocks/>
            </p:cNvSpPr>
            <p:nvPr>
              <p:custDataLst>
                <p:tags r:id="rId383"/>
              </p:custDataLst>
            </p:nvPr>
          </p:nvSpPr>
          <p:spPr bwMode="gray">
            <a:xfrm>
              <a:off x="2446595" y="4266714"/>
              <a:ext cx="23729" cy="29661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</a:cxnLst>
              <a:rect l="0" t="0" r="r" b="b"/>
              <a:pathLst>
                <a:path w="16" h="20">
                  <a:moveTo>
                    <a:pt x="16" y="16"/>
                  </a:moveTo>
                  <a:lnTo>
                    <a:pt x="16" y="16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2" name="Freeform 191"/>
            <p:cNvSpPr>
              <a:spLocks/>
            </p:cNvSpPr>
            <p:nvPr>
              <p:custDataLst>
                <p:tags r:id="rId384"/>
              </p:custDataLst>
            </p:nvPr>
          </p:nvSpPr>
          <p:spPr bwMode="gray">
            <a:xfrm>
              <a:off x="2511850" y="3379842"/>
              <a:ext cx="11865" cy="10381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</a:cxnLst>
              <a:rect l="0" t="0" r="r" b="b"/>
              <a:pathLst>
                <a:path w="8" h="7">
                  <a:moveTo>
                    <a:pt x="4" y="4"/>
                  </a:move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grpSp>
          <p:nvGrpSpPr>
            <p:cNvPr id="193" name="Group 192"/>
            <p:cNvGrpSpPr>
              <a:grpSpLocks/>
            </p:cNvGrpSpPr>
            <p:nvPr>
              <p:custDataLst>
                <p:tags r:id="rId385"/>
              </p:custDataLst>
            </p:nvPr>
          </p:nvGrpSpPr>
          <p:grpSpPr bwMode="gray">
            <a:xfrm>
              <a:off x="8117831" y="5561429"/>
              <a:ext cx="271400" cy="378181"/>
              <a:chOff x="4515" y="3775"/>
              <a:chExt cx="183" cy="255"/>
            </a:xfrm>
            <a:grpFill/>
          </p:grpSpPr>
          <p:sp>
            <p:nvSpPr>
              <p:cNvPr id="219" name="Freeform 193"/>
              <p:cNvSpPr>
                <a:spLocks/>
              </p:cNvSpPr>
              <p:nvPr/>
            </p:nvSpPr>
            <p:spPr bwMode="gray">
              <a:xfrm>
                <a:off x="4606" y="3775"/>
                <a:ext cx="92" cy="148"/>
              </a:xfrm>
              <a:custGeom>
                <a:avLst/>
                <a:gdLst/>
                <a:ahLst/>
                <a:cxnLst>
                  <a:cxn ang="0">
                    <a:pos x="56" y="132"/>
                  </a:cxn>
                  <a:cxn ang="0">
                    <a:pos x="48" y="144"/>
                  </a:cxn>
                  <a:cxn ang="0">
                    <a:pos x="40" y="144"/>
                  </a:cxn>
                  <a:cxn ang="0">
                    <a:pos x="32" y="144"/>
                  </a:cxn>
                  <a:cxn ang="0">
                    <a:pos x="36" y="132"/>
                  </a:cxn>
                  <a:cxn ang="0">
                    <a:pos x="40" y="120"/>
                  </a:cxn>
                  <a:cxn ang="0">
                    <a:pos x="32" y="112"/>
                  </a:cxn>
                  <a:cxn ang="0">
                    <a:pos x="24" y="104"/>
                  </a:cxn>
                  <a:cxn ang="0">
                    <a:pos x="20" y="96"/>
                  </a:cxn>
                  <a:cxn ang="0">
                    <a:pos x="32" y="92"/>
                  </a:cxn>
                  <a:cxn ang="0">
                    <a:pos x="32" y="76"/>
                  </a:cxn>
                  <a:cxn ang="0">
                    <a:pos x="32" y="68"/>
                  </a:cxn>
                  <a:cxn ang="0">
                    <a:pos x="32" y="60"/>
                  </a:cxn>
                  <a:cxn ang="0">
                    <a:pos x="28" y="56"/>
                  </a:cxn>
                  <a:cxn ang="0">
                    <a:pos x="36" y="56"/>
                  </a:cxn>
                  <a:cxn ang="0">
                    <a:pos x="28" y="48"/>
                  </a:cxn>
                  <a:cxn ang="0">
                    <a:pos x="28" y="44"/>
                  </a:cxn>
                  <a:cxn ang="0">
                    <a:pos x="28" y="36"/>
                  </a:cxn>
                  <a:cxn ang="0">
                    <a:pos x="24" y="36"/>
                  </a:cxn>
                  <a:cxn ang="0">
                    <a:pos x="20" y="32"/>
                  </a:cxn>
                  <a:cxn ang="0">
                    <a:pos x="20" y="40"/>
                  </a:cxn>
                  <a:cxn ang="0">
                    <a:pos x="16" y="28"/>
                  </a:cxn>
                  <a:cxn ang="0">
                    <a:pos x="16" y="16"/>
                  </a:cxn>
                  <a:cxn ang="0">
                    <a:pos x="12" y="20"/>
                  </a:cxn>
                  <a:cxn ang="0">
                    <a:pos x="4" y="8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8" y="12"/>
                  </a:cxn>
                  <a:cxn ang="0">
                    <a:pos x="16" y="12"/>
                  </a:cxn>
                  <a:cxn ang="0">
                    <a:pos x="24" y="16"/>
                  </a:cxn>
                  <a:cxn ang="0">
                    <a:pos x="28" y="20"/>
                  </a:cxn>
                  <a:cxn ang="0">
                    <a:pos x="28" y="28"/>
                  </a:cxn>
                  <a:cxn ang="0">
                    <a:pos x="32" y="32"/>
                  </a:cxn>
                  <a:cxn ang="0">
                    <a:pos x="32" y="48"/>
                  </a:cxn>
                  <a:cxn ang="0">
                    <a:pos x="36" y="52"/>
                  </a:cxn>
                  <a:cxn ang="0">
                    <a:pos x="44" y="52"/>
                  </a:cxn>
                  <a:cxn ang="0">
                    <a:pos x="40" y="40"/>
                  </a:cxn>
                  <a:cxn ang="0">
                    <a:pos x="48" y="52"/>
                  </a:cxn>
                  <a:cxn ang="0">
                    <a:pos x="52" y="56"/>
                  </a:cxn>
                  <a:cxn ang="0">
                    <a:pos x="52" y="64"/>
                  </a:cxn>
                  <a:cxn ang="0">
                    <a:pos x="56" y="68"/>
                  </a:cxn>
                  <a:cxn ang="0">
                    <a:pos x="68" y="72"/>
                  </a:cxn>
                  <a:cxn ang="0">
                    <a:pos x="80" y="68"/>
                  </a:cxn>
                  <a:cxn ang="0">
                    <a:pos x="92" y="68"/>
                  </a:cxn>
                  <a:cxn ang="0">
                    <a:pos x="88" y="80"/>
                  </a:cxn>
                  <a:cxn ang="0">
                    <a:pos x="80" y="92"/>
                  </a:cxn>
                  <a:cxn ang="0">
                    <a:pos x="76" y="96"/>
                  </a:cxn>
                  <a:cxn ang="0">
                    <a:pos x="64" y="104"/>
                  </a:cxn>
                  <a:cxn ang="0">
                    <a:pos x="64" y="120"/>
                  </a:cxn>
                </a:cxnLst>
                <a:rect l="0" t="0" r="r" b="b"/>
                <a:pathLst>
                  <a:path w="92" h="148">
                    <a:moveTo>
                      <a:pt x="60" y="124"/>
                    </a:moveTo>
                    <a:lnTo>
                      <a:pt x="60" y="128"/>
                    </a:lnTo>
                    <a:lnTo>
                      <a:pt x="56" y="128"/>
                    </a:lnTo>
                    <a:lnTo>
                      <a:pt x="56" y="132"/>
                    </a:lnTo>
                    <a:lnTo>
                      <a:pt x="56" y="136"/>
                    </a:lnTo>
                    <a:lnTo>
                      <a:pt x="52" y="136"/>
                    </a:lnTo>
                    <a:lnTo>
                      <a:pt x="52" y="140"/>
                    </a:lnTo>
                    <a:lnTo>
                      <a:pt x="48" y="144"/>
                    </a:lnTo>
                    <a:lnTo>
                      <a:pt x="44" y="144"/>
                    </a:lnTo>
                    <a:lnTo>
                      <a:pt x="44" y="148"/>
                    </a:lnTo>
                    <a:lnTo>
                      <a:pt x="40" y="148"/>
                    </a:lnTo>
                    <a:lnTo>
                      <a:pt x="40" y="144"/>
                    </a:lnTo>
                    <a:lnTo>
                      <a:pt x="36" y="144"/>
                    </a:lnTo>
                    <a:lnTo>
                      <a:pt x="36" y="140"/>
                    </a:lnTo>
                    <a:lnTo>
                      <a:pt x="32" y="140"/>
                    </a:lnTo>
                    <a:lnTo>
                      <a:pt x="32" y="144"/>
                    </a:lnTo>
                    <a:lnTo>
                      <a:pt x="32" y="140"/>
                    </a:lnTo>
                    <a:lnTo>
                      <a:pt x="32" y="136"/>
                    </a:lnTo>
                    <a:lnTo>
                      <a:pt x="36" y="136"/>
                    </a:lnTo>
                    <a:lnTo>
                      <a:pt x="36" y="132"/>
                    </a:lnTo>
                    <a:lnTo>
                      <a:pt x="36" y="128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0"/>
                    </a:lnTo>
                    <a:lnTo>
                      <a:pt x="40" y="116"/>
                    </a:lnTo>
                    <a:lnTo>
                      <a:pt x="36" y="116"/>
                    </a:lnTo>
                    <a:lnTo>
                      <a:pt x="36" y="112"/>
                    </a:lnTo>
                    <a:lnTo>
                      <a:pt x="32" y="112"/>
                    </a:lnTo>
                    <a:lnTo>
                      <a:pt x="28" y="112"/>
                    </a:lnTo>
                    <a:lnTo>
                      <a:pt x="28" y="108"/>
                    </a:lnTo>
                    <a:lnTo>
                      <a:pt x="24" y="108"/>
                    </a:lnTo>
                    <a:lnTo>
                      <a:pt x="24" y="104"/>
                    </a:lnTo>
                    <a:lnTo>
                      <a:pt x="20" y="104"/>
                    </a:lnTo>
                    <a:lnTo>
                      <a:pt x="16" y="100"/>
                    </a:lnTo>
                    <a:lnTo>
                      <a:pt x="16" y="96"/>
                    </a:lnTo>
                    <a:lnTo>
                      <a:pt x="20" y="96"/>
                    </a:lnTo>
                    <a:lnTo>
                      <a:pt x="24" y="96"/>
                    </a:lnTo>
                    <a:lnTo>
                      <a:pt x="24" y="92"/>
                    </a:lnTo>
                    <a:lnTo>
                      <a:pt x="28" y="92"/>
                    </a:lnTo>
                    <a:lnTo>
                      <a:pt x="32" y="92"/>
                    </a:lnTo>
                    <a:lnTo>
                      <a:pt x="32" y="88"/>
                    </a:lnTo>
                    <a:lnTo>
                      <a:pt x="32" y="84"/>
                    </a:lnTo>
                    <a:lnTo>
                      <a:pt x="32" y="80"/>
                    </a:lnTo>
                    <a:lnTo>
                      <a:pt x="32" y="76"/>
                    </a:lnTo>
                    <a:lnTo>
                      <a:pt x="36" y="76"/>
                    </a:lnTo>
                    <a:lnTo>
                      <a:pt x="36" y="72"/>
                    </a:lnTo>
                    <a:lnTo>
                      <a:pt x="32" y="72"/>
                    </a:lnTo>
                    <a:lnTo>
                      <a:pt x="32" y="68"/>
                    </a:lnTo>
                    <a:lnTo>
                      <a:pt x="36" y="68"/>
                    </a:lnTo>
                    <a:lnTo>
                      <a:pt x="32" y="68"/>
                    </a:lnTo>
                    <a:lnTo>
                      <a:pt x="32" y="64"/>
                    </a:lnTo>
                    <a:lnTo>
                      <a:pt x="32" y="60"/>
                    </a:lnTo>
                    <a:lnTo>
                      <a:pt x="36" y="60"/>
                    </a:lnTo>
                    <a:lnTo>
                      <a:pt x="32" y="60"/>
                    </a:lnTo>
                    <a:lnTo>
                      <a:pt x="32" y="56"/>
                    </a:lnTo>
                    <a:lnTo>
                      <a:pt x="28" y="56"/>
                    </a:lnTo>
                    <a:lnTo>
                      <a:pt x="28" y="52"/>
                    </a:lnTo>
                    <a:lnTo>
                      <a:pt x="32" y="52"/>
                    </a:lnTo>
                    <a:lnTo>
                      <a:pt x="32" y="56"/>
                    </a:lnTo>
                    <a:lnTo>
                      <a:pt x="36" y="56"/>
                    </a:lnTo>
                    <a:lnTo>
                      <a:pt x="36" y="52"/>
                    </a:lnTo>
                    <a:lnTo>
                      <a:pt x="32" y="52"/>
                    </a:lnTo>
                    <a:lnTo>
                      <a:pt x="28" y="52"/>
                    </a:lnTo>
                    <a:lnTo>
                      <a:pt x="28" y="48"/>
                    </a:lnTo>
                    <a:lnTo>
                      <a:pt x="24" y="44"/>
                    </a:lnTo>
                    <a:lnTo>
                      <a:pt x="24" y="40"/>
                    </a:lnTo>
                    <a:lnTo>
                      <a:pt x="24" y="44"/>
                    </a:lnTo>
                    <a:lnTo>
                      <a:pt x="28" y="44"/>
                    </a:lnTo>
                    <a:lnTo>
                      <a:pt x="28" y="40"/>
                    </a:lnTo>
                    <a:lnTo>
                      <a:pt x="24" y="40"/>
                    </a:lnTo>
                    <a:lnTo>
                      <a:pt x="28" y="40"/>
                    </a:lnTo>
                    <a:lnTo>
                      <a:pt x="28" y="36"/>
                    </a:lnTo>
                    <a:lnTo>
                      <a:pt x="28" y="40"/>
                    </a:lnTo>
                    <a:lnTo>
                      <a:pt x="24" y="40"/>
                    </a:lnTo>
                    <a:lnTo>
                      <a:pt x="28" y="36"/>
                    </a:lnTo>
                    <a:lnTo>
                      <a:pt x="24" y="36"/>
                    </a:lnTo>
                    <a:lnTo>
                      <a:pt x="20" y="36"/>
                    </a:lnTo>
                    <a:lnTo>
                      <a:pt x="20" y="32"/>
                    </a:lnTo>
                    <a:lnTo>
                      <a:pt x="20" y="28"/>
                    </a:lnTo>
                    <a:lnTo>
                      <a:pt x="20" y="32"/>
                    </a:lnTo>
                    <a:lnTo>
                      <a:pt x="20" y="36"/>
                    </a:lnTo>
                    <a:lnTo>
                      <a:pt x="24" y="36"/>
                    </a:lnTo>
                    <a:lnTo>
                      <a:pt x="24" y="40"/>
                    </a:lnTo>
                    <a:lnTo>
                      <a:pt x="20" y="40"/>
                    </a:lnTo>
                    <a:lnTo>
                      <a:pt x="20" y="36"/>
                    </a:lnTo>
                    <a:lnTo>
                      <a:pt x="20" y="32"/>
                    </a:lnTo>
                    <a:lnTo>
                      <a:pt x="16" y="32"/>
                    </a:lnTo>
                    <a:lnTo>
                      <a:pt x="16" y="28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6" y="20"/>
                    </a:lnTo>
                    <a:lnTo>
                      <a:pt x="16" y="16"/>
                    </a:lnTo>
                    <a:lnTo>
                      <a:pt x="16" y="20"/>
                    </a:lnTo>
                    <a:lnTo>
                      <a:pt x="12" y="20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8"/>
                    </a:lnTo>
                    <a:lnTo>
                      <a:pt x="12" y="12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4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4" y="20"/>
                    </a:lnTo>
                    <a:lnTo>
                      <a:pt x="24" y="16"/>
                    </a:lnTo>
                    <a:lnTo>
                      <a:pt x="28" y="16"/>
                    </a:lnTo>
                    <a:lnTo>
                      <a:pt x="28" y="20"/>
                    </a:lnTo>
                    <a:lnTo>
                      <a:pt x="28" y="24"/>
                    </a:lnTo>
                    <a:lnTo>
                      <a:pt x="32" y="24"/>
                    </a:lnTo>
                    <a:lnTo>
                      <a:pt x="28" y="24"/>
                    </a:lnTo>
                    <a:lnTo>
                      <a:pt x="28" y="28"/>
                    </a:lnTo>
                    <a:lnTo>
                      <a:pt x="32" y="28"/>
                    </a:lnTo>
                    <a:lnTo>
                      <a:pt x="28" y="28"/>
                    </a:lnTo>
                    <a:lnTo>
                      <a:pt x="28" y="32"/>
                    </a:lnTo>
                    <a:lnTo>
                      <a:pt x="32" y="32"/>
                    </a:lnTo>
                    <a:lnTo>
                      <a:pt x="32" y="36"/>
                    </a:lnTo>
                    <a:lnTo>
                      <a:pt x="32" y="40"/>
                    </a:lnTo>
                    <a:lnTo>
                      <a:pt x="32" y="44"/>
                    </a:lnTo>
                    <a:lnTo>
                      <a:pt x="32" y="48"/>
                    </a:lnTo>
                    <a:lnTo>
                      <a:pt x="36" y="48"/>
                    </a:lnTo>
                    <a:lnTo>
                      <a:pt x="36" y="52"/>
                    </a:lnTo>
                    <a:lnTo>
                      <a:pt x="36" y="48"/>
                    </a:lnTo>
                    <a:lnTo>
                      <a:pt x="36" y="52"/>
                    </a:lnTo>
                    <a:lnTo>
                      <a:pt x="40" y="52"/>
                    </a:lnTo>
                    <a:lnTo>
                      <a:pt x="40" y="56"/>
                    </a:lnTo>
                    <a:lnTo>
                      <a:pt x="44" y="56"/>
                    </a:lnTo>
                    <a:lnTo>
                      <a:pt x="44" y="52"/>
                    </a:lnTo>
                    <a:lnTo>
                      <a:pt x="44" y="48"/>
                    </a:lnTo>
                    <a:lnTo>
                      <a:pt x="44" y="44"/>
                    </a:lnTo>
                    <a:lnTo>
                      <a:pt x="40" y="44"/>
                    </a:lnTo>
                    <a:lnTo>
                      <a:pt x="40" y="40"/>
                    </a:lnTo>
                    <a:lnTo>
                      <a:pt x="44" y="44"/>
                    </a:lnTo>
                    <a:lnTo>
                      <a:pt x="44" y="48"/>
                    </a:lnTo>
                    <a:lnTo>
                      <a:pt x="48" y="48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8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48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2" y="64"/>
                    </a:lnTo>
                    <a:lnTo>
                      <a:pt x="52" y="68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4" y="72"/>
                    </a:lnTo>
                    <a:lnTo>
                      <a:pt x="68" y="72"/>
                    </a:lnTo>
                    <a:lnTo>
                      <a:pt x="72" y="72"/>
                    </a:lnTo>
                    <a:lnTo>
                      <a:pt x="76" y="72"/>
                    </a:lnTo>
                    <a:lnTo>
                      <a:pt x="76" y="68"/>
                    </a:lnTo>
                    <a:lnTo>
                      <a:pt x="80" y="68"/>
                    </a:lnTo>
                    <a:lnTo>
                      <a:pt x="80" y="64"/>
                    </a:lnTo>
                    <a:lnTo>
                      <a:pt x="84" y="64"/>
                    </a:lnTo>
                    <a:lnTo>
                      <a:pt x="88" y="64"/>
                    </a:lnTo>
                    <a:lnTo>
                      <a:pt x="92" y="68"/>
                    </a:lnTo>
                    <a:lnTo>
                      <a:pt x="88" y="68"/>
                    </a:lnTo>
                    <a:lnTo>
                      <a:pt x="88" y="72"/>
                    </a:lnTo>
                    <a:lnTo>
                      <a:pt x="88" y="76"/>
                    </a:lnTo>
                    <a:lnTo>
                      <a:pt x="88" y="80"/>
                    </a:lnTo>
                    <a:lnTo>
                      <a:pt x="88" y="84"/>
                    </a:lnTo>
                    <a:lnTo>
                      <a:pt x="84" y="88"/>
                    </a:lnTo>
                    <a:lnTo>
                      <a:pt x="80" y="88"/>
                    </a:lnTo>
                    <a:lnTo>
                      <a:pt x="80" y="92"/>
                    </a:lnTo>
                    <a:lnTo>
                      <a:pt x="80" y="96"/>
                    </a:lnTo>
                    <a:lnTo>
                      <a:pt x="80" y="100"/>
                    </a:lnTo>
                    <a:lnTo>
                      <a:pt x="80" y="96"/>
                    </a:lnTo>
                    <a:lnTo>
                      <a:pt x="76" y="96"/>
                    </a:lnTo>
                    <a:lnTo>
                      <a:pt x="72" y="96"/>
                    </a:lnTo>
                    <a:lnTo>
                      <a:pt x="68" y="96"/>
                    </a:lnTo>
                    <a:lnTo>
                      <a:pt x="64" y="100"/>
                    </a:lnTo>
                    <a:lnTo>
                      <a:pt x="64" y="104"/>
                    </a:lnTo>
                    <a:lnTo>
                      <a:pt x="64" y="108"/>
                    </a:lnTo>
                    <a:lnTo>
                      <a:pt x="68" y="108"/>
                    </a:lnTo>
                    <a:lnTo>
                      <a:pt x="64" y="116"/>
                    </a:lnTo>
                    <a:lnTo>
                      <a:pt x="64" y="120"/>
                    </a:lnTo>
                    <a:lnTo>
                      <a:pt x="60" y="124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44450" tIns="44450" rIns="44450" bIns="44450"/>
              <a:lstStyle/>
              <a:p>
                <a:endParaRPr lang="en-US" dirty="0"/>
              </a:p>
            </p:txBody>
          </p:sp>
          <p:sp>
            <p:nvSpPr>
              <p:cNvPr id="220" name="Freeform 194"/>
              <p:cNvSpPr>
                <a:spLocks/>
              </p:cNvSpPr>
              <p:nvPr/>
            </p:nvSpPr>
            <p:spPr bwMode="gray">
              <a:xfrm>
                <a:off x="4515" y="3899"/>
                <a:ext cx="119" cy="131"/>
              </a:xfrm>
              <a:custGeom>
                <a:avLst/>
                <a:gdLst/>
                <a:ahLst/>
                <a:cxnLst>
                  <a:cxn ang="0">
                    <a:pos x="12" y="103"/>
                  </a:cxn>
                  <a:cxn ang="0">
                    <a:pos x="12" y="95"/>
                  </a:cxn>
                  <a:cxn ang="0">
                    <a:pos x="16" y="95"/>
                  </a:cxn>
                  <a:cxn ang="0">
                    <a:pos x="16" y="87"/>
                  </a:cxn>
                  <a:cxn ang="0">
                    <a:pos x="23" y="79"/>
                  </a:cxn>
                  <a:cxn ang="0">
                    <a:pos x="35" y="75"/>
                  </a:cxn>
                  <a:cxn ang="0">
                    <a:pos x="39" y="67"/>
                  </a:cxn>
                  <a:cxn ang="0">
                    <a:pos x="47" y="64"/>
                  </a:cxn>
                  <a:cxn ang="0">
                    <a:pos x="55" y="55"/>
                  </a:cxn>
                  <a:cxn ang="0">
                    <a:pos x="63" y="52"/>
                  </a:cxn>
                  <a:cxn ang="0">
                    <a:pos x="71" y="40"/>
                  </a:cxn>
                  <a:cxn ang="0">
                    <a:pos x="75" y="28"/>
                  </a:cxn>
                  <a:cxn ang="0">
                    <a:pos x="83" y="24"/>
                  </a:cxn>
                  <a:cxn ang="0">
                    <a:pos x="83" y="8"/>
                  </a:cxn>
                  <a:cxn ang="0">
                    <a:pos x="91" y="4"/>
                  </a:cxn>
                  <a:cxn ang="0">
                    <a:pos x="91" y="4"/>
                  </a:cxn>
                  <a:cxn ang="0">
                    <a:pos x="99" y="12"/>
                  </a:cxn>
                  <a:cxn ang="0">
                    <a:pos x="107" y="12"/>
                  </a:cxn>
                  <a:cxn ang="0">
                    <a:pos x="111" y="12"/>
                  </a:cxn>
                  <a:cxn ang="0">
                    <a:pos x="111" y="16"/>
                  </a:cxn>
                  <a:cxn ang="0">
                    <a:pos x="115" y="16"/>
                  </a:cxn>
                  <a:cxn ang="0">
                    <a:pos x="115" y="12"/>
                  </a:cxn>
                  <a:cxn ang="0">
                    <a:pos x="111" y="16"/>
                  </a:cxn>
                  <a:cxn ang="0">
                    <a:pos x="115" y="16"/>
                  </a:cxn>
                  <a:cxn ang="0">
                    <a:pos x="115" y="20"/>
                  </a:cxn>
                  <a:cxn ang="0">
                    <a:pos x="115" y="24"/>
                  </a:cxn>
                  <a:cxn ang="0">
                    <a:pos x="111" y="31"/>
                  </a:cxn>
                  <a:cxn ang="0">
                    <a:pos x="107" y="43"/>
                  </a:cxn>
                  <a:cxn ang="0">
                    <a:pos x="103" y="52"/>
                  </a:cxn>
                  <a:cxn ang="0">
                    <a:pos x="95" y="59"/>
                  </a:cxn>
                  <a:cxn ang="0">
                    <a:pos x="99" y="67"/>
                  </a:cxn>
                  <a:cxn ang="0">
                    <a:pos x="95" y="67"/>
                  </a:cxn>
                  <a:cxn ang="0">
                    <a:pos x="91" y="67"/>
                  </a:cxn>
                  <a:cxn ang="0">
                    <a:pos x="83" y="71"/>
                  </a:cxn>
                  <a:cxn ang="0">
                    <a:pos x="75" y="75"/>
                  </a:cxn>
                  <a:cxn ang="0">
                    <a:pos x="71" y="83"/>
                  </a:cxn>
                  <a:cxn ang="0">
                    <a:pos x="71" y="95"/>
                  </a:cxn>
                  <a:cxn ang="0">
                    <a:pos x="63" y="103"/>
                  </a:cxn>
                  <a:cxn ang="0">
                    <a:pos x="59" y="111"/>
                  </a:cxn>
                  <a:cxn ang="0">
                    <a:pos x="63" y="111"/>
                  </a:cxn>
                  <a:cxn ang="0">
                    <a:pos x="55" y="115"/>
                  </a:cxn>
                  <a:cxn ang="0">
                    <a:pos x="51" y="127"/>
                  </a:cxn>
                  <a:cxn ang="0">
                    <a:pos x="39" y="131"/>
                  </a:cxn>
                  <a:cxn ang="0">
                    <a:pos x="31" y="127"/>
                  </a:cxn>
                  <a:cxn ang="0">
                    <a:pos x="27" y="127"/>
                  </a:cxn>
                  <a:cxn ang="0">
                    <a:pos x="27" y="127"/>
                  </a:cxn>
                  <a:cxn ang="0">
                    <a:pos x="23" y="123"/>
                  </a:cxn>
                  <a:cxn ang="0">
                    <a:pos x="12" y="119"/>
                  </a:cxn>
                  <a:cxn ang="0">
                    <a:pos x="4" y="123"/>
                  </a:cxn>
                  <a:cxn ang="0">
                    <a:pos x="4" y="119"/>
                  </a:cxn>
                  <a:cxn ang="0">
                    <a:pos x="4" y="115"/>
                  </a:cxn>
                  <a:cxn ang="0">
                    <a:pos x="0" y="115"/>
                  </a:cxn>
                  <a:cxn ang="0">
                    <a:pos x="8" y="111"/>
                  </a:cxn>
                  <a:cxn ang="0">
                    <a:pos x="8" y="107"/>
                  </a:cxn>
                  <a:cxn ang="0">
                    <a:pos x="4" y="99"/>
                  </a:cxn>
                </a:cxnLst>
                <a:rect l="0" t="0" r="r" b="b"/>
                <a:pathLst>
                  <a:path w="119" h="131">
                    <a:moveTo>
                      <a:pt x="12" y="103"/>
                    </a:moveTo>
                    <a:lnTo>
                      <a:pt x="8" y="103"/>
                    </a:lnTo>
                    <a:lnTo>
                      <a:pt x="12" y="103"/>
                    </a:lnTo>
                    <a:lnTo>
                      <a:pt x="8" y="99"/>
                    </a:lnTo>
                    <a:lnTo>
                      <a:pt x="8" y="95"/>
                    </a:lnTo>
                    <a:lnTo>
                      <a:pt x="12" y="95"/>
                    </a:lnTo>
                    <a:lnTo>
                      <a:pt x="12" y="91"/>
                    </a:lnTo>
                    <a:lnTo>
                      <a:pt x="12" y="95"/>
                    </a:lnTo>
                    <a:lnTo>
                      <a:pt x="16" y="95"/>
                    </a:lnTo>
                    <a:lnTo>
                      <a:pt x="16" y="91"/>
                    </a:lnTo>
                    <a:lnTo>
                      <a:pt x="12" y="91"/>
                    </a:lnTo>
                    <a:lnTo>
                      <a:pt x="16" y="87"/>
                    </a:lnTo>
                    <a:lnTo>
                      <a:pt x="20" y="87"/>
                    </a:lnTo>
                    <a:lnTo>
                      <a:pt x="20" y="83"/>
                    </a:lnTo>
                    <a:lnTo>
                      <a:pt x="23" y="79"/>
                    </a:lnTo>
                    <a:lnTo>
                      <a:pt x="27" y="75"/>
                    </a:lnTo>
                    <a:lnTo>
                      <a:pt x="31" y="75"/>
                    </a:lnTo>
                    <a:lnTo>
                      <a:pt x="35" y="75"/>
                    </a:lnTo>
                    <a:lnTo>
                      <a:pt x="35" y="71"/>
                    </a:lnTo>
                    <a:lnTo>
                      <a:pt x="39" y="71"/>
                    </a:lnTo>
                    <a:lnTo>
                      <a:pt x="39" y="67"/>
                    </a:lnTo>
                    <a:lnTo>
                      <a:pt x="43" y="67"/>
                    </a:lnTo>
                    <a:lnTo>
                      <a:pt x="47" y="67"/>
                    </a:lnTo>
                    <a:lnTo>
                      <a:pt x="47" y="64"/>
                    </a:lnTo>
                    <a:lnTo>
                      <a:pt x="51" y="59"/>
                    </a:lnTo>
                    <a:lnTo>
                      <a:pt x="55" y="59"/>
                    </a:lnTo>
                    <a:lnTo>
                      <a:pt x="55" y="55"/>
                    </a:lnTo>
                    <a:lnTo>
                      <a:pt x="59" y="55"/>
                    </a:lnTo>
                    <a:lnTo>
                      <a:pt x="59" y="52"/>
                    </a:lnTo>
                    <a:lnTo>
                      <a:pt x="63" y="52"/>
                    </a:lnTo>
                    <a:lnTo>
                      <a:pt x="67" y="43"/>
                    </a:lnTo>
                    <a:lnTo>
                      <a:pt x="71" y="43"/>
                    </a:lnTo>
                    <a:lnTo>
                      <a:pt x="71" y="40"/>
                    </a:lnTo>
                    <a:lnTo>
                      <a:pt x="71" y="36"/>
                    </a:lnTo>
                    <a:lnTo>
                      <a:pt x="71" y="31"/>
                    </a:lnTo>
                    <a:lnTo>
                      <a:pt x="75" y="28"/>
                    </a:lnTo>
                    <a:lnTo>
                      <a:pt x="79" y="28"/>
                    </a:lnTo>
                    <a:lnTo>
                      <a:pt x="79" y="24"/>
                    </a:lnTo>
                    <a:lnTo>
                      <a:pt x="83" y="24"/>
                    </a:lnTo>
                    <a:lnTo>
                      <a:pt x="83" y="20"/>
                    </a:lnTo>
                    <a:lnTo>
                      <a:pt x="83" y="16"/>
                    </a:lnTo>
                    <a:lnTo>
                      <a:pt x="83" y="8"/>
                    </a:lnTo>
                    <a:lnTo>
                      <a:pt x="87" y="8"/>
                    </a:lnTo>
                    <a:lnTo>
                      <a:pt x="87" y="4"/>
                    </a:lnTo>
                    <a:lnTo>
                      <a:pt x="91" y="4"/>
                    </a:lnTo>
                    <a:lnTo>
                      <a:pt x="91" y="0"/>
                    </a:lnTo>
                    <a:lnTo>
                      <a:pt x="95" y="0"/>
                    </a:lnTo>
                    <a:lnTo>
                      <a:pt x="91" y="4"/>
                    </a:lnTo>
                    <a:lnTo>
                      <a:pt x="95" y="8"/>
                    </a:lnTo>
                    <a:lnTo>
                      <a:pt x="99" y="8"/>
                    </a:lnTo>
                    <a:lnTo>
                      <a:pt x="99" y="12"/>
                    </a:lnTo>
                    <a:lnTo>
                      <a:pt x="99" y="16"/>
                    </a:lnTo>
                    <a:lnTo>
                      <a:pt x="103" y="16"/>
                    </a:lnTo>
                    <a:lnTo>
                      <a:pt x="107" y="12"/>
                    </a:lnTo>
                    <a:lnTo>
                      <a:pt x="111" y="12"/>
                    </a:lnTo>
                    <a:lnTo>
                      <a:pt x="111" y="8"/>
                    </a:lnTo>
                    <a:lnTo>
                      <a:pt x="111" y="12"/>
                    </a:lnTo>
                    <a:lnTo>
                      <a:pt x="107" y="12"/>
                    </a:lnTo>
                    <a:lnTo>
                      <a:pt x="111" y="12"/>
                    </a:lnTo>
                    <a:lnTo>
                      <a:pt x="111" y="16"/>
                    </a:lnTo>
                    <a:lnTo>
                      <a:pt x="107" y="16"/>
                    </a:lnTo>
                    <a:lnTo>
                      <a:pt x="111" y="16"/>
                    </a:lnTo>
                    <a:lnTo>
                      <a:pt x="115" y="16"/>
                    </a:lnTo>
                    <a:lnTo>
                      <a:pt x="111" y="16"/>
                    </a:lnTo>
                    <a:lnTo>
                      <a:pt x="111" y="12"/>
                    </a:lnTo>
                    <a:lnTo>
                      <a:pt x="115" y="12"/>
                    </a:lnTo>
                    <a:lnTo>
                      <a:pt x="119" y="12"/>
                    </a:lnTo>
                    <a:lnTo>
                      <a:pt x="115" y="16"/>
                    </a:lnTo>
                    <a:lnTo>
                      <a:pt x="111" y="16"/>
                    </a:lnTo>
                    <a:lnTo>
                      <a:pt x="115" y="16"/>
                    </a:lnTo>
                    <a:lnTo>
                      <a:pt x="119" y="16"/>
                    </a:lnTo>
                    <a:lnTo>
                      <a:pt x="115" y="16"/>
                    </a:lnTo>
                    <a:lnTo>
                      <a:pt x="115" y="20"/>
                    </a:lnTo>
                    <a:lnTo>
                      <a:pt x="111" y="20"/>
                    </a:lnTo>
                    <a:lnTo>
                      <a:pt x="115" y="20"/>
                    </a:lnTo>
                    <a:lnTo>
                      <a:pt x="115" y="24"/>
                    </a:lnTo>
                    <a:lnTo>
                      <a:pt x="115" y="20"/>
                    </a:lnTo>
                    <a:lnTo>
                      <a:pt x="115" y="24"/>
                    </a:lnTo>
                    <a:lnTo>
                      <a:pt x="115" y="28"/>
                    </a:lnTo>
                    <a:lnTo>
                      <a:pt x="115" y="31"/>
                    </a:lnTo>
                    <a:lnTo>
                      <a:pt x="111" y="31"/>
                    </a:lnTo>
                    <a:lnTo>
                      <a:pt x="111" y="36"/>
                    </a:lnTo>
                    <a:lnTo>
                      <a:pt x="111" y="40"/>
                    </a:lnTo>
                    <a:lnTo>
                      <a:pt x="107" y="43"/>
                    </a:lnTo>
                    <a:lnTo>
                      <a:pt x="103" y="43"/>
                    </a:lnTo>
                    <a:lnTo>
                      <a:pt x="103" y="48"/>
                    </a:lnTo>
                    <a:lnTo>
                      <a:pt x="103" y="52"/>
                    </a:lnTo>
                    <a:lnTo>
                      <a:pt x="99" y="55"/>
                    </a:lnTo>
                    <a:lnTo>
                      <a:pt x="95" y="55"/>
                    </a:lnTo>
                    <a:lnTo>
                      <a:pt x="95" y="59"/>
                    </a:lnTo>
                    <a:lnTo>
                      <a:pt x="91" y="59"/>
                    </a:lnTo>
                    <a:lnTo>
                      <a:pt x="95" y="67"/>
                    </a:lnTo>
                    <a:lnTo>
                      <a:pt x="99" y="67"/>
                    </a:lnTo>
                    <a:lnTo>
                      <a:pt x="99" y="71"/>
                    </a:lnTo>
                    <a:lnTo>
                      <a:pt x="95" y="71"/>
                    </a:lnTo>
                    <a:lnTo>
                      <a:pt x="95" y="67"/>
                    </a:lnTo>
                    <a:lnTo>
                      <a:pt x="95" y="71"/>
                    </a:lnTo>
                    <a:lnTo>
                      <a:pt x="91" y="71"/>
                    </a:lnTo>
                    <a:lnTo>
                      <a:pt x="91" y="67"/>
                    </a:lnTo>
                    <a:lnTo>
                      <a:pt x="87" y="67"/>
                    </a:lnTo>
                    <a:lnTo>
                      <a:pt x="87" y="71"/>
                    </a:lnTo>
                    <a:lnTo>
                      <a:pt x="83" y="71"/>
                    </a:lnTo>
                    <a:lnTo>
                      <a:pt x="83" y="75"/>
                    </a:lnTo>
                    <a:lnTo>
                      <a:pt x="79" y="75"/>
                    </a:lnTo>
                    <a:lnTo>
                      <a:pt x="75" y="75"/>
                    </a:lnTo>
                    <a:lnTo>
                      <a:pt x="75" y="79"/>
                    </a:lnTo>
                    <a:lnTo>
                      <a:pt x="71" y="79"/>
                    </a:lnTo>
                    <a:lnTo>
                      <a:pt x="71" y="83"/>
                    </a:lnTo>
                    <a:lnTo>
                      <a:pt x="71" y="87"/>
                    </a:lnTo>
                    <a:lnTo>
                      <a:pt x="71" y="91"/>
                    </a:lnTo>
                    <a:lnTo>
                      <a:pt x="71" y="95"/>
                    </a:lnTo>
                    <a:lnTo>
                      <a:pt x="67" y="95"/>
                    </a:lnTo>
                    <a:lnTo>
                      <a:pt x="67" y="99"/>
                    </a:lnTo>
                    <a:lnTo>
                      <a:pt x="63" y="103"/>
                    </a:lnTo>
                    <a:lnTo>
                      <a:pt x="63" y="107"/>
                    </a:lnTo>
                    <a:lnTo>
                      <a:pt x="63" y="111"/>
                    </a:lnTo>
                    <a:lnTo>
                      <a:pt x="59" y="111"/>
                    </a:lnTo>
                    <a:lnTo>
                      <a:pt x="59" y="115"/>
                    </a:lnTo>
                    <a:lnTo>
                      <a:pt x="63" y="115"/>
                    </a:lnTo>
                    <a:lnTo>
                      <a:pt x="63" y="111"/>
                    </a:lnTo>
                    <a:lnTo>
                      <a:pt x="63" y="115"/>
                    </a:lnTo>
                    <a:lnTo>
                      <a:pt x="59" y="115"/>
                    </a:lnTo>
                    <a:lnTo>
                      <a:pt x="55" y="115"/>
                    </a:lnTo>
                    <a:lnTo>
                      <a:pt x="55" y="119"/>
                    </a:lnTo>
                    <a:lnTo>
                      <a:pt x="51" y="123"/>
                    </a:lnTo>
                    <a:lnTo>
                      <a:pt x="51" y="127"/>
                    </a:lnTo>
                    <a:lnTo>
                      <a:pt x="47" y="127"/>
                    </a:lnTo>
                    <a:lnTo>
                      <a:pt x="43" y="131"/>
                    </a:lnTo>
                    <a:lnTo>
                      <a:pt x="39" y="131"/>
                    </a:lnTo>
                    <a:lnTo>
                      <a:pt x="35" y="131"/>
                    </a:lnTo>
                    <a:lnTo>
                      <a:pt x="35" y="127"/>
                    </a:lnTo>
                    <a:lnTo>
                      <a:pt x="31" y="127"/>
                    </a:lnTo>
                    <a:lnTo>
                      <a:pt x="31" y="131"/>
                    </a:lnTo>
                    <a:lnTo>
                      <a:pt x="27" y="131"/>
                    </a:lnTo>
                    <a:lnTo>
                      <a:pt x="27" y="127"/>
                    </a:lnTo>
                    <a:lnTo>
                      <a:pt x="31" y="131"/>
                    </a:lnTo>
                    <a:lnTo>
                      <a:pt x="31" y="127"/>
                    </a:lnTo>
                    <a:lnTo>
                      <a:pt x="27" y="127"/>
                    </a:lnTo>
                    <a:lnTo>
                      <a:pt x="27" y="131"/>
                    </a:lnTo>
                    <a:lnTo>
                      <a:pt x="27" y="127"/>
                    </a:lnTo>
                    <a:lnTo>
                      <a:pt x="23" y="123"/>
                    </a:lnTo>
                    <a:lnTo>
                      <a:pt x="20" y="123"/>
                    </a:lnTo>
                    <a:lnTo>
                      <a:pt x="16" y="119"/>
                    </a:lnTo>
                    <a:lnTo>
                      <a:pt x="12" y="119"/>
                    </a:lnTo>
                    <a:lnTo>
                      <a:pt x="12" y="123"/>
                    </a:lnTo>
                    <a:lnTo>
                      <a:pt x="8" y="123"/>
                    </a:lnTo>
                    <a:lnTo>
                      <a:pt x="4" y="123"/>
                    </a:lnTo>
                    <a:lnTo>
                      <a:pt x="4" y="119"/>
                    </a:lnTo>
                    <a:lnTo>
                      <a:pt x="0" y="119"/>
                    </a:lnTo>
                    <a:lnTo>
                      <a:pt x="4" y="119"/>
                    </a:lnTo>
                    <a:lnTo>
                      <a:pt x="4" y="115"/>
                    </a:lnTo>
                    <a:lnTo>
                      <a:pt x="8" y="115"/>
                    </a:lnTo>
                    <a:lnTo>
                      <a:pt x="4" y="115"/>
                    </a:lnTo>
                    <a:lnTo>
                      <a:pt x="4" y="119"/>
                    </a:lnTo>
                    <a:lnTo>
                      <a:pt x="0" y="119"/>
                    </a:lnTo>
                    <a:lnTo>
                      <a:pt x="0" y="115"/>
                    </a:lnTo>
                    <a:lnTo>
                      <a:pt x="0" y="111"/>
                    </a:lnTo>
                    <a:lnTo>
                      <a:pt x="4" y="111"/>
                    </a:lnTo>
                    <a:lnTo>
                      <a:pt x="8" y="111"/>
                    </a:lnTo>
                    <a:lnTo>
                      <a:pt x="4" y="111"/>
                    </a:lnTo>
                    <a:lnTo>
                      <a:pt x="4" y="107"/>
                    </a:lnTo>
                    <a:lnTo>
                      <a:pt x="8" y="107"/>
                    </a:lnTo>
                    <a:lnTo>
                      <a:pt x="4" y="107"/>
                    </a:lnTo>
                    <a:lnTo>
                      <a:pt x="4" y="103"/>
                    </a:lnTo>
                    <a:lnTo>
                      <a:pt x="4" y="99"/>
                    </a:lnTo>
                    <a:lnTo>
                      <a:pt x="8" y="103"/>
                    </a:lnTo>
                    <a:lnTo>
                      <a:pt x="12" y="103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44450" tIns="44450" rIns="44450" bIns="44450"/>
              <a:lstStyle/>
              <a:p>
                <a:endParaRPr lang="en-US" dirty="0"/>
              </a:p>
            </p:txBody>
          </p:sp>
        </p:grpSp>
        <p:sp>
          <p:nvSpPr>
            <p:cNvPr id="194" name="Freeform 269"/>
            <p:cNvSpPr>
              <a:spLocks noEditPoints="1"/>
            </p:cNvSpPr>
            <p:nvPr>
              <p:custDataLst>
                <p:tags r:id="rId386"/>
              </p:custDataLst>
            </p:nvPr>
          </p:nvSpPr>
          <p:spPr bwMode="gray">
            <a:xfrm>
              <a:off x="7890922" y="4784304"/>
              <a:ext cx="218010" cy="117163"/>
            </a:xfrm>
            <a:custGeom>
              <a:avLst/>
              <a:gdLst/>
              <a:ahLst/>
              <a:cxnLst>
                <a:cxn ang="0">
                  <a:pos x="5" y="6"/>
                </a:cxn>
                <a:cxn ang="0">
                  <a:pos x="6" y="3"/>
                </a:cxn>
                <a:cxn ang="0">
                  <a:pos x="10" y="7"/>
                </a:cxn>
                <a:cxn ang="0">
                  <a:pos x="32" y="18"/>
                </a:cxn>
                <a:cxn ang="0">
                  <a:pos x="20" y="9"/>
                </a:cxn>
                <a:cxn ang="0">
                  <a:pos x="32" y="18"/>
                </a:cxn>
                <a:cxn ang="0">
                  <a:pos x="1" y="10"/>
                </a:cxn>
                <a:cxn ang="0">
                  <a:pos x="2" y="13"/>
                </a:cxn>
                <a:cxn ang="0">
                  <a:pos x="5" y="14"/>
                </a:cxn>
                <a:cxn ang="0">
                  <a:pos x="7" y="12"/>
                </a:cxn>
                <a:cxn ang="0">
                  <a:pos x="13" y="19"/>
                </a:cxn>
                <a:cxn ang="0">
                  <a:pos x="8" y="16"/>
                </a:cxn>
                <a:cxn ang="0">
                  <a:pos x="13" y="16"/>
                </a:cxn>
                <a:cxn ang="0">
                  <a:pos x="13" y="19"/>
                </a:cxn>
                <a:cxn ang="0">
                  <a:pos x="8" y="19"/>
                </a:cxn>
                <a:cxn ang="0">
                  <a:pos x="9" y="20"/>
                </a:cxn>
                <a:cxn ang="0">
                  <a:pos x="14" y="19"/>
                </a:cxn>
                <a:cxn ang="0">
                  <a:pos x="15" y="20"/>
                </a:cxn>
                <a:cxn ang="0">
                  <a:pos x="89" y="39"/>
                </a:cxn>
                <a:cxn ang="0">
                  <a:pos x="90" y="41"/>
                </a:cxn>
                <a:cxn ang="0">
                  <a:pos x="33" y="47"/>
                </a:cxn>
                <a:cxn ang="0">
                  <a:pos x="39" y="50"/>
                </a:cxn>
                <a:cxn ang="0">
                  <a:pos x="47" y="29"/>
                </a:cxn>
                <a:cxn ang="0">
                  <a:pos x="39" y="16"/>
                </a:cxn>
                <a:cxn ang="0">
                  <a:pos x="43" y="19"/>
                </a:cxn>
                <a:cxn ang="0">
                  <a:pos x="46" y="24"/>
                </a:cxn>
                <a:cxn ang="0">
                  <a:pos x="40" y="32"/>
                </a:cxn>
                <a:cxn ang="0">
                  <a:pos x="30" y="26"/>
                </a:cxn>
                <a:cxn ang="0">
                  <a:pos x="42" y="31"/>
                </a:cxn>
                <a:cxn ang="0">
                  <a:pos x="56" y="41"/>
                </a:cxn>
                <a:cxn ang="0">
                  <a:pos x="46" y="34"/>
                </a:cxn>
                <a:cxn ang="0">
                  <a:pos x="56" y="39"/>
                </a:cxn>
              </a:cxnLst>
              <a:rect l="0" t="0" r="r" b="b"/>
              <a:pathLst>
                <a:path w="92" h="50">
                  <a:moveTo>
                    <a:pt x="10" y="8"/>
                  </a:moveTo>
                  <a:lnTo>
                    <a:pt x="5" y="6"/>
                  </a:lnTo>
                  <a:lnTo>
                    <a:pt x="0" y="0"/>
                  </a:lnTo>
                  <a:lnTo>
                    <a:pt x="6" y="3"/>
                  </a:lnTo>
                  <a:lnTo>
                    <a:pt x="7" y="5"/>
                  </a:lnTo>
                  <a:lnTo>
                    <a:pt x="10" y="7"/>
                  </a:lnTo>
                  <a:lnTo>
                    <a:pt x="10" y="8"/>
                  </a:lnTo>
                  <a:close/>
                  <a:moveTo>
                    <a:pt x="32" y="18"/>
                  </a:moveTo>
                  <a:lnTo>
                    <a:pt x="23" y="13"/>
                  </a:lnTo>
                  <a:lnTo>
                    <a:pt x="20" y="9"/>
                  </a:lnTo>
                  <a:lnTo>
                    <a:pt x="32" y="16"/>
                  </a:lnTo>
                  <a:lnTo>
                    <a:pt x="32" y="18"/>
                  </a:lnTo>
                  <a:close/>
                  <a:moveTo>
                    <a:pt x="2" y="13"/>
                  </a:moveTo>
                  <a:lnTo>
                    <a:pt x="1" y="10"/>
                  </a:lnTo>
                  <a:lnTo>
                    <a:pt x="4" y="11"/>
                  </a:lnTo>
                  <a:lnTo>
                    <a:pt x="2" y="13"/>
                  </a:lnTo>
                  <a:close/>
                  <a:moveTo>
                    <a:pt x="7" y="15"/>
                  </a:moveTo>
                  <a:lnTo>
                    <a:pt x="5" y="14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7" y="15"/>
                  </a:lnTo>
                  <a:close/>
                  <a:moveTo>
                    <a:pt x="13" y="19"/>
                  </a:moveTo>
                  <a:lnTo>
                    <a:pt x="10" y="16"/>
                  </a:lnTo>
                  <a:lnTo>
                    <a:pt x="8" y="16"/>
                  </a:lnTo>
                  <a:lnTo>
                    <a:pt x="9" y="13"/>
                  </a:lnTo>
                  <a:lnTo>
                    <a:pt x="13" y="16"/>
                  </a:lnTo>
                  <a:lnTo>
                    <a:pt x="14" y="18"/>
                  </a:lnTo>
                  <a:lnTo>
                    <a:pt x="13" y="19"/>
                  </a:lnTo>
                  <a:close/>
                  <a:moveTo>
                    <a:pt x="9" y="20"/>
                  </a:moveTo>
                  <a:lnTo>
                    <a:pt x="8" y="19"/>
                  </a:lnTo>
                  <a:lnTo>
                    <a:pt x="9" y="17"/>
                  </a:lnTo>
                  <a:lnTo>
                    <a:pt x="9" y="20"/>
                  </a:lnTo>
                  <a:close/>
                  <a:moveTo>
                    <a:pt x="15" y="20"/>
                  </a:moveTo>
                  <a:lnTo>
                    <a:pt x="14" y="19"/>
                  </a:lnTo>
                  <a:lnTo>
                    <a:pt x="16" y="18"/>
                  </a:lnTo>
                  <a:lnTo>
                    <a:pt x="15" y="20"/>
                  </a:lnTo>
                  <a:close/>
                  <a:moveTo>
                    <a:pt x="90" y="41"/>
                  </a:moveTo>
                  <a:lnTo>
                    <a:pt x="89" y="39"/>
                  </a:lnTo>
                  <a:lnTo>
                    <a:pt x="92" y="39"/>
                  </a:lnTo>
                  <a:lnTo>
                    <a:pt x="90" y="41"/>
                  </a:lnTo>
                  <a:close/>
                  <a:moveTo>
                    <a:pt x="39" y="50"/>
                  </a:moveTo>
                  <a:lnTo>
                    <a:pt x="33" y="47"/>
                  </a:lnTo>
                  <a:lnTo>
                    <a:pt x="38" y="49"/>
                  </a:lnTo>
                  <a:lnTo>
                    <a:pt x="39" y="50"/>
                  </a:lnTo>
                  <a:close/>
                  <a:moveTo>
                    <a:pt x="46" y="24"/>
                  </a:moveTo>
                  <a:lnTo>
                    <a:pt x="47" y="29"/>
                  </a:lnTo>
                  <a:lnTo>
                    <a:pt x="42" y="24"/>
                  </a:lnTo>
                  <a:lnTo>
                    <a:pt x="39" y="16"/>
                  </a:lnTo>
                  <a:lnTo>
                    <a:pt x="42" y="17"/>
                  </a:lnTo>
                  <a:lnTo>
                    <a:pt x="43" y="19"/>
                  </a:lnTo>
                  <a:lnTo>
                    <a:pt x="43" y="21"/>
                  </a:lnTo>
                  <a:lnTo>
                    <a:pt x="46" y="24"/>
                  </a:lnTo>
                  <a:close/>
                  <a:moveTo>
                    <a:pt x="42" y="31"/>
                  </a:moveTo>
                  <a:lnTo>
                    <a:pt x="40" y="32"/>
                  </a:lnTo>
                  <a:lnTo>
                    <a:pt x="32" y="30"/>
                  </a:lnTo>
                  <a:lnTo>
                    <a:pt x="30" y="26"/>
                  </a:lnTo>
                  <a:lnTo>
                    <a:pt x="38" y="27"/>
                  </a:lnTo>
                  <a:lnTo>
                    <a:pt x="42" y="31"/>
                  </a:lnTo>
                  <a:close/>
                  <a:moveTo>
                    <a:pt x="56" y="39"/>
                  </a:moveTo>
                  <a:lnTo>
                    <a:pt x="56" y="41"/>
                  </a:lnTo>
                  <a:lnTo>
                    <a:pt x="51" y="39"/>
                  </a:lnTo>
                  <a:lnTo>
                    <a:pt x="46" y="34"/>
                  </a:lnTo>
                  <a:lnTo>
                    <a:pt x="54" y="37"/>
                  </a:lnTo>
                  <a:lnTo>
                    <a:pt x="56" y="3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5" name="Freeform 270"/>
            <p:cNvSpPr>
              <a:spLocks noEditPoints="1"/>
            </p:cNvSpPr>
            <p:nvPr>
              <p:custDataLst>
                <p:tags r:id="rId387"/>
              </p:custDataLst>
            </p:nvPr>
          </p:nvSpPr>
          <p:spPr bwMode="gray">
            <a:xfrm>
              <a:off x="8359570" y="5000831"/>
              <a:ext cx="60805" cy="71187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21" y="5"/>
                </a:cxn>
                <a:cxn ang="0">
                  <a:pos x="25" y="3"/>
                </a:cxn>
                <a:cxn ang="0">
                  <a:pos x="25" y="6"/>
                </a:cxn>
                <a:cxn ang="0">
                  <a:pos x="19" y="6"/>
                </a:cxn>
                <a:cxn ang="0">
                  <a:pos x="19" y="5"/>
                </a:cxn>
                <a:cxn ang="0">
                  <a:pos x="14" y="9"/>
                </a:cxn>
                <a:cxn ang="0">
                  <a:pos x="12" y="6"/>
                </a:cxn>
                <a:cxn ang="0">
                  <a:pos x="16" y="3"/>
                </a:cxn>
                <a:cxn ang="0">
                  <a:pos x="26" y="0"/>
                </a:cxn>
                <a:cxn ang="0">
                  <a:pos x="26" y="0"/>
                </a:cxn>
                <a:cxn ang="0">
                  <a:pos x="2" y="20"/>
                </a:cxn>
                <a:cxn ang="0">
                  <a:pos x="0" y="17"/>
                </a:cxn>
                <a:cxn ang="0">
                  <a:pos x="3" y="13"/>
                </a:cxn>
                <a:cxn ang="0">
                  <a:pos x="9" y="11"/>
                </a:cxn>
                <a:cxn ang="0">
                  <a:pos x="12" y="15"/>
                </a:cxn>
                <a:cxn ang="0">
                  <a:pos x="13" y="19"/>
                </a:cxn>
                <a:cxn ang="0">
                  <a:pos x="12" y="19"/>
                </a:cxn>
                <a:cxn ang="0">
                  <a:pos x="7" y="21"/>
                </a:cxn>
                <a:cxn ang="0">
                  <a:pos x="2" y="20"/>
                </a:cxn>
                <a:cxn ang="0">
                  <a:pos x="8" y="30"/>
                </a:cxn>
                <a:cxn ang="0">
                  <a:pos x="7" y="29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8" y="30"/>
                </a:cxn>
              </a:cxnLst>
              <a:rect l="0" t="0" r="r" b="b"/>
              <a:pathLst>
                <a:path w="26" h="30">
                  <a:moveTo>
                    <a:pt x="26" y="0"/>
                  </a:moveTo>
                  <a:lnTo>
                    <a:pt x="21" y="5"/>
                  </a:lnTo>
                  <a:lnTo>
                    <a:pt x="25" y="3"/>
                  </a:lnTo>
                  <a:lnTo>
                    <a:pt x="25" y="6"/>
                  </a:lnTo>
                  <a:lnTo>
                    <a:pt x="19" y="6"/>
                  </a:lnTo>
                  <a:lnTo>
                    <a:pt x="19" y="5"/>
                  </a:lnTo>
                  <a:lnTo>
                    <a:pt x="14" y="9"/>
                  </a:lnTo>
                  <a:lnTo>
                    <a:pt x="12" y="6"/>
                  </a:lnTo>
                  <a:lnTo>
                    <a:pt x="16" y="3"/>
                  </a:lnTo>
                  <a:lnTo>
                    <a:pt x="26" y="0"/>
                  </a:lnTo>
                  <a:lnTo>
                    <a:pt x="26" y="0"/>
                  </a:lnTo>
                  <a:close/>
                  <a:moveTo>
                    <a:pt x="2" y="20"/>
                  </a:moveTo>
                  <a:lnTo>
                    <a:pt x="0" y="17"/>
                  </a:lnTo>
                  <a:lnTo>
                    <a:pt x="3" y="13"/>
                  </a:lnTo>
                  <a:lnTo>
                    <a:pt x="9" y="11"/>
                  </a:lnTo>
                  <a:lnTo>
                    <a:pt x="12" y="15"/>
                  </a:lnTo>
                  <a:lnTo>
                    <a:pt x="13" y="19"/>
                  </a:lnTo>
                  <a:lnTo>
                    <a:pt x="12" y="19"/>
                  </a:lnTo>
                  <a:lnTo>
                    <a:pt x="7" y="21"/>
                  </a:lnTo>
                  <a:lnTo>
                    <a:pt x="2" y="20"/>
                  </a:lnTo>
                  <a:close/>
                  <a:moveTo>
                    <a:pt x="8" y="30"/>
                  </a:moveTo>
                  <a:lnTo>
                    <a:pt x="7" y="29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8" y="3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6" name="Freeform 271"/>
            <p:cNvSpPr>
              <a:spLocks noEditPoints="1"/>
            </p:cNvSpPr>
            <p:nvPr>
              <p:custDataLst>
                <p:tags r:id="rId388"/>
              </p:custDataLst>
            </p:nvPr>
          </p:nvSpPr>
          <p:spPr bwMode="gray">
            <a:xfrm>
              <a:off x="8117831" y="4965238"/>
              <a:ext cx="66737" cy="118645"/>
            </a:xfrm>
            <a:custGeom>
              <a:avLst/>
              <a:gdLst/>
              <a:ahLst/>
              <a:cxnLst>
                <a:cxn ang="0">
                  <a:pos x="5" y="5"/>
                </a:cxn>
                <a:cxn ang="0">
                  <a:pos x="7" y="9"/>
                </a:cxn>
                <a:cxn ang="0">
                  <a:pos x="2" y="10"/>
                </a:cxn>
                <a:cxn ang="0">
                  <a:pos x="0" y="0"/>
                </a:cxn>
                <a:cxn ang="0">
                  <a:pos x="3" y="5"/>
                </a:cxn>
                <a:cxn ang="0">
                  <a:pos x="4" y="3"/>
                </a:cxn>
                <a:cxn ang="0">
                  <a:pos x="5" y="5"/>
                </a:cxn>
                <a:cxn ang="0">
                  <a:pos x="18" y="32"/>
                </a:cxn>
                <a:cxn ang="0">
                  <a:pos x="15" y="30"/>
                </a:cxn>
                <a:cxn ang="0">
                  <a:pos x="17" y="29"/>
                </a:cxn>
                <a:cxn ang="0">
                  <a:pos x="19" y="30"/>
                </a:cxn>
                <a:cxn ang="0">
                  <a:pos x="18" y="32"/>
                </a:cxn>
                <a:cxn ang="0">
                  <a:pos x="26" y="43"/>
                </a:cxn>
                <a:cxn ang="0">
                  <a:pos x="23" y="42"/>
                </a:cxn>
                <a:cxn ang="0">
                  <a:pos x="24" y="40"/>
                </a:cxn>
                <a:cxn ang="0">
                  <a:pos x="26" y="42"/>
                </a:cxn>
                <a:cxn ang="0">
                  <a:pos x="26" y="43"/>
                </a:cxn>
                <a:cxn ang="0">
                  <a:pos x="27" y="50"/>
                </a:cxn>
                <a:cxn ang="0">
                  <a:pos x="26" y="48"/>
                </a:cxn>
                <a:cxn ang="0">
                  <a:pos x="26" y="47"/>
                </a:cxn>
                <a:cxn ang="0">
                  <a:pos x="28" y="48"/>
                </a:cxn>
                <a:cxn ang="0">
                  <a:pos x="27" y="50"/>
                </a:cxn>
                <a:cxn ang="0">
                  <a:pos x="12" y="9"/>
                </a:cxn>
                <a:cxn ang="0">
                  <a:pos x="11" y="8"/>
                </a:cxn>
                <a:cxn ang="0">
                  <a:pos x="14" y="7"/>
                </a:cxn>
                <a:cxn ang="0">
                  <a:pos x="12" y="9"/>
                </a:cxn>
                <a:cxn ang="0">
                  <a:pos x="9" y="19"/>
                </a:cxn>
                <a:cxn ang="0">
                  <a:pos x="8" y="15"/>
                </a:cxn>
                <a:cxn ang="0">
                  <a:pos x="6" y="14"/>
                </a:cxn>
                <a:cxn ang="0">
                  <a:pos x="7" y="12"/>
                </a:cxn>
                <a:cxn ang="0">
                  <a:pos x="12" y="18"/>
                </a:cxn>
                <a:cxn ang="0">
                  <a:pos x="9" y="19"/>
                </a:cxn>
                <a:cxn ang="0">
                  <a:pos x="15" y="17"/>
                </a:cxn>
                <a:cxn ang="0">
                  <a:pos x="13" y="16"/>
                </a:cxn>
                <a:cxn ang="0">
                  <a:pos x="15" y="14"/>
                </a:cxn>
                <a:cxn ang="0">
                  <a:pos x="17" y="17"/>
                </a:cxn>
                <a:cxn ang="0">
                  <a:pos x="15" y="17"/>
                </a:cxn>
                <a:cxn ang="0">
                  <a:pos x="18" y="22"/>
                </a:cxn>
                <a:cxn ang="0">
                  <a:pos x="15" y="21"/>
                </a:cxn>
                <a:cxn ang="0">
                  <a:pos x="15" y="19"/>
                </a:cxn>
                <a:cxn ang="0">
                  <a:pos x="18" y="22"/>
                </a:cxn>
              </a:cxnLst>
              <a:rect l="0" t="0" r="r" b="b"/>
              <a:pathLst>
                <a:path w="28" h="50">
                  <a:moveTo>
                    <a:pt x="5" y="5"/>
                  </a:moveTo>
                  <a:lnTo>
                    <a:pt x="7" y="9"/>
                  </a:lnTo>
                  <a:lnTo>
                    <a:pt x="2" y="10"/>
                  </a:lnTo>
                  <a:lnTo>
                    <a:pt x="0" y="0"/>
                  </a:lnTo>
                  <a:lnTo>
                    <a:pt x="3" y="5"/>
                  </a:lnTo>
                  <a:lnTo>
                    <a:pt x="4" y="3"/>
                  </a:lnTo>
                  <a:lnTo>
                    <a:pt x="5" y="5"/>
                  </a:lnTo>
                  <a:close/>
                  <a:moveTo>
                    <a:pt x="18" y="32"/>
                  </a:moveTo>
                  <a:lnTo>
                    <a:pt x="15" y="30"/>
                  </a:lnTo>
                  <a:lnTo>
                    <a:pt x="17" y="29"/>
                  </a:lnTo>
                  <a:lnTo>
                    <a:pt x="19" y="30"/>
                  </a:lnTo>
                  <a:lnTo>
                    <a:pt x="18" y="32"/>
                  </a:lnTo>
                  <a:close/>
                  <a:moveTo>
                    <a:pt x="26" y="43"/>
                  </a:moveTo>
                  <a:lnTo>
                    <a:pt x="23" y="42"/>
                  </a:lnTo>
                  <a:lnTo>
                    <a:pt x="24" y="40"/>
                  </a:lnTo>
                  <a:lnTo>
                    <a:pt x="26" y="42"/>
                  </a:lnTo>
                  <a:lnTo>
                    <a:pt x="26" y="43"/>
                  </a:lnTo>
                  <a:close/>
                  <a:moveTo>
                    <a:pt x="27" y="50"/>
                  </a:moveTo>
                  <a:lnTo>
                    <a:pt x="26" y="48"/>
                  </a:lnTo>
                  <a:lnTo>
                    <a:pt x="26" y="47"/>
                  </a:lnTo>
                  <a:lnTo>
                    <a:pt x="28" y="48"/>
                  </a:lnTo>
                  <a:lnTo>
                    <a:pt x="27" y="50"/>
                  </a:lnTo>
                  <a:close/>
                  <a:moveTo>
                    <a:pt x="12" y="9"/>
                  </a:moveTo>
                  <a:lnTo>
                    <a:pt x="11" y="8"/>
                  </a:lnTo>
                  <a:lnTo>
                    <a:pt x="14" y="7"/>
                  </a:lnTo>
                  <a:lnTo>
                    <a:pt x="12" y="9"/>
                  </a:lnTo>
                  <a:close/>
                  <a:moveTo>
                    <a:pt x="9" y="19"/>
                  </a:moveTo>
                  <a:lnTo>
                    <a:pt x="8" y="15"/>
                  </a:lnTo>
                  <a:lnTo>
                    <a:pt x="6" y="14"/>
                  </a:lnTo>
                  <a:lnTo>
                    <a:pt x="7" y="12"/>
                  </a:lnTo>
                  <a:lnTo>
                    <a:pt x="12" y="18"/>
                  </a:lnTo>
                  <a:lnTo>
                    <a:pt x="9" y="19"/>
                  </a:lnTo>
                  <a:close/>
                  <a:moveTo>
                    <a:pt x="15" y="17"/>
                  </a:moveTo>
                  <a:lnTo>
                    <a:pt x="13" y="16"/>
                  </a:lnTo>
                  <a:lnTo>
                    <a:pt x="15" y="14"/>
                  </a:lnTo>
                  <a:lnTo>
                    <a:pt x="17" y="17"/>
                  </a:lnTo>
                  <a:lnTo>
                    <a:pt x="15" y="17"/>
                  </a:lnTo>
                  <a:close/>
                  <a:moveTo>
                    <a:pt x="18" y="22"/>
                  </a:moveTo>
                  <a:lnTo>
                    <a:pt x="15" y="21"/>
                  </a:lnTo>
                  <a:lnTo>
                    <a:pt x="15" y="19"/>
                  </a:lnTo>
                  <a:lnTo>
                    <a:pt x="18" y="2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7" name="Freeform 272"/>
            <p:cNvSpPr>
              <a:spLocks noEditPoints="1"/>
            </p:cNvSpPr>
            <p:nvPr>
              <p:custDataLst>
                <p:tags r:id="rId389"/>
              </p:custDataLst>
            </p:nvPr>
          </p:nvSpPr>
          <p:spPr bwMode="gray">
            <a:xfrm>
              <a:off x="8058509" y="5092781"/>
              <a:ext cx="94916" cy="54874"/>
            </a:xfrm>
            <a:custGeom>
              <a:avLst/>
              <a:gdLst/>
              <a:ahLst/>
              <a:cxnLst>
                <a:cxn ang="0">
                  <a:pos x="15" y="10"/>
                </a:cxn>
                <a:cxn ang="0">
                  <a:pos x="29" y="20"/>
                </a:cxn>
                <a:cxn ang="0">
                  <a:pos x="29" y="23"/>
                </a:cxn>
                <a:cxn ang="0">
                  <a:pos x="24" y="23"/>
                </a:cxn>
                <a:cxn ang="0">
                  <a:pos x="21" y="19"/>
                </a:cxn>
                <a:cxn ang="0">
                  <a:pos x="13" y="15"/>
                </a:cxn>
                <a:cxn ang="0">
                  <a:pos x="5" y="7"/>
                </a:cxn>
                <a:cxn ang="0">
                  <a:pos x="0" y="0"/>
                </a:cxn>
                <a:cxn ang="0">
                  <a:pos x="13" y="7"/>
                </a:cxn>
                <a:cxn ang="0">
                  <a:pos x="15" y="10"/>
                </a:cxn>
                <a:cxn ang="0">
                  <a:pos x="33" y="11"/>
                </a:cxn>
                <a:cxn ang="0">
                  <a:pos x="30" y="9"/>
                </a:cxn>
                <a:cxn ang="0">
                  <a:pos x="31" y="8"/>
                </a:cxn>
                <a:cxn ang="0">
                  <a:pos x="30" y="6"/>
                </a:cxn>
                <a:cxn ang="0">
                  <a:pos x="32" y="6"/>
                </a:cxn>
                <a:cxn ang="0">
                  <a:pos x="32" y="8"/>
                </a:cxn>
                <a:cxn ang="0">
                  <a:pos x="34" y="10"/>
                </a:cxn>
                <a:cxn ang="0">
                  <a:pos x="33" y="11"/>
                </a:cxn>
                <a:cxn ang="0">
                  <a:pos x="39" y="16"/>
                </a:cxn>
                <a:cxn ang="0">
                  <a:pos x="37" y="13"/>
                </a:cxn>
                <a:cxn ang="0">
                  <a:pos x="40" y="14"/>
                </a:cxn>
                <a:cxn ang="0">
                  <a:pos x="40" y="16"/>
                </a:cxn>
                <a:cxn ang="0">
                  <a:pos x="39" y="16"/>
                </a:cxn>
              </a:cxnLst>
              <a:rect l="0" t="0" r="r" b="b"/>
              <a:pathLst>
                <a:path w="40" h="23">
                  <a:moveTo>
                    <a:pt x="15" y="10"/>
                  </a:moveTo>
                  <a:lnTo>
                    <a:pt x="29" y="20"/>
                  </a:lnTo>
                  <a:lnTo>
                    <a:pt x="29" y="23"/>
                  </a:lnTo>
                  <a:lnTo>
                    <a:pt x="24" y="23"/>
                  </a:lnTo>
                  <a:lnTo>
                    <a:pt x="21" y="19"/>
                  </a:lnTo>
                  <a:lnTo>
                    <a:pt x="13" y="15"/>
                  </a:lnTo>
                  <a:lnTo>
                    <a:pt x="5" y="7"/>
                  </a:lnTo>
                  <a:lnTo>
                    <a:pt x="0" y="0"/>
                  </a:lnTo>
                  <a:lnTo>
                    <a:pt x="13" y="7"/>
                  </a:lnTo>
                  <a:lnTo>
                    <a:pt x="15" y="10"/>
                  </a:lnTo>
                  <a:close/>
                  <a:moveTo>
                    <a:pt x="33" y="11"/>
                  </a:moveTo>
                  <a:lnTo>
                    <a:pt x="30" y="9"/>
                  </a:lnTo>
                  <a:lnTo>
                    <a:pt x="31" y="8"/>
                  </a:lnTo>
                  <a:lnTo>
                    <a:pt x="30" y="6"/>
                  </a:lnTo>
                  <a:lnTo>
                    <a:pt x="32" y="6"/>
                  </a:lnTo>
                  <a:lnTo>
                    <a:pt x="32" y="8"/>
                  </a:lnTo>
                  <a:lnTo>
                    <a:pt x="34" y="10"/>
                  </a:lnTo>
                  <a:lnTo>
                    <a:pt x="33" y="11"/>
                  </a:lnTo>
                  <a:close/>
                  <a:moveTo>
                    <a:pt x="39" y="16"/>
                  </a:moveTo>
                  <a:lnTo>
                    <a:pt x="37" y="13"/>
                  </a:lnTo>
                  <a:lnTo>
                    <a:pt x="40" y="14"/>
                  </a:lnTo>
                  <a:lnTo>
                    <a:pt x="40" y="16"/>
                  </a:lnTo>
                  <a:lnTo>
                    <a:pt x="39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8" name="Rectangle 203"/>
            <p:cNvSpPr>
              <a:spLocks noChangeArrowheads="1"/>
            </p:cNvSpPr>
            <p:nvPr>
              <p:custDataLst>
                <p:tags r:id="rId390"/>
              </p:custDataLst>
            </p:nvPr>
          </p:nvSpPr>
          <p:spPr bwMode="gray">
            <a:xfrm>
              <a:off x="425179" y="3830694"/>
              <a:ext cx="2966" cy="2966"/>
            </a:xfrm>
            <a:prstGeom prst="rect">
              <a:avLst/>
            </a:prstGeom>
            <a:grpFill/>
            <a:ln w="635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9" name="Freeform 273"/>
            <p:cNvSpPr>
              <a:spLocks/>
            </p:cNvSpPr>
            <p:nvPr>
              <p:custDataLst>
                <p:tags r:id="rId391"/>
              </p:custDataLst>
            </p:nvPr>
          </p:nvSpPr>
          <p:spPr bwMode="gray">
            <a:xfrm>
              <a:off x="6778624" y="4879220"/>
              <a:ext cx="2966" cy="2966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0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0" name="Freeform 275"/>
            <p:cNvSpPr>
              <a:spLocks/>
            </p:cNvSpPr>
            <p:nvPr>
              <p:custDataLst>
                <p:tags r:id="rId392"/>
              </p:custDataLst>
            </p:nvPr>
          </p:nvSpPr>
          <p:spPr bwMode="gray">
            <a:xfrm>
              <a:off x="7674395" y="4186629"/>
              <a:ext cx="7416" cy="10382"/>
            </a:xfrm>
            <a:custGeom>
              <a:avLst/>
              <a:gdLst/>
              <a:ahLst/>
              <a:cxnLst>
                <a:cxn ang="0">
                  <a:pos x="1" y="4"/>
                </a:cxn>
                <a:cxn ang="0">
                  <a:pos x="0" y="3"/>
                </a:cxn>
                <a:cxn ang="0">
                  <a:pos x="3" y="0"/>
                </a:cxn>
                <a:cxn ang="0">
                  <a:pos x="1" y="4"/>
                </a:cxn>
              </a:cxnLst>
              <a:rect l="0" t="0" r="r" b="b"/>
              <a:pathLst>
                <a:path w="3" h="4">
                  <a:moveTo>
                    <a:pt x="1" y="4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1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1" name="Freeform 276"/>
            <p:cNvSpPr>
              <a:spLocks/>
            </p:cNvSpPr>
            <p:nvPr>
              <p:custDataLst>
                <p:tags r:id="rId393"/>
              </p:custDataLst>
            </p:nvPr>
          </p:nvSpPr>
          <p:spPr bwMode="gray">
            <a:xfrm>
              <a:off x="7698124" y="4151035"/>
              <a:ext cx="2966" cy="5932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2"/>
                </a:cxn>
                <a:cxn ang="0">
                  <a:pos x="0" y="1"/>
                </a:cxn>
                <a:cxn ang="0">
                  <a:pos x="1" y="0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1" y="2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2" name="Freeform 277"/>
            <p:cNvSpPr>
              <a:spLocks/>
            </p:cNvSpPr>
            <p:nvPr>
              <p:custDataLst>
                <p:tags r:id="rId394"/>
              </p:custDataLst>
            </p:nvPr>
          </p:nvSpPr>
          <p:spPr bwMode="gray">
            <a:xfrm>
              <a:off x="7429690" y="4379427"/>
              <a:ext cx="2966" cy="445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2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1" y="0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3" name="Freeform 278"/>
            <p:cNvSpPr>
              <a:spLocks/>
            </p:cNvSpPr>
            <p:nvPr>
              <p:custDataLst>
                <p:tags r:id="rId395"/>
              </p:custDataLst>
            </p:nvPr>
          </p:nvSpPr>
          <p:spPr bwMode="gray">
            <a:xfrm>
              <a:off x="7933931" y="4358664"/>
              <a:ext cx="2966" cy="445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0" y="2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4" name="Freeform 279"/>
            <p:cNvSpPr>
              <a:spLocks/>
            </p:cNvSpPr>
            <p:nvPr>
              <p:custDataLst>
                <p:tags r:id="rId396"/>
              </p:custDataLst>
            </p:nvPr>
          </p:nvSpPr>
          <p:spPr bwMode="gray">
            <a:xfrm>
              <a:off x="8114865" y="4054637"/>
              <a:ext cx="1483" cy="2966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5" name="Freeform 280"/>
            <p:cNvSpPr>
              <a:spLocks/>
            </p:cNvSpPr>
            <p:nvPr>
              <p:custDataLst>
                <p:tags r:id="rId397"/>
              </p:custDataLst>
            </p:nvPr>
          </p:nvSpPr>
          <p:spPr bwMode="gray">
            <a:xfrm>
              <a:off x="8159357" y="4348283"/>
              <a:ext cx="4449" cy="296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6" name="Freeform 375"/>
            <p:cNvSpPr>
              <a:spLocks noEditPoints="1"/>
            </p:cNvSpPr>
            <p:nvPr>
              <p:custDataLst>
                <p:tags r:id="rId398"/>
              </p:custDataLst>
            </p:nvPr>
          </p:nvSpPr>
          <p:spPr bwMode="gray">
            <a:xfrm>
              <a:off x="2987913" y="6099782"/>
              <a:ext cx="75636" cy="38560"/>
            </a:xfrm>
            <a:custGeom>
              <a:avLst/>
              <a:gdLst/>
              <a:ahLst/>
              <a:cxnLst>
                <a:cxn ang="0">
                  <a:pos x="20" y="8"/>
                </a:cxn>
                <a:cxn ang="0">
                  <a:pos x="18" y="4"/>
                </a:cxn>
                <a:cxn ang="0">
                  <a:pos x="21" y="0"/>
                </a:cxn>
                <a:cxn ang="0">
                  <a:pos x="26" y="0"/>
                </a:cxn>
                <a:cxn ang="0">
                  <a:pos x="26" y="2"/>
                </a:cxn>
                <a:cxn ang="0">
                  <a:pos x="24" y="2"/>
                </a:cxn>
                <a:cxn ang="0">
                  <a:pos x="27" y="5"/>
                </a:cxn>
                <a:cxn ang="0">
                  <a:pos x="27" y="1"/>
                </a:cxn>
                <a:cxn ang="0">
                  <a:pos x="30" y="1"/>
                </a:cxn>
                <a:cxn ang="0">
                  <a:pos x="31" y="4"/>
                </a:cxn>
                <a:cxn ang="0">
                  <a:pos x="28" y="4"/>
                </a:cxn>
                <a:cxn ang="0">
                  <a:pos x="32" y="6"/>
                </a:cxn>
                <a:cxn ang="0">
                  <a:pos x="26" y="9"/>
                </a:cxn>
                <a:cxn ang="0">
                  <a:pos x="21" y="8"/>
                </a:cxn>
                <a:cxn ang="0">
                  <a:pos x="23" y="12"/>
                </a:cxn>
                <a:cxn ang="0">
                  <a:pos x="18" y="11"/>
                </a:cxn>
                <a:cxn ang="0">
                  <a:pos x="19" y="14"/>
                </a:cxn>
                <a:cxn ang="0">
                  <a:pos x="16" y="13"/>
                </a:cxn>
                <a:cxn ang="0">
                  <a:pos x="16" y="16"/>
                </a:cxn>
                <a:cxn ang="0">
                  <a:pos x="13" y="12"/>
                </a:cxn>
                <a:cxn ang="0">
                  <a:pos x="18" y="6"/>
                </a:cxn>
                <a:cxn ang="0">
                  <a:pos x="20" y="8"/>
                </a:cxn>
                <a:cxn ang="0">
                  <a:pos x="7" y="8"/>
                </a:cxn>
                <a:cxn ang="0">
                  <a:pos x="9" y="6"/>
                </a:cxn>
                <a:cxn ang="0">
                  <a:pos x="4" y="5"/>
                </a:cxn>
                <a:cxn ang="0">
                  <a:pos x="9" y="5"/>
                </a:cxn>
                <a:cxn ang="0">
                  <a:pos x="4" y="1"/>
                </a:cxn>
                <a:cxn ang="0">
                  <a:pos x="9" y="3"/>
                </a:cxn>
                <a:cxn ang="0">
                  <a:pos x="10" y="1"/>
                </a:cxn>
                <a:cxn ang="0">
                  <a:pos x="18" y="1"/>
                </a:cxn>
                <a:cxn ang="0">
                  <a:pos x="7" y="13"/>
                </a:cxn>
                <a:cxn ang="0">
                  <a:pos x="4" y="15"/>
                </a:cxn>
                <a:cxn ang="0">
                  <a:pos x="1" y="12"/>
                </a:cxn>
                <a:cxn ang="0">
                  <a:pos x="6" y="10"/>
                </a:cxn>
                <a:cxn ang="0">
                  <a:pos x="6" y="7"/>
                </a:cxn>
                <a:cxn ang="0">
                  <a:pos x="7" y="8"/>
                </a:cxn>
                <a:cxn ang="0">
                  <a:pos x="1" y="10"/>
                </a:cxn>
                <a:cxn ang="0">
                  <a:pos x="0" y="8"/>
                </a:cxn>
                <a:cxn ang="0">
                  <a:pos x="2" y="8"/>
                </a:cxn>
                <a:cxn ang="0">
                  <a:pos x="1" y="10"/>
                </a:cxn>
              </a:cxnLst>
              <a:rect l="0" t="0" r="r" b="b"/>
              <a:pathLst>
                <a:path w="32" h="16">
                  <a:moveTo>
                    <a:pt x="20" y="8"/>
                  </a:moveTo>
                  <a:lnTo>
                    <a:pt x="18" y="4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26" y="2"/>
                  </a:lnTo>
                  <a:lnTo>
                    <a:pt x="24" y="2"/>
                  </a:lnTo>
                  <a:lnTo>
                    <a:pt x="27" y="5"/>
                  </a:lnTo>
                  <a:lnTo>
                    <a:pt x="27" y="1"/>
                  </a:lnTo>
                  <a:lnTo>
                    <a:pt x="30" y="1"/>
                  </a:lnTo>
                  <a:lnTo>
                    <a:pt x="31" y="4"/>
                  </a:lnTo>
                  <a:lnTo>
                    <a:pt x="28" y="4"/>
                  </a:lnTo>
                  <a:lnTo>
                    <a:pt x="32" y="6"/>
                  </a:lnTo>
                  <a:lnTo>
                    <a:pt x="26" y="9"/>
                  </a:lnTo>
                  <a:lnTo>
                    <a:pt x="21" y="8"/>
                  </a:lnTo>
                  <a:lnTo>
                    <a:pt x="23" y="12"/>
                  </a:lnTo>
                  <a:lnTo>
                    <a:pt x="18" y="11"/>
                  </a:lnTo>
                  <a:lnTo>
                    <a:pt x="19" y="14"/>
                  </a:lnTo>
                  <a:lnTo>
                    <a:pt x="16" y="13"/>
                  </a:lnTo>
                  <a:lnTo>
                    <a:pt x="16" y="16"/>
                  </a:lnTo>
                  <a:lnTo>
                    <a:pt x="13" y="12"/>
                  </a:lnTo>
                  <a:lnTo>
                    <a:pt x="18" y="6"/>
                  </a:lnTo>
                  <a:lnTo>
                    <a:pt x="20" y="8"/>
                  </a:lnTo>
                  <a:close/>
                  <a:moveTo>
                    <a:pt x="7" y="8"/>
                  </a:moveTo>
                  <a:lnTo>
                    <a:pt x="9" y="6"/>
                  </a:lnTo>
                  <a:lnTo>
                    <a:pt x="4" y="5"/>
                  </a:lnTo>
                  <a:lnTo>
                    <a:pt x="9" y="5"/>
                  </a:lnTo>
                  <a:lnTo>
                    <a:pt x="4" y="1"/>
                  </a:lnTo>
                  <a:lnTo>
                    <a:pt x="9" y="3"/>
                  </a:lnTo>
                  <a:lnTo>
                    <a:pt x="10" y="1"/>
                  </a:lnTo>
                  <a:lnTo>
                    <a:pt x="18" y="1"/>
                  </a:lnTo>
                  <a:lnTo>
                    <a:pt x="7" y="13"/>
                  </a:lnTo>
                  <a:lnTo>
                    <a:pt x="4" y="15"/>
                  </a:lnTo>
                  <a:lnTo>
                    <a:pt x="1" y="12"/>
                  </a:lnTo>
                  <a:lnTo>
                    <a:pt x="6" y="10"/>
                  </a:lnTo>
                  <a:lnTo>
                    <a:pt x="6" y="7"/>
                  </a:lnTo>
                  <a:lnTo>
                    <a:pt x="7" y="8"/>
                  </a:lnTo>
                  <a:close/>
                  <a:moveTo>
                    <a:pt x="1" y="10"/>
                  </a:moveTo>
                  <a:lnTo>
                    <a:pt x="0" y="8"/>
                  </a:lnTo>
                  <a:lnTo>
                    <a:pt x="2" y="8"/>
                  </a:lnTo>
                  <a:lnTo>
                    <a:pt x="1" y="1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7" name="Freeform 402"/>
            <p:cNvSpPr>
              <a:spLocks/>
            </p:cNvSpPr>
            <p:nvPr>
              <p:custDataLst>
                <p:tags r:id="rId399"/>
              </p:custDataLst>
            </p:nvPr>
          </p:nvSpPr>
          <p:spPr bwMode="gray">
            <a:xfrm>
              <a:off x="2936006" y="3677939"/>
              <a:ext cx="2966" cy="445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1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1" y="0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1" y="1"/>
                  </a:lnTo>
                  <a:lnTo>
                    <a:pt x="0" y="2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grpSp>
          <p:nvGrpSpPr>
            <p:cNvPr id="208" name="Group 195"/>
            <p:cNvGrpSpPr>
              <a:grpSpLocks/>
            </p:cNvGrpSpPr>
            <p:nvPr>
              <p:custDataLst>
                <p:tags r:id="rId400"/>
              </p:custDataLst>
            </p:nvPr>
          </p:nvGrpSpPr>
          <p:grpSpPr bwMode="gray">
            <a:xfrm>
              <a:off x="4665259" y="4201460"/>
              <a:ext cx="490894" cy="474580"/>
              <a:chOff x="3035" y="2705"/>
              <a:chExt cx="331" cy="320"/>
            </a:xfrm>
            <a:grpFill/>
          </p:grpSpPr>
          <p:sp>
            <p:nvSpPr>
              <p:cNvPr id="217" name="Freeform 196"/>
              <p:cNvSpPr>
                <a:spLocks/>
              </p:cNvSpPr>
              <p:nvPr/>
            </p:nvSpPr>
            <p:spPr bwMode="gray">
              <a:xfrm>
                <a:off x="3035" y="2705"/>
                <a:ext cx="36" cy="36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4" y="8"/>
                  </a:cxn>
                  <a:cxn ang="0">
                    <a:pos x="0" y="8"/>
                  </a:cxn>
                  <a:cxn ang="0">
                    <a:pos x="4" y="4"/>
                  </a:cxn>
                  <a:cxn ang="0">
                    <a:pos x="8" y="0"/>
                  </a:cxn>
                  <a:cxn ang="0">
                    <a:pos x="12" y="0"/>
                  </a:cxn>
                  <a:cxn ang="0">
                    <a:pos x="12" y="4"/>
                  </a:cxn>
                  <a:cxn ang="0">
                    <a:pos x="16" y="4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0" y="12"/>
                  </a:cxn>
                  <a:cxn ang="0">
                    <a:pos x="20" y="16"/>
                  </a:cxn>
                  <a:cxn ang="0">
                    <a:pos x="20" y="16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8" y="16"/>
                  </a:cxn>
                  <a:cxn ang="0">
                    <a:pos x="32" y="20"/>
                  </a:cxn>
                  <a:cxn ang="0">
                    <a:pos x="36" y="20"/>
                  </a:cxn>
                  <a:cxn ang="0">
                    <a:pos x="36" y="20"/>
                  </a:cxn>
                  <a:cxn ang="0">
                    <a:pos x="36" y="20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2" y="28"/>
                  </a:cxn>
                  <a:cxn ang="0">
                    <a:pos x="32" y="28"/>
                  </a:cxn>
                  <a:cxn ang="0">
                    <a:pos x="28" y="28"/>
                  </a:cxn>
                  <a:cxn ang="0">
                    <a:pos x="24" y="28"/>
                  </a:cxn>
                  <a:cxn ang="0">
                    <a:pos x="24" y="28"/>
                  </a:cxn>
                  <a:cxn ang="0">
                    <a:pos x="24" y="28"/>
                  </a:cxn>
                  <a:cxn ang="0">
                    <a:pos x="24" y="28"/>
                  </a:cxn>
                  <a:cxn ang="0">
                    <a:pos x="24" y="32"/>
                  </a:cxn>
                  <a:cxn ang="0">
                    <a:pos x="24" y="32"/>
                  </a:cxn>
                  <a:cxn ang="0">
                    <a:pos x="20" y="32"/>
                  </a:cxn>
                  <a:cxn ang="0">
                    <a:pos x="20" y="32"/>
                  </a:cxn>
                  <a:cxn ang="0">
                    <a:pos x="20" y="32"/>
                  </a:cxn>
                  <a:cxn ang="0">
                    <a:pos x="20" y="36"/>
                  </a:cxn>
                  <a:cxn ang="0">
                    <a:pos x="20" y="36"/>
                  </a:cxn>
                  <a:cxn ang="0">
                    <a:pos x="20" y="36"/>
                  </a:cxn>
                  <a:cxn ang="0">
                    <a:pos x="20" y="36"/>
                  </a:cxn>
                  <a:cxn ang="0">
                    <a:pos x="20" y="36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16" y="32"/>
                  </a:cxn>
                  <a:cxn ang="0">
                    <a:pos x="12" y="24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8" y="20"/>
                  </a:cxn>
                </a:cxnLst>
                <a:rect l="0" t="0" r="r" b="b"/>
                <a:pathLst>
                  <a:path w="36" h="36">
                    <a:moveTo>
                      <a:pt x="8" y="12"/>
                    </a:moveTo>
                    <a:lnTo>
                      <a:pt x="8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8" y="24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4450" tIns="44450" rIns="44450" bIns="44450"/>
              <a:lstStyle/>
              <a:p>
                <a:endParaRPr lang="en-US" dirty="0"/>
              </a:p>
            </p:txBody>
          </p:sp>
          <p:sp>
            <p:nvSpPr>
              <p:cNvPr id="218" name="Freeform 197"/>
              <p:cNvSpPr>
                <a:spLocks/>
              </p:cNvSpPr>
              <p:nvPr/>
            </p:nvSpPr>
            <p:spPr bwMode="gray">
              <a:xfrm>
                <a:off x="3318" y="2965"/>
                <a:ext cx="48" cy="60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32" y="0"/>
                  </a:cxn>
                  <a:cxn ang="0">
                    <a:pos x="36" y="4"/>
                  </a:cxn>
                  <a:cxn ang="0">
                    <a:pos x="36" y="4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44" y="12"/>
                  </a:cxn>
                  <a:cxn ang="0">
                    <a:pos x="40" y="8"/>
                  </a:cxn>
                  <a:cxn ang="0">
                    <a:pos x="48" y="8"/>
                  </a:cxn>
                  <a:cxn ang="0">
                    <a:pos x="44" y="12"/>
                  </a:cxn>
                  <a:cxn ang="0">
                    <a:pos x="40" y="16"/>
                  </a:cxn>
                  <a:cxn ang="0">
                    <a:pos x="36" y="16"/>
                  </a:cxn>
                  <a:cxn ang="0">
                    <a:pos x="40" y="24"/>
                  </a:cxn>
                  <a:cxn ang="0">
                    <a:pos x="36" y="28"/>
                  </a:cxn>
                  <a:cxn ang="0">
                    <a:pos x="36" y="32"/>
                  </a:cxn>
                  <a:cxn ang="0">
                    <a:pos x="32" y="32"/>
                  </a:cxn>
                  <a:cxn ang="0">
                    <a:pos x="32" y="40"/>
                  </a:cxn>
                  <a:cxn ang="0">
                    <a:pos x="24" y="40"/>
                  </a:cxn>
                  <a:cxn ang="0">
                    <a:pos x="28" y="44"/>
                  </a:cxn>
                  <a:cxn ang="0">
                    <a:pos x="28" y="44"/>
                  </a:cxn>
                  <a:cxn ang="0">
                    <a:pos x="32" y="44"/>
                  </a:cxn>
                  <a:cxn ang="0">
                    <a:pos x="28" y="48"/>
                  </a:cxn>
                  <a:cxn ang="0">
                    <a:pos x="24" y="52"/>
                  </a:cxn>
                  <a:cxn ang="0">
                    <a:pos x="20" y="48"/>
                  </a:cxn>
                  <a:cxn ang="0">
                    <a:pos x="20" y="56"/>
                  </a:cxn>
                  <a:cxn ang="0">
                    <a:pos x="16" y="60"/>
                  </a:cxn>
                  <a:cxn ang="0">
                    <a:pos x="20" y="56"/>
                  </a:cxn>
                  <a:cxn ang="0">
                    <a:pos x="16" y="52"/>
                  </a:cxn>
                  <a:cxn ang="0">
                    <a:pos x="16" y="52"/>
                  </a:cxn>
                  <a:cxn ang="0">
                    <a:pos x="12" y="48"/>
                  </a:cxn>
                  <a:cxn ang="0">
                    <a:pos x="8" y="52"/>
                  </a:cxn>
                  <a:cxn ang="0">
                    <a:pos x="4" y="56"/>
                  </a:cxn>
                  <a:cxn ang="0">
                    <a:pos x="4" y="52"/>
                  </a:cxn>
                  <a:cxn ang="0">
                    <a:pos x="0" y="48"/>
                  </a:cxn>
                  <a:cxn ang="0">
                    <a:pos x="0" y="40"/>
                  </a:cxn>
                  <a:cxn ang="0">
                    <a:pos x="0" y="32"/>
                  </a:cxn>
                  <a:cxn ang="0">
                    <a:pos x="4" y="28"/>
                  </a:cxn>
                  <a:cxn ang="0">
                    <a:pos x="0" y="20"/>
                  </a:cxn>
                  <a:cxn ang="0">
                    <a:pos x="4" y="12"/>
                  </a:cxn>
                  <a:cxn ang="0">
                    <a:pos x="8" y="8"/>
                  </a:cxn>
                  <a:cxn ang="0">
                    <a:pos x="12" y="4"/>
                  </a:cxn>
                  <a:cxn ang="0">
                    <a:pos x="16" y="0"/>
                  </a:cxn>
                  <a:cxn ang="0">
                    <a:pos x="20" y="4"/>
                  </a:cxn>
                  <a:cxn ang="0">
                    <a:pos x="24" y="0"/>
                  </a:cxn>
                </a:cxnLst>
                <a:rect l="0" t="0" r="r" b="b"/>
                <a:pathLst>
                  <a:path w="48" h="60">
                    <a:moveTo>
                      <a:pt x="24" y="0"/>
                    </a:moveTo>
                    <a:lnTo>
                      <a:pt x="28" y="0"/>
                    </a:lnTo>
                    <a:lnTo>
                      <a:pt x="28" y="4"/>
                    </a:lnTo>
                    <a:lnTo>
                      <a:pt x="32" y="0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12"/>
                    </a:lnTo>
                    <a:lnTo>
                      <a:pt x="44" y="12"/>
                    </a:lnTo>
                    <a:lnTo>
                      <a:pt x="40" y="12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4" y="12"/>
                    </a:lnTo>
                    <a:lnTo>
                      <a:pt x="44" y="16"/>
                    </a:lnTo>
                    <a:lnTo>
                      <a:pt x="40" y="16"/>
                    </a:lnTo>
                    <a:lnTo>
                      <a:pt x="40" y="12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40" y="24"/>
                    </a:lnTo>
                    <a:lnTo>
                      <a:pt x="36" y="24"/>
                    </a:lnTo>
                    <a:lnTo>
                      <a:pt x="36" y="28"/>
                    </a:lnTo>
                    <a:lnTo>
                      <a:pt x="32" y="32"/>
                    </a:lnTo>
                    <a:lnTo>
                      <a:pt x="36" y="32"/>
                    </a:lnTo>
                    <a:lnTo>
                      <a:pt x="36" y="36"/>
                    </a:lnTo>
                    <a:lnTo>
                      <a:pt x="32" y="32"/>
                    </a:lnTo>
                    <a:lnTo>
                      <a:pt x="32" y="36"/>
                    </a:lnTo>
                    <a:lnTo>
                      <a:pt x="32" y="40"/>
                    </a:lnTo>
                    <a:lnTo>
                      <a:pt x="28" y="40"/>
                    </a:lnTo>
                    <a:lnTo>
                      <a:pt x="24" y="40"/>
                    </a:lnTo>
                    <a:lnTo>
                      <a:pt x="28" y="40"/>
                    </a:lnTo>
                    <a:lnTo>
                      <a:pt x="28" y="44"/>
                    </a:lnTo>
                    <a:lnTo>
                      <a:pt x="24" y="44"/>
                    </a:lnTo>
                    <a:lnTo>
                      <a:pt x="28" y="44"/>
                    </a:lnTo>
                    <a:lnTo>
                      <a:pt x="32" y="48"/>
                    </a:lnTo>
                    <a:lnTo>
                      <a:pt x="32" y="44"/>
                    </a:lnTo>
                    <a:lnTo>
                      <a:pt x="32" y="48"/>
                    </a:lnTo>
                    <a:lnTo>
                      <a:pt x="28" y="48"/>
                    </a:lnTo>
                    <a:lnTo>
                      <a:pt x="28" y="52"/>
                    </a:lnTo>
                    <a:lnTo>
                      <a:pt x="24" y="52"/>
                    </a:lnTo>
                    <a:lnTo>
                      <a:pt x="24" y="48"/>
                    </a:lnTo>
                    <a:lnTo>
                      <a:pt x="20" y="48"/>
                    </a:lnTo>
                    <a:lnTo>
                      <a:pt x="20" y="52"/>
                    </a:lnTo>
                    <a:lnTo>
                      <a:pt x="20" y="56"/>
                    </a:lnTo>
                    <a:lnTo>
                      <a:pt x="20" y="60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0" y="56"/>
                    </a:lnTo>
                    <a:lnTo>
                      <a:pt x="20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56"/>
                    </a:lnTo>
                    <a:lnTo>
                      <a:pt x="0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0" y="48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4" y="32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0" y="20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0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4450" tIns="44450" rIns="44450" bIns="44450"/>
              <a:lstStyle/>
              <a:p>
                <a:endParaRPr lang="en-US" dirty="0"/>
              </a:p>
            </p:txBody>
          </p:sp>
        </p:grpSp>
        <p:sp>
          <p:nvSpPr>
            <p:cNvPr id="209" name="Freeform 405"/>
            <p:cNvSpPr>
              <a:spLocks/>
            </p:cNvSpPr>
            <p:nvPr/>
          </p:nvSpPr>
          <p:spPr bwMode="gray">
            <a:xfrm>
              <a:off x="5043441" y="2734710"/>
              <a:ext cx="71187" cy="69704"/>
            </a:xfrm>
            <a:custGeom>
              <a:avLst/>
              <a:gdLst/>
              <a:ahLst/>
              <a:cxnLst>
                <a:cxn ang="0">
                  <a:pos x="20" y="43"/>
                </a:cxn>
                <a:cxn ang="0">
                  <a:pos x="20" y="43"/>
                </a:cxn>
                <a:cxn ang="0">
                  <a:pos x="20" y="39"/>
                </a:cxn>
                <a:cxn ang="0">
                  <a:pos x="16" y="35"/>
                </a:cxn>
                <a:cxn ang="0">
                  <a:pos x="16" y="35"/>
                </a:cxn>
                <a:cxn ang="0">
                  <a:pos x="12" y="31"/>
                </a:cxn>
                <a:cxn ang="0">
                  <a:pos x="12" y="27"/>
                </a:cxn>
                <a:cxn ang="0">
                  <a:pos x="12" y="27"/>
                </a:cxn>
                <a:cxn ang="0">
                  <a:pos x="8" y="19"/>
                </a:cxn>
                <a:cxn ang="0">
                  <a:pos x="4" y="15"/>
                </a:cxn>
                <a:cxn ang="0">
                  <a:pos x="0" y="15"/>
                </a:cxn>
                <a:cxn ang="0">
                  <a:pos x="4" y="15"/>
                </a:cxn>
                <a:cxn ang="0">
                  <a:pos x="4" y="15"/>
                </a:cxn>
                <a:cxn ang="0">
                  <a:pos x="0" y="15"/>
                </a:cxn>
                <a:cxn ang="0">
                  <a:pos x="4" y="11"/>
                </a:cxn>
                <a:cxn ang="0">
                  <a:pos x="8" y="11"/>
                </a:cxn>
                <a:cxn ang="0">
                  <a:pos x="8" y="11"/>
                </a:cxn>
                <a:cxn ang="0">
                  <a:pos x="8" y="7"/>
                </a:cxn>
                <a:cxn ang="0">
                  <a:pos x="12" y="7"/>
                </a:cxn>
                <a:cxn ang="0">
                  <a:pos x="16" y="3"/>
                </a:cxn>
                <a:cxn ang="0">
                  <a:pos x="16" y="3"/>
                </a:cxn>
                <a:cxn ang="0">
                  <a:pos x="20" y="3"/>
                </a:cxn>
                <a:cxn ang="0">
                  <a:pos x="20" y="3"/>
                </a:cxn>
                <a:cxn ang="0">
                  <a:pos x="20" y="3"/>
                </a:cxn>
                <a:cxn ang="0">
                  <a:pos x="20" y="7"/>
                </a:cxn>
                <a:cxn ang="0">
                  <a:pos x="20" y="3"/>
                </a:cxn>
                <a:cxn ang="0">
                  <a:pos x="24" y="3"/>
                </a:cxn>
                <a:cxn ang="0">
                  <a:pos x="28" y="7"/>
                </a:cxn>
                <a:cxn ang="0">
                  <a:pos x="28" y="11"/>
                </a:cxn>
                <a:cxn ang="0">
                  <a:pos x="28" y="11"/>
                </a:cxn>
                <a:cxn ang="0">
                  <a:pos x="32" y="15"/>
                </a:cxn>
                <a:cxn ang="0">
                  <a:pos x="40" y="15"/>
                </a:cxn>
                <a:cxn ang="0">
                  <a:pos x="44" y="19"/>
                </a:cxn>
                <a:cxn ang="0">
                  <a:pos x="44" y="19"/>
                </a:cxn>
                <a:cxn ang="0">
                  <a:pos x="44" y="23"/>
                </a:cxn>
                <a:cxn ang="0">
                  <a:pos x="48" y="23"/>
                </a:cxn>
                <a:cxn ang="0">
                  <a:pos x="44" y="27"/>
                </a:cxn>
                <a:cxn ang="0">
                  <a:pos x="48" y="27"/>
                </a:cxn>
                <a:cxn ang="0">
                  <a:pos x="48" y="31"/>
                </a:cxn>
                <a:cxn ang="0">
                  <a:pos x="48" y="31"/>
                </a:cxn>
                <a:cxn ang="0">
                  <a:pos x="44" y="31"/>
                </a:cxn>
                <a:cxn ang="0">
                  <a:pos x="44" y="31"/>
                </a:cxn>
                <a:cxn ang="0">
                  <a:pos x="44" y="35"/>
                </a:cxn>
                <a:cxn ang="0">
                  <a:pos x="44" y="35"/>
                </a:cxn>
                <a:cxn ang="0">
                  <a:pos x="44" y="39"/>
                </a:cxn>
                <a:cxn ang="0">
                  <a:pos x="40" y="43"/>
                </a:cxn>
                <a:cxn ang="0">
                  <a:pos x="36" y="39"/>
                </a:cxn>
                <a:cxn ang="0">
                  <a:pos x="36" y="39"/>
                </a:cxn>
                <a:cxn ang="0">
                  <a:pos x="28" y="39"/>
                </a:cxn>
                <a:cxn ang="0">
                  <a:pos x="28" y="43"/>
                </a:cxn>
                <a:cxn ang="0">
                  <a:pos x="28" y="43"/>
                </a:cxn>
                <a:cxn ang="0">
                  <a:pos x="28" y="47"/>
                </a:cxn>
                <a:cxn ang="0">
                  <a:pos x="24" y="47"/>
                </a:cxn>
                <a:cxn ang="0">
                  <a:pos x="20" y="47"/>
                </a:cxn>
              </a:cxnLst>
              <a:rect l="0" t="0" r="r" b="b"/>
              <a:pathLst>
                <a:path w="48" h="47">
                  <a:moveTo>
                    <a:pt x="20" y="47"/>
                  </a:moveTo>
                  <a:lnTo>
                    <a:pt x="20" y="47"/>
                  </a:lnTo>
                  <a:lnTo>
                    <a:pt x="20" y="47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8" y="23"/>
                  </a:lnTo>
                  <a:lnTo>
                    <a:pt x="8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4" y="11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5"/>
                  </a:lnTo>
                  <a:lnTo>
                    <a:pt x="36" y="15"/>
                  </a:lnTo>
                  <a:lnTo>
                    <a:pt x="36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7"/>
                  </a:lnTo>
                  <a:lnTo>
                    <a:pt x="44" y="27"/>
                  </a:lnTo>
                  <a:lnTo>
                    <a:pt x="44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4" y="35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2" y="39"/>
                  </a:lnTo>
                  <a:lnTo>
                    <a:pt x="32" y="39"/>
                  </a:lnTo>
                  <a:lnTo>
                    <a:pt x="32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10" name="Freeform 207"/>
            <p:cNvSpPr>
              <a:spLocks/>
            </p:cNvSpPr>
            <p:nvPr>
              <p:custDataLst>
                <p:tags r:id="rId401"/>
              </p:custDataLst>
            </p:nvPr>
          </p:nvSpPr>
          <p:spPr bwMode="gray">
            <a:xfrm>
              <a:off x="5423105" y="3243400"/>
              <a:ext cx="182416" cy="324791"/>
            </a:xfrm>
            <a:custGeom>
              <a:avLst/>
              <a:gdLst/>
              <a:ahLst/>
              <a:cxnLst>
                <a:cxn ang="0">
                  <a:pos x="40" y="155"/>
                </a:cxn>
                <a:cxn ang="0">
                  <a:pos x="52" y="143"/>
                </a:cxn>
                <a:cxn ang="0">
                  <a:pos x="48" y="139"/>
                </a:cxn>
                <a:cxn ang="0">
                  <a:pos x="40" y="127"/>
                </a:cxn>
                <a:cxn ang="0">
                  <a:pos x="32" y="115"/>
                </a:cxn>
                <a:cxn ang="0">
                  <a:pos x="24" y="99"/>
                </a:cxn>
                <a:cxn ang="0">
                  <a:pos x="16" y="88"/>
                </a:cxn>
                <a:cxn ang="0">
                  <a:pos x="12" y="80"/>
                </a:cxn>
                <a:cxn ang="0">
                  <a:pos x="12" y="68"/>
                </a:cxn>
                <a:cxn ang="0">
                  <a:pos x="12" y="72"/>
                </a:cxn>
                <a:cxn ang="0">
                  <a:pos x="4" y="56"/>
                </a:cxn>
                <a:cxn ang="0">
                  <a:pos x="8" y="48"/>
                </a:cxn>
                <a:cxn ang="0">
                  <a:pos x="12" y="32"/>
                </a:cxn>
                <a:cxn ang="0">
                  <a:pos x="16" y="28"/>
                </a:cxn>
                <a:cxn ang="0">
                  <a:pos x="32" y="24"/>
                </a:cxn>
                <a:cxn ang="0">
                  <a:pos x="40" y="16"/>
                </a:cxn>
                <a:cxn ang="0">
                  <a:pos x="48" y="12"/>
                </a:cxn>
                <a:cxn ang="0">
                  <a:pos x="64" y="4"/>
                </a:cxn>
                <a:cxn ang="0">
                  <a:pos x="75" y="4"/>
                </a:cxn>
                <a:cxn ang="0">
                  <a:pos x="91" y="4"/>
                </a:cxn>
                <a:cxn ang="0">
                  <a:pos x="99" y="16"/>
                </a:cxn>
                <a:cxn ang="0">
                  <a:pos x="95" y="36"/>
                </a:cxn>
                <a:cxn ang="0">
                  <a:pos x="83" y="36"/>
                </a:cxn>
                <a:cxn ang="0">
                  <a:pos x="68" y="40"/>
                </a:cxn>
                <a:cxn ang="0">
                  <a:pos x="68" y="52"/>
                </a:cxn>
                <a:cxn ang="0">
                  <a:pos x="68" y="56"/>
                </a:cxn>
                <a:cxn ang="0">
                  <a:pos x="56" y="60"/>
                </a:cxn>
                <a:cxn ang="0">
                  <a:pos x="68" y="72"/>
                </a:cxn>
                <a:cxn ang="0">
                  <a:pos x="79" y="88"/>
                </a:cxn>
                <a:cxn ang="0">
                  <a:pos x="91" y="92"/>
                </a:cxn>
                <a:cxn ang="0">
                  <a:pos x="87" y="107"/>
                </a:cxn>
                <a:cxn ang="0">
                  <a:pos x="87" y="119"/>
                </a:cxn>
                <a:cxn ang="0">
                  <a:pos x="91" y="119"/>
                </a:cxn>
                <a:cxn ang="0">
                  <a:pos x="95" y="107"/>
                </a:cxn>
                <a:cxn ang="0">
                  <a:pos x="111" y="111"/>
                </a:cxn>
                <a:cxn ang="0">
                  <a:pos x="119" y="123"/>
                </a:cxn>
                <a:cxn ang="0">
                  <a:pos x="115" y="135"/>
                </a:cxn>
                <a:cxn ang="0">
                  <a:pos x="107" y="131"/>
                </a:cxn>
                <a:cxn ang="0">
                  <a:pos x="95" y="131"/>
                </a:cxn>
                <a:cxn ang="0">
                  <a:pos x="95" y="135"/>
                </a:cxn>
                <a:cxn ang="0">
                  <a:pos x="91" y="151"/>
                </a:cxn>
                <a:cxn ang="0">
                  <a:pos x="95" y="151"/>
                </a:cxn>
                <a:cxn ang="0">
                  <a:pos x="107" y="155"/>
                </a:cxn>
                <a:cxn ang="0">
                  <a:pos x="99" y="159"/>
                </a:cxn>
                <a:cxn ang="0">
                  <a:pos x="107" y="167"/>
                </a:cxn>
                <a:cxn ang="0">
                  <a:pos x="107" y="183"/>
                </a:cxn>
                <a:cxn ang="0">
                  <a:pos x="111" y="203"/>
                </a:cxn>
                <a:cxn ang="0">
                  <a:pos x="103" y="215"/>
                </a:cxn>
                <a:cxn ang="0">
                  <a:pos x="107" y="211"/>
                </a:cxn>
                <a:cxn ang="0">
                  <a:pos x="87" y="215"/>
                </a:cxn>
                <a:cxn ang="0">
                  <a:pos x="72" y="215"/>
                </a:cxn>
                <a:cxn ang="0">
                  <a:pos x="56" y="203"/>
                </a:cxn>
                <a:cxn ang="0">
                  <a:pos x="36" y="199"/>
                </a:cxn>
                <a:cxn ang="0">
                  <a:pos x="32" y="175"/>
                </a:cxn>
                <a:cxn ang="0">
                  <a:pos x="36" y="171"/>
                </a:cxn>
              </a:cxnLst>
              <a:rect l="0" t="0" r="r" b="b"/>
              <a:pathLst>
                <a:path w="123" h="219">
                  <a:moveTo>
                    <a:pt x="40" y="167"/>
                  </a:moveTo>
                  <a:lnTo>
                    <a:pt x="40" y="163"/>
                  </a:lnTo>
                  <a:lnTo>
                    <a:pt x="44" y="163"/>
                  </a:lnTo>
                  <a:lnTo>
                    <a:pt x="40" y="159"/>
                  </a:lnTo>
                  <a:lnTo>
                    <a:pt x="40" y="155"/>
                  </a:lnTo>
                  <a:lnTo>
                    <a:pt x="44" y="151"/>
                  </a:lnTo>
                  <a:lnTo>
                    <a:pt x="44" y="147"/>
                  </a:lnTo>
                  <a:lnTo>
                    <a:pt x="44" y="143"/>
                  </a:lnTo>
                  <a:lnTo>
                    <a:pt x="48" y="143"/>
                  </a:lnTo>
                  <a:lnTo>
                    <a:pt x="52" y="143"/>
                  </a:lnTo>
                  <a:lnTo>
                    <a:pt x="56" y="143"/>
                  </a:lnTo>
                  <a:lnTo>
                    <a:pt x="56" y="139"/>
                  </a:lnTo>
                  <a:lnTo>
                    <a:pt x="52" y="135"/>
                  </a:lnTo>
                  <a:lnTo>
                    <a:pt x="48" y="135"/>
                  </a:lnTo>
                  <a:lnTo>
                    <a:pt x="48" y="139"/>
                  </a:lnTo>
                  <a:lnTo>
                    <a:pt x="48" y="135"/>
                  </a:lnTo>
                  <a:lnTo>
                    <a:pt x="44" y="135"/>
                  </a:lnTo>
                  <a:lnTo>
                    <a:pt x="44" y="131"/>
                  </a:lnTo>
                  <a:lnTo>
                    <a:pt x="40" y="131"/>
                  </a:lnTo>
                  <a:lnTo>
                    <a:pt x="40" y="127"/>
                  </a:lnTo>
                  <a:lnTo>
                    <a:pt x="40" y="123"/>
                  </a:lnTo>
                  <a:lnTo>
                    <a:pt x="36" y="123"/>
                  </a:lnTo>
                  <a:lnTo>
                    <a:pt x="36" y="119"/>
                  </a:lnTo>
                  <a:lnTo>
                    <a:pt x="36" y="115"/>
                  </a:lnTo>
                  <a:lnTo>
                    <a:pt x="32" y="115"/>
                  </a:lnTo>
                  <a:lnTo>
                    <a:pt x="32" y="111"/>
                  </a:lnTo>
                  <a:lnTo>
                    <a:pt x="28" y="111"/>
                  </a:lnTo>
                  <a:lnTo>
                    <a:pt x="28" y="107"/>
                  </a:lnTo>
                  <a:lnTo>
                    <a:pt x="24" y="107"/>
                  </a:lnTo>
                  <a:lnTo>
                    <a:pt x="24" y="99"/>
                  </a:lnTo>
                  <a:lnTo>
                    <a:pt x="20" y="99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72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5" y="0"/>
                  </a:lnTo>
                  <a:lnTo>
                    <a:pt x="75" y="4"/>
                  </a:lnTo>
                  <a:lnTo>
                    <a:pt x="79" y="4"/>
                  </a:lnTo>
                  <a:lnTo>
                    <a:pt x="83" y="4"/>
                  </a:lnTo>
                  <a:lnTo>
                    <a:pt x="87" y="4"/>
                  </a:lnTo>
                  <a:lnTo>
                    <a:pt x="87" y="0"/>
                  </a:lnTo>
                  <a:lnTo>
                    <a:pt x="91" y="4"/>
                  </a:lnTo>
                  <a:lnTo>
                    <a:pt x="95" y="4"/>
                  </a:lnTo>
                  <a:lnTo>
                    <a:pt x="99" y="4"/>
                  </a:lnTo>
                  <a:lnTo>
                    <a:pt x="99" y="8"/>
                  </a:lnTo>
                  <a:lnTo>
                    <a:pt x="95" y="12"/>
                  </a:lnTo>
                  <a:lnTo>
                    <a:pt x="99" y="16"/>
                  </a:lnTo>
                  <a:lnTo>
                    <a:pt x="99" y="20"/>
                  </a:lnTo>
                  <a:lnTo>
                    <a:pt x="95" y="24"/>
                  </a:lnTo>
                  <a:lnTo>
                    <a:pt x="95" y="28"/>
                  </a:lnTo>
                  <a:lnTo>
                    <a:pt x="91" y="32"/>
                  </a:lnTo>
                  <a:lnTo>
                    <a:pt x="95" y="36"/>
                  </a:lnTo>
                  <a:lnTo>
                    <a:pt x="99" y="36"/>
                  </a:lnTo>
                  <a:lnTo>
                    <a:pt x="95" y="36"/>
                  </a:lnTo>
                  <a:lnTo>
                    <a:pt x="91" y="36"/>
                  </a:lnTo>
                  <a:lnTo>
                    <a:pt x="87" y="36"/>
                  </a:lnTo>
                  <a:lnTo>
                    <a:pt x="83" y="36"/>
                  </a:lnTo>
                  <a:lnTo>
                    <a:pt x="79" y="36"/>
                  </a:lnTo>
                  <a:lnTo>
                    <a:pt x="75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68" y="40"/>
                  </a:lnTo>
                  <a:lnTo>
                    <a:pt x="68" y="44"/>
                  </a:lnTo>
                  <a:lnTo>
                    <a:pt x="64" y="44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72" y="52"/>
                  </a:lnTo>
                  <a:lnTo>
                    <a:pt x="75" y="52"/>
                  </a:lnTo>
                  <a:lnTo>
                    <a:pt x="75" y="56"/>
                  </a:lnTo>
                  <a:lnTo>
                    <a:pt x="72" y="56"/>
                  </a:lnTo>
                  <a:lnTo>
                    <a:pt x="68" y="56"/>
                  </a:lnTo>
                  <a:lnTo>
                    <a:pt x="64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60" y="60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8" y="68"/>
                  </a:lnTo>
                  <a:lnTo>
                    <a:pt x="68" y="72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72" y="84"/>
                  </a:lnTo>
                  <a:lnTo>
                    <a:pt x="75" y="84"/>
                  </a:lnTo>
                  <a:lnTo>
                    <a:pt x="79" y="88"/>
                  </a:lnTo>
                  <a:lnTo>
                    <a:pt x="79" y="92"/>
                  </a:lnTo>
                  <a:lnTo>
                    <a:pt x="79" y="88"/>
                  </a:lnTo>
                  <a:lnTo>
                    <a:pt x="83" y="88"/>
                  </a:lnTo>
                  <a:lnTo>
                    <a:pt x="87" y="92"/>
                  </a:lnTo>
                  <a:lnTo>
                    <a:pt x="91" y="92"/>
                  </a:lnTo>
                  <a:lnTo>
                    <a:pt x="91" y="96"/>
                  </a:lnTo>
                  <a:lnTo>
                    <a:pt x="91" y="99"/>
                  </a:lnTo>
                  <a:lnTo>
                    <a:pt x="87" y="99"/>
                  </a:lnTo>
                  <a:lnTo>
                    <a:pt x="87" y="103"/>
                  </a:lnTo>
                  <a:lnTo>
                    <a:pt x="87" y="107"/>
                  </a:lnTo>
                  <a:lnTo>
                    <a:pt x="87" y="111"/>
                  </a:lnTo>
                  <a:lnTo>
                    <a:pt x="87" y="115"/>
                  </a:lnTo>
                  <a:lnTo>
                    <a:pt x="91" y="115"/>
                  </a:lnTo>
                  <a:lnTo>
                    <a:pt x="87" y="115"/>
                  </a:lnTo>
                  <a:lnTo>
                    <a:pt x="87" y="119"/>
                  </a:lnTo>
                  <a:lnTo>
                    <a:pt x="91" y="119"/>
                  </a:lnTo>
                  <a:lnTo>
                    <a:pt x="91" y="123"/>
                  </a:lnTo>
                  <a:lnTo>
                    <a:pt x="95" y="127"/>
                  </a:lnTo>
                  <a:lnTo>
                    <a:pt x="95" y="123"/>
                  </a:lnTo>
                  <a:lnTo>
                    <a:pt x="91" y="119"/>
                  </a:lnTo>
                  <a:lnTo>
                    <a:pt x="95" y="119"/>
                  </a:lnTo>
                  <a:lnTo>
                    <a:pt x="95" y="115"/>
                  </a:lnTo>
                  <a:lnTo>
                    <a:pt x="91" y="115"/>
                  </a:lnTo>
                  <a:lnTo>
                    <a:pt x="95" y="111"/>
                  </a:lnTo>
                  <a:lnTo>
                    <a:pt x="95" y="107"/>
                  </a:lnTo>
                  <a:lnTo>
                    <a:pt x="99" y="107"/>
                  </a:lnTo>
                  <a:lnTo>
                    <a:pt x="103" y="103"/>
                  </a:lnTo>
                  <a:lnTo>
                    <a:pt x="107" y="103"/>
                  </a:lnTo>
                  <a:lnTo>
                    <a:pt x="111" y="107"/>
                  </a:lnTo>
                  <a:lnTo>
                    <a:pt x="111" y="111"/>
                  </a:lnTo>
                  <a:lnTo>
                    <a:pt x="111" y="115"/>
                  </a:lnTo>
                  <a:lnTo>
                    <a:pt x="111" y="119"/>
                  </a:lnTo>
                  <a:lnTo>
                    <a:pt x="115" y="119"/>
                  </a:lnTo>
                  <a:lnTo>
                    <a:pt x="115" y="123"/>
                  </a:lnTo>
                  <a:lnTo>
                    <a:pt x="119" y="123"/>
                  </a:lnTo>
                  <a:lnTo>
                    <a:pt x="123" y="127"/>
                  </a:lnTo>
                  <a:lnTo>
                    <a:pt x="123" y="131"/>
                  </a:lnTo>
                  <a:lnTo>
                    <a:pt x="119" y="131"/>
                  </a:lnTo>
                  <a:lnTo>
                    <a:pt x="115" y="131"/>
                  </a:lnTo>
                  <a:lnTo>
                    <a:pt x="115" y="135"/>
                  </a:lnTo>
                  <a:lnTo>
                    <a:pt x="119" y="135"/>
                  </a:lnTo>
                  <a:lnTo>
                    <a:pt x="115" y="135"/>
                  </a:lnTo>
                  <a:lnTo>
                    <a:pt x="111" y="135"/>
                  </a:lnTo>
                  <a:lnTo>
                    <a:pt x="107" y="135"/>
                  </a:lnTo>
                  <a:lnTo>
                    <a:pt x="107" y="131"/>
                  </a:lnTo>
                  <a:lnTo>
                    <a:pt x="103" y="131"/>
                  </a:lnTo>
                  <a:lnTo>
                    <a:pt x="103" y="135"/>
                  </a:lnTo>
                  <a:lnTo>
                    <a:pt x="103" y="131"/>
                  </a:lnTo>
                  <a:lnTo>
                    <a:pt x="99" y="131"/>
                  </a:lnTo>
                  <a:lnTo>
                    <a:pt x="95" y="131"/>
                  </a:lnTo>
                  <a:lnTo>
                    <a:pt x="95" y="127"/>
                  </a:lnTo>
                  <a:lnTo>
                    <a:pt x="95" y="131"/>
                  </a:lnTo>
                  <a:lnTo>
                    <a:pt x="95" y="135"/>
                  </a:lnTo>
                  <a:lnTo>
                    <a:pt x="91" y="135"/>
                  </a:lnTo>
                  <a:lnTo>
                    <a:pt x="95" y="135"/>
                  </a:lnTo>
                  <a:lnTo>
                    <a:pt x="91" y="135"/>
                  </a:lnTo>
                  <a:lnTo>
                    <a:pt x="91" y="139"/>
                  </a:lnTo>
                  <a:lnTo>
                    <a:pt x="91" y="143"/>
                  </a:lnTo>
                  <a:lnTo>
                    <a:pt x="91" y="147"/>
                  </a:lnTo>
                  <a:lnTo>
                    <a:pt x="91" y="151"/>
                  </a:lnTo>
                  <a:lnTo>
                    <a:pt x="95" y="151"/>
                  </a:lnTo>
                  <a:lnTo>
                    <a:pt x="95" y="155"/>
                  </a:lnTo>
                  <a:lnTo>
                    <a:pt x="95" y="151"/>
                  </a:lnTo>
                  <a:lnTo>
                    <a:pt x="95" y="147"/>
                  </a:lnTo>
                  <a:lnTo>
                    <a:pt x="95" y="151"/>
                  </a:lnTo>
                  <a:lnTo>
                    <a:pt x="99" y="151"/>
                  </a:lnTo>
                  <a:lnTo>
                    <a:pt x="103" y="147"/>
                  </a:lnTo>
                  <a:lnTo>
                    <a:pt x="103" y="151"/>
                  </a:lnTo>
                  <a:lnTo>
                    <a:pt x="103" y="155"/>
                  </a:lnTo>
                  <a:lnTo>
                    <a:pt x="107" y="155"/>
                  </a:lnTo>
                  <a:lnTo>
                    <a:pt x="107" y="159"/>
                  </a:lnTo>
                  <a:lnTo>
                    <a:pt x="103" y="159"/>
                  </a:lnTo>
                  <a:lnTo>
                    <a:pt x="99" y="159"/>
                  </a:lnTo>
                  <a:lnTo>
                    <a:pt x="99" y="155"/>
                  </a:lnTo>
                  <a:lnTo>
                    <a:pt x="99" y="159"/>
                  </a:lnTo>
                  <a:lnTo>
                    <a:pt x="99" y="163"/>
                  </a:lnTo>
                  <a:lnTo>
                    <a:pt x="99" y="167"/>
                  </a:lnTo>
                  <a:lnTo>
                    <a:pt x="99" y="163"/>
                  </a:lnTo>
                  <a:lnTo>
                    <a:pt x="103" y="163"/>
                  </a:lnTo>
                  <a:lnTo>
                    <a:pt x="107" y="167"/>
                  </a:lnTo>
                  <a:lnTo>
                    <a:pt x="111" y="171"/>
                  </a:lnTo>
                  <a:lnTo>
                    <a:pt x="111" y="175"/>
                  </a:lnTo>
                  <a:lnTo>
                    <a:pt x="107" y="175"/>
                  </a:lnTo>
                  <a:lnTo>
                    <a:pt x="107" y="179"/>
                  </a:lnTo>
                  <a:lnTo>
                    <a:pt x="107" y="183"/>
                  </a:lnTo>
                  <a:lnTo>
                    <a:pt x="107" y="187"/>
                  </a:lnTo>
                  <a:lnTo>
                    <a:pt x="107" y="191"/>
                  </a:lnTo>
                  <a:lnTo>
                    <a:pt x="107" y="195"/>
                  </a:lnTo>
                  <a:lnTo>
                    <a:pt x="107" y="199"/>
                  </a:lnTo>
                  <a:lnTo>
                    <a:pt x="111" y="203"/>
                  </a:lnTo>
                  <a:lnTo>
                    <a:pt x="111" y="207"/>
                  </a:lnTo>
                  <a:lnTo>
                    <a:pt x="111" y="211"/>
                  </a:lnTo>
                  <a:lnTo>
                    <a:pt x="111" y="215"/>
                  </a:lnTo>
                  <a:lnTo>
                    <a:pt x="107" y="215"/>
                  </a:lnTo>
                  <a:lnTo>
                    <a:pt x="103" y="215"/>
                  </a:lnTo>
                  <a:lnTo>
                    <a:pt x="107" y="211"/>
                  </a:lnTo>
                  <a:lnTo>
                    <a:pt x="107" y="215"/>
                  </a:lnTo>
                  <a:lnTo>
                    <a:pt x="107" y="211"/>
                  </a:lnTo>
                  <a:lnTo>
                    <a:pt x="111" y="211"/>
                  </a:lnTo>
                  <a:lnTo>
                    <a:pt x="107" y="211"/>
                  </a:lnTo>
                  <a:lnTo>
                    <a:pt x="103" y="211"/>
                  </a:lnTo>
                  <a:lnTo>
                    <a:pt x="99" y="215"/>
                  </a:lnTo>
                  <a:lnTo>
                    <a:pt x="95" y="215"/>
                  </a:lnTo>
                  <a:lnTo>
                    <a:pt x="91" y="215"/>
                  </a:lnTo>
                  <a:lnTo>
                    <a:pt x="87" y="215"/>
                  </a:lnTo>
                  <a:lnTo>
                    <a:pt x="83" y="219"/>
                  </a:lnTo>
                  <a:lnTo>
                    <a:pt x="79" y="219"/>
                  </a:lnTo>
                  <a:lnTo>
                    <a:pt x="75" y="219"/>
                  </a:lnTo>
                  <a:lnTo>
                    <a:pt x="72" y="219"/>
                  </a:lnTo>
                  <a:lnTo>
                    <a:pt x="72" y="215"/>
                  </a:lnTo>
                  <a:lnTo>
                    <a:pt x="68" y="215"/>
                  </a:lnTo>
                  <a:lnTo>
                    <a:pt x="64" y="215"/>
                  </a:lnTo>
                  <a:lnTo>
                    <a:pt x="60" y="211"/>
                  </a:lnTo>
                  <a:lnTo>
                    <a:pt x="56" y="207"/>
                  </a:lnTo>
                  <a:lnTo>
                    <a:pt x="56" y="203"/>
                  </a:lnTo>
                  <a:lnTo>
                    <a:pt x="52" y="203"/>
                  </a:lnTo>
                  <a:lnTo>
                    <a:pt x="48" y="203"/>
                  </a:lnTo>
                  <a:lnTo>
                    <a:pt x="44" y="199"/>
                  </a:lnTo>
                  <a:lnTo>
                    <a:pt x="40" y="199"/>
                  </a:lnTo>
                  <a:lnTo>
                    <a:pt x="36" y="199"/>
                  </a:lnTo>
                  <a:lnTo>
                    <a:pt x="36" y="195"/>
                  </a:lnTo>
                  <a:lnTo>
                    <a:pt x="36" y="191"/>
                  </a:lnTo>
                  <a:lnTo>
                    <a:pt x="32" y="183"/>
                  </a:lnTo>
                  <a:lnTo>
                    <a:pt x="32" y="179"/>
                  </a:lnTo>
                  <a:lnTo>
                    <a:pt x="32" y="175"/>
                  </a:lnTo>
                  <a:lnTo>
                    <a:pt x="36" y="171"/>
                  </a:lnTo>
                  <a:lnTo>
                    <a:pt x="36" y="167"/>
                  </a:lnTo>
                  <a:lnTo>
                    <a:pt x="40" y="167"/>
                  </a:lnTo>
                  <a:lnTo>
                    <a:pt x="36" y="167"/>
                  </a:lnTo>
                  <a:lnTo>
                    <a:pt x="36" y="171"/>
                  </a:lnTo>
                  <a:lnTo>
                    <a:pt x="40" y="171"/>
                  </a:lnTo>
                  <a:lnTo>
                    <a:pt x="40" y="16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11" name="Freeform 208"/>
            <p:cNvSpPr>
              <a:spLocks/>
            </p:cNvSpPr>
            <p:nvPr>
              <p:custDataLst>
                <p:tags r:id="rId402"/>
              </p:custDataLst>
            </p:nvPr>
          </p:nvSpPr>
          <p:spPr bwMode="gray">
            <a:xfrm>
              <a:off x="5682640" y="3249333"/>
              <a:ext cx="83052" cy="112713"/>
            </a:xfrm>
            <a:custGeom>
              <a:avLst/>
              <a:gdLst/>
              <a:ahLst/>
              <a:cxnLst>
                <a:cxn ang="0">
                  <a:pos x="44" y="20"/>
                </a:cxn>
                <a:cxn ang="0">
                  <a:pos x="40" y="24"/>
                </a:cxn>
                <a:cxn ang="0">
                  <a:pos x="44" y="28"/>
                </a:cxn>
                <a:cxn ang="0">
                  <a:pos x="48" y="24"/>
                </a:cxn>
                <a:cxn ang="0">
                  <a:pos x="44" y="28"/>
                </a:cxn>
                <a:cxn ang="0">
                  <a:pos x="48" y="36"/>
                </a:cxn>
                <a:cxn ang="0">
                  <a:pos x="56" y="36"/>
                </a:cxn>
                <a:cxn ang="0">
                  <a:pos x="52" y="40"/>
                </a:cxn>
                <a:cxn ang="0">
                  <a:pos x="52" y="44"/>
                </a:cxn>
                <a:cxn ang="0">
                  <a:pos x="48" y="48"/>
                </a:cxn>
                <a:cxn ang="0">
                  <a:pos x="44" y="52"/>
                </a:cxn>
                <a:cxn ang="0">
                  <a:pos x="44" y="52"/>
                </a:cxn>
                <a:cxn ang="0">
                  <a:pos x="44" y="60"/>
                </a:cxn>
                <a:cxn ang="0">
                  <a:pos x="40" y="56"/>
                </a:cxn>
                <a:cxn ang="0">
                  <a:pos x="36" y="60"/>
                </a:cxn>
                <a:cxn ang="0">
                  <a:pos x="40" y="64"/>
                </a:cxn>
                <a:cxn ang="0">
                  <a:pos x="44" y="68"/>
                </a:cxn>
                <a:cxn ang="0">
                  <a:pos x="36" y="72"/>
                </a:cxn>
                <a:cxn ang="0">
                  <a:pos x="32" y="68"/>
                </a:cxn>
                <a:cxn ang="0">
                  <a:pos x="28" y="72"/>
                </a:cxn>
                <a:cxn ang="0">
                  <a:pos x="24" y="76"/>
                </a:cxn>
                <a:cxn ang="0">
                  <a:pos x="20" y="72"/>
                </a:cxn>
                <a:cxn ang="0">
                  <a:pos x="20" y="68"/>
                </a:cxn>
                <a:cxn ang="0">
                  <a:pos x="16" y="64"/>
                </a:cxn>
                <a:cxn ang="0">
                  <a:pos x="12" y="68"/>
                </a:cxn>
                <a:cxn ang="0">
                  <a:pos x="8" y="64"/>
                </a:cxn>
                <a:cxn ang="0">
                  <a:pos x="8" y="64"/>
                </a:cxn>
                <a:cxn ang="0">
                  <a:pos x="12" y="68"/>
                </a:cxn>
                <a:cxn ang="0">
                  <a:pos x="4" y="68"/>
                </a:cxn>
                <a:cxn ang="0">
                  <a:pos x="0" y="64"/>
                </a:cxn>
                <a:cxn ang="0">
                  <a:pos x="0" y="56"/>
                </a:cxn>
                <a:cxn ang="0">
                  <a:pos x="0" y="48"/>
                </a:cxn>
                <a:cxn ang="0">
                  <a:pos x="0" y="40"/>
                </a:cxn>
                <a:cxn ang="0">
                  <a:pos x="4" y="32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20" y="24"/>
                </a:cxn>
                <a:cxn ang="0">
                  <a:pos x="20" y="16"/>
                </a:cxn>
                <a:cxn ang="0">
                  <a:pos x="24" y="12"/>
                </a:cxn>
                <a:cxn ang="0">
                  <a:pos x="28" y="16"/>
                </a:cxn>
                <a:cxn ang="0">
                  <a:pos x="24" y="12"/>
                </a:cxn>
                <a:cxn ang="0">
                  <a:pos x="24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36" y="0"/>
                </a:cxn>
                <a:cxn ang="0">
                  <a:pos x="40" y="4"/>
                </a:cxn>
                <a:cxn ang="0">
                  <a:pos x="44" y="8"/>
                </a:cxn>
                <a:cxn ang="0">
                  <a:pos x="48" y="4"/>
                </a:cxn>
                <a:cxn ang="0">
                  <a:pos x="52" y="0"/>
                </a:cxn>
                <a:cxn ang="0">
                  <a:pos x="52" y="8"/>
                </a:cxn>
                <a:cxn ang="0">
                  <a:pos x="44" y="12"/>
                </a:cxn>
                <a:cxn ang="0">
                  <a:pos x="40" y="16"/>
                </a:cxn>
              </a:cxnLst>
              <a:rect l="0" t="0" r="r" b="b"/>
              <a:pathLst>
                <a:path w="56" h="76">
                  <a:moveTo>
                    <a:pt x="40" y="16"/>
                  </a:moveTo>
                  <a:lnTo>
                    <a:pt x="44" y="20"/>
                  </a:lnTo>
                  <a:lnTo>
                    <a:pt x="44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2" y="36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52" y="44"/>
                  </a:lnTo>
                  <a:lnTo>
                    <a:pt x="48" y="44"/>
                  </a:lnTo>
                  <a:lnTo>
                    <a:pt x="48" y="48"/>
                  </a:lnTo>
                  <a:lnTo>
                    <a:pt x="44" y="48"/>
                  </a:lnTo>
                  <a:lnTo>
                    <a:pt x="44" y="52"/>
                  </a:lnTo>
                  <a:lnTo>
                    <a:pt x="44" y="56"/>
                  </a:lnTo>
                  <a:lnTo>
                    <a:pt x="44" y="52"/>
                  </a:lnTo>
                  <a:lnTo>
                    <a:pt x="44" y="56"/>
                  </a:lnTo>
                  <a:lnTo>
                    <a:pt x="44" y="60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64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36" y="72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32" y="72"/>
                  </a:lnTo>
                  <a:lnTo>
                    <a:pt x="28" y="72"/>
                  </a:lnTo>
                  <a:lnTo>
                    <a:pt x="24" y="72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12" y="68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4" y="60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2" y="4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0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12" name="Freeform 379"/>
            <p:cNvSpPr>
              <a:spLocks noEditPoints="1"/>
            </p:cNvSpPr>
            <p:nvPr>
              <p:custDataLst>
                <p:tags r:id="rId403"/>
              </p:custDataLst>
            </p:nvPr>
          </p:nvSpPr>
          <p:spPr bwMode="gray">
            <a:xfrm>
              <a:off x="2305705" y="3178146"/>
              <a:ext cx="176485" cy="83052"/>
            </a:xfrm>
            <a:custGeom>
              <a:avLst/>
              <a:gdLst/>
              <a:ahLst/>
              <a:cxnLst>
                <a:cxn ang="0">
                  <a:pos x="107" y="56"/>
                </a:cxn>
                <a:cxn ang="0">
                  <a:pos x="103" y="52"/>
                </a:cxn>
                <a:cxn ang="0">
                  <a:pos x="91" y="52"/>
                </a:cxn>
                <a:cxn ang="0">
                  <a:pos x="79" y="56"/>
                </a:cxn>
                <a:cxn ang="0">
                  <a:pos x="71" y="52"/>
                </a:cxn>
                <a:cxn ang="0">
                  <a:pos x="63" y="48"/>
                </a:cxn>
                <a:cxn ang="0">
                  <a:pos x="59" y="44"/>
                </a:cxn>
                <a:cxn ang="0">
                  <a:pos x="56" y="52"/>
                </a:cxn>
                <a:cxn ang="0">
                  <a:pos x="56" y="40"/>
                </a:cxn>
                <a:cxn ang="0">
                  <a:pos x="48" y="44"/>
                </a:cxn>
                <a:cxn ang="0">
                  <a:pos x="36" y="48"/>
                </a:cxn>
                <a:cxn ang="0">
                  <a:pos x="28" y="56"/>
                </a:cxn>
                <a:cxn ang="0">
                  <a:pos x="20" y="48"/>
                </a:cxn>
                <a:cxn ang="0">
                  <a:pos x="20" y="44"/>
                </a:cxn>
                <a:cxn ang="0">
                  <a:pos x="12" y="48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12" y="40"/>
                </a:cxn>
                <a:cxn ang="0">
                  <a:pos x="20" y="32"/>
                </a:cxn>
                <a:cxn ang="0">
                  <a:pos x="32" y="28"/>
                </a:cxn>
                <a:cxn ang="0">
                  <a:pos x="44" y="20"/>
                </a:cxn>
                <a:cxn ang="0">
                  <a:pos x="48" y="12"/>
                </a:cxn>
                <a:cxn ang="0">
                  <a:pos x="48" y="16"/>
                </a:cxn>
                <a:cxn ang="0">
                  <a:pos x="56" y="12"/>
                </a:cxn>
                <a:cxn ang="0">
                  <a:pos x="59" y="4"/>
                </a:cxn>
                <a:cxn ang="0">
                  <a:pos x="56" y="12"/>
                </a:cxn>
                <a:cxn ang="0">
                  <a:pos x="59" y="8"/>
                </a:cxn>
                <a:cxn ang="0">
                  <a:pos x="59" y="4"/>
                </a:cxn>
                <a:cxn ang="0">
                  <a:pos x="63" y="4"/>
                </a:cxn>
                <a:cxn ang="0">
                  <a:pos x="75" y="8"/>
                </a:cxn>
                <a:cxn ang="0">
                  <a:pos x="83" y="8"/>
                </a:cxn>
                <a:cxn ang="0">
                  <a:pos x="91" y="12"/>
                </a:cxn>
                <a:cxn ang="0">
                  <a:pos x="95" y="20"/>
                </a:cxn>
                <a:cxn ang="0">
                  <a:pos x="103" y="24"/>
                </a:cxn>
                <a:cxn ang="0">
                  <a:pos x="111" y="28"/>
                </a:cxn>
                <a:cxn ang="0">
                  <a:pos x="111" y="36"/>
                </a:cxn>
                <a:cxn ang="0">
                  <a:pos x="111" y="40"/>
                </a:cxn>
                <a:cxn ang="0">
                  <a:pos x="119" y="48"/>
                </a:cxn>
                <a:cxn ang="0">
                  <a:pos x="119" y="52"/>
                </a:cxn>
                <a:cxn ang="0">
                  <a:pos x="56" y="20"/>
                </a:cxn>
                <a:cxn ang="0">
                  <a:pos x="44" y="24"/>
                </a:cxn>
                <a:cxn ang="0">
                  <a:pos x="48" y="24"/>
                </a:cxn>
                <a:cxn ang="0">
                  <a:pos x="56" y="20"/>
                </a:cxn>
                <a:cxn ang="0">
                  <a:pos x="56" y="40"/>
                </a:cxn>
                <a:cxn ang="0">
                  <a:pos x="59" y="44"/>
                </a:cxn>
                <a:cxn ang="0">
                  <a:pos x="63" y="36"/>
                </a:cxn>
                <a:cxn ang="0">
                  <a:pos x="59" y="36"/>
                </a:cxn>
              </a:cxnLst>
              <a:rect l="0" t="0" r="r" b="b"/>
              <a:pathLst>
                <a:path w="119" h="56">
                  <a:moveTo>
                    <a:pt x="115" y="56"/>
                  </a:moveTo>
                  <a:lnTo>
                    <a:pt x="111" y="56"/>
                  </a:lnTo>
                  <a:lnTo>
                    <a:pt x="107" y="56"/>
                  </a:lnTo>
                  <a:lnTo>
                    <a:pt x="107" y="52"/>
                  </a:lnTo>
                  <a:lnTo>
                    <a:pt x="107" y="48"/>
                  </a:lnTo>
                  <a:lnTo>
                    <a:pt x="103" y="52"/>
                  </a:lnTo>
                  <a:lnTo>
                    <a:pt x="99" y="52"/>
                  </a:lnTo>
                  <a:lnTo>
                    <a:pt x="95" y="52"/>
                  </a:lnTo>
                  <a:lnTo>
                    <a:pt x="91" y="52"/>
                  </a:lnTo>
                  <a:lnTo>
                    <a:pt x="87" y="56"/>
                  </a:lnTo>
                  <a:lnTo>
                    <a:pt x="83" y="56"/>
                  </a:lnTo>
                  <a:lnTo>
                    <a:pt x="79" y="56"/>
                  </a:lnTo>
                  <a:lnTo>
                    <a:pt x="75" y="56"/>
                  </a:lnTo>
                  <a:lnTo>
                    <a:pt x="71" y="56"/>
                  </a:lnTo>
                  <a:lnTo>
                    <a:pt x="71" y="52"/>
                  </a:lnTo>
                  <a:lnTo>
                    <a:pt x="71" y="48"/>
                  </a:lnTo>
                  <a:lnTo>
                    <a:pt x="67" y="48"/>
                  </a:lnTo>
                  <a:lnTo>
                    <a:pt x="63" y="48"/>
                  </a:lnTo>
                  <a:lnTo>
                    <a:pt x="59" y="48"/>
                  </a:lnTo>
                  <a:lnTo>
                    <a:pt x="63" y="44"/>
                  </a:lnTo>
                  <a:lnTo>
                    <a:pt x="59" y="44"/>
                  </a:lnTo>
                  <a:lnTo>
                    <a:pt x="59" y="48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52" y="40"/>
                  </a:lnTo>
                  <a:lnTo>
                    <a:pt x="52" y="44"/>
                  </a:lnTo>
                  <a:lnTo>
                    <a:pt x="48" y="44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36" y="48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28" y="56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59" y="4"/>
                  </a:lnTo>
                  <a:lnTo>
                    <a:pt x="59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9" y="8"/>
                  </a:lnTo>
                  <a:lnTo>
                    <a:pt x="59" y="12"/>
                  </a:lnTo>
                  <a:lnTo>
                    <a:pt x="59" y="8"/>
                  </a:lnTo>
                  <a:lnTo>
                    <a:pt x="63" y="8"/>
                  </a:lnTo>
                  <a:lnTo>
                    <a:pt x="63" y="4"/>
                  </a:lnTo>
                  <a:lnTo>
                    <a:pt x="59" y="4"/>
                  </a:lnTo>
                  <a:lnTo>
                    <a:pt x="59" y="0"/>
                  </a:lnTo>
                  <a:lnTo>
                    <a:pt x="63" y="0"/>
                  </a:lnTo>
                  <a:lnTo>
                    <a:pt x="63" y="4"/>
                  </a:lnTo>
                  <a:lnTo>
                    <a:pt x="67" y="4"/>
                  </a:lnTo>
                  <a:lnTo>
                    <a:pt x="71" y="4"/>
                  </a:lnTo>
                  <a:lnTo>
                    <a:pt x="75" y="8"/>
                  </a:lnTo>
                  <a:lnTo>
                    <a:pt x="79" y="4"/>
                  </a:lnTo>
                  <a:lnTo>
                    <a:pt x="79" y="8"/>
                  </a:lnTo>
                  <a:lnTo>
                    <a:pt x="83" y="8"/>
                  </a:lnTo>
                  <a:lnTo>
                    <a:pt x="83" y="4"/>
                  </a:lnTo>
                  <a:lnTo>
                    <a:pt x="87" y="8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5" y="20"/>
                  </a:lnTo>
                  <a:lnTo>
                    <a:pt x="95" y="24"/>
                  </a:lnTo>
                  <a:lnTo>
                    <a:pt x="99" y="24"/>
                  </a:lnTo>
                  <a:lnTo>
                    <a:pt x="103" y="24"/>
                  </a:lnTo>
                  <a:lnTo>
                    <a:pt x="107" y="24"/>
                  </a:lnTo>
                  <a:lnTo>
                    <a:pt x="111" y="24"/>
                  </a:lnTo>
                  <a:lnTo>
                    <a:pt x="111" y="28"/>
                  </a:lnTo>
                  <a:lnTo>
                    <a:pt x="107" y="32"/>
                  </a:lnTo>
                  <a:lnTo>
                    <a:pt x="111" y="32"/>
                  </a:lnTo>
                  <a:lnTo>
                    <a:pt x="111" y="36"/>
                  </a:lnTo>
                  <a:lnTo>
                    <a:pt x="115" y="36"/>
                  </a:lnTo>
                  <a:lnTo>
                    <a:pt x="115" y="40"/>
                  </a:lnTo>
                  <a:lnTo>
                    <a:pt x="111" y="40"/>
                  </a:lnTo>
                  <a:lnTo>
                    <a:pt x="111" y="44"/>
                  </a:lnTo>
                  <a:lnTo>
                    <a:pt x="115" y="48"/>
                  </a:lnTo>
                  <a:lnTo>
                    <a:pt x="119" y="48"/>
                  </a:lnTo>
                  <a:lnTo>
                    <a:pt x="115" y="48"/>
                  </a:lnTo>
                  <a:lnTo>
                    <a:pt x="115" y="52"/>
                  </a:lnTo>
                  <a:lnTo>
                    <a:pt x="119" y="52"/>
                  </a:lnTo>
                  <a:lnTo>
                    <a:pt x="115" y="52"/>
                  </a:lnTo>
                  <a:lnTo>
                    <a:pt x="115" y="56"/>
                  </a:lnTo>
                  <a:close/>
                  <a:moveTo>
                    <a:pt x="56" y="20"/>
                  </a:moveTo>
                  <a:lnTo>
                    <a:pt x="52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0"/>
                  </a:lnTo>
                  <a:close/>
                  <a:moveTo>
                    <a:pt x="56" y="40"/>
                  </a:moveTo>
                  <a:lnTo>
                    <a:pt x="56" y="44"/>
                  </a:lnTo>
                  <a:lnTo>
                    <a:pt x="56" y="40"/>
                  </a:lnTo>
                  <a:lnTo>
                    <a:pt x="59" y="40"/>
                  </a:lnTo>
                  <a:lnTo>
                    <a:pt x="56" y="44"/>
                  </a:lnTo>
                  <a:lnTo>
                    <a:pt x="59" y="44"/>
                  </a:lnTo>
                  <a:lnTo>
                    <a:pt x="59" y="40"/>
                  </a:lnTo>
                  <a:lnTo>
                    <a:pt x="63" y="40"/>
                  </a:lnTo>
                  <a:lnTo>
                    <a:pt x="63" y="36"/>
                  </a:lnTo>
                  <a:lnTo>
                    <a:pt x="67" y="36"/>
                  </a:lnTo>
                  <a:lnTo>
                    <a:pt x="63" y="36"/>
                  </a:lnTo>
                  <a:lnTo>
                    <a:pt x="59" y="36"/>
                  </a:lnTo>
                  <a:lnTo>
                    <a:pt x="56" y="36"/>
                  </a:lnTo>
                  <a:lnTo>
                    <a:pt x="56" y="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  <p:sp>
          <p:nvSpPr>
            <p:cNvPr id="213" name="Freeform 380"/>
            <p:cNvSpPr>
              <a:spLocks noEditPoints="1"/>
            </p:cNvSpPr>
            <p:nvPr>
              <p:custDataLst>
                <p:tags r:id="rId404"/>
              </p:custDataLst>
            </p:nvPr>
          </p:nvSpPr>
          <p:spPr bwMode="gray">
            <a:xfrm>
              <a:off x="2399139" y="3273062"/>
              <a:ext cx="71187" cy="140892"/>
            </a:xfrm>
            <a:custGeom>
              <a:avLst/>
              <a:gdLst/>
              <a:ahLst/>
              <a:cxnLst>
                <a:cxn ang="0">
                  <a:pos x="48" y="8"/>
                </a:cxn>
                <a:cxn ang="0">
                  <a:pos x="48" y="8"/>
                </a:cxn>
                <a:cxn ang="0">
                  <a:pos x="44" y="12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44" y="16"/>
                </a:cxn>
                <a:cxn ang="0">
                  <a:pos x="40" y="20"/>
                </a:cxn>
                <a:cxn ang="0">
                  <a:pos x="36" y="28"/>
                </a:cxn>
                <a:cxn ang="0">
                  <a:pos x="36" y="28"/>
                </a:cxn>
                <a:cxn ang="0">
                  <a:pos x="40" y="24"/>
                </a:cxn>
                <a:cxn ang="0">
                  <a:pos x="36" y="28"/>
                </a:cxn>
                <a:cxn ang="0">
                  <a:pos x="36" y="24"/>
                </a:cxn>
                <a:cxn ang="0">
                  <a:pos x="36" y="20"/>
                </a:cxn>
                <a:cxn ang="0">
                  <a:pos x="36" y="24"/>
                </a:cxn>
                <a:cxn ang="0">
                  <a:pos x="32" y="24"/>
                </a:cxn>
                <a:cxn ang="0">
                  <a:pos x="28" y="28"/>
                </a:cxn>
                <a:cxn ang="0">
                  <a:pos x="28" y="32"/>
                </a:cxn>
                <a:cxn ang="0">
                  <a:pos x="24" y="44"/>
                </a:cxn>
                <a:cxn ang="0">
                  <a:pos x="24" y="52"/>
                </a:cxn>
                <a:cxn ang="0">
                  <a:pos x="24" y="52"/>
                </a:cxn>
                <a:cxn ang="0">
                  <a:pos x="28" y="68"/>
                </a:cxn>
                <a:cxn ang="0">
                  <a:pos x="28" y="79"/>
                </a:cxn>
                <a:cxn ang="0">
                  <a:pos x="20" y="87"/>
                </a:cxn>
                <a:cxn ang="0">
                  <a:pos x="12" y="95"/>
                </a:cxn>
                <a:cxn ang="0">
                  <a:pos x="8" y="95"/>
                </a:cxn>
                <a:cxn ang="0">
                  <a:pos x="4" y="87"/>
                </a:cxn>
                <a:cxn ang="0">
                  <a:pos x="4" y="79"/>
                </a:cxn>
                <a:cxn ang="0">
                  <a:pos x="4" y="72"/>
                </a:cxn>
                <a:cxn ang="0">
                  <a:pos x="4" y="64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8" y="32"/>
                </a:cxn>
                <a:cxn ang="0">
                  <a:pos x="4" y="28"/>
                </a:cxn>
                <a:cxn ang="0">
                  <a:pos x="0" y="36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12" y="16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24" y="4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36" y="4"/>
                </a:cxn>
                <a:cxn ang="0">
                  <a:pos x="36" y="0"/>
                </a:cxn>
                <a:cxn ang="0">
                  <a:pos x="44" y="4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12" y="24"/>
                </a:cxn>
                <a:cxn ang="0">
                  <a:pos x="16" y="20"/>
                </a:cxn>
              </a:cxnLst>
              <a:rect l="0" t="0" r="r" b="b"/>
              <a:pathLst>
                <a:path w="48" h="95">
                  <a:moveTo>
                    <a:pt x="48" y="8"/>
                  </a:move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4" y="40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4" y="87"/>
                  </a:lnTo>
                  <a:lnTo>
                    <a:pt x="24" y="87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8" y="95"/>
                  </a:lnTo>
                  <a:lnTo>
                    <a:pt x="8" y="95"/>
                  </a:lnTo>
                  <a:lnTo>
                    <a:pt x="8" y="95"/>
                  </a:lnTo>
                  <a:lnTo>
                    <a:pt x="8" y="95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3"/>
                  </a:lnTo>
                  <a:lnTo>
                    <a:pt x="4" y="83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8"/>
                  </a:lnTo>
                  <a:close/>
                  <a:moveTo>
                    <a:pt x="16" y="20"/>
                  </a:move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  <p:sp>
          <p:nvSpPr>
            <p:cNvPr id="214" name="Freeform 381"/>
            <p:cNvSpPr>
              <a:spLocks/>
            </p:cNvSpPr>
            <p:nvPr>
              <p:custDataLst>
                <p:tags r:id="rId405"/>
              </p:custDataLst>
            </p:nvPr>
          </p:nvSpPr>
          <p:spPr bwMode="gray">
            <a:xfrm>
              <a:off x="2583038" y="3326452"/>
              <a:ext cx="88984" cy="41526"/>
            </a:xfrm>
            <a:custGeom>
              <a:avLst/>
              <a:gdLst/>
              <a:ahLst/>
              <a:cxnLst>
                <a:cxn ang="0">
                  <a:pos x="12" y="24"/>
                </a:cxn>
                <a:cxn ang="0">
                  <a:pos x="4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8" y="16"/>
                </a:cxn>
                <a:cxn ang="0">
                  <a:pos x="12" y="12"/>
                </a:cxn>
                <a:cxn ang="0">
                  <a:pos x="24" y="12"/>
                </a:cxn>
                <a:cxn ang="0">
                  <a:pos x="32" y="8"/>
                </a:cxn>
                <a:cxn ang="0">
                  <a:pos x="36" y="8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8"/>
                </a:cxn>
                <a:cxn ang="0">
                  <a:pos x="36" y="8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8" y="4"/>
                </a:cxn>
                <a:cxn ang="0">
                  <a:pos x="52" y="4"/>
                </a:cxn>
                <a:cxn ang="0">
                  <a:pos x="56" y="0"/>
                </a:cxn>
                <a:cxn ang="0">
                  <a:pos x="60" y="0"/>
                </a:cxn>
                <a:cxn ang="0">
                  <a:pos x="60" y="0"/>
                </a:cxn>
                <a:cxn ang="0">
                  <a:pos x="60" y="0"/>
                </a:cxn>
                <a:cxn ang="0">
                  <a:pos x="60" y="0"/>
                </a:cxn>
                <a:cxn ang="0">
                  <a:pos x="56" y="4"/>
                </a:cxn>
                <a:cxn ang="0">
                  <a:pos x="52" y="8"/>
                </a:cxn>
                <a:cxn ang="0">
                  <a:pos x="52" y="8"/>
                </a:cxn>
                <a:cxn ang="0">
                  <a:pos x="56" y="8"/>
                </a:cxn>
                <a:cxn ang="0">
                  <a:pos x="56" y="8"/>
                </a:cxn>
                <a:cxn ang="0">
                  <a:pos x="56" y="12"/>
                </a:cxn>
                <a:cxn ang="0">
                  <a:pos x="56" y="8"/>
                </a:cxn>
                <a:cxn ang="0">
                  <a:pos x="56" y="12"/>
                </a:cxn>
                <a:cxn ang="0">
                  <a:pos x="56" y="12"/>
                </a:cxn>
                <a:cxn ang="0">
                  <a:pos x="56" y="20"/>
                </a:cxn>
                <a:cxn ang="0">
                  <a:pos x="52" y="20"/>
                </a:cxn>
                <a:cxn ang="0">
                  <a:pos x="52" y="20"/>
                </a:cxn>
                <a:cxn ang="0">
                  <a:pos x="48" y="24"/>
                </a:cxn>
                <a:cxn ang="0">
                  <a:pos x="44" y="24"/>
                </a:cxn>
                <a:cxn ang="0">
                  <a:pos x="36" y="24"/>
                </a:cxn>
                <a:cxn ang="0">
                  <a:pos x="36" y="24"/>
                </a:cxn>
                <a:cxn ang="0">
                  <a:pos x="32" y="24"/>
                </a:cxn>
                <a:cxn ang="0">
                  <a:pos x="32" y="24"/>
                </a:cxn>
                <a:cxn ang="0">
                  <a:pos x="20" y="24"/>
                </a:cxn>
                <a:cxn ang="0">
                  <a:pos x="16" y="24"/>
                </a:cxn>
              </a:cxnLst>
              <a:rect l="0" t="0" r="r" b="b"/>
              <a:pathLst>
                <a:path w="60" h="28">
                  <a:moveTo>
                    <a:pt x="12" y="24"/>
                  </a:move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6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  <p:sp>
          <p:nvSpPr>
            <p:cNvPr id="215" name="Freeform 382"/>
            <p:cNvSpPr>
              <a:spLocks noEditPoints="1"/>
            </p:cNvSpPr>
            <p:nvPr>
              <p:custDataLst>
                <p:tags r:id="rId406"/>
              </p:custDataLst>
            </p:nvPr>
          </p:nvSpPr>
          <p:spPr bwMode="gray">
            <a:xfrm>
              <a:off x="2470326" y="3261197"/>
              <a:ext cx="118645" cy="112713"/>
            </a:xfrm>
            <a:custGeom>
              <a:avLst/>
              <a:gdLst/>
              <a:ahLst/>
              <a:cxnLst>
                <a:cxn ang="0">
                  <a:pos x="36" y="68"/>
                </a:cxn>
                <a:cxn ang="0">
                  <a:pos x="32" y="60"/>
                </a:cxn>
                <a:cxn ang="0">
                  <a:pos x="28" y="52"/>
                </a:cxn>
                <a:cxn ang="0">
                  <a:pos x="20" y="60"/>
                </a:cxn>
                <a:cxn ang="0">
                  <a:pos x="12" y="60"/>
                </a:cxn>
                <a:cxn ang="0">
                  <a:pos x="16" y="52"/>
                </a:cxn>
                <a:cxn ang="0">
                  <a:pos x="24" y="48"/>
                </a:cxn>
                <a:cxn ang="0">
                  <a:pos x="24" y="36"/>
                </a:cxn>
                <a:cxn ang="0">
                  <a:pos x="24" y="28"/>
                </a:cxn>
                <a:cxn ang="0">
                  <a:pos x="20" y="24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16" y="12"/>
                </a:cxn>
                <a:cxn ang="0">
                  <a:pos x="12" y="8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20" y="4"/>
                </a:cxn>
                <a:cxn ang="0">
                  <a:pos x="32" y="8"/>
                </a:cxn>
                <a:cxn ang="0">
                  <a:pos x="36" y="8"/>
                </a:cxn>
                <a:cxn ang="0">
                  <a:pos x="48" y="8"/>
                </a:cxn>
                <a:cxn ang="0">
                  <a:pos x="48" y="12"/>
                </a:cxn>
                <a:cxn ang="0">
                  <a:pos x="60" y="12"/>
                </a:cxn>
                <a:cxn ang="0">
                  <a:pos x="64" y="20"/>
                </a:cxn>
                <a:cxn ang="0">
                  <a:pos x="72" y="24"/>
                </a:cxn>
                <a:cxn ang="0">
                  <a:pos x="76" y="32"/>
                </a:cxn>
                <a:cxn ang="0">
                  <a:pos x="76" y="36"/>
                </a:cxn>
                <a:cxn ang="0">
                  <a:pos x="72" y="44"/>
                </a:cxn>
                <a:cxn ang="0">
                  <a:pos x="64" y="40"/>
                </a:cxn>
                <a:cxn ang="0">
                  <a:pos x="60" y="32"/>
                </a:cxn>
                <a:cxn ang="0">
                  <a:pos x="48" y="28"/>
                </a:cxn>
                <a:cxn ang="0">
                  <a:pos x="56" y="40"/>
                </a:cxn>
                <a:cxn ang="0">
                  <a:pos x="48" y="52"/>
                </a:cxn>
                <a:cxn ang="0">
                  <a:pos x="48" y="64"/>
                </a:cxn>
                <a:cxn ang="0">
                  <a:pos x="44" y="72"/>
                </a:cxn>
                <a:cxn ang="0">
                  <a:pos x="28" y="12"/>
                </a:cxn>
                <a:cxn ang="0">
                  <a:pos x="28" y="16"/>
                </a:cxn>
                <a:cxn ang="0">
                  <a:pos x="40" y="16"/>
                </a:cxn>
                <a:cxn ang="0">
                  <a:pos x="44" y="16"/>
                </a:cxn>
                <a:cxn ang="0">
                  <a:pos x="48" y="20"/>
                </a:cxn>
                <a:cxn ang="0">
                  <a:pos x="44" y="12"/>
                </a:cxn>
                <a:cxn ang="0">
                  <a:pos x="32" y="16"/>
                </a:cxn>
              </a:cxnLst>
              <a:rect l="0" t="0" r="r" b="b"/>
              <a:pathLst>
                <a:path w="80" h="76">
                  <a:moveTo>
                    <a:pt x="36" y="76"/>
                  </a:moveTo>
                  <a:lnTo>
                    <a:pt x="36" y="72"/>
                  </a:lnTo>
                  <a:lnTo>
                    <a:pt x="36" y="68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28" y="52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0" y="60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4" y="36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76" y="32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76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68" y="44"/>
                  </a:lnTo>
                  <a:lnTo>
                    <a:pt x="68" y="40"/>
                  </a:lnTo>
                  <a:lnTo>
                    <a:pt x="64" y="40"/>
                  </a:lnTo>
                  <a:lnTo>
                    <a:pt x="60" y="40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52" y="32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2" y="44"/>
                  </a:lnTo>
                  <a:lnTo>
                    <a:pt x="48" y="48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44" y="68"/>
                  </a:lnTo>
                  <a:lnTo>
                    <a:pt x="44" y="72"/>
                  </a:lnTo>
                  <a:lnTo>
                    <a:pt x="40" y="72"/>
                  </a:lnTo>
                  <a:lnTo>
                    <a:pt x="36" y="76"/>
                  </a:lnTo>
                  <a:close/>
                  <a:moveTo>
                    <a:pt x="28" y="12"/>
                  </a:moveTo>
                  <a:lnTo>
                    <a:pt x="24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4" y="20"/>
                  </a:lnTo>
                  <a:lnTo>
                    <a:pt x="48" y="20"/>
                  </a:lnTo>
                  <a:lnTo>
                    <a:pt x="48" y="16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2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  <p:sp>
          <p:nvSpPr>
            <p:cNvPr id="216" name="Freeform 383"/>
            <p:cNvSpPr>
              <a:spLocks/>
            </p:cNvSpPr>
            <p:nvPr>
              <p:custDataLst>
                <p:tags r:id="rId407"/>
              </p:custDataLst>
            </p:nvPr>
          </p:nvSpPr>
          <p:spPr bwMode="gray">
            <a:xfrm>
              <a:off x="2499987" y="3373910"/>
              <a:ext cx="106781" cy="45975"/>
            </a:xfrm>
            <a:custGeom>
              <a:avLst/>
              <a:gdLst/>
              <a:ahLst/>
              <a:cxnLst>
                <a:cxn ang="0">
                  <a:pos x="72" y="0"/>
                </a:cxn>
                <a:cxn ang="0">
                  <a:pos x="72" y="4"/>
                </a:cxn>
                <a:cxn ang="0">
                  <a:pos x="72" y="4"/>
                </a:cxn>
                <a:cxn ang="0">
                  <a:pos x="60" y="11"/>
                </a:cxn>
                <a:cxn ang="0">
                  <a:pos x="56" y="15"/>
                </a:cxn>
                <a:cxn ang="0">
                  <a:pos x="48" y="19"/>
                </a:cxn>
                <a:cxn ang="0">
                  <a:pos x="44" y="19"/>
                </a:cxn>
                <a:cxn ang="0">
                  <a:pos x="36" y="23"/>
                </a:cxn>
                <a:cxn ang="0">
                  <a:pos x="32" y="27"/>
                </a:cxn>
                <a:cxn ang="0">
                  <a:pos x="28" y="31"/>
                </a:cxn>
                <a:cxn ang="0">
                  <a:pos x="24" y="31"/>
                </a:cxn>
                <a:cxn ang="0">
                  <a:pos x="24" y="31"/>
                </a:cxn>
                <a:cxn ang="0">
                  <a:pos x="20" y="31"/>
                </a:cxn>
                <a:cxn ang="0">
                  <a:pos x="16" y="31"/>
                </a:cxn>
                <a:cxn ang="0">
                  <a:pos x="12" y="31"/>
                </a:cxn>
                <a:cxn ang="0">
                  <a:pos x="8" y="31"/>
                </a:cxn>
                <a:cxn ang="0">
                  <a:pos x="8" y="31"/>
                </a:cxn>
                <a:cxn ang="0">
                  <a:pos x="12" y="31"/>
                </a:cxn>
                <a:cxn ang="0">
                  <a:pos x="12" y="31"/>
                </a:cxn>
                <a:cxn ang="0">
                  <a:pos x="12" y="27"/>
                </a:cxn>
                <a:cxn ang="0">
                  <a:pos x="12" y="27"/>
                </a:cxn>
                <a:cxn ang="0">
                  <a:pos x="8" y="27"/>
                </a:cxn>
                <a:cxn ang="0">
                  <a:pos x="8" y="27"/>
                </a:cxn>
                <a:cxn ang="0">
                  <a:pos x="4" y="27"/>
                </a:cxn>
                <a:cxn ang="0">
                  <a:pos x="0" y="23"/>
                </a:cxn>
                <a:cxn ang="0">
                  <a:pos x="0" y="23"/>
                </a:cxn>
                <a:cxn ang="0">
                  <a:pos x="4" y="19"/>
                </a:cxn>
                <a:cxn ang="0">
                  <a:pos x="4" y="15"/>
                </a:cxn>
                <a:cxn ang="0">
                  <a:pos x="8" y="11"/>
                </a:cxn>
                <a:cxn ang="0">
                  <a:pos x="8" y="11"/>
                </a:cxn>
                <a:cxn ang="0">
                  <a:pos x="8" y="19"/>
                </a:cxn>
                <a:cxn ang="0">
                  <a:pos x="8" y="19"/>
                </a:cxn>
                <a:cxn ang="0">
                  <a:pos x="12" y="19"/>
                </a:cxn>
                <a:cxn ang="0">
                  <a:pos x="12" y="19"/>
                </a:cxn>
                <a:cxn ang="0">
                  <a:pos x="16" y="19"/>
                </a:cxn>
                <a:cxn ang="0">
                  <a:pos x="16" y="19"/>
                </a:cxn>
                <a:cxn ang="0">
                  <a:pos x="20" y="15"/>
                </a:cxn>
                <a:cxn ang="0">
                  <a:pos x="28" y="11"/>
                </a:cxn>
                <a:cxn ang="0">
                  <a:pos x="32" y="8"/>
                </a:cxn>
                <a:cxn ang="0">
                  <a:pos x="36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52" y="8"/>
                </a:cxn>
                <a:cxn ang="0">
                  <a:pos x="52" y="8"/>
                </a:cxn>
                <a:cxn ang="0">
                  <a:pos x="52" y="8"/>
                </a:cxn>
                <a:cxn ang="0">
                  <a:pos x="48" y="8"/>
                </a:cxn>
                <a:cxn ang="0">
                  <a:pos x="48" y="8"/>
                </a:cxn>
                <a:cxn ang="0">
                  <a:pos x="52" y="4"/>
                </a:cxn>
                <a:cxn ang="0">
                  <a:pos x="56" y="4"/>
                </a:cxn>
                <a:cxn ang="0">
                  <a:pos x="60" y="0"/>
                </a:cxn>
                <a:cxn ang="0">
                  <a:pos x="68" y="0"/>
                </a:cxn>
                <a:cxn ang="0">
                  <a:pos x="68" y="4"/>
                </a:cxn>
                <a:cxn ang="0">
                  <a:pos x="72" y="0"/>
                </a:cxn>
              </a:cxnLst>
              <a:rect l="0" t="0" r="r" b="b"/>
              <a:pathLst>
                <a:path w="72" h="31">
                  <a:moveTo>
                    <a:pt x="72" y="0"/>
                  </a:move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4" y="8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2" y="15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0" y="19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0" y="27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4" y="23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20" y="15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</p:grpSp>
      <p:grpSp>
        <p:nvGrpSpPr>
          <p:cNvPr id="221" name="Group 473"/>
          <p:cNvGrpSpPr/>
          <p:nvPr/>
        </p:nvGrpSpPr>
        <p:grpSpPr bwMode="gray">
          <a:xfrm>
            <a:off x="651531" y="946405"/>
            <a:ext cx="11025383" cy="5406216"/>
            <a:chOff x="166688" y="2049463"/>
            <a:chExt cx="8663923" cy="4248291"/>
          </a:xfrm>
        </p:grpSpPr>
        <p:sp>
          <p:nvSpPr>
            <p:cNvPr id="222" name="Rectangle 40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5014913" y="3302001"/>
              <a:ext cx="18643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Romania</a:t>
              </a:r>
            </a:p>
          </p:txBody>
        </p:sp>
        <p:sp>
          <p:nvSpPr>
            <p:cNvPr id="223" name="Rectangle 40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4947456" y="3239969"/>
              <a:ext cx="178872" cy="60464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Hungary</a:t>
              </a:r>
            </a:p>
          </p:txBody>
        </p:sp>
        <p:sp>
          <p:nvSpPr>
            <p:cNvPr id="224" name="Rectangle 40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4962526" y="3538538"/>
              <a:ext cx="1486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reece</a:t>
              </a:r>
            </a:p>
          </p:txBody>
        </p:sp>
        <p:sp>
          <p:nvSpPr>
            <p:cNvPr id="225" name="Rectangle 409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5118101" y="3636963"/>
              <a:ext cx="14360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yprus</a:t>
              </a:r>
            </a:p>
          </p:txBody>
        </p:sp>
        <p:sp>
          <p:nvSpPr>
            <p:cNvPr id="226" name="Rectangle 410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5181601" y="3138488"/>
              <a:ext cx="16249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Ukraine</a:t>
              </a:r>
            </a:p>
          </p:txBody>
        </p:sp>
        <p:sp>
          <p:nvSpPr>
            <p:cNvPr id="227" name="Rectangle 411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4978401" y="2940051"/>
              <a:ext cx="19650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ithuania</a:t>
              </a:r>
            </a:p>
          </p:txBody>
        </p:sp>
        <p:sp>
          <p:nvSpPr>
            <p:cNvPr id="228" name="Rectangle 412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4796949" y="3306357"/>
              <a:ext cx="15242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roatia</a:t>
              </a:r>
            </a:p>
          </p:txBody>
        </p:sp>
        <p:sp>
          <p:nvSpPr>
            <p:cNvPr id="229" name="Rectangle 413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5189538" y="3248026"/>
              <a:ext cx="18013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oldova</a:t>
              </a:r>
            </a:p>
          </p:txBody>
        </p:sp>
        <p:sp>
          <p:nvSpPr>
            <p:cNvPr id="230" name="Rectangle 414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4972052" y="3349626"/>
              <a:ext cx="24563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erb. Mont.</a:t>
              </a:r>
            </a:p>
          </p:txBody>
        </p:sp>
        <p:sp>
          <p:nvSpPr>
            <p:cNvPr id="231" name="Rectangle 415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4657726" y="3071813"/>
              <a:ext cx="19272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ermany</a:t>
              </a:r>
            </a:p>
          </p:txBody>
        </p:sp>
        <p:sp>
          <p:nvSpPr>
            <p:cNvPr id="232" name="Rectangle 416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4449763" y="3254376"/>
              <a:ext cx="24563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witzerland</a:t>
              </a:r>
            </a:p>
          </p:txBody>
        </p:sp>
        <p:sp>
          <p:nvSpPr>
            <p:cNvPr id="233" name="Rectangle 417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4128166" y="3281363"/>
              <a:ext cx="1763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lovenia</a:t>
              </a:r>
            </a:p>
          </p:txBody>
        </p:sp>
        <p:sp>
          <p:nvSpPr>
            <p:cNvPr id="234" name="Rectangle 418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4267201" y="3616326"/>
              <a:ext cx="18391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ibraltar</a:t>
              </a:r>
            </a:p>
          </p:txBody>
        </p:sp>
        <p:sp>
          <p:nvSpPr>
            <p:cNvPr id="235" name="Rectangle 419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4764088" y="3205163"/>
              <a:ext cx="148640" cy="60464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ustria</a:t>
              </a:r>
            </a:p>
          </p:txBody>
        </p:sp>
        <p:sp>
          <p:nvSpPr>
            <p:cNvPr id="236" name="Rectangle 420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4652963" y="3171826"/>
              <a:ext cx="8943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ux.</a:t>
              </a:r>
            </a:p>
          </p:txBody>
        </p:sp>
        <p:sp>
          <p:nvSpPr>
            <p:cNvPr id="237" name="Rectangle 421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4961737" y="3186506"/>
              <a:ext cx="173834" cy="60464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lovakia</a:t>
              </a:r>
            </a:p>
          </p:txBody>
        </p:sp>
        <p:sp>
          <p:nvSpPr>
            <p:cNvPr id="238" name="Rectangle 422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4872038" y="2506663"/>
              <a:ext cx="16627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weden</a:t>
              </a:r>
            </a:p>
          </p:txBody>
        </p:sp>
        <p:sp>
          <p:nvSpPr>
            <p:cNvPr id="239" name="Rectangle 423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5045076" y="2649538"/>
              <a:ext cx="15242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Finland</a:t>
              </a:r>
            </a:p>
          </p:txBody>
        </p:sp>
        <p:sp>
          <p:nvSpPr>
            <p:cNvPr id="240" name="Rectangle 424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4624388" y="2692401"/>
              <a:ext cx="16249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orway</a:t>
              </a:r>
            </a:p>
          </p:txBody>
        </p:sp>
        <p:sp>
          <p:nvSpPr>
            <p:cNvPr id="241" name="Rectangle 425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4454526" y="3175001"/>
              <a:ext cx="14108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France</a:t>
              </a:r>
            </a:p>
          </p:txBody>
        </p:sp>
        <p:sp>
          <p:nvSpPr>
            <p:cNvPr id="242" name="Rectangle 426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4357688" y="3465513"/>
              <a:ext cx="1171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pain</a:t>
              </a:r>
            </a:p>
          </p:txBody>
        </p:sp>
        <p:sp>
          <p:nvSpPr>
            <p:cNvPr id="243" name="Rectangle 427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4887913" y="3048001"/>
              <a:ext cx="14486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oland</a:t>
              </a:r>
            </a:p>
          </p:txBody>
        </p:sp>
        <p:sp>
          <p:nvSpPr>
            <p:cNvPr id="244" name="Rectangle 428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4743450" y="3386138"/>
              <a:ext cx="9069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taly</a:t>
              </a:r>
            </a:p>
          </p:txBody>
        </p:sp>
        <p:sp>
          <p:nvSpPr>
            <p:cNvPr id="245" name="Rectangle 429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5105401" y="3011488"/>
              <a:ext cx="15493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elarus</a:t>
              </a:r>
            </a:p>
          </p:txBody>
        </p:sp>
        <p:sp>
          <p:nvSpPr>
            <p:cNvPr id="246" name="Rectangle 430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4178301" y="2846388"/>
              <a:ext cx="34011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United Kingdom</a:t>
              </a:r>
            </a:p>
          </p:txBody>
        </p:sp>
        <p:sp>
          <p:nvSpPr>
            <p:cNvPr id="247" name="Rectangle 43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5081588" y="2879726"/>
              <a:ext cx="12848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atvia</a:t>
              </a:r>
            </a:p>
          </p:txBody>
        </p:sp>
        <p:sp>
          <p:nvSpPr>
            <p:cNvPr id="248" name="Rectangle 43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4205288" y="3038476"/>
              <a:ext cx="14360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reland</a:t>
              </a:r>
            </a:p>
          </p:txBody>
        </p:sp>
        <p:sp>
          <p:nvSpPr>
            <p:cNvPr id="249" name="Rectangle 43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5151808" y="3407725"/>
              <a:ext cx="17257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ulgaria</a:t>
              </a:r>
            </a:p>
          </p:txBody>
        </p:sp>
        <p:sp>
          <p:nvSpPr>
            <p:cNvPr id="250" name="Rectangle 43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5092703" y="2814638"/>
              <a:ext cx="15493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stonia</a:t>
              </a:r>
            </a:p>
          </p:txBody>
        </p:sp>
        <p:sp>
          <p:nvSpPr>
            <p:cNvPr id="251" name="Rectangle 435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4164013" y="3482976"/>
              <a:ext cx="17887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ortugal</a:t>
              </a:r>
            </a:p>
          </p:txBody>
        </p:sp>
        <p:sp>
          <p:nvSpPr>
            <p:cNvPr id="252" name="Rectangle 436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4567238" y="2890838"/>
              <a:ext cx="19272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2"/>
                  </a:solidFill>
                </a:rPr>
                <a:t>Denmark</a:t>
              </a:r>
            </a:p>
          </p:txBody>
        </p:sp>
        <p:sp>
          <p:nvSpPr>
            <p:cNvPr id="253" name="Rectangle 437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4468813" y="3411538"/>
              <a:ext cx="16879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ndorra</a:t>
              </a:r>
            </a:p>
          </p:txBody>
        </p:sp>
        <p:sp>
          <p:nvSpPr>
            <p:cNvPr id="254" name="Rectangle 438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4525963" y="3001963"/>
              <a:ext cx="25571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etherlands</a:t>
              </a:r>
            </a:p>
          </p:txBody>
        </p:sp>
        <p:sp>
          <p:nvSpPr>
            <p:cNvPr id="255" name="Rectangle 439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4532313" y="3116263"/>
              <a:ext cx="17257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elgium</a:t>
              </a:r>
            </a:p>
          </p:txBody>
        </p:sp>
        <p:sp>
          <p:nvSpPr>
            <p:cNvPr id="256" name="Rectangle 440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4762501" y="3130551"/>
              <a:ext cx="23303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zech Rep.</a:t>
              </a:r>
            </a:p>
          </p:txBody>
        </p:sp>
        <p:sp>
          <p:nvSpPr>
            <p:cNvPr id="257" name="Rectangle 441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4875213" y="3451226"/>
              <a:ext cx="15745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lbania</a:t>
              </a:r>
            </a:p>
          </p:txBody>
        </p:sp>
        <p:sp>
          <p:nvSpPr>
            <p:cNvPr id="258" name="Rectangle 442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3842984" y="3335859"/>
              <a:ext cx="26201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osnia Herz.</a:t>
              </a:r>
            </a:p>
          </p:txBody>
        </p:sp>
        <p:sp>
          <p:nvSpPr>
            <p:cNvPr id="259" name="Rectangle 443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gray">
            <a:xfrm>
              <a:off x="4864101" y="3402012"/>
              <a:ext cx="23051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cedonia</a:t>
              </a:r>
            </a:p>
          </p:txBody>
        </p:sp>
        <p:sp>
          <p:nvSpPr>
            <p:cNvPr id="260" name="Rectangle 444"/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gray">
            <a:xfrm>
              <a:off x="3750882" y="3218665"/>
              <a:ext cx="28216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iechtenstein</a:t>
              </a:r>
            </a:p>
          </p:txBody>
        </p:sp>
        <p:sp>
          <p:nvSpPr>
            <p:cNvPr id="261" name="Rectangle 445"/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gray">
            <a:xfrm>
              <a:off x="3987801" y="2563813"/>
              <a:ext cx="14990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celand</a:t>
              </a:r>
            </a:p>
          </p:txBody>
        </p:sp>
        <p:grpSp>
          <p:nvGrpSpPr>
            <p:cNvPr id="262" name="Group 472"/>
            <p:cNvGrpSpPr/>
            <p:nvPr/>
          </p:nvGrpSpPr>
          <p:grpSpPr bwMode="gray">
            <a:xfrm>
              <a:off x="4120780" y="3251201"/>
              <a:ext cx="808408" cy="125413"/>
              <a:chOff x="4120780" y="3251201"/>
              <a:chExt cx="808408" cy="125413"/>
            </a:xfrm>
          </p:grpSpPr>
          <p:sp>
            <p:nvSpPr>
              <p:cNvPr id="413" name="Line 450"/>
              <p:cNvSpPr>
                <a:spLocks noChangeShapeType="1"/>
              </p:cNvSpPr>
              <p:nvPr>
                <p:custDataLst>
                  <p:tags r:id="rId193"/>
                </p:custDataLst>
              </p:nvPr>
            </p:nvSpPr>
            <p:spPr bwMode="gray">
              <a:xfrm flipH="1">
                <a:off x="4195763" y="3376614"/>
                <a:ext cx="733425" cy="0"/>
              </a:xfrm>
              <a:prstGeom prst="line">
                <a:avLst/>
              </a:prstGeom>
              <a:noFill/>
              <a:ln w="6350">
                <a:solidFill>
                  <a:schemeClr val="accent5"/>
                </a:solidFill>
                <a:round/>
                <a:headEnd/>
                <a:tailEnd/>
              </a:ln>
              <a:effectLst/>
            </p:spPr>
            <p:txBody>
              <a:bodyPr lIns="45720" rIns="45720" anchor="ctr"/>
              <a:lstStyle/>
              <a:p>
                <a:endParaRPr lang="en-US" sz="5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14" name="Line 451"/>
              <p:cNvSpPr>
                <a:spLocks noChangeShapeType="1"/>
              </p:cNvSpPr>
              <p:nvPr>
                <p:custDataLst>
                  <p:tags r:id="rId194"/>
                </p:custDataLst>
              </p:nvPr>
            </p:nvSpPr>
            <p:spPr bwMode="gray">
              <a:xfrm flipH="1">
                <a:off x="4120780" y="3251201"/>
                <a:ext cx="636214" cy="0"/>
              </a:xfrm>
              <a:prstGeom prst="line">
                <a:avLst/>
              </a:prstGeom>
              <a:noFill/>
              <a:ln w="6350">
                <a:solidFill>
                  <a:schemeClr val="accent5"/>
                </a:solidFill>
                <a:round/>
                <a:headEnd/>
                <a:tailEnd/>
              </a:ln>
              <a:effectLst/>
            </p:spPr>
            <p:txBody>
              <a:bodyPr lIns="45720" rIns="45720" anchor="ctr"/>
              <a:lstStyle/>
              <a:p>
                <a:endParaRPr lang="en-US" sz="5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15" name="Freeform 452"/>
              <p:cNvSpPr>
                <a:spLocks/>
              </p:cNvSpPr>
              <p:nvPr>
                <p:custDataLst>
                  <p:tags r:id="rId195"/>
                </p:custDataLst>
              </p:nvPr>
            </p:nvSpPr>
            <p:spPr bwMode="gray">
              <a:xfrm>
                <a:off x="4371976" y="3298826"/>
                <a:ext cx="488950" cy="22225"/>
              </a:xfrm>
              <a:custGeom>
                <a:avLst/>
                <a:gdLst/>
                <a:ahLst/>
                <a:cxnLst>
                  <a:cxn ang="0">
                    <a:pos x="308" y="0"/>
                  </a:cxn>
                  <a:cxn ang="0">
                    <a:pos x="240" y="0"/>
                  </a:cxn>
                  <a:cxn ang="0">
                    <a:pos x="218" y="14"/>
                  </a:cxn>
                  <a:cxn ang="0">
                    <a:pos x="0" y="14"/>
                  </a:cxn>
                </a:cxnLst>
                <a:rect l="0" t="0" r="r" b="b"/>
                <a:pathLst>
                  <a:path w="308" h="14">
                    <a:moveTo>
                      <a:pt x="308" y="0"/>
                    </a:moveTo>
                    <a:lnTo>
                      <a:pt x="240" y="0"/>
                    </a:lnTo>
                    <a:lnTo>
                      <a:pt x="218" y="14"/>
                    </a:lnTo>
                    <a:lnTo>
                      <a:pt x="0" y="14"/>
                    </a:lnTo>
                  </a:path>
                </a:pathLst>
              </a:custGeom>
              <a:solidFill>
                <a:srgbClr val="E1E0DC"/>
              </a:solidFill>
              <a:ln w="6350" cap="flat" cmpd="sng">
                <a:solidFill>
                  <a:schemeClr val="accent5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lIns="45720" rIns="45720" anchor="ctr"/>
              <a:lstStyle/>
              <a:p>
                <a:endParaRPr lang="en-US" sz="500" dirty="0">
                  <a:solidFill>
                    <a:schemeClr val="accent1"/>
                  </a:solidFill>
                </a:endParaRPr>
              </a:p>
            </p:txBody>
          </p:sp>
        </p:grpSp>
        <p:sp>
          <p:nvSpPr>
            <p:cNvPr id="263" name="Rectangle 209"/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gray">
            <a:xfrm>
              <a:off x="5373688" y="3621088"/>
              <a:ext cx="1045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yria</a:t>
              </a:r>
            </a:p>
          </p:txBody>
        </p:sp>
        <p:sp>
          <p:nvSpPr>
            <p:cNvPr id="264" name="Rectangle 210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gray">
            <a:xfrm>
              <a:off x="5629275" y="3810001"/>
              <a:ext cx="14612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Kuwait</a:t>
              </a:r>
            </a:p>
          </p:txBody>
        </p:sp>
        <p:sp>
          <p:nvSpPr>
            <p:cNvPr id="265" name="Rectangle 211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5743575" y="3930651"/>
              <a:ext cx="12218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Qatar</a:t>
              </a:r>
            </a:p>
          </p:txBody>
        </p:sp>
        <p:sp>
          <p:nvSpPr>
            <p:cNvPr id="266" name="Rectangle 212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7942263" y="4291013"/>
              <a:ext cx="12722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uam</a:t>
              </a:r>
            </a:p>
          </p:txBody>
        </p:sp>
        <p:sp>
          <p:nvSpPr>
            <p:cNvPr id="267" name="Rectangle 213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7832724" y="4454526"/>
              <a:ext cx="1171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alau</a:t>
              </a:r>
            </a:p>
          </p:txBody>
        </p:sp>
        <p:sp>
          <p:nvSpPr>
            <p:cNvPr id="268" name="Rectangle 214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8181976" y="4378326"/>
              <a:ext cx="2267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icronesia</a:t>
              </a:r>
            </a:p>
          </p:txBody>
        </p:sp>
        <p:sp>
          <p:nvSpPr>
            <p:cNvPr id="269" name="Rectangle 215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6951663" y="5048251"/>
              <a:ext cx="26579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hristmas Is.</a:t>
              </a:r>
            </a:p>
          </p:txBody>
        </p:sp>
        <p:sp>
          <p:nvSpPr>
            <p:cNvPr id="270" name="Rectangle 216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8447088" y="4151313"/>
              <a:ext cx="15493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Wake I.</a:t>
              </a:r>
            </a:p>
          </p:txBody>
        </p:sp>
        <p:sp>
          <p:nvSpPr>
            <p:cNvPr id="271" name="Rectangle 217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gray">
            <a:xfrm>
              <a:off x="8596313" y="4411663"/>
              <a:ext cx="23429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rshall Is.</a:t>
              </a:r>
            </a:p>
          </p:txBody>
        </p:sp>
        <p:sp>
          <p:nvSpPr>
            <p:cNvPr id="272" name="Rectangle 218"/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gray">
            <a:xfrm>
              <a:off x="6186488" y="4559301"/>
              <a:ext cx="18391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ldives</a:t>
              </a:r>
            </a:p>
          </p:txBody>
        </p:sp>
        <p:sp>
          <p:nvSpPr>
            <p:cNvPr id="273" name="Rectangle 219"/>
            <p:cNvSpPr>
              <a:spLocks noChangeArrowheads="1"/>
            </p:cNvSpPr>
            <p:nvPr>
              <p:custDataLst>
                <p:tags r:id="rId53"/>
              </p:custDataLst>
            </p:nvPr>
          </p:nvSpPr>
          <p:spPr bwMode="gray">
            <a:xfrm>
              <a:off x="7048500" y="2576513"/>
              <a:ext cx="13352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Russia</a:t>
              </a:r>
            </a:p>
          </p:txBody>
        </p:sp>
        <p:sp>
          <p:nvSpPr>
            <p:cNvPr id="274" name="Rectangle 220"/>
            <p:cNvSpPr>
              <a:spLocks noChangeArrowheads="1"/>
            </p:cNvSpPr>
            <p:nvPr>
              <p:custDataLst>
                <p:tags r:id="rId54"/>
              </p:custDataLst>
            </p:nvPr>
          </p:nvSpPr>
          <p:spPr bwMode="gray">
            <a:xfrm>
              <a:off x="6789738" y="3613150"/>
              <a:ext cx="11966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hina</a:t>
              </a:r>
            </a:p>
          </p:txBody>
        </p:sp>
        <p:sp>
          <p:nvSpPr>
            <p:cNvPr id="275" name="Rectangle 221"/>
            <p:cNvSpPr>
              <a:spLocks noChangeArrowheads="1"/>
            </p:cNvSpPr>
            <p:nvPr>
              <p:custDataLst>
                <p:tags r:id="rId55"/>
              </p:custDataLst>
            </p:nvPr>
          </p:nvSpPr>
          <p:spPr bwMode="gray">
            <a:xfrm>
              <a:off x="7640638" y="5422901"/>
              <a:ext cx="18517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ustralia</a:t>
              </a:r>
            </a:p>
          </p:txBody>
        </p:sp>
        <p:sp>
          <p:nvSpPr>
            <p:cNvPr id="276" name="Rectangle 222"/>
            <p:cNvSpPr>
              <a:spLocks noChangeArrowheads="1"/>
            </p:cNvSpPr>
            <p:nvPr>
              <p:custDataLst>
                <p:tags r:id="rId56"/>
              </p:custDataLst>
            </p:nvPr>
          </p:nvSpPr>
          <p:spPr bwMode="gray">
            <a:xfrm>
              <a:off x="6364288" y="4014788"/>
              <a:ext cx="10203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ndia</a:t>
              </a:r>
            </a:p>
          </p:txBody>
        </p:sp>
        <p:sp>
          <p:nvSpPr>
            <p:cNvPr id="277" name="Rectangle 223"/>
            <p:cNvSpPr>
              <a:spLocks noChangeArrowheads="1"/>
            </p:cNvSpPr>
            <p:nvPr>
              <p:custDataLst>
                <p:tags r:id="rId57"/>
              </p:custDataLst>
            </p:nvPr>
          </p:nvSpPr>
          <p:spPr bwMode="gray">
            <a:xfrm>
              <a:off x="5770563" y="3689351"/>
              <a:ext cx="8061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ran</a:t>
              </a:r>
            </a:p>
          </p:txBody>
        </p:sp>
        <p:sp>
          <p:nvSpPr>
            <p:cNvPr id="278" name="Rectangle 224"/>
            <p:cNvSpPr>
              <a:spLocks noChangeArrowheads="1"/>
            </p:cNvSpPr>
            <p:nvPr>
              <p:custDataLst>
                <p:tags r:id="rId58"/>
              </p:custDataLst>
            </p:nvPr>
          </p:nvSpPr>
          <p:spPr bwMode="gray">
            <a:xfrm>
              <a:off x="6075363" y="3190875"/>
              <a:ext cx="24311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Kazakhstan</a:t>
              </a:r>
            </a:p>
          </p:txBody>
        </p:sp>
        <p:sp>
          <p:nvSpPr>
            <p:cNvPr id="279" name="Rectangle 225"/>
            <p:cNvSpPr>
              <a:spLocks noChangeArrowheads="1"/>
            </p:cNvSpPr>
            <p:nvPr>
              <p:custDataLst>
                <p:tags r:id="rId59"/>
              </p:custDataLst>
            </p:nvPr>
          </p:nvSpPr>
          <p:spPr bwMode="gray">
            <a:xfrm>
              <a:off x="6883400" y="3243263"/>
              <a:ext cx="1952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ongolia</a:t>
              </a:r>
            </a:p>
          </p:txBody>
        </p:sp>
        <p:sp>
          <p:nvSpPr>
            <p:cNvPr id="280" name="Rectangle 226"/>
            <p:cNvSpPr>
              <a:spLocks noChangeArrowheads="1"/>
            </p:cNvSpPr>
            <p:nvPr>
              <p:custDataLst>
                <p:tags r:id="rId60"/>
              </p:custDataLst>
            </p:nvPr>
          </p:nvSpPr>
          <p:spPr bwMode="gray">
            <a:xfrm>
              <a:off x="5478463" y="3967163"/>
              <a:ext cx="209550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audi Arabia</a:t>
              </a:r>
            </a:p>
          </p:txBody>
        </p:sp>
        <p:sp>
          <p:nvSpPr>
            <p:cNvPr id="281" name="Rectangle 227"/>
            <p:cNvSpPr>
              <a:spLocks noChangeArrowheads="1"/>
            </p:cNvSpPr>
            <p:nvPr>
              <p:custDataLst>
                <p:tags r:id="rId61"/>
              </p:custDataLst>
            </p:nvPr>
          </p:nvSpPr>
          <p:spPr bwMode="gray">
            <a:xfrm>
              <a:off x="5229004" y="3511551"/>
              <a:ext cx="21929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urkey</a:t>
              </a:r>
            </a:p>
          </p:txBody>
        </p:sp>
        <p:sp>
          <p:nvSpPr>
            <p:cNvPr id="282" name="Rectangle 228"/>
            <p:cNvSpPr>
              <a:spLocks noChangeArrowheads="1"/>
            </p:cNvSpPr>
            <p:nvPr>
              <p:custDataLst>
                <p:tags r:id="rId62"/>
              </p:custDataLst>
            </p:nvPr>
          </p:nvSpPr>
          <p:spPr bwMode="gray">
            <a:xfrm>
              <a:off x="5537201" y="3727451"/>
              <a:ext cx="8061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raq</a:t>
              </a:r>
            </a:p>
          </p:txBody>
        </p:sp>
        <p:sp>
          <p:nvSpPr>
            <p:cNvPr id="283" name="Rectangle 229"/>
            <p:cNvSpPr>
              <a:spLocks noChangeArrowheads="1"/>
            </p:cNvSpPr>
            <p:nvPr>
              <p:custDataLst>
                <p:tags r:id="rId63"/>
              </p:custDataLst>
            </p:nvPr>
          </p:nvSpPr>
          <p:spPr bwMode="gray">
            <a:xfrm>
              <a:off x="6032500" y="3833813"/>
              <a:ext cx="17887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akistan</a:t>
              </a:r>
            </a:p>
          </p:txBody>
        </p:sp>
        <p:sp>
          <p:nvSpPr>
            <p:cNvPr id="284" name="Rectangle 230"/>
            <p:cNvSpPr>
              <a:spLocks noChangeArrowheads="1"/>
            </p:cNvSpPr>
            <p:nvPr>
              <p:custDataLst>
                <p:tags r:id="rId64"/>
              </p:custDataLst>
            </p:nvPr>
          </p:nvSpPr>
          <p:spPr bwMode="gray">
            <a:xfrm>
              <a:off x="6723063" y="4037013"/>
              <a:ext cx="20028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yanmar</a:t>
              </a:r>
            </a:p>
          </p:txBody>
        </p:sp>
        <p:sp>
          <p:nvSpPr>
            <p:cNvPr id="285" name="Rectangle 231"/>
            <p:cNvSpPr>
              <a:spLocks noChangeArrowheads="1"/>
            </p:cNvSpPr>
            <p:nvPr>
              <p:custDataLst>
                <p:tags r:id="rId65"/>
              </p:custDataLst>
            </p:nvPr>
          </p:nvSpPr>
          <p:spPr bwMode="gray">
            <a:xfrm>
              <a:off x="5962650" y="3665538"/>
              <a:ext cx="25319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fghanistan</a:t>
              </a:r>
            </a:p>
          </p:txBody>
        </p:sp>
        <p:sp>
          <p:nvSpPr>
            <p:cNvPr id="286" name="Rectangle 232"/>
            <p:cNvSpPr>
              <a:spLocks noChangeArrowheads="1"/>
            </p:cNvSpPr>
            <p:nvPr>
              <p:custDataLst>
                <p:tags r:id="rId66"/>
              </p:custDataLst>
            </p:nvPr>
          </p:nvSpPr>
          <p:spPr bwMode="gray">
            <a:xfrm>
              <a:off x="5884863" y="3382963"/>
              <a:ext cx="23303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Uzbekistan</a:t>
              </a:r>
            </a:p>
          </p:txBody>
        </p:sp>
        <p:sp>
          <p:nvSpPr>
            <p:cNvPr id="287" name="Rectangle 233"/>
            <p:cNvSpPr>
              <a:spLocks noChangeArrowheads="1"/>
            </p:cNvSpPr>
            <p:nvPr>
              <p:custDataLst>
                <p:tags r:id="rId67"/>
              </p:custDataLst>
            </p:nvPr>
          </p:nvSpPr>
          <p:spPr bwMode="gray">
            <a:xfrm>
              <a:off x="5810249" y="3521076"/>
              <a:ext cx="28846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urkmenistan</a:t>
              </a:r>
            </a:p>
          </p:txBody>
        </p:sp>
        <p:sp>
          <p:nvSpPr>
            <p:cNvPr id="288" name="Rectangle 234"/>
            <p:cNvSpPr>
              <a:spLocks noChangeArrowheads="1"/>
            </p:cNvSpPr>
            <p:nvPr>
              <p:custDataLst>
                <p:tags r:id="rId68"/>
              </p:custDataLst>
            </p:nvPr>
          </p:nvSpPr>
          <p:spPr bwMode="gray">
            <a:xfrm>
              <a:off x="6858000" y="4219576"/>
              <a:ext cx="18013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hailand</a:t>
              </a:r>
            </a:p>
          </p:txBody>
        </p:sp>
        <p:sp>
          <p:nvSpPr>
            <p:cNvPr id="289" name="Rectangle 235"/>
            <p:cNvSpPr>
              <a:spLocks noChangeArrowheads="1"/>
            </p:cNvSpPr>
            <p:nvPr>
              <p:custDataLst>
                <p:tags r:id="rId69"/>
              </p:custDataLst>
            </p:nvPr>
          </p:nvSpPr>
          <p:spPr bwMode="gray">
            <a:xfrm>
              <a:off x="5557838" y="4214813"/>
              <a:ext cx="1486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Yemen</a:t>
              </a:r>
            </a:p>
          </p:txBody>
        </p:sp>
        <p:sp>
          <p:nvSpPr>
            <p:cNvPr id="290" name="Rectangle 236"/>
            <p:cNvSpPr>
              <a:spLocks noChangeArrowheads="1"/>
            </p:cNvSpPr>
            <p:nvPr>
              <p:custDataLst>
                <p:tags r:id="rId70"/>
              </p:custDataLst>
            </p:nvPr>
          </p:nvSpPr>
          <p:spPr bwMode="gray">
            <a:xfrm>
              <a:off x="7894638" y="3568701"/>
              <a:ext cx="12218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Japan</a:t>
              </a:r>
            </a:p>
          </p:txBody>
        </p:sp>
        <p:sp>
          <p:nvSpPr>
            <p:cNvPr id="291" name="Rectangle 237"/>
            <p:cNvSpPr>
              <a:spLocks noChangeArrowheads="1"/>
            </p:cNvSpPr>
            <p:nvPr>
              <p:custDataLst>
                <p:tags r:id="rId71"/>
              </p:custDataLst>
            </p:nvPr>
          </p:nvSpPr>
          <p:spPr bwMode="gray">
            <a:xfrm>
              <a:off x="5792789" y="4108451"/>
              <a:ext cx="12974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Oman</a:t>
              </a:r>
            </a:p>
          </p:txBody>
        </p:sp>
        <p:sp>
          <p:nvSpPr>
            <p:cNvPr id="292" name="Rectangle 238"/>
            <p:cNvSpPr>
              <a:spLocks noChangeArrowheads="1"/>
            </p:cNvSpPr>
            <p:nvPr>
              <p:custDataLst>
                <p:tags r:id="rId72"/>
              </p:custDataLst>
            </p:nvPr>
          </p:nvSpPr>
          <p:spPr bwMode="gray">
            <a:xfrm>
              <a:off x="6910389" y="4100513"/>
              <a:ext cx="9825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aos</a:t>
              </a:r>
            </a:p>
          </p:txBody>
        </p:sp>
        <p:sp>
          <p:nvSpPr>
            <p:cNvPr id="293" name="Rectangle 239"/>
            <p:cNvSpPr>
              <a:spLocks noChangeArrowheads="1"/>
            </p:cNvSpPr>
            <p:nvPr>
              <p:custDataLst>
                <p:tags r:id="rId73"/>
              </p:custDataLst>
            </p:nvPr>
          </p:nvSpPr>
          <p:spPr bwMode="gray">
            <a:xfrm>
              <a:off x="7085013" y="4300538"/>
              <a:ext cx="17761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Vietnam</a:t>
              </a:r>
            </a:p>
          </p:txBody>
        </p:sp>
        <p:sp>
          <p:nvSpPr>
            <p:cNvPr id="294" name="Rectangle 240"/>
            <p:cNvSpPr>
              <a:spLocks noChangeArrowheads="1"/>
            </p:cNvSpPr>
            <p:nvPr>
              <p:custDataLst>
                <p:tags r:id="rId74"/>
              </p:custDataLst>
            </p:nvPr>
          </p:nvSpPr>
          <p:spPr bwMode="gray">
            <a:xfrm>
              <a:off x="6465888" y="3849687"/>
              <a:ext cx="12344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epal</a:t>
              </a:r>
            </a:p>
          </p:txBody>
        </p:sp>
        <p:sp>
          <p:nvSpPr>
            <p:cNvPr id="295" name="Rectangle 241"/>
            <p:cNvSpPr>
              <a:spLocks noChangeArrowheads="1"/>
            </p:cNvSpPr>
            <p:nvPr>
              <p:custDataLst>
                <p:tags r:id="rId75"/>
              </p:custDataLst>
            </p:nvPr>
          </p:nvSpPr>
          <p:spPr bwMode="gray">
            <a:xfrm>
              <a:off x="6226176" y="3413126"/>
              <a:ext cx="23303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Kyrgyzstan</a:t>
              </a:r>
            </a:p>
          </p:txBody>
        </p:sp>
        <p:sp>
          <p:nvSpPr>
            <p:cNvPr id="296" name="Rectangle 242"/>
            <p:cNvSpPr>
              <a:spLocks noChangeArrowheads="1"/>
            </p:cNvSpPr>
            <p:nvPr>
              <p:custDataLst>
                <p:tags r:id="rId76"/>
              </p:custDataLst>
            </p:nvPr>
          </p:nvSpPr>
          <p:spPr bwMode="gray">
            <a:xfrm>
              <a:off x="5630864" y="3578226"/>
              <a:ext cx="22296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zerbaijan</a:t>
              </a:r>
            </a:p>
          </p:txBody>
        </p:sp>
        <p:sp>
          <p:nvSpPr>
            <p:cNvPr id="297" name="Rectangle 243"/>
            <p:cNvSpPr>
              <a:spLocks noChangeArrowheads="1"/>
            </p:cNvSpPr>
            <p:nvPr>
              <p:custDataLst>
                <p:tags r:id="rId77"/>
              </p:custDataLst>
            </p:nvPr>
          </p:nvSpPr>
          <p:spPr bwMode="gray">
            <a:xfrm>
              <a:off x="6190761" y="3512334"/>
              <a:ext cx="20154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ajikistan</a:t>
              </a:r>
            </a:p>
          </p:txBody>
        </p:sp>
        <p:sp>
          <p:nvSpPr>
            <p:cNvPr id="298" name="Rectangle 244"/>
            <p:cNvSpPr>
              <a:spLocks noChangeArrowheads="1"/>
            </p:cNvSpPr>
            <p:nvPr>
              <p:custDataLst>
                <p:tags r:id="rId78"/>
              </p:custDataLst>
            </p:nvPr>
          </p:nvSpPr>
          <p:spPr bwMode="gray">
            <a:xfrm>
              <a:off x="8359775" y="5888038"/>
              <a:ext cx="27460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ew Zealand</a:t>
              </a:r>
            </a:p>
          </p:txBody>
        </p:sp>
        <p:sp>
          <p:nvSpPr>
            <p:cNvPr id="299" name="Rectangle 245"/>
            <p:cNvSpPr>
              <a:spLocks noChangeArrowheads="1"/>
            </p:cNvSpPr>
            <p:nvPr>
              <p:custDataLst>
                <p:tags r:id="rId79"/>
              </p:custDataLst>
            </p:nvPr>
          </p:nvSpPr>
          <p:spPr bwMode="gray">
            <a:xfrm>
              <a:off x="7910513" y="4806952"/>
              <a:ext cx="45878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apua New Guinea</a:t>
              </a:r>
            </a:p>
          </p:txBody>
        </p:sp>
        <p:sp>
          <p:nvSpPr>
            <p:cNvPr id="300" name="Rectangle 246"/>
            <p:cNvSpPr>
              <a:spLocks noChangeArrowheads="1"/>
            </p:cNvSpPr>
            <p:nvPr>
              <p:custDataLst>
                <p:tags r:id="rId80"/>
              </p:custDataLst>
            </p:nvPr>
          </p:nvSpPr>
          <p:spPr bwMode="gray">
            <a:xfrm>
              <a:off x="5345112" y="3763963"/>
              <a:ext cx="1398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Jordan</a:t>
              </a:r>
            </a:p>
          </p:txBody>
        </p:sp>
        <p:sp>
          <p:nvSpPr>
            <p:cNvPr id="301" name="Rectangle 247"/>
            <p:cNvSpPr>
              <a:spLocks noChangeArrowheads="1"/>
            </p:cNvSpPr>
            <p:nvPr>
              <p:custDataLst>
                <p:tags r:id="rId81"/>
              </p:custDataLst>
            </p:nvPr>
          </p:nvSpPr>
          <p:spPr bwMode="gray">
            <a:xfrm>
              <a:off x="7427913" y="3465513"/>
              <a:ext cx="25571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orth Korea</a:t>
              </a:r>
            </a:p>
          </p:txBody>
        </p:sp>
        <p:sp>
          <p:nvSpPr>
            <p:cNvPr id="302" name="Rectangle 248"/>
            <p:cNvSpPr>
              <a:spLocks noChangeArrowheads="1"/>
            </p:cNvSpPr>
            <p:nvPr>
              <p:custDataLst>
                <p:tags r:id="rId82"/>
              </p:custDataLst>
            </p:nvPr>
          </p:nvSpPr>
          <p:spPr bwMode="gray">
            <a:xfrm>
              <a:off x="7477126" y="4819651"/>
              <a:ext cx="20028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ndonesia</a:t>
              </a:r>
            </a:p>
          </p:txBody>
        </p:sp>
        <p:sp>
          <p:nvSpPr>
            <p:cNvPr id="303" name="Rectangle 249"/>
            <p:cNvSpPr>
              <a:spLocks noChangeArrowheads="1"/>
            </p:cNvSpPr>
            <p:nvPr>
              <p:custDataLst>
                <p:tags r:id="rId83"/>
              </p:custDataLst>
            </p:nvPr>
          </p:nvSpPr>
          <p:spPr bwMode="gray">
            <a:xfrm>
              <a:off x="6958013" y="4551363"/>
              <a:ext cx="18391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laysia</a:t>
              </a:r>
            </a:p>
          </p:txBody>
        </p:sp>
        <p:sp>
          <p:nvSpPr>
            <p:cNvPr id="304" name="Rectangle 250"/>
            <p:cNvSpPr>
              <a:spLocks noChangeArrowheads="1"/>
            </p:cNvSpPr>
            <p:nvPr>
              <p:custDataLst>
                <p:tags r:id="rId84"/>
              </p:custDataLst>
            </p:nvPr>
          </p:nvSpPr>
          <p:spPr bwMode="gray">
            <a:xfrm>
              <a:off x="6502400" y="3963988"/>
              <a:ext cx="24311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angladesh</a:t>
              </a:r>
            </a:p>
          </p:txBody>
        </p:sp>
        <p:sp>
          <p:nvSpPr>
            <p:cNvPr id="305" name="Rectangle 251"/>
            <p:cNvSpPr>
              <a:spLocks noChangeArrowheads="1"/>
            </p:cNvSpPr>
            <p:nvPr>
              <p:custDataLst>
                <p:tags r:id="rId85"/>
              </p:custDataLst>
            </p:nvPr>
          </p:nvSpPr>
          <p:spPr bwMode="gray">
            <a:xfrm>
              <a:off x="7413625" y="3581401"/>
              <a:ext cx="25823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outh Korea</a:t>
              </a:r>
            </a:p>
          </p:txBody>
        </p:sp>
        <p:sp>
          <p:nvSpPr>
            <p:cNvPr id="306" name="Rectangle 252"/>
            <p:cNvSpPr>
              <a:spLocks noChangeArrowheads="1"/>
            </p:cNvSpPr>
            <p:nvPr>
              <p:custDataLst>
                <p:tags r:id="rId86"/>
              </p:custDataLst>
            </p:nvPr>
          </p:nvSpPr>
          <p:spPr bwMode="gray">
            <a:xfrm>
              <a:off x="6596063" y="3805238"/>
              <a:ext cx="15242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hutan</a:t>
              </a:r>
            </a:p>
          </p:txBody>
        </p:sp>
        <p:sp>
          <p:nvSpPr>
            <p:cNvPr id="307" name="Rectangle 253"/>
            <p:cNvSpPr>
              <a:spLocks noChangeArrowheads="1"/>
            </p:cNvSpPr>
            <p:nvPr>
              <p:custDataLst>
                <p:tags r:id="rId87"/>
              </p:custDataLst>
            </p:nvPr>
          </p:nvSpPr>
          <p:spPr bwMode="gray">
            <a:xfrm>
              <a:off x="6362700" y="4470401"/>
              <a:ext cx="19272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ri Lanka</a:t>
              </a:r>
            </a:p>
          </p:txBody>
        </p:sp>
        <p:sp>
          <p:nvSpPr>
            <p:cNvPr id="308" name="Rectangle 254"/>
            <p:cNvSpPr>
              <a:spLocks noChangeArrowheads="1"/>
            </p:cNvSpPr>
            <p:nvPr>
              <p:custDataLst>
                <p:tags r:id="rId88"/>
              </p:custDataLst>
            </p:nvPr>
          </p:nvSpPr>
          <p:spPr bwMode="gray">
            <a:xfrm>
              <a:off x="7443788" y="4025901"/>
              <a:ext cx="15116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aiwan</a:t>
              </a:r>
            </a:p>
          </p:txBody>
        </p:sp>
        <p:sp>
          <p:nvSpPr>
            <p:cNvPr id="309" name="Rectangle 255"/>
            <p:cNvSpPr>
              <a:spLocks noChangeArrowheads="1"/>
            </p:cNvSpPr>
            <p:nvPr>
              <p:custDataLst>
                <p:tags r:id="rId89"/>
              </p:custDataLst>
            </p:nvPr>
          </p:nvSpPr>
          <p:spPr bwMode="gray">
            <a:xfrm>
              <a:off x="8342313" y="5322888"/>
              <a:ext cx="31365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ew Caledonia</a:t>
              </a:r>
            </a:p>
          </p:txBody>
        </p:sp>
        <p:sp>
          <p:nvSpPr>
            <p:cNvPr id="310" name="Rectangle 256"/>
            <p:cNvSpPr>
              <a:spLocks noChangeArrowheads="1"/>
            </p:cNvSpPr>
            <p:nvPr>
              <p:custDataLst>
                <p:tags r:id="rId90"/>
              </p:custDataLst>
            </p:nvPr>
          </p:nvSpPr>
          <p:spPr bwMode="gray">
            <a:xfrm>
              <a:off x="7510463" y="4284663"/>
              <a:ext cx="22548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hilippines</a:t>
              </a:r>
            </a:p>
          </p:txBody>
        </p:sp>
        <p:sp>
          <p:nvSpPr>
            <p:cNvPr id="311" name="Rectangle 257"/>
            <p:cNvSpPr>
              <a:spLocks noChangeArrowheads="1"/>
            </p:cNvSpPr>
            <p:nvPr>
              <p:custDataLst>
                <p:tags r:id="rId91"/>
              </p:custDataLst>
            </p:nvPr>
          </p:nvSpPr>
          <p:spPr bwMode="gray">
            <a:xfrm>
              <a:off x="8401050" y="4926013"/>
              <a:ext cx="24311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olomon Is.</a:t>
              </a:r>
            </a:p>
          </p:txBody>
        </p:sp>
        <p:sp>
          <p:nvSpPr>
            <p:cNvPr id="312" name="Rectangle 258"/>
            <p:cNvSpPr>
              <a:spLocks noChangeArrowheads="1"/>
            </p:cNvSpPr>
            <p:nvPr>
              <p:custDataLst>
                <p:tags r:id="rId92"/>
              </p:custDataLst>
            </p:nvPr>
          </p:nvSpPr>
          <p:spPr bwMode="gray">
            <a:xfrm>
              <a:off x="8545513" y="5084763"/>
              <a:ext cx="17761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Vanuatu</a:t>
              </a:r>
            </a:p>
          </p:txBody>
        </p:sp>
        <p:sp>
          <p:nvSpPr>
            <p:cNvPr id="313" name="Rectangle 259"/>
            <p:cNvSpPr>
              <a:spLocks noChangeArrowheads="1"/>
            </p:cNvSpPr>
            <p:nvPr>
              <p:custDataLst>
                <p:tags r:id="rId93"/>
              </p:custDataLst>
            </p:nvPr>
          </p:nvSpPr>
          <p:spPr bwMode="gray">
            <a:xfrm>
              <a:off x="5177832" y="3727833"/>
              <a:ext cx="11085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srael</a:t>
              </a:r>
            </a:p>
          </p:txBody>
        </p:sp>
        <p:sp>
          <p:nvSpPr>
            <p:cNvPr id="314" name="Rectangle 260"/>
            <p:cNvSpPr>
              <a:spLocks noChangeArrowheads="1"/>
            </p:cNvSpPr>
            <p:nvPr>
              <p:custDataLst>
                <p:tags r:id="rId94"/>
              </p:custDataLst>
            </p:nvPr>
          </p:nvSpPr>
          <p:spPr bwMode="gray">
            <a:xfrm>
              <a:off x="5746750" y="3992563"/>
              <a:ext cx="13478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U.A.E.</a:t>
              </a:r>
            </a:p>
          </p:txBody>
        </p:sp>
        <p:sp>
          <p:nvSpPr>
            <p:cNvPr id="315" name="Rectangle 261"/>
            <p:cNvSpPr>
              <a:spLocks noChangeArrowheads="1"/>
            </p:cNvSpPr>
            <p:nvPr>
              <p:custDataLst>
                <p:tags r:id="rId95"/>
              </p:custDataLst>
            </p:nvPr>
          </p:nvSpPr>
          <p:spPr bwMode="gray">
            <a:xfrm>
              <a:off x="5680076" y="3883026"/>
              <a:ext cx="16123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ahrain</a:t>
              </a:r>
            </a:p>
          </p:txBody>
        </p:sp>
        <p:sp>
          <p:nvSpPr>
            <p:cNvPr id="316" name="Rectangle 262"/>
            <p:cNvSpPr>
              <a:spLocks noChangeArrowheads="1"/>
            </p:cNvSpPr>
            <p:nvPr>
              <p:custDataLst>
                <p:tags r:id="rId96"/>
              </p:custDataLst>
            </p:nvPr>
          </p:nvSpPr>
          <p:spPr bwMode="gray">
            <a:xfrm>
              <a:off x="5335588" y="3675062"/>
              <a:ext cx="18265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ebanon</a:t>
              </a:r>
            </a:p>
          </p:txBody>
        </p:sp>
        <p:sp>
          <p:nvSpPr>
            <p:cNvPr id="317" name="Rectangle 263"/>
            <p:cNvSpPr>
              <a:spLocks noChangeArrowheads="1"/>
            </p:cNvSpPr>
            <p:nvPr>
              <p:custDataLst>
                <p:tags r:id="rId97"/>
              </p:custDataLst>
            </p:nvPr>
          </p:nvSpPr>
          <p:spPr bwMode="gray">
            <a:xfrm>
              <a:off x="5453063" y="3397251"/>
              <a:ext cx="16501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eorgia</a:t>
              </a:r>
            </a:p>
          </p:txBody>
        </p:sp>
        <p:sp>
          <p:nvSpPr>
            <p:cNvPr id="318" name="Rectangle 264"/>
            <p:cNvSpPr>
              <a:spLocks noChangeArrowheads="1"/>
            </p:cNvSpPr>
            <p:nvPr>
              <p:custDataLst>
                <p:tags r:id="rId98"/>
              </p:custDataLst>
            </p:nvPr>
          </p:nvSpPr>
          <p:spPr bwMode="gray">
            <a:xfrm>
              <a:off x="5440363" y="3468688"/>
              <a:ext cx="17761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rmenia</a:t>
              </a:r>
            </a:p>
          </p:txBody>
        </p:sp>
        <p:sp>
          <p:nvSpPr>
            <p:cNvPr id="319" name="Rectangle 281"/>
            <p:cNvSpPr>
              <a:spLocks noChangeArrowheads="1"/>
            </p:cNvSpPr>
            <p:nvPr>
              <p:custDataLst>
                <p:tags r:id="rId99"/>
              </p:custDataLst>
            </p:nvPr>
          </p:nvSpPr>
          <p:spPr bwMode="gray">
            <a:xfrm>
              <a:off x="7234238" y="4457701"/>
              <a:ext cx="171450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ast Timor</a:t>
              </a:r>
            </a:p>
          </p:txBody>
        </p:sp>
        <p:sp>
          <p:nvSpPr>
            <p:cNvPr id="320" name="Rectangle 282"/>
            <p:cNvSpPr>
              <a:spLocks noChangeArrowheads="1"/>
            </p:cNvSpPr>
            <p:nvPr>
              <p:custDataLst>
                <p:tags r:id="rId100"/>
              </p:custDataLst>
            </p:nvPr>
          </p:nvSpPr>
          <p:spPr bwMode="gray">
            <a:xfrm>
              <a:off x="6838950" y="4314826"/>
              <a:ext cx="21288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ambodia</a:t>
              </a:r>
            </a:p>
          </p:txBody>
        </p:sp>
        <p:sp>
          <p:nvSpPr>
            <p:cNvPr id="321" name="Rectangle 284"/>
            <p:cNvSpPr>
              <a:spLocks noChangeArrowheads="1"/>
            </p:cNvSpPr>
            <p:nvPr>
              <p:custDataLst>
                <p:tags r:id="rId101"/>
              </p:custDataLst>
            </p:nvPr>
          </p:nvSpPr>
          <p:spPr bwMode="gray">
            <a:xfrm>
              <a:off x="4491038" y="4375151"/>
              <a:ext cx="1825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enin</a:t>
              </a:r>
            </a:p>
          </p:txBody>
        </p:sp>
        <p:sp>
          <p:nvSpPr>
            <p:cNvPr id="322" name="Rectangle 285"/>
            <p:cNvSpPr>
              <a:spLocks noChangeArrowheads="1"/>
            </p:cNvSpPr>
            <p:nvPr>
              <p:custDataLst>
                <p:tags r:id="rId102"/>
              </p:custDataLst>
            </p:nvPr>
          </p:nvSpPr>
          <p:spPr bwMode="gray">
            <a:xfrm>
              <a:off x="4821238" y="4649789"/>
              <a:ext cx="13604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ongo</a:t>
              </a:r>
            </a:p>
          </p:txBody>
        </p:sp>
        <p:sp>
          <p:nvSpPr>
            <p:cNvPr id="323" name="Rectangle 286"/>
            <p:cNvSpPr>
              <a:spLocks noChangeArrowheads="1"/>
            </p:cNvSpPr>
            <p:nvPr>
              <p:custDataLst>
                <p:tags r:id="rId103"/>
              </p:custDataLst>
            </p:nvPr>
          </p:nvSpPr>
          <p:spPr bwMode="gray">
            <a:xfrm>
              <a:off x="4146972" y="4568769"/>
              <a:ext cx="14234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iberia</a:t>
              </a:r>
            </a:p>
          </p:txBody>
        </p:sp>
        <p:sp>
          <p:nvSpPr>
            <p:cNvPr id="324" name="Rectangle 287"/>
            <p:cNvSpPr>
              <a:spLocks noChangeArrowheads="1"/>
            </p:cNvSpPr>
            <p:nvPr>
              <p:custDataLst>
                <p:tags r:id="rId104"/>
              </p:custDataLst>
            </p:nvPr>
          </p:nvSpPr>
          <p:spPr bwMode="gray">
            <a:xfrm>
              <a:off x="3884614" y="3784601"/>
              <a:ext cx="20406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anary Is.</a:t>
              </a:r>
            </a:p>
          </p:txBody>
        </p:sp>
        <p:sp>
          <p:nvSpPr>
            <p:cNvPr id="325" name="Rectangle 288"/>
            <p:cNvSpPr>
              <a:spLocks noChangeArrowheads="1"/>
            </p:cNvSpPr>
            <p:nvPr>
              <p:custDataLst>
                <p:tags r:id="rId105"/>
              </p:custDataLst>
            </p:nvPr>
          </p:nvSpPr>
          <p:spPr bwMode="gray">
            <a:xfrm>
              <a:off x="4699000" y="4708526"/>
              <a:ext cx="1385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abon</a:t>
              </a:r>
            </a:p>
          </p:txBody>
        </p:sp>
        <p:sp>
          <p:nvSpPr>
            <p:cNvPr id="326" name="Rectangle 289"/>
            <p:cNvSpPr>
              <a:spLocks noChangeArrowheads="1"/>
            </p:cNvSpPr>
            <p:nvPr>
              <p:custDataLst>
                <p:tags r:id="rId106"/>
              </p:custDataLst>
            </p:nvPr>
          </p:nvSpPr>
          <p:spPr bwMode="gray">
            <a:xfrm>
              <a:off x="4452938" y="4537076"/>
              <a:ext cx="1825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ogo</a:t>
              </a:r>
            </a:p>
          </p:txBody>
        </p:sp>
        <p:sp>
          <p:nvSpPr>
            <p:cNvPr id="327" name="Rectangle 290"/>
            <p:cNvSpPr>
              <a:spLocks noChangeArrowheads="1"/>
            </p:cNvSpPr>
            <p:nvPr>
              <p:custDataLst>
                <p:tags r:id="rId107"/>
              </p:custDataLst>
            </p:nvPr>
          </p:nvSpPr>
          <p:spPr bwMode="gray">
            <a:xfrm>
              <a:off x="5114926" y="4695826"/>
              <a:ext cx="16879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Rwanda</a:t>
              </a:r>
            </a:p>
          </p:txBody>
        </p:sp>
        <p:sp>
          <p:nvSpPr>
            <p:cNvPr id="328" name="Rectangle 291"/>
            <p:cNvSpPr>
              <a:spLocks noChangeArrowheads="1"/>
            </p:cNvSpPr>
            <p:nvPr>
              <p:custDataLst>
                <p:tags r:id="rId108"/>
              </p:custDataLst>
            </p:nvPr>
          </p:nvSpPr>
          <p:spPr bwMode="gray">
            <a:xfrm>
              <a:off x="3622676" y="4211639"/>
              <a:ext cx="24059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ape Verde</a:t>
              </a:r>
            </a:p>
          </p:txBody>
        </p:sp>
        <p:sp>
          <p:nvSpPr>
            <p:cNvPr id="329" name="Rectangle 292"/>
            <p:cNvSpPr>
              <a:spLocks noChangeArrowheads="1"/>
            </p:cNvSpPr>
            <p:nvPr>
              <p:custDataLst>
                <p:tags r:id="rId109"/>
              </p:custDataLst>
            </p:nvPr>
          </p:nvSpPr>
          <p:spPr bwMode="gray">
            <a:xfrm>
              <a:off x="5719763" y="4767263"/>
              <a:ext cx="21918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eychelles</a:t>
              </a:r>
            </a:p>
          </p:txBody>
        </p:sp>
        <p:sp>
          <p:nvSpPr>
            <p:cNvPr id="330" name="Rectangle 293"/>
            <p:cNvSpPr>
              <a:spLocks noChangeArrowheads="1"/>
            </p:cNvSpPr>
            <p:nvPr>
              <p:custDataLst>
                <p:tags r:id="rId110"/>
              </p:custDataLst>
            </p:nvPr>
          </p:nvSpPr>
          <p:spPr bwMode="gray">
            <a:xfrm>
              <a:off x="4487863" y="3868739"/>
              <a:ext cx="14738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lgeria</a:t>
              </a:r>
            </a:p>
          </p:txBody>
        </p:sp>
        <p:sp>
          <p:nvSpPr>
            <p:cNvPr id="331" name="Rectangle 294"/>
            <p:cNvSpPr>
              <a:spLocks noChangeArrowheads="1"/>
            </p:cNvSpPr>
            <p:nvPr>
              <p:custDataLst>
                <p:tags r:id="rId111"/>
              </p:custDataLst>
            </p:nvPr>
          </p:nvSpPr>
          <p:spPr bwMode="gray">
            <a:xfrm>
              <a:off x="5105400" y="4229101"/>
              <a:ext cx="230188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500" dirty="0">
                  <a:solidFill>
                    <a:schemeClr val="accent1"/>
                  </a:solidFill>
                </a:rPr>
                <a:t>North Sudan</a:t>
              </a:r>
            </a:p>
          </p:txBody>
        </p:sp>
        <p:sp>
          <p:nvSpPr>
            <p:cNvPr id="332" name="Rectangle 295"/>
            <p:cNvSpPr>
              <a:spLocks noChangeArrowheads="1"/>
            </p:cNvSpPr>
            <p:nvPr>
              <p:custDataLst>
                <p:tags r:id="rId112"/>
              </p:custDataLst>
            </p:nvPr>
          </p:nvSpPr>
          <p:spPr bwMode="gray">
            <a:xfrm>
              <a:off x="4875213" y="3875088"/>
              <a:ext cx="11337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ibya</a:t>
              </a:r>
            </a:p>
          </p:txBody>
        </p:sp>
        <p:sp>
          <p:nvSpPr>
            <p:cNvPr id="333" name="Rectangle 296"/>
            <p:cNvSpPr>
              <a:spLocks noChangeArrowheads="1"/>
            </p:cNvSpPr>
            <p:nvPr>
              <p:custDataLst>
                <p:tags r:id="rId113"/>
              </p:custDataLst>
            </p:nvPr>
          </p:nvSpPr>
          <p:spPr bwMode="gray">
            <a:xfrm>
              <a:off x="4430712" y="4140201"/>
              <a:ext cx="8943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li</a:t>
              </a:r>
            </a:p>
          </p:txBody>
        </p:sp>
        <p:sp>
          <p:nvSpPr>
            <p:cNvPr id="334" name="Rectangle 297"/>
            <p:cNvSpPr>
              <a:spLocks noChangeArrowheads="1"/>
            </p:cNvSpPr>
            <p:nvPr>
              <p:custDataLst>
                <p:tags r:id="rId114"/>
              </p:custDataLst>
            </p:nvPr>
          </p:nvSpPr>
          <p:spPr bwMode="gray">
            <a:xfrm>
              <a:off x="4895851" y="4240214"/>
              <a:ext cx="10833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had</a:t>
              </a:r>
            </a:p>
          </p:txBody>
        </p:sp>
        <p:sp>
          <p:nvSpPr>
            <p:cNvPr id="335" name="Rectangle 298"/>
            <p:cNvSpPr>
              <a:spLocks noChangeArrowheads="1"/>
            </p:cNvSpPr>
            <p:nvPr>
              <p:custDataLst>
                <p:tags r:id="rId115"/>
              </p:custDataLst>
            </p:nvPr>
          </p:nvSpPr>
          <p:spPr bwMode="gray">
            <a:xfrm>
              <a:off x="4681538" y="4171951"/>
              <a:ext cx="11463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iger</a:t>
              </a:r>
            </a:p>
          </p:txBody>
        </p:sp>
        <p:sp>
          <p:nvSpPr>
            <p:cNvPr id="336" name="Rectangle 299"/>
            <p:cNvSpPr>
              <a:spLocks noChangeArrowheads="1"/>
            </p:cNvSpPr>
            <p:nvPr>
              <p:custDataLst>
                <p:tags r:id="rId116"/>
              </p:custDataLst>
            </p:nvPr>
          </p:nvSpPr>
          <p:spPr bwMode="gray">
            <a:xfrm>
              <a:off x="5153025" y="3925888"/>
              <a:ext cx="12218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gypt</a:t>
              </a:r>
            </a:p>
          </p:txBody>
        </p:sp>
        <p:sp>
          <p:nvSpPr>
            <p:cNvPr id="337" name="Rectangle 300"/>
            <p:cNvSpPr>
              <a:spLocks noChangeArrowheads="1"/>
            </p:cNvSpPr>
            <p:nvPr>
              <p:custDataLst>
                <p:tags r:id="rId117"/>
              </p:custDataLst>
            </p:nvPr>
          </p:nvSpPr>
          <p:spPr bwMode="gray">
            <a:xfrm>
              <a:off x="4851400" y="5048251"/>
              <a:ext cx="14738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ngola</a:t>
              </a:r>
            </a:p>
          </p:txBody>
        </p:sp>
        <p:sp>
          <p:nvSpPr>
            <p:cNvPr id="338" name="Rectangle 301"/>
            <p:cNvSpPr>
              <a:spLocks noChangeArrowheads="1"/>
            </p:cNvSpPr>
            <p:nvPr>
              <p:custDataLst>
                <p:tags r:id="rId118"/>
              </p:custDataLst>
            </p:nvPr>
          </p:nvSpPr>
          <p:spPr bwMode="gray">
            <a:xfrm>
              <a:off x="4921251" y="4779964"/>
              <a:ext cx="269875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Dem. Rep. Congo</a:t>
              </a:r>
            </a:p>
          </p:txBody>
        </p:sp>
        <p:sp>
          <p:nvSpPr>
            <p:cNvPr id="339" name="Rectangle 302"/>
            <p:cNvSpPr>
              <a:spLocks noChangeArrowheads="1"/>
            </p:cNvSpPr>
            <p:nvPr>
              <p:custDataLst>
                <p:tags r:id="rId119"/>
              </p:custDataLst>
            </p:nvPr>
          </p:nvSpPr>
          <p:spPr bwMode="gray">
            <a:xfrm>
              <a:off x="5338763" y="4418014"/>
              <a:ext cx="17257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thiopia</a:t>
              </a:r>
            </a:p>
          </p:txBody>
        </p:sp>
        <p:sp>
          <p:nvSpPr>
            <p:cNvPr id="340" name="Rectangle 303"/>
            <p:cNvSpPr>
              <a:spLocks noChangeArrowheads="1"/>
            </p:cNvSpPr>
            <p:nvPr>
              <p:custDataLst>
                <p:tags r:id="rId120"/>
              </p:custDataLst>
            </p:nvPr>
          </p:nvSpPr>
          <p:spPr bwMode="gray">
            <a:xfrm>
              <a:off x="4965700" y="5553076"/>
              <a:ext cx="200025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outh Africa</a:t>
              </a:r>
            </a:p>
          </p:txBody>
        </p:sp>
        <p:sp>
          <p:nvSpPr>
            <p:cNvPr id="341" name="Rectangle 304"/>
            <p:cNvSpPr>
              <a:spLocks noChangeArrowheads="1"/>
            </p:cNvSpPr>
            <p:nvPr>
              <p:custDataLst>
                <p:tags r:id="rId121"/>
              </p:custDataLst>
            </p:nvPr>
          </p:nvSpPr>
          <p:spPr bwMode="gray">
            <a:xfrm>
              <a:off x="4643438" y="4418014"/>
              <a:ext cx="15116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igeria</a:t>
              </a:r>
            </a:p>
          </p:txBody>
        </p:sp>
        <p:sp>
          <p:nvSpPr>
            <p:cNvPr id="342" name="Rectangle 305"/>
            <p:cNvSpPr>
              <a:spLocks noChangeArrowheads="1"/>
            </p:cNvSpPr>
            <p:nvPr>
              <p:custDataLst>
                <p:tags r:id="rId122"/>
              </p:custDataLst>
            </p:nvPr>
          </p:nvSpPr>
          <p:spPr bwMode="gray">
            <a:xfrm>
              <a:off x="4821238" y="5259389"/>
              <a:ext cx="1763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amibia</a:t>
              </a:r>
            </a:p>
          </p:txBody>
        </p:sp>
        <p:sp>
          <p:nvSpPr>
            <p:cNvPr id="343" name="Rectangle 306"/>
            <p:cNvSpPr>
              <a:spLocks noChangeArrowheads="1"/>
            </p:cNvSpPr>
            <p:nvPr>
              <p:custDataLst>
                <p:tags r:id="rId123"/>
              </p:custDataLst>
            </p:nvPr>
          </p:nvSpPr>
          <p:spPr bwMode="gray">
            <a:xfrm>
              <a:off x="4127500" y="4137027"/>
              <a:ext cx="2267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uritania</a:t>
              </a:r>
            </a:p>
          </p:txBody>
        </p:sp>
        <p:sp>
          <p:nvSpPr>
            <p:cNvPr id="344" name="Rectangle 307"/>
            <p:cNvSpPr>
              <a:spLocks noChangeArrowheads="1"/>
            </p:cNvSpPr>
            <p:nvPr>
              <p:custDataLst>
                <p:tags r:id="rId124"/>
              </p:custDataLst>
            </p:nvPr>
          </p:nvSpPr>
          <p:spPr bwMode="gray">
            <a:xfrm>
              <a:off x="5067300" y="5100639"/>
              <a:ext cx="15871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Zambia</a:t>
              </a:r>
            </a:p>
          </p:txBody>
        </p:sp>
        <p:sp>
          <p:nvSpPr>
            <p:cNvPr id="345" name="Rectangle 308"/>
            <p:cNvSpPr>
              <a:spLocks noChangeArrowheads="1"/>
            </p:cNvSpPr>
            <p:nvPr>
              <p:custDataLst>
                <p:tags r:id="rId125"/>
              </p:custDataLst>
            </p:nvPr>
          </p:nvSpPr>
          <p:spPr bwMode="gray">
            <a:xfrm>
              <a:off x="5245100" y="4876801"/>
              <a:ext cx="19021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anzania</a:t>
              </a:r>
            </a:p>
          </p:txBody>
        </p:sp>
        <p:sp>
          <p:nvSpPr>
            <p:cNvPr id="346" name="Rectangle 309"/>
            <p:cNvSpPr>
              <a:spLocks noChangeArrowheads="1"/>
            </p:cNvSpPr>
            <p:nvPr>
              <p:custDataLst>
                <p:tags r:id="rId126"/>
              </p:custDataLst>
            </p:nvPr>
          </p:nvSpPr>
          <p:spPr bwMode="gray">
            <a:xfrm>
              <a:off x="5349875" y="4657725"/>
              <a:ext cx="13100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Kenya</a:t>
              </a:r>
            </a:p>
          </p:txBody>
        </p:sp>
        <p:sp>
          <p:nvSpPr>
            <p:cNvPr id="347" name="Rectangle 310"/>
            <p:cNvSpPr>
              <a:spLocks noChangeArrowheads="1"/>
            </p:cNvSpPr>
            <p:nvPr>
              <p:custDataLst>
                <p:tags r:id="rId127"/>
              </p:custDataLst>
            </p:nvPr>
          </p:nvSpPr>
          <p:spPr bwMode="gray">
            <a:xfrm>
              <a:off x="5575300" y="4403726"/>
              <a:ext cx="16879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omalia</a:t>
              </a:r>
            </a:p>
          </p:txBody>
        </p:sp>
        <p:sp>
          <p:nvSpPr>
            <p:cNvPr id="348" name="Rectangle 311"/>
            <p:cNvSpPr>
              <a:spLocks noChangeArrowheads="1"/>
            </p:cNvSpPr>
            <p:nvPr>
              <p:custDataLst>
                <p:tags r:id="rId128"/>
              </p:custDataLst>
            </p:nvPr>
          </p:nvSpPr>
          <p:spPr bwMode="gray">
            <a:xfrm>
              <a:off x="5016500" y="5327650"/>
              <a:ext cx="20658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otswana</a:t>
              </a:r>
            </a:p>
          </p:txBody>
        </p:sp>
        <p:sp>
          <p:nvSpPr>
            <p:cNvPr id="349" name="Rectangle 312"/>
            <p:cNvSpPr>
              <a:spLocks noChangeArrowheads="1"/>
            </p:cNvSpPr>
            <p:nvPr>
              <p:custDataLst>
                <p:tags r:id="rId129"/>
              </p:custDataLst>
            </p:nvPr>
          </p:nvSpPr>
          <p:spPr bwMode="gray">
            <a:xfrm>
              <a:off x="5262563" y="5154614"/>
              <a:ext cx="29368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ozambique</a:t>
              </a:r>
            </a:p>
          </p:txBody>
        </p:sp>
        <p:sp>
          <p:nvSpPr>
            <p:cNvPr id="350" name="Rectangle 313"/>
            <p:cNvSpPr>
              <a:spLocks noChangeArrowheads="1"/>
            </p:cNvSpPr>
            <p:nvPr>
              <p:custDataLst>
                <p:tags r:id="rId130"/>
              </p:custDataLst>
            </p:nvPr>
          </p:nvSpPr>
          <p:spPr bwMode="gray">
            <a:xfrm>
              <a:off x="4251325" y="3711576"/>
              <a:ext cx="18265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orocco</a:t>
              </a:r>
            </a:p>
          </p:txBody>
        </p:sp>
        <p:sp>
          <p:nvSpPr>
            <p:cNvPr id="351" name="Rectangle 314"/>
            <p:cNvSpPr>
              <a:spLocks noChangeArrowheads="1"/>
            </p:cNvSpPr>
            <p:nvPr>
              <p:custDataLst>
                <p:tags r:id="rId131"/>
              </p:custDataLst>
            </p:nvPr>
          </p:nvSpPr>
          <p:spPr bwMode="gray">
            <a:xfrm>
              <a:off x="5705475" y="5233989"/>
              <a:ext cx="2544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dagascar</a:t>
              </a:r>
            </a:p>
          </p:txBody>
        </p:sp>
        <p:sp>
          <p:nvSpPr>
            <p:cNvPr id="352" name="Rectangle 315"/>
            <p:cNvSpPr>
              <a:spLocks noChangeArrowheads="1"/>
            </p:cNvSpPr>
            <p:nvPr>
              <p:custDataLst>
                <p:tags r:id="rId132"/>
              </p:custDataLst>
            </p:nvPr>
          </p:nvSpPr>
          <p:spPr bwMode="gray">
            <a:xfrm>
              <a:off x="4640263" y="4551364"/>
              <a:ext cx="2179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ameroon</a:t>
              </a:r>
            </a:p>
          </p:txBody>
        </p:sp>
        <p:sp>
          <p:nvSpPr>
            <p:cNvPr id="353" name="Rectangle 316"/>
            <p:cNvSpPr>
              <a:spLocks noChangeArrowheads="1"/>
            </p:cNvSpPr>
            <p:nvPr>
              <p:custDataLst>
                <p:tags r:id="rId133"/>
              </p:custDataLst>
            </p:nvPr>
          </p:nvSpPr>
          <p:spPr bwMode="gray">
            <a:xfrm>
              <a:off x="5078414" y="5235576"/>
              <a:ext cx="22044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Zimbabwe</a:t>
              </a:r>
            </a:p>
          </p:txBody>
        </p:sp>
        <p:sp>
          <p:nvSpPr>
            <p:cNvPr id="354" name="Rectangle 317"/>
            <p:cNvSpPr>
              <a:spLocks noChangeArrowheads="1"/>
            </p:cNvSpPr>
            <p:nvPr>
              <p:custDataLst>
                <p:tags r:id="rId134"/>
              </p:custDataLst>
            </p:nvPr>
          </p:nvSpPr>
          <p:spPr bwMode="gray">
            <a:xfrm>
              <a:off x="4397374" y="4421188"/>
              <a:ext cx="13730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hana</a:t>
              </a:r>
            </a:p>
          </p:txBody>
        </p:sp>
        <p:sp>
          <p:nvSpPr>
            <p:cNvPr id="355" name="Rectangle 318"/>
            <p:cNvSpPr>
              <a:spLocks noChangeArrowheads="1"/>
            </p:cNvSpPr>
            <p:nvPr>
              <p:custDataLst>
                <p:tags r:id="rId135"/>
              </p:custDataLst>
            </p:nvPr>
          </p:nvSpPr>
          <p:spPr bwMode="gray">
            <a:xfrm>
              <a:off x="4151313" y="4365626"/>
              <a:ext cx="1486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uinea</a:t>
              </a:r>
            </a:p>
          </p:txBody>
        </p:sp>
        <p:sp>
          <p:nvSpPr>
            <p:cNvPr id="356" name="Rectangle 319"/>
            <p:cNvSpPr>
              <a:spLocks noChangeArrowheads="1"/>
            </p:cNvSpPr>
            <p:nvPr>
              <p:custDataLst>
                <p:tags r:id="rId136"/>
              </p:custDataLst>
            </p:nvPr>
          </p:nvSpPr>
          <p:spPr bwMode="gray">
            <a:xfrm>
              <a:off x="4656138" y="3683001"/>
              <a:ext cx="1486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unisia</a:t>
              </a:r>
            </a:p>
          </p:txBody>
        </p:sp>
        <p:sp>
          <p:nvSpPr>
            <p:cNvPr id="357" name="Rectangle 320"/>
            <p:cNvSpPr>
              <a:spLocks noChangeArrowheads="1"/>
            </p:cNvSpPr>
            <p:nvPr>
              <p:custDataLst>
                <p:tags r:id="rId137"/>
              </p:custDataLst>
            </p:nvPr>
          </p:nvSpPr>
          <p:spPr bwMode="gray">
            <a:xfrm>
              <a:off x="5206999" y="4603751"/>
              <a:ext cx="16375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Uganda</a:t>
              </a:r>
            </a:p>
          </p:txBody>
        </p:sp>
        <p:sp>
          <p:nvSpPr>
            <p:cNvPr id="358" name="Rectangle 321"/>
            <p:cNvSpPr>
              <a:spLocks noChangeArrowheads="1"/>
            </p:cNvSpPr>
            <p:nvPr>
              <p:custDataLst>
                <p:tags r:id="rId138"/>
              </p:custDataLst>
            </p:nvPr>
          </p:nvSpPr>
          <p:spPr bwMode="gray">
            <a:xfrm>
              <a:off x="4133527" y="4499162"/>
              <a:ext cx="38121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ote d'Ivoire</a:t>
              </a:r>
            </a:p>
          </p:txBody>
        </p:sp>
        <p:sp>
          <p:nvSpPr>
            <p:cNvPr id="359" name="Rectangle 322"/>
            <p:cNvSpPr>
              <a:spLocks noChangeArrowheads="1"/>
            </p:cNvSpPr>
            <p:nvPr>
              <p:custDataLst>
                <p:tags r:id="rId139"/>
              </p:custDataLst>
            </p:nvPr>
          </p:nvSpPr>
          <p:spPr bwMode="gray">
            <a:xfrm>
              <a:off x="4084638" y="4240214"/>
              <a:ext cx="16753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enegal</a:t>
              </a:r>
            </a:p>
          </p:txBody>
        </p:sp>
        <p:sp>
          <p:nvSpPr>
            <p:cNvPr id="360" name="Rectangle 323"/>
            <p:cNvSpPr>
              <a:spLocks noChangeArrowheads="1"/>
            </p:cNvSpPr>
            <p:nvPr>
              <p:custDataLst>
                <p:tags r:id="rId140"/>
              </p:custDataLst>
            </p:nvPr>
          </p:nvSpPr>
          <p:spPr bwMode="gray">
            <a:xfrm>
              <a:off x="4319588" y="4306889"/>
              <a:ext cx="2670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urkina Faso</a:t>
              </a:r>
            </a:p>
          </p:txBody>
        </p:sp>
        <p:sp>
          <p:nvSpPr>
            <p:cNvPr id="361" name="Rectangle 324"/>
            <p:cNvSpPr>
              <a:spLocks noChangeArrowheads="1"/>
            </p:cNvSpPr>
            <p:nvPr>
              <p:custDataLst>
                <p:tags r:id="rId141"/>
              </p:custDataLst>
            </p:nvPr>
          </p:nvSpPr>
          <p:spPr bwMode="gray">
            <a:xfrm>
              <a:off x="3903663" y="3959226"/>
              <a:ext cx="33129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Western Sahara</a:t>
              </a:r>
            </a:p>
          </p:txBody>
        </p:sp>
        <p:sp>
          <p:nvSpPr>
            <p:cNvPr id="362" name="Rectangle 325"/>
            <p:cNvSpPr>
              <a:spLocks noChangeArrowheads="1"/>
            </p:cNvSpPr>
            <p:nvPr>
              <p:custDataLst>
                <p:tags r:id="rId142"/>
              </p:custDataLst>
            </p:nvPr>
          </p:nvSpPr>
          <p:spPr bwMode="gray">
            <a:xfrm>
              <a:off x="5343524" y="4210050"/>
              <a:ext cx="1398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ritrea</a:t>
              </a:r>
            </a:p>
          </p:txBody>
        </p:sp>
        <p:sp>
          <p:nvSpPr>
            <p:cNvPr id="363" name="Rectangle 326"/>
            <p:cNvSpPr>
              <a:spLocks noChangeArrowheads="1"/>
            </p:cNvSpPr>
            <p:nvPr>
              <p:custDataLst>
                <p:tags r:id="rId143"/>
              </p:custDataLst>
            </p:nvPr>
          </p:nvSpPr>
          <p:spPr bwMode="gray">
            <a:xfrm>
              <a:off x="5284788" y="5024439"/>
              <a:ext cx="14990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lawi</a:t>
              </a:r>
            </a:p>
          </p:txBody>
        </p:sp>
        <p:sp>
          <p:nvSpPr>
            <p:cNvPr id="364" name="Rectangle 327"/>
            <p:cNvSpPr>
              <a:spLocks noChangeArrowheads="1"/>
            </p:cNvSpPr>
            <p:nvPr>
              <p:custDataLst>
                <p:tags r:id="rId144"/>
              </p:custDataLst>
            </p:nvPr>
          </p:nvSpPr>
          <p:spPr bwMode="gray">
            <a:xfrm>
              <a:off x="5299075" y="5476875"/>
              <a:ext cx="2116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waziland</a:t>
              </a:r>
            </a:p>
          </p:txBody>
        </p:sp>
        <p:sp>
          <p:nvSpPr>
            <p:cNvPr id="365" name="Rectangle 328"/>
            <p:cNvSpPr>
              <a:spLocks noChangeArrowheads="1"/>
            </p:cNvSpPr>
            <p:nvPr>
              <p:custDataLst>
                <p:tags r:id="rId145"/>
              </p:custDataLst>
            </p:nvPr>
          </p:nvSpPr>
          <p:spPr bwMode="gray">
            <a:xfrm>
              <a:off x="5222874" y="5562601"/>
              <a:ext cx="21280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esotho</a:t>
              </a:r>
            </a:p>
          </p:txBody>
        </p:sp>
        <p:sp>
          <p:nvSpPr>
            <p:cNvPr id="366" name="Rectangle 329"/>
            <p:cNvSpPr>
              <a:spLocks noChangeArrowheads="1"/>
            </p:cNvSpPr>
            <p:nvPr>
              <p:custDataLst>
                <p:tags r:id="rId146"/>
              </p:custDataLst>
            </p:nvPr>
          </p:nvSpPr>
          <p:spPr bwMode="gray">
            <a:xfrm>
              <a:off x="4849813" y="4497390"/>
              <a:ext cx="32385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en. Afr. Rep.</a:t>
              </a:r>
            </a:p>
          </p:txBody>
        </p:sp>
        <p:sp>
          <p:nvSpPr>
            <p:cNvPr id="367" name="Rectangle 330"/>
            <p:cNvSpPr>
              <a:spLocks noChangeArrowheads="1"/>
            </p:cNvSpPr>
            <p:nvPr>
              <p:custDataLst>
                <p:tags r:id="rId147"/>
              </p:custDataLst>
            </p:nvPr>
          </p:nvSpPr>
          <p:spPr bwMode="gray">
            <a:xfrm>
              <a:off x="3808918" y="4443414"/>
              <a:ext cx="43923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ierra Leone</a:t>
              </a:r>
            </a:p>
          </p:txBody>
        </p:sp>
        <p:sp>
          <p:nvSpPr>
            <p:cNvPr id="368" name="Rectangle 331"/>
            <p:cNvSpPr>
              <a:spLocks noChangeArrowheads="1"/>
            </p:cNvSpPr>
            <p:nvPr>
              <p:custDataLst>
                <p:tags r:id="rId148"/>
              </p:custDataLst>
            </p:nvPr>
          </p:nvSpPr>
          <p:spPr bwMode="gray">
            <a:xfrm>
              <a:off x="3733359" y="4361647"/>
              <a:ext cx="29854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uinea-Bissau</a:t>
              </a:r>
            </a:p>
          </p:txBody>
        </p:sp>
        <p:sp>
          <p:nvSpPr>
            <p:cNvPr id="369" name="Rectangle 332"/>
            <p:cNvSpPr>
              <a:spLocks noChangeArrowheads="1"/>
            </p:cNvSpPr>
            <p:nvPr>
              <p:custDataLst>
                <p:tags r:id="rId149"/>
              </p:custDataLst>
            </p:nvPr>
          </p:nvSpPr>
          <p:spPr bwMode="gray">
            <a:xfrm>
              <a:off x="3825876" y="4289426"/>
              <a:ext cx="25319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he Gambia</a:t>
              </a:r>
            </a:p>
          </p:txBody>
        </p:sp>
        <p:sp>
          <p:nvSpPr>
            <p:cNvPr id="370" name="Rectangle 333"/>
            <p:cNvSpPr>
              <a:spLocks noChangeArrowheads="1"/>
            </p:cNvSpPr>
            <p:nvPr>
              <p:custDataLst>
                <p:tags r:id="rId150"/>
              </p:custDataLst>
            </p:nvPr>
          </p:nvSpPr>
          <p:spPr bwMode="gray">
            <a:xfrm>
              <a:off x="4445000" y="4637089"/>
              <a:ext cx="32702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quat. Guinea</a:t>
              </a:r>
            </a:p>
          </p:txBody>
        </p:sp>
        <p:sp>
          <p:nvSpPr>
            <p:cNvPr id="371" name="Rectangle 334"/>
            <p:cNvSpPr>
              <a:spLocks noChangeArrowheads="1"/>
            </p:cNvSpPr>
            <p:nvPr>
              <p:custDataLst>
                <p:tags r:id="rId151"/>
              </p:custDataLst>
            </p:nvPr>
          </p:nvSpPr>
          <p:spPr bwMode="gray">
            <a:xfrm>
              <a:off x="5240338" y="4781550"/>
              <a:ext cx="16375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urundi</a:t>
              </a:r>
            </a:p>
          </p:txBody>
        </p:sp>
        <p:sp>
          <p:nvSpPr>
            <p:cNvPr id="372" name="Rectangle 335"/>
            <p:cNvSpPr>
              <a:spLocks noChangeArrowheads="1"/>
            </p:cNvSpPr>
            <p:nvPr>
              <p:custDataLst>
                <p:tags r:id="rId152"/>
              </p:custDataLst>
            </p:nvPr>
          </p:nvSpPr>
          <p:spPr bwMode="gray">
            <a:xfrm>
              <a:off x="5365750" y="4338639"/>
              <a:ext cx="16627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Djibouti</a:t>
              </a:r>
            </a:p>
          </p:txBody>
        </p:sp>
        <p:sp>
          <p:nvSpPr>
            <p:cNvPr id="373" name="Rectangle 339"/>
            <p:cNvSpPr>
              <a:spLocks noChangeArrowheads="1"/>
            </p:cNvSpPr>
            <p:nvPr>
              <p:custDataLst>
                <p:tags r:id="rId153"/>
              </p:custDataLst>
            </p:nvPr>
          </p:nvSpPr>
          <p:spPr bwMode="gray">
            <a:xfrm>
              <a:off x="5522913" y="4914901"/>
              <a:ext cx="18769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omoros</a:t>
              </a:r>
            </a:p>
          </p:txBody>
        </p:sp>
        <p:sp>
          <p:nvSpPr>
            <p:cNvPr id="374" name="Rectangle 341"/>
            <p:cNvSpPr>
              <a:spLocks noChangeArrowheads="1"/>
            </p:cNvSpPr>
            <p:nvPr>
              <p:custDataLst>
                <p:tags r:id="rId154"/>
              </p:custDataLst>
            </p:nvPr>
          </p:nvSpPr>
          <p:spPr bwMode="gray">
            <a:xfrm>
              <a:off x="2962275" y="6237290"/>
              <a:ext cx="23177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Falkland Is.</a:t>
              </a:r>
            </a:p>
          </p:txBody>
        </p:sp>
        <p:sp>
          <p:nvSpPr>
            <p:cNvPr id="375" name="Rectangle 342"/>
            <p:cNvSpPr>
              <a:spLocks noChangeArrowheads="1"/>
            </p:cNvSpPr>
            <p:nvPr>
              <p:custDataLst>
                <p:tags r:id="rId155"/>
              </p:custDataLst>
            </p:nvPr>
          </p:nvSpPr>
          <p:spPr bwMode="gray">
            <a:xfrm>
              <a:off x="3124199" y="4514851"/>
              <a:ext cx="20028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uriname</a:t>
              </a:r>
            </a:p>
          </p:txBody>
        </p:sp>
        <p:sp>
          <p:nvSpPr>
            <p:cNvPr id="376" name="Rectangle 343"/>
            <p:cNvSpPr>
              <a:spLocks noChangeArrowheads="1"/>
            </p:cNvSpPr>
            <p:nvPr>
              <p:custDataLst>
                <p:tags r:id="rId156"/>
              </p:custDataLst>
            </p:nvPr>
          </p:nvSpPr>
          <p:spPr bwMode="gray">
            <a:xfrm>
              <a:off x="3255963" y="5000626"/>
              <a:ext cx="1171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razil</a:t>
              </a:r>
            </a:p>
          </p:txBody>
        </p:sp>
        <p:sp>
          <p:nvSpPr>
            <p:cNvPr id="377" name="Rectangle 344"/>
            <p:cNvSpPr>
              <a:spLocks noChangeArrowheads="1"/>
            </p:cNvSpPr>
            <p:nvPr>
              <p:custDataLst>
                <p:tags r:id="rId157"/>
              </p:custDataLst>
            </p:nvPr>
          </p:nvSpPr>
          <p:spPr bwMode="gray">
            <a:xfrm>
              <a:off x="2847974" y="5768976"/>
              <a:ext cx="20658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rgentina</a:t>
              </a:r>
            </a:p>
          </p:txBody>
        </p:sp>
        <p:sp>
          <p:nvSpPr>
            <p:cNvPr id="378" name="Rectangle 345"/>
            <p:cNvSpPr>
              <a:spLocks noChangeArrowheads="1"/>
            </p:cNvSpPr>
            <p:nvPr>
              <p:custDataLst>
                <p:tags r:id="rId158"/>
              </p:custDataLst>
            </p:nvPr>
          </p:nvSpPr>
          <p:spPr bwMode="gray">
            <a:xfrm>
              <a:off x="2606675" y="4876801"/>
              <a:ext cx="9699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eru</a:t>
              </a:r>
            </a:p>
          </p:txBody>
        </p:sp>
        <p:sp>
          <p:nvSpPr>
            <p:cNvPr id="379" name="Rectangle 346"/>
            <p:cNvSpPr>
              <a:spLocks noChangeArrowheads="1"/>
            </p:cNvSpPr>
            <p:nvPr>
              <p:custDataLst>
                <p:tags r:id="rId159"/>
              </p:custDataLst>
            </p:nvPr>
          </p:nvSpPr>
          <p:spPr bwMode="gray">
            <a:xfrm>
              <a:off x="2708275" y="5689601"/>
              <a:ext cx="1045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hile</a:t>
              </a:r>
            </a:p>
          </p:txBody>
        </p:sp>
        <p:sp>
          <p:nvSpPr>
            <p:cNvPr id="380" name="Rectangle 347"/>
            <p:cNvSpPr>
              <a:spLocks noChangeArrowheads="1"/>
            </p:cNvSpPr>
            <p:nvPr>
              <p:custDataLst>
                <p:tags r:id="rId160"/>
              </p:custDataLst>
            </p:nvPr>
          </p:nvSpPr>
          <p:spPr bwMode="gray">
            <a:xfrm>
              <a:off x="2873376" y="5173664"/>
              <a:ext cx="1385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olivia</a:t>
              </a:r>
            </a:p>
          </p:txBody>
        </p:sp>
        <p:sp>
          <p:nvSpPr>
            <p:cNvPr id="381" name="Rectangle 348"/>
            <p:cNvSpPr>
              <a:spLocks noChangeArrowheads="1"/>
            </p:cNvSpPr>
            <p:nvPr>
              <p:custDataLst>
                <p:tags r:id="rId161"/>
              </p:custDataLst>
            </p:nvPr>
          </p:nvSpPr>
          <p:spPr bwMode="gray">
            <a:xfrm>
              <a:off x="2647950" y="4572001"/>
              <a:ext cx="19902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olombia</a:t>
              </a:r>
            </a:p>
          </p:txBody>
        </p:sp>
        <p:sp>
          <p:nvSpPr>
            <p:cNvPr id="382" name="Rectangle 349"/>
            <p:cNvSpPr>
              <a:spLocks noChangeArrowheads="1"/>
            </p:cNvSpPr>
            <p:nvPr>
              <p:custDataLst>
                <p:tags r:id="rId162"/>
              </p:custDataLst>
            </p:nvPr>
          </p:nvSpPr>
          <p:spPr bwMode="gray">
            <a:xfrm>
              <a:off x="2778125" y="4435476"/>
              <a:ext cx="2179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Venezuela</a:t>
              </a:r>
            </a:p>
          </p:txBody>
        </p:sp>
        <p:sp>
          <p:nvSpPr>
            <p:cNvPr id="383" name="Rectangle 350"/>
            <p:cNvSpPr>
              <a:spLocks noChangeArrowheads="1"/>
            </p:cNvSpPr>
            <p:nvPr>
              <p:custDataLst>
                <p:tags r:id="rId163"/>
              </p:custDataLst>
            </p:nvPr>
          </p:nvSpPr>
          <p:spPr bwMode="gray">
            <a:xfrm>
              <a:off x="2982913" y="5349876"/>
              <a:ext cx="19776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araguay</a:t>
              </a:r>
            </a:p>
          </p:txBody>
        </p:sp>
        <p:sp>
          <p:nvSpPr>
            <p:cNvPr id="384" name="Rectangle 351"/>
            <p:cNvSpPr>
              <a:spLocks noChangeArrowheads="1"/>
            </p:cNvSpPr>
            <p:nvPr>
              <p:custDataLst>
                <p:tags r:id="rId164"/>
              </p:custDataLst>
            </p:nvPr>
          </p:nvSpPr>
          <p:spPr bwMode="gray">
            <a:xfrm>
              <a:off x="3087687" y="5672139"/>
              <a:ext cx="17887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Uruguay</a:t>
              </a:r>
            </a:p>
          </p:txBody>
        </p:sp>
        <p:sp>
          <p:nvSpPr>
            <p:cNvPr id="385" name="Rectangle 352"/>
            <p:cNvSpPr>
              <a:spLocks noChangeArrowheads="1"/>
            </p:cNvSpPr>
            <p:nvPr>
              <p:custDataLst>
                <p:tags r:id="rId165"/>
              </p:custDataLst>
            </p:nvPr>
          </p:nvSpPr>
          <p:spPr bwMode="gray">
            <a:xfrm>
              <a:off x="2482850" y="4713289"/>
              <a:ext cx="17131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cuador</a:t>
              </a:r>
            </a:p>
          </p:txBody>
        </p:sp>
        <p:sp>
          <p:nvSpPr>
            <p:cNvPr id="386" name="Rectangle 353"/>
            <p:cNvSpPr>
              <a:spLocks noChangeArrowheads="1"/>
            </p:cNvSpPr>
            <p:nvPr>
              <p:custDataLst>
                <p:tags r:id="rId166"/>
              </p:custDataLst>
            </p:nvPr>
          </p:nvSpPr>
          <p:spPr bwMode="gray">
            <a:xfrm>
              <a:off x="3049588" y="4443414"/>
              <a:ext cx="16123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uyana</a:t>
              </a:r>
            </a:p>
          </p:txBody>
        </p:sp>
        <p:sp>
          <p:nvSpPr>
            <p:cNvPr id="387" name="Rectangle 354"/>
            <p:cNvSpPr>
              <a:spLocks noChangeArrowheads="1"/>
            </p:cNvSpPr>
            <p:nvPr>
              <p:custDataLst>
                <p:tags r:id="rId167"/>
              </p:custDataLst>
            </p:nvPr>
          </p:nvSpPr>
          <p:spPr bwMode="gray">
            <a:xfrm>
              <a:off x="3214688" y="4557714"/>
              <a:ext cx="30106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French Guiana</a:t>
              </a:r>
            </a:p>
          </p:txBody>
        </p:sp>
        <p:sp>
          <p:nvSpPr>
            <p:cNvPr id="388" name="Rectangle 355"/>
            <p:cNvSpPr>
              <a:spLocks noChangeArrowheads="1"/>
            </p:cNvSpPr>
            <p:nvPr>
              <p:custDataLst>
                <p:tags r:id="rId168"/>
              </p:custDataLst>
            </p:nvPr>
          </p:nvSpPr>
          <p:spPr bwMode="gray">
            <a:xfrm>
              <a:off x="2933700" y="4314826"/>
              <a:ext cx="38419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rinidad &amp; Tobago</a:t>
              </a:r>
            </a:p>
          </p:txBody>
        </p:sp>
        <p:sp>
          <p:nvSpPr>
            <p:cNvPr id="389" name="Rectangle 356"/>
            <p:cNvSpPr>
              <a:spLocks noChangeArrowheads="1"/>
            </p:cNvSpPr>
            <p:nvPr>
              <p:custDataLst>
                <p:tags r:id="rId169"/>
              </p:custDataLst>
            </p:nvPr>
          </p:nvSpPr>
          <p:spPr bwMode="gray">
            <a:xfrm>
              <a:off x="274638" y="4848226"/>
              <a:ext cx="14612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amoa</a:t>
              </a:r>
            </a:p>
          </p:txBody>
        </p:sp>
        <p:sp>
          <p:nvSpPr>
            <p:cNvPr id="390" name="Rectangle 357"/>
            <p:cNvSpPr>
              <a:spLocks noChangeArrowheads="1"/>
            </p:cNvSpPr>
            <p:nvPr>
              <p:custDataLst>
                <p:tags r:id="rId170"/>
              </p:custDataLst>
            </p:nvPr>
          </p:nvSpPr>
          <p:spPr bwMode="gray">
            <a:xfrm>
              <a:off x="768350" y="4926014"/>
              <a:ext cx="35144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French Polynesia</a:t>
              </a:r>
            </a:p>
          </p:txBody>
        </p:sp>
        <p:sp>
          <p:nvSpPr>
            <p:cNvPr id="391" name="Rectangle 358"/>
            <p:cNvSpPr>
              <a:spLocks noChangeArrowheads="1"/>
            </p:cNvSpPr>
            <p:nvPr>
              <p:custDataLst>
                <p:tags r:id="rId171"/>
              </p:custDataLst>
            </p:nvPr>
          </p:nvSpPr>
          <p:spPr bwMode="gray">
            <a:xfrm>
              <a:off x="623888" y="5126039"/>
              <a:ext cx="16375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ook Is.</a:t>
              </a:r>
            </a:p>
          </p:txBody>
        </p:sp>
        <p:sp>
          <p:nvSpPr>
            <p:cNvPr id="392" name="Rectangle 374"/>
            <p:cNvSpPr>
              <a:spLocks noChangeArrowheads="1"/>
            </p:cNvSpPr>
            <p:nvPr>
              <p:custDataLst>
                <p:tags r:id="rId172"/>
              </p:custDataLst>
            </p:nvPr>
          </p:nvSpPr>
          <p:spPr bwMode="gray">
            <a:xfrm>
              <a:off x="1968500" y="4699001"/>
              <a:ext cx="27712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alapagos Is.</a:t>
              </a:r>
            </a:p>
          </p:txBody>
        </p:sp>
        <p:sp>
          <p:nvSpPr>
            <p:cNvPr id="393" name="Rectangle 377"/>
            <p:cNvSpPr>
              <a:spLocks noChangeArrowheads="1"/>
            </p:cNvSpPr>
            <p:nvPr>
              <p:custDataLst>
                <p:tags r:id="rId173"/>
              </p:custDataLst>
            </p:nvPr>
          </p:nvSpPr>
          <p:spPr bwMode="gray">
            <a:xfrm>
              <a:off x="2425701" y="4217988"/>
              <a:ext cx="20154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Honduras</a:t>
              </a:r>
            </a:p>
          </p:txBody>
        </p:sp>
        <p:sp>
          <p:nvSpPr>
            <p:cNvPr id="394" name="Rectangle 384"/>
            <p:cNvSpPr>
              <a:spLocks noChangeArrowheads="1"/>
            </p:cNvSpPr>
            <p:nvPr>
              <p:custDataLst>
                <p:tags r:id="rId174"/>
              </p:custDataLst>
            </p:nvPr>
          </p:nvSpPr>
          <p:spPr bwMode="gray">
            <a:xfrm>
              <a:off x="2474913" y="4310063"/>
              <a:ext cx="21414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icaragua</a:t>
              </a:r>
            </a:p>
          </p:txBody>
        </p:sp>
        <p:sp>
          <p:nvSpPr>
            <p:cNvPr id="395" name="Rectangle 385"/>
            <p:cNvSpPr>
              <a:spLocks noChangeArrowheads="1"/>
            </p:cNvSpPr>
            <p:nvPr>
              <p:custDataLst>
                <p:tags r:id="rId175"/>
              </p:custDataLst>
            </p:nvPr>
          </p:nvSpPr>
          <p:spPr bwMode="gray">
            <a:xfrm>
              <a:off x="2747963" y="3925888"/>
              <a:ext cx="28342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he Bahamas</a:t>
              </a:r>
            </a:p>
          </p:txBody>
        </p:sp>
        <p:sp>
          <p:nvSpPr>
            <p:cNvPr id="396" name="Rectangle 386"/>
            <p:cNvSpPr>
              <a:spLocks noChangeArrowheads="1"/>
            </p:cNvSpPr>
            <p:nvPr>
              <p:custDataLst>
                <p:tags r:id="rId176"/>
              </p:custDataLst>
            </p:nvPr>
          </p:nvSpPr>
          <p:spPr bwMode="gray">
            <a:xfrm>
              <a:off x="777876" y="3994151"/>
              <a:ext cx="14234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Hawaii</a:t>
              </a:r>
            </a:p>
          </p:txBody>
        </p:sp>
        <p:sp>
          <p:nvSpPr>
            <p:cNvPr id="397" name="Rectangle 387"/>
            <p:cNvSpPr>
              <a:spLocks noChangeArrowheads="1"/>
            </p:cNvSpPr>
            <p:nvPr>
              <p:custDataLst>
                <p:tags r:id="rId177"/>
              </p:custDataLst>
            </p:nvPr>
          </p:nvSpPr>
          <p:spPr bwMode="gray">
            <a:xfrm>
              <a:off x="2873376" y="3663952"/>
              <a:ext cx="19146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ermuda</a:t>
              </a:r>
            </a:p>
          </p:txBody>
        </p:sp>
        <p:sp>
          <p:nvSpPr>
            <p:cNvPr id="398" name="Rectangle 388"/>
            <p:cNvSpPr>
              <a:spLocks noChangeArrowheads="1"/>
            </p:cNvSpPr>
            <p:nvPr>
              <p:custDataLst>
                <p:tags r:id="rId178"/>
              </p:custDataLst>
            </p:nvPr>
          </p:nvSpPr>
          <p:spPr bwMode="gray">
            <a:xfrm>
              <a:off x="166688" y="3811588"/>
              <a:ext cx="22044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idway Is.</a:t>
              </a:r>
            </a:p>
          </p:txBody>
        </p:sp>
        <p:sp>
          <p:nvSpPr>
            <p:cNvPr id="399" name="Rectangle 389"/>
            <p:cNvSpPr>
              <a:spLocks noChangeArrowheads="1"/>
            </p:cNvSpPr>
            <p:nvPr>
              <p:custDataLst>
                <p:tags r:id="rId179"/>
              </p:custDataLst>
            </p:nvPr>
          </p:nvSpPr>
          <p:spPr bwMode="gray">
            <a:xfrm>
              <a:off x="1703388" y="2779713"/>
              <a:ext cx="15871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anada</a:t>
              </a:r>
            </a:p>
          </p:txBody>
        </p:sp>
        <p:sp>
          <p:nvSpPr>
            <p:cNvPr id="400" name="Rectangle 390"/>
            <p:cNvSpPr>
              <a:spLocks noChangeArrowheads="1"/>
            </p:cNvSpPr>
            <p:nvPr>
              <p:custDataLst>
                <p:tags r:id="rId180"/>
              </p:custDataLst>
            </p:nvPr>
          </p:nvSpPr>
          <p:spPr bwMode="gray">
            <a:xfrm>
              <a:off x="1951038" y="3509963"/>
              <a:ext cx="28468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United States</a:t>
              </a:r>
            </a:p>
          </p:txBody>
        </p:sp>
        <p:sp>
          <p:nvSpPr>
            <p:cNvPr id="401" name="Rectangle 391"/>
            <p:cNvSpPr>
              <a:spLocks noChangeArrowheads="1"/>
            </p:cNvSpPr>
            <p:nvPr>
              <p:custDataLst>
                <p:tags r:id="rId181"/>
              </p:custDataLst>
            </p:nvPr>
          </p:nvSpPr>
          <p:spPr bwMode="gray">
            <a:xfrm>
              <a:off x="1952626" y="3943351"/>
              <a:ext cx="14990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exico</a:t>
              </a:r>
            </a:p>
          </p:txBody>
        </p:sp>
        <p:sp>
          <p:nvSpPr>
            <p:cNvPr id="402" name="Rectangle 392"/>
            <p:cNvSpPr>
              <a:spLocks noChangeArrowheads="1"/>
            </p:cNvSpPr>
            <p:nvPr>
              <p:custDataLst>
                <p:tags r:id="rId182"/>
              </p:custDataLst>
            </p:nvPr>
          </p:nvSpPr>
          <p:spPr bwMode="gray">
            <a:xfrm>
              <a:off x="2562226" y="4029076"/>
              <a:ext cx="10833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uba</a:t>
              </a:r>
            </a:p>
          </p:txBody>
        </p:sp>
        <p:sp>
          <p:nvSpPr>
            <p:cNvPr id="403" name="Rectangle 393"/>
            <p:cNvSpPr>
              <a:spLocks noChangeArrowheads="1"/>
            </p:cNvSpPr>
            <p:nvPr>
              <p:custDataLst>
                <p:tags r:id="rId183"/>
              </p:custDataLst>
            </p:nvPr>
          </p:nvSpPr>
          <p:spPr bwMode="gray">
            <a:xfrm>
              <a:off x="2454276" y="4494214"/>
              <a:ext cx="17257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anama</a:t>
              </a:r>
            </a:p>
          </p:txBody>
        </p:sp>
        <p:sp>
          <p:nvSpPr>
            <p:cNvPr id="404" name="Rectangle 394"/>
            <p:cNvSpPr>
              <a:spLocks noChangeArrowheads="1"/>
            </p:cNvSpPr>
            <p:nvPr>
              <p:custDataLst>
                <p:tags r:id="rId184"/>
              </p:custDataLst>
            </p:nvPr>
          </p:nvSpPr>
          <p:spPr bwMode="gray">
            <a:xfrm>
              <a:off x="2681288" y="4141788"/>
              <a:ext cx="9951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Haiti</a:t>
              </a:r>
            </a:p>
          </p:txBody>
        </p:sp>
        <p:sp>
          <p:nvSpPr>
            <p:cNvPr id="405" name="Rectangle 395"/>
            <p:cNvSpPr>
              <a:spLocks noChangeArrowheads="1"/>
            </p:cNvSpPr>
            <p:nvPr>
              <p:custDataLst>
                <p:tags r:id="rId185"/>
              </p:custDataLst>
            </p:nvPr>
          </p:nvSpPr>
          <p:spPr bwMode="gray">
            <a:xfrm>
              <a:off x="2951163" y="4151314"/>
              <a:ext cx="24185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uerto Rico</a:t>
              </a:r>
            </a:p>
          </p:txBody>
        </p:sp>
        <p:sp>
          <p:nvSpPr>
            <p:cNvPr id="406" name="Rectangle 396"/>
            <p:cNvSpPr>
              <a:spLocks noChangeArrowheads="1"/>
            </p:cNvSpPr>
            <p:nvPr>
              <p:custDataLst>
                <p:tags r:id="rId186"/>
              </p:custDataLst>
            </p:nvPr>
          </p:nvSpPr>
          <p:spPr bwMode="gray">
            <a:xfrm>
              <a:off x="2811462" y="4089400"/>
              <a:ext cx="33129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Dominican Rep.</a:t>
              </a:r>
            </a:p>
          </p:txBody>
        </p:sp>
        <p:sp>
          <p:nvSpPr>
            <p:cNvPr id="407" name="Rectangle 397"/>
            <p:cNvSpPr>
              <a:spLocks noChangeArrowheads="1"/>
            </p:cNvSpPr>
            <p:nvPr>
              <p:custDataLst>
                <p:tags r:id="rId187"/>
              </p:custDataLst>
            </p:nvPr>
          </p:nvSpPr>
          <p:spPr bwMode="gray">
            <a:xfrm>
              <a:off x="2098676" y="4232276"/>
              <a:ext cx="23177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uatemala</a:t>
              </a:r>
            </a:p>
          </p:txBody>
        </p:sp>
        <p:sp>
          <p:nvSpPr>
            <p:cNvPr id="408" name="Rectangle 398"/>
            <p:cNvSpPr>
              <a:spLocks noChangeArrowheads="1"/>
            </p:cNvSpPr>
            <p:nvPr>
              <p:custDataLst>
                <p:tags r:id="rId188"/>
              </p:custDataLst>
            </p:nvPr>
          </p:nvSpPr>
          <p:spPr bwMode="gray">
            <a:xfrm>
              <a:off x="2389187" y="4160838"/>
              <a:ext cx="12596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elize</a:t>
              </a:r>
            </a:p>
          </p:txBody>
        </p:sp>
        <p:sp>
          <p:nvSpPr>
            <p:cNvPr id="409" name="Rectangle 399"/>
            <p:cNvSpPr>
              <a:spLocks noChangeArrowheads="1"/>
            </p:cNvSpPr>
            <p:nvPr>
              <p:custDataLst>
                <p:tags r:id="rId189"/>
              </p:custDataLst>
            </p:nvPr>
          </p:nvSpPr>
          <p:spPr bwMode="gray">
            <a:xfrm>
              <a:off x="2128838" y="4313238"/>
              <a:ext cx="23051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l Salvador</a:t>
              </a:r>
            </a:p>
          </p:txBody>
        </p:sp>
        <p:sp>
          <p:nvSpPr>
            <p:cNvPr id="410" name="Rectangle 400"/>
            <p:cNvSpPr>
              <a:spLocks noChangeArrowheads="1"/>
            </p:cNvSpPr>
            <p:nvPr>
              <p:custDataLst>
                <p:tags r:id="rId190"/>
              </p:custDataLst>
            </p:nvPr>
          </p:nvSpPr>
          <p:spPr bwMode="gray">
            <a:xfrm>
              <a:off x="2241551" y="4408488"/>
              <a:ext cx="21918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osta Rica</a:t>
              </a:r>
            </a:p>
          </p:txBody>
        </p:sp>
        <p:sp>
          <p:nvSpPr>
            <p:cNvPr id="411" name="Rectangle 403"/>
            <p:cNvSpPr>
              <a:spLocks noChangeArrowheads="1"/>
            </p:cNvSpPr>
            <p:nvPr>
              <p:custDataLst>
                <p:tags r:id="rId191"/>
              </p:custDataLst>
            </p:nvPr>
          </p:nvSpPr>
          <p:spPr bwMode="gray">
            <a:xfrm>
              <a:off x="3422651" y="2049463"/>
              <a:ext cx="2166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reenland</a:t>
              </a:r>
            </a:p>
          </p:txBody>
        </p:sp>
        <p:sp>
          <p:nvSpPr>
            <p:cNvPr id="412" name="Rectangle 294"/>
            <p:cNvSpPr>
              <a:spLocks noChangeArrowheads="1"/>
            </p:cNvSpPr>
            <p:nvPr>
              <p:custDataLst>
                <p:tags r:id="rId192"/>
              </p:custDataLst>
            </p:nvPr>
          </p:nvSpPr>
          <p:spPr bwMode="gray">
            <a:xfrm>
              <a:off x="5126990" y="4451669"/>
              <a:ext cx="224155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500" dirty="0">
                  <a:solidFill>
                    <a:schemeClr val="accent1"/>
                  </a:solidFill>
                </a:rPr>
                <a:t>South Sudan</a:t>
              </a:r>
            </a:p>
          </p:txBody>
        </p:sp>
      </p:grp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1294759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72"/>
          <p:cNvGrpSpPr>
            <a:grpSpLocks noChangeAspect="1"/>
          </p:cNvGrpSpPr>
          <p:nvPr/>
        </p:nvGrpSpPr>
        <p:grpSpPr bwMode="auto">
          <a:xfrm rot="20878233">
            <a:off x="7627354" y="2101002"/>
            <a:ext cx="3678333" cy="3787477"/>
            <a:chOff x="2987" y="657"/>
            <a:chExt cx="1247" cy="1284"/>
          </a:xfrm>
          <a:solidFill>
            <a:schemeClr val="accent3"/>
          </a:solidFill>
        </p:grpSpPr>
        <p:sp>
          <p:nvSpPr>
            <p:cNvPr id="9" name="Sweden"/>
            <p:cNvSpPr>
              <a:spLocks noEditPoints="1"/>
            </p:cNvSpPr>
            <p:nvPr/>
          </p:nvSpPr>
          <p:spPr bwMode="auto">
            <a:xfrm>
              <a:off x="3277" y="834"/>
              <a:ext cx="612" cy="1054"/>
            </a:xfrm>
            <a:custGeom>
              <a:avLst/>
              <a:gdLst>
                <a:gd name="T0" fmla="*/ 1078 w 1175"/>
                <a:gd name="T1" fmla="*/ 523 h 2023"/>
                <a:gd name="T2" fmla="*/ 968 w 1175"/>
                <a:gd name="T3" fmla="*/ 549 h 2023"/>
                <a:gd name="T4" fmla="*/ 913 w 1175"/>
                <a:gd name="T5" fmla="*/ 682 h 2023"/>
                <a:gd name="T6" fmla="*/ 760 w 1175"/>
                <a:gd name="T7" fmla="*/ 867 h 2023"/>
                <a:gd name="T8" fmla="*/ 668 w 1175"/>
                <a:gd name="T9" fmla="*/ 947 h 2023"/>
                <a:gd name="T10" fmla="*/ 589 w 1175"/>
                <a:gd name="T11" fmla="*/ 1045 h 2023"/>
                <a:gd name="T12" fmla="*/ 558 w 1175"/>
                <a:gd name="T13" fmla="*/ 1219 h 2023"/>
                <a:gd name="T14" fmla="*/ 690 w 1175"/>
                <a:gd name="T15" fmla="*/ 1348 h 2023"/>
                <a:gd name="T16" fmla="*/ 603 w 1175"/>
                <a:gd name="T17" fmla="*/ 1416 h 2023"/>
                <a:gd name="T18" fmla="*/ 463 w 1175"/>
                <a:gd name="T19" fmla="*/ 1442 h 2023"/>
                <a:gd name="T20" fmla="*/ 676 w 1175"/>
                <a:gd name="T21" fmla="*/ 1466 h 2023"/>
                <a:gd name="T22" fmla="*/ 565 w 1175"/>
                <a:gd name="T23" fmla="*/ 1544 h 2023"/>
                <a:gd name="T24" fmla="*/ 512 w 1175"/>
                <a:gd name="T25" fmla="*/ 1663 h 2023"/>
                <a:gd name="T26" fmla="*/ 481 w 1175"/>
                <a:gd name="T27" fmla="*/ 1837 h 2023"/>
                <a:gd name="T28" fmla="*/ 146 w 1175"/>
                <a:gd name="T29" fmla="*/ 1872 h 2023"/>
                <a:gd name="T30" fmla="*/ 46 w 1175"/>
                <a:gd name="T31" fmla="*/ 1615 h 2023"/>
                <a:gd name="T32" fmla="*/ 79 w 1175"/>
                <a:gd name="T33" fmla="*/ 1511 h 2023"/>
                <a:gd name="T34" fmla="*/ 111 w 1175"/>
                <a:gd name="T35" fmla="*/ 1224 h 2023"/>
                <a:gd name="T36" fmla="*/ 286 w 1175"/>
                <a:gd name="T37" fmla="*/ 780 h 2023"/>
                <a:gd name="T38" fmla="*/ 425 w 1175"/>
                <a:gd name="T39" fmla="*/ 808 h 2023"/>
                <a:gd name="T40" fmla="*/ 478 w 1175"/>
                <a:gd name="T41" fmla="*/ 321 h 2023"/>
                <a:gd name="T42" fmla="*/ 887 w 1175"/>
                <a:gd name="T43" fmla="*/ 18 h 2023"/>
                <a:gd name="T44" fmla="*/ 530 w 1175"/>
                <a:gd name="T45" fmla="*/ 1508 h 2023"/>
                <a:gd name="T46" fmla="*/ 480 w 1175"/>
                <a:gd name="T47" fmla="*/ 248 h 2023"/>
                <a:gd name="T48" fmla="*/ 465 w 1175"/>
                <a:gd name="T49" fmla="*/ 619 h 2023"/>
                <a:gd name="T50" fmla="*/ 317 w 1175"/>
                <a:gd name="T51" fmla="*/ 459 h 2023"/>
                <a:gd name="T52" fmla="*/ 424 w 1175"/>
                <a:gd name="T53" fmla="*/ 1284 h 2023"/>
                <a:gd name="T54" fmla="*/ 378 w 1175"/>
                <a:gd name="T55" fmla="*/ 1004 h 2023"/>
                <a:gd name="T56" fmla="*/ 356 w 1175"/>
                <a:gd name="T57" fmla="*/ 1262 h 2023"/>
                <a:gd name="T58" fmla="*/ 290 w 1175"/>
                <a:gd name="T59" fmla="*/ 1515 h 2023"/>
                <a:gd name="T60" fmla="*/ 315 w 1175"/>
                <a:gd name="T61" fmla="*/ 1531 h 2023"/>
                <a:gd name="T62" fmla="*/ 310 w 1175"/>
                <a:gd name="T63" fmla="*/ 928 h 2023"/>
                <a:gd name="T64" fmla="*/ 190 w 1175"/>
                <a:gd name="T65" fmla="*/ 1367 h 2023"/>
                <a:gd name="T66" fmla="*/ 205 w 1175"/>
                <a:gd name="T67" fmla="*/ 863 h 2023"/>
                <a:gd name="T68" fmla="*/ 144 w 1175"/>
                <a:gd name="T69" fmla="*/ 883 h 2023"/>
                <a:gd name="T70" fmla="*/ 152 w 1175"/>
                <a:gd name="T71" fmla="*/ 1437 h 2023"/>
                <a:gd name="T72" fmla="*/ 133 w 1175"/>
                <a:gd name="T73" fmla="*/ 1660 h 2023"/>
                <a:gd name="T74" fmla="*/ 191 w 1175"/>
                <a:gd name="T75" fmla="*/ 1470 h 2023"/>
                <a:gd name="T76" fmla="*/ 193 w 1175"/>
                <a:gd name="T77" fmla="*/ 1579 h 2023"/>
                <a:gd name="T78" fmla="*/ 302 w 1175"/>
                <a:gd name="T79" fmla="*/ 1912 h 2023"/>
                <a:gd name="T80" fmla="*/ 348 w 1175"/>
                <a:gd name="T81" fmla="*/ 1791 h 2023"/>
                <a:gd name="T82" fmla="*/ 385 w 1175"/>
                <a:gd name="T83" fmla="*/ 1648 h 2023"/>
                <a:gd name="T84" fmla="*/ 447 w 1175"/>
                <a:gd name="T85" fmla="*/ 1650 h 2023"/>
                <a:gd name="T86" fmla="*/ 406 w 1175"/>
                <a:gd name="T87" fmla="*/ 1476 h 2023"/>
                <a:gd name="T88" fmla="*/ 515 w 1175"/>
                <a:gd name="T89" fmla="*/ 709 h 2023"/>
                <a:gd name="T90" fmla="*/ 527 w 1175"/>
                <a:gd name="T91" fmla="*/ 811 h 2023"/>
                <a:gd name="T92" fmla="*/ 537 w 1175"/>
                <a:gd name="T93" fmla="*/ 1327 h 2023"/>
                <a:gd name="T94" fmla="*/ 508 w 1175"/>
                <a:gd name="T95" fmla="*/ 599 h 2023"/>
                <a:gd name="T96" fmla="*/ 529 w 1175"/>
                <a:gd name="T97" fmla="*/ 412 h 2023"/>
                <a:gd name="T98" fmla="*/ 595 w 1175"/>
                <a:gd name="T99" fmla="*/ 496 h 2023"/>
                <a:gd name="T100" fmla="*/ 644 w 1175"/>
                <a:gd name="T101" fmla="*/ 422 h 2023"/>
                <a:gd name="T102" fmla="*/ 695 w 1175"/>
                <a:gd name="T103" fmla="*/ 349 h 2023"/>
                <a:gd name="T104" fmla="*/ 541 w 1175"/>
                <a:gd name="T105" fmla="*/ 200 h 2023"/>
                <a:gd name="T106" fmla="*/ 852 w 1175"/>
                <a:gd name="T107" fmla="*/ 190 h 2023"/>
                <a:gd name="T108" fmla="*/ 872 w 1175"/>
                <a:gd name="T109" fmla="*/ 200 h 2023"/>
                <a:gd name="T110" fmla="*/ 528 w 1175"/>
                <a:gd name="T111" fmla="*/ 1784 h 2023"/>
                <a:gd name="T112" fmla="*/ 584 w 1175"/>
                <a:gd name="T113" fmla="*/ 1448 h 2023"/>
                <a:gd name="T114" fmla="*/ 662 w 1175"/>
                <a:gd name="T115" fmla="*/ 1511 h 2023"/>
                <a:gd name="T116" fmla="*/ 735 w 1175"/>
                <a:gd name="T117" fmla="*/ 1656 h 2023"/>
                <a:gd name="T118" fmla="*/ 672 w 1175"/>
                <a:gd name="T119" fmla="*/ 1441 h 2023"/>
                <a:gd name="T120" fmla="*/ 643 w 1175"/>
                <a:gd name="T121" fmla="*/ 1776 h 2023"/>
                <a:gd name="T122" fmla="*/ 304 w 1175"/>
                <a:gd name="T123" fmla="*/ 1639 h 2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75" h="2023">
                  <a:moveTo>
                    <a:pt x="675" y="1343"/>
                  </a:moveTo>
                  <a:cubicBezTo>
                    <a:pt x="675" y="1342"/>
                    <a:pt x="675" y="1342"/>
                    <a:pt x="674" y="1342"/>
                  </a:cubicBezTo>
                  <a:cubicBezTo>
                    <a:pt x="674" y="1342"/>
                    <a:pt x="675" y="1342"/>
                    <a:pt x="675" y="1343"/>
                  </a:cubicBezTo>
                  <a:close/>
                  <a:moveTo>
                    <a:pt x="65" y="1650"/>
                  </a:moveTo>
                  <a:cubicBezTo>
                    <a:pt x="65" y="1650"/>
                    <a:pt x="65" y="1650"/>
                    <a:pt x="65" y="1650"/>
                  </a:cubicBezTo>
                  <a:cubicBezTo>
                    <a:pt x="67" y="1637"/>
                    <a:pt x="44" y="1644"/>
                    <a:pt x="44" y="1646"/>
                  </a:cubicBezTo>
                  <a:cubicBezTo>
                    <a:pt x="42" y="1652"/>
                    <a:pt x="50" y="1647"/>
                    <a:pt x="50" y="1650"/>
                  </a:cubicBezTo>
                  <a:cubicBezTo>
                    <a:pt x="49" y="1668"/>
                    <a:pt x="61" y="1656"/>
                    <a:pt x="65" y="1650"/>
                  </a:cubicBezTo>
                  <a:close/>
                  <a:moveTo>
                    <a:pt x="694" y="893"/>
                  </a:moveTo>
                  <a:cubicBezTo>
                    <a:pt x="694" y="893"/>
                    <a:pt x="694" y="893"/>
                    <a:pt x="694" y="893"/>
                  </a:cubicBezTo>
                  <a:cubicBezTo>
                    <a:pt x="694" y="893"/>
                    <a:pt x="694" y="893"/>
                    <a:pt x="694" y="893"/>
                  </a:cubicBezTo>
                  <a:close/>
                  <a:moveTo>
                    <a:pt x="705" y="900"/>
                  </a:moveTo>
                  <a:cubicBezTo>
                    <a:pt x="710" y="898"/>
                    <a:pt x="700" y="896"/>
                    <a:pt x="698" y="895"/>
                  </a:cubicBezTo>
                  <a:cubicBezTo>
                    <a:pt x="696" y="895"/>
                    <a:pt x="695" y="894"/>
                    <a:pt x="694" y="893"/>
                  </a:cubicBezTo>
                  <a:cubicBezTo>
                    <a:pt x="697" y="896"/>
                    <a:pt x="689" y="910"/>
                    <a:pt x="705" y="900"/>
                  </a:cubicBezTo>
                  <a:close/>
                  <a:moveTo>
                    <a:pt x="1129" y="416"/>
                  </a:moveTo>
                  <a:cubicBezTo>
                    <a:pt x="1129" y="455"/>
                    <a:pt x="1165" y="472"/>
                    <a:pt x="1175" y="507"/>
                  </a:cubicBezTo>
                  <a:cubicBezTo>
                    <a:pt x="1175" y="507"/>
                    <a:pt x="1154" y="515"/>
                    <a:pt x="1153" y="514"/>
                  </a:cubicBezTo>
                  <a:cubicBezTo>
                    <a:pt x="1139" y="510"/>
                    <a:pt x="1125" y="503"/>
                    <a:pt x="1113" y="503"/>
                  </a:cubicBezTo>
                  <a:cubicBezTo>
                    <a:pt x="1108" y="502"/>
                    <a:pt x="1110" y="514"/>
                    <a:pt x="1110" y="514"/>
                  </a:cubicBezTo>
                  <a:cubicBezTo>
                    <a:pt x="1109" y="514"/>
                    <a:pt x="1092" y="504"/>
                    <a:pt x="1088" y="504"/>
                  </a:cubicBezTo>
                  <a:cubicBezTo>
                    <a:pt x="1085" y="504"/>
                    <a:pt x="1092" y="510"/>
                    <a:pt x="1092" y="514"/>
                  </a:cubicBezTo>
                  <a:cubicBezTo>
                    <a:pt x="1091" y="515"/>
                    <a:pt x="1085" y="515"/>
                    <a:pt x="1084" y="516"/>
                  </a:cubicBezTo>
                  <a:cubicBezTo>
                    <a:pt x="1082" y="517"/>
                    <a:pt x="1085" y="524"/>
                    <a:pt x="1078" y="523"/>
                  </a:cubicBezTo>
                  <a:cubicBezTo>
                    <a:pt x="1076" y="523"/>
                    <a:pt x="1078" y="520"/>
                    <a:pt x="1078" y="519"/>
                  </a:cubicBezTo>
                  <a:cubicBezTo>
                    <a:pt x="1078" y="519"/>
                    <a:pt x="1044" y="491"/>
                    <a:pt x="1039" y="492"/>
                  </a:cubicBezTo>
                  <a:cubicBezTo>
                    <a:pt x="1037" y="492"/>
                    <a:pt x="1041" y="496"/>
                    <a:pt x="1042" y="496"/>
                  </a:cubicBezTo>
                  <a:cubicBezTo>
                    <a:pt x="1045" y="499"/>
                    <a:pt x="1045" y="514"/>
                    <a:pt x="1040" y="515"/>
                  </a:cubicBezTo>
                  <a:cubicBezTo>
                    <a:pt x="1038" y="516"/>
                    <a:pt x="1038" y="510"/>
                    <a:pt x="1036" y="508"/>
                  </a:cubicBezTo>
                  <a:cubicBezTo>
                    <a:pt x="1033" y="506"/>
                    <a:pt x="1028" y="513"/>
                    <a:pt x="1027" y="512"/>
                  </a:cubicBezTo>
                  <a:cubicBezTo>
                    <a:pt x="1025" y="510"/>
                    <a:pt x="1028" y="492"/>
                    <a:pt x="1014" y="499"/>
                  </a:cubicBezTo>
                  <a:cubicBezTo>
                    <a:pt x="1012" y="500"/>
                    <a:pt x="1016" y="501"/>
                    <a:pt x="1012" y="502"/>
                  </a:cubicBezTo>
                  <a:cubicBezTo>
                    <a:pt x="1010" y="503"/>
                    <a:pt x="1014" y="512"/>
                    <a:pt x="1013" y="515"/>
                  </a:cubicBezTo>
                  <a:cubicBezTo>
                    <a:pt x="1011" y="523"/>
                    <a:pt x="1001" y="513"/>
                    <a:pt x="1001" y="514"/>
                  </a:cubicBezTo>
                  <a:cubicBezTo>
                    <a:pt x="998" y="520"/>
                    <a:pt x="1015" y="519"/>
                    <a:pt x="1016" y="525"/>
                  </a:cubicBezTo>
                  <a:cubicBezTo>
                    <a:pt x="1016" y="528"/>
                    <a:pt x="1012" y="530"/>
                    <a:pt x="1012" y="528"/>
                  </a:cubicBezTo>
                  <a:cubicBezTo>
                    <a:pt x="1011" y="527"/>
                    <a:pt x="1006" y="519"/>
                    <a:pt x="1005" y="525"/>
                  </a:cubicBezTo>
                  <a:cubicBezTo>
                    <a:pt x="1003" y="533"/>
                    <a:pt x="1011" y="534"/>
                    <a:pt x="998" y="535"/>
                  </a:cubicBezTo>
                  <a:cubicBezTo>
                    <a:pt x="995" y="536"/>
                    <a:pt x="1011" y="535"/>
                    <a:pt x="1009" y="532"/>
                  </a:cubicBezTo>
                  <a:cubicBezTo>
                    <a:pt x="1005" y="527"/>
                    <a:pt x="1011" y="528"/>
                    <a:pt x="1011" y="531"/>
                  </a:cubicBezTo>
                  <a:cubicBezTo>
                    <a:pt x="1011" y="534"/>
                    <a:pt x="1011" y="539"/>
                    <a:pt x="1014" y="540"/>
                  </a:cubicBezTo>
                  <a:cubicBezTo>
                    <a:pt x="1016" y="541"/>
                    <a:pt x="1023" y="545"/>
                    <a:pt x="1019" y="548"/>
                  </a:cubicBezTo>
                  <a:cubicBezTo>
                    <a:pt x="1013" y="552"/>
                    <a:pt x="965" y="519"/>
                    <a:pt x="961" y="520"/>
                  </a:cubicBezTo>
                  <a:cubicBezTo>
                    <a:pt x="959" y="520"/>
                    <a:pt x="962" y="524"/>
                    <a:pt x="963" y="525"/>
                  </a:cubicBezTo>
                  <a:cubicBezTo>
                    <a:pt x="973" y="535"/>
                    <a:pt x="990" y="538"/>
                    <a:pt x="999" y="547"/>
                  </a:cubicBezTo>
                  <a:cubicBezTo>
                    <a:pt x="1000" y="548"/>
                    <a:pt x="993" y="549"/>
                    <a:pt x="993" y="549"/>
                  </a:cubicBezTo>
                  <a:cubicBezTo>
                    <a:pt x="987" y="548"/>
                    <a:pt x="981" y="555"/>
                    <a:pt x="973" y="549"/>
                  </a:cubicBezTo>
                  <a:cubicBezTo>
                    <a:pt x="972" y="549"/>
                    <a:pt x="969" y="548"/>
                    <a:pt x="968" y="549"/>
                  </a:cubicBezTo>
                  <a:cubicBezTo>
                    <a:pt x="968" y="559"/>
                    <a:pt x="988" y="549"/>
                    <a:pt x="983" y="565"/>
                  </a:cubicBezTo>
                  <a:cubicBezTo>
                    <a:pt x="983" y="566"/>
                    <a:pt x="980" y="565"/>
                    <a:pt x="979" y="565"/>
                  </a:cubicBezTo>
                  <a:cubicBezTo>
                    <a:pt x="977" y="564"/>
                    <a:pt x="976" y="559"/>
                    <a:pt x="975" y="564"/>
                  </a:cubicBezTo>
                  <a:cubicBezTo>
                    <a:pt x="974" y="572"/>
                    <a:pt x="958" y="567"/>
                    <a:pt x="945" y="571"/>
                  </a:cubicBezTo>
                  <a:cubicBezTo>
                    <a:pt x="944" y="572"/>
                    <a:pt x="935" y="569"/>
                    <a:pt x="934" y="572"/>
                  </a:cubicBezTo>
                  <a:cubicBezTo>
                    <a:pt x="933" y="580"/>
                    <a:pt x="961" y="583"/>
                    <a:pt x="952" y="592"/>
                  </a:cubicBezTo>
                  <a:cubicBezTo>
                    <a:pt x="944" y="599"/>
                    <a:pt x="933" y="582"/>
                    <a:pt x="929" y="578"/>
                  </a:cubicBezTo>
                  <a:cubicBezTo>
                    <a:pt x="927" y="577"/>
                    <a:pt x="919" y="571"/>
                    <a:pt x="921" y="575"/>
                  </a:cubicBezTo>
                  <a:cubicBezTo>
                    <a:pt x="924" y="578"/>
                    <a:pt x="916" y="576"/>
                    <a:pt x="916" y="578"/>
                  </a:cubicBezTo>
                  <a:cubicBezTo>
                    <a:pt x="916" y="581"/>
                    <a:pt x="927" y="580"/>
                    <a:pt x="928" y="581"/>
                  </a:cubicBezTo>
                  <a:cubicBezTo>
                    <a:pt x="932" y="583"/>
                    <a:pt x="948" y="602"/>
                    <a:pt x="948" y="607"/>
                  </a:cubicBezTo>
                  <a:cubicBezTo>
                    <a:pt x="948" y="609"/>
                    <a:pt x="943" y="609"/>
                    <a:pt x="943" y="612"/>
                  </a:cubicBezTo>
                  <a:cubicBezTo>
                    <a:pt x="942" y="616"/>
                    <a:pt x="938" y="617"/>
                    <a:pt x="944" y="619"/>
                  </a:cubicBezTo>
                  <a:cubicBezTo>
                    <a:pt x="948" y="620"/>
                    <a:pt x="940" y="621"/>
                    <a:pt x="939" y="621"/>
                  </a:cubicBezTo>
                  <a:cubicBezTo>
                    <a:pt x="935" y="620"/>
                    <a:pt x="931" y="633"/>
                    <a:pt x="927" y="636"/>
                  </a:cubicBezTo>
                  <a:cubicBezTo>
                    <a:pt x="924" y="638"/>
                    <a:pt x="917" y="635"/>
                    <a:pt x="914" y="637"/>
                  </a:cubicBezTo>
                  <a:cubicBezTo>
                    <a:pt x="911" y="641"/>
                    <a:pt x="912" y="658"/>
                    <a:pt x="903" y="657"/>
                  </a:cubicBezTo>
                  <a:cubicBezTo>
                    <a:pt x="900" y="657"/>
                    <a:pt x="899" y="647"/>
                    <a:pt x="896" y="653"/>
                  </a:cubicBezTo>
                  <a:cubicBezTo>
                    <a:pt x="891" y="667"/>
                    <a:pt x="922" y="661"/>
                    <a:pt x="920" y="667"/>
                  </a:cubicBezTo>
                  <a:cubicBezTo>
                    <a:pt x="919" y="670"/>
                    <a:pt x="914" y="666"/>
                    <a:pt x="913" y="668"/>
                  </a:cubicBezTo>
                  <a:cubicBezTo>
                    <a:pt x="912" y="673"/>
                    <a:pt x="929" y="686"/>
                    <a:pt x="912" y="676"/>
                  </a:cubicBezTo>
                  <a:cubicBezTo>
                    <a:pt x="910" y="675"/>
                    <a:pt x="904" y="668"/>
                    <a:pt x="902" y="671"/>
                  </a:cubicBezTo>
                  <a:cubicBezTo>
                    <a:pt x="901" y="672"/>
                    <a:pt x="902" y="675"/>
                    <a:pt x="902" y="675"/>
                  </a:cubicBezTo>
                  <a:cubicBezTo>
                    <a:pt x="903" y="680"/>
                    <a:pt x="910" y="681"/>
                    <a:pt x="913" y="682"/>
                  </a:cubicBezTo>
                  <a:cubicBezTo>
                    <a:pt x="918" y="683"/>
                    <a:pt x="920" y="690"/>
                    <a:pt x="923" y="694"/>
                  </a:cubicBezTo>
                  <a:cubicBezTo>
                    <a:pt x="925" y="697"/>
                    <a:pt x="923" y="685"/>
                    <a:pt x="929" y="691"/>
                  </a:cubicBezTo>
                  <a:cubicBezTo>
                    <a:pt x="930" y="693"/>
                    <a:pt x="932" y="698"/>
                    <a:pt x="934" y="696"/>
                  </a:cubicBezTo>
                  <a:cubicBezTo>
                    <a:pt x="940" y="690"/>
                    <a:pt x="940" y="709"/>
                    <a:pt x="934" y="699"/>
                  </a:cubicBezTo>
                  <a:cubicBezTo>
                    <a:pt x="932" y="696"/>
                    <a:pt x="930" y="702"/>
                    <a:pt x="929" y="703"/>
                  </a:cubicBezTo>
                  <a:cubicBezTo>
                    <a:pt x="928" y="703"/>
                    <a:pt x="923" y="698"/>
                    <a:pt x="923" y="700"/>
                  </a:cubicBezTo>
                  <a:cubicBezTo>
                    <a:pt x="923" y="704"/>
                    <a:pt x="931" y="704"/>
                    <a:pt x="933" y="703"/>
                  </a:cubicBezTo>
                  <a:cubicBezTo>
                    <a:pt x="939" y="701"/>
                    <a:pt x="933" y="711"/>
                    <a:pt x="935" y="713"/>
                  </a:cubicBezTo>
                  <a:cubicBezTo>
                    <a:pt x="939" y="715"/>
                    <a:pt x="944" y="706"/>
                    <a:pt x="946" y="709"/>
                  </a:cubicBezTo>
                  <a:cubicBezTo>
                    <a:pt x="948" y="712"/>
                    <a:pt x="947" y="714"/>
                    <a:pt x="945" y="714"/>
                  </a:cubicBezTo>
                  <a:cubicBezTo>
                    <a:pt x="934" y="715"/>
                    <a:pt x="911" y="745"/>
                    <a:pt x="899" y="747"/>
                  </a:cubicBezTo>
                  <a:cubicBezTo>
                    <a:pt x="898" y="747"/>
                    <a:pt x="867" y="810"/>
                    <a:pt x="864" y="812"/>
                  </a:cubicBezTo>
                  <a:cubicBezTo>
                    <a:pt x="861" y="813"/>
                    <a:pt x="851" y="810"/>
                    <a:pt x="851" y="809"/>
                  </a:cubicBezTo>
                  <a:cubicBezTo>
                    <a:pt x="850" y="809"/>
                    <a:pt x="849" y="806"/>
                    <a:pt x="848" y="807"/>
                  </a:cubicBezTo>
                  <a:cubicBezTo>
                    <a:pt x="841" y="807"/>
                    <a:pt x="842" y="824"/>
                    <a:pt x="839" y="827"/>
                  </a:cubicBezTo>
                  <a:cubicBezTo>
                    <a:pt x="831" y="832"/>
                    <a:pt x="837" y="814"/>
                    <a:pt x="832" y="818"/>
                  </a:cubicBezTo>
                  <a:cubicBezTo>
                    <a:pt x="830" y="819"/>
                    <a:pt x="834" y="833"/>
                    <a:pt x="830" y="833"/>
                  </a:cubicBezTo>
                  <a:cubicBezTo>
                    <a:pt x="824" y="832"/>
                    <a:pt x="831" y="821"/>
                    <a:pt x="829" y="820"/>
                  </a:cubicBezTo>
                  <a:cubicBezTo>
                    <a:pt x="825" y="820"/>
                    <a:pt x="825" y="833"/>
                    <a:pt x="825" y="833"/>
                  </a:cubicBezTo>
                  <a:cubicBezTo>
                    <a:pt x="820" y="836"/>
                    <a:pt x="812" y="830"/>
                    <a:pt x="808" y="831"/>
                  </a:cubicBezTo>
                  <a:cubicBezTo>
                    <a:pt x="801" y="833"/>
                    <a:pt x="806" y="844"/>
                    <a:pt x="794" y="838"/>
                  </a:cubicBezTo>
                  <a:cubicBezTo>
                    <a:pt x="790" y="836"/>
                    <a:pt x="779" y="864"/>
                    <a:pt x="777" y="865"/>
                  </a:cubicBezTo>
                  <a:cubicBezTo>
                    <a:pt x="771" y="867"/>
                    <a:pt x="762" y="839"/>
                    <a:pt x="752" y="847"/>
                  </a:cubicBezTo>
                  <a:cubicBezTo>
                    <a:pt x="752" y="848"/>
                    <a:pt x="762" y="863"/>
                    <a:pt x="760" y="867"/>
                  </a:cubicBezTo>
                  <a:cubicBezTo>
                    <a:pt x="759" y="871"/>
                    <a:pt x="752" y="862"/>
                    <a:pt x="751" y="861"/>
                  </a:cubicBezTo>
                  <a:cubicBezTo>
                    <a:pt x="747" y="859"/>
                    <a:pt x="743" y="859"/>
                    <a:pt x="741" y="860"/>
                  </a:cubicBezTo>
                  <a:cubicBezTo>
                    <a:pt x="736" y="862"/>
                    <a:pt x="740" y="878"/>
                    <a:pt x="738" y="881"/>
                  </a:cubicBezTo>
                  <a:cubicBezTo>
                    <a:pt x="737" y="882"/>
                    <a:pt x="736" y="882"/>
                    <a:pt x="735" y="881"/>
                  </a:cubicBezTo>
                  <a:cubicBezTo>
                    <a:pt x="729" y="873"/>
                    <a:pt x="725" y="894"/>
                    <a:pt x="725" y="894"/>
                  </a:cubicBezTo>
                  <a:cubicBezTo>
                    <a:pt x="722" y="895"/>
                    <a:pt x="720" y="891"/>
                    <a:pt x="719" y="891"/>
                  </a:cubicBezTo>
                  <a:cubicBezTo>
                    <a:pt x="715" y="894"/>
                    <a:pt x="720" y="897"/>
                    <a:pt x="723" y="897"/>
                  </a:cubicBezTo>
                  <a:cubicBezTo>
                    <a:pt x="724" y="897"/>
                    <a:pt x="720" y="903"/>
                    <a:pt x="719" y="903"/>
                  </a:cubicBezTo>
                  <a:cubicBezTo>
                    <a:pt x="713" y="905"/>
                    <a:pt x="710" y="888"/>
                    <a:pt x="704" y="888"/>
                  </a:cubicBezTo>
                  <a:cubicBezTo>
                    <a:pt x="702" y="889"/>
                    <a:pt x="690" y="889"/>
                    <a:pt x="694" y="893"/>
                  </a:cubicBezTo>
                  <a:cubicBezTo>
                    <a:pt x="693" y="893"/>
                    <a:pt x="691" y="893"/>
                    <a:pt x="688" y="895"/>
                  </a:cubicBezTo>
                  <a:cubicBezTo>
                    <a:pt x="687" y="896"/>
                    <a:pt x="693" y="905"/>
                    <a:pt x="692" y="906"/>
                  </a:cubicBezTo>
                  <a:cubicBezTo>
                    <a:pt x="691" y="908"/>
                    <a:pt x="678" y="902"/>
                    <a:pt x="675" y="903"/>
                  </a:cubicBezTo>
                  <a:cubicBezTo>
                    <a:pt x="675" y="903"/>
                    <a:pt x="680" y="905"/>
                    <a:pt x="680" y="906"/>
                  </a:cubicBezTo>
                  <a:cubicBezTo>
                    <a:pt x="682" y="909"/>
                    <a:pt x="674" y="921"/>
                    <a:pt x="668" y="926"/>
                  </a:cubicBezTo>
                  <a:cubicBezTo>
                    <a:pt x="667" y="927"/>
                    <a:pt x="664" y="921"/>
                    <a:pt x="662" y="921"/>
                  </a:cubicBezTo>
                  <a:cubicBezTo>
                    <a:pt x="654" y="922"/>
                    <a:pt x="665" y="927"/>
                    <a:pt x="663" y="927"/>
                  </a:cubicBezTo>
                  <a:cubicBezTo>
                    <a:pt x="659" y="928"/>
                    <a:pt x="650" y="923"/>
                    <a:pt x="647" y="929"/>
                  </a:cubicBezTo>
                  <a:cubicBezTo>
                    <a:pt x="646" y="930"/>
                    <a:pt x="654" y="931"/>
                    <a:pt x="654" y="931"/>
                  </a:cubicBezTo>
                  <a:cubicBezTo>
                    <a:pt x="658" y="931"/>
                    <a:pt x="678" y="927"/>
                    <a:pt x="677" y="935"/>
                  </a:cubicBezTo>
                  <a:cubicBezTo>
                    <a:pt x="677" y="936"/>
                    <a:pt x="660" y="933"/>
                    <a:pt x="660" y="937"/>
                  </a:cubicBezTo>
                  <a:cubicBezTo>
                    <a:pt x="659" y="942"/>
                    <a:pt x="672" y="939"/>
                    <a:pt x="672" y="941"/>
                  </a:cubicBezTo>
                  <a:cubicBezTo>
                    <a:pt x="670" y="948"/>
                    <a:pt x="665" y="942"/>
                    <a:pt x="661" y="942"/>
                  </a:cubicBezTo>
                  <a:cubicBezTo>
                    <a:pt x="658" y="943"/>
                    <a:pt x="668" y="947"/>
                    <a:pt x="668" y="947"/>
                  </a:cubicBezTo>
                  <a:cubicBezTo>
                    <a:pt x="668" y="949"/>
                    <a:pt x="660" y="953"/>
                    <a:pt x="659" y="954"/>
                  </a:cubicBezTo>
                  <a:cubicBezTo>
                    <a:pt x="654" y="954"/>
                    <a:pt x="650" y="944"/>
                    <a:pt x="647" y="946"/>
                  </a:cubicBezTo>
                  <a:cubicBezTo>
                    <a:pt x="639" y="953"/>
                    <a:pt x="648" y="951"/>
                    <a:pt x="650" y="952"/>
                  </a:cubicBezTo>
                  <a:cubicBezTo>
                    <a:pt x="653" y="955"/>
                    <a:pt x="641" y="965"/>
                    <a:pt x="642" y="961"/>
                  </a:cubicBezTo>
                  <a:cubicBezTo>
                    <a:pt x="645" y="952"/>
                    <a:pt x="639" y="963"/>
                    <a:pt x="637" y="963"/>
                  </a:cubicBezTo>
                  <a:cubicBezTo>
                    <a:pt x="631" y="965"/>
                    <a:pt x="625" y="962"/>
                    <a:pt x="631" y="958"/>
                  </a:cubicBezTo>
                  <a:cubicBezTo>
                    <a:pt x="633" y="957"/>
                    <a:pt x="639" y="956"/>
                    <a:pt x="637" y="955"/>
                  </a:cubicBezTo>
                  <a:cubicBezTo>
                    <a:pt x="629" y="952"/>
                    <a:pt x="622" y="958"/>
                    <a:pt x="622" y="958"/>
                  </a:cubicBezTo>
                  <a:cubicBezTo>
                    <a:pt x="612" y="954"/>
                    <a:pt x="621" y="927"/>
                    <a:pt x="598" y="930"/>
                  </a:cubicBezTo>
                  <a:cubicBezTo>
                    <a:pt x="598" y="930"/>
                    <a:pt x="604" y="935"/>
                    <a:pt x="605" y="935"/>
                  </a:cubicBezTo>
                  <a:cubicBezTo>
                    <a:pt x="608" y="937"/>
                    <a:pt x="615" y="950"/>
                    <a:pt x="614" y="954"/>
                  </a:cubicBezTo>
                  <a:cubicBezTo>
                    <a:pt x="612" y="960"/>
                    <a:pt x="628" y="967"/>
                    <a:pt x="625" y="978"/>
                  </a:cubicBezTo>
                  <a:cubicBezTo>
                    <a:pt x="624" y="982"/>
                    <a:pt x="612" y="976"/>
                    <a:pt x="614" y="979"/>
                  </a:cubicBezTo>
                  <a:cubicBezTo>
                    <a:pt x="618" y="984"/>
                    <a:pt x="630" y="981"/>
                    <a:pt x="631" y="989"/>
                  </a:cubicBezTo>
                  <a:cubicBezTo>
                    <a:pt x="631" y="989"/>
                    <a:pt x="627" y="990"/>
                    <a:pt x="626" y="991"/>
                  </a:cubicBezTo>
                  <a:cubicBezTo>
                    <a:pt x="623" y="993"/>
                    <a:pt x="621" y="998"/>
                    <a:pt x="621" y="990"/>
                  </a:cubicBezTo>
                  <a:cubicBezTo>
                    <a:pt x="621" y="989"/>
                    <a:pt x="621" y="985"/>
                    <a:pt x="619" y="988"/>
                  </a:cubicBezTo>
                  <a:cubicBezTo>
                    <a:pt x="614" y="994"/>
                    <a:pt x="618" y="999"/>
                    <a:pt x="611" y="1005"/>
                  </a:cubicBezTo>
                  <a:cubicBezTo>
                    <a:pt x="608" y="1007"/>
                    <a:pt x="601" y="1000"/>
                    <a:pt x="595" y="1006"/>
                  </a:cubicBezTo>
                  <a:cubicBezTo>
                    <a:pt x="593" y="1009"/>
                    <a:pt x="600" y="1012"/>
                    <a:pt x="598" y="1012"/>
                  </a:cubicBezTo>
                  <a:cubicBezTo>
                    <a:pt x="584" y="1014"/>
                    <a:pt x="573" y="989"/>
                    <a:pt x="565" y="1005"/>
                  </a:cubicBezTo>
                  <a:cubicBezTo>
                    <a:pt x="563" y="1010"/>
                    <a:pt x="571" y="1031"/>
                    <a:pt x="577" y="1037"/>
                  </a:cubicBezTo>
                  <a:cubicBezTo>
                    <a:pt x="580" y="1040"/>
                    <a:pt x="593" y="1038"/>
                    <a:pt x="594" y="1042"/>
                  </a:cubicBezTo>
                  <a:cubicBezTo>
                    <a:pt x="595" y="1043"/>
                    <a:pt x="591" y="1044"/>
                    <a:pt x="589" y="1045"/>
                  </a:cubicBezTo>
                  <a:cubicBezTo>
                    <a:pt x="581" y="1049"/>
                    <a:pt x="586" y="1039"/>
                    <a:pt x="581" y="1045"/>
                  </a:cubicBezTo>
                  <a:cubicBezTo>
                    <a:pt x="575" y="1051"/>
                    <a:pt x="577" y="1075"/>
                    <a:pt x="577" y="1075"/>
                  </a:cubicBezTo>
                  <a:cubicBezTo>
                    <a:pt x="577" y="1078"/>
                    <a:pt x="568" y="1081"/>
                    <a:pt x="567" y="1084"/>
                  </a:cubicBezTo>
                  <a:cubicBezTo>
                    <a:pt x="565" y="1092"/>
                    <a:pt x="568" y="1110"/>
                    <a:pt x="571" y="1115"/>
                  </a:cubicBezTo>
                  <a:cubicBezTo>
                    <a:pt x="571" y="1115"/>
                    <a:pt x="570" y="1117"/>
                    <a:pt x="571" y="1118"/>
                  </a:cubicBezTo>
                  <a:cubicBezTo>
                    <a:pt x="576" y="1120"/>
                    <a:pt x="588" y="1114"/>
                    <a:pt x="580" y="1129"/>
                  </a:cubicBezTo>
                  <a:cubicBezTo>
                    <a:pt x="580" y="1131"/>
                    <a:pt x="579" y="1131"/>
                    <a:pt x="578" y="1131"/>
                  </a:cubicBezTo>
                  <a:cubicBezTo>
                    <a:pt x="571" y="1128"/>
                    <a:pt x="555" y="1108"/>
                    <a:pt x="548" y="1117"/>
                  </a:cubicBezTo>
                  <a:cubicBezTo>
                    <a:pt x="547" y="1119"/>
                    <a:pt x="554" y="1119"/>
                    <a:pt x="554" y="1119"/>
                  </a:cubicBezTo>
                  <a:cubicBezTo>
                    <a:pt x="571" y="1122"/>
                    <a:pt x="537" y="1130"/>
                    <a:pt x="549" y="1131"/>
                  </a:cubicBezTo>
                  <a:cubicBezTo>
                    <a:pt x="551" y="1131"/>
                    <a:pt x="557" y="1131"/>
                    <a:pt x="558" y="1133"/>
                  </a:cubicBezTo>
                  <a:cubicBezTo>
                    <a:pt x="560" y="1136"/>
                    <a:pt x="549" y="1135"/>
                    <a:pt x="549" y="1135"/>
                  </a:cubicBezTo>
                  <a:cubicBezTo>
                    <a:pt x="548" y="1134"/>
                    <a:pt x="542" y="1135"/>
                    <a:pt x="541" y="1138"/>
                  </a:cubicBezTo>
                  <a:cubicBezTo>
                    <a:pt x="541" y="1138"/>
                    <a:pt x="550" y="1140"/>
                    <a:pt x="551" y="1140"/>
                  </a:cubicBezTo>
                  <a:cubicBezTo>
                    <a:pt x="553" y="1141"/>
                    <a:pt x="539" y="1142"/>
                    <a:pt x="545" y="1143"/>
                  </a:cubicBezTo>
                  <a:cubicBezTo>
                    <a:pt x="560" y="1146"/>
                    <a:pt x="547" y="1164"/>
                    <a:pt x="548" y="1169"/>
                  </a:cubicBezTo>
                  <a:cubicBezTo>
                    <a:pt x="549" y="1171"/>
                    <a:pt x="560" y="1176"/>
                    <a:pt x="560" y="1177"/>
                  </a:cubicBezTo>
                  <a:cubicBezTo>
                    <a:pt x="560" y="1177"/>
                    <a:pt x="560" y="1180"/>
                    <a:pt x="557" y="1181"/>
                  </a:cubicBezTo>
                  <a:cubicBezTo>
                    <a:pt x="555" y="1181"/>
                    <a:pt x="545" y="1175"/>
                    <a:pt x="544" y="1176"/>
                  </a:cubicBezTo>
                  <a:cubicBezTo>
                    <a:pt x="544" y="1177"/>
                    <a:pt x="553" y="1184"/>
                    <a:pt x="554" y="1185"/>
                  </a:cubicBezTo>
                  <a:cubicBezTo>
                    <a:pt x="555" y="1187"/>
                    <a:pt x="548" y="1204"/>
                    <a:pt x="549" y="1206"/>
                  </a:cubicBezTo>
                  <a:cubicBezTo>
                    <a:pt x="552" y="1211"/>
                    <a:pt x="552" y="1204"/>
                    <a:pt x="552" y="1211"/>
                  </a:cubicBezTo>
                  <a:cubicBezTo>
                    <a:pt x="552" y="1214"/>
                    <a:pt x="552" y="1218"/>
                    <a:pt x="550" y="1219"/>
                  </a:cubicBezTo>
                  <a:cubicBezTo>
                    <a:pt x="549" y="1220"/>
                    <a:pt x="558" y="1219"/>
                    <a:pt x="558" y="1219"/>
                  </a:cubicBezTo>
                  <a:cubicBezTo>
                    <a:pt x="560" y="1224"/>
                    <a:pt x="549" y="1225"/>
                    <a:pt x="549" y="1230"/>
                  </a:cubicBezTo>
                  <a:cubicBezTo>
                    <a:pt x="549" y="1237"/>
                    <a:pt x="564" y="1243"/>
                    <a:pt x="561" y="1253"/>
                  </a:cubicBezTo>
                  <a:cubicBezTo>
                    <a:pt x="560" y="1257"/>
                    <a:pt x="567" y="1253"/>
                    <a:pt x="566" y="1256"/>
                  </a:cubicBezTo>
                  <a:cubicBezTo>
                    <a:pt x="565" y="1260"/>
                    <a:pt x="552" y="1263"/>
                    <a:pt x="552" y="1266"/>
                  </a:cubicBezTo>
                  <a:cubicBezTo>
                    <a:pt x="553" y="1268"/>
                    <a:pt x="558" y="1265"/>
                    <a:pt x="559" y="1266"/>
                  </a:cubicBezTo>
                  <a:cubicBezTo>
                    <a:pt x="566" y="1269"/>
                    <a:pt x="565" y="1276"/>
                    <a:pt x="566" y="1277"/>
                  </a:cubicBezTo>
                  <a:cubicBezTo>
                    <a:pt x="568" y="1281"/>
                    <a:pt x="587" y="1269"/>
                    <a:pt x="594" y="1278"/>
                  </a:cubicBezTo>
                  <a:cubicBezTo>
                    <a:pt x="596" y="1281"/>
                    <a:pt x="590" y="1281"/>
                    <a:pt x="590" y="1282"/>
                  </a:cubicBezTo>
                  <a:cubicBezTo>
                    <a:pt x="588" y="1285"/>
                    <a:pt x="592" y="1291"/>
                    <a:pt x="594" y="1292"/>
                  </a:cubicBezTo>
                  <a:cubicBezTo>
                    <a:pt x="600" y="1301"/>
                    <a:pt x="605" y="1275"/>
                    <a:pt x="621" y="1280"/>
                  </a:cubicBezTo>
                  <a:cubicBezTo>
                    <a:pt x="623" y="1281"/>
                    <a:pt x="622" y="1282"/>
                    <a:pt x="623" y="1284"/>
                  </a:cubicBezTo>
                  <a:cubicBezTo>
                    <a:pt x="625" y="1289"/>
                    <a:pt x="631" y="1306"/>
                    <a:pt x="640" y="1310"/>
                  </a:cubicBezTo>
                  <a:cubicBezTo>
                    <a:pt x="641" y="1310"/>
                    <a:pt x="648" y="1311"/>
                    <a:pt x="648" y="1312"/>
                  </a:cubicBezTo>
                  <a:cubicBezTo>
                    <a:pt x="649" y="1314"/>
                    <a:pt x="642" y="1313"/>
                    <a:pt x="645" y="1318"/>
                  </a:cubicBezTo>
                  <a:cubicBezTo>
                    <a:pt x="645" y="1318"/>
                    <a:pt x="645" y="1319"/>
                    <a:pt x="646" y="1319"/>
                  </a:cubicBezTo>
                  <a:cubicBezTo>
                    <a:pt x="648" y="1319"/>
                    <a:pt x="651" y="1315"/>
                    <a:pt x="653" y="1315"/>
                  </a:cubicBezTo>
                  <a:cubicBezTo>
                    <a:pt x="656" y="1315"/>
                    <a:pt x="679" y="1331"/>
                    <a:pt x="679" y="1332"/>
                  </a:cubicBezTo>
                  <a:cubicBezTo>
                    <a:pt x="680" y="1335"/>
                    <a:pt x="673" y="1334"/>
                    <a:pt x="672" y="1333"/>
                  </a:cubicBezTo>
                  <a:cubicBezTo>
                    <a:pt x="665" y="1331"/>
                    <a:pt x="660" y="1318"/>
                    <a:pt x="653" y="1321"/>
                  </a:cubicBezTo>
                  <a:cubicBezTo>
                    <a:pt x="650" y="1323"/>
                    <a:pt x="665" y="1335"/>
                    <a:pt x="665" y="1336"/>
                  </a:cubicBezTo>
                  <a:cubicBezTo>
                    <a:pt x="665" y="1338"/>
                    <a:pt x="661" y="1335"/>
                    <a:pt x="669" y="1343"/>
                  </a:cubicBezTo>
                  <a:cubicBezTo>
                    <a:pt x="671" y="1346"/>
                    <a:pt x="674" y="1341"/>
                    <a:pt x="674" y="1342"/>
                  </a:cubicBezTo>
                  <a:cubicBezTo>
                    <a:pt x="674" y="1343"/>
                    <a:pt x="675" y="1357"/>
                    <a:pt x="677" y="1356"/>
                  </a:cubicBezTo>
                  <a:cubicBezTo>
                    <a:pt x="682" y="1355"/>
                    <a:pt x="675" y="1338"/>
                    <a:pt x="690" y="1348"/>
                  </a:cubicBezTo>
                  <a:cubicBezTo>
                    <a:pt x="691" y="1350"/>
                    <a:pt x="689" y="1358"/>
                    <a:pt x="692" y="1362"/>
                  </a:cubicBezTo>
                  <a:cubicBezTo>
                    <a:pt x="693" y="1363"/>
                    <a:pt x="696" y="1367"/>
                    <a:pt x="696" y="1366"/>
                  </a:cubicBezTo>
                  <a:cubicBezTo>
                    <a:pt x="696" y="1363"/>
                    <a:pt x="689" y="1347"/>
                    <a:pt x="697" y="1349"/>
                  </a:cubicBezTo>
                  <a:cubicBezTo>
                    <a:pt x="702" y="1351"/>
                    <a:pt x="699" y="1359"/>
                    <a:pt x="701" y="1364"/>
                  </a:cubicBezTo>
                  <a:cubicBezTo>
                    <a:pt x="704" y="1374"/>
                    <a:pt x="711" y="1376"/>
                    <a:pt x="716" y="1382"/>
                  </a:cubicBezTo>
                  <a:cubicBezTo>
                    <a:pt x="716" y="1383"/>
                    <a:pt x="718" y="1384"/>
                    <a:pt x="718" y="1382"/>
                  </a:cubicBezTo>
                  <a:cubicBezTo>
                    <a:pt x="720" y="1376"/>
                    <a:pt x="721" y="1386"/>
                    <a:pt x="720" y="1390"/>
                  </a:cubicBezTo>
                  <a:cubicBezTo>
                    <a:pt x="719" y="1396"/>
                    <a:pt x="705" y="1375"/>
                    <a:pt x="704" y="1376"/>
                  </a:cubicBezTo>
                  <a:cubicBezTo>
                    <a:pt x="700" y="1380"/>
                    <a:pt x="707" y="1387"/>
                    <a:pt x="704" y="1391"/>
                  </a:cubicBezTo>
                  <a:cubicBezTo>
                    <a:pt x="701" y="1395"/>
                    <a:pt x="690" y="1395"/>
                    <a:pt x="690" y="1399"/>
                  </a:cubicBezTo>
                  <a:cubicBezTo>
                    <a:pt x="690" y="1400"/>
                    <a:pt x="725" y="1391"/>
                    <a:pt x="721" y="1403"/>
                  </a:cubicBezTo>
                  <a:cubicBezTo>
                    <a:pt x="719" y="1408"/>
                    <a:pt x="710" y="1398"/>
                    <a:pt x="706" y="1402"/>
                  </a:cubicBezTo>
                  <a:cubicBezTo>
                    <a:pt x="695" y="1413"/>
                    <a:pt x="687" y="1415"/>
                    <a:pt x="684" y="1418"/>
                  </a:cubicBezTo>
                  <a:cubicBezTo>
                    <a:pt x="680" y="1422"/>
                    <a:pt x="670" y="1438"/>
                    <a:pt x="659" y="1442"/>
                  </a:cubicBezTo>
                  <a:cubicBezTo>
                    <a:pt x="657" y="1443"/>
                    <a:pt x="650" y="1439"/>
                    <a:pt x="649" y="1441"/>
                  </a:cubicBezTo>
                  <a:cubicBezTo>
                    <a:pt x="647" y="1445"/>
                    <a:pt x="658" y="1449"/>
                    <a:pt x="655" y="1452"/>
                  </a:cubicBezTo>
                  <a:cubicBezTo>
                    <a:pt x="653" y="1452"/>
                    <a:pt x="651" y="1453"/>
                    <a:pt x="650" y="1452"/>
                  </a:cubicBezTo>
                  <a:cubicBezTo>
                    <a:pt x="648" y="1452"/>
                    <a:pt x="638" y="1451"/>
                    <a:pt x="640" y="1449"/>
                  </a:cubicBezTo>
                  <a:cubicBezTo>
                    <a:pt x="646" y="1439"/>
                    <a:pt x="636" y="1449"/>
                    <a:pt x="633" y="1451"/>
                  </a:cubicBezTo>
                  <a:cubicBezTo>
                    <a:pt x="631" y="1453"/>
                    <a:pt x="626" y="1449"/>
                    <a:pt x="626" y="1451"/>
                  </a:cubicBezTo>
                  <a:cubicBezTo>
                    <a:pt x="626" y="1452"/>
                    <a:pt x="639" y="1460"/>
                    <a:pt x="638" y="1461"/>
                  </a:cubicBezTo>
                  <a:cubicBezTo>
                    <a:pt x="634" y="1465"/>
                    <a:pt x="605" y="1459"/>
                    <a:pt x="603" y="1450"/>
                  </a:cubicBezTo>
                  <a:cubicBezTo>
                    <a:pt x="602" y="1443"/>
                    <a:pt x="611" y="1436"/>
                    <a:pt x="611" y="1433"/>
                  </a:cubicBezTo>
                  <a:cubicBezTo>
                    <a:pt x="611" y="1429"/>
                    <a:pt x="605" y="1419"/>
                    <a:pt x="603" y="1416"/>
                  </a:cubicBezTo>
                  <a:cubicBezTo>
                    <a:pt x="600" y="1411"/>
                    <a:pt x="601" y="1408"/>
                    <a:pt x="600" y="1409"/>
                  </a:cubicBezTo>
                  <a:cubicBezTo>
                    <a:pt x="598" y="1410"/>
                    <a:pt x="602" y="1421"/>
                    <a:pt x="599" y="1421"/>
                  </a:cubicBezTo>
                  <a:cubicBezTo>
                    <a:pt x="598" y="1420"/>
                    <a:pt x="592" y="1414"/>
                    <a:pt x="592" y="1413"/>
                  </a:cubicBezTo>
                  <a:cubicBezTo>
                    <a:pt x="592" y="1410"/>
                    <a:pt x="604" y="1398"/>
                    <a:pt x="589" y="1394"/>
                  </a:cubicBezTo>
                  <a:cubicBezTo>
                    <a:pt x="586" y="1393"/>
                    <a:pt x="587" y="1400"/>
                    <a:pt x="584" y="1402"/>
                  </a:cubicBezTo>
                  <a:cubicBezTo>
                    <a:pt x="581" y="1405"/>
                    <a:pt x="573" y="1401"/>
                    <a:pt x="569" y="1402"/>
                  </a:cubicBezTo>
                  <a:cubicBezTo>
                    <a:pt x="567" y="1403"/>
                    <a:pt x="578" y="1405"/>
                    <a:pt x="578" y="1405"/>
                  </a:cubicBezTo>
                  <a:cubicBezTo>
                    <a:pt x="582" y="1407"/>
                    <a:pt x="576" y="1413"/>
                    <a:pt x="578" y="1418"/>
                  </a:cubicBezTo>
                  <a:cubicBezTo>
                    <a:pt x="579" y="1420"/>
                    <a:pt x="581" y="1427"/>
                    <a:pt x="584" y="1427"/>
                  </a:cubicBezTo>
                  <a:cubicBezTo>
                    <a:pt x="584" y="1427"/>
                    <a:pt x="583" y="1420"/>
                    <a:pt x="582" y="1418"/>
                  </a:cubicBezTo>
                  <a:cubicBezTo>
                    <a:pt x="580" y="1414"/>
                    <a:pt x="584" y="1408"/>
                    <a:pt x="585" y="1407"/>
                  </a:cubicBezTo>
                  <a:cubicBezTo>
                    <a:pt x="587" y="1402"/>
                    <a:pt x="590" y="1407"/>
                    <a:pt x="589" y="1409"/>
                  </a:cubicBezTo>
                  <a:cubicBezTo>
                    <a:pt x="587" y="1425"/>
                    <a:pt x="609" y="1426"/>
                    <a:pt x="606" y="1433"/>
                  </a:cubicBezTo>
                  <a:cubicBezTo>
                    <a:pt x="595" y="1462"/>
                    <a:pt x="570" y="1416"/>
                    <a:pt x="570" y="1415"/>
                  </a:cubicBezTo>
                  <a:cubicBezTo>
                    <a:pt x="564" y="1414"/>
                    <a:pt x="568" y="1424"/>
                    <a:pt x="569" y="1424"/>
                  </a:cubicBezTo>
                  <a:cubicBezTo>
                    <a:pt x="572" y="1440"/>
                    <a:pt x="571" y="1437"/>
                    <a:pt x="568" y="1442"/>
                  </a:cubicBezTo>
                  <a:cubicBezTo>
                    <a:pt x="568" y="1443"/>
                    <a:pt x="542" y="1423"/>
                    <a:pt x="541" y="1423"/>
                  </a:cubicBezTo>
                  <a:cubicBezTo>
                    <a:pt x="538" y="1422"/>
                    <a:pt x="543" y="1429"/>
                    <a:pt x="542" y="1431"/>
                  </a:cubicBezTo>
                  <a:cubicBezTo>
                    <a:pt x="541" y="1434"/>
                    <a:pt x="536" y="1432"/>
                    <a:pt x="535" y="1431"/>
                  </a:cubicBezTo>
                  <a:cubicBezTo>
                    <a:pt x="511" y="1423"/>
                    <a:pt x="515" y="1436"/>
                    <a:pt x="507" y="1433"/>
                  </a:cubicBezTo>
                  <a:cubicBezTo>
                    <a:pt x="504" y="1432"/>
                    <a:pt x="501" y="1424"/>
                    <a:pt x="497" y="1422"/>
                  </a:cubicBezTo>
                  <a:cubicBezTo>
                    <a:pt x="497" y="1422"/>
                    <a:pt x="496" y="1422"/>
                    <a:pt x="495" y="1422"/>
                  </a:cubicBezTo>
                  <a:cubicBezTo>
                    <a:pt x="493" y="1423"/>
                    <a:pt x="490" y="1438"/>
                    <a:pt x="490" y="1438"/>
                  </a:cubicBezTo>
                  <a:cubicBezTo>
                    <a:pt x="476" y="1443"/>
                    <a:pt x="472" y="1438"/>
                    <a:pt x="463" y="1442"/>
                  </a:cubicBezTo>
                  <a:cubicBezTo>
                    <a:pt x="459" y="1445"/>
                    <a:pt x="450" y="1433"/>
                    <a:pt x="449" y="1438"/>
                  </a:cubicBezTo>
                  <a:cubicBezTo>
                    <a:pt x="445" y="1450"/>
                    <a:pt x="500" y="1443"/>
                    <a:pt x="500" y="1443"/>
                  </a:cubicBezTo>
                  <a:cubicBezTo>
                    <a:pt x="501" y="1443"/>
                    <a:pt x="502" y="1441"/>
                    <a:pt x="503" y="1441"/>
                  </a:cubicBezTo>
                  <a:cubicBezTo>
                    <a:pt x="506" y="1441"/>
                    <a:pt x="525" y="1461"/>
                    <a:pt x="526" y="1453"/>
                  </a:cubicBezTo>
                  <a:cubicBezTo>
                    <a:pt x="527" y="1452"/>
                    <a:pt x="509" y="1442"/>
                    <a:pt x="510" y="1441"/>
                  </a:cubicBezTo>
                  <a:cubicBezTo>
                    <a:pt x="523" y="1427"/>
                    <a:pt x="532" y="1454"/>
                    <a:pt x="539" y="1458"/>
                  </a:cubicBezTo>
                  <a:cubicBezTo>
                    <a:pt x="543" y="1459"/>
                    <a:pt x="549" y="1454"/>
                    <a:pt x="554" y="1457"/>
                  </a:cubicBezTo>
                  <a:cubicBezTo>
                    <a:pt x="556" y="1458"/>
                    <a:pt x="563" y="1457"/>
                    <a:pt x="564" y="1460"/>
                  </a:cubicBezTo>
                  <a:cubicBezTo>
                    <a:pt x="566" y="1464"/>
                    <a:pt x="559" y="1463"/>
                    <a:pt x="558" y="1464"/>
                  </a:cubicBezTo>
                  <a:cubicBezTo>
                    <a:pt x="557" y="1464"/>
                    <a:pt x="558" y="1466"/>
                    <a:pt x="559" y="1466"/>
                  </a:cubicBezTo>
                  <a:cubicBezTo>
                    <a:pt x="560" y="1468"/>
                    <a:pt x="553" y="1471"/>
                    <a:pt x="555" y="1472"/>
                  </a:cubicBezTo>
                  <a:cubicBezTo>
                    <a:pt x="556" y="1473"/>
                    <a:pt x="570" y="1475"/>
                    <a:pt x="571" y="1474"/>
                  </a:cubicBezTo>
                  <a:cubicBezTo>
                    <a:pt x="572" y="1473"/>
                    <a:pt x="565" y="1465"/>
                    <a:pt x="567" y="1463"/>
                  </a:cubicBezTo>
                  <a:cubicBezTo>
                    <a:pt x="573" y="1458"/>
                    <a:pt x="589" y="1477"/>
                    <a:pt x="589" y="1477"/>
                  </a:cubicBezTo>
                  <a:cubicBezTo>
                    <a:pt x="592" y="1476"/>
                    <a:pt x="587" y="1469"/>
                    <a:pt x="589" y="1468"/>
                  </a:cubicBezTo>
                  <a:cubicBezTo>
                    <a:pt x="593" y="1467"/>
                    <a:pt x="611" y="1477"/>
                    <a:pt x="614" y="1477"/>
                  </a:cubicBezTo>
                  <a:cubicBezTo>
                    <a:pt x="620" y="1479"/>
                    <a:pt x="617" y="1466"/>
                    <a:pt x="624" y="1465"/>
                  </a:cubicBezTo>
                  <a:cubicBezTo>
                    <a:pt x="628" y="1464"/>
                    <a:pt x="642" y="1467"/>
                    <a:pt x="645" y="1464"/>
                  </a:cubicBezTo>
                  <a:cubicBezTo>
                    <a:pt x="648" y="1458"/>
                    <a:pt x="649" y="1456"/>
                    <a:pt x="656" y="1456"/>
                  </a:cubicBezTo>
                  <a:cubicBezTo>
                    <a:pt x="663" y="1455"/>
                    <a:pt x="664" y="1463"/>
                    <a:pt x="667" y="1462"/>
                  </a:cubicBezTo>
                  <a:cubicBezTo>
                    <a:pt x="671" y="1460"/>
                    <a:pt x="661" y="1452"/>
                    <a:pt x="663" y="1447"/>
                  </a:cubicBezTo>
                  <a:cubicBezTo>
                    <a:pt x="664" y="1445"/>
                    <a:pt x="671" y="1448"/>
                    <a:pt x="672" y="1449"/>
                  </a:cubicBezTo>
                  <a:cubicBezTo>
                    <a:pt x="674" y="1451"/>
                    <a:pt x="682" y="1461"/>
                    <a:pt x="683" y="1463"/>
                  </a:cubicBezTo>
                  <a:cubicBezTo>
                    <a:pt x="684" y="1465"/>
                    <a:pt x="678" y="1466"/>
                    <a:pt x="676" y="1466"/>
                  </a:cubicBezTo>
                  <a:cubicBezTo>
                    <a:pt x="667" y="1467"/>
                    <a:pt x="653" y="1460"/>
                    <a:pt x="650" y="1465"/>
                  </a:cubicBezTo>
                  <a:cubicBezTo>
                    <a:pt x="648" y="1467"/>
                    <a:pt x="649" y="1471"/>
                    <a:pt x="651" y="1472"/>
                  </a:cubicBezTo>
                  <a:cubicBezTo>
                    <a:pt x="654" y="1473"/>
                    <a:pt x="667" y="1481"/>
                    <a:pt x="663" y="1481"/>
                  </a:cubicBezTo>
                  <a:cubicBezTo>
                    <a:pt x="662" y="1481"/>
                    <a:pt x="659" y="1480"/>
                    <a:pt x="658" y="1479"/>
                  </a:cubicBezTo>
                  <a:cubicBezTo>
                    <a:pt x="648" y="1472"/>
                    <a:pt x="656" y="1484"/>
                    <a:pt x="659" y="1484"/>
                  </a:cubicBezTo>
                  <a:cubicBezTo>
                    <a:pt x="661" y="1483"/>
                    <a:pt x="663" y="1485"/>
                    <a:pt x="663" y="1486"/>
                  </a:cubicBezTo>
                  <a:cubicBezTo>
                    <a:pt x="663" y="1490"/>
                    <a:pt x="644" y="1495"/>
                    <a:pt x="629" y="1501"/>
                  </a:cubicBezTo>
                  <a:cubicBezTo>
                    <a:pt x="624" y="1503"/>
                    <a:pt x="619" y="1528"/>
                    <a:pt x="616" y="1529"/>
                  </a:cubicBezTo>
                  <a:cubicBezTo>
                    <a:pt x="613" y="1530"/>
                    <a:pt x="613" y="1523"/>
                    <a:pt x="613" y="1522"/>
                  </a:cubicBezTo>
                  <a:cubicBezTo>
                    <a:pt x="612" y="1518"/>
                    <a:pt x="608" y="1522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ubicBezTo>
                    <a:pt x="607" y="1519"/>
                    <a:pt x="610" y="1528"/>
                    <a:pt x="603" y="1521"/>
                  </a:cubicBezTo>
                  <a:cubicBezTo>
                    <a:pt x="601" y="1519"/>
                    <a:pt x="606" y="1490"/>
                    <a:pt x="604" y="1491"/>
                  </a:cubicBezTo>
                  <a:cubicBezTo>
                    <a:pt x="599" y="1492"/>
                    <a:pt x="601" y="1502"/>
                    <a:pt x="599" y="1502"/>
                  </a:cubicBezTo>
                  <a:cubicBezTo>
                    <a:pt x="593" y="1500"/>
                    <a:pt x="599" y="1481"/>
                    <a:pt x="595" y="1485"/>
                  </a:cubicBezTo>
                  <a:cubicBezTo>
                    <a:pt x="583" y="1498"/>
                    <a:pt x="599" y="1523"/>
                    <a:pt x="585" y="1523"/>
                  </a:cubicBezTo>
                  <a:cubicBezTo>
                    <a:pt x="584" y="1523"/>
                    <a:pt x="590" y="1530"/>
                    <a:pt x="587" y="1531"/>
                  </a:cubicBezTo>
                  <a:cubicBezTo>
                    <a:pt x="585" y="1531"/>
                    <a:pt x="578" y="1522"/>
                    <a:pt x="576" y="1524"/>
                  </a:cubicBezTo>
                  <a:cubicBezTo>
                    <a:pt x="572" y="1527"/>
                    <a:pt x="584" y="1538"/>
                    <a:pt x="579" y="1539"/>
                  </a:cubicBezTo>
                  <a:cubicBezTo>
                    <a:pt x="578" y="1539"/>
                    <a:pt x="571" y="1539"/>
                    <a:pt x="570" y="1538"/>
                  </a:cubicBezTo>
                  <a:cubicBezTo>
                    <a:pt x="569" y="1538"/>
                    <a:pt x="567" y="1536"/>
                    <a:pt x="566" y="1537"/>
                  </a:cubicBezTo>
                  <a:cubicBezTo>
                    <a:pt x="565" y="1539"/>
                    <a:pt x="570" y="1540"/>
                    <a:pt x="569" y="1542"/>
                  </a:cubicBezTo>
                  <a:cubicBezTo>
                    <a:pt x="569" y="1546"/>
                    <a:pt x="567" y="1545"/>
                    <a:pt x="565" y="1544"/>
                  </a:cubicBezTo>
                  <a:cubicBezTo>
                    <a:pt x="560" y="1543"/>
                    <a:pt x="561" y="1548"/>
                    <a:pt x="560" y="1548"/>
                  </a:cubicBezTo>
                  <a:cubicBezTo>
                    <a:pt x="550" y="1549"/>
                    <a:pt x="546" y="1541"/>
                    <a:pt x="539" y="1544"/>
                  </a:cubicBezTo>
                  <a:cubicBezTo>
                    <a:pt x="537" y="1545"/>
                    <a:pt x="541" y="1546"/>
                    <a:pt x="541" y="1546"/>
                  </a:cubicBezTo>
                  <a:cubicBezTo>
                    <a:pt x="548" y="1547"/>
                    <a:pt x="538" y="1550"/>
                    <a:pt x="543" y="1551"/>
                  </a:cubicBezTo>
                  <a:cubicBezTo>
                    <a:pt x="556" y="1553"/>
                    <a:pt x="539" y="1554"/>
                    <a:pt x="533" y="1554"/>
                  </a:cubicBezTo>
                  <a:cubicBezTo>
                    <a:pt x="528" y="1554"/>
                    <a:pt x="542" y="1558"/>
                    <a:pt x="539" y="1560"/>
                  </a:cubicBezTo>
                  <a:cubicBezTo>
                    <a:pt x="518" y="1575"/>
                    <a:pt x="475" y="1545"/>
                    <a:pt x="463" y="1561"/>
                  </a:cubicBezTo>
                  <a:cubicBezTo>
                    <a:pt x="460" y="1565"/>
                    <a:pt x="474" y="1557"/>
                    <a:pt x="477" y="1561"/>
                  </a:cubicBezTo>
                  <a:cubicBezTo>
                    <a:pt x="478" y="1562"/>
                    <a:pt x="480" y="1567"/>
                    <a:pt x="481" y="1567"/>
                  </a:cubicBezTo>
                  <a:cubicBezTo>
                    <a:pt x="485" y="1568"/>
                    <a:pt x="483" y="1561"/>
                    <a:pt x="487" y="1561"/>
                  </a:cubicBezTo>
                  <a:cubicBezTo>
                    <a:pt x="501" y="1565"/>
                    <a:pt x="532" y="1573"/>
                    <a:pt x="530" y="1582"/>
                  </a:cubicBezTo>
                  <a:cubicBezTo>
                    <a:pt x="530" y="1586"/>
                    <a:pt x="506" y="1590"/>
                    <a:pt x="497" y="1586"/>
                  </a:cubicBezTo>
                  <a:cubicBezTo>
                    <a:pt x="496" y="1586"/>
                    <a:pt x="483" y="1582"/>
                    <a:pt x="484" y="1583"/>
                  </a:cubicBezTo>
                  <a:cubicBezTo>
                    <a:pt x="491" y="1593"/>
                    <a:pt x="515" y="1593"/>
                    <a:pt x="516" y="1599"/>
                  </a:cubicBezTo>
                  <a:cubicBezTo>
                    <a:pt x="516" y="1603"/>
                    <a:pt x="501" y="1597"/>
                    <a:pt x="503" y="1601"/>
                  </a:cubicBezTo>
                  <a:cubicBezTo>
                    <a:pt x="504" y="1605"/>
                    <a:pt x="508" y="1604"/>
                    <a:pt x="509" y="1608"/>
                  </a:cubicBezTo>
                  <a:cubicBezTo>
                    <a:pt x="510" y="1611"/>
                    <a:pt x="513" y="1606"/>
                    <a:pt x="514" y="1605"/>
                  </a:cubicBezTo>
                  <a:cubicBezTo>
                    <a:pt x="516" y="1605"/>
                    <a:pt x="512" y="1614"/>
                    <a:pt x="520" y="1621"/>
                  </a:cubicBezTo>
                  <a:cubicBezTo>
                    <a:pt x="522" y="1624"/>
                    <a:pt x="520" y="1628"/>
                    <a:pt x="518" y="1631"/>
                  </a:cubicBezTo>
                  <a:cubicBezTo>
                    <a:pt x="513" y="1636"/>
                    <a:pt x="503" y="1621"/>
                    <a:pt x="502" y="1622"/>
                  </a:cubicBezTo>
                  <a:cubicBezTo>
                    <a:pt x="502" y="1622"/>
                    <a:pt x="515" y="1646"/>
                    <a:pt x="514" y="1648"/>
                  </a:cubicBezTo>
                  <a:cubicBezTo>
                    <a:pt x="510" y="1655"/>
                    <a:pt x="502" y="1640"/>
                    <a:pt x="501" y="1652"/>
                  </a:cubicBezTo>
                  <a:cubicBezTo>
                    <a:pt x="501" y="1652"/>
                    <a:pt x="505" y="1653"/>
                    <a:pt x="505" y="1653"/>
                  </a:cubicBezTo>
                  <a:cubicBezTo>
                    <a:pt x="516" y="1656"/>
                    <a:pt x="512" y="1661"/>
                    <a:pt x="512" y="1663"/>
                  </a:cubicBezTo>
                  <a:cubicBezTo>
                    <a:pt x="513" y="1666"/>
                    <a:pt x="517" y="1665"/>
                    <a:pt x="514" y="1668"/>
                  </a:cubicBezTo>
                  <a:cubicBezTo>
                    <a:pt x="511" y="1669"/>
                    <a:pt x="510" y="1666"/>
                    <a:pt x="510" y="1665"/>
                  </a:cubicBezTo>
                  <a:cubicBezTo>
                    <a:pt x="509" y="1662"/>
                    <a:pt x="506" y="1662"/>
                    <a:pt x="504" y="1661"/>
                  </a:cubicBezTo>
                  <a:cubicBezTo>
                    <a:pt x="501" y="1659"/>
                    <a:pt x="493" y="1650"/>
                    <a:pt x="492" y="1651"/>
                  </a:cubicBezTo>
                  <a:cubicBezTo>
                    <a:pt x="490" y="1652"/>
                    <a:pt x="498" y="1662"/>
                    <a:pt x="498" y="1663"/>
                  </a:cubicBezTo>
                  <a:cubicBezTo>
                    <a:pt x="499" y="1667"/>
                    <a:pt x="491" y="1662"/>
                    <a:pt x="494" y="1665"/>
                  </a:cubicBezTo>
                  <a:cubicBezTo>
                    <a:pt x="495" y="1668"/>
                    <a:pt x="510" y="1682"/>
                    <a:pt x="508" y="1684"/>
                  </a:cubicBezTo>
                  <a:cubicBezTo>
                    <a:pt x="506" y="1686"/>
                    <a:pt x="487" y="1663"/>
                    <a:pt x="484" y="1665"/>
                  </a:cubicBezTo>
                  <a:cubicBezTo>
                    <a:pt x="483" y="1666"/>
                    <a:pt x="504" y="1687"/>
                    <a:pt x="504" y="1687"/>
                  </a:cubicBezTo>
                  <a:cubicBezTo>
                    <a:pt x="505" y="1687"/>
                    <a:pt x="512" y="1691"/>
                    <a:pt x="510" y="1692"/>
                  </a:cubicBezTo>
                  <a:cubicBezTo>
                    <a:pt x="507" y="1694"/>
                    <a:pt x="495" y="1691"/>
                    <a:pt x="502" y="1696"/>
                  </a:cubicBezTo>
                  <a:cubicBezTo>
                    <a:pt x="503" y="1697"/>
                    <a:pt x="503" y="1698"/>
                    <a:pt x="502" y="1698"/>
                  </a:cubicBezTo>
                  <a:cubicBezTo>
                    <a:pt x="498" y="1705"/>
                    <a:pt x="497" y="1706"/>
                    <a:pt x="492" y="1711"/>
                  </a:cubicBezTo>
                  <a:cubicBezTo>
                    <a:pt x="491" y="1712"/>
                    <a:pt x="497" y="1712"/>
                    <a:pt x="499" y="1713"/>
                  </a:cubicBezTo>
                  <a:cubicBezTo>
                    <a:pt x="501" y="1714"/>
                    <a:pt x="507" y="1716"/>
                    <a:pt x="508" y="1722"/>
                  </a:cubicBezTo>
                  <a:cubicBezTo>
                    <a:pt x="510" y="1731"/>
                    <a:pt x="487" y="1746"/>
                    <a:pt x="488" y="1753"/>
                  </a:cubicBezTo>
                  <a:cubicBezTo>
                    <a:pt x="489" y="1756"/>
                    <a:pt x="485" y="1764"/>
                    <a:pt x="488" y="1768"/>
                  </a:cubicBezTo>
                  <a:cubicBezTo>
                    <a:pt x="491" y="1771"/>
                    <a:pt x="502" y="1781"/>
                    <a:pt x="499" y="1784"/>
                  </a:cubicBezTo>
                  <a:cubicBezTo>
                    <a:pt x="498" y="1785"/>
                    <a:pt x="486" y="1782"/>
                    <a:pt x="486" y="1784"/>
                  </a:cubicBezTo>
                  <a:cubicBezTo>
                    <a:pt x="486" y="1788"/>
                    <a:pt x="485" y="1800"/>
                    <a:pt x="486" y="1808"/>
                  </a:cubicBezTo>
                  <a:cubicBezTo>
                    <a:pt x="486" y="1809"/>
                    <a:pt x="481" y="1823"/>
                    <a:pt x="487" y="1818"/>
                  </a:cubicBezTo>
                  <a:cubicBezTo>
                    <a:pt x="489" y="1816"/>
                    <a:pt x="490" y="1819"/>
                    <a:pt x="489" y="1822"/>
                  </a:cubicBezTo>
                  <a:cubicBezTo>
                    <a:pt x="488" y="1825"/>
                    <a:pt x="480" y="1820"/>
                    <a:pt x="478" y="1824"/>
                  </a:cubicBezTo>
                  <a:cubicBezTo>
                    <a:pt x="477" y="1827"/>
                    <a:pt x="483" y="1833"/>
                    <a:pt x="481" y="1837"/>
                  </a:cubicBezTo>
                  <a:cubicBezTo>
                    <a:pt x="477" y="1842"/>
                    <a:pt x="473" y="1835"/>
                    <a:pt x="469" y="1839"/>
                  </a:cubicBezTo>
                  <a:cubicBezTo>
                    <a:pt x="460" y="1852"/>
                    <a:pt x="448" y="1913"/>
                    <a:pt x="434" y="1918"/>
                  </a:cubicBezTo>
                  <a:cubicBezTo>
                    <a:pt x="426" y="1921"/>
                    <a:pt x="432" y="1907"/>
                    <a:pt x="431" y="1907"/>
                  </a:cubicBezTo>
                  <a:cubicBezTo>
                    <a:pt x="426" y="1903"/>
                    <a:pt x="413" y="1908"/>
                    <a:pt x="410" y="1907"/>
                  </a:cubicBezTo>
                  <a:cubicBezTo>
                    <a:pt x="407" y="1906"/>
                    <a:pt x="413" y="1901"/>
                    <a:pt x="410" y="1901"/>
                  </a:cubicBezTo>
                  <a:cubicBezTo>
                    <a:pt x="404" y="1899"/>
                    <a:pt x="394" y="1910"/>
                    <a:pt x="390" y="1910"/>
                  </a:cubicBezTo>
                  <a:cubicBezTo>
                    <a:pt x="381" y="1911"/>
                    <a:pt x="389" y="1906"/>
                    <a:pt x="384" y="1904"/>
                  </a:cubicBezTo>
                  <a:cubicBezTo>
                    <a:pt x="384" y="1903"/>
                    <a:pt x="383" y="1905"/>
                    <a:pt x="383" y="1905"/>
                  </a:cubicBezTo>
                  <a:cubicBezTo>
                    <a:pt x="372" y="1913"/>
                    <a:pt x="345" y="1901"/>
                    <a:pt x="331" y="1907"/>
                  </a:cubicBezTo>
                  <a:cubicBezTo>
                    <a:pt x="323" y="1910"/>
                    <a:pt x="345" y="1927"/>
                    <a:pt x="333" y="1929"/>
                  </a:cubicBezTo>
                  <a:cubicBezTo>
                    <a:pt x="324" y="1930"/>
                    <a:pt x="321" y="1915"/>
                    <a:pt x="311" y="1924"/>
                  </a:cubicBezTo>
                  <a:cubicBezTo>
                    <a:pt x="258" y="1970"/>
                    <a:pt x="323" y="1991"/>
                    <a:pt x="286" y="2013"/>
                  </a:cubicBezTo>
                  <a:cubicBezTo>
                    <a:pt x="277" y="2019"/>
                    <a:pt x="255" y="2006"/>
                    <a:pt x="243" y="2008"/>
                  </a:cubicBezTo>
                  <a:cubicBezTo>
                    <a:pt x="217" y="2012"/>
                    <a:pt x="200" y="2023"/>
                    <a:pt x="172" y="2014"/>
                  </a:cubicBezTo>
                  <a:cubicBezTo>
                    <a:pt x="170" y="2013"/>
                    <a:pt x="164" y="2015"/>
                    <a:pt x="164" y="2013"/>
                  </a:cubicBezTo>
                  <a:cubicBezTo>
                    <a:pt x="164" y="2011"/>
                    <a:pt x="166" y="2010"/>
                    <a:pt x="166" y="2008"/>
                  </a:cubicBezTo>
                  <a:cubicBezTo>
                    <a:pt x="166" y="2008"/>
                    <a:pt x="177" y="2008"/>
                    <a:pt x="178" y="2005"/>
                  </a:cubicBezTo>
                  <a:cubicBezTo>
                    <a:pt x="178" y="2004"/>
                    <a:pt x="178" y="2002"/>
                    <a:pt x="177" y="2002"/>
                  </a:cubicBezTo>
                  <a:cubicBezTo>
                    <a:pt x="161" y="1989"/>
                    <a:pt x="185" y="1983"/>
                    <a:pt x="185" y="1973"/>
                  </a:cubicBezTo>
                  <a:cubicBezTo>
                    <a:pt x="185" y="1963"/>
                    <a:pt x="174" y="1968"/>
                    <a:pt x="174" y="1959"/>
                  </a:cubicBezTo>
                  <a:cubicBezTo>
                    <a:pt x="174" y="1958"/>
                    <a:pt x="142" y="1903"/>
                    <a:pt x="137" y="1895"/>
                  </a:cubicBezTo>
                  <a:cubicBezTo>
                    <a:pt x="135" y="1893"/>
                    <a:pt x="128" y="1890"/>
                    <a:pt x="130" y="1888"/>
                  </a:cubicBezTo>
                  <a:cubicBezTo>
                    <a:pt x="137" y="1882"/>
                    <a:pt x="154" y="1906"/>
                    <a:pt x="163" y="1897"/>
                  </a:cubicBezTo>
                  <a:cubicBezTo>
                    <a:pt x="170" y="1888"/>
                    <a:pt x="145" y="1877"/>
                    <a:pt x="146" y="1872"/>
                  </a:cubicBezTo>
                  <a:cubicBezTo>
                    <a:pt x="148" y="1856"/>
                    <a:pt x="191" y="1882"/>
                    <a:pt x="169" y="1840"/>
                  </a:cubicBezTo>
                  <a:cubicBezTo>
                    <a:pt x="166" y="1834"/>
                    <a:pt x="157" y="1844"/>
                    <a:pt x="154" y="1840"/>
                  </a:cubicBezTo>
                  <a:cubicBezTo>
                    <a:pt x="142" y="1823"/>
                    <a:pt x="141" y="1813"/>
                    <a:pt x="121" y="1802"/>
                  </a:cubicBezTo>
                  <a:cubicBezTo>
                    <a:pt x="118" y="1800"/>
                    <a:pt x="123" y="1791"/>
                    <a:pt x="119" y="1787"/>
                  </a:cubicBezTo>
                  <a:cubicBezTo>
                    <a:pt x="116" y="1784"/>
                    <a:pt x="103" y="1765"/>
                    <a:pt x="103" y="1764"/>
                  </a:cubicBezTo>
                  <a:cubicBezTo>
                    <a:pt x="106" y="1757"/>
                    <a:pt x="99" y="1742"/>
                    <a:pt x="96" y="1743"/>
                  </a:cubicBezTo>
                  <a:cubicBezTo>
                    <a:pt x="96" y="1744"/>
                    <a:pt x="94" y="1744"/>
                    <a:pt x="94" y="1743"/>
                  </a:cubicBezTo>
                  <a:cubicBezTo>
                    <a:pt x="93" y="1734"/>
                    <a:pt x="99" y="1738"/>
                    <a:pt x="96" y="1729"/>
                  </a:cubicBezTo>
                  <a:cubicBezTo>
                    <a:pt x="96" y="1728"/>
                    <a:pt x="96" y="1727"/>
                    <a:pt x="95" y="1726"/>
                  </a:cubicBezTo>
                  <a:cubicBezTo>
                    <a:pt x="94" y="1726"/>
                    <a:pt x="83" y="1755"/>
                    <a:pt x="81" y="1736"/>
                  </a:cubicBezTo>
                  <a:cubicBezTo>
                    <a:pt x="80" y="1719"/>
                    <a:pt x="88" y="1715"/>
                    <a:pt x="78" y="1706"/>
                  </a:cubicBezTo>
                  <a:cubicBezTo>
                    <a:pt x="78" y="1706"/>
                    <a:pt x="78" y="1705"/>
                    <a:pt x="78" y="1705"/>
                  </a:cubicBezTo>
                  <a:cubicBezTo>
                    <a:pt x="78" y="1703"/>
                    <a:pt x="74" y="1698"/>
                    <a:pt x="75" y="1696"/>
                  </a:cubicBezTo>
                  <a:cubicBezTo>
                    <a:pt x="75" y="1695"/>
                    <a:pt x="84" y="1694"/>
                    <a:pt x="83" y="1693"/>
                  </a:cubicBezTo>
                  <a:cubicBezTo>
                    <a:pt x="80" y="1689"/>
                    <a:pt x="64" y="1695"/>
                    <a:pt x="63" y="1693"/>
                  </a:cubicBezTo>
                  <a:cubicBezTo>
                    <a:pt x="63" y="1688"/>
                    <a:pt x="71" y="1684"/>
                    <a:pt x="73" y="1682"/>
                  </a:cubicBezTo>
                  <a:cubicBezTo>
                    <a:pt x="77" y="1677"/>
                    <a:pt x="62" y="1678"/>
                    <a:pt x="60" y="1673"/>
                  </a:cubicBezTo>
                  <a:cubicBezTo>
                    <a:pt x="58" y="1671"/>
                    <a:pt x="62" y="1666"/>
                    <a:pt x="64" y="1666"/>
                  </a:cubicBezTo>
                  <a:cubicBezTo>
                    <a:pt x="72" y="1664"/>
                    <a:pt x="66" y="1662"/>
                    <a:pt x="66" y="1658"/>
                  </a:cubicBezTo>
                  <a:cubicBezTo>
                    <a:pt x="66" y="1651"/>
                    <a:pt x="82" y="1625"/>
                    <a:pt x="80" y="1620"/>
                  </a:cubicBezTo>
                  <a:cubicBezTo>
                    <a:pt x="79" y="1619"/>
                    <a:pt x="71" y="1612"/>
                    <a:pt x="73" y="1608"/>
                  </a:cubicBezTo>
                  <a:cubicBezTo>
                    <a:pt x="74" y="1605"/>
                    <a:pt x="80" y="1606"/>
                    <a:pt x="80" y="1602"/>
                  </a:cubicBezTo>
                  <a:cubicBezTo>
                    <a:pt x="79" y="1600"/>
                    <a:pt x="71" y="1605"/>
                    <a:pt x="69" y="1604"/>
                  </a:cubicBezTo>
                  <a:cubicBezTo>
                    <a:pt x="63" y="1602"/>
                    <a:pt x="51" y="1618"/>
                    <a:pt x="46" y="1615"/>
                  </a:cubicBezTo>
                  <a:cubicBezTo>
                    <a:pt x="42" y="1612"/>
                    <a:pt x="57" y="1593"/>
                    <a:pt x="59" y="1592"/>
                  </a:cubicBezTo>
                  <a:cubicBezTo>
                    <a:pt x="60" y="1592"/>
                    <a:pt x="62" y="1591"/>
                    <a:pt x="60" y="1590"/>
                  </a:cubicBezTo>
                  <a:cubicBezTo>
                    <a:pt x="57" y="1587"/>
                    <a:pt x="54" y="1593"/>
                    <a:pt x="53" y="1593"/>
                  </a:cubicBezTo>
                  <a:cubicBezTo>
                    <a:pt x="51" y="1592"/>
                    <a:pt x="51" y="1588"/>
                    <a:pt x="51" y="1587"/>
                  </a:cubicBezTo>
                  <a:cubicBezTo>
                    <a:pt x="48" y="1579"/>
                    <a:pt x="48" y="1605"/>
                    <a:pt x="42" y="1611"/>
                  </a:cubicBezTo>
                  <a:cubicBezTo>
                    <a:pt x="41" y="1611"/>
                    <a:pt x="37" y="1614"/>
                    <a:pt x="36" y="1614"/>
                  </a:cubicBezTo>
                  <a:cubicBezTo>
                    <a:pt x="35" y="1612"/>
                    <a:pt x="44" y="1605"/>
                    <a:pt x="39" y="1607"/>
                  </a:cubicBezTo>
                  <a:cubicBezTo>
                    <a:pt x="33" y="1609"/>
                    <a:pt x="36" y="1602"/>
                    <a:pt x="38" y="1603"/>
                  </a:cubicBezTo>
                  <a:cubicBezTo>
                    <a:pt x="40" y="1603"/>
                    <a:pt x="39" y="1595"/>
                    <a:pt x="37" y="1596"/>
                  </a:cubicBezTo>
                  <a:cubicBezTo>
                    <a:pt x="36" y="1597"/>
                    <a:pt x="41" y="1592"/>
                    <a:pt x="39" y="1588"/>
                  </a:cubicBezTo>
                  <a:cubicBezTo>
                    <a:pt x="38" y="1586"/>
                    <a:pt x="35" y="1593"/>
                    <a:pt x="33" y="1595"/>
                  </a:cubicBezTo>
                  <a:cubicBezTo>
                    <a:pt x="30" y="1598"/>
                    <a:pt x="24" y="1603"/>
                    <a:pt x="21" y="1603"/>
                  </a:cubicBezTo>
                  <a:cubicBezTo>
                    <a:pt x="20" y="1603"/>
                    <a:pt x="21" y="1596"/>
                    <a:pt x="20" y="1595"/>
                  </a:cubicBezTo>
                  <a:cubicBezTo>
                    <a:pt x="20" y="1591"/>
                    <a:pt x="23" y="1579"/>
                    <a:pt x="27" y="1570"/>
                  </a:cubicBezTo>
                  <a:cubicBezTo>
                    <a:pt x="27" y="1570"/>
                    <a:pt x="27" y="1569"/>
                    <a:pt x="26" y="1569"/>
                  </a:cubicBezTo>
                  <a:cubicBezTo>
                    <a:pt x="14" y="1552"/>
                    <a:pt x="26" y="1541"/>
                    <a:pt x="22" y="1531"/>
                  </a:cubicBezTo>
                  <a:cubicBezTo>
                    <a:pt x="17" y="1522"/>
                    <a:pt x="0" y="1494"/>
                    <a:pt x="29" y="1494"/>
                  </a:cubicBezTo>
                  <a:cubicBezTo>
                    <a:pt x="34" y="1494"/>
                    <a:pt x="35" y="1511"/>
                    <a:pt x="39" y="1511"/>
                  </a:cubicBezTo>
                  <a:cubicBezTo>
                    <a:pt x="41" y="1521"/>
                    <a:pt x="43" y="1532"/>
                    <a:pt x="57" y="1521"/>
                  </a:cubicBezTo>
                  <a:cubicBezTo>
                    <a:pt x="72" y="1509"/>
                    <a:pt x="72" y="1491"/>
                    <a:pt x="69" y="1473"/>
                  </a:cubicBezTo>
                  <a:cubicBezTo>
                    <a:pt x="72" y="1482"/>
                    <a:pt x="76" y="1490"/>
                    <a:pt x="73" y="1495"/>
                  </a:cubicBezTo>
                  <a:cubicBezTo>
                    <a:pt x="72" y="1496"/>
                    <a:pt x="75" y="1498"/>
                    <a:pt x="75" y="1499"/>
                  </a:cubicBezTo>
                  <a:cubicBezTo>
                    <a:pt x="76" y="1503"/>
                    <a:pt x="75" y="1501"/>
                    <a:pt x="76" y="1505"/>
                  </a:cubicBezTo>
                  <a:cubicBezTo>
                    <a:pt x="78" y="1509"/>
                    <a:pt x="73" y="1508"/>
                    <a:pt x="79" y="1511"/>
                  </a:cubicBezTo>
                  <a:cubicBezTo>
                    <a:pt x="80" y="1512"/>
                    <a:pt x="80" y="1513"/>
                    <a:pt x="80" y="1515"/>
                  </a:cubicBezTo>
                  <a:cubicBezTo>
                    <a:pt x="82" y="1529"/>
                    <a:pt x="85" y="1516"/>
                    <a:pt x="81" y="1509"/>
                  </a:cubicBezTo>
                  <a:cubicBezTo>
                    <a:pt x="81" y="1508"/>
                    <a:pt x="81" y="1508"/>
                    <a:pt x="81" y="1508"/>
                  </a:cubicBezTo>
                  <a:cubicBezTo>
                    <a:pt x="81" y="1509"/>
                    <a:pt x="74" y="1470"/>
                    <a:pt x="75" y="1468"/>
                  </a:cubicBezTo>
                  <a:cubicBezTo>
                    <a:pt x="75" y="1467"/>
                    <a:pt x="76" y="1464"/>
                    <a:pt x="78" y="1464"/>
                  </a:cubicBezTo>
                  <a:cubicBezTo>
                    <a:pt x="78" y="1464"/>
                    <a:pt x="82" y="1478"/>
                    <a:pt x="85" y="1479"/>
                  </a:cubicBezTo>
                  <a:cubicBezTo>
                    <a:pt x="91" y="1482"/>
                    <a:pt x="102" y="1489"/>
                    <a:pt x="105" y="1497"/>
                  </a:cubicBezTo>
                  <a:cubicBezTo>
                    <a:pt x="105" y="1497"/>
                    <a:pt x="106" y="1513"/>
                    <a:pt x="107" y="1510"/>
                  </a:cubicBezTo>
                  <a:cubicBezTo>
                    <a:pt x="118" y="1489"/>
                    <a:pt x="89" y="1485"/>
                    <a:pt x="83" y="1470"/>
                  </a:cubicBezTo>
                  <a:cubicBezTo>
                    <a:pt x="81" y="1465"/>
                    <a:pt x="81" y="1462"/>
                    <a:pt x="84" y="1457"/>
                  </a:cubicBezTo>
                  <a:cubicBezTo>
                    <a:pt x="93" y="1442"/>
                    <a:pt x="81" y="1453"/>
                    <a:pt x="80" y="1452"/>
                  </a:cubicBezTo>
                  <a:cubicBezTo>
                    <a:pt x="77" y="1450"/>
                    <a:pt x="77" y="1441"/>
                    <a:pt x="76" y="1441"/>
                  </a:cubicBezTo>
                  <a:cubicBezTo>
                    <a:pt x="70" y="1441"/>
                    <a:pt x="76" y="1459"/>
                    <a:pt x="73" y="1464"/>
                  </a:cubicBezTo>
                  <a:cubicBezTo>
                    <a:pt x="72" y="1467"/>
                    <a:pt x="67" y="1458"/>
                    <a:pt x="65" y="1457"/>
                  </a:cubicBezTo>
                  <a:cubicBezTo>
                    <a:pt x="61" y="1443"/>
                    <a:pt x="57" y="1430"/>
                    <a:pt x="60" y="1423"/>
                  </a:cubicBezTo>
                  <a:cubicBezTo>
                    <a:pt x="65" y="1412"/>
                    <a:pt x="82" y="1418"/>
                    <a:pt x="80" y="1402"/>
                  </a:cubicBezTo>
                  <a:cubicBezTo>
                    <a:pt x="80" y="1397"/>
                    <a:pt x="74" y="1393"/>
                    <a:pt x="74" y="1388"/>
                  </a:cubicBezTo>
                  <a:cubicBezTo>
                    <a:pt x="74" y="1378"/>
                    <a:pt x="101" y="1382"/>
                    <a:pt x="105" y="1380"/>
                  </a:cubicBezTo>
                  <a:cubicBezTo>
                    <a:pt x="111" y="1378"/>
                    <a:pt x="130" y="1360"/>
                    <a:pt x="133" y="1354"/>
                  </a:cubicBezTo>
                  <a:cubicBezTo>
                    <a:pt x="134" y="1352"/>
                    <a:pt x="133" y="1349"/>
                    <a:pt x="133" y="1346"/>
                  </a:cubicBezTo>
                  <a:cubicBezTo>
                    <a:pt x="133" y="1341"/>
                    <a:pt x="133" y="1336"/>
                    <a:pt x="133" y="1331"/>
                  </a:cubicBezTo>
                  <a:cubicBezTo>
                    <a:pt x="133" y="1328"/>
                    <a:pt x="132" y="1325"/>
                    <a:pt x="133" y="1323"/>
                  </a:cubicBezTo>
                  <a:cubicBezTo>
                    <a:pt x="136" y="1313"/>
                    <a:pt x="144" y="1310"/>
                    <a:pt x="144" y="1299"/>
                  </a:cubicBezTo>
                  <a:cubicBezTo>
                    <a:pt x="144" y="1274"/>
                    <a:pt x="108" y="1247"/>
                    <a:pt x="111" y="1224"/>
                  </a:cubicBezTo>
                  <a:cubicBezTo>
                    <a:pt x="113" y="1210"/>
                    <a:pt x="140" y="1218"/>
                    <a:pt x="148" y="1212"/>
                  </a:cubicBezTo>
                  <a:cubicBezTo>
                    <a:pt x="151" y="1210"/>
                    <a:pt x="167" y="1172"/>
                    <a:pt x="166" y="1169"/>
                  </a:cubicBezTo>
                  <a:cubicBezTo>
                    <a:pt x="155" y="1140"/>
                    <a:pt x="108" y="1143"/>
                    <a:pt x="101" y="1115"/>
                  </a:cubicBezTo>
                  <a:cubicBezTo>
                    <a:pt x="94" y="1093"/>
                    <a:pt x="119" y="1061"/>
                    <a:pt x="117" y="1037"/>
                  </a:cubicBezTo>
                  <a:cubicBezTo>
                    <a:pt x="115" y="1019"/>
                    <a:pt x="95" y="1005"/>
                    <a:pt x="92" y="988"/>
                  </a:cubicBezTo>
                  <a:cubicBezTo>
                    <a:pt x="90" y="982"/>
                    <a:pt x="97" y="972"/>
                    <a:pt x="98" y="966"/>
                  </a:cubicBezTo>
                  <a:cubicBezTo>
                    <a:pt x="98" y="960"/>
                    <a:pt x="91" y="949"/>
                    <a:pt x="93" y="944"/>
                  </a:cubicBezTo>
                  <a:cubicBezTo>
                    <a:pt x="93" y="944"/>
                    <a:pt x="105" y="926"/>
                    <a:pt x="105" y="926"/>
                  </a:cubicBezTo>
                  <a:cubicBezTo>
                    <a:pt x="105" y="914"/>
                    <a:pt x="84" y="901"/>
                    <a:pt x="84" y="889"/>
                  </a:cubicBezTo>
                  <a:cubicBezTo>
                    <a:pt x="85" y="878"/>
                    <a:pt x="106" y="868"/>
                    <a:pt x="108" y="857"/>
                  </a:cubicBezTo>
                  <a:cubicBezTo>
                    <a:pt x="109" y="852"/>
                    <a:pt x="102" y="848"/>
                    <a:pt x="102" y="842"/>
                  </a:cubicBezTo>
                  <a:cubicBezTo>
                    <a:pt x="103" y="827"/>
                    <a:pt x="130" y="803"/>
                    <a:pt x="156" y="786"/>
                  </a:cubicBezTo>
                  <a:cubicBezTo>
                    <a:pt x="155" y="791"/>
                    <a:pt x="173" y="792"/>
                    <a:pt x="175" y="799"/>
                  </a:cubicBezTo>
                  <a:cubicBezTo>
                    <a:pt x="176" y="800"/>
                    <a:pt x="183" y="815"/>
                    <a:pt x="184" y="815"/>
                  </a:cubicBezTo>
                  <a:cubicBezTo>
                    <a:pt x="194" y="817"/>
                    <a:pt x="183" y="798"/>
                    <a:pt x="180" y="797"/>
                  </a:cubicBezTo>
                  <a:cubicBezTo>
                    <a:pt x="179" y="796"/>
                    <a:pt x="179" y="796"/>
                    <a:pt x="179" y="796"/>
                  </a:cubicBezTo>
                  <a:cubicBezTo>
                    <a:pt x="178" y="795"/>
                    <a:pt x="171" y="783"/>
                    <a:pt x="164" y="781"/>
                  </a:cubicBezTo>
                  <a:cubicBezTo>
                    <a:pt x="166" y="780"/>
                    <a:pt x="167" y="779"/>
                    <a:pt x="169" y="778"/>
                  </a:cubicBezTo>
                  <a:cubicBezTo>
                    <a:pt x="170" y="781"/>
                    <a:pt x="171" y="783"/>
                    <a:pt x="172" y="781"/>
                  </a:cubicBezTo>
                  <a:cubicBezTo>
                    <a:pt x="172" y="780"/>
                    <a:pt x="172" y="780"/>
                    <a:pt x="172" y="780"/>
                  </a:cubicBezTo>
                  <a:cubicBezTo>
                    <a:pt x="172" y="778"/>
                    <a:pt x="173" y="777"/>
                    <a:pt x="173" y="776"/>
                  </a:cubicBezTo>
                  <a:cubicBezTo>
                    <a:pt x="184" y="770"/>
                    <a:pt x="194" y="766"/>
                    <a:pt x="200" y="765"/>
                  </a:cubicBezTo>
                  <a:cubicBezTo>
                    <a:pt x="222" y="763"/>
                    <a:pt x="255" y="784"/>
                    <a:pt x="272" y="771"/>
                  </a:cubicBezTo>
                  <a:cubicBezTo>
                    <a:pt x="279" y="776"/>
                    <a:pt x="285" y="779"/>
                    <a:pt x="286" y="780"/>
                  </a:cubicBezTo>
                  <a:cubicBezTo>
                    <a:pt x="289" y="782"/>
                    <a:pt x="276" y="785"/>
                    <a:pt x="277" y="786"/>
                  </a:cubicBezTo>
                  <a:cubicBezTo>
                    <a:pt x="277" y="788"/>
                    <a:pt x="281" y="786"/>
                    <a:pt x="282" y="786"/>
                  </a:cubicBezTo>
                  <a:cubicBezTo>
                    <a:pt x="292" y="783"/>
                    <a:pt x="315" y="800"/>
                    <a:pt x="318" y="810"/>
                  </a:cubicBezTo>
                  <a:cubicBezTo>
                    <a:pt x="319" y="811"/>
                    <a:pt x="319" y="811"/>
                    <a:pt x="319" y="811"/>
                  </a:cubicBezTo>
                  <a:cubicBezTo>
                    <a:pt x="346" y="817"/>
                    <a:pt x="298" y="785"/>
                    <a:pt x="274" y="769"/>
                  </a:cubicBezTo>
                  <a:cubicBezTo>
                    <a:pt x="278" y="766"/>
                    <a:pt x="280" y="760"/>
                    <a:pt x="282" y="753"/>
                  </a:cubicBezTo>
                  <a:cubicBezTo>
                    <a:pt x="293" y="690"/>
                    <a:pt x="255" y="720"/>
                    <a:pt x="240" y="695"/>
                  </a:cubicBezTo>
                  <a:cubicBezTo>
                    <a:pt x="239" y="693"/>
                    <a:pt x="241" y="689"/>
                    <a:pt x="243" y="684"/>
                  </a:cubicBezTo>
                  <a:cubicBezTo>
                    <a:pt x="249" y="688"/>
                    <a:pt x="273" y="700"/>
                    <a:pt x="277" y="701"/>
                  </a:cubicBezTo>
                  <a:cubicBezTo>
                    <a:pt x="274" y="700"/>
                    <a:pt x="288" y="719"/>
                    <a:pt x="299" y="723"/>
                  </a:cubicBezTo>
                  <a:cubicBezTo>
                    <a:pt x="317" y="729"/>
                    <a:pt x="352" y="724"/>
                    <a:pt x="366" y="742"/>
                  </a:cubicBezTo>
                  <a:cubicBezTo>
                    <a:pt x="369" y="746"/>
                    <a:pt x="386" y="762"/>
                    <a:pt x="388" y="771"/>
                  </a:cubicBezTo>
                  <a:cubicBezTo>
                    <a:pt x="388" y="775"/>
                    <a:pt x="384" y="771"/>
                    <a:pt x="385" y="776"/>
                  </a:cubicBezTo>
                  <a:cubicBezTo>
                    <a:pt x="386" y="778"/>
                    <a:pt x="403" y="786"/>
                    <a:pt x="399" y="789"/>
                  </a:cubicBezTo>
                  <a:cubicBezTo>
                    <a:pt x="397" y="790"/>
                    <a:pt x="395" y="785"/>
                    <a:pt x="393" y="785"/>
                  </a:cubicBezTo>
                  <a:cubicBezTo>
                    <a:pt x="392" y="785"/>
                    <a:pt x="403" y="797"/>
                    <a:pt x="387" y="790"/>
                  </a:cubicBezTo>
                  <a:cubicBezTo>
                    <a:pt x="384" y="788"/>
                    <a:pt x="378" y="779"/>
                    <a:pt x="379" y="788"/>
                  </a:cubicBezTo>
                  <a:cubicBezTo>
                    <a:pt x="379" y="793"/>
                    <a:pt x="400" y="797"/>
                    <a:pt x="405" y="801"/>
                  </a:cubicBezTo>
                  <a:cubicBezTo>
                    <a:pt x="408" y="804"/>
                    <a:pt x="403" y="818"/>
                    <a:pt x="404" y="819"/>
                  </a:cubicBezTo>
                  <a:cubicBezTo>
                    <a:pt x="406" y="820"/>
                    <a:pt x="407" y="816"/>
                    <a:pt x="408" y="816"/>
                  </a:cubicBezTo>
                  <a:cubicBezTo>
                    <a:pt x="413" y="815"/>
                    <a:pt x="408" y="801"/>
                    <a:pt x="423" y="809"/>
                  </a:cubicBezTo>
                  <a:cubicBezTo>
                    <a:pt x="426" y="810"/>
                    <a:pt x="422" y="814"/>
                    <a:pt x="423" y="816"/>
                  </a:cubicBezTo>
                  <a:cubicBezTo>
                    <a:pt x="424" y="817"/>
                    <a:pt x="430" y="820"/>
                    <a:pt x="432" y="819"/>
                  </a:cubicBezTo>
                  <a:cubicBezTo>
                    <a:pt x="432" y="819"/>
                    <a:pt x="426" y="809"/>
                    <a:pt x="425" y="808"/>
                  </a:cubicBezTo>
                  <a:cubicBezTo>
                    <a:pt x="423" y="803"/>
                    <a:pt x="414" y="805"/>
                    <a:pt x="410" y="802"/>
                  </a:cubicBezTo>
                  <a:cubicBezTo>
                    <a:pt x="404" y="797"/>
                    <a:pt x="405" y="790"/>
                    <a:pt x="401" y="783"/>
                  </a:cubicBezTo>
                  <a:cubicBezTo>
                    <a:pt x="399" y="782"/>
                    <a:pt x="381" y="735"/>
                    <a:pt x="381" y="732"/>
                  </a:cubicBezTo>
                  <a:cubicBezTo>
                    <a:pt x="381" y="730"/>
                    <a:pt x="362" y="726"/>
                    <a:pt x="361" y="728"/>
                  </a:cubicBezTo>
                  <a:cubicBezTo>
                    <a:pt x="361" y="730"/>
                    <a:pt x="390" y="740"/>
                    <a:pt x="378" y="750"/>
                  </a:cubicBezTo>
                  <a:cubicBezTo>
                    <a:pt x="377" y="752"/>
                    <a:pt x="374" y="746"/>
                    <a:pt x="373" y="746"/>
                  </a:cubicBezTo>
                  <a:cubicBezTo>
                    <a:pt x="370" y="739"/>
                    <a:pt x="362" y="731"/>
                    <a:pt x="355" y="729"/>
                  </a:cubicBezTo>
                  <a:cubicBezTo>
                    <a:pt x="330" y="723"/>
                    <a:pt x="305" y="724"/>
                    <a:pt x="285" y="708"/>
                  </a:cubicBezTo>
                  <a:cubicBezTo>
                    <a:pt x="282" y="705"/>
                    <a:pt x="285" y="702"/>
                    <a:pt x="283" y="700"/>
                  </a:cubicBezTo>
                  <a:cubicBezTo>
                    <a:pt x="283" y="699"/>
                    <a:pt x="257" y="683"/>
                    <a:pt x="253" y="683"/>
                  </a:cubicBezTo>
                  <a:cubicBezTo>
                    <a:pt x="251" y="683"/>
                    <a:pt x="247" y="682"/>
                    <a:pt x="245" y="682"/>
                  </a:cubicBezTo>
                  <a:cubicBezTo>
                    <a:pt x="258" y="660"/>
                    <a:pt x="292" y="620"/>
                    <a:pt x="297" y="609"/>
                  </a:cubicBezTo>
                  <a:cubicBezTo>
                    <a:pt x="299" y="604"/>
                    <a:pt x="298" y="597"/>
                    <a:pt x="301" y="592"/>
                  </a:cubicBezTo>
                  <a:cubicBezTo>
                    <a:pt x="301" y="592"/>
                    <a:pt x="313" y="582"/>
                    <a:pt x="313" y="582"/>
                  </a:cubicBezTo>
                  <a:cubicBezTo>
                    <a:pt x="314" y="578"/>
                    <a:pt x="313" y="574"/>
                    <a:pt x="313" y="571"/>
                  </a:cubicBezTo>
                  <a:cubicBezTo>
                    <a:pt x="313" y="571"/>
                    <a:pt x="313" y="549"/>
                    <a:pt x="313" y="549"/>
                  </a:cubicBezTo>
                  <a:cubicBezTo>
                    <a:pt x="313" y="546"/>
                    <a:pt x="312" y="542"/>
                    <a:pt x="313" y="538"/>
                  </a:cubicBezTo>
                  <a:cubicBezTo>
                    <a:pt x="315" y="526"/>
                    <a:pt x="324" y="515"/>
                    <a:pt x="325" y="503"/>
                  </a:cubicBezTo>
                  <a:cubicBezTo>
                    <a:pt x="326" y="494"/>
                    <a:pt x="308" y="464"/>
                    <a:pt x="313" y="457"/>
                  </a:cubicBezTo>
                  <a:cubicBezTo>
                    <a:pt x="314" y="455"/>
                    <a:pt x="394" y="454"/>
                    <a:pt x="399" y="434"/>
                  </a:cubicBezTo>
                  <a:cubicBezTo>
                    <a:pt x="401" y="425"/>
                    <a:pt x="388" y="412"/>
                    <a:pt x="390" y="403"/>
                  </a:cubicBezTo>
                  <a:cubicBezTo>
                    <a:pt x="392" y="397"/>
                    <a:pt x="409" y="390"/>
                    <a:pt x="414" y="385"/>
                  </a:cubicBezTo>
                  <a:cubicBezTo>
                    <a:pt x="427" y="373"/>
                    <a:pt x="435" y="354"/>
                    <a:pt x="448" y="342"/>
                  </a:cubicBezTo>
                  <a:cubicBezTo>
                    <a:pt x="456" y="334"/>
                    <a:pt x="471" y="330"/>
                    <a:pt x="478" y="321"/>
                  </a:cubicBezTo>
                  <a:cubicBezTo>
                    <a:pt x="500" y="292"/>
                    <a:pt x="452" y="273"/>
                    <a:pt x="454" y="259"/>
                  </a:cubicBezTo>
                  <a:cubicBezTo>
                    <a:pt x="457" y="243"/>
                    <a:pt x="478" y="248"/>
                    <a:pt x="485" y="238"/>
                  </a:cubicBezTo>
                  <a:cubicBezTo>
                    <a:pt x="498" y="221"/>
                    <a:pt x="500" y="200"/>
                    <a:pt x="512" y="184"/>
                  </a:cubicBezTo>
                  <a:cubicBezTo>
                    <a:pt x="516" y="178"/>
                    <a:pt x="544" y="162"/>
                    <a:pt x="555" y="157"/>
                  </a:cubicBezTo>
                  <a:cubicBezTo>
                    <a:pt x="555" y="162"/>
                    <a:pt x="583" y="179"/>
                    <a:pt x="584" y="184"/>
                  </a:cubicBezTo>
                  <a:cubicBezTo>
                    <a:pt x="585" y="185"/>
                    <a:pt x="585" y="186"/>
                    <a:pt x="586" y="187"/>
                  </a:cubicBezTo>
                  <a:cubicBezTo>
                    <a:pt x="587" y="188"/>
                    <a:pt x="587" y="188"/>
                    <a:pt x="587" y="189"/>
                  </a:cubicBezTo>
                  <a:cubicBezTo>
                    <a:pt x="588" y="189"/>
                    <a:pt x="588" y="189"/>
                    <a:pt x="588" y="189"/>
                  </a:cubicBezTo>
                  <a:cubicBezTo>
                    <a:pt x="594" y="192"/>
                    <a:pt x="588" y="174"/>
                    <a:pt x="582" y="174"/>
                  </a:cubicBezTo>
                  <a:cubicBezTo>
                    <a:pt x="565" y="172"/>
                    <a:pt x="587" y="168"/>
                    <a:pt x="574" y="162"/>
                  </a:cubicBezTo>
                  <a:cubicBezTo>
                    <a:pt x="571" y="161"/>
                    <a:pt x="568" y="168"/>
                    <a:pt x="565" y="162"/>
                  </a:cubicBezTo>
                  <a:cubicBezTo>
                    <a:pt x="565" y="161"/>
                    <a:pt x="562" y="156"/>
                    <a:pt x="559" y="155"/>
                  </a:cubicBezTo>
                  <a:cubicBezTo>
                    <a:pt x="559" y="155"/>
                    <a:pt x="559" y="155"/>
                    <a:pt x="560" y="155"/>
                  </a:cubicBezTo>
                  <a:cubicBezTo>
                    <a:pt x="573" y="150"/>
                    <a:pt x="602" y="182"/>
                    <a:pt x="615" y="176"/>
                  </a:cubicBezTo>
                  <a:cubicBezTo>
                    <a:pt x="655" y="157"/>
                    <a:pt x="621" y="101"/>
                    <a:pt x="632" y="89"/>
                  </a:cubicBezTo>
                  <a:cubicBezTo>
                    <a:pt x="654" y="67"/>
                    <a:pt x="776" y="122"/>
                    <a:pt x="797" y="116"/>
                  </a:cubicBezTo>
                  <a:cubicBezTo>
                    <a:pt x="800" y="115"/>
                    <a:pt x="820" y="97"/>
                    <a:pt x="820" y="97"/>
                  </a:cubicBezTo>
                  <a:cubicBezTo>
                    <a:pt x="831" y="84"/>
                    <a:pt x="799" y="89"/>
                    <a:pt x="799" y="81"/>
                  </a:cubicBezTo>
                  <a:cubicBezTo>
                    <a:pt x="799" y="77"/>
                    <a:pt x="831" y="57"/>
                    <a:pt x="835" y="45"/>
                  </a:cubicBezTo>
                  <a:cubicBezTo>
                    <a:pt x="838" y="29"/>
                    <a:pt x="827" y="17"/>
                    <a:pt x="817" y="7"/>
                  </a:cubicBezTo>
                  <a:cubicBezTo>
                    <a:pt x="815" y="6"/>
                    <a:pt x="810" y="4"/>
                    <a:pt x="812" y="2"/>
                  </a:cubicBezTo>
                  <a:cubicBezTo>
                    <a:pt x="815" y="0"/>
                    <a:pt x="819" y="2"/>
                    <a:pt x="823" y="2"/>
                  </a:cubicBezTo>
                  <a:cubicBezTo>
                    <a:pt x="827" y="2"/>
                    <a:pt x="855" y="2"/>
                    <a:pt x="859" y="2"/>
                  </a:cubicBezTo>
                  <a:cubicBezTo>
                    <a:pt x="867" y="6"/>
                    <a:pt x="885" y="11"/>
                    <a:pt x="887" y="18"/>
                  </a:cubicBezTo>
                  <a:cubicBezTo>
                    <a:pt x="887" y="24"/>
                    <a:pt x="874" y="16"/>
                    <a:pt x="884" y="26"/>
                  </a:cubicBezTo>
                  <a:cubicBezTo>
                    <a:pt x="890" y="33"/>
                    <a:pt x="974" y="85"/>
                    <a:pt x="986" y="92"/>
                  </a:cubicBezTo>
                  <a:cubicBezTo>
                    <a:pt x="1016" y="109"/>
                    <a:pt x="1055" y="98"/>
                    <a:pt x="1081" y="129"/>
                  </a:cubicBezTo>
                  <a:cubicBezTo>
                    <a:pt x="1085" y="133"/>
                    <a:pt x="1083" y="145"/>
                    <a:pt x="1084" y="147"/>
                  </a:cubicBezTo>
                  <a:cubicBezTo>
                    <a:pt x="1086" y="149"/>
                    <a:pt x="1089" y="146"/>
                    <a:pt x="1091" y="146"/>
                  </a:cubicBezTo>
                  <a:cubicBezTo>
                    <a:pt x="1101" y="144"/>
                    <a:pt x="1102" y="150"/>
                    <a:pt x="1109" y="157"/>
                  </a:cubicBezTo>
                  <a:cubicBezTo>
                    <a:pt x="1115" y="165"/>
                    <a:pt x="1137" y="171"/>
                    <a:pt x="1130" y="178"/>
                  </a:cubicBezTo>
                  <a:cubicBezTo>
                    <a:pt x="1126" y="182"/>
                    <a:pt x="1118" y="181"/>
                    <a:pt x="1115" y="186"/>
                  </a:cubicBezTo>
                  <a:cubicBezTo>
                    <a:pt x="1106" y="201"/>
                    <a:pt x="1124" y="219"/>
                    <a:pt x="1120" y="233"/>
                  </a:cubicBezTo>
                  <a:cubicBezTo>
                    <a:pt x="1118" y="238"/>
                    <a:pt x="1105" y="244"/>
                    <a:pt x="1109" y="251"/>
                  </a:cubicBezTo>
                  <a:cubicBezTo>
                    <a:pt x="1115" y="260"/>
                    <a:pt x="1130" y="251"/>
                    <a:pt x="1139" y="259"/>
                  </a:cubicBezTo>
                  <a:cubicBezTo>
                    <a:pt x="1150" y="268"/>
                    <a:pt x="1122" y="289"/>
                    <a:pt x="1121" y="298"/>
                  </a:cubicBezTo>
                  <a:cubicBezTo>
                    <a:pt x="1120" y="318"/>
                    <a:pt x="1163" y="334"/>
                    <a:pt x="1160" y="354"/>
                  </a:cubicBezTo>
                  <a:cubicBezTo>
                    <a:pt x="1160" y="354"/>
                    <a:pt x="1151" y="362"/>
                    <a:pt x="1151" y="362"/>
                  </a:cubicBezTo>
                  <a:cubicBezTo>
                    <a:pt x="1147" y="370"/>
                    <a:pt x="1153" y="383"/>
                    <a:pt x="1150" y="390"/>
                  </a:cubicBezTo>
                  <a:cubicBezTo>
                    <a:pt x="1144" y="403"/>
                    <a:pt x="1129" y="398"/>
                    <a:pt x="1129" y="416"/>
                  </a:cubicBezTo>
                  <a:close/>
                  <a:moveTo>
                    <a:pt x="465" y="1611"/>
                  </a:moveTo>
                  <a:cubicBezTo>
                    <a:pt x="466" y="1614"/>
                    <a:pt x="489" y="1615"/>
                    <a:pt x="488" y="1615"/>
                  </a:cubicBezTo>
                  <a:cubicBezTo>
                    <a:pt x="485" y="1615"/>
                    <a:pt x="481" y="1612"/>
                    <a:pt x="479" y="1610"/>
                  </a:cubicBezTo>
                  <a:cubicBezTo>
                    <a:pt x="479" y="1610"/>
                    <a:pt x="479" y="1610"/>
                    <a:pt x="479" y="1610"/>
                  </a:cubicBezTo>
                  <a:cubicBezTo>
                    <a:pt x="476" y="1606"/>
                    <a:pt x="464" y="1606"/>
                    <a:pt x="465" y="1611"/>
                  </a:cubicBezTo>
                  <a:close/>
                  <a:moveTo>
                    <a:pt x="526" y="1502"/>
                  </a:moveTo>
                  <a:cubicBezTo>
                    <a:pt x="529" y="1503"/>
                    <a:pt x="522" y="1521"/>
                    <a:pt x="529" y="1509"/>
                  </a:cubicBezTo>
                  <a:cubicBezTo>
                    <a:pt x="530" y="1508"/>
                    <a:pt x="530" y="1508"/>
                    <a:pt x="530" y="1508"/>
                  </a:cubicBezTo>
                  <a:cubicBezTo>
                    <a:pt x="535" y="1506"/>
                    <a:pt x="546" y="1516"/>
                    <a:pt x="547" y="1510"/>
                  </a:cubicBezTo>
                  <a:cubicBezTo>
                    <a:pt x="548" y="1499"/>
                    <a:pt x="533" y="1505"/>
                    <a:pt x="523" y="1497"/>
                  </a:cubicBezTo>
                  <a:cubicBezTo>
                    <a:pt x="522" y="1496"/>
                    <a:pt x="524" y="1502"/>
                    <a:pt x="526" y="1502"/>
                  </a:cubicBezTo>
                  <a:close/>
                  <a:moveTo>
                    <a:pt x="674" y="1389"/>
                  </a:moveTo>
                  <a:cubicBezTo>
                    <a:pt x="677" y="1390"/>
                    <a:pt x="684" y="1390"/>
                    <a:pt x="684" y="1386"/>
                  </a:cubicBezTo>
                  <a:cubicBezTo>
                    <a:pt x="684" y="1386"/>
                    <a:pt x="684" y="1386"/>
                    <a:pt x="684" y="1386"/>
                  </a:cubicBezTo>
                  <a:cubicBezTo>
                    <a:pt x="680" y="1382"/>
                    <a:pt x="659" y="1386"/>
                    <a:pt x="674" y="1389"/>
                  </a:cubicBezTo>
                  <a:close/>
                  <a:moveTo>
                    <a:pt x="668" y="247"/>
                  </a:moveTo>
                  <a:cubicBezTo>
                    <a:pt x="679" y="251"/>
                    <a:pt x="714" y="268"/>
                    <a:pt x="725" y="260"/>
                  </a:cubicBezTo>
                  <a:cubicBezTo>
                    <a:pt x="727" y="258"/>
                    <a:pt x="719" y="259"/>
                    <a:pt x="716" y="259"/>
                  </a:cubicBezTo>
                  <a:cubicBezTo>
                    <a:pt x="714" y="258"/>
                    <a:pt x="714" y="258"/>
                    <a:pt x="714" y="258"/>
                  </a:cubicBezTo>
                  <a:cubicBezTo>
                    <a:pt x="710" y="258"/>
                    <a:pt x="667" y="241"/>
                    <a:pt x="666" y="244"/>
                  </a:cubicBezTo>
                  <a:cubicBezTo>
                    <a:pt x="665" y="245"/>
                    <a:pt x="666" y="247"/>
                    <a:pt x="668" y="247"/>
                  </a:cubicBezTo>
                  <a:close/>
                  <a:moveTo>
                    <a:pt x="509" y="275"/>
                  </a:moveTo>
                  <a:cubicBezTo>
                    <a:pt x="511" y="273"/>
                    <a:pt x="496" y="265"/>
                    <a:pt x="507" y="265"/>
                  </a:cubicBezTo>
                  <a:cubicBezTo>
                    <a:pt x="508" y="265"/>
                    <a:pt x="517" y="269"/>
                    <a:pt x="516" y="266"/>
                  </a:cubicBezTo>
                  <a:cubicBezTo>
                    <a:pt x="514" y="261"/>
                    <a:pt x="501" y="262"/>
                    <a:pt x="497" y="260"/>
                  </a:cubicBezTo>
                  <a:cubicBezTo>
                    <a:pt x="495" y="259"/>
                    <a:pt x="490" y="255"/>
                    <a:pt x="492" y="254"/>
                  </a:cubicBezTo>
                  <a:cubicBezTo>
                    <a:pt x="501" y="251"/>
                    <a:pt x="549" y="247"/>
                    <a:pt x="552" y="236"/>
                  </a:cubicBezTo>
                  <a:cubicBezTo>
                    <a:pt x="552" y="235"/>
                    <a:pt x="543" y="234"/>
                    <a:pt x="542" y="233"/>
                  </a:cubicBezTo>
                  <a:cubicBezTo>
                    <a:pt x="536" y="233"/>
                    <a:pt x="546" y="238"/>
                    <a:pt x="536" y="239"/>
                  </a:cubicBezTo>
                  <a:cubicBezTo>
                    <a:pt x="528" y="240"/>
                    <a:pt x="511" y="229"/>
                    <a:pt x="503" y="235"/>
                  </a:cubicBezTo>
                  <a:cubicBezTo>
                    <a:pt x="500" y="239"/>
                    <a:pt x="527" y="241"/>
                    <a:pt x="527" y="242"/>
                  </a:cubicBezTo>
                  <a:cubicBezTo>
                    <a:pt x="520" y="252"/>
                    <a:pt x="486" y="246"/>
                    <a:pt x="480" y="248"/>
                  </a:cubicBezTo>
                  <a:cubicBezTo>
                    <a:pt x="470" y="251"/>
                    <a:pt x="490" y="258"/>
                    <a:pt x="491" y="260"/>
                  </a:cubicBezTo>
                  <a:cubicBezTo>
                    <a:pt x="492" y="262"/>
                    <a:pt x="473" y="260"/>
                    <a:pt x="473" y="263"/>
                  </a:cubicBezTo>
                  <a:cubicBezTo>
                    <a:pt x="473" y="264"/>
                    <a:pt x="506" y="281"/>
                    <a:pt x="509" y="275"/>
                  </a:cubicBezTo>
                  <a:close/>
                  <a:moveTo>
                    <a:pt x="483" y="328"/>
                  </a:moveTo>
                  <a:cubicBezTo>
                    <a:pt x="484" y="327"/>
                    <a:pt x="489" y="328"/>
                    <a:pt x="491" y="329"/>
                  </a:cubicBezTo>
                  <a:cubicBezTo>
                    <a:pt x="504" y="331"/>
                    <a:pt x="482" y="334"/>
                    <a:pt x="490" y="334"/>
                  </a:cubicBezTo>
                  <a:cubicBezTo>
                    <a:pt x="496" y="334"/>
                    <a:pt x="507" y="336"/>
                    <a:pt x="513" y="339"/>
                  </a:cubicBezTo>
                  <a:cubicBezTo>
                    <a:pt x="513" y="339"/>
                    <a:pt x="513" y="339"/>
                    <a:pt x="513" y="339"/>
                  </a:cubicBezTo>
                  <a:cubicBezTo>
                    <a:pt x="515" y="340"/>
                    <a:pt x="483" y="314"/>
                    <a:pt x="477" y="324"/>
                  </a:cubicBezTo>
                  <a:cubicBezTo>
                    <a:pt x="474" y="328"/>
                    <a:pt x="482" y="330"/>
                    <a:pt x="483" y="328"/>
                  </a:cubicBezTo>
                  <a:close/>
                  <a:moveTo>
                    <a:pt x="472" y="345"/>
                  </a:moveTo>
                  <a:cubicBezTo>
                    <a:pt x="472" y="345"/>
                    <a:pt x="472" y="345"/>
                    <a:pt x="472" y="345"/>
                  </a:cubicBezTo>
                  <a:cubicBezTo>
                    <a:pt x="484" y="343"/>
                    <a:pt x="497" y="344"/>
                    <a:pt x="509" y="346"/>
                  </a:cubicBezTo>
                  <a:cubicBezTo>
                    <a:pt x="509" y="346"/>
                    <a:pt x="528" y="348"/>
                    <a:pt x="527" y="348"/>
                  </a:cubicBezTo>
                  <a:cubicBezTo>
                    <a:pt x="527" y="347"/>
                    <a:pt x="527" y="347"/>
                    <a:pt x="526" y="347"/>
                  </a:cubicBezTo>
                  <a:cubicBezTo>
                    <a:pt x="517" y="343"/>
                    <a:pt x="431" y="329"/>
                    <a:pt x="472" y="345"/>
                  </a:cubicBezTo>
                  <a:close/>
                  <a:moveTo>
                    <a:pt x="486" y="401"/>
                  </a:moveTo>
                  <a:cubicBezTo>
                    <a:pt x="482" y="398"/>
                    <a:pt x="476" y="381"/>
                    <a:pt x="473" y="382"/>
                  </a:cubicBezTo>
                  <a:cubicBezTo>
                    <a:pt x="458" y="386"/>
                    <a:pt x="485" y="407"/>
                    <a:pt x="505" y="411"/>
                  </a:cubicBezTo>
                  <a:cubicBezTo>
                    <a:pt x="508" y="411"/>
                    <a:pt x="508" y="411"/>
                    <a:pt x="508" y="411"/>
                  </a:cubicBezTo>
                  <a:cubicBezTo>
                    <a:pt x="535" y="411"/>
                    <a:pt x="495" y="406"/>
                    <a:pt x="486" y="401"/>
                  </a:cubicBezTo>
                  <a:close/>
                  <a:moveTo>
                    <a:pt x="460" y="605"/>
                  </a:moveTo>
                  <a:cubicBezTo>
                    <a:pt x="465" y="608"/>
                    <a:pt x="473" y="614"/>
                    <a:pt x="475" y="617"/>
                  </a:cubicBezTo>
                  <a:cubicBezTo>
                    <a:pt x="481" y="623"/>
                    <a:pt x="467" y="614"/>
                    <a:pt x="465" y="619"/>
                  </a:cubicBezTo>
                  <a:cubicBezTo>
                    <a:pt x="465" y="620"/>
                    <a:pt x="474" y="622"/>
                    <a:pt x="475" y="623"/>
                  </a:cubicBezTo>
                  <a:cubicBezTo>
                    <a:pt x="484" y="625"/>
                    <a:pt x="486" y="643"/>
                    <a:pt x="494" y="648"/>
                  </a:cubicBezTo>
                  <a:cubicBezTo>
                    <a:pt x="500" y="652"/>
                    <a:pt x="515" y="653"/>
                    <a:pt x="516" y="651"/>
                  </a:cubicBezTo>
                  <a:cubicBezTo>
                    <a:pt x="517" y="651"/>
                    <a:pt x="507" y="648"/>
                    <a:pt x="505" y="646"/>
                  </a:cubicBezTo>
                  <a:cubicBezTo>
                    <a:pt x="498" y="636"/>
                    <a:pt x="504" y="655"/>
                    <a:pt x="496" y="645"/>
                  </a:cubicBezTo>
                  <a:cubicBezTo>
                    <a:pt x="484" y="627"/>
                    <a:pt x="483" y="613"/>
                    <a:pt x="465" y="604"/>
                  </a:cubicBezTo>
                  <a:cubicBezTo>
                    <a:pt x="463" y="603"/>
                    <a:pt x="455" y="598"/>
                    <a:pt x="454" y="599"/>
                  </a:cubicBezTo>
                  <a:cubicBezTo>
                    <a:pt x="453" y="599"/>
                    <a:pt x="459" y="605"/>
                    <a:pt x="460" y="605"/>
                  </a:cubicBezTo>
                  <a:close/>
                  <a:moveTo>
                    <a:pt x="396" y="533"/>
                  </a:moveTo>
                  <a:cubicBezTo>
                    <a:pt x="402" y="537"/>
                    <a:pt x="402" y="544"/>
                    <a:pt x="406" y="549"/>
                  </a:cubicBezTo>
                  <a:cubicBezTo>
                    <a:pt x="407" y="549"/>
                    <a:pt x="407" y="549"/>
                    <a:pt x="407" y="549"/>
                  </a:cubicBezTo>
                  <a:cubicBezTo>
                    <a:pt x="423" y="556"/>
                    <a:pt x="402" y="532"/>
                    <a:pt x="395" y="528"/>
                  </a:cubicBezTo>
                  <a:cubicBezTo>
                    <a:pt x="376" y="518"/>
                    <a:pt x="383" y="524"/>
                    <a:pt x="396" y="533"/>
                  </a:cubicBezTo>
                  <a:close/>
                  <a:moveTo>
                    <a:pt x="375" y="541"/>
                  </a:moveTo>
                  <a:cubicBezTo>
                    <a:pt x="376" y="545"/>
                    <a:pt x="394" y="559"/>
                    <a:pt x="399" y="559"/>
                  </a:cubicBezTo>
                  <a:cubicBezTo>
                    <a:pt x="406" y="560"/>
                    <a:pt x="414" y="558"/>
                    <a:pt x="422" y="559"/>
                  </a:cubicBezTo>
                  <a:cubicBezTo>
                    <a:pt x="423" y="559"/>
                    <a:pt x="429" y="559"/>
                    <a:pt x="429" y="558"/>
                  </a:cubicBezTo>
                  <a:cubicBezTo>
                    <a:pt x="428" y="554"/>
                    <a:pt x="405" y="557"/>
                    <a:pt x="402" y="556"/>
                  </a:cubicBezTo>
                  <a:cubicBezTo>
                    <a:pt x="392" y="553"/>
                    <a:pt x="386" y="531"/>
                    <a:pt x="370" y="531"/>
                  </a:cubicBezTo>
                  <a:cubicBezTo>
                    <a:pt x="367" y="530"/>
                    <a:pt x="375" y="540"/>
                    <a:pt x="375" y="541"/>
                  </a:cubicBezTo>
                  <a:close/>
                  <a:moveTo>
                    <a:pt x="359" y="480"/>
                  </a:moveTo>
                  <a:cubicBezTo>
                    <a:pt x="360" y="481"/>
                    <a:pt x="360" y="481"/>
                    <a:pt x="360" y="481"/>
                  </a:cubicBezTo>
                  <a:cubicBezTo>
                    <a:pt x="359" y="484"/>
                    <a:pt x="371" y="477"/>
                    <a:pt x="365" y="474"/>
                  </a:cubicBezTo>
                  <a:cubicBezTo>
                    <a:pt x="354" y="468"/>
                    <a:pt x="318" y="453"/>
                    <a:pt x="317" y="459"/>
                  </a:cubicBezTo>
                  <a:cubicBezTo>
                    <a:pt x="315" y="464"/>
                    <a:pt x="362" y="469"/>
                    <a:pt x="359" y="480"/>
                  </a:cubicBezTo>
                  <a:close/>
                  <a:moveTo>
                    <a:pt x="400" y="633"/>
                  </a:moveTo>
                  <a:cubicBezTo>
                    <a:pt x="400" y="633"/>
                    <a:pt x="385" y="632"/>
                    <a:pt x="383" y="630"/>
                  </a:cubicBezTo>
                  <a:cubicBezTo>
                    <a:pt x="383" y="629"/>
                    <a:pt x="383" y="629"/>
                    <a:pt x="383" y="629"/>
                  </a:cubicBezTo>
                  <a:cubicBezTo>
                    <a:pt x="377" y="627"/>
                    <a:pt x="376" y="617"/>
                    <a:pt x="373" y="616"/>
                  </a:cubicBezTo>
                  <a:cubicBezTo>
                    <a:pt x="371" y="616"/>
                    <a:pt x="375" y="626"/>
                    <a:pt x="371" y="625"/>
                  </a:cubicBezTo>
                  <a:cubicBezTo>
                    <a:pt x="368" y="624"/>
                    <a:pt x="339" y="615"/>
                    <a:pt x="340" y="622"/>
                  </a:cubicBezTo>
                  <a:cubicBezTo>
                    <a:pt x="340" y="625"/>
                    <a:pt x="363" y="625"/>
                    <a:pt x="366" y="627"/>
                  </a:cubicBezTo>
                  <a:cubicBezTo>
                    <a:pt x="370" y="628"/>
                    <a:pt x="396" y="642"/>
                    <a:pt x="400" y="633"/>
                  </a:cubicBezTo>
                  <a:close/>
                  <a:moveTo>
                    <a:pt x="436" y="780"/>
                  </a:moveTo>
                  <a:cubicBezTo>
                    <a:pt x="437" y="779"/>
                    <a:pt x="437" y="779"/>
                    <a:pt x="437" y="779"/>
                  </a:cubicBezTo>
                  <a:cubicBezTo>
                    <a:pt x="447" y="757"/>
                    <a:pt x="407" y="739"/>
                    <a:pt x="399" y="743"/>
                  </a:cubicBezTo>
                  <a:cubicBezTo>
                    <a:pt x="396" y="744"/>
                    <a:pt x="407" y="747"/>
                    <a:pt x="408" y="747"/>
                  </a:cubicBezTo>
                  <a:cubicBezTo>
                    <a:pt x="411" y="748"/>
                    <a:pt x="426" y="758"/>
                    <a:pt x="428" y="760"/>
                  </a:cubicBezTo>
                  <a:cubicBezTo>
                    <a:pt x="433" y="764"/>
                    <a:pt x="430" y="795"/>
                    <a:pt x="436" y="780"/>
                  </a:cubicBezTo>
                  <a:close/>
                  <a:moveTo>
                    <a:pt x="399" y="1195"/>
                  </a:moveTo>
                  <a:cubicBezTo>
                    <a:pt x="414" y="1193"/>
                    <a:pt x="412" y="1216"/>
                    <a:pt x="425" y="1216"/>
                  </a:cubicBezTo>
                  <a:cubicBezTo>
                    <a:pt x="427" y="1216"/>
                    <a:pt x="421" y="1210"/>
                    <a:pt x="421" y="1209"/>
                  </a:cubicBezTo>
                  <a:cubicBezTo>
                    <a:pt x="415" y="1201"/>
                    <a:pt x="426" y="1199"/>
                    <a:pt x="413" y="1195"/>
                  </a:cubicBezTo>
                  <a:cubicBezTo>
                    <a:pt x="413" y="1195"/>
                    <a:pt x="413" y="1195"/>
                    <a:pt x="413" y="1195"/>
                  </a:cubicBezTo>
                  <a:cubicBezTo>
                    <a:pt x="408" y="1193"/>
                    <a:pt x="412" y="1190"/>
                    <a:pt x="407" y="1190"/>
                  </a:cubicBezTo>
                  <a:cubicBezTo>
                    <a:pt x="405" y="1191"/>
                    <a:pt x="388" y="1196"/>
                    <a:pt x="399" y="1195"/>
                  </a:cubicBezTo>
                  <a:close/>
                  <a:moveTo>
                    <a:pt x="414" y="1287"/>
                  </a:moveTo>
                  <a:cubicBezTo>
                    <a:pt x="402" y="1308"/>
                    <a:pt x="425" y="1293"/>
                    <a:pt x="424" y="1284"/>
                  </a:cubicBezTo>
                  <a:cubicBezTo>
                    <a:pt x="424" y="1284"/>
                    <a:pt x="424" y="1284"/>
                    <a:pt x="424" y="1284"/>
                  </a:cubicBezTo>
                  <a:cubicBezTo>
                    <a:pt x="418" y="1278"/>
                    <a:pt x="416" y="1284"/>
                    <a:pt x="414" y="1287"/>
                  </a:cubicBezTo>
                  <a:close/>
                  <a:moveTo>
                    <a:pt x="392" y="1446"/>
                  </a:moveTo>
                  <a:cubicBezTo>
                    <a:pt x="392" y="1446"/>
                    <a:pt x="392" y="1446"/>
                    <a:pt x="392" y="1446"/>
                  </a:cubicBezTo>
                  <a:cubicBezTo>
                    <a:pt x="393" y="1440"/>
                    <a:pt x="381" y="1445"/>
                    <a:pt x="382" y="1448"/>
                  </a:cubicBezTo>
                  <a:cubicBezTo>
                    <a:pt x="384" y="1455"/>
                    <a:pt x="403" y="1453"/>
                    <a:pt x="392" y="1446"/>
                  </a:cubicBezTo>
                  <a:close/>
                  <a:moveTo>
                    <a:pt x="361" y="950"/>
                  </a:moveTo>
                  <a:cubicBezTo>
                    <a:pt x="370" y="953"/>
                    <a:pt x="374" y="954"/>
                    <a:pt x="382" y="960"/>
                  </a:cubicBezTo>
                  <a:cubicBezTo>
                    <a:pt x="386" y="964"/>
                    <a:pt x="393" y="973"/>
                    <a:pt x="396" y="969"/>
                  </a:cubicBezTo>
                  <a:cubicBezTo>
                    <a:pt x="400" y="962"/>
                    <a:pt x="366" y="938"/>
                    <a:pt x="366" y="937"/>
                  </a:cubicBezTo>
                  <a:cubicBezTo>
                    <a:pt x="366" y="937"/>
                    <a:pt x="366" y="937"/>
                    <a:pt x="366" y="937"/>
                  </a:cubicBezTo>
                  <a:cubicBezTo>
                    <a:pt x="367" y="936"/>
                    <a:pt x="362" y="937"/>
                    <a:pt x="363" y="938"/>
                  </a:cubicBezTo>
                  <a:cubicBezTo>
                    <a:pt x="364" y="942"/>
                    <a:pt x="358" y="949"/>
                    <a:pt x="361" y="950"/>
                  </a:cubicBezTo>
                  <a:close/>
                  <a:moveTo>
                    <a:pt x="353" y="1009"/>
                  </a:moveTo>
                  <a:cubicBezTo>
                    <a:pt x="352" y="1010"/>
                    <a:pt x="370" y="1038"/>
                    <a:pt x="361" y="1030"/>
                  </a:cubicBezTo>
                  <a:cubicBezTo>
                    <a:pt x="358" y="1026"/>
                    <a:pt x="350" y="1021"/>
                    <a:pt x="358" y="1029"/>
                  </a:cubicBezTo>
                  <a:cubicBezTo>
                    <a:pt x="358" y="1029"/>
                    <a:pt x="358" y="1029"/>
                    <a:pt x="358" y="1029"/>
                  </a:cubicBezTo>
                  <a:cubicBezTo>
                    <a:pt x="358" y="1030"/>
                    <a:pt x="358" y="1030"/>
                    <a:pt x="358" y="1030"/>
                  </a:cubicBezTo>
                  <a:cubicBezTo>
                    <a:pt x="360" y="1032"/>
                    <a:pt x="362" y="1034"/>
                    <a:pt x="364" y="1036"/>
                  </a:cubicBezTo>
                  <a:cubicBezTo>
                    <a:pt x="387" y="1053"/>
                    <a:pt x="359" y="1028"/>
                    <a:pt x="367" y="1020"/>
                  </a:cubicBezTo>
                  <a:cubicBezTo>
                    <a:pt x="368" y="1019"/>
                    <a:pt x="370" y="1019"/>
                    <a:pt x="372" y="1018"/>
                  </a:cubicBezTo>
                  <a:cubicBezTo>
                    <a:pt x="372" y="1018"/>
                    <a:pt x="373" y="1018"/>
                    <a:pt x="373" y="1018"/>
                  </a:cubicBezTo>
                  <a:cubicBezTo>
                    <a:pt x="383" y="1015"/>
                    <a:pt x="398" y="1017"/>
                    <a:pt x="397" y="1013"/>
                  </a:cubicBezTo>
                  <a:cubicBezTo>
                    <a:pt x="397" y="1011"/>
                    <a:pt x="378" y="1000"/>
                    <a:pt x="378" y="1004"/>
                  </a:cubicBezTo>
                  <a:cubicBezTo>
                    <a:pt x="377" y="1005"/>
                    <a:pt x="381" y="1005"/>
                    <a:pt x="381" y="1005"/>
                  </a:cubicBezTo>
                  <a:cubicBezTo>
                    <a:pt x="387" y="1006"/>
                    <a:pt x="392" y="1016"/>
                    <a:pt x="381" y="1008"/>
                  </a:cubicBezTo>
                  <a:cubicBezTo>
                    <a:pt x="373" y="1002"/>
                    <a:pt x="382" y="1013"/>
                    <a:pt x="382" y="1013"/>
                  </a:cubicBezTo>
                  <a:cubicBezTo>
                    <a:pt x="380" y="1015"/>
                    <a:pt x="377" y="1016"/>
                    <a:pt x="373" y="1018"/>
                  </a:cubicBezTo>
                  <a:cubicBezTo>
                    <a:pt x="373" y="1018"/>
                    <a:pt x="372" y="1018"/>
                    <a:pt x="372" y="1018"/>
                  </a:cubicBezTo>
                  <a:cubicBezTo>
                    <a:pt x="368" y="1019"/>
                    <a:pt x="363" y="1019"/>
                    <a:pt x="361" y="1018"/>
                  </a:cubicBezTo>
                  <a:cubicBezTo>
                    <a:pt x="359" y="1017"/>
                    <a:pt x="354" y="1008"/>
                    <a:pt x="353" y="1009"/>
                  </a:cubicBezTo>
                  <a:close/>
                  <a:moveTo>
                    <a:pt x="366" y="1507"/>
                  </a:moveTo>
                  <a:cubicBezTo>
                    <a:pt x="359" y="1507"/>
                    <a:pt x="368" y="1512"/>
                    <a:pt x="374" y="1509"/>
                  </a:cubicBezTo>
                  <a:cubicBezTo>
                    <a:pt x="375" y="1509"/>
                    <a:pt x="375" y="1509"/>
                    <a:pt x="375" y="1509"/>
                  </a:cubicBezTo>
                  <a:cubicBezTo>
                    <a:pt x="380" y="1507"/>
                    <a:pt x="369" y="1506"/>
                    <a:pt x="366" y="1507"/>
                  </a:cubicBezTo>
                  <a:close/>
                  <a:moveTo>
                    <a:pt x="362" y="1572"/>
                  </a:moveTo>
                  <a:cubicBezTo>
                    <a:pt x="362" y="1575"/>
                    <a:pt x="368" y="1572"/>
                    <a:pt x="370" y="1573"/>
                  </a:cubicBezTo>
                  <a:cubicBezTo>
                    <a:pt x="372" y="1577"/>
                    <a:pt x="379" y="1574"/>
                    <a:pt x="382" y="1573"/>
                  </a:cubicBezTo>
                  <a:cubicBezTo>
                    <a:pt x="383" y="1572"/>
                    <a:pt x="383" y="1572"/>
                    <a:pt x="383" y="1572"/>
                  </a:cubicBezTo>
                  <a:cubicBezTo>
                    <a:pt x="380" y="1569"/>
                    <a:pt x="362" y="1565"/>
                    <a:pt x="362" y="1572"/>
                  </a:cubicBezTo>
                  <a:close/>
                  <a:moveTo>
                    <a:pt x="325" y="1229"/>
                  </a:moveTo>
                  <a:cubicBezTo>
                    <a:pt x="325" y="1229"/>
                    <a:pt x="325" y="1229"/>
                    <a:pt x="325" y="1229"/>
                  </a:cubicBezTo>
                  <a:cubicBezTo>
                    <a:pt x="325" y="1224"/>
                    <a:pt x="309" y="1227"/>
                    <a:pt x="310" y="1232"/>
                  </a:cubicBezTo>
                  <a:cubicBezTo>
                    <a:pt x="312" y="1239"/>
                    <a:pt x="322" y="1240"/>
                    <a:pt x="327" y="1244"/>
                  </a:cubicBezTo>
                  <a:cubicBezTo>
                    <a:pt x="329" y="1247"/>
                    <a:pt x="330" y="1256"/>
                    <a:pt x="333" y="1255"/>
                  </a:cubicBezTo>
                  <a:cubicBezTo>
                    <a:pt x="335" y="1255"/>
                    <a:pt x="340" y="1244"/>
                    <a:pt x="350" y="1248"/>
                  </a:cubicBezTo>
                  <a:cubicBezTo>
                    <a:pt x="361" y="1252"/>
                    <a:pt x="338" y="1259"/>
                    <a:pt x="351" y="1258"/>
                  </a:cubicBezTo>
                  <a:cubicBezTo>
                    <a:pt x="352" y="1258"/>
                    <a:pt x="354" y="1264"/>
                    <a:pt x="356" y="1262"/>
                  </a:cubicBezTo>
                  <a:cubicBezTo>
                    <a:pt x="356" y="1261"/>
                    <a:pt x="355" y="1260"/>
                    <a:pt x="355" y="1259"/>
                  </a:cubicBezTo>
                  <a:cubicBezTo>
                    <a:pt x="350" y="1246"/>
                    <a:pt x="369" y="1244"/>
                    <a:pt x="366" y="1239"/>
                  </a:cubicBezTo>
                  <a:cubicBezTo>
                    <a:pt x="365" y="1238"/>
                    <a:pt x="361" y="1237"/>
                    <a:pt x="360" y="1237"/>
                  </a:cubicBezTo>
                  <a:cubicBezTo>
                    <a:pt x="354" y="1238"/>
                    <a:pt x="331" y="1242"/>
                    <a:pt x="325" y="1229"/>
                  </a:cubicBezTo>
                  <a:close/>
                  <a:moveTo>
                    <a:pt x="333" y="1427"/>
                  </a:moveTo>
                  <a:cubicBezTo>
                    <a:pt x="335" y="1423"/>
                    <a:pt x="326" y="1424"/>
                    <a:pt x="330" y="1417"/>
                  </a:cubicBezTo>
                  <a:cubicBezTo>
                    <a:pt x="328" y="1416"/>
                    <a:pt x="327" y="1417"/>
                    <a:pt x="325" y="1417"/>
                  </a:cubicBezTo>
                  <a:cubicBezTo>
                    <a:pt x="317" y="1416"/>
                    <a:pt x="319" y="1425"/>
                    <a:pt x="318" y="1425"/>
                  </a:cubicBezTo>
                  <a:cubicBezTo>
                    <a:pt x="317" y="1425"/>
                    <a:pt x="324" y="1439"/>
                    <a:pt x="328" y="1433"/>
                  </a:cubicBezTo>
                  <a:cubicBezTo>
                    <a:pt x="330" y="1432"/>
                    <a:pt x="324" y="1432"/>
                    <a:pt x="323" y="1431"/>
                  </a:cubicBezTo>
                  <a:cubicBezTo>
                    <a:pt x="316" y="1412"/>
                    <a:pt x="332" y="1429"/>
                    <a:pt x="333" y="1427"/>
                  </a:cubicBezTo>
                  <a:close/>
                  <a:moveTo>
                    <a:pt x="318" y="1465"/>
                  </a:moveTo>
                  <a:cubicBezTo>
                    <a:pt x="318" y="1465"/>
                    <a:pt x="318" y="1465"/>
                    <a:pt x="318" y="1465"/>
                  </a:cubicBezTo>
                  <a:cubicBezTo>
                    <a:pt x="321" y="1459"/>
                    <a:pt x="310" y="1467"/>
                    <a:pt x="309" y="1468"/>
                  </a:cubicBezTo>
                  <a:cubicBezTo>
                    <a:pt x="304" y="1474"/>
                    <a:pt x="316" y="1468"/>
                    <a:pt x="318" y="1465"/>
                  </a:cubicBezTo>
                  <a:close/>
                  <a:moveTo>
                    <a:pt x="306" y="1578"/>
                  </a:moveTo>
                  <a:cubicBezTo>
                    <a:pt x="315" y="1570"/>
                    <a:pt x="302" y="1567"/>
                    <a:pt x="300" y="1559"/>
                  </a:cubicBezTo>
                  <a:cubicBezTo>
                    <a:pt x="300" y="1557"/>
                    <a:pt x="296" y="1554"/>
                    <a:pt x="295" y="1553"/>
                  </a:cubicBezTo>
                  <a:cubicBezTo>
                    <a:pt x="290" y="1555"/>
                    <a:pt x="282" y="1562"/>
                    <a:pt x="284" y="1565"/>
                  </a:cubicBezTo>
                  <a:cubicBezTo>
                    <a:pt x="287" y="1574"/>
                    <a:pt x="291" y="1557"/>
                    <a:pt x="294" y="1558"/>
                  </a:cubicBezTo>
                  <a:cubicBezTo>
                    <a:pt x="299" y="1559"/>
                    <a:pt x="298" y="1569"/>
                    <a:pt x="303" y="1569"/>
                  </a:cubicBezTo>
                  <a:cubicBezTo>
                    <a:pt x="308" y="1569"/>
                    <a:pt x="305" y="1579"/>
                    <a:pt x="306" y="1578"/>
                  </a:cubicBezTo>
                  <a:close/>
                  <a:moveTo>
                    <a:pt x="277" y="1514"/>
                  </a:moveTo>
                  <a:cubicBezTo>
                    <a:pt x="277" y="1518"/>
                    <a:pt x="287" y="1512"/>
                    <a:pt x="290" y="1515"/>
                  </a:cubicBezTo>
                  <a:cubicBezTo>
                    <a:pt x="295" y="1521"/>
                    <a:pt x="301" y="1526"/>
                    <a:pt x="300" y="1509"/>
                  </a:cubicBezTo>
                  <a:cubicBezTo>
                    <a:pt x="299" y="1508"/>
                    <a:pt x="299" y="1508"/>
                    <a:pt x="299" y="1508"/>
                  </a:cubicBezTo>
                  <a:cubicBezTo>
                    <a:pt x="299" y="1508"/>
                    <a:pt x="299" y="1498"/>
                    <a:pt x="299" y="1498"/>
                  </a:cubicBezTo>
                  <a:cubicBezTo>
                    <a:pt x="292" y="1498"/>
                    <a:pt x="297" y="1506"/>
                    <a:pt x="291" y="1503"/>
                  </a:cubicBezTo>
                  <a:cubicBezTo>
                    <a:pt x="278" y="1495"/>
                    <a:pt x="292" y="1508"/>
                    <a:pt x="291" y="1510"/>
                  </a:cubicBezTo>
                  <a:cubicBezTo>
                    <a:pt x="290" y="1513"/>
                    <a:pt x="277" y="1507"/>
                    <a:pt x="277" y="1514"/>
                  </a:cubicBezTo>
                  <a:close/>
                  <a:moveTo>
                    <a:pt x="279" y="1245"/>
                  </a:moveTo>
                  <a:cubicBezTo>
                    <a:pt x="276" y="1243"/>
                    <a:pt x="275" y="1238"/>
                    <a:pt x="272" y="1236"/>
                  </a:cubicBezTo>
                  <a:cubicBezTo>
                    <a:pt x="269" y="1235"/>
                    <a:pt x="267" y="1232"/>
                    <a:pt x="264" y="1230"/>
                  </a:cubicBezTo>
                  <a:cubicBezTo>
                    <a:pt x="263" y="1230"/>
                    <a:pt x="263" y="1230"/>
                    <a:pt x="263" y="1230"/>
                  </a:cubicBezTo>
                  <a:cubicBezTo>
                    <a:pt x="260" y="1230"/>
                    <a:pt x="262" y="1233"/>
                    <a:pt x="264" y="1234"/>
                  </a:cubicBezTo>
                  <a:cubicBezTo>
                    <a:pt x="265" y="1234"/>
                    <a:pt x="266" y="1237"/>
                    <a:pt x="267" y="1238"/>
                  </a:cubicBezTo>
                  <a:cubicBezTo>
                    <a:pt x="267" y="1243"/>
                    <a:pt x="283" y="1248"/>
                    <a:pt x="279" y="1245"/>
                  </a:cubicBezTo>
                  <a:close/>
                  <a:moveTo>
                    <a:pt x="297" y="1399"/>
                  </a:moveTo>
                  <a:cubicBezTo>
                    <a:pt x="297" y="1399"/>
                    <a:pt x="297" y="1399"/>
                    <a:pt x="297" y="1399"/>
                  </a:cubicBezTo>
                  <a:cubicBezTo>
                    <a:pt x="297" y="1396"/>
                    <a:pt x="289" y="1400"/>
                    <a:pt x="289" y="1403"/>
                  </a:cubicBezTo>
                  <a:cubicBezTo>
                    <a:pt x="289" y="1410"/>
                    <a:pt x="300" y="1413"/>
                    <a:pt x="297" y="1399"/>
                  </a:cubicBezTo>
                  <a:close/>
                  <a:moveTo>
                    <a:pt x="291" y="1449"/>
                  </a:moveTo>
                  <a:cubicBezTo>
                    <a:pt x="296" y="1445"/>
                    <a:pt x="295" y="1442"/>
                    <a:pt x="293" y="1438"/>
                  </a:cubicBezTo>
                  <a:cubicBezTo>
                    <a:pt x="292" y="1437"/>
                    <a:pt x="292" y="1437"/>
                    <a:pt x="292" y="1437"/>
                  </a:cubicBezTo>
                  <a:cubicBezTo>
                    <a:pt x="290" y="1435"/>
                    <a:pt x="286" y="1455"/>
                    <a:pt x="291" y="1449"/>
                  </a:cubicBezTo>
                  <a:close/>
                  <a:moveTo>
                    <a:pt x="310" y="1553"/>
                  </a:moveTo>
                  <a:cubicBezTo>
                    <a:pt x="311" y="1553"/>
                    <a:pt x="315" y="1533"/>
                    <a:pt x="315" y="1531"/>
                  </a:cubicBezTo>
                  <a:cubicBezTo>
                    <a:pt x="315" y="1531"/>
                    <a:pt x="315" y="1531"/>
                    <a:pt x="315" y="1531"/>
                  </a:cubicBezTo>
                  <a:cubicBezTo>
                    <a:pt x="312" y="1528"/>
                    <a:pt x="310" y="1529"/>
                    <a:pt x="311" y="1533"/>
                  </a:cubicBezTo>
                  <a:cubicBezTo>
                    <a:pt x="312" y="1538"/>
                    <a:pt x="300" y="1531"/>
                    <a:pt x="298" y="1535"/>
                  </a:cubicBezTo>
                  <a:cubicBezTo>
                    <a:pt x="297" y="1538"/>
                    <a:pt x="308" y="1553"/>
                    <a:pt x="310" y="1553"/>
                  </a:cubicBezTo>
                  <a:close/>
                  <a:moveTo>
                    <a:pt x="325" y="933"/>
                  </a:moveTo>
                  <a:cubicBezTo>
                    <a:pt x="325" y="932"/>
                    <a:pt x="325" y="932"/>
                    <a:pt x="325" y="932"/>
                  </a:cubicBezTo>
                  <a:cubicBezTo>
                    <a:pt x="325" y="925"/>
                    <a:pt x="316" y="935"/>
                    <a:pt x="315" y="937"/>
                  </a:cubicBezTo>
                  <a:cubicBezTo>
                    <a:pt x="314" y="943"/>
                    <a:pt x="321" y="941"/>
                    <a:pt x="323" y="946"/>
                  </a:cubicBezTo>
                  <a:cubicBezTo>
                    <a:pt x="329" y="965"/>
                    <a:pt x="318" y="952"/>
                    <a:pt x="322" y="962"/>
                  </a:cubicBezTo>
                  <a:cubicBezTo>
                    <a:pt x="323" y="965"/>
                    <a:pt x="330" y="978"/>
                    <a:pt x="333" y="978"/>
                  </a:cubicBezTo>
                  <a:cubicBezTo>
                    <a:pt x="334" y="977"/>
                    <a:pt x="328" y="965"/>
                    <a:pt x="328" y="963"/>
                  </a:cubicBezTo>
                  <a:cubicBezTo>
                    <a:pt x="327" y="942"/>
                    <a:pt x="323" y="941"/>
                    <a:pt x="325" y="933"/>
                  </a:cubicBezTo>
                  <a:close/>
                  <a:moveTo>
                    <a:pt x="295" y="888"/>
                  </a:moveTo>
                  <a:cubicBezTo>
                    <a:pt x="292" y="888"/>
                    <a:pt x="268" y="879"/>
                    <a:pt x="268" y="880"/>
                  </a:cubicBezTo>
                  <a:cubicBezTo>
                    <a:pt x="267" y="883"/>
                    <a:pt x="284" y="892"/>
                    <a:pt x="282" y="898"/>
                  </a:cubicBezTo>
                  <a:cubicBezTo>
                    <a:pt x="281" y="900"/>
                    <a:pt x="268" y="888"/>
                    <a:pt x="264" y="888"/>
                  </a:cubicBezTo>
                  <a:cubicBezTo>
                    <a:pt x="263" y="888"/>
                    <a:pt x="264" y="891"/>
                    <a:pt x="264" y="892"/>
                  </a:cubicBezTo>
                  <a:cubicBezTo>
                    <a:pt x="270" y="898"/>
                    <a:pt x="297" y="907"/>
                    <a:pt x="301" y="912"/>
                  </a:cubicBezTo>
                  <a:cubicBezTo>
                    <a:pt x="306" y="920"/>
                    <a:pt x="307" y="943"/>
                    <a:pt x="305" y="944"/>
                  </a:cubicBezTo>
                  <a:cubicBezTo>
                    <a:pt x="302" y="945"/>
                    <a:pt x="299" y="928"/>
                    <a:pt x="298" y="930"/>
                  </a:cubicBezTo>
                  <a:cubicBezTo>
                    <a:pt x="296" y="933"/>
                    <a:pt x="299" y="945"/>
                    <a:pt x="301" y="946"/>
                  </a:cubicBezTo>
                  <a:cubicBezTo>
                    <a:pt x="304" y="948"/>
                    <a:pt x="309" y="951"/>
                    <a:pt x="308" y="954"/>
                  </a:cubicBezTo>
                  <a:cubicBezTo>
                    <a:pt x="308" y="954"/>
                    <a:pt x="304" y="963"/>
                    <a:pt x="306" y="961"/>
                  </a:cubicBezTo>
                  <a:cubicBezTo>
                    <a:pt x="316" y="955"/>
                    <a:pt x="309" y="939"/>
                    <a:pt x="310" y="929"/>
                  </a:cubicBezTo>
                  <a:cubicBezTo>
                    <a:pt x="310" y="928"/>
                    <a:pt x="310" y="928"/>
                    <a:pt x="310" y="928"/>
                  </a:cubicBezTo>
                  <a:cubicBezTo>
                    <a:pt x="308" y="921"/>
                    <a:pt x="300" y="907"/>
                    <a:pt x="311" y="905"/>
                  </a:cubicBezTo>
                  <a:cubicBezTo>
                    <a:pt x="317" y="903"/>
                    <a:pt x="329" y="906"/>
                    <a:pt x="333" y="911"/>
                  </a:cubicBezTo>
                  <a:cubicBezTo>
                    <a:pt x="333" y="912"/>
                    <a:pt x="339" y="920"/>
                    <a:pt x="339" y="916"/>
                  </a:cubicBezTo>
                  <a:cubicBezTo>
                    <a:pt x="340" y="914"/>
                    <a:pt x="314" y="887"/>
                    <a:pt x="313" y="886"/>
                  </a:cubicBezTo>
                  <a:cubicBezTo>
                    <a:pt x="308" y="885"/>
                    <a:pt x="313" y="894"/>
                    <a:pt x="308" y="894"/>
                  </a:cubicBezTo>
                  <a:cubicBezTo>
                    <a:pt x="301" y="894"/>
                    <a:pt x="301" y="888"/>
                    <a:pt x="295" y="888"/>
                  </a:cubicBezTo>
                  <a:close/>
                  <a:moveTo>
                    <a:pt x="275" y="844"/>
                  </a:moveTo>
                  <a:cubicBezTo>
                    <a:pt x="278" y="844"/>
                    <a:pt x="291" y="849"/>
                    <a:pt x="293" y="847"/>
                  </a:cubicBezTo>
                  <a:cubicBezTo>
                    <a:pt x="296" y="845"/>
                    <a:pt x="271" y="839"/>
                    <a:pt x="269" y="838"/>
                  </a:cubicBezTo>
                  <a:cubicBezTo>
                    <a:pt x="268" y="838"/>
                    <a:pt x="268" y="838"/>
                    <a:pt x="268" y="838"/>
                  </a:cubicBezTo>
                  <a:cubicBezTo>
                    <a:pt x="249" y="821"/>
                    <a:pt x="258" y="845"/>
                    <a:pt x="275" y="844"/>
                  </a:cubicBezTo>
                  <a:close/>
                  <a:moveTo>
                    <a:pt x="254" y="1262"/>
                  </a:moveTo>
                  <a:cubicBezTo>
                    <a:pt x="259" y="1263"/>
                    <a:pt x="261" y="1254"/>
                    <a:pt x="262" y="1251"/>
                  </a:cubicBezTo>
                  <a:cubicBezTo>
                    <a:pt x="262" y="1251"/>
                    <a:pt x="262" y="1251"/>
                    <a:pt x="262" y="1251"/>
                  </a:cubicBezTo>
                  <a:cubicBezTo>
                    <a:pt x="265" y="1244"/>
                    <a:pt x="247" y="1259"/>
                    <a:pt x="254" y="1262"/>
                  </a:cubicBezTo>
                  <a:close/>
                  <a:moveTo>
                    <a:pt x="201" y="1128"/>
                  </a:moveTo>
                  <a:cubicBezTo>
                    <a:pt x="201" y="1128"/>
                    <a:pt x="201" y="1128"/>
                    <a:pt x="201" y="1128"/>
                  </a:cubicBezTo>
                  <a:cubicBezTo>
                    <a:pt x="196" y="1124"/>
                    <a:pt x="210" y="1141"/>
                    <a:pt x="215" y="1144"/>
                  </a:cubicBezTo>
                  <a:cubicBezTo>
                    <a:pt x="221" y="1149"/>
                    <a:pt x="231" y="1148"/>
                    <a:pt x="238" y="1153"/>
                  </a:cubicBezTo>
                  <a:cubicBezTo>
                    <a:pt x="239" y="1154"/>
                    <a:pt x="240" y="1156"/>
                    <a:pt x="241" y="1157"/>
                  </a:cubicBezTo>
                  <a:cubicBezTo>
                    <a:pt x="241" y="1158"/>
                    <a:pt x="242" y="1165"/>
                    <a:pt x="244" y="1162"/>
                  </a:cubicBezTo>
                  <a:cubicBezTo>
                    <a:pt x="249" y="1154"/>
                    <a:pt x="212" y="1139"/>
                    <a:pt x="201" y="1128"/>
                  </a:cubicBezTo>
                  <a:close/>
                  <a:moveTo>
                    <a:pt x="190" y="1374"/>
                  </a:moveTo>
                  <a:cubicBezTo>
                    <a:pt x="189" y="1371"/>
                    <a:pt x="191" y="1369"/>
                    <a:pt x="190" y="1367"/>
                  </a:cubicBezTo>
                  <a:cubicBezTo>
                    <a:pt x="189" y="1366"/>
                    <a:pt x="189" y="1366"/>
                    <a:pt x="189" y="1366"/>
                  </a:cubicBezTo>
                  <a:cubicBezTo>
                    <a:pt x="188" y="1363"/>
                    <a:pt x="182" y="1348"/>
                    <a:pt x="179" y="1349"/>
                  </a:cubicBezTo>
                  <a:cubicBezTo>
                    <a:pt x="173" y="1350"/>
                    <a:pt x="207" y="1403"/>
                    <a:pt x="190" y="1374"/>
                  </a:cubicBezTo>
                  <a:close/>
                  <a:moveTo>
                    <a:pt x="180" y="1391"/>
                  </a:moveTo>
                  <a:cubicBezTo>
                    <a:pt x="179" y="1391"/>
                    <a:pt x="179" y="1391"/>
                    <a:pt x="179" y="1391"/>
                  </a:cubicBezTo>
                  <a:cubicBezTo>
                    <a:pt x="176" y="1386"/>
                    <a:pt x="173" y="1372"/>
                    <a:pt x="170" y="1377"/>
                  </a:cubicBezTo>
                  <a:cubicBezTo>
                    <a:pt x="166" y="1384"/>
                    <a:pt x="182" y="1395"/>
                    <a:pt x="180" y="1391"/>
                  </a:cubicBezTo>
                  <a:close/>
                  <a:moveTo>
                    <a:pt x="205" y="1430"/>
                  </a:moveTo>
                  <a:cubicBezTo>
                    <a:pt x="205" y="1431"/>
                    <a:pt x="206" y="1434"/>
                    <a:pt x="207" y="1434"/>
                  </a:cubicBezTo>
                  <a:cubicBezTo>
                    <a:pt x="209" y="1434"/>
                    <a:pt x="208" y="1430"/>
                    <a:pt x="208" y="1429"/>
                  </a:cubicBezTo>
                  <a:cubicBezTo>
                    <a:pt x="208" y="1414"/>
                    <a:pt x="193" y="1408"/>
                    <a:pt x="193" y="1393"/>
                  </a:cubicBezTo>
                  <a:cubicBezTo>
                    <a:pt x="193" y="1393"/>
                    <a:pt x="193" y="1393"/>
                    <a:pt x="193" y="1393"/>
                  </a:cubicBezTo>
                  <a:cubicBezTo>
                    <a:pt x="185" y="1385"/>
                    <a:pt x="204" y="1430"/>
                    <a:pt x="205" y="1430"/>
                  </a:cubicBezTo>
                  <a:close/>
                  <a:moveTo>
                    <a:pt x="219" y="1068"/>
                  </a:moveTo>
                  <a:cubicBezTo>
                    <a:pt x="221" y="1065"/>
                    <a:pt x="206" y="1060"/>
                    <a:pt x="203" y="1060"/>
                  </a:cubicBezTo>
                  <a:cubicBezTo>
                    <a:pt x="203" y="1060"/>
                    <a:pt x="203" y="1060"/>
                    <a:pt x="203" y="1060"/>
                  </a:cubicBezTo>
                  <a:cubicBezTo>
                    <a:pt x="196" y="1060"/>
                    <a:pt x="217" y="1070"/>
                    <a:pt x="219" y="1068"/>
                  </a:cubicBezTo>
                  <a:close/>
                  <a:moveTo>
                    <a:pt x="210" y="896"/>
                  </a:moveTo>
                  <a:cubicBezTo>
                    <a:pt x="210" y="896"/>
                    <a:pt x="210" y="896"/>
                    <a:pt x="210" y="896"/>
                  </a:cubicBezTo>
                  <a:cubicBezTo>
                    <a:pt x="204" y="893"/>
                    <a:pt x="184" y="897"/>
                    <a:pt x="190" y="900"/>
                  </a:cubicBezTo>
                  <a:cubicBezTo>
                    <a:pt x="198" y="904"/>
                    <a:pt x="203" y="897"/>
                    <a:pt x="212" y="901"/>
                  </a:cubicBezTo>
                  <a:cubicBezTo>
                    <a:pt x="213" y="901"/>
                    <a:pt x="228" y="905"/>
                    <a:pt x="226" y="901"/>
                  </a:cubicBezTo>
                  <a:cubicBezTo>
                    <a:pt x="225" y="898"/>
                    <a:pt x="214" y="899"/>
                    <a:pt x="210" y="896"/>
                  </a:cubicBezTo>
                  <a:close/>
                  <a:moveTo>
                    <a:pt x="205" y="863"/>
                  </a:moveTo>
                  <a:cubicBezTo>
                    <a:pt x="206" y="863"/>
                    <a:pt x="211" y="869"/>
                    <a:pt x="212" y="869"/>
                  </a:cubicBezTo>
                  <a:cubicBezTo>
                    <a:pt x="219" y="861"/>
                    <a:pt x="189" y="852"/>
                    <a:pt x="185" y="847"/>
                  </a:cubicBezTo>
                  <a:cubicBezTo>
                    <a:pt x="176" y="836"/>
                    <a:pt x="193" y="842"/>
                    <a:pt x="195" y="839"/>
                  </a:cubicBezTo>
                  <a:cubicBezTo>
                    <a:pt x="198" y="833"/>
                    <a:pt x="181" y="835"/>
                    <a:pt x="180" y="828"/>
                  </a:cubicBezTo>
                  <a:cubicBezTo>
                    <a:pt x="177" y="815"/>
                    <a:pt x="214" y="842"/>
                    <a:pt x="203" y="822"/>
                  </a:cubicBezTo>
                  <a:cubicBezTo>
                    <a:pt x="203" y="821"/>
                    <a:pt x="203" y="821"/>
                    <a:pt x="203" y="821"/>
                  </a:cubicBezTo>
                  <a:cubicBezTo>
                    <a:pt x="197" y="818"/>
                    <a:pt x="187" y="821"/>
                    <a:pt x="181" y="822"/>
                  </a:cubicBezTo>
                  <a:cubicBezTo>
                    <a:pt x="179" y="822"/>
                    <a:pt x="173" y="828"/>
                    <a:pt x="173" y="829"/>
                  </a:cubicBezTo>
                  <a:cubicBezTo>
                    <a:pt x="172" y="832"/>
                    <a:pt x="167" y="828"/>
                    <a:pt x="167" y="830"/>
                  </a:cubicBezTo>
                  <a:cubicBezTo>
                    <a:pt x="161" y="840"/>
                    <a:pt x="199" y="859"/>
                    <a:pt x="205" y="863"/>
                  </a:cubicBezTo>
                  <a:close/>
                  <a:moveTo>
                    <a:pt x="130" y="824"/>
                  </a:moveTo>
                  <a:cubicBezTo>
                    <a:pt x="134" y="826"/>
                    <a:pt x="160" y="831"/>
                    <a:pt x="162" y="827"/>
                  </a:cubicBezTo>
                  <a:cubicBezTo>
                    <a:pt x="162" y="827"/>
                    <a:pt x="130" y="824"/>
                    <a:pt x="130" y="816"/>
                  </a:cubicBezTo>
                  <a:cubicBezTo>
                    <a:pt x="130" y="816"/>
                    <a:pt x="130" y="816"/>
                    <a:pt x="130" y="816"/>
                  </a:cubicBezTo>
                  <a:cubicBezTo>
                    <a:pt x="126" y="812"/>
                    <a:pt x="127" y="821"/>
                    <a:pt x="130" y="824"/>
                  </a:cubicBezTo>
                  <a:close/>
                  <a:moveTo>
                    <a:pt x="132" y="833"/>
                  </a:moveTo>
                  <a:cubicBezTo>
                    <a:pt x="136" y="834"/>
                    <a:pt x="142" y="845"/>
                    <a:pt x="147" y="842"/>
                  </a:cubicBezTo>
                  <a:cubicBezTo>
                    <a:pt x="152" y="840"/>
                    <a:pt x="146" y="834"/>
                    <a:pt x="144" y="832"/>
                  </a:cubicBezTo>
                  <a:cubicBezTo>
                    <a:pt x="144" y="832"/>
                    <a:pt x="144" y="832"/>
                    <a:pt x="144" y="832"/>
                  </a:cubicBezTo>
                  <a:cubicBezTo>
                    <a:pt x="143" y="831"/>
                    <a:pt x="127" y="830"/>
                    <a:pt x="127" y="831"/>
                  </a:cubicBezTo>
                  <a:cubicBezTo>
                    <a:pt x="127" y="832"/>
                    <a:pt x="131" y="833"/>
                    <a:pt x="132" y="833"/>
                  </a:cubicBezTo>
                  <a:close/>
                  <a:moveTo>
                    <a:pt x="142" y="895"/>
                  </a:moveTo>
                  <a:cubicBezTo>
                    <a:pt x="146" y="894"/>
                    <a:pt x="144" y="892"/>
                    <a:pt x="145" y="889"/>
                  </a:cubicBezTo>
                  <a:cubicBezTo>
                    <a:pt x="146" y="885"/>
                    <a:pt x="144" y="887"/>
                    <a:pt x="144" y="883"/>
                  </a:cubicBezTo>
                  <a:cubicBezTo>
                    <a:pt x="144" y="882"/>
                    <a:pt x="144" y="882"/>
                    <a:pt x="144" y="882"/>
                  </a:cubicBezTo>
                  <a:cubicBezTo>
                    <a:pt x="137" y="874"/>
                    <a:pt x="122" y="898"/>
                    <a:pt x="142" y="895"/>
                  </a:cubicBezTo>
                  <a:close/>
                  <a:moveTo>
                    <a:pt x="172" y="1018"/>
                  </a:moveTo>
                  <a:cubicBezTo>
                    <a:pt x="169" y="1010"/>
                    <a:pt x="148" y="1008"/>
                    <a:pt x="146" y="999"/>
                  </a:cubicBezTo>
                  <a:cubicBezTo>
                    <a:pt x="146" y="999"/>
                    <a:pt x="146" y="999"/>
                    <a:pt x="146" y="999"/>
                  </a:cubicBezTo>
                  <a:cubicBezTo>
                    <a:pt x="144" y="997"/>
                    <a:pt x="143" y="998"/>
                    <a:pt x="144" y="1000"/>
                  </a:cubicBezTo>
                  <a:cubicBezTo>
                    <a:pt x="147" y="1004"/>
                    <a:pt x="152" y="1006"/>
                    <a:pt x="154" y="1011"/>
                  </a:cubicBezTo>
                  <a:cubicBezTo>
                    <a:pt x="156" y="1017"/>
                    <a:pt x="175" y="1024"/>
                    <a:pt x="172" y="1018"/>
                  </a:cubicBezTo>
                  <a:close/>
                  <a:moveTo>
                    <a:pt x="168" y="1429"/>
                  </a:moveTo>
                  <a:cubicBezTo>
                    <a:pt x="169" y="1427"/>
                    <a:pt x="170" y="1434"/>
                    <a:pt x="171" y="1435"/>
                  </a:cubicBezTo>
                  <a:cubicBezTo>
                    <a:pt x="172" y="1437"/>
                    <a:pt x="185" y="1452"/>
                    <a:pt x="186" y="1452"/>
                  </a:cubicBezTo>
                  <a:cubicBezTo>
                    <a:pt x="190" y="1451"/>
                    <a:pt x="180" y="1441"/>
                    <a:pt x="180" y="1440"/>
                  </a:cubicBezTo>
                  <a:cubicBezTo>
                    <a:pt x="179" y="1440"/>
                    <a:pt x="179" y="1440"/>
                    <a:pt x="179" y="1440"/>
                  </a:cubicBezTo>
                  <a:cubicBezTo>
                    <a:pt x="175" y="1436"/>
                    <a:pt x="173" y="1416"/>
                    <a:pt x="171" y="1415"/>
                  </a:cubicBezTo>
                  <a:cubicBezTo>
                    <a:pt x="168" y="1415"/>
                    <a:pt x="170" y="1417"/>
                    <a:pt x="170" y="1418"/>
                  </a:cubicBezTo>
                  <a:cubicBezTo>
                    <a:pt x="175" y="1430"/>
                    <a:pt x="165" y="1423"/>
                    <a:pt x="162" y="1422"/>
                  </a:cubicBezTo>
                  <a:cubicBezTo>
                    <a:pt x="160" y="1422"/>
                    <a:pt x="165" y="1432"/>
                    <a:pt x="168" y="1429"/>
                  </a:cubicBezTo>
                  <a:close/>
                  <a:moveTo>
                    <a:pt x="152" y="1437"/>
                  </a:moveTo>
                  <a:cubicBezTo>
                    <a:pt x="153" y="1438"/>
                    <a:pt x="164" y="1459"/>
                    <a:pt x="164" y="1458"/>
                  </a:cubicBezTo>
                  <a:cubicBezTo>
                    <a:pt x="167" y="1455"/>
                    <a:pt x="164" y="1453"/>
                    <a:pt x="163" y="1452"/>
                  </a:cubicBezTo>
                  <a:cubicBezTo>
                    <a:pt x="148" y="1435"/>
                    <a:pt x="145" y="1423"/>
                    <a:pt x="133" y="1414"/>
                  </a:cubicBezTo>
                  <a:cubicBezTo>
                    <a:pt x="133" y="1414"/>
                    <a:pt x="133" y="1414"/>
                    <a:pt x="133" y="1414"/>
                  </a:cubicBezTo>
                  <a:cubicBezTo>
                    <a:pt x="130" y="1413"/>
                    <a:pt x="132" y="1415"/>
                    <a:pt x="130" y="1416"/>
                  </a:cubicBezTo>
                  <a:cubicBezTo>
                    <a:pt x="125" y="1417"/>
                    <a:pt x="146" y="1432"/>
                    <a:pt x="152" y="1437"/>
                  </a:cubicBezTo>
                  <a:close/>
                  <a:moveTo>
                    <a:pt x="133" y="1445"/>
                  </a:moveTo>
                  <a:cubicBezTo>
                    <a:pt x="136" y="1444"/>
                    <a:pt x="137" y="1438"/>
                    <a:pt x="135" y="1436"/>
                  </a:cubicBezTo>
                  <a:cubicBezTo>
                    <a:pt x="132" y="1433"/>
                    <a:pt x="126" y="1439"/>
                    <a:pt x="127" y="1434"/>
                  </a:cubicBezTo>
                  <a:cubicBezTo>
                    <a:pt x="127" y="1434"/>
                    <a:pt x="127" y="1434"/>
                    <a:pt x="127" y="1434"/>
                  </a:cubicBezTo>
                  <a:cubicBezTo>
                    <a:pt x="125" y="1429"/>
                    <a:pt x="124" y="1446"/>
                    <a:pt x="133" y="1445"/>
                  </a:cubicBezTo>
                  <a:close/>
                  <a:moveTo>
                    <a:pt x="118" y="1485"/>
                  </a:moveTo>
                  <a:cubicBezTo>
                    <a:pt x="119" y="1486"/>
                    <a:pt x="120" y="1493"/>
                    <a:pt x="120" y="1493"/>
                  </a:cubicBezTo>
                  <a:cubicBezTo>
                    <a:pt x="120" y="1493"/>
                    <a:pt x="123" y="1471"/>
                    <a:pt x="123" y="1470"/>
                  </a:cubicBezTo>
                  <a:cubicBezTo>
                    <a:pt x="120" y="1470"/>
                    <a:pt x="119" y="1475"/>
                    <a:pt x="119" y="1478"/>
                  </a:cubicBezTo>
                  <a:cubicBezTo>
                    <a:pt x="119" y="1481"/>
                    <a:pt x="118" y="1469"/>
                    <a:pt x="115" y="1474"/>
                  </a:cubicBezTo>
                  <a:cubicBezTo>
                    <a:pt x="107" y="1486"/>
                    <a:pt x="102" y="1475"/>
                    <a:pt x="102" y="1457"/>
                  </a:cubicBezTo>
                  <a:cubicBezTo>
                    <a:pt x="102" y="1456"/>
                    <a:pt x="102" y="1456"/>
                    <a:pt x="102" y="1456"/>
                  </a:cubicBezTo>
                  <a:cubicBezTo>
                    <a:pt x="99" y="1451"/>
                    <a:pt x="99" y="1468"/>
                    <a:pt x="99" y="1469"/>
                  </a:cubicBezTo>
                  <a:cubicBezTo>
                    <a:pt x="98" y="1487"/>
                    <a:pt x="117" y="1481"/>
                    <a:pt x="118" y="1485"/>
                  </a:cubicBezTo>
                  <a:close/>
                  <a:moveTo>
                    <a:pt x="128" y="1717"/>
                  </a:moveTo>
                  <a:cubicBezTo>
                    <a:pt x="128" y="1717"/>
                    <a:pt x="128" y="1717"/>
                    <a:pt x="128" y="1717"/>
                  </a:cubicBezTo>
                  <a:cubicBezTo>
                    <a:pt x="126" y="1714"/>
                    <a:pt x="121" y="1722"/>
                    <a:pt x="118" y="1723"/>
                  </a:cubicBezTo>
                  <a:cubicBezTo>
                    <a:pt x="117" y="1724"/>
                    <a:pt x="107" y="1726"/>
                    <a:pt x="107" y="1728"/>
                  </a:cubicBezTo>
                  <a:cubicBezTo>
                    <a:pt x="108" y="1730"/>
                    <a:pt x="131" y="1724"/>
                    <a:pt x="128" y="1717"/>
                  </a:cubicBezTo>
                  <a:close/>
                  <a:moveTo>
                    <a:pt x="128" y="1660"/>
                  </a:moveTo>
                  <a:cubicBezTo>
                    <a:pt x="124" y="1662"/>
                    <a:pt x="120" y="1662"/>
                    <a:pt x="119" y="1667"/>
                  </a:cubicBezTo>
                  <a:cubicBezTo>
                    <a:pt x="118" y="1668"/>
                    <a:pt x="117" y="1675"/>
                    <a:pt x="121" y="1672"/>
                  </a:cubicBezTo>
                  <a:cubicBezTo>
                    <a:pt x="125" y="1668"/>
                    <a:pt x="129" y="1663"/>
                    <a:pt x="133" y="1660"/>
                  </a:cubicBezTo>
                  <a:cubicBezTo>
                    <a:pt x="133" y="1660"/>
                    <a:pt x="133" y="1660"/>
                    <a:pt x="133" y="1660"/>
                  </a:cubicBezTo>
                  <a:cubicBezTo>
                    <a:pt x="133" y="1657"/>
                    <a:pt x="130" y="1660"/>
                    <a:pt x="128" y="1660"/>
                  </a:cubicBezTo>
                  <a:close/>
                  <a:moveTo>
                    <a:pt x="213" y="1681"/>
                  </a:moveTo>
                  <a:cubicBezTo>
                    <a:pt x="213" y="1676"/>
                    <a:pt x="203" y="1693"/>
                    <a:pt x="207" y="1695"/>
                  </a:cubicBezTo>
                  <a:cubicBezTo>
                    <a:pt x="214" y="1697"/>
                    <a:pt x="213" y="1684"/>
                    <a:pt x="213" y="1681"/>
                  </a:cubicBezTo>
                  <a:close/>
                  <a:moveTo>
                    <a:pt x="253" y="1790"/>
                  </a:moveTo>
                  <a:cubicBezTo>
                    <a:pt x="245" y="1763"/>
                    <a:pt x="227" y="1812"/>
                    <a:pt x="236" y="1823"/>
                  </a:cubicBezTo>
                  <a:cubicBezTo>
                    <a:pt x="238" y="1826"/>
                    <a:pt x="251" y="1791"/>
                    <a:pt x="252" y="1791"/>
                  </a:cubicBezTo>
                  <a:lnTo>
                    <a:pt x="253" y="1790"/>
                  </a:lnTo>
                  <a:close/>
                  <a:moveTo>
                    <a:pt x="258" y="1543"/>
                  </a:moveTo>
                  <a:cubicBezTo>
                    <a:pt x="259" y="1542"/>
                    <a:pt x="273" y="1524"/>
                    <a:pt x="270" y="1515"/>
                  </a:cubicBezTo>
                  <a:cubicBezTo>
                    <a:pt x="269" y="1514"/>
                    <a:pt x="264" y="1512"/>
                    <a:pt x="265" y="1510"/>
                  </a:cubicBezTo>
                  <a:cubicBezTo>
                    <a:pt x="266" y="1509"/>
                    <a:pt x="283" y="1504"/>
                    <a:pt x="279" y="1500"/>
                  </a:cubicBezTo>
                  <a:cubicBezTo>
                    <a:pt x="271" y="1491"/>
                    <a:pt x="261" y="1509"/>
                    <a:pt x="262" y="1496"/>
                  </a:cubicBezTo>
                  <a:cubicBezTo>
                    <a:pt x="262" y="1488"/>
                    <a:pt x="282" y="1472"/>
                    <a:pt x="275" y="1463"/>
                  </a:cubicBezTo>
                  <a:cubicBezTo>
                    <a:pt x="270" y="1458"/>
                    <a:pt x="261" y="1464"/>
                    <a:pt x="257" y="1465"/>
                  </a:cubicBezTo>
                  <a:cubicBezTo>
                    <a:pt x="254" y="1465"/>
                    <a:pt x="254" y="1458"/>
                    <a:pt x="251" y="1458"/>
                  </a:cubicBezTo>
                  <a:cubicBezTo>
                    <a:pt x="249" y="1457"/>
                    <a:pt x="253" y="1464"/>
                    <a:pt x="246" y="1463"/>
                  </a:cubicBezTo>
                  <a:cubicBezTo>
                    <a:pt x="241" y="1463"/>
                    <a:pt x="249" y="1454"/>
                    <a:pt x="248" y="1453"/>
                  </a:cubicBezTo>
                  <a:cubicBezTo>
                    <a:pt x="245" y="1451"/>
                    <a:pt x="242" y="1457"/>
                    <a:pt x="239" y="1456"/>
                  </a:cubicBezTo>
                  <a:cubicBezTo>
                    <a:pt x="236" y="1454"/>
                    <a:pt x="240" y="1451"/>
                    <a:pt x="239" y="1451"/>
                  </a:cubicBezTo>
                  <a:cubicBezTo>
                    <a:pt x="236" y="1450"/>
                    <a:pt x="201" y="1459"/>
                    <a:pt x="200" y="1460"/>
                  </a:cubicBezTo>
                  <a:cubicBezTo>
                    <a:pt x="198" y="1462"/>
                    <a:pt x="205" y="1464"/>
                    <a:pt x="204" y="1466"/>
                  </a:cubicBezTo>
                  <a:cubicBezTo>
                    <a:pt x="203" y="1467"/>
                    <a:pt x="196" y="1466"/>
                    <a:pt x="196" y="1464"/>
                  </a:cubicBezTo>
                  <a:cubicBezTo>
                    <a:pt x="189" y="1449"/>
                    <a:pt x="195" y="1466"/>
                    <a:pt x="191" y="1470"/>
                  </a:cubicBezTo>
                  <a:cubicBezTo>
                    <a:pt x="189" y="1473"/>
                    <a:pt x="187" y="1468"/>
                    <a:pt x="186" y="1469"/>
                  </a:cubicBezTo>
                  <a:cubicBezTo>
                    <a:pt x="186" y="1469"/>
                    <a:pt x="209" y="1522"/>
                    <a:pt x="198" y="1526"/>
                  </a:cubicBezTo>
                  <a:cubicBezTo>
                    <a:pt x="197" y="1526"/>
                    <a:pt x="197" y="1526"/>
                    <a:pt x="197" y="1526"/>
                  </a:cubicBezTo>
                  <a:cubicBezTo>
                    <a:pt x="187" y="1524"/>
                    <a:pt x="188" y="1511"/>
                    <a:pt x="185" y="1507"/>
                  </a:cubicBezTo>
                  <a:cubicBezTo>
                    <a:pt x="178" y="1500"/>
                    <a:pt x="172" y="1506"/>
                    <a:pt x="169" y="1498"/>
                  </a:cubicBezTo>
                  <a:cubicBezTo>
                    <a:pt x="169" y="1497"/>
                    <a:pt x="169" y="1496"/>
                    <a:pt x="168" y="1496"/>
                  </a:cubicBezTo>
                  <a:cubicBezTo>
                    <a:pt x="141" y="1504"/>
                    <a:pt x="150" y="1534"/>
                    <a:pt x="140" y="1536"/>
                  </a:cubicBezTo>
                  <a:cubicBezTo>
                    <a:pt x="134" y="1537"/>
                    <a:pt x="141" y="1513"/>
                    <a:pt x="129" y="1514"/>
                  </a:cubicBezTo>
                  <a:cubicBezTo>
                    <a:pt x="128" y="1514"/>
                    <a:pt x="135" y="1534"/>
                    <a:pt x="135" y="1536"/>
                  </a:cubicBezTo>
                  <a:cubicBezTo>
                    <a:pt x="134" y="1538"/>
                    <a:pt x="124" y="1529"/>
                    <a:pt x="127" y="1537"/>
                  </a:cubicBezTo>
                  <a:cubicBezTo>
                    <a:pt x="130" y="1547"/>
                    <a:pt x="137" y="1533"/>
                    <a:pt x="134" y="1544"/>
                  </a:cubicBezTo>
                  <a:cubicBezTo>
                    <a:pt x="133" y="1548"/>
                    <a:pt x="134" y="1554"/>
                    <a:pt x="136" y="1556"/>
                  </a:cubicBezTo>
                  <a:cubicBezTo>
                    <a:pt x="138" y="1558"/>
                    <a:pt x="147" y="1560"/>
                    <a:pt x="147" y="1560"/>
                  </a:cubicBezTo>
                  <a:cubicBezTo>
                    <a:pt x="143" y="1574"/>
                    <a:pt x="117" y="1583"/>
                    <a:pt x="117" y="1594"/>
                  </a:cubicBezTo>
                  <a:cubicBezTo>
                    <a:pt x="117" y="1595"/>
                    <a:pt x="117" y="1597"/>
                    <a:pt x="118" y="1597"/>
                  </a:cubicBezTo>
                  <a:cubicBezTo>
                    <a:pt x="132" y="1604"/>
                    <a:pt x="138" y="1584"/>
                    <a:pt x="146" y="1583"/>
                  </a:cubicBezTo>
                  <a:cubicBezTo>
                    <a:pt x="152" y="1582"/>
                    <a:pt x="133" y="1600"/>
                    <a:pt x="139" y="1601"/>
                  </a:cubicBezTo>
                  <a:cubicBezTo>
                    <a:pt x="146" y="1602"/>
                    <a:pt x="151" y="1593"/>
                    <a:pt x="150" y="1589"/>
                  </a:cubicBezTo>
                  <a:cubicBezTo>
                    <a:pt x="149" y="1586"/>
                    <a:pt x="177" y="1580"/>
                    <a:pt x="173" y="1576"/>
                  </a:cubicBezTo>
                  <a:cubicBezTo>
                    <a:pt x="170" y="1574"/>
                    <a:pt x="168" y="1571"/>
                    <a:pt x="174" y="1570"/>
                  </a:cubicBezTo>
                  <a:cubicBezTo>
                    <a:pt x="178" y="1570"/>
                    <a:pt x="177" y="1564"/>
                    <a:pt x="179" y="1564"/>
                  </a:cubicBezTo>
                  <a:cubicBezTo>
                    <a:pt x="179" y="1565"/>
                    <a:pt x="179" y="1565"/>
                    <a:pt x="179" y="1565"/>
                  </a:cubicBezTo>
                  <a:cubicBezTo>
                    <a:pt x="180" y="1567"/>
                    <a:pt x="182" y="1565"/>
                    <a:pt x="184" y="1565"/>
                  </a:cubicBezTo>
                  <a:cubicBezTo>
                    <a:pt x="206" y="1560"/>
                    <a:pt x="184" y="1578"/>
                    <a:pt x="193" y="1579"/>
                  </a:cubicBezTo>
                  <a:cubicBezTo>
                    <a:pt x="194" y="1579"/>
                    <a:pt x="195" y="1579"/>
                    <a:pt x="196" y="1579"/>
                  </a:cubicBezTo>
                  <a:cubicBezTo>
                    <a:pt x="197" y="1579"/>
                    <a:pt x="197" y="1579"/>
                    <a:pt x="197" y="1579"/>
                  </a:cubicBezTo>
                  <a:cubicBezTo>
                    <a:pt x="198" y="1579"/>
                    <a:pt x="198" y="1579"/>
                    <a:pt x="198" y="1579"/>
                  </a:cubicBezTo>
                  <a:cubicBezTo>
                    <a:pt x="199" y="1579"/>
                    <a:pt x="199" y="1579"/>
                    <a:pt x="199" y="1579"/>
                  </a:cubicBezTo>
                  <a:cubicBezTo>
                    <a:pt x="207" y="1578"/>
                    <a:pt x="205" y="1567"/>
                    <a:pt x="211" y="1563"/>
                  </a:cubicBezTo>
                  <a:cubicBezTo>
                    <a:pt x="225" y="1553"/>
                    <a:pt x="237" y="1553"/>
                    <a:pt x="252" y="1549"/>
                  </a:cubicBezTo>
                  <a:cubicBezTo>
                    <a:pt x="253" y="1549"/>
                    <a:pt x="258" y="1544"/>
                    <a:pt x="258" y="1543"/>
                  </a:cubicBezTo>
                  <a:close/>
                  <a:moveTo>
                    <a:pt x="272" y="1768"/>
                  </a:moveTo>
                  <a:cubicBezTo>
                    <a:pt x="263" y="1768"/>
                    <a:pt x="267" y="1797"/>
                    <a:pt x="268" y="1790"/>
                  </a:cubicBezTo>
                  <a:cubicBezTo>
                    <a:pt x="268" y="1790"/>
                    <a:pt x="268" y="1790"/>
                    <a:pt x="268" y="1790"/>
                  </a:cubicBezTo>
                  <a:cubicBezTo>
                    <a:pt x="268" y="1787"/>
                    <a:pt x="275" y="1769"/>
                    <a:pt x="272" y="1768"/>
                  </a:cubicBezTo>
                  <a:close/>
                  <a:moveTo>
                    <a:pt x="277" y="1790"/>
                  </a:moveTo>
                  <a:cubicBezTo>
                    <a:pt x="277" y="1789"/>
                    <a:pt x="277" y="1789"/>
                    <a:pt x="277" y="1789"/>
                  </a:cubicBezTo>
                  <a:cubicBezTo>
                    <a:pt x="276" y="1786"/>
                    <a:pt x="282" y="1779"/>
                    <a:pt x="281" y="1777"/>
                  </a:cubicBezTo>
                  <a:cubicBezTo>
                    <a:pt x="279" y="1772"/>
                    <a:pt x="274" y="1781"/>
                    <a:pt x="273" y="1784"/>
                  </a:cubicBezTo>
                  <a:cubicBezTo>
                    <a:pt x="273" y="1793"/>
                    <a:pt x="278" y="1802"/>
                    <a:pt x="277" y="1790"/>
                  </a:cubicBezTo>
                  <a:close/>
                  <a:moveTo>
                    <a:pt x="280" y="1849"/>
                  </a:moveTo>
                  <a:cubicBezTo>
                    <a:pt x="284" y="1853"/>
                    <a:pt x="287" y="1842"/>
                    <a:pt x="289" y="1837"/>
                  </a:cubicBezTo>
                  <a:cubicBezTo>
                    <a:pt x="289" y="1837"/>
                    <a:pt x="289" y="1837"/>
                    <a:pt x="289" y="1837"/>
                  </a:cubicBezTo>
                  <a:cubicBezTo>
                    <a:pt x="300" y="1831"/>
                    <a:pt x="265" y="1835"/>
                    <a:pt x="280" y="1849"/>
                  </a:cubicBezTo>
                  <a:close/>
                  <a:moveTo>
                    <a:pt x="315" y="1910"/>
                  </a:moveTo>
                  <a:cubicBezTo>
                    <a:pt x="315" y="1907"/>
                    <a:pt x="312" y="1913"/>
                    <a:pt x="311" y="1909"/>
                  </a:cubicBezTo>
                  <a:cubicBezTo>
                    <a:pt x="311" y="1908"/>
                    <a:pt x="309" y="1909"/>
                    <a:pt x="307" y="1908"/>
                  </a:cubicBezTo>
                  <a:cubicBezTo>
                    <a:pt x="303" y="1905"/>
                    <a:pt x="305" y="1911"/>
                    <a:pt x="302" y="1912"/>
                  </a:cubicBezTo>
                  <a:cubicBezTo>
                    <a:pt x="299" y="1913"/>
                    <a:pt x="295" y="1907"/>
                    <a:pt x="294" y="1909"/>
                  </a:cubicBezTo>
                  <a:cubicBezTo>
                    <a:pt x="290" y="1919"/>
                    <a:pt x="316" y="1924"/>
                    <a:pt x="315" y="1910"/>
                  </a:cubicBezTo>
                  <a:close/>
                  <a:moveTo>
                    <a:pt x="339" y="1836"/>
                  </a:moveTo>
                  <a:cubicBezTo>
                    <a:pt x="334" y="1839"/>
                    <a:pt x="337" y="1831"/>
                    <a:pt x="332" y="1829"/>
                  </a:cubicBezTo>
                  <a:cubicBezTo>
                    <a:pt x="329" y="1827"/>
                    <a:pt x="332" y="1850"/>
                    <a:pt x="325" y="1835"/>
                  </a:cubicBezTo>
                  <a:cubicBezTo>
                    <a:pt x="324" y="1832"/>
                    <a:pt x="324" y="1829"/>
                    <a:pt x="323" y="1825"/>
                  </a:cubicBezTo>
                  <a:cubicBezTo>
                    <a:pt x="323" y="1825"/>
                    <a:pt x="323" y="1825"/>
                    <a:pt x="323" y="1825"/>
                  </a:cubicBezTo>
                  <a:cubicBezTo>
                    <a:pt x="319" y="1822"/>
                    <a:pt x="321" y="1829"/>
                    <a:pt x="322" y="1831"/>
                  </a:cubicBezTo>
                  <a:cubicBezTo>
                    <a:pt x="326" y="1843"/>
                    <a:pt x="330" y="1858"/>
                    <a:pt x="340" y="1855"/>
                  </a:cubicBezTo>
                  <a:cubicBezTo>
                    <a:pt x="340" y="1855"/>
                    <a:pt x="332" y="1841"/>
                    <a:pt x="341" y="1846"/>
                  </a:cubicBezTo>
                  <a:cubicBezTo>
                    <a:pt x="352" y="1851"/>
                    <a:pt x="340" y="1836"/>
                    <a:pt x="339" y="1836"/>
                  </a:cubicBezTo>
                  <a:close/>
                  <a:moveTo>
                    <a:pt x="334" y="1804"/>
                  </a:moveTo>
                  <a:cubicBezTo>
                    <a:pt x="341" y="1806"/>
                    <a:pt x="347" y="1794"/>
                    <a:pt x="338" y="1791"/>
                  </a:cubicBezTo>
                  <a:cubicBezTo>
                    <a:pt x="339" y="1790"/>
                    <a:pt x="339" y="1790"/>
                    <a:pt x="339" y="1790"/>
                  </a:cubicBezTo>
                  <a:cubicBezTo>
                    <a:pt x="342" y="1786"/>
                    <a:pt x="317" y="1797"/>
                    <a:pt x="334" y="1804"/>
                  </a:cubicBezTo>
                  <a:close/>
                  <a:moveTo>
                    <a:pt x="349" y="1599"/>
                  </a:moveTo>
                  <a:cubicBezTo>
                    <a:pt x="349" y="1599"/>
                    <a:pt x="349" y="1599"/>
                    <a:pt x="349" y="1599"/>
                  </a:cubicBezTo>
                  <a:cubicBezTo>
                    <a:pt x="349" y="1599"/>
                    <a:pt x="349" y="1599"/>
                    <a:pt x="349" y="1599"/>
                  </a:cubicBezTo>
                  <a:cubicBezTo>
                    <a:pt x="349" y="1599"/>
                    <a:pt x="349" y="1599"/>
                    <a:pt x="349" y="1599"/>
                  </a:cubicBezTo>
                  <a:cubicBezTo>
                    <a:pt x="348" y="1595"/>
                    <a:pt x="333" y="1597"/>
                    <a:pt x="334" y="1602"/>
                  </a:cubicBezTo>
                  <a:cubicBezTo>
                    <a:pt x="335" y="1607"/>
                    <a:pt x="347" y="1602"/>
                    <a:pt x="349" y="1599"/>
                  </a:cubicBezTo>
                  <a:close/>
                  <a:moveTo>
                    <a:pt x="354" y="1791"/>
                  </a:moveTo>
                  <a:cubicBezTo>
                    <a:pt x="354" y="1790"/>
                    <a:pt x="354" y="1790"/>
                    <a:pt x="354" y="1790"/>
                  </a:cubicBezTo>
                  <a:cubicBezTo>
                    <a:pt x="354" y="1784"/>
                    <a:pt x="347" y="1790"/>
                    <a:pt x="348" y="1791"/>
                  </a:cubicBezTo>
                  <a:cubicBezTo>
                    <a:pt x="350" y="1793"/>
                    <a:pt x="358" y="1796"/>
                    <a:pt x="354" y="1791"/>
                  </a:cubicBezTo>
                  <a:close/>
                  <a:moveTo>
                    <a:pt x="356" y="1577"/>
                  </a:moveTo>
                  <a:cubicBezTo>
                    <a:pt x="359" y="1570"/>
                    <a:pt x="346" y="1572"/>
                    <a:pt x="344" y="1568"/>
                  </a:cubicBezTo>
                  <a:cubicBezTo>
                    <a:pt x="342" y="1565"/>
                    <a:pt x="365" y="1522"/>
                    <a:pt x="350" y="1526"/>
                  </a:cubicBezTo>
                  <a:cubicBezTo>
                    <a:pt x="349" y="1526"/>
                    <a:pt x="350" y="1533"/>
                    <a:pt x="348" y="1535"/>
                  </a:cubicBezTo>
                  <a:cubicBezTo>
                    <a:pt x="335" y="1551"/>
                    <a:pt x="334" y="1544"/>
                    <a:pt x="317" y="1562"/>
                  </a:cubicBezTo>
                  <a:cubicBezTo>
                    <a:pt x="315" y="1564"/>
                    <a:pt x="288" y="1624"/>
                    <a:pt x="287" y="1632"/>
                  </a:cubicBezTo>
                  <a:cubicBezTo>
                    <a:pt x="287" y="1638"/>
                    <a:pt x="267" y="1681"/>
                    <a:pt x="286" y="1681"/>
                  </a:cubicBezTo>
                  <a:cubicBezTo>
                    <a:pt x="294" y="1681"/>
                    <a:pt x="296" y="1656"/>
                    <a:pt x="306" y="1650"/>
                  </a:cubicBezTo>
                  <a:cubicBezTo>
                    <a:pt x="307" y="1650"/>
                    <a:pt x="307" y="1650"/>
                    <a:pt x="307" y="1650"/>
                  </a:cubicBezTo>
                  <a:cubicBezTo>
                    <a:pt x="320" y="1634"/>
                    <a:pt x="317" y="1609"/>
                    <a:pt x="328" y="1596"/>
                  </a:cubicBezTo>
                  <a:cubicBezTo>
                    <a:pt x="336" y="1586"/>
                    <a:pt x="352" y="1587"/>
                    <a:pt x="356" y="1577"/>
                  </a:cubicBezTo>
                  <a:close/>
                  <a:moveTo>
                    <a:pt x="358" y="1764"/>
                  </a:moveTo>
                  <a:cubicBezTo>
                    <a:pt x="357" y="1763"/>
                    <a:pt x="357" y="1763"/>
                    <a:pt x="357" y="1763"/>
                  </a:cubicBezTo>
                  <a:cubicBezTo>
                    <a:pt x="356" y="1759"/>
                    <a:pt x="355" y="1783"/>
                    <a:pt x="361" y="1781"/>
                  </a:cubicBezTo>
                  <a:cubicBezTo>
                    <a:pt x="361" y="1781"/>
                    <a:pt x="359" y="1764"/>
                    <a:pt x="358" y="1764"/>
                  </a:cubicBezTo>
                  <a:close/>
                  <a:moveTo>
                    <a:pt x="371" y="1822"/>
                  </a:moveTo>
                  <a:cubicBezTo>
                    <a:pt x="371" y="1822"/>
                    <a:pt x="371" y="1822"/>
                    <a:pt x="371" y="1822"/>
                  </a:cubicBezTo>
                  <a:cubicBezTo>
                    <a:pt x="370" y="1820"/>
                    <a:pt x="369" y="1821"/>
                    <a:pt x="368" y="1822"/>
                  </a:cubicBezTo>
                  <a:cubicBezTo>
                    <a:pt x="366" y="1824"/>
                    <a:pt x="356" y="1818"/>
                    <a:pt x="365" y="1828"/>
                  </a:cubicBezTo>
                  <a:cubicBezTo>
                    <a:pt x="371" y="1833"/>
                    <a:pt x="374" y="1829"/>
                    <a:pt x="371" y="1822"/>
                  </a:cubicBezTo>
                  <a:close/>
                  <a:moveTo>
                    <a:pt x="390" y="1651"/>
                  </a:moveTo>
                  <a:cubicBezTo>
                    <a:pt x="390" y="1650"/>
                    <a:pt x="390" y="1650"/>
                    <a:pt x="390" y="1650"/>
                  </a:cubicBezTo>
                  <a:cubicBezTo>
                    <a:pt x="389" y="1644"/>
                    <a:pt x="386" y="1650"/>
                    <a:pt x="385" y="1648"/>
                  </a:cubicBezTo>
                  <a:cubicBezTo>
                    <a:pt x="376" y="1637"/>
                    <a:pt x="375" y="1646"/>
                    <a:pt x="368" y="1645"/>
                  </a:cubicBezTo>
                  <a:cubicBezTo>
                    <a:pt x="366" y="1644"/>
                    <a:pt x="363" y="1646"/>
                    <a:pt x="362" y="1643"/>
                  </a:cubicBezTo>
                  <a:cubicBezTo>
                    <a:pt x="362" y="1641"/>
                    <a:pt x="359" y="1625"/>
                    <a:pt x="359" y="1634"/>
                  </a:cubicBezTo>
                  <a:cubicBezTo>
                    <a:pt x="360" y="1638"/>
                    <a:pt x="357" y="1641"/>
                    <a:pt x="357" y="1641"/>
                  </a:cubicBezTo>
                  <a:cubicBezTo>
                    <a:pt x="358" y="1645"/>
                    <a:pt x="372" y="1663"/>
                    <a:pt x="375" y="1663"/>
                  </a:cubicBezTo>
                  <a:cubicBezTo>
                    <a:pt x="375" y="1663"/>
                    <a:pt x="375" y="1649"/>
                    <a:pt x="379" y="1651"/>
                  </a:cubicBezTo>
                  <a:cubicBezTo>
                    <a:pt x="381" y="1652"/>
                    <a:pt x="385" y="1669"/>
                    <a:pt x="389" y="1666"/>
                  </a:cubicBezTo>
                  <a:cubicBezTo>
                    <a:pt x="394" y="1663"/>
                    <a:pt x="381" y="1651"/>
                    <a:pt x="386" y="1652"/>
                  </a:cubicBezTo>
                  <a:cubicBezTo>
                    <a:pt x="389" y="1652"/>
                    <a:pt x="393" y="1662"/>
                    <a:pt x="390" y="1651"/>
                  </a:cubicBezTo>
                  <a:close/>
                  <a:moveTo>
                    <a:pt x="405" y="1500"/>
                  </a:moveTo>
                  <a:cubicBezTo>
                    <a:pt x="405" y="1500"/>
                    <a:pt x="405" y="1500"/>
                    <a:pt x="405" y="1500"/>
                  </a:cubicBezTo>
                  <a:cubicBezTo>
                    <a:pt x="384" y="1500"/>
                    <a:pt x="406" y="1516"/>
                    <a:pt x="405" y="1500"/>
                  </a:cubicBezTo>
                  <a:close/>
                  <a:moveTo>
                    <a:pt x="425" y="1579"/>
                  </a:moveTo>
                  <a:cubicBezTo>
                    <a:pt x="427" y="1577"/>
                    <a:pt x="455" y="1576"/>
                    <a:pt x="433" y="1575"/>
                  </a:cubicBezTo>
                  <a:cubicBezTo>
                    <a:pt x="426" y="1575"/>
                    <a:pt x="420" y="1574"/>
                    <a:pt x="413" y="1574"/>
                  </a:cubicBezTo>
                  <a:cubicBezTo>
                    <a:pt x="413" y="1574"/>
                    <a:pt x="413" y="1574"/>
                    <a:pt x="413" y="1574"/>
                  </a:cubicBezTo>
                  <a:cubicBezTo>
                    <a:pt x="394" y="1582"/>
                    <a:pt x="412" y="1589"/>
                    <a:pt x="425" y="1579"/>
                  </a:cubicBezTo>
                  <a:close/>
                  <a:moveTo>
                    <a:pt x="433" y="1518"/>
                  </a:moveTo>
                  <a:cubicBezTo>
                    <a:pt x="427" y="1518"/>
                    <a:pt x="440" y="1520"/>
                    <a:pt x="441" y="1520"/>
                  </a:cubicBezTo>
                  <a:cubicBezTo>
                    <a:pt x="460" y="1523"/>
                    <a:pt x="447" y="1516"/>
                    <a:pt x="435" y="1509"/>
                  </a:cubicBezTo>
                  <a:cubicBezTo>
                    <a:pt x="434" y="1509"/>
                    <a:pt x="434" y="1509"/>
                    <a:pt x="434" y="1509"/>
                  </a:cubicBezTo>
                  <a:cubicBezTo>
                    <a:pt x="416" y="1506"/>
                    <a:pt x="448" y="1518"/>
                    <a:pt x="433" y="1518"/>
                  </a:cubicBezTo>
                  <a:close/>
                  <a:moveTo>
                    <a:pt x="447" y="1650"/>
                  </a:moveTo>
                  <a:cubicBezTo>
                    <a:pt x="447" y="1650"/>
                    <a:pt x="447" y="1650"/>
                    <a:pt x="447" y="1650"/>
                  </a:cubicBezTo>
                  <a:cubicBezTo>
                    <a:pt x="442" y="1646"/>
                    <a:pt x="435" y="1650"/>
                    <a:pt x="433" y="1647"/>
                  </a:cubicBezTo>
                  <a:cubicBezTo>
                    <a:pt x="431" y="1645"/>
                    <a:pt x="431" y="1645"/>
                    <a:pt x="428" y="1647"/>
                  </a:cubicBezTo>
                  <a:cubicBezTo>
                    <a:pt x="422" y="1651"/>
                    <a:pt x="437" y="1668"/>
                    <a:pt x="441" y="1659"/>
                  </a:cubicBezTo>
                  <a:cubicBezTo>
                    <a:pt x="443" y="1654"/>
                    <a:pt x="420" y="1652"/>
                    <a:pt x="440" y="1650"/>
                  </a:cubicBezTo>
                  <a:cubicBezTo>
                    <a:pt x="443" y="1650"/>
                    <a:pt x="445" y="1651"/>
                    <a:pt x="447" y="1650"/>
                  </a:cubicBezTo>
                  <a:close/>
                  <a:moveTo>
                    <a:pt x="442" y="1555"/>
                  </a:moveTo>
                  <a:cubicBezTo>
                    <a:pt x="442" y="1554"/>
                    <a:pt x="442" y="1554"/>
                    <a:pt x="442" y="1554"/>
                  </a:cubicBezTo>
                  <a:cubicBezTo>
                    <a:pt x="438" y="1552"/>
                    <a:pt x="430" y="1566"/>
                    <a:pt x="441" y="1567"/>
                  </a:cubicBezTo>
                  <a:cubicBezTo>
                    <a:pt x="459" y="1568"/>
                    <a:pt x="452" y="1563"/>
                    <a:pt x="442" y="1555"/>
                  </a:cubicBezTo>
                  <a:close/>
                  <a:moveTo>
                    <a:pt x="490" y="1525"/>
                  </a:moveTo>
                  <a:cubicBezTo>
                    <a:pt x="503" y="1535"/>
                    <a:pt x="490" y="1533"/>
                    <a:pt x="500" y="1537"/>
                  </a:cubicBezTo>
                  <a:cubicBezTo>
                    <a:pt x="502" y="1537"/>
                    <a:pt x="510" y="1541"/>
                    <a:pt x="511" y="1539"/>
                  </a:cubicBezTo>
                  <a:cubicBezTo>
                    <a:pt x="511" y="1539"/>
                    <a:pt x="504" y="1535"/>
                    <a:pt x="504" y="1534"/>
                  </a:cubicBezTo>
                  <a:cubicBezTo>
                    <a:pt x="502" y="1526"/>
                    <a:pt x="500" y="1524"/>
                    <a:pt x="497" y="1523"/>
                  </a:cubicBezTo>
                  <a:cubicBezTo>
                    <a:pt x="497" y="1523"/>
                    <a:pt x="497" y="1523"/>
                    <a:pt x="497" y="1523"/>
                  </a:cubicBezTo>
                  <a:cubicBezTo>
                    <a:pt x="494" y="1524"/>
                    <a:pt x="483" y="1521"/>
                    <a:pt x="490" y="1525"/>
                  </a:cubicBezTo>
                  <a:close/>
                  <a:moveTo>
                    <a:pt x="447" y="1468"/>
                  </a:moveTo>
                  <a:cubicBezTo>
                    <a:pt x="446" y="1469"/>
                    <a:pt x="446" y="1469"/>
                    <a:pt x="446" y="1469"/>
                  </a:cubicBezTo>
                  <a:cubicBezTo>
                    <a:pt x="432" y="1469"/>
                    <a:pt x="430" y="1469"/>
                    <a:pt x="424" y="1466"/>
                  </a:cubicBezTo>
                  <a:cubicBezTo>
                    <a:pt x="414" y="1460"/>
                    <a:pt x="406" y="1467"/>
                    <a:pt x="398" y="1469"/>
                  </a:cubicBezTo>
                  <a:cubicBezTo>
                    <a:pt x="395" y="1469"/>
                    <a:pt x="379" y="1465"/>
                    <a:pt x="378" y="1468"/>
                  </a:cubicBezTo>
                  <a:cubicBezTo>
                    <a:pt x="377" y="1472"/>
                    <a:pt x="384" y="1470"/>
                    <a:pt x="385" y="1470"/>
                  </a:cubicBezTo>
                  <a:cubicBezTo>
                    <a:pt x="388" y="1471"/>
                    <a:pt x="407" y="1471"/>
                    <a:pt x="407" y="1471"/>
                  </a:cubicBezTo>
                  <a:cubicBezTo>
                    <a:pt x="411" y="1472"/>
                    <a:pt x="404" y="1473"/>
                    <a:pt x="406" y="1476"/>
                  </a:cubicBezTo>
                  <a:cubicBezTo>
                    <a:pt x="409" y="1478"/>
                    <a:pt x="413" y="1475"/>
                    <a:pt x="415" y="1477"/>
                  </a:cubicBezTo>
                  <a:cubicBezTo>
                    <a:pt x="416" y="1478"/>
                    <a:pt x="403" y="1491"/>
                    <a:pt x="423" y="1489"/>
                  </a:cubicBezTo>
                  <a:cubicBezTo>
                    <a:pt x="440" y="1487"/>
                    <a:pt x="432" y="1483"/>
                    <a:pt x="442" y="1479"/>
                  </a:cubicBezTo>
                  <a:cubicBezTo>
                    <a:pt x="448" y="1476"/>
                    <a:pt x="483" y="1473"/>
                    <a:pt x="485" y="1465"/>
                  </a:cubicBezTo>
                  <a:cubicBezTo>
                    <a:pt x="485" y="1464"/>
                    <a:pt x="481" y="1466"/>
                    <a:pt x="479" y="1467"/>
                  </a:cubicBezTo>
                  <a:cubicBezTo>
                    <a:pt x="472" y="1470"/>
                    <a:pt x="452" y="1466"/>
                    <a:pt x="447" y="1468"/>
                  </a:cubicBezTo>
                  <a:close/>
                  <a:moveTo>
                    <a:pt x="447" y="1374"/>
                  </a:moveTo>
                  <a:cubicBezTo>
                    <a:pt x="447" y="1373"/>
                    <a:pt x="447" y="1373"/>
                    <a:pt x="447" y="1373"/>
                  </a:cubicBezTo>
                  <a:cubicBezTo>
                    <a:pt x="448" y="1370"/>
                    <a:pt x="443" y="1371"/>
                    <a:pt x="442" y="1371"/>
                  </a:cubicBezTo>
                  <a:cubicBezTo>
                    <a:pt x="434" y="1372"/>
                    <a:pt x="440" y="1374"/>
                    <a:pt x="440" y="1374"/>
                  </a:cubicBezTo>
                  <a:cubicBezTo>
                    <a:pt x="437" y="1376"/>
                    <a:pt x="441" y="1377"/>
                    <a:pt x="443" y="1378"/>
                  </a:cubicBezTo>
                  <a:cubicBezTo>
                    <a:pt x="450" y="1384"/>
                    <a:pt x="446" y="1378"/>
                    <a:pt x="447" y="1374"/>
                  </a:cubicBezTo>
                  <a:close/>
                  <a:moveTo>
                    <a:pt x="447" y="1077"/>
                  </a:moveTo>
                  <a:cubicBezTo>
                    <a:pt x="446" y="1077"/>
                    <a:pt x="446" y="1077"/>
                    <a:pt x="446" y="1077"/>
                  </a:cubicBezTo>
                  <a:cubicBezTo>
                    <a:pt x="436" y="1065"/>
                    <a:pt x="445" y="1079"/>
                    <a:pt x="439" y="1076"/>
                  </a:cubicBezTo>
                  <a:cubicBezTo>
                    <a:pt x="438" y="1075"/>
                    <a:pt x="433" y="1074"/>
                    <a:pt x="432" y="1076"/>
                  </a:cubicBezTo>
                  <a:cubicBezTo>
                    <a:pt x="432" y="1077"/>
                    <a:pt x="435" y="1079"/>
                    <a:pt x="436" y="1080"/>
                  </a:cubicBezTo>
                  <a:cubicBezTo>
                    <a:pt x="439" y="1083"/>
                    <a:pt x="449" y="1080"/>
                    <a:pt x="449" y="1080"/>
                  </a:cubicBezTo>
                  <a:cubicBezTo>
                    <a:pt x="449" y="1078"/>
                    <a:pt x="451" y="1078"/>
                    <a:pt x="447" y="1077"/>
                  </a:cubicBezTo>
                  <a:close/>
                  <a:moveTo>
                    <a:pt x="470" y="672"/>
                  </a:moveTo>
                  <a:cubicBezTo>
                    <a:pt x="473" y="675"/>
                    <a:pt x="473" y="680"/>
                    <a:pt x="477" y="683"/>
                  </a:cubicBezTo>
                  <a:cubicBezTo>
                    <a:pt x="489" y="692"/>
                    <a:pt x="466" y="668"/>
                    <a:pt x="486" y="680"/>
                  </a:cubicBezTo>
                  <a:cubicBezTo>
                    <a:pt x="494" y="685"/>
                    <a:pt x="504" y="691"/>
                    <a:pt x="511" y="699"/>
                  </a:cubicBezTo>
                  <a:cubicBezTo>
                    <a:pt x="512" y="700"/>
                    <a:pt x="514" y="709"/>
                    <a:pt x="515" y="709"/>
                  </a:cubicBezTo>
                  <a:cubicBezTo>
                    <a:pt x="516" y="708"/>
                    <a:pt x="517" y="706"/>
                    <a:pt x="517" y="705"/>
                  </a:cubicBezTo>
                  <a:cubicBezTo>
                    <a:pt x="515" y="700"/>
                    <a:pt x="509" y="686"/>
                    <a:pt x="502" y="683"/>
                  </a:cubicBezTo>
                  <a:cubicBezTo>
                    <a:pt x="493" y="680"/>
                    <a:pt x="442" y="653"/>
                    <a:pt x="440" y="641"/>
                  </a:cubicBezTo>
                  <a:cubicBezTo>
                    <a:pt x="440" y="640"/>
                    <a:pt x="440" y="640"/>
                    <a:pt x="440" y="640"/>
                  </a:cubicBezTo>
                  <a:cubicBezTo>
                    <a:pt x="435" y="635"/>
                    <a:pt x="442" y="649"/>
                    <a:pt x="443" y="650"/>
                  </a:cubicBezTo>
                  <a:cubicBezTo>
                    <a:pt x="449" y="660"/>
                    <a:pt x="460" y="664"/>
                    <a:pt x="470" y="672"/>
                  </a:cubicBezTo>
                  <a:close/>
                  <a:moveTo>
                    <a:pt x="512" y="1088"/>
                  </a:moveTo>
                  <a:cubicBezTo>
                    <a:pt x="512" y="1088"/>
                    <a:pt x="512" y="1088"/>
                    <a:pt x="512" y="1088"/>
                  </a:cubicBezTo>
                  <a:cubicBezTo>
                    <a:pt x="509" y="1088"/>
                    <a:pt x="505" y="1088"/>
                    <a:pt x="502" y="1089"/>
                  </a:cubicBezTo>
                  <a:cubicBezTo>
                    <a:pt x="489" y="1091"/>
                    <a:pt x="540" y="1116"/>
                    <a:pt x="512" y="1088"/>
                  </a:cubicBezTo>
                  <a:close/>
                  <a:moveTo>
                    <a:pt x="515" y="1109"/>
                  </a:moveTo>
                  <a:cubicBezTo>
                    <a:pt x="520" y="1112"/>
                    <a:pt x="512" y="1101"/>
                    <a:pt x="504" y="1098"/>
                  </a:cubicBezTo>
                  <a:cubicBezTo>
                    <a:pt x="504" y="1098"/>
                    <a:pt x="504" y="1098"/>
                    <a:pt x="504" y="1098"/>
                  </a:cubicBezTo>
                  <a:cubicBezTo>
                    <a:pt x="496" y="1098"/>
                    <a:pt x="509" y="1105"/>
                    <a:pt x="503" y="1104"/>
                  </a:cubicBezTo>
                  <a:cubicBezTo>
                    <a:pt x="493" y="1103"/>
                    <a:pt x="512" y="1108"/>
                    <a:pt x="515" y="1109"/>
                  </a:cubicBezTo>
                  <a:close/>
                  <a:moveTo>
                    <a:pt x="501" y="1285"/>
                  </a:moveTo>
                  <a:cubicBezTo>
                    <a:pt x="506" y="1290"/>
                    <a:pt x="526" y="1290"/>
                    <a:pt x="527" y="1279"/>
                  </a:cubicBezTo>
                  <a:cubicBezTo>
                    <a:pt x="527" y="1279"/>
                    <a:pt x="527" y="1279"/>
                    <a:pt x="527" y="1279"/>
                  </a:cubicBezTo>
                  <a:cubicBezTo>
                    <a:pt x="528" y="1278"/>
                    <a:pt x="498" y="1282"/>
                    <a:pt x="501" y="1285"/>
                  </a:cubicBezTo>
                  <a:close/>
                  <a:moveTo>
                    <a:pt x="527" y="811"/>
                  </a:moveTo>
                  <a:cubicBezTo>
                    <a:pt x="527" y="811"/>
                    <a:pt x="527" y="811"/>
                    <a:pt x="527" y="811"/>
                  </a:cubicBezTo>
                  <a:cubicBezTo>
                    <a:pt x="526" y="809"/>
                    <a:pt x="526" y="815"/>
                    <a:pt x="525" y="817"/>
                  </a:cubicBezTo>
                  <a:cubicBezTo>
                    <a:pt x="522" y="821"/>
                    <a:pt x="511" y="808"/>
                    <a:pt x="511" y="812"/>
                  </a:cubicBezTo>
                  <a:cubicBezTo>
                    <a:pt x="508" y="825"/>
                    <a:pt x="546" y="827"/>
                    <a:pt x="527" y="811"/>
                  </a:cubicBezTo>
                  <a:close/>
                  <a:moveTo>
                    <a:pt x="476" y="1124"/>
                  </a:moveTo>
                  <a:cubicBezTo>
                    <a:pt x="476" y="1124"/>
                    <a:pt x="476" y="1124"/>
                    <a:pt x="476" y="1124"/>
                  </a:cubicBezTo>
                  <a:cubicBezTo>
                    <a:pt x="476" y="1122"/>
                    <a:pt x="474" y="1118"/>
                    <a:pt x="473" y="1122"/>
                  </a:cubicBezTo>
                  <a:cubicBezTo>
                    <a:pt x="473" y="1126"/>
                    <a:pt x="462" y="1120"/>
                    <a:pt x="462" y="1124"/>
                  </a:cubicBezTo>
                  <a:cubicBezTo>
                    <a:pt x="462" y="1129"/>
                    <a:pt x="469" y="1128"/>
                    <a:pt x="472" y="1128"/>
                  </a:cubicBezTo>
                  <a:cubicBezTo>
                    <a:pt x="476" y="1130"/>
                    <a:pt x="479" y="1146"/>
                    <a:pt x="482" y="1144"/>
                  </a:cubicBezTo>
                  <a:cubicBezTo>
                    <a:pt x="485" y="1143"/>
                    <a:pt x="476" y="1127"/>
                    <a:pt x="476" y="1124"/>
                  </a:cubicBezTo>
                  <a:close/>
                  <a:moveTo>
                    <a:pt x="499" y="976"/>
                  </a:moveTo>
                  <a:cubicBezTo>
                    <a:pt x="500" y="976"/>
                    <a:pt x="514" y="989"/>
                    <a:pt x="515" y="987"/>
                  </a:cubicBezTo>
                  <a:cubicBezTo>
                    <a:pt x="519" y="982"/>
                    <a:pt x="488" y="970"/>
                    <a:pt x="488" y="970"/>
                  </a:cubicBezTo>
                  <a:cubicBezTo>
                    <a:pt x="488" y="970"/>
                    <a:pt x="488" y="970"/>
                    <a:pt x="488" y="970"/>
                  </a:cubicBezTo>
                  <a:cubicBezTo>
                    <a:pt x="481" y="968"/>
                    <a:pt x="472" y="966"/>
                    <a:pt x="472" y="967"/>
                  </a:cubicBezTo>
                  <a:cubicBezTo>
                    <a:pt x="474" y="978"/>
                    <a:pt x="493" y="972"/>
                    <a:pt x="499" y="976"/>
                  </a:cubicBezTo>
                  <a:close/>
                  <a:moveTo>
                    <a:pt x="558" y="1344"/>
                  </a:moveTo>
                  <a:cubicBezTo>
                    <a:pt x="557" y="1347"/>
                    <a:pt x="573" y="1347"/>
                    <a:pt x="573" y="1343"/>
                  </a:cubicBezTo>
                  <a:cubicBezTo>
                    <a:pt x="573" y="1343"/>
                    <a:pt x="573" y="1343"/>
                    <a:pt x="573" y="1343"/>
                  </a:cubicBezTo>
                  <a:cubicBezTo>
                    <a:pt x="577" y="1339"/>
                    <a:pt x="560" y="1340"/>
                    <a:pt x="558" y="1344"/>
                  </a:cubicBezTo>
                  <a:close/>
                  <a:moveTo>
                    <a:pt x="517" y="1327"/>
                  </a:moveTo>
                  <a:cubicBezTo>
                    <a:pt x="513" y="1329"/>
                    <a:pt x="518" y="1337"/>
                    <a:pt x="514" y="1339"/>
                  </a:cubicBezTo>
                  <a:cubicBezTo>
                    <a:pt x="511" y="1340"/>
                    <a:pt x="489" y="1340"/>
                    <a:pt x="489" y="1340"/>
                  </a:cubicBezTo>
                  <a:cubicBezTo>
                    <a:pt x="489" y="1347"/>
                    <a:pt x="510" y="1338"/>
                    <a:pt x="516" y="1342"/>
                  </a:cubicBezTo>
                  <a:cubicBezTo>
                    <a:pt x="528" y="1349"/>
                    <a:pt x="515" y="1335"/>
                    <a:pt x="523" y="1328"/>
                  </a:cubicBezTo>
                  <a:cubicBezTo>
                    <a:pt x="527" y="1325"/>
                    <a:pt x="534" y="1329"/>
                    <a:pt x="536" y="1327"/>
                  </a:cubicBezTo>
                  <a:cubicBezTo>
                    <a:pt x="537" y="1327"/>
                    <a:pt x="537" y="1327"/>
                    <a:pt x="537" y="1327"/>
                  </a:cubicBezTo>
                  <a:cubicBezTo>
                    <a:pt x="539" y="1325"/>
                    <a:pt x="538" y="1319"/>
                    <a:pt x="541" y="1317"/>
                  </a:cubicBezTo>
                  <a:cubicBezTo>
                    <a:pt x="550" y="1311"/>
                    <a:pt x="543" y="1323"/>
                    <a:pt x="548" y="1321"/>
                  </a:cubicBezTo>
                  <a:cubicBezTo>
                    <a:pt x="553" y="1320"/>
                    <a:pt x="568" y="1308"/>
                    <a:pt x="572" y="1303"/>
                  </a:cubicBezTo>
                  <a:cubicBezTo>
                    <a:pt x="579" y="1291"/>
                    <a:pt x="562" y="1290"/>
                    <a:pt x="570" y="1298"/>
                  </a:cubicBezTo>
                  <a:cubicBezTo>
                    <a:pt x="570" y="1298"/>
                    <a:pt x="571" y="1299"/>
                    <a:pt x="571" y="1299"/>
                  </a:cubicBezTo>
                  <a:cubicBezTo>
                    <a:pt x="572" y="1301"/>
                    <a:pt x="548" y="1308"/>
                    <a:pt x="547" y="1309"/>
                  </a:cubicBezTo>
                  <a:cubicBezTo>
                    <a:pt x="544" y="1317"/>
                    <a:pt x="525" y="1321"/>
                    <a:pt x="517" y="1327"/>
                  </a:cubicBezTo>
                  <a:close/>
                  <a:moveTo>
                    <a:pt x="551" y="929"/>
                  </a:moveTo>
                  <a:cubicBezTo>
                    <a:pt x="550" y="928"/>
                    <a:pt x="550" y="928"/>
                    <a:pt x="550" y="928"/>
                  </a:cubicBezTo>
                  <a:cubicBezTo>
                    <a:pt x="549" y="927"/>
                    <a:pt x="530" y="909"/>
                    <a:pt x="528" y="916"/>
                  </a:cubicBezTo>
                  <a:cubicBezTo>
                    <a:pt x="528" y="917"/>
                    <a:pt x="554" y="935"/>
                    <a:pt x="551" y="929"/>
                  </a:cubicBezTo>
                  <a:close/>
                  <a:moveTo>
                    <a:pt x="543" y="614"/>
                  </a:moveTo>
                  <a:cubicBezTo>
                    <a:pt x="542" y="612"/>
                    <a:pt x="546" y="615"/>
                    <a:pt x="544" y="611"/>
                  </a:cubicBezTo>
                  <a:cubicBezTo>
                    <a:pt x="543" y="607"/>
                    <a:pt x="539" y="602"/>
                    <a:pt x="536" y="600"/>
                  </a:cubicBezTo>
                  <a:cubicBezTo>
                    <a:pt x="532" y="596"/>
                    <a:pt x="507" y="579"/>
                    <a:pt x="503" y="580"/>
                  </a:cubicBezTo>
                  <a:cubicBezTo>
                    <a:pt x="502" y="580"/>
                    <a:pt x="513" y="593"/>
                    <a:pt x="501" y="586"/>
                  </a:cubicBezTo>
                  <a:cubicBezTo>
                    <a:pt x="493" y="581"/>
                    <a:pt x="502" y="578"/>
                    <a:pt x="492" y="572"/>
                  </a:cubicBezTo>
                  <a:cubicBezTo>
                    <a:pt x="488" y="569"/>
                    <a:pt x="482" y="571"/>
                    <a:pt x="478" y="569"/>
                  </a:cubicBezTo>
                  <a:cubicBezTo>
                    <a:pt x="477" y="568"/>
                    <a:pt x="470" y="564"/>
                    <a:pt x="470" y="564"/>
                  </a:cubicBezTo>
                  <a:cubicBezTo>
                    <a:pt x="467" y="565"/>
                    <a:pt x="475" y="570"/>
                    <a:pt x="475" y="570"/>
                  </a:cubicBezTo>
                  <a:cubicBezTo>
                    <a:pt x="478" y="574"/>
                    <a:pt x="492" y="575"/>
                    <a:pt x="493" y="579"/>
                  </a:cubicBezTo>
                  <a:cubicBezTo>
                    <a:pt x="494" y="580"/>
                    <a:pt x="491" y="586"/>
                    <a:pt x="492" y="589"/>
                  </a:cubicBezTo>
                  <a:cubicBezTo>
                    <a:pt x="492" y="592"/>
                    <a:pt x="498" y="590"/>
                    <a:pt x="501" y="591"/>
                  </a:cubicBezTo>
                  <a:cubicBezTo>
                    <a:pt x="505" y="592"/>
                    <a:pt x="506" y="596"/>
                    <a:pt x="508" y="599"/>
                  </a:cubicBezTo>
                  <a:cubicBezTo>
                    <a:pt x="515" y="604"/>
                    <a:pt x="525" y="598"/>
                    <a:pt x="541" y="617"/>
                  </a:cubicBezTo>
                  <a:cubicBezTo>
                    <a:pt x="542" y="617"/>
                    <a:pt x="542" y="617"/>
                    <a:pt x="542" y="617"/>
                  </a:cubicBezTo>
                  <a:cubicBezTo>
                    <a:pt x="543" y="620"/>
                    <a:pt x="556" y="625"/>
                    <a:pt x="558" y="621"/>
                  </a:cubicBezTo>
                  <a:cubicBezTo>
                    <a:pt x="559" y="615"/>
                    <a:pt x="546" y="619"/>
                    <a:pt x="543" y="614"/>
                  </a:cubicBezTo>
                  <a:close/>
                  <a:moveTo>
                    <a:pt x="577" y="531"/>
                  </a:moveTo>
                  <a:cubicBezTo>
                    <a:pt x="571" y="525"/>
                    <a:pt x="534" y="507"/>
                    <a:pt x="525" y="507"/>
                  </a:cubicBezTo>
                  <a:cubicBezTo>
                    <a:pt x="524" y="507"/>
                    <a:pt x="524" y="507"/>
                    <a:pt x="523" y="507"/>
                  </a:cubicBezTo>
                  <a:cubicBezTo>
                    <a:pt x="523" y="507"/>
                    <a:pt x="531" y="510"/>
                    <a:pt x="531" y="510"/>
                  </a:cubicBezTo>
                  <a:cubicBezTo>
                    <a:pt x="533" y="511"/>
                    <a:pt x="541" y="517"/>
                    <a:pt x="543" y="519"/>
                  </a:cubicBezTo>
                  <a:cubicBezTo>
                    <a:pt x="549" y="528"/>
                    <a:pt x="558" y="523"/>
                    <a:pt x="573" y="532"/>
                  </a:cubicBezTo>
                  <a:cubicBezTo>
                    <a:pt x="576" y="534"/>
                    <a:pt x="571" y="538"/>
                    <a:pt x="577" y="542"/>
                  </a:cubicBezTo>
                  <a:cubicBezTo>
                    <a:pt x="577" y="543"/>
                    <a:pt x="577" y="543"/>
                    <a:pt x="577" y="543"/>
                  </a:cubicBezTo>
                  <a:cubicBezTo>
                    <a:pt x="582" y="546"/>
                    <a:pt x="579" y="533"/>
                    <a:pt x="577" y="531"/>
                  </a:cubicBezTo>
                  <a:close/>
                  <a:moveTo>
                    <a:pt x="658" y="519"/>
                  </a:moveTo>
                  <a:cubicBezTo>
                    <a:pt x="656" y="515"/>
                    <a:pt x="632" y="509"/>
                    <a:pt x="618" y="490"/>
                  </a:cubicBezTo>
                  <a:cubicBezTo>
                    <a:pt x="617" y="489"/>
                    <a:pt x="622" y="480"/>
                    <a:pt x="622" y="479"/>
                  </a:cubicBezTo>
                  <a:cubicBezTo>
                    <a:pt x="623" y="476"/>
                    <a:pt x="613" y="472"/>
                    <a:pt x="618" y="469"/>
                  </a:cubicBezTo>
                  <a:cubicBezTo>
                    <a:pt x="621" y="467"/>
                    <a:pt x="637" y="473"/>
                    <a:pt x="635" y="468"/>
                  </a:cubicBezTo>
                  <a:cubicBezTo>
                    <a:pt x="635" y="467"/>
                    <a:pt x="634" y="467"/>
                    <a:pt x="634" y="466"/>
                  </a:cubicBezTo>
                  <a:cubicBezTo>
                    <a:pt x="628" y="459"/>
                    <a:pt x="618" y="463"/>
                    <a:pt x="609" y="454"/>
                  </a:cubicBezTo>
                  <a:cubicBezTo>
                    <a:pt x="609" y="453"/>
                    <a:pt x="608" y="453"/>
                    <a:pt x="608" y="453"/>
                  </a:cubicBezTo>
                  <a:cubicBezTo>
                    <a:pt x="602" y="451"/>
                    <a:pt x="612" y="452"/>
                    <a:pt x="612" y="451"/>
                  </a:cubicBezTo>
                  <a:cubicBezTo>
                    <a:pt x="613" y="443"/>
                    <a:pt x="594" y="450"/>
                    <a:pt x="590" y="443"/>
                  </a:cubicBezTo>
                  <a:cubicBezTo>
                    <a:pt x="582" y="433"/>
                    <a:pt x="538" y="400"/>
                    <a:pt x="529" y="412"/>
                  </a:cubicBezTo>
                  <a:cubicBezTo>
                    <a:pt x="528" y="413"/>
                    <a:pt x="542" y="415"/>
                    <a:pt x="539" y="416"/>
                  </a:cubicBezTo>
                  <a:cubicBezTo>
                    <a:pt x="530" y="419"/>
                    <a:pt x="556" y="420"/>
                    <a:pt x="563" y="428"/>
                  </a:cubicBezTo>
                  <a:cubicBezTo>
                    <a:pt x="567" y="434"/>
                    <a:pt x="579" y="434"/>
                    <a:pt x="579" y="441"/>
                  </a:cubicBezTo>
                  <a:cubicBezTo>
                    <a:pt x="579" y="441"/>
                    <a:pt x="566" y="441"/>
                    <a:pt x="567" y="442"/>
                  </a:cubicBezTo>
                  <a:cubicBezTo>
                    <a:pt x="582" y="453"/>
                    <a:pt x="602" y="450"/>
                    <a:pt x="612" y="466"/>
                  </a:cubicBezTo>
                  <a:cubicBezTo>
                    <a:pt x="612" y="466"/>
                    <a:pt x="612" y="467"/>
                    <a:pt x="612" y="467"/>
                  </a:cubicBezTo>
                  <a:cubicBezTo>
                    <a:pt x="611" y="467"/>
                    <a:pt x="611" y="467"/>
                    <a:pt x="610" y="467"/>
                  </a:cubicBezTo>
                  <a:cubicBezTo>
                    <a:pt x="604" y="466"/>
                    <a:pt x="606" y="476"/>
                    <a:pt x="601" y="467"/>
                  </a:cubicBezTo>
                  <a:cubicBezTo>
                    <a:pt x="601" y="466"/>
                    <a:pt x="599" y="463"/>
                    <a:pt x="597" y="464"/>
                  </a:cubicBezTo>
                  <a:cubicBezTo>
                    <a:pt x="597" y="465"/>
                    <a:pt x="598" y="471"/>
                    <a:pt x="595" y="470"/>
                  </a:cubicBezTo>
                  <a:cubicBezTo>
                    <a:pt x="592" y="470"/>
                    <a:pt x="590" y="463"/>
                    <a:pt x="587" y="462"/>
                  </a:cubicBezTo>
                  <a:cubicBezTo>
                    <a:pt x="586" y="462"/>
                    <a:pt x="584" y="460"/>
                    <a:pt x="584" y="460"/>
                  </a:cubicBezTo>
                  <a:cubicBezTo>
                    <a:pt x="580" y="461"/>
                    <a:pt x="587" y="473"/>
                    <a:pt x="585" y="470"/>
                  </a:cubicBezTo>
                  <a:cubicBezTo>
                    <a:pt x="583" y="466"/>
                    <a:pt x="579" y="456"/>
                    <a:pt x="573" y="462"/>
                  </a:cubicBezTo>
                  <a:cubicBezTo>
                    <a:pt x="571" y="465"/>
                    <a:pt x="564" y="459"/>
                    <a:pt x="563" y="461"/>
                  </a:cubicBezTo>
                  <a:cubicBezTo>
                    <a:pt x="562" y="464"/>
                    <a:pt x="567" y="464"/>
                    <a:pt x="565" y="466"/>
                  </a:cubicBezTo>
                  <a:cubicBezTo>
                    <a:pt x="564" y="468"/>
                    <a:pt x="570" y="477"/>
                    <a:pt x="570" y="477"/>
                  </a:cubicBezTo>
                  <a:cubicBezTo>
                    <a:pt x="574" y="474"/>
                    <a:pt x="566" y="469"/>
                    <a:pt x="576" y="467"/>
                  </a:cubicBezTo>
                  <a:cubicBezTo>
                    <a:pt x="577" y="466"/>
                    <a:pt x="577" y="467"/>
                    <a:pt x="578" y="467"/>
                  </a:cubicBezTo>
                  <a:cubicBezTo>
                    <a:pt x="581" y="468"/>
                    <a:pt x="582" y="472"/>
                    <a:pt x="583" y="474"/>
                  </a:cubicBezTo>
                  <a:cubicBezTo>
                    <a:pt x="589" y="479"/>
                    <a:pt x="603" y="478"/>
                    <a:pt x="604" y="485"/>
                  </a:cubicBezTo>
                  <a:cubicBezTo>
                    <a:pt x="605" y="487"/>
                    <a:pt x="597" y="487"/>
                    <a:pt x="595" y="487"/>
                  </a:cubicBezTo>
                  <a:cubicBezTo>
                    <a:pt x="594" y="488"/>
                    <a:pt x="600" y="492"/>
                    <a:pt x="600" y="492"/>
                  </a:cubicBezTo>
                  <a:cubicBezTo>
                    <a:pt x="601" y="497"/>
                    <a:pt x="594" y="495"/>
                    <a:pt x="595" y="496"/>
                  </a:cubicBezTo>
                  <a:cubicBezTo>
                    <a:pt x="605" y="511"/>
                    <a:pt x="608" y="494"/>
                    <a:pt x="613" y="492"/>
                  </a:cubicBezTo>
                  <a:cubicBezTo>
                    <a:pt x="614" y="492"/>
                    <a:pt x="632" y="508"/>
                    <a:pt x="631" y="519"/>
                  </a:cubicBezTo>
                  <a:cubicBezTo>
                    <a:pt x="631" y="521"/>
                    <a:pt x="631" y="521"/>
                    <a:pt x="631" y="521"/>
                  </a:cubicBezTo>
                  <a:cubicBezTo>
                    <a:pt x="632" y="522"/>
                    <a:pt x="631" y="539"/>
                    <a:pt x="639" y="540"/>
                  </a:cubicBezTo>
                  <a:cubicBezTo>
                    <a:pt x="640" y="540"/>
                    <a:pt x="643" y="537"/>
                    <a:pt x="641" y="536"/>
                  </a:cubicBezTo>
                  <a:cubicBezTo>
                    <a:pt x="630" y="528"/>
                    <a:pt x="646" y="529"/>
                    <a:pt x="645" y="528"/>
                  </a:cubicBezTo>
                  <a:cubicBezTo>
                    <a:pt x="644" y="528"/>
                    <a:pt x="640" y="527"/>
                    <a:pt x="642" y="526"/>
                  </a:cubicBezTo>
                  <a:cubicBezTo>
                    <a:pt x="646" y="523"/>
                    <a:pt x="663" y="536"/>
                    <a:pt x="672" y="531"/>
                  </a:cubicBezTo>
                  <a:cubicBezTo>
                    <a:pt x="677" y="527"/>
                    <a:pt x="660" y="525"/>
                    <a:pt x="658" y="519"/>
                  </a:cubicBezTo>
                  <a:close/>
                  <a:moveTo>
                    <a:pt x="613" y="408"/>
                  </a:moveTo>
                  <a:cubicBezTo>
                    <a:pt x="614" y="408"/>
                    <a:pt x="614" y="408"/>
                    <a:pt x="614" y="408"/>
                  </a:cubicBezTo>
                  <a:cubicBezTo>
                    <a:pt x="620" y="409"/>
                    <a:pt x="614" y="400"/>
                    <a:pt x="611" y="397"/>
                  </a:cubicBezTo>
                  <a:cubicBezTo>
                    <a:pt x="603" y="390"/>
                    <a:pt x="572" y="371"/>
                    <a:pt x="573" y="367"/>
                  </a:cubicBezTo>
                  <a:cubicBezTo>
                    <a:pt x="573" y="364"/>
                    <a:pt x="567" y="361"/>
                    <a:pt x="566" y="364"/>
                  </a:cubicBezTo>
                  <a:cubicBezTo>
                    <a:pt x="564" y="368"/>
                    <a:pt x="609" y="406"/>
                    <a:pt x="613" y="408"/>
                  </a:cubicBezTo>
                  <a:close/>
                  <a:moveTo>
                    <a:pt x="659" y="413"/>
                  </a:moveTo>
                  <a:cubicBezTo>
                    <a:pt x="656" y="414"/>
                    <a:pt x="652" y="412"/>
                    <a:pt x="649" y="413"/>
                  </a:cubicBezTo>
                  <a:cubicBezTo>
                    <a:pt x="648" y="413"/>
                    <a:pt x="648" y="414"/>
                    <a:pt x="648" y="414"/>
                  </a:cubicBezTo>
                  <a:cubicBezTo>
                    <a:pt x="649" y="415"/>
                    <a:pt x="653" y="415"/>
                    <a:pt x="652" y="415"/>
                  </a:cubicBezTo>
                  <a:cubicBezTo>
                    <a:pt x="652" y="416"/>
                    <a:pt x="647" y="415"/>
                    <a:pt x="646" y="415"/>
                  </a:cubicBezTo>
                  <a:cubicBezTo>
                    <a:pt x="640" y="412"/>
                    <a:pt x="633" y="411"/>
                    <a:pt x="626" y="408"/>
                  </a:cubicBezTo>
                  <a:cubicBezTo>
                    <a:pt x="614" y="401"/>
                    <a:pt x="629" y="423"/>
                    <a:pt x="626" y="411"/>
                  </a:cubicBezTo>
                  <a:cubicBezTo>
                    <a:pt x="626" y="411"/>
                    <a:pt x="626" y="411"/>
                    <a:pt x="626" y="411"/>
                  </a:cubicBezTo>
                  <a:cubicBezTo>
                    <a:pt x="629" y="412"/>
                    <a:pt x="644" y="422"/>
                    <a:pt x="644" y="422"/>
                  </a:cubicBezTo>
                  <a:cubicBezTo>
                    <a:pt x="650" y="422"/>
                    <a:pt x="660" y="413"/>
                    <a:pt x="667" y="416"/>
                  </a:cubicBezTo>
                  <a:cubicBezTo>
                    <a:pt x="679" y="421"/>
                    <a:pt x="674" y="424"/>
                    <a:pt x="678" y="430"/>
                  </a:cubicBezTo>
                  <a:cubicBezTo>
                    <a:pt x="679" y="431"/>
                    <a:pt x="680" y="432"/>
                    <a:pt x="681" y="432"/>
                  </a:cubicBezTo>
                  <a:cubicBezTo>
                    <a:pt x="690" y="428"/>
                    <a:pt x="672" y="410"/>
                    <a:pt x="659" y="413"/>
                  </a:cubicBezTo>
                  <a:close/>
                  <a:moveTo>
                    <a:pt x="703" y="374"/>
                  </a:moveTo>
                  <a:cubicBezTo>
                    <a:pt x="702" y="370"/>
                    <a:pt x="679" y="361"/>
                    <a:pt x="674" y="361"/>
                  </a:cubicBezTo>
                  <a:cubicBezTo>
                    <a:pt x="669" y="361"/>
                    <a:pt x="663" y="361"/>
                    <a:pt x="658" y="360"/>
                  </a:cubicBezTo>
                  <a:cubicBezTo>
                    <a:pt x="657" y="360"/>
                    <a:pt x="648" y="362"/>
                    <a:pt x="651" y="364"/>
                  </a:cubicBezTo>
                  <a:cubicBezTo>
                    <a:pt x="653" y="365"/>
                    <a:pt x="657" y="364"/>
                    <a:pt x="659" y="364"/>
                  </a:cubicBezTo>
                  <a:cubicBezTo>
                    <a:pt x="664" y="363"/>
                    <a:pt x="672" y="363"/>
                    <a:pt x="676" y="364"/>
                  </a:cubicBezTo>
                  <a:cubicBezTo>
                    <a:pt x="683" y="367"/>
                    <a:pt x="686" y="375"/>
                    <a:pt x="691" y="378"/>
                  </a:cubicBezTo>
                  <a:cubicBezTo>
                    <a:pt x="691" y="378"/>
                    <a:pt x="691" y="378"/>
                    <a:pt x="691" y="378"/>
                  </a:cubicBezTo>
                  <a:cubicBezTo>
                    <a:pt x="694" y="380"/>
                    <a:pt x="699" y="379"/>
                    <a:pt x="697" y="375"/>
                  </a:cubicBezTo>
                  <a:cubicBezTo>
                    <a:pt x="693" y="369"/>
                    <a:pt x="704" y="377"/>
                    <a:pt x="703" y="374"/>
                  </a:cubicBezTo>
                  <a:close/>
                  <a:moveTo>
                    <a:pt x="756" y="372"/>
                  </a:moveTo>
                  <a:cubicBezTo>
                    <a:pt x="754" y="366"/>
                    <a:pt x="699" y="344"/>
                    <a:pt x="676" y="338"/>
                  </a:cubicBezTo>
                  <a:cubicBezTo>
                    <a:pt x="667" y="336"/>
                    <a:pt x="655" y="343"/>
                    <a:pt x="646" y="343"/>
                  </a:cubicBezTo>
                  <a:cubicBezTo>
                    <a:pt x="637" y="343"/>
                    <a:pt x="613" y="343"/>
                    <a:pt x="606" y="336"/>
                  </a:cubicBezTo>
                  <a:cubicBezTo>
                    <a:pt x="606" y="335"/>
                    <a:pt x="602" y="332"/>
                    <a:pt x="600" y="334"/>
                  </a:cubicBezTo>
                  <a:cubicBezTo>
                    <a:pt x="595" y="342"/>
                    <a:pt x="621" y="344"/>
                    <a:pt x="624" y="345"/>
                  </a:cubicBezTo>
                  <a:cubicBezTo>
                    <a:pt x="625" y="345"/>
                    <a:pt x="625" y="345"/>
                    <a:pt x="625" y="345"/>
                  </a:cubicBezTo>
                  <a:cubicBezTo>
                    <a:pt x="638" y="351"/>
                    <a:pt x="660" y="342"/>
                    <a:pt x="673" y="341"/>
                  </a:cubicBezTo>
                  <a:cubicBezTo>
                    <a:pt x="679" y="340"/>
                    <a:pt x="686" y="348"/>
                    <a:pt x="692" y="348"/>
                  </a:cubicBezTo>
                  <a:cubicBezTo>
                    <a:pt x="692" y="348"/>
                    <a:pt x="695" y="348"/>
                    <a:pt x="695" y="349"/>
                  </a:cubicBezTo>
                  <a:cubicBezTo>
                    <a:pt x="695" y="350"/>
                    <a:pt x="689" y="351"/>
                    <a:pt x="690" y="352"/>
                  </a:cubicBezTo>
                  <a:cubicBezTo>
                    <a:pt x="692" y="355"/>
                    <a:pt x="701" y="350"/>
                    <a:pt x="702" y="350"/>
                  </a:cubicBezTo>
                  <a:cubicBezTo>
                    <a:pt x="713" y="351"/>
                    <a:pt x="735" y="369"/>
                    <a:pt x="736" y="371"/>
                  </a:cubicBezTo>
                  <a:cubicBezTo>
                    <a:pt x="737" y="374"/>
                    <a:pt x="754" y="381"/>
                    <a:pt x="752" y="378"/>
                  </a:cubicBezTo>
                  <a:cubicBezTo>
                    <a:pt x="751" y="375"/>
                    <a:pt x="757" y="374"/>
                    <a:pt x="756" y="372"/>
                  </a:cubicBezTo>
                  <a:close/>
                  <a:moveTo>
                    <a:pt x="645" y="316"/>
                  </a:moveTo>
                  <a:cubicBezTo>
                    <a:pt x="655" y="317"/>
                    <a:pt x="665" y="319"/>
                    <a:pt x="673" y="324"/>
                  </a:cubicBezTo>
                  <a:cubicBezTo>
                    <a:pt x="674" y="325"/>
                    <a:pt x="674" y="325"/>
                    <a:pt x="674" y="325"/>
                  </a:cubicBezTo>
                  <a:cubicBezTo>
                    <a:pt x="678" y="328"/>
                    <a:pt x="676" y="321"/>
                    <a:pt x="675" y="319"/>
                  </a:cubicBezTo>
                  <a:cubicBezTo>
                    <a:pt x="673" y="317"/>
                    <a:pt x="638" y="303"/>
                    <a:pt x="632" y="316"/>
                  </a:cubicBezTo>
                  <a:cubicBezTo>
                    <a:pt x="630" y="319"/>
                    <a:pt x="644" y="316"/>
                    <a:pt x="645" y="316"/>
                  </a:cubicBezTo>
                  <a:close/>
                  <a:moveTo>
                    <a:pt x="786" y="378"/>
                  </a:moveTo>
                  <a:cubicBezTo>
                    <a:pt x="786" y="370"/>
                    <a:pt x="768" y="361"/>
                    <a:pt x="766" y="368"/>
                  </a:cubicBezTo>
                  <a:cubicBezTo>
                    <a:pt x="765" y="372"/>
                    <a:pt x="782" y="375"/>
                    <a:pt x="779" y="380"/>
                  </a:cubicBezTo>
                  <a:cubicBezTo>
                    <a:pt x="777" y="384"/>
                    <a:pt x="755" y="375"/>
                    <a:pt x="754" y="381"/>
                  </a:cubicBezTo>
                  <a:cubicBezTo>
                    <a:pt x="753" y="383"/>
                    <a:pt x="761" y="385"/>
                    <a:pt x="762" y="385"/>
                  </a:cubicBezTo>
                  <a:cubicBezTo>
                    <a:pt x="762" y="385"/>
                    <a:pt x="762" y="385"/>
                    <a:pt x="762" y="385"/>
                  </a:cubicBezTo>
                  <a:cubicBezTo>
                    <a:pt x="766" y="384"/>
                    <a:pt x="786" y="383"/>
                    <a:pt x="786" y="378"/>
                  </a:cubicBezTo>
                  <a:close/>
                  <a:moveTo>
                    <a:pt x="742" y="298"/>
                  </a:moveTo>
                  <a:cubicBezTo>
                    <a:pt x="727" y="289"/>
                    <a:pt x="714" y="271"/>
                    <a:pt x="698" y="263"/>
                  </a:cubicBezTo>
                  <a:cubicBezTo>
                    <a:pt x="689" y="259"/>
                    <a:pt x="679" y="263"/>
                    <a:pt x="670" y="260"/>
                  </a:cubicBezTo>
                  <a:cubicBezTo>
                    <a:pt x="659" y="258"/>
                    <a:pt x="650" y="243"/>
                    <a:pt x="640" y="238"/>
                  </a:cubicBezTo>
                  <a:cubicBezTo>
                    <a:pt x="627" y="232"/>
                    <a:pt x="615" y="229"/>
                    <a:pt x="602" y="224"/>
                  </a:cubicBezTo>
                  <a:cubicBezTo>
                    <a:pt x="594" y="222"/>
                    <a:pt x="544" y="198"/>
                    <a:pt x="541" y="200"/>
                  </a:cubicBezTo>
                  <a:cubicBezTo>
                    <a:pt x="537" y="203"/>
                    <a:pt x="547" y="203"/>
                    <a:pt x="550" y="206"/>
                  </a:cubicBezTo>
                  <a:cubicBezTo>
                    <a:pt x="560" y="212"/>
                    <a:pt x="566" y="216"/>
                    <a:pt x="566" y="216"/>
                  </a:cubicBezTo>
                  <a:cubicBezTo>
                    <a:pt x="567" y="220"/>
                    <a:pt x="551" y="215"/>
                    <a:pt x="552" y="216"/>
                  </a:cubicBezTo>
                  <a:cubicBezTo>
                    <a:pt x="554" y="222"/>
                    <a:pt x="611" y="232"/>
                    <a:pt x="633" y="239"/>
                  </a:cubicBezTo>
                  <a:cubicBezTo>
                    <a:pt x="635" y="240"/>
                    <a:pt x="658" y="257"/>
                    <a:pt x="664" y="262"/>
                  </a:cubicBezTo>
                  <a:cubicBezTo>
                    <a:pt x="674" y="269"/>
                    <a:pt x="689" y="262"/>
                    <a:pt x="696" y="267"/>
                  </a:cubicBezTo>
                  <a:cubicBezTo>
                    <a:pt x="712" y="277"/>
                    <a:pt x="731" y="301"/>
                    <a:pt x="740" y="306"/>
                  </a:cubicBezTo>
                  <a:cubicBezTo>
                    <a:pt x="747" y="310"/>
                    <a:pt x="755" y="305"/>
                    <a:pt x="763" y="308"/>
                  </a:cubicBezTo>
                  <a:cubicBezTo>
                    <a:pt x="764" y="308"/>
                    <a:pt x="782" y="325"/>
                    <a:pt x="786" y="324"/>
                  </a:cubicBezTo>
                  <a:cubicBezTo>
                    <a:pt x="786" y="323"/>
                    <a:pt x="786" y="323"/>
                    <a:pt x="786" y="323"/>
                  </a:cubicBezTo>
                  <a:cubicBezTo>
                    <a:pt x="791" y="302"/>
                    <a:pt x="751" y="304"/>
                    <a:pt x="742" y="298"/>
                  </a:cubicBezTo>
                  <a:close/>
                  <a:moveTo>
                    <a:pt x="780" y="197"/>
                  </a:moveTo>
                  <a:cubicBezTo>
                    <a:pt x="764" y="197"/>
                    <a:pt x="748" y="192"/>
                    <a:pt x="731" y="192"/>
                  </a:cubicBezTo>
                  <a:cubicBezTo>
                    <a:pt x="729" y="192"/>
                    <a:pt x="718" y="193"/>
                    <a:pt x="718" y="193"/>
                  </a:cubicBezTo>
                  <a:cubicBezTo>
                    <a:pt x="719" y="195"/>
                    <a:pt x="723" y="196"/>
                    <a:pt x="724" y="196"/>
                  </a:cubicBezTo>
                  <a:cubicBezTo>
                    <a:pt x="752" y="197"/>
                    <a:pt x="772" y="200"/>
                    <a:pt x="798" y="208"/>
                  </a:cubicBezTo>
                  <a:cubicBezTo>
                    <a:pt x="798" y="208"/>
                    <a:pt x="798" y="208"/>
                    <a:pt x="798" y="208"/>
                  </a:cubicBezTo>
                  <a:cubicBezTo>
                    <a:pt x="806" y="209"/>
                    <a:pt x="786" y="197"/>
                    <a:pt x="780" y="197"/>
                  </a:cubicBezTo>
                  <a:close/>
                  <a:moveTo>
                    <a:pt x="848" y="705"/>
                  </a:moveTo>
                  <a:cubicBezTo>
                    <a:pt x="842" y="703"/>
                    <a:pt x="834" y="719"/>
                    <a:pt x="844" y="723"/>
                  </a:cubicBezTo>
                  <a:cubicBezTo>
                    <a:pt x="844" y="723"/>
                    <a:pt x="844" y="723"/>
                    <a:pt x="844" y="723"/>
                  </a:cubicBezTo>
                  <a:cubicBezTo>
                    <a:pt x="847" y="728"/>
                    <a:pt x="852" y="707"/>
                    <a:pt x="848" y="705"/>
                  </a:cubicBezTo>
                  <a:close/>
                  <a:moveTo>
                    <a:pt x="876" y="191"/>
                  </a:moveTo>
                  <a:cubicBezTo>
                    <a:pt x="874" y="183"/>
                    <a:pt x="861" y="191"/>
                    <a:pt x="852" y="190"/>
                  </a:cubicBezTo>
                  <a:cubicBezTo>
                    <a:pt x="849" y="189"/>
                    <a:pt x="847" y="188"/>
                    <a:pt x="844" y="186"/>
                  </a:cubicBezTo>
                  <a:cubicBezTo>
                    <a:pt x="843" y="185"/>
                    <a:pt x="843" y="183"/>
                    <a:pt x="842" y="181"/>
                  </a:cubicBezTo>
                  <a:cubicBezTo>
                    <a:pt x="842" y="178"/>
                    <a:pt x="845" y="169"/>
                    <a:pt x="841" y="168"/>
                  </a:cubicBezTo>
                  <a:cubicBezTo>
                    <a:pt x="838" y="166"/>
                    <a:pt x="843" y="176"/>
                    <a:pt x="840" y="176"/>
                  </a:cubicBezTo>
                  <a:cubicBezTo>
                    <a:pt x="828" y="176"/>
                    <a:pt x="835" y="166"/>
                    <a:pt x="832" y="163"/>
                  </a:cubicBezTo>
                  <a:cubicBezTo>
                    <a:pt x="829" y="160"/>
                    <a:pt x="830" y="165"/>
                    <a:pt x="828" y="166"/>
                  </a:cubicBezTo>
                  <a:cubicBezTo>
                    <a:pt x="823" y="170"/>
                    <a:pt x="816" y="155"/>
                    <a:pt x="813" y="152"/>
                  </a:cubicBezTo>
                  <a:cubicBezTo>
                    <a:pt x="810" y="148"/>
                    <a:pt x="802" y="136"/>
                    <a:pt x="809" y="136"/>
                  </a:cubicBezTo>
                  <a:cubicBezTo>
                    <a:pt x="809" y="136"/>
                    <a:pt x="812" y="137"/>
                    <a:pt x="811" y="136"/>
                  </a:cubicBezTo>
                  <a:cubicBezTo>
                    <a:pt x="807" y="129"/>
                    <a:pt x="776" y="128"/>
                    <a:pt x="770" y="128"/>
                  </a:cubicBezTo>
                  <a:cubicBezTo>
                    <a:pt x="769" y="128"/>
                    <a:pt x="764" y="128"/>
                    <a:pt x="764" y="127"/>
                  </a:cubicBezTo>
                  <a:cubicBezTo>
                    <a:pt x="766" y="119"/>
                    <a:pt x="797" y="128"/>
                    <a:pt x="794" y="123"/>
                  </a:cubicBezTo>
                  <a:cubicBezTo>
                    <a:pt x="788" y="115"/>
                    <a:pt x="745" y="122"/>
                    <a:pt x="732" y="115"/>
                  </a:cubicBezTo>
                  <a:cubicBezTo>
                    <a:pt x="721" y="109"/>
                    <a:pt x="708" y="106"/>
                    <a:pt x="695" y="102"/>
                  </a:cubicBezTo>
                  <a:cubicBezTo>
                    <a:pt x="688" y="100"/>
                    <a:pt x="677" y="87"/>
                    <a:pt x="675" y="94"/>
                  </a:cubicBezTo>
                  <a:cubicBezTo>
                    <a:pt x="672" y="117"/>
                    <a:pt x="744" y="120"/>
                    <a:pt x="757" y="123"/>
                  </a:cubicBezTo>
                  <a:cubicBezTo>
                    <a:pt x="761" y="125"/>
                    <a:pt x="758" y="130"/>
                    <a:pt x="765" y="132"/>
                  </a:cubicBezTo>
                  <a:cubicBezTo>
                    <a:pt x="778" y="137"/>
                    <a:pt x="795" y="134"/>
                    <a:pt x="806" y="143"/>
                  </a:cubicBezTo>
                  <a:cubicBezTo>
                    <a:pt x="811" y="147"/>
                    <a:pt x="814" y="159"/>
                    <a:pt x="818" y="164"/>
                  </a:cubicBezTo>
                  <a:cubicBezTo>
                    <a:pt x="822" y="171"/>
                    <a:pt x="833" y="179"/>
                    <a:pt x="844" y="186"/>
                  </a:cubicBezTo>
                  <a:cubicBezTo>
                    <a:pt x="846" y="189"/>
                    <a:pt x="849" y="190"/>
                    <a:pt x="852" y="190"/>
                  </a:cubicBezTo>
                  <a:cubicBezTo>
                    <a:pt x="856" y="193"/>
                    <a:pt x="860" y="195"/>
                    <a:pt x="864" y="196"/>
                  </a:cubicBezTo>
                  <a:cubicBezTo>
                    <a:pt x="868" y="199"/>
                    <a:pt x="875" y="202"/>
                    <a:pt x="872" y="200"/>
                  </a:cubicBezTo>
                  <a:cubicBezTo>
                    <a:pt x="872" y="200"/>
                    <a:pt x="872" y="200"/>
                    <a:pt x="872" y="200"/>
                  </a:cubicBezTo>
                  <a:cubicBezTo>
                    <a:pt x="869" y="199"/>
                    <a:pt x="866" y="198"/>
                    <a:pt x="864" y="196"/>
                  </a:cubicBezTo>
                  <a:cubicBezTo>
                    <a:pt x="862" y="195"/>
                    <a:pt x="861" y="194"/>
                    <a:pt x="862" y="193"/>
                  </a:cubicBezTo>
                  <a:cubicBezTo>
                    <a:pt x="864" y="191"/>
                    <a:pt x="871" y="197"/>
                    <a:pt x="874" y="195"/>
                  </a:cubicBezTo>
                  <a:cubicBezTo>
                    <a:pt x="876" y="194"/>
                    <a:pt x="876" y="193"/>
                    <a:pt x="876" y="191"/>
                  </a:cubicBezTo>
                  <a:close/>
                  <a:moveTo>
                    <a:pt x="42" y="1640"/>
                  </a:moveTo>
                  <a:cubicBezTo>
                    <a:pt x="44" y="1643"/>
                    <a:pt x="47" y="1637"/>
                    <a:pt x="49" y="1635"/>
                  </a:cubicBezTo>
                  <a:cubicBezTo>
                    <a:pt x="53" y="1631"/>
                    <a:pt x="88" y="1652"/>
                    <a:pt x="67" y="1612"/>
                  </a:cubicBezTo>
                  <a:cubicBezTo>
                    <a:pt x="67" y="1612"/>
                    <a:pt x="67" y="1612"/>
                    <a:pt x="67" y="1612"/>
                  </a:cubicBezTo>
                  <a:cubicBezTo>
                    <a:pt x="62" y="1611"/>
                    <a:pt x="29" y="1628"/>
                    <a:pt x="42" y="1640"/>
                  </a:cubicBezTo>
                  <a:close/>
                  <a:moveTo>
                    <a:pt x="541" y="1740"/>
                  </a:moveTo>
                  <a:cubicBezTo>
                    <a:pt x="539" y="1735"/>
                    <a:pt x="530" y="1746"/>
                    <a:pt x="531" y="1753"/>
                  </a:cubicBezTo>
                  <a:cubicBezTo>
                    <a:pt x="533" y="1761"/>
                    <a:pt x="525" y="1758"/>
                    <a:pt x="526" y="1765"/>
                  </a:cubicBezTo>
                  <a:cubicBezTo>
                    <a:pt x="527" y="1772"/>
                    <a:pt x="526" y="1775"/>
                    <a:pt x="517" y="1789"/>
                  </a:cubicBezTo>
                  <a:cubicBezTo>
                    <a:pt x="508" y="1804"/>
                    <a:pt x="514" y="1806"/>
                    <a:pt x="507" y="1805"/>
                  </a:cubicBezTo>
                  <a:cubicBezTo>
                    <a:pt x="499" y="1805"/>
                    <a:pt x="501" y="1807"/>
                    <a:pt x="494" y="1821"/>
                  </a:cubicBezTo>
                  <a:cubicBezTo>
                    <a:pt x="487" y="1835"/>
                    <a:pt x="479" y="1848"/>
                    <a:pt x="481" y="1865"/>
                  </a:cubicBezTo>
                  <a:cubicBezTo>
                    <a:pt x="484" y="1881"/>
                    <a:pt x="478" y="1900"/>
                    <a:pt x="484" y="1900"/>
                  </a:cubicBezTo>
                  <a:cubicBezTo>
                    <a:pt x="494" y="1899"/>
                    <a:pt x="496" y="1873"/>
                    <a:pt x="500" y="1867"/>
                  </a:cubicBezTo>
                  <a:cubicBezTo>
                    <a:pt x="504" y="1861"/>
                    <a:pt x="500" y="1852"/>
                    <a:pt x="504" y="1850"/>
                  </a:cubicBezTo>
                  <a:cubicBezTo>
                    <a:pt x="508" y="1847"/>
                    <a:pt x="508" y="1842"/>
                    <a:pt x="512" y="1824"/>
                  </a:cubicBezTo>
                  <a:cubicBezTo>
                    <a:pt x="517" y="1806"/>
                    <a:pt x="521" y="1819"/>
                    <a:pt x="521" y="1810"/>
                  </a:cubicBezTo>
                  <a:cubicBezTo>
                    <a:pt x="521" y="1799"/>
                    <a:pt x="524" y="1809"/>
                    <a:pt x="524" y="1798"/>
                  </a:cubicBezTo>
                  <a:cubicBezTo>
                    <a:pt x="524" y="1787"/>
                    <a:pt x="530" y="1787"/>
                    <a:pt x="527" y="1786"/>
                  </a:cubicBezTo>
                  <a:cubicBezTo>
                    <a:pt x="525" y="1785"/>
                    <a:pt x="525" y="1783"/>
                    <a:pt x="528" y="1784"/>
                  </a:cubicBezTo>
                  <a:cubicBezTo>
                    <a:pt x="530" y="1784"/>
                    <a:pt x="532" y="1783"/>
                    <a:pt x="534" y="1772"/>
                  </a:cubicBezTo>
                  <a:cubicBezTo>
                    <a:pt x="537" y="1761"/>
                    <a:pt x="542" y="1763"/>
                    <a:pt x="540" y="1755"/>
                  </a:cubicBezTo>
                  <a:cubicBezTo>
                    <a:pt x="537" y="1746"/>
                    <a:pt x="547" y="1746"/>
                    <a:pt x="546" y="1742"/>
                  </a:cubicBezTo>
                  <a:cubicBezTo>
                    <a:pt x="545" y="1738"/>
                    <a:pt x="543" y="1744"/>
                    <a:pt x="541" y="1740"/>
                  </a:cubicBezTo>
                  <a:close/>
                  <a:moveTo>
                    <a:pt x="558" y="1445"/>
                  </a:moveTo>
                  <a:cubicBezTo>
                    <a:pt x="556" y="1445"/>
                    <a:pt x="558" y="1447"/>
                    <a:pt x="551" y="1444"/>
                  </a:cubicBezTo>
                  <a:cubicBezTo>
                    <a:pt x="537" y="1439"/>
                    <a:pt x="549" y="1460"/>
                    <a:pt x="562" y="1453"/>
                  </a:cubicBezTo>
                  <a:cubicBezTo>
                    <a:pt x="563" y="1453"/>
                    <a:pt x="564" y="1453"/>
                    <a:pt x="564" y="1451"/>
                  </a:cubicBezTo>
                  <a:cubicBezTo>
                    <a:pt x="564" y="1449"/>
                    <a:pt x="560" y="1445"/>
                    <a:pt x="558" y="1445"/>
                  </a:cubicBezTo>
                  <a:close/>
                  <a:moveTo>
                    <a:pt x="690" y="1462"/>
                  </a:moveTo>
                  <a:cubicBezTo>
                    <a:pt x="690" y="1462"/>
                    <a:pt x="695" y="1461"/>
                    <a:pt x="695" y="1459"/>
                  </a:cubicBezTo>
                  <a:cubicBezTo>
                    <a:pt x="695" y="1458"/>
                    <a:pt x="695" y="1458"/>
                    <a:pt x="695" y="1458"/>
                  </a:cubicBezTo>
                  <a:cubicBezTo>
                    <a:pt x="695" y="1456"/>
                    <a:pt x="695" y="1456"/>
                    <a:pt x="695" y="1454"/>
                  </a:cubicBezTo>
                  <a:cubicBezTo>
                    <a:pt x="695" y="1454"/>
                    <a:pt x="695" y="1454"/>
                    <a:pt x="695" y="1454"/>
                  </a:cubicBezTo>
                  <a:cubicBezTo>
                    <a:pt x="693" y="1451"/>
                    <a:pt x="688" y="1451"/>
                    <a:pt x="693" y="1458"/>
                  </a:cubicBezTo>
                  <a:cubicBezTo>
                    <a:pt x="694" y="1459"/>
                    <a:pt x="691" y="1461"/>
                    <a:pt x="690" y="1462"/>
                  </a:cubicBezTo>
                  <a:close/>
                  <a:moveTo>
                    <a:pt x="643" y="1507"/>
                  </a:moveTo>
                  <a:cubicBezTo>
                    <a:pt x="643" y="1506"/>
                    <a:pt x="643" y="1506"/>
                    <a:pt x="643" y="1506"/>
                  </a:cubicBezTo>
                  <a:cubicBezTo>
                    <a:pt x="642" y="1499"/>
                    <a:pt x="636" y="1510"/>
                    <a:pt x="636" y="1511"/>
                  </a:cubicBezTo>
                  <a:cubicBezTo>
                    <a:pt x="637" y="1512"/>
                    <a:pt x="643" y="1509"/>
                    <a:pt x="643" y="1507"/>
                  </a:cubicBezTo>
                  <a:close/>
                  <a:moveTo>
                    <a:pt x="584" y="1448"/>
                  </a:moveTo>
                  <a:cubicBezTo>
                    <a:pt x="578" y="1447"/>
                    <a:pt x="584" y="1451"/>
                    <a:pt x="585" y="1454"/>
                  </a:cubicBezTo>
                  <a:cubicBezTo>
                    <a:pt x="586" y="1462"/>
                    <a:pt x="591" y="1453"/>
                    <a:pt x="585" y="1448"/>
                  </a:cubicBezTo>
                  <a:lnTo>
                    <a:pt x="584" y="1448"/>
                  </a:lnTo>
                  <a:close/>
                  <a:moveTo>
                    <a:pt x="706" y="1416"/>
                  </a:moveTo>
                  <a:cubicBezTo>
                    <a:pt x="706" y="1415"/>
                    <a:pt x="706" y="1415"/>
                    <a:pt x="706" y="1415"/>
                  </a:cubicBezTo>
                  <a:cubicBezTo>
                    <a:pt x="711" y="1412"/>
                    <a:pt x="687" y="1424"/>
                    <a:pt x="692" y="1426"/>
                  </a:cubicBezTo>
                  <a:cubicBezTo>
                    <a:pt x="697" y="1427"/>
                    <a:pt x="703" y="1418"/>
                    <a:pt x="706" y="1416"/>
                  </a:cubicBezTo>
                  <a:close/>
                  <a:moveTo>
                    <a:pt x="581" y="1546"/>
                  </a:moveTo>
                  <a:cubicBezTo>
                    <a:pt x="583" y="1544"/>
                    <a:pt x="582" y="1542"/>
                    <a:pt x="580" y="1541"/>
                  </a:cubicBezTo>
                  <a:cubicBezTo>
                    <a:pt x="580" y="1541"/>
                    <a:pt x="580" y="1541"/>
                    <a:pt x="580" y="1541"/>
                  </a:cubicBezTo>
                  <a:cubicBezTo>
                    <a:pt x="578" y="1540"/>
                    <a:pt x="579" y="1547"/>
                    <a:pt x="581" y="1546"/>
                  </a:cubicBezTo>
                  <a:close/>
                  <a:moveTo>
                    <a:pt x="658" y="1470"/>
                  </a:moveTo>
                  <a:cubicBezTo>
                    <a:pt x="658" y="1470"/>
                    <a:pt x="654" y="1470"/>
                    <a:pt x="654" y="1470"/>
                  </a:cubicBezTo>
                  <a:cubicBezTo>
                    <a:pt x="654" y="1471"/>
                    <a:pt x="659" y="1471"/>
                    <a:pt x="660" y="1472"/>
                  </a:cubicBezTo>
                  <a:cubicBezTo>
                    <a:pt x="664" y="1476"/>
                    <a:pt x="678" y="1484"/>
                    <a:pt x="670" y="1478"/>
                  </a:cubicBezTo>
                  <a:cubicBezTo>
                    <a:pt x="668" y="1476"/>
                    <a:pt x="684" y="1476"/>
                    <a:pt x="668" y="1470"/>
                  </a:cubicBezTo>
                  <a:cubicBezTo>
                    <a:pt x="668" y="1470"/>
                    <a:pt x="668" y="1470"/>
                    <a:pt x="668" y="1470"/>
                  </a:cubicBezTo>
                  <a:cubicBezTo>
                    <a:pt x="666" y="1471"/>
                    <a:pt x="661" y="1471"/>
                    <a:pt x="658" y="1470"/>
                  </a:cubicBezTo>
                  <a:close/>
                  <a:moveTo>
                    <a:pt x="676" y="1322"/>
                  </a:moveTo>
                  <a:cubicBezTo>
                    <a:pt x="676" y="1322"/>
                    <a:pt x="673" y="1317"/>
                    <a:pt x="673" y="1316"/>
                  </a:cubicBezTo>
                  <a:cubicBezTo>
                    <a:pt x="670" y="1308"/>
                    <a:pt x="661" y="1306"/>
                    <a:pt x="661" y="1294"/>
                  </a:cubicBezTo>
                  <a:cubicBezTo>
                    <a:pt x="661" y="1294"/>
                    <a:pt x="661" y="1294"/>
                    <a:pt x="661" y="1294"/>
                  </a:cubicBezTo>
                  <a:cubicBezTo>
                    <a:pt x="650" y="1290"/>
                    <a:pt x="668" y="1331"/>
                    <a:pt x="676" y="1322"/>
                  </a:cubicBezTo>
                  <a:close/>
                  <a:moveTo>
                    <a:pt x="662" y="1511"/>
                  </a:moveTo>
                  <a:cubicBezTo>
                    <a:pt x="662" y="1511"/>
                    <a:pt x="662" y="1511"/>
                    <a:pt x="662" y="1511"/>
                  </a:cubicBezTo>
                  <a:cubicBezTo>
                    <a:pt x="664" y="1507"/>
                    <a:pt x="658" y="1511"/>
                    <a:pt x="655" y="1512"/>
                  </a:cubicBezTo>
                  <a:cubicBezTo>
                    <a:pt x="650" y="1514"/>
                    <a:pt x="655" y="1516"/>
                    <a:pt x="662" y="1511"/>
                  </a:cubicBezTo>
                  <a:close/>
                  <a:moveTo>
                    <a:pt x="697" y="1335"/>
                  </a:moveTo>
                  <a:cubicBezTo>
                    <a:pt x="698" y="1335"/>
                    <a:pt x="698" y="1335"/>
                    <a:pt x="698" y="1335"/>
                  </a:cubicBezTo>
                  <a:cubicBezTo>
                    <a:pt x="691" y="1330"/>
                    <a:pt x="701" y="1352"/>
                    <a:pt x="697" y="1335"/>
                  </a:cubicBezTo>
                  <a:close/>
                  <a:moveTo>
                    <a:pt x="692" y="1476"/>
                  </a:moveTo>
                  <a:cubicBezTo>
                    <a:pt x="686" y="1481"/>
                    <a:pt x="694" y="1480"/>
                    <a:pt x="697" y="1477"/>
                  </a:cubicBezTo>
                  <a:cubicBezTo>
                    <a:pt x="697" y="1477"/>
                    <a:pt x="697" y="1477"/>
                    <a:pt x="697" y="1477"/>
                  </a:cubicBezTo>
                  <a:cubicBezTo>
                    <a:pt x="699" y="1474"/>
                    <a:pt x="692" y="1475"/>
                    <a:pt x="692" y="1476"/>
                  </a:cubicBezTo>
                  <a:close/>
                  <a:moveTo>
                    <a:pt x="742" y="1655"/>
                  </a:moveTo>
                  <a:cubicBezTo>
                    <a:pt x="742" y="1655"/>
                    <a:pt x="742" y="1655"/>
                    <a:pt x="742" y="1655"/>
                  </a:cubicBezTo>
                  <a:cubicBezTo>
                    <a:pt x="745" y="1654"/>
                    <a:pt x="744" y="1652"/>
                    <a:pt x="741" y="1652"/>
                  </a:cubicBezTo>
                  <a:cubicBezTo>
                    <a:pt x="739" y="1651"/>
                    <a:pt x="735" y="1654"/>
                    <a:pt x="734" y="1653"/>
                  </a:cubicBezTo>
                  <a:cubicBezTo>
                    <a:pt x="734" y="1652"/>
                    <a:pt x="734" y="1652"/>
                    <a:pt x="734" y="1652"/>
                  </a:cubicBezTo>
                  <a:cubicBezTo>
                    <a:pt x="734" y="1649"/>
                    <a:pt x="733" y="1652"/>
                    <a:pt x="732" y="1652"/>
                  </a:cubicBezTo>
                  <a:cubicBezTo>
                    <a:pt x="730" y="1652"/>
                    <a:pt x="731" y="1650"/>
                    <a:pt x="729" y="1650"/>
                  </a:cubicBezTo>
                  <a:cubicBezTo>
                    <a:pt x="728" y="1651"/>
                    <a:pt x="723" y="1652"/>
                    <a:pt x="722" y="1653"/>
                  </a:cubicBezTo>
                  <a:cubicBezTo>
                    <a:pt x="721" y="1654"/>
                    <a:pt x="721" y="1656"/>
                    <a:pt x="720" y="1658"/>
                  </a:cubicBezTo>
                  <a:cubicBezTo>
                    <a:pt x="719" y="1660"/>
                    <a:pt x="717" y="1659"/>
                    <a:pt x="717" y="1662"/>
                  </a:cubicBezTo>
                  <a:cubicBezTo>
                    <a:pt x="718" y="1664"/>
                    <a:pt x="720" y="1664"/>
                    <a:pt x="720" y="1666"/>
                  </a:cubicBezTo>
                  <a:cubicBezTo>
                    <a:pt x="721" y="1666"/>
                    <a:pt x="724" y="1673"/>
                    <a:pt x="726" y="1671"/>
                  </a:cubicBezTo>
                  <a:cubicBezTo>
                    <a:pt x="727" y="1670"/>
                    <a:pt x="725" y="1669"/>
                    <a:pt x="726" y="1668"/>
                  </a:cubicBezTo>
                  <a:cubicBezTo>
                    <a:pt x="734" y="1662"/>
                    <a:pt x="724" y="1665"/>
                    <a:pt x="727" y="1660"/>
                  </a:cubicBezTo>
                  <a:cubicBezTo>
                    <a:pt x="728" y="1660"/>
                    <a:pt x="728" y="1659"/>
                    <a:pt x="729" y="1659"/>
                  </a:cubicBezTo>
                  <a:cubicBezTo>
                    <a:pt x="730" y="1658"/>
                    <a:pt x="731" y="1659"/>
                    <a:pt x="732" y="1659"/>
                  </a:cubicBezTo>
                  <a:cubicBezTo>
                    <a:pt x="734" y="1659"/>
                    <a:pt x="734" y="1657"/>
                    <a:pt x="735" y="1656"/>
                  </a:cubicBezTo>
                  <a:cubicBezTo>
                    <a:pt x="739" y="1654"/>
                    <a:pt x="739" y="1658"/>
                    <a:pt x="742" y="1655"/>
                  </a:cubicBezTo>
                  <a:close/>
                  <a:moveTo>
                    <a:pt x="734" y="1601"/>
                  </a:moveTo>
                  <a:cubicBezTo>
                    <a:pt x="736" y="1601"/>
                    <a:pt x="744" y="1599"/>
                    <a:pt x="744" y="1596"/>
                  </a:cubicBezTo>
                  <a:cubicBezTo>
                    <a:pt x="743" y="1595"/>
                    <a:pt x="736" y="1594"/>
                    <a:pt x="734" y="1593"/>
                  </a:cubicBezTo>
                  <a:cubicBezTo>
                    <a:pt x="734" y="1593"/>
                    <a:pt x="734" y="1593"/>
                    <a:pt x="734" y="1593"/>
                  </a:cubicBezTo>
                  <a:cubicBezTo>
                    <a:pt x="727" y="1593"/>
                    <a:pt x="734" y="1601"/>
                    <a:pt x="734" y="1601"/>
                  </a:cubicBezTo>
                  <a:close/>
                  <a:moveTo>
                    <a:pt x="606" y="1517"/>
                  </a:moveTo>
                  <a:cubicBezTo>
                    <a:pt x="606" y="1517"/>
                    <a:pt x="606" y="1517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lose/>
                  <a:moveTo>
                    <a:pt x="713" y="1444"/>
                  </a:moveTo>
                  <a:cubicBezTo>
                    <a:pt x="713" y="1443"/>
                    <a:pt x="713" y="1443"/>
                    <a:pt x="713" y="1443"/>
                  </a:cubicBezTo>
                  <a:cubicBezTo>
                    <a:pt x="707" y="1435"/>
                    <a:pt x="708" y="1455"/>
                    <a:pt x="713" y="1444"/>
                  </a:cubicBezTo>
                  <a:close/>
                  <a:moveTo>
                    <a:pt x="673" y="1490"/>
                  </a:moveTo>
                  <a:cubicBezTo>
                    <a:pt x="673" y="1490"/>
                    <a:pt x="673" y="1490"/>
                    <a:pt x="673" y="1490"/>
                  </a:cubicBezTo>
                  <a:cubicBezTo>
                    <a:pt x="673" y="1486"/>
                    <a:pt x="665" y="1498"/>
                    <a:pt x="664" y="1498"/>
                  </a:cubicBezTo>
                  <a:cubicBezTo>
                    <a:pt x="661" y="1500"/>
                    <a:pt x="670" y="1502"/>
                    <a:pt x="673" y="1490"/>
                  </a:cubicBezTo>
                  <a:close/>
                  <a:moveTo>
                    <a:pt x="673" y="1469"/>
                  </a:moveTo>
                  <a:cubicBezTo>
                    <a:pt x="677" y="1475"/>
                    <a:pt x="683" y="1470"/>
                    <a:pt x="685" y="1468"/>
                  </a:cubicBezTo>
                  <a:cubicBezTo>
                    <a:pt x="685" y="1468"/>
                    <a:pt x="685" y="1468"/>
                    <a:pt x="685" y="1468"/>
                  </a:cubicBezTo>
                  <a:cubicBezTo>
                    <a:pt x="689" y="1466"/>
                    <a:pt x="671" y="1465"/>
                    <a:pt x="673" y="1469"/>
                  </a:cubicBezTo>
                  <a:close/>
                  <a:moveTo>
                    <a:pt x="718" y="1416"/>
                  </a:moveTo>
                  <a:cubicBezTo>
                    <a:pt x="718" y="1411"/>
                    <a:pt x="714" y="1415"/>
                    <a:pt x="712" y="1416"/>
                  </a:cubicBezTo>
                  <a:cubicBezTo>
                    <a:pt x="699" y="1423"/>
                    <a:pt x="715" y="1416"/>
                    <a:pt x="718" y="1416"/>
                  </a:cubicBezTo>
                  <a:close/>
                  <a:moveTo>
                    <a:pt x="672" y="1441"/>
                  </a:moveTo>
                  <a:cubicBezTo>
                    <a:pt x="673" y="1448"/>
                    <a:pt x="682" y="1436"/>
                    <a:pt x="690" y="1432"/>
                  </a:cubicBezTo>
                  <a:cubicBezTo>
                    <a:pt x="690" y="1432"/>
                    <a:pt x="690" y="1432"/>
                    <a:pt x="690" y="1432"/>
                  </a:cubicBezTo>
                  <a:cubicBezTo>
                    <a:pt x="696" y="1428"/>
                    <a:pt x="670" y="1435"/>
                    <a:pt x="672" y="1441"/>
                  </a:cubicBezTo>
                  <a:close/>
                  <a:moveTo>
                    <a:pt x="541" y="1439"/>
                  </a:moveTo>
                  <a:cubicBezTo>
                    <a:pt x="540" y="1437"/>
                    <a:pt x="540" y="1436"/>
                    <a:pt x="538" y="1435"/>
                  </a:cubicBezTo>
                  <a:cubicBezTo>
                    <a:pt x="538" y="1435"/>
                    <a:pt x="538" y="1435"/>
                    <a:pt x="538" y="1435"/>
                  </a:cubicBezTo>
                  <a:cubicBezTo>
                    <a:pt x="535" y="1433"/>
                    <a:pt x="525" y="1447"/>
                    <a:pt x="539" y="1454"/>
                  </a:cubicBezTo>
                  <a:cubicBezTo>
                    <a:pt x="542" y="1455"/>
                    <a:pt x="542" y="1453"/>
                    <a:pt x="541" y="1452"/>
                  </a:cubicBezTo>
                  <a:cubicBezTo>
                    <a:pt x="536" y="1442"/>
                    <a:pt x="544" y="1442"/>
                    <a:pt x="541" y="1439"/>
                  </a:cubicBezTo>
                  <a:close/>
                  <a:moveTo>
                    <a:pt x="718" y="1668"/>
                  </a:moveTo>
                  <a:cubicBezTo>
                    <a:pt x="711" y="1663"/>
                    <a:pt x="717" y="1660"/>
                    <a:pt x="712" y="1661"/>
                  </a:cubicBezTo>
                  <a:cubicBezTo>
                    <a:pt x="707" y="1662"/>
                    <a:pt x="710" y="1666"/>
                    <a:pt x="707" y="1666"/>
                  </a:cubicBezTo>
                  <a:cubicBezTo>
                    <a:pt x="704" y="1666"/>
                    <a:pt x="707" y="1658"/>
                    <a:pt x="702" y="1660"/>
                  </a:cubicBezTo>
                  <a:cubicBezTo>
                    <a:pt x="696" y="1662"/>
                    <a:pt x="703" y="1666"/>
                    <a:pt x="700" y="1667"/>
                  </a:cubicBezTo>
                  <a:cubicBezTo>
                    <a:pt x="696" y="1669"/>
                    <a:pt x="699" y="1672"/>
                    <a:pt x="697" y="1673"/>
                  </a:cubicBezTo>
                  <a:cubicBezTo>
                    <a:pt x="692" y="1674"/>
                    <a:pt x="696" y="1659"/>
                    <a:pt x="688" y="1659"/>
                  </a:cubicBezTo>
                  <a:cubicBezTo>
                    <a:pt x="679" y="1659"/>
                    <a:pt x="685" y="1673"/>
                    <a:pt x="674" y="1672"/>
                  </a:cubicBezTo>
                  <a:cubicBezTo>
                    <a:pt x="661" y="1672"/>
                    <a:pt x="658" y="1694"/>
                    <a:pt x="645" y="1704"/>
                  </a:cubicBezTo>
                  <a:cubicBezTo>
                    <a:pt x="631" y="1714"/>
                    <a:pt x="635" y="1717"/>
                    <a:pt x="636" y="1727"/>
                  </a:cubicBezTo>
                  <a:cubicBezTo>
                    <a:pt x="638" y="1737"/>
                    <a:pt x="642" y="1734"/>
                    <a:pt x="640" y="1736"/>
                  </a:cubicBezTo>
                  <a:cubicBezTo>
                    <a:pt x="639" y="1739"/>
                    <a:pt x="641" y="1742"/>
                    <a:pt x="637" y="1746"/>
                  </a:cubicBezTo>
                  <a:cubicBezTo>
                    <a:pt x="632" y="1751"/>
                    <a:pt x="632" y="1753"/>
                    <a:pt x="636" y="1755"/>
                  </a:cubicBezTo>
                  <a:cubicBezTo>
                    <a:pt x="639" y="1757"/>
                    <a:pt x="638" y="1756"/>
                    <a:pt x="639" y="1765"/>
                  </a:cubicBezTo>
                  <a:cubicBezTo>
                    <a:pt x="640" y="1773"/>
                    <a:pt x="646" y="1769"/>
                    <a:pt x="643" y="1776"/>
                  </a:cubicBezTo>
                  <a:cubicBezTo>
                    <a:pt x="641" y="1783"/>
                    <a:pt x="643" y="1783"/>
                    <a:pt x="648" y="1778"/>
                  </a:cubicBezTo>
                  <a:cubicBezTo>
                    <a:pt x="653" y="1774"/>
                    <a:pt x="652" y="1783"/>
                    <a:pt x="646" y="1785"/>
                  </a:cubicBezTo>
                  <a:cubicBezTo>
                    <a:pt x="640" y="1787"/>
                    <a:pt x="645" y="1788"/>
                    <a:pt x="641" y="1795"/>
                  </a:cubicBezTo>
                  <a:cubicBezTo>
                    <a:pt x="636" y="1803"/>
                    <a:pt x="635" y="1802"/>
                    <a:pt x="645" y="1800"/>
                  </a:cubicBezTo>
                  <a:cubicBezTo>
                    <a:pt x="651" y="1799"/>
                    <a:pt x="652" y="1800"/>
                    <a:pt x="652" y="1796"/>
                  </a:cubicBezTo>
                  <a:cubicBezTo>
                    <a:pt x="653" y="1792"/>
                    <a:pt x="657" y="1795"/>
                    <a:pt x="656" y="1792"/>
                  </a:cubicBezTo>
                  <a:cubicBezTo>
                    <a:pt x="655" y="1789"/>
                    <a:pt x="660" y="1789"/>
                    <a:pt x="658" y="1788"/>
                  </a:cubicBezTo>
                  <a:cubicBezTo>
                    <a:pt x="655" y="1786"/>
                    <a:pt x="654" y="1777"/>
                    <a:pt x="659" y="1776"/>
                  </a:cubicBezTo>
                  <a:cubicBezTo>
                    <a:pt x="664" y="1774"/>
                    <a:pt x="669" y="1771"/>
                    <a:pt x="664" y="1771"/>
                  </a:cubicBezTo>
                  <a:cubicBezTo>
                    <a:pt x="659" y="1772"/>
                    <a:pt x="657" y="1770"/>
                    <a:pt x="670" y="1765"/>
                  </a:cubicBezTo>
                  <a:cubicBezTo>
                    <a:pt x="684" y="1760"/>
                    <a:pt x="667" y="1762"/>
                    <a:pt x="681" y="1758"/>
                  </a:cubicBezTo>
                  <a:cubicBezTo>
                    <a:pt x="690" y="1756"/>
                    <a:pt x="693" y="1754"/>
                    <a:pt x="686" y="1750"/>
                  </a:cubicBezTo>
                  <a:cubicBezTo>
                    <a:pt x="679" y="1747"/>
                    <a:pt x="700" y="1733"/>
                    <a:pt x="704" y="1736"/>
                  </a:cubicBezTo>
                  <a:cubicBezTo>
                    <a:pt x="708" y="1738"/>
                    <a:pt x="713" y="1724"/>
                    <a:pt x="702" y="1728"/>
                  </a:cubicBezTo>
                  <a:cubicBezTo>
                    <a:pt x="692" y="1731"/>
                    <a:pt x="691" y="1719"/>
                    <a:pt x="696" y="1710"/>
                  </a:cubicBezTo>
                  <a:cubicBezTo>
                    <a:pt x="701" y="1701"/>
                    <a:pt x="690" y="1705"/>
                    <a:pt x="694" y="1699"/>
                  </a:cubicBezTo>
                  <a:cubicBezTo>
                    <a:pt x="698" y="1692"/>
                    <a:pt x="695" y="1685"/>
                    <a:pt x="699" y="1687"/>
                  </a:cubicBezTo>
                  <a:cubicBezTo>
                    <a:pt x="704" y="1689"/>
                    <a:pt x="702" y="1686"/>
                    <a:pt x="704" y="1688"/>
                  </a:cubicBezTo>
                  <a:cubicBezTo>
                    <a:pt x="706" y="1690"/>
                    <a:pt x="708" y="1690"/>
                    <a:pt x="708" y="1683"/>
                  </a:cubicBezTo>
                  <a:cubicBezTo>
                    <a:pt x="709" y="1676"/>
                    <a:pt x="712" y="1683"/>
                    <a:pt x="713" y="1679"/>
                  </a:cubicBezTo>
                  <a:cubicBezTo>
                    <a:pt x="713" y="1675"/>
                    <a:pt x="715" y="1671"/>
                    <a:pt x="719" y="1673"/>
                  </a:cubicBezTo>
                  <a:cubicBezTo>
                    <a:pt x="723" y="1675"/>
                    <a:pt x="724" y="1673"/>
                    <a:pt x="718" y="1668"/>
                  </a:cubicBezTo>
                  <a:close/>
                  <a:moveTo>
                    <a:pt x="301" y="1648"/>
                  </a:moveTo>
                  <a:cubicBezTo>
                    <a:pt x="306" y="1644"/>
                    <a:pt x="311" y="1629"/>
                    <a:pt x="304" y="1639"/>
                  </a:cubicBezTo>
                  <a:cubicBezTo>
                    <a:pt x="301" y="1642"/>
                    <a:pt x="295" y="1650"/>
                    <a:pt x="301" y="1648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Norway"/>
            <p:cNvSpPr>
              <a:spLocks noEditPoints="1"/>
            </p:cNvSpPr>
            <p:nvPr/>
          </p:nvSpPr>
          <p:spPr bwMode="auto">
            <a:xfrm>
              <a:off x="2987" y="657"/>
              <a:ext cx="1223" cy="1039"/>
            </a:xfrm>
            <a:custGeom>
              <a:avLst/>
              <a:gdLst>
                <a:gd name="T0" fmla="*/ 550 w 2349"/>
                <a:gd name="T1" fmla="*/ 1825 h 1995"/>
                <a:gd name="T2" fmla="*/ 389 w 2349"/>
                <a:gd name="T3" fmla="*/ 1893 h 1995"/>
                <a:gd name="T4" fmla="*/ 71 w 2349"/>
                <a:gd name="T5" fmla="*/ 1857 h 1995"/>
                <a:gd name="T6" fmla="*/ 107 w 2349"/>
                <a:gd name="T7" fmla="*/ 1799 h 1995"/>
                <a:gd name="T8" fmla="*/ 82 w 2349"/>
                <a:gd name="T9" fmla="*/ 1729 h 1995"/>
                <a:gd name="T10" fmla="*/ 79 w 2349"/>
                <a:gd name="T11" fmla="*/ 1671 h 1995"/>
                <a:gd name="T12" fmla="*/ 35 w 2349"/>
                <a:gd name="T13" fmla="*/ 1565 h 1995"/>
                <a:gd name="T14" fmla="*/ 110 w 2349"/>
                <a:gd name="T15" fmla="*/ 1539 h 1995"/>
                <a:gd name="T16" fmla="*/ 64 w 2349"/>
                <a:gd name="T17" fmla="*/ 1429 h 1995"/>
                <a:gd name="T18" fmla="*/ 84 w 2349"/>
                <a:gd name="T19" fmla="*/ 1391 h 1995"/>
                <a:gd name="T20" fmla="*/ 168 w 2349"/>
                <a:gd name="T21" fmla="*/ 1334 h 1995"/>
                <a:gd name="T22" fmla="*/ 306 w 2349"/>
                <a:gd name="T23" fmla="*/ 1297 h 1995"/>
                <a:gd name="T24" fmla="*/ 417 w 2349"/>
                <a:gd name="T25" fmla="*/ 1212 h 1995"/>
                <a:gd name="T26" fmla="*/ 567 w 2349"/>
                <a:gd name="T27" fmla="*/ 1138 h 1995"/>
                <a:gd name="T28" fmla="*/ 546 w 2349"/>
                <a:gd name="T29" fmla="*/ 1064 h 1995"/>
                <a:gd name="T30" fmla="*/ 603 w 2349"/>
                <a:gd name="T31" fmla="*/ 983 h 1995"/>
                <a:gd name="T32" fmla="*/ 691 w 2349"/>
                <a:gd name="T33" fmla="*/ 887 h 1995"/>
                <a:gd name="T34" fmla="*/ 751 w 2349"/>
                <a:gd name="T35" fmla="*/ 768 h 1995"/>
                <a:gd name="T36" fmla="*/ 824 w 2349"/>
                <a:gd name="T37" fmla="*/ 665 h 1995"/>
                <a:gd name="T38" fmla="*/ 921 w 2349"/>
                <a:gd name="T39" fmla="*/ 625 h 1995"/>
                <a:gd name="T40" fmla="*/ 962 w 2349"/>
                <a:gd name="T41" fmla="*/ 559 h 1995"/>
                <a:gd name="T42" fmla="*/ 954 w 2349"/>
                <a:gd name="T43" fmla="*/ 508 h 1995"/>
                <a:gd name="T44" fmla="*/ 1077 w 2349"/>
                <a:gd name="T45" fmla="*/ 487 h 1995"/>
                <a:gd name="T46" fmla="*/ 1139 w 2349"/>
                <a:gd name="T47" fmla="*/ 364 h 1995"/>
                <a:gd name="T48" fmla="*/ 1330 w 2349"/>
                <a:gd name="T49" fmla="*/ 277 h 1995"/>
                <a:gd name="T50" fmla="*/ 1533 w 2349"/>
                <a:gd name="T51" fmla="*/ 197 h 1995"/>
                <a:gd name="T52" fmla="*/ 1642 w 2349"/>
                <a:gd name="T53" fmla="*/ 196 h 1995"/>
                <a:gd name="T54" fmla="*/ 1847 w 2349"/>
                <a:gd name="T55" fmla="*/ 55 h 1995"/>
                <a:gd name="T56" fmla="*/ 2033 w 2349"/>
                <a:gd name="T57" fmla="*/ 61 h 1995"/>
                <a:gd name="T58" fmla="*/ 2095 w 2349"/>
                <a:gd name="T59" fmla="*/ 164 h 1995"/>
                <a:gd name="T60" fmla="*/ 2128 w 2349"/>
                <a:gd name="T61" fmla="*/ 165 h 1995"/>
                <a:gd name="T62" fmla="*/ 2159 w 2349"/>
                <a:gd name="T63" fmla="*/ 343 h 1995"/>
                <a:gd name="T64" fmla="*/ 1114 w 2349"/>
                <a:gd name="T65" fmla="*/ 496 h 1995"/>
                <a:gd name="T66" fmla="*/ 642 w 2349"/>
                <a:gd name="T67" fmla="*/ 1229 h 1995"/>
                <a:gd name="T68" fmla="*/ 849 w 2349"/>
                <a:gd name="T69" fmla="*/ 704 h 1995"/>
                <a:gd name="T70" fmla="*/ 774 w 2349"/>
                <a:gd name="T71" fmla="*/ 992 h 1995"/>
                <a:gd name="T72" fmla="*/ 314 w 2349"/>
                <a:gd name="T73" fmla="*/ 1848 h 1995"/>
                <a:gd name="T74" fmla="*/ 522 w 2349"/>
                <a:gd name="T75" fmla="*/ 1227 h 1995"/>
                <a:gd name="T76" fmla="*/ 578 w 2349"/>
                <a:gd name="T77" fmla="*/ 1754 h 1995"/>
                <a:gd name="T78" fmla="*/ 7 w 2349"/>
                <a:gd name="T79" fmla="*/ 1597 h 1995"/>
                <a:gd name="T80" fmla="*/ 576 w 2349"/>
                <a:gd name="T81" fmla="*/ 983 h 1995"/>
                <a:gd name="T82" fmla="*/ 42 w 2349"/>
                <a:gd name="T83" fmla="*/ 1762 h 1995"/>
                <a:gd name="T84" fmla="*/ 1451 w 2349"/>
                <a:gd name="T85" fmla="*/ 191 h 1995"/>
                <a:gd name="T86" fmla="*/ 666 w 2349"/>
                <a:gd name="T87" fmla="*/ 921 h 1995"/>
                <a:gd name="T88" fmla="*/ 298 w 2349"/>
                <a:gd name="T89" fmla="*/ 1234 h 1995"/>
                <a:gd name="T90" fmla="*/ 1039 w 2349"/>
                <a:gd name="T91" fmla="*/ 428 h 1995"/>
                <a:gd name="T92" fmla="*/ 869 w 2349"/>
                <a:gd name="T93" fmla="*/ 394 h 1995"/>
                <a:gd name="T94" fmla="*/ 1713 w 2349"/>
                <a:gd name="T95" fmla="*/ 30 h 1995"/>
                <a:gd name="T96" fmla="*/ 1236 w 2349"/>
                <a:gd name="T97" fmla="*/ 240 h 1995"/>
                <a:gd name="T98" fmla="*/ 1596 w 2349"/>
                <a:gd name="T99" fmla="*/ 80 h 1995"/>
                <a:gd name="T100" fmla="*/ 1641 w 2349"/>
                <a:gd name="T101" fmla="*/ 125 h 1995"/>
                <a:gd name="T102" fmla="*/ 1266 w 2349"/>
                <a:gd name="T103" fmla="*/ 197 h 1995"/>
                <a:gd name="T104" fmla="*/ 1090 w 2349"/>
                <a:gd name="T105" fmla="*/ 304 h 1995"/>
                <a:gd name="T106" fmla="*/ 913 w 2349"/>
                <a:gd name="T107" fmla="*/ 361 h 1995"/>
                <a:gd name="T108" fmla="*/ 1037 w 2349"/>
                <a:gd name="T109" fmla="*/ 353 h 1995"/>
                <a:gd name="T110" fmla="*/ 916 w 2349"/>
                <a:gd name="T111" fmla="*/ 465 h 1995"/>
                <a:gd name="T112" fmla="*/ 906 w 2349"/>
                <a:gd name="T113" fmla="*/ 441 h 1995"/>
                <a:gd name="T114" fmla="*/ 997 w 2349"/>
                <a:gd name="T115" fmla="*/ 357 h 1995"/>
                <a:gd name="T116" fmla="*/ 918 w 2349"/>
                <a:gd name="T117" fmla="*/ 512 h 1995"/>
                <a:gd name="T118" fmla="*/ 104 w 2349"/>
                <a:gd name="T119" fmla="*/ 1827 h 1995"/>
                <a:gd name="T120" fmla="*/ 10 w 2349"/>
                <a:gd name="T121" fmla="*/ 1542 h 1995"/>
                <a:gd name="T122" fmla="*/ 44 w 2349"/>
                <a:gd name="T123" fmla="*/ 1439 h 19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49" h="1995">
                  <a:moveTo>
                    <a:pt x="42" y="1698"/>
                  </a:moveTo>
                  <a:cubicBezTo>
                    <a:pt x="40" y="1696"/>
                    <a:pt x="38" y="1688"/>
                    <a:pt x="41" y="1690"/>
                  </a:cubicBezTo>
                  <a:cubicBezTo>
                    <a:pt x="41" y="1690"/>
                    <a:pt x="41" y="1690"/>
                    <a:pt x="41" y="1690"/>
                  </a:cubicBezTo>
                  <a:cubicBezTo>
                    <a:pt x="46" y="1695"/>
                    <a:pt x="46" y="1698"/>
                    <a:pt x="47" y="1703"/>
                  </a:cubicBezTo>
                  <a:cubicBezTo>
                    <a:pt x="48" y="1707"/>
                    <a:pt x="42" y="1705"/>
                    <a:pt x="39" y="1702"/>
                  </a:cubicBezTo>
                  <a:cubicBezTo>
                    <a:pt x="32" y="1693"/>
                    <a:pt x="44" y="1701"/>
                    <a:pt x="42" y="1698"/>
                  </a:cubicBezTo>
                  <a:close/>
                  <a:moveTo>
                    <a:pt x="247" y="1329"/>
                  </a:moveTo>
                  <a:cubicBezTo>
                    <a:pt x="247" y="1327"/>
                    <a:pt x="248" y="1325"/>
                    <a:pt x="247" y="1324"/>
                  </a:cubicBezTo>
                  <a:cubicBezTo>
                    <a:pt x="247" y="1326"/>
                    <a:pt x="247" y="1327"/>
                    <a:pt x="247" y="1329"/>
                  </a:cubicBezTo>
                  <a:close/>
                  <a:moveTo>
                    <a:pt x="161" y="1398"/>
                  </a:moveTo>
                  <a:cubicBezTo>
                    <a:pt x="162" y="1397"/>
                    <a:pt x="163" y="1396"/>
                    <a:pt x="164" y="1396"/>
                  </a:cubicBezTo>
                  <a:cubicBezTo>
                    <a:pt x="164" y="1395"/>
                    <a:pt x="163" y="1393"/>
                    <a:pt x="161" y="1390"/>
                  </a:cubicBezTo>
                  <a:cubicBezTo>
                    <a:pt x="162" y="1393"/>
                    <a:pt x="162" y="1396"/>
                    <a:pt x="161" y="1398"/>
                  </a:cubicBezTo>
                  <a:close/>
                  <a:moveTo>
                    <a:pt x="430" y="1186"/>
                  </a:moveTo>
                  <a:cubicBezTo>
                    <a:pt x="430" y="1185"/>
                    <a:pt x="429" y="1185"/>
                    <a:pt x="429" y="1185"/>
                  </a:cubicBezTo>
                  <a:cubicBezTo>
                    <a:pt x="428" y="1183"/>
                    <a:pt x="426" y="1183"/>
                    <a:pt x="425" y="1183"/>
                  </a:cubicBezTo>
                  <a:cubicBezTo>
                    <a:pt x="426" y="1184"/>
                    <a:pt x="428" y="1185"/>
                    <a:pt x="430" y="1186"/>
                  </a:cubicBezTo>
                  <a:close/>
                  <a:moveTo>
                    <a:pt x="30" y="1706"/>
                  </a:moveTo>
                  <a:cubicBezTo>
                    <a:pt x="30" y="1707"/>
                    <a:pt x="30" y="1707"/>
                    <a:pt x="30" y="1707"/>
                  </a:cubicBezTo>
                  <a:cubicBezTo>
                    <a:pt x="30" y="1725"/>
                    <a:pt x="46" y="1688"/>
                    <a:pt x="30" y="1706"/>
                  </a:cubicBezTo>
                  <a:close/>
                  <a:moveTo>
                    <a:pt x="33" y="1672"/>
                  </a:moveTo>
                  <a:cubicBezTo>
                    <a:pt x="31" y="1666"/>
                    <a:pt x="30" y="1655"/>
                    <a:pt x="23" y="1644"/>
                  </a:cubicBezTo>
                  <a:cubicBezTo>
                    <a:pt x="19" y="1639"/>
                    <a:pt x="21" y="1653"/>
                    <a:pt x="21" y="1658"/>
                  </a:cubicBezTo>
                  <a:cubicBezTo>
                    <a:pt x="21" y="1658"/>
                    <a:pt x="21" y="1658"/>
                    <a:pt x="21" y="1659"/>
                  </a:cubicBezTo>
                  <a:cubicBezTo>
                    <a:pt x="21" y="1659"/>
                    <a:pt x="22" y="1659"/>
                    <a:pt x="22" y="1659"/>
                  </a:cubicBezTo>
                  <a:cubicBezTo>
                    <a:pt x="22" y="1660"/>
                    <a:pt x="23" y="1660"/>
                    <a:pt x="24" y="1661"/>
                  </a:cubicBezTo>
                  <a:cubicBezTo>
                    <a:pt x="27" y="1664"/>
                    <a:pt x="26" y="1668"/>
                    <a:pt x="20" y="1664"/>
                  </a:cubicBezTo>
                  <a:cubicBezTo>
                    <a:pt x="17" y="1662"/>
                    <a:pt x="19" y="1670"/>
                    <a:pt x="20" y="1671"/>
                  </a:cubicBezTo>
                  <a:cubicBezTo>
                    <a:pt x="20" y="1672"/>
                    <a:pt x="32" y="1680"/>
                    <a:pt x="33" y="1680"/>
                  </a:cubicBezTo>
                  <a:cubicBezTo>
                    <a:pt x="35" y="1680"/>
                    <a:pt x="34" y="1673"/>
                    <a:pt x="33" y="1672"/>
                  </a:cubicBezTo>
                  <a:close/>
                  <a:moveTo>
                    <a:pt x="597" y="1851"/>
                  </a:moveTo>
                  <a:cubicBezTo>
                    <a:pt x="598" y="1851"/>
                    <a:pt x="593" y="1836"/>
                    <a:pt x="593" y="1835"/>
                  </a:cubicBezTo>
                  <a:cubicBezTo>
                    <a:pt x="589" y="1827"/>
                    <a:pt x="581" y="1836"/>
                    <a:pt x="575" y="1832"/>
                  </a:cubicBezTo>
                  <a:cubicBezTo>
                    <a:pt x="572" y="1830"/>
                    <a:pt x="578" y="1820"/>
                    <a:pt x="574" y="1821"/>
                  </a:cubicBezTo>
                  <a:cubicBezTo>
                    <a:pt x="564" y="1824"/>
                    <a:pt x="573" y="1830"/>
                    <a:pt x="566" y="1832"/>
                  </a:cubicBezTo>
                  <a:cubicBezTo>
                    <a:pt x="562" y="1833"/>
                    <a:pt x="561" y="1825"/>
                    <a:pt x="558" y="1824"/>
                  </a:cubicBezTo>
                  <a:cubicBezTo>
                    <a:pt x="550" y="1820"/>
                    <a:pt x="555" y="1836"/>
                    <a:pt x="550" y="1825"/>
                  </a:cubicBezTo>
                  <a:cubicBezTo>
                    <a:pt x="549" y="1822"/>
                    <a:pt x="548" y="1828"/>
                    <a:pt x="539" y="1819"/>
                  </a:cubicBezTo>
                  <a:cubicBezTo>
                    <a:pt x="539" y="1818"/>
                    <a:pt x="536" y="1820"/>
                    <a:pt x="535" y="1818"/>
                  </a:cubicBezTo>
                  <a:cubicBezTo>
                    <a:pt x="534" y="1816"/>
                    <a:pt x="535" y="1813"/>
                    <a:pt x="535" y="1810"/>
                  </a:cubicBezTo>
                  <a:cubicBezTo>
                    <a:pt x="535" y="1806"/>
                    <a:pt x="522" y="1790"/>
                    <a:pt x="522" y="1788"/>
                  </a:cubicBezTo>
                  <a:cubicBezTo>
                    <a:pt x="526" y="1769"/>
                    <a:pt x="531" y="1791"/>
                    <a:pt x="532" y="1781"/>
                  </a:cubicBezTo>
                  <a:cubicBezTo>
                    <a:pt x="535" y="1761"/>
                    <a:pt x="509" y="1731"/>
                    <a:pt x="527" y="1727"/>
                  </a:cubicBezTo>
                  <a:cubicBezTo>
                    <a:pt x="533" y="1725"/>
                    <a:pt x="530" y="1749"/>
                    <a:pt x="534" y="1744"/>
                  </a:cubicBezTo>
                  <a:cubicBezTo>
                    <a:pt x="535" y="1741"/>
                    <a:pt x="540" y="1715"/>
                    <a:pt x="531" y="1720"/>
                  </a:cubicBezTo>
                  <a:cubicBezTo>
                    <a:pt x="484" y="1743"/>
                    <a:pt x="537" y="1752"/>
                    <a:pt x="522" y="1769"/>
                  </a:cubicBezTo>
                  <a:cubicBezTo>
                    <a:pt x="509" y="1785"/>
                    <a:pt x="506" y="1756"/>
                    <a:pt x="498" y="1747"/>
                  </a:cubicBezTo>
                  <a:cubicBezTo>
                    <a:pt x="497" y="1745"/>
                    <a:pt x="491" y="1741"/>
                    <a:pt x="490" y="1745"/>
                  </a:cubicBezTo>
                  <a:cubicBezTo>
                    <a:pt x="489" y="1748"/>
                    <a:pt x="502" y="1757"/>
                    <a:pt x="503" y="1765"/>
                  </a:cubicBezTo>
                  <a:cubicBezTo>
                    <a:pt x="504" y="1784"/>
                    <a:pt x="495" y="1766"/>
                    <a:pt x="491" y="1769"/>
                  </a:cubicBezTo>
                  <a:cubicBezTo>
                    <a:pt x="489" y="1770"/>
                    <a:pt x="494" y="1774"/>
                    <a:pt x="494" y="1775"/>
                  </a:cubicBezTo>
                  <a:cubicBezTo>
                    <a:pt x="498" y="1778"/>
                    <a:pt x="513" y="1789"/>
                    <a:pt x="513" y="1790"/>
                  </a:cubicBezTo>
                  <a:cubicBezTo>
                    <a:pt x="513" y="1794"/>
                    <a:pt x="508" y="1796"/>
                    <a:pt x="510" y="1800"/>
                  </a:cubicBezTo>
                  <a:cubicBezTo>
                    <a:pt x="511" y="1803"/>
                    <a:pt x="517" y="1804"/>
                    <a:pt x="516" y="1806"/>
                  </a:cubicBezTo>
                  <a:cubicBezTo>
                    <a:pt x="510" y="1818"/>
                    <a:pt x="506" y="1807"/>
                    <a:pt x="502" y="1811"/>
                  </a:cubicBezTo>
                  <a:cubicBezTo>
                    <a:pt x="495" y="1819"/>
                    <a:pt x="501" y="1834"/>
                    <a:pt x="497" y="1841"/>
                  </a:cubicBezTo>
                  <a:cubicBezTo>
                    <a:pt x="497" y="1842"/>
                    <a:pt x="495" y="1845"/>
                    <a:pt x="493" y="1844"/>
                  </a:cubicBezTo>
                  <a:cubicBezTo>
                    <a:pt x="491" y="1843"/>
                    <a:pt x="490" y="1846"/>
                    <a:pt x="489" y="1847"/>
                  </a:cubicBezTo>
                  <a:cubicBezTo>
                    <a:pt x="478" y="1853"/>
                    <a:pt x="487" y="1839"/>
                    <a:pt x="472" y="1844"/>
                  </a:cubicBezTo>
                  <a:cubicBezTo>
                    <a:pt x="472" y="1844"/>
                    <a:pt x="471" y="1860"/>
                    <a:pt x="456" y="1856"/>
                  </a:cubicBezTo>
                  <a:cubicBezTo>
                    <a:pt x="455" y="1856"/>
                    <a:pt x="455" y="1856"/>
                    <a:pt x="455" y="1856"/>
                  </a:cubicBezTo>
                  <a:cubicBezTo>
                    <a:pt x="453" y="1854"/>
                    <a:pt x="458" y="1851"/>
                    <a:pt x="455" y="1847"/>
                  </a:cubicBezTo>
                  <a:cubicBezTo>
                    <a:pt x="453" y="1844"/>
                    <a:pt x="450" y="1840"/>
                    <a:pt x="449" y="1841"/>
                  </a:cubicBezTo>
                  <a:cubicBezTo>
                    <a:pt x="446" y="1848"/>
                    <a:pt x="445" y="1838"/>
                    <a:pt x="443" y="1836"/>
                  </a:cubicBezTo>
                  <a:cubicBezTo>
                    <a:pt x="441" y="1834"/>
                    <a:pt x="442" y="1841"/>
                    <a:pt x="440" y="1841"/>
                  </a:cubicBezTo>
                  <a:cubicBezTo>
                    <a:pt x="436" y="1840"/>
                    <a:pt x="438" y="1829"/>
                    <a:pt x="436" y="1831"/>
                  </a:cubicBezTo>
                  <a:cubicBezTo>
                    <a:pt x="434" y="1833"/>
                    <a:pt x="430" y="1831"/>
                    <a:pt x="429" y="1832"/>
                  </a:cubicBezTo>
                  <a:cubicBezTo>
                    <a:pt x="425" y="1837"/>
                    <a:pt x="450" y="1850"/>
                    <a:pt x="445" y="1852"/>
                  </a:cubicBezTo>
                  <a:cubicBezTo>
                    <a:pt x="435" y="1856"/>
                    <a:pt x="419" y="1866"/>
                    <a:pt x="414" y="1868"/>
                  </a:cubicBezTo>
                  <a:cubicBezTo>
                    <a:pt x="413" y="1869"/>
                    <a:pt x="401" y="1866"/>
                    <a:pt x="405" y="1873"/>
                  </a:cubicBezTo>
                  <a:cubicBezTo>
                    <a:pt x="409" y="1879"/>
                    <a:pt x="428" y="1864"/>
                    <a:pt x="414" y="1878"/>
                  </a:cubicBezTo>
                  <a:cubicBezTo>
                    <a:pt x="412" y="1880"/>
                    <a:pt x="417" y="1878"/>
                    <a:pt x="418" y="1879"/>
                  </a:cubicBezTo>
                  <a:cubicBezTo>
                    <a:pt x="421" y="1888"/>
                    <a:pt x="383" y="1887"/>
                    <a:pt x="393" y="1888"/>
                  </a:cubicBezTo>
                  <a:cubicBezTo>
                    <a:pt x="407" y="1890"/>
                    <a:pt x="397" y="1891"/>
                    <a:pt x="389" y="1893"/>
                  </a:cubicBezTo>
                  <a:cubicBezTo>
                    <a:pt x="379" y="1895"/>
                    <a:pt x="401" y="1892"/>
                    <a:pt x="399" y="1896"/>
                  </a:cubicBezTo>
                  <a:cubicBezTo>
                    <a:pt x="395" y="1904"/>
                    <a:pt x="373" y="1905"/>
                    <a:pt x="373" y="1905"/>
                  </a:cubicBezTo>
                  <a:cubicBezTo>
                    <a:pt x="372" y="1906"/>
                    <a:pt x="378" y="1909"/>
                    <a:pt x="375" y="1912"/>
                  </a:cubicBezTo>
                  <a:cubicBezTo>
                    <a:pt x="367" y="1923"/>
                    <a:pt x="339" y="1953"/>
                    <a:pt x="337" y="1954"/>
                  </a:cubicBezTo>
                  <a:cubicBezTo>
                    <a:pt x="336" y="1955"/>
                    <a:pt x="322" y="1955"/>
                    <a:pt x="314" y="1962"/>
                  </a:cubicBezTo>
                  <a:cubicBezTo>
                    <a:pt x="310" y="1964"/>
                    <a:pt x="314" y="1972"/>
                    <a:pt x="310" y="1974"/>
                  </a:cubicBezTo>
                  <a:cubicBezTo>
                    <a:pt x="310" y="1974"/>
                    <a:pt x="287" y="1977"/>
                    <a:pt x="298" y="1969"/>
                  </a:cubicBezTo>
                  <a:cubicBezTo>
                    <a:pt x="299" y="1968"/>
                    <a:pt x="294" y="1957"/>
                    <a:pt x="292" y="1959"/>
                  </a:cubicBezTo>
                  <a:cubicBezTo>
                    <a:pt x="290" y="1961"/>
                    <a:pt x="290" y="1976"/>
                    <a:pt x="286" y="1979"/>
                  </a:cubicBezTo>
                  <a:cubicBezTo>
                    <a:pt x="285" y="1980"/>
                    <a:pt x="262" y="1985"/>
                    <a:pt x="260" y="1984"/>
                  </a:cubicBezTo>
                  <a:cubicBezTo>
                    <a:pt x="259" y="1984"/>
                    <a:pt x="259" y="1984"/>
                    <a:pt x="258" y="1984"/>
                  </a:cubicBezTo>
                  <a:cubicBezTo>
                    <a:pt x="249" y="1987"/>
                    <a:pt x="235" y="1983"/>
                    <a:pt x="227" y="1985"/>
                  </a:cubicBezTo>
                  <a:cubicBezTo>
                    <a:pt x="226" y="1985"/>
                    <a:pt x="225" y="1986"/>
                    <a:pt x="225" y="1984"/>
                  </a:cubicBezTo>
                  <a:cubicBezTo>
                    <a:pt x="225" y="1984"/>
                    <a:pt x="225" y="1982"/>
                    <a:pt x="224" y="1982"/>
                  </a:cubicBezTo>
                  <a:cubicBezTo>
                    <a:pt x="221" y="1983"/>
                    <a:pt x="204" y="1993"/>
                    <a:pt x="202" y="1992"/>
                  </a:cubicBezTo>
                  <a:cubicBezTo>
                    <a:pt x="197" y="1990"/>
                    <a:pt x="217" y="1979"/>
                    <a:pt x="216" y="1976"/>
                  </a:cubicBezTo>
                  <a:cubicBezTo>
                    <a:pt x="215" y="1975"/>
                    <a:pt x="200" y="1986"/>
                    <a:pt x="198" y="1985"/>
                  </a:cubicBezTo>
                  <a:cubicBezTo>
                    <a:pt x="198" y="1985"/>
                    <a:pt x="204" y="1973"/>
                    <a:pt x="199" y="1979"/>
                  </a:cubicBezTo>
                  <a:cubicBezTo>
                    <a:pt x="195" y="1983"/>
                    <a:pt x="195" y="1986"/>
                    <a:pt x="195" y="1979"/>
                  </a:cubicBezTo>
                  <a:cubicBezTo>
                    <a:pt x="195" y="1974"/>
                    <a:pt x="185" y="1983"/>
                    <a:pt x="185" y="1977"/>
                  </a:cubicBezTo>
                  <a:cubicBezTo>
                    <a:pt x="185" y="1972"/>
                    <a:pt x="203" y="1974"/>
                    <a:pt x="201" y="1971"/>
                  </a:cubicBezTo>
                  <a:cubicBezTo>
                    <a:pt x="200" y="1967"/>
                    <a:pt x="193" y="1972"/>
                    <a:pt x="189" y="1970"/>
                  </a:cubicBezTo>
                  <a:cubicBezTo>
                    <a:pt x="185" y="1967"/>
                    <a:pt x="180" y="1962"/>
                    <a:pt x="185" y="1971"/>
                  </a:cubicBezTo>
                  <a:cubicBezTo>
                    <a:pt x="187" y="1973"/>
                    <a:pt x="184" y="1974"/>
                    <a:pt x="180" y="1972"/>
                  </a:cubicBezTo>
                  <a:cubicBezTo>
                    <a:pt x="179" y="1972"/>
                    <a:pt x="177" y="1960"/>
                    <a:pt x="177" y="1967"/>
                  </a:cubicBezTo>
                  <a:cubicBezTo>
                    <a:pt x="176" y="1972"/>
                    <a:pt x="186" y="1995"/>
                    <a:pt x="166" y="1980"/>
                  </a:cubicBezTo>
                  <a:cubicBezTo>
                    <a:pt x="155" y="1971"/>
                    <a:pt x="174" y="1961"/>
                    <a:pt x="184" y="1955"/>
                  </a:cubicBezTo>
                  <a:cubicBezTo>
                    <a:pt x="186" y="1954"/>
                    <a:pt x="189" y="1953"/>
                    <a:pt x="189" y="1952"/>
                  </a:cubicBezTo>
                  <a:cubicBezTo>
                    <a:pt x="188" y="1949"/>
                    <a:pt x="176" y="1958"/>
                    <a:pt x="174" y="1957"/>
                  </a:cubicBezTo>
                  <a:cubicBezTo>
                    <a:pt x="170" y="1955"/>
                    <a:pt x="176" y="1951"/>
                    <a:pt x="176" y="1947"/>
                  </a:cubicBezTo>
                  <a:cubicBezTo>
                    <a:pt x="177" y="1944"/>
                    <a:pt x="173" y="1945"/>
                    <a:pt x="172" y="1945"/>
                  </a:cubicBezTo>
                  <a:cubicBezTo>
                    <a:pt x="165" y="1946"/>
                    <a:pt x="170" y="1952"/>
                    <a:pt x="169" y="1956"/>
                  </a:cubicBezTo>
                  <a:cubicBezTo>
                    <a:pt x="167" y="1962"/>
                    <a:pt x="136" y="1945"/>
                    <a:pt x="132" y="1944"/>
                  </a:cubicBezTo>
                  <a:cubicBezTo>
                    <a:pt x="113" y="1938"/>
                    <a:pt x="118" y="1930"/>
                    <a:pt x="109" y="1924"/>
                  </a:cubicBezTo>
                  <a:cubicBezTo>
                    <a:pt x="106" y="1921"/>
                    <a:pt x="96" y="1923"/>
                    <a:pt x="92" y="1922"/>
                  </a:cubicBezTo>
                  <a:cubicBezTo>
                    <a:pt x="84" y="1919"/>
                    <a:pt x="64" y="1893"/>
                    <a:pt x="65" y="1884"/>
                  </a:cubicBezTo>
                  <a:cubicBezTo>
                    <a:pt x="65" y="1873"/>
                    <a:pt x="74" y="1869"/>
                    <a:pt x="71" y="1857"/>
                  </a:cubicBezTo>
                  <a:cubicBezTo>
                    <a:pt x="70" y="1853"/>
                    <a:pt x="79" y="1867"/>
                    <a:pt x="80" y="1860"/>
                  </a:cubicBezTo>
                  <a:cubicBezTo>
                    <a:pt x="80" y="1857"/>
                    <a:pt x="66" y="1846"/>
                    <a:pt x="73" y="1844"/>
                  </a:cubicBezTo>
                  <a:cubicBezTo>
                    <a:pt x="83" y="1842"/>
                    <a:pt x="86" y="1857"/>
                    <a:pt x="87" y="1862"/>
                  </a:cubicBezTo>
                  <a:cubicBezTo>
                    <a:pt x="87" y="1863"/>
                    <a:pt x="86" y="1868"/>
                    <a:pt x="88" y="1868"/>
                  </a:cubicBezTo>
                  <a:cubicBezTo>
                    <a:pt x="91" y="1867"/>
                    <a:pt x="95" y="1854"/>
                    <a:pt x="100" y="1854"/>
                  </a:cubicBezTo>
                  <a:cubicBezTo>
                    <a:pt x="110" y="1855"/>
                    <a:pt x="118" y="1879"/>
                    <a:pt x="133" y="1872"/>
                  </a:cubicBezTo>
                  <a:cubicBezTo>
                    <a:pt x="135" y="1872"/>
                    <a:pt x="128" y="1871"/>
                    <a:pt x="127" y="1871"/>
                  </a:cubicBezTo>
                  <a:cubicBezTo>
                    <a:pt x="117" y="1868"/>
                    <a:pt x="121" y="1856"/>
                    <a:pt x="124" y="1854"/>
                  </a:cubicBezTo>
                  <a:cubicBezTo>
                    <a:pt x="132" y="1850"/>
                    <a:pt x="165" y="1848"/>
                    <a:pt x="169" y="1841"/>
                  </a:cubicBezTo>
                  <a:cubicBezTo>
                    <a:pt x="170" y="1840"/>
                    <a:pt x="155" y="1843"/>
                    <a:pt x="154" y="1843"/>
                  </a:cubicBezTo>
                  <a:cubicBezTo>
                    <a:pt x="146" y="1844"/>
                    <a:pt x="124" y="1848"/>
                    <a:pt x="119" y="1855"/>
                  </a:cubicBezTo>
                  <a:cubicBezTo>
                    <a:pt x="118" y="1857"/>
                    <a:pt x="117" y="1865"/>
                    <a:pt x="115" y="1862"/>
                  </a:cubicBezTo>
                  <a:cubicBezTo>
                    <a:pt x="113" y="1859"/>
                    <a:pt x="108" y="1851"/>
                    <a:pt x="114" y="1850"/>
                  </a:cubicBezTo>
                  <a:cubicBezTo>
                    <a:pt x="115" y="1850"/>
                    <a:pt x="119" y="1851"/>
                    <a:pt x="117" y="1849"/>
                  </a:cubicBezTo>
                  <a:cubicBezTo>
                    <a:pt x="113" y="1845"/>
                    <a:pt x="101" y="1848"/>
                    <a:pt x="101" y="1839"/>
                  </a:cubicBezTo>
                  <a:cubicBezTo>
                    <a:pt x="101" y="1832"/>
                    <a:pt x="125" y="1829"/>
                    <a:pt x="125" y="1828"/>
                  </a:cubicBezTo>
                  <a:cubicBezTo>
                    <a:pt x="124" y="1826"/>
                    <a:pt x="110" y="1831"/>
                    <a:pt x="114" y="1825"/>
                  </a:cubicBezTo>
                  <a:cubicBezTo>
                    <a:pt x="121" y="1816"/>
                    <a:pt x="134" y="1812"/>
                    <a:pt x="143" y="1806"/>
                  </a:cubicBezTo>
                  <a:cubicBezTo>
                    <a:pt x="146" y="1803"/>
                    <a:pt x="158" y="1806"/>
                    <a:pt x="155" y="1803"/>
                  </a:cubicBezTo>
                  <a:cubicBezTo>
                    <a:pt x="147" y="1795"/>
                    <a:pt x="131" y="1813"/>
                    <a:pt x="124" y="1812"/>
                  </a:cubicBezTo>
                  <a:cubicBezTo>
                    <a:pt x="116" y="1811"/>
                    <a:pt x="135" y="1805"/>
                    <a:pt x="131" y="1800"/>
                  </a:cubicBezTo>
                  <a:cubicBezTo>
                    <a:pt x="131" y="1799"/>
                    <a:pt x="131" y="1799"/>
                    <a:pt x="130" y="1798"/>
                  </a:cubicBezTo>
                  <a:cubicBezTo>
                    <a:pt x="130" y="1797"/>
                    <a:pt x="130" y="1797"/>
                    <a:pt x="130" y="1797"/>
                  </a:cubicBezTo>
                  <a:cubicBezTo>
                    <a:pt x="130" y="1797"/>
                    <a:pt x="130" y="1797"/>
                    <a:pt x="130" y="1798"/>
                  </a:cubicBezTo>
                  <a:cubicBezTo>
                    <a:pt x="130" y="1798"/>
                    <a:pt x="130" y="1798"/>
                    <a:pt x="130" y="1798"/>
                  </a:cubicBezTo>
                  <a:cubicBezTo>
                    <a:pt x="130" y="1800"/>
                    <a:pt x="130" y="1803"/>
                    <a:pt x="128" y="1803"/>
                  </a:cubicBezTo>
                  <a:cubicBezTo>
                    <a:pt x="125" y="1803"/>
                    <a:pt x="119" y="1796"/>
                    <a:pt x="118" y="1800"/>
                  </a:cubicBezTo>
                  <a:cubicBezTo>
                    <a:pt x="118" y="1802"/>
                    <a:pt x="114" y="1805"/>
                    <a:pt x="113" y="1802"/>
                  </a:cubicBezTo>
                  <a:cubicBezTo>
                    <a:pt x="111" y="1797"/>
                    <a:pt x="138" y="1777"/>
                    <a:pt x="141" y="1776"/>
                  </a:cubicBezTo>
                  <a:cubicBezTo>
                    <a:pt x="145" y="1774"/>
                    <a:pt x="151" y="1770"/>
                    <a:pt x="155" y="1770"/>
                  </a:cubicBezTo>
                  <a:cubicBezTo>
                    <a:pt x="156" y="1770"/>
                    <a:pt x="162" y="1769"/>
                    <a:pt x="162" y="1769"/>
                  </a:cubicBezTo>
                  <a:cubicBezTo>
                    <a:pt x="153" y="1762"/>
                    <a:pt x="144" y="1775"/>
                    <a:pt x="137" y="1774"/>
                  </a:cubicBezTo>
                  <a:cubicBezTo>
                    <a:pt x="130" y="1772"/>
                    <a:pt x="147" y="1757"/>
                    <a:pt x="141" y="1756"/>
                  </a:cubicBezTo>
                  <a:cubicBezTo>
                    <a:pt x="137" y="1755"/>
                    <a:pt x="132" y="1773"/>
                    <a:pt x="131" y="1776"/>
                  </a:cubicBezTo>
                  <a:cubicBezTo>
                    <a:pt x="127" y="1783"/>
                    <a:pt x="119" y="1794"/>
                    <a:pt x="114" y="1792"/>
                  </a:cubicBezTo>
                  <a:cubicBezTo>
                    <a:pt x="113" y="1792"/>
                    <a:pt x="114" y="1786"/>
                    <a:pt x="112" y="1788"/>
                  </a:cubicBezTo>
                  <a:cubicBezTo>
                    <a:pt x="110" y="1790"/>
                    <a:pt x="114" y="1800"/>
                    <a:pt x="107" y="1799"/>
                  </a:cubicBezTo>
                  <a:cubicBezTo>
                    <a:pt x="100" y="1798"/>
                    <a:pt x="102" y="1787"/>
                    <a:pt x="109" y="1786"/>
                  </a:cubicBezTo>
                  <a:cubicBezTo>
                    <a:pt x="113" y="1785"/>
                    <a:pt x="116" y="1784"/>
                    <a:pt x="120" y="1782"/>
                  </a:cubicBezTo>
                  <a:cubicBezTo>
                    <a:pt x="121" y="1782"/>
                    <a:pt x="124" y="1781"/>
                    <a:pt x="123" y="1780"/>
                  </a:cubicBezTo>
                  <a:cubicBezTo>
                    <a:pt x="121" y="1778"/>
                    <a:pt x="109" y="1781"/>
                    <a:pt x="106" y="1781"/>
                  </a:cubicBezTo>
                  <a:cubicBezTo>
                    <a:pt x="103" y="1781"/>
                    <a:pt x="96" y="1773"/>
                    <a:pt x="96" y="1773"/>
                  </a:cubicBezTo>
                  <a:cubicBezTo>
                    <a:pt x="90" y="1776"/>
                    <a:pt x="99" y="1779"/>
                    <a:pt x="96" y="1783"/>
                  </a:cubicBezTo>
                  <a:cubicBezTo>
                    <a:pt x="92" y="1786"/>
                    <a:pt x="82" y="1783"/>
                    <a:pt x="82" y="1791"/>
                  </a:cubicBezTo>
                  <a:cubicBezTo>
                    <a:pt x="82" y="1793"/>
                    <a:pt x="85" y="1790"/>
                    <a:pt x="85" y="1790"/>
                  </a:cubicBezTo>
                  <a:cubicBezTo>
                    <a:pt x="91" y="1786"/>
                    <a:pt x="104" y="1792"/>
                    <a:pt x="99" y="1800"/>
                  </a:cubicBezTo>
                  <a:cubicBezTo>
                    <a:pt x="98" y="1803"/>
                    <a:pt x="89" y="1801"/>
                    <a:pt x="87" y="1801"/>
                  </a:cubicBezTo>
                  <a:cubicBezTo>
                    <a:pt x="87" y="1801"/>
                    <a:pt x="82" y="1810"/>
                    <a:pt x="78" y="1808"/>
                  </a:cubicBezTo>
                  <a:cubicBezTo>
                    <a:pt x="76" y="1806"/>
                    <a:pt x="84" y="1783"/>
                    <a:pt x="74" y="1790"/>
                  </a:cubicBezTo>
                  <a:cubicBezTo>
                    <a:pt x="68" y="1794"/>
                    <a:pt x="77" y="1807"/>
                    <a:pt x="71" y="1809"/>
                  </a:cubicBezTo>
                  <a:cubicBezTo>
                    <a:pt x="57" y="1815"/>
                    <a:pt x="66" y="1791"/>
                    <a:pt x="62" y="1791"/>
                  </a:cubicBezTo>
                  <a:cubicBezTo>
                    <a:pt x="58" y="1790"/>
                    <a:pt x="62" y="1807"/>
                    <a:pt x="59" y="1808"/>
                  </a:cubicBezTo>
                  <a:cubicBezTo>
                    <a:pt x="57" y="1808"/>
                    <a:pt x="56" y="1799"/>
                    <a:pt x="56" y="1798"/>
                  </a:cubicBezTo>
                  <a:cubicBezTo>
                    <a:pt x="57" y="1790"/>
                    <a:pt x="53" y="1788"/>
                    <a:pt x="53" y="1796"/>
                  </a:cubicBezTo>
                  <a:cubicBezTo>
                    <a:pt x="53" y="1797"/>
                    <a:pt x="54" y="1801"/>
                    <a:pt x="52" y="1801"/>
                  </a:cubicBezTo>
                  <a:cubicBezTo>
                    <a:pt x="47" y="1801"/>
                    <a:pt x="40" y="1780"/>
                    <a:pt x="40" y="1776"/>
                  </a:cubicBezTo>
                  <a:cubicBezTo>
                    <a:pt x="40" y="1773"/>
                    <a:pt x="44" y="1776"/>
                    <a:pt x="46" y="1774"/>
                  </a:cubicBezTo>
                  <a:cubicBezTo>
                    <a:pt x="52" y="1767"/>
                    <a:pt x="49" y="1752"/>
                    <a:pt x="58" y="1756"/>
                  </a:cubicBezTo>
                  <a:cubicBezTo>
                    <a:pt x="60" y="1757"/>
                    <a:pt x="59" y="1764"/>
                    <a:pt x="60" y="1765"/>
                  </a:cubicBezTo>
                  <a:cubicBezTo>
                    <a:pt x="67" y="1766"/>
                    <a:pt x="61" y="1751"/>
                    <a:pt x="65" y="1746"/>
                  </a:cubicBezTo>
                  <a:cubicBezTo>
                    <a:pt x="66" y="1746"/>
                    <a:pt x="67" y="1744"/>
                    <a:pt x="68" y="1745"/>
                  </a:cubicBezTo>
                  <a:cubicBezTo>
                    <a:pt x="69" y="1746"/>
                    <a:pt x="68" y="1765"/>
                    <a:pt x="67" y="1768"/>
                  </a:cubicBezTo>
                  <a:cubicBezTo>
                    <a:pt x="66" y="1769"/>
                    <a:pt x="56" y="1774"/>
                    <a:pt x="61" y="1777"/>
                  </a:cubicBezTo>
                  <a:cubicBezTo>
                    <a:pt x="71" y="1784"/>
                    <a:pt x="71" y="1753"/>
                    <a:pt x="75" y="1752"/>
                  </a:cubicBezTo>
                  <a:cubicBezTo>
                    <a:pt x="83" y="1751"/>
                    <a:pt x="89" y="1763"/>
                    <a:pt x="89" y="1763"/>
                  </a:cubicBezTo>
                  <a:cubicBezTo>
                    <a:pt x="94" y="1764"/>
                    <a:pt x="91" y="1756"/>
                    <a:pt x="98" y="1756"/>
                  </a:cubicBezTo>
                  <a:cubicBezTo>
                    <a:pt x="112" y="1755"/>
                    <a:pt x="90" y="1753"/>
                    <a:pt x="90" y="1752"/>
                  </a:cubicBezTo>
                  <a:cubicBezTo>
                    <a:pt x="92" y="1740"/>
                    <a:pt x="114" y="1744"/>
                    <a:pt x="125" y="1738"/>
                  </a:cubicBezTo>
                  <a:cubicBezTo>
                    <a:pt x="137" y="1731"/>
                    <a:pt x="142" y="1728"/>
                    <a:pt x="141" y="1727"/>
                  </a:cubicBezTo>
                  <a:cubicBezTo>
                    <a:pt x="135" y="1723"/>
                    <a:pt x="118" y="1739"/>
                    <a:pt x="112" y="1739"/>
                  </a:cubicBezTo>
                  <a:cubicBezTo>
                    <a:pt x="103" y="1740"/>
                    <a:pt x="112" y="1730"/>
                    <a:pt x="110" y="1727"/>
                  </a:cubicBezTo>
                  <a:cubicBezTo>
                    <a:pt x="108" y="1721"/>
                    <a:pt x="105" y="1739"/>
                    <a:pt x="99" y="1739"/>
                  </a:cubicBezTo>
                  <a:cubicBezTo>
                    <a:pt x="91" y="1740"/>
                    <a:pt x="89" y="1726"/>
                    <a:pt x="87" y="1728"/>
                  </a:cubicBezTo>
                  <a:cubicBezTo>
                    <a:pt x="86" y="1729"/>
                    <a:pt x="83" y="1731"/>
                    <a:pt x="82" y="1729"/>
                  </a:cubicBezTo>
                  <a:cubicBezTo>
                    <a:pt x="81" y="1727"/>
                    <a:pt x="89" y="1725"/>
                    <a:pt x="90" y="1725"/>
                  </a:cubicBezTo>
                  <a:cubicBezTo>
                    <a:pt x="92" y="1723"/>
                    <a:pt x="88" y="1719"/>
                    <a:pt x="93" y="1717"/>
                  </a:cubicBezTo>
                  <a:cubicBezTo>
                    <a:pt x="97" y="1715"/>
                    <a:pt x="107" y="1715"/>
                    <a:pt x="110" y="1712"/>
                  </a:cubicBezTo>
                  <a:cubicBezTo>
                    <a:pt x="117" y="1706"/>
                    <a:pt x="108" y="1698"/>
                    <a:pt x="131" y="1691"/>
                  </a:cubicBezTo>
                  <a:cubicBezTo>
                    <a:pt x="133" y="1690"/>
                    <a:pt x="138" y="1690"/>
                    <a:pt x="139" y="1689"/>
                  </a:cubicBezTo>
                  <a:cubicBezTo>
                    <a:pt x="142" y="1683"/>
                    <a:pt x="120" y="1697"/>
                    <a:pt x="120" y="1680"/>
                  </a:cubicBezTo>
                  <a:cubicBezTo>
                    <a:pt x="119" y="1676"/>
                    <a:pt x="155" y="1643"/>
                    <a:pt x="164" y="1645"/>
                  </a:cubicBezTo>
                  <a:cubicBezTo>
                    <a:pt x="172" y="1646"/>
                    <a:pt x="160" y="1672"/>
                    <a:pt x="159" y="1681"/>
                  </a:cubicBezTo>
                  <a:cubicBezTo>
                    <a:pt x="159" y="1682"/>
                    <a:pt x="158" y="1696"/>
                    <a:pt x="160" y="1695"/>
                  </a:cubicBezTo>
                  <a:cubicBezTo>
                    <a:pt x="167" y="1691"/>
                    <a:pt x="163" y="1657"/>
                    <a:pt x="174" y="1651"/>
                  </a:cubicBezTo>
                  <a:cubicBezTo>
                    <a:pt x="183" y="1645"/>
                    <a:pt x="183" y="1638"/>
                    <a:pt x="196" y="1636"/>
                  </a:cubicBezTo>
                  <a:cubicBezTo>
                    <a:pt x="199" y="1636"/>
                    <a:pt x="211" y="1641"/>
                    <a:pt x="212" y="1635"/>
                  </a:cubicBezTo>
                  <a:cubicBezTo>
                    <a:pt x="212" y="1634"/>
                    <a:pt x="194" y="1635"/>
                    <a:pt x="193" y="1634"/>
                  </a:cubicBezTo>
                  <a:cubicBezTo>
                    <a:pt x="193" y="1634"/>
                    <a:pt x="205" y="1622"/>
                    <a:pt x="204" y="1621"/>
                  </a:cubicBezTo>
                  <a:cubicBezTo>
                    <a:pt x="200" y="1619"/>
                    <a:pt x="177" y="1645"/>
                    <a:pt x="169" y="1645"/>
                  </a:cubicBezTo>
                  <a:cubicBezTo>
                    <a:pt x="158" y="1643"/>
                    <a:pt x="177" y="1632"/>
                    <a:pt x="174" y="1632"/>
                  </a:cubicBezTo>
                  <a:cubicBezTo>
                    <a:pt x="169" y="1630"/>
                    <a:pt x="148" y="1649"/>
                    <a:pt x="141" y="1650"/>
                  </a:cubicBezTo>
                  <a:cubicBezTo>
                    <a:pt x="136" y="1650"/>
                    <a:pt x="132" y="1638"/>
                    <a:pt x="129" y="1639"/>
                  </a:cubicBezTo>
                  <a:cubicBezTo>
                    <a:pt x="125" y="1640"/>
                    <a:pt x="135" y="1651"/>
                    <a:pt x="133" y="1652"/>
                  </a:cubicBezTo>
                  <a:cubicBezTo>
                    <a:pt x="133" y="1652"/>
                    <a:pt x="123" y="1652"/>
                    <a:pt x="124" y="1654"/>
                  </a:cubicBezTo>
                  <a:cubicBezTo>
                    <a:pt x="125" y="1655"/>
                    <a:pt x="130" y="1654"/>
                    <a:pt x="130" y="1656"/>
                  </a:cubicBezTo>
                  <a:cubicBezTo>
                    <a:pt x="130" y="1657"/>
                    <a:pt x="127" y="1664"/>
                    <a:pt x="127" y="1666"/>
                  </a:cubicBezTo>
                  <a:cubicBezTo>
                    <a:pt x="128" y="1667"/>
                    <a:pt x="124" y="1670"/>
                    <a:pt x="124" y="1671"/>
                  </a:cubicBezTo>
                  <a:cubicBezTo>
                    <a:pt x="122" y="1672"/>
                    <a:pt x="116" y="1667"/>
                    <a:pt x="113" y="1668"/>
                  </a:cubicBezTo>
                  <a:cubicBezTo>
                    <a:pt x="107" y="1670"/>
                    <a:pt x="104" y="1677"/>
                    <a:pt x="100" y="1683"/>
                  </a:cubicBezTo>
                  <a:cubicBezTo>
                    <a:pt x="98" y="1687"/>
                    <a:pt x="104" y="1695"/>
                    <a:pt x="102" y="1700"/>
                  </a:cubicBezTo>
                  <a:cubicBezTo>
                    <a:pt x="99" y="1708"/>
                    <a:pt x="92" y="1703"/>
                    <a:pt x="92" y="1705"/>
                  </a:cubicBezTo>
                  <a:cubicBezTo>
                    <a:pt x="92" y="1710"/>
                    <a:pt x="90" y="1707"/>
                    <a:pt x="87" y="1706"/>
                  </a:cubicBezTo>
                  <a:cubicBezTo>
                    <a:pt x="85" y="1704"/>
                    <a:pt x="83" y="1695"/>
                    <a:pt x="88" y="1697"/>
                  </a:cubicBezTo>
                  <a:cubicBezTo>
                    <a:pt x="90" y="1698"/>
                    <a:pt x="92" y="1698"/>
                    <a:pt x="94" y="1696"/>
                  </a:cubicBezTo>
                  <a:cubicBezTo>
                    <a:pt x="99" y="1691"/>
                    <a:pt x="89" y="1695"/>
                    <a:pt x="89" y="1695"/>
                  </a:cubicBezTo>
                  <a:cubicBezTo>
                    <a:pt x="84" y="1692"/>
                    <a:pt x="90" y="1689"/>
                    <a:pt x="87" y="1684"/>
                  </a:cubicBezTo>
                  <a:cubicBezTo>
                    <a:pt x="85" y="1681"/>
                    <a:pt x="95" y="1676"/>
                    <a:pt x="94" y="1676"/>
                  </a:cubicBezTo>
                  <a:cubicBezTo>
                    <a:pt x="87" y="1671"/>
                    <a:pt x="82" y="1689"/>
                    <a:pt x="74" y="1685"/>
                  </a:cubicBezTo>
                  <a:cubicBezTo>
                    <a:pt x="71" y="1684"/>
                    <a:pt x="78" y="1675"/>
                    <a:pt x="82" y="1674"/>
                  </a:cubicBezTo>
                  <a:cubicBezTo>
                    <a:pt x="83" y="1674"/>
                    <a:pt x="88" y="1673"/>
                    <a:pt x="87" y="1672"/>
                  </a:cubicBezTo>
                  <a:cubicBezTo>
                    <a:pt x="85" y="1670"/>
                    <a:pt x="76" y="1675"/>
                    <a:pt x="79" y="1671"/>
                  </a:cubicBezTo>
                  <a:cubicBezTo>
                    <a:pt x="79" y="1671"/>
                    <a:pt x="82" y="1668"/>
                    <a:pt x="79" y="1668"/>
                  </a:cubicBezTo>
                  <a:cubicBezTo>
                    <a:pt x="78" y="1669"/>
                    <a:pt x="75" y="1673"/>
                    <a:pt x="75" y="1672"/>
                  </a:cubicBezTo>
                  <a:cubicBezTo>
                    <a:pt x="73" y="1668"/>
                    <a:pt x="91" y="1653"/>
                    <a:pt x="90" y="1650"/>
                  </a:cubicBezTo>
                  <a:cubicBezTo>
                    <a:pt x="88" y="1649"/>
                    <a:pt x="80" y="1656"/>
                    <a:pt x="76" y="1663"/>
                  </a:cubicBezTo>
                  <a:cubicBezTo>
                    <a:pt x="65" y="1682"/>
                    <a:pt x="64" y="1687"/>
                    <a:pt x="61" y="1687"/>
                  </a:cubicBezTo>
                  <a:cubicBezTo>
                    <a:pt x="54" y="1688"/>
                    <a:pt x="56" y="1676"/>
                    <a:pt x="55" y="1675"/>
                  </a:cubicBezTo>
                  <a:cubicBezTo>
                    <a:pt x="53" y="1674"/>
                    <a:pt x="38" y="1679"/>
                    <a:pt x="47" y="1673"/>
                  </a:cubicBezTo>
                  <a:cubicBezTo>
                    <a:pt x="47" y="1673"/>
                    <a:pt x="53" y="1669"/>
                    <a:pt x="52" y="1668"/>
                  </a:cubicBezTo>
                  <a:cubicBezTo>
                    <a:pt x="52" y="1668"/>
                    <a:pt x="29" y="1660"/>
                    <a:pt x="42" y="1660"/>
                  </a:cubicBezTo>
                  <a:cubicBezTo>
                    <a:pt x="43" y="1661"/>
                    <a:pt x="38" y="1659"/>
                    <a:pt x="37" y="1657"/>
                  </a:cubicBezTo>
                  <a:cubicBezTo>
                    <a:pt x="35" y="1652"/>
                    <a:pt x="50" y="1655"/>
                    <a:pt x="51" y="1650"/>
                  </a:cubicBezTo>
                  <a:cubicBezTo>
                    <a:pt x="51" y="1647"/>
                    <a:pt x="49" y="1643"/>
                    <a:pt x="46" y="1640"/>
                  </a:cubicBezTo>
                  <a:cubicBezTo>
                    <a:pt x="43" y="1638"/>
                    <a:pt x="46" y="1629"/>
                    <a:pt x="50" y="1631"/>
                  </a:cubicBezTo>
                  <a:cubicBezTo>
                    <a:pt x="61" y="1637"/>
                    <a:pt x="64" y="1651"/>
                    <a:pt x="81" y="1646"/>
                  </a:cubicBezTo>
                  <a:cubicBezTo>
                    <a:pt x="84" y="1645"/>
                    <a:pt x="87" y="1642"/>
                    <a:pt x="88" y="1638"/>
                  </a:cubicBezTo>
                  <a:cubicBezTo>
                    <a:pt x="89" y="1629"/>
                    <a:pt x="87" y="1615"/>
                    <a:pt x="88" y="1609"/>
                  </a:cubicBezTo>
                  <a:cubicBezTo>
                    <a:pt x="89" y="1607"/>
                    <a:pt x="92" y="1603"/>
                    <a:pt x="91" y="1603"/>
                  </a:cubicBezTo>
                  <a:cubicBezTo>
                    <a:pt x="81" y="1606"/>
                    <a:pt x="86" y="1593"/>
                    <a:pt x="71" y="1606"/>
                  </a:cubicBezTo>
                  <a:cubicBezTo>
                    <a:pt x="68" y="1609"/>
                    <a:pt x="74" y="1614"/>
                    <a:pt x="70" y="1617"/>
                  </a:cubicBezTo>
                  <a:cubicBezTo>
                    <a:pt x="62" y="1622"/>
                    <a:pt x="28" y="1630"/>
                    <a:pt x="32" y="1611"/>
                  </a:cubicBezTo>
                  <a:cubicBezTo>
                    <a:pt x="32" y="1611"/>
                    <a:pt x="34" y="1611"/>
                    <a:pt x="34" y="1611"/>
                  </a:cubicBezTo>
                  <a:cubicBezTo>
                    <a:pt x="38" y="1611"/>
                    <a:pt x="41" y="1619"/>
                    <a:pt x="44" y="1618"/>
                  </a:cubicBezTo>
                  <a:cubicBezTo>
                    <a:pt x="44" y="1617"/>
                    <a:pt x="37" y="1607"/>
                    <a:pt x="34" y="1606"/>
                  </a:cubicBezTo>
                  <a:cubicBezTo>
                    <a:pt x="27" y="1602"/>
                    <a:pt x="40" y="1607"/>
                    <a:pt x="36" y="1603"/>
                  </a:cubicBezTo>
                  <a:cubicBezTo>
                    <a:pt x="31" y="1598"/>
                    <a:pt x="22" y="1598"/>
                    <a:pt x="18" y="1591"/>
                  </a:cubicBezTo>
                  <a:cubicBezTo>
                    <a:pt x="15" y="1587"/>
                    <a:pt x="26" y="1595"/>
                    <a:pt x="31" y="1595"/>
                  </a:cubicBezTo>
                  <a:cubicBezTo>
                    <a:pt x="43" y="1595"/>
                    <a:pt x="53" y="1615"/>
                    <a:pt x="57" y="1615"/>
                  </a:cubicBezTo>
                  <a:cubicBezTo>
                    <a:pt x="57" y="1615"/>
                    <a:pt x="63" y="1617"/>
                    <a:pt x="57" y="1610"/>
                  </a:cubicBezTo>
                  <a:cubicBezTo>
                    <a:pt x="56" y="1608"/>
                    <a:pt x="58" y="1607"/>
                    <a:pt x="60" y="1608"/>
                  </a:cubicBezTo>
                  <a:cubicBezTo>
                    <a:pt x="68" y="1615"/>
                    <a:pt x="58" y="1601"/>
                    <a:pt x="56" y="1599"/>
                  </a:cubicBezTo>
                  <a:cubicBezTo>
                    <a:pt x="54" y="1598"/>
                    <a:pt x="45" y="1600"/>
                    <a:pt x="45" y="1595"/>
                  </a:cubicBezTo>
                  <a:cubicBezTo>
                    <a:pt x="45" y="1593"/>
                    <a:pt x="59" y="1582"/>
                    <a:pt x="61" y="1582"/>
                  </a:cubicBezTo>
                  <a:cubicBezTo>
                    <a:pt x="62" y="1582"/>
                    <a:pt x="72" y="1581"/>
                    <a:pt x="72" y="1580"/>
                  </a:cubicBezTo>
                  <a:cubicBezTo>
                    <a:pt x="58" y="1574"/>
                    <a:pt x="39" y="1596"/>
                    <a:pt x="28" y="1585"/>
                  </a:cubicBezTo>
                  <a:cubicBezTo>
                    <a:pt x="28" y="1585"/>
                    <a:pt x="27" y="1584"/>
                    <a:pt x="27" y="1583"/>
                  </a:cubicBezTo>
                  <a:cubicBezTo>
                    <a:pt x="23" y="1567"/>
                    <a:pt x="25" y="1563"/>
                    <a:pt x="31" y="1579"/>
                  </a:cubicBezTo>
                  <a:cubicBezTo>
                    <a:pt x="32" y="1580"/>
                    <a:pt x="37" y="1562"/>
                    <a:pt x="35" y="1565"/>
                  </a:cubicBezTo>
                  <a:cubicBezTo>
                    <a:pt x="33" y="1568"/>
                    <a:pt x="24" y="1566"/>
                    <a:pt x="24" y="1563"/>
                  </a:cubicBezTo>
                  <a:cubicBezTo>
                    <a:pt x="23" y="1536"/>
                    <a:pt x="61" y="1566"/>
                    <a:pt x="65" y="1562"/>
                  </a:cubicBezTo>
                  <a:cubicBezTo>
                    <a:pt x="67" y="1561"/>
                    <a:pt x="63" y="1556"/>
                    <a:pt x="66" y="1554"/>
                  </a:cubicBezTo>
                  <a:cubicBezTo>
                    <a:pt x="70" y="1552"/>
                    <a:pt x="81" y="1552"/>
                    <a:pt x="80" y="1552"/>
                  </a:cubicBezTo>
                  <a:cubicBezTo>
                    <a:pt x="77" y="1551"/>
                    <a:pt x="77" y="1549"/>
                    <a:pt x="81" y="1549"/>
                  </a:cubicBezTo>
                  <a:cubicBezTo>
                    <a:pt x="84" y="1549"/>
                    <a:pt x="96" y="1543"/>
                    <a:pt x="94" y="1549"/>
                  </a:cubicBezTo>
                  <a:cubicBezTo>
                    <a:pt x="94" y="1549"/>
                    <a:pt x="92" y="1553"/>
                    <a:pt x="94" y="1553"/>
                  </a:cubicBezTo>
                  <a:cubicBezTo>
                    <a:pt x="95" y="1552"/>
                    <a:pt x="128" y="1535"/>
                    <a:pt x="137" y="1550"/>
                  </a:cubicBezTo>
                  <a:cubicBezTo>
                    <a:pt x="138" y="1551"/>
                    <a:pt x="133" y="1555"/>
                    <a:pt x="135" y="1556"/>
                  </a:cubicBezTo>
                  <a:cubicBezTo>
                    <a:pt x="139" y="1557"/>
                    <a:pt x="139" y="1552"/>
                    <a:pt x="142" y="1552"/>
                  </a:cubicBezTo>
                  <a:cubicBezTo>
                    <a:pt x="150" y="1551"/>
                    <a:pt x="142" y="1563"/>
                    <a:pt x="146" y="1561"/>
                  </a:cubicBezTo>
                  <a:cubicBezTo>
                    <a:pt x="161" y="1553"/>
                    <a:pt x="163" y="1530"/>
                    <a:pt x="188" y="1542"/>
                  </a:cubicBezTo>
                  <a:cubicBezTo>
                    <a:pt x="190" y="1543"/>
                    <a:pt x="204" y="1555"/>
                    <a:pt x="203" y="1560"/>
                  </a:cubicBezTo>
                  <a:cubicBezTo>
                    <a:pt x="203" y="1566"/>
                    <a:pt x="185" y="1571"/>
                    <a:pt x="191" y="1571"/>
                  </a:cubicBezTo>
                  <a:cubicBezTo>
                    <a:pt x="202" y="1573"/>
                    <a:pt x="201" y="1564"/>
                    <a:pt x="212" y="1571"/>
                  </a:cubicBezTo>
                  <a:cubicBezTo>
                    <a:pt x="216" y="1573"/>
                    <a:pt x="211" y="1581"/>
                    <a:pt x="212" y="1582"/>
                  </a:cubicBezTo>
                  <a:cubicBezTo>
                    <a:pt x="214" y="1584"/>
                    <a:pt x="217" y="1576"/>
                    <a:pt x="217" y="1575"/>
                  </a:cubicBezTo>
                  <a:cubicBezTo>
                    <a:pt x="218" y="1567"/>
                    <a:pt x="198" y="1555"/>
                    <a:pt x="204" y="1548"/>
                  </a:cubicBezTo>
                  <a:cubicBezTo>
                    <a:pt x="205" y="1547"/>
                    <a:pt x="215" y="1546"/>
                    <a:pt x="217" y="1546"/>
                  </a:cubicBezTo>
                  <a:cubicBezTo>
                    <a:pt x="222" y="1547"/>
                    <a:pt x="222" y="1541"/>
                    <a:pt x="230" y="1544"/>
                  </a:cubicBezTo>
                  <a:cubicBezTo>
                    <a:pt x="232" y="1545"/>
                    <a:pt x="239" y="1551"/>
                    <a:pt x="241" y="1548"/>
                  </a:cubicBezTo>
                  <a:cubicBezTo>
                    <a:pt x="244" y="1545"/>
                    <a:pt x="231" y="1542"/>
                    <a:pt x="234" y="1540"/>
                  </a:cubicBezTo>
                  <a:cubicBezTo>
                    <a:pt x="236" y="1538"/>
                    <a:pt x="264" y="1529"/>
                    <a:pt x="264" y="1529"/>
                  </a:cubicBezTo>
                  <a:cubicBezTo>
                    <a:pt x="261" y="1525"/>
                    <a:pt x="229" y="1539"/>
                    <a:pt x="232" y="1516"/>
                  </a:cubicBezTo>
                  <a:cubicBezTo>
                    <a:pt x="233" y="1511"/>
                    <a:pt x="254" y="1493"/>
                    <a:pt x="254" y="1492"/>
                  </a:cubicBezTo>
                  <a:cubicBezTo>
                    <a:pt x="252" y="1486"/>
                    <a:pt x="234" y="1510"/>
                    <a:pt x="230" y="1509"/>
                  </a:cubicBezTo>
                  <a:cubicBezTo>
                    <a:pt x="217" y="1506"/>
                    <a:pt x="234" y="1528"/>
                    <a:pt x="234" y="1535"/>
                  </a:cubicBezTo>
                  <a:cubicBezTo>
                    <a:pt x="235" y="1542"/>
                    <a:pt x="223" y="1536"/>
                    <a:pt x="222" y="1536"/>
                  </a:cubicBezTo>
                  <a:cubicBezTo>
                    <a:pt x="218" y="1535"/>
                    <a:pt x="206" y="1543"/>
                    <a:pt x="201" y="1545"/>
                  </a:cubicBezTo>
                  <a:cubicBezTo>
                    <a:pt x="198" y="1546"/>
                    <a:pt x="194" y="1543"/>
                    <a:pt x="195" y="1541"/>
                  </a:cubicBezTo>
                  <a:cubicBezTo>
                    <a:pt x="195" y="1540"/>
                    <a:pt x="205" y="1539"/>
                    <a:pt x="203" y="1536"/>
                  </a:cubicBezTo>
                  <a:cubicBezTo>
                    <a:pt x="201" y="1533"/>
                    <a:pt x="166" y="1541"/>
                    <a:pt x="163" y="1530"/>
                  </a:cubicBezTo>
                  <a:cubicBezTo>
                    <a:pt x="162" y="1527"/>
                    <a:pt x="183" y="1508"/>
                    <a:pt x="177" y="1504"/>
                  </a:cubicBezTo>
                  <a:cubicBezTo>
                    <a:pt x="170" y="1499"/>
                    <a:pt x="172" y="1518"/>
                    <a:pt x="164" y="1522"/>
                  </a:cubicBezTo>
                  <a:cubicBezTo>
                    <a:pt x="149" y="1529"/>
                    <a:pt x="164" y="1539"/>
                    <a:pt x="158" y="1543"/>
                  </a:cubicBezTo>
                  <a:cubicBezTo>
                    <a:pt x="144" y="1551"/>
                    <a:pt x="138" y="1539"/>
                    <a:pt x="129" y="1536"/>
                  </a:cubicBezTo>
                  <a:cubicBezTo>
                    <a:pt x="126" y="1535"/>
                    <a:pt x="116" y="1547"/>
                    <a:pt x="110" y="1539"/>
                  </a:cubicBezTo>
                  <a:cubicBezTo>
                    <a:pt x="109" y="1538"/>
                    <a:pt x="118" y="1534"/>
                    <a:pt x="116" y="1533"/>
                  </a:cubicBezTo>
                  <a:cubicBezTo>
                    <a:pt x="109" y="1529"/>
                    <a:pt x="75" y="1550"/>
                    <a:pt x="59" y="1552"/>
                  </a:cubicBezTo>
                  <a:cubicBezTo>
                    <a:pt x="57" y="1552"/>
                    <a:pt x="39" y="1544"/>
                    <a:pt x="39" y="1544"/>
                  </a:cubicBezTo>
                  <a:cubicBezTo>
                    <a:pt x="38" y="1542"/>
                    <a:pt x="49" y="1542"/>
                    <a:pt x="40" y="1540"/>
                  </a:cubicBezTo>
                  <a:cubicBezTo>
                    <a:pt x="37" y="1539"/>
                    <a:pt x="31" y="1543"/>
                    <a:pt x="28" y="1538"/>
                  </a:cubicBezTo>
                  <a:cubicBezTo>
                    <a:pt x="26" y="1534"/>
                    <a:pt x="46" y="1538"/>
                    <a:pt x="46" y="1536"/>
                  </a:cubicBezTo>
                  <a:cubicBezTo>
                    <a:pt x="46" y="1535"/>
                    <a:pt x="42" y="1532"/>
                    <a:pt x="41" y="1532"/>
                  </a:cubicBezTo>
                  <a:cubicBezTo>
                    <a:pt x="32" y="1529"/>
                    <a:pt x="30" y="1526"/>
                    <a:pt x="28" y="1527"/>
                  </a:cubicBezTo>
                  <a:cubicBezTo>
                    <a:pt x="26" y="1529"/>
                    <a:pt x="21" y="1528"/>
                    <a:pt x="20" y="1525"/>
                  </a:cubicBezTo>
                  <a:cubicBezTo>
                    <a:pt x="19" y="1522"/>
                    <a:pt x="45" y="1515"/>
                    <a:pt x="46" y="1516"/>
                  </a:cubicBezTo>
                  <a:cubicBezTo>
                    <a:pt x="49" y="1517"/>
                    <a:pt x="63" y="1533"/>
                    <a:pt x="53" y="1517"/>
                  </a:cubicBezTo>
                  <a:cubicBezTo>
                    <a:pt x="52" y="1515"/>
                    <a:pt x="49" y="1516"/>
                    <a:pt x="49" y="1514"/>
                  </a:cubicBezTo>
                  <a:cubicBezTo>
                    <a:pt x="49" y="1510"/>
                    <a:pt x="71" y="1510"/>
                    <a:pt x="73" y="1510"/>
                  </a:cubicBezTo>
                  <a:cubicBezTo>
                    <a:pt x="75" y="1510"/>
                    <a:pt x="76" y="1509"/>
                    <a:pt x="78" y="1509"/>
                  </a:cubicBezTo>
                  <a:cubicBezTo>
                    <a:pt x="78" y="1509"/>
                    <a:pt x="81" y="1510"/>
                    <a:pt x="81" y="1509"/>
                  </a:cubicBezTo>
                  <a:cubicBezTo>
                    <a:pt x="76" y="1496"/>
                    <a:pt x="33" y="1518"/>
                    <a:pt x="28" y="1516"/>
                  </a:cubicBezTo>
                  <a:cubicBezTo>
                    <a:pt x="15" y="1509"/>
                    <a:pt x="36" y="1505"/>
                    <a:pt x="35" y="1501"/>
                  </a:cubicBezTo>
                  <a:cubicBezTo>
                    <a:pt x="35" y="1501"/>
                    <a:pt x="19" y="1504"/>
                    <a:pt x="19" y="1502"/>
                  </a:cubicBezTo>
                  <a:cubicBezTo>
                    <a:pt x="26" y="1489"/>
                    <a:pt x="62" y="1498"/>
                    <a:pt x="68" y="1499"/>
                  </a:cubicBezTo>
                  <a:cubicBezTo>
                    <a:pt x="71" y="1500"/>
                    <a:pt x="89" y="1488"/>
                    <a:pt x="92" y="1495"/>
                  </a:cubicBezTo>
                  <a:cubicBezTo>
                    <a:pt x="92" y="1497"/>
                    <a:pt x="94" y="1499"/>
                    <a:pt x="96" y="1497"/>
                  </a:cubicBezTo>
                  <a:cubicBezTo>
                    <a:pt x="97" y="1496"/>
                    <a:pt x="94" y="1494"/>
                    <a:pt x="93" y="1492"/>
                  </a:cubicBezTo>
                  <a:cubicBezTo>
                    <a:pt x="91" y="1488"/>
                    <a:pt x="39" y="1500"/>
                    <a:pt x="36" y="1485"/>
                  </a:cubicBezTo>
                  <a:cubicBezTo>
                    <a:pt x="34" y="1477"/>
                    <a:pt x="53" y="1487"/>
                    <a:pt x="55" y="1483"/>
                  </a:cubicBezTo>
                  <a:cubicBezTo>
                    <a:pt x="58" y="1477"/>
                    <a:pt x="34" y="1483"/>
                    <a:pt x="39" y="1479"/>
                  </a:cubicBezTo>
                  <a:cubicBezTo>
                    <a:pt x="47" y="1473"/>
                    <a:pt x="54" y="1479"/>
                    <a:pt x="56" y="1479"/>
                  </a:cubicBezTo>
                  <a:cubicBezTo>
                    <a:pt x="57" y="1479"/>
                    <a:pt x="63" y="1479"/>
                    <a:pt x="62" y="1477"/>
                  </a:cubicBezTo>
                  <a:cubicBezTo>
                    <a:pt x="57" y="1469"/>
                    <a:pt x="36" y="1483"/>
                    <a:pt x="33" y="1474"/>
                  </a:cubicBezTo>
                  <a:cubicBezTo>
                    <a:pt x="32" y="1471"/>
                    <a:pt x="56" y="1471"/>
                    <a:pt x="56" y="1469"/>
                  </a:cubicBezTo>
                  <a:cubicBezTo>
                    <a:pt x="56" y="1467"/>
                    <a:pt x="48" y="1470"/>
                    <a:pt x="47" y="1470"/>
                  </a:cubicBezTo>
                  <a:cubicBezTo>
                    <a:pt x="44" y="1471"/>
                    <a:pt x="23" y="1472"/>
                    <a:pt x="21" y="1470"/>
                  </a:cubicBezTo>
                  <a:cubicBezTo>
                    <a:pt x="7" y="1452"/>
                    <a:pt x="38" y="1458"/>
                    <a:pt x="36" y="1454"/>
                  </a:cubicBezTo>
                  <a:cubicBezTo>
                    <a:pt x="34" y="1451"/>
                    <a:pt x="47" y="1452"/>
                    <a:pt x="45" y="1450"/>
                  </a:cubicBezTo>
                  <a:cubicBezTo>
                    <a:pt x="43" y="1449"/>
                    <a:pt x="29" y="1453"/>
                    <a:pt x="30" y="1451"/>
                  </a:cubicBezTo>
                  <a:cubicBezTo>
                    <a:pt x="30" y="1450"/>
                    <a:pt x="32" y="1449"/>
                    <a:pt x="33" y="1449"/>
                  </a:cubicBezTo>
                  <a:cubicBezTo>
                    <a:pt x="46" y="1443"/>
                    <a:pt x="58" y="1428"/>
                    <a:pt x="63" y="1429"/>
                  </a:cubicBezTo>
                  <a:cubicBezTo>
                    <a:pt x="63" y="1429"/>
                    <a:pt x="64" y="1429"/>
                    <a:pt x="64" y="1429"/>
                  </a:cubicBezTo>
                  <a:cubicBezTo>
                    <a:pt x="64" y="1430"/>
                    <a:pt x="65" y="1430"/>
                    <a:pt x="65" y="1430"/>
                  </a:cubicBezTo>
                  <a:cubicBezTo>
                    <a:pt x="67" y="1430"/>
                    <a:pt x="93" y="1434"/>
                    <a:pt x="90" y="1439"/>
                  </a:cubicBezTo>
                  <a:cubicBezTo>
                    <a:pt x="90" y="1440"/>
                    <a:pt x="85" y="1440"/>
                    <a:pt x="84" y="1440"/>
                  </a:cubicBezTo>
                  <a:cubicBezTo>
                    <a:pt x="74" y="1443"/>
                    <a:pt x="84" y="1442"/>
                    <a:pt x="89" y="1441"/>
                  </a:cubicBezTo>
                  <a:cubicBezTo>
                    <a:pt x="92" y="1440"/>
                    <a:pt x="95" y="1440"/>
                    <a:pt x="99" y="1439"/>
                  </a:cubicBezTo>
                  <a:cubicBezTo>
                    <a:pt x="117" y="1434"/>
                    <a:pt x="101" y="1458"/>
                    <a:pt x="108" y="1452"/>
                  </a:cubicBezTo>
                  <a:cubicBezTo>
                    <a:pt x="109" y="1450"/>
                    <a:pt x="109" y="1442"/>
                    <a:pt x="111" y="1441"/>
                  </a:cubicBezTo>
                  <a:cubicBezTo>
                    <a:pt x="118" y="1438"/>
                    <a:pt x="122" y="1456"/>
                    <a:pt x="129" y="1450"/>
                  </a:cubicBezTo>
                  <a:cubicBezTo>
                    <a:pt x="130" y="1449"/>
                    <a:pt x="118" y="1443"/>
                    <a:pt x="118" y="1441"/>
                  </a:cubicBezTo>
                  <a:cubicBezTo>
                    <a:pt x="118" y="1440"/>
                    <a:pt x="120" y="1441"/>
                    <a:pt x="121" y="1441"/>
                  </a:cubicBezTo>
                  <a:cubicBezTo>
                    <a:pt x="123" y="1442"/>
                    <a:pt x="125" y="1442"/>
                    <a:pt x="127" y="1441"/>
                  </a:cubicBezTo>
                  <a:cubicBezTo>
                    <a:pt x="137" y="1440"/>
                    <a:pt x="146" y="1447"/>
                    <a:pt x="155" y="1445"/>
                  </a:cubicBezTo>
                  <a:cubicBezTo>
                    <a:pt x="159" y="1444"/>
                    <a:pt x="160" y="1442"/>
                    <a:pt x="161" y="1440"/>
                  </a:cubicBezTo>
                  <a:cubicBezTo>
                    <a:pt x="164" y="1439"/>
                    <a:pt x="167" y="1436"/>
                    <a:pt x="171" y="1435"/>
                  </a:cubicBezTo>
                  <a:cubicBezTo>
                    <a:pt x="176" y="1436"/>
                    <a:pt x="185" y="1442"/>
                    <a:pt x="186" y="1436"/>
                  </a:cubicBezTo>
                  <a:cubicBezTo>
                    <a:pt x="186" y="1435"/>
                    <a:pt x="179" y="1435"/>
                    <a:pt x="177" y="1434"/>
                  </a:cubicBezTo>
                  <a:cubicBezTo>
                    <a:pt x="175" y="1434"/>
                    <a:pt x="172" y="1434"/>
                    <a:pt x="171" y="1435"/>
                  </a:cubicBezTo>
                  <a:cubicBezTo>
                    <a:pt x="170" y="1435"/>
                    <a:pt x="169" y="1435"/>
                    <a:pt x="168" y="1435"/>
                  </a:cubicBezTo>
                  <a:cubicBezTo>
                    <a:pt x="164" y="1435"/>
                    <a:pt x="163" y="1438"/>
                    <a:pt x="161" y="1440"/>
                  </a:cubicBezTo>
                  <a:cubicBezTo>
                    <a:pt x="160" y="1441"/>
                    <a:pt x="159" y="1442"/>
                    <a:pt x="157" y="1442"/>
                  </a:cubicBezTo>
                  <a:cubicBezTo>
                    <a:pt x="152" y="1442"/>
                    <a:pt x="96" y="1438"/>
                    <a:pt x="94" y="1437"/>
                  </a:cubicBezTo>
                  <a:cubicBezTo>
                    <a:pt x="82" y="1432"/>
                    <a:pt x="98" y="1430"/>
                    <a:pt x="103" y="1431"/>
                  </a:cubicBezTo>
                  <a:cubicBezTo>
                    <a:pt x="104" y="1431"/>
                    <a:pt x="111" y="1430"/>
                    <a:pt x="110" y="1429"/>
                  </a:cubicBezTo>
                  <a:cubicBezTo>
                    <a:pt x="99" y="1422"/>
                    <a:pt x="35" y="1432"/>
                    <a:pt x="33" y="1429"/>
                  </a:cubicBezTo>
                  <a:cubicBezTo>
                    <a:pt x="32" y="1427"/>
                    <a:pt x="36" y="1425"/>
                    <a:pt x="36" y="1423"/>
                  </a:cubicBezTo>
                  <a:cubicBezTo>
                    <a:pt x="36" y="1417"/>
                    <a:pt x="43" y="1424"/>
                    <a:pt x="45" y="1423"/>
                  </a:cubicBezTo>
                  <a:cubicBezTo>
                    <a:pt x="47" y="1423"/>
                    <a:pt x="52" y="1413"/>
                    <a:pt x="53" y="1413"/>
                  </a:cubicBezTo>
                  <a:cubicBezTo>
                    <a:pt x="54" y="1413"/>
                    <a:pt x="62" y="1416"/>
                    <a:pt x="60" y="1413"/>
                  </a:cubicBezTo>
                  <a:cubicBezTo>
                    <a:pt x="50" y="1397"/>
                    <a:pt x="33" y="1406"/>
                    <a:pt x="31" y="1390"/>
                  </a:cubicBezTo>
                  <a:cubicBezTo>
                    <a:pt x="30" y="1386"/>
                    <a:pt x="37" y="1391"/>
                    <a:pt x="37" y="1387"/>
                  </a:cubicBezTo>
                  <a:cubicBezTo>
                    <a:pt x="37" y="1382"/>
                    <a:pt x="46" y="1391"/>
                    <a:pt x="48" y="1392"/>
                  </a:cubicBezTo>
                  <a:cubicBezTo>
                    <a:pt x="51" y="1392"/>
                    <a:pt x="64" y="1415"/>
                    <a:pt x="65" y="1415"/>
                  </a:cubicBezTo>
                  <a:cubicBezTo>
                    <a:pt x="67" y="1416"/>
                    <a:pt x="69" y="1410"/>
                    <a:pt x="70" y="1409"/>
                  </a:cubicBezTo>
                  <a:cubicBezTo>
                    <a:pt x="71" y="1407"/>
                    <a:pt x="76" y="1409"/>
                    <a:pt x="77" y="1406"/>
                  </a:cubicBezTo>
                  <a:cubicBezTo>
                    <a:pt x="78" y="1400"/>
                    <a:pt x="50" y="1406"/>
                    <a:pt x="61" y="1390"/>
                  </a:cubicBezTo>
                  <a:cubicBezTo>
                    <a:pt x="70" y="1379"/>
                    <a:pt x="85" y="1405"/>
                    <a:pt x="91" y="1403"/>
                  </a:cubicBezTo>
                  <a:cubicBezTo>
                    <a:pt x="95" y="1402"/>
                    <a:pt x="80" y="1394"/>
                    <a:pt x="84" y="1391"/>
                  </a:cubicBezTo>
                  <a:cubicBezTo>
                    <a:pt x="87" y="1389"/>
                    <a:pt x="104" y="1385"/>
                    <a:pt x="106" y="1391"/>
                  </a:cubicBezTo>
                  <a:cubicBezTo>
                    <a:pt x="108" y="1395"/>
                    <a:pt x="99" y="1413"/>
                    <a:pt x="99" y="1413"/>
                  </a:cubicBezTo>
                  <a:cubicBezTo>
                    <a:pt x="105" y="1417"/>
                    <a:pt x="103" y="1396"/>
                    <a:pt x="110" y="1396"/>
                  </a:cubicBezTo>
                  <a:cubicBezTo>
                    <a:pt x="112" y="1396"/>
                    <a:pt x="114" y="1400"/>
                    <a:pt x="116" y="1401"/>
                  </a:cubicBezTo>
                  <a:cubicBezTo>
                    <a:pt x="125" y="1405"/>
                    <a:pt x="145" y="1408"/>
                    <a:pt x="146" y="1408"/>
                  </a:cubicBezTo>
                  <a:cubicBezTo>
                    <a:pt x="147" y="1405"/>
                    <a:pt x="122" y="1402"/>
                    <a:pt x="121" y="1400"/>
                  </a:cubicBezTo>
                  <a:cubicBezTo>
                    <a:pt x="108" y="1388"/>
                    <a:pt x="102" y="1388"/>
                    <a:pt x="117" y="1387"/>
                  </a:cubicBezTo>
                  <a:cubicBezTo>
                    <a:pt x="121" y="1387"/>
                    <a:pt x="108" y="1383"/>
                    <a:pt x="108" y="1379"/>
                  </a:cubicBezTo>
                  <a:cubicBezTo>
                    <a:pt x="110" y="1374"/>
                    <a:pt x="137" y="1360"/>
                    <a:pt x="141" y="1362"/>
                  </a:cubicBezTo>
                  <a:cubicBezTo>
                    <a:pt x="144" y="1363"/>
                    <a:pt x="156" y="1380"/>
                    <a:pt x="161" y="1390"/>
                  </a:cubicBezTo>
                  <a:cubicBezTo>
                    <a:pt x="162" y="1393"/>
                    <a:pt x="162" y="1396"/>
                    <a:pt x="161" y="1398"/>
                  </a:cubicBezTo>
                  <a:cubicBezTo>
                    <a:pt x="161" y="1399"/>
                    <a:pt x="160" y="1400"/>
                    <a:pt x="160" y="1401"/>
                  </a:cubicBezTo>
                  <a:cubicBezTo>
                    <a:pt x="161" y="1401"/>
                    <a:pt x="161" y="1400"/>
                    <a:pt x="161" y="1398"/>
                  </a:cubicBezTo>
                  <a:cubicBezTo>
                    <a:pt x="162" y="1397"/>
                    <a:pt x="163" y="1396"/>
                    <a:pt x="164" y="1396"/>
                  </a:cubicBezTo>
                  <a:cubicBezTo>
                    <a:pt x="164" y="1395"/>
                    <a:pt x="163" y="1393"/>
                    <a:pt x="161" y="1390"/>
                  </a:cubicBezTo>
                  <a:cubicBezTo>
                    <a:pt x="161" y="1387"/>
                    <a:pt x="160" y="1385"/>
                    <a:pt x="159" y="1383"/>
                  </a:cubicBezTo>
                  <a:cubicBezTo>
                    <a:pt x="156" y="1377"/>
                    <a:pt x="146" y="1369"/>
                    <a:pt x="148" y="1362"/>
                  </a:cubicBezTo>
                  <a:cubicBezTo>
                    <a:pt x="151" y="1350"/>
                    <a:pt x="163" y="1365"/>
                    <a:pt x="164" y="1364"/>
                  </a:cubicBezTo>
                  <a:cubicBezTo>
                    <a:pt x="165" y="1364"/>
                    <a:pt x="164" y="1352"/>
                    <a:pt x="175" y="1351"/>
                  </a:cubicBezTo>
                  <a:cubicBezTo>
                    <a:pt x="205" y="1347"/>
                    <a:pt x="198" y="1402"/>
                    <a:pt x="200" y="1403"/>
                  </a:cubicBezTo>
                  <a:cubicBezTo>
                    <a:pt x="206" y="1407"/>
                    <a:pt x="212" y="1397"/>
                    <a:pt x="217" y="1401"/>
                  </a:cubicBezTo>
                  <a:cubicBezTo>
                    <a:pt x="219" y="1402"/>
                    <a:pt x="216" y="1396"/>
                    <a:pt x="209" y="1400"/>
                  </a:cubicBezTo>
                  <a:cubicBezTo>
                    <a:pt x="195" y="1410"/>
                    <a:pt x="206" y="1388"/>
                    <a:pt x="205" y="1383"/>
                  </a:cubicBezTo>
                  <a:cubicBezTo>
                    <a:pt x="205" y="1382"/>
                    <a:pt x="204" y="1377"/>
                    <a:pt x="205" y="1377"/>
                  </a:cubicBezTo>
                  <a:cubicBezTo>
                    <a:pt x="208" y="1374"/>
                    <a:pt x="233" y="1377"/>
                    <a:pt x="236" y="1380"/>
                  </a:cubicBezTo>
                  <a:cubicBezTo>
                    <a:pt x="236" y="1381"/>
                    <a:pt x="238" y="1384"/>
                    <a:pt x="239" y="1383"/>
                  </a:cubicBezTo>
                  <a:cubicBezTo>
                    <a:pt x="241" y="1382"/>
                    <a:pt x="236" y="1377"/>
                    <a:pt x="235" y="1377"/>
                  </a:cubicBezTo>
                  <a:cubicBezTo>
                    <a:pt x="228" y="1370"/>
                    <a:pt x="210" y="1375"/>
                    <a:pt x="200" y="1371"/>
                  </a:cubicBezTo>
                  <a:cubicBezTo>
                    <a:pt x="195" y="1368"/>
                    <a:pt x="199" y="1350"/>
                    <a:pt x="175" y="1346"/>
                  </a:cubicBezTo>
                  <a:cubicBezTo>
                    <a:pt x="166" y="1344"/>
                    <a:pt x="156" y="1359"/>
                    <a:pt x="144" y="1353"/>
                  </a:cubicBezTo>
                  <a:cubicBezTo>
                    <a:pt x="141" y="1351"/>
                    <a:pt x="130" y="1352"/>
                    <a:pt x="133" y="1349"/>
                  </a:cubicBezTo>
                  <a:cubicBezTo>
                    <a:pt x="141" y="1340"/>
                    <a:pt x="168" y="1350"/>
                    <a:pt x="173" y="1344"/>
                  </a:cubicBezTo>
                  <a:cubicBezTo>
                    <a:pt x="173" y="1344"/>
                    <a:pt x="167" y="1341"/>
                    <a:pt x="165" y="1341"/>
                  </a:cubicBezTo>
                  <a:cubicBezTo>
                    <a:pt x="150" y="1343"/>
                    <a:pt x="134" y="1339"/>
                    <a:pt x="135" y="1332"/>
                  </a:cubicBezTo>
                  <a:cubicBezTo>
                    <a:pt x="136" y="1330"/>
                    <a:pt x="138" y="1329"/>
                    <a:pt x="139" y="1328"/>
                  </a:cubicBezTo>
                  <a:cubicBezTo>
                    <a:pt x="144" y="1325"/>
                    <a:pt x="162" y="1325"/>
                    <a:pt x="165" y="1329"/>
                  </a:cubicBezTo>
                  <a:cubicBezTo>
                    <a:pt x="166" y="1331"/>
                    <a:pt x="166" y="1335"/>
                    <a:pt x="168" y="1334"/>
                  </a:cubicBezTo>
                  <a:cubicBezTo>
                    <a:pt x="174" y="1329"/>
                    <a:pt x="169" y="1327"/>
                    <a:pt x="178" y="1321"/>
                  </a:cubicBezTo>
                  <a:cubicBezTo>
                    <a:pt x="182" y="1319"/>
                    <a:pt x="185" y="1323"/>
                    <a:pt x="188" y="1325"/>
                  </a:cubicBezTo>
                  <a:cubicBezTo>
                    <a:pt x="189" y="1326"/>
                    <a:pt x="193" y="1328"/>
                    <a:pt x="193" y="1330"/>
                  </a:cubicBezTo>
                  <a:cubicBezTo>
                    <a:pt x="194" y="1330"/>
                    <a:pt x="193" y="1322"/>
                    <a:pt x="206" y="1321"/>
                  </a:cubicBezTo>
                  <a:cubicBezTo>
                    <a:pt x="207" y="1321"/>
                    <a:pt x="211" y="1326"/>
                    <a:pt x="212" y="1330"/>
                  </a:cubicBezTo>
                  <a:cubicBezTo>
                    <a:pt x="213" y="1333"/>
                    <a:pt x="211" y="1340"/>
                    <a:pt x="214" y="1339"/>
                  </a:cubicBezTo>
                  <a:cubicBezTo>
                    <a:pt x="218" y="1336"/>
                    <a:pt x="212" y="1324"/>
                    <a:pt x="217" y="1324"/>
                  </a:cubicBezTo>
                  <a:cubicBezTo>
                    <a:pt x="231" y="1322"/>
                    <a:pt x="243" y="1343"/>
                    <a:pt x="250" y="1343"/>
                  </a:cubicBezTo>
                  <a:cubicBezTo>
                    <a:pt x="254" y="1343"/>
                    <a:pt x="252" y="1337"/>
                    <a:pt x="254" y="1336"/>
                  </a:cubicBezTo>
                  <a:cubicBezTo>
                    <a:pt x="258" y="1332"/>
                    <a:pt x="267" y="1334"/>
                    <a:pt x="272" y="1332"/>
                  </a:cubicBezTo>
                  <a:cubicBezTo>
                    <a:pt x="275" y="1331"/>
                    <a:pt x="266" y="1331"/>
                    <a:pt x="263" y="1332"/>
                  </a:cubicBezTo>
                  <a:cubicBezTo>
                    <a:pt x="257" y="1332"/>
                    <a:pt x="247" y="1336"/>
                    <a:pt x="242" y="1331"/>
                  </a:cubicBezTo>
                  <a:cubicBezTo>
                    <a:pt x="239" y="1328"/>
                    <a:pt x="239" y="1318"/>
                    <a:pt x="246" y="1323"/>
                  </a:cubicBezTo>
                  <a:cubicBezTo>
                    <a:pt x="246" y="1323"/>
                    <a:pt x="246" y="1324"/>
                    <a:pt x="247" y="1324"/>
                  </a:cubicBezTo>
                  <a:cubicBezTo>
                    <a:pt x="247" y="1326"/>
                    <a:pt x="247" y="1327"/>
                    <a:pt x="247" y="1329"/>
                  </a:cubicBezTo>
                  <a:cubicBezTo>
                    <a:pt x="247" y="1329"/>
                    <a:pt x="247" y="1329"/>
                    <a:pt x="247" y="1330"/>
                  </a:cubicBezTo>
                  <a:cubicBezTo>
                    <a:pt x="247" y="1331"/>
                    <a:pt x="247" y="1330"/>
                    <a:pt x="247" y="1329"/>
                  </a:cubicBezTo>
                  <a:cubicBezTo>
                    <a:pt x="247" y="1327"/>
                    <a:pt x="248" y="1325"/>
                    <a:pt x="247" y="1324"/>
                  </a:cubicBezTo>
                  <a:cubicBezTo>
                    <a:pt x="247" y="1322"/>
                    <a:pt x="247" y="1321"/>
                    <a:pt x="247" y="1320"/>
                  </a:cubicBezTo>
                  <a:cubicBezTo>
                    <a:pt x="251" y="1308"/>
                    <a:pt x="291" y="1308"/>
                    <a:pt x="296" y="1310"/>
                  </a:cubicBezTo>
                  <a:cubicBezTo>
                    <a:pt x="297" y="1311"/>
                    <a:pt x="304" y="1315"/>
                    <a:pt x="304" y="1315"/>
                  </a:cubicBezTo>
                  <a:cubicBezTo>
                    <a:pt x="306" y="1312"/>
                    <a:pt x="300" y="1309"/>
                    <a:pt x="298" y="1308"/>
                  </a:cubicBezTo>
                  <a:cubicBezTo>
                    <a:pt x="294" y="1306"/>
                    <a:pt x="299" y="1303"/>
                    <a:pt x="298" y="1302"/>
                  </a:cubicBezTo>
                  <a:cubicBezTo>
                    <a:pt x="293" y="1298"/>
                    <a:pt x="244" y="1319"/>
                    <a:pt x="235" y="1316"/>
                  </a:cubicBezTo>
                  <a:cubicBezTo>
                    <a:pt x="232" y="1315"/>
                    <a:pt x="243" y="1303"/>
                    <a:pt x="254" y="1302"/>
                  </a:cubicBezTo>
                  <a:cubicBezTo>
                    <a:pt x="257" y="1301"/>
                    <a:pt x="265" y="1302"/>
                    <a:pt x="263" y="1300"/>
                  </a:cubicBezTo>
                  <a:cubicBezTo>
                    <a:pt x="258" y="1295"/>
                    <a:pt x="215" y="1308"/>
                    <a:pt x="206" y="1309"/>
                  </a:cubicBezTo>
                  <a:cubicBezTo>
                    <a:pt x="205" y="1309"/>
                    <a:pt x="198" y="1311"/>
                    <a:pt x="198" y="1309"/>
                  </a:cubicBezTo>
                  <a:cubicBezTo>
                    <a:pt x="197" y="1297"/>
                    <a:pt x="206" y="1295"/>
                    <a:pt x="220" y="1297"/>
                  </a:cubicBezTo>
                  <a:cubicBezTo>
                    <a:pt x="220" y="1297"/>
                    <a:pt x="222" y="1297"/>
                    <a:pt x="221" y="1297"/>
                  </a:cubicBezTo>
                  <a:cubicBezTo>
                    <a:pt x="219" y="1294"/>
                    <a:pt x="189" y="1287"/>
                    <a:pt x="192" y="1281"/>
                  </a:cubicBezTo>
                  <a:cubicBezTo>
                    <a:pt x="194" y="1277"/>
                    <a:pt x="221" y="1266"/>
                    <a:pt x="227" y="1267"/>
                  </a:cubicBezTo>
                  <a:cubicBezTo>
                    <a:pt x="232" y="1269"/>
                    <a:pt x="241" y="1282"/>
                    <a:pt x="245" y="1282"/>
                  </a:cubicBezTo>
                  <a:cubicBezTo>
                    <a:pt x="252" y="1281"/>
                    <a:pt x="264" y="1266"/>
                    <a:pt x="272" y="1273"/>
                  </a:cubicBezTo>
                  <a:cubicBezTo>
                    <a:pt x="274" y="1275"/>
                    <a:pt x="261" y="1282"/>
                    <a:pt x="263" y="1282"/>
                  </a:cubicBezTo>
                  <a:cubicBezTo>
                    <a:pt x="272" y="1283"/>
                    <a:pt x="284" y="1269"/>
                    <a:pt x="293" y="1274"/>
                  </a:cubicBezTo>
                  <a:cubicBezTo>
                    <a:pt x="304" y="1280"/>
                    <a:pt x="299" y="1289"/>
                    <a:pt x="306" y="1297"/>
                  </a:cubicBezTo>
                  <a:cubicBezTo>
                    <a:pt x="313" y="1304"/>
                    <a:pt x="331" y="1306"/>
                    <a:pt x="337" y="1312"/>
                  </a:cubicBezTo>
                  <a:cubicBezTo>
                    <a:pt x="339" y="1315"/>
                    <a:pt x="338" y="1322"/>
                    <a:pt x="340" y="1320"/>
                  </a:cubicBezTo>
                  <a:cubicBezTo>
                    <a:pt x="342" y="1318"/>
                    <a:pt x="342" y="1317"/>
                    <a:pt x="342" y="1315"/>
                  </a:cubicBezTo>
                  <a:cubicBezTo>
                    <a:pt x="342" y="1313"/>
                    <a:pt x="342" y="1312"/>
                    <a:pt x="341" y="1311"/>
                  </a:cubicBezTo>
                  <a:cubicBezTo>
                    <a:pt x="315" y="1292"/>
                    <a:pt x="308" y="1289"/>
                    <a:pt x="291" y="1266"/>
                  </a:cubicBezTo>
                  <a:cubicBezTo>
                    <a:pt x="289" y="1263"/>
                    <a:pt x="279" y="1270"/>
                    <a:pt x="281" y="1267"/>
                  </a:cubicBezTo>
                  <a:cubicBezTo>
                    <a:pt x="300" y="1232"/>
                    <a:pt x="318" y="1285"/>
                    <a:pt x="326" y="1286"/>
                  </a:cubicBezTo>
                  <a:cubicBezTo>
                    <a:pt x="329" y="1286"/>
                    <a:pt x="337" y="1295"/>
                    <a:pt x="340" y="1292"/>
                  </a:cubicBezTo>
                  <a:cubicBezTo>
                    <a:pt x="343" y="1288"/>
                    <a:pt x="329" y="1287"/>
                    <a:pt x="330" y="1285"/>
                  </a:cubicBezTo>
                  <a:cubicBezTo>
                    <a:pt x="334" y="1279"/>
                    <a:pt x="352" y="1297"/>
                    <a:pt x="354" y="1295"/>
                  </a:cubicBezTo>
                  <a:cubicBezTo>
                    <a:pt x="357" y="1293"/>
                    <a:pt x="326" y="1281"/>
                    <a:pt x="329" y="1276"/>
                  </a:cubicBezTo>
                  <a:cubicBezTo>
                    <a:pt x="331" y="1271"/>
                    <a:pt x="347" y="1279"/>
                    <a:pt x="351" y="1273"/>
                  </a:cubicBezTo>
                  <a:cubicBezTo>
                    <a:pt x="353" y="1269"/>
                    <a:pt x="338" y="1274"/>
                    <a:pt x="337" y="1271"/>
                  </a:cubicBezTo>
                  <a:cubicBezTo>
                    <a:pt x="337" y="1270"/>
                    <a:pt x="345" y="1267"/>
                    <a:pt x="344" y="1266"/>
                  </a:cubicBezTo>
                  <a:cubicBezTo>
                    <a:pt x="344" y="1266"/>
                    <a:pt x="327" y="1273"/>
                    <a:pt x="323" y="1271"/>
                  </a:cubicBezTo>
                  <a:cubicBezTo>
                    <a:pt x="323" y="1271"/>
                    <a:pt x="320" y="1271"/>
                    <a:pt x="320" y="1270"/>
                  </a:cubicBezTo>
                  <a:cubicBezTo>
                    <a:pt x="321" y="1266"/>
                    <a:pt x="334" y="1269"/>
                    <a:pt x="333" y="1266"/>
                  </a:cubicBezTo>
                  <a:cubicBezTo>
                    <a:pt x="333" y="1266"/>
                    <a:pt x="300" y="1266"/>
                    <a:pt x="306" y="1251"/>
                  </a:cubicBezTo>
                  <a:cubicBezTo>
                    <a:pt x="307" y="1247"/>
                    <a:pt x="313" y="1259"/>
                    <a:pt x="318" y="1258"/>
                  </a:cubicBezTo>
                  <a:cubicBezTo>
                    <a:pt x="322" y="1257"/>
                    <a:pt x="310" y="1249"/>
                    <a:pt x="313" y="1247"/>
                  </a:cubicBezTo>
                  <a:cubicBezTo>
                    <a:pt x="318" y="1244"/>
                    <a:pt x="340" y="1248"/>
                    <a:pt x="346" y="1251"/>
                  </a:cubicBezTo>
                  <a:cubicBezTo>
                    <a:pt x="347" y="1251"/>
                    <a:pt x="348" y="1254"/>
                    <a:pt x="349" y="1253"/>
                  </a:cubicBezTo>
                  <a:cubicBezTo>
                    <a:pt x="350" y="1249"/>
                    <a:pt x="340" y="1250"/>
                    <a:pt x="342" y="1245"/>
                  </a:cubicBezTo>
                  <a:cubicBezTo>
                    <a:pt x="344" y="1239"/>
                    <a:pt x="369" y="1239"/>
                    <a:pt x="374" y="1238"/>
                  </a:cubicBezTo>
                  <a:cubicBezTo>
                    <a:pt x="375" y="1238"/>
                    <a:pt x="376" y="1238"/>
                    <a:pt x="375" y="1238"/>
                  </a:cubicBezTo>
                  <a:cubicBezTo>
                    <a:pt x="375" y="1238"/>
                    <a:pt x="375" y="1238"/>
                    <a:pt x="374" y="1238"/>
                  </a:cubicBezTo>
                  <a:cubicBezTo>
                    <a:pt x="373" y="1238"/>
                    <a:pt x="372" y="1238"/>
                    <a:pt x="371" y="1238"/>
                  </a:cubicBezTo>
                  <a:cubicBezTo>
                    <a:pt x="352" y="1237"/>
                    <a:pt x="349" y="1240"/>
                    <a:pt x="338" y="1227"/>
                  </a:cubicBezTo>
                  <a:cubicBezTo>
                    <a:pt x="338" y="1227"/>
                    <a:pt x="334" y="1226"/>
                    <a:pt x="334" y="1225"/>
                  </a:cubicBezTo>
                  <a:cubicBezTo>
                    <a:pt x="339" y="1219"/>
                    <a:pt x="353" y="1224"/>
                    <a:pt x="359" y="1218"/>
                  </a:cubicBezTo>
                  <a:cubicBezTo>
                    <a:pt x="363" y="1215"/>
                    <a:pt x="346" y="1214"/>
                    <a:pt x="348" y="1209"/>
                  </a:cubicBezTo>
                  <a:cubicBezTo>
                    <a:pt x="352" y="1202"/>
                    <a:pt x="367" y="1211"/>
                    <a:pt x="370" y="1210"/>
                  </a:cubicBezTo>
                  <a:cubicBezTo>
                    <a:pt x="376" y="1210"/>
                    <a:pt x="379" y="1199"/>
                    <a:pt x="381" y="1199"/>
                  </a:cubicBezTo>
                  <a:cubicBezTo>
                    <a:pt x="397" y="1200"/>
                    <a:pt x="388" y="1225"/>
                    <a:pt x="389" y="1226"/>
                  </a:cubicBezTo>
                  <a:cubicBezTo>
                    <a:pt x="394" y="1227"/>
                    <a:pt x="398" y="1217"/>
                    <a:pt x="403" y="1216"/>
                  </a:cubicBezTo>
                  <a:cubicBezTo>
                    <a:pt x="406" y="1215"/>
                    <a:pt x="424" y="1215"/>
                    <a:pt x="423" y="1209"/>
                  </a:cubicBezTo>
                  <a:cubicBezTo>
                    <a:pt x="423" y="1207"/>
                    <a:pt x="419" y="1212"/>
                    <a:pt x="417" y="1212"/>
                  </a:cubicBezTo>
                  <a:cubicBezTo>
                    <a:pt x="412" y="1213"/>
                    <a:pt x="396" y="1216"/>
                    <a:pt x="395" y="1211"/>
                  </a:cubicBezTo>
                  <a:cubicBezTo>
                    <a:pt x="393" y="1198"/>
                    <a:pt x="424" y="1204"/>
                    <a:pt x="424" y="1198"/>
                  </a:cubicBezTo>
                  <a:cubicBezTo>
                    <a:pt x="424" y="1197"/>
                    <a:pt x="418" y="1199"/>
                    <a:pt x="417" y="1200"/>
                  </a:cubicBezTo>
                  <a:cubicBezTo>
                    <a:pt x="409" y="1200"/>
                    <a:pt x="409" y="1196"/>
                    <a:pt x="404" y="1195"/>
                  </a:cubicBezTo>
                  <a:cubicBezTo>
                    <a:pt x="402" y="1194"/>
                    <a:pt x="407" y="1199"/>
                    <a:pt x="407" y="1201"/>
                  </a:cubicBezTo>
                  <a:cubicBezTo>
                    <a:pt x="406" y="1203"/>
                    <a:pt x="398" y="1200"/>
                    <a:pt x="397" y="1200"/>
                  </a:cubicBezTo>
                  <a:cubicBezTo>
                    <a:pt x="395" y="1199"/>
                    <a:pt x="394" y="1198"/>
                    <a:pt x="394" y="1196"/>
                  </a:cubicBezTo>
                  <a:cubicBezTo>
                    <a:pt x="395" y="1195"/>
                    <a:pt x="413" y="1184"/>
                    <a:pt x="415" y="1186"/>
                  </a:cubicBezTo>
                  <a:cubicBezTo>
                    <a:pt x="416" y="1186"/>
                    <a:pt x="412" y="1191"/>
                    <a:pt x="415" y="1193"/>
                  </a:cubicBezTo>
                  <a:cubicBezTo>
                    <a:pt x="416" y="1193"/>
                    <a:pt x="417" y="1194"/>
                    <a:pt x="417" y="1193"/>
                  </a:cubicBezTo>
                  <a:cubicBezTo>
                    <a:pt x="419" y="1193"/>
                    <a:pt x="421" y="1184"/>
                    <a:pt x="425" y="1183"/>
                  </a:cubicBezTo>
                  <a:cubicBezTo>
                    <a:pt x="426" y="1184"/>
                    <a:pt x="428" y="1185"/>
                    <a:pt x="430" y="1186"/>
                  </a:cubicBezTo>
                  <a:cubicBezTo>
                    <a:pt x="430" y="1187"/>
                    <a:pt x="430" y="1189"/>
                    <a:pt x="431" y="1189"/>
                  </a:cubicBezTo>
                  <a:cubicBezTo>
                    <a:pt x="431" y="1189"/>
                    <a:pt x="431" y="1189"/>
                    <a:pt x="432" y="1189"/>
                  </a:cubicBezTo>
                  <a:cubicBezTo>
                    <a:pt x="432" y="1188"/>
                    <a:pt x="431" y="1187"/>
                    <a:pt x="430" y="1186"/>
                  </a:cubicBezTo>
                  <a:cubicBezTo>
                    <a:pt x="430" y="1185"/>
                    <a:pt x="429" y="1185"/>
                    <a:pt x="429" y="1185"/>
                  </a:cubicBezTo>
                  <a:cubicBezTo>
                    <a:pt x="428" y="1183"/>
                    <a:pt x="426" y="1183"/>
                    <a:pt x="425" y="1183"/>
                  </a:cubicBezTo>
                  <a:cubicBezTo>
                    <a:pt x="425" y="1183"/>
                    <a:pt x="425" y="1182"/>
                    <a:pt x="425" y="1182"/>
                  </a:cubicBezTo>
                  <a:cubicBezTo>
                    <a:pt x="425" y="1180"/>
                    <a:pt x="443" y="1173"/>
                    <a:pt x="444" y="1174"/>
                  </a:cubicBezTo>
                  <a:cubicBezTo>
                    <a:pt x="450" y="1176"/>
                    <a:pt x="468" y="1208"/>
                    <a:pt x="461" y="1216"/>
                  </a:cubicBezTo>
                  <a:cubicBezTo>
                    <a:pt x="460" y="1217"/>
                    <a:pt x="454" y="1219"/>
                    <a:pt x="455" y="1221"/>
                  </a:cubicBezTo>
                  <a:cubicBezTo>
                    <a:pt x="456" y="1223"/>
                    <a:pt x="467" y="1216"/>
                    <a:pt x="469" y="1216"/>
                  </a:cubicBezTo>
                  <a:cubicBezTo>
                    <a:pt x="473" y="1215"/>
                    <a:pt x="482" y="1219"/>
                    <a:pt x="488" y="1220"/>
                  </a:cubicBezTo>
                  <a:cubicBezTo>
                    <a:pt x="490" y="1221"/>
                    <a:pt x="491" y="1221"/>
                    <a:pt x="492" y="1222"/>
                  </a:cubicBezTo>
                  <a:cubicBezTo>
                    <a:pt x="493" y="1225"/>
                    <a:pt x="491" y="1232"/>
                    <a:pt x="493" y="1230"/>
                  </a:cubicBezTo>
                  <a:cubicBezTo>
                    <a:pt x="499" y="1227"/>
                    <a:pt x="497" y="1224"/>
                    <a:pt x="492" y="1222"/>
                  </a:cubicBezTo>
                  <a:cubicBezTo>
                    <a:pt x="492" y="1221"/>
                    <a:pt x="491" y="1220"/>
                    <a:pt x="491" y="1220"/>
                  </a:cubicBezTo>
                  <a:cubicBezTo>
                    <a:pt x="490" y="1220"/>
                    <a:pt x="489" y="1220"/>
                    <a:pt x="488" y="1220"/>
                  </a:cubicBezTo>
                  <a:cubicBezTo>
                    <a:pt x="479" y="1216"/>
                    <a:pt x="468" y="1212"/>
                    <a:pt x="477" y="1205"/>
                  </a:cubicBezTo>
                  <a:cubicBezTo>
                    <a:pt x="494" y="1193"/>
                    <a:pt x="548" y="1213"/>
                    <a:pt x="551" y="1201"/>
                  </a:cubicBezTo>
                  <a:cubicBezTo>
                    <a:pt x="552" y="1198"/>
                    <a:pt x="537" y="1200"/>
                    <a:pt x="538" y="1193"/>
                  </a:cubicBezTo>
                  <a:cubicBezTo>
                    <a:pt x="538" y="1192"/>
                    <a:pt x="545" y="1184"/>
                    <a:pt x="549" y="1183"/>
                  </a:cubicBezTo>
                  <a:cubicBezTo>
                    <a:pt x="551" y="1183"/>
                    <a:pt x="551" y="1183"/>
                    <a:pt x="551" y="1182"/>
                  </a:cubicBezTo>
                  <a:cubicBezTo>
                    <a:pt x="552" y="1181"/>
                    <a:pt x="552" y="1180"/>
                    <a:pt x="552" y="1180"/>
                  </a:cubicBezTo>
                  <a:cubicBezTo>
                    <a:pt x="550" y="1177"/>
                    <a:pt x="528" y="1188"/>
                    <a:pt x="529" y="1187"/>
                  </a:cubicBezTo>
                  <a:cubicBezTo>
                    <a:pt x="539" y="1168"/>
                    <a:pt x="599" y="1153"/>
                    <a:pt x="600" y="1151"/>
                  </a:cubicBezTo>
                  <a:cubicBezTo>
                    <a:pt x="605" y="1136"/>
                    <a:pt x="568" y="1146"/>
                    <a:pt x="567" y="1138"/>
                  </a:cubicBezTo>
                  <a:cubicBezTo>
                    <a:pt x="566" y="1129"/>
                    <a:pt x="604" y="1124"/>
                    <a:pt x="603" y="1118"/>
                  </a:cubicBezTo>
                  <a:cubicBezTo>
                    <a:pt x="603" y="1114"/>
                    <a:pt x="582" y="1119"/>
                    <a:pt x="580" y="1113"/>
                  </a:cubicBezTo>
                  <a:cubicBezTo>
                    <a:pt x="579" y="1108"/>
                    <a:pt x="595" y="1106"/>
                    <a:pt x="591" y="1103"/>
                  </a:cubicBezTo>
                  <a:cubicBezTo>
                    <a:pt x="583" y="1099"/>
                    <a:pt x="576" y="1118"/>
                    <a:pt x="570" y="1122"/>
                  </a:cubicBezTo>
                  <a:cubicBezTo>
                    <a:pt x="561" y="1129"/>
                    <a:pt x="524" y="1139"/>
                    <a:pt x="521" y="1149"/>
                  </a:cubicBezTo>
                  <a:cubicBezTo>
                    <a:pt x="521" y="1150"/>
                    <a:pt x="531" y="1145"/>
                    <a:pt x="532" y="1144"/>
                  </a:cubicBezTo>
                  <a:cubicBezTo>
                    <a:pt x="536" y="1141"/>
                    <a:pt x="567" y="1130"/>
                    <a:pt x="566" y="1144"/>
                  </a:cubicBezTo>
                  <a:cubicBezTo>
                    <a:pt x="565" y="1156"/>
                    <a:pt x="472" y="1203"/>
                    <a:pt x="463" y="1194"/>
                  </a:cubicBezTo>
                  <a:cubicBezTo>
                    <a:pt x="460" y="1191"/>
                    <a:pt x="462" y="1184"/>
                    <a:pt x="461" y="1181"/>
                  </a:cubicBezTo>
                  <a:cubicBezTo>
                    <a:pt x="460" y="1177"/>
                    <a:pt x="448" y="1175"/>
                    <a:pt x="452" y="1167"/>
                  </a:cubicBezTo>
                  <a:cubicBezTo>
                    <a:pt x="454" y="1162"/>
                    <a:pt x="492" y="1158"/>
                    <a:pt x="471" y="1159"/>
                  </a:cubicBezTo>
                  <a:cubicBezTo>
                    <a:pt x="468" y="1159"/>
                    <a:pt x="474" y="1154"/>
                    <a:pt x="474" y="1153"/>
                  </a:cubicBezTo>
                  <a:cubicBezTo>
                    <a:pt x="473" y="1152"/>
                    <a:pt x="430" y="1173"/>
                    <a:pt x="429" y="1170"/>
                  </a:cubicBezTo>
                  <a:cubicBezTo>
                    <a:pt x="422" y="1160"/>
                    <a:pt x="445" y="1159"/>
                    <a:pt x="450" y="1155"/>
                  </a:cubicBezTo>
                  <a:cubicBezTo>
                    <a:pt x="450" y="1155"/>
                    <a:pt x="430" y="1158"/>
                    <a:pt x="429" y="1155"/>
                  </a:cubicBezTo>
                  <a:cubicBezTo>
                    <a:pt x="428" y="1149"/>
                    <a:pt x="474" y="1135"/>
                    <a:pt x="477" y="1132"/>
                  </a:cubicBezTo>
                  <a:cubicBezTo>
                    <a:pt x="480" y="1130"/>
                    <a:pt x="487" y="1133"/>
                    <a:pt x="487" y="1130"/>
                  </a:cubicBezTo>
                  <a:cubicBezTo>
                    <a:pt x="487" y="1120"/>
                    <a:pt x="468" y="1136"/>
                    <a:pt x="465" y="1132"/>
                  </a:cubicBezTo>
                  <a:cubicBezTo>
                    <a:pt x="464" y="1131"/>
                    <a:pt x="481" y="1126"/>
                    <a:pt x="481" y="1123"/>
                  </a:cubicBezTo>
                  <a:cubicBezTo>
                    <a:pt x="481" y="1120"/>
                    <a:pt x="465" y="1128"/>
                    <a:pt x="464" y="1127"/>
                  </a:cubicBezTo>
                  <a:cubicBezTo>
                    <a:pt x="464" y="1126"/>
                    <a:pt x="468" y="1121"/>
                    <a:pt x="469" y="1120"/>
                  </a:cubicBezTo>
                  <a:cubicBezTo>
                    <a:pt x="470" y="1114"/>
                    <a:pt x="465" y="1105"/>
                    <a:pt x="470" y="1103"/>
                  </a:cubicBezTo>
                  <a:cubicBezTo>
                    <a:pt x="472" y="1103"/>
                    <a:pt x="490" y="1111"/>
                    <a:pt x="489" y="1103"/>
                  </a:cubicBezTo>
                  <a:cubicBezTo>
                    <a:pt x="489" y="1099"/>
                    <a:pt x="479" y="1105"/>
                    <a:pt x="479" y="1102"/>
                  </a:cubicBezTo>
                  <a:cubicBezTo>
                    <a:pt x="483" y="1089"/>
                    <a:pt x="489" y="1094"/>
                    <a:pt x="502" y="1093"/>
                  </a:cubicBezTo>
                  <a:cubicBezTo>
                    <a:pt x="507" y="1092"/>
                    <a:pt x="490" y="1089"/>
                    <a:pt x="492" y="1085"/>
                  </a:cubicBezTo>
                  <a:cubicBezTo>
                    <a:pt x="495" y="1076"/>
                    <a:pt x="510" y="1083"/>
                    <a:pt x="514" y="1076"/>
                  </a:cubicBezTo>
                  <a:cubicBezTo>
                    <a:pt x="514" y="1076"/>
                    <a:pt x="508" y="1061"/>
                    <a:pt x="518" y="1070"/>
                  </a:cubicBezTo>
                  <a:cubicBezTo>
                    <a:pt x="521" y="1073"/>
                    <a:pt x="514" y="1065"/>
                    <a:pt x="516" y="1065"/>
                  </a:cubicBezTo>
                  <a:cubicBezTo>
                    <a:pt x="520" y="1065"/>
                    <a:pt x="524" y="1072"/>
                    <a:pt x="528" y="1067"/>
                  </a:cubicBezTo>
                  <a:cubicBezTo>
                    <a:pt x="532" y="1062"/>
                    <a:pt x="507" y="1064"/>
                    <a:pt x="511" y="1059"/>
                  </a:cubicBezTo>
                  <a:cubicBezTo>
                    <a:pt x="513" y="1056"/>
                    <a:pt x="530" y="1054"/>
                    <a:pt x="537" y="1062"/>
                  </a:cubicBezTo>
                  <a:cubicBezTo>
                    <a:pt x="537" y="1063"/>
                    <a:pt x="541" y="1065"/>
                    <a:pt x="542" y="1065"/>
                  </a:cubicBezTo>
                  <a:cubicBezTo>
                    <a:pt x="542" y="1065"/>
                    <a:pt x="545" y="1065"/>
                    <a:pt x="545" y="1065"/>
                  </a:cubicBezTo>
                  <a:cubicBezTo>
                    <a:pt x="545" y="1065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5" y="1063"/>
                    <a:pt x="545" y="1063"/>
                  </a:cubicBezTo>
                  <a:cubicBezTo>
                    <a:pt x="542" y="1059"/>
                    <a:pt x="541" y="1054"/>
                    <a:pt x="537" y="1054"/>
                  </a:cubicBezTo>
                  <a:cubicBezTo>
                    <a:pt x="537" y="1054"/>
                    <a:pt x="526" y="1056"/>
                    <a:pt x="528" y="1053"/>
                  </a:cubicBezTo>
                  <a:cubicBezTo>
                    <a:pt x="531" y="1049"/>
                    <a:pt x="539" y="1048"/>
                    <a:pt x="543" y="1050"/>
                  </a:cubicBezTo>
                  <a:cubicBezTo>
                    <a:pt x="545" y="1051"/>
                    <a:pt x="540" y="1045"/>
                    <a:pt x="541" y="1044"/>
                  </a:cubicBezTo>
                  <a:cubicBezTo>
                    <a:pt x="544" y="1042"/>
                    <a:pt x="547" y="1047"/>
                    <a:pt x="548" y="1048"/>
                  </a:cubicBezTo>
                  <a:cubicBezTo>
                    <a:pt x="549" y="1049"/>
                    <a:pt x="551" y="1051"/>
                    <a:pt x="550" y="1048"/>
                  </a:cubicBezTo>
                  <a:cubicBezTo>
                    <a:pt x="550" y="1046"/>
                    <a:pt x="555" y="1046"/>
                    <a:pt x="556" y="1045"/>
                  </a:cubicBezTo>
                  <a:cubicBezTo>
                    <a:pt x="558" y="1041"/>
                    <a:pt x="549" y="1036"/>
                    <a:pt x="551" y="1033"/>
                  </a:cubicBezTo>
                  <a:cubicBezTo>
                    <a:pt x="561" y="1022"/>
                    <a:pt x="575" y="1056"/>
                    <a:pt x="577" y="1055"/>
                  </a:cubicBezTo>
                  <a:cubicBezTo>
                    <a:pt x="579" y="1054"/>
                    <a:pt x="588" y="1050"/>
                    <a:pt x="589" y="1056"/>
                  </a:cubicBezTo>
                  <a:cubicBezTo>
                    <a:pt x="590" y="1060"/>
                    <a:pt x="577" y="1071"/>
                    <a:pt x="579" y="1073"/>
                  </a:cubicBezTo>
                  <a:cubicBezTo>
                    <a:pt x="580" y="1074"/>
                    <a:pt x="585" y="1067"/>
                    <a:pt x="585" y="1066"/>
                  </a:cubicBezTo>
                  <a:cubicBezTo>
                    <a:pt x="588" y="1063"/>
                    <a:pt x="593" y="1054"/>
                    <a:pt x="595" y="1053"/>
                  </a:cubicBezTo>
                  <a:cubicBezTo>
                    <a:pt x="596" y="1053"/>
                    <a:pt x="617" y="1050"/>
                    <a:pt x="617" y="1049"/>
                  </a:cubicBezTo>
                  <a:cubicBezTo>
                    <a:pt x="618" y="1046"/>
                    <a:pt x="593" y="1057"/>
                    <a:pt x="599" y="1045"/>
                  </a:cubicBezTo>
                  <a:cubicBezTo>
                    <a:pt x="605" y="1035"/>
                    <a:pt x="607" y="1042"/>
                    <a:pt x="613" y="1038"/>
                  </a:cubicBezTo>
                  <a:cubicBezTo>
                    <a:pt x="615" y="1037"/>
                    <a:pt x="628" y="1032"/>
                    <a:pt x="628" y="1031"/>
                  </a:cubicBezTo>
                  <a:cubicBezTo>
                    <a:pt x="627" y="1028"/>
                    <a:pt x="616" y="1034"/>
                    <a:pt x="615" y="1032"/>
                  </a:cubicBezTo>
                  <a:cubicBezTo>
                    <a:pt x="612" y="1028"/>
                    <a:pt x="599" y="1040"/>
                    <a:pt x="594" y="1014"/>
                  </a:cubicBezTo>
                  <a:cubicBezTo>
                    <a:pt x="594" y="1014"/>
                    <a:pt x="602" y="1011"/>
                    <a:pt x="603" y="1011"/>
                  </a:cubicBezTo>
                  <a:cubicBezTo>
                    <a:pt x="612" y="1007"/>
                    <a:pt x="631" y="1004"/>
                    <a:pt x="634" y="1001"/>
                  </a:cubicBezTo>
                  <a:cubicBezTo>
                    <a:pt x="638" y="996"/>
                    <a:pt x="621" y="1001"/>
                    <a:pt x="616" y="997"/>
                  </a:cubicBezTo>
                  <a:cubicBezTo>
                    <a:pt x="613" y="994"/>
                    <a:pt x="626" y="996"/>
                    <a:pt x="629" y="992"/>
                  </a:cubicBezTo>
                  <a:cubicBezTo>
                    <a:pt x="629" y="991"/>
                    <a:pt x="617" y="997"/>
                    <a:pt x="617" y="994"/>
                  </a:cubicBezTo>
                  <a:cubicBezTo>
                    <a:pt x="618" y="987"/>
                    <a:pt x="657" y="975"/>
                    <a:pt x="662" y="977"/>
                  </a:cubicBezTo>
                  <a:cubicBezTo>
                    <a:pt x="662" y="977"/>
                    <a:pt x="668" y="982"/>
                    <a:pt x="668" y="979"/>
                  </a:cubicBezTo>
                  <a:cubicBezTo>
                    <a:pt x="668" y="977"/>
                    <a:pt x="664" y="976"/>
                    <a:pt x="663" y="975"/>
                  </a:cubicBezTo>
                  <a:cubicBezTo>
                    <a:pt x="638" y="962"/>
                    <a:pt x="601" y="1013"/>
                    <a:pt x="581" y="1010"/>
                  </a:cubicBezTo>
                  <a:cubicBezTo>
                    <a:pt x="580" y="1010"/>
                    <a:pt x="598" y="1002"/>
                    <a:pt x="598" y="998"/>
                  </a:cubicBezTo>
                  <a:cubicBezTo>
                    <a:pt x="596" y="994"/>
                    <a:pt x="574" y="1004"/>
                    <a:pt x="583" y="994"/>
                  </a:cubicBezTo>
                  <a:cubicBezTo>
                    <a:pt x="584" y="992"/>
                    <a:pt x="624" y="988"/>
                    <a:pt x="621" y="984"/>
                  </a:cubicBezTo>
                  <a:cubicBezTo>
                    <a:pt x="620" y="982"/>
                    <a:pt x="583" y="996"/>
                    <a:pt x="581" y="991"/>
                  </a:cubicBezTo>
                  <a:cubicBezTo>
                    <a:pt x="581" y="991"/>
                    <a:pt x="581" y="991"/>
                    <a:pt x="581" y="991"/>
                  </a:cubicBezTo>
                  <a:cubicBezTo>
                    <a:pt x="582" y="990"/>
                    <a:pt x="582" y="989"/>
                    <a:pt x="582" y="988"/>
                  </a:cubicBezTo>
                  <a:cubicBezTo>
                    <a:pt x="586" y="985"/>
                    <a:pt x="596" y="984"/>
                    <a:pt x="603" y="983"/>
                  </a:cubicBezTo>
                  <a:cubicBezTo>
                    <a:pt x="605" y="984"/>
                    <a:pt x="608" y="983"/>
                    <a:pt x="610" y="982"/>
                  </a:cubicBezTo>
                  <a:cubicBezTo>
                    <a:pt x="611" y="982"/>
                    <a:pt x="612" y="982"/>
                    <a:pt x="612" y="982"/>
                  </a:cubicBezTo>
                  <a:cubicBezTo>
                    <a:pt x="612" y="982"/>
                    <a:pt x="611" y="982"/>
                    <a:pt x="610" y="982"/>
                  </a:cubicBezTo>
                  <a:cubicBezTo>
                    <a:pt x="609" y="983"/>
                    <a:pt x="606" y="983"/>
                    <a:pt x="603" y="983"/>
                  </a:cubicBezTo>
                  <a:cubicBezTo>
                    <a:pt x="602" y="982"/>
                    <a:pt x="602" y="982"/>
                    <a:pt x="602" y="980"/>
                  </a:cubicBezTo>
                  <a:cubicBezTo>
                    <a:pt x="602" y="979"/>
                    <a:pt x="605" y="979"/>
                    <a:pt x="606" y="979"/>
                  </a:cubicBezTo>
                  <a:cubicBezTo>
                    <a:pt x="614" y="973"/>
                    <a:pt x="621" y="982"/>
                    <a:pt x="633" y="973"/>
                  </a:cubicBezTo>
                  <a:cubicBezTo>
                    <a:pt x="634" y="972"/>
                    <a:pt x="641" y="951"/>
                    <a:pt x="649" y="965"/>
                  </a:cubicBezTo>
                  <a:cubicBezTo>
                    <a:pt x="651" y="968"/>
                    <a:pt x="657" y="962"/>
                    <a:pt x="660" y="963"/>
                  </a:cubicBezTo>
                  <a:cubicBezTo>
                    <a:pt x="664" y="964"/>
                    <a:pt x="663" y="971"/>
                    <a:pt x="665" y="971"/>
                  </a:cubicBezTo>
                  <a:cubicBezTo>
                    <a:pt x="669" y="971"/>
                    <a:pt x="664" y="965"/>
                    <a:pt x="665" y="963"/>
                  </a:cubicBezTo>
                  <a:cubicBezTo>
                    <a:pt x="668" y="958"/>
                    <a:pt x="731" y="944"/>
                    <a:pt x="733" y="921"/>
                  </a:cubicBezTo>
                  <a:cubicBezTo>
                    <a:pt x="733" y="917"/>
                    <a:pt x="722" y="928"/>
                    <a:pt x="721" y="929"/>
                  </a:cubicBezTo>
                  <a:cubicBezTo>
                    <a:pt x="712" y="936"/>
                    <a:pt x="695" y="955"/>
                    <a:pt x="682" y="948"/>
                  </a:cubicBezTo>
                  <a:cubicBezTo>
                    <a:pt x="681" y="947"/>
                    <a:pt x="680" y="945"/>
                    <a:pt x="682" y="944"/>
                  </a:cubicBezTo>
                  <a:cubicBezTo>
                    <a:pt x="683" y="943"/>
                    <a:pt x="694" y="942"/>
                    <a:pt x="692" y="940"/>
                  </a:cubicBezTo>
                  <a:cubicBezTo>
                    <a:pt x="691" y="939"/>
                    <a:pt x="688" y="940"/>
                    <a:pt x="687" y="938"/>
                  </a:cubicBezTo>
                  <a:cubicBezTo>
                    <a:pt x="686" y="933"/>
                    <a:pt x="676" y="938"/>
                    <a:pt x="682" y="933"/>
                  </a:cubicBezTo>
                  <a:cubicBezTo>
                    <a:pt x="685" y="931"/>
                    <a:pt x="711" y="934"/>
                    <a:pt x="712" y="932"/>
                  </a:cubicBezTo>
                  <a:cubicBezTo>
                    <a:pt x="712" y="930"/>
                    <a:pt x="702" y="928"/>
                    <a:pt x="701" y="930"/>
                  </a:cubicBezTo>
                  <a:cubicBezTo>
                    <a:pt x="697" y="933"/>
                    <a:pt x="687" y="929"/>
                    <a:pt x="681" y="929"/>
                  </a:cubicBezTo>
                  <a:cubicBezTo>
                    <a:pt x="679" y="929"/>
                    <a:pt x="672" y="938"/>
                    <a:pt x="670" y="935"/>
                  </a:cubicBezTo>
                  <a:cubicBezTo>
                    <a:pt x="670" y="935"/>
                    <a:pt x="679" y="924"/>
                    <a:pt x="680" y="924"/>
                  </a:cubicBezTo>
                  <a:cubicBezTo>
                    <a:pt x="689" y="923"/>
                    <a:pt x="692" y="908"/>
                    <a:pt x="704" y="918"/>
                  </a:cubicBezTo>
                  <a:cubicBezTo>
                    <a:pt x="705" y="918"/>
                    <a:pt x="708" y="924"/>
                    <a:pt x="709" y="920"/>
                  </a:cubicBezTo>
                  <a:cubicBezTo>
                    <a:pt x="710" y="919"/>
                    <a:pt x="700" y="914"/>
                    <a:pt x="694" y="908"/>
                  </a:cubicBezTo>
                  <a:cubicBezTo>
                    <a:pt x="694" y="907"/>
                    <a:pt x="689" y="903"/>
                    <a:pt x="691" y="902"/>
                  </a:cubicBezTo>
                  <a:cubicBezTo>
                    <a:pt x="702" y="897"/>
                    <a:pt x="702" y="916"/>
                    <a:pt x="711" y="914"/>
                  </a:cubicBezTo>
                  <a:cubicBezTo>
                    <a:pt x="716" y="914"/>
                    <a:pt x="704" y="902"/>
                    <a:pt x="708" y="902"/>
                  </a:cubicBezTo>
                  <a:cubicBezTo>
                    <a:pt x="710" y="901"/>
                    <a:pt x="716" y="902"/>
                    <a:pt x="717" y="901"/>
                  </a:cubicBezTo>
                  <a:cubicBezTo>
                    <a:pt x="718" y="900"/>
                    <a:pt x="703" y="901"/>
                    <a:pt x="702" y="900"/>
                  </a:cubicBezTo>
                  <a:cubicBezTo>
                    <a:pt x="702" y="899"/>
                    <a:pt x="707" y="898"/>
                    <a:pt x="706" y="897"/>
                  </a:cubicBezTo>
                  <a:cubicBezTo>
                    <a:pt x="706" y="897"/>
                    <a:pt x="699" y="897"/>
                    <a:pt x="698" y="893"/>
                  </a:cubicBezTo>
                  <a:cubicBezTo>
                    <a:pt x="697" y="889"/>
                    <a:pt x="702" y="884"/>
                    <a:pt x="699" y="880"/>
                  </a:cubicBezTo>
                  <a:cubicBezTo>
                    <a:pt x="699" y="879"/>
                    <a:pt x="697" y="884"/>
                    <a:pt x="697" y="884"/>
                  </a:cubicBezTo>
                  <a:cubicBezTo>
                    <a:pt x="697" y="893"/>
                    <a:pt x="690" y="890"/>
                    <a:pt x="691" y="889"/>
                  </a:cubicBezTo>
                  <a:cubicBezTo>
                    <a:pt x="696" y="884"/>
                    <a:pt x="697" y="878"/>
                    <a:pt x="691" y="887"/>
                  </a:cubicBezTo>
                  <a:cubicBezTo>
                    <a:pt x="689" y="889"/>
                    <a:pt x="685" y="892"/>
                    <a:pt x="683" y="887"/>
                  </a:cubicBezTo>
                  <a:cubicBezTo>
                    <a:pt x="682" y="884"/>
                    <a:pt x="687" y="880"/>
                    <a:pt x="684" y="880"/>
                  </a:cubicBezTo>
                  <a:cubicBezTo>
                    <a:pt x="683" y="880"/>
                    <a:pt x="680" y="882"/>
                    <a:pt x="680" y="880"/>
                  </a:cubicBezTo>
                  <a:cubicBezTo>
                    <a:pt x="678" y="845"/>
                    <a:pt x="706" y="872"/>
                    <a:pt x="711" y="873"/>
                  </a:cubicBezTo>
                  <a:cubicBezTo>
                    <a:pt x="713" y="873"/>
                    <a:pt x="717" y="877"/>
                    <a:pt x="718" y="873"/>
                  </a:cubicBezTo>
                  <a:cubicBezTo>
                    <a:pt x="719" y="870"/>
                    <a:pt x="709" y="870"/>
                    <a:pt x="708" y="870"/>
                  </a:cubicBezTo>
                  <a:cubicBezTo>
                    <a:pt x="703" y="867"/>
                    <a:pt x="697" y="862"/>
                    <a:pt x="697" y="856"/>
                  </a:cubicBezTo>
                  <a:cubicBezTo>
                    <a:pt x="697" y="854"/>
                    <a:pt x="705" y="847"/>
                    <a:pt x="706" y="847"/>
                  </a:cubicBezTo>
                  <a:cubicBezTo>
                    <a:pt x="707" y="847"/>
                    <a:pt x="711" y="853"/>
                    <a:pt x="712" y="850"/>
                  </a:cubicBezTo>
                  <a:cubicBezTo>
                    <a:pt x="715" y="838"/>
                    <a:pt x="700" y="851"/>
                    <a:pt x="706" y="833"/>
                  </a:cubicBezTo>
                  <a:cubicBezTo>
                    <a:pt x="710" y="818"/>
                    <a:pt x="731" y="825"/>
                    <a:pt x="740" y="829"/>
                  </a:cubicBezTo>
                  <a:cubicBezTo>
                    <a:pt x="742" y="830"/>
                    <a:pt x="752" y="841"/>
                    <a:pt x="753" y="840"/>
                  </a:cubicBezTo>
                  <a:cubicBezTo>
                    <a:pt x="761" y="827"/>
                    <a:pt x="731" y="826"/>
                    <a:pt x="731" y="820"/>
                  </a:cubicBezTo>
                  <a:cubicBezTo>
                    <a:pt x="730" y="814"/>
                    <a:pt x="746" y="809"/>
                    <a:pt x="741" y="805"/>
                  </a:cubicBezTo>
                  <a:cubicBezTo>
                    <a:pt x="740" y="805"/>
                    <a:pt x="702" y="815"/>
                    <a:pt x="708" y="807"/>
                  </a:cubicBezTo>
                  <a:cubicBezTo>
                    <a:pt x="712" y="802"/>
                    <a:pt x="782" y="779"/>
                    <a:pt x="788" y="782"/>
                  </a:cubicBezTo>
                  <a:cubicBezTo>
                    <a:pt x="791" y="783"/>
                    <a:pt x="788" y="786"/>
                    <a:pt x="786" y="787"/>
                  </a:cubicBezTo>
                  <a:cubicBezTo>
                    <a:pt x="784" y="788"/>
                    <a:pt x="785" y="802"/>
                    <a:pt x="785" y="802"/>
                  </a:cubicBezTo>
                  <a:cubicBezTo>
                    <a:pt x="786" y="802"/>
                    <a:pt x="792" y="795"/>
                    <a:pt x="794" y="794"/>
                  </a:cubicBezTo>
                  <a:cubicBezTo>
                    <a:pt x="799" y="791"/>
                    <a:pt x="811" y="800"/>
                    <a:pt x="812" y="794"/>
                  </a:cubicBezTo>
                  <a:cubicBezTo>
                    <a:pt x="812" y="788"/>
                    <a:pt x="791" y="792"/>
                    <a:pt x="792" y="788"/>
                  </a:cubicBezTo>
                  <a:cubicBezTo>
                    <a:pt x="792" y="787"/>
                    <a:pt x="795" y="785"/>
                    <a:pt x="796" y="783"/>
                  </a:cubicBezTo>
                  <a:cubicBezTo>
                    <a:pt x="796" y="783"/>
                    <a:pt x="824" y="790"/>
                    <a:pt x="830" y="775"/>
                  </a:cubicBezTo>
                  <a:cubicBezTo>
                    <a:pt x="831" y="773"/>
                    <a:pt x="841" y="771"/>
                    <a:pt x="839" y="767"/>
                  </a:cubicBezTo>
                  <a:cubicBezTo>
                    <a:pt x="838" y="764"/>
                    <a:pt x="828" y="771"/>
                    <a:pt x="826" y="771"/>
                  </a:cubicBezTo>
                  <a:cubicBezTo>
                    <a:pt x="793" y="776"/>
                    <a:pt x="791" y="778"/>
                    <a:pt x="753" y="788"/>
                  </a:cubicBezTo>
                  <a:cubicBezTo>
                    <a:pt x="750" y="788"/>
                    <a:pt x="742" y="793"/>
                    <a:pt x="740" y="789"/>
                  </a:cubicBezTo>
                  <a:cubicBezTo>
                    <a:pt x="739" y="787"/>
                    <a:pt x="746" y="784"/>
                    <a:pt x="747" y="783"/>
                  </a:cubicBezTo>
                  <a:cubicBezTo>
                    <a:pt x="753" y="775"/>
                    <a:pt x="784" y="773"/>
                    <a:pt x="785" y="771"/>
                  </a:cubicBezTo>
                  <a:cubicBezTo>
                    <a:pt x="786" y="769"/>
                    <a:pt x="774" y="770"/>
                    <a:pt x="773" y="769"/>
                  </a:cubicBezTo>
                  <a:cubicBezTo>
                    <a:pt x="771" y="768"/>
                    <a:pt x="777" y="767"/>
                    <a:pt x="777" y="766"/>
                  </a:cubicBezTo>
                  <a:cubicBezTo>
                    <a:pt x="778" y="764"/>
                    <a:pt x="769" y="768"/>
                    <a:pt x="769" y="765"/>
                  </a:cubicBezTo>
                  <a:cubicBezTo>
                    <a:pt x="767" y="760"/>
                    <a:pt x="761" y="759"/>
                    <a:pt x="767" y="766"/>
                  </a:cubicBezTo>
                  <a:cubicBezTo>
                    <a:pt x="767" y="766"/>
                    <a:pt x="768" y="767"/>
                    <a:pt x="767" y="768"/>
                  </a:cubicBezTo>
                  <a:cubicBezTo>
                    <a:pt x="766" y="770"/>
                    <a:pt x="759" y="772"/>
                    <a:pt x="757" y="772"/>
                  </a:cubicBezTo>
                  <a:cubicBezTo>
                    <a:pt x="756" y="772"/>
                    <a:pt x="750" y="773"/>
                    <a:pt x="750" y="771"/>
                  </a:cubicBezTo>
                  <a:cubicBezTo>
                    <a:pt x="749" y="770"/>
                    <a:pt x="754" y="768"/>
                    <a:pt x="751" y="768"/>
                  </a:cubicBezTo>
                  <a:cubicBezTo>
                    <a:pt x="748" y="767"/>
                    <a:pt x="748" y="769"/>
                    <a:pt x="746" y="770"/>
                  </a:cubicBezTo>
                  <a:cubicBezTo>
                    <a:pt x="744" y="770"/>
                    <a:pt x="741" y="769"/>
                    <a:pt x="739" y="768"/>
                  </a:cubicBezTo>
                  <a:cubicBezTo>
                    <a:pt x="731" y="761"/>
                    <a:pt x="758" y="761"/>
                    <a:pt x="751" y="751"/>
                  </a:cubicBezTo>
                  <a:cubicBezTo>
                    <a:pt x="750" y="749"/>
                    <a:pt x="753" y="748"/>
                    <a:pt x="752" y="747"/>
                  </a:cubicBezTo>
                  <a:cubicBezTo>
                    <a:pt x="750" y="744"/>
                    <a:pt x="734" y="740"/>
                    <a:pt x="735" y="738"/>
                  </a:cubicBezTo>
                  <a:cubicBezTo>
                    <a:pt x="735" y="737"/>
                    <a:pt x="740" y="737"/>
                    <a:pt x="741" y="737"/>
                  </a:cubicBezTo>
                  <a:cubicBezTo>
                    <a:pt x="758" y="729"/>
                    <a:pt x="754" y="755"/>
                    <a:pt x="772" y="747"/>
                  </a:cubicBezTo>
                  <a:cubicBezTo>
                    <a:pt x="775" y="746"/>
                    <a:pt x="768" y="746"/>
                    <a:pt x="767" y="746"/>
                  </a:cubicBezTo>
                  <a:cubicBezTo>
                    <a:pt x="758" y="747"/>
                    <a:pt x="764" y="745"/>
                    <a:pt x="763" y="741"/>
                  </a:cubicBezTo>
                  <a:cubicBezTo>
                    <a:pt x="763" y="739"/>
                    <a:pt x="759" y="739"/>
                    <a:pt x="761" y="738"/>
                  </a:cubicBezTo>
                  <a:cubicBezTo>
                    <a:pt x="768" y="731"/>
                    <a:pt x="795" y="741"/>
                    <a:pt x="797" y="739"/>
                  </a:cubicBezTo>
                  <a:cubicBezTo>
                    <a:pt x="799" y="736"/>
                    <a:pt x="778" y="732"/>
                    <a:pt x="778" y="732"/>
                  </a:cubicBezTo>
                  <a:cubicBezTo>
                    <a:pt x="778" y="730"/>
                    <a:pt x="779" y="730"/>
                    <a:pt x="780" y="729"/>
                  </a:cubicBezTo>
                  <a:cubicBezTo>
                    <a:pt x="781" y="728"/>
                    <a:pt x="783" y="727"/>
                    <a:pt x="784" y="727"/>
                  </a:cubicBezTo>
                  <a:cubicBezTo>
                    <a:pt x="791" y="725"/>
                    <a:pt x="802" y="726"/>
                    <a:pt x="802" y="725"/>
                  </a:cubicBezTo>
                  <a:cubicBezTo>
                    <a:pt x="802" y="725"/>
                    <a:pt x="795" y="723"/>
                    <a:pt x="794" y="723"/>
                  </a:cubicBezTo>
                  <a:cubicBezTo>
                    <a:pt x="792" y="723"/>
                    <a:pt x="788" y="725"/>
                    <a:pt x="784" y="727"/>
                  </a:cubicBezTo>
                  <a:cubicBezTo>
                    <a:pt x="782" y="727"/>
                    <a:pt x="781" y="728"/>
                    <a:pt x="780" y="729"/>
                  </a:cubicBezTo>
                  <a:cubicBezTo>
                    <a:pt x="770" y="733"/>
                    <a:pt x="759" y="738"/>
                    <a:pt x="756" y="732"/>
                  </a:cubicBezTo>
                  <a:cubicBezTo>
                    <a:pt x="752" y="726"/>
                    <a:pt x="773" y="729"/>
                    <a:pt x="773" y="722"/>
                  </a:cubicBezTo>
                  <a:cubicBezTo>
                    <a:pt x="773" y="720"/>
                    <a:pt x="755" y="721"/>
                    <a:pt x="753" y="718"/>
                  </a:cubicBezTo>
                  <a:cubicBezTo>
                    <a:pt x="751" y="716"/>
                    <a:pt x="758" y="718"/>
                    <a:pt x="761" y="717"/>
                  </a:cubicBezTo>
                  <a:cubicBezTo>
                    <a:pt x="764" y="716"/>
                    <a:pt x="785" y="721"/>
                    <a:pt x="786" y="720"/>
                  </a:cubicBezTo>
                  <a:cubicBezTo>
                    <a:pt x="788" y="716"/>
                    <a:pt x="757" y="709"/>
                    <a:pt x="758" y="708"/>
                  </a:cubicBezTo>
                  <a:cubicBezTo>
                    <a:pt x="761" y="704"/>
                    <a:pt x="814" y="717"/>
                    <a:pt x="817" y="705"/>
                  </a:cubicBezTo>
                  <a:cubicBezTo>
                    <a:pt x="818" y="703"/>
                    <a:pt x="788" y="709"/>
                    <a:pt x="787" y="709"/>
                  </a:cubicBezTo>
                  <a:cubicBezTo>
                    <a:pt x="782" y="707"/>
                    <a:pt x="788" y="701"/>
                    <a:pt x="791" y="701"/>
                  </a:cubicBezTo>
                  <a:cubicBezTo>
                    <a:pt x="793" y="700"/>
                    <a:pt x="804" y="704"/>
                    <a:pt x="805" y="701"/>
                  </a:cubicBezTo>
                  <a:cubicBezTo>
                    <a:pt x="805" y="699"/>
                    <a:pt x="781" y="700"/>
                    <a:pt x="782" y="697"/>
                  </a:cubicBezTo>
                  <a:cubicBezTo>
                    <a:pt x="784" y="689"/>
                    <a:pt x="820" y="698"/>
                    <a:pt x="826" y="697"/>
                  </a:cubicBezTo>
                  <a:cubicBezTo>
                    <a:pt x="831" y="696"/>
                    <a:pt x="815" y="696"/>
                    <a:pt x="810" y="694"/>
                  </a:cubicBezTo>
                  <a:cubicBezTo>
                    <a:pt x="799" y="690"/>
                    <a:pt x="801" y="684"/>
                    <a:pt x="793" y="680"/>
                  </a:cubicBezTo>
                  <a:cubicBezTo>
                    <a:pt x="791" y="679"/>
                    <a:pt x="784" y="681"/>
                    <a:pt x="784" y="679"/>
                  </a:cubicBezTo>
                  <a:cubicBezTo>
                    <a:pt x="783" y="669"/>
                    <a:pt x="802" y="676"/>
                    <a:pt x="807" y="673"/>
                  </a:cubicBezTo>
                  <a:cubicBezTo>
                    <a:pt x="809" y="671"/>
                    <a:pt x="813" y="671"/>
                    <a:pt x="815" y="668"/>
                  </a:cubicBezTo>
                  <a:cubicBezTo>
                    <a:pt x="816" y="666"/>
                    <a:pt x="822" y="667"/>
                    <a:pt x="821" y="665"/>
                  </a:cubicBezTo>
                  <a:cubicBezTo>
                    <a:pt x="820" y="664"/>
                    <a:pt x="824" y="664"/>
                    <a:pt x="824" y="665"/>
                  </a:cubicBezTo>
                  <a:cubicBezTo>
                    <a:pt x="825" y="669"/>
                    <a:pt x="817" y="670"/>
                    <a:pt x="817" y="673"/>
                  </a:cubicBezTo>
                  <a:cubicBezTo>
                    <a:pt x="819" y="678"/>
                    <a:pt x="827" y="673"/>
                    <a:pt x="830" y="668"/>
                  </a:cubicBezTo>
                  <a:cubicBezTo>
                    <a:pt x="833" y="664"/>
                    <a:pt x="824" y="659"/>
                    <a:pt x="830" y="655"/>
                  </a:cubicBezTo>
                  <a:cubicBezTo>
                    <a:pt x="833" y="654"/>
                    <a:pt x="834" y="657"/>
                    <a:pt x="834" y="659"/>
                  </a:cubicBezTo>
                  <a:cubicBezTo>
                    <a:pt x="837" y="673"/>
                    <a:pt x="839" y="670"/>
                    <a:pt x="848" y="664"/>
                  </a:cubicBezTo>
                  <a:cubicBezTo>
                    <a:pt x="848" y="664"/>
                    <a:pt x="848" y="664"/>
                    <a:pt x="848" y="664"/>
                  </a:cubicBezTo>
                  <a:cubicBezTo>
                    <a:pt x="858" y="659"/>
                    <a:pt x="841" y="654"/>
                    <a:pt x="873" y="657"/>
                  </a:cubicBezTo>
                  <a:cubicBezTo>
                    <a:pt x="875" y="657"/>
                    <a:pt x="880" y="659"/>
                    <a:pt x="880" y="657"/>
                  </a:cubicBezTo>
                  <a:cubicBezTo>
                    <a:pt x="875" y="642"/>
                    <a:pt x="841" y="665"/>
                    <a:pt x="855" y="642"/>
                  </a:cubicBezTo>
                  <a:cubicBezTo>
                    <a:pt x="856" y="640"/>
                    <a:pt x="865" y="638"/>
                    <a:pt x="866" y="638"/>
                  </a:cubicBezTo>
                  <a:cubicBezTo>
                    <a:pt x="870" y="638"/>
                    <a:pt x="861" y="646"/>
                    <a:pt x="864" y="647"/>
                  </a:cubicBezTo>
                  <a:cubicBezTo>
                    <a:pt x="866" y="648"/>
                    <a:pt x="866" y="641"/>
                    <a:pt x="868" y="640"/>
                  </a:cubicBezTo>
                  <a:cubicBezTo>
                    <a:pt x="875" y="639"/>
                    <a:pt x="879" y="641"/>
                    <a:pt x="885" y="640"/>
                  </a:cubicBezTo>
                  <a:cubicBezTo>
                    <a:pt x="889" y="639"/>
                    <a:pt x="894" y="645"/>
                    <a:pt x="894" y="645"/>
                  </a:cubicBezTo>
                  <a:cubicBezTo>
                    <a:pt x="898" y="634"/>
                    <a:pt x="872" y="638"/>
                    <a:pt x="872" y="636"/>
                  </a:cubicBezTo>
                  <a:cubicBezTo>
                    <a:pt x="872" y="635"/>
                    <a:pt x="910" y="629"/>
                    <a:pt x="914" y="631"/>
                  </a:cubicBezTo>
                  <a:cubicBezTo>
                    <a:pt x="915" y="632"/>
                    <a:pt x="914" y="633"/>
                    <a:pt x="914" y="634"/>
                  </a:cubicBezTo>
                  <a:cubicBezTo>
                    <a:pt x="913" y="635"/>
                    <a:pt x="913" y="635"/>
                    <a:pt x="912" y="635"/>
                  </a:cubicBezTo>
                  <a:cubicBezTo>
                    <a:pt x="910" y="638"/>
                    <a:pt x="905" y="641"/>
                    <a:pt x="908" y="643"/>
                  </a:cubicBezTo>
                  <a:cubicBezTo>
                    <a:pt x="924" y="654"/>
                    <a:pt x="908" y="642"/>
                    <a:pt x="912" y="635"/>
                  </a:cubicBezTo>
                  <a:cubicBezTo>
                    <a:pt x="913" y="635"/>
                    <a:pt x="913" y="635"/>
                    <a:pt x="914" y="634"/>
                  </a:cubicBezTo>
                  <a:cubicBezTo>
                    <a:pt x="915" y="633"/>
                    <a:pt x="916" y="632"/>
                    <a:pt x="918" y="632"/>
                  </a:cubicBezTo>
                  <a:cubicBezTo>
                    <a:pt x="941" y="625"/>
                    <a:pt x="953" y="655"/>
                    <a:pt x="960" y="653"/>
                  </a:cubicBezTo>
                  <a:cubicBezTo>
                    <a:pt x="962" y="653"/>
                    <a:pt x="956" y="650"/>
                    <a:pt x="955" y="647"/>
                  </a:cubicBezTo>
                  <a:cubicBezTo>
                    <a:pt x="954" y="644"/>
                    <a:pt x="959" y="643"/>
                    <a:pt x="958" y="639"/>
                  </a:cubicBezTo>
                  <a:cubicBezTo>
                    <a:pt x="957" y="637"/>
                    <a:pt x="948" y="635"/>
                    <a:pt x="950" y="632"/>
                  </a:cubicBezTo>
                  <a:cubicBezTo>
                    <a:pt x="953" y="626"/>
                    <a:pt x="978" y="643"/>
                    <a:pt x="982" y="637"/>
                  </a:cubicBezTo>
                  <a:cubicBezTo>
                    <a:pt x="982" y="637"/>
                    <a:pt x="978" y="632"/>
                    <a:pt x="978" y="631"/>
                  </a:cubicBezTo>
                  <a:cubicBezTo>
                    <a:pt x="978" y="631"/>
                    <a:pt x="978" y="631"/>
                    <a:pt x="978" y="631"/>
                  </a:cubicBezTo>
                  <a:cubicBezTo>
                    <a:pt x="977" y="631"/>
                    <a:pt x="977" y="631"/>
                    <a:pt x="977" y="631"/>
                  </a:cubicBezTo>
                  <a:cubicBezTo>
                    <a:pt x="976" y="631"/>
                    <a:pt x="976" y="631"/>
                    <a:pt x="975" y="632"/>
                  </a:cubicBezTo>
                  <a:cubicBezTo>
                    <a:pt x="975" y="632"/>
                    <a:pt x="975" y="632"/>
                    <a:pt x="974" y="632"/>
                  </a:cubicBezTo>
                  <a:cubicBezTo>
                    <a:pt x="972" y="632"/>
                    <a:pt x="970" y="632"/>
                    <a:pt x="968" y="632"/>
                  </a:cubicBezTo>
                  <a:cubicBezTo>
                    <a:pt x="963" y="631"/>
                    <a:pt x="956" y="627"/>
                    <a:pt x="951" y="627"/>
                  </a:cubicBezTo>
                  <a:cubicBezTo>
                    <a:pt x="948" y="627"/>
                    <a:pt x="943" y="636"/>
                    <a:pt x="939" y="631"/>
                  </a:cubicBezTo>
                  <a:cubicBezTo>
                    <a:pt x="939" y="631"/>
                    <a:pt x="941" y="629"/>
                    <a:pt x="942" y="627"/>
                  </a:cubicBezTo>
                  <a:cubicBezTo>
                    <a:pt x="943" y="626"/>
                    <a:pt x="923" y="628"/>
                    <a:pt x="921" y="625"/>
                  </a:cubicBezTo>
                  <a:cubicBezTo>
                    <a:pt x="919" y="622"/>
                    <a:pt x="933" y="616"/>
                    <a:pt x="929" y="616"/>
                  </a:cubicBezTo>
                  <a:cubicBezTo>
                    <a:pt x="922" y="615"/>
                    <a:pt x="918" y="621"/>
                    <a:pt x="913" y="623"/>
                  </a:cubicBezTo>
                  <a:cubicBezTo>
                    <a:pt x="911" y="624"/>
                    <a:pt x="910" y="623"/>
                    <a:pt x="909" y="622"/>
                  </a:cubicBezTo>
                  <a:cubicBezTo>
                    <a:pt x="907" y="621"/>
                    <a:pt x="896" y="620"/>
                    <a:pt x="895" y="623"/>
                  </a:cubicBezTo>
                  <a:cubicBezTo>
                    <a:pt x="895" y="624"/>
                    <a:pt x="901" y="623"/>
                    <a:pt x="901" y="625"/>
                  </a:cubicBezTo>
                  <a:cubicBezTo>
                    <a:pt x="900" y="627"/>
                    <a:pt x="881" y="632"/>
                    <a:pt x="882" y="631"/>
                  </a:cubicBezTo>
                  <a:cubicBezTo>
                    <a:pt x="882" y="628"/>
                    <a:pt x="889" y="627"/>
                    <a:pt x="889" y="621"/>
                  </a:cubicBezTo>
                  <a:cubicBezTo>
                    <a:pt x="889" y="620"/>
                    <a:pt x="885" y="622"/>
                    <a:pt x="884" y="622"/>
                  </a:cubicBezTo>
                  <a:cubicBezTo>
                    <a:pt x="880" y="625"/>
                    <a:pt x="875" y="625"/>
                    <a:pt x="870" y="626"/>
                  </a:cubicBezTo>
                  <a:cubicBezTo>
                    <a:pt x="868" y="626"/>
                    <a:pt x="855" y="627"/>
                    <a:pt x="856" y="626"/>
                  </a:cubicBezTo>
                  <a:cubicBezTo>
                    <a:pt x="859" y="620"/>
                    <a:pt x="875" y="606"/>
                    <a:pt x="882" y="599"/>
                  </a:cubicBezTo>
                  <a:cubicBezTo>
                    <a:pt x="882" y="599"/>
                    <a:pt x="884" y="598"/>
                    <a:pt x="885" y="598"/>
                  </a:cubicBezTo>
                  <a:cubicBezTo>
                    <a:pt x="895" y="596"/>
                    <a:pt x="899" y="606"/>
                    <a:pt x="899" y="606"/>
                  </a:cubicBezTo>
                  <a:cubicBezTo>
                    <a:pt x="903" y="606"/>
                    <a:pt x="904" y="600"/>
                    <a:pt x="907" y="600"/>
                  </a:cubicBezTo>
                  <a:cubicBezTo>
                    <a:pt x="908" y="600"/>
                    <a:pt x="920" y="596"/>
                    <a:pt x="920" y="595"/>
                  </a:cubicBezTo>
                  <a:cubicBezTo>
                    <a:pt x="919" y="593"/>
                    <a:pt x="886" y="597"/>
                    <a:pt x="891" y="587"/>
                  </a:cubicBezTo>
                  <a:cubicBezTo>
                    <a:pt x="892" y="585"/>
                    <a:pt x="899" y="582"/>
                    <a:pt x="900" y="581"/>
                  </a:cubicBezTo>
                  <a:cubicBezTo>
                    <a:pt x="903" y="580"/>
                    <a:pt x="933" y="570"/>
                    <a:pt x="930" y="580"/>
                  </a:cubicBezTo>
                  <a:cubicBezTo>
                    <a:pt x="927" y="586"/>
                    <a:pt x="921" y="580"/>
                    <a:pt x="918" y="580"/>
                  </a:cubicBezTo>
                  <a:cubicBezTo>
                    <a:pt x="915" y="581"/>
                    <a:pt x="924" y="585"/>
                    <a:pt x="913" y="588"/>
                  </a:cubicBezTo>
                  <a:cubicBezTo>
                    <a:pt x="911" y="588"/>
                    <a:pt x="906" y="588"/>
                    <a:pt x="906" y="589"/>
                  </a:cubicBezTo>
                  <a:cubicBezTo>
                    <a:pt x="906" y="590"/>
                    <a:pt x="908" y="590"/>
                    <a:pt x="909" y="590"/>
                  </a:cubicBezTo>
                  <a:cubicBezTo>
                    <a:pt x="917" y="590"/>
                    <a:pt x="918" y="590"/>
                    <a:pt x="925" y="587"/>
                  </a:cubicBezTo>
                  <a:cubicBezTo>
                    <a:pt x="926" y="587"/>
                    <a:pt x="932" y="583"/>
                    <a:pt x="932" y="585"/>
                  </a:cubicBezTo>
                  <a:cubicBezTo>
                    <a:pt x="933" y="589"/>
                    <a:pt x="932" y="592"/>
                    <a:pt x="929" y="594"/>
                  </a:cubicBezTo>
                  <a:cubicBezTo>
                    <a:pt x="925" y="598"/>
                    <a:pt x="945" y="586"/>
                    <a:pt x="955" y="590"/>
                  </a:cubicBezTo>
                  <a:cubicBezTo>
                    <a:pt x="969" y="596"/>
                    <a:pt x="965" y="632"/>
                    <a:pt x="977" y="618"/>
                  </a:cubicBezTo>
                  <a:cubicBezTo>
                    <a:pt x="979" y="617"/>
                    <a:pt x="962" y="602"/>
                    <a:pt x="965" y="590"/>
                  </a:cubicBezTo>
                  <a:cubicBezTo>
                    <a:pt x="966" y="584"/>
                    <a:pt x="980" y="579"/>
                    <a:pt x="985" y="578"/>
                  </a:cubicBezTo>
                  <a:cubicBezTo>
                    <a:pt x="987" y="578"/>
                    <a:pt x="996" y="579"/>
                    <a:pt x="996" y="577"/>
                  </a:cubicBezTo>
                  <a:cubicBezTo>
                    <a:pt x="996" y="574"/>
                    <a:pt x="983" y="574"/>
                    <a:pt x="982" y="575"/>
                  </a:cubicBezTo>
                  <a:cubicBezTo>
                    <a:pt x="969" y="579"/>
                    <a:pt x="951" y="591"/>
                    <a:pt x="937" y="582"/>
                  </a:cubicBezTo>
                  <a:cubicBezTo>
                    <a:pt x="933" y="580"/>
                    <a:pt x="938" y="571"/>
                    <a:pt x="940" y="571"/>
                  </a:cubicBezTo>
                  <a:cubicBezTo>
                    <a:pt x="946" y="571"/>
                    <a:pt x="958" y="579"/>
                    <a:pt x="957" y="574"/>
                  </a:cubicBezTo>
                  <a:cubicBezTo>
                    <a:pt x="956" y="568"/>
                    <a:pt x="945" y="563"/>
                    <a:pt x="938" y="568"/>
                  </a:cubicBezTo>
                  <a:cubicBezTo>
                    <a:pt x="937" y="569"/>
                    <a:pt x="931" y="571"/>
                    <a:pt x="931" y="568"/>
                  </a:cubicBezTo>
                  <a:cubicBezTo>
                    <a:pt x="932" y="556"/>
                    <a:pt x="944" y="552"/>
                    <a:pt x="962" y="559"/>
                  </a:cubicBezTo>
                  <a:cubicBezTo>
                    <a:pt x="964" y="560"/>
                    <a:pt x="961" y="553"/>
                    <a:pt x="968" y="557"/>
                  </a:cubicBezTo>
                  <a:cubicBezTo>
                    <a:pt x="969" y="558"/>
                    <a:pt x="974" y="558"/>
                    <a:pt x="974" y="558"/>
                  </a:cubicBezTo>
                  <a:cubicBezTo>
                    <a:pt x="973" y="557"/>
                    <a:pt x="949" y="551"/>
                    <a:pt x="951" y="549"/>
                  </a:cubicBezTo>
                  <a:cubicBezTo>
                    <a:pt x="957" y="544"/>
                    <a:pt x="979" y="548"/>
                    <a:pt x="982" y="554"/>
                  </a:cubicBezTo>
                  <a:cubicBezTo>
                    <a:pt x="984" y="557"/>
                    <a:pt x="992" y="560"/>
                    <a:pt x="990" y="556"/>
                  </a:cubicBezTo>
                  <a:cubicBezTo>
                    <a:pt x="978" y="537"/>
                    <a:pt x="975" y="547"/>
                    <a:pt x="960" y="543"/>
                  </a:cubicBezTo>
                  <a:cubicBezTo>
                    <a:pt x="952" y="540"/>
                    <a:pt x="956" y="531"/>
                    <a:pt x="953" y="531"/>
                  </a:cubicBezTo>
                  <a:cubicBezTo>
                    <a:pt x="951" y="530"/>
                    <a:pt x="953" y="535"/>
                    <a:pt x="952" y="536"/>
                  </a:cubicBezTo>
                  <a:cubicBezTo>
                    <a:pt x="950" y="536"/>
                    <a:pt x="952" y="529"/>
                    <a:pt x="948" y="531"/>
                  </a:cubicBezTo>
                  <a:cubicBezTo>
                    <a:pt x="946" y="532"/>
                    <a:pt x="952" y="539"/>
                    <a:pt x="947" y="542"/>
                  </a:cubicBezTo>
                  <a:cubicBezTo>
                    <a:pt x="937" y="549"/>
                    <a:pt x="907" y="573"/>
                    <a:pt x="892" y="563"/>
                  </a:cubicBezTo>
                  <a:cubicBezTo>
                    <a:pt x="890" y="561"/>
                    <a:pt x="901" y="557"/>
                    <a:pt x="903" y="556"/>
                  </a:cubicBezTo>
                  <a:cubicBezTo>
                    <a:pt x="908" y="553"/>
                    <a:pt x="893" y="552"/>
                    <a:pt x="897" y="551"/>
                  </a:cubicBezTo>
                  <a:cubicBezTo>
                    <a:pt x="903" y="549"/>
                    <a:pt x="913" y="550"/>
                    <a:pt x="920" y="550"/>
                  </a:cubicBezTo>
                  <a:cubicBezTo>
                    <a:pt x="921" y="550"/>
                    <a:pt x="925" y="550"/>
                    <a:pt x="926" y="549"/>
                  </a:cubicBezTo>
                  <a:cubicBezTo>
                    <a:pt x="927" y="545"/>
                    <a:pt x="917" y="548"/>
                    <a:pt x="915" y="546"/>
                  </a:cubicBezTo>
                  <a:cubicBezTo>
                    <a:pt x="911" y="542"/>
                    <a:pt x="895" y="547"/>
                    <a:pt x="894" y="539"/>
                  </a:cubicBezTo>
                  <a:cubicBezTo>
                    <a:pt x="893" y="534"/>
                    <a:pt x="924" y="535"/>
                    <a:pt x="925" y="531"/>
                  </a:cubicBezTo>
                  <a:cubicBezTo>
                    <a:pt x="925" y="530"/>
                    <a:pt x="902" y="532"/>
                    <a:pt x="902" y="532"/>
                  </a:cubicBezTo>
                  <a:cubicBezTo>
                    <a:pt x="905" y="528"/>
                    <a:pt x="934" y="520"/>
                    <a:pt x="935" y="528"/>
                  </a:cubicBezTo>
                  <a:cubicBezTo>
                    <a:pt x="935" y="530"/>
                    <a:pt x="931" y="531"/>
                    <a:pt x="932" y="534"/>
                  </a:cubicBezTo>
                  <a:cubicBezTo>
                    <a:pt x="933" y="535"/>
                    <a:pt x="939" y="530"/>
                    <a:pt x="940" y="529"/>
                  </a:cubicBezTo>
                  <a:cubicBezTo>
                    <a:pt x="942" y="527"/>
                    <a:pt x="957" y="518"/>
                    <a:pt x="964" y="520"/>
                  </a:cubicBezTo>
                  <a:cubicBezTo>
                    <a:pt x="966" y="521"/>
                    <a:pt x="957" y="529"/>
                    <a:pt x="962" y="531"/>
                  </a:cubicBezTo>
                  <a:cubicBezTo>
                    <a:pt x="962" y="531"/>
                    <a:pt x="969" y="519"/>
                    <a:pt x="979" y="516"/>
                  </a:cubicBezTo>
                  <a:cubicBezTo>
                    <a:pt x="988" y="513"/>
                    <a:pt x="988" y="524"/>
                    <a:pt x="991" y="524"/>
                  </a:cubicBezTo>
                  <a:cubicBezTo>
                    <a:pt x="998" y="524"/>
                    <a:pt x="995" y="509"/>
                    <a:pt x="1001" y="507"/>
                  </a:cubicBezTo>
                  <a:cubicBezTo>
                    <a:pt x="1002" y="507"/>
                    <a:pt x="1002" y="507"/>
                    <a:pt x="1003" y="507"/>
                  </a:cubicBezTo>
                  <a:cubicBezTo>
                    <a:pt x="1003" y="507"/>
                    <a:pt x="1004" y="508"/>
                    <a:pt x="1004" y="508"/>
                  </a:cubicBezTo>
                  <a:cubicBezTo>
                    <a:pt x="1005" y="508"/>
                    <a:pt x="1001" y="508"/>
                    <a:pt x="1003" y="508"/>
                  </a:cubicBezTo>
                  <a:cubicBezTo>
                    <a:pt x="1003" y="508"/>
                    <a:pt x="1005" y="508"/>
                    <a:pt x="1005" y="507"/>
                  </a:cubicBezTo>
                  <a:cubicBezTo>
                    <a:pt x="1010" y="503"/>
                    <a:pt x="995" y="509"/>
                    <a:pt x="992" y="503"/>
                  </a:cubicBezTo>
                  <a:cubicBezTo>
                    <a:pt x="991" y="500"/>
                    <a:pt x="997" y="502"/>
                    <a:pt x="996" y="499"/>
                  </a:cubicBezTo>
                  <a:cubicBezTo>
                    <a:pt x="995" y="497"/>
                    <a:pt x="990" y="499"/>
                    <a:pt x="989" y="500"/>
                  </a:cubicBezTo>
                  <a:cubicBezTo>
                    <a:pt x="985" y="505"/>
                    <a:pt x="979" y="503"/>
                    <a:pt x="972" y="503"/>
                  </a:cubicBezTo>
                  <a:cubicBezTo>
                    <a:pt x="969" y="503"/>
                    <a:pt x="965" y="494"/>
                    <a:pt x="962" y="496"/>
                  </a:cubicBezTo>
                  <a:cubicBezTo>
                    <a:pt x="960" y="498"/>
                    <a:pt x="956" y="506"/>
                    <a:pt x="954" y="508"/>
                  </a:cubicBezTo>
                  <a:cubicBezTo>
                    <a:pt x="952" y="509"/>
                    <a:pt x="952" y="510"/>
                    <a:pt x="950" y="509"/>
                  </a:cubicBezTo>
                  <a:cubicBezTo>
                    <a:pt x="948" y="508"/>
                    <a:pt x="939" y="508"/>
                    <a:pt x="941" y="502"/>
                  </a:cubicBezTo>
                  <a:cubicBezTo>
                    <a:pt x="945" y="488"/>
                    <a:pt x="963" y="491"/>
                    <a:pt x="967" y="491"/>
                  </a:cubicBezTo>
                  <a:cubicBezTo>
                    <a:pt x="970" y="491"/>
                    <a:pt x="974" y="481"/>
                    <a:pt x="975" y="482"/>
                  </a:cubicBezTo>
                  <a:cubicBezTo>
                    <a:pt x="977" y="487"/>
                    <a:pt x="988" y="494"/>
                    <a:pt x="972" y="493"/>
                  </a:cubicBezTo>
                  <a:cubicBezTo>
                    <a:pt x="970" y="493"/>
                    <a:pt x="972" y="500"/>
                    <a:pt x="977" y="499"/>
                  </a:cubicBezTo>
                  <a:cubicBezTo>
                    <a:pt x="1005" y="493"/>
                    <a:pt x="996" y="463"/>
                    <a:pt x="1008" y="470"/>
                  </a:cubicBezTo>
                  <a:cubicBezTo>
                    <a:pt x="1012" y="473"/>
                    <a:pt x="1007" y="481"/>
                    <a:pt x="1008" y="482"/>
                  </a:cubicBezTo>
                  <a:cubicBezTo>
                    <a:pt x="1009" y="483"/>
                    <a:pt x="1013" y="480"/>
                    <a:pt x="1014" y="482"/>
                  </a:cubicBezTo>
                  <a:cubicBezTo>
                    <a:pt x="1015" y="484"/>
                    <a:pt x="1013" y="489"/>
                    <a:pt x="1011" y="490"/>
                  </a:cubicBezTo>
                  <a:cubicBezTo>
                    <a:pt x="1009" y="494"/>
                    <a:pt x="1009" y="501"/>
                    <a:pt x="1010" y="505"/>
                  </a:cubicBezTo>
                  <a:cubicBezTo>
                    <a:pt x="1012" y="510"/>
                    <a:pt x="1043" y="543"/>
                    <a:pt x="1050" y="540"/>
                  </a:cubicBezTo>
                  <a:cubicBezTo>
                    <a:pt x="1051" y="540"/>
                    <a:pt x="1041" y="536"/>
                    <a:pt x="1045" y="533"/>
                  </a:cubicBezTo>
                  <a:cubicBezTo>
                    <a:pt x="1047" y="531"/>
                    <a:pt x="1042" y="530"/>
                    <a:pt x="1041" y="529"/>
                  </a:cubicBezTo>
                  <a:cubicBezTo>
                    <a:pt x="1032" y="524"/>
                    <a:pt x="1025" y="523"/>
                    <a:pt x="1029" y="513"/>
                  </a:cubicBezTo>
                  <a:cubicBezTo>
                    <a:pt x="1030" y="511"/>
                    <a:pt x="1021" y="509"/>
                    <a:pt x="1023" y="508"/>
                  </a:cubicBezTo>
                  <a:cubicBezTo>
                    <a:pt x="1032" y="501"/>
                    <a:pt x="1038" y="524"/>
                    <a:pt x="1045" y="524"/>
                  </a:cubicBezTo>
                  <a:cubicBezTo>
                    <a:pt x="1052" y="524"/>
                    <a:pt x="1033" y="510"/>
                    <a:pt x="1034" y="508"/>
                  </a:cubicBezTo>
                  <a:cubicBezTo>
                    <a:pt x="1036" y="502"/>
                    <a:pt x="1050" y="522"/>
                    <a:pt x="1053" y="514"/>
                  </a:cubicBezTo>
                  <a:cubicBezTo>
                    <a:pt x="1053" y="514"/>
                    <a:pt x="1047" y="513"/>
                    <a:pt x="1046" y="512"/>
                  </a:cubicBezTo>
                  <a:cubicBezTo>
                    <a:pt x="1043" y="510"/>
                    <a:pt x="1050" y="508"/>
                    <a:pt x="1049" y="506"/>
                  </a:cubicBezTo>
                  <a:cubicBezTo>
                    <a:pt x="1048" y="504"/>
                    <a:pt x="1036" y="506"/>
                    <a:pt x="1037" y="502"/>
                  </a:cubicBezTo>
                  <a:cubicBezTo>
                    <a:pt x="1040" y="491"/>
                    <a:pt x="1069" y="498"/>
                    <a:pt x="1068" y="497"/>
                  </a:cubicBezTo>
                  <a:cubicBezTo>
                    <a:pt x="1057" y="486"/>
                    <a:pt x="1044" y="497"/>
                    <a:pt x="1035" y="496"/>
                  </a:cubicBezTo>
                  <a:cubicBezTo>
                    <a:pt x="1029" y="495"/>
                    <a:pt x="1032" y="492"/>
                    <a:pt x="1027" y="489"/>
                  </a:cubicBezTo>
                  <a:cubicBezTo>
                    <a:pt x="1027" y="489"/>
                    <a:pt x="1026" y="489"/>
                    <a:pt x="1026" y="488"/>
                  </a:cubicBezTo>
                  <a:cubicBezTo>
                    <a:pt x="1027" y="487"/>
                    <a:pt x="1040" y="488"/>
                    <a:pt x="1041" y="487"/>
                  </a:cubicBezTo>
                  <a:cubicBezTo>
                    <a:pt x="1044" y="487"/>
                    <a:pt x="1040" y="480"/>
                    <a:pt x="1043" y="480"/>
                  </a:cubicBezTo>
                  <a:cubicBezTo>
                    <a:pt x="1044" y="481"/>
                    <a:pt x="1054" y="486"/>
                    <a:pt x="1054" y="483"/>
                  </a:cubicBezTo>
                  <a:cubicBezTo>
                    <a:pt x="1055" y="482"/>
                    <a:pt x="1052" y="480"/>
                    <a:pt x="1051" y="480"/>
                  </a:cubicBezTo>
                  <a:cubicBezTo>
                    <a:pt x="1046" y="478"/>
                    <a:pt x="1048" y="476"/>
                    <a:pt x="1046" y="474"/>
                  </a:cubicBezTo>
                  <a:cubicBezTo>
                    <a:pt x="1044" y="473"/>
                    <a:pt x="1030" y="478"/>
                    <a:pt x="1026" y="478"/>
                  </a:cubicBezTo>
                  <a:cubicBezTo>
                    <a:pt x="1025" y="478"/>
                    <a:pt x="1020" y="478"/>
                    <a:pt x="1019" y="477"/>
                  </a:cubicBezTo>
                  <a:cubicBezTo>
                    <a:pt x="1015" y="473"/>
                    <a:pt x="1034" y="472"/>
                    <a:pt x="1033" y="470"/>
                  </a:cubicBezTo>
                  <a:cubicBezTo>
                    <a:pt x="1032" y="469"/>
                    <a:pt x="1013" y="465"/>
                    <a:pt x="1014" y="464"/>
                  </a:cubicBezTo>
                  <a:cubicBezTo>
                    <a:pt x="1024" y="451"/>
                    <a:pt x="1048" y="467"/>
                    <a:pt x="1055" y="478"/>
                  </a:cubicBezTo>
                  <a:cubicBezTo>
                    <a:pt x="1057" y="480"/>
                    <a:pt x="1076" y="489"/>
                    <a:pt x="1077" y="487"/>
                  </a:cubicBezTo>
                  <a:cubicBezTo>
                    <a:pt x="1077" y="478"/>
                    <a:pt x="1029" y="455"/>
                    <a:pt x="1029" y="455"/>
                  </a:cubicBezTo>
                  <a:cubicBezTo>
                    <a:pt x="1031" y="453"/>
                    <a:pt x="1025" y="455"/>
                    <a:pt x="1024" y="454"/>
                  </a:cubicBezTo>
                  <a:cubicBezTo>
                    <a:pt x="1024" y="450"/>
                    <a:pt x="1059" y="446"/>
                    <a:pt x="1063" y="445"/>
                  </a:cubicBezTo>
                  <a:cubicBezTo>
                    <a:pt x="1066" y="445"/>
                    <a:pt x="1069" y="445"/>
                    <a:pt x="1073" y="447"/>
                  </a:cubicBezTo>
                  <a:cubicBezTo>
                    <a:pt x="1075" y="448"/>
                    <a:pt x="1077" y="448"/>
                    <a:pt x="1079" y="449"/>
                  </a:cubicBezTo>
                  <a:cubicBezTo>
                    <a:pt x="1086" y="451"/>
                    <a:pt x="1079" y="458"/>
                    <a:pt x="1079" y="458"/>
                  </a:cubicBezTo>
                  <a:cubicBezTo>
                    <a:pt x="1085" y="457"/>
                    <a:pt x="1094" y="451"/>
                    <a:pt x="1099" y="451"/>
                  </a:cubicBezTo>
                  <a:cubicBezTo>
                    <a:pt x="1113" y="452"/>
                    <a:pt x="1104" y="458"/>
                    <a:pt x="1114" y="463"/>
                  </a:cubicBezTo>
                  <a:cubicBezTo>
                    <a:pt x="1116" y="464"/>
                    <a:pt x="1123" y="466"/>
                    <a:pt x="1123" y="469"/>
                  </a:cubicBezTo>
                  <a:cubicBezTo>
                    <a:pt x="1123" y="470"/>
                    <a:pt x="1121" y="481"/>
                    <a:pt x="1122" y="482"/>
                  </a:cubicBezTo>
                  <a:cubicBezTo>
                    <a:pt x="1125" y="485"/>
                    <a:pt x="1127" y="474"/>
                    <a:pt x="1131" y="472"/>
                  </a:cubicBezTo>
                  <a:cubicBezTo>
                    <a:pt x="1131" y="472"/>
                    <a:pt x="1131" y="471"/>
                    <a:pt x="1131" y="471"/>
                  </a:cubicBezTo>
                  <a:cubicBezTo>
                    <a:pt x="1131" y="464"/>
                    <a:pt x="1106" y="456"/>
                    <a:pt x="1112" y="449"/>
                  </a:cubicBezTo>
                  <a:cubicBezTo>
                    <a:pt x="1118" y="442"/>
                    <a:pt x="1125" y="448"/>
                    <a:pt x="1135" y="452"/>
                  </a:cubicBezTo>
                  <a:cubicBezTo>
                    <a:pt x="1136" y="453"/>
                    <a:pt x="1147" y="454"/>
                    <a:pt x="1145" y="451"/>
                  </a:cubicBezTo>
                  <a:cubicBezTo>
                    <a:pt x="1145" y="449"/>
                    <a:pt x="1127" y="446"/>
                    <a:pt x="1128" y="443"/>
                  </a:cubicBezTo>
                  <a:cubicBezTo>
                    <a:pt x="1130" y="437"/>
                    <a:pt x="1156" y="444"/>
                    <a:pt x="1159" y="446"/>
                  </a:cubicBezTo>
                  <a:cubicBezTo>
                    <a:pt x="1163" y="448"/>
                    <a:pt x="1176" y="448"/>
                    <a:pt x="1172" y="447"/>
                  </a:cubicBezTo>
                  <a:cubicBezTo>
                    <a:pt x="1163" y="446"/>
                    <a:pt x="1157" y="440"/>
                    <a:pt x="1149" y="437"/>
                  </a:cubicBezTo>
                  <a:cubicBezTo>
                    <a:pt x="1147" y="437"/>
                    <a:pt x="1138" y="439"/>
                    <a:pt x="1136" y="437"/>
                  </a:cubicBezTo>
                  <a:cubicBezTo>
                    <a:pt x="1136" y="436"/>
                    <a:pt x="1147" y="426"/>
                    <a:pt x="1142" y="425"/>
                  </a:cubicBezTo>
                  <a:cubicBezTo>
                    <a:pt x="1127" y="421"/>
                    <a:pt x="1112" y="449"/>
                    <a:pt x="1095" y="439"/>
                  </a:cubicBezTo>
                  <a:cubicBezTo>
                    <a:pt x="1093" y="438"/>
                    <a:pt x="1095" y="437"/>
                    <a:pt x="1096" y="437"/>
                  </a:cubicBezTo>
                  <a:cubicBezTo>
                    <a:pt x="1107" y="436"/>
                    <a:pt x="1100" y="432"/>
                    <a:pt x="1094" y="429"/>
                  </a:cubicBezTo>
                  <a:cubicBezTo>
                    <a:pt x="1091" y="428"/>
                    <a:pt x="1054" y="450"/>
                    <a:pt x="1049" y="439"/>
                  </a:cubicBezTo>
                  <a:cubicBezTo>
                    <a:pt x="1041" y="421"/>
                    <a:pt x="1057" y="431"/>
                    <a:pt x="1061" y="424"/>
                  </a:cubicBezTo>
                  <a:cubicBezTo>
                    <a:pt x="1065" y="418"/>
                    <a:pt x="1040" y="417"/>
                    <a:pt x="1074" y="402"/>
                  </a:cubicBezTo>
                  <a:cubicBezTo>
                    <a:pt x="1090" y="396"/>
                    <a:pt x="1113" y="410"/>
                    <a:pt x="1104" y="404"/>
                  </a:cubicBezTo>
                  <a:cubicBezTo>
                    <a:pt x="1097" y="399"/>
                    <a:pt x="1114" y="395"/>
                    <a:pt x="1117" y="395"/>
                  </a:cubicBezTo>
                  <a:cubicBezTo>
                    <a:pt x="1122" y="394"/>
                    <a:pt x="1149" y="412"/>
                    <a:pt x="1155" y="405"/>
                  </a:cubicBezTo>
                  <a:cubicBezTo>
                    <a:pt x="1155" y="404"/>
                    <a:pt x="1153" y="403"/>
                    <a:pt x="1152" y="402"/>
                  </a:cubicBezTo>
                  <a:cubicBezTo>
                    <a:pt x="1149" y="400"/>
                    <a:pt x="1114" y="391"/>
                    <a:pt x="1115" y="389"/>
                  </a:cubicBezTo>
                  <a:cubicBezTo>
                    <a:pt x="1120" y="370"/>
                    <a:pt x="1163" y="392"/>
                    <a:pt x="1164" y="390"/>
                  </a:cubicBezTo>
                  <a:cubicBezTo>
                    <a:pt x="1169" y="383"/>
                    <a:pt x="1134" y="380"/>
                    <a:pt x="1136" y="377"/>
                  </a:cubicBezTo>
                  <a:cubicBezTo>
                    <a:pt x="1141" y="367"/>
                    <a:pt x="1169" y="373"/>
                    <a:pt x="1170" y="371"/>
                  </a:cubicBezTo>
                  <a:cubicBezTo>
                    <a:pt x="1170" y="370"/>
                    <a:pt x="1166" y="368"/>
                    <a:pt x="1165" y="367"/>
                  </a:cubicBezTo>
                  <a:cubicBezTo>
                    <a:pt x="1158" y="361"/>
                    <a:pt x="1150" y="361"/>
                    <a:pt x="1139" y="364"/>
                  </a:cubicBezTo>
                  <a:cubicBezTo>
                    <a:pt x="1138" y="365"/>
                    <a:pt x="1133" y="368"/>
                    <a:pt x="1133" y="366"/>
                  </a:cubicBezTo>
                  <a:cubicBezTo>
                    <a:pt x="1131" y="361"/>
                    <a:pt x="1140" y="359"/>
                    <a:pt x="1142" y="357"/>
                  </a:cubicBezTo>
                  <a:cubicBezTo>
                    <a:pt x="1143" y="356"/>
                    <a:pt x="1136" y="356"/>
                    <a:pt x="1152" y="339"/>
                  </a:cubicBezTo>
                  <a:cubicBezTo>
                    <a:pt x="1159" y="331"/>
                    <a:pt x="1161" y="336"/>
                    <a:pt x="1178" y="328"/>
                  </a:cubicBezTo>
                  <a:cubicBezTo>
                    <a:pt x="1180" y="327"/>
                    <a:pt x="1197" y="327"/>
                    <a:pt x="1197" y="326"/>
                  </a:cubicBezTo>
                  <a:cubicBezTo>
                    <a:pt x="1196" y="323"/>
                    <a:pt x="1189" y="325"/>
                    <a:pt x="1189" y="322"/>
                  </a:cubicBezTo>
                  <a:cubicBezTo>
                    <a:pt x="1189" y="320"/>
                    <a:pt x="1192" y="314"/>
                    <a:pt x="1191" y="313"/>
                  </a:cubicBezTo>
                  <a:cubicBezTo>
                    <a:pt x="1189" y="313"/>
                    <a:pt x="1180" y="317"/>
                    <a:pt x="1183" y="312"/>
                  </a:cubicBezTo>
                  <a:cubicBezTo>
                    <a:pt x="1188" y="304"/>
                    <a:pt x="1193" y="297"/>
                    <a:pt x="1198" y="289"/>
                  </a:cubicBezTo>
                  <a:cubicBezTo>
                    <a:pt x="1201" y="286"/>
                    <a:pt x="1195" y="280"/>
                    <a:pt x="1197" y="278"/>
                  </a:cubicBezTo>
                  <a:cubicBezTo>
                    <a:pt x="1202" y="271"/>
                    <a:pt x="1214" y="272"/>
                    <a:pt x="1217" y="282"/>
                  </a:cubicBezTo>
                  <a:cubicBezTo>
                    <a:pt x="1217" y="284"/>
                    <a:pt x="1213" y="289"/>
                    <a:pt x="1216" y="289"/>
                  </a:cubicBezTo>
                  <a:cubicBezTo>
                    <a:pt x="1219" y="290"/>
                    <a:pt x="1224" y="286"/>
                    <a:pt x="1227" y="291"/>
                  </a:cubicBezTo>
                  <a:cubicBezTo>
                    <a:pt x="1230" y="297"/>
                    <a:pt x="1224" y="312"/>
                    <a:pt x="1228" y="313"/>
                  </a:cubicBezTo>
                  <a:cubicBezTo>
                    <a:pt x="1232" y="314"/>
                    <a:pt x="1230" y="294"/>
                    <a:pt x="1233" y="293"/>
                  </a:cubicBezTo>
                  <a:cubicBezTo>
                    <a:pt x="1237" y="293"/>
                    <a:pt x="1235" y="302"/>
                    <a:pt x="1237" y="304"/>
                  </a:cubicBezTo>
                  <a:cubicBezTo>
                    <a:pt x="1249" y="316"/>
                    <a:pt x="1242" y="301"/>
                    <a:pt x="1243" y="300"/>
                  </a:cubicBezTo>
                  <a:cubicBezTo>
                    <a:pt x="1249" y="297"/>
                    <a:pt x="1273" y="305"/>
                    <a:pt x="1273" y="305"/>
                  </a:cubicBezTo>
                  <a:cubicBezTo>
                    <a:pt x="1274" y="303"/>
                    <a:pt x="1271" y="302"/>
                    <a:pt x="1270" y="301"/>
                  </a:cubicBezTo>
                  <a:cubicBezTo>
                    <a:pt x="1268" y="299"/>
                    <a:pt x="1221" y="284"/>
                    <a:pt x="1223" y="277"/>
                  </a:cubicBezTo>
                  <a:cubicBezTo>
                    <a:pt x="1226" y="267"/>
                    <a:pt x="1255" y="260"/>
                    <a:pt x="1261" y="265"/>
                  </a:cubicBezTo>
                  <a:cubicBezTo>
                    <a:pt x="1264" y="267"/>
                    <a:pt x="1258" y="269"/>
                    <a:pt x="1259" y="271"/>
                  </a:cubicBezTo>
                  <a:cubicBezTo>
                    <a:pt x="1260" y="276"/>
                    <a:pt x="1276" y="289"/>
                    <a:pt x="1281" y="293"/>
                  </a:cubicBezTo>
                  <a:cubicBezTo>
                    <a:pt x="1287" y="297"/>
                    <a:pt x="1301" y="292"/>
                    <a:pt x="1306" y="299"/>
                  </a:cubicBezTo>
                  <a:cubicBezTo>
                    <a:pt x="1311" y="310"/>
                    <a:pt x="1284" y="304"/>
                    <a:pt x="1287" y="310"/>
                  </a:cubicBezTo>
                  <a:cubicBezTo>
                    <a:pt x="1287" y="311"/>
                    <a:pt x="1287" y="311"/>
                    <a:pt x="1287" y="311"/>
                  </a:cubicBezTo>
                  <a:cubicBezTo>
                    <a:pt x="1289" y="311"/>
                    <a:pt x="1290" y="311"/>
                    <a:pt x="1291" y="310"/>
                  </a:cubicBezTo>
                  <a:cubicBezTo>
                    <a:pt x="1294" y="308"/>
                    <a:pt x="1309" y="321"/>
                    <a:pt x="1317" y="316"/>
                  </a:cubicBezTo>
                  <a:cubicBezTo>
                    <a:pt x="1319" y="314"/>
                    <a:pt x="1313" y="311"/>
                    <a:pt x="1312" y="310"/>
                  </a:cubicBezTo>
                  <a:cubicBezTo>
                    <a:pt x="1309" y="305"/>
                    <a:pt x="1314" y="300"/>
                    <a:pt x="1309" y="295"/>
                  </a:cubicBezTo>
                  <a:cubicBezTo>
                    <a:pt x="1299" y="284"/>
                    <a:pt x="1279" y="295"/>
                    <a:pt x="1272" y="278"/>
                  </a:cubicBezTo>
                  <a:cubicBezTo>
                    <a:pt x="1268" y="269"/>
                    <a:pt x="1286" y="262"/>
                    <a:pt x="1292" y="267"/>
                  </a:cubicBezTo>
                  <a:cubicBezTo>
                    <a:pt x="1292" y="267"/>
                    <a:pt x="1296" y="270"/>
                    <a:pt x="1295" y="267"/>
                  </a:cubicBezTo>
                  <a:cubicBezTo>
                    <a:pt x="1291" y="250"/>
                    <a:pt x="1271" y="275"/>
                    <a:pt x="1267" y="259"/>
                  </a:cubicBezTo>
                  <a:cubicBezTo>
                    <a:pt x="1262" y="238"/>
                    <a:pt x="1326" y="213"/>
                    <a:pt x="1341" y="222"/>
                  </a:cubicBezTo>
                  <a:cubicBezTo>
                    <a:pt x="1343" y="223"/>
                    <a:pt x="1341" y="226"/>
                    <a:pt x="1340" y="227"/>
                  </a:cubicBezTo>
                  <a:cubicBezTo>
                    <a:pt x="1332" y="233"/>
                    <a:pt x="1331" y="266"/>
                    <a:pt x="1330" y="277"/>
                  </a:cubicBezTo>
                  <a:cubicBezTo>
                    <a:pt x="1330" y="278"/>
                    <a:pt x="1317" y="287"/>
                    <a:pt x="1320" y="288"/>
                  </a:cubicBezTo>
                  <a:cubicBezTo>
                    <a:pt x="1338" y="296"/>
                    <a:pt x="1335" y="257"/>
                    <a:pt x="1338" y="254"/>
                  </a:cubicBezTo>
                  <a:cubicBezTo>
                    <a:pt x="1342" y="251"/>
                    <a:pt x="1366" y="257"/>
                    <a:pt x="1372" y="258"/>
                  </a:cubicBezTo>
                  <a:cubicBezTo>
                    <a:pt x="1376" y="259"/>
                    <a:pt x="1364" y="255"/>
                    <a:pt x="1360" y="253"/>
                  </a:cubicBezTo>
                  <a:cubicBezTo>
                    <a:pt x="1352" y="251"/>
                    <a:pt x="1342" y="247"/>
                    <a:pt x="1346" y="237"/>
                  </a:cubicBezTo>
                  <a:cubicBezTo>
                    <a:pt x="1346" y="236"/>
                    <a:pt x="1358" y="215"/>
                    <a:pt x="1361" y="217"/>
                  </a:cubicBezTo>
                  <a:cubicBezTo>
                    <a:pt x="1364" y="219"/>
                    <a:pt x="1359" y="231"/>
                    <a:pt x="1362" y="229"/>
                  </a:cubicBezTo>
                  <a:cubicBezTo>
                    <a:pt x="1367" y="224"/>
                    <a:pt x="1371" y="203"/>
                    <a:pt x="1375" y="201"/>
                  </a:cubicBezTo>
                  <a:cubicBezTo>
                    <a:pt x="1377" y="201"/>
                    <a:pt x="1375" y="215"/>
                    <a:pt x="1380" y="215"/>
                  </a:cubicBezTo>
                  <a:cubicBezTo>
                    <a:pt x="1387" y="215"/>
                    <a:pt x="1381" y="193"/>
                    <a:pt x="1388" y="196"/>
                  </a:cubicBezTo>
                  <a:cubicBezTo>
                    <a:pt x="1400" y="201"/>
                    <a:pt x="1396" y="260"/>
                    <a:pt x="1387" y="265"/>
                  </a:cubicBezTo>
                  <a:cubicBezTo>
                    <a:pt x="1382" y="269"/>
                    <a:pt x="1389" y="275"/>
                    <a:pt x="1384" y="279"/>
                  </a:cubicBezTo>
                  <a:cubicBezTo>
                    <a:pt x="1378" y="284"/>
                    <a:pt x="1362" y="295"/>
                    <a:pt x="1362" y="299"/>
                  </a:cubicBezTo>
                  <a:cubicBezTo>
                    <a:pt x="1361" y="302"/>
                    <a:pt x="1351" y="306"/>
                    <a:pt x="1354" y="309"/>
                  </a:cubicBezTo>
                  <a:cubicBezTo>
                    <a:pt x="1358" y="313"/>
                    <a:pt x="1363" y="303"/>
                    <a:pt x="1365" y="302"/>
                  </a:cubicBezTo>
                  <a:cubicBezTo>
                    <a:pt x="1369" y="298"/>
                    <a:pt x="1385" y="292"/>
                    <a:pt x="1387" y="289"/>
                  </a:cubicBezTo>
                  <a:cubicBezTo>
                    <a:pt x="1391" y="283"/>
                    <a:pt x="1400" y="270"/>
                    <a:pt x="1401" y="264"/>
                  </a:cubicBezTo>
                  <a:cubicBezTo>
                    <a:pt x="1402" y="263"/>
                    <a:pt x="1403" y="259"/>
                    <a:pt x="1403" y="259"/>
                  </a:cubicBezTo>
                  <a:cubicBezTo>
                    <a:pt x="1407" y="257"/>
                    <a:pt x="1433" y="278"/>
                    <a:pt x="1437" y="273"/>
                  </a:cubicBezTo>
                  <a:cubicBezTo>
                    <a:pt x="1438" y="272"/>
                    <a:pt x="1405" y="253"/>
                    <a:pt x="1404" y="250"/>
                  </a:cubicBezTo>
                  <a:cubicBezTo>
                    <a:pt x="1404" y="246"/>
                    <a:pt x="1410" y="243"/>
                    <a:pt x="1410" y="239"/>
                  </a:cubicBezTo>
                  <a:cubicBezTo>
                    <a:pt x="1410" y="235"/>
                    <a:pt x="1403" y="233"/>
                    <a:pt x="1404" y="230"/>
                  </a:cubicBezTo>
                  <a:cubicBezTo>
                    <a:pt x="1405" y="228"/>
                    <a:pt x="1410" y="230"/>
                    <a:pt x="1412" y="229"/>
                  </a:cubicBezTo>
                  <a:cubicBezTo>
                    <a:pt x="1439" y="222"/>
                    <a:pt x="1430" y="208"/>
                    <a:pt x="1456" y="200"/>
                  </a:cubicBezTo>
                  <a:cubicBezTo>
                    <a:pt x="1462" y="197"/>
                    <a:pt x="1454" y="204"/>
                    <a:pt x="1452" y="204"/>
                  </a:cubicBezTo>
                  <a:cubicBezTo>
                    <a:pt x="1441" y="210"/>
                    <a:pt x="1441" y="222"/>
                    <a:pt x="1450" y="226"/>
                  </a:cubicBezTo>
                  <a:cubicBezTo>
                    <a:pt x="1455" y="227"/>
                    <a:pt x="1450" y="214"/>
                    <a:pt x="1459" y="212"/>
                  </a:cubicBezTo>
                  <a:cubicBezTo>
                    <a:pt x="1473" y="209"/>
                    <a:pt x="1460" y="222"/>
                    <a:pt x="1463" y="222"/>
                  </a:cubicBezTo>
                  <a:cubicBezTo>
                    <a:pt x="1471" y="223"/>
                    <a:pt x="1469" y="213"/>
                    <a:pt x="1469" y="209"/>
                  </a:cubicBezTo>
                  <a:cubicBezTo>
                    <a:pt x="1470" y="204"/>
                    <a:pt x="1480" y="209"/>
                    <a:pt x="1480" y="206"/>
                  </a:cubicBezTo>
                  <a:cubicBezTo>
                    <a:pt x="1480" y="203"/>
                    <a:pt x="1459" y="196"/>
                    <a:pt x="1478" y="188"/>
                  </a:cubicBezTo>
                  <a:cubicBezTo>
                    <a:pt x="1478" y="188"/>
                    <a:pt x="1479" y="187"/>
                    <a:pt x="1479" y="187"/>
                  </a:cubicBezTo>
                  <a:cubicBezTo>
                    <a:pt x="1495" y="183"/>
                    <a:pt x="1538" y="235"/>
                    <a:pt x="1546" y="234"/>
                  </a:cubicBezTo>
                  <a:cubicBezTo>
                    <a:pt x="1552" y="233"/>
                    <a:pt x="1544" y="223"/>
                    <a:pt x="1541" y="221"/>
                  </a:cubicBezTo>
                  <a:cubicBezTo>
                    <a:pt x="1525" y="211"/>
                    <a:pt x="1545" y="222"/>
                    <a:pt x="1541" y="214"/>
                  </a:cubicBezTo>
                  <a:cubicBezTo>
                    <a:pt x="1539" y="209"/>
                    <a:pt x="1532" y="210"/>
                    <a:pt x="1531" y="201"/>
                  </a:cubicBezTo>
                  <a:cubicBezTo>
                    <a:pt x="1531" y="199"/>
                    <a:pt x="1534" y="199"/>
                    <a:pt x="1533" y="197"/>
                  </a:cubicBezTo>
                  <a:cubicBezTo>
                    <a:pt x="1526" y="186"/>
                    <a:pt x="1553" y="209"/>
                    <a:pt x="1545" y="191"/>
                  </a:cubicBezTo>
                  <a:cubicBezTo>
                    <a:pt x="1544" y="189"/>
                    <a:pt x="1552" y="188"/>
                    <a:pt x="1550" y="186"/>
                  </a:cubicBezTo>
                  <a:cubicBezTo>
                    <a:pt x="1547" y="183"/>
                    <a:pt x="1523" y="195"/>
                    <a:pt x="1522" y="186"/>
                  </a:cubicBezTo>
                  <a:cubicBezTo>
                    <a:pt x="1521" y="182"/>
                    <a:pt x="1541" y="182"/>
                    <a:pt x="1544" y="179"/>
                  </a:cubicBezTo>
                  <a:cubicBezTo>
                    <a:pt x="1544" y="178"/>
                    <a:pt x="1550" y="174"/>
                    <a:pt x="1548" y="173"/>
                  </a:cubicBezTo>
                  <a:cubicBezTo>
                    <a:pt x="1541" y="170"/>
                    <a:pt x="1523" y="184"/>
                    <a:pt x="1514" y="182"/>
                  </a:cubicBezTo>
                  <a:cubicBezTo>
                    <a:pt x="1510" y="181"/>
                    <a:pt x="1492" y="175"/>
                    <a:pt x="1491" y="172"/>
                  </a:cubicBezTo>
                  <a:cubicBezTo>
                    <a:pt x="1491" y="169"/>
                    <a:pt x="1497" y="164"/>
                    <a:pt x="1494" y="163"/>
                  </a:cubicBezTo>
                  <a:cubicBezTo>
                    <a:pt x="1487" y="161"/>
                    <a:pt x="1472" y="168"/>
                    <a:pt x="1469" y="158"/>
                  </a:cubicBezTo>
                  <a:cubicBezTo>
                    <a:pt x="1468" y="156"/>
                    <a:pt x="1487" y="146"/>
                    <a:pt x="1490" y="148"/>
                  </a:cubicBezTo>
                  <a:cubicBezTo>
                    <a:pt x="1491" y="149"/>
                    <a:pt x="1489" y="151"/>
                    <a:pt x="1490" y="152"/>
                  </a:cubicBezTo>
                  <a:cubicBezTo>
                    <a:pt x="1493" y="168"/>
                    <a:pt x="1495" y="138"/>
                    <a:pt x="1502" y="140"/>
                  </a:cubicBezTo>
                  <a:cubicBezTo>
                    <a:pt x="1508" y="141"/>
                    <a:pt x="1521" y="166"/>
                    <a:pt x="1528" y="168"/>
                  </a:cubicBezTo>
                  <a:cubicBezTo>
                    <a:pt x="1529" y="168"/>
                    <a:pt x="1528" y="159"/>
                    <a:pt x="1528" y="159"/>
                  </a:cubicBezTo>
                  <a:cubicBezTo>
                    <a:pt x="1532" y="156"/>
                    <a:pt x="1522" y="157"/>
                    <a:pt x="1522" y="151"/>
                  </a:cubicBezTo>
                  <a:cubicBezTo>
                    <a:pt x="1523" y="148"/>
                    <a:pt x="1534" y="142"/>
                    <a:pt x="1538" y="140"/>
                  </a:cubicBezTo>
                  <a:cubicBezTo>
                    <a:pt x="1538" y="140"/>
                    <a:pt x="1540" y="139"/>
                    <a:pt x="1540" y="139"/>
                  </a:cubicBezTo>
                  <a:cubicBezTo>
                    <a:pt x="1542" y="140"/>
                    <a:pt x="1543" y="141"/>
                    <a:pt x="1541" y="142"/>
                  </a:cubicBezTo>
                  <a:cubicBezTo>
                    <a:pt x="1533" y="150"/>
                    <a:pt x="1544" y="143"/>
                    <a:pt x="1547" y="142"/>
                  </a:cubicBezTo>
                  <a:cubicBezTo>
                    <a:pt x="1553" y="141"/>
                    <a:pt x="1545" y="153"/>
                    <a:pt x="1551" y="153"/>
                  </a:cubicBezTo>
                  <a:cubicBezTo>
                    <a:pt x="1551" y="154"/>
                    <a:pt x="1564" y="132"/>
                    <a:pt x="1568" y="147"/>
                  </a:cubicBezTo>
                  <a:cubicBezTo>
                    <a:pt x="1569" y="150"/>
                    <a:pt x="1564" y="152"/>
                    <a:pt x="1563" y="154"/>
                  </a:cubicBezTo>
                  <a:cubicBezTo>
                    <a:pt x="1561" y="157"/>
                    <a:pt x="1569" y="164"/>
                    <a:pt x="1563" y="167"/>
                  </a:cubicBezTo>
                  <a:cubicBezTo>
                    <a:pt x="1563" y="167"/>
                    <a:pt x="1560" y="168"/>
                    <a:pt x="1561" y="169"/>
                  </a:cubicBezTo>
                  <a:cubicBezTo>
                    <a:pt x="1563" y="171"/>
                    <a:pt x="1573" y="169"/>
                    <a:pt x="1577" y="169"/>
                  </a:cubicBezTo>
                  <a:cubicBezTo>
                    <a:pt x="1580" y="170"/>
                    <a:pt x="1588" y="176"/>
                    <a:pt x="1589" y="171"/>
                  </a:cubicBezTo>
                  <a:cubicBezTo>
                    <a:pt x="1590" y="168"/>
                    <a:pt x="1556" y="166"/>
                    <a:pt x="1573" y="151"/>
                  </a:cubicBezTo>
                  <a:cubicBezTo>
                    <a:pt x="1573" y="151"/>
                    <a:pt x="1574" y="150"/>
                    <a:pt x="1574" y="150"/>
                  </a:cubicBezTo>
                  <a:cubicBezTo>
                    <a:pt x="1583" y="146"/>
                    <a:pt x="1591" y="157"/>
                    <a:pt x="1595" y="157"/>
                  </a:cubicBezTo>
                  <a:cubicBezTo>
                    <a:pt x="1598" y="156"/>
                    <a:pt x="1627" y="155"/>
                    <a:pt x="1627" y="160"/>
                  </a:cubicBezTo>
                  <a:cubicBezTo>
                    <a:pt x="1627" y="177"/>
                    <a:pt x="1565" y="178"/>
                    <a:pt x="1565" y="185"/>
                  </a:cubicBezTo>
                  <a:cubicBezTo>
                    <a:pt x="1565" y="185"/>
                    <a:pt x="1579" y="182"/>
                    <a:pt x="1581" y="182"/>
                  </a:cubicBezTo>
                  <a:cubicBezTo>
                    <a:pt x="1594" y="180"/>
                    <a:pt x="1613" y="180"/>
                    <a:pt x="1623" y="172"/>
                  </a:cubicBezTo>
                  <a:cubicBezTo>
                    <a:pt x="1625" y="171"/>
                    <a:pt x="1627" y="169"/>
                    <a:pt x="1629" y="169"/>
                  </a:cubicBezTo>
                  <a:cubicBezTo>
                    <a:pt x="1630" y="169"/>
                    <a:pt x="1630" y="169"/>
                    <a:pt x="1630" y="170"/>
                  </a:cubicBezTo>
                  <a:cubicBezTo>
                    <a:pt x="1631" y="172"/>
                    <a:pt x="1629" y="181"/>
                    <a:pt x="1630" y="186"/>
                  </a:cubicBezTo>
                  <a:cubicBezTo>
                    <a:pt x="1631" y="188"/>
                    <a:pt x="1644" y="184"/>
                    <a:pt x="1642" y="196"/>
                  </a:cubicBezTo>
                  <a:cubicBezTo>
                    <a:pt x="1642" y="197"/>
                    <a:pt x="1637" y="199"/>
                    <a:pt x="1638" y="200"/>
                  </a:cubicBezTo>
                  <a:cubicBezTo>
                    <a:pt x="1642" y="200"/>
                    <a:pt x="1652" y="190"/>
                    <a:pt x="1657" y="192"/>
                  </a:cubicBezTo>
                  <a:cubicBezTo>
                    <a:pt x="1661" y="193"/>
                    <a:pt x="1657" y="200"/>
                    <a:pt x="1657" y="200"/>
                  </a:cubicBezTo>
                  <a:cubicBezTo>
                    <a:pt x="1659" y="200"/>
                    <a:pt x="1662" y="197"/>
                    <a:pt x="1664" y="196"/>
                  </a:cubicBezTo>
                  <a:cubicBezTo>
                    <a:pt x="1696" y="186"/>
                    <a:pt x="1647" y="189"/>
                    <a:pt x="1644" y="177"/>
                  </a:cubicBezTo>
                  <a:cubicBezTo>
                    <a:pt x="1644" y="173"/>
                    <a:pt x="1668" y="176"/>
                    <a:pt x="1665" y="169"/>
                  </a:cubicBezTo>
                  <a:cubicBezTo>
                    <a:pt x="1664" y="167"/>
                    <a:pt x="1656" y="168"/>
                    <a:pt x="1656" y="165"/>
                  </a:cubicBezTo>
                  <a:cubicBezTo>
                    <a:pt x="1656" y="164"/>
                    <a:pt x="1671" y="161"/>
                    <a:pt x="1665" y="160"/>
                  </a:cubicBezTo>
                  <a:cubicBezTo>
                    <a:pt x="1663" y="160"/>
                    <a:pt x="1648" y="159"/>
                    <a:pt x="1650" y="157"/>
                  </a:cubicBezTo>
                  <a:cubicBezTo>
                    <a:pt x="1653" y="153"/>
                    <a:pt x="1676" y="155"/>
                    <a:pt x="1676" y="152"/>
                  </a:cubicBezTo>
                  <a:cubicBezTo>
                    <a:pt x="1676" y="149"/>
                    <a:pt x="1655" y="152"/>
                    <a:pt x="1656" y="150"/>
                  </a:cubicBezTo>
                  <a:cubicBezTo>
                    <a:pt x="1658" y="145"/>
                    <a:pt x="1684" y="145"/>
                    <a:pt x="1683" y="143"/>
                  </a:cubicBezTo>
                  <a:cubicBezTo>
                    <a:pt x="1683" y="142"/>
                    <a:pt x="1670" y="141"/>
                    <a:pt x="1670" y="141"/>
                  </a:cubicBezTo>
                  <a:cubicBezTo>
                    <a:pt x="1667" y="137"/>
                    <a:pt x="1705" y="113"/>
                    <a:pt x="1709" y="112"/>
                  </a:cubicBezTo>
                  <a:cubicBezTo>
                    <a:pt x="1717" y="110"/>
                    <a:pt x="1748" y="119"/>
                    <a:pt x="1750" y="118"/>
                  </a:cubicBezTo>
                  <a:cubicBezTo>
                    <a:pt x="1757" y="113"/>
                    <a:pt x="1727" y="113"/>
                    <a:pt x="1727" y="104"/>
                  </a:cubicBezTo>
                  <a:cubicBezTo>
                    <a:pt x="1727" y="100"/>
                    <a:pt x="1739" y="97"/>
                    <a:pt x="1741" y="94"/>
                  </a:cubicBezTo>
                  <a:cubicBezTo>
                    <a:pt x="1745" y="91"/>
                    <a:pt x="1741" y="80"/>
                    <a:pt x="1750" y="80"/>
                  </a:cubicBezTo>
                  <a:cubicBezTo>
                    <a:pt x="1751" y="80"/>
                    <a:pt x="1762" y="82"/>
                    <a:pt x="1763" y="84"/>
                  </a:cubicBezTo>
                  <a:cubicBezTo>
                    <a:pt x="1765" y="86"/>
                    <a:pt x="1787" y="99"/>
                    <a:pt x="1784" y="87"/>
                  </a:cubicBezTo>
                  <a:cubicBezTo>
                    <a:pt x="1780" y="75"/>
                    <a:pt x="1762" y="71"/>
                    <a:pt x="1750" y="68"/>
                  </a:cubicBezTo>
                  <a:cubicBezTo>
                    <a:pt x="1748" y="68"/>
                    <a:pt x="1739" y="69"/>
                    <a:pt x="1740" y="66"/>
                  </a:cubicBezTo>
                  <a:cubicBezTo>
                    <a:pt x="1745" y="34"/>
                    <a:pt x="1762" y="71"/>
                    <a:pt x="1775" y="66"/>
                  </a:cubicBezTo>
                  <a:cubicBezTo>
                    <a:pt x="1777" y="65"/>
                    <a:pt x="1773" y="55"/>
                    <a:pt x="1772" y="54"/>
                  </a:cubicBezTo>
                  <a:cubicBezTo>
                    <a:pt x="1771" y="51"/>
                    <a:pt x="1786" y="53"/>
                    <a:pt x="1781" y="50"/>
                  </a:cubicBezTo>
                  <a:cubicBezTo>
                    <a:pt x="1780" y="50"/>
                    <a:pt x="1772" y="47"/>
                    <a:pt x="1772" y="46"/>
                  </a:cubicBezTo>
                  <a:cubicBezTo>
                    <a:pt x="1773" y="45"/>
                    <a:pt x="1767" y="40"/>
                    <a:pt x="1771" y="39"/>
                  </a:cubicBezTo>
                  <a:cubicBezTo>
                    <a:pt x="1781" y="37"/>
                    <a:pt x="1771" y="34"/>
                    <a:pt x="1772" y="34"/>
                  </a:cubicBezTo>
                  <a:cubicBezTo>
                    <a:pt x="1786" y="27"/>
                    <a:pt x="1793" y="46"/>
                    <a:pt x="1793" y="46"/>
                  </a:cubicBezTo>
                  <a:cubicBezTo>
                    <a:pt x="1804" y="47"/>
                    <a:pt x="1808" y="29"/>
                    <a:pt x="1813" y="38"/>
                  </a:cubicBezTo>
                  <a:cubicBezTo>
                    <a:pt x="1817" y="43"/>
                    <a:pt x="1794" y="50"/>
                    <a:pt x="1800" y="52"/>
                  </a:cubicBezTo>
                  <a:cubicBezTo>
                    <a:pt x="1809" y="54"/>
                    <a:pt x="1821" y="43"/>
                    <a:pt x="1821" y="43"/>
                  </a:cubicBezTo>
                  <a:cubicBezTo>
                    <a:pt x="1825" y="46"/>
                    <a:pt x="1832" y="55"/>
                    <a:pt x="1830" y="61"/>
                  </a:cubicBezTo>
                  <a:cubicBezTo>
                    <a:pt x="1830" y="61"/>
                    <a:pt x="1828" y="64"/>
                    <a:pt x="1830" y="64"/>
                  </a:cubicBezTo>
                  <a:cubicBezTo>
                    <a:pt x="1849" y="64"/>
                    <a:pt x="1836" y="35"/>
                    <a:pt x="1839" y="35"/>
                  </a:cubicBezTo>
                  <a:cubicBezTo>
                    <a:pt x="1840" y="34"/>
                    <a:pt x="1842" y="35"/>
                    <a:pt x="1843" y="35"/>
                  </a:cubicBezTo>
                  <a:cubicBezTo>
                    <a:pt x="1862" y="44"/>
                    <a:pt x="1844" y="53"/>
                    <a:pt x="1847" y="55"/>
                  </a:cubicBezTo>
                  <a:cubicBezTo>
                    <a:pt x="1847" y="55"/>
                    <a:pt x="1847" y="56"/>
                    <a:pt x="1848" y="56"/>
                  </a:cubicBezTo>
                  <a:cubicBezTo>
                    <a:pt x="1850" y="57"/>
                    <a:pt x="1851" y="53"/>
                    <a:pt x="1852" y="52"/>
                  </a:cubicBezTo>
                  <a:cubicBezTo>
                    <a:pt x="1855" y="49"/>
                    <a:pt x="1866" y="47"/>
                    <a:pt x="1870" y="48"/>
                  </a:cubicBezTo>
                  <a:cubicBezTo>
                    <a:pt x="1871" y="48"/>
                    <a:pt x="1875" y="56"/>
                    <a:pt x="1877" y="52"/>
                  </a:cubicBezTo>
                  <a:cubicBezTo>
                    <a:pt x="1878" y="49"/>
                    <a:pt x="1886" y="44"/>
                    <a:pt x="1888" y="48"/>
                  </a:cubicBezTo>
                  <a:cubicBezTo>
                    <a:pt x="1891" y="54"/>
                    <a:pt x="1837" y="95"/>
                    <a:pt x="1822" y="104"/>
                  </a:cubicBezTo>
                  <a:cubicBezTo>
                    <a:pt x="1821" y="105"/>
                    <a:pt x="1815" y="108"/>
                    <a:pt x="1815" y="109"/>
                  </a:cubicBezTo>
                  <a:cubicBezTo>
                    <a:pt x="1816" y="112"/>
                    <a:pt x="1830" y="103"/>
                    <a:pt x="1833" y="109"/>
                  </a:cubicBezTo>
                  <a:cubicBezTo>
                    <a:pt x="1835" y="116"/>
                    <a:pt x="1813" y="112"/>
                    <a:pt x="1814" y="115"/>
                  </a:cubicBezTo>
                  <a:cubicBezTo>
                    <a:pt x="1815" y="121"/>
                    <a:pt x="1831" y="114"/>
                    <a:pt x="1832" y="118"/>
                  </a:cubicBezTo>
                  <a:cubicBezTo>
                    <a:pt x="1838" y="133"/>
                    <a:pt x="1814" y="124"/>
                    <a:pt x="1815" y="134"/>
                  </a:cubicBezTo>
                  <a:cubicBezTo>
                    <a:pt x="1815" y="138"/>
                    <a:pt x="1831" y="140"/>
                    <a:pt x="1821" y="144"/>
                  </a:cubicBezTo>
                  <a:cubicBezTo>
                    <a:pt x="1812" y="147"/>
                    <a:pt x="1790" y="176"/>
                    <a:pt x="1807" y="181"/>
                  </a:cubicBezTo>
                  <a:cubicBezTo>
                    <a:pt x="1810" y="182"/>
                    <a:pt x="1812" y="181"/>
                    <a:pt x="1811" y="178"/>
                  </a:cubicBezTo>
                  <a:cubicBezTo>
                    <a:pt x="1806" y="165"/>
                    <a:pt x="1813" y="170"/>
                    <a:pt x="1818" y="170"/>
                  </a:cubicBezTo>
                  <a:cubicBezTo>
                    <a:pt x="1821" y="170"/>
                    <a:pt x="1814" y="177"/>
                    <a:pt x="1816" y="178"/>
                  </a:cubicBezTo>
                  <a:cubicBezTo>
                    <a:pt x="1824" y="184"/>
                    <a:pt x="1847" y="154"/>
                    <a:pt x="1853" y="149"/>
                  </a:cubicBezTo>
                  <a:cubicBezTo>
                    <a:pt x="1862" y="139"/>
                    <a:pt x="1840" y="144"/>
                    <a:pt x="1847" y="135"/>
                  </a:cubicBezTo>
                  <a:cubicBezTo>
                    <a:pt x="1865" y="114"/>
                    <a:pt x="1894" y="93"/>
                    <a:pt x="1908" y="76"/>
                  </a:cubicBezTo>
                  <a:cubicBezTo>
                    <a:pt x="1908" y="76"/>
                    <a:pt x="1909" y="75"/>
                    <a:pt x="1909" y="74"/>
                  </a:cubicBezTo>
                  <a:cubicBezTo>
                    <a:pt x="1913" y="66"/>
                    <a:pt x="1921" y="63"/>
                    <a:pt x="1926" y="56"/>
                  </a:cubicBezTo>
                  <a:cubicBezTo>
                    <a:pt x="1928" y="53"/>
                    <a:pt x="1955" y="31"/>
                    <a:pt x="1958" y="37"/>
                  </a:cubicBezTo>
                  <a:cubicBezTo>
                    <a:pt x="1960" y="42"/>
                    <a:pt x="1961" y="71"/>
                    <a:pt x="1954" y="77"/>
                  </a:cubicBezTo>
                  <a:cubicBezTo>
                    <a:pt x="1951" y="80"/>
                    <a:pt x="1926" y="83"/>
                    <a:pt x="1927" y="88"/>
                  </a:cubicBezTo>
                  <a:cubicBezTo>
                    <a:pt x="1927" y="90"/>
                    <a:pt x="1935" y="87"/>
                    <a:pt x="1936" y="86"/>
                  </a:cubicBezTo>
                  <a:cubicBezTo>
                    <a:pt x="1940" y="85"/>
                    <a:pt x="1952" y="84"/>
                    <a:pt x="1954" y="88"/>
                  </a:cubicBezTo>
                  <a:cubicBezTo>
                    <a:pt x="1961" y="100"/>
                    <a:pt x="1936" y="119"/>
                    <a:pt x="1941" y="133"/>
                  </a:cubicBezTo>
                  <a:cubicBezTo>
                    <a:pt x="1944" y="140"/>
                    <a:pt x="1964" y="117"/>
                    <a:pt x="1967" y="114"/>
                  </a:cubicBezTo>
                  <a:cubicBezTo>
                    <a:pt x="1971" y="112"/>
                    <a:pt x="1993" y="121"/>
                    <a:pt x="1994" y="116"/>
                  </a:cubicBezTo>
                  <a:cubicBezTo>
                    <a:pt x="1995" y="112"/>
                    <a:pt x="1979" y="107"/>
                    <a:pt x="1983" y="100"/>
                  </a:cubicBezTo>
                  <a:cubicBezTo>
                    <a:pt x="1988" y="91"/>
                    <a:pt x="1993" y="95"/>
                    <a:pt x="2001" y="96"/>
                  </a:cubicBezTo>
                  <a:cubicBezTo>
                    <a:pt x="2002" y="96"/>
                    <a:pt x="2010" y="98"/>
                    <a:pt x="2009" y="97"/>
                  </a:cubicBezTo>
                  <a:cubicBezTo>
                    <a:pt x="2008" y="94"/>
                    <a:pt x="1993" y="90"/>
                    <a:pt x="1994" y="88"/>
                  </a:cubicBezTo>
                  <a:cubicBezTo>
                    <a:pt x="1996" y="79"/>
                    <a:pt x="1993" y="78"/>
                    <a:pt x="1997" y="72"/>
                  </a:cubicBezTo>
                  <a:cubicBezTo>
                    <a:pt x="2000" y="68"/>
                    <a:pt x="2012" y="74"/>
                    <a:pt x="2014" y="73"/>
                  </a:cubicBezTo>
                  <a:cubicBezTo>
                    <a:pt x="2017" y="70"/>
                    <a:pt x="2007" y="66"/>
                    <a:pt x="2013" y="59"/>
                  </a:cubicBezTo>
                  <a:cubicBezTo>
                    <a:pt x="2015" y="56"/>
                    <a:pt x="2029" y="61"/>
                    <a:pt x="2033" y="61"/>
                  </a:cubicBezTo>
                  <a:cubicBezTo>
                    <a:pt x="2036" y="61"/>
                    <a:pt x="2044" y="63"/>
                    <a:pt x="2041" y="62"/>
                  </a:cubicBezTo>
                  <a:cubicBezTo>
                    <a:pt x="2027" y="59"/>
                    <a:pt x="2027" y="52"/>
                    <a:pt x="2022" y="44"/>
                  </a:cubicBezTo>
                  <a:cubicBezTo>
                    <a:pt x="2021" y="43"/>
                    <a:pt x="2017" y="48"/>
                    <a:pt x="2016" y="49"/>
                  </a:cubicBezTo>
                  <a:cubicBezTo>
                    <a:pt x="2011" y="49"/>
                    <a:pt x="1998" y="49"/>
                    <a:pt x="1996" y="43"/>
                  </a:cubicBezTo>
                  <a:cubicBezTo>
                    <a:pt x="1991" y="28"/>
                    <a:pt x="2014" y="43"/>
                    <a:pt x="2016" y="40"/>
                  </a:cubicBezTo>
                  <a:cubicBezTo>
                    <a:pt x="2019" y="36"/>
                    <a:pt x="2004" y="31"/>
                    <a:pt x="2005" y="28"/>
                  </a:cubicBezTo>
                  <a:cubicBezTo>
                    <a:pt x="2006" y="12"/>
                    <a:pt x="2033" y="39"/>
                    <a:pt x="2035" y="38"/>
                  </a:cubicBezTo>
                  <a:cubicBezTo>
                    <a:pt x="2042" y="33"/>
                    <a:pt x="2021" y="19"/>
                    <a:pt x="2044" y="10"/>
                  </a:cubicBezTo>
                  <a:cubicBezTo>
                    <a:pt x="2047" y="8"/>
                    <a:pt x="2046" y="17"/>
                    <a:pt x="2047" y="20"/>
                  </a:cubicBezTo>
                  <a:cubicBezTo>
                    <a:pt x="2048" y="21"/>
                    <a:pt x="2061" y="24"/>
                    <a:pt x="2063" y="24"/>
                  </a:cubicBezTo>
                  <a:cubicBezTo>
                    <a:pt x="2071" y="27"/>
                    <a:pt x="2093" y="14"/>
                    <a:pt x="2096" y="18"/>
                  </a:cubicBezTo>
                  <a:cubicBezTo>
                    <a:pt x="2102" y="24"/>
                    <a:pt x="2087" y="30"/>
                    <a:pt x="2093" y="34"/>
                  </a:cubicBezTo>
                  <a:cubicBezTo>
                    <a:pt x="2098" y="37"/>
                    <a:pt x="2115" y="22"/>
                    <a:pt x="2123" y="34"/>
                  </a:cubicBezTo>
                  <a:cubicBezTo>
                    <a:pt x="2130" y="43"/>
                    <a:pt x="2109" y="48"/>
                    <a:pt x="2107" y="49"/>
                  </a:cubicBezTo>
                  <a:cubicBezTo>
                    <a:pt x="2106" y="50"/>
                    <a:pt x="2117" y="50"/>
                    <a:pt x="2113" y="53"/>
                  </a:cubicBezTo>
                  <a:cubicBezTo>
                    <a:pt x="2109" y="56"/>
                    <a:pt x="2097" y="55"/>
                    <a:pt x="2095" y="58"/>
                  </a:cubicBezTo>
                  <a:cubicBezTo>
                    <a:pt x="2093" y="59"/>
                    <a:pt x="2106" y="60"/>
                    <a:pt x="2097" y="64"/>
                  </a:cubicBezTo>
                  <a:cubicBezTo>
                    <a:pt x="2090" y="68"/>
                    <a:pt x="2056" y="58"/>
                    <a:pt x="2053" y="65"/>
                  </a:cubicBezTo>
                  <a:cubicBezTo>
                    <a:pt x="2053" y="66"/>
                    <a:pt x="2061" y="66"/>
                    <a:pt x="2059" y="68"/>
                  </a:cubicBezTo>
                  <a:cubicBezTo>
                    <a:pt x="2052" y="75"/>
                    <a:pt x="2057" y="70"/>
                    <a:pt x="2063" y="68"/>
                  </a:cubicBezTo>
                  <a:cubicBezTo>
                    <a:pt x="2069" y="67"/>
                    <a:pt x="2074" y="71"/>
                    <a:pt x="2080" y="71"/>
                  </a:cubicBezTo>
                  <a:cubicBezTo>
                    <a:pt x="2081" y="71"/>
                    <a:pt x="2086" y="72"/>
                    <a:pt x="2086" y="73"/>
                  </a:cubicBezTo>
                  <a:cubicBezTo>
                    <a:pt x="2086" y="78"/>
                    <a:pt x="2055" y="90"/>
                    <a:pt x="2050" y="92"/>
                  </a:cubicBezTo>
                  <a:cubicBezTo>
                    <a:pt x="2050" y="92"/>
                    <a:pt x="2043" y="93"/>
                    <a:pt x="2043" y="94"/>
                  </a:cubicBezTo>
                  <a:cubicBezTo>
                    <a:pt x="2046" y="100"/>
                    <a:pt x="2090" y="79"/>
                    <a:pt x="2096" y="77"/>
                  </a:cubicBezTo>
                  <a:cubicBezTo>
                    <a:pt x="2097" y="77"/>
                    <a:pt x="2100" y="74"/>
                    <a:pt x="2101" y="76"/>
                  </a:cubicBezTo>
                  <a:cubicBezTo>
                    <a:pt x="2114" y="95"/>
                    <a:pt x="2061" y="105"/>
                    <a:pt x="2061" y="114"/>
                  </a:cubicBezTo>
                  <a:cubicBezTo>
                    <a:pt x="2061" y="115"/>
                    <a:pt x="2063" y="117"/>
                    <a:pt x="2064" y="118"/>
                  </a:cubicBezTo>
                  <a:cubicBezTo>
                    <a:pt x="2065" y="127"/>
                    <a:pt x="2072" y="104"/>
                    <a:pt x="2090" y="110"/>
                  </a:cubicBezTo>
                  <a:cubicBezTo>
                    <a:pt x="2091" y="110"/>
                    <a:pt x="2083" y="115"/>
                    <a:pt x="2081" y="116"/>
                  </a:cubicBezTo>
                  <a:cubicBezTo>
                    <a:pt x="2080" y="117"/>
                    <a:pt x="2082" y="120"/>
                    <a:pt x="2084" y="121"/>
                  </a:cubicBezTo>
                  <a:cubicBezTo>
                    <a:pt x="2088" y="123"/>
                    <a:pt x="2096" y="103"/>
                    <a:pt x="2104" y="109"/>
                  </a:cubicBezTo>
                  <a:cubicBezTo>
                    <a:pt x="2105" y="109"/>
                    <a:pt x="2089" y="129"/>
                    <a:pt x="2088" y="132"/>
                  </a:cubicBezTo>
                  <a:cubicBezTo>
                    <a:pt x="2086" y="142"/>
                    <a:pt x="2093" y="160"/>
                    <a:pt x="2089" y="170"/>
                  </a:cubicBezTo>
                  <a:cubicBezTo>
                    <a:pt x="2086" y="176"/>
                    <a:pt x="2078" y="177"/>
                    <a:pt x="2076" y="180"/>
                  </a:cubicBezTo>
                  <a:cubicBezTo>
                    <a:pt x="2075" y="181"/>
                    <a:pt x="2083" y="180"/>
                    <a:pt x="2084" y="180"/>
                  </a:cubicBezTo>
                  <a:cubicBezTo>
                    <a:pt x="2088" y="177"/>
                    <a:pt x="2094" y="169"/>
                    <a:pt x="2095" y="164"/>
                  </a:cubicBezTo>
                  <a:cubicBezTo>
                    <a:pt x="2099" y="150"/>
                    <a:pt x="2088" y="124"/>
                    <a:pt x="2107" y="115"/>
                  </a:cubicBezTo>
                  <a:cubicBezTo>
                    <a:pt x="2116" y="110"/>
                    <a:pt x="2118" y="121"/>
                    <a:pt x="2120" y="120"/>
                  </a:cubicBezTo>
                  <a:cubicBezTo>
                    <a:pt x="2122" y="118"/>
                    <a:pt x="2118" y="114"/>
                    <a:pt x="2121" y="112"/>
                  </a:cubicBezTo>
                  <a:cubicBezTo>
                    <a:pt x="2121" y="112"/>
                    <a:pt x="2125" y="110"/>
                    <a:pt x="2124" y="110"/>
                  </a:cubicBezTo>
                  <a:cubicBezTo>
                    <a:pt x="2121" y="107"/>
                    <a:pt x="2112" y="109"/>
                    <a:pt x="2110" y="104"/>
                  </a:cubicBezTo>
                  <a:cubicBezTo>
                    <a:pt x="2109" y="103"/>
                    <a:pt x="2111" y="101"/>
                    <a:pt x="2112" y="100"/>
                  </a:cubicBezTo>
                  <a:cubicBezTo>
                    <a:pt x="2114" y="96"/>
                    <a:pt x="2116" y="85"/>
                    <a:pt x="2120" y="82"/>
                  </a:cubicBezTo>
                  <a:cubicBezTo>
                    <a:pt x="2122" y="80"/>
                    <a:pt x="2128" y="85"/>
                    <a:pt x="2130" y="83"/>
                  </a:cubicBezTo>
                  <a:cubicBezTo>
                    <a:pt x="2132" y="81"/>
                    <a:pt x="2120" y="79"/>
                    <a:pt x="2121" y="75"/>
                  </a:cubicBezTo>
                  <a:cubicBezTo>
                    <a:pt x="2123" y="67"/>
                    <a:pt x="2141" y="53"/>
                    <a:pt x="2148" y="50"/>
                  </a:cubicBezTo>
                  <a:cubicBezTo>
                    <a:pt x="2149" y="49"/>
                    <a:pt x="2150" y="49"/>
                    <a:pt x="2151" y="49"/>
                  </a:cubicBezTo>
                  <a:cubicBezTo>
                    <a:pt x="2159" y="48"/>
                    <a:pt x="2196" y="57"/>
                    <a:pt x="2200" y="65"/>
                  </a:cubicBezTo>
                  <a:cubicBezTo>
                    <a:pt x="2200" y="66"/>
                    <a:pt x="2196" y="69"/>
                    <a:pt x="2195" y="69"/>
                  </a:cubicBezTo>
                  <a:cubicBezTo>
                    <a:pt x="2189" y="74"/>
                    <a:pt x="2191" y="74"/>
                    <a:pt x="2199" y="73"/>
                  </a:cubicBezTo>
                  <a:cubicBezTo>
                    <a:pt x="2206" y="72"/>
                    <a:pt x="2190" y="76"/>
                    <a:pt x="2193" y="77"/>
                  </a:cubicBezTo>
                  <a:cubicBezTo>
                    <a:pt x="2194" y="77"/>
                    <a:pt x="2197" y="77"/>
                    <a:pt x="2196" y="79"/>
                  </a:cubicBezTo>
                  <a:cubicBezTo>
                    <a:pt x="2196" y="80"/>
                    <a:pt x="2185" y="82"/>
                    <a:pt x="2189" y="86"/>
                  </a:cubicBezTo>
                  <a:cubicBezTo>
                    <a:pt x="2191" y="87"/>
                    <a:pt x="2227" y="68"/>
                    <a:pt x="2233" y="73"/>
                  </a:cubicBezTo>
                  <a:cubicBezTo>
                    <a:pt x="2240" y="80"/>
                    <a:pt x="2223" y="90"/>
                    <a:pt x="2224" y="92"/>
                  </a:cubicBezTo>
                  <a:cubicBezTo>
                    <a:pt x="2227" y="99"/>
                    <a:pt x="2250" y="77"/>
                    <a:pt x="2252" y="77"/>
                  </a:cubicBezTo>
                  <a:cubicBezTo>
                    <a:pt x="2259" y="76"/>
                    <a:pt x="2261" y="77"/>
                    <a:pt x="2266" y="80"/>
                  </a:cubicBezTo>
                  <a:cubicBezTo>
                    <a:pt x="2278" y="86"/>
                    <a:pt x="2260" y="86"/>
                    <a:pt x="2262" y="88"/>
                  </a:cubicBezTo>
                  <a:cubicBezTo>
                    <a:pt x="2263" y="89"/>
                    <a:pt x="2272" y="88"/>
                    <a:pt x="2274" y="90"/>
                  </a:cubicBezTo>
                  <a:cubicBezTo>
                    <a:pt x="2276" y="90"/>
                    <a:pt x="2284" y="93"/>
                    <a:pt x="2284" y="95"/>
                  </a:cubicBezTo>
                  <a:cubicBezTo>
                    <a:pt x="2283" y="102"/>
                    <a:pt x="2272" y="107"/>
                    <a:pt x="2265" y="106"/>
                  </a:cubicBezTo>
                  <a:cubicBezTo>
                    <a:pt x="2263" y="106"/>
                    <a:pt x="2253" y="104"/>
                    <a:pt x="2253" y="105"/>
                  </a:cubicBezTo>
                  <a:cubicBezTo>
                    <a:pt x="2263" y="117"/>
                    <a:pt x="2283" y="100"/>
                    <a:pt x="2294" y="101"/>
                  </a:cubicBezTo>
                  <a:cubicBezTo>
                    <a:pt x="2297" y="102"/>
                    <a:pt x="2304" y="103"/>
                    <a:pt x="2306" y="104"/>
                  </a:cubicBezTo>
                  <a:cubicBezTo>
                    <a:pt x="2307" y="105"/>
                    <a:pt x="2307" y="106"/>
                    <a:pt x="2306" y="107"/>
                  </a:cubicBezTo>
                  <a:cubicBezTo>
                    <a:pt x="2302" y="110"/>
                    <a:pt x="2304" y="110"/>
                    <a:pt x="2309" y="112"/>
                  </a:cubicBezTo>
                  <a:cubicBezTo>
                    <a:pt x="2315" y="114"/>
                    <a:pt x="2320" y="124"/>
                    <a:pt x="2325" y="125"/>
                  </a:cubicBezTo>
                  <a:cubicBezTo>
                    <a:pt x="2326" y="125"/>
                    <a:pt x="2349" y="114"/>
                    <a:pt x="2348" y="133"/>
                  </a:cubicBezTo>
                  <a:cubicBezTo>
                    <a:pt x="2346" y="165"/>
                    <a:pt x="2320" y="138"/>
                    <a:pt x="2299" y="152"/>
                  </a:cubicBezTo>
                  <a:cubicBezTo>
                    <a:pt x="2289" y="159"/>
                    <a:pt x="2275" y="180"/>
                    <a:pt x="2267" y="180"/>
                  </a:cubicBezTo>
                  <a:cubicBezTo>
                    <a:pt x="2234" y="183"/>
                    <a:pt x="2198" y="175"/>
                    <a:pt x="2165" y="170"/>
                  </a:cubicBezTo>
                  <a:cubicBezTo>
                    <a:pt x="2155" y="169"/>
                    <a:pt x="2147" y="162"/>
                    <a:pt x="2136" y="162"/>
                  </a:cubicBezTo>
                  <a:cubicBezTo>
                    <a:pt x="2134" y="163"/>
                    <a:pt x="2129" y="163"/>
                    <a:pt x="2128" y="165"/>
                  </a:cubicBezTo>
                  <a:cubicBezTo>
                    <a:pt x="2127" y="166"/>
                    <a:pt x="2138" y="167"/>
                    <a:pt x="2139" y="168"/>
                  </a:cubicBezTo>
                  <a:cubicBezTo>
                    <a:pt x="2140" y="169"/>
                    <a:pt x="2116" y="179"/>
                    <a:pt x="2140" y="176"/>
                  </a:cubicBezTo>
                  <a:cubicBezTo>
                    <a:pt x="2140" y="176"/>
                    <a:pt x="2152" y="174"/>
                    <a:pt x="2150" y="176"/>
                  </a:cubicBezTo>
                  <a:cubicBezTo>
                    <a:pt x="2148" y="179"/>
                    <a:pt x="2143" y="178"/>
                    <a:pt x="2158" y="179"/>
                  </a:cubicBezTo>
                  <a:cubicBezTo>
                    <a:pt x="2165" y="180"/>
                    <a:pt x="2170" y="180"/>
                    <a:pt x="2176" y="182"/>
                  </a:cubicBezTo>
                  <a:cubicBezTo>
                    <a:pt x="2176" y="182"/>
                    <a:pt x="2176" y="183"/>
                    <a:pt x="2176" y="183"/>
                  </a:cubicBezTo>
                  <a:cubicBezTo>
                    <a:pt x="2174" y="186"/>
                    <a:pt x="2186" y="184"/>
                    <a:pt x="2177" y="188"/>
                  </a:cubicBezTo>
                  <a:cubicBezTo>
                    <a:pt x="2176" y="188"/>
                    <a:pt x="2174" y="189"/>
                    <a:pt x="2176" y="190"/>
                  </a:cubicBezTo>
                  <a:cubicBezTo>
                    <a:pt x="2182" y="193"/>
                    <a:pt x="2201" y="189"/>
                    <a:pt x="2209" y="191"/>
                  </a:cubicBezTo>
                  <a:cubicBezTo>
                    <a:pt x="2209" y="191"/>
                    <a:pt x="2209" y="191"/>
                    <a:pt x="2209" y="191"/>
                  </a:cubicBezTo>
                  <a:cubicBezTo>
                    <a:pt x="2211" y="193"/>
                    <a:pt x="2213" y="194"/>
                    <a:pt x="2216" y="194"/>
                  </a:cubicBezTo>
                  <a:cubicBezTo>
                    <a:pt x="2237" y="199"/>
                    <a:pt x="2203" y="202"/>
                    <a:pt x="2201" y="210"/>
                  </a:cubicBezTo>
                  <a:cubicBezTo>
                    <a:pt x="2201" y="212"/>
                    <a:pt x="2195" y="212"/>
                    <a:pt x="2196" y="214"/>
                  </a:cubicBezTo>
                  <a:cubicBezTo>
                    <a:pt x="2197" y="216"/>
                    <a:pt x="2202" y="215"/>
                    <a:pt x="2203" y="213"/>
                  </a:cubicBezTo>
                  <a:cubicBezTo>
                    <a:pt x="2211" y="198"/>
                    <a:pt x="2229" y="206"/>
                    <a:pt x="2232" y="217"/>
                  </a:cubicBezTo>
                  <a:cubicBezTo>
                    <a:pt x="2234" y="223"/>
                    <a:pt x="2212" y="238"/>
                    <a:pt x="2213" y="239"/>
                  </a:cubicBezTo>
                  <a:cubicBezTo>
                    <a:pt x="2213" y="240"/>
                    <a:pt x="2206" y="245"/>
                    <a:pt x="2207" y="246"/>
                  </a:cubicBezTo>
                  <a:cubicBezTo>
                    <a:pt x="2208" y="247"/>
                    <a:pt x="2211" y="244"/>
                    <a:pt x="2212" y="243"/>
                  </a:cubicBezTo>
                  <a:cubicBezTo>
                    <a:pt x="2224" y="232"/>
                    <a:pt x="2229" y="235"/>
                    <a:pt x="2245" y="235"/>
                  </a:cubicBezTo>
                  <a:cubicBezTo>
                    <a:pt x="2246" y="235"/>
                    <a:pt x="2256" y="224"/>
                    <a:pt x="2259" y="228"/>
                  </a:cubicBezTo>
                  <a:cubicBezTo>
                    <a:pt x="2261" y="232"/>
                    <a:pt x="2247" y="238"/>
                    <a:pt x="2247" y="240"/>
                  </a:cubicBezTo>
                  <a:cubicBezTo>
                    <a:pt x="2247" y="242"/>
                    <a:pt x="2249" y="238"/>
                    <a:pt x="2251" y="238"/>
                  </a:cubicBezTo>
                  <a:cubicBezTo>
                    <a:pt x="2255" y="236"/>
                    <a:pt x="2256" y="236"/>
                    <a:pt x="2259" y="233"/>
                  </a:cubicBezTo>
                  <a:cubicBezTo>
                    <a:pt x="2260" y="232"/>
                    <a:pt x="2262" y="237"/>
                    <a:pt x="2263" y="238"/>
                  </a:cubicBezTo>
                  <a:cubicBezTo>
                    <a:pt x="2274" y="249"/>
                    <a:pt x="2258" y="208"/>
                    <a:pt x="2279" y="210"/>
                  </a:cubicBezTo>
                  <a:cubicBezTo>
                    <a:pt x="2288" y="211"/>
                    <a:pt x="2268" y="219"/>
                    <a:pt x="2285" y="217"/>
                  </a:cubicBezTo>
                  <a:cubicBezTo>
                    <a:pt x="2290" y="216"/>
                    <a:pt x="2292" y="238"/>
                    <a:pt x="2289" y="242"/>
                  </a:cubicBezTo>
                  <a:cubicBezTo>
                    <a:pt x="2288" y="243"/>
                    <a:pt x="2280" y="244"/>
                    <a:pt x="2286" y="245"/>
                  </a:cubicBezTo>
                  <a:cubicBezTo>
                    <a:pt x="2302" y="246"/>
                    <a:pt x="2288" y="224"/>
                    <a:pt x="2293" y="221"/>
                  </a:cubicBezTo>
                  <a:cubicBezTo>
                    <a:pt x="2295" y="220"/>
                    <a:pt x="2311" y="222"/>
                    <a:pt x="2329" y="225"/>
                  </a:cubicBezTo>
                  <a:cubicBezTo>
                    <a:pt x="2334" y="234"/>
                    <a:pt x="2338" y="239"/>
                    <a:pt x="2338" y="248"/>
                  </a:cubicBezTo>
                  <a:cubicBezTo>
                    <a:pt x="2338" y="294"/>
                    <a:pt x="2275" y="240"/>
                    <a:pt x="2260" y="247"/>
                  </a:cubicBezTo>
                  <a:cubicBezTo>
                    <a:pt x="2258" y="248"/>
                    <a:pt x="2264" y="249"/>
                    <a:pt x="2266" y="250"/>
                  </a:cubicBezTo>
                  <a:cubicBezTo>
                    <a:pt x="2277" y="256"/>
                    <a:pt x="2260" y="271"/>
                    <a:pt x="2256" y="274"/>
                  </a:cubicBezTo>
                  <a:cubicBezTo>
                    <a:pt x="2240" y="284"/>
                    <a:pt x="2204" y="286"/>
                    <a:pt x="2192" y="300"/>
                  </a:cubicBezTo>
                  <a:cubicBezTo>
                    <a:pt x="2185" y="309"/>
                    <a:pt x="2192" y="353"/>
                    <a:pt x="2165" y="345"/>
                  </a:cubicBezTo>
                  <a:cubicBezTo>
                    <a:pt x="2163" y="344"/>
                    <a:pt x="2161" y="344"/>
                    <a:pt x="2159" y="343"/>
                  </a:cubicBezTo>
                  <a:cubicBezTo>
                    <a:pt x="2108" y="324"/>
                    <a:pt x="2194" y="286"/>
                    <a:pt x="2190" y="271"/>
                  </a:cubicBezTo>
                  <a:cubicBezTo>
                    <a:pt x="2179" y="222"/>
                    <a:pt x="2102" y="233"/>
                    <a:pt x="2069" y="180"/>
                  </a:cubicBezTo>
                  <a:cubicBezTo>
                    <a:pt x="2037" y="176"/>
                    <a:pt x="2028" y="194"/>
                    <a:pt x="2000" y="203"/>
                  </a:cubicBezTo>
                  <a:cubicBezTo>
                    <a:pt x="1981" y="209"/>
                    <a:pt x="1957" y="190"/>
                    <a:pt x="1938" y="202"/>
                  </a:cubicBezTo>
                  <a:cubicBezTo>
                    <a:pt x="1934" y="204"/>
                    <a:pt x="1899" y="234"/>
                    <a:pt x="1895" y="239"/>
                  </a:cubicBezTo>
                  <a:cubicBezTo>
                    <a:pt x="1892" y="241"/>
                    <a:pt x="1889" y="255"/>
                    <a:pt x="1883" y="263"/>
                  </a:cubicBezTo>
                  <a:cubicBezTo>
                    <a:pt x="1879" y="268"/>
                    <a:pt x="1884" y="283"/>
                    <a:pt x="1881" y="289"/>
                  </a:cubicBezTo>
                  <a:cubicBezTo>
                    <a:pt x="1877" y="300"/>
                    <a:pt x="1870" y="305"/>
                    <a:pt x="1871" y="319"/>
                  </a:cubicBezTo>
                  <a:cubicBezTo>
                    <a:pt x="1871" y="327"/>
                    <a:pt x="1881" y="339"/>
                    <a:pt x="1880" y="348"/>
                  </a:cubicBezTo>
                  <a:cubicBezTo>
                    <a:pt x="1876" y="368"/>
                    <a:pt x="1854" y="366"/>
                    <a:pt x="1841" y="369"/>
                  </a:cubicBezTo>
                  <a:cubicBezTo>
                    <a:pt x="1819" y="375"/>
                    <a:pt x="1827" y="398"/>
                    <a:pt x="1816" y="408"/>
                  </a:cubicBezTo>
                  <a:cubicBezTo>
                    <a:pt x="1810" y="414"/>
                    <a:pt x="1805" y="413"/>
                    <a:pt x="1800" y="419"/>
                  </a:cubicBezTo>
                  <a:cubicBezTo>
                    <a:pt x="1799" y="420"/>
                    <a:pt x="1782" y="402"/>
                    <a:pt x="1779" y="400"/>
                  </a:cubicBezTo>
                  <a:cubicBezTo>
                    <a:pt x="1770" y="396"/>
                    <a:pt x="1710" y="375"/>
                    <a:pt x="1705" y="377"/>
                  </a:cubicBezTo>
                  <a:cubicBezTo>
                    <a:pt x="1699" y="378"/>
                    <a:pt x="1696" y="392"/>
                    <a:pt x="1691" y="395"/>
                  </a:cubicBezTo>
                  <a:cubicBezTo>
                    <a:pt x="1686" y="399"/>
                    <a:pt x="1652" y="410"/>
                    <a:pt x="1647" y="408"/>
                  </a:cubicBezTo>
                  <a:cubicBezTo>
                    <a:pt x="1647" y="408"/>
                    <a:pt x="1635" y="398"/>
                    <a:pt x="1635" y="398"/>
                  </a:cubicBezTo>
                  <a:cubicBezTo>
                    <a:pt x="1622" y="392"/>
                    <a:pt x="1597" y="396"/>
                    <a:pt x="1583" y="396"/>
                  </a:cubicBezTo>
                  <a:cubicBezTo>
                    <a:pt x="1580" y="395"/>
                    <a:pt x="1577" y="397"/>
                    <a:pt x="1575" y="395"/>
                  </a:cubicBezTo>
                  <a:cubicBezTo>
                    <a:pt x="1571" y="390"/>
                    <a:pt x="1574" y="381"/>
                    <a:pt x="1571" y="374"/>
                  </a:cubicBezTo>
                  <a:cubicBezTo>
                    <a:pt x="1562" y="351"/>
                    <a:pt x="1503" y="294"/>
                    <a:pt x="1479" y="297"/>
                  </a:cubicBezTo>
                  <a:cubicBezTo>
                    <a:pt x="1471" y="299"/>
                    <a:pt x="1453" y="313"/>
                    <a:pt x="1453" y="321"/>
                  </a:cubicBezTo>
                  <a:cubicBezTo>
                    <a:pt x="1454" y="325"/>
                    <a:pt x="1467" y="342"/>
                    <a:pt x="1456" y="345"/>
                  </a:cubicBezTo>
                  <a:cubicBezTo>
                    <a:pt x="1452" y="346"/>
                    <a:pt x="1414" y="325"/>
                    <a:pt x="1413" y="340"/>
                  </a:cubicBezTo>
                  <a:cubicBezTo>
                    <a:pt x="1413" y="341"/>
                    <a:pt x="1415" y="341"/>
                    <a:pt x="1417" y="342"/>
                  </a:cubicBezTo>
                  <a:cubicBezTo>
                    <a:pt x="1413" y="342"/>
                    <a:pt x="1385" y="342"/>
                    <a:pt x="1381" y="342"/>
                  </a:cubicBezTo>
                  <a:cubicBezTo>
                    <a:pt x="1377" y="342"/>
                    <a:pt x="1373" y="340"/>
                    <a:pt x="1370" y="342"/>
                  </a:cubicBezTo>
                  <a:cubicBezTo>
                    <a:pt x="1368" y="344"/>
                    <a:pt x="1373" y="346"/>
                    <a:pt x="1375" y="347"/>
                  </a:cubicBezTo>
                  <a:cubicBezTo>
                    <a:pt x="1385" y="357"/>
                    <a:pt x="1396" y="369"/>
                    <a:pt x="1393" y="385"/>
                  </a:cubicBezTo>
                  <a:cubicBezTo>
                    <a:pt x="1389" y="397"/>
                    <a:pt x="1357" y="417"/>
                    <a:pt x="1357" y="421"/>
                  </a:cubicBezTo>
                  <a:cubicBezTo>
                    <a:pt x="1357" y="429"/>
                    <a:pt x="1389" y="424"/>
                    <a:pt x="1378" y="437"/>
                  </a:cubicBezTo>
                  <a:cubicBezTo>
                    <a:pt x="1378" y="437"/>
                    <a:pt x="1358" y="455"/>
                    <a:pt x="1355" y="456"/>
                  </a:cubicBezTo>
                  <a:cubicBezTo>
                    <a:pt x="1334" y="462"/>
                    <a:pt x="1212" y="407"/>
                    <a:pt x="1190" y="429"/>
                  </a:cubicBezTo>
                  <a:cubicBezTo>
                    <a:pt x="1179" y="441"/>
                    <a:pt x="1213" y="497"/>
                    <a:pt x="1173" y="516"/>
                  </a:cubicBezTo>
                  <a:cubicBezTo>
                    <a:pt x="1160" y="522"/>
                    <a:pt x="1131" y="490"/>
                    <a:pt x="1118" y="495"/>
                  </a:cubicBezTo>
                  <a:cubicBezTo>
                    <a:pt x="1117" y="495"/>
                    <a:pt x="1117" y="495"/>
                    <a:pt x="1117" y="495"/>
                  </a:cubicBezTo>
                  <a:cubicBezTo>
                    <a:pt x="1116" y="495"/>
                    <a:pt x="1115" y="495"/>
                    <a:pt x="1114" y="496"/>
                  </a:cubicBezTo>
                  <a:cubicBezTo>
                    <a:pt x="1113" y="496"/>
                    <a:pt x="1113" y="497"/>
                    <a:pt x="1113" y="497"/>
                  </a:cubicBezTo>
                  <a:cubicBezTo>
                    <a:pt x="1102" y="502"/>
                    <a:pt x="1074" y="518"/>
                    <a:pt x="1070" y="524"/>
                  </a:cubicBezTo>
                  <a:cubicBezTo>
                    <a:pt x="1058" y="540"/>
                    <a:pt x="1056" y="561"/>
                    <a:pt x="1043" y="578"/>
                  </a:cubicBezTo>
                  <a:cubicBezTo>
                    <a:pt x="1036" y="588"/>
                    <a:pt x="1015" y="583"/>
                    <a:pt x="1012" y="599"/>
                  </a:cubicBezTo>
                  <a:cubicBezTo>
                    <a:pt x="1010" y="613"/>
                    <a:pt x="1058" y="632"/>
                    <a:pt x="1036" y="661"/>
                  </a:cubicBezTo>
                  <a:cubicBezTo>
                    <a:pt x="1029" y="670"/>
                    <a:pt x="1014" y="674"/>
                    <a:pt x="1006" y="682"/>
                  </a:cubicBezTo>
                  <a:cubicBezTo>
                    <a:pt x="993" y="694"/>
                    <a:pt x="985" y="713"/>
                    <a:pt x="972" y="725"/>
                  </a:cubicBezTo>
                  <a:cubicBezTo>
                    <a:pt x="967" y="730"/>
                    <a:pt x="950" y="737"/>
                    <a:pt x="948" y="743"/>
                  </a:cubicBezTo>
                  <a:cubicBezTo>
                    <a:pt x="946" y="752"/>
                    <a:pt x="959" y="765"/>
                    <a:pt x="957" y="774"/>
                  </a:cubicBezTo>
                  <a:cubicBezTo>
                    <a:pt x="952" y="794"/>
                    <a:pt x="872" y="795"/>
                    <a:pt x="871" y="797"/>
                  </a:cubicBezTo>
                  <a:cubicBezTo>
                    <a:pt x="866" y="804"/>
                    <a:pt x="884" y="834"/>
                    <a:pt x="883" y="843"/>
                  </a:cubicBezTo>
                  <a:cubicBezTo>
                    <a:pt x="882" y="855"/>
                    <a:pt x="873" y="866"/>
                    <a:pt x="871" y="878"/>
                  </a:cubicBezTo>
                  <a:cubicBezTo>
                    <a:pt x="870" y="882"/>
                    <a:pt x="871" y="886"/>
                    <a:pt x="871" y="889"/>
                  </a:cubicBezTo>
                  <a:cubicBezTo>
                    <a:pt x="871" y="889"/>
                    <a:pt x="871" y="911"/>
                    <a:pt x="871" y="911"/>
                  </a:cubicBezTo>
                  <a:cubicBezTo>
                    <a:pt x="871" y="914"/>
                    <a:pt x="872" y="918"/>
                    <a:pt x="871" y="922"/>
                  </a:cubicBezTo>
                  <a:cubicBezTo>
                    <a:pt x="871" y="922"/>
                    <a:pt x="859" y="932"/>
                    <a:pt x="859" y="932"/>
                  </a:cubicBezTo>
                  <a:cubicBezTo>
                    <a:pt x="856" y="937"/>
                    <a:pt x="857" y="944"/>
                    <a:pt x="855" y="949"/>
                  </a:cubicBezTo>
                  <a:cubicBezTo>
                    <a:pt x="850" y="960"/>
                    <a:pt x="816" y="1000"/>
                    <a:pt x="803" y="1022"/>
                  </a:cubicBezTo>
                  <a:cubicBezTo>
                    <a:pt x="802" y="1022"/>
                    <a:pt x="801" y="1022"/>
                    <a:pt x="800" y="1023"/>
                  </a:cubicBezTo>
                  <a:cubicBezTo>
                    <a:pt x="800" y="1023"/>
                    <a:pt x="801" y="1024"/>
                    <a:pt x="801" y="1024"/>
                  </a:cubicBezTo>
                  <a:cubicBezTo>
                    <a:pt x="799" y="1029"/>
                    <a:pt x="797" y="1033"/>
                    <a:pt x="798" y="1035"/>
                  </a:cubicBezTo>
                  <a:cubicBezTo>
                    <a:pt x="813" y="1060"/>
                    <a:pt x="851" y="1030"/>
                    <a:pt x="840" y="1093"/>
                  </a:cubicBezTo>
                  <a:cubicBezTo>
                    <a:pt x="838" y="1100"/>
                    <a:pt x="836" y="1106"/>
                    <a:pt x="832" y="1109"/>
                  </a:cubicBezTo>
                  <a:cubicBezTo>
                    <a:pt x="825" y="1105"/>
                    <a:pt x="820" y="1101"/>
                    <a:pt x="820" y="1101"/>
                  </a:cubicBezTo>
                  <a:cubicBezTo>
                    <a:pt x="819" y="1099"/>
                    <a:pt x="812" y="1093"/>
                    <a:pt x="811" y="1095"/>
                  </a:cubicBezTo>
                  <a:cubicBezTo>
                    <a:pt x="809" y="1097"/>
                    <a:pt x="820" y="1105"/>
                    <a:pt x="830" y="1111"/>
                  </a:cubicBezTo>
                  <a:cubicBezTo>
                    <a:pt x="813" y="1124"/>
                    <a:pt x="780" y="1103"/>
                    <a:pt x="758" y="1105"/>
                  </a:cubicBezTo>
                  <a:cubicBezTo>
                    <a:pt x="752" y="1106"/>
                    <a:pt x="742" y="1110"/>
                    <a:pt x="731" y="1116"/>
                  </a:cubicBezTo>
                  <a:cubicBezTo>
                    <a:pt x="732" y="1102"/>
                    <a:pt x="726" y="1095"/>
                    <a:pt x="718" y="1099"/>
                  </a:cubicBezTo>
                  <a:cubicBezTo>
                    <a:pt x="718" y="1099"/>
                    <a:pt x="724" y="1107"/>
                    <a:pt x="725" y="1109"/>
                  </a:cubicBezTo>
                  <a:cubicBezTo>
                    <a:pt x="725" y="1111"/>
                    <a:pt x="726" y="1115"/>
                    <a:pt x="727" y="1118"/>
                  </a:cubicBezTo>
                  <a:cubicBezTo>
                    <a:pt x="725" y="1119"/>
                    <a:pt x="724" y="1120"/>
                    <a:pt x="722" y="1121"/>
                  </a:cubicBezTo>
                  <a:cubicBezTo>
                    <a:pt x="719" y="1120"/>
                    <a:pt x="716" y="1121"/>
                    <a:pt x="714" y="1124"/>
                  </a:cubicBezTo>
                  <a:cubicBezTo>
                    <a:pt x="714" y="1125"/>
                    <a:pt x="714" y="1125"/>
                    <a:pt x="714" y="1126"/>
                  </a:cubicBezTo>
                  <a:cubicBezTo>
                    <a:pt x="688" y="1143"/>
                    <a:pt x="661" y="1167"/>
                    <a:pt x="660" y="1182"/>
                  </a:cubicBezTo>
                  <a:cubicBezTo>
                    <a:pt x="660" y="1188"/>
                    <a:pt x="667" y="1192"/>
                    <a:pt x="666" y="1197"/>
                  </a:cubicBezTo>
                  <a:cubicBezTo>
                    <a:pt x="664" y="1208"/>
                    <a:pt x="643" y="1218"/>
                    <a:pt x="642" y="1229"/>
                  </a:cubicBezTo>
                  <a:cubicBezTo>
                    <a:pt x="642" y="1241"/>
                    <a:pt x="663" y="1254"/>
                    <a:pt x="663" y="1266"/>
                  </a:cubicBezTo>
                  <a:cubicBezTo>
                    <a:pt x="663" y="1266"/>
                    <a:pt x="651" y="1284"/>
                    <a:pt x="651" y="1284"/>
                  </a:cubicBezTo>
                  <a:cubicBezTo>
                    <a:pt x="649" y="1289"/>
                    <a:pt x="656" y="1300"/>
                    <a:pt x="656" y="1306"/>
                  </a:cubicBezTo>
                  <a:cubicBezTo>
                    <a:pt x="655" y="1312"/>
                    <a:pt x="648" y="1322"/>
                    <a:pt x="650" y="1328"/>
                  </a:cubicBezTo>
                  <a:cubicBezTo>
                    <a:pt x="653" y="1345"/>
                    <a:pt x="673" y="1359"/>
                    <a:pt x="675" y="1377"/>
                  </a:cubicBezTo>
                  <a:cubicBezTo>
                    <a:pt x="677" y="1401"/>
                    <a:pt x="652" y="1433"/>
                    <a:pt x="659" y="1455"/>
                  </a:cubicBezTo>
                  <a:cubicBezTo>
                    <a:pt x="666" y="1483"/>
                    <a:pt x="713" y="1480"/>
                    <a:pt x="724" y="1509"/>
                  </a:cubicBezTo>
                  <a:cubicBezTo>
                    <a:pt x="725" y="1512"/>
                    <a:pt x="709" y="1550"/>
                    <a:pt x="706" y="1552"/>
                  </a:cubicBezTo>
                  <a:cubicBezTo>
                    <a:pt x="698" y="1558"/>
                    <a:pt x="671" y="1550"/>
                    <a:pt x="669" y="1564"/>
                  </a:cubicBezTo>
                  <a:cubicBezTo>
                    <a:pt x="666" y="1587"/>
                    <a:pt x="702" y="1614"/>
                    <a:pt x="702" y="1639"/>
                  </a:cubicBezTo>
                  <a:cubicBezTo>
                    <a:pt x="702" y="1650"/>
                    <a:pt x="694" y="1653"/>
                    <a:pt x="691" y="1663"/>
                  </a:cubicBezTo>
                  <a:cubicBezTo>
                    <a:pt x="690" y="1665"/>
                    <a:pt x="691" y="1668"/>
                    <a:pt x="691" y="1671"/>
                  </a:cubicBezTo>
                  <a:cubicBezTo>
                    <a:pt x="691" y="1676"/>
                    <a:pt x="691" y="1681"/>
                    <a:pt x="691" y="1686"/>
                  </a:cubicBezTo>
                  <a:cubicBezTo>
                    <a:pt x="691" y="1689"/>
                    <a:pt x="692" y="1692"/>
                    <a:pt x="691" y="1694"/>
                  </a:cubicBezTo>
                  <a:cubicBezTo>
                    <a:pt x="688" y="1700"/>
                    <a:pt x="669" y="1718"/>
                    <a:pt x="663" y="1720"/>
                  </a:cubicBezTo>
                  <a:cubicBezTo>
                    <a:pt x="659" y="1722"/>
                    <a:pt x="632" y="1718"/>
                    <a:pt x="632" y="1728"/>
                  </a:cubicBezTo>
                  <a:cubicBezTo>
                    <a:pt x="632" y="1733"/>
                    <a:pt x="638" y="1737"/>
                    <a:pt x="638" y="1742"/>
                  </a:cubicBezTo>
                  <a:cubicBezTo>
                    <a:pt x="640" y="1758"/>
                    <a:pt x="623" y="1752"/>
                    <a:pt x="618" y="1763"/>
                  </a:cubicBezTo>
                  <a:cubicBezTo>
                    <a:pt x="615" y="1770"/>
                    <a:pt x="619" y="1783"/>
                    <a:pt x="623" y="1797"/>
                  </a:cubicBezTo>
                  <a:cubicBezTo>
                    <a:pt x="622" y="1797"/>
                    <a:pt x="622" y="1797"/>
                    <a:pt x="622" y="1797"/>
                  </a:cubicBezTo>
                  <a:cubicBezTo>
                    <a:pt x="621" y="1801"/>
                    <a:pt x="624" y="1807"/>
                    <a:pt x="627" y="1813"/>
                  </a:cubicBezTo>
                  <a:cubicBezTo>
                    <a:pt x="630" y="1831"/>
                    <a:pt x="630" y="1849"/>
                    <a:pt x="615" y="1861"/>
                  </a:cubicBezTo>
                  <a:cubicBezTo>
                    <a:pt x="601" y="1872"/>
                    <a:pt x="599" y="1861"/>
                    <a:pt x="597" y="1851"/>
                  </a:cubicBezTo>
                  <a:close/>
                  <a:moveTo>
                    <a:pt x="1736" y="255"/>
                  </a:moveTo>
                  <a:cubicBezTo>
                    <a:pt x="1736" y="255"/>
                    <a:pt x="1736" y="255"/>
                    <a:pt x="1736" y="255"/>
                  </a:cubicBezTo>
                  <a:cubicBezTo>
                    <a:pt x="1743" y="253"/>
                    <a:pt x="1755" y="240"/>
                    <a:pt x="1734" y="238"/>
                  </a:cubicBezTo>
                  <a:cubicBezTo>
                    <a:pt x="1723" y="237"/>
                    <a:pt x="1726" y="253"/>
                    <a:pt x="1736" y="255"/>
                  </a:cubicBezTo>
                  <a:close/>
                  <a:moveTo>
                    <a:pt x="1273" y="409"/>
                  </a:moveTo>
                  <a:cubicBezTo>
                    <a:pt x="1274" y="411"/>
                    <a:pt x="1281" y="413"/>
                    <a:pt x="1282" y="414"/>
                  </a:cubicBezTo>
                  <a:cubicBezTo>
                    <a:pt x="1305" y="425"/>
                    <a:pt x="1329" y="434"/>
                    <a:pt x="1349" y="450"/>
                  </a:cubicBezTo>
                  <a:cubicBezTo>
                    <a:pt x="1350" y="450"/>
                    <a:pt x="1352" y="450"/>
                    <a:pt x="1353" y="451"/>
                  </a:cubicBezTo>
                  <a:cubicBezTo>
                    <a:pt x="1356" y="449"/>
                    <a:pt x="1335" y="423"/>
                    <a:pt x="1300" y="419"/>
                  </a:cubicBezTo>
                  <a:cubicBezTo>
                    <a:pt x="1293" y="418"/>
                    <a:pt x="1288" y="415"/>
                    <a:pt x="1282" y="413"/>
                  </a:cubicBezTo>
                  <a:cubicBezTo>
                    <a:pt x="1279" y="411"/>
                    <a:pt x="1273" y="406"/>
                    <a:pt x="1273" y="409"/>
                  </a:cubicBezTo>
                  <a:close/>
                  <a:moveTo>
                    <a:pt x="842" y="713"/>
                  </a:moveTo>
                  <a:cubicBezTo>
                    <a:pt x="844" y="712"/>
                    <a:pt x="844" y="712"/>
                    <a:pt x="844" y="712"/>
                  </a:cubicBezTo>
                  <a:cubicBezTo>
                    <a:pt x="847" y="712"/>
                    <a:pt x="850" y="706"/>
                    <a:pt x="849" y="704"/>
                  </a:cubicBezTo>
                  <a:cubicBezTo>
                    <a:pt x="847" y="701"/>
                    <a:pt x="817" y="714"/>
                    <a:pt x="842" y="713"/>
                  </a:cubicBezTo>
                  <a:close/>
                  <a:moveTo>
                    <a:pt x="844" y="759"/>
                  </a:moveTo>
                  <a:cubicBezTo>
                    <a:pt x="845" y="759"/>
                    <a:pt x="850" y="760"/>
                    <a:pt x="850" y="758"/>
                  </a:cubicBezTo>
                  <a:cubicBezTo>
                    <a:pt x="849" y="756"/>
                    <a:pt x="834" y="758"/>
                    <a:pt x="832" y="757"/>
                  </a:cubicBezTo>
                  <a:cubicBezTo>
                    <a:pt x="829" y="757"/>
                    <a:pt x="814" y="748"/>
                    <a:pt x="812" y="751"/>
                  </a:cubicBezTo>
                  <a:cubicBezTo>
                    <a:pt x="809" y="756"/>
                    <a:pt x="823" y="754"/>
                    <a:pt x="826" y="758"/>
                  </a:cubicBezTo>
                  <a:cubicBezTo>
                    <a:pt x="827" y="759"/>
                    <a:pt x="827" y="759"/>
                    <a:pt x="827" y="759"/>
                  </a:cubicBezTo>
                  <a:cubicBezTo>
                    <a:pt x="828" y="768"/>
                    <a:pt x="834" y="760"/>
                    <a:pt x="844" y="759"/>
                  </a:cubicBezTo>
                  <a:close/>
                  <a:moveTo>
                    <a:pt x="807" y="865"/>
                  </a:moveTo>
                  <a:cubicBezTo>
                    <a:pt x="807" y="866"/>
                    <a:pt x="827" y="869"/>
                    <a:pt x="830" y="871"/>
                  </a:cubicBezTo>
                  <a:cubicBezTo>
                    <a:pt x="832" y="870"/>
                    <a:pt x="832" y="870"/>
                    <a:pt x="832" y="870"/>
                  </a:cubicBezTo>
                  <a:cubicBezTo>
                    <a:pt x="851" y="871"/>
                    <a:pt x="831" y="861"/>
                    <a:pt x="832" y="858"/>
                  </a:cubicBezTo>
                  <a:cubicBezTo>
                    <a:pt x="833" y="854"/>
                    <a:pt x="842" y="854"/>
                    <a:pt x="844" y="851"/>
                  </a:cubicBezTo>
                  <a:cubicBezTo>
                    <a:pt x="846" y="849"/>
                    <a:pt x="840" y="849"/>
                    <a:pt x="841" y="847"/>
                  </a:cubicBezTo>
                  <a:cubicBezTo>
                    <a:pt x="843" y="839"/>
                    <a:pt x="851" y="838"/>
                    <a:pt x="859" y="836"/>
                  </a:cubicBezTo>
                  <a:cubicBezTo>
                    <a:pt x="859" y="835"/>
                    <a:pt x="869" y="833"/>
                    <a:pt x="865" y="832"/>
                  </a:cubicBezTo>
                  <a:cubicBezTo>
                    <a:pt x="849" y="827"/>
                    <a:pt x="836" y="844"/>
                    <a:pt x="823" y="850"/>
                  </a:cubicBezTo>
                  <a:cubicBezTo>
                    <a:pt x="821" y="851"/>
                    <a:pt x="810" y="841"/>
                    <a:pt x="810" y="843"/>
                  </a:cubicBezTo>
                  <a:cubicBezTo>
                    <a:pt x="810" y="849"/>
                    <a:pt x="829" y="857"/>
                    <a:pt x="820" y="863"/>
                  </a:cubicBezTo>
                  <a:cubicBezTo>
                    <a:pt x="818" y="864"/>
                    <a:pt x="807" y="865"/>
                    <a:pt x="807" y="865"/>
                  </a:cubicBezTo>
                  <a:close/>
                  <a:moveTo>
                    <a:pt x="784" y="967"/>
                  </a:moveTo>
                  <a:cubicBezTo>
                    <a:pt x="786" y="971"/>
                    <a:pt x="781" y="972"/>
                    <a:pt x="785" y="976"/>
                  </a:cubicBezTo>
                  <a:cubicBezTo>
                    <a:pt x="784" y="976"/>
                    <a:pt x="784" y="976"/>
                    <a:pt x="784" y="976"/>
                  </a:cubicBezTo>
                  <a:cubicBezTo>
                    <a:pt x="788" y="982"/>
                    <a:pt x="796" y="968"/>
                    <a:pt x="803" y="969"/>
                  </a:cubicBezTo>
                  <a:cubicBezTo>
                    <a:pt x="803" y="969"/>
                    <a:pt x="811" y="969"/>
                    <a:pt x="810" y="968"/>
                  </a:cubicBezTo>
                  <a:cubicBezTo>
                    <a:pt x="805" y="960"/>
                    <a:pt x="797" y="969"/>
                    <a:pt x="789" y="969"/>
                  </a:cubicBezTo>
                  <a:cubicBezTo>
                    <a:pt x="788" y="969"/>
                    <a:pt x="781" y="961"/>
                    <a:pt x="780" y="961"/>
                  </a:cubicBezTo>
                  <a:cubicBezTo>
                    <a:pt x="779" y="963"/>
                    <a:pt x="784" y="966"/>
                    <a:pt x="784" y="967"/>
                  </a:cubicBezTo>
                  <a:close/>
                  <a:moveTo>
                    <a:pt x="774" y="992"/>
                  </a:moveTo>
                  <a:cubicBezTo>
                    <a:pt x="780" y="1000"/>
                    <a:pt x="791" y="1010"/>
                    <a:pt x="800" y="1015"/>
                  </a:cubicBezTo>
                  <a:cubicBezTo>
                    <a:pt x="800" y="1015"/>
                    <a:pt x="800" y="1015"/>
                    <a:pt x="800" y="1015"/>
                  </a:cubicBezTo>
                  <a:cubicBezTo>
                    <a:pt x="806" y="1017"/>
                    <a:pt x="805" y="1008"/>
                    <a:pt x="802" y="1007"/>
                  </a:cubicBezTo>
                  <a:cubicBezTo>
                    <a:pt x="784" y="1000"/>
                    <a:pt x="795" y="987"/>
                    <a:pt x="793" y="983"/>
                  </a:cubicBezTo>
                  <a:cubicBezTo>
                    <a:pt x="792" y="981"/>
                    <a:pt x="785" y="978"/>
                    <a:pt x="783" y="980"/>
                  </a:cubicBezTo>
                  <a:cubicBezTo>
                    <a:pt x="781" y="981"/>
                    <a:pt x="779" y="979"/>
                    <a:pt x="778" y="981"/>
                  </a:cubicBezTo>
                  <a:cubicBezTo>
                    <a:pt x="777" y="983"/>
                    <a:pt x="785" y="984"/>
                    <a:pt x="785" y="984"/>
                  </a:cubicBezTo>
                  <a:cubicBezTo>
                    <a:pt x="789" y="987"/>
                    <a:pt x="771" y="988"/>
                    <a:pt x="774" y="992"/>
                  </a:cubicBezTo>
                  <a:close/>
                  <a:moveTo>
                    <a:pt x="754" y="1021"/>
                  </a:moveTo>
                  <a:cubicBezTo>
                    <a:pt x="754" y="1021"/>
                    <a:pt x="754" y="1021"/>
                    <a:pt x="754" y="1021"/>
                  </a:cubicBezTo>
                  <a:cubicBezTo>
                    <a:pt x="760" y="1023"/>
                    <a:pt x="766" y="1015"/>
                    <a:pt x="769" y="1015"/>
                  </a:cubicBezTo>
                  <a:cubicBezTo>
                    <a:pt x="775" y="1014"/>
                    <a:pt x="804" y="1023"/>
                    <a:pt x="788" y="1014"/>
                  </a:cubicBezTo>
                  <a:cubicBezTo>
                    <a:pt x="776" y="1007"/>
                    <a:pt x="762" y="995"/>
                    <a:pt x="757" y="1017"/>
                  </a:cubicBezTo>
                  <a:cubicBezTo>
                    <a:pt x="756" y="1020"/>
                    <a:pt x="752" y="1016"/>
                    <a:pt x="754" y="1021"/>
                  </a:cubicBezTo>
                  <a:close/>
                  <a:moveTo>
                    <a:pt x="641" y="1537"/>
                  </a:moveTo>
                  <a:cubicBezTo>
                    <a:pt x="638" y="1532"/>
                    <a:pt x="634" y="1521"/>
                    <a:pt x="629" y="1519"/>
                  </a:cubicBezTo>
                  <a:cubicBezTo>
                    <a:pt x="629" y="1519"/>
                    <a:pt x="629" y="1519"/>
                    <a:pt x="629" y="1519"/>
                  </a:cubicBezTo>
                  <a:cubicBezTo>
                    <a:pt x="620" y="1514"/>
                    <a:pt x="643" y="1545"/>
                    <a:pt x="645" y="1544"/>
                  </a:cubicBezTo>
                  <a:cubicBezTo>
                    <a:pt x="646" y="1544"/>
                    <a:pt x="641" y="1538"/>
                    <a:pt x="641" y="1537"/>
                  </a:cubicBezTo>
                  <a:close/>
                  <a:moveTo>
                    <a:pt x="640" y="1372"/>
                  </a:moveTo>
                  <a:cubicBezTo>
                    <a:pt x="636" y="1394"/>
                    <a:pt x="625" y="1390"/>
                    <a:pt x="622" y="1399"/>
                  </a:cubicBezTo>
                  <a:cubicBezTo>
                    <a:pt x="622" y="1401"/>
                    <a:pt x="623" y="1402"/>
                    <a:pt x="624" y="1403"/>
                  </a:cubicBezTo>
                  <a:cubicBezTo>
                    <a:pt x="632" y="1409"/>
                    <a:pt x="642" y="1426"/>
                    <a:pt x="641" y="1425"/>
                  </a:cubicBezTo>
                  <a:cubicBezTo>
                    <a:pt x="641" y="1424"/>
                    <a:pt x="639" y="1418"/>
                    <a:pt x="639" y="1417"/>
                  </a:cubicBezTo>
                  <a:cubicBezTo>
                    <a:pt x="639" y="1416"/>
                    <a:pt x="639" y="1416"/>
                    <a:pt x="639" y="1416"/>
                  </a:cubicBezTo>
                  <a:cubicBezTo>
                    <a:pt x="642" y="1401"/>
                    <a:pt x="647" y="1360"/>
                    <a:pt x="644" y="1357"/>
                  </a:cubicBezTo>
                  <a:cubicBezTo>
                    <a:pt x="635" y="1348"/>
                    <a:pt x="641" y="1366"/>
                    <a:pt x="640" y="1372"/>
                  </a:cubicBezTo>
                  <a:close/>
                  <a:moveTo>
                    <a:pt x="609" y="1115"/>
                  </a:moveTo>
                  <a:cubicBezTo>
                    <a:pt x="609" y="1116"/>
                    <a:pt x="609" y="1115"/>
                    <a:pt x="610" y="1115"/>
                  </a:cubicBezTo>
                  <a:cubicBezTo>
                    <a:pt x="619" y="1115"/>
                    <a:pt x="613" y="1104"/>
                    <a:pt x="624" y="1102"/>
                  </a:cubicBezTo>
                  <a:cubicBezTo>
                    <a:pt x="645" y="1097"/>
                    <a:pt x="661" y="1092"/>
                    <a:pt x="679" y="1084"/>
                  </a:cubicBezTo>
                  <a:cubicBezTo>
                    <a:pt x="680" y="1084"/>
                    <a:pt x="680" y="1083"/>
                    <a:pt x="680" y="1082"/>
                  </a:cubicBezTo>
                  <a:cubicBezTo>
                    <a:pt x="678" y="1080"/>
                    <a:pt x="610" y="1102"/>
                    <a:pt x="613" y="1106"/>
                  </a:cubicBezTo>
                  <a:cubicBezTo>
                    <a:pt x="615" y="1108"/>
                    <a:pt x="611" y="1113"/>
                    <a:pt x="610" y="1114"/>
                  </a:cubicBezTo>
                  <a:cubicBezTo>
                    <a:pt x="609" y="1115"/>
                    <a:pt x="609" y="1115"/>
                    <a:pt x="609" y="1115"/>
                  </a:cubicBezTo>
                  <a:cubicBezTo>
                    <a:pt x="609" y="1115"/>
                    <a:pt x="609" y="1115"/>
                    <a:pt x="609" y="1115"/>
                  </a:cubicBezTo>
                  <a:close/>
                  <a:moveTo>
                    <a:pt x="622" y="1662"/>
                  </a:moveTo>
                  <a:cubicBezTo>
                    <a:pt x="623" y="1663"/>
                    <a:pt x="618" y="1651"/>
                    <a:pt x="615" y="1646"/>
                  </a:cubicBezTo>
                  <a:cubicBezTo>
                    <a:pt x="615" y="1646"/>
                    <a:pt x="615" y="1646"/>
                    <a:pt x="615" y="1646"/>
                  </a:cubicBezTo>
                  <a:cubicBezTo>
                    <a:pt x="612" y="1641"/>
                    <a:pt x="615" y="1653"/>
                    <a:pt x="610" y="1652"/>
                  </a:cubicBezTo>
                  <a:cubicBezTo>
                    <a:pt x="602" y="1650"/>
                    <a:pt x="622" y="1662"/>
                    <a:pt x="622" y="1662"/>
                  </a:cubicBezTo>
                  <a:close/>
                  <a:moveTo>
                    <a:pt x="314" y="1848"/>
                  </a:moveTo>
                  <a:cubicBezTo>
                    <a:pt x="314" y="1834"/>
                    <a:pt x="302" y="1838"/>
                    <a:pt x="297" y="1829"/>
                  </a:cubicBezTo>
                  <a:cubicBezTo>
                    <a:pt x="286" y="1809"/>
                    <a:pt x="307" y="1852"/>
                    <a:pt x="314" y="1849"/>
                  </a:cubicBezTo>
                  <a:lnTo>
                    <a:pt x="314" y="1848"/>
                  </a:lnTo>
                  <a:close/>
                  <a:moveTo>
                    <a:pt x="318" y="1734"/>
                  </a:moveTo>
                  <a:cubicBezTo>
                    <a:pt x="314" y="1727"/>
                    <a:pt x="301" y="1728"/>
                    <a:pt x="296" y="1725"/>
                  </a:cubicBezTo>
                  <a:cubicBezTo>
                    <a:pt x="290" y="1722"/>
                    <a:pt x="301" y="1717"/>
                    <a:pt x="293" y="1713"/>
                  </a:cubicBezTo>
                  <a:cubicBezTo>
                    <a:pt x="288" y="1709"/>
                    <a:pt x="278" y="1707"/>
                    <a:pt x="291" y="1713"/>
                  </a:cubicBezTo>
                  <a:cubicBezTo>
                    <a:pt x="292" y="1713"/>
                    <a:pt x="292" y="1713"/>
                    <a:pt x="292" y="1713"/>
                  </a:cubicBezTo>
                  <a:cubicBezTo>
                    <a:pt x="292" y="1713"/>
                    <a:pt x="292" y="1713"/>
                    <a:pt x="293" y="1713"/>
                  </a:cubicBezTo>
                  <a:cubicBezTo>
                    <a:pt x="293" y="1714"/>
                    <a:pt x="294" y="1715"/>
                    <a:pt x="294" y="1716"/>
                  </a:cubicBezTo>
                  <a:cubicBezTo>
                    <a:pt x="295" y="1720"/>
                    <a:pt x="291" y="1726"/>
                    <a:pt x="292" y="1730"/>
                  </a:cubicBezTo>
                  <a:cubicBezTo>
                    <a:pt x="292" y="1733"/>
                    <a:pt x="300" y="1737"/>
                    <a:pt x="303" y="1738"/>
                  </a:cubicBezTo>
                  <a:cubicBezTo>
                    <a:pt x="305" y="1739"/>
                    <a:pt x="312" y="1742"/>
                    <a:pt x="310" y="1740"/>
                  </a:cubicBezTo>
                  <a:cubicBezTo>
                    <a:pt x="309" y="1739"/>
                    <a:pt x="296" y="1732"/>
                    <a:pt x="300" y="1729"/>
                  </a:cubicBezTo>
                  <a:cubicBezTo>
                    <a:pt x="300" y="1728"/>
                    <a:pt x="318" y="1734"/>
                    <a:pt x="318" y="1734"/>
                  </a:cubicBezTo>
                  <a:close/>
                  <a:moveTo>
                    <a:pt x="333" y="1804"/>
                  </a:moveTo>
                  <a:cubicBezTo>
                    <a:pt x="333" y="1804"/>
                    <a:pt x="333" y="1804"/>
                    <a:pt x="333" y="1804"/>
                  </a:cubicBezTo>
                  <a:cubicBezTo>
                    <a:pt x="327" y="1800"/>
                    <a:pt x="330" y="1848"/>
                    <a:pt x="335" y="1847"/>
                  </a:cubicBezTo>
                  <a:cubicBezTo>
                    <a:pt x="335" y="1847"/>
                    <a:pt x="334" y="1806"/>
                    <a:pt x="333" y="1804"/>
                  </a:cubicBezTo>
                  <a:close/>
                  <a:moveTo>
                    <a:pt x="397" y="1512"/>
                  </a:moveTo>
                  <a:cubicBezTo>
                    <a:pt x="397" y="1510"/>
                    <a:pt x="403" y="1512"/>
                    <a:pt x="403" y="1511"/>
                  </a:cubicBezTo>
                  <a:cubicBezTo>
                    <a:pt x="400" y="1505"/>
                    <a:pt x="386" y="1510"/>
                    <a:pt x="381" y="1512"/>
                  </a:cubicBezTo>
                  <a:cubicBezTo>
                    <a:pt x="380" y="1512"/>
                    <a:pt x="380" y="1512"/>
                    <a:pt x="380" y="1512"/>
                  </a:cubicBezTo>
                  <a:cubicBezTo>
                    <a:pt x="369" y="1520"/>
                    <a:pt x="352" y="1511"/>
                    <a:pt x="338" y="1511"/>
                  </a:cubicBezTo>
                  <a:cubicBezTo>
                    <a:pt x="334" y="1510"/>
                    <a:pt x="329" y="1510"/>
                    <a:pt x="325" y="1509"/>
                  </a:cubicBezTo>
                  <a:cubicBezTo>
                    <a:pt x="323" y="1508"/>
                    <a:pt x="316" y="1506"/>
                    <a:pt x="318" y="1508"/>
                  </a:cubicBezTo>
                  <a:cubicBezTo>
                    <a:pt x="330" y="1519"/>
                    <a:pt x="372" y="1519"/>
                    <a:pt x="381" y="1513"/>
                  </a:cubicBezTo>
                  <a:cubicBezTo>
                    <a:pt x="386" y="1510"/>
                    <a:pt x="397" y="1517"/>
                    <a:pt x="397" y="1512"/>
                  </a:cubicBezTo>
                  <a:close/>
                  <a:moveTo>
                    <a:pt x="425" y="1821"/>
                  </a:moveTo>
                  <a:cubicBezTo>
                    <a:pt x="421" y="1814"/>
                    <a:pt x="401" y="1805"/>
                    <a:pt x="402" y="1797"/>
                  </a:cubicBezTo>
                  <a:cubicBezTo>
                    <a:pt x="402" y="1797"/>
                    <a:pt x="402" y="1797"/>
                    <a:pt x="402" y="1797"/>
                  </a:cubicBezTo>
                  <a:cubicBezTo>
                    <a:pt x="402" y="1794"/>
                    <a:pt x="392" y="1795"/>
                    <a:pt x="395" y="1800"/>
                  </a:cubicBezTo>
                  <a:cubicBezTo>
                    <a:pt x="399" y="1806"/>
                    <a:pt x="408" y="1809"/>
                    <a:pt x="412" y="1814"/>
                  </a:cubicBezTo>
                  <a:cubicBezTo>
                    <a:pt x="416" y="1817"/>
                    <a:pt x="426" y="1826"/>
                    <a:pt x="425" y="1821"/>
                  </a:cubicBezTo>
                  <a:close/>
                  <a:moveTo>
                    <a:pt x="515" y="1230"/>
                  </a:moveTo>
                  <a:cubicBezTo>
                    <a:pt x="516" y="1231"/>
                    <a:pt x="520" y="1229"/>
                    <a:pt x="521" y="1229"/>
                  </a:cubicBezTo>
                  <a:cubicBezTo>
                    <a:pt x="526" y="1228"/>
                    <a:pt x="564" y="1238"/>
                    <a:pt x="562" y="1231"/>
                  </a:cubicBezTo>
                  <a:cubicBezTo>
                    <a:pt x="560" y="1228"/>
                    <a:pt x="569" y="1231"/>
                    <a:pt x="566" y="1228"/>
                  </a:cubicBezTo>
                  <a:cubicBezTo>
                    <a:pt x="565" y="1227"/>
                    <a:pt x="565" y="1227"/>
                    <a:pt x="565" y="1227"/>
                  </a:cubicBezTo>
                  <a:cubicBezTo>
                    <a:pt x="557" y="1225"/>
                    <a:pt x="531" y="1226"/>
                    <a:pt x="522" y="1227"/>
                  </a:cubicBezTo>
                  <a:cubicBezTo>
                    <a:pt x="521" y="1227"/>
                    <a:pt x="514" y="1228"/>
                    <a:pt x="515" y="1230"/>
                  </a:cubicBezTo>
                  <a:close/>
                  <a:moveTo>
                    <a:pt x="492" y="1706"/>
                  </a:moveTo>
                  <a:cubicBezTo>
                    <a:pt x="492" y="1705"/>
                    <a:pt x="501" y="1689"/>
                    <a:pt x="499" y="1689"/>
                  </a:cubicBezTo>
                  <a:cubicBezTo>
                    <a:pt x="495" y="1690"/>
                    <a:pt x="497" y="1698"/>
                    <a:pt x="494" y="1698"/>
                  </a:cubicBezTo>
                  <a:cubicBezTo>
                    <a:pt x="483" y="1701"/>
                    <a:pt x="483" y="1677"/>
                    <a:pt x="470" y="1707"/>
                  </a:cubicBezTo>
                  <a:cubicBezTo>
                    <a:pt x="469" y="1708"/>
                    <a:pt x="469" y="1709"/>
                    <a:pt x="469" y="1710"/>
                  </a:cubicBezTo>
                  <a:cubicBezTo>
                    <a:pt x="470" y="1711"/>
                    <a:pt x="476" y="1705"/>
                    <a:pt x="477" y="1704"/>
                  </a:cubicBezTo>
                  <a:cubicBezTo>
                    <a:pt x="488" y="1701"/>
                    <a:pt x="503" y="1729"/>
                    <a:pt x="497" y="1714"/>
                  </a:cubicBezTo>
                  <a:cubicBezTo>
                    <a:pt x="496" y="1711"/>
                    <a:pt x="494" y="1709"/>
                    <a:pt x="493" y="1706"/>
                  </a:cubicBezTo>
                  <a:lnTo>
                    <a:pt x="492" y="1706"/>
                  </a:lnTo>
                  <a:close/>
                  <a:moveTo>
                    <a:pt x="509" y="1639"/>
                  </a:moveTo>
                  <a:cubicBezTo>
                    <a:pt x="507" y="1634"/>
                    <a:pt x="499" y="1631"/>
                    <a:pt x="499" y="1630"/>
                  </a:cubicBezTo>
                  <a:cubicBezTo>
                    <a:pt x="498" y="1627"/>
                    <a:pt x="498" y="1623"/>
                    <a:pt x="498" y="1620"/>
                  </a:cubicBezTo>
                  <a:cubicBezTo>
                    <a:pt x="498" y="1620"/>
                    <a:pt x="498" y="1620"/>
                    <a:pt x="498" y="1620"/>
                  </a:cubicBezTo>
                  <a:cubicBezTo>
                    <a:pt x="500" y="1618"/>
                    <a:pt x="500" y="1616"/>
                    <a:pt x="500" y="1615"/>
                  </a:cubicBezTo>
                  <a:cubicBezTo>
                    <a:pt x="500" y="1615"/>
                    <a:pt x="500" y="1614"/>
                    <a:pt x="500" y="1614"/>
                  </a:cubicBezTo>
                  <a:cubicBezTo>
                    <a:pt x="500" y="1612"/>
                    <a:pt x="499" y="1611"/>
                    <a:pt x="498" y="1609"/>
                  </a:cubicBezTo>
                  <a:cubicBezTo>
                    <a:pt x="498" y="1603"/>
                    <a:pt x="496" y="1597"/>
                    <a:pt x="488" y="1592"/>
                  </a:cubicBezTo>
                  <a:cubicBezTo>
                    <a:pt x="487" y="1592"/>
                    <a:pt x="487" y="1592"/>
                    <a:pt x="487" y="1592"/>
                  </a:cubicBezTo>
                  <a:cubicBezTo>
                    <a:pt x="476" y="1590"/>
                    <a:pt x="492" y="1600"/>
                    <a:pt x="498" y="1609"/>
                  </a:cubicBezTo>
                  <a:cubicBezTo>
                    <a:pt x="498" y="1613"/>
                    <a:pt x="498" y="1616"/>
                    <a:pt x="498" y="1620"/>
                  </a:cubicBezTo>
                  <a:cubicBezTo>
                    <a:pt x="490" y="1627"/>
                    <a:pt x="503" y="1634"/>
                    <a:pt x="504" y="1640"/>
                  </a:cubicBezTo>
                  <a:cubicBezTo>
                    <a:pt x="504" y="1645"/>
                    <a:pt x="495" y="1669"/>
                    <a:pt x="505" y="1670"/>
                  </a:cubicBezTo>
                  <a:cubicBezTo>
                    <a:pt x="506" y="1670"/>
                    <a:pt x="506" y="1670"/>
                    <a:pt x="507" y="1670"/>
                  </a:cubicBezTo>
                  <a:cubicBezTo>
                    <a:pt x="509" y="1668"/>
                    <a:pt x="503" y="1663"/>
                    <a:pt x="503" y="1660"/>
                  </a:cubicBezTo>
                  <a:cubicBezTo>
                    <a:pt x="504" y="1653"/>
                    <a:pt x="509" y="1650"/>
                    <a:pt x="512" y="1645"/>
                  </a:cubicBezTo>
                  <a:cubicBezTo>
                    <a:pt x="513" y="1643"/>
                    <a:pt x="509" y="1641"/>
                    <a:pt x="509" y="1639"/>
                  </a:cubicBezTo>
                  <a:close/>
                  <a:moveTo>
                    <a:pt x="568" y="1667"/>
                  </a:moveTo>
                  <a:cubicBezTo>
                    <a:pt x="575" y="1667"/>
                    <a:pt x="563" y="1658"/>
                    <a:pt x="565" y="1651"/>
                  </a:cubicBezTo>
                  <a:cubicBezTo>
                    <a:pt x="565" y="1649"/>
                    <a:pt x="566" y="1648"/>
                    <a:pt x="565" y="1649"/>
                  </a:cubicBezTo>
                  <a:cubicBezTo>
                    <a:pt x="565" y="1649"/>
                    <a:pt x="565" y="1649"/>
                    <a:pt x="565" y="1649"/>
                  </a:cubicBezTo>
                  <a:cubicBezTo>
                    <a:pt x="565" y="1650"/>
                    <a:pt x="565" y="1650"/>
                    <a:pt x="565" y="1651"/>
                  </a:cubicBezTo>
                  <a:cubicBezTo>
                    <a:pt x="562" y="1656"/>
                    <a:pt x="558" y="1667"/>
                    <a:pt x="568" y="1667"/>
                  </a:cubicBezTo>
                  <a:close/>
                  <a:moveTo>
                    <a:pt x="566" y="1714"/>
                  </a:moveTo>
                  <a:cubicBezTo>
                    <a:pt x="566" y="1714"/>
                    <a:pt x="566" y="1714"/>
                    <a:pt x="566" y="1714"/>
                  </a:cubicBezTo>
                  <a:cubicBezTo>
                    <a:pt x="560" y="1709"/>
                    <a:pt x="566" y="1718"/>
                    <a:pt x="567" y="1720"/>
                  </a:cubicBezTo>
                  <a:cubicBezTo>
                    <a:pt x="574" y="1730"/>
                    <a:pt x="577" y="1740"/>
                    <a:pt x="578" y="1754"/>
                  </a:cubicBezTo>
                  <a:cubicBezTo>
                    <a:pt x="578" y="1756"/>
                    <a:pt x="578" y="1759"/>
                    <a:pt x="581" y="1758"/>
                  </a:cubicBezTo>
                  <a:cubicBezTo>
                    <a:pt x="591" y="1754"/>
                    <a:pt x="569" y="1718"/>
                    <a:pt x="566" y="1714"/>
                  </a:cubicBezTo>
                  <a:close/>
                  <a:moveTo>
                    <a:pt x="584" y="1621"/>
                  </a:moveTo>
                  <a:cubicBezTo>
                    <a:pt x="583" y="1616"/>
                    <a:pt x="582" y="1625"/>
                    <a:pt x="577" y="1621"/>
                  </a:cubicBezTo>
                  <a:cubicBezTo>
                    <a:pt x="560" y="1610"/>
                    <a:pt x="572" y="1582"/>
                    <a:pt x="548" y="1578"/>
                  </a:cubicBezTo>
                  <a:cubicBezTo>
                    <a:pt x="547" y="1578"/>
                    <a:pt x="565" y="1600"/>
                    <a:pt x="546" y="1597"/>
                  </a:cubicBezTo>
                  <a:cubicBezTo>
                    <a:pt x="529" y="1594"/>
                    <a:pt x="534" y="1573"/>
                    <a:pt x="519" y="1562"/>
                  </a:cubicBezTo>
                  <a:cubicBezTo>
                    <a:pt x="519" y="1562"/>
                    <a:pt x="519" y="1562"/>
                    <a:pt x="519" y="1562"/>
                  </a:cubicBezTo>
                  <a:cubicBezTo>
                    <a:pt x="511" y="1558"/>
                    <a:pt x="509" y="1552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8" y="1546"/>
                    <a:pt x="508" y="1545"/>
                    <a:pt x="508" y="1545"/>
                  </a:cubicBezTo>
                  <a:cubicBezTo>
                    <a:pt x="508" y="1545"/>
                    <a:pt x="508" y="1547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9" y="1549"/>
                    <a:pt x="508" y="1551"/>
                    <a:pt x="508" y="1552"/>
                  </a:cubicBezTo>
                  <a:cubicBezTo>
                    <a:pt x="505" y="1561"/>
                    <a:pt x="521" y="1566"/>
                    <a:pt x="527" y="1573"/>
                  </a:cubicBezTo>
                  <a:cubicBezTo>
                    <a:pt x="533" y="1580"/>
                    <a:pt x="527" y="1590"/>
                    <a:pt x="534" y="1595"/>
                  </a:cubicBezTo>
                  <a:cubicBezTo>
                    <a:pt x="544" y="1604"/>
                    <a:pt x="557" y="1608"/>
                    <a:pt x="567" y="1616"/>
                  </a:cubicBezTo>
                  <a:cubicBezTo>
                    <a:pt x="576" y="1623"/>
                    <a:pt x="570" y="1632"/>
                    <a:pt x="575" y="1640"/>
                  </a:cubicBezTo>
                  <a:cubicBezTo>
                    <a:pt x="576" y="1642"/>
                    <a:pt x="577" y="1650"/>
                    <a:pt x="579" y="1648"/>
                  </a:cubicBezTo>
                  <a:cubicBezTo>
                    <a:pt x="581" y="1647"/>
                    <a:pt x="579" y="1636"/>
                    <a:pt x="579" y="1633"/>
                  </a:cubicBezTo>
                  <a:cubicBezTo>
                    <a:pt x="579" y="1629"/>
                    <a:pt x="585" y="1624"/>
                    <a:pt x="584" y="1621"/>
                  </a:cubicBezTo>
                  <a:close/>
                  <a:moveTo>
                    <a:pt x="585" y="1492"/>
                  </a:moveTo>
                  <a:cubicBezTo>
                    <a:pt x="580" y="1482"/>
                    <a:pt x="583" y="1474"/>
                    <a:pt x="579" y="1464"/>
                  </a:cubicBezTo>
                  <a:cubicBezTo>
                    <a:pt x="579" y="1464"/>
                    <a:pt x="579" y="1464"/>
                    <a:pt x="579" y="1464"/>
                  </a:cubicBezTo>
                  <a:cubicBezTo>
                    <a:pt x="577" y="1461"/>
                    <a:pt x="578" y="1504"/>
                    <a:pt x="589" y="1504"/>
                  </a:cubicBezTo>
                  <a:cubicBezTo>
                    <a:pt x="593" y="1504"/>
                    <a:pt x="586" y="1493"/>
                    <a:pt x="585" y="1492"/>
                  </a:cubicBezTo>
                  <a:close/>
                  <a:moveTo>
                    <a:pt x="38" y="1632"/>
                  </a:moveTo>
                  <a:cubicBezTo>
                    <a:pt x="46" y="1625"/>
                    <a:pt x="17" y="1619"/>
                    <a:pt x="16" y="1619"/>
                  </a:cubicBezTo>
                  <a:cubicBezTo>
                    <a:pt x="16" y="1619"/>
                    <a:pt x="16" y="1619"/>
                    <a:pt x="16" y="1619"/>
                  </a:cubicBezTo>
                  <a:cubicBezTo>
                    <a:pt x="12" y="1618"/>
                    <a:pt x="33" y="1636"/>
                    <a:pt x="38" y="1632"/>
                  </a:cubicBezTo>
                  <a:close/>
                  <a:moveTo>
                    <a:pt x="168" y="1435"/>
                  </a:moveTo>
                  <a:cubicBezTo>
                    <a:pt x="164" y="1435"/>
                    <a:pt x="163" y="1438"/>
                    <a:pt x="161" y="1440"/>
                  </a:cubicBezTo>
                  <a:cubicBezTo>
                    <a:pt x="164" y="1439"/>
                    <a:pt x="167" y="1436"/>
                    <a:pt x="171" y="1435"/>
                  </a:cubicBezTo>
                  <a:cubicBezTo>
                    <a:pt x="170" y="1435"/>
                    <a:pt x="169" y="1435"/>
                    <a:pt x="168" y="1435"/>
                  </a:cubicBezTo>
                  <a:close/>
                  <a:moveTo>
                    <a:pt x="31" y="1620"/>
                  </a:moveTo>
                  <a:cubicBezTo>
                    <a:pt x="34" y="1617"/>
                    <a:pt x="9" y="1598"/>
                    <a:pt x="7" y="1597"/>
                  </a:cubicBezTo>
                  <a:cubicBezTo>
                    <a:pt x="6" y="1597"/>
                    <a:pt x="6" y="1597"/>
                    <a:pt x="6" y="1597"/>
                  </a:cubicBezTo>
                  <a:cubicBezTo>
                    <a:pt x="0" y="1595"/>
                    <a:pt x="24" y="1625"/>
                    <a:pt x="31" y="1620"/>
                  </a:cubicBezTo>
                  <a:close/>
                  <a:moveTo>
                    <a:pt x="20" y="1628"/>
                  </a:moveTo>
                  <a:cubicBezTo>
                    <a:pt x="16" y="1626"/>
                    <a:pt x="22" y="1638"/>
                    <a:pt x="24" y="1635"/>
                  </a:cubicBezTo>
                  <a:cubicBezTo>
                    <a:pt x="26" y="1633"/>
                    <a:pt x="31" y="1653"/>
                    <a:pt x="39" y="1648"/>
                  </a:cubicBezTo>
                  <a:cubicBezTo>
                    <a:pt x="50" y="1641"/>
                    <a:pt x="22" y="1630"/>
                    <a:pt x="20" y="1628"/>
                  </a:cubicBezTo>
                  <a:close/>
                  <a:moveTo>
                    <a:pt x="130" y="1797"/>
                  </a:moveTo>
                  <a:cubicBezTo>
                    <a:pt x="130" y="1797"/>
                    <a:pt x="130" y="1797"/>
                    <a:pt x="130" y="1798"/>
                  </a:cubicBezTo>
                  <a:cubicBezTo>
                    <a:pt x="130" y="1798"/>
                    <a:pt x="130" y="1798"/>
                    <a:pt x="130" y="1798"/>
                  </a:cubicBezTo>
                  <a:cubicBezTo>
                    <a:pt x="130" y="1797"/>
                    <a:pt x="130" y="1797"/>
                    <a:pt x="130" y="1797"/>
                  </a:cubicBezTo>
                  <a:close/>
                  <a:moveTo>
                    <a:pt x="60" y="1703"/>
                  </a:moveTo>
                  <a:cubicBezTo>
                    <a:pt x="61" y="1700"/>
                    <a:pt x="59" y="1695"/>
                    <a:pt x="57" y="1694"/>
                  </a:cubicBezTo>
                  <a:cubicBezTo>
                    <a:pt x="57" y="1694"/>
                    <a:pt x="57" y="1694"/>
                    <a:pt x="57" y="1694"/>
                  </a:cubicBezTo>
                  <a:cubicBezTo>
                    <a:pt x="49" y="1693"/>
                    <a:pt x="56" y="1713"/>
                    <a:pt x="60" y="1703"/>
                  </a:cubicBezTo>
                  <a:close/>
                  <a:moveTo>
                    <a:pt x="57" y="1814"/>
                  </a:moveTo>
                  <a:cubicBezTo>
                    <a:pt x="57" y="1814"/>
                    <a:pt x="57" y="1814"/>
                    <a:pt x="57" y="1814"/>
                  </a:cubicBezTo>
                  <a:cubicBezTo>
                    <a:pt x="56" y="1814"/>
                    <a:pt x="52" y="1830"/>
                    <a:pt x="61" y="1825"/>
                  </a:cubicBezTo>
                  <a:cubicBezTo>
                    <a:pt x="65" y="1823"/>
                    <a:pt x="59" y="1816"/>
                    <a:pt x="57" y="1814"/>
                  </a:cubicBezTo>
                  <a:close/>
                  <a:moveTo>
                    <a:pt x="42" y="1791"/>
                  </a:moveTo>
                  <a:cubicBezTo>
                    <a:pt x="40" y="1789"/>
                    <a:pt x="40" y="1791"/>
                    <a:pt x="40" y="1793"/>
                  </a:cubicBezTo>
                  <a:cubicBezTo>
                    <a:pt x="41" y="1808"/>
                    <a:pt x="40" y="1807"/>
                    <a:pt x="38" y="1826"/>
                  </a:cubicBezTo>
                  <a:cubicBezTo>
                    <a:pt x="38" y="1827"/>
                    <a:pt x="38" y="1828"/>
                    <a:pt x="38" y="1828"/>
                  </a:cubicBezTo>
                  <a:cubicBezTo>
                    <a:pt x="55" y="1835"/>
                    <a:pt x="50" y="1797"/>
                    <a:pt x="42" y="1791"/>
                  </a:cubicBezTo>
                  <a:close/>
                  <a:moveTo>
                    <a:pt x="50" y="1716"/>
                  </a:moveTo>
                  <a:cubicBezTo>
                    <a:pt x="41" y="1730"/>
                    <a:pt x="61" y="1742"/>
                    <a:pt x="62" y="1741"/>
                  </a:cubicBezTo>
                  <a:cubicBezTo>
                    <a:pt x="76" y="1737"/>
                    <a:pt x="64" y="1715"/>
                    <a:pt x="55" y="1711"/>
                  </a:cubicBezTo>
                  <a:cubicBezTo>
                    <a:pt x="55" y="1711"/>
                    <a:pt x="55" y="1711"/>
                    <a:pt x="55" y="1711"/>
                  </a:cubicBezTo>
                  <a:cubicBezTo>
                    <a:pt x="55" y="1709"/>
                    <a:pt x="51" y="1714"/>
                    <a:pt x="50" y="1716"/>
                  </a:cubicBezTo>
                  <a:close/>
                  <a:moveTo>
                    <a:pt x="581" y="991"/>
                  </a:moveTo>
                  <a:cubicBezTo>
                    <a:pt x="582" y="990"/>
                    <a:pt x="582" y="989"/>
                    <a:pt x="582" y="988"/>
                  </a:cubicBezTo>
                  <a:cubicBezTo>
                    <a:pt x="581" y="989"/>
                    <a:pt x="581" y="990"/>
                    <a:pt x="581" y="991"/>
                  </a:cubicBezTo>
                  <a:close/>
                  <a:moveTo>
                    <a:pt x="912" y="635"/>
                  </a:moveTo>
                  <a:cubicBezTo>
                    <a:pt x="913" y="635"/>
                    <a:pt x="913" y="635"/>
                    <a:pt x="914" y="634"/>
                  </a:cubicBezTo>
                  <a:cubicBezTo>
                    <a:pt x="913" y="635"/>
                    <a:pt x="913" y="635"/>
                    <a:pt x="912" y="635"/>
                  </a:cubicBezTo>
                  <a:close/>
                  <a:moveTo>
                    <a:pt x="582" y="988"/>
                  </a:moveTo>
                  <a:cubicBezTo>
                    <a:pt x="582" y="987"/>
                    <a:pt x="583" y="987"/>
                    <a:pt x="583" y="986"/>
                  </a:cubicBezTo>
                  <a:cubicBezTo>
                    <a:pt x="583" y="985"/>
                    <a:pt x="577" y="984"/>
                    <a:pt x="576" y="983"/>
                  </a:cubicBezTo>
                  <a:cubicBezTo>
                    <a:pt x="567" y="969"/>
                    <a:pt x="538" y="997"/>
                    <a:pt x="551" y="992"/>
                  </a:cubicBezTo>
                  <a:cubicBezTo>
                    <a:pt x="553" y="990"/>
                    <a:pt x="556" y="988"/>
                    <a:pt x="558" y="987"/>
                  </a:cubicBezTo>
                  <a:cubicBezTo>
                    <a:pt x="559" y="986"/>
                    <a:pt x="559" y="986"/>
                    <a:pt x="559" y="986"/>
                  </a:cubicBezTo>
                  <a:cubicBezTo>
                    <a:pt x="560" y="985"/>
                    <a:pt x="561" y="985"/>
                    <a:pt x="563" y="986"/>
                  </a:cubicBezTo>
                  <a:cubicBezTo>
                    <a:pt x="569" y="992"/>
                    <a:pt x="577" y="995"/>
                    <a:pt x="581" y="991"/>
                  </a:cubicBezTo>
                  <a:cubicBezTo>
                    <a:pt x="581" y="990"/>
                    <a:pt x="581" y="989"/>
                    <a:pt x="582" y="988"/>
                  </a:cubicBezTo>
                  <a:close/>
                  <a:moveTo>
                    <a:pt x="780" y="729"/>
                  </a:moveTo>
                  <a:cubicBezTo>
                    <a:pt x="781" y="728"/>
                    <a:pt x="783" y="727"/>
                    <a:pt x="784" y="727"/>
                  </a:cubicBezTo>
                  <a:cubicBezTo>
                    <a:pt x="782" y="727"/>
                    <a:pt x="781" y="728"/>
                    <a:pt x="780" y="729"/>
                  </a:cubicBezTo>
                  <a:close/>
                  <a:moveTo>
                    <a:pt x="491" y="1220"/>
                  </a:moveTo>
                  <a:cubicBezTo>
                    <a:pt x="490" y="1220"/>
                    <a:pt x="489" y="1220"/>
                    <a:pt x="488" y="1220"/>
                  </a:cubicBezTo>
                  <a:cubicBezTo>
                    <a:pt x="490" y="1221"/>
                    <a:pt x="491" y="1221"/>
                    <a:pt x="492" y="1222"/>
                  </a:cubicBezTo>
                  <a:cubicBezTo>
                    <a:pt x="492" y="1221"/>
                    <a:pt x="491" y="1220"/>
                    <a:pt x="491" y="1220"/>
                  </a:cubicBezTo>
                  <a:close/>
                  <a:moveTo>
                    <a:pt x="546" y="1064"/>
                  </a:move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lose/>
                  <a:moveTo>
                    <a:pt x="56" y="1708"/>
                  </a:moveTo>
                  <a:cubicBezTo>
                    <a:pt x="56" y="1714"/>
                    <a:pt x="67" y="1713"/>
                    <a:pt x="67" y="1713"/>
                  </a:cubicBezTo>
                  <a:cubicBezTo>
                    <a:pt x="75" y="1727"/>
                    <a:pt x="79" y="1717"/>
                    <a:pt x="83" y="1706"/>
                  </a:cubicBezTo>
                  <a:cubicBezTo>
                    <a:pt x="83" y="1705"/>
                    <a:pt x="83" y="1705"/>
                    <a:pt x="83" y="1705"/>
                  </a:cubicBezTo>
                  <a:cubicBezTo>
                    <a:pt x="84" y="1683"/>
                    <a:pt x="63" y="1706"/>
                    <a:pt x="60" y="1706"/>
                  </a:cubicBezTo>
                  <a:cubicBezTo>
                    <a:pt x="59" y="1706"/>
                    <a:pt x="56" y="1706"/>
                    <a:pt x="56" y="1708"/>
                  </a:cubicBezTo>
                  <a:close/>
                  <a:moveTo>
                    <a:pt x="610" y="982"/>
                  </a:moveTo>
                  <a:cubicBezTo>
                    <a:pt x="609" y="983"/>
                    <a:pt x="606" y="983"/>
                    <a:pt x="603" y="983"/>
                  </a:cubicBezTo>
                  <a:cubicBezTo>
                    <a:pt x="605" y="984"/>
                    <a:pt x="608" y="983"/>
                    <a:pt x="610" y="982"/>
                  </a:cubicBezTo>
                  <a:close/>
                  <a:moveTo>
                    <a:pt x="42" y="1762"/>
                  </a:moveTo>
                  <a:cubicBezTo>
                    <a:pt x="45" y="1755"/>
                    <a:pt x="31" y="1748"/>
                    <a:pt x="43" y="1742"/>
                  </a:cubicBezTo>
                  <a:cubicBezTo>
                    <a:pt x="52" y="1737"/>
                    <a:pt x="48" y="1748"/>
                    <a:pt x="48" y="1751"/>
                  </a:cubicBezTo>
                  <a:cubicBezTo>
                    <a:pt x="48" y="1754"/>
                    <a:pt x="53" y="1750"/>
                    <a:pt x="54" y="1749"/>
                  </a:cubicBezTo>
                  <a:cubicBezTo>
                    <a:pt x="57" y="1747"/>
                    <a:pt x="49" y="1739"/>
                    <a:pt x="48" y="1736"/>
                  </a:cubicBezTo>
                  <a:cubicBezTo>
                    <a:pt x="47" y="1732"/>
                    <a:pt x="40" y="1730"/>
                    <a:pt x="38" y="1725"/>
                  </a:cubicBezTo>
                  <a:cubicBezTo>
                    <a:pt x="38" y="1725"/>
                    <a:pt x="38" y="1725"/>
                    <a:pt x="38" y="1725"/>
                  </a:cubicBezTo>
                  <a:cubicBezTo>
                    <a:pt x="36" y="1724"/>
                    <a:pt x="39" y="1730"/>
                    <a:pt x="37" y="1731"/>
                  </a:cubicBezTo>
                  <a:cubicBezTo>
                    <a:pt x="23" y="1742"/>
                    <a:pt x="44" y="1734"/>
                    <a:pt x="35" y="1750"/>
                  </a:cubicBezTo>
                  <a:cubicBezTo>
                    <a:pt x="33" y="1754"/>
                    <a:pt x="35" y="1763"/>
                    <a:pt x="37" y="1766"/>
                  </a:cubicBezTo>
                  <a:cubicBezTo>
                    <a:pt x="38" y="1767"/>
                    <a:pt x="42" y="1763"/>
                    <a:pt x="42" y="1762"/>
                  </a:cubicBezTo>
                  <a:close/>
                  <a:moveTo>
                    <a:pt x="346" y="1178"/>
                  </a:moveTo>
                  <a:cubicBezTo>
                    <a:pt x="345" y="1178"/>
                    <a:pt x="340" y="1177"/>
                    <a:pt x="340" y="1180"/>
                  </a:cubicBezTo>
                  <a:cubicBezTo>
                    <a:pt x="340" y="1182"/>
                    <a:pt x="356" y="1183"/>
                    <a:pt x="356" y="1185"/>
                  </a:cubicBezTo>
                  <a:cubicBezTo>
                    <a:pt x="356" y="1187"/>
                    <a:pt x="350" y="1185"/>
                    <a:pt x="350" y="1185"/>
                  </a:cubicBezTo>
                  <a:cubicBezTo>
                    <a:pt x="339" y="1183"/>
                    <a:pt x="316" y="1187"/>
                    <a:pt x="317" y="1202"/>
                  </a:cubicBezTo>
                  <a:cubicBezTo>
                    <a:pt x="317" y="1210"/>
                    <a:pt x="354" y="1199"/>
                    <a:pt x="363" y="1197"/>
                  </a:cubicBezTo>
                  <a:cubicBezTo>
                    <a:pt x="373" y="1196"/>
                    <a:pt x="386" y="1195"/>
                    <a:pt x="393" y="1187"/>
                  </a:cubicBezTo>
                  <a:cubicBezTo>
                    <a:pt x="394" y="1187"/>
                    <a:pt x="394" y="1187"/>
                    <a:pt x="394" y="1187"/>
                  </a:cubicBezTo>
                  <a:cubicBezTo>
                    <a:pt x="399" y="1185"/>
                    <a:pt x="392" y="1186"/>
                    <a:pt x="392" y="1183"/>
                  </a:cubicBezTo>
                  <a:cubicBezTo>
                    <a:pt x="391" y="1175"/>
                    <a:pt x="381" y="1183"/>
                    <a:pt x="379" y="1182"/>
                  </a:cubicBezTo>
                  <a:cubicBezTo>
                    <a:pt x="374" y="1180"/>
                    <a:pt x="384" y="1168"/>
                    <a:pt x="373" y="1173"/>
                  </a:cubicBezTo>
                  <a:cubicBezTo>
                    <a:pt x="372" y="1173"/>
                    <a:pt x="370" y="1173"/>
                    <a:pt x="369" y="1174"/>
                  </a:cubicBezTo>
                  <a:cubicBezTo>
                    <a:pt x="369" y="1174"/>
                    <a:pt x="355" y="1180"/>
                    <a:pt x="346" y="1178"/>
                  </a:cubicBezTo>
                  <a:close/>
                  <a:moveTo>
                    <a:pt x="552" y="974"/>
                  </a:moveTo>
                  <a:cubicBezTo>
                    <a:pt x="552" y="972"/>
                    <a:pt x="548" y="973"/>
                    <a:pt x="547" y="972"/>
                  </a:cubicBezTo>
                  <a:cubicBezTo>
                    <a:pt x="537" y="971"/>
                    <a:pt x="544" y="982"/>
                    <a:pt x="552" y="975"/>
                  </a:cubicBezTo>
                  <a:cubicBezTo>
                    <a:pt x="552" y="975"/>
                    <a:pt x="552" y="975"/>
                    <a:pt x="552" y="975"/>
                  </a:cubicBezTo>
                  <a:cubicBezTo>
                    <a:pt x="552" y="974"/>
                    <a:pt x="552" y="974"/>
                    <a:pt x="552" y="974"/>
                  </a:cubicBezTo>
                  <a:close/>
                  <a:moveTo>
                    <a:pt x="706" y="802"/>
                  </a:move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lose/>
                  <a:moveTo>
                    <a:pt x="718" y="785"/>
                  </a:moveTo>
                  <a:cubicBezTo>
                    <a:pt x="722" y="785"/>
                    <a:pt x="726" y="779"/>
                    <a:pt x="726" y="776"/>
                  </a:cubicBezTo>
                  <a:cubicBezTo>
                    <a:pt x="726" y="776"/>
                    <a:pt x="726" y="776"/>
                    <a:pt x="726" y="776"/>
                  </a:cubicBezTo>
                  <a:cubicBezTo>
                    <a:pt x="723" y="768"/>
                    <a:pt x="703" y="783"/>
                    <a:pt x="718" y="785"/>
                  </a:cubicBezTo>
                  <a:close/>
                  <a:moveTo>
                    <a:pt x="558" y="981"/>
                  </a:moveTo>
                  <a:cubicBezTo>
                    <a:pt x="559" y="980"/>
                    <a:pt x="559" y="980"/>
                    <a:pt x="559" y="980"/>
                  </a:cubicBezTo>
                  <a:cubicBezTo>
                    <a:pt x="576" y="966"/>
                    <a:pt x="558" y="974"/>
                    <a:pt x="546" y="981"/>
                  </a:cubicBezTo>
                  <a:cubicBezTo>
                    <a:pt x="524" y="994"/>
                    <a:pt x="541" y="990"/>
                    <a:pt x="558" y="981"/>
                  </a:cubicBezTo>
                  <a:close/>
                  <a:moveTo>
                    <a:pt x="1452" y="185"/>
                  </a:moveTo>
                  <a:cubicBezTo>
                    <a:pt x="1453" y="186"/>
                    <a:pt x="1453" y="186"/>
                    <a:pt x="1453" y="186"/>
                  </a:cubicBezTo>
                  <a:cubicBezTo>
                    <a:pt x="1473" y="188"/>
                    <a:pt x="1448" y="173"/>
                    <a:pt x="1452" y="185"/>
                  </a:cubicBezTo>
                  <a:close/>
                  <a:moveTo>
                    <a:pt x="1447" y="177"/>
                  </a:moveTo>
                  <a:cubicBezTo>
                    <a:pt x="1467" y="172"/>
                    <a:pt x="1421" y="161"/>
                    <a:pt x="1444" y="177"/>
                  </a:cubicBezTo>
                  <a:lnTo>
                    <a:pt x="1447" y="177"/>
                  </a:lnTo>
                  <a:close/>
                  <a:moveTo>
                    <a:pt x="1434" y="200"/>
                  </a:moveTo>
                  <a:cubicBezTo>
                    <a:pt x="1440" y="204"/>
                    <a:pt x="1469" y="186"/>
                    <a:pt x="1451" y="191"/>
                  </a:cubicBezTo>
                  <a:cubicBezTo>
                    <a:pt x="1450" y="192"/>
                    <a:pt x="1450" y="192"/>
                    <a:pt x="1450" y="192"/>
                  </a:cubicBezTo>
                  <a:cubicBezTo>
                    <a:pt x="1446" y="193"/>
                    <a:pt x="1443" y="187"/>
                    <a:pt x="1440" y="185"/>
                  </a:cubicBezTo>
                  <a:cubicBezTo>
                    <a:pt x="1429" y="180"/>
                    <a:pt x="1426" y="196"/>
                    <a:pt x="1434" y="200"/>
                  </a:cubicBezTo>
                  <a:close/>
                  <a:moveTo>
                    <a:pt x="647" y="950"/>
                  </a:moveTo>
                  <a:cubicBezTo>
                    <a:pt x="651" y="941"/>
                    <a:pt x="636" y="952"/>
                    <a:pt x="634" y="955"/>
                  </a:cubicBezTo>
                  <a:cubicBezTo>
                    <a:pt x="632" y="959"/>
                    <a:pt x="629" y="960"/>
                    <a:pt x="626" y="963"/>
                  </a:cubicBezTo>
                  <a:cubicBezTo>
                    <a:pt x="620" y="972"/>
                    <a:pt x="642" y="959"/>
                    <a:pt x="645" y="956"/>
                  </a:cubicBezTo>
                  <a:cubicBezTo>
                    <a:pt x="650" y="952"/>
                    <a:pt x="638" y="957"/>
                    <a:pt x="639" y="955"/>
                  </a:cubicBezTo>
                  <a:cubicBezTo>
                    <a:pt x="640" y="951"/>
                    <a:pt x="646" y="953"/>
                    <a:pt x="647" y="950"/>
                  </a:cubicBezTo>
                  <a:close/>
                  <a:moveTo>
                    <a:pt x="665" y="898"/>
                  </a:moveTo>
                  <a:cubicBezTo>
                    <a:pt x="665" y="897"/>
                    <a:pt x="665" y="897"/>
                    <a:pt x="665" y="897"/>
                  </a:cubicBezTo>
                  <a:cubicBezTo>
                    <a:pt x="656" y="896"/>
                    <a:pt x="657" y="921"/>
                    <a:pt x="665" y="898"/>
                  </a:cubicBezTo>
                  <a:close/>
                  <a:moveTo>
                    <a:pt x="702" y="799"/>
                  </a:moveTo>
                  <a:cubicBezTo>
                    <a:pt x="707" y="797"/>
                    <a:pt x="699" y="798"/>
                    <a:pt x="698" y="798"/>
                  </a:cubicBezTo>
                  <a:cubicBezTo>
                    <a:pt x="694" y="797"/>
                    <a:pt x="703" y="795"/>
                    <a:pt x="703" y="794"/>
                  </a:cubicBezTo>
                  <a:cubicBezTo>
                    <a:pt x="703" y="792"/>
                    <a:pt x="701" y="784"/>
                    <a:pt x="698" y="784"/>
                  </a:cubicBezTo>
                  <a:cubicBezTo>
                    <a:pt x="697" y="784"/>
                    <a:pt x="697" y="786"/>
                    <a:pt x="697" y="786"/>
                  </a:cubicBezTo>
                  <a:cubicBezTo>
                    <a:pt x="696" y="788"/>
                    <a:pt x="694" y="788"/>
                    <a:pt x="693" y="788"/>
                  </a:cubicBezTo>
                  <a:cubicBezTo>
                    <a:pt x="676" y="789"/>
                    <a:pt x="700" y="794"/>
                    <a:pt x="700" y="794"/>
                  </a:cubicBezTo>
                  <a:cubicBezTo>
                    <a:pt x="699" y="795"/>
                    <a:pt x="696" y="795"/>
                    <a:pt x="696" y="795"/>
                  </a:cubicBezTo>
                  <a:cubicBezTo>
                    <a:pt x="689" y="799"/>
                    <a:pt x="674" y="812"/>
                    <a:pt x="674" y="815"/>
                  </a:cubicBezTo>
                  <a:cubicBezTo>
                    <a:pt x="674" y="816"/>
                    <a:pt x="703" y="806"/>
                    <a:pt x="706" y="802"/>
                  </a:cubicBezTo>
                  <a:cubicBezTo>
                    <a:pt x="705" y="803"/>
                    <a:pt x="701" y="800"/>
                    <a:pt x="702" y="799"/>
                  </a:cubicBezTo>
                  <a:close/>
                  <a:moveTo>
                    <a:pt x="607" y="962"/>
                  </a:moveTo>
                  <a:cubicBezTo>
                    <a:pt x="612" y="965"/>
                    <a:pt x="618" y="959"/>
                    <a:pt x="624" y="956"/>
                  </a:cubicBezTo>
                  <a:cubicBezTo>
                    <a:pt x="624" y="956"/>
                    <a:pt x="624" y="956"/>
                    <a:pt x="624" y="956"/>
                  </a:cubicBezTo>
                  <a:cubicBezTo>
                    <a:pt x="640" y="947"/>
                    <a:pt x="597" y="958"/>
                    <a:pt x="607" y="962"/>
                  </a:cubicBezTo>
                  <a:close/>
                  <a:moveTo>
                    <a:pt x="689" y="912"/>
                  </a:moveTo>
                  <a:cubicBezTo>
                    <a:pt x="695" y="909"/>
                    <a:pt x="677" y="880"/>
                    <a:pt x="671" y="882"/>
                  </a:cubicBezTo>
                  <a:cubicBezTo>
                    <a:pt x="667" y="883"/>
                    <a:pt x="670" y="889"/>
                    <a:pt x="670" y="889"/>
                  </a:cubicBezTo>
                  <a:cubicBezTo>
                    <a:pt x="668" y="907"/>
                    <a:pt x="671" y="890"/>
                    <a:pt x="676" y="898"/>
                  </a:cubicBezTo>
                  <a:cubicBezTo>
                    <a:pt x="677" y="899"/>
                    <a:pt x="677" y="899"/>
                    <a:pt x="677" y="899"/>
                  </a:cubicBezTo>
                  <a:cubicBezTo>
                    <a:pt x="677" y="900"/>
                    <a:pt x="665" y="906"/>
                    <a:pt x="663" y="909"/>
                  </a:cubicBezTo>
                  <a:cubicBezTo>
                    <a:pt x="661" y="913"/>
                    <a:pt x="658" y="932"/>
                    <a:pt x="655" y="935"/>
                  </a:cubicBezTo>
                  <a:cubicBezTo>
                    <a:pt x="654" y="935"/>
                    <a:pt x="652" y="937"/>
                    <a:pt x="654" y="938"/>
                  </a:cubicBezTo>
                  <a:cubicBezTo>
                    <a:pt x="654" y="938"/>
                    <a:pt x="654" y="938"/>
                    <a:pt x="655" y="938"/>
                  </a:cubicBezTo>
                  <a:cubicBezTo>
                    <a:pt x="670" y="933"/>
                    <a:pt x="663" y="926"/>
                    <a:pt x="666" y="921"/>
                  </a:cubicBezTo>
                  <a:cubicBezTo>
                    <a:pt x="670" y="914"/>
                    <a:pt x="681" y="917"/>
                    <a:pt x="688" y="914"/>
                  </a:cubicBezTo>
                  <a:cubicBezTo>
                    <a:pt x="688" y="914"/>
                    <a:pt x="688" y="914"/>
                    <a:pt x="688" y="914"/>
                  </a:cubicBezTo>
                  <a:cubicBezTo>
                    <a:pt x="688" y="914"/>
                    <a:pt x="688" y="913"/>
                    <a:pt x="689" y="912"/>
                  </a:cubicBezTo>
                  <a:close/>
                  <a:moveTo>
                    <a:pt x="660" y="941"/>
                  </a:moveTo>
                  <a:cubicBezTo>
                    <a:pt x="659" y="941"/>
                    <a:pt x="658" y="941"/>
                    <a:pt x="657" y="942"/>
                  </a:cubicBezTo>
                  <a:cubicBezTo>
                    <a:pt x="655" y="944"/>
                    <a:pt x="661" y="948"/>
                    <a:pt x="659" y="951"/>
                  </a:cubicBezTo>
                  <a:cubicBezTo>
                    <a:pt x="657" y="954"/>
                    <a:pt x="647" y="955"/>
                    <a:pt x="646" y="958"/>
                  </a:cubicBezTo>
                  <a:cubicBezTo>
                    <a:pt x="645" y="964"/>
                    <a:pt x="672" y="958"/>
                    <a:pt x="675" y="956"/>
                  </a:cubicBezTo>
                  <a:cubicBezTo>
                    <a:pt x="676" y="955"/>
                    <a:pt x="676" y="955"/>
                    <a:pt x="676" y="955"/>
                  </a:cubicBezTo>
                  <a:cubicBezTo>
                    <a:pt x="678" y="950"/>
                    <a:pt x="670" y="953"/>
                    <a:pt x="668" y="952"/>
                  </a:cubicBezTo>
                  <a:cubicBezTo>
                    <a:pt x="667" y="952"/>
                    <a:pt x="672" y="947"/>
                    <a:pt x="672" y="947"/>
                  </a:cubicBezTo>
                  <a:cubicBezTo>
                    <a:pt x="673" y="939"/>
                    <a:pt x="663" y="939"/>
                    <a:pt x="660" y="941"/>
                  </a:cubicBezTo>
                  <a:close/>
                  <a:moveTo>
                    <a:pt x="648" y="864"/>
                  </a:moveTo>
                  <a:cubicBezTo>
                    <a:pt x="648" y="863"/>
                    <a:pt x="648" y="863"/>
                    <a:pt x="648" y="863"/>
                  </a:cubicBezTo>
                  <a:cubicBezTo>
                    <a:pt x="644" y="864"/>
                    <a:pt x="620" y="865"/>
                    <a:pt x="627" y="877"/>
                  </a:cubicBezTo>
                  <a:cubicBezTo>
                    <a:pt x="631" y="885"/>
                    <a:pt x="653" y="875"/>
                    <a:pt x="648" y="864"/>
                  </a:cubicBezTo>
                  <a:close/>
                  <a:moveTo>
                    <a:pt x="1884" y="83"/>
                  </a:moveTo>
                  <a:cubicBezTo>
                    <a:pt x="1885" y="83"/>
                    <a:pt x="1885" y="83"/>
                    <a:pt x="1885" y="83"/>
                  </a:cubicBezTo>
                  <a:cubicBezTo>
                    <a:pt x="1893" y="84"/>
                    <a:pt x="1891" y="75"/>
                    <a:pt x="1890" y="76"/>
                  </a:cubicBezTo>
                  <a:cubicBezTo>
                    <a:pt x="1887" y="76"/>
                    <a:pt x="1880" y="80"/>
                    <a:pt x="1884" y="83"/>
                  </a:cubicBezTo>
                  <a:close/>
                  <a:moveTo>
                    <a:pt x="715" y="558"/>
                  </a:moveTo>
                  <a:cubicBezTo>
                    <a:pt x="715" y="558"/>
                    <a:pt x="715" y="558"/>
                    <a:pt x="715" y="558"/>
                  </a:cubicBezTo>
                  <a:cubicBezTo>
                    <a:pt x="715" y="558"/>
                    <a:pt x="697" y="561"/>
                    <a:pt x="703" y="566"/>
                  </a:cubicBezTo>
                  <a:cubicBezTo>
                    <a:pt x="704" y="567"/>
                    <a:pt x="716" y="561"/>
                    <a:pt x="715" y="558"/>
                  </a:cubicBezTo>
                  <a:close/>
                  <a:moveTo>
                    <a:pt x="281" y="1249"/>
                  </a:moveTo>
                  <a:cubicBezTo>
                    <a:pt x="280" y="1248"/>
                    <a:pt x="280" y="1248"/>
                    <a:pt x="280" y="1248"/>
                  </a:cubicBezTo>
                  <a:cubicBezTo>
                    <a:pt x="265" y="1246"/>
                    <a:pt x="277" y="1260"/>
                    <a:pt x="281" y="1249"/>
                  </a:cubicBezTo>
                  <a:close/>
                  <a:moveTo>
                    <a:pt x="284" y="1257"/>
                  </a:moveTo>
                  <a:cubicBezTo>
                    <a:pt x="284" y="1257"/>
                    <a:pt x="284" y="1257"/>
                    <a:pt x="284" y="1257"/>
                  </a:cubicBezTo>
                  <a:cubicBezTo>
                    <a:pt x="280" y="1251"/>
                    <a:pt x="265" y="1257"/>
                    <a:pt x="263" y="1261"/>
                  </a:cubicBezTo>
                  <a:cubicBezTo>
                    <a:pt x="262" y="1263"/>
                    <a:pt x="282" y="1270"/>
                    <a:pt x="284" y="1257"/>
                  </a:cubicBezTo>
                  <a:close/>
                  <a:moveTo>
                    <a:pt x="308" y="1212"/>
                  </a:moveTo>
                  <a:cubicBezTo>
                    <a:pt x="308" y="1211"/>
                    <a:pt x="308" y="1211"/>
                    <a:pt x="308" y="1211"/>
                  </a:cubicBezTo>
                  <a:cubicBezTo>
                    <a:pt x="303" y="1190"/>
                    <a:pt x="287" y="1209"/>
                    <a:pt x="280" y="1205"/>
                  </a:cubicBezTo>
                  <a:cubicBezTo>
                    <a:pt x="279" y="1205"/>
                    <a:pt x="271" y="1208"/>
                    <a:pt x="272" y="1209"/>
                  </a:cubicBezTo>
                  <a:cubicBezTo>
                    <a:pt x="277" y="1218"/>
                    <a:pt x="299" y="1228"/>
                    <a:pt x="308" y="1212"/>
                  </a:cubicBezTo>
                  <a:close/>
                  <a:moveTo>
                    <a:pt x="298" y="1234"/>
                  </a:moveTo>
                  <a:cubicBezTo>
                    <a:pt x="280" y="1237"/>
                    <a:pt x="287" y="1252"/>
                    <a:pt x="305" y="1247"/>
                  </a:cubicBezTo>
                  <a:cubicBezTo>
                    <a:pt x="306" y="1247"/>
                    <a:pt x="306" y="1247"/>
                    <a:pt x="306" y="1247"/>
                  </a:cubicBezTo>
                  <a:cubicBezTo>
                    <a:pt x="310" y="1246"/>
                    <a:pt x="305" y="1233"/>
                    <a:pt x="298" y="1234"/>
                  </a:cubicBezTo>
                  <a:close/>
                  <a:moveTo>
                    <a:pt x="266" y="1269"/>
                  </a:moveTo>
                  <a:cubicBezTo>
                    <a:pt x="266" y="1268"/>
                    <a:pt x="266" y="1268"/>
                    <a:pt x="266" y="1268"/>
                  </a:cubicBezTo>
                  <a:cubicBezTo>
                    <a:pt x="263" y="1264"/>
                    <a:pt x="262" y="1254"/>
                    <a:pt x="260" y="1252"/>
                  </a:cubicBezTo>
                  <a:cubicBezTo>
                    <a:pt x="254" y="1247"/>
                    <a:pt x="256" y="1265"/>
                    <a:pt x="253" y="1266"/>
                  </a:cubicBezTo>
                  <a:cubicBezTo>
                    <a:pt x="250" y="1267"/>
                    <a:pt x="245" y="1259"/>
                    <a:pt x="243" y="1259"/>
                  </a:cubicBezTo>
                  <a:cubicBezTo>
                    <a:pt x="243" y="1260"/>
                    <a:pt x="235" y="1268"/>
                    <a:pt x="235" y="1270"/>
                  </a:cubicBezTo>
                  <a:cubicBezTo>
                    <a:pt x="237" y="1283"/>
                    <a:pt x="260" y="1273"/>
                    <a:pt x="266" y="1269"/>
                  </a:cubicBezTo>
                  <a:close/>
                  <a:moveTo>
                    <a:pt x="119" y="1331"/>
                  </a:moveTo>
                  <a:cubicBezTo>
                    <a:pt x="118" y="1332"/>
                    <a:pt x="113" y="1335"/>
                    <a:pt x="113" y="1337"/>
                  </a:cubicBezTo>
                  <a:cubicBezTo>
                    <a:pt x="114" y="1338"/>
                    <a:pt x="114" y="1338"/>
                    <a:pt x="114" y="1338"/>
                  </a:cubicBezTo>
                  <a:cubicBezTo>
                    <a:pt x="120" y="1345"/>
                    <a:pt x="125" y="1329"/>
                    <a:pt x="119" y="1331"/>
                  </a:cubicBezTo>
                  <a:close/>
                  <a:moveTo>
                    <a:pt x="308" y="1239"/>
                  </a:moveTo>
                  <a:cubicBezTo>
                    <a:pt x="311" y="1244"/>
                    <a:pt x="309" y="1247"/>
                    <a:pt x="318" y="1245"/>
                  </a:cubicBezTo>
                  <a:cubicBezTo>
                    <a:pt x="318" y="1245"/>
                    <a:pt x="318" y="1245"/>
                    <a:pt x="318" y="1245"/>
                  </a:cubicBezTo>
                  <a:cubicBezTo>
                    <a:pt x="325" y="1244"/>
                    <a:pt x="303" y="1229"/>
                    <a:pt x="308" y="1239"/>
                  </a:cubicBezTo>
                  <a:close/>
                  <a:moveTo>
                    <a:pt x="194" y="1314"/>
                  </a:moveTo>
                  <a:cubicBezTo>
                    <a:pt x="194" y="1314"/>
                    <a:pt x="194" y="1314"/>
                    <a:pt x="194" y="1314"/>
                  </a:cubicBezTo>
                  <a:cubicBezTo>
                    <a:pt x="199" y="1304"/>
                    <a:pt x="166" y="1306"/>
                    <a:pt x="171" y="1317"/>
                  </a:cubicBezTo>
                  <a:cubicBezTo>
                    <a:pt x="173" y="1322"/>
                    <a:pt x="189" y="1316"/>
                    <a:pt x="194" y="1314"/>
                  </a:cubicBezTo>
                  <a:close/>
                  <a:moveTo>
                    <a:pt x="197" y="1293"/>
                  </a:moveTo>
                  <a:cubicBezTo>
                    <a:pt x="194" y="1286"/>
                    <a:pt x="181" y="1295"/>
                    <a:pt x="181" y="1297"/>
                  </a:cubicBezTo>
                  <a:cubicBezTo>
                    <a:pt x="181" y="1308"/>
                    <a:pt x="197" y="1294"/>
                    <a:pt x="197" y="1293"/>
                  </a:cubicBezTo>
                  <a:close/>
                  <a:moveTo>
                    <a:pt x="197" y="1293"/>
                  </a:moveTo>
                  <a:cubicBezTo>
                    <a:pt x="197" y="1293"/>
                    <a:pt x="197" y="1293"/>
                    <a:pt x="197" y="1293"/>
                  </a:cubicBezTo>
                  <a:cubicBezTo>
                    <a:pt x="197" y="1293"/>
                    <a:pt x="197" y="1293"/>
                    <a:pt x="197" y="1293"/>
                  </a:cubicBezTo>
                  <a:close/>
                  <a:moveTo>
                    <a:pt x="342" y="1243"/>
                  </a:moveTo>
                  <a:cubicBezTo>
                    <a:pt x="342" y="1242"/>
                    <a:pt x="342" y="1242"/>
                    <a:pt x="342" y="1242"/>
                  </a:cubicBezTo>
                  <a:cubicBezTo>
                    <a:pt x="344" y="1241"/>
                    <a:pt x="342" y="1239"/>
                    <a:pt x="342" y="1238"/>
                  </a:cubicBezTo>
                  <a:cubicBezTo>
                    <a:pt x="340" y="1235"/>
                    <a:pt x="336" y="1236"/>
                    <a:pt x="334" y="1233"/>
                  </a:cubicBezTo>
                  <a:cubicBezTo>
                    <a:pt x="327" y="1218"/>
                    <a:pt x="330" y="1236"/>
                    <a:pt x="326" y="1236"/>
                  </a:cubicBezTo>
                  <a:cubicBezTo>
                    <a:pt x="325" y="1237"/>
                    <a:pt x="325" y="1230"/>
                    <a:pt x="324" y="1230"/>
                  </a:cubicBezTo>
                  <a:cubicBezTo>
                    <a:pt x="323" y="1230"/>
                    <a:pt x="316" y="1229"/>
                    <a:pt x="316" y="1229"/>
                  </a:cubicBezTo>
                  <a:cubicBezTo>
                    <a:pt x="308" y="1239"/>
                    <a:pt x="333" y="1248"/>
                    <a:pt x="342" y="1243"/>
                  </a:cubicBezTo>
                  <a:close/>
                  <a:moveTo>
                    <a:pt x="1039" y="428"/>
                  </a:moveTo>
                  <a:cubicBezTo>
                    <a:pt x="1021" y="415"/>
                    <a:pt x="1013" y="445"/>
                    <a:pt x="1015" y="448"/>
                  </a:cubicBezTo>
                  <a:cubicBezTo>
                    <a:pt x="1015" y="448"/>
                    <a:pt x="1015" y="448"/>
                    <a:pt x="1015" y="448"/>
                  </a:cubicBezTo>
                  <a:cubicBezTo>
                    <a:pt x="1021" y="452"/>
                    <a:pt x="1055" y="439"/>
                    <a:pt x="1039" y="428"/>
                  </a:cubicBezTo>
                  <a:close/>
                  <a:moveTo>
                    <a:pt x="1917" y="22"/>
                  </a:moveTo>
                  <a:cubicBezTo>
                    <a:pt x="1914" y="16"/>
                    <a:pt x="1895" y="38"/>
                    <a:pt x="1891" y="27"/>
                  </a:cubicBezTo>
                  <a:cubicBezTo>
                    <a:pt x="1891" y="26"/>
                    <a:pt x="1900" y="24"/>
                    <a:pt x="1890" y="22"/>
                  </a:cubicBezTo>
                  <a:cubicBezTo>
                    <a:pt x="1885" y="21"/>
                    <a:pt x="1905" y="18"/>
                    <a:pt x="1901" y="11"/>
                  </a:cubicBezTo>
                  <a:cubicBezTo>
                    <a:pt x="1899" y="7"/>
                    <a:pt x="1883" y="13"/>
                    <a:pt x="1880" y="13"/>
                  </a:cubicBezTo>
                  <a:cubicBezTo>
                    <a:pt x="1877" y="12"/>
                    <a:pt x="1879" y="10"/>
                    <a:pt x="1879" y="9"/>
                  </a:cubicBezTo>
                  <a:cubicBezTo>
                    <a:pt x="1885" y="0"/>
                    <a:pt x="1873" y="7"/>
                    <a:pt x="1870" y="6"/>
                  </a:cubicBezTo>
                  <a:cubicBezTo>
                    <a:pt x="1867" y="6"/>
                    <a:pt x="1869" y="1"/>
                    <a:pt x="1867" y="1"/>
                  </a:cubicBezTo>
                  <a:cubicBezTo>
                    <a:pt x="1843" y="10"/>
                    <a:pt x="1879" y="8"/>
                    <a:pt x="1873" y="20"/>
                  </a:cubicBezTo>
                  <a:cubicBezTo>
                    <a:pt x="1872" y="22"/>
                    <a:pt x="1870" y="18"/>
                    <a:pt x="1868" y="17"/>
                  </a:cubicBezTo>
                  <a:cubicBezTo>
                    <a:pt x="1859" y="12"/>
                    <a:pt x="1849" y="17"/>
                    <a:pt x="1847" y="16"/>
                  </a:cubicBezTo>
                  <a:cubicBezTo>
                    <a:pt x="1846" y="16"/>
                    <a:pt x="1837" y="13"/>
                    <a:pt x="1838" y="16"/>
                  </a:cubicBezTo>
                  <a:cubicBezTo>
                    <a:pt x="1838" y="17"/>
                    <a:pt x="1839" y="18"/>
                    <a:pt x="1839" y="18"/>
                  </a:cubicBezTo>
                  <a:cubicBezTo>
                    <a:pt x="1841" y="19"/>
                    <a:pt x="1836" y="20"/>
                    <a:pt x="1835" y="20"/>
                  </a:cubicBezTo>
                  <a:cubicBezTo>
                    <a:pt x="1825" y="27"/>
                    <a:pt x="1857" y="24"/>
                    <a:pt x="1858" y="26"/>
                  </a:cubicBezTo>
                  <a:cubicBezTo>
                    <a:pt x="1859" y="27"/>
                    <a:pt x="1858" y="27"/>
                    <a:pt x="1858" y="28"/>
                  </a:cubicBezTo>
                  <a:cubicBezTo>
                    <a:pt x="1856" y="28"/>
                    <a:pt x="1846" y="29"/>
                    <a:pt x="1846" y="31"/>
                  </a:cubicBezTo>
                  <a:cubicBezTo>
                    <a:pt x="1846" y="32"/>
                    <a:pt x="1851" y="34"/>
                    <a:pt x="1851" y="35"/>
                  </a:cubicBezTo>
                  <a:cubicBezTo>
                    <a:pt x="1853" y="37"/>
                    <a:pt x="1855" y="40"/>
                    <a:pt x="1858" y="41"/>
                  </a:cubicBezTo>
                  <a:cubicBezTo>
                    <a:pt x="1859" y="41"/>
                    <a:pt x="1859" y="41"/>
                    <a:pt x="1859" y="41"/>
                  </a:cubicBezTo>
                  <a:cubicBezTo>
                    <a:pt x="1877" y="42"/>
                    <a:pt x="1870" y="32"/>
                    <a:pt x="1889" y="34"/>
                  </a:cubicBezTo>
                  <a:cubicBezTo>
                    <a:pt x="1891" y="35"/>
                    <a:pt x="1922" y="30"/>
                    <a:pt x="1917" y="22"/>
                  </a:cubicBezTo>
                  <a:close/>
                  <a:moveTo>
                    <a:pt x="330" y="1220"/>
                  </a:moveTo>
                  <a:cubicBezTo>
                    <a:pt x="331" y="1222"/>
                    <a:pt x="350" y="1222"/>
                    <a:pt x="352" y="1218"/>
                  </a:cubicBezTo>
                  <a:cubicBezTo>
                    <a:pt x="352" y="1218"/>
                    <a:pt x="352" y="1218"/>
                    <a:pt x="352" y="1218"/>
                  </a:cubicBezTo>
                  <a:cubicBezTo>
                    <a:pt x="354" y="1210"/>
                    <a:pt x="327" y="1211"/>
                    <a:pt x="330" y="1220"/>
                  </a:cubicBezTo>
                  <a:close/>
                  <a:moveTo>
                    <a:pt x="331" y="1167"/>
                  </a:moveTo>
                  <a:cubicBezTo>
                    <a:pt x="344" y="1168"/>
                    <a:pt x="361" y="1170"/>
                    <a:pt x="365" y="1162"/>
                  </a:cubicBezTo>
                  <a:cubicBezTo>
                    <a:pt x="365" y="1162"/>
                    <a:pt x="365" y="1162"/>
                    <a:pt x="365" y="1162"/>
                  </a:cubicBezTo>
                  <a:cubicBezTo>
                    <a:pt x="366" y="1157"/>
                    <a:pt x="367" y="1148"/>
                    <a:pt x="363" y="1148"/>
                  </a:cubicBezTo>
                  <a:cubicBezTo>
                    <a:pt x="357" y="1148"/>
                    <a:pt x="358" y="1155"/>
                    <a:pt x="355" y="1156"/>
                  </a:cubicBezTo>
                  <a:cubicBezTo>
                    <a:pt x="350" y="1157"/>
                    <a:pt x="316" y="1167"/>
                    <a:pt x="316" y="1168"/>
                  </a:cubicBezTo>
                  <a:cubicBezTo>
                    <a:pt x="316" y="1174"/>
                    <a:pt x="329" y="1167"/>
                    <a:pt x="331" y="1167"/>
                  </a:cubicBezTo>
                  <a:close/>
                  <a:moveTo>
                    <a:pt x="869" y="394"/>
                  </a:moveTo>
                  <a:cubicBezTo>
                    <a:pt x="864" y="394"/>
                    <a:pt x="857" y="400"/>
                    <a:pt x="861" y="405"/>
                  </a:cubicBezTo>
                  <a:cubicBezTo>
                    <a:pt x="862" y="407"/>
                    <a:pt x="877" y="421"/>
                    <a:pt x="886" y="403"/>
                  </a:cubicBezTo>
                  <a:cubicBezTo>
                    <a:pt x="887" y="401"/>
                    <a:pt x="885" y="395"/>
                    <a:pt x="887" y="397"/>
                  </a:cubicBezTo>
                  <a:cubicBezTo>
                    <a:pt x="895" y="402"/>
                    <a:pt x="912" y="403"/>
                    <a:pt x="920" y="393"/>
                  </a:cubicBezTo>
                  <a:cubicBezTo>
                    <a:pt x="924" y="389"/>
                    <a:pt x="911" y="387"/>
                    <a:pt x="919" y="388"/>
                  </a:cubicBezTo>
                  <a:cubicBezTo>
                    <a:pt x="925" y="389"/>
                    <a:pt x="932" y="391"/>
                    <a:pt x="930" y="398"/>
                  </a:cubicBezTo>
                  <a:cubicBezTo>
                    <a:pt x="929" y="405"/>
                    <a:pt x="899" y="402"/>
                    <a:pt x="899" y="411"/>
                  </a:cubicBezTo>
                  <a:cubicBezTo>
                    <a:pt x="898" y="411"/>
                    <a:pt x="898" y="411"/>
                    <a:pt x="898" y="411"/>
                  </a:cubicBezTo>
                  <a:cubicBezTo>
                    <a:pt x="899" y="424"/>
                    <a:pt x="947" y="414"/>
                    <a:pt x="950" y="401"/>
                  </a:cubicBezTo>
                  <a:cubicBezTo>
                    <a:pt x="952" y="391"/>
                    <a:pt x="940" y="391"/>
                    <a:pt x="940" y="389"/>
                  </a:cubicBezTo>
                  <a:cubicBezTo>
                    <a:pt x="940" y="382"/>
                    <a:pt x="951" y="383"/>
                    <a:pt x="950" y="375"/>
                  </a:cubicBezTo>
                  <a:cubicBezTo>
                    <a:pt x="949" y="371"/>
                    <a:pt x="937" y="378"/>
                    <a:pt x="937" y="378"/>
                  </a:cubicBezTo>
                  <a:cubicBezTo>
                    <a:pt x="936" y="375"/>
                    <a:pt x="943" y="369"/>
                    <a:pt x="942" y="364"/>
                  </a:cubicBezTo>
                  <a:cubicBezTo>
                    <a:pt x="941" y="361"/>
                    <a:pt x="931" y="369"/>
                    <a:pt x="933" y="367"/>
                  </a:cubicBezTo>
                  <a:cubicBezTo>
                    <a:pt x="934" y="366"/>
                    <a:pt x="933" y="353"/>
                    <a:pt x="928" y="349"/>
                  </a:cubicBezTo>
                  <a:cubicBezTo>
                    <a:pt x="924" y="346"/>
                    <a:pt x="915" y="353"/>
                    <a:pt x="916" y="358"/>
                  </a:cubicBezTo>
                  <a:cubicBezTo>
                    <a:pt x="917" y="363"/>
                    <a:pt x="931" y="375"/>
                    <a:pt x="929" y="379"/>
                  </a:cubicBezTo>
                  <a:cubicBezTo>
                    <a:pt x="928" y="382"/>
                    <a:pt x="923" y="374"/>
                    <a:pt x="920" y="374"/>
                  </a:cubicBezTo>
                  <a:cubicBezTo>
                    <a:pt x="919" y="374"/>
                    <a:pt x="916" y="388"/>
                    <a:pt x="915" y="380"/>
                  </a:cubicBezTo>
                  <a:cubicBezTo>
                    <a:pt x="915" y="378"/>
                    <a:pt x="915" y="372"/>
                    <a:pt x="911" y="372"/>
                  </a:cubicBezTo>
                  <a:cubicBezTo>
                    <a:pt x="904" y="372"/>
                    <a:pt x="916" y="386"/>
                    <a:pt x="907" y="389"/>
                  </a:cubicBezTo>
                  <a:cubicBezTo>
                    <a:pt x="903" y="390"/>
                    <a:pt x="907" y="383"/>
                    <a:pt x="900" y="384"/>
                  </a:cubicBezTo>
                  <a:cubicBezTo>
                    <a:pt x="897" y="384"/>
                    <a:pt x="889" y="391"/>
                    <a:pt x="887" y="389"/>
                  </a:cubicBezTo>
                  <a:cubicBezTo>
                    <a:pt x="885" y="388"/>
                    <a:pt x="892" y="375"/>
                    <a:pt x="883" y="378"/>
                  </a:cubicBezTo>
                  <a:cubicBezTo>
                    <a:pt x="878" y="380"/>
                    <a:pt x="886" y="393"/>
                    <a:pt x="881" y="393"/>
                  </a:cubicBezTo>
                  <a:cubicBezTo>
                    <a:pt x="875" y="393"/>
                    <a:pt x="876" y="386"/>
                    <a:pt x="876" y="383"/>
                  </a:cubicBezTo>
                  <a:cubicBezTo>
                    <a:pt x="875" y="379"/>
                    <a:pt x="872" y="383"/>
                    <a:pt x="870" y="384"/>
                  </a:cubicBezTo>
                  <a:cubicBezTo>
                    <a:pt x="859" y="390"/>
                    <a:pt x="870" y="389"/>
                    <a:pt x="872" y="392"/>
                  </a:cubicBezTo>
                  <a:cubicBezTo>
                    <a:pt x="873" y="394"/>
                    <a:pt x="869" y="394"/>
                    <a:pt x="869" y="394"/>
                  </a:cubicBezTo>
                  <a:close/>
                  <a:moveTo>
                    <a:pt x="1737" y="40"/>
                  </a:moveTo>
                  <a:cubicBezTo>
                    <a:pt x="1740" y="40"/>
                    <a:pt x="1747" y="36"/>
                    <a:pt x="1745" y="35"/>
                  </a:cubicBezTo>
                  <a:cubicBezTo>
                    <a:pt x="1738" y="30"/>
                    <a:pt x="1734" y="37"/>
                    <a:pt x="1731" y="32"/>
                  </a:cubicBezTo>
                  <a:cubicBezTo>
                    <a:pt x="1731" y="32"/>
                    <a:pt x="1730" y="31"/>
                    <a:pt x="1730" y="31"/>
                  </a:cubicBezTo>
                  <a:cubicBezTo>
                    <a:pt x="1730" y="30"/>
                    <a:pt x="1744" y="29"/>
                    <a:pt x="1743" y="28"/>
                  </a:cubicBezTo>
                  <a:cubicBezTo>
                    <a:pt x="1741" y="27"/>
                    <a:pt x="1737" y="28"/>
                    <a:pt x="1735" y="28"/>
                  </a:cubicBezTo>
                  <a:cubicBezTo>
                    <a:pt x="1724" y="27"/>
                    <a:pt x="1723" y="24"/>
                    <a:pt x="1714" y="28"/>
                  </a:cubicBezTo>
                  <a:cubicBezTo>
                    <a:pt x="1713" y="28"/>
                    <a:pt x="1712" y="29"/>
                    <a:pt x="1713" y="30"/>
                  </a:cubicBezTo>
                  <a:cubicBezTo>
                    <a:pt x="1716" y="34"/>
                    <a:pt x="1723" y="29"/>
                    <a:pt x="1727" y="32"/>
                  </a:cubicBezTo>
                  <a:cubicBezTo>
                    <a:pt x="1728" y="32"/>
                    <a:pt x="1722" y="33"/>
                    <a:pt x="1721" y="33"/>
                  </a:cubicBezTo>
                  <a:cubicBezTo>
                    <a:pt x="1711" y="34"/>
                    <a:pt x="1719" y="36"/>
                    <a:pt x="1723" y="38"/>
                  </a:cubicBezTo>
                  <a:cubicBezTo>
                    <a:pt x="1724" y="39"/>
                    <a:pt x="1724" y="39"/>
                    <a:pt x="1724" y="39"/>
                  </a:cubicBezTo>
                  <a:cubicBezTo>
                    <a:pt x="1727" y="46"/>
                    <a:pt x="1734" y="39"/>
                    <a:pt x="1737" y="40"/>
                  </a:cubicBezTo>
                  <a:close/>
                  <a:moveTo>
                    <a:pt x="1529" y="131"/>
                  </a:moveTo>
                  <a:cubicBezTo>
                    <a:pt x="1517" y="127"/>
                    <a:pt x="1513" y="132"/>
                    <a:pt x="1520" y="146"/>
                  </a:cubicBezTo>
                  <a:cubicBezTo>
                    <a:pt x="1520" y="146"/>
                    <a:pt x="1520" y="146"/>
                    <a:pt x="1520" y="146"/>
                  </a:cubicBezTo>
                  <a:cubicBezTo>
                    <a:pt x="1525" y="151"/>
                    <a:pt x="1534" y="133"/>
                    <a:pt x="1529" y="131"/>
                  </a:cubicBezTo>
                  <a:close/>
                  <a:moveTo>
                    <a:pt x="1427" y="206"/>
                  </a:moveTo>
                  <a:cubicBezTo>
                    <a:pt x="1422" y="198"/>
                    <a:pt x="1408" y="214"/>
                    <a:pt x="1412" y="223"/>
                  </a:cubicBezTo>
                  <a:cubicBezTo>
                    <a:pt x="1412" y="223"/>
                    <a:pt x="1412" y="223"/>
                    <a:pt x="1412" y="223"/>
                  </a:cubicBezTo>
                  <a:cubicBezTo>
                    <a:pt x="1422" y="225"/>
                    <a:pt x="1432" y="213"/>
                    <a:pt x="1427" y="206"/>
                  </a:cubicBezTo>
                  <a:close/>
                  <a:moveTo>
                    <a:pt x="1430" y="172"/>
                  </a:moveTo>
                  <a:cubicBezTo>
                    <a:pt x="1430" y="165"/>
                    <a:pt x="1442" y="156"/>
                    <a:pt x="1428" y="153"/>
                  </a:cubicBezTo>
                  <a:cubicBezTo>
                    <a:pt x="1410" y="149"/>
                    <a:pt x="1380" y="176"/>
                    <a:pt x="1403" y="181"/>
                  </a:cubicBezTo>
                  <a:cubicBezTo>
                    <a:pt x="1404" y="182"/>
                    <a:pt x="1404" y="182"/>
                    <a:pt x="1404" y="182"/>
                  </a:cubicBezTo>
                  <a:cubicBezTo>
                    <a:pt x="1409" y="182"/>
                    <a:pt x="1411" y="174"/>
                    <a:pt x="1413" y="174"/>
                  </a:cubicBezTo>
                  <a:cubicBezTo>
                    <a:pt x="1415" y="174"/>
                    <a:pt x="1410" y="186"/>
                    <a:pt x="1431" y="182"/>
                  </a:cubicBezTo>
                  <a:cubicBezTo>
                    <a:pt x="1434" y="181"/>
                    <a:pt x="1430" y="174"/>
                    <a:pt x="1430" y="172"/>
                  </a:cubicBezTo>
                  <a:close/>
                  <a:moveTo>
                    <a:pt x="1703" y="79"/>
                  </a:moveTo>
                  <a:cubicBezTo>
                    <a:pt x="1702" y="79"/>
                    <a:pt x="1704" y="68"/>
                    <a:pt x="1692" y="71"/>
                  </a:cubicBezTo>
                  <a:cubicBezTo>
                    <a:pt x="1682" y="73"/>
                    <a:pt x="1690" y="100"/>
                    <a:pt x="1696" y="107"/>
                  </a:cubicBezTo>
                  <a:cubicBezTo>
                    <a:pt x="1696" y="107"/>
                    <a:pt x="1696" y="107"/>
                    <a:pt x="1696" y="107"/>
                  </a:cubicBezTo>
                  <a:cubicBezTo>
                    <a:pt x="1716" y="115"/>
                    <a:pt x="1733" y="96"/>
                    <a:pt x="1721" y="81"/>
                  </a:cubicBezTo>
                  <a:cubicBezTo>
                    <a:pt x="1716" y="74"/>
                    <a:pt x="1708" y="80"/>
                    <a:pt x="1703" y="79"/>
                  </a:cubicBezTo>
                  <a:close/>
                  <a:moveTo>
                    <a:pt x="1254" y="243"/>
                  </a:moveTo>
                  <a:cubicBezTo>
                    <a:pt x="1260" y="238"/>
                    <a:pt x="1289" y="231"/>
                    <a:pt x="1273" y="220"/>
                  </a:cubicBezTo>
                  <a:cubicBezTo>
                    <a:pt x="1272" y="219"/>
                    <a:pt x="1272" y="219"/>
                    <a:pt x="1272" y="219"/>
                  </a:cubicBezTo>
                  <a:cubicBezTo>
                    <a:pt x="1267" y="217"/>
                    <a:pt x="1257" y="217"/>
                    <a:pt x="1259" y="214"/>
                  </a:cubicBezTo>
                  <a:cubicBezTo>
                    <a:pt x="1261" y="211"/>
                    <a:pt x="1242" y="209"/>
                    <a:pt x="1242" y="212"/>
                  </a:cubicBezTo>
                  <a:cubicBezTo>
                    <a:pt x="1242" y="214"/>
                    <a:pt x="1260" y="241"/>
                    <a:pt x="1249" y="242"/>
                  </a:cubicBezTo>
                  <a:cubicBezTo>
                    <a:pt x="1247" y="242"/>
                    <a:pt x="1244" y="239"/>
                    <a:pt x="1242" y="238"/>
                  </a:cubicBezTo>
                  <a:cubicBezTo>
                    <a:pt x="1238" y="234"/>
                    <a:pt x="1243" y="225"/>
                    <a:pt x="1241" y="223"/>
                  </a:cubicBezTo>
                  <a:cubicBezTo>
                    <a:pt x="1235" y="215"/>
                    <a:pt x="1230" y="232"/>
                    <a:pt x="1228" y="232"/>
                  </a:cubicBezTo>
                  <a:cubicBezTo>
                    <a:pt x="1227" y="232"/>
                    <a:pt x="1217" y="218"/>
                    <a:pt x="1212" y="227"/>
                  </a:cubicBezTo>
                  <a:cubicBezTo>
                    <a:pt x="1206" y="239"/>
                    <a:pt x="1238" y="237"/>
                    <a:pt x="1236" y="240"/>
                  </a:cubicBezTo>
                  <a:cubicBezTo>
                    <a:pt x="1234" y="245"/>
                    <a:pt x="1202" y="235"/>
                    <a:pt x="1200" y="238"/>
                  </a:cubicBezTo>
                  <a:cubicBezTo>
                    <a:pt x="1199" y="239"/>
                    <a:pt x="1202" y="241"/>
                    <a:pt x="1202" y="242"/>
                  </a:cubicBezTo>
                  <a:cubicBezTo>
                    <a:pt x="1205" y="244"/>
                    <a:pt x="1207" y="249"/>
                    <a:pt x="1211" y="249"/>
                  </a:cubicBezTo>
                  <a:cubicBezTo>
                    <a:pt x="1212" y="250"/>
                    <a:pt x="1218" y="247"/>
                    <a:pt x="1219" y="249"/>
                  </a:cubicBezTo>
                  <a:cubicBezTo>
                    <a:pt x="1219" y="249"/>
                    <a:pt x="1217" y="251"/>
                    <a:pt x="1217" y="251"/>
                  </a:cubicBezTo>
                  <a:cubicBezTo>
                    <a:pt x="1210" y="256"/>
                    <a:pt x="1186" y="247"/>
                    <a:pt x="1186" y="252"/>
                  </a:cubicBezTo>
                  <a:cubicBezTo>
                    <a:pt x="1186" y="253"/>
                    <a:pt x="1181" y="256"/>
                    <a:pt x="1183" y="258"/>
                  </a:cubicBezTo>
                  <a:cubicBezTo>
                    <a:pt x="1190" y="267"/>
                    <a:pt x="1246" y="263"/>
                    <a:pt x="1253" y="258"/>
                  </a:cubicBezTo>
                  <a:cubicBezTo>
                    <a:pt x="1266" y="249"/>
                    <a:pt x="1245" y="251"/>
                    <a:pt x="1254" y="243"/>
                  </a:cubicBezTo>
                  <a:close/>
                  <a:moveTo>
                    <a:pt x="1570" y="112"/>
                  </a:moveTo>
                  <a:cubicBezTo>
                    <a:pt x="1577" y="111"/>
                    <a:pt x="1596" y="110"/>
                    <a:pt x="1596" y="103"/>
                  </a:cubicBezTo>
                  <a:cubicBezTo>
                    <a:pt x="1596" y="102"/>
                    <a:pt x="1595" y="100"/>
                    <a:pt x="1597" y="100"/>
                  </a:cubicBezTo>
                  <a:cubicBezTo>
                    <a:pt x="1606" y="99"/>
                    <a:pt x="1606" y="106"/>
                    <a:pt x="1608" y="107"/>
                  </a:cubicBezTo>
                  <a:cubicBezTo>
                    <a:pt x="1612" y="109"/>
                    <a:pt x="1618" y="106"/>
                    <a:pt x="1622" y="104"/>
                  </a:cubicBezTo>
                  <a:cubicBezTo>
                    <a:pt x="1626" y="101"/>
                    <a:pt x="1615" y="99"/>
                    <a:pt x="1619" y="98"/>
                  </a:cubicBezTo>
                  <a:cubicBezTo>
                    <a:pt x="1635" y="95"/>
                    <a:pt x="1636" y="98"/>
                    <a:pt x="1637" y="97"/>
                  </a:cubicBezTo>
                  <a:cubicBezTo>
                    <a:pt x="1637" y="97"/>
                    <a:pt x="1640" y="86"/>
                    <a:pt x="1641" y="84"/>
                  </a:cubicBezTo>
                  <a:cubicBezTo>
                    <a:pt x="1643" y="77"/>
                    <a:pt x="1652" y="84"/>
                    <a:pt x="1653" y="82"/>
                  </a:cubicBezTo>
                  <a:cubicBezTo>
                    <a:pt x="1655" y="74"/>
                    <a:pt x="1660" y="75"/>
                    <a:pt x="1664" y="72"/>
                  </a:cubicBezTo>
                  <a:cubicBezTo>
                    <a:pt x="1670" y="68"/>
                    <a:pt x="1664" y="64"/>
                    <a:pt x="1666" y="64"/>
                  </a:cubicBezTo>
                  <a:cubicBezTo>
                    <a:pt x="1666" y="64"/>
                    <a:pt x="1672" y="65"/>
                    <a:pt x="1672" y="63"/>
                  </a:cubicBezTo>
                  <a:cubicBezTo>
                    <a:pt x="1670" y="60"/>
                    <a:pt x="1664" y="58"/>
                    <a:pt x="1663" y="56"/>
                  </a:cubicBezTo>
                  <a:cubicBezTo>
                    <a:pt x="1659" y="43"/>
                    <a:pt x="1657" y="67"/>
                    <a:pt x="1655" y="67"/>
                  </a:cubicBezTo>
                  <a:cubicBezTo>
                    <a:pt x="1651" y="67"/>
                    <a:pt x="1649" y="61"/>
                    <a:pt x="1646" y="59"/>
                  </a:cubicBezTo>
                  <a:cubicBezTo>
                    <a:pt x="1643" y="57"/>
                    <a:pt x="1650" y="67"/>
                    <a:pt x="1642" y="63"/>
                  </a:cubicBezTo>
                  <a:cubicBezTo>
                    <a:pt x="1641" y="63"/>
                    <a:pt x="1636" y="59"/>
                    <a:pt x="1635" y="61"/>
                  </a:cubicBezTo>
                  <a:cubicBezTo>
                    <a:pt x="1634" y="63"/>
                    <a:pt x="1629" y="65"/>
                    <a:pt x="1639" y="69"/>
                  </a:cubicBezTo>
                  <a:cubicBezTo>
                    <a:pt x="1642" y="69"/>
                    <a:pt x="1647" y="73"/>
                    <a:pt x="1644" y="74"/>
                  </a:cubicBezTo>
                  <a:cubicBezTo>
                    <a:pt x="1641" y="75"/>
                    <a:pt x="1633" y="74"/>
                    <a:pt x="1631" y="76"/>
                  </a:cubicBezTo>
                  <a:cubicBezTo>
                    <a:pt x="1618" y="92"/>
                    <a:pt x="1628" y="72"/>
                    <a:pt x="1612" y="72"/>
                  </a:cubicBezTo>
                  <a:cubicBezTo>
                    <a:pt x="1608" y="72"/>
                    <a:pt x="1613" y="67"/>
                    <a:pt x="1610" y="69"/>
                  </a:cubicBezTo>
                  <a:cubicBezTo>
                    <a:pt x="1595" y="75"/>
                    <a:pt x="1616" y="79"/>
                    <a:pt x="1613" y="87"/>
                  </a:cubicBezTo>
                  <a:cubicBezTo>
                    <a:pt x="1613" y="90"/>
                    <a:pt x="1607" y="84"/>
                    <a:pt x="1607" y="88"/>
                  </a:cubicBezTo>
                  <a:cubicBezTo>
                    <a:pt x="1605" y="101"/>
                    <a:pt x="1604" y="86"/>
                    <a:pt x="1601" y="86"/>
                  </a:cubicBezTo>
                  <a:cubicBezTo>
                    <a:pt x="1598" y="85"/>
                    <a:pt x="1600" y="88"/>
                    <a:pt x="1598" y="88"/>
                  </a:cubicBezTo>
                  <a:cubicBezTo>
                    <a:pt x="1596" y="89"/>
                    <a:pt x="1597" y="84"/>
                    <a:pt x="1598" y="82"/>
                  </a:cubicBezTo>
                  <a:cubicBezTo>
                    <a:pt x="1598" y="81"/>
                    <a:pt x="1596" y="80"/>
                    <a:pt x="1596" y="80"/>
                  </a:cubicBezTo>
                  <a:cubicBezTo>
                    <a:pt x="1584" y="75"/>
                    <a:pt x="1585" y="83"/>
                    <a:pt x="1583" y="83"/>
                  </a:cubicBezTo>
                  <a:cubicBezTo>
                    <a:pt x="1574" y="81"/>
                    <a:pt x="1571" y="73"/>
                    <a:pt x="1576" y="88"/>
                  </a:cubicBezTo>
                  <a:cubicBezTo>
                    <a:pt x="1576" y="89"/>
                    <a:pt x="1577" y="90"/>
                    <a:pt x="1576" y="90"/>
                  </a:cubicBezTo>
                  <a:cubicBezTo>
                    <a:pt x="1567" y="90"/>
                    <a:pt x="1562" y="76"/>
                    <a:pt x="1562" y="87"/>
                  </a:cubicBezTo>
                  <a:cubicBezTo>
                    <a:pt x="1562" y="88"/>
                    <a:pt x="1562" y="88"/>
                    <a:pt x="1561" y="89"/>
                  </a:cubicBezTo>
                  <a:cubicBezTo>
                    <a:pt x="1560" y="90"/>
                    <a:pt x="1525" y="85"/>
                    <a:pt x="1540" y="89"/>
                  </a:cubicBezTo>
                  <a:cubicBezTo>
                    <a:pt x="1540" y="89"/>
                    <a:pt x="1540" y="89"/>
                    <a:pt x="1540" y="89"/>
                  </a:cubicBezTo>
                  <a:cubicBezTo>
                    <a:pt x="1550" y="91"/>
                    <a:pt x="1532" y="95"/>
                    <a:pt x="1544" y="97"/>
                  </a:cubicBezTo>
                  <a:cubicBezTo>
                    <a:pt x="1547" y="98"/>
                    <a:pt x="1563" y="93"/>
                    <a:pt x="1568" y="93"/>
                  </a:cubicBezTo>
                  <a:cubicBezTo>
                    <a:pt x="1568" y="93"/>
                    <a:pt x="1569" y="92"/>
                    <a:pt x="1569" y="93"/>
                  </a:cubicBezTo>
                  <a:cubicBezTo>
                    <a:pt x="1570" y="94"/>
                    <a:pt x="1564" y="96"/>
                    <a:pt x="1564" y="97"/>
                  </a:cubicBezTo>
                  <a:cubicBezTo>
                    <a:pt x="1557" y="99"/>
                    <a:pt x="1551" y="116"/>
                    <a:pt x="1553" y="116"/>
                  </a:cubicBezTo>
                  <a:cubicBezTo>
                    <a:pt x="1562" y="119"/>
                    <a:pt x="1561" y="105"/>
                    <a:pt x="1566" y="105"/>
                  </a:cubicBezTo>
                  <a:cubicBezTo>
                    <a:pt x="1570" y="104"/>
                    <a:pt x="1562" y="113"/>
                    <a:pt x="1570" y="112"/>
                  </a:cubicBezTo>
                  <a:close/>
                  <a:moveTo>
                    <a:pt x="1738" y="16"/>
                  </a:moveTo>
                  <a:cubicBezTo>
                    <a:pt x="1737" y="16"/>
                    <a:pt x="1727" y="15"/>
                    <a:pt x="1725" y="14"/>
                  </a:cubicBezTo>
                  <a:cubicBezTo>
                    <a:pt x="1719" y="12"/>
                    <a:pt x="1727" y="17"/>
                    <a:pt x="1729" y="19"/>
                  </a:cubicBezTo>
                  <a:cubicBezTo>
                    <a:pt x="1734" y="20"/>
                    <a:pt x="1741" y="21"/>
                    <a:pt x="1738" y="16"/>
                  </a:cubicBezTo>
                  <a:close/>
                  <a:moveTo>
                    <a:pt x="1723" y="18"/>
                  </a:moveTo>
                  <a:cubicBezTo>
                    <a:pt x="1724" y="18"/>
                    <a:pt x="1724" y="18"/>
                    <a:pt x="1724" y="18"/>
                  </a:cubicBezTo>
                  <a:cubicBezTo>
                    <a:pt x="1729" y="20"/>
                    <a:pt x="1729" y="20"/>
                    <a:pt x="1729" y="19"/>
                  </a:cubicBezTo>
                  <a:cubicBezTo>
                    <a:pt x="1723" y="17"/>
                    <a:pt x="1719" y="16"/>
                    <a:pt x="1723" y="18"/>
                  </a:cubicBezTo>
                  <a:close/>
                  <a:moveTo>
                    <a:pt x="1685" y="122"/>
                  </a:moveTo>
                  <a:cubicBezTo>
                    <a:pt x="1690" y="116"/>
                    <a:pt x="1683" y="93"/>
                    <a:pt x="1679" y="92"/>
                  </a:cubicBezTo>
                  <a:cubicBezTo>
                    <a:pt x="1671" y="89"/>
                    <a:pt x="1662" y="94"/>
                    <a:pt x="1666" y="93"/>
                  </a:cubicBezTo>
                  <a:cubicBezTo>
                    <a:pt x="1658" y="96"/>
                    <a:pt x="1676" y="99"/>
                    <a:pt x="1670" y="98"/>
                  </a:cubicBezTo>
                  <a:cubicBezTo>
                    <a:pt x="1680" y="100"/>
                    <a:pt x="1675" y="102"/>
                    <a:pt x="1667" y="102"/>
                  </a:cubicBezTo>
                  <a:cubicBezTo>
                    <a:pt x="1663" y="102"/>
                    <a:pt x="1665" y="110"/>
                    <a:pt x="1662" y="105"/>
                  </a:cubicBezTo>
                  <a:cubicBezTo>
                    <a:pt x="1661" y="104"/>
                    <a:pt x="1656" y="102"/>
                    <a:pt x="1655" y="105"/>
                  </a:cubicBezTo>
                  <a:cubicBezTo>
                    <a:pt x="1654" y="113"/>
                    <a:pt x="1659" y="115"/>
                    <a:pt x="1653" y="115"/>
                  </a:cubicBezTo>
                  <a:cubicBezTo>
                    <a:pt x="1651" y="116"/>
                    <a:pt x="1653" y="107"/>
                    <a:pt x="1652" y="105"/>
                  </a:cubicBezTo>
                  <a:cubicBezTo>
                    <a:pt x="1651" y="103"/>
                    <a:pt x="1643" y="101"/>
                    <a:pt x="1644" y="105"/>
                  </a:cubicBezTo>
                  <a:cubicBezTo>
                    <a:pt x="1645" y="107"/>
                    <a:pt x="1646" y="106"/>
                    <a:pt x="1647" y="107"/>
                  </a:cubicBezTo>
                  <a:cubicBezTo>
                    <a:pt x="1649" y="110"/>
                    <a:pt x="1642" y="108"/>
                    <a:pt x="1639" y="108"/>
                  </a:cubicBezTo>
                  <a:cubicBezTo>
                    <a:pt x="1624" y="109"/>
                    <a:pt x="1611" y="131"/>
                    <a:pt x="1627" y="134"/>
                  </a:cubicBezTo>
                  <a:cubicBezTo>
                    <a:pt x="1629" y="135"/>
                    <a:pt x="1629" y="135"/>
                    <a:pt x="1629" y="135"/>
                  </a:cubicBezTo>
                  <a:cubicBezTo>
                    <a:pt x="1633" y="143"/>
                    <a:pt x="1639" y="125"/>
                    <a:pt x="1641" y="125"/>
                  </a:cubicBezTo>
                  <a:cubicBezTo>
                    <a:pt x="1642" y="125"/>
                    <a:pt x="1634" y="143"/>
                    <a:pt x="1636" y="145"/>
                  </a:cubicBezTo>
                  <a:cubicBezTo>
                    <a:pt x="1640" y="148"/>
                    <a:pt x="1663" y="144"/>
                    <a:pt x="1663" y="140"/>
                  </a:cubicBezTo>
                  <a:cubicBezTo>
                    <a:pt x="1663" y="138"/>
                    <a:pt x="1656" y="139"/>
                    <a:pt x="1655" y="138"/>
                  </a:cubicBezTo>
                  <a:cubicBezTo>
                    <a:pt x="1654" y="136"/>
                    <a:pt x="1666" y="135"/>
                    <a:pt x="1667" y="135"/>
                  </a:cubicBezTo>
                  <a:cubicBezTo>
                    <a:pt x="1673" y="132"/>
                    <a:pt x="1680" y="127"/>
                    <a:pt x="1685" y="122"/>
                  </a:cubicBezTo>
                  <a:close/>
                  <a:moveTo>
                    <a:pt x="1585" y="145"/>
                  </a:moveTo>
                  <a:cubicBezTo>
                    <a:pt x="1599" y="148"/>
                    <a:pt x="1612" y="151"/>
                    <a:pt x="1627" y="151"/>
                  </a:cubicBezTo>
                  <a:cubicBezTo>
                    <a:pt x="1628" y="151"/>
                    <a:pt x="1628" y="151"/>
                    <a:pt x="1628" y="151"/>
                  </a:cubicBezTo>
                  <a:cubicBezTo>
                    <a:pt x="1641" y="149"/>
                    <a:pt x="1609" y="128"/>
                    <a:pt x="1607" y="129"/>
                  </a:cubicBezTo>
                  <a:cubicBezTo>
                    <a:pt x="1606" y="129"/>
                    <a:pt x="1605" y="130"/>
                    <a:pt x="1605" y="131"/>
                  </a:cubicBezTo>
                  <a:cubicBezTo>
                    <a:pt x="1608" y="147"/>
                    <a:pt x="1599" y="128"/>
                    <a:pt x="1599" y="128"/>
                  </a:cubicBezTo>
                  <a:cubicBezTo>
                    <a:pt x="1589" y="130"/>
                    <a:pt x="1583" y="131"/>
                    <a:pt x="1583" y="132"/>
                  </a:cubicBezTo>
                  <a:cubicBezTo>
                    <a:pt x="1583" y="134"/>
                    <a:pt x="1587" y="138"/>
                    <a:pt x="1584" y="139"/>
                  </a:cubicBezTo>
                  <a:cubicBezTo>
                    <a:pt x="1581" y="140"/>
                    <a:pt x="1580" y="132"/>
                    <a:pt x="1574" y="135"/>
                  </a:cubicBezTo>
                  <a:cubicBezTo>
                    <a:pt x="1573" y="135"/>
                    <a:pt x="1573" y="135"/>
                    <a:pt x="1573" y="136"/>
                  </a:cubicBezTo>
                  <a:cubicBezTo>
                    <a:pt x="1571" y="141"/>
                    <a:pt x="1582" y="145"/>
                    <a:pt x="1585" y="145"/>
                  </a:cubicBezTo>
                  <a:close/>
                  <a:moveTo>
                    <a:pt x="1255" y="178"/>
                  </a:moveTo>
                  <a:cubicBezTo>
                    <a:pt x="1251" y="178"/>
                    <a:pt x="1247" y="159"/>
                    <a:pt x="1246" y="175"/>
                  </a:cubicBezTo>
                  <a:cubicBezTo>
                    <a:pt x="1245" y="175"/>
                    <a:pt x="1238" y="183"/>
                    <a:pt x="1241" y="183"/>
                  </a:cubicBezTo>
                  <a:cubicBezTo>
                    <a:pt x="1249" y="184"/>
                    <a:pt x="1240" y="184"/>
                    <a:pt x="1243" y="190"/>
                  </a:cubicBezTo>
                  <a:cubicBezTo>
                    <a:pt x="1243" y="190"/>
                    <a:pt x="1243" y="190"/>
                    <a:pt x="1243" y="190"/>
                  </a:cubicBezTo>
                  <a:cubicBezTo>
                    <a:pt x="1247" y="194"/>
                    <a:pt x="1274" y="178"/>
                    <a:pt x="1271" y="175"/>
                  </a:cubicBezTo>
                  <a:cubicBezTo>
                    <a:pt x="1260" y="166"/>
                    <a:pt x="1265" y="179"/>
                    <a:pt x="1255" y="178"/>
                  </a:cubicBezTo>
                  <a:close/>
                  <a:moveTo>
                    <a:pt x="1280" y="222"/>
                  </a:moveTo>
                  <a:cubicBezTo>
                    <a:pt x="1282" y="226"/>
                    <a:pt x="1288" y="224"/>
                    <a:pt x="1291" y="224"/>
                  </a:cubicBezTo>
                  <a:cubicBezTo>
                    <a:pt x="1311" y="220"/>
                    <a:pt x="1316" y="204"/>
                    <a:pt x="1332" y="195"/>
                  </a:cubicBezTo>
                  <a:cubicBezTo>
                    <a:pt x="1333" y="195"/>
                    <a:pt x="1334" y="192"/>
                    <a:pt x="1334" y="191"/>
                  </a:cubicBezTo>
                  <a:cubicBezTo>
                    <a:pt x="1329" y="183"/>
                    <a:pt x="1326" y="195"/>
                    <a:pt x="1323" y="192"/>
                  </a:cubicBezTo>
                  <a:cubicBezTo>
                    <a:pt x="1319" y="188"/>
                    <a:pt x="1324" y="177"/>
                    <a:pt x="1311" y="187"/>
                  </a:cubicBezTo>
                  <a:cubicBezTo>
                    <a:pt x="1310" y="188"/>
                    <a:pt x="1309" y="189"/>
                    <a:pt x="1309" y="190"/>
                  </a:cubicBezTo>
                  <a:cubicBezTo>
                    <a:pt x="1309" y="191"/>
                    <a:pt x="1311" y="194"/>
                    <a:pt x="1309" y="193"/>
                  </a:cubicBezTo>
                  <a:cubicBezTo>
                    <a:pt x="1294" y="191"/>
                    <a:pt x="1304" y="174"/>
                    <a:pt x="1294" y="180"/>
                  </a:cubicBezTo>
                  <a:cubicBezTo>
                    <a:pt x="1290" y="183"/>
                    <a:pt x="1295" y="171"/>
                    <a:pt x="1289" y="177"/>
                  </a:cubicBezTo>
                  <a:cubicBezTo>
                    <a:pt x="1287" y="180"/>
                    <a:pt x="1277" y="180"/>
                    <a:pt x="1278" y="182"/>
                  </a:cubicBezTo>
                  <a:cubicBezTo>
                    <a:pt x="1280" y="185"/>
                    <a:pt x="1286" y="186"/>
                    <a:pt x="1280" y="189"/>
                  </a:cubicBezTo>
                  <a:cubicBezTo>
                    <a:pt x="1279" y="189"/>
                    <a:pt x="1259" y="182"/>
                    <a:pt x="1258" y="191"/>
                  </a:cubicBezTo>
                  <a:cubicBezTo>
                    <a:pt x="1257" y="194"/>
                    <a:pt x="1269" y="194"/>
                    <a:pt x="1266" y="197"/>
                  </a:cubicBezTo>
                  <a:cubicBezTo>
                    <a:pt x="1263" y="199"/>
                    <a:pt x="1248" y="198"/>
                    <a:pt x="1249" y="201"/>
                  </a:cubicBezTo>
                  <a:cubicBezTo>
                    <a:pt x="1251" y="210"/>
                    <a:pt x="1275" y="212"/>
                    <a:pt x="1280" y="222"/>
                  </a:cubicBezTo>
                  <a:close/>
                  <a:moveTo>
                    <a:pt x="1313" y="164"/>
                  </a:moveTo>
                  <a:cubicBezTo>
                    <a:pt x="1310" y="161"/>
                    <a:pt x="1291" y="169"/>
                    <a:pt x="1320" y="175"/>
                  </a:cubicBezTo>
                  <a:cubicBezTo>
                    <a:pt x="1320" y="175"/>
                    <a:pt x="1320" y="175"/>
                    <a:pt x="1320" y="175"/>
                  </a:cubicBezTo>
                  <a:cubicBezTo>
                    <a:pt x="1337" y="174"/>
                    <a:pt x="1317" y="168"/>
                    <a:pt x="1313" y="164"/>
                  </a:cubicBezTo>
                  <a:close/>
                  <a:moveTo>
                    <a:pt x="1285" y="164"/>
                  </a:moveTo>
                  <a:cubicBezTo>
                    <a:pt x="1285" y="164"/>
                    <a:pt x="1275" y="159"/>
                    <a:pt x="1275" y="165"/>
                  </a:cubicBezTo>
                  <a:cubicBezTo>
                    <a:pt x="1275" y="166"/>
                    <a:pt x="1282" y="169"/>
                    <a:pt x="1283" y="171"/>
                  </a:cubicBezTo>
                  <a:cubicBezTo>
                    <a:pt x="1283" y="171"/>
                    <a:pt x="1283" y="171"/>
                    <a:pt x="1283" y="171"/>
                  </a:cubicBezTo>
                  <a:cubicBezTo>
                    <a:pt x="1287" y="179"/>
                    <a:pt x="1302" y="155"/>
                    <a:pt x="1293" y="150"/>
                  </a:cubicBezTo>
                  <a:cubicBezTo>
                    <a:pt x="1283" y="144"/>
                    <a:pt x="1286" y="161"/>
                    <a:pt x="1285" y="164"/>
                  </a:cubicBezTo>
                  <a:close/>
                  <a:moveTo>
                    <a:pt x="1191" y="293"/>
                  </a:moveTo>
                  <a:cubicBezTo>
                    <a:pt x="1194" y="276"/>
                    <a:pt x="1182" y="286"/>
                    <a:pt x="1179" y="284"/>
                  </a:cubicBezTo>
                  <a:cubicBezTo>
                    <a:pt x="1174" y="280"/>
                    <a:pt x="1193" y="275"/>
                    <a:pt x="1183" y="270"/>
                  </a:cubicBezTo>
                  <a:cubicBezTo>
                    <a:pt x="1182" y="269"/>
                    <a:pt x="1182" y="269"/>
                    <a:pt x="1182" y="269"/>
                  </a:cubicBezTo>
                  <a:cubicBezTo>
                    <a:pt x="1175" y="262"/>
                    <a:pt x="1172" y="281"/>
                    <a:pt x="1168" y="279"/>
                  </a:cubicBezTo>
                  <a:cubicBezTo>
                    <a:pt x="1165" y="278"/>
                    <a:pt x="1175" y="264"/>
                    <a:pt x="1171" y="258"/>
                  </a:cubicBezTo>
                  <a:cubicBezTo>
                    <a:pt x="1167" y="253"/>
                    <a:pt x="1163" y="265"/>
                    <a:pt x="1162" y="265"/>
                  </a:cubicBezTo>
                  <a:cubicBezTo>
                    <a:pt x="1160" y="265"/>
                    <a:pt x="1155" y="251"/>
                    <a:pt x="1152" y="256"/>
                  </a:cubicBezTo>
                  <a:cubicBezTo>
                    <a:pt x="1147" y="264"/>
                    <a:pt x="1161" y="264"/>
                    <a:pt x="1152" y="270"/>
                  </a:cubicBezTo>
                  <a:cubicBezTo>
                    <a:pt x="1150" y="271"/>
                    <a:pt x="1142" y="251"/>
                    <a:pt x="1136" y="255"/>
                  </a:cubicBezTo>
                  <a:cubicBezTo>
                    <a:pt x="1128" y="261"/>
                    <a:pt x="1154" y="275"/>
                    <a:pt x="1151" y="277"/>
                  </a:cubicBezTo>
                  <a:cubicBezTo>
                    <a:pt x="1146" y="283"/>
                    <a:pt x="1131" y="262"/>
                    <a:pt x="1122" y="266"/>
                  </a:cubicBezTo>
                  <a:cubicBezTo>
                    <a:pt x="1119" y="267"/>
                    <a:pt x="1123" y="269"/>
                    <a:pt x="1124" y="270"/>
                  </a:cubicBezTo>
                  <a:cubicBezTo>
                    <a:pt x="1128" y="276"/>
                    <a:pt x="1126" y="274"/>
                    <a:pt x="1122" y="276"/>
                  </a:cubicBezTo>
                  <a:cubicBezTo>
                    <a:pt x="1119" y="277"/>
                    <a:pt x="1113" y="267"/>
                    <a:pt x="1110" y="271"/>
                  </a:cubicBezTo>
                  <a:cubicBezTo>
                    <a:pt x="1105" y="280"/>
                    <a:pt x="1137" y="282"/>
                    <a:pt x="1138" y="283"/>
                  </a:cubicBezTo>
                  <a:cubicBezTo>
                    <a:pt x="1139" y="284"/>
                    <a:pt x="1122" y="285"/>
                    <a:pt x="1121" y="285"/>
                  </a:cubicBezTo>
                  <a:cubicBezTo>
                    <a:pt x="1117" y="286"/>
                    <a:pt x="1132" y="290"/>
                    <a:pt x="1129" y="293"/>
                  </a:cubicBezTo>
                  <a:cubicBezTo>
                    <a:pt x="1128" y="294"/>
                    <a:pt x="1126" y="292"/>
                    <a:pt x="1125" y="292"/>
                  </a:cubicBezTo>
                  <a:cubicBezTo>
                    <a:pt x="1113" y="284"/>
                    <a:pt x="1090" y="286"/>
                    <a:pt x="1083" y="293"/>
                  </a:cubicBezTo>
                  <a:cubicBezTo>
                    <a:pt x="1081" y="295"/>
                    <a:pt x="1097" y="293"/>
                    <a:pt x="1097" y="293"/>
                  </a:cubicBezTo>
                  <a:cubicBezTo>
                    <a:pt x="1103" y="294"/>
                    <a:pt x="1101" y="295"/>
                    <a:pt x="1106" y="301"/>
                  </a:cubicBezTo>
                  <a:cubicBezTo>
                    <a:pt x="1107" y="303"/>
                    <a:pt x="1100" y="300"/>
                    <a:pt x="1100" y="300"/>
                  </a:cubicBezTo>
                  <a:cubicBezTo>
                    <a:pt x="1097" y="300"/>
                    <a:pt x="1085" y="300"/>
                    <a:pt x="1085" y="302"/>
                  </a:cubicBezTo>
                  <a:cubicBezTo>
                    <a:pt x="1084" y="305"/>
                    <a:pt x="1089" y="304"/>
                    <a:pt x="1090" y="304"/>
                  </a:cubicBezTo>
                  <a:cubicBezTo>
                    <a:pt x="1091" y="303"/>
                    <a:pt x="1103" y="308"/>
                    <a:pt x="1103" y="311"/>
                  </a:cubicBezTo>
                  <a:cubicBezTo>
                    <a:pt x="1103" y="313"/>
                    <a:pt x="1106" y="310"/>
                    <a:pt x="1107" y="311"/>
                  </a:cubicBezTo>
                  <a:cubicBezTo>
                    <a:pt x="1109" y="318"/>
                    <a:pt x="1083" y="311"/>
                    <a:pt x="1083" y="315"/>
                  </a:cubicBezTo>
                  <a:cubicBezTo>
                    <a:pt x="1083" y="319"/>
                    <a:pt x="1097" y="325"/>
                    <a:pt x="1105" y="321"/>
                  </a:cubicBezTo>
                  <a:cubicBezTo>
                    <a:pt x="1105" y="321"/>
                    <a:pt x="1109" y="318"/>
                    <a:pt x="1109" y="319"/>
                  </a:cubicBezTo>
                  <a:cubicBezTo>
                    <a:pt x="1110" y="323"/>
                    <a:pt x="1089" y="334"/>
                    <a:pt x="1079" y="332"/>
                  </a:cubicBezTo>
                  <a:cubicBezTo>
                    <a:pt x="1076" y="331"/>
                    <a:pt x="1075" y="333"/>
                    <a:pt x="1074" y="334"/>
                  </a:cubicBezTo>
                  <a:cubicBezTo>
                    <a:pt x="1073" y="335"/>
                    <a:pt x="1073" y="340"/>
                    <a:pt x="1074" y="340"/>
                  </a:cubicBezTo>
                  <a:cubicBezTo>
                    <a:pt x="1078" y="342"/>
                    <a:pt x="1104" y="335"/>
                    <a:pt x="1106" y="338"/>
                  </a:cubicBezTo>
                  <a:cubicBezTo>
                    <a:pt x="1106" y="339"/>
                    <a:pt x="1094" y="349"/>
                    <a:pt x="1098" y="350"/>
                  </a:cubicBezTo>
                  <a:cubicBezTo>
                    <a:pt x="1110" y="354"/>
                    <a:pt x="1116" y="325"/>
                    <a:pt x="1136" y="319"/>
                  </a:cubicBezTo>
                  <a:cubicBezTo>
                    <a:pt x="1142" y="316"/>
                    <a:pt x="1139" y="321"/>
                    <a:pt x="1138" y="324"/>
                  </a:cubicBezTo>
                  <a:cubicBezTo>
                    <a:pt x="1138" y="324"/>
                    <a:pt x="1178" y="329"/>
                    <a:pt x="1183" y="320"/>
                  </a:cubicBezTo>
                  <a:cubicBezTo>
                    <a:pt x="1184" y="319"/>
                    <a:pt x="1173" y="315"/>
                    <a:pt x="1172" y="312"/>
                  </a:cubicBezTo>
                  <a:cubicBezTo>
                    <a:pt x="1172" y="311"/>
                    <a:pt x="1175" y="312"/>
                    <a:pt x="1175" y="312"/>
                  </a:cubicBezTo>
                  <a:cubicBezTo>
                    <a:pt x="1183" y="312"/>
                    <a:pt x="1178" y="306"/>
                    <a:pt x="1176" y="302"/>
                  </a:cubicBezTo>
                  <a:cubicBezTo>
                    <a:pt x="1176" y="301"/>
                    <a:pt x="1174" y="301"/>
                    <a:pt x="1175" y="299"/>
                  </a:cubicBezTo>
                  <a:cubicBezTo>
                    <a:pt x="1178" y="296"/>
                    <a:pt x="1191" y="296"/>
                    <a:pt x="1191" y="293"/>
                  </a:cubicBezTo>
                  <a:close/>
                  <a:moveTo>
                    <a:pt x="1324" y="215"/>
                  </a:moveTo>
                  <a:cubicBezTo>
                    <a:pt x="1353" y="212"/>
                    <a:pt x="1367" y="172"/>
                    <a:pt x="1314" y="215"/>
                  </a:cubicBezTo>
                  <a:cubicBezTo>
                    <a:pt x="1314" y="216"/>
                    <a:pt x="1314" y="216"/>
                    <a:pt x="1314" y="216"/>
                  </a:cubicBezTo>
                  <a:cubicBezTo>
                    <a:pt x="1318" y="218"/>
                    <a:pt x="1320" y="215"/>
                    <a:pt x="1324" y="215"/>
                  </a:cubicBezTo>
                  <a:close/>
                  <a:moveTo>
                    <a:pt x="1098" y="379"/>
                  </a:moveTo>
                  <a:cubicBezTo>
                    <a:pt x="1093" y="366"/>
                    <a:pt x="1081" y="388"/>
                    <a:pt x="1077" y="393"/>
                  </a:cubicBezTo>
                  <a:cubicBezTo>
                    <a:pt x="1077" y="394"/>
                    <a:pt x="1077" y="394"/>
                    <a:pt x="1077" y="394"/>
                  </a:cubicBezTo>
                  <a:cubicBezTo>
                    <a:pt x="1080" y="396"/>
                    <a:pt x="1106" y="390"/>
                    <a:pt x="1107" y="387"/>
                  </a:cubicBezTo>
                  <a:cubicBezTo>
                    <a:pt x="1108" y="385"/>
                    <a:pt x="1099" y="381"/>
                    <a:pt x="1098" y="379"/>
                  </a:cubicBezTo>
                  <a:close/>
                  <a:moveTo>
                    <a:pt x="1110" y="381"/>
                  </a:moveTo>
                  <a:cubicBezTo>
                    <a:pt x="1114" y="384"/>
                    <a:pt x="1134" y="373"/>
                    <a:pt x="1132" y="369"/>
                  </a:cubicBezTo>
                  <a:cubicBezTo>
                    <a:pt x="1129" y="364"/>
                    <a:pt x="1108" y="358"/>
                    <a:pt x="1111" y="366"/>
                  </a:cubicBezTo>
                  <a:cubicBezTo>
                    <a:pt x="1112" y="368"/>
                    <a:pt x="1123" y="378"/>
                    <a:pt x="1113" y="371"/>
                  </a:cubicBezTo>
                  <a:cubicBezTo>
                    <a:pt x="1096" y="360"/>
                    <a:pt x="1102" y="367"/>
                    <a:pt x="1110" y="381"/>
                  </a:cubicBezTo>
                  <a:close/>
                  <a:moveTo>
                    <a:pt x="1134" y="350"/>
                  </a:moveTo>
                  <a:cubicBezTo>
                    <a:pt x="1156" y="339"/>
                    <a:pt x="1147" y="320"/>
                    <a:pt x="1131" y="349"/>
                  </a:cubicBezTo>
                  <a:cubicBezTo>
                    <a:pt x="1131" y="349"/>
                    <a:pt x="1131" y="349"/>
                    <a:pt x="1131" y="349"/>
                  </a:cubicBezTo>
                  <a:cubicBezTo>
                    <a:pt x="1132" y="351"/>
                    <a:pt x="1133" y="351"/>
                    <a:pt x="1134" y="350"/>
                  </a:cubicBezTo>
                  <a:close/>
                  <a:moveTo>
                    <a:pt x="913" y="361"/>
                  </a:moveTo>
                  <a:cubicBezTo>
                    <a:pt x="906" y="358"/>
                    <a:pt x="905" y="368"/>
                    <a:pt x="913" y="369"/>
                  </a:cubicBezTo>
                  <a:cubicBezTo>
                    <a:pt x="913" y="369"/>
                    <a:pt x="913" y="369"/>
                    <a:pt x="913" y="369"/>
                  </a:cubicBezTo>
                  <a:cubicBezTo>
                    <a:pt x="924" y="369"/>
                    <a:pt x="918" y="362"/>
                    <a:pt x="913" y="361"/>
                  </a:cubicBezTo>
                  <a:close/>
                  <a:moveTo>
                    <a:pt x="142" y="1357"/>
                  </a:moveTo>
                  <a:cubicBezTo>
                    <a:pt x="142" y="1357"/>
                    <a:pt x="142" y="1357"/>
                    <a:pt x="142" y="1357"/>
                  </a:cubicBezTo>
                  <a:cubicBezTo>
                    <a:pt x="144" y="1355"/>
                    <a:pt x="120" y="1348"/>
                    <a:pt x="115" y="1352"/>
                  </a:cubicBezTo>
                  <a:cubicBezTo>
                    <a:pt x="112" y="1354"/>
                    <a:pt x="136" y="1359"/>
                    <a:pt x="142" y="1357"/>
                  </a:cubicBezTo>
                  <a:close/>
                  <a:moveTo>
                    <a:pt x="834" y="653"/>
                  </a:moveTo>
                  <a:cubicBezTo>
                    <a:pt x="838" y="656"/>
                    <a:pt x="840" y="664"/>
                    <a:pt x="844" y="664"/>
                  </a:cubicBezTo>
                  <a:cubicBezTo>
                    <a:pt x="844" y="663"/>
                    <a:pt x="844" y="663"/>
                    <a:pt x="844" y="663"/>
                  </a:cubicBezTo>
                  <a:cubicBezTo>
                    <a:pt x="846" y="662"/>
                    <a:pt x="848" y="646"/>
                    <a:pt x="850" y="641"/>
                  </a:cubicBezTo>
                  <a:cubicBezTo>
                    <a:pt x="852" y="634"/>
                    <a:pt x="847" y="640"/>
                    <a:pt x="844" y="643"/>
                  </a:cubicBezTo>
                  <a:cubicBezTo>
                    <a:pt x="839" y="651"/>
                    <a:pt x="828" y="639"/>
                    <a:pt x="826" y="651"/>
                  </a:cubicBezTo>
                  <a:cubicBezTo>
                    <a:pt x="825" y="654"/>
                    <a:pt x="833" y="652"/>
                    <a:pt x="834" y="653"/>
                  </a:cubicBezTo>
                  <a:close/>
                  <a:moveTo>
                    <a:pt x="706" y="802"/>
                  </a:move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lose/>
                  <a:moveTo>
                    <a:pt x="856" y="606"/>
                  </a:moveTo>
                  <a:cubicBezTo>
                    <a:pt x="875" y="600"/>
                    <a:pt x="840" y="596"/>
                    <a:pt x="846" y="608"/>
                  </a:cubicBezTo>
                  <a:cubicBezTo>
                    <a:pt x="846" y="609"/>
                    <a:pt x="855" y="606"/>
                    <a:pt x="856" y="606"/>
                  </a:cubicBezTo>
                  <a:close/>
                  <a:moveTo>
                    <a:pt x="849" y="466"/>
                  </a:moveTo>
                  <a:cubicBezTo>
                    <a:pt x="856" y="456"/>
                    <a:pt x="824" y="455"/>
                    <a:pt x="833" y="462"/>
                  </a:cubicBezTo>
                  <a:cubicBezTo>
                    <a:pt x="835" y="464"/>
                    <a:pt x="840" y="467"/>
                    <a:pt x="843" y="469"/>
                  </a:cubicBezTo>
                  <a:cubicBezTo>
                    <a:pt x="843" y="469"/>
                    <a:pt x="843" y="469"/>
                    <a:pt x="843" y="469"/>
                  </a:cubicBezTo>
                  <a:cubicBezTo>
                    <a:pt x="846" y="469"/>
                    <a:pt x="847" y="469"/>
                    <a:pt x="849" y="466"/>
                  </a:cubicBezTo>
                  <a:close/>
                  <a:moveTo>
                    <a:pt x="726" y="818"/>
                  </a:moveTo>
                  <a:cubicBezTo>
                    <a:pt x="727" y="817"/>
                    <a:pt x="727" y="817"/>
                    <a:pt x="727" y="817"/>
                  </a:cubicBezTo>
                  <a:cubicBezTo>
                    <a:pt x="729" y="816"/>
                    <a:pt x="729" y="815"/>
                    <a:pt x="727" y="814"/>
                  </a:cubicBezTo>
                  <a:cubicBezTo>
                    <a:pt x="718" y="812"/>
                    <a:pt x="711" y="823"/>
                    <a:pt x="703" y="822"/>
                  </a:cubicBezTo>
                  <a:cubicBezTo>
                    <a:pt x="699" y="822"/>
                    <a:pt x="709" y="815"/>
                    <a:pt x="705" y="815"/>
                  </a:cubicBezTo>
                  <a:cubicBezTo>
                    <a:pt x="696" y="814"/>
                    <a:pt x="691" y="821"/>
                    <a:pt x="688" y="827"/>
                  </a:cubicBezTo>
                  <a:cubicBezTo>
                    <a:pt x="687" y="829"/>
                    <a:pt x="680" y="831"/>
                    <a:pt x="681" y="835"/>
                  </a:cubicBezTo>
                  <a:cubicBezTo>
                    <a:pt x="681" y="835"/>
                    <a:pt x="692" y="832"/>
                    <a:pt x="691" y="835"/>
                  </a:cubicBezTo>
                  <a:cubicBezTo>
                    <a:pt x="689" y="840"/>
                    <a:pt x="711" y="822"/>
                    <a:pt x="726" y="818"/>
                  </a:cubicBezTo>
                  <a:close/>
                  <a:moveTo>
                    <a:pt x="1057" y="363"/>
                  </a:moveTo>
                  <a:cubicBezTo>
                    <a:pt x="1062" y="355"/>
                    <a:pt x="1043" y="357"/>
                    <a:pt x="1037" y="353"/>
                  </a:cubicBezTo>
                  <a:cubicBezTo>
                    <a:pt x="1024" y="344"/>
                    <a:pt x="1033" y="366"/>
                    <a:pt x="1050" y="369"/>
                  </a:cubicBezTo>
                  <a:cubicBezTo>
                    <a:pt x="1050" y="369"/>
                    <a:pt x="1050" y="369"/>
                    <a:pt x="1050" y="369"/>
                  </a:cubicBezTo>
                  <a:cubicBezTo>
                    <a:pt x="1058" y="370"/>
                    <a:pt x="1055" y="367"/>
                    <a:pt x="1057" y="363"/>
                  </a:cubicBezTo>
                  <a:close/>
                  <a:moveTo>
                    <a:pt x="737" y="514"/>
                  </a:moveTo>
                  <a:cubicBezTo>
                    <a:pt x="739" y="513"/>
                    <a:pt x="739" y="519"/>
                    <a:pt x="742" y="519"/>
                  </a:cubicBezTo>
                  <a:cubicBezTo>
                    <a:pt x="746" y="519"/>
                    <a:pt x="752" y="515"/>
                    <a:pt x="748" y="508"/>
                  </a:cubicBezTo>
                  <a:cubicBezTo>
                    <a:pt x="748" y="508"/>
                    <a:pt x="748" y="508"/>
                    <a:pt x="748" y="508"/>
                  </a:cubicBezTo>
                  <a:cubicBezTo>
                    <a:pt x="747" y="500"/>
                    <a:pt x="744" y="510"/>
                    <a:pt x="743" y="504"/>
                  </a:cubicBezTo>
                  <a:cubicBezTo>
                    <a:pt x="743" y="501"/>
                    <a:pt x="747" y="500"/>
                    <a:pt x="749" y="497"/>
                  </a:cubicBezTo>
                  <a:cubicBezTo>
                    <a:pt x="750" y="496"/>
                    <a:pt x="743" y="487"/>
                    <a:pt x="742" y="495"/>
                  </a:cubicBezTo>
                  <a:cubicBezTo>
                    <a:pt x="742" y="496"/>
                    <a:pt x="742" y="496"/>
                    <a:pt x="742" y="496"/>
                  </a:cubicBezTo>
                  <a:cubicBezTo>
                    <a:pt x="742" y="496"/>
                    <a:pt x="741" y="498"/>
                    <a:pt x="741" y="498"/>
                  </a:cubicBezTo>
                  <a:cubicBezTo>
                    <a:pt x="734" y="506"/>
                    <a:pt x="716" y="536"/>
                    <a:pt x="718" y="538"/>
                  </a:cubicBezTo>
                  <a:cubicBezTo>
                    <a:pt x="722" y="543"/>
                    <a:pt x="726" y="532"/>
                    <a:pt x="728" y="531"/>
                  </a:cubicBezTo>
                  <a:cubicBezTo>
                    <a:pt x="750" y="523"/>
                    <a:pt x="730" y="519"/>
                    <a:pt x="737" y="514"/>
                  </a:cubicBezTo>
                  <a:close/>
                  <a:moveTo>
                    <a:pt x="762" y="508"/>
                  </a:moveTo>
                  <a:cubicBezTo>
                    <a:pt x="763" y="508"/>
                    <a:pt x="763" y="508"/>
                    <a:pt x="763" y="508"/>
                  </a:cubicBezTo>
                  <a:cubicBezTo>
                    <a:pt x="789" y="481"/>
                    <a:pt x="763" y="481"/>
                    <a:pt x="762" y="488"/>
                  </a:cubicBezTo>
                  <a:cubicBezTo>
                    <a:pt x="762" y="491"/>
                    <a:pt x="768" y="492"/>
                    <a:pt x="766" y="496"/>
                  </a:cubicBezTo>
                  <a:cubicBezTo>
                    <a:pt x="764" y="499"/>
                    <a:pt x="754" y="490"/>
                    <a:pt x="752" y="504"/>
                  </a:cubicBezTo>
                  <a:cubicBezTo>
                    <a:pt x="751" y="512"/>
                    <a:pt x="756" y="502"/>
                    <a:pt x="756" y="502"/>
                  </a:cubicBezTo>
                  <a:cubicBezTo>
                    <a:pt x="760" y="504"/>
                    <a:pt x="754" y="514"/>
                    <a:pt x="762" y="508"/>
                  </a:cubicBezTo>
                  <a:close/>
                  <a:moveTo>
                    <a:pt x="993" y="343"/>
                  </a:moveTo>
                  <a:cubicBezTo>
                    <a:pt x="993" y="335"/>
                    <a:pt x="1032" y="313"/>
                    <a:pt x="1016" y="301"/>
                  </a:cubicBezTo>
                  <a:cubicBezTo>
                    <a:pt x="1015" y="300"/>
                    <a:pt x="1014" y="301"/>
                    <a:pt x="1013" y="302"/>
                  </a:cubicBezTo>
                  <a:cubicBezTo>
                    <a:pt x="1009" y="304"/>
                    <a:pt x="966" y="335"/>
                    <a:pt x="966" y="335"/>
                  </a:cubicBezTo>
                  <a:cubicBezTo>
                    <a:pt x="961" y="345"/>
                    <a:pt x="957" y="356"/>
                    <a:pt x="953" y="364"/>
                  </a:cubicBezTo>
                  <a:cubicBezTo>
                    <a:pt x="953" y="365"/>
                    <a:pt x="953" y="365"/>
                    <a:pt x="953" y="365"/>
                  </a:cubicBezTo>
                  <a:cubicBezTo>
                    <a:pt x="950" y="374"/>
                    <a:pt x="962" y="366"/>
                    <a:pt x="964" y="361"/>
                  </a:cubicBezTo>
                  <a:cubicBezTo>
                    <a:pt x="966" y="357"/>
                    <a:pt x="965" y="351"/>
                    <a:pt x="965" y="351"/>
                  </a:cubicBezTo>
                  <a:cubicBezTo>
                    <a:pt x="965" y="351"/>
                    <a:pt x="993" y="356"/>
                    <a:pt x="993" y="343"/>
                  </a:cubicBezTo>
                  <a:close/>
                  <a:moveTo>
                    <a:pt x="916" y="464"/>
                  </a:moveTo>
                  <a:cubicBezTo>
                    <a:pt x="913" y="458"/>
                    <a:pt x="902" y="466"/>
                    <a:pt x="905" y="471"/>
                  </a:cubicBezTo>
                  <a:cubicBezTo>
                    <a:pt x="908" y="476"/>
                    <a:pt x="912" y="471"/>
                    <a:pt x="914" y="467"/>
                  </a:cubicBezTo>
                  <a:cubicBezTo>
                    <a:pt x="914" y="467"/>
                    <a:pt x="914" y="467"/>
                    <a:pt x="914" y="467"/>
                  </a:cubicBezTo>
                  <a:cubicBezTo>
                    <a:pt x="915" y="466"/>
                    <a:pt x="915" y="465"/>
                    <a:pt x="916" y="464"/>
                  </a:cubicBezTo>
                  <a:close/>
                  <a:moveTo>
                    <a:pt x="916" y="465"/>
                  </a:moveTo>
                  <a:cubicBezTo>
                    <a:pt x="916" y="464"/>
                    <a:pt x="916" y="464"/>
                    <a:pt x="916" y="464"/>
                  </a:cubicBezTo>
                  <a:cubicBezTo>
                    <a:pt x="915" y="465"/>
                    <a:pt x="915" y="466"/>
                    <a:pt x="914" y="467"/>
                  </a:cubicBezTo>
                  <a:cubicBezTo>
                    <a:pt x="914" y="467"/>
                    <a:pt x="914" y="467"/>
                    <a:pt x="914" y="467"/>
                  </a:cubicBezTo>
                  <a:cubicBezTo>
                    <a:pt x="915" y="466"/>
                    <a:pt x="916" y="465"/>
                    <a:pt x="916" y="465"/>
                  </a:cubicBezTo>
                  <a:close/>
                  <a:moveTo>
                    <a:pt x="1812" y="28"/>
                  </a:moveTo>
                  <a:cubicBezTo>
                    <a:pt x="1813" y="28"/>
                    <a:pt x="1813" y="28"/>
                    <a:pt x="1813" y="28"/>
                  </a:cubicBezTo>
                  <a:cubicBezTo>
                    <a:pt x="1829" y="21"/>
                    <a:pt x="1799" y="18"/>
                    <a:pt x="1812" y="28"/>
                  </a:cubicBezTo>
                  <a:close/>
                  <a:moveTo>
                    <a:pt x="1775" y="26"/>
                  </a:moveTo>
                  <a:cubicBezTo>
                    <a:pt x="1774" y="30"/>
                    <a:pt x="1786" y="30"/>
                    <a:pt x="1788" y="30"/>
                  </a:cubicBezTo>
                  <a:cubicBezTo>
                    <a:pt x="1789" y="30"/>
                    <a:pt x="1789" y="30"/>
                    <a:pt x="1789" y="30"/>
                  </a:cubicBezTo>
                  <a:cubicBezTo>
                    <a:pt x="1797" y="29"/>
                    <a:pt x="1775" y="24"/>
                    <a:pt x="1775" y="26"/>
                  </a:cubicBezTo>
                  <a:close/>
                  <a:moveTo>
                    <a:pt x="1792" y="24"/>
                  </a:moveTo>
                  <a:cubicBezTo>
                    <a:pt x="1805" y="23"/>
                    <a:pt x="1796" y="4"/>
                    <a:pt x="1788" y="11"/>
                  </a:cubicBezTo>
                  <a:cubicBezTo>
                    <a:pt x="1786" y="14"/>
                    <a:pt x="1795" y="15"/>
                    <a:pt x="1792" y="17"/>
                  </a:cubicBezTo>
                  <a:cubicBezTo>
                    <a:pt x="1789" y="19"/>
                    <a:pt x="1770" y="17"/>
                    <a:pt x="1792" y="24"/>
                  </a:cubicBezTo>
                  <a:close/>
                  <a:moveTo>
                    <a:pt x="838" y="469"/>
                  </a:moveTo>
                  <a:cubicBezTo>
                    <a:pt x="830" y="463"/>
                    <a:pt x="830" y="471"/>
                    <a:pt x="824" y="471"/>
                  </a:cubicBezTo>
                  <a:cubicBezTo>
                    <a:pt x="816" y="469"/>
                    <a:pt x="787" y="455"/>
                    <a:pt x="783" y="471"/>
                  </a:cubicBezTo>
                  <a:cubicBezTo>
                    <a:pt x="783" y="472"/>
                    <a:pt x="791" y="472"/>
                    <a:pt x="792" y="473"/>
                  </a:cubicBezTo>
                  <a:cubicBezTo>
                    <a:pt x="794" y="478"/>
                    <a:pt x="775" y="472"/>
                    <a:pt x="782" y="483"/>
                  </a:cubicBezTo>
                  <a:cubicBezTo>
                    <a:pt x="783" y="484"/>
                    <a:pt x="781" y="486"/>
                    <a:pt x="781" y="487"/>
                  </a:cubicBezTo>
                  <a:cubicBezTo>
                    <a:pt x="781" y="487"/>
                    <a:pt x="781" y="487"/>
                    <a:pt x="781" y="487"/>
                  </a:cubicBezTo>
                  <a:cubicBezTo>
                    <a:pt x="785" y="488"/>
                    <a:pt x="782" y="484"/>
                    <a:pt x="785" y="486"/>
                  </a:cubicBezTo>
                  <a:cubicBezTo>
                    <a:pt x="788" y="488"/>
                    <a:pt x="772" y="493"/>
                    <a:pt x="781" y="501"/>
                  </a:cubicBezTo>
                  <a:cubicBezTo>
                    <a:pt x="782" y="502"/>
                    <a:pt x="782" y="502"/>
                    <a:pt x="782" y="502"/>
                  </a:cubicBezTo>
                  <a:cubicBezTo>
                    <a:pt x="791" y="502"/>
                    <a:pt x="783" y="488"/>
                    <a:pt x="791" y="490"/>
                  </a:cubicBezTo>
                  <a:cubicBezTo>
                    <a:pt x="791" y="490"/>
                    <a:pt x="794" y="493"/>
                    <a:pt x="794" y="493"/>
                  </a:cubicBezTo>
                  <a:cubicBezTo>
                    <a:pt x="793" y="496"/>
                    <a:pt x="797" y="500"/>
                    <a:pt x="800" y="497"/>
                  </a:cubicBezTo>
                  <a:cubicBezTo>
                    <a:pt x="802" y="496"/>
                    <a:pt x="798" y="489"/>
                    <a:pt x="802" y="489"/>
                  </a:cubicBezTo>
                  <a:cubicBezTo>
                    <a:pt x="803" y="488"/>
                    <a:pt x="813" y="498"/>
                    <a:pt x="813" y="489"/>
                  </a:cubicBezTo>
                  <a:cubicBezTo>
                    <a:pt x="813" y="486"/>
                    <a:pt x="806" y="484"/>
                    <a:pt x="806" y="484"/>
                  </a:cubicBezTo>
                  <a:cubicBezTo>
                    <a:pt x="807" y="484"/>
                    <a:pt x="846" y="475"/>
                    <a:pt x="838" y="469"/>
                  </a:cubicBezTo>
                  <a:close/>
                  <a:moveTo>
                    <a:pt x="891" y="468"/>
                  </a:moveTo>
                  <a:cubicBezTo>
                    <a:pt x="891" y="469"/>
                    <a:pt x="908" y="462"/>
                    <a:pt x="917" y="452"/>
                  </a:cubicBezTo>
                  <a:cubicBezTo>
                    <a:pt x="918" y="450"/>
                    <a:pt x="929" y="439"/>
                    <a:pt x="929" y="438"/>
                  </a:cubicBezTo>
                  <a:cubicBezTo>
                    <a:pt x="928" y="437"/>
                    <a:pt x="920" y="439"/>
                    <a:pt x="919" y="439"/>
                  </a:cubicBezTo>
                  <a:cubicBezTo>
                    <a:pt x="916" y="442"/>
                    <a:pt x="910" y="438"/>
                    <a:pt x="906" y="441"/>
                  </a:cubicBezTo>
                  <a:cubicBezTo>
                    <a:pt x="903" y="443"/>
                    <a:pt x="907" y="449"/>
                    <a:pt x="903" y="449"/>
                  </a:cubicBezTo>
                  <a:cubicBezTo>
                    <a:pt x="902" y="450"/>
                    <a:pt x="900" y="451"/>
                    <a:pt x="899" y="452"/>
                  </a:cubicBezTo>
                  <a:cubicBezTo>
                    <a:pt x="897" y="452"/>
                    <a:pt x="896" y="453"/>
                    <a:pt x="895" y="452"/>
                  </a:cubicBezTo>
                  <a:cubicBezTo>
                    <a:pt x="894" y="452"/>
                    <a:pt x="905" y="446"/>
                    <a:pt x="896" y="441"/>
                  </a:cubicBezTo>
                  <a:cubicBezTo>
                    <a:pt x="887" y="436"/>
                    <a:pt x="892" y="447"/>
                    <a:pt x="890" y="449"/>
                  </a:cubicBezTo>
                  <a:cubicBezTo>
                    <a:pt x="887" y="451"/>
                    <a:pt x="886" y="443"/>
                    <a:pt x="886" y="442"/>
                  </a:cubicBezTo>
                  <a:cubicBezTo>
                    <a:pt x="883" y="440"/>
                    <a:pt x="879" y="443"/>
                    <a:pt x="877" y="444"/>
                  </a:cubicBezTo>
                  <a:cubicBezTo>
                    <a:pt x="875" y="445"/>
                    <a:pt x="875" y="450"/>
                    <a:pt x="874" y="449"/>
                  </a:cubicBezTo>
                  <a:cubicBezTo>
                    <a:pt x="873" y="447"/>
                    <a:pt x="861" y="449"/>
                    <a:pt x="861" y="450"/>
                  </a:cubicBezTo>
                  <a:cubicBezTo>
                    <a:pt x="860" y="452"/>
                    <a:pt x="870" y="456"/>
                    <a:pt x="871" y="459"/>
                  </a:cubicBezTo>
                  <a:cubicBezTo>
                    <a:pt x="872" y="461"/>
                    <a:pt x="867" y="457"/>
                    <a:pt x="866" y="458"/>
                  </a:cubicBezTo>
                  <a:cubicBezTo>
                    <a:pt x="858" y="468"/>
                    <a:pt x="859" y="454"/>
                    <a:pt x="855" y="458"/>
                  </a:cubicBezTo>
                  <a:cubicBezTo>
                    <a:pt x="850" y="463"/>
                    <a:pt x="855" y="464"/>
                    <a:pt x="856" y="467"/>
                  </a:cubicBezTo>
                  <a:cubicBezTo>
                    <a:pt x="856" y="469"/>
                    <a:pt x="851" y="470"/>
                    <a:pt x="853" y="470"/>
                  </a:cubicBezTo>
                  <a:cubicBezTo>
                    <a:pt x="854" y="470"/>
                    <a:pt x="858" y="470"/>
                    <a:pt x="858" y="471"/>
                  </a:cubicBezTo>
                  <a:cubicBezTo>
                    <a:pt x="858" y="471"/>
                    <a:pt x="853" y="473"/>
                    <a:pt x="852" y="473"/>
                  </a:cubicBezTo>
                  <a:cubicBezTo>
                    <a:pt x="842" y="473"/>
                    <a:pt x="848" y="478"/>
                    <a:pt x="845" y="482"/>
                  </a:cubicBezTo>
                  <a:cubicBezTo>
                    <a:pt x="844" y="484"/>
                    <a:pt x="844" y="484"/>
                    <a:pt x="844" y="484"/>
                  </a:cubicBezTo>
                  <a:cubicBezTo>
                    <a:pt x="845" y="485"/>
                    <a:pt x="887" y="473"/>
                    <a:pt x="886" y="469"/>
                  </a:cubicBezTo>
                  <a:cubicBezTo>
                    <a:pt x="885" y="464"/>
                    <a:pt x="885" y="457"/>
                    <a:pt x="890" y="456"/>
                  </a:cubicBezTo>
                  <a:cubicBezTo>
                    <a:pt x="898" y="454"/>
                    <a:pt x="889" y="467"/>
                    <a:pt x="891" y="468"/>
                  </a:cubicBezTo>
                  <a:close/>
                  <a:moveTo>
                    <a:pt x="1055" y="405"/>
                  </a:moveTo>
                  <a:cubicBezTo>
                    <a:pt x="1056" y="397"/>
                    <a:pt x="1052" y="391"/>
                    <a:pt x="1049" y="386"/>
                  </a:cubicBezTo>
                  <a:cubicBezTo>
                    <a:pt x="1048" y="384"/>
                    <a:pt x="1055" y="380"/>
                    <a:pt x="1054" y="379"/>
                  </a:cubicBezTo>
                  <a:cubicBezTo>
                    <a:pt x="1054" y="377"/>
                    <a:pt x="1047" y="381"/>
                    <a:pt x="1044" y="380"/>
                  </a:cubicBezTo>
                  <a:cubicBezTo>
                    <a:pt x="1044" y="379"/>
                    <a:pt x="1031" y="366"/>
                    <a:pt x="1027" y="366"/>
                  </a:cubicBezTo>
                  <a:cubicBezTo>
                    <a:pt x="1024" y="366"/>
                    <a:pt x="1035" y="380"/>
                    <a:pt x="1029" y="376"/>
                  </a:cubicBezTo>
                  <a:cubicBezTo>
                    <a:pt x="1026" y="375"/>
                    <a:pt x="1026" y="373"/>
                    <a:pt x="1023" y="373"/>
                  </a:cubicBezTo>
                  <a:cubicBezTo>
                    <a:pt x="1001" y="375"/>
                    <a:pt x="1023" y="386"/>
                    <a:pt x="1023" y="389"/>
                  </a:cubicBezTo>
                  <a:cubicBezTo>
                    <a:pt x="1025" y="399"/>
                    <a:pt x="1008" y="387"/>
                    <a:pt x="1008" y="398"/>
                  </a:cubicBezTo>
                  <a:cubicBezTo>
                    <a:pt x="1008" y="401"/>
                    <a:pt x="1012" y="410"/>
                    <a:pt x="1009" y="408"/>
                  </a:cubicBezTo>
                  <a:cubicBezTo>
                    <a:pt x="1007" y="407"/>
                    <a:pt x="1008" y="404"/>
                    <a:pt x="1005" y="404"/>
                  </a:cubicBezTo>
                  <a:cubicBezTo>
                    <a:pt x="998" y="402"/>
                    <a:pt x="990" y="415"/>
                    <a:pt x="988" y="420"/>
                  </a:cubicBezTo>
                  <a:cubicBezTo>
                    <a:pt x="988" y="421"/>
                    <a:pt x="982" y="426"/>
                    <a:pt x="981" y="425"/>
                  </a:cubicBezTo>
                  <a:cubicBezTo>
                    <a:pt x="976" y="418"/>
                    <a:pt x="1002" y="400"/>
                    <a:pt x="1004" y="390"/>
                  </a:cubicBezTo>
                  <a:cubicBezTo>
                    <a:pt x="1005" y="383"/>
                    <a:pt x="981" y="399"/>
                    <a:pt x="984" y="393"/>
                  </a:cubicBezTo>
                  <a:cubicBezTo>
                    <a:pt x="986" y="384"/>
                    <a:pt x="1007" y="369"/>
                    <a:pt x="997" y="357"/>
                  </a:cubicBezTo>
                  <a:cubicBezTo>
                    <a:pt x="996" y="357"/>
                    <a:pt x="995" y="356"/>
                    <a:pt x="995" y="356"/>
                  </a:cubicBezTo>
                  <a:cubicBezTo>
                    <a:pt x="982" y="353"/>
                    <a:pt x="961" y="367"/>
                    <a:pt x="965" y="375"/>
                  </a:cubicBezTo>
                  <a:cubicBezTo>
                    <a:pt x="966" y="377"/>
                    <a:pt x="973" y="379"/>
                    <a:pt x="972" y="379"/>
                  </a:cubicBezTo>
                  <a:cubicBezTo>
                    <a:pt x="968" y="383"/>
                    <a:pt x="957" y="376"/>
                    <a:pt x="956" y="384"/>
                  </a:cubicBezTo>
                  <a:cubicBezTo>
                    <a:pt x="956" y="385"/>
                    <a:pt x="956" y="387"/>
                    <a:pt x="956" y="388"/>
                  </a:cubicBezTo>
                  <a:cubicBezTo>
                    <a:pt x="956" y="389"/>
                    <a:pt x="982" y="396"/>
                    <a:pt x="979" y="398"/>
                  </a:cubicBezTo>
                  <a:cubicBezTo>
                    <a:pt x="977" y="399"/>
                    <a:pt x="961" y="391"/>
                    <a:pt x="957" y="394"/>
                  </a:cubicBezTo>
                  <a:cubicBezTo>
                    <a:pt x="946" y="403"/>
                    <a:pt x="967" y="408"/>
                    <a:pt x="968" y="410"/>
                  </a:cubicBezTo>
                  <a:cubicBezTo>
                    <a:pt x="969" y="411"/>
                    <a:pt x="973" y="411"/>
                    <a:pt x="972" y="413"/>
                  </a:cubicBezTo>
                  <a:cubicBezTo>
                    <a:pt x="972" y="413"/>
                    <a:pt x="971" y="413"/>
                    <a:pt x="971" y="413"/>
                  </a:cubicBezTo>
                  <a:cubicBezTo>
                    <a:pt x="970" y="413"/>
                    <a:pt x="970" y="413"/>
                    <a:pt x="969" y="413"/>
                  </a:cubicBezTo>
                  <a:cubicBezTo>
                    <a:pt x="960" y="413"/>
                    <a:pt x="950" y="409"/>
                    <a:pt x="953" y="416"/>
                  </a:cubicBezTo>
                  <a:cubicBezTo>
                    <a:pt x="954" y="417"/>
                    <a:pt x="956" y="421"/>
                    <a:pt x="956" y="421"/>
                  </a:cubicBezTo>
                  <a:cubicBezTo>
                    <a:pt x="950" y="422"/>
                    <a:pt x="940" y="413"/>
                    <a:pt x="935" y="420"/>
                  </a:cubicBezTo>
                  <a:cubicBezTo>
                    <a:pt x="930" y="427"/>
                    <a:pt x="949" y="430"/>
                    <a:pt x="940" y="432"/>
                  </a:cubicBezTo>
                  <a:cubicBezTo>
                    <a:pt x="933" y="433"/>
                    <a:pt x="941" y="435"/>
                    <a:pt x="945" y="435"/>
                  </a:cubicBezTo>
                  <a:cubicBezTo>
                    <a:pt x="946" y="435"/>
                    <a:pt x="948" y="435"/>
                    <a:pt x="948" y="436"/>
                  </a:cubicBezTo>
                  <a:cubicBezTo>
                    <a:pt x="947" y="437"/>
                    <a:pt x="940" y="438"/>
                    <a:pt x="939" y="438"/>
                  </a:cubicBezTo>
                  <a:cubicBezTo>
                    <a:pt x="928" y="438"/>
                    <a:pt x="921" y="456"/>
                    <a:pt x="916" y="464"/>
                  </a:cubicBezTo>
                  <a:cubicBezTo>
                    <a:pt x="916" y="464"/>
                    <a:pt x="916" y="464"/>
                    <a:pt x="916" y="465"/>
                  </a:cubicBezTo>
                  <a:cubicBezTo>
                    <a:pt x="916" y="465"/>
                    <a:pt x="916" y="465"/>
                    <a:pt x="916" y="465"/>
                  </a:cubicBezTo>
                  <a:cubicBezTo>
                    <a:pt x="916" y="465"/>
                    <a:pt x="915" y="466"/>
                    <a:pt x="914" y="467"/>
                  </a:cubicBezTo>
                  <a:cubicBezTo>
                    <a:pt x="914" y="468"/>
                    <a:pt x="914" y="468"/>
                    <a:pt x="914" y="468"/>
                  </a:cubicBezTo>
                  <a:cubicBezTo>
                    <a:pt x="914" y="470"/>
                    <a:pt x="935" y="458"/>
                    <a:pt x="936" y="455"/>
                  </a:cubicBezTo>
                  <a:cubicBezTo>
                    <a:pt x="940" y="449"/>
                    <a:pt x="946" y="447"/>
                    <a:pt x="959" y="439"/>
                  </a:cubicBezTo>
                  <a:cubicBezTo>
                    <a:pt x="962" y="437"/>
                    <a:pt x="962" y="427"/>
                    <a:pt x="965" y="428"/>
                  </a:cubicBezTo>
                  <a:cubicBezTo>
                    <a:pt x="980" y="434"/>
                    <a:pt x="942" y="451"/>
                    <a:pt x="945" y="456"/>
                  </a:cubicBezTo>
                  <a:cubicBezTo>
                    <a:pt x="946" y="457"/>
                    <a:pt x="958" y="457"/>
                    <a:pt x="960" y="456"/>
                  </a:cubicBezTo>
                  <a:cubicBezTo>
                    <a:pt x="965" y="453"/>
                    <a:pt x="970" y="465"/>
                    <a:pt x="972" y="461"/>
                  </a:cubicBezTo>
                  <a:cubicBezTo>
                    <a:pt x="974" y="458"/>
                    <a:pt x="980" y="441"/>
                    <a:pt x="983" y="441"/>
                  </a:cubicBezTo>
                  <a:cubicBezTo>
                    <a:pt x="985" y="442"/>
                    <a:pt x="983" y="447"/>
                    <a:pt x="987" y="447"/>
                  </a:cubicBezTo>
                  <a:cubicBezTo>
                    <a:pt x="988" y="447"/>
                    <a:pt x="989" y="427"/>
                    <a:pt x="994" y="438"/>
                  </a:cubicBezTo>
                  <a:cubicBezTo>
                    <a:pt x="996" y="441"/>
                    <a:pt x="991" y="448"/>
                    <a:pt x="993" y="451"/>
                  </a:cubicBezTo>
                  <a:cubicBezTo>
                    <a:pt x="999" y="459"/>
                    <a:pt x="1012" y="425"/>
                    <a:pt x="1014" y="424"/>
                  </a:cubicBezTo>
                  <a:cubicBezTo>
                    <a:pt x="1026" y="417"/>
                    <a:pt x="1053" y="430"/>
                    <a:pt x="1055" y="405"/>
                  </a:cubicBezTo>
                  <a:close/>
                  <a:moveTo>
                    <a:pt x="922" y="511"/>
                  </a:moveTo>
                  <a:cubicBezTo>
                    <a:pt x="920" y="509"/>
                    <a:pt x="919" y="511"/>
                    <a:pt x="918" y="512"/>
                  </a:cubicBezTo>
                  <a:cubicBezTo>
                    <a:pt x="905" y="524"/>
                    <a:pt x="915" y="523"/>
                    <a:pt x="935" y="521"/>
                  </a:cubicBezTo>
                  <a:cubicBezTo>
                    <a:pt x="936" y="520"/>
                    <a:pt x="936" y="520"/>
                    <a:pt x="936" y="520"/>
                  </a:cubicBezTo>
                  <a:cubicBezTo>
                    <a:pt x="947" y="517"/>
                    <a:pt x="926" y="518"/>
                    <a:pt x="922" y="511"/>
                  </a:cubicBezTo>
                  <a:close/>
                  <a:moveTo>
                    <a:pt x="934" y="513"/>
                  </a:moveTo>
                  <a:cubicBezTo>
                    <a:pt x="936" y="513"/>
                    <a:pt x="937" y="513"/>
                    <a:pt x="938" y="513"/>
                  </a:cubicBezTo>
                  <a:cubicBezTo>
                    <a:pt x="940" y="513"/>
                    <a:pt x="940" y="513"/>
                    <a:pt x="940" y="513"/>
                  </a:cubicBezTo>
                  <a:cubicBezTo>
                    <a:pt x="952" y="504"/>
                    <a:pt x="912" y="511"/>
                    <a:pt x="934" y="513"/>
                  </a:cubicBezTo>
                  <a:close/>
                  <a:moveTo>
                    <a:pt x="562" y="1026"/>
                  </a:moveTo>
                  <a:cubicBezTo>
                    <a:pt x="561" y="1036"/>
                    <a:pt x="572" y="1029"/>
                    <a:pt x="577" y="1032"/>
                  </a:cubicBezTo>
                  <a:cubicBezTo>
                    <a:pt x="584" y="1037"/>
                    <a:pt x="570" y="1032"/>
                    <a:pt x="570" y="1037"/>
                  </a:cubicBezTo>
                  <a:cubicBezTo>
                    <a:pt x="570" y="1043"/>
                    <a:pt x="588" y="1048"/>
                    <a:pt x="592" y="1048"/>
                  </a:cubicBezTo>
                  <a:cubicBezTo>
                    <a:pt x="594" y="1048"/>
                    <a:pt x="595" y="1050"/>
                    <a:pt x="596" y="1049"/>
                  </a:cubicBezTo>
                  <a:cubicBezTo>
                    <a:pt x="597" y="1048"/>
                    <a:pt x="598" y="1045"/>
                    <a:pt x="599" y="1043"/>
                  </a:cubicBezTo>
                  <a:cubicBezTo>
                    <a:pt x="599" y="1043"/>
                    <a:pt x="599" y="1043"/>
                    <a:pt x="599" y="1043"/>
                  </a:cubicBezTo>
                  <a:cubicBezTo>
                    <a:pt x="603" y="1038"/>
                    <a:pt x="585" y="1040"/>
                    <a:pt x="585" y="1039"/>
                  </a:cubicBezTo>
                  <a:cubicBezTo>
                    <a:pt x="584" y="1039"/>
                    <a:pt x="564" y="1013"/>
                    <a:pt x="562" y="1026"/>
                  </a:cubicBezTo>
                  <a:close/>
                  <a:moveTo>
                    <a:pt x="95" y="1822"/>
                  </a:moveTo>
                  <a:cubicBezTo>
                    <a:pt x="90" y="1820"/>
                    <a:pt x="87" y="1835"/>
                    <a:pt x="98" y="1825"/>
                  </a:cubicBezTo>
                  <a:cubicBezTo>
                    <a:pt x="100" y="1823"/>
                    <a:pt x="94" y="1824"/>
                    <a:pt x="95" y="1822"/>
                  </a:cubicBezTo>
                  <a:close/>
                  <a:moveTo>
                    <a:pt x="594" y="1029"/>
                  </a:moveTo>
                  <a:cubicBezTo>
                    <a:pt x="593" y="1029"/>
                    <a:pt x="590" y="1037"/>
                    <a:pt x="600" y="1038"/>
                  </a:cubicBezTo>
                  <a:cubicBezTo>
                    <a:pt x="600" y="1038"/>
                    <a:pt x="600" y="1038"/>
                    <a:pt x="600" y="1038"/>
                  </a:cubicBezTo>
                  <a:cubicBezTo>
                    <a:pt x="606" y="1039"/>
                    <a:pt x="594" y="1029"/>
                    <a:pt x="594" y="1029"/>
                  </a:cubicBezTo>
                  <a:close/>
                  <a:moveTo>
                    <a:pt x="560" y="1158"/>
                  </a:moveTo>
                  <a:cubicBezTo>
                    <a:pt x="563" y="1163"/>
                    <a:pt x="573" y="1152"/>
                    <a:pt x="579" y="1150"/>
                  </a:cubicBezTo>
                  <a:cubicBezTo>
                    <a:pt x="579" y="1150"/>
                    <a:pt x="579" y="1150"/>
                    <a:pt x="579" y="1150"/>
                  </a:cubicBezTo>
                  <a:cubicBezTo>
                    <a:pt x="581" y="1147"/>
                    <a:pt x="556" y="1149"/>
                    <a:pt x="560" y="1158"/>
                  </a:cubicBezTo>
                  <a:close/>
                  <a:moveTo>
                    <a:pt x="21" y="1510"/>
                  </a:moveTo>
                  <a:cubicBezTo>
                    <a:pt x="21" y="1510"/>
                    <a:pt x="21" y="1510"/>
                    <a:pt x="21" y="1510"/>
                  </a:cubicBezTo>
                  <a:cubicBezTo>
                    <a:pt x="19" y="1507"/>
                    <a:pt x="14" y="1506"/>
                    <a:pt x="13" y="1508"/>
                  </a:cubicBezTo>
                  <a:cubicBezTo>
                    <a:pt x="8" y="1515"/>
                    <a:pt x="21" y="1521"/>
                    <a:pt x="21" y="1510"/>
                  </a:cubicBezTo>
                  <a:close/>
                  <a:moveTo>
                    <a:pt x="85" y="1609"/>
                  </a:moveTo>
                  <a:cubicBezTo>
                    <a:pt x="85" y="1609"/>
                    <a:pt x="85" y="1609"/>
                    <a:pt x="85" y="1609"/>
                  </a:cubicBezTo>
                  <a:cubicBezTo>
                    <a:pt x="82" y="1605"/>
                    <a:pt x="74" y="1615"/>
                    <a:pt x="70" y="1621"/>
                  </a:cubicBezTo>
                  <a:cubicBezTo>
                    <a:pt x="67" y="1624"/>
                    <a:pt x="53" y="1625"/>
                    <a:pt x="55" y="1628"/>
                  </a:cubicBezTo>
                  <a:cubicBezTo>
                    <a:pt x="61" y="1642"/>
                    <a:pt x="89" y="1657"/>
                    <a:pt x="85" y="1609"/>
                  </a:cubicBezTo>
                  <a:close/>
                  <a:moveTo>
                    <a:pt x="104" y="1827"/>
                  </a:moveTo>
                  <a:cubicBezTo>
                    <a:pt x="104" y="1827"/>
                    <a:pt x="104" y="1827"/>
                    <a:pt x="104" y="1827"/>
                  </a:cubicBezTo>
                  <a:cubicBezTo>
                    <a:pt x="104" y="1826"/>
                    <a:pt x="103" y="1827"/>
                    <a:pt x="103" y="1827"/>
                  </a:cubicBezTo>
                  <a:cubicBezTo>
                    <a:pt x="94" y="1833"/>
                    <a:pt x="108" y="1835"/>
                    <a:pt x="104" y="1827"/>
                  </a:cubicBezTo>
                  <a:close/>
                  <a:moveTo>
                    <a:pt x="105" y="1816"/>
                  </a:moveTo>
                  <a:cubicBezTo>
                    <a:pt x="109" y="1819"/>
                    <a:pt x="124" y="1813"/>
                    <a:pt x="116" y="1808"/>
                  </a:cubicBezTo>
                  <a:cubicBezTo>
                    <a:pt x="116" y="1808"/>
                    <a:pt x="116" y="1808"/>
                    <a:pt x="116" y="1808"/>
                  </a:cubicBezTo>
                  <a:cubicBezTo>
                    <a:pt x="111" y="1806"/>
                    <a:pt x="99" y="1813"/>
                    <a:pt x="105" y="1816"/>
                  </a:cubicBezTo>
                  <a:close/>
                  <a:moveTo>
                    <a:pt x="111" y="1683"/>
                  </a:moveTo>
                  <a:cubicBezTo>
                    <a:pt x="110" y="1683"/>
                    <a:pt x="110" y="1683"/>
                    <a:pt x="110" y="1683"/>
                  </a:cubicBezTo>
                  <a:cubicBezTo>
                    <a:pt x="106" y="1684"/>
                    <a:pt x="104" y="1688"/>
                    <a:pt x="106" y="1691"/>
                  </a:cubicBezTo>
                  <a:cubicBezTo>
                    <a:pt x="111" y="1701"/>
                    <a:pt x="119" y="1683"/>
                    <a:pt x="111" y="1683"/>
                  </a:cubicBezTo>
                  <a:close/>
                  <a:moveTo>
                    <a:pt x="578" y="1019"/>
                  </a:moveTo>
                  <a:cubicBezTo>
                    <a:pt x="568" y="1022"/>
                    <a:pt x="596" y="1037"/>
                    <a:pt x="590" y="1022"/>
                  </a:cubicBezTo>
                  <a:cubicBezTo>
                    <a:pt x="590" y="1021"/>
                    <a:pt x="590" y="1021"/>
                    <a:pt x="590" y="1021"/>
                  </a:cubicBezTo>
                  <a:cubicBezTo>
                    <a:pt x="587" y="1017"/>
                    <a:pt x="582" y="1017"/>
                    <a:pt x="578" y="1019"/>
                  </a:cubicBezTo>
                  <a:close/>
                  <a:moveTo>
                    <a:pt x="1836" y="147"/>
                  </a:moveTo>
                  <a:cubicBezTo>
                    <a:pt x="1836" y="148"/>
                    <a:pt x="1836" y="148"/>
                    <a:pt x="1836" y="148"/>
                  </a:cubicBezTo>
                  <a:cubicBezTo>
                    <a:pt x="1843" y="157"/>
                    <a:pt x="1841" y="130"/>
                    <a:pt x="1836" y="147"/>
                  </a:cubicBezTo>
                  <a:close/>
                  <a:moveTo>
                    <a:pt x="11" y="1553"/>
                  </a:moveTo>
                  <a:cubicBezTo>
                    <a:pt x="11" y="1553"/>
                    <a:pt x="11" y="1553"/>
                    <a:pt x="11" y="1553"/>
                  </a:cubicBez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1" y="1552"/>
                    <a:pt x="11" y="1553"/>
                  </a:cubicBezTo>
                  <a:close/>
                  <a:moveTo>
                    <a:pt x="8" y="1552"/>
                  </a:moveTo>
                  <a:cubicBezTo>
                    <a:pt x="8" y="1550"/>
                    <a:pt x="10" y="1553"/>
                    <a:pt x="12" y="1554"/>
                  </a:cubicBezTo>
                  <a:cubicBezTo>
                    <a:pt x="12" y="1554"/>
                    <a:pt x="12" y="1554"/>
                    <a:pt x="11" y="1553"/>
                  </a:cubicBezTo>
                  <a:cubicBezTo>
                    <a:pt x="11" y="1553"/>
                    <a:pt x="11" y="1553"/>
                    <a:pt x="11" y="1553"/>
                  </a:cubicBezTo>
                  <a:cubicBezTo>
                    <a:pt x="11" y="1552"/>
                    <a:pt x="12" y="1554"/>
                    <a:pt x="12" y="1554"/>
                  </a:cubicBezTo>
                  <a:cubicBezTo>
                    <a:pt x="14" y="1555"/>
                    <a:pt x="15" y="1555"/>
                    <a:pt x="15" y="1555"/>
                  </a:cubicBezTo>
                  <a:cubicBezTo>
                    <a:pt x="22" y="1548"/>
                    <a:pt x="23" y="1546"/>
                    <a:pt x="20" y="1536"/>
                  </a:cubicBezTo>
                  <a:cubicBezTo>
                    <a:pt x="20" y="1536"/>
                    <a:pt x="20" y="1536"/>
                    <a:pt x="20" y="1536"/>
                  </a:cubicBezTo>
                  <a:cubicBezTo>
                    <a:pt x="18" y="1535"/>
                    <a:pt x="16" y="1536"/>
                    <a:pt x="15" y="1538"/>
                  </a:cubicBezTo>
                  <a:cubicBezTo>
                    <a:pt x="15" y="1539"/>
                    <a:pt x="16" y="1541"/>
                    <a:pt x="15" y="1542"/>
                  </a:cubicBezTo>
                  <a:cubicBezTo>
                    <a:pt x="15" y="1542"/>
                    <a:pt x="16" y="1542"/>
                    <a:pt x="15" y="1543"/>
                  </a:cubicBezTo>
                  <a:cubicBezTo>
                    <a:pt x="14" y="1543"/>
                    <a:pt x="13" y="1536"/>
                    <a:pt x="13" y="1535"/>
                  </a:cubicBezTo>
                  <a:cubicBezTo>
                    <a:pt x="13" y="1531"/>
                    <a:pt x="11" y="1536"/>
                    <a:pt x="13" y="1541"/>
                  </a:cubicBezTo>
                  <a:cubicBezTo>
                    <a:pt x="14" y="1545"/>
                    <a:pt x="12" y="1545"/>
                    <a:pt x="10" y="1542"/>
                  </a:cubicBezTo>
                  <a:cubicBezTo>
                    <a:pt x="3" y="1529"/>
                    <a:pt x="6" y="1561"/>
                    <a:pt x="8" y="1552"/>
                  </a:cubicBezTo>
                  <a:close/>
                  <a:moveTo>
                    <a:pt x="113" y="1370"/>
                  </a:moveTo>
                  <a:cubicBezTo>
                    <a:pt x="113" y="1370"/>
                    <a:pt x="113" y="1370"/>
                    <a:pt x="113" y="1370"/>
                  </a:cubicBezTo>
                  <a:cubicBezTo>
                    <a:pt x="121" y="1364"/>
                    <a:pt x="108" y="1349"/>
                    <a:pt x="100" y="1356"/>
                  </a:cubicBezTo>
                  <a:cubicBezTo>
                    <a:pt x="95" y="1360"/>
                    <a:pt x="90" y="1394"/>
                    <a:pt x="113" y="1370"/>
                  </a:cubicBezTo>
                  <a:close/>
                  <a:moveTo>
                    <a:pt x="994" y="511"/>
                  </a:moveTo>
                  <a:cubicBezTo>
                    <a:pt x="995" y="510"/>
                    <a:pt x="995" y="510"/>
                    <a:pt x="995" y="510"/>
                  </a:cubicBezTo>
                  <a:cubicBezTo>
                    <a:pt x="998" y="509"/>
                    <a:pt x="960" y="500"/>
                    <a:pt x="960" y="512"/>
                  </a:cubicBezTo>
                  <a:cubicBezTo>
                    <a:pt x="960" y="513"/>
                    <a:pt x="969" y="513"/>
                    <a:pt x="970" y="513"/>
                  </a:cubicBezTo>
                  <a:cubicBezTo>
                    <a:pt x="978" y="514"/>
                    <a:pt x="985" y="512"/>
                    <a:pt x="994" y="511"/>
                  </a:cubicBezTo>
                  <a:close/>
                  <a:moveTo>
                    <a:pt x="2256" y="222"/>
                  </a:moveTo>
                  <a:cubicBezTo>
                    <a:pt x="2258" y="221"/>
                    <a:pt x="2268" y="219"/>
                    <a:pt x="2268" y="217"/>
                  </a:cubicBezTo>
                  <a:cubicBezTo>
                    <a:pt x="2269" y="212"/>
                    <a:pt x="2257" y="211"/>
                    <a:pt x="2259" y="207"/>
                  </a:cubicBezTo>
                  <a:cubicBezTo>
                    <a:pt x="2258" y="207"/>
                    <a:pt x="2258" y="207"/>
                    <a:pt x="2258" y="207"/>
                  </a:cubicBezTo>
                  <a:cubicBezTo>
                    <a:pt x="2237" y="197"/>
                    <a:pt x="2247" y="214"/>
                    <a:pt x="2237" y="222"/>
                  </a:cubicBezTo>
                  <a:cubicBezTo>
                    <a:pt x="2234" y="224"/>
                    <a:pt x="2231" y="227"/>
                    <a:pt x="2236" y="228"/>
                  </a:cubicBezTo>
                  <a:cubicBezTo>
                    <a:pt x="2238" y="228"/>
                    <a:pt x="2245" y="229"/>
                    <a:pt x="2245" y="226"/>
                  </a:cubicBezTo>
                  <a:cubicBezTo>
                    <a:pt x="2244" y="220"/>
                    <a:pt x="2248" y="226"/>
                    <a:pt x="2256" y="222"/>
                  </a:cubicBezTo>
                  <a:close/>
                  <a:moveTo>
                    <a:pt x="743" y="757"/>
                  </a:moveTo>
                  <a:cubicBezTo>
                    <a:pt x="743" y="758"/>
                    <a:pt x="743" y="758"/>
                    <a:pt x="743" y="758"/>
                  </a:cubicBezTo>
                  <a:cubicBezTo>
                    <a:pt x="758" y="762"/>
                    <a:pt x="747" y="737"/>
                    <a:pt x="743" y="757"/>
                  </a:cubicBezTo>
                  <a:close/>
                  <a:moveTo>
                    <a:pt x="12" y="1554"/>
                  </a:move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2" y="1554"/>
                    <a:pt x="12" y="1554"/>
                  </a:cubicBezTo>
                  <a:close/>
                  <a:moveTo>
                    <a:pt x="1354" y="182"/>
                  </a:moveTo>
                  <a:cubicBezTo>
                    <a:pt x="1364" y="185"/>
                    <a:pt x="1362" y="176"/>
                    <a:pt x="1368" y="175"/>
                  </a:cubicBezTo>
                  <a:cubicBezTo>
                    <a:pt x="1384" y="172"/>
                    <a:pt x="1363" y="171"/>
                    <a:pt x="1357" y="167"/>
                  </a:cubicBezTo>
                  <a:cubicBezTo>
                    <a:pt x="1356" y="166"/>
                    <a:pt x="1354" y="153"/>
                    <a:pt x="1350" y="157"/>
                  </a:cubicBezTo>
                  <a:cubicBezTo>
                    <a:pt x="1348" y="159"/>
                    <a:pt x="1349" y="166"/>
                    <a:pt x="1344" y="164"/>
                  </a:cubicBezTo>
                  <a:cubicBezTo>
                    <a:pt x="1341" y="162"/>
                    <a:pt x="1344" y="156"/>
                    <a:pt x="1338" y="154"/>
                  </a:cubicBezTo>
                  <a:cubicBezTo>
                    <a:pt x="1335" y="153"/>
                    <a:pt x="1335" y="145"/>
                    <a:pt x="1332" y="145"/>
                  </a:cubicBezTo>
                  <a:cubicBezTo>
                    <a:pt x="1311" y="145"/>
                    <a:pt x="1340" y="179"/>
                    <a:pt x="1353" y="182"/>
                  </a:cubicBezTo>
                  <a:lnTo>
                    <a:pt x="1354" y="182"/>
                  </a:lnTo>
                  <a:close/>
                  <a:moveTo>
                    <a:pt x="14" y="1441"/>
                  </a:moveTo>
                  <a:cubicBezTo>
                    <a:pt x="17" y="1442"/>
                    <a:pt x="10" y="1453"/>
                    <a:pt x="24" y="1447"/>
                  </a:cubicBezTo>
                  <a:cubicBezTo>
                    <a:pt x="26" y="1447"/>
                    <a:pt x="40" y="1436"/>
                    <a:pt x="36" y="1441"/>
                  </a:cubicBezTo>
                  <a:cubicBezTo>
                    <a:pt x="33" y="1444"/>
                    <a:pt x="44" y="1441"/>
                    <a:pt x="44" y="1439"/>
                  </a:cubicBezTo>
                  <a:cubicBezTo>
                    <a:pt x="43" y="1438"/>
                    <a:pt x="43" y="1438"/>
                    <a:pt x="43" y="1438"/>
                  </a:cubicBezTo>
                  <a:cubicBezTo>
                    <a:pt x="34" y="1431"/>
                    <a:pt x="18" y="1432"/>
                    <a:pt x="11" y="1436"/>
                  </a:cubicBezTo>
                  <a:cubicBezTo>
                    <a:pt x="10" y="1436"/>
                    <a:pt x="5" y="1439"/>
                    <a:pt x="7" y="1440"/>
                  </a:cubicBezTo>
                  <a:cubicBezTo>
                    <a:pt x="8" y="1441"/>
                    <a:pt x="12" y="1440"/>
                    <a:pt x="14" y="1441"/>
                  </a:cubicBezTo>
                  <a:close/>
                  <a:moveTo>
                    <a:pt x="27" y="1421"/>
                  </a:moveTo>
                  <a:cubicBezTo>
                    <a:pt x="29" y="1423"/>
                    <a:pt x="23" y="1432"/>
                    <a:pt x="34" y="1419"/>
                  </a:cubicBezTo>
                  <a:cubicBezTo>
                    <a:pt x="34" y="1418"/>
                    <a:pt x="34" y="1418"/>
                    <a:pt x="34" y="1418"/>
                  </a:cubicBezTo>
                  <a:cubicBezTo>
                    <a:pt x="36" y="1416"/>
                    <a:pt x="24" y="1410"/>
                    <a:pt x="20" y="1411"/>
                  </a:cubicBezTo>
                  <a:cubicBezTo>
                    <a:pt x="17" y="1413"/>
                    <a:pt x="25" y="1418"/>
                    <a:pt x="27" y="1421"/>
                  </a:cubicBezTo>
                  <a:close/>
                  <a:moveTo>
                    <a:pt x="96" y="1377"/>
                  </a:moveTo>
                  <a:cubicBezTo>
                    <a:pt x="96" y="1377"/>
                    <a:pt x="96" y="1377"/>
                    <a:pt x="96" y="1377"/>
                  </a:cubicBezTo>
                  <a:cubicBezTo>
                    <a:pt x="96" y="1377"/>
                    <a:pt x="86" y="1373"/>
                    <a:pt x="84" y="1373"/>
                  </a:cubicBezTo>
                  <a:cubicBezTo>
                    <a:pt x="80" y="1375"/>
                    <a:pt x="67" y="1376"/>
                    <a:pt x="70" y="1381"/>
                  </a:cubicBezTo>
                  <a:cubicBezTo>
                    <a:pt x="71" y="1382"/>
                    <a:pt x="78" y="1382"/>
                    <a:pt x="78" y="1384"/>
                  </a:cubicBezTo>
                  <a:cubicBezTo>
                    <a:pt x="78" y="1386"/>
                    <a:pt x="68" y="1382"/>
                    <a:pt x="69" y="1384"/>
                  </a:cubicBezTo>
                  <a:cubicBezTo>
                    <a:pt x="77" y="1401"/>
                    <a:pt x="93" y="1380"/>
                    <a:pt x="96" y="137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inland"/>
            <p:cNvSpPr>
              <a:spLocks noEditPoints="1"/>
            </p:cNvSpPr>
            <p:nvPr/>
          </p:nvSpPr>
          <p:spPr bwMode="auto">
            <a:xfrm>
              <a:off x="3671" y="749"/>
              <a:ext cx="563" cy="835"/>
            </a:xfrm>
            <a:custGeom>
              <a:avLst/>
              <a:gdLst>
                <a:gd name="T0" fmla="*/ 195 w 1081"/>
                <a:gd name="T1" fmla="*/ 1493 h 1604"/>
                <a:gd name="T2" fmla="*/ 261 w 1081"/>
                <a:gd name="T3" fmla="*/ 1595 h 1604"/>
                <a:gd name="T4" fmla="*/ 320 w 1081"/>
                <a:gd name="T5" fmla="*/ 1535 h 1604"/>
                <a:gd name="T6" fmla="*/ 244 w 1081"/>
                <a:gd name="T7" fmla="*/ 1490 h 1604"/>
                <a:gd name="T8" fmla="*/ 214 w 1081"/>
                <a:gd name="T9" fmla="*/ 1502 h 1604"/>
                <a:gd name="T10" fmla="*/ 309 w 1081"/>
                <a:gd name="T11" fmla="*/ 1490 h 1604"/>
                <a:gd name="T12" fmla="*/ 50 w 1081"/>
                <a:gd name="T13" fmla="*/ 1489 h 1604"/>
                <a:gd name="T14" fmla="*/ 39 w 1081"/>
                <a:gd name="T15" fmla="*/ 1469 h 1604"/>
                <a:gd name="T16" fmla="*/ 53 w 1081"/>
                <a:gd name="T17" fmla="*/ 1522 h 1604"/>
                <a:gd name="T18" fmla="*/ 73 w 1081"/>
                <a:gd name="T19" fmla="*/ 1507 h 1604"/>
                <a:gd name="T20" fmla="*/ 875 w 1081"/>
                <a:gd name="T21" fmla="*/ 1228 h 1604"/>
                <a:gd name="T22" fmla="*/ 691 w 1081"/>
                <a:gd name="T23" fmla="*/ 1446 h 1604"/>
                <a:gd name="T24" fmla="*/ 538 w 1081"/>
                <a:gd name="T25" fmla="*/ 1495 h 1604"/>
                <a:gd name="T26" fmla="*/ 304 w 1081"/>
                <a:gd name="T27" fmla="*/ 1509 h 1604"/>
                <a:gd name="T28" fmla="*/ 179 w 1081"/>
                <a:gd name="T29" fmla="*/ 1378 h 1604"/>
                <a:gd name="T30" fmla="*/ 176 w 1081"/>
                <a:gd name="T31" fmla="*/ 1087 h 1604"/>
                <a:gd name="T32" fmla="*/ 463 w 1081"/>
                <a:gd name="T33" fmla="*/ 826 h 1604"/>
                <a:gd name="T34" fmla="*/ 335 w 1081"/>
                <a:gd name="T35" fmla="*/ 310 h 1604"/>
                <a:gd name="T36" fmla="*/ 755 w 1081"/>
                <a:gd name="T37" fmla="*/ 4 h 1604"/>
                <a:gd name="T38" fmla="*/ 1046 w 1081"/>
                <a:gd name="T39" fmla="*/ 1058 h 1604"/>
                <a:gd name="T40" fmla="*/ 986 w 1081"/>
                <a:gd name="T41" fmla="*/ 1122 h 1604"/>
                <a:gd name="T42" fmla="*/ 476 w 1081"/>
                <a:gd name="T43" fmla="*/ 539 h 1604"/>
                <a:gd name="T44" fmla="*/ 942 w 1081"/>
                <a:gd name="T45" fmla="*/ 1052 h 1604"/>
                <a:gd name="T46" fmla="*/ 853 w 1081"/>
                <a:gd name="T47" fmla="*/ 1164 h 1604"/>
                <a:gd name="T48" fmla="*/ 742 w 1081"/>
                <a:gd name="T49" fmla="*/ 1031 h 1604"/>
                <a:gd name="T50" fmla="*/ 667 w 1081"/>
                <a:gd name="T51" fmla="*/ 910 h 1604"/>
                <a:gd name="T52" fmla="*/ 661 w 1081"/>
                <a:gd name="T53" fmla="*/ 620 h 1604"/>
                <a:gd name="T54" fmla="*/ 748 w 1081"/>
                <a:gd name="T55" fmla="*/ 590 h 1604"/>
                <a:gd name="T56" fmla="*/ 784 w 1081"/>
                <a:gd name="T57" fmla="*/ 924 h 1604"/>
                <a:gd name="T58" fmla="*/ 850 w 1081"/>
                <a:gd name="T59" fmla="*/ 707 h 1604"/>
                <a:gd name="T60" fmla="*/ 868 w 1081"/>
                <a:gd name="T61" fmla="*/ 651 h 1604"/>
                <a:gd name="T62" fmla="*/ 844 w 1081"/>
                <a:gd name="T63" fmla="*/ 599 h 1604"/>
                <a:gd name="T64" fmla="*/ 757 w 1081"/>
                <a:gd name="T65" fmla="*/ 205 h 1604"/>
                <a:gd name="T66" fmla="*/ 764 w 1081"/>
                <a:gd name="T67" fmla="*/ 129 h 1604"/>
                <a:gd name="T68" fmla="*/ 716 w 1081"/>
                <a:gd name="T69" fmla="*/ 333 h 1604"/>
                <a:gd name="T70" fmla="*/ 557 w 1081"/>
                <a:gd name="T71" fmla="*/ 1055 h 1604"/>
                <a:gd name="T72" fmla="*/ 495 w 1081"/>
                <a:gd name="T73" fmla="*/ 1140 h 1604"/>
                <a:gd name="T74" fmla="*/ 404 w 1081"/>
                <a:gd name="T75" fmla="*/ 1122 h 1604"/>
                <a:gd name="T76" fmla="*/ 346 w 1081"/>
                <a:gd name="T77" fmla="*/ 1319 h 1604"/>
                <a:gd name="T78" fmla="*/ 457 w 1081"/>
                <a:gd name="T79" fmla="*/ 1231 h 1604"/>
                <a:gd name="T80" fmla="*/ 364 w 1081"/>
                <a:gd name="T81" fmla="*/ 1292 h 1604"/>
                <a:gd name="T82" fmla="*/ 442 w 1081"/>
                <a:gd name="T83" fmla="*/ 1302 h 1604"/>
                <a:gd name="T84" fmla="*/ 463 w 1081"/>
                <a:gd name="T85" fmla="*/ 1344 h 1604"/>
                <a:gd name="T86" fmla="*/ 599 w 1081"/>
                <a:gd name="T87" fmla="*/ 1342 h 1604"/>
                <a:gd name="T88" fmla="*/ 564 w 1081"/>
                <a:gd name="T89" fmla="*/ 1238 h 1604"/>
                <a:gd name="T90" fmla="*/ 666 w 1081"/>
                <a:gd name="T91" fmla="*/ 1169 h 1604"/>
                <a:gd name="T92" fmla="*/ 652 w 1081"/>
                <a:gd name="T93" fmla="*/ 1125 h 1604"/>
                <a:gd name="T94" fmla="*/ 567 w 1081"/>
                <a:gd name="T95" fmla="*/ 1071 h 1604"/>
                <a:gd name="T96" fmla="*/ 557 w 1081"/>
                <a:gd name="T97" fmla="*/ 1220 h 1604"/>
                <a:gd name="T98" fmla="*/ 553 w 1081"/>
                <a:gd name="T99" fmla="*/ 1360 h 1604"/>
                <a:gd name="T100" fmla="*/ 597 w 1081"/>
                <a:gd name="T101" fmla="*/ 1292 h 1604"/>
                <a:gd name="T102" fmla="*/ 635 w 1081"/>
                <a:gd name="T103" fmla="*/ 1329 h 1604"/>
                <a:gd name="T104" fmla="*/ 627 w 1081"/>
                <a:gd name="T105" fmla="*/ 1251 h 1604"/>
                <a:gd name="T106" fmla="*/ 660 w 1081"/>
                <a:gd name="T107" fmla="*/ 1219 h 1604"/>
                <a:gd name="T108" fmla="*/ 835 w 1081"/>
                <a:gd name="T109" fmla="*/ 1302 h 1604"/>
                <a:gd name="T110" fmla="*/ 933 w 1081"/>
                <a:gd name="T111" fmla="*/ 1227 h 1604"/>
                <a:gd name="T112" fmla="*/ 830 w 1081"/>
                <a:gd name="T113" fmla="*/ 1223 h 1604"/>
                <a:gd name="T114" fmla="*/ 723 w 1081"/>
                <a:gd name="T115" fmla="*/ 1089 h 1604"/>
                <a:gd name="T116" fmla="*/ 730 w 1081"/>
                <a:gd name="T117" fmla="*/ 1119 h 1604"/>
                <a:gd name="T118" fmla="*/ 759 w 1081"/>
                <a:gd name="T119" fmla="*/ 1216 h 1604"/>
                <a:gd name="T120" fmla="*/ 743 w 1081"/>
                <a:gd name="T121" fmla="*/ 1286 h 1604"/>
                <a:gd name="T122" fmla="*/ 171 w 1081"/>
                <a:gd name="T123" fmla="*/ 1048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81" h="1604">
                  <a:moveTo>
                    <a:pt x="165" y="1457"/>
                  </a:moveTo>
                  <a:cubicBezTo>
                    <a:pt x="163" y="1455"/>
                    <a:pt x="161" y="1447"/>
                    <a:pt x="164" y="1448"/>
                  </a:cubicBezTo>
                  <a:cubicBezTo>
                    <a:pt x="164" y="1448"/>
                    <a:pt x="164" y="1448"/>
                    <a:pt x="164" y="1448"/>
                  </a:cubicBezTo>
                  <a:cubicBezTo>
                    <a:pt x="170" y="1454"/>
                    <a:pt x="170" y="1465"/>
                    <a:pt x="165" y="1457"/>
                  </a:cubicBezTo>
                  <a:close/>
                  <a:moveTo>
                    <a:pt x="176" y="1448"/>
                  </a:moveTo>
                  <a:cubicBezTo>
                    <a:pt x="173" y="1450"/>
                    <a:pt x="169" y="1457"/>
                    <a:pt x="179" y="1460"/>
                  </a:cubicBezTo>
                  <a:cubicBezTo>
                    <a:pt x="182" y="1461"/>
                    <a:pt x="186" y="1455"/>
                    <a:pt x="185" y="1452"/>
                  </a:cubicBezTo>
                  <a:cubicBezTo>
                    <a:pt x="183" y="1449"/>
                    <a:pt x="178" y="1452"/>
                    <a:pt x="177" y="1448"/>
                  </a:cubicBezTo>
                  <a:cubicBezTo>
                    <a:pt x="177" y="1448"/>
                    <a:pt x="176" y="1448"/>
                    <a:pt x="176" y="1448"/>
                  </a:cubicBezTo>
                  <a:close/>
                  <a:moveTo>
                    <a:pt x="168" y="1500"/>
                  </a:moveTo>
                  <a:cubicBezTo>
                    <a:pt x="168" y="1500"/>
                    <a:pt x="168" y="1500"/>
                    <a:pt x="168" y="1500"/>
                  </a:cubicBezTo>
                  <a:cubicBezTo>
                    <a:pt x="167" y="1500"/>
                    <a:pt x="161" y="1500"/>
                    <a:pt x="161" y="1503"/>
                  </a:cubicBezTo>
                  <a:cubicBezTo>
                    <a:pt x="161" y="1504"/>
                    <a:pt x="164" y="1503"/>
                    <a:pt x="164" y="1503"/>
                  </a:cubicBezTo>
                  <a:cubicBezTo>
                    <a:pt x="166" y="1505"/>
                    <a:pt x="166" y="1505"/>
                    <a:pt x="169" y="1505"/>
                  </a:cubicBezTo>
                  <a:cubicBezTo>
                    <a:pt x="170" y="1505"/>
                    <a:pt x="171" y="1508"/>
                    <a:pt x="171" y="1507"/>
                  </a:cubicBezTo>
                  <a:cubicBezTo>
                    <a:pt x="172" y="1506"/>
                    <a:pt x="171" y="1505"/>
                    <a:pt x="172" y="1504"/>
                  </a:cubicBezTo>
                  <a:cubicBezTo>
                    <a:pt x="173" y="1504"/>
                    <a:pt x="177" y="1504"/>
                    <a:pt x="177" y="1504"/>
                  </a:cubicBezTo>
                  <a:cubicBezTo>
                    <a:pt x="177" y="1503"/>
                    <a:pt x="177" y="1503"/>
                    <a:pt x="176" y="1503"/>
                  </a:cubicBezTo>
                  <a:cubicBezTo>
                    <a:pt x="173" y="1503"/>
                    <a:pt x="170" y="1503"/>
                    <a:pt x="168" y="1500"/>
                  </a:cubicBezTo>
                  <a:close/>
                  <a:moveTo>
                    <a:pt x="182" y="1510"/>
                  </a:moveTo>
                  <a:cubicBezTo>
                    <a:pt x="180" y="1511"/>
                    <a:pt x="189" y="1511"/>
                    <a:pt x="187" y="1512"/>
                  </a:cubicBezTo>
                  <a:cubicBezTo>
                    <a:pt x="186" y="1513"/>
                    <a:pt x="179" y="1512"/>
                    <a:pt x="180" y="1514"/>
                  </a:cubicBezTo>
                  <a:cubicBezTo>
                    <a:pt x="181" y="1516"/>
                    <a:pt x="191" y="1517"/>
                    <a:pt x="194" y="1515"/>
                  </a:cubicBezTo>
                  <a:cubicBezTo>
                    <a:pt x="196" y="1513"/>
                    <a:pt x="192" y="1512"/>
                    <a:pt x="192" y="1512"/>
                  </a:cubicBezTo>
                  <a:cubicBezTo>
                    <a:pt x="191" y="1511"/>
                    <a:pt x="196" y="1511"/>
                    <a:pt x="196" y="1507"/>
                  </a:cubicBezTo>
                  <a:cubicBezTo>
                    <a:pt x="191" y="1504"/>
                    <a:pt x="185" y="1506"/>
                    <a:pt x="182" y="1510"/>
                  </a:cubicBezTo>
                  <a:close/>
                  <a:moveTo>
                    <a:pt x="192" y="1494"/>
                  </a:moveTo>
                  <a:cubicBezTo>
                    <a:pt x="192" y="1495"/>
                    <a:pt x="190" y="1500"/>
                    <a:pt x="192" y="1499"/>
                  </a:cubicBezTo>
                  <a:cubicBezTo>
                    <a:pt x="198" y="1499"/>
                    <a:pt x="193" y="1495"/>
                    <a:pt x="195" y="1493"/>
                  </a:cubicBezTo>
                  <a:cubicBezTo>
                    <a:pt x="195" y="1493"/>
                    <a:pt x="195" y="1493"/>
                    <a:pt x="195" y="1493"/>
                  </a:cubicBezTo>
                  <a:cubicBezTo>
                    <a:pt x="196" y="1490"/>
                    <a:pt x="193" y="1492"/>
                    <a:pt x="192" y="1494"/>
                  </a:cubicBezTo>
                  <a:close/>
                  <a:moveTo>
                    <a:pt x="196" y="1507"/>
                  </a:moveTo>
                  <a:cubicBezTo>
                    <a:pt x="196" y="1507"/>
                    <a:pt x="196" y="1507"/>
                    <a:pt x="196" y="1507"/>
                  </a:cubicBezTo>
                  <a:cubicBezTo>
                    <a:pt x="196" y="1507"/>
                    <a:pt x="196" y="1507"/>
                    <a:pt x="196" y="1507"/>
                  </a:cubicBezTo>
                  <a:close/>
                  <a:moveTo>
                    <a:pt x="248" y="1554"/>
                  </a:moveTo>
                  <a:cubicBezTo>
                    <a:pt x="249" y="1553"/>
                    <a:pt x="249" y="1553"/>
                    <a:pt x="249" y="1553"/>
                  </a:cubicBezTo>
                  <a:cubicBezTo>
                    <a:pt x="253" y="1542"/>
                    <a:pt x="244" y="1543"/>
                    <a:pt x="243" y="1543"/>
                  </a:cubicBezTo>
                  <a:cubicBezTo>
                    <a:pt x="238" y="1537"/>
                    <a:pt x="248" y="1566"/>
                    <a:pt x="248" y="1554"/>
                  </a:cubicBezTo>
                  <a:close/>
                  <a:moveTo>
                    <a:pt x="250" y="1495"/>
                  </a:moveTo>
                  <a:cubicBezTo>
                    <a:pt x="234" y="1501"/>
                    <a:pt x="256" y="1509"/>
                    <a:pt x="252" y="1495"/>
                  </a:cubicBezTo>
                  <a:cubicBezTo>
                    <a:pt x="252" y="1495"/>
                    <a:pt x="252" y="1495"/>
                    <a:pt x="252" y="1495"/>
                  </a:cubicBezTo>
                  <a:cubicBezTo>
                    <a:pt x="252" y="1494"/>
                    <a:pt x="251" y="1494"/>
                    <a:pt x="250" y="1495"/>
                  </a:cubicBezTo>
                  <a:close/>
                  <a:moveTo>
                    <a:pt x="249" y="1575"/>
                  </a:moveTo>
                  <a:cubicBezTo>
                    <a:pt x="246" y="1574"/>
                    <a:pt x="252" y="1568"/>
                    <a:pt x="249" y="1569"/>
                  </a:cubicBezTo>
                  <a:cubicBezTo>
                    <a:pt x="246" y="1570"/>
                    <a:pt x="245" y="1579"/>
                    <a:pt x="245" y="1580"/>
                  </a:cubicBezTo>
                  <a:cubicBezTo>
                    <a:pt x="246" y="1580"/>
                    <a:pt x="246" y="1580"/>
                    <a:pt x="246" y="1580"/>
                  </a:cubicBezTo>
                  <a:cubicBezTo>
                    <a:pt x="246" y="1580"/>
                    <a:pt x="246" y="1580"/>
                    <a:pt x="246" y="1580"/>
                  </a:cubicBezTo>
                  <a:cubicBezTo>
                    <a:pt x="247" y="1580"/>
                    <a:pt x="247" y="1580"/>
                    <a:pt x="247" y="1580"/>
                  </a:cubicBezTo>
                  <a:cubicBezTo>
                    <a:pt x="251" y="1580"/>
                    <a:pt x="257" y="1580"/>
                    <a:pt x="261" y="1581"/>
                  </a:cubicBezTo>
                  <a:cubicBezTo>
                    <a:pt x="261" y="1581"/>
                    <a:pt x="262" y="1581"/>
                    <a:pt x="261" y="1582"/>
                  </a:cubicBezTo>
                  <a:cubicBezTo>
                    <a:pt x="261" y="1582"/>
                    <a:pt x="261" y="1582"/>
                    <a:pt x="261" y="1582"/>
                  </a:cubicBezTo>
                  <a:cubicBezTo>
                    <a:pt x="261" y="1582"/>
                    <a:pt x="261" y="1582"/>
                    <a:pt x="260" y="1582"/>
                  </a:cubicBezTo>
                  <a:cubicBezTo>
                    <a:pt x="259" y="1582"/>
                    <a:pt x="246" y="1582"/>
                    <a:pt x="246" y="1585"/>
                  </a:cubicBezTo>
                  <a:cubicBezTo>
                    <a:pt x="246" y="1587"/>
                    <a:pt x="250" y="1587"/>
                    <a:pt x="250" y="1589"/>
                  </a:cubicBezTo>
                  <a:cubicBezTo>
                    <a:pt x="251" y="1592"/>
                    <a:pt x="249" y="1597"/>
                    <a:pt x="250" y="1600"/>
                  </a:cubicBezTo>
                  <a:cubicBezTo>
                    <a:pt x="250" y="1600"/>
                    <a:pt x="250" y="1601"/>
                    <a:pt x="250" y="1601"/>
                  </a:cubicBezTo>
                  <a:cubicBezTo>
                    <a:pt x="253" y="1601"/>
                    <a:pt x="256" y="1599"/>
                    <a:pt x="259" y="1597"/>
                  </a:cubicBezTo>
                  <a:cubicBezTo>
                    <a:pt x="259" y="1597"/>
                    <a:pt x="260" y="1595"/>
                    <a:pt x="261" y="1595"/>
                  </a:cubicBezTo>
                  <a:cubicBezTo>
                    <a:pt x="262" y="1595"/>
                    <a:pt x="261" y="1596"/>
                    <a:pt x="261" y="1596"/>
                  </a:cubicBezTo>
                  <a:cubicBezTo>
                    <a:pt x="260" y="1597"/>
                    <a:pt x="259" y="1599"/>
                    <a:pt x="259" y="1600"/>
                  </a:cubicBezTo>
                  <a:cubicBezTo>
                    <a:pt x="259" y="1601"/>
                    <a:pt x="261" y="1599"/>
                    <a:pt x="261" y="1600"/>
                  </a:cubicBezTo>
                  <a:cubicBezTo>
                    <a:pt x="262" y="1601"/>
                    <a:pt x="261" y="1603"/>
                    <a:pt x="262" y="1603"/>
                  </a:cubicBezTo>
                  <a:cubicBezTo>
                    <a:pt x="262" y="1604"/>
                    <a:pt x="262" y="1603"/>
                    <a:pt x="262" y="1602"/>
                  </a:cubicBezTo>
                  <a:cubicBezTo>
                    <a:pt x="262" y="1599"/>
                    <a:pt x="264" y="1601"/>
                    <a:pt x="265" y="1600"/>
                  </a:cubicBezTo>
                  <a:cubicBezTo>
                    <a:pt x="265" y="1599"/>
                    <a:pt x="265" y="1597"/>
                    <a:pt x="266" y="1597"/>
                  </a:cubicBezTo>
                  <a:cubicBezTo>
                    <a:pt x="268" y="1598"/>
                    <a:pt x="267" y="1601"/>
                    <a:pt x="270" y="1601"/>
                  </a:cubicBezTo>
                  <a:cubicBezTo>
                    <a:pt x="270" y="1600"/>
                    <a:pt x="270" y="1600"/>
                    <a:pt x="270" y="1600"/>
                  </a:cubicBezTo>
                  <a:cubicBezTo>
                    <a:pt x="271" y="1600"/>
                    <a:pt x="271" y="1600"/>
                    <a:pt x="272" y="1600"/>
                  </a:cubicBezTo>
                  <a:cubicBezTo>
                    <a:pt x="273" y="1600"/>
                    <a:pt x="276" y="1598"/>
                    <a:pt x="276" y="1596"/>
                  </a:cubicBezTo>
                  <a:cubicBezTo>
                    <a:pt x="275" y="1595"/>
                    <a:pt x="272" y="1596"/>
                    <a:pt x="273" y="1595"/>
                  </a:cubicBezTo>
                  <a:cubicBezTo>
                    <a:pt x="277" y="1590"/>
                    <a:pt x="283" y="1591"/>
                    <a:pt x="284" y="1583"/>
                  </a:cubicBezTo>
                  <a:cubicBezTo>
                    <a:pt x="284" y="1581"/>
                    <a:pt x="281" y="1578"/>
                    <a:pt x="281" y="1578"/>
                  </a:cubicBezTo>
                  <a:cubicBezTo>
                    <a:pt x="281" y="1577"/>
                    <a:pt x="283" y="1577"/>
                    <a:pt x="283" y="1576"/>
                  </a:cubicBezTo>
                  <a:cubicBezTo>
                    <a:pt x="283" y="1575"/>
                    <a:pt x="282" y="1574"/>
                    <a:pt x="283" y="1573"/>
                  </a:cubicBezTo>
                  <a:cubicBezTo>
                    <a:pt x="283" y="1571"/>
                    <a:pt x="285" y="1572"/>
                    <a:pt x="285" y="1571"/>
                  </a:cubicBezTo>
                  <a:cubicBezTo>
                    <a:pt x="286" y="1570"/>
                    <a:pt x="294" y="1560"/>
                    <a:pt x="293" y="1559"/>
                  </a:cubicBezTo>
                  <a:cubicBezTo>
                    <a:pt x="290" y="1554"/>
                    <a:pt x="283" y="1568"/>
                    <a:pt x="278" y="1569"/>
                  </a:cubicBezTo>
                  <a:cubicBezTo>
                    <a:pt x="272" y="1570"/>
                    <a:pt x="267" y="1570"/>
                    <a:pt x="261" y="1571"/>
                  </a:cubicBezTo>
                  <a:cubicBezTo>
                    <a:pt x="257" y="1572"/>
                    <a:pt x="256" y="1576"/>
                    <a:pt x="249" y="1575"/>
                  </a:cubicBezTo>
                  <a:close/>
                  <a:moveTo>
                    <a:pt x="308" y="1544"/>
                  </a:moveTo>
                  <a:cubicBezTo>
                    <a:pt x="312" y="1543"/>
                    <a:pt x="307" y="1539"/>
                    <a:pt x="311" y="1538"/>
                  </a:cubicBezTo>
                  <a:cubicBezTo>
                    <a:pt x="311" y="1538"/>
                    <a:pt x="312" y="1540"/>
                    <a:pt x="313" y="1540"/>
                  </a:cubicBezTo>
                  <a:cubicBezTo>
                    <a:pt x="313" y="1541"/>
                    <a:pt x="315" y="1540"/>
                    <a:pt x="315" y="1540"/>
                  </a:cubicBezTo>
                  <a:cubicBezTo>
                    <a:pt x="316" y="1541"/>
                    <a:pt x="315" y="1544"/>
                    <a:pt x="318" y="1544"/>
                  </a:cubicBezTo>
                  <a:cubicBezTo>
                    <a:pt x="321" y="1544"/>
                    <a:pt x="318" y="1541"/>
                    <a:pt x="319" y="1540"/>
                  </a:cubicBezTo>
                  <a:cubicBezTo>
                    <a:pt x="319" y="1538"/>
                    <a:pt x="322" y="1538"/>
                    <a:pt x="321" y="1536"/>
                  </a:cubicBezTo>
                  <a:cubicBezTo>
                    <a:pt x="320" y="1535"/>
                    <a:pt x="320" y="1535"/>
                    <a:pt x="320" y="1535"/>
                  </a:cubicBezTo>
                  <a:cubicBezTo>
                    <a:pt x="317" y="1536"/>
                    <a:pt x="306" y="1534"/>
                    <a:pt x="306" y="1534"/>
                  </a:cubicBezTo>
                  <a:cubicBezTo>
                    <a:pt x="305" y="1535"/>
                    <a:pt x="303" y="1536"/>
                    <a:pt x="301" y="1536"/>
                  </a:cubicBezTo>
                  <a:cubicBezTo>
                    <a:pt x="299" y="1536"/>
                    <a:pt x="301" y="1533"/>
                    <a:pt x="299" y="1533"/>
                  </a:cubicBezTo>
                  <a:cubicBezTo>
                    <a:pt x="298" y="1533"/>
                    <a:pt x="297" y="1535"/>
                    <a:pt x="297" y="1536"/>
                  </a:cubicBezTo>
                  <a:cubicBezTo>
                    <a:pt x="297" y="1539"/>
                    <a:pt x="301" y="1536"/>
                    <a:pt x="301" y="1538"/>
                  </a:cubicBezTo>
                  <a:cubicBezTo>
                    <a:pt x="302" y="1541"/>
                    <a:pt x="304" y="1545"/>
                    <a:pt x="308" y="1544"/>
                  </a:cubicBezTo>
                  <a:close/>
                  <a:moveTo>
                    <a:pt x="225" y="1487"/>
                  </a:moveTo>
                  <a:cubicBezTo>
                    <a:pt x="224" y="1486"/>
                    <a:pt x="224" y="1486"/>
                    <a:pt x="224" y="1486"/>
                  </a:cubicBezTo>
                  <a:cubicBezTo>
                    <a:pt x="218" y="1483"/>
                    <a:pt x="221" y="1497"/>
                    <a:pt x="225" y="1487"/>
                  </a:cubicBezTo>
                  <a:close/>
                  <a:moveTo>
                    <a:pt x="222" y="1510"/>
                  </a:moveTo>
                  <a:cubicBezTo>
                    <a:pt x="222" y="1510"/>
                    <a:pt x="222" y="1510"/>
                    <a:pt x="223" y="1510"/>
                  </a:cubicBezTo>
                  <a:cubicBezTo>
                    <a:pt x="223" y="1511"/>
                    <a:pt x="223" y="1511"/>
                    <a:pt x="223" y="1511"/>
                  </a:cubicBezTo>
                  <a:cubicBezTo>
                    <a:pt x="223" y="1511"/>
                    <a:pt x="224" y="1509"/>
                    <a:pt x="224" y="1509"/>
                  </a:cubicBezTo>
                  <a:cubicBezTo>
                    <a:pt x="225" y="1510"/>
                    <a:pt x="225" y="1511"/>
                    <a:pt x="226" y="1511"/>
                  </a:cubicBezTo>
                  <a:cubicBezTo>
                    <a:pt x="226" y="1511"/>
                    <a:pt x="226" y="1511"/>
                    <a:pt x="226" y="1511"/>
                  </a:cubicBezTo>
                  <a:cubicBezTo>
                    <a:pt x="227" y="1510"/>
                    <a:pt x="229" y="1510"/>
                    <a:pt x="229" y="1509"/>
                  </a:cubicBezTo>
                  <a:cubicBezTo>
                    <a:pt x="230" y="1506"/>
                    <a:pt x="228" y="1507"/>
                    <a:pt x="228" y="1506"/>
                  </a:cubicBezTo>
                  <a:cubicBezTo>
                    <a:pt x="227" y="1504"/>
                    <a:pt x="234" y="1504"/>
                    <a:pt x="233" y="1502"/>
                  </a:cubicBezTo>
                  <a:cubicBezTo>
                    <a:pt x="232" y="1500"/>
                    <a:pt x="217" y="1504"/>
                    <a:pt x="222" y="1510"/>
                  </a:cubicBezTo>
                  <a:close/>
                  <a:moveTo>
                    <a:pt x="321" y="1528"/>
                  </a:moveTo>
                  <a:cubicBezTo>
                    <a:pt x="317" y="1532"/>
                    <a:pt x="330" y="1534"/>
                    <a:pt x="327" y="1529"/>
                  </a:cubicBezTo>
                  <a:cubicBezTo>
                    <a:pt x="327" y="1528"/>
                    <a:pt x="327" y="1528"/>
                    <a:pt x="327" y="1528"/>
                  </a:cubicBezTo>
                  <a:cubicBezTo>
                    <a:pt x="328" y="1526"/>
                    <a:pt x="322" y="1527"/>
                    <a:pt x="321" y="1528"/>
                  </a:cubicBezTo>
                  <a:close/>
                  <a:moveTo>
                    <a:pt x="254" y="1487"/>
                  </a:moveTo>
                  <a:cubicBezTo>
                    <a:pt x="249" y="1485"/>
                    <a:pt x="229" y="1481"/>
                    <a:pt x="231" y="1490"/>
                  </a:cubicBezTo>
                  <a:cubicBezTo>
                    <a:pt x="231" y="1491"/>
                    <a:pt x="244" y="1494"/>
                    <a:pt x="241" y="1490"/>
                  </a:cubicBezTo>
                  <a:cubicBezTo>
                    <a:pt x="241" y="1489"/>
                    <a:pt x="238" y="1490"/>
                    <a:pt x="238" y="1489"/>
                  </a:cubicBezTo>
                  <a:cubicBezTo>
                    <a:pt x="237" y="1489"/>
                    <a:pt x="241" y="1489"/>
                    <a:pt x="242" y="1490"/>
                  </a:cubicBezTo>
                  <a:cubicBezTo>
                    <a:pt x="243" y="1490"/>
                    <a:pt x="243" y="1490"/>
                    <a:pt x="244" y="1490"/>
                  </a:cubicBezTo>
                  <a:cubicBezTo>
                    <a:pt x="244" y="1490"/>
                    <a:pt x="245" y="1490"/>
                    <a:pt x="245" y="1490"/>
                  </a:cubicBezTo>
                  <a:cubicBezTo>
                    <a:pt x="245" y="1491"/>
                    <a:pt x="242" y="1493"/>
                    <a:pt x="243" y="1494"/>
                  </a:cubicBezTo>
                  <a:cubicBezTo>
                    <a:pt x="244" y="1495"/>
                    <a:pt x="249" y="1492"/>
                    <a:pt x="250" y="1491"/>
                  </a:cubicBezTo>
                  <a:cubicBezTo>
                    <a:pt x="252" y="1490"/>
                    <a:pt x="254" y="1493"/>
                    <a:pt x="255" y="1490"/>
                  </a:cubicBezTo>
                  <a:cubicBezTo>
                    <a:pt x="255" y="1489"/>
                    <a:pt x="255" y="1489"/>
                    <a:pt x="255" y="1489"/>
                  </a:cubicBezTo>
                  <a:cubicBezTo>
                    <a:pt x="255" y="1489"/>
                    <a:pt x="255" y="1489"/>
                    <a:pt x="255" y="1489"/>
                  </a:cubicBezTo>
                  <a:cubicBezTo>
                    <a:pt x="256" y="1487"/>
                    <a:pt x="255" y="1487"/>
                    <a:pt x="254" y="1487"/>
                  </a:cubicBezTo>
                  <a:close/>
                  <a:moveTo>
                    <a:pt x="158" y="1404"/>
                  </a:moveTo>
                  <a:cubicBezTo>
                    <a:pt x="157" y="1405"/>
                    <a:pt x="162" y="1406"/>
                    <a:pt x="163" y="1405"/>
                  </a:cubicBezTo>
                  <a:cubicBezTo>
                    <a:pt x="164" y="1404"/>
                    <a:pt x="164" y="1404"/>
                    <a:pt x="164" y="1404"/>
                  </a:cubicBezTo>
                  <a:cubicBezTo>
                    <a:pt x="167" y="1405"/>
                    <a:pt x="160" y="1401"/>
                    <a:pt x="158" y="1404"/>
                  </a:cubicBezTo>
                  <a:close/>
                  <a:moveTo>
                    <a:pt x="224" y="1483"/>
                  </a:moveTo>
                  <a:cubicBezTo>
                    <a:pt x="228" y="1482"/>
                    <a:pt x="224" y="1482"/>
                    <a:pt x="223" y="1482"/>
                  </a:cubicBezTo>
                  <a:cubicBezTo>
                    <a:pt x="217" y="1480"/>
                    <a:pt x="224" y="1471"/>
                    <a:pt x="210" y="1463"/>
                  </a:cubicBezTo>
                  <a:cubicBezTo>
                    <a:pt x="210" y="1463"/>
                    <a:pt x="210" y="1463"/>
                    <a:pt x="210" y="1463"/>
                  </a:cubicBezTo>
                  <a:cubicBezTo>
                    <a:pt x="210" y="1462"/>
                    <a:pt x="206" y="1492"/>
                    <a:pt x="224" y="1483"/>
                  </a:cubicBezTo>
                  <a:close/>
                  <a:moveTo>
                    <a:pt x="199" y="1513"/>
                  </a:moveTo>
                  <a:cubicBezTo>
                    <a:pt x="199" y="1513"/>
                    <a:pt x="201" y="1514"/>
                    <a:pt x="201" y="1514"/>
                  </a:cubicBezTo>
                  <a:cubicBezTo>
                    <a:pt x="203" y="1514"/>
                    <a:pt x="207" y="1513"/>
                    <a:pt x="208" y="1512"/>
                  </a:cubicBezTo>
                  <a:cubicBezTo>
                    <a:pt x="210" y="1510"/>
                    <a:pt x="206" y="1510"/>
                    <a:pt x="208" y="1510"/>
                  </a:cubicBezTo>
                  <a:cubicBezTo>
                    <a:pt x="208" y="1510"/>
                    <a:pt x="209" y="1510"/>
                    <a:pt x="209" y="1510"/>
                  </a:cubicBezTo>
                  <a:cubicBezTo>
                    <a:pt x="209" y="1510"/>
                    <a:pt x="209" y="1510"/>
                    <a:pt x="209" y="1509"/>
                  </a:cubicBezTo>
                  <a:cubicBezTo>
                    <a:pt x="209" y="1509"/>
                    <a:pt x="211" y="1509"/>
                    <a:pt x="211" y="1509"/>
                  </a:cubicBezTo>
                  <a:cubicBezTo>
                    <a:pt x="211" y="1508"/>
                    <a:pt x="207" y="1509"/>
                    <a:pt x="208" y="1508"/>
                  </a:cubicBezTo>
                  <a:cubicBezTo>
                    <a:pt x="208" y="1508"/>
                    <a:pt x="209" y="1508"/>
                    <a:pt x="209" y="1508"/>
                  </a:cubicBezTo>
                  <a:cubicBezTo>
                    <a:pt x="210" y="1508"/>
                    <a:pt x="214" y="1508"/>
                    <a:pt x="214" y="1507"/>
                  </a:cubicBezTo>
                  <a:cubicBezTo>
                    <a:pt x="214" y="1506"/>
                    <a:pt x="212" y="1506"/>
                    <a:pt x="213" y="1505"/>
                  </a:cubicBezTo>
                  <a:cubicBezTo>
                    <a:pt x="214" y="1504"/>
                    <a:pt x="215" y="1506"/>
                    <a:pt x="216" y="1505"/>
                  </a:cubicBezTo>
                  <a:cubicBezTo>
                    <a:pt x="217" y="1504"/>
                    <a:pt x="214" y="1502"/>
                    <a:pt x="214" y="1502"/>
                  </a:cubicBezTo>
                  <a:cubicBezTo>
                    <a:pt x="214" y="1502"/>
                    <a:pt x="214" y="1502"/>
                    <a:pt x="214" y="1502"/>
                  </a:cubicBezTo>
                  <a:cubicBezTo>
                    <a:pt x="210" y="1503"/>
                    <a:pt x="205" y="1502"/>
                    <a:pt x="202" y="1503"/>
                  </a:cubicBezTo>
                  <a:cubicBezTo>
                    <a:pt x="198" y="1504"/>
                    <a:pt x="202" y="1508"/>
                    <a:pt x="202" y="1509"/>
                  </a:cubicBezTo>
                  <a:cubicBezTo>
                    <a:pt x="201" y="1511"/>
                    <a:pt x="200" y="1508"/>
                    <a:pt x="201" y="1511"/>
                  </a:cubicBezTo>
                  <a:cubicBezTo>
                    <a:pt x="201" y="1513"/>
                    <a:pt x="199" y="1512"/>
                    <a:pt x="199" y="1513"/>
                  </a:cubicBezTo>
                  <a:close/>
                  <a:moveTo>
                    <a:pt x="166" y="1435"/>
                  </a:moveTo>
                  <a:cubicBezTo>
                    <a:pt x="151" y="1436"/>
                    <a:pt x="180" y="1456"/>
                    <a:pt x="166" y="1436"/>
                  </a:cubicBezTo>
                  <a:lnTo>
                    <a:pt x="166" y="1435"/>
                  </a:lnTo>
                  <a:close/>
                  <a:moveTo>
                    <a:pt x="261" y="1522"/>
                  </a:moveTo>
                  <a:cubicBezTo>
                    <a:pt x="259" y="1523"/>
                    <a:pt x="262" y="1516"/>
                    <a:pt x="258" y="1518"/>
                  </a:cubicBezTo>
                  <a:cubicBezTo>
                    <a:pt x="255" y="1520"/>
                    <a:pt x="260" y="1531"/>
                    <a:pt x="260" y="1531"/>
                  </a:cubicBezTo>
                  <a:cubicBezTo>
                    <a:pt x="261" y="1531"/>
                    <a:pt x="260" y="1529"/>
                    <a:pt x="261" y="1529"/>
                  </a:cubicBezTo>
                  <a:cubicBezTo>
                    <a:pt x="262" y="1528"/>
                    <a:pt x="262" y="1529"/>
                    <a:pt x="263" y="1528"/>
                  </a:cubicBezTo>
                  <a:cubicBezTo>
                    <a:pt x="264" y="1526"/>
                    <a:pt x="265" y="1531"/>
                    <a:pt x="265" y="1529"/>
                  </a:cubicBezTo>
                  <a:cubicBezTo>
                    <a:pt x="266" y="1529"/>
                    <a:pt x="266" y="1529"/>
                    <a:pt x="266" y="1529"/>
                  </a:cubicBezTo>
                  <a:cubicBezTo>
                    <a:pt x="266" y="1527"/>
                    <a:pt x="267" y="1519"/>
                    <a:pt x="265" y="1518"/>
                  </a:cubicBezTo>
                  <a:cubicBezTo>
                    <a:pt x="259" y="1514"/>
                    <a:pt x="264" y="1521"/>
                    <a:pt x="261" y="1522"/>
                  </a:cubicBezTo>
                  <a:close/>
                  <a:moveTo>
                    <a:pt x="267" y="1499"/>
                  </a:moveTo>
                  <a:cubicBezTo>
                    <a:pt x="254" y="1503"/>
                    <a:pt x="272" y="1509"/>
                    <a:pt x="274" y="1510"/>
                  </a:cubicBezTo>
                  <a:cubicBezTo>
                    <a:pt x="275" y="1510"/>
                    <a:pt x="279" y="1511"/>
                    <a:pt x="279" y="1511"/>
                  </a:cubicBezTo>
                  <a:cubicBezTo>
                    <a:pt x="278" y="1512"/>
                    <a:pt x="270" y="1511"/>
                    <a:pt x="268" y="1513"/>
                  </a:cubicBezTo>
                  <a:cubicBezTo>
                    <a:pt x="262" y="1516"/>
                    <a:pt x="270" y="1517"/>
                    <a:pt x="268" y="1524"/>
                  </a:cubicBezTo>
                  <a:cubicBezTo>
                    <a:pt x="266" y="1532"/>
                    <a:pt x="273" y="1528"/>
                    <a:pt x="277" y="1525"/>
                  </a:cubicBezTo>
                  <a:cubicBezTo>
                    <a:pt x="279" y="1524"/>
                    <a:pt x="278" y="1533"/>
                    <a:pt x="280" y="1531"/>
                  </a:cubicBezTo>
                  <a:cubicBezTo>
                    <a:pt x="280" y="1531"/>
                    <a:pt x="283" y="1525"/>
                    <a:pt x="284" y="1526"/>
                  </a:cubicBezTo>
                  <a:cubicBezTo>
                    <a:pt x="285" y="1527"/>
                    <a:pt x="285" y="1530"/>
                    <a:pt x="287" y="1529"/>
                  </a:cubicBezTo>
                  <a:cubicBezTo>
                    <a:pt x="288" y="1529"/>
                    <a:pt x="288" y="1529"/>
                    <a:pt x="288" y="1529"/>
                  </a:cubicBezTo>
                  <a:cubicBezTo>
                    <a:pt x="289" y="1528"/>
                    <a:pt x="293" y="1528"/>
                    <a:pt x="293" y="1525"/>
                  </a:cubicBezTo>
                  <a:cubicBezTo>
                    <a:pt x="291" y="1516"/>
                    <a:pt x="310" y="1491"/>
                    <a:pt x="309" y="1490"/>
                  </a:cubicBezTo>
                  <a:cubicBezTo>
                    <a:pt x="306" y="1486"/>
                    <a:pt x="298" y="1499"/>
                    <a:pt x="293" y="1499"/>
                  </a:cubicBezTo>
                  <a:cubicBezTo>
                    <a:pt x="284" y="1498"/>
                    <a:pt x="275" y="1506"/>
                    <a:pt x="267" y="1504"/>
                  </a:cubicBezTo>
                  <a:cubicBezTo>
                    <a:pt x="265" y="1504"/>
                    <a:pt x="271" y="1498"/>
                    <a:pt x="267" y="1499"/>
                  </a:cubicBezTo>
                  <a:close/>
                  <a:moveTo>
                    <a:pt x="240" y="1049"/>
                  </a:moveTo>
                  <a:cubicBezTo>
                    <a:pt x="265" y="1049"/>
                    <a:pt x="234" y="1040"/>
                    <a:pt x="237" y="1048"/>
                  </a:cubicBezTo>
                  <a:cubicBezTo>
                    <a:pt x="237" y="1048"/>
                    <a:pt x="237" y="1048"/>
                    <a:pt x="237" y="1048"/>
                  </a:cubicBezTo>
                  <a:cubicBezTo>
                    <a:pt x="238" y="1049"/>
                    <a:pt x="238" y="1049"/>
                    <a:pt x="240" y="1049"/>
                  </a:cubicBezTo>
                  <a:close/>
                  <a:moveTo>
                    <a:pt x="20" y="1492"/>
                  </a:moveTo>
                  <a:cubicBezTo>
                    <a:pt x="20" y="1493"/>
                    <a:pt x="20" y="1486"/>
                    <a:pt x="16" y="1489"/>
                  </a:cubicBezTo>
                  <a:cubicBezTo>
                    <a:pt x="16" y="1489"/>
                    <a:pt x="17" y="1490"/>
                    <a:pt x="17" y="1490"/>
                  </a:cubicBezTo>
                  <a:cubicBezTo>
                    <a:pt x="19" y="1494"/>
                    <a:pt x="19" y="1499"/>
                    <a:pt x="21" y="1503"/>
                  </a:cubicBezTo>
                  <a:cubicBezTo>
                    <a:pt x="22" y="1507"/>
                    <a:pt x="24" y="1509"/>
                    <a:pt x="25" y="1513"/>
                  </a:cubicBezTo>
                  <a:cubicBezTo>
                    <a:pt x="26" y="1513"/>
                    <a:pt x="26" y="1516"/>
                    <a:pt x="26" y="1516"/>
                  </a:cubicBezTo>
                  <a:cubicBezTo>
                    <a:pt x="28" y="1517"/>
                    <a:pt x="28" y="1514"/>
                    <a:pt x="29" y="1513"/>
                  </a:cubicBezTo>
                  <a:cubicBezTo>
                    <a:pt x="32" y="1512"/>
                    <a:pt x="31" y="1516"/>
                    <a:pt x="35" y="1516"/>
                  </a:cubicBezTo>
                  <a:cubicBezTo>
                    <a:pt x="37" y="1515"/>
                    <a:pt x="35" y="1512"/>
                    <a:pt x="38" y="1513"/>
                  </a:cubicBezTo>
                  <a:cubicBezTo>
                    <a:pt x="44" y="1513"/>
                    <a:pt x="40" y="1519"/>
                    <a:pt x="42" y="1520"/>
                  </a:cubicBezTo>
                  <a:cubicBezTo>
                    <a:pt x="42" y="1521"/>
                    <a:pt x="43" y="1520"/>
                    <a:pt x="43" y="1520"/>
                  </a:cubicBezTo>
                  <a:cubicBezTo>
                    <a:pt x="46" y="1520"/>
                    <a:pt x="41" y="1515"/>
                    <a:pt x="44" y="1514"/>
                  </a:cubicBezTo>
                  <a:cubicBezTo>
                    <a:pt x="46" y="1513"/>
                    <a:pt x="49" y="1515"/>
                    <a:pt x="52" y="1514"/>
                  </a:cubicBezTo>
                  <a:cubicBezTo>
                    <a:pt x="55" y="1513"/>
                    <a:pt x="50" y="1510"/>
                    <a:pt x="50" y="1509"/>
                  </a:cubicBezTo>
                  <a:cubicBezTo>
                    <a:pt x="50" y="1507"/>
                    <a:pt x="52" y="1504"/>
                    <a:pt x="52" y="1502"/>
                  </a:cubicBezTo>
                  <a:cubicBezTo>
                    <a:pt x="52" y="1501"/>
                    <a:pt x="49" y="1505"/>
                    <a:pt x="49" y="1505"/>
                  </a:cubicBezTo>
                  <a:cubicBezTo>
                    <a:pt x="47" y="1504"/>
                    <a:pt x="39" y="1498"/>
                    <a:pt x="40" y="1495"/>
                  </a:cubicBezTo>
                  <a:cubicBezTo>
                    <a:pt x="40" y="1495"/>
                    <a:pt x="41" y="1495"/>
                    <a:pt x="41" y="1495"/>
                  </a:cubicBezTo>
                  <a:cubicBezTo>
                    <a:pt x="47" y="1497"/>
                    <a:pt x="40" y="1499"/>
                    <a:pt x="46" y="1499"/>
                  </a:cubicBezTo>
                  <a:cubicBezTo>
                    <a:pt x="47" y="1499"/>
                    <a:pt x="49" y="1501"/>
                    <a:pt x="49" y="1500"/>
                  </a:cubicBezTo>
                  <a:cubicBezTo>
                    <a:pt x="52" y="1495"/>
                    <a:pt x="45" y="1490"/>
                    <a:pt x="45" y="1488"/>
                  </a:cubicBezTo>
                  <a:cubicBezTo>
                    <a:pt x="46" y="1486"/>
                    <a:pt x="48" y="1490"/>
                    <a:pt x="50" y="1489"/>
                  </a:cubicBezTo>
                  <a:cubicBezTo>
                    <a:pt x="52" y="1487"/>
                    <a:pt x="49" y="1483"/>
                    <a:pt x="50" y="1482"/>
                  </a:cubicBezTo>
                  <a:cubicBezTo>
                    <a:pt x="51" y="1481"/>
                    <a:pt x="54" y="1483"/>
                    <a:pt x="54" y="1484"/>
                  </a:cubicBezTo>
                  <a:cubicBezTo>
                    <a:pt x="54" y="1486"/>
                    <a:pt x="50" y="1489"/>
                    <a:pt x="50" y="1491"/>
                  </a:cubicBezTo>
                  <a:cubicBezTo>
                    <a:pt x="50" y="1494"/>
                    <a:pt x="53" y="1494"/>
                    <a:pt x="53" y="1496"/>
                  </a:cubicBezTo>
                  <a:cubicBezTo>
                    <a:pt x="54" y="1496"/>
                    <a:pt x="52" y="1499"/>
                    <a:pt x="53" y="1499"/>
                  </a:cubicBezTo>
                  <a:cubicBezTo>
                    <a:pt x="54" y="1500"/>
                    <a:pt x="55" y="1495"/>
                    <a:pt x="56" y="1494"/>
                  </a:cubicBezTo>
                  <a:cubicBezTo>
                    <a:pt x="57" y="1492"/>
                    <a:pt x="63" y="1490"/>
                    <a:pt x="64" y="1492"/>
                  </a:cubicBezTo>
                  <a:cubicBezTo>
                    <a:pt x="66" y="1494"/>
                    <a:pt x="58" y="1494"/>
                    <a:pt x="57" y="1495"/>
                  </a:cubicBezTo>
                  <a:cubicBezTo>
                    <a:pt x="56" y="1496"/>
                    <a:pt x="55" y="1502"/>
                    <a:pt x="56" y="1502"/>
                  </a:cubicBezTo>
                  <a:cubicBezTo>
                    <a:pt x="57" y="1502"/>
                    <a:pt x="58" y="1500"/>
                    <a:pt x="59" y="1501"/>
                  </a:cubicBezTo>
                  <a:cubicBezTo>
                    <a:pt x="60" y="1501"/>
                    <a:pt x="60" y="1502"/>
                    <a:pt x="61" y="1503"/>
                  </a:cubicBezTo>
                  <a:cubicBezTo>
                    <a:pt x="65" y="1505"/>
                    <a:pt x="63" y="1499"/>
                    <a:pt x="66" y="1498"/>
                  </a:cubicBezTo>
                  <a:cubicBezTo>
                    <a:pt x="66" y="1498"/>
                    <a:pt x="68" y="1499"/>
                    <a:pt x="68" y="1498"/>
                  </a:cubicBezTo>
                  <a:cubicBezTo>
                    <a:pt x="68" y="1497"/>
                    <a:pt x="65" y="1495"/>
                    <a:pt x="67" y="1494"/>
                  </a:cubicBezTo>
                  <a:cubicBezTo>
                    <a:pt x="67" y="1493"/>
                    <a:pt x="69" y="1494"/>
                    <a:pt x="69" y="1494"/>
                  </a:cubicBezTo>
                  <a:cubicBezTo>
                    <a:pt x="70" y="1494"/>
                    <a:pt x="69" y="1492"/>
                    <a:pt x="70" y="1491"/>
                  </a:cubicBezTo>
                  <a:cubicBezTo>
                    <a:pt x="70" y="1490"/>
                    <a:pt x="73" y="1488"/>
                    <a:pt x="73" y="1487"/>
                  </a:cubicBezTo>
                  <a:cubicBezTo>
                    <a:pt x="72" y="1485"/>
                    <a:pt x="65" y="1486"/>
                    <a:pt x="64" y="1486"/>
                  </a:cubicBezTo>
                  <a:cubicBezTo>
                    <a:pt x="64" y="1486"/>
                    <a:pt x="66" y="1481"/>
                    <a:pt x="65" y="1480"/>
                  </a:cubicBezTo>
                  <a:cubicBezTo>
                    <a:pt x="65" y="1480"/>
                    <a:pt x="63" y="1481"/>
                    <a:pt x="63" y="1481"/>
                  </a:cubicBezTo>
                  <a:cubicBezTo>
                    <a:pt x="62" y="1481"/>
                    <a:pt x="62" y="1480"/>
                    <a:pt x="61" y="1479"/>
                  </a:cubicBezTo>
                  <a:cubicBezTo>
                    <a:pt x="60" y="1478"/>
                    <a:pt x="58" y="1479"/>
                    <a:pt x="57" y="1478"/>
                  </a:cubicBezTo>
                  <a:cubicBezTo>
                    <a:pt x="57" y="1477"/>
                    <a:pt x="58" y="1476"/>
                    <a:pt x="57" y="1476"/>
                  </a:cubicBezTo>
                  <a:cubicBezTo>
                    <a:pt x="56" y="1475"/>
                    <a:pt x="55" y="1477"/>
                    <a:pt x="54" y="1477"/>
                  </a:cubicBezTo>
                  <a:cubicBezTo>
                    <a:pt x="54" y="1477"/>
                    <a:pt x="50" y="1473"/>
                    <a:pt x="50" y="1476"/>
                  </a:cubicBezTo>
                  <a:cubicBezTo>
                    <a:pt x="50" y="1476"/>
                    <a:pt x="52" y="1478"/>
                    <a:pt x="51" y="1479"/>
                  </a:cubicBezTo>
                  <a:cubicBezTo>
                    <a:pt x="50" y="1479"/>
                    <a:pt x="47" y="1476"/>
                    <a:pt x="46" y="1475"/>
                  </a:cubicBezTo>
                  <a:cubicBezTo>
                    <a:pt x="45" y="1475"/>
                    <a:pt x="42" y="1477"/>
                    <a:pt x="41" y="1476"/>
                  </a:cubicBezTo>
                  <a:cubicBezTo>
                    <a:pt x="40" y="1475"/>
                    <a:pt x="40" y="1470"/>
                    <a:pt x="39" y="1469"/>
                  </a:cubicBezTo>
                  <a:cubicBezTo>
                    <a:pt x="38" y="1469"/>
                    <a:pt x="38" y="1469"/>
                    <a:pt x="38" y="1469"/>
                  </a:cubicBezTo>
                  <a:cubicBezTo>
                    <a:pt x="33" y="1468"/>
                    <a:pt x="33" y="1471"/>
                    <a:pt x="30" y="1475"/>
                  </a:cubicBezTo>
                  <a:cubicBezTo>
                    <a:pt x="30" y="1475"/>
                    <a:pt x="28" y="1475"/>
                    <a:pt x="28" y="1476"/>
                  </a:cubicBezTo>
                  <a:cubicBezTo>
                    <a:pt x="28" y="1478"/>
                    <a:pt x="31" y="1477"/>
                    <a:pt x="32" y="1478"/>
                  </a:cubicBezTo>
                  <a:cubicBezTo>
                    <a:pt x="33" y="1478"/>
                    <a:pt x="33" y="1483"/>
                    <a:pt x="35" y="1482"/>
                  </a:cubicBezTo>
                  <a:cubicBezTo>
                    <a:pt x="37" y="1481"/>
                    <a:pt x="37" y="1476"/>
                    <a:pt x="38" y="1477"/>
                  </a:cubicBezTo>
                  <a:cubicBezTo>
                    <a:pt x="40" y="1478"/>
                    <a:pt x="45" y="1490"/>
                    <a:pt x="40" y="1488"/>
                  </a:cubicBezTo>
                  <a:cubicBezTo>
                    <a:pt x="38" y="1488"/>
                    <a:pt x="39" y="1483"/>
                    <a:pt x="38" y="1483"/>
                  </a:cubicBezTo>
                  <a:cubicBezTo>
                    <a:pt x="37" y="1483"/>
                    <a:pt x="38" y="1488"/>
                    <a:pt x="38" y="1489"/>
                  </a:cubicBezTo>
                  <a:cubicBezTo>
                    <a:pt x="37" y="1491"/>
                    <a:pt x="35" y="1491"/>
                    <a:pt x="35" y="1494"/>
                  </a:cubicBezTo>
                  <a:cubicBezTo>
                    <a:pt x="35" y="1497"/>
                    <a:pt x="33" y="1494"/>
                    <a:pt x="32" y="1494"/>
                  </a:cubicBezTo>
                  <a:cubicBezTo>
                    <a:pt x="31" y="1494"/>
                    <a:pt x="33" y="1500"/>
                    <a:pt x="31" y="1500"/>
                  </a:cubicBezTo>
                  <a:cubicBezTo>
                    <a:pt x="30" y="1500"/>
                    <a:pt x="27" y="1493"/>
                    <a:pt x="26" y="1492"/>
                  </a:cubicBezTo>
                  <a:cubicBezTo>
                    <a:pt x="26" y="1491"/>
                    <a:pt x="29" y="1486"/>
                    <a:pt x="29" y="1484"/>
                  </a:cubicBezTo>
                  <a:cubicBezTo>
                    <a:pt x="29" y="1484"/>
                    <a:pt x="29" y="1484"/>
                    <a:pt x="29" y="1484"/>
                  </a:cubicBezTo>
                  <a:cubicBezTo>
                    <a:pt x="29" y="1484"/>
                    <a:pt x="30" y="1484"/>
                    <a:pt x="30" y="1483"/>
                  </a:cubicBezTo>
                  <a:cubicBezTo>
                    <a:pt x="29" y="1483"/>
                    <a:pt x="29" y="1483"/>
                    <a:pt x="29" y="1483"/>
                  </a:cubicBezTo>
                  <a:cubicBezTo>
                    <a:pt x="29" y="1483"/>
                    <a:pt x="29" y="1483"/>
                    <a:pt x="29" y="1483"/>
                  </a:cubicBezTo>
                  <a:cubicBezTo>
                    <a:pt x="28" y="1483"/>
                    <a:pt x="28" y="1484"/>
                    <a:pt x="27" y="1483"/>
                  </a:cubicBezTo>
                  <a:cubicBezTo>
                    <a:pt x="23" y="1481"/>
                    <a:pt x="27" y="1486"/>
                    <a:pt x="27" y="1486"/>
                  </a:cubicBezTo>
                  <a:cubicBezTo>
                    <a:pt x="26" y="1487"/>
                    <a:pt x="22" y="1488"/>
                    <a:pt x="22" y="1488"/>
                  </a:cubicBezTo>
                  <a:cubicBezTo>
                    <a:pt x="20" y="1489"/>
                    <a:pt x="21" y="1491"/>
                    <a:pt x="20" y="1492"/>
                  </a:cubicBezTo>
                  <a:close/>
                  <a:moveTo>
                    <a:pt x="67" y="1518"/>
                  </a:moveTo>
                  <a:cubicBezTo>
                    <a:pt x="66" y="1517"/>
                    <a:pt x="61" y="1516"/>
                    <a:pt x="60" y="1515"/>
                  </a:cubicBezTo>
                  <a:cubicBezTo>
                    <a:pt x="58" y="1515"/>
                    <a:pt x="57" y="1512"/>
                    <a:pt x="56" y="1513"/>
                  </a:cubicBezTo>
                  <a:cubicBezTo>
                    <a:pt x="55" y="1514"/>
                    <a:pt x="56" y="1517"/>
                    <a:pt x="55" y="1518"/>
                  </a:cubicBezTo>
                  <a:cubicBezTo>
                    <a:pt x="54" y="1518"/>
                    <a:pt x="47" y="1515"/>
                    <a:pt x="48" y="1519"/>
                  </a:cubicBezTo>
                  <a:cubicBezTo>
                    <a:pt x="48" y="1520"/>
                    <a:pt x="50" y="1519"/>
                    <a:pt x="51" y="1520"/>
                  </a:cubicBezTo>
                  <a:cubicBezTo>
                    <a:pt x="52" y="1520"/>
                    <a:pt x="52" y="1522"/>
                    <a:pt x="53" y="1522"/>
                  </a:cubicBezTo>
                  <a:cubicBezTo>
                    <a:pt x="54" y="1523"/>
                    <a:pt x="55" y="1521"/>
                    <a:pt x="56" y="1522"/>
                  </a:cubicBezTo>
                  <a:cubicBezTo>
                    <a:pt x="58" y="1522"/>
                    <a:pt x="58" y="1527"/>
                    <a:pt x="60" y="1528"/>
                  </a:cubicBezTo>
                  <a:cubicBezTo>
                    <a:pt x="62" y="1529"/>
                    <a:pt x="64" y="1524"/>
                    <a:pt x="65" y="1526"/>
                  </a:cubicBezTo>
                  <a:cubicBezTo>
                    <a:pt x="67" y="1528"/>
                    <a:pt x="65" y="1532"/>
                    <a:pt x="68" y="1527"/>
                  </a:cubicBezTo>
                  <a:cubicBezTo>
                    <a:pt x="68" y="1526"/>
                    <a:pt x="68" y="1526"/>
                    <a:pt x="68" y="1526"/>
                  </a:cubicBezTo>
                  <a:cubicBezTo>
                    <a:pt x="65" y="1523"/>
                    <a:pt x="68" y="1521"/>
                    <a:pt x="67" y="1518"/>
                  </a:cubicBezTo>
                  <a:close/>
                  <a:moveTo>
                    <a:pt x="14" y="1491"/>
                  </a:moveTo>
                  <a:cubicBezTo>
                    <a:pt x="9" y="1484"/>
                    <a:pt x="0" y="1505"/>
                    <a:pt x="8" y="1509"/>
                  </a:cubicBezTo>
                  <a:cubicBezTo>
                    <a:pt x="10" y="1510"/>
                    <a:pt x="12" y="1506"/>
                    <a:pt x="13" y="1504"/>
                  </a:cubicBezTo>
                  <a:cubicBezTo>
                    <a:pt x="13" y="1503"/>
                    <a:pt x="11" y="1498"/>
                    <a:pt x="11" y="1498"/>
                  </a:cubicBezTo>
                  <a:cubicBezTo>
                    <a:pt x="13" y="1498"/>
                    <a:pt x="16" y="1507"/>
                    <a:pt x="18" y="1505"/>
                  </a:cubicBezTo>
                  <a:cubicBezTo>
                    <a:pt x="20" y="1504"/>
                    <a:pt x="15" y="1492"/>
                    <a:pt x="14" y="1491"/>
                  </a:cubicBezTo>
                  <a:close/>
                  <a:moveTo>
                    <a:pt x="79" y="1491"/>
                  </a:moveTo>
                  <a:cubicBezTo>
                    <a:pt x="77" y="1495"/>
                    <a:pt x="83" y="1492"/>
                    <a:pt x="83" y="1494"/>
                  </a:cubicBezTo>
                  <a:cubicBezTo>
                    <a:pt x="83" y="1495"/>
                    <a:pt x="82" y="1496"/>
                    <a:pt x="82" y="1497"/>
                  </a:cubicBezTo>
                  <a:cubicBezTo>
                    <a:pt x="81" y="1500"/>
                    <a:pt x="84" y="1499"/>
                    <a:pt x="84" y="1497"/>
                  </a:cubicBezTo>
                  <a:cubicBezTo>
                    <a:pt x="85" y="1494"/>
                    <a:pt x="86" y="1494"/>
                    <a:pt x="87" y="1492"/>
                  </a:cubicBezTo>
                  <a:cubicBezTo>
                    <a:pt x="88" y="1489"/>
                    <a:pt x="81" y="1486"/>
                    <a:pt x="79" y="1491"/>
                  </a:cubicBezTo>
                  <a:close/>
                  <a:moveTo>
                    <a:pt x="87" y="1492"/>
                  </a:moveTo>
                  <a:cubicBezTo>
                    <a:pt x="87" y="1492"/>
                    <a:pt x="87" y="1492"/>
                    <a:pt x="87" y="1492"/>
                  </a:cubicBezTo>
                  <a:cubicBezTo>
                    <a:pt x="87" y="1492"/>
                    <a:pt x="87" y="1492"/>
                    <a:pt x="87" y="1492"/>
                  </a:cubicBezTo>
                  <a:close/>
                  <a:moveTo>
                    <a:pt x="73" y="1507"/>
                  </a:moveTo>
                  <a:cubicBezTo>
                    <a:pt x="72" y="1506"/>
                    <a:pt x="72" y="1506"/>
                    <a:pt x="72" y="1506"/>
                  </a:cubicBezTo>
                  <a:cubicBezTo>
                    <a:pt x="68" y="1506"/>
                    <a:pt x="73" y="1510"/>
                    <a:pt x="71" y="1511"/>
                  </a:cubicBezTo>
                  <a:cubicBezTo>
                    <a:pt x="69" y="1513"/>
                    <a:pt x="69" y="1506"/>
                    <a:pt x="68" y="1506"/>
                  </a:cubicBezTo>
                  <a:cubicBezTo>
                    <a:pt x="67" y="1506"/>
                    <a:pt x="65" y="1514"/>
                    <a:pt x="66" y="1515"/>
                  </a:cubicBezTo>
                  <a:cubicBezTo>
                    <a:pt x="67" y="1516"/>
                    <a:pt x="69" y="1516"/>
                    <a:pt x="70" y="1517"/>
                  </a:cubicBezTo>
                  <a:cubicBezTo>
                    <a:pt x="72" y="1522"/>
                    <a:pt x="71" y="1516"/>
                    <a:pt x="72" y="1515"/>
                  </a:cubicBezTo>
                  <a:cubicBezTo>
                    <a:pt x="73" y="1511"/>
                    <a:pt x="76" y="1512"/>
                    <a:pt x="73" y="1507"/>
                  </a:cubicBezTo>
                  <a:close/>
                  <a:moveTo>
                    <a:pt x="801" y="1166"/>
                  </a:moveTo>
                  <a:cubicBezTo>
                    <a:pt x="805" y="1163"/>
                    <a:pt x="818" y="1172"/>
                    <a:pt x="819" y="1171"/>
                  </a:cubicBezTo>
                  <a:cubicBezTo>
                    <a:pt x="819" y="1166"/>
                    <a:pt x="796" y="1151"/>
                    <a:pt x="792" y="1152"/>
                  </a:cubicBezTo>
                  <a:cubicBezTo>
                    <a:pt x="770" y="1159"/>
                    <a:pt x="789" y="1180"/>
                    <a:pt x="767" y="1176"/>
                  </a:cubicBezTo>
                  <a:cubicBezTo>
                    <a:pt x="765" y="1176"/>
                    <a:pt x="771" y="1170"/>
                    <a:pt x="773" y="1167"/>
                  </a:cubicBezTo>
                  <a:cubicBezTo>
                    <a:pt x="778" y="1156"/>
                    <a:pt x="766" y="1152"/>
                    <a:pt x="763" y="1143"/>
                  </a:cubicBezTo>
                  <a:cubicBezTo>
                    <a:pt x="762" y="1139"/>
                    <a:pt x="772" y="1144"/>
                    <a:pt x="772" y="1143"/>
                  </a:cubicBezTo>
                  <a:cubicBezTo>
                    <a:pt x="773" y="1128"/>
                    <a:pt x="748" y="1129"/>
                    <a:pt x="740" y="1137"/>
                  </a:cubicBezTo>
                  <a:cubicBezTo>
                    <a:pt x="739" y="1139"/>
                    <a:pt x="743" y="1139"/>
                    <a:pt x="741" y="1140"/>
                  </a:cubicBezTo>
                  <a:cubicBezTo>
                    <a:pt x="728" y="1148"/>
                    <a:pt x="748" y="1148"/>
                    <a:pt x="748" y="1148"/>
                  </a:cubicBezTo>
                  <a:cubicBezTo>
                    <a:pt x="747" y="1152"/>
                    <a:pt x="740" y="1152"/>
                    <a:pt x="738" y="1150"/>
                  </a:cubicBezTo>
                  <a:cubicBezTo>
                    <a:pt x="733" y="1146"/>
                    <a:pt x="743" y="1157"/>
                    <a:pt x="744" y="1160"/>
                  </a:cubicBezTo>
                  <a:cubicBezTo>
                    <a:pt x="747" y="1167"/>
                    <a:pt x="750" y="1180"/>
                    <a:pt x="761" y="1182"/>
                  </a:cubicBezTo>
                  <a:cubicBezTo>
                    <a:pt x="764" y="1183"/>
                    <a:pt x="762" y="1176"/>
                    <a:pt x="765" y="1178"/>
                  </a:cubicBezTo>
                  <a:cubicBezTo>
                    <a:pt x="772" y="1181"/>
                    <a:pt x="737" y="1210"/>
                    <a:pt x="767" y="1207"/>
                  </a:cubicBezTo>
                  <a:cubicBezTo>
                    <a:pt x="771" y="1206"/>
                    <a:pt x="772" y="1200"/>
                    <a:pt x="775" y="1201"/>
                  </a:cubicBezTo>
                  <a:cubicBezTo>
                    <a:pt x="779" y="1201"/>
                    <a:pt x="782" y="1207"/>
                    <a:pt x="787" y="1205"/>
                  </a:cubicBezTo>
                  <a:cubicBezTo>
                    <a:pt x="789" y="1204"/>
                    <a:pt x="786" y="1203"/>
                    <a:pt x="785" y="1202"/>
                  </a:cubicBezTo>
                  <a:cubicBezTo>
                    <a:pt x="779" y="1200"/>
                    <a:pt x="784" y="1198"/>
                    <a:pt x="788" y="1197"/>
                  </a:cubicBezTo>
                  <a:cubicBezTo>
                    <a:pt x="790" y="1196"/>
                    <a:pt x="801" y="1215"/>
                    <a:pt x="810" y="1210"/>
                  </a:cubicBezTo>
                  <a:cubicBezTo>
                    <a:pt x="814" y="1208"/>
                    <a:pt x="809" y="1202"/>
                    <a:pt x="815" y="1201"/>
                  </a:cubicBezTo>
                  <a:cubicBezTo>
                    <a:pt x="816" y="1201"/>
                    <a:pt x="815" y="1192"/>
                    <a:pt x="817" y="1195"/>
                  </a:cubicBezTo>
                  <a:cubicBezTo>
                    <a:pt x="819" y="1199"/>
                    <a:pt x="828" y="1196"/>
                    <a:pt x="820" y="1188"/>
                  </a:cubicBezTo>
                  <a:cubicBezTo>
                    <a:pt x="813" y="1182"/>
                    <a:pt x="830" y="1192"/>
                    <a:pt x="823" y="1186"/>
                  </a:cubicBezTo>
                  <a:cubicBezTo>
                    <a:pt x="823" y="1186"/>
                    <a:pt x="816" y="1183"/>
                    <a:pt x="818" y="1182"/>
                  </a:cubicBezTo>
                  <a:cubicBezTo>
                    <a:pt x="819" y="1181"/>
                    <a:pt x="821" y="1181"/>
                    <a:pt x="822" y="1181"/>
                  </a:cubicBezTo>
                  <a:cubicBezTo>
                    <a:pt x="817" y="1178"/>
                    <a:pt x="813" y="1176"/>
                    <a:pt x="812" y="1175"/>
                  </a:cubicBezTo>
                  <a:cubicBezTo>
                    <a:pt x="807" y="1174"/>
                    <a:pt x="798" y="1169"/>
                    <a:pt x="801" y="1166"/>
                  </a:cubicBezTo>
                  <a:close/>
                  <a:moveTo>
                    <a:pt x="875" y="1228"/>
                  </a:moveTo>
                  <a:cubicBezTo>
                    <a:pt x="876" y="1231"/>
                    <a:pt x="872" y="1234"/>
                    <a:pt x="872" y="1234"/>
                  </a:cubicBezTo>
                  <a:cubicBezTo>
                    <a:pt x="873" y="1235"/>
                    <a:pt x="879" y="1243"/>
                    <a:pt x="875" y="1243"/>
                  </a:cubicBezTo>
                  <a:cubicBezTo>
                    <a:pt x="871" y="1243"/>
                    <a:pt x="866" y="1233"/>
                    <a:pt x="864" y="1230"/>
                  </a:cubicBezTo>
                  <a:cubicBezTo>
                    <a:pt x="862" y="1226"/>
                    <a:pt x="874" y="1234"/>
                    <a:pt x="872" y="1227"/>
                  </a:cubicBezTo>
                  <a:cubicBezTo>
                    <a:pt x="871" y="1226"/>
                    <a:pt x="871" y="1222"/>
                    <a:pt x="870" y="1221"/>
                  </a:cubicBezTo>
                  <a:cubicBezTo>
                    <a:pt x="868" y="1218"/>
                    <a:pt x="823" y="1228"/>
                    <a:pt x="820" y="1232"/>
                  </a:cubicBezTo>
                  <a:cubicBezTo>
                    <a:pt x="819" y="1234"/>
                    <a:pt x="824" y="1240"/>
                    <a:pt x="825" y="1241"/>
                  </a:cubicBezTo>
                  <a:cubicBezTo>
                    <a:pt x="835" y="1248"/>
                    <a:pt x="851" y="1279"/>
                    <a:pt x="866" y="1277"/>
                  </a:cubicBezTo>
                  <a:cubicBezTo>
                    <a:pt x="875" y="1276"/>
                    <a:pt x="867" y="1270"/>
                    <a:pt x="867" y="1269"/>
                  </a:cubicBezTo>
                  <a:cubicBezTo>
                    <a:pt x="867" y="1269"/>
                    <a:pt x="879" y="1265"/>
                    <a:pt x="879" y="1263"/>
                  </a:cubicBezTo>
                  <a:cubicBezTo>
                    <a:pt x="878" y="1258"/>
                    <a:pt x="876" y="1246"/>
                    <a:pt x="881" y="1243"/>
                  </a:cubicBezTo>
                  <a:cubicBezTo>
                    <a:pt x="884" y="1241"/>
                    <a:pt x="893" y="1255"/>
                    <a:pt x="896" y="1250"/>
                  </a:cubicBezTo>
                  <a:cubicBezTo>
                    <a:pt x="897" y="1247"/>
                    <a:pt x="892" y="1245"/>
                    <a:pt x="890" y="1242"/>
                  </a:cubicBezTo>
                  <a:cubicBezTo>
                    <a:pt x="891" y="1242"/>
                    <a:pt x="891" y="1242"/>
                    <a:pt x="891" y="1242"/>
                  </a:cubicBezTo>
                  <a:cubicBezTo>
                    <a:pt x="886" y="1233"/>
                    <a:pt x="871" y="1209"/>
                    <a:pt x="875" y="1228"/>
                  </a:cubicBezTo>
                  <a:close/>
                  <a:moveTo>
                    <a:pt x="153" y="1093"/>
                  </a:moveTo>
                  <a:cubicBezTo>
                    <a:pt x="149" y="1092"/>
                    <a:pt x="154" y="1108"/>
                    <a:pt x="159" y="1100"/>
                  </a:cubicBezTo>
                  <a:cubicBezTo>
                    <a:pt x="161" y="1097"/>
                    <a:pt x="154" y="1094"/>
                    <a:pt x="153" y="1093"/>
                  </a:cubicBezTo>
                  <a:close/>
                  <a:moveTo>
                    <a:pt x="743" y="1451"/>
                  </a:moveTo>
                  <a:cubicBezTo>
                    <a:pt x="742" y="1449"/>
                    <a:pt x="741" y="1447"/>
                    <a:pt x="738" y="1447"/>
                  </a:cubicBezTo>
                  <a:cubicBezTo>
                    <a:pt x="735" y="1448"/>
                    <a:pt x="741" y="1462"/>
                    <a:pt x="735" y="1461"/>
                  </a:cubicBezTo>
                  <a:cubicBezTo>
                    <a:pt x="734" y="1461"/>
                    <a:pt x="727" y="1458"/>
                    <a:pt x="732" y="1458"/>
                  </a:cubicBezTo>
                  <a:cubicBezTo>
                    <a:pt x="732" y="1458"/>
                    <a:pt x="734" y="1457"/>
                    <a:pt x="733" y="1456"/>
                  </a:cubicBezTo>
                  <a:cubicBezTo>
                    <a:pt x="733" y="1455"/>
                    <a:pt x="725" y="1462"/>
                    <a:pt x="720" y="1459"/>
                  </a:cubicBezTo>
                  <a:cubicBezTo>
                    <a:pt x="719" y="1458"/>
                    <a:pt x="712" y="1457"/>
                    <a:pt x="714" y="1458"/>
                  </a:cubicBezTo>
                  <a:cubicBezTo>
                    <a:pt x="716" y="1459"/>
                    <a:pt x="719" y="1464"/>
                    <a:pt x="716" y="1465"/>
                  </a:cubicBezTo>
                  <a:cubicBezTo>
                    <a:pt x="710" y="1465"/>
                    <a:pt x="699" y="1458"/>
                    <a:pt x="692" y="1457"/>
                  </a:cubicBezTo>
                  <a:cubicBezTo>
                    <a:pt x="690" y="1457"/>
                    <a:pt x="705" y="1455"/>
                    <a:pt x="694" y="1452"/>
                  </a:cubicBezTo>
                  <a:cubicBezTo>
                    <a:pt x="690" y="1450"/>
                    <a:pt x="691" y="1446"/>
                    <a:pt x="691" y="1446"/>
                  </a:cubicBezTo>
                  <a:cubicBezTo>
                    <a:pt x="684" y="1446"/>
                    <a:pt x="692" y="1454"/>
                    <a:pt x="688" y="1456"/>
                  </a:cubicBezTo>
                  <a:cubicBezTo>
                    <a:pt x="687" y="1457"/>
                    <a:pt x="688" y="1454"/>
                    <a:pt x="686" y="1454"/>
                  </a:cubicBezTo>
                  <a:cubicBezTo>
                    <a:pt x="673" y="1454"/>
                    <a:pt x="675" y="1460"/>
                    <a:pt x="668" y="1461"/>
                  </a:cubicBezTo>
                  <a:cubicBezTo>
                    <a:pt x="662" y="1461"/>
                    <a:pt x="670" y="1467"/>
                    <a:pt x="668" y="1466"/>
                  </a:cubicBezTo>
                  <a:cubicBezTo>
                    <a:pt x="663" y="1466"/>
                    <a:pt x="658" y="1460"/>
                    <a:pt x="653" y="1460"/>
                  </a:cubicBezTo>
                  <a:cubicBezTo>
                    <a:pt x="646" y="1461"/>
                    <a:pt x="639" y="1474"/>
                    <a:pt x="627" y="1466"/>
                  </a:cubicBezTo>
                  <a:cubicBezTo>
                    <a:pt x="623" y="1464"/>
                    <a:pt x="625" y="1459"/>
                    <a:pt x="628" y="1457"/>
                  </a:cubicBezTo>
                  <a:cubicBezTo>
                    <a:pt x="635" y="1453"/>
                    <a:pt x="632" y="1436"/>
                    <a:pt x="645" y="1446"/>
                  </a:cubicBezTo>
                  <a:cubicBezTo>
                    <a:pt x="645" y="1446"/>
                    <a:pt x="649" y="1448"/>
                    <a:pt x="649" y="1448"/>
                  </a:cubicBezTo>
                  <a:cubicBezTo>
                    <a:pt x="650" y="1448"/>
                    <a:pt x="645" y="1438"/>
                    <a:pt x="644" y="1437"/>
                  </a:cubicBezTo>
                  <a:cubicBezTo>
                    <a:pt x="630" y="1433"/>
                    <a:pt x="622" y="1476"/>
                    <a:pt x="612" y="1477"/>
                  </a:cubicBezTo>
                  <a:cubicBezTo>
                    <a:pt x="611" y="1477"/>
                    <a:pt x="606" y="1467"/>
                    <a:pt x="604" y="1465"/>
                  </a:cubicBezTo>
                  <a:cubicBezTo>
                    <a:pt x="604" y="1465"/>
                    <a:pt x="607" y="1480"/>
                    <a:pt x="601" y="1472"/>
                  </a:cubicBezTo>
                  <a:cubicBezTo>
                    <a:pt x="600" y="1472"/>
                    <a:pt x="586" y="1467"/>
                    <a:pt x="582" y="1464"/>
                  </a:cubicBezTo>
                  <a:cubicBezTo>
                    <a:pt x="581" y="1463"/>
                    <a:pt x="576" y="1459"/>
                    <a:pt x="575" y="1461"/>
                  </a:cubicBezTo>
                  <a:cubicBezTo>
                    <a:pt x="574" y="1461"/>
                    <a:pt x="575" y="1462"/>
                    <a:pt x="575" y="1462"/>
                  </a:cubicBezTo>
                  <a:cubicBezTo>
                    <a:pt x="581" y="1466"/>
                    <a:pt x="595" y="1483"/>
                    <a:pt x="590" y="1488"/>
                  </a:cubicBezTo>
                  <a:cubicBezTo>
                    <a:pt x="587" y="1490"/>
                    <a:pt x="575" y="1468"/>
                    <a:pt x="568" y="1472"/>
                  </a:cubicBezTo>
                  <a:cubicBezTo>
                    <a:pt x="566" y="1474"/>
                    <a:pt x="571" y="1476"/>
                    <a:pt x="573" y="1478"/>
                  </a:cubicBezTo>
                  <a:cubicBezTo>
                    <a:pt x="578" y="1481"/>
                    <a:pt x="571" y="1484"/>
                    <a:pt x="571" y="1485"/>
                  </a:cubicBezTo>
                  <a:cubicBezTo>
                    <a:pt x="572" y="1487"/>
                    <a:pt x="577" y="1493"/>
                    <a:pt x="576" y="1495"/>
                  </a:cubicBezTo>
                  <a:cubicBezTo>
                    <a:pt x="574" y="1498"/>
                    <a:pt x="564" y="1483"/>
                    <a:pt x="559" y="1485"/>
                  </a:cubicBezTo>
                  <a:cubicBezTo>
                    <a:pt x="558" y="1485"/>
                    <a:pt x="562" y="1488"/>
                    <a:pt x="562" y="1489"/>
                  </a:cubicBezTo>
                  <a:cubicBezTo>
                    <a:pt x="563" y="1492"/>
                    <a:pt x="569" y="1490"/>
                    <a:pt x="568" y="1492"/>
                  </a:cubicBezTo>
                  <a:cubicBezTo>
                    <a:pt x="567" y="1499"/>
                    <a:pt x="551" y="1494"/>
                    <a:pt x="551" y="1487"/>
                  </a:cubicBezTo>
                  <a:cubicBezTo>
                    <a:pt x="551" y="1483"/>
                    <a:pt x="555" y="1484"/>
                    <a:pt x="552" y="1483"/>
                  </a:cubicBezTo>
                  <a:cubicBezTo>
                    <a:pt x="552" y="1483"/>
                    <a:pt x="551" y="1483"/>
                    <a:pt x="551" y="1482"/>
                  </a:cubicBezTo>
                  <a:cubicBezTo>
                    <a:pt x="550" y="1481"/>
                    <a:pt x="555" y="1478"/>
                    <a:pt x="553" y="1478"/>
                  </a:cubicBezTo>
                  <a:cubicBezTo>
                    <a:pt x="539" y="1476"/>
                    <a:pt x="545" y="1493"/>
                    <a:pt x="538" y="1495"/>
                  </a:cubicBezTo>
                  <a:cubicBezTo>
                    <a:pt x="535" y="1496"/>
                    <a:pt x="500" y="1495"/>
                    <a:pt x="510" y="1500"/>
                  </a:cubicBezTo>
                  <a:cubicBezTo>
                    <a:pt x="513" y="1501"/>
                    <a:pt x="500" y="1508"/>
                    <a:pt x="501" y="1505"/>
                  </a:cubicBezTo>
                  <a:cubicBezTo>
                    <a:pt x="502" y="1504"/>
                    <a:pt x="503" y="1502"/>
                    <a:pt x="502" y="1503"/>
                  </a:cubicBezTo>
                  <a:cubicBezTo>
                    <a:pt x="497" y="1505"/>
                    <a:pt x="499" y="1509"/>
                    <a:pt x="498" y="1509"/>
                  </a:cubicBezTo>
                  <a:cubicBezTo>
                    <a:pt x="488" y="1511"/>
                    <a:pt x="499" y="1500"/>
                    <a:pt x="494" y="1501"/>
                  </a:cubicBezTo>
                  <a:cubicBezTo>
                    <a:pt x="489" y="1501"/>
                    <a:pt x="493" y="1508"/>
                    <a:pt x="489" y="1510"/>
                  </a:cubicBezTo>
                  <a:cubicBezTo>
                    <a:pt x="488" y="1511"/>
                    <a:pt x="486" y="1510"/>
                    <a:pt x="485" y="1510"/>
                  </a:cubicBezTo>
                  <a:cubicBezTo>
                    <a:pt x="473" y="1507"/>
                    <a:pt x="487" y="1507"/>
                    <a:pt x="481" y="1504"/>
                  </a:cubicBezTo>
                  <a:cubicBezTo>
                    <a:pt x="477" y="1502"/>
                    <a:pt x="469" y="1515"/>
                    <a:pt x="463" y="1516"/>
                  </a:cubicBezTo>
                  <a:cubicBezTo>
                    <a:pt x="462" y="1516"/>
                    <a:pt x="457" y="1508"/>
                    <a:pt x="453" y="1508"/>
                  </a:cubicBezTo>
                  <a:cubicBezTo>
                    <a:pt x="453" y="1508"/>
                    <a:pt x="452" y="1509"/>
                    <a:pt x="452" y="1509"/>
                  </a:cubicBezTo>
                  <a:cubicBezTo>
                    <a:pt x="453" y="1516"/>
                    <a:pt x="457" y="1515"/>
                    <a:pt x="458" y="1516"/>
                  </a:cubicBezTo>
                  <a:cubicBezTo>
                    <a:pt x="459" y="1518"/>
                    <a:pt x="447" y="1533"/>
                    <a:pt x="441" y="1532"/>
                  </a:cubicBezTo>
                  <a:cubicBezTo>
                    <a:pt x="440" y="1531"/>
                    <a:pt x="446" y="1525"/>
                    <a:pt x="445" y="1523"/>
                  </a:cubicBezTo>
                  <a:cubicBezTo>
                    <a:pt x="442" y="1519"/>
                    <a:pt x="438" y="1530"/>
                    <a:pt x="433" y="1531"/>
                  </a:cubicBezTo>
                  <a:cubicBezTo>
                    <a:pt x="432" y="1531"/>
                    <a:pt x="438" y="1521"/>
                    <a:pt x="436" y="1520"/>
                  </a:cubicBezTo>
                  <a:cubicBezTo>
                    <a:pt x="422" y="1517"/>
                    <a:pt x="382" y="1545"/>
                    <a:pt x="354" y="1537"/>
                  </a:cubicBezTo>
                  <a:cubicBezTo>
                    <a:pt x="353" y="1537"/>
                    <a:pt x="366" y="1520"/>
                    <a:pt x="363" y="1520"/>
                  </a:cubicBezTo>
                  <a:cubicBezTo>
                    <a:pt x="355" y="1520"/>
                    <a:pt x="332" y="1572"/>
                    <a:pt x="305" y="1558"/>
                  </a:cubicBezTo>
                  <a:cubicBezTo>
                    <a:pt x="304" y="1557"/>
                    <a:pt x="317" y="1550"/>
                    <a:pt x="319" y="1550"/>
                  </a:cubicBezTo>
                  <a:cubicBezTo>
                    <a:pt x="329" y="1547"/>
                    <a:pt x="342" y="1540"/>
                    <a:pt x="345" y="1527"/>
                  </a:cubicBezTo>
                  <a:cubicBezTo>
                    <a:pt x="346" y="1524"/>
                    <a:pt x="337" y="1538"/>
                    <a:pt x="336" y="1540"/>
                  </a:cubicBezTo>
                  <a:cubicBezTo>
                    <a:pt x="335" y="1541"/>
                    <a:pt x="326" y="1537"/>
                    <a:pt x="326" y="1539"/>
                  </a:cubicBezTo>
                  <a:cubicBezTo>
                    <a:pt x="325" y="1539"/>
                    <a:pt x="325" y="1543"/>
                    <a:pt x="324" y="1541"/>
                  </a:cubicBezTo>
                  <a:cubicBezTo>
                    <a:pt x="319" y="1533"/>
                    <a:pt x="338" y="1531"/>
                    <a:pt x="338" y="1525"/>
                  </a:cubicBezTo>
                  <a:cubicBezTo>
                    <a:pt x="338" y="1523"/>
                    <a:pt x="330" y="1523"/>
                    <a:pt x="329" y="1523"/>
                  </a:cubicBezTo>
                  <a:cubicBezTo>
                    <a:pt x="308" y="1524"/>
                    <a:pt x="323" y="1518"/>
                    <a:pt x="317" y="1512"/>
                  </a:cubicBezTo>
                  <a:cubicBezTo>
                    <a:pt x="317" y="1511"/>
                    <a:pt x="316" y="1513"/>
                    <a:pt x="315" y="1514"/>
                  </a:cubicBezTo>
                  <a:cubicBezTo>
                    <a:pt x="314" y="1517"/>
                    <a:pt x="305" y="1513"/>
                    <a:pt x="304" y="1509"/>
                  </a:cubicBezTo>
                  <a:cubicBezTo>
                    <a:pt x="300" y="1500"/>
                    <a:pt x="325" y="1485"/>
                    <a:pt x="323" y="1480"/>
                  </a:cubicBezTo>
                  <a:cubicBezTo>
                    <a:pt x="322" y="1478"/>
                    <a:pt x="290" y="1497"/>
                    <a:pt x="284" y="1498"/>
                  </a:cubicBezTo>
                  <a:cubicBezTo>
                    <a:pt x="280" y="1499"/>
                    <a:pt x="273" y="1505"/>
                    <a:pt x="272" y="1501"/>
                  </a:cubicBezTo>
                  <a:cubicBezTo>
                    <a:pt x="272" y="1496"/>
                    <a:pt x="288" y="1493"/>
                    <a:pt x="283" y="1490"/>
                  </a:cubicBezTo>
                  <a:cubicBezTo>
                    <a:pt x="282" y="1489"/>
                    <a:pt x="265" y="1498"/>
                    <a:pt x="266" y="1495"/>
                  </a:cubicBezTo>
                  <a:cubicBezTo>
                    <a:pt x="266" y="1492"/>
                    <a:pt x="283" y="1475"/>
                    <a:pt x="282" y="1474"/>
                  </a:cubicBezTo>
                  <a:cubicBezTo>
                    <a:pt x="281" y="1472"/>
                    <a:pt x="257" y="1477"/>
                    <a:pt x="251" y="1477"/>
                  </a:cubicBezTo>
                  <a:cubicBezTo>
                    <a:pt x="238" y="1475"/>
                    <a:pt x="226" y="1456"/>
                    <a:pt x="220" y="1455"/>
                  </a:cubicBezTo>
                  <a:cubicBezTo>
                    <a:pt x="205" y="1453"/>
                    <a:pt x="220" y="1464"/>
                    <a:pt x="207" y="1461"/>
                  </a:cubicBezTo>
                  <a:cubicBezTo>
                    <a:pt x="199" y="1460"/>
                    <a:pt x="213" y="1447"/>
                    <a:pt x="211" y="1440"/>
                  </a:cubicBezTo>
                  <a:cubicBezTo>
                    <a:pt x="211" y="1440"/>
                    <a:pt x="201" y="1447"/>
                    <a:pt x="201" y="1447"/>
                  </a:cubicBezTo>
                  <a:cubicBezTo>
                    <a:pt x="193" y="1449"/>
                    <a:pt x="199" y="1460"/>
                    <a:pt x="188" y="1461"/>
                  </a:cubicBezTo>
                  <a:cubicBezTo>
                    <a:pt x="184" y="1461"/>
                    <a:pt x="189" y="1458"/>
                    <a:pt x="189" y="1456"/>
                  </a:cubicBezTo>
                  <a:cubicBezTo>
                    <a:pt x="187" y="1451"/>
                    <a:pt x="188" y="1450"/>
                    <a:pt x="188" y="1449"/>
                  </a:cubicBezTo>
                  <a:cubicBezTo>
                    <a:pt x="185" y="1446"/>
                    <a:pt x="181" y="1448"/>
                    <a:pt x="177" y="1448"/>
                  </a:cubicBezTo>
                  <a:cubicBezTo>
                    <a:pt x="177" y="1448"/>
                    <a:pt x="177" y="1448"/>
                    <a:pt x="177" y="1448"/>
                  </a:cubicBezTo>
                  <a:cubicBezTo>
                    <a:pt x="177" y="1448"/>
                    <a:pt x="177" y="1448"/>
                    <a:pt x="177" y="1448"/>
                  </a:cubicBezTo>
                  <a:cubicBezTo>
                    <a:pt x="177" y="1448"/>
                    <a:pt x="177" y="1448"/>
                    <a:pt x="176" y="1448"/>
                  </a:cubicBezTo>
                  <a:cubicBezTo>
                    <a:pt x="175" y="1448"/>
                    <a:pt x="174" y="1448"/>
                    <a:pt x="173" y="1447"/>
                  </a:cubicBezTo>
                  <a:cubicBezTo>
                    <a:pt x="170" y="1444"/>
                    <a:pt x="177" y="1444"/>
                    <a:pt x="177" y="1444"/>
                  </a:cubicBezTo>
                  <a:cubicBezTo>
                    <a:pt x="179" y="1442"/>
                    <a:pt x="169" y="1438"/>
                    <a:pt x="168" y="1436"/>
                  </a:cubicBezTo>
                  <a:cubicBezTo>
                    <a:pt x="167" y="1433"/>
                    <a:pt x="181" y="1427"/>
                    <a:pt x="179" y="1425"/>
                  </a:cubicBezTo>
                  <a:cubicBezTo>
                    <a:pt x="177" y="1423"/>
                    <a:pt x="161" y="1411"/>
                    <a:pt x="165" y="1406"/>
                  </a:cubicBezTo>
                  <a:cubicBezTo>
                    <a:pt x="166" y="1404"/>
                    <a:pt x="174" y="1408"/>
                    <a:pt x="175" y="1405"/>
                  </a:cubicBezTo>
                  <a:cubicBezTo>
                    <a:pt x="175" y="1403"/>
                    <a:pt x="170" y="1404"/>
                    <a:pt x="169" y="1403"/>
                  </a:cubicBezTo>
                  <a:cubicBezTo>
                    <a:pt x="165" y="1398"/>
                    <a:pt x="180" y="1400"/>
                    <a:pt x="173" y="1396"/>
                  </a:cubicBezTo>
                  <a:cubicBezTo>
                    <a:pt x="170" y="1394"/>
                    <a:pt x="162" y="1379"/>
                    <a:pt x="163" y="1377"/>
                  </a:cubicBezTo>
                  <a:cubicBezTo>
                    <a:pt x="164" y="1377"/>
                    <a:pt x="169" y="1380"/>
                    <a:pt x="170" y="1380"/>
                  </a:cubicBezTo>
                  <a:cubicBezTo>
                    <a:pt x="173" y="1381"/>
                    <a:pt x="177" y="1381"/>
                    <a:pt x="179" y="1378"/>
                  </a:cubicBezTo>
                  <a:cubicBezTo>
                    <a:pt x="185" y="1370"/>
                    <a:pt x="164" y="1370"/>
                    <a:pt x="186" y="1357"/>
                  </a:cubicBezTo>
                  <a:cubicBezTo>
                    <a:pt x="188" y="1356"/>
                    <a:pt x="184" y="1352"/>
                    <a:pt x="183" y="1352"/>
                  </a:cubicBezTo>
                  <a:cubicBezTo>
                    <a:pt x="175" y="1351"/>
                    <a:pt x="186" y="1345"/>
                    <a:pt x="186" y="1341"/>
                  </a:cubicBezTo>
                  <a:cubicBezTo>
                    <a:pt x="186" y="1334"/>
                    <a:pt x="178" y="1332"/>
                    <a:pt x="176" y="1327"/>
                  </a:cubicBezTo>
                  <a:cubicBezTo>
                    <a:pt x="175" y="1325"/>
                    <a:pt x="185" y="1328"/>
                    <a:pt x="187" y="1327"/>
                  </a:cubicBezTo>
                  <a:cubicBezTo>
                    <a:pt x="191" y="1323"/>
                    <a:pt x="174" y="1316"/>
                    <a:pt x="174" y="1316"/>
                  </a:cubicBezTo>
                  <a:cubicBezTo>
                    <a:pt x="174" y="1315"/>
                    <a:pt x="189" y="1319"/>
                    <a:pt x="189" y="1316"/>
                  </a:cubicBezTo>
                  <a:cubicBezTo>
                    <a:pt x="190" y="1312"/>
                    <a:pt x="175" y="1308"/>
                    <a:pt x="177" y="1305"/>
                  </a:cubicBezTo>
                  <a:cubicBezTo>
                    <a:pt x="181" y="1298"/>
                    <a:pt x="201" y="1318"/>
                    <a:pt x="200" y="1310"/>
                  </a:cubicBezTo>
                  <a:cubicBezTo>
                    <a:pt x="200" y="1309"/>
                    <a:pt x="197" y="1307"/>
                    <a:pt x="197" y="1307"/>
                  </a:cubicBezTo>
                  <a:cubicBezTo>
                    <a:pt x="180" y="1294"/>
                    <a:pt x="188" y="1284"/>
                    <a:pt x="182" y="1280"/>
                  </a:cubicBezTo>
                  <a:cubicBezTo>
                    <a:pt x="181" y="1279"/>
                    <a:pt x="179" y="1278"/>
                    <a:pt x="179" y="1277"/>
                  </a:cubicBezTo>
                  <a:cubicBezTo>
                    <a:pt x="176" y="1273"/>
                    <a:pt x="176" y="1252"/>
                    <a:pt x="170" y="1250"/>
                  </a:cubicBezTo>
                  <a:cubicBezTo>
                    <a:pt x="166" y="1248"/>
                    <a:pt x="159" y="1246"/>
                    <a:pt x="158" y="1243"/>
                  </a:cubicBezTo>
                  <a:cubicBezTo>
                    <a:pt x="153" y="1225"/>
                    <a:pt x="170" y="1218"/>
                    <a:pt x="170" y="1202"/>
                  </a:cubicBezTo>
                  <a:cubicBezTo>
                    <a:pt x="170" y="1200"/>
                    <a:pt x="167" y="1205"/>
                    <a:pt x="165" y="1206"/>
                  </a:cubicBezTo>
                  <a:cubicBezTo>
                    <a:pt x="164" y="1207"/>
                    <a:pt x="166" y="1199"/>
                    <a:pt x="166" y="1197"/>
                  </a:cubicBezTo>
                  <a:cubicBezTo>
                    <a:pt x="168" y="1187"/>
                    <a:pt x="163" y="1191"/>
                    <a:pt x="160" y="1187"/>
                  </a:cubicBezTo>
                  <a:cubicBezTo>
                    <a:pt x="159" y="1186"/>
                    <a:pt x="163" y="1181"/>
                    <a:pt x="160" y="1180"/>
                  </a:cubicBezTo>
                  <a:cubicBezTo>
                    <a:pt x="158" y="1180"/>
                    <a:pt x="155" y="1190"/>
                    <a:pt x="156" y="1191"/>
                  </a:cubicBezTo>
                  <a:cubicBezTo>
                    <a:pt x="156" y="1194"/>
                    <a:pt x="153" y="1187"/>
                    <a:pt x="154" y="1185"/>
                  </a:cubicBezTo>
                  <a:cubicBezTo>
                    <a:pt x="157" y="1177"/>
                    <a:pt x="151" y="1182"/>
                    <a:pt x="148" y="1181"/>
                  </a:cubicBezTo>
                  <a:cubicBezTo>
                    <a:pt x="147" y="1181"/>
                    <a:pt x="150" y="1175"/>
                    <a:pt x="150" y="1174"/>
                  </a:cubicBezTo>
                  <a:cubicBezTo>
                    <a:pt x="151" y="1169"/>
                    <a:pt x="147" y="1164"/>
                    <a:pt x="148" y="1160"/>
                  </a:cubicBezTo>
                  <a:cubicBezTo>
                    <a:pt x="148" y="1157"/>
                    <a:pt x="155" y="1155"/>
                    <a:pt x="155" y="1154"/>
                  </a:cubicBezTo>
                  <a:cubicBezTo>
                    <a:pt x="155" y="1150"/>
                    <a:pt x="142" y="1157"/>
                    <a:pt x="142" y="1152"/>
                  </a:cubicBezTo>
                  <a:cubicBezTo>
                    <a:pt x="142" y="1143"/>
                    <a:pt x="153" y="1116"/>
                    <a:pt x="158" y="1112"/>
                  </a:cubicBezTo>
                  <a:cubicBezTo>
                    <a:pt x="161" y="1110"/>
                    <a:pt x="167" y="1118"/>
                    <a:pt x="170" y="1113"/>
                  </a:cubicBezTo>
                  <a:cubicBezTo>
                    <a:pt x="177" y="1103"/>
                    <a:pt x="171" y="1094"/>
                    <a:pt x="176" y="1087"/>
                  </a:cubicBezTo>
                  <a:cubicBezTo>
                    <a:pt x="178" y="1082"/>
                    <a:pt x="197" y="1091"/>
                    <a:pt x="198" y="1089"/>
                  </a:cubicBezTo>
                  <a:cubicBezTo>
                    <a:pt x="198" y="1087"/>
                    <a:pt x="177" y="1069"/>
                    <a:pt x="181" y="1062"/>
                  </a:cubicBezTo>
                  <a:cubicBezTo>
                    <a:pt x="184" y="1055"/>
                    <a:pt x="199" y="1069"/>
                    <a:pt x="204" y="1063"/>
                  </a:cubicBezTo>
                  <a:cubicBezTo>
                    <a:pt x="205" y="1062"/>
                    <a:pt x="200" y="1062"/>
                    <a:pt x="200" y="1061"/>
                  </a:cubicBezTo>
                  <a:cubicBezTo>
                    <a:pt x="197" y="1059"/>
                    <a:pt x="208" y="1057"/>
                    <a:pt x="210" y="1057"/>
                  </a:cubicBezTo>
                  <a:cubicBezTo>
                    <a:pt x="220" y="1053"/>
                    <a:pt x="212" y="1069"/>
                    <a:pt x="223" y="1072"/>
                  </a:cubicBezTo>
                  <a:cubicBezTo>
                    <a:pt x="228" y="1074"/>
                    <a:pt x="223" y="1060"/>
                    <a:pt x="228" y="1058"/>
                  </a:cubicBezTo>
                  <a:cubicBezTo>
                    <a:pt x="230" y="1057"/>
                    <a:pt x="254" y="1055"/>
                    <a:pt x="256" y="1052"/>
                  </a:cubicBezTo>
                  <a:cubicBezTo>
                    <a:pt x="268" y="1040"/>
                    <a:pt x="236" y="1032"/>
                    <a:pt x="242" y="1024"/>
                  </a:cubicBezTo>
                  <a:cubicBezTo>
                    <a:pt x="244" y="1022"/>
                    <a:pt x="259" y="1031"/>
                    <a:pt x="261" y="1031"/>
                  </a:cubicBezTo>
                  <a:cubicBezTo>
                    <a:pt x="263" y="1032"/>
                    <a:pt x="258" y="1029"/>
                    <a:pt x="257" y="1027"/>
                  </a:cubicBezTo>
                  <a:cubicBezTo>
                    <a:pt x="253" y="1024"/>
                    <a:pt x="246" y="1020"/>
                    <a:pt x="251" y="1015"/>
                  </a:cubicBezTo>
                  <a:cubicBezTo>
                    <a:pt x="254" y="1012"/>
                    <a:pt x="262" y="1026"/>
                    <a:pt x="262" y="1026"/>
                  </a:cubicBezTo>
                  <a:cubicBezTo>
                    <a:pt x="269" y="1023"/>
                    <a:pt x="273" y="993"/>
                    <a:pt x="278" y="988"/>
                  </a:cubicBezTo>
                  <a:cubicBezTo>
                    <a:pt x="283" y="983"/>
                    <a:pt x="291" y="1001"/>
                    <a:pt x="293" y="1001"/>
                  </a:cubicBezTo>
                  <a:cubicBezTo>
                    <a:pt x="309" y="996"/>
                    <a:pt x="303" y="978"/>
                    <a:pt x="306" y="974"/>
                  </a:cubicBezTo>
                  <a:cubicBezTo>
                    <a:pt x="311" y="970"/>
                    <a:pt x="312" y="983"/>
                    <a:pt x="315" y="980"/>
                  </a:cubicBezTo>
                  <a:cubicBezTo>
                    <a:pt x="317" y="979"/>
                    <a:pt x="314" y="970"/>
                    <a:pt x="321" y="966"/>
                  </a:cubicBezTo>
                  <a:cubicBezTo>
                    <a:pt x="326" y="963"/>
                    <a:pt x="345" y="964"/>
                    <a:pt x="352" y="957"/>
                  </a:cubicBezTo>
                  <a:cubicBezTo>
                    <a:pt x="356" y="952"/>
                    <a:pt x="344" y="941"/>
                    <a:pt x="349" y="937"/>
                  </a:cubicBezTo>
                  <a:cubicBezTo>
                    <a:pt x="353" y="934"/>
                    <a:pt x="364" y="944"/>
                    <a:pt x="369" y="940"/>
                  </a:cubicBezTo>
                  <a:cubicBezTo>
                    <a:pt x="373" y="938"/>
                    <a:pt x="367" y="934"/>
                    <a:pt x="367" y="932"/>
                  </a:cubicBezTo>
                  <a:cubicBezTo>
                    <a:pt x="365" y="929"/>
                    <a:pt x="387" y="909"/>
                    <a:pt x="391" y="905"/>
                  </a:cubicBezTo>
                  <a:cubicBezTo>
                    <a:pt x="393" y="903"/>
                    <a:pt x="397" y="909"/>
                    <a:pt x="399" y="907"/>
                  </a:cubicBezTo>
                  <a:cubicBezTo>
                    <a:pt x="399" y="907"/>
                    <a:pt x="398" y="905"/>
                    <a:pt x="398" y="904"/>
                  </a:cubicBezTo>
                  <a:cubicBezTo>
                    <a:pt x="391" y="886"/>
                    <a:pt x="428" y="874"/>
                    <a:pt x="435" y="865"/>
                  </a:cubicBezTo>
                  <a:cubicBezTo>
                    <a:pt x="439" y="859"/>
                    <a:pt x="446" y="839"/>
                    <a:pt x="456" y="828"/>
                  </a:cubicBezTo>
                  <a:cubicBezTo>
                    <a:pt x="457" y="826"/>
                    <a:pt x="450" y="826"/>
                    <a:pt x="452" y="823"/>
                  </a:cubicBezTo>
                  <a:cubicBezTo>
                    <a:pt x="456" y="820"/>
                    <a:pt x="460" y="826"/>
                    <a:pt x="463" y="826"/>
                  </a:cubicBezTo>
                  <a:cubicBezTo>
                    <a:pt x="467" y="826"/>
                    <a:pt x="465" y="817"/>
                    <a:pt x="469" y="816"/>
                  </a:cubicBezTo>
                  <a:cubicBezTo>
                    <a:pt x="475" y="814"/>
                    <a:pt x="497" y="806"/>
                    <a:pt x="502" y="807"/>
                  </a:cubicBezTo>
                  <a:cubicBezTo>
                    <a:pt x="513" y="809"/>
                    <a:pt x="509" y="827"/>
                    <a:pt x="523" y="820"/>
                  </a:cubicBezTo>
                  <a:cubicBezTo>
                    <a:pt x="539" y="814"/>
                    <a:pt x="509" y="804"/>
                    <a:pt x="510" y="799"/>
                  </a:cubicBezTo>
                  <a:cubicBezTo>
                    <a:pt x="513" y="788"/>
                    <a:pt x="528" y="805"/>
                    <a:pt x="532" y="801"/>
                  </a:cubicBezTo>
                  <a:cubicBezTo>
                    <a:pt x="543" y="792"/>
                    <a:pt x="514" y="777"/>
                    <a:pt x="512" y="776"/>
                  </a:cubicBezTo>
                  <a:cubicBezTo>
                    <a:pt x="509" y="772"/>
                    <a:pt x="516" y="769"/>
                    <a:pt x="517" y="768"/>
                  </a:cubicBezTo>
                  <a:cubicBezTo>
                    <a:pt x="524" y="761"/>
                    <a:pt x="521" y="746"/>
                    <a:pt x="518" y="738"/>
                  </a:cubicBezTo>
                  <a:cubicBezTo>
                    <a:pt x="518" y="738"/>
                    <a:pt x="517" y="737"/>
                    <a:pt x="517" y="736"/>
                  </a:cubicBezTo>
                  <a:cubicBezTo>
                    <a:pt x="520" y="732"/>
                    <a:pt x="528" y="731"/>
                    <a:pt x="525" y="721"/>
                  </a:cubicBezTo>
                  <a:cubicBezTo>
                    <a:pt x="522" y="712"/>
                    <a:pt x="486" y="696"/>
                    <a:pt x="476" y="694"/>
                  </a:cubicBezTo>
                  <a:cubicBezTo>
                    <a:pt x="472" y="693"/>
                    <a:pt x="466" y="701"/>
                    <a:pt x="464" y="697"/>
                  </a:cubicBezTo>
                  <a:cubicBezTo>
                    <a:pt x="461" y="694"/>
                    <a:pt x="451" y="681"/>
                    <a:pt x="454" y="674"/>
                  </a:cubicBezTo>
                  <a:cubicBezTo>
                    <a:pt x="455" y="670"/>
                    <a:pt x="467" y="657"/>
                    <a:pt x="467" y="656"/>
                  </a:cubicBezTo>
                  <a:cubicBezTo>
                    <a:pt x="467" y="656"/>
                    <a:pt x="467" y="655"/>
                    <a:pt x="466" y="655"/>
                  </a:cubicBezTo>
                  <a:cubicBezTo>
                    <a:pt x="461" y="658"/>
                    <a:pt x="456" y="672"/>
                    <a:pt x="451" y="673"/>
                  </a:cubicBezTo>
                  <a:cubicBezTo>
                    <a:pt x="442" y="676"/>
                    <a:pt x="420" y="674"/>
                    <a:pt x="419" y="671"/>
                  </a:cubicBezTo>
                  <a:cubicBezTo>
                    <a:pt x="409" y="636"/>
                    <a:pt x="373" y="619"/>
                    <a:pt x="373" y="580"/>
                  </a:cubicBezTo>
                  <a:cubicBezTo>
                    <a:pt x="373" y="562"/>
                    <a:pt x="388" y="567"/>
                    <a:pt x="394" y="554"/>
                  </a:cubicBezTo>
                  <a:cubicBezTo>
                    <a:pt x="397" y="547"/>
                    <a:pt x="391" y="534"/>
                    <a:pt x="395" y="526"/>
                  </a:cubicBezTo>
                  <a:cubicBezTo>
                    <a:pt x="395" y="526"/>
                    <a:pt x="404" y="518"/>
                    <a:pt x="404" y="518"/>
                  </a:cubicBezTo>
                  <a:cubicBezTo>
                    <a:pt x="407" y="498"/>
                    <a:pt x="364" y="482"/>
                    <a:pt x="365" y="462"/>
                  </a:cubicBezTo>
                  <a:cubicBezTo>
                    <a:pt x="366" y="453"/>
                    <a:pt x="394" y="432"/>
                    <a:pt x="383" y="423"/>
                  </a:cubicBezTo>
                  <a:cubicBezTo>
                    <a:pt x="374" y="415"/>
                    <a:pt x="359" y="424"/>
                    <a:pt x="353" y="415"/>
                  </a:cubicBezTo>
                  <a:cubicBezTo>
                    <a:pt x="349" y="408"/>
                    <a:pt x="362" y="402"/>
                    <a:pt x="364" y="397"/>
                  </a:cubicBezTo>
                  <a:cubicBezTo>
                    <a:pt x="368" y="383"/>
                    <a:pt x="350" y="365"/>
                    <a:pt x="359" y="350"/>
                  </a:cubicBezTo>
                  <a:cubicBezTo>
                    <a:pt x="362" y="345"/>
                    <a:pt x="370" y="346"/>
                    <a:pt x="374" y="342"/>
                  </a:cubicBezTo>
                  <a:cubicBezTo>
                    <a:pt x="381" y="335"/>
                    <a:pt x="359" y="329"/>
                    <a:pt x="353" y="321"/>
                  </a:cubicBezTo>
                  <a:cubicBezTo>
                    <a:pt x="346" y="314"/>
                    <a:pt x="345" y="308"/>
                    <a:pt x="335" y="310"/>
                  </a:cubicBezTo>
                  <a:cubicBezTo>
                    <a:pt x="333" y="310"/>
                    <a:pt x="330" y="313"/>
                    <a:pt x="328" y="311"/>
                  </a:cubicBezTo>
                  <a:cubicBezTo>
                    <a:pt x="327" y="309"/>
                    <a:pt x="329" y="297"/>
                    <a:pt x="325" y="293"/>
                  </a:cubicBezTo>
                  <a:cubicBezTo>
                    <a:pt x="299" y="262"/>
                    <a:pt x="260" y="273"/>
                    <a:pt x="230" y="256"/>
                  </a:cubicBezTo>
                  <a:cubicBezTo>
                    <a:pt x="218" y="249"/>
                    <a:pt x="134" y="197"/>
                    <a:pt x="128" y="190"/>
                  </a:cubicBezTo>
                  <a:cubicBezTo>
                    <a:pt x="118" y="180"/>
                    <a:pt x="131" y="188"/>
                    <a:pt x="131" y="182"/>
                  </a:cubicBezTo>
                  <a:cubicBezTo>
                    <a:pt x="129" y="175"/>
                    <a:pt x="111" y="170"/>
                    <a:pt x="103" y="166"/>
                  </a:cubicBezTo>
                  <a:cubicBezTo>
                    <a:pt x="101" y="165"/>
                    <a:pt x="99" y="165"/>
                    <a:pt x="99" y="164"/>
                  </a:cubicBezTo>
                  <a:cubicBezTo>
                    <a:pt x="100" y="149"/>
                    <a:pt x="138" y="170"/>
                    <a:pt x="142" y="169"/>
                  </a:cubicBezTo>
                  <a:cubicBezTo>
                    <a:pt x="153" y="166"/>
                    <a:pt x="140" y="149"/>
                    <a:pt x="139" y="145"/>
                  </a:cubicBezTo>
                  <a:cubicBezTo>
                    <a:pt x="139" y="137"/>
                    <a:pt x="157" y="123"/>
                    <a:pt x="165" y="121"/>
                  </a:cubicBezTo>
                  <a:cubicBezTo>
                    <a:pt x="189" y="118"/>
                    <a:pt x="248" y="175"/>
                    <a:pt x="257" y="198"/>
                  </a:cubicBezTo>
                  <a:cubicBezTo>
                    <a:pt x="260" y="205"/>
                    <a:pt x="257" y="214"/>
                    <a:pt x="261" y="219"/>
                  </a:cubicBezTo>
                  <a:cubicBezTo>
                    <a:pt x="263" y="221"/>
                    <a:pt x="266" y="219"/>
                    <a:pt x="269" y="220"/>
                  </a:cubicBezTo>
                  <a:cubicBezTo>
                    <a:pt x="283" y="220"/>
                    <a:pt x="308" y="216"/>
                    <a:pt x="321" y="222"/>
                  </a:cubicBezTo>
                  <a:cubicBezTo>
                    <a:pt x="321" y="222"/>
                    <a:pt x="333" y="232"/>
                    <a:pt x="333" y="232"/>
                  </a:cubicBezTo>
                  <a:cubicBezTo>
                    <a:pt x="338" y="234"/>
                    <a:pt x="372" y="223"/>
                    <a:pt x="377" y="219"/>
                  </a:cubicBezTo>
                  <a:cubicBezTo>
                    <a:pt x="382" y="216"/>
                    <a:pt x="385" y="202"/>
                    <a:pt x="391" y="201"/>
                  </a:cubicBezTo>
                  <a:cubicBezTo>
                    <a:pt x="396" y="199"/>
                    <a:pt x="456" y="220"/>
                    <a:pt x="465" y="224"/>
                  </a:cubicBezTo>
                  <a:cubicBezTo>
                    <a:pt x="468" y="226"/>
                    <a:pt x="485" y="244"/>
                    <a:pt x="486" y="243"/>
                  </a:cubicBezTo>
                  <a:cubicBezTo>
                    <a:pt x="491" y="237"/>
                    <a:pt x="496" y="238"/>
                    <a:pt x="502" y="232"/>
                  </a:cubicBezTo>
                  <a:cubicBezTo>
                    <a:pt x="513" y="222"/>
                    <a:pt x="505" y="199"/>
                    <a:pt x="527" y="193"/>
                  </a:cubicBezTo>
                  <a:cubicBezTo>
                    <a:pt x="540" y="190"/>
                    <a:pt x="562" y="192"/>
                    <a:pt x="566" y="172"/>
                  </a:cubicBezTo>
                  <a:cubicBezTo>
                    <a:pt x="567" y="163"/>
                    <a:pt x="557" y="151"/>
                    <a:pt x="557" y="143"/>
                  </a:cubicBezTo>
                  <a:cubicBezTo>
                    <a:pt x="556" y="129"/>
                    <a:pt x="563" y="124"/>
                    <a:pt x="567" y="113"/>
                  </a:cubicBezTo>
                  <a:cubicBezTo>
                    <a:pt x="570" y="107"/>
                    <a:pt x="565" y="92"/>
                    <a:pt x="569" y="87"/>
                  </a:cubicBezTo>
                  <a:cubicBezTo>
                    <a:pt x="575" y="79"/>
                    <a:pt x="578" y="65"/>
                    <a:pt x="581" y="63"/>
                  </a:cubicBezTo>
                  <a:cubicBezTo>
                    <a:pt x="585" y="58"/>
                    <a:pt x="620" y="28"/>
                    <a:pt x="624" y="26"/>
                  </a:cubicBezTo>
                  <a:cubicBezTo>
                    <a:pt x="643" y="14"/>
                    <a:pt x="667" y="33"/>
                    <a:pt x="686" y="27"/>
                  </a:cubicBezTo>
                  <a:cubicBezTo>
                    <a:pt x="714" y="18"/>
                    <a:pt x="723" y="0"/>
                    <a:pt x="755" y="4"/>
                  </a:cubicBezTo>
                  <a:cubicBezTo>
                    <a:pt x="788" y="57"/>
                    <a:pt x="865" y="46"/>
                    <a:pt x="876" y="95"/>
                  </a:cubicBezTo>
                  <a:cubicBezTo>
                    <a:pt x="880" y="110"/>
                    <a:pt x="794" y="148"/>
                    <a:pt x="845" y="167"/>
                  </a:cubicBezTo>
                  <a:cubicBezTo>
                    <a:pt x="826" y="176"/>
                    <a:pt x="797" y="190"/>
                    <a:pt x="799" y="193"/>
                  </a:cubicBezTo>
                  <a:cubicBezTo>
                    <a:pt x="808" y="201"/>
                    <a:pt x="829" y="182"/>
                    <a:pt x="832" y="203"/>
                  </a:cubicBezTo>
                  <a:cubicBezTo>
                    <a:pt x="836" y="233"/>
                    <a:pt x="792" y="222"/>
                    <a:pt x="813" y="274"/>
                  </a:cubicBezTo>
                  <a:cubicBezTo>
                    <a:pt x="815" y="281"/>
                    <a:pt x="818" y="296"/>
                    <a:pt x="823" y="301"/>
                  </a:cubicBezTo>
                  <a:cubicBezTo>
                    <a:pt x="837" y="313"/>
                    <a:pt x="866" y="308"/>
                    <a:pt x="881" y="319"/>
                  </a:cubicBezTo>
                  <a:cubicBezTo>
                    <a:pt x="894" y="328"/>
                    <a:pt x="900" y="350"/>
                    <a:pt x="912" y="361"/>
                  </a:cubicBezTo>
                  <a:cubicBezTo>
                    <a:pt x="918" y="366"/>
                    <a:pt x="938" y="371"/>
                    <a:pt x="942" y="379"/>
                  </a:cubicBezTo>
                  <a:cubicBezTo>
                    <a:pt x="956" y="408"/>
                    <a:pt x="845" y="470"/>
                    <a:pt x="856" y="506"/>
                  </a:cubicBezTo>
                  <a:cubicBezTo>
                    <a:pt x="859" y="518"/>
                    <a:pt x="875" y="526"/>
                    <a:pt x="881" y="536"/>
                  </a:cubicBezTo>
                  <a:cubicBezTo>
                    <a:pt x="896" y="563"/>
                    <a:pt x="930" y="619"/>
                    <a:pt x="938" y="647"/>
                  </a:cubicBezTo>
                  <a:cubicBezTo>
                    <a:pt x="940" y="652"/>
                    <a:pt x="956" y="689"/>
                    <a:pt x="949" y="692"/>
                  </a:cubicBezTo>
                  <a:cubicBezTo>
                    <a:pt x="944" y="695"/>
                    <a:pt x="921" y="687"/>
                    <a:pt x="915" y="695"/>
                  </a:cubicBezTo>
                  <a:cubicBezTo>
                    <a:pt x="912" y="699"/>
                    <a:pt x="922" y="701"/>
                    <a:pt x="925" y="705"/>
                  </a:cubicBezTo>
                  <a:cubicBezTo>
                    <a:pt x="930" y="711"/>
                    <a:pt x="917" y="715"/>
                    <a:pt x="917" y="715"/>
                  </a:cubicBezTo>
                  <a:cubicBezTo>
                    <a:pt x="915" y="717"/>
                    <a:pt x="917" y="719"/>
                    <a:pt x="917" y="722"/>
                  </a:cubicBezTo>
                  <a:cubicBezTo>
                    <a:pt x="917" y="726"/>
                    <a:pt x="917" y="730"/>
                    <a:pt x="917" y="734"/>
                  </a:cubicBezTo>
                  <a:cubicBezTo>
                    <a:pt x="917" y="740"/>
                    <a:pt x="899" y="755"/>
                    <a:pt x="905" y="758"/>
                  </a:cubicBezTo>
                  <a:cubicBezTo>
                    <a:pt x="917" y="765"/>
                    <a:pt x="930" y="751"/>
                    <a:pt x="927" y="773"/>
                  </a:cubicBezTo>
                  <a:cubicBezTo>
                    <a:pt x="925" y="784"/>
                    <a:pt x="890" y="772"/>
                    <a:pt x="908" y="806"/>
                  </a:cubicBezTo>
                  <a:cubicBezTo>
                    <a:pt x="921" y="831"/>
                    <a:pt x="949" y="818"/>
                    <a:pt x="958" y="844"/>
                  </a:cubicBezTo>
                  <a:cubicBezTo>
                    <a:pt x="961" y="852"/>
                    <a:pt x="939" y="853"/>
                    <a:pt x="937" y="856"/>
                  </a:cubicBezTo>
                  <a:cubicBezTo>
                    <a:pt x="931" y="868"/>
                    <a:pt x="943" y="866"/>
                    <a:pt x="946" y="872"/>
                  </a:cubicBezTo>
                  <a:cubicBezTo>
                    <a:pt x="946" y="872"/>
                    <a:pt x="943" y="884"/>
                    <a:pt x="943" y="884"/>
                  </a:cubicBezTo>
                  <a:cubicBezTo>
                    <a:pt x="949" y="902"/>
                    <a:pt x="991" y="889"/>
                    <a:pt x="994" y="932"/>
                  </a:cubicBezTo>
                  <a:cubicBezTo>
                    <a:pt x="995" y="951"/>
                    <a:pt x="941" y="976"/>
                    <a:pt x="939" y="981"/>
                  </a:cubicBezTo>
                  <a:cubicBezTo>
                    <a:pt x="937" y="987"/>
                    <a:pt x="972" y="1013"/>
                    <a:pt x="977" y="1017"/>
                  </a:cubicBezTo>
                  <a:cubicBezTo>
                    <a:pt x="997" y="1034"/>
                    <a:pt x="1025" y="1041"/>
                    <a:pt x="1046" y="1058"/>
                  </a:cubicBezTo>
                  <a:cubicBezTo>
                    <a:pt x="1054" y="1065"/>
                    <a:pt x="1051" y="1075"/>
                    <a:pt x="1059" y="1083"/>
                  </a:cubicBezTo>
                  <a:cubicBezTo>
                    <a:pt x="1063" y="1088"/>
                    <a:pt x="1078" y="1099"/>
                    <a:pt x="1080" y="1105"/>
                  </a:cubicBezTo>
                  <a:cubicBezTo>
                    <a:pt x="1081" y="1109"/>
                    <a:pt x="1068" y="1124"/>
                    <a:pt x="1067" y="1127"/>
                  </a:cubicBezTo>
                  <a:cubicBezTo>
                    <a:pt x="1048" y="1167"/>
                    <a:pt x="1035" y="1180"/>
                    <a:pt x="1004" y="1210"/>
                  </a:cubicBezTo>
                  <a:cubicBezTo>
                    <a:pt x="986" y="1227"/>
                    <a:pt x="969" y="1245"/>
                    <a:pt x="952" y="1263"/>
                  </a:cubicBezTo>
                  <a:cubicBezTo>
                    <a:pt x="950" y="1260"/>
                    <a:pt x="948" y="1258"/>
                    <a:pt x="946" y="1257"/>
                  </a:cubicBezTo>
                  <a:cubicBezTo>
                    <a:pt x="946" y="1257"/>
                    <a:pt x="940" y="1246"/>
                    <a:pt x="939" y="1244"/>
                  </a:cubicBezTo>
                  <a:cubicBezTo>
                    <a:pt x="939" y="1243"/>
                    <a:pt x="939" y="1243"/>
                    <a:pt x="939" y="1243"/>
                  </a:cubicBezTo>
                  <a:cubicBezTo>
                    <a:pt x="937" y="1239"/>
                    <a:pt x="911" y="1220"/>
                    <a:pt x="910" y="1226"/>
                  </a:cubicBezTo>
                  <a:cubicBezTo>
                    <a:pt x="909" y="1231"/>
                    <a:pt x="940" y="1245"/>
                    <a:pt x="941" y="1254"/>
                  </a:cubicBezTo>
                  <a:cubicBezTo>
                    <a:pt x="942" y="1256"/>
                    <a:pt x="935" y="1253"/>
                    <a:pt x="934" y="1254"/>
                  </a:cubicBezTo>
                  <a:cubicBezTo>
                    <a:pt x="930" y="1254"/>
                    <a:pt x="925" y="1274"/>
                    <a:pt x="926" y="1275"/>
                  </a:cubicBezTo>
                  <a:cubicBezTo>
                    <a:pt x="934" y="1286"/>
                    <a:pt x="936" y="1269"/>
                    <a:pt x="940" y="1269"/>
                  </a:cubicBezTo>
                  <a:cubicBezTo>
                    <a:pt x="942" y="1269"/>
                    <a:pt x="943" y="1271"/>
                    <a:pt x="942" y="1273"/>
                  </a:cubicBezTo>
                  <a:cubicBezTo>
                    <a:pt x="902" y="1314"/>
                    <a:pt x="862" y="1356"/>
                    <a:pt x="817" y="1391"/>
                  </a:cubicBezTo>
                  <a:cubicBezTo>
                    <a:pt x="793" y="1409"/>
                    <a:pt x="761" y="1427"/>
                    <a:pt x="743" y="1451"/>
                  </a:cubicBezTo>
                  <a:close/>
                  <a:moveTo>
                    <a:pt x="995" y="1122"/>
                  </a:moveTo>
                  <a:cubicBezTo>
                    <a:pt x="995" y="1122"/>
                    <a:pt x="996" y="1123"/>
                    <a:pt x="997" y="1124"/>
                  </a:cubicBezTo>
                  <a:cubicBezTo>
                    <a:pt x="997" y="1125"/>
                    <a:pt x="997" y="1125"/>
                    <a:pt x="998" y="1125"/>
                  </a:cubicBezTo>
                  <a:cubicBezTo>
                    <a:pt x="998" y="1126"/>
                    <a:pt x="998" y="1125"/>
                    <a:pt x="997" y="1124"/>
                  </a:cubicBezTo>
                  <a:cubicBezTo>
                    <a:pt x="996" y="1122"/>
                    <a:pt x="996" y="1120"/>
                    <a:pt x="995" y="1119"/>
                  </a:cubicBezTo>
                  <a:cubicBezTo>
                    <a:pt x="995" y="1119"/>
                    <a:pt x="994" y="1118"/>
                    <a:pt x="995" y="1118"/>
                  </a:cubicBezTo>
                  <a:cubicBezTo>
                    <a:pt x="996" y="1116"/>
                    <a:pt x="999" y="1116"/>
                    <a:pt x="1001" y="1115"/>
                  </a:cubicBezTo>
                  <a:cubicBezTo>
                    <a:pt x="1006" y="1114"/>
                    <a:pt x="1026" y="1091"/>
                    <a:pt x="1016" y="1085"/>
                  </a:cubicBezTo>
                  <a:cubicBezTo>
                    <a:pt x="1000" y="1074"/>
                    <a:pt x="1003" y="1097"/>
                    <a:pt x="1000" y="1099"/>
                  </a:cubicBezTo>
                  <a:cubicBezTo>
                    <a:pt x="1000" y="1099"/>
                    <a:pt x="985" y="1095"/>
                    <a:pt x="985" y="1101"/>
                  </a:cubicBezTo>
                  <a:cubicBezTo>
                    <a:pt x="985" y="1106"/>
                    <a:pt x="1001" y="1110"/>
                    <a:pt x="995" y="1113"/>
                  </a:cubicBezTo>
                  <a:cubicBezTo>
                    <a:pt x="992" y="1114"/>
                    <a:pt x="986" y="1118"/>
                    <a:pt x="984" y="1121"/>
                  </a:cubicBezTo>
                  <a:cubicBezTo>
                    <a:pt x="986" y="1122"/>
                    <a:pt x="986" y="1122"/>
                    <a:pt x="986" y="1122"/>
                  </a:cubicBezTo>
                  <a:cubicBezTo>
                    <a:pt x="970" y="1137"/>
                    <a:pt x="989" y="1120"/>
                    <a:pt x="995" y="1122"/>
                  </a:cubicBezTo>
                  <a:close/>
                  <a:moveTo>
                    <a:pt x="412" y="371"/>
                  </a:moveTo>
                  <a:cubicBezTo>
                    <a:pt x="412" y="371"/>
                    <a:pt x="412" y="371"/>
                    <a:pt x="412" y="371"/>
                  </a:cubicBezTo>
                  <a:cubicBezTo>
                    <a:pt x="413" y="371"/>
                    <a:pt x="413" y="375"/>
                    <a:pt x="413" y="375"/>
                  </a:cubicBezTo>
                  <a:cubicBezTo>
                    <a:pt x="413" y="375"/>
                    <a:pt x="415" y="373"/>
                    <a:pt x="415" y="373"/>
                  </a:cubicBezTo>
                  <a:cubicBezTo>
                    <a:pt x="425" y="357"/>
                    <a:pt x="410" y="350"/>
                    <a:pt x="412" y="371"/>
                  </a:cubicBezTo>
                  <a:close/>
                  <a:moveTo>
                    <a:pt x="420" y="349"/>
                  </a:moveTo>
                  <a:cubicBezTo>
                    <a:pt x="419" y="347"/>
                    <a:pt x="403" y="340"/>
                    <a:pt x="403" y="344"/>
                  </a:cubicBezTo>
                  <a:cubicBezTo>
                    <a:pt x="403" y="346"/>
                    <a:pt x="409" y="348"/>
                    <a:pt x="410" y="351"/>
                  </a:cubicBezTo>
                  <a:cubicBezTo>
                    <a:pt x="411" y="351"/>
                    <a:pt x="411" y="351"/>
                    <a:pt x="411" y="351"/>
                  </a:cubicBezTo>
                  <a:cubicBezTo>
                    <a:pt x="412" y="353"/>
                    <a:pt x="421" y="353"/>
                    <a:pt x="423" y="351"/>
                  </a:cubicBezTo>
                  <a:cubicBezTo>
                    <a:pt x="423" y="350"/>
                    <a:pt x="421" y="349"/>
                    <a:pt x="420" y="349"/>
                  </a:cubicBezTo>
                  <a:close/>
                  <a:moveTo>
                    <a:pt x="476" y="539"/>
                  </a:moveTo>
                  <a:cubicBezTo>
                    <a:pt x="474" y="536"/>
                    <a:pt x="465" y="529"/>
                    <a:pt x="465" y="531"/>
                  </a:cubicBezTo>
                  <a:cubicBezTo>
                    <a:pt x="464" y="534"/>
                    <a:pt x="460" y="529"/>
                    <a:pt x="459" y="532"/>
                  </a:cubicBezTo>
                  <a:cubicBezTo>
                    <a:pt x="459" y="534"/>
                    <a:pt x="466" y="537"/>
                    <a:pt x="465" y="541"/>
                  </a:cubicBezTo>
                  <a:cubicBezTo>
                    <a:pt x="465" y="542"/>
                    <a:pt x="464" y="543"/>
                    <a:pt x="463" y="544"/>
                  </a:cubicBezTo>
                  <a:cubicBezTo>
                    <a:pt x="461" y="545"/>
                    <a:pt x="459" y="544"/>
                    <a:pt x="458" y="543"/>
                  </a:cubicBezTo>
                  <a:cubicBezTo>
                    <a:pt x="458" y="543"/>
                    <a:pt x="447" y="546"/>
                    <a:pt x="444" y="542"/>
                  </a:cubicBezTo>
                  <a:cubicBezTo>
                    <a:pt x="440" y="539"/>
                    <a:pt x="444" y="527"/>
                    <a:pt x="439" y="527"/>
                  </a:cubicBezTo>
                  <a:cubicBezTo>
                    <a:pt x="435" y="527"/>
                    <a:pt x="441" y="539"/>
                    <a:pt x="437" y="538"/>
                  </a:cubicBezTo>
                  <a:cubicBezTo>
                    <a:pt x="433" y="537"/>
                    <a:pt x="435" y="540"/>
                    <a:pt x="434" y="542"/>
                  </a:cubicBezTo>
                  <a:cubicBezTo>
                    <a:pt x="430" y="549"/>
                    <a:pt x="435" y="559"/>
                    <a:pt x="437" y="562"/>
                  </a:cubicBezTo>
                  <a:cubicBezTo>
                    <a:pt x="437" y="562"/>
                    <a:pt x="437" y="562"/>
                    <a:pt x="437" y="562"/>
                  </a:cubicBezTo>
                  <a:cubicBezTo>
                    <a:pt x="446" y="570"/>
                    <a:pt x="442" y="546"/>
                    <a:pt x="442" y="545"/>
                  </a:cubicBezTo>
                  <a:cubicBezTo>
                    <a:pt x="443" y="544"/>
                    <a:pt x="446" y="546"/>
                    <a:pt x="447" y="546"/>
                  </a:cubicBezTo>
                  <a:cubicBezTo>
                    <a:pt x="452" y="547"/>
                    <a:pt x="464" y="556"/>
                    <a:pt x="467" y="549"/>
                  </a:cubicBezTo>
                  <a:cubicBezTo>
                    <a:pt x="468" y="546"/>
                    <a:pt x="465" y="544"/>
                    <a:pt x="467" y="541"/>
                  </a:cubicBezTo>
                  <a:cubicBezTo>
                    <a:pt x="467" y="540"/>
                    <a:pt x="479" y="544"/>
                    <a:pt x="476" y="539"/>
                  </a:cubicBezTo>
                  <a:close/>
                  <a:moveTo>
                    <a:pt x="207" y="1278"/>
                  </a:moveTo>
                  <a:cubicBezTo>
                    <a:pt x="205" y="1276"/>
                    <a:pt x="203" y="1273"/>
                    <a:pt x="202" y="1270"/>
                  </a:cubicBezTo>
                  <a:cubicBezTo>
                    <a:pt x="202" y="1270"/>
                    <a:pt x="202" y="1270"/>
                    <a:pt x="202" y="1270"/>
                  </a:cubicBezTo>
                  <a:cubicBezTo>
                    <a:pt x="200" y="1267"/>
                    <a:pt x="197" y="1275"/>
                    <a:pt x="201" y="1281"/>
                  </a:cubicBezTo>
                  <a:cubicBezTo>
                    <a:pt x="202" y="1282"/>
                    <a:pt x="228" y="1298"/>
                    <a:pt x="207" y="1278"/>
                  </a:cubicBezTo>
                  <a:close/>
                  <a:moveTo>
                    <a:pt x="257" y="1386"/>
                  </a:moveTo>
                  <a:cubicBezTo>
                    <a:pt x="256" y="1385"/>
                    <a:pt x="256" y="1385"/>
                    <a:pt x="256" y="1385"/>
                  </a:cubicBezTo>
                  <a:cubicBezTo>
                    <a:pt x="254" y="1382"/>
                    <a:pt x="251" y="1380"/>
                    <a:pt x="248" y="1378"/>
                  </a:cubicBezTo>
                  <a:cubicBezTo>
                    <a:pt x="222" y="1363"/>
                    <a:pt x="263" y="1432"/>
                    <a:pt x="257" y="1386"/>
                  </a:cubicBezTo>
                  <a:close/>
                  <a:moveTo>
                    <a:pt x="905" y="1046"/>
                  </a:moveTo>
                  <a:cubicBezTo>
                    <a:pt x="902" y="1046"/>
                    <a:pt x="860" y="1008"/>
                    <a:pt x="856" y="1005"/>
                  </a:cubicBezTo>
                  <a:cubicBezTo>
                    <a:pt x="856" y="1005"/>
                    <a:pt x="855" y="1004"/>
                    <a:pt x="854" y="1004"/>
                  </a:cubicBezTo>
                  <a:cubicBezTo>
                    <a:pt x="847" y="1003"/>
                    <a:pt x="869" y="1019"/>
                    <a:pt x="864" y="1025"/>
                  </a:cubicBezTo>
                  <a:cubicBezTo>
                    <a:pt x="862" y="1029"/>
                    <a:pt x="846" y="1014"/>
                    <a:pt x="845" y="1016"/>
                  </a:cubicBezTo>
                  <a:cubicBezTo>
                    <a:pt x="844" y="1017"/>
                    <a:pt x="849" y="1021"/>
                    <a:pt x="850" y="1021"/>
                  </a:cubicBezTo>
                  <a:cubicBezTo>
                    <a:pt x="857" y="1027"/>
                    <a:pt x="879" y="1053"/>
                    <a:pt x="879" y="1055"/>
                  </a:cubicBezTo>
                  <a:cubicBezTo>
                    <a:pt x="875" y="1075"/>
                    <a:pt x="897" y="1062"/>
                    <a:pt x="902" y="1064"/>
                  </a:cubicBezTo>
                  <a:cubicBezTo>
                    <a:pt x="903" y="1064"/>
                    <a:pt x="903" y="1084"/>
                    <a:pt x="910" y="1074"/>
                  </a:cubicBezTo>
                  <a:cubicBezTo>
                    <a:pt x="911" y="1073"/>
                    <a:pt x="921" y="1066"/>
                    <a:pt x="921" y="1066"/>
                  </a:cubicBezTo>
                  <a:cubicBezTo>
                    <a:pt x="925" y="1072"/>
                    <a:pt x="919" y="1076"/>
                    <a:pt x="920" y="1078"/>
                  </a:cubicBezTo>
                  <a:cubicBezTo>
                    <a:pt x="922" y="1082"/>
                    <a:pt x="946" y="1107"/>
                    <a:pt x="953" y="1109"/>
                  </a:cubicBezTo>
                  <a:cubicBezTo>
                    <a:pt x="954" y="1110"/>
                    <a:pt x="954" y="1110"/>
                    <a:pt x="954" y="1110"/>
                  </a:cubicBezTo>
                  <a:cubicBezTo>
                    <a:pt x="964" y="1110"/>
                    <a:pt x="944" y="1136"/>
                    <a:pt x="944" y="1135"/>
                  </a:cubicBezTo>
                  <a:cubicBezTo>
                    <a:pt x="948" y="1141"/>
                    <a:pt x="959" y="1118"/>
                    <a:pt x="960" y="1117"/>
                  </a:cubicBezTo>
                  <a:cubicBezTo>
                    <a:pt x="962" y="1116"/>
                    <a:pt x="972" y="1131"/>
                    <a:pt x="975" y="1125"/>
                  </a:cubicBezTo>
                  <a:cubicBezTo>
                    <a:pt x="976" y="1123"/>
                    <a:pt x="968" y="1118"/>
                    <a:pt x="967" y="1118"/>
                  </a:cubicBezTo>
                  <a:cubicBezTo>
                    <a:pt x="962" y="1117"/>
                    <a:pt x="937" y="1082"/>
                    <a:pt x="936" y="1069"/>
                  </a:cubicBezTo>
                  <a:cubicBezTo>
                    <a:pt x="935" y="1065"/>
                    <a:pt x="935" y="1050"/>
                    <a:pt x="936" y="1052"/>
                  </a:cubicBezTo>
                  <a:cubicBezTo>
                    <a:pt x="937" y="1055"/>
                    <a:pt x="950" y="1062"/>
                    <a:pt x="942" y="1052"/>
                  </a:cubicBezTo>
                  <a:cubicBezTo>
                    <a:pt x="940" y="1050"/>
                    <a:pt x="938" y="1048"/>
                    <a:pt x="935" y="1047"/>
                  </a:cubicBezTo>
                  <a:cubicBezTo>
                    <a:pt x="924" y="1042"/>
                    <a:pt x="932" y="1047"/>
                    <a:pt x="929" y="1050"/>
                  </a:cubicBezTo>
                  <a:cubicBezTo>
                    <a:pt x="924" y="1053"/>
                    <a:pt x="920" y="1046"/>
                    <a:pt x="905" y="1046"/>
                  </a:cubicBezTo>
                  <a:close/>
                  <a:moveTo>
                    <a:pt x="908" y="1139"/>
                  </a:moveTo>
                  <a:cubicBezTo>
                    <a:pt x="908" y="1140"/>
                    <a:pt x="908" y="1140"/>
                    <a:pt x="908" y="1140"/>
                  </a:cubicBezTo>
                  <a:cubicBezTo>
                    <a:pt x="909" y="1144"/>
                    <a:pt x="916" y="1138"/>
                    <a:pt x="919" y="1137"/>
                  </a:cubicBezTo>
                  <a:cubicBezTo>
                    <a:pt x="936" y="1132"/>
                    <a:pt x="904" y="1087"/>
                    <a:pt x="895" y="1086"/>
                  </a:cubicBezTo>
                  <a:cubicBezTo>
                    <a:pt x="887" y="1085"/>
                    <a:pt x="898" y="1098"/>
                    <a:pt x="900" y="1100"/>
                  </a:cubicBezTo>
                  <a:cubicBezTo>
                    <a:pt x="903" y="1102"/>
                    <a:pt x="906" y="1116"/>
                    <a:pt x="906" y="1118"/>
                  </a:cubicBezTo>
                  <a:cubicBezTo>
                    <a:pt x="905" y="1119"/>
                    <a:pt x="897" y="1115"/>
                    <a:pt x="897" y="1115"/>
                  </a:cubicBezTo>
                  <a:cubicBezTo>
                    <a:pt x="897" y="1117"/>
                    <a:pt x="900" y="1117"/>
                    <a:pt x="901" y="1118"/>
                  </a:cubicBezTo>
                  <a:cubicBezTo>
                    <a:pt x="904" y="1126"/>
                    <a:pt x="894" y="1116"/>
                    <a:pt x="892" y="1114"/>
                  </a:cubicBezTo>
                  <a:cubicBezTo>
                    <a:pt x="891" y="1113"/>
                    <a:pt x="890" y="1106"/>
                    <a:pt x="889" y="1107"/>
                  </a:cubicBezTo>
                  <a:cubicBezTo>
                    <a:pt x="876" y="1115"/>
                    <a:pt x="903" y="1123"/>
                    <a:pt x="904" y="1132"/>
                  </a:cubicBezTo>
                  <a:cubicBezTo>
                    <a:pt x="905" y="1134"/>
                    <a:pt x="907" y="1137"/>
                    <a:pt x="908" y="1139"/>
                  </a:cubicBezTo>
                  <a:close/>
                  <a:moveTo>
                    <a:pt x="900" y="1142"/>
                  </a:moveTo>
                  <a:cubicBezTo>
                    <a:pt x="899" y="1137"/>
                    <a:pt x="894" y="1131"/>
                    <a:pt x="889" y="1133"/>
                  </a:cubicBezTo>
                  <a:cubicBezTo>
                    <a:pt x="886" y="1134"/>
                    <a:pt x="885" y="1143"/>
                    <a:pt x="883" y="1142"/>
                  </a:cubicBezTo>
                  <a:cubicBezTo>
                    <a:pt x="880" y="1140"/>
                    <a:pt x="880" y="1127"/>
                    <a:pt x="879" y="1125"/>
                  </a:cubicBezTo>
                  <a:cubicBezTo>
                    <a:pt x="879" y="1125"/>
                    <a:pt x="879" y="1125"/>
                    <a:pt x="879" y="1125"/>
                  </a:cubicBezTo>
                  <a:cubicBezTo>
                    <a:pt x="876" y="1122"/>
                    <a:pt x="878" y="1121"/>
                    <a:pt x="873" y="1123"/>
                  </a:cubicBezTo>
                  <a:cubicBezTo>
                    <a:pt x="864" y="1129"/>
                    <a:pt x="868" y="1133"/>
                    <a:pt x="873" y="1139"/>
                  </a:cubicBezTo>
                  <a:cubicBezTo>
                    <a:pt x="873" y="1140"/>
                    <a:pt x="861" y="1136"/>
                    <a:pt x="863" y="1140"/>
                  </a:cubicBezTo>
                  <a:cubicBezTo>
                    <a:pt x="865" y="1144"/>
                    <a:pt x="870" y="1146"/>
                    <a:pt x="875" y="1145"/>
                  </a:cubicBezTo>
                  <a:cubicBezTo>
                    <a:pt x="880" y="1144"/>
                    <a:pt x="893" y="1150"/>
                    <a:pt x="892" y="1140"/>
                  </a:cubicBezTo>
                  <a:cubicBezTo>
                    <a:pt x="892" y="1134"/>
                    <a:pt x="901" y="1146"/>
                    <a:pt x="900" y="1142"/>
                  </a:cubicBezTo>
                  <a:close/>
                  <a:moveTo>
                    <a:pt x="818" y="1143"/>
                  </a:moveTo>
                  <a:cubicBezTo>
                    <a:pt x="817" y="1145"/>
                    <a:pt x="810" y="1144"/>
                    <a:pt x="810" y="1144"/>
                  </a:cubicBezTo>
                  <a:cubicBezTo>
                    <a:pt x="810" y="1152"/>
                    <a:pt x="851" y="1166"/>
                    <a:pt x="853" y="1164"/>
                  </a:cubicBezTo>
                  <a:cubicBezTo>
                    <a:pt x="858" y="1162"/>
                    <a:pt x="824" y="1139"/>
                    <a:pt x="824" y="1138"/>
                  </a:cubicBezTo>
                  <a:cubicBezTo>
                    <a:pt x="824" y="1137"/>
                    <a:pt x="820" y="1136"/>
                    <a:pt x="821" y="1135"/>
                  </a:cubicBezTo>
                  <a:cubicBezTo>
                    <a:pt x="821" y="1135"/>
                    <a:pt x="821" y="1132"/>
                    <a:pt x="822" y="1132"/>
                  </a:cubicBezTo>
                  <a:cubicBezTo>
                    <a:pt x="824" y="1130"/>
                    <a:pt x="825" y="1133"/>
                    <a:pt x="827" y="1130"/>
                  </a:cubicBezTo>
                  <a:cubicBezTo>
                    <a:pt x="829" y="1127"/>
                    <a:pt x="831" y="1127"/>
                    <a:pt x="832" y="1126"/>
                  </a:cubicBezTo>
                  <a:cubicBezTo>
                    <a:pt x="837" y="1120"/>
                    <a:pt x="828" y="1120"/>
                    <a:pt x="829" y="1112"/>
                  </a:cubicBezTo>
                  <a:cubicBezTo>
                    <a:pt x="830" y="1110"/>
                    <a:pt x="839" y="1117"/>
                    <a:pt x="840" y="1113"/>
                  </a:cubicBezTo>
                  <a:cubicBezTo>
                    <a:pt x="842" y="1105"/>
                    <a:pt x="830" y="1110"/>
                    <a:pt x="827" y="1109"/>
                  </a:cubicBezTo>
                  <a:cubicBezTo>
                    <a:pt x="826" y="1109"/>
                    <a:pt x="821" y="1105"/>
                    <a:pt x="822" y="1108"/>
                  </a:cubicBezTo>
                  <a:cubicBezTo>
                    <a:pt x="825" y="1122"/>
                    <a:pt x="816" y="1109"/>
                    <a:pt x="820" y="1105"/>
                  </a:cubicBezTo>
                  <a:cubicBezTo>
                    <a:pt x="823" y="1101"/>
                    <a:pt x="813" y="1102"/>
                    <a:pt x="818" y="1098"/>
                  </a:cubicBezTo>
                  <a:cubicBezTo>
                    <a:pt x="819" y="1096"/>
                    <a:pt x="823" y="1102"/>
                    <a:pt x="825" y="1097"/>
                  </a:cubicBezTo>
                  <a:cubicBezTo>
                    <a:pt x="826" y="1097"/>
                    <a:pt x="826" y="1097"/>
                    <a:pt x="826" y="1097"/>
                  </a:cubicBezTo>
                  <a:cubicBezTo>
                    <a:pt x="826" y="1095"/>
                    <a:pt x="822" y="1094"/>
                    <a:pt x="820" y="1095"/>
                  </a:cubicBezTo>
                  <a:cubicBezTo>
                    <a:pt x="805" y="1095"/>
                    <a:pt x="818" y="1107"/>
                    <a:pt x="813" y="1107"/>
                  </a:cubicBezTo>
                  <a:cubicBezTo>
                    <a:pt x="808" y="1107"/>
                    <a:pt x="798" y="1097"/>
                    <a:pt x="800" y="1102"/>
                  </a:cubicBezTo>
                  <a:cubicBezTo>
                    <a:pt x="802" y="1107"/>
                    <a:pt x="825" y="1117"/>
                    <a:pt x="825" y="1127"/>
                  </a:cubicBezTo>
                  <a:cubicBezTo>
                    <a:pt x="825" y="1128"/>
                    <a:pt x="819" y="1130"/>
                    <a:pt x="817" y="1130"/>
                  </a:cubicBezTo>
                  <a:cubicBezTo>
                    <a:pt x="804" y="1129"/>
                    <a:pt x="805" y="1117"/>
                    <a:pt x="796" y="1124"/>
                  </a:cubicBezTo>
                  <a:cubicBezTo>
                    <a:pt x="793" y="1127"/>
                    <a:pt x="804" y="1128"/>
                    <a:pt x="801" y="1133"/>
                  </a:cubicBezTo>
                  <a:cubicBezTo>
                    <a:pt x="799" y="1135"/>
                    <a:pt x="805" y="1139"/>
                    <a:pt x="808" y="1140"/>
                  </a:cubicBezTo>
                  <a:cubicBezTo>
                    <a:pt x="809" y="1141"/>
                    <a:pt x="819" y="1137"/>
                    <a:pt x="818" y="1143"/>
                  </a:cubicBezTo>
                  <a:close/>
                  <a:moveTo>
                    <a:pt x="778" y="1081"/>
                  </a:moveTo>
                  <a:cubicBezTo>
                    <a:pt x="786" y="1086"/>
                    <a:pt x="800" y="1080"/>
                    <a:pt x="799" y="1071"/>
                  </a:cubicBezTo>
                  <a:cubicBezTo>
                    <a:pt x="799" y="1071"/>
                    <a:pt x="792" y="1068"/>
                    <a:pt x="795" y="1067"/>
                  </a:cubicBezTo>
                  <a:cubicBezTo>
                    <a:pt x="796" y="1066"/>
                    <a:pt x="799" y="1065"/>
                    <a:pt x="795" y="1065"/>
                  </a:cubicBezTo>
                  <a:cubicBezTo>
                    <a:pt x="778" y="1062"/>
                    <a:pt x="798" y="1068"/>
                    <a:pt x="790" y="1070"/>
                  </a:cubicBezTo>
                  <a:cubicBezTo>
                    <a:pt x="787" y="1071"/>
                    <a:pt x="778" y="1060"/>
                    <a:pt x="771" y="1056"/>
                  </a:cubicBezTo>
                  <a:cubicBezTo>
                    <a:pt x="767" y="1054"/>
                    <a:pt x="745" y="1029"/>
                    <a:pt x="742" y="1031"/>
                  </a:cubicBezTo>
                  <a:cubicBezTo>
                    <a:pt x="741" y="1032"/>
                    <a:pt x="748" y="1038"/>
                    <a:pt x="749" y="1039"/>
                  </a:cubicBezTo>
                  <a:cubicBezTo>
                    <a:pt x="758" y="1045"/>
                    <a:pt x="757" y="1054"/>
                    <a:pt x="763" y="1061"/>
                  </a:cubicBezTo>
                  <a:cubicBezTo>
                    <a:pt x="764" y="1062"/>
                    <a:pt x="764" y="1062"/>
                    <a:pt x="764" y="1062"/>
                  </a:cubicBezTo>
                  <a:cubicBezTo>
                    <a:pt x="763" y="1064"/>
                    <a:pt x="771" y="1064"/>
                    <a:pt x="774" y="1063"/>
                  </a:cubicBezTo>
                  <a:cubicBezTo>
                    <a:pt x="778" y="1063"/>
                    <a:pt x="784" y="1071"/>
                    <a:pt x="787" y="1074"/>
                  </a:cubicBezTo>
                  <a:cubicBezTo>
                    <a:pt x="790" y="1076"/>
                    <a:pt x="775" y="1079"/>
                    <a:pt x="778" y="1081"/>
                  </a:cubicBezTo>
                  <a:close/>
                  <a:moveTo>
                    <a:pt x="737" y="919"/>
                  </a:moveTo>
                  <a:cubicBezTo>
                    <a:pt x="742" y="921"/>
                    <a:pt x="761" y="928"/>
                    <a:pt x="766" y="929"/>
                  </a:cubicBezTo>
                  <a:cubicBezTo>
                    <a:pt x="768" y="929"/>
                    <a:pt x="779" y="926"/>
                    <a:pt x="779" y="926"/>
                  </a:cubicBezTo>
                  <a:cubicBezTo>
                    <a:pt x="772" y="919"/>
                    <a:pt x="763" y="922"/>
                    <a:pt x="752" y="916"/>
                  </a:cubicBezTo>
                  <a:cubicBezTo>
                    <a:pt x="749" y="914"/>
                    <a:pt x="751" y="905"/>
                    <a:pt x="749" y="905"/>
                  </a:cubicBezTo>
                  <a:cubicBezTo>
                    <a:pt x="741" y="904"/>
                    <a:pt x="736" y="917"/>
                    <a:pt x="728" y="903"/>
                  </a:cubicBezTo>
                  <a:cubicBezTo>
                    <a:pt x="727" y="901"/>
                    <a:pt x="733" y="900"/>
                    <a:pt x="735" y="899"/>
                  </a:cubicBezTo>
                  <a:cubicBezTo>
                    <a:pt x="742" y="896"/>
                    <a:pt x="756" y="902"/>
                    <a:pt x="759" y="899"/>
                  </a:cubicBezTo>
                  <a:cubicBezTo>
                    <a:pt x="763" y="895"/>
                    <a:pt x="744" y="897"/>
                    <a:pt x="746" y="891"/>
                  </a:cubicBezTo>
                  <a:cubicBezTo>
                    <a:pt x="747" y="886"/>
                    <a:pt x="762" y="893"/>
                    <a:pt x="762" y="890"/>
                  </a:cubicBezTo>
                  <a:cubicBezTo>
                    <a:pt x="761" y="882"/>
                    <a:pt x="735" y="887"/>
                    <a:pt x="733" y="887"/>
                  </a:cubicBezTo>
                  <a:cubicBezTo>
                    <a:pt x="730" y="887"/>
                    <a:pt x="728" y="881"/>
                    <a:pt x="723" y="883"/>
                  </a:cubicBezTo>
                  <a:cubicBezTo>
                    <a:pt x="719" y="885"/>
                    <a:pt x="725" y="891"/>
                    <a:pt x="712" y="894"/>
                  </a:cubicBezTo>
                  <a:cubicBezTo>
                    <a:pt x="709" y="894"/>
                    <a:pt x="709" y="901"/>
                    <a:pt x="705" y="899"/>
                  </a:cubicBezTo>
                  <a:cubicBezTo>
                    <a:pt x="704" y="899"/>
                    <a:pt x="688" y="887"/>
                    <a:pt x="686" y="883"/>
                  </a:cubicBezTo>
                  <a:cubicBezTo>
                    <a:pt x="683" y="876"/>
                    <a:pt x="698" y="883"/>
                    <a:pt x="688" y="873"/>
                  </a:cubicBezTo>
                  <a:cubicBezTo>
                    <a:pt x="686" y="870"/>
                    <a:pt x="696" y="867"/>
                    <a:pt x="693" y="866"/>
                  </a:cubicBezTo>
                  <a:cubicBezTo>
                    <a:pt x="685" y="861"/>
                    <a:pt x="673" y="870"/>
                    <a:pt x="671" y="870"/>
                  </a:cubicBezTo>
                  <a:cubicBezTo>
                    <a:pt x="671" y="870"/>
                    <a:pt x="640" y="857"/>
                    <a:pt x="656" y="868"/>
                  </a:cubicBezTo>
                  <a:cubicBezTo>
                    <a:pt x="661" y="871"/>
                    <a:pt x="646" y="875"/>
                    <a:pt x="659" y="881"/>
                  </a:cubicBezTo>
                  <a:cubicBezTo>
                    <a:pt x="671" y="886"/>
                    <a:pt x="648" y="879"/>
                    <a:pt x="648" y="882"/>
                  </a:cubicBezTo>
                  <a:cubicBezTo>
                    <a:pt x="647" y="891"/>
                    <a:pt x="657" y="891"/>
                    <a:pt x="662" y="894"/>
                  </a:cubicBezTo>
                  <a:cubicBezTo>
                    <a:pt x="667" y="897"/>
                    <a:pt x="666" y="907"/>
                    <a:pt x="667" y="910"/>
                  </a:cubicBezTo>
                  <a:cubicBezTo>
                    <a:pt x="667" y="910"/>
                    <a:pt x="667" y="910"/>
                    <a:pt x="667" y="910"/>
                  </a:cubicBezTo>
                  <a:cubicBezTo>
                    <a:pt x="672" y="924"/>
                    <a:pt x="683" y="911"/>
                    <a:pt x="689" y="913"/>
                  </a:cubicBezTo>
                  <a:cubicBezTo>
                    <a:pt x="692" y="914"/>
                    <a:pt x="685" y="918"/>
                    <a:pt x="685" y="921"/>
                  </a:cubicBezTo>
                  <a:cubicBezTo>
                    <a:pt x="686" y="923"/>
                    <a:pt x="693" y="926"/>
                    <a:pt x="695" y="927"/>
                  </a:cubicBezTo>
                  <a:cubicBezTo>
                    <a:pt x="696" y="927"/>
                    <a:pt x="695" y="929"/>
                    <a:pt x="697" y="929"/>
                  </a:cubicBezTo>
                  <a:cubicBezTo>
                    <a:pt x="702" y="927"/>
                    <a:pt x="697" y="925"/>
                    <a:pt x="696" y="922"/>
                  </a:cubicBezTo>
                  <a:cubicBezTo>
                    <a:pt x="691" y="906"/>
                    <a:pt x="717" y="917"/>
                    <a:pt x="712" y="904"/>
                  </a:cubicBezTo>
                  <a:cubicBezTo>
                    <a:pt x="712" y="903"/>
                    <a:pt x="720" y="901"/>
                    <a:pt x="720" y="901"/>
                  </a:cubicBezTo>
                  <a:cubicBezTo>
                    <a:pt x="722" y="901"/>
                    <a:pt x="731" y="916"/>
                    <a:pt x="743" y="914"/>
                  </a:cubicBezTo>
                  <a:cubicBezTo>
                    <a:pt x="753" y="912"/>
                    <a:pt x="737" y="919"/>
                    <a:pt x="737" y="919"/>
                  </a:cubicBezTo>
                  <a:close/>
                  <a:moveTo>
                    <a:pt x="640" y="1069"/>
                  </a:moveTo>
                  <a:cubicBezTo>
                    <a:pt x="641" y="1064"/>
                    <a:pt x="649" y="1066"/>
                    <a:pt x="651" y="1064"/>
                  </a:cubicBezTo>
                  <a:cubicBezTo>
                    <a:pt x="651" y="1064"/>
                    <a:pt x="645" y="1056"/>
                    <a:pt x="648" y="1055"/>
                  </a:cubicBezTo>
                  <a:cubicBezTo>
                    <a:pt x="653" y="1052"/>
                    <a:pt x="643" y="1054"/>
                    <a:pt x="642" y="1053"/>
                  </a:cubicBezTo>
                  <a:cubicBezTo>
                    <a:pt x="634" y="1048"/>
                    <a:pt x="656" y="1046"/>
                    <a:pt x="636" y="1046"/>
                  </a:cubicBezTo>
                  <a:cubicBezTo>
                    <a:pt x="631" y="1046"/>
                    <a:pt x="630" y="1036"/>
                    <a:pt x="626" y="1037"/>
                  </a:cubicBezTo>
                  <a:cubicBezTo>
                    <a:pt x="606" y="1041"/>
                    <a:pt x="631" y="1054"/>
                    <a:pt x="636" y="1060"/>
                  </a:cubicBezTo>
                  <a:cubicBezTo>
                    <a:pt x="638" y="1062"/>
                    <a:pt x="639" y="1064"/>
                    <a:pt x="637" y="1065"/>
                  </a:cubicBezTo>
                  <a:cubicBezTo>
                    <a:pt x="637" y="1066"/>
                    <a:pt x="619" y="1069"/>
                    <a:pt x="612" y="1064"/>
                  </a:cubicBezTo>
                  <a:cubicBezTo>
                    <a:pt x="611" y="1063"/>
                    <a:pt x="606" y="1047"/>
                    <a:pt x="600" y="1053"/>
                  </a:cubicBezTo>
                  <a:cubicBezTo>
                    <a:pt x="596" y="1056"/>
                    <a:pt x="619" y="1072"/>
                    <a:pt x="620" y="1074"/>
                  </a:cubicBezTo>
                  <a:cubicBezTo>
                    <a:pt x="631" y="1086"/>
                    <a:pt x="616" y="1090"/>
                    <a:pt x="634" y="1099"/>
                  </a:cubicBezTo>
                  <a:cubicBezTo>
                    <a:pt x="635" y="1100"/>
                    <a:pt x="635" y="1100"/>
                    <a:pt x="635" y="1100"/>
                  </a:cubicBezTo>
                  <a:cubicBezTo>
                    <a:pt x="653" y="1103"/>
                    <a:pt x="628" y="1086"/>
                    <a:pt x="630" y="1081"/>
                  </a:cubicBezTo>
                  <a:cubicBezTo>
                    <a:pt x="631" y="1078"/>
                    <a:pt x="636" y="1082"/>
                    <a:pt x="639" y="1079"/>
                  </a:cubicBezTo>
                  <a:cubicBezTo>
                    <a:pt x="640" y="1078"/>
                    <a:pt x="639" y="1071"/>
                    <a:pt x="640" y="1069"/>
                  </a:cubicBezTo>
                  <a:close/>
                  <a:moveTo>
                    <a:pt x="663" y="613"/>
                  </a:moveTo>
                  <a:cubicBezTo>
                    <a:pt x="664" y="612"/>
                    <a:pt x="659" y="609"/>
                    <a:pt x="658" y="610"/>
                  </a:cubicBezTo>
                  <a:cubicBezTo>
                    <a:pt x="648" y="613"/>
                    <a:pt x="660" y="618"/>
                    <a:pt x="661" y="620"/>
                  </a:cubicBezTo>
                  <a:cubicBezTo>
                    <a:pt x="670" y="631"/>
                    <a:pt x="657" y="625"/>
                    <a:pt x="660" y="634"/>
                  </a:cubicBezTo>
                  <a:cubicBezTo>
                    <a:pt x="661" y="636"/>
                    <a:pt x="670" y="631"/>
                    <a:pt x="668" y="629"/>
                  </a:cubicBezTo>
                  <a:cubicBezTo>
                    <a:pt x="667" y="629"/>
                    <a:pt x="667" y="628"/>
                    <a:pt x="668" y="627"/>
                  </a:cubicBezTo>
                  <a:cubicBezTo>
                    <a:pt x="685" y="620"/>
                    <a:pt x="680" y="643"/>
                    <a:pt x="681" y="645"/>
                  </a:cubicBezTo>
                  <a:cubicBezTo>
                    <a:pt x="681" y="646"/>
                    <a:pt x="681" y="646"/>
                    <a:pt x="681" y="646"/>
                  </a:cubicBezTo>
                  <a:cubicBezTo>
                    <a:pt x="687" y="647"/>
                    <a:pt x="695" y="650"/>
                    <a:pt x="690" y="644"/>
                  </a:cubicBezTo>
                  <a:cubicBezTo>
                    <a:pt x="688" y="640"/>
                    <a:pt x="699" y="632"/>
                    <a:pt x="691" y="627"/>
                  </a:cubicBezTo>
                  <a:cubicBezTo>
                    <a:pt x="689" y="626"/>
                    <a:pt x="658" y="620"/>
                    <a:pt x="663" y="613"/>
                  </a:cubicBezTo>
                  <a:close/>
                  <a:moveTo>
                    <a:pt x="700" y="562"/>
                  </a:moveTo>
                  <a:cubicBezTo>
                    <a:pt x="700" y="562"/>
                    <a:pt x="682" y="557"/>
                    <a:pt x="691" y="562"/>
                  </a:cubicBezTo>
                  <a:cubicBezTo>
                    <a:pt x="692" y="563"/>
                    <a:pt x="694" y="563"/>
                    <a:pt x="695" y="564"/>
                  </a:cubicBezTo>
                  <a:cubicBezTo>
                    <a:pt x="695" y="564"/>
                    <a:pt x="695" y="564"/>
                    <a:pt x="695" y="564"/>
                  </a:cubicBezTo>
                  <a:cubicBezTo>
                    <a:pt x="716" y="574"/>
                    <a:pt x="701" y="556"/>
                    <a:pt x="717" y="549"/>
                  </a:cubicBezTo>
                  <a:cubicBezTo>
                    <a:pt x="725" y="546"/>
                    <a:pt x="738" y="560"/>
                    <a:pt x="746" y="561"/>
                  </a:cubicBezTo>
                  <a:cubicBezTo>
                    <a:pt x="748" y="561"/>
                    <a:pt x="743" y="553"/>
                    <a:pt x="752" y="552"/>
                  </a:cubicBezTo>
                  <a:cubicBezTo>
                    <a:pt x="757" y="552"/>
                    <a:pt x="759" y="548"/>
                    <a:pt x="758" y="543"/>
                  </a:cubicBezTo>
                  <a:cubicBezTo>
                    <a:pt x="757" y="540"/>
                    <a:pt x="751" y="551"/>
                    <a:pt x="751" y="551"/>
                  </a:cubicBezTo>
                  <a:cubicBezTo>
                    <a:pt x="742" y="552"/>
                    <a:pt x="737" y="555"/>
                    <a:pt x="726" y="547"/>
                  </a:cubicBezTo>
                  <a:cubicBezTo>
                    <a:pt x="723" y="545"/>
                    <a:pt x="735" y="543"/>
                    <a:pt x="733" y="540"/>
                  </a:cubicBezTo>
                  <a:cubicBezTo>
                    <a:pt x="730" y="536"/>
                    <a:pt x="713" y="530"/>
                    <a:pt x="713" y="530"/>
                  </a:cubicBezTo>
                  <a:cubicBezTo>
                    <a:pt x="710" y="532"/>
                    <a:pt x="708" y="522"/>
                    <a:pt x="705" y="524"/>
                  </a:cubicBezTo>
                  <a:cubicBezTo>
                    <a:pt x="699" y="529"/>
                    <a:pt x="718" y="537"/>
                    <a:pt x="718" y="538"/>
                  </a:cubicBezTo>
                  <a:cubicBezTo>
                    <a:pt x="719" y="540"/>
                    <a:pt x="719" y="546"/>
                    <a:pt x="717" y="547"/>
                  </a:cubicBezTo>
                  <a:cubicBezTo>
                    <a:pt x="713" y="548"/>
                    <a:pt x="713" y="544"/>
                    <a:pt x="712" y="542"/>
                  </a:cubicBezTo>
                  <a:cubicBezTo>
                    <a:pt x="712" y="540"/>
                    <a:pt x="702" y="547"/>
                    <a:pt x="700" y="554"/>
                  </a:cubicBezTo>
                  <a:cubicBezTo>
                    <a:pt x="699" y="557"/>
                    <a:pt x="703" y="561"/>
                    <a:pt x="700" y="562"/>
                  </a:cubicBezTo>
                  <a:close/>
                  <a:moveTo>
                    <a:pt x="765" y="592"/>
                  </a:moveTo>
                  <a:cubicBezTo>
                    <a:pt x="760" y="596"/>
                    <a:pt x="740" y="575"/>
                    <a:pt x="737" y="585"/>
                  </a:cubicBezTo>
                  <a:cubicBezTo>
                    <a:pt x="736" y="589"/>
                    <a:pt x="745" y="591"/>
                    <a:pt x="748" y="590"/>
                  </a:cubicBezTo>
                  <a:cubicBezTo>
                    <a:pt x="751" y="590"/>
                    <a:pt x="755" y="593"/>
                    <a:pt x="759" y="594"/>
                  </a:cubicBezTo>
                  <a:cubicBezTo>
                    <a:pt x="773" y="596"/>
                    <a:pt x="754" y="599"/>
                    <a:pt x="751" y="601"/>
                  </a:cubicBezTo>
                  <a:cubicBezTo>
                    <a:pt x="750" y="601"/>
                    <a:pt x="750" y="602"/>
                    <a:pt x="749" y="602"/>
                  </a:cubicBezTo>
                  <a:cubicBezTo>
                    <a:pt x="748" y="603"/>
                    <a:pt x="748" y="603"/>
                    <a:pt x="748" y="603"/>
                  </a:cubicBezTo>
                  <a:cubicBezTo>
                    <a:pt x="747" y="604"/>
                    <a:pt x="748" y="604"/>
                    <a:pt x="750" y="604"/>
                  </a:cubicBezTo>
                  <a:cubicBezTo>
                    <a:pt x="751" y="605"/>
                    <a:pt x="771" y="613"/>
                    <a:pt x="773" y="611"/>
                  </a:cubicBezTo>
                  <a:cubicBezTo>
                    <a:pt x="787" y="605"/>
                    <a:pt x="764" y="605"/>
                    <a:pt x="766" y="602"/>
                  </a:cubicBezTo>
                  <a:cubicBezTo>
                    <a:pt x="767" y="600"/>
                    <a:pt x="779" y="600"/>
                    <a:pt x="771" y="597"/>
                  </a:cubicBezTo>
                  <a:cubicBezTo>
                    <a:pt x="770" y="597"/>
                    <a:pt x="766" y="597"/>
                    <a:pt x="766" y="596"/>
                  </a:cubicBezTo>
                  <a:cubicBezTo>
                    <a:pt x="766" y="591"/>
                    <a:pt x="784" y="596"/>
                    <a:pt x="780" y="594"/>
                  </a:cubicBezTo>
                  <a:cubicBezTo>
                    <a:pt x="779" y="593"/>
                    <a:pt x="777" y="591"/>
                    <a:pt x="776" y="590"/>
                  </a:cubicBezTo>
                  <a:cubicBezTo>
                    <a:pt x="775" y="587"/>
                    <a:pt x="769" y="577"/>
                    <a:pt x="767" y="583"/>
                  </a:cubicBezTo>
                  <a:cubicBezTo>
                    <a:pt x="766" y="586"/>
                    <a:pt x="759" y="582"/>
                    <a:pt x="759" y="584"/>
                  </a:cubicBezTo>
                  <a:cubicBezTo>
                    <a:pt x="758" y="585"/>
                    <a:pt x="768" y="590"/>
                    <a:pt x="765" y="592"/>
                  </a:cubicBezTo>
                  <a:close/>
                  <a:moveTo>
                    <a:pt x="741" y="759"/>
                  </a:moveTo>
                  <a:cubicBezTo>
                    <a:pt x="741" y="759"/>
                    <a:pt x="741" y="759"/>
                    <a:pt x="741" y="759"/>
                  </a:cubicBezTo>
                  <a:cubicBezTo>
                    <a:pt x="741" y="759"/>
                    <a:pt x="741" y="759"/>
                    <a:pt x="741" y="759"/>
                  </a:cubicBezTo>
                  <a:cubicBezTo>
                    <a:pt x="741" y="759"/>
                    <a:pt x="741" y="759"/>
                    <a:pt x="741" y="759"/>
                  </a:cubicBezTo>
                  <a:cubicBezTo>
                    <a:pt x="742" y="760"/>
                    <a:pt x="759" y="749"/>
                    <a:pt x="759" y="746"/>
                  </a:cubicBezTo>
                  <a:cubicBezTo>
                    <a:pt x="760" y="745"/>
                    <a:pt x="753" y="745"/>
                    <a:pt x="752" y="745"/>
                  </a:cubicBezTo>
                  <a:cubicBezTo>
                    <a:pt x="744" y="749"/>
                    <a:pt x="745" y="752"/>
                    <a:pt x="741" y="759"/>
                  </a:cubicBezTo>
                  <a:close/>
                  <a:moveTo>
                    <a:pt x="696" y="760"/>
                  </a:moveTo>
                  <a:cubicBezTo>
                    <a:pt x="696" y="760"/>
                    <a:pt x="696" y="760"/>
                    <a:pt x="696" y="760"/>
                  </a:cubicBezTo>
                  <a:cubicBezTo>
                    <a:pt x="697" y="757"/>
                    <a:pt x="702" y="740"/>
                    <a:pt x="689" y="744"/>
                  </a:cubicBezTo>
                  <a:cubicBezTo>
                    <a:pt x="688" y="744"/>
                    <a:pt x="693" y="755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lose/>
                  <a:moveTo>
                    <a:pt x="784" y="924"/>
                  </a:moveTo>
                  <a:cubicBezTo>
                    <a:pt x="785" y="926"/>
                    <a:pt x="792" y="943"/>
                    <a:pt x="793" y="945"/>
                  </a:cubicBezTo>
                  <a:cubicBezTo>
                    <a:pt x="793" y="945"/>
                    <a:pt x="793" y="945"/>
                    <a:pt x="793" y="945"/>
                  </a:cubicBezTo>
                  <a:cubicBezTo>
                    <a:pt x="795" y="949"/>
                    <a:pt x="792" y="935"/>
                    <a:pt x="796" y="933"/>
                  </a:cubicBezTo>
                  <a:cubicBezTo>
                    <a:pt x="797" y="932"/>
                    <a:pt x="798" y="933"/>
                    <a:pt x="799" y="933"/>
                  </a:cubicBezTo>
                  <a:cubicBezTo>
                    <a:pt x="808" y="942"/>
                    <a:pt x="805" y="931"/>
                    <a:pt x="796" y="930"/>
                  </a:cubicBezTo>
                  <a:cubicBezTo>
                    <a:pt x="791" y="929"/>
                    <a:pt x="794" y="926"/>
                    <a:pt x="796" y="924"/>
                  </a:cubicBezTo>
                  <a:cubicBezTo>
                    <a:pt x="796" y="923"/>
                    <a:pt x="795" y="921"/>
                    <a:pt x="796" y="921"/>
                  </a:cubicBezTo>
                  <a:cubicBezTo>
                    <a:pt x="797" y="920"/>
                    <a:pt x="802" y="925"/>
                    <a:pt x="803" y="926"/>
                  </a:cubicBezTo>
                  <a:cubicBezTo>
                    <a:pt x="804" y="926"/>
                    <a:pt x="808" y="927"/>
                    <a:pt x="809" y="929"/>
                  </a:cubicBezTo>
                  <a:cubicBezTo>
                    <a:pt x="810" y="931"/>
                    <a:pt x="804" y="930"/>
                    <a:pt x="805" y="932"/>
                  </a:cubicBezTo>
                  <a:cubicBezTo>
                    <a:pt x="814" y="941"/>
                    <a:pt x="843" y="932"/>
                    <a:pt x="852" y="931"/>
                  </a:cubicBezTo>
                  <a:cubicBezTo>
                    <a:pt x="857" y="931"/>
                    <a:pt x="856" y="940"/>
                    <a:pt x="864" y="940"/>
                  </a:cubicBezTo>
                  <a:cubicBezTo>
                    <a:pt x="865" y="940"/>
                    <a:pt x="865" y="940"/>
                    <a:pt x="865" y="940"/>
                  </a:cubicBezTo>
                  <a:cubicBezTo>
                    <a:pt x="869" y="938"/>
                    <a:pt x="857" y="935"/>
                    <a:pt x="860" y="934"/>
                  </a:cubicBezTo>
                  <a:cubicBezTo>
                    <a:pt x="866" y="930"/>
                    <a:pt x="875" y="928"/>
                    <a:pt x="881" y="929"/>
                  </a:cubicBezTo>
                  <a:cubicBezTo>
                    <a:pt x="882" y="929"/>
                    <a:pt x="889" y="933"/>
                    <a:pt x="889" y="932"/>
                  </a:cubicBezTo>
                  <a:cubicBezTo>
                    <a:pt x="888" y="928"/>
                    <a:pt x="865" y="918"/>
                    <a:pt x="862" y="918"/>
                  </a:cubicBezTo>
                  <a:cubicBezTo>
                    <a:pt x="855" y="919"/>
                    <a:pt x="830" y="942"/>
                    <a:pt x="817" y="929"/>
                  </a:cubicBezTo>
                  <a:cubicBezTo>
                    <a:pt x="815" y="928"/>
                    <a:pt x="808" y="925"/>
                    <a:pt x="811" y="925"/>
                  </a:cubicBezTo>
                  <a:cubicBezTo>
                    <a:pt x="821" y="923"/>
                    <a:pt x="780" y="916"/>
                    <a:pt x="791" y="924"/>
                  </a:cubicBezTo>
                  <a:cubicBezTo>
                    <a:pt x="795" y="927"/>
                    <a:pt x="783" y="923"/>
                    <a:pt x="784" y="924"/>
                  </a:cubicBezTo>
                  <a:close/>
                  <a:moveTo>
                    <a:pt x="795" y="677"/>
                  </a:moveTo>
                  <a:cubicBezTo>
                    <a:pt x="796" y="678"/>
                    <a:pt x="808" y="681"/>
                    <a:pt x="808" y="680"/>
                  </a:cubicBezTo>
                  <a:cubicBezTo>
                    <a:pt x="807" y="670"/>
                    <a:pt x="795" y="656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lose/>
                  <a:moveTo>
                    <a:pt x="873" y="689"/>
                  </a:moveTo>
                  <a:cubicBezTo>
                    <a:pt x="863" y="680"/>
                    <a:pt x="857" y="702"/>
                    <a:pt x="850" y="707"/>
                  </a:cubicBezTo>
                  <a:cubicBezTo>
                    <a:pt x="849" y="707"/>
                    <a:pt x="849" y="707"/>
                    <a:pt x="849" y="707"/>
                  </a:cubicBezTo>
                  <a:cubicBezTo>
                    <a:pt x="824" y="711"/>
                    <a:pt x="870" y="709"/>
                    <a:pt x="871" y="702"/>
                  </a:cubicBezTo>
                  <a:cubicBezTo>
                    <a:pt x="872" y="702"/>
                    <a:pt x="864" y="698"/>
                    <a:pt x="864" y="697"/>
                  </a:cubicBezTo>
                  <a:cubicBezTo>
                    <a:pt x="861" y="691"/>
                    <a:pt x="878" y="693"/>
                    <a:pt x="873" y="689"/>
                  </a:cubicBezTo>
                  <a:close/>
                  <a:moveTo>
                    <a:pt x="837" y="810"/>
                  </a:moveTo>
                  <a:cubicBezTo>
                    <a:pt x="838" y="811"/>
                    <a:pt x="838" y="811"/>
                    <a:pt x="838" y="811"/>
                  </a:cubicBezTo>
                  <a:cubicBezTo>
                    <a:pt x="848" y="811"/>
                    <a:pt x="887" y="829"/>
                    <a:pt x="858" y="816"/>
                  </a:cubicBezTo>
                  <a:cubicBezTo>
                    <a:pt x="856" y="815"/>
                    <a:pt x="854" y="813"/>
                    <a:pt x="855" y="810"/>
                  </a:cubicBezTo>
                  <a:cubicBezTo>
                    <a:pt x="857" y="804"/>
                    <a:pt x="859" y="812"/>
                    <a:pt x="862" y="808"/>
                  </a:cubicBezTo>
                  <a:cubicBezTo>
                    <a:pt x="864" y="807"/>
                    <a:pt x="859" y="807"/>
                    <a:pt x="859" y="807"/>
                  </a:cubicBezTo>
                  <a:cubicBezTo>
                    <a:pt x="858" y="806"/>
                    <a:pt x="858" y="802"/>
                    <a:pt x="861" y="792"/>
                  </a:cubicBezTo>
                  <a:cubicBezTo>
                    <a:pt x="861" y="791"/>
                    <a:pt x="863" y="791"/>
                    <a:pt x="864" y="791"/>
                  </a:cubicBezTo>
                  <a:cubicBezTo>
                    <a:pt x="865" y="791"/>
                    <a:pt x="872" y="792"/>
                    <a:pt x="871" y="791"/>
                  </a:cubicBezTo>
                  <a:cubicBezTo>
                    <a:pt x="871" y="790"/>
                    <a:pt x="866" y="790"/>
                    <a:pt x="867" y="788"/>
                  </a:cubicBezTo>
                  <a:cubicBezTo>
                    <a:pt x="868" y="784"/>
                    <a:pt x="878" y="786"/>
                    <a:pt x="881" y="784"/>
                  </a:cubicBezTo>
                  <a:cubicBezTo>
                    <a:pt x="885" y="782"/>
                    <a:pt x="880" y="774"/>
                    <a:pt x="886" y="769"/>
                  </a:cubicBezTo>
                  <a:cubicBezTo>
                    <a:pt x="888" y="767"/>
                    <a:pt x="899" y="764"/>
                    <a:pt x="898" y="764"/>
                  </a:cubicBezTo>
                  <a:cubicBezTo>
                    <a:pt x="880" y="755"/>
                    <a:pt x="883" y="782"/>
                    <a:pt x="873" y="783"/>
                  </a:cubicBezTo>
                  <a:cubicBezTo>
                    <a:pt x="854" y="786"/>
                    <a:pt x="866" y="763"/>
                    <a:pt x="865" y="763"/>
                  </a:cubicBezTo>
                  <a:cubicBezTo>
                    <a:pt x="848" y="763"/>
                    <a:pt x="861" y="798"/>
                    <a:pt x="854" y="804"/>
                  </a:cubicBezTo>
                  <a:cubicBezTo>
                    <a:pt x="843" y="814"/>
                    <a:pt x="834" y="800"/>
                    <a:pt x="837" y="810"/>
                  </a:cubicBezTo>
                  <a:close/>
                  <a:moveTo>
                    <a:pt x="877" y="828"/>
                  </a:moveTo>
                  <a:cubicBezTo>
                    <a:pt x="877" y="828"/>
                    <a:pt x="865" y="825"/>
                    <a:pt x="865" y="828"/>
                  </a:cubicBezTo>
                  <a:cubicBezTo>
                    <a:pt x="866" y="830"/>
                    <a:pt x="898" y="842"/>
                    <a:pt x="903" y="846"/>
                  </a:cubicBezTo>
                  <a:cubicBezTo>
                    <a:pt x="903" y="846"/>
                    <a:pt x="903" y="846"/>
                    <a:pt x="903" y="846"/>
                  </a:cubicBezTo>
                  <a:cubicBezTo>
                    <a:pt x="916" y="843"/>
                    <a:pt x="888" y="830"/>
                    <a:pt x="877" y="828"/>
                  </a:cubicBezTo>
                  <a:close/>
                  <a:moveTo>
                    <a:pt x="867" y="645"/>
                  </a:moveTo>
                  <a:cubicBezTo>
                    <a:pt x="865" y="645"/>
                    <a:pt x="865" y="645"/>
                    <a:pt x="865" y="645"/>
                  </a:cubicBezTo>
                  <a:cubicBezTo>
                    <a:pt x="860" y="645"/>
                    <a:pt x="871" y="650"/>
                    <a:pt x="868" y="651"/>
                  </a:cubicBezTo>
                  <a:cubicBezTo>
                    <a:pt x="856" y="654"/>
                    <a:pt x="894" y="663"/>
                    <a:pt x="904" y="659"/>
                  </a:cubicBezTo>
                  <a:cubicBezTo>
                    <a:pt x="909" y="657"/>
                    <a:pt x="888" y="653"/>
                    <a:pt x="899" y="654"/>
                  </a:cubicBezTo>
                  <a:cubicBezTo>
                    <a:pt x="906" y="655"/>
                    <a:pt x="919" y="653"/>
                    <a:pt x="924" y="657"/>
                  </a:cubicBezTo>
                  <a:cubicBezTo>
                    <a:pt x="928" y="659"/>
                    <a:pt x="941" y="662"/>
                    <a:pt x="938" y="659"/>
                  </a:cubicBezTo>
                  <a:cubicBezTo>
                    <a:pt x="932" y="655"/>
                    <a:pt x="920" y="652"/>
                    <a:pt x="914" y="650"/>
                  </a:cubicBezTo>
                  <a:cubicBezTo>
                    <a:pt x="911" y="649"/>
                    <a:pt x="906" y="648"/>
                    <a:pt x="904" y="646"/>
                  </a:cubicBezTo>
                  <a:cubicBezTo>
                    <a:pt x="904" y="645"/>
                    <a:pt x="912" y="647"/>
                    <a:pt x="913" y="647"/>
                  </a:cubicBezTo>
                  <a:cubicBezTo>
                    <a:pt x="920" y="648"/>
                    <a:pt x="900" y="642"/>
                    <a:pt x="917" y="644"/>
                  </a:cubicBezTo>
                  <a:cubicBezTo>
                    <a:pt x="918" y="644"/>
                    <a:pt x="922" y="645"/>
                    <a:pt x="922" y="643"/>
                  </a:cubicBezTo>
                  <a:cubicBezTo>
                    <a:pt x="914" y="624"/>
                    <a:pt x="890" y="656"/>
                    <a:pt x="889" y="656"/>
                  </a:cubicBezTo>
                  <a:cubicBezTo>
                    <a:pt x="883" y="657"/>
                    <a:pt x="876" y="649"/>
                    <a:pt x="867" y="645"/>
                  </a:cubicBezTo>
                  <a:close/>
                  <a:moveTo>
                    <a:pt x="776" y="633"/>
                  </a:moveTo>
                  <a:cubicBezTo>
                    <a:pt x="775" y="633"/>
                    <a:pt x="774" y="633"/>
                    <a:pt x="773" y="633"/>
                  </a:cubicBezTo>
                  <a:cubicBezTo>
                    <a:pt x="768" y="631"/>
                    <a:pt x="775" y="624"/>
                    <a:pt x="771" y="620"/>
                  </a:cubicBezTo>
                  <a:cubicBezTo>
                    <a:pt x="766" y="615"/>
                    <a:pt x="759" y="619"/>
                    <a:pt x="754" y="615"/>
                  </a:cubicBezTo>
                  <a:cubicBezTo>
                    <a:pt x="750" y="611"/>
                    <a:pt x="745" y="615"/>
                    <a:pt x="753" y="619"/>
                  </a:cubicBezTo>
                  <a:cubicBezTo>
                    <a:pt x="755" y="619"/>
                    <a:pt x="755" y="619"/>
                    <a:pt x="755" y="619"/>
                  </a:cubicBezTo>
                  <a:cubicBezTo>
                    <a:pt x="771" y="626"/>
                    <a:pt x="757" y="638"/>
                    <a:pt x="773" y="638"/>
                  </a:cubicBezTo>
                  <a:cubicBezTo>
                    <a:pt x="790" y="638"/>
                    <a:pt x="804" y="637"/>
                    <a:pt x="818" y="633"/>
                  </a:cubicBezTo>
                  <a:cubicBezTo>
                    <a:pt x="819" y="632"/>
                    <a:pt x="824" y="628"/>
                    <a:pt x="824" y="628"/>
                  </a:cubicBezTo>
                  <a:cubicBezTo>
                    <a:pt x="821" y="626"/>
                    <a:pt x="796" y="634"/>
                    <a:pt x="799" y="631"/>
                  </a:cubicBezTo>
                  <a:cubicBezTo>
                    <a:pt x="809" y="623"/>
                    <a:pt x="819" y="629"/>
                    <a:pt x="823" y="625"/>
                  </a:cubicBezTo>
                  <a:cubicBezTo>
                    <a:pt x="828" y="621"/>
                    <a:pt x="842" y="607"/>
                    <a:pt x="844" y="605"/>
                  </a:cubicBezTo>
                  <a:cubicBezTo>
                    <a:pt x="848" y="603"/>
                    <a:pt x="854" y="609"/>
                    <a:pt x="858" y="605"/>
                  </a:cubicBezTo>
                  <a:cubicBezTo>
                    <a:pt x="859" y="604"/>
                    <a:pt x="842" y="603"/>
                    <a:pt x="848" y="599"/>
                  </a:cubicBezTo>
                  <a:cubicBezTo>
                    <a:pt x="849" y="598"/>
                    <a:pt x="857" y="597"/>
                    <a:pt x="857" y="597"/>
                  </a:cubicBezTo>
                  <a:cubicBezTo>
                    <a:pt x="860" y="598"/>
                    <a:pt x="867" y="598"/>
                    <a:pt x="865" y="596"/>
                  </a:cubicBezTo>
                  <a:cubicBezTo>
                    <a:pt x="864" y="595"/>
                    <a:pt x="846" y="592"/>
                    <a:pt x="844" y="593"/>
                  </a:cubicBezTo>
                  <a:cubicBezTo>
                    <a:pt x="842" y="593"/>
                    <a:pt x="851" y="600"/>
                    <a:pt x="844" y="599"/>
                  </a:cubicBezTo>
                  <a:cubicBezTo>
                    <a:pt x="841" y="598"/>
                    <a:pt x="835" y="587"/>
                    <a:pt x="831" y="590"/>
                  </a:cubicBezTo>
                  <a:cubicBezTo>
                    <a:pt x="829" y="591"/>
                    <a:pt x="826" y="589"/>
                    <a:pt x="824" y="590"/>
                  </a:cubicBezTo>
                  <a:cubicBezTo>
                    <a:pt x="822" y="592"/>
                    <a:pt x="828" y="595"/>
                    <a:pt x="829" y="595"/>
                  </a:cubicBezTo>
                  <a:cubicBezTo>
                    <a:pt x="836" y="600"/>
                    <a:pt x="834" y="600"/>
                    <a:pt x="835" y="605"/>
                  </a:cubicBezTo>
                  <a:cubicBezTo>
                    <a:pt x="836" y="609"/>
                    <a:pt x="828" y="611"/>
                    <a:pt x="824" y="610"/>
                  </a:cubicBezTo>
                  <a:cubicBezTo>
                    <a:pt x="819" y="609"/>
                    <a:pt x="804" y="614"/>
                    <a:pt x="809" y="615"/>
                  </a:cubicBezTo>
                  <a:cubicBezTo>
                    <a:pt x="811" y="616"/>
                    <a:pt x="816" y="617"/>
                    <a:pt x="815" y="619"/>
                  </a:cubicBezTo>
                  <a:cubicBezTo>
                    <a:pt x="815" y="620"/>
                    <a:pt x="779" y="633"/>
                    <a:pt x="776" y="633"/>
                  </a:cubicBezTo>
                  <a:close/>
                  <a:moveTo>
                    <a:pt x="697" y="196"/>
                  </a:moveTo>
                  <a:cubicBezTo>
                    <a:pt x="698" y="191"/>
                    <a:pt x="688" y="183"/>
                    <a:pt x="704" y="195"/>
                  </a:cubicBezTo>
                  <a:cubicBezTo>
                    <a:pt x="705" y="196"/>
                    <a:pt x="707" y="198"/>
                    <a:pt x="709" y="199"/>
                  </a:cubicBezTo>
                  <a:cubicBezTo>
                    <a:pt x="708" y="201"/>
                    <a:pt x="712" y="204"/>
                    <a:pt x="713" y="205"/>
                  </a:cubicBezTo>
                  <a:cubicBezTo>
                    <a:pt x="716" y="206"/>
                    <a:pt x="713" y="202"/>
                    <a:pt x="709" y="199"/>
                  </a:cubicBezTo>
                  <a:cubicBezTo>
                    <a:pt x="709" y="199"/>
                    <a:pt x="709" y="199"/>
                    <a:pt x="709" y="198"/>
                  </a:cubicBezTo>
                  <a:cubicBezTo>
                    <a:pt x="710" y="198"/>
                    <a:pt x="713" y="195"/>
                    <a:pt x="714" y="197"/>
                  </a:cubicBezTo>
                  <a:cubicBezTo>
                    <a:pt x="717" y="200"/>
                    <a:pt x="723" y="203"/>
                    <a:pt x="722" y="207"/>
                  </a:cubicBezTo>
                  <a:cubicBezTo>
                    <a:pt x="721" y="210"/>
                    <a:pt x="694" y="209"/>
                    <a:pt x="690" y="218"/>
                  </a:cubicBezTo>
                  <a:cubicBezTo>
                    <a:pt x="689" y="219"/>
                    <a:pt x="695" y="219"/>
                    <a:pt x="696" y="220"/>
                  </a:cubicBezTo>
                  <a:cubicBezTo>
                    <a:pt x="707" y="224"/>
                    <a:pt x="694" y="216"/>
                    <a:pt x="701" y="214"/>
                  </a:cubicBezTo>
                  <a:cubicBezTo>
                    <a:pt x="702" y="214"/>
                    <a:pt x="710" y="216"/>
                    <a:pt x="710" y="215"/>
                  </a:cubicBezTo>
                  <a:cubicBezTo>
                    <a:pt x="711" y="212"/>
                    <a:pt x="730" y="214"/>
                    <a:pt x="731" y="216"/>
                  </a:cubicBezTo>
                  <a:cubicBezTo>
                    <a:pt x="733" y="218"/>
                    <a:pt x="727" y="221"/>
                    <a:pt x="727" y="222"/>
                  </a:cubicBezTo>
                  <a:cubicBezTo>
                    <a:pt x="729" y="225"/>
                    <a:pt x="735" y="219"/>
                    <a:pt x="734" y="216"/>
                  </a:cubicBezTo>
                  <a:cubicBezTo>
                    <a:pt x="730" y="205"/>
                    <a:pt x="745" y="197"/>
                    <a:pt x="752" y="207"/>
                  </a:cubicBezTo>
                  <a:cubicBezTo>
                    <a:pt x="755" y="211"/>
                    <a:pt x="738" y="217"/>
                    <a:pt x="738" y="219"/>
                  </a:cubicBezTo>
                  <a:cubicBezTo>
                    <a:pt x="738" y="220"/>
                    <a:pt x="769" y="208"/>
                    <a:pt x="770" y="204"/>
                  </a:cubicBezTo>
                  <a:cubicBezTo>
                    <a:pt x="771" y="202"/>
                    <a:pt x="763" y="198"/>
                    <a:pt x="761" y="199"/>
                  </a:cubicBezTo>
                  <a:cubicBezTo>
                    <a:pt x="760" y="200"/>
                    <a:pt x="763" y="201"/>
                    <a:pt x="763" y="201"/>
                  </a:cubicBezTo>
                  <a:cubicBezTo>
                    <a:pt x="768" y="204"/>
                    <a:pt x="761" y="207"/>
                    <a:pt x="757" y="205"/>
                  </a:cubicBezTo>
                  <a:cubicBezTo>
                    <a:pt x="752" y="202"/>
                    <a:pt x="747" y="194"/>
                    <a:pt x="749" y="192"/>
                  </a:cubicBezTo>
                  <a:cubicBezTo>
                    <a:pt x="758" y="186"/>
                    <a:pt x="787" y="209"/>
                    <a:pt x="795" y="197"/>
                  </a:cubicBezTo>
                  <a:cubicBezTo>
                    <a:pt x="796" y="195"/>
                    <a:pt x="792" y="196"/>
                    <a:pt x="791" y="196"/>
                  </a:cubicBezTo>
                  <a:cubicBezTo>
                    <a:pt x="785" y="196"/>
                    <a:pt x="795" y="194"/>
                    <a:pt x="797" y="193"/>
                  </a:cubicBezTo>
                  <a:cubicBezTo>
                    <a:pt x="799" y="191"/>
                    <a:pt x="777" y="198"/>
                    <a:pt x="788" y="190"/>
                  </a:cubicBezTo>
                  <a:cubicBezTo>
                    <a:pt x="792" y="188"/>
                    <a:pt x="790" y="185"/>
                    <a:pt x="786" y="185"/>
                  </a:cubicBezTo>
                  <a:cubicBezTo>
                    <a:pt x="783" y="185"/>
                    <a:pt x="766" y="181"/>
                    <a:pt x="767" y="177"/>
                  </a:cubicBezTo>
                  <a:cubicBezTo>
                    <a:pt x="771" y="163"/>
                    <a:pt x="774" y="172"/>
                    <a:pt x="782" y="170"/>
                  </a:cubicBezTo>
                  <a:cubicBezTo>
                    <a:pt x="783" y="170"/>
                    <a:pt x="781" y="159"/>
                    <a:pt x="785" y="159"/>
                  </a:cubicBezTo>
                  <a:cubicBezTo>
                    <a:pt x="788" y="159"/>
                    <a:pt x="799" y="170"/>
                    <a:pt x="802" y="168"/>
                  </a:cubicBezTo>
                  <a:cubicBezTo>
                    <a:pt x="806" y="165"/>
                    <a:pt x="807" y="154"/>
                    <a:pt x="803" y="155"/>
                  </a:cubicBezTo>
                  <a:cubicBezTo>
                    <a:pt x="802" y="156"/>
                    <a:pt x="797" y="161"/>
                    <a:pt x="796" y="159"/>
                  </a:cubicBezTo>
                  <a:cubicBezTo>
                    <a:pt x="789" y="149"/>
                    <a:pt x="809" y="147"/>
                    <a:pt x="812" y="144"/>
                  </a:cubicBezTo>
                  <a:cubicBezTo>
                    <a:pt x="814" y="141"/>
                    <a:pt x="822" y="136"/>
                    <a:pt x="818" y="137"/>
                  </a:cubicBezTo>
                  <a:cubicBezTo>
                    <a:pt x="815" y="137"/>
                    <a:pt x="795" y="143"/>
                    <a:pt x="796" y="138"/>
                  </a:cubicBezTo>
                  <a:cubicBezTo>
                    <a:pt x="796" y="141"/>
                    <a:pt x="830" y="109"/>
                    <a:pt x="832" y="108"/>
                  </a:cubicBezTo>
                  <a:cubicBezTo>
                    <a:pt x="833" y="107"/>
                    <a:pt x="836" y="107"/>
                    <a:pt x="835" y="105"/>
                  </a:cubicBezTo>
                  <a:cubicBezTo>
                    <a:pt x="827" y="93"/>
                    <a:pt x="817" y="128"/>
                    <a:pt x="792" y="133"/>
                  </a:cubicBezTo>
                  <a:cubicBezTo>
                    <a:pt x="783" y="134"/>
                    <a:pt x="820" y="121"/>
                    <a:pt x="813" y="116"/>
                  </a:cubicBezTo>
                  <a:cubicBezTo>
                    <a:pt x="809" y="112"/>
                    <a:pt x="802" y="120"/>
                    <a:pt x="799" y="121"/>
                  </a:cubicBezTo>
                  <a:cubicBezTo>
                    <a:pt x="782" y="126"/>
                    <a:pt x="776" y="114"/>
                    <a:pt x="774" y="133"/>
                  </a:cubicBezTo>
                  <a:cubicBezTo>
                    <a:pt x="774" y="135"/>
                    <a:pt x="779" y="128"/>
                    <a:pt x="780" y="127"/>
                  </a:cubicBezTo>
                  <a:cubicBezTo>
                    <a:pt x="787" y="121"/>
                    <a:pt x="777" y="133"/>
                    <a:pt x="786" y="126"/>
                  </a:cubicBezTo>
                  <a:cubicBezTo>
                    <a:pt x="787" y="125"/>
                    <a:pt x="790" y="125"/>
                    <a:pt x="790" y="126"/>
                  </a:cubicBezTo>
                  <a:cubicBezTo>
                    <a:pt x="792" y="129"/>
                    <a:pt x="779" y="142"/>
                    <a:pt x="775" y="138"/>
                  </a:cubicBezTo>
                  <a:cubicBezTo>
                    <a:pt x="773" y="136"/>
                    <a:pt x="772" y="144"/>
                    <a:pt x="769" y="141"/>
                  </a:cubicBezTo>
                  <a:cubicBezTo>
                    <a:pt x="767" y="139"/>
                    <a:pt x="772" y="134"/>
                    <a:pt x="771" y="132"/>
                  </a:cubicBezTo>
                  <a:cubicBezTo>
                    <a:pt x="770" y="131"/>
                    <a:pt x="770" y="131"/>
                    <a:pt x="771" y="129"/>
                  </a:cubicBezTo>
                  <a:cubicBezTo>
                    <a:pt x="777" y="120"/>
                    <a:pt x="769" y="128"/>
                    <a:pt x="764" y="129"/>
                  </a:cubicBezTo>
                  <a:cubicBezTo>
                    <a:pt x="763" y="130"/>
                    <a:pt x="759" y="130"/>
                    <a:pt x="759" y="132"/>
                  </a:cubicBezTo>
                  <a:cubicBezTo>
                    <a:pt x="757" y="139"/>
                    <a:pt x="766" y="152"/>
                    <a:pt x="776" y="142"/>
                  </a:cubicBezTo>
                  <a:cubicBezTo>
                    <a:pt x="779" y="139"/>
                    <a:pt x="787" y="140"/>
                    <a:pt x="786" y="143"/>
                  </a:cubicBezTo>
                  <a:cubicBezTo>
                    <a:pt x="784" y="151"/>
                    <a:pt x="771" y="151"/>
                    <a:pt x="756" y="146"/>
                  </a:cubicBezTo>
                  <a:cubicBezTo>
                    <a:pt x="754" y="145"/>
                    <a:pt x="751" y="146"/>
                    <a:pt x="748" y="147"/>
                  </a:cubicBezTo>
                  <a:cubicBezTo>
                    <a:pt x="719" y="162"/>
                    <a:pt x="715" y="185"/>
                    <a:pt x="677" y="188"/>
                  </a:cubicBezTo>
                  <a:cubicBezTo>
                    <a:pt x="677" y="189"/>
                    <a:pt x="677" y="189"/>
                    <a:pt x="677" y="189"/>
                  </a:cubicBezTo>
                  <a:cubicBezTo>
                    <a:pt x="670" y="191"/>
                    <a:pt x="695" y="203"/>
                    <a:pt x="697" y="196"/>
                  </a:cubicBezTo>
                  <a:close/>
                  <a:moveTo>
                    <a:pt x="593" y="321"/>
                  </a:moveTo>
                  <a:cubicBezTo>
                    <a:pt x="594" y="325"/>
                    <a:pt x="601" y="320"/>
                    <a:pt x="603" y="320"/>
                  </a:cubicBezTo>
                  <a:cubicBezTo>
                    <a:pt x="611" y="318"/>
                    <a:pt x="615" y="315"/>
                    <a:pt x="620" y="315"/>
                  </a:cubicBezTo>
                  <a:cubicBezTo>
                    <a:pt x="640" y="317"/>
                    <a:pt x="649" y="346"/>
                    <a:pt x="669" y="337"/>
                  </a:cubicBezTo>
                  <a:cubicBezTo>
                    <a:pt x="674" y="334"/>
                    <a:pt x="653" y="326"/>
                    <a:pt x="657" y="323"/>
                  </a:cubicBezTo>
                  <a:cubicBezTo>
                    <a:pt x="667" y="315"/>
                    <a:pt x="699" y="320"/>
                    <a:pt x="702" y="331"/>
                  </a:cubicBezTo>
                  <a:cubicBezTo>
                    <a:pt x="704" y="335"/>
                    <a:pt x="700" y="338"/>
                    <a:pt x="702" y="342"/>
                  </a:cubicBezTo>
                  <a:cubicBezTo>
                    <a:pt x="704" y="345"/>
                    <a:pt x="689" y="348"/>
                    <a:pt x="691" y="349"/>
                  </a:cubicBezTo>
                  <a:cubicBezTo>
                    <a:pt x="700" y="353"/>
                    <a:pt x="733" y="367"/>
                    <a:pt x="742" y="358"/>
                  </a:cubicBezTo>
                  <a:cubicBezTo>
                    <a:pt x="743" y="358"/>
                    <a:pt x="737" y="356"/>
                    <a:pt x="737" y="353"/>
                  </a:cubicBezTo>
                  <a:cubicBezTo>
                    <a:pt x="738" y="348"/>
                    <a:pt x="748" y="338"/>
                    <a:pt x="751" y="335"/>
                  </a:cubicBezTo>
                  <a:cubicBezTo>
                    <a:pt x="752" y="333"/>
                    <a:pt x="789" y="339"/>
                    <a:pt x="766" y="332"/>
                  </a:cubicBezTo>
                  <a:cubicBezTo>
                    <a:pt x="766" y="332"/>
                    <a:pt x="766" y="332"/>
                    <a:pt x="766" y="332"/>
                  </a:cubicBezTo>
                  <a:cubicBezTo>
                    <a:pt x="776" y="324"/>
                    <a:pt x="763" y="316"/>
                    <a:pt x="759" y="320"/>
                  </a:cubicBezTo>
                  <a:cubicBezTo>
                    <a:pt x="758" y="321"/>
                    <a:pt x="769" y="323"/>
                    <a:pt x="768" y="327"/>
                  </a:cubicBezTo>
                  <a:cubicBezTo>
                    <a:pt x="766" y="330"/>
                    <a:pt x="741" y="335"/>
                    <a:pt x="741" y="330"/>
                  </a:cubicBezTo>
                  <a:cubicBezTo>
                    <a:pt x="740" y="325"/>
                    <a:pt x="747" y="323"/>
                    <a:pt x="747" y="319"/>
                  </a:cubicBezTo>
                  <a:cubicBezTo>
                    <a:pt x="746" y="311"/>
                    <a:pt x="740" y="323"/>
                    <a:pt x="739" y="323"/>
                  </a:cubicBezTo>
                  <a:cubicBezTo>
                    <a:pt x="733" y="324"/>
                    <a:pt x="734" y="318"/>
                    <a:pt x="725" y="321"/>
                  </a:cubicBezTo>
                  <a:cubicBezTo>
                    <a:pt x="721" y="323"/>
                    <a:pt x="737" y="330"/>
                    <a:pt x="737" y="331"/>
                  </a:cubicBezTo>
                  <a:cubicBezTo>
                    <a:pt x="737" y="338"/>
                    <a:pt x="723" y="331"/>
                    <a:pt x="716" y="333"/>
                  </a:cubicBezTo>
                  <a:cubicBezTo>
                    <a:pt x="703" y="336"/>
                    <a:pt x="721" y="293"/>
                    <a:pt x="708" y="315"/>
                  </a:cubicBezTo>
                  <a:cubicBezTo>
                    <a:pt x="705" y="320"/>
                    <a:pt x="703" y="319"/>
                    <a:pt x="698" y="321"/>
                  </a:cubicBezTo>
                  <a:cubicBezTo>
                    <a:pt x="690" y="325"/>
                    <a:pt x="679" y="308"/>
                    <a:pt x="672" y="307"/>
                  </a:cubicBezTo>
                  <a:cubicBezTo>
                    <a:pt x="669" y="306"/>
                    <a:pt x="672" y="310"/>
                    <a:pt x="672" y="311"/>
                  </a:cubicBezTo>
                  <a:cubicBezTo>
                    <a:pt x="677" y="315"/>
                    <a:pt x="659" y="321"/>
                    <a:pt x="656" y="320"/>
                  </a:cubicBezTo>
                  <a:cubicBezTo>
                    <a:pt x="652" y="320"/>
                    <a:pt x="652" y="313"/>
                    <a:pt x="649" y="310"/>
                  </a:cubicBezTo>
                  <a:cubicBezTo>
                    <a:pt x="648" y="309"/>
                    <a:pt x="643" y="314"/>
                    <a:pt x="641" y="313"/>
                  </a:cubicBezTo>
                  <a:cubicBezTo>
                    <a:pt x="633" y="311"/>
                    <a:pt x="624" y="301"/>
                    <a:pt x="610" y="306"/>
                  </a:cubicBezTo>
                  <a:cubicBezTo>
                    <a:pt x="605" y="307"/>
                    <a:pt x="617" y="308"/>
                    <a:pt x="614" y="310"/>
                  </a:cubicBezTo>
                  <a:cubicBezTo>
                    <a:pt x="609" y="312"/>
                    <a:pt x="600" y="303"/>
                    <a:pt x="599" y="308"/>
                  </a:cubicBezTo>
                  <a:cubicBezTo>
                    <a:pt x="599" y="313"/>
                    <a:pt x="609" y="313"/>
                    <a:pt x="609" y="313"/>
                  </a:cubicBezTo>
                  <a:cubicBezTo>
                    <a:pt x="606" y="321"/>
                    <a:pt x="592" y="308"/>
                    <a:pt x="593" y="321"/>
                  </a:cubicBezTo>
                  <a:close/>
                  <a:moveTo>
                    <a:pt x="561" y="1014"/>
                  </a:moveTo>
                  <a:cubicBezTo>
                    <a:pt x="563" y="1019"/>
                    <a:pt x="583" y="1020"/>
                    <a:pt x="582" y="1013"/>
                  </a:cubicBezTo>
                  <a:cubicBezTo>
                    <a:pt x="580" y="1000"/>
                    <a:pt x="584" y="1012"/>
                    <a:pt x="582" y="996"/>
                  </a:cubicBezTo>
                  <a:cubicBezTo>
                    <a:pt x="582" y="995"/>
                    <a:pt x="582" y="995"/>
                    <a:pt x="582" y="995"/>
                  </a:cubicBezTo>
                  <a:cubicBezTo>
                    <a:pt x="580" y="993"/>
                    <a:pt x="576" y="986"/>
                    <a:pt x="576" y="989"/>
                  </a:cubicBezTo>
                  <a:cubicBezTo>
                    <a:pt x="576" y="991"/>
                    <a:pt x="578" y="991"/>
                    <a:pt x="577" y="994"/>
                  </a:cubicBezTo>
                  <a:cubicBezTo>
                    <a:pt x="573" y="1011"/>
                    <a:pt x="570" y="990"/>
                    <a:pt x="562" y="1001"/>
                  </a:cubicBezTo>
                  <a:cubicBezTo>
                    <a:pt x="560" y="1004"/>
                    <a:pt x="570" y="1015"/>
                    <a:pt x="567" y="1012"/>
                  </a:cubicBezTo>
                  <a:cubicBezTo>
                    <a:pt x="565" y="1010"/>
                    <a:pt x="559" y="1010"/>
                    <a:pt x="561" y="1014"/>
                  </a:cubicBezTo>
                  <a:close/>
                  <a:moveTo>
                    <a:pt x="557" y="1055"/>
                  </a:moveTo>
                  <a:cubicBezTo>
                    <a:pt x="560" y="1055"/>
                    <a:pt x="569" y="1064"/>
                    <a:pt x="570" y="1063"/>
                  </a:cubicBezTo>
                  <a:cubicBezTo>
                    <a:pt x="574" y="1060"/>
                    <a:pt x="558" y="1055"/>
                    <a:pt x="562" y="1052"/>
                  </a:cubicBezTo>
                  <a:cubicBezTo>
                    <a:pt x="565" y="1050"/>
                    <a:pt x="587" y="1077"/>
                    <a:pt x="583" y="1062"/>
                  </a:cubicBezTo>
                  <a:cubicBezTo>
                    <a:pt x="582" y="1062"/>
                    <a:pt x="582" y="1062"/>
                    <a:pt x="582" y="1062"/>
                  </a:cubicBezTo>
                  <a:cubicBezTo>
                    <a:pt x="572" y="1055"/>
                    <a:pt x="562" y="1047"/>
                    <a:pt x="557" y="1039"/>
                  </a:cubicBezTo>
                  <a:cubicBezTo>
                    <a:pt x="556" y="1038"/>
                    <a:pt x="552" y="1042"/>
                    <a:pt x="551" y="1042"/>
                  </a:cubicBezTo>
                  <a:cubicBezTo>
                    <a:pt x="540" y="1043"/>
                    <a:pt x="547" y="1054"/>
                    <a:pt x="557" y="1055"/>
                  </a:cubicBezTo>
                  <a:close/>
                  <a:moveTo>
                    <a:pt x="515" y="1015"/>
                  </a:moveTo>
                  <a:cubicBezTo>
                    <a:pt x="519" y="1018"/>
                    <a:pt x="518" y="1019"/>
                    <a:pt x="520" y="1023"/>
                  </a:cubicBezTo>
                  <a:cubicBezTo>
                    <a:pt x="520" y="1024"/>
                    <a:pt x="521" y="1025"/>
                    <a:pt x="521" y="1026"/>
                  </a:cubicBezTo>
                  <a:cubicBezTo>
                    <a:pt x="522" y="1034"/>
                    <a:pt x="530" y="1039"/>
                    <a:pt x="534" y="1045"/>
                  </a:cubicBezTo>
                  <a:cubicBezTo>
                    <a:pt x="535" y="1046"/>
                    <a:pt x="535" y="1046"/>
                    <a:pt x="535" y="1046"/>
                  </a:cubicBezTo>
                  <a:cubicBezTo>
                    <a:pt x="553" y="1053"/>
                    <a:pt x="522" y="1026"/>
                    <a:pt x="523" y="1023"/>
                  </a:cubicBezTo>
                  <a:cubicBezTo>
                    <a:pt x="525" y="1014"/>
                    <a:pt x="512" y="1012"/>
                    <a:pt x="515" y="1015"/>
                  </a:cubicBezTo>
                  <a:close/>
                  <a:moveTo>
                    <a:pt x="500" y="1048"/>
                  </a:moveTo>
                  <a:cubicBezTo>
                    <a:pt x="501" y="1051"/>
                    <a:pt x="505" y="1074"/>
                    <a:pt x="504" y="1076"/>
                  </a:cubicBezTo>
                  <a:cubicBezTo>
                    <a:pt x="502" y="1082"/>
                    <a:pt x="495" y="1068"/>
                    <a:pt x="494" y="1070"/>
                  </a:cubicBezTo>
                  <a:cubicBezTo>
                    <a:pt x="493" y="1074"/>
                    <a:pt x="511" y="1094"/>
                    <a:pt x="512" y="1101"/>
                  </a:cubicBezTo>
                  <a:cubicBezTo>
                    <a:pt x="514" y="1110"/>
                    <a:pt x="493" y="1097"/>
                    <a:pt x="506" y="1111"/>
                  </a:cubicBezTo>
                  <a:cubicBezTo>
                    <a:pt x="507" y="1111"/>
                    <a:pt x="507" y="1111"/>
                    <a:pt x="507" y="1111"/>
                  </a:cubicBezTo>
                  <a:cubicBezTo>
                    <a:pt x="507" y="1112"/>
                    <a:pt x="515" y="1115"/>
                    <a:pt x="514" y="1107"/>
                  </a:cubicBezTo>
                  <a:cubicBezTo>
                    <a:pt x="513" y="1103"/>
                    <a:pt x="525" y="1099"/>
                    <a:pt x="524" y="1098"/>
                  </a:cubicBezTo>
                  <a:cubicBezTo>
                    <a:pt x="519" y="1094"/>
                    <a:pt x="518" y="1099"/>
                    <a:pt x="512" y="1094"/>
                  </a:cubicBezTo>
                  <a:cubicBezTo>
                    <a:pt x="511" y="1093"/>
                    <a:pt x="508" y="1093"/>
                    <a:pt x="511" y="1091"/>
                  </a:cubicBezTo>
                  <a:cubicBezTo>
                    <a:pt x="514" y="1089"/>
                    <a:pt x="508" y="1085"/>
                    <a:pt x="511" y="1085"/>
                  </a:cubicBezTo>
                  <a:cubicBezTo>
                    <a:pt x="532" y="1083"/>
                    <a:pt x="506" y="1081"/>
                    <a:pt x="511" y="1077"/>
                  </a:cubicBezTo>
                  <a:cubicBezTo>
                    <a:pt x="511" y="1076"/>
                    <a:pt x="515" y="1078"/>
                    <a:pt x="515" y="1077"/>
                  </a:cubicBezTo>
                  <a:cubicBezTo>
                    <a:pt x="515" y="1076"/>
                    <a:pt x="513" y="1074"/>
                    <a:pt x="513" y="1073"/>
                  </a:cubicBezTo>
                  <a:cubicBezTo>
                    <a:pt x="512" y="1072"/>
                    <a:pt x="507" y="1039"/>
                    <a:pt x="495" y="1039"/>
                  </a:cubicBezTo>
                  <a:cubicBezTo>
                    <a:pt x="491" y="1039"/>
                    <a:pt x="500" y="1048"/>
                    <a:pt x="500" y="1048"/>
                  </a:cubicBezTo>
                  <a:close/>
                  <a:moveTo>
                    <a:pt x="539" y="1131"/>
                  </a:moveTo>
                  <a:cubicBezTo>
                    <a:pt x="539" y="1131"/>
                    <a:pt x="539" y="1131"/>
                    <a:pt x="539" y="1131"/>
                  </a:cubicBezTo>
                  <a:cubicBezTo>
                    <a:pt x="540" y="1129"/>
                    <a:pt x="529" y="1123"/>
                    <a:pt x="528" y="1124"/>
                  </a:cubicBezTo>
                  <a:cubicBezTo>
                    <a:pt x="528" y="1124"/>
                    <a:pt x="528" y="1124"/>
                    <a:pt x="528" y="1125"/>
                  </a:cubicBezTo>
                  <a:cubicBezTo>
                    <a:pt x="527" y="1143"/>
                    <a:pt x="513" y="1129"/>
                    <a:pt x="501" y="1140"/>
                  </a:cubicBezTo>
                  <a:cubicBezTo>
                    <a:pt x="499" y="1142"/>
                    <a:pt x="494" y="1134"/>
                    <a:pt x="495" y="1140"/>
                  </a:cubicBezTo>
                  <a:cubicBezTo>
                    <a:pt x="497" y="1152"/>
                    <a:pt x="530" y="1126"/>
                    <a:pt x="537" y="1142"/>
                  </a:cubicBezTo>
                  <a:cubicBezTo>
                    <a:pt x="543" y="1156"/>
                    <a:pt x="520" y="1137"/>
                    <a:pt x="518" y="1142"/>
                  </a:cubicBezTo>
                  <a:cubicBezTo>
                    <a:pt x="513" y="1149"/>
                    <a:pt x="540" y="1153"/>
                    <a:pt x="541" y="1153"/>
                  </a:cubicBezTo>
                  <a:cubicBezTo>
                    <a:pt x="543" y="1153"/>
                    <a:pt x="538" y="1132"/>
                    <a:pt x="539" y="1131"/>
                  </a:cubicBezTo>
                  <a:close/>
                  <a:moveTo>
                    <a:pt x="486" y="1240"/>
                  </a:moveTo>
                  <a:cubicBezTo>
                    <a:pt x="490" y="1243"/>
                    <a:pt x="495" y="1237"/>
                    <a:pt x="502" y="1243"/>
                  </a:cubicBezTo>
                  <a:cubicBezTo>
                    <a:pt x="503" y="1245"/>
                    <a:pt x="501" y="1255"/>
                    <a:pt x="505" y="1254"/>
                  </a:cubicBezTo>
                  <a:cubicBezTo>
                    <a:pt x="506" y="1254"/>
                    <a:pt x="506" y="1248"/>
                    <a:pt x="506" y="1247"/>
                  </a:cubicBezTo>
                  <a:cubicBezTo>
                    <a:pt x="510" y="1244"/>
                    <a:pt x="503" y="1242"/>
                    <a:pt x="501" y="1240"/>
                  </a:cubicBezTo>
                  <a:cubicBezTo>
                    <a:pt x="500" y="1240"/>
                    <a:pt x="500" y="1240"/>
                    <a:pt x="500" y="1240"/>
                  </a:cubicBezTo>
                  <a:cubicBezTo>
                    <a:pt x="487" y="1235"/>
                    <a:pt x="503" y="1228"/>
                    <a:pt x="505" y="1231"/>
                  </a:cubicBezTo>
                  <a:cubicBezTo>
                    <a:pt x="505" y="1231"/>
                    <a:pt x="504" y="1235"/>
                    <a:pt x="506" y="1233"/>
                  </a:cubicBezTo>
                  <a:cubicBezTo>
                    <a:pt x="511" y="1230"/>
                    <a:pt x="509" y="1220"/>
                    <a:pt x="510" y="1215"/>
                  </a:cubicBezTo>
                  <a:cubicBezTo>
                    <a:pt x="511" y="1213"/>
                    <a:pt x="515" y="1211"/>
                    <a:pt x="514" y="1209"/>
                  </a:cubicBezTo>
                  <a:cubicBezTo>
                    <a:pt x="513" y="1209"/>
                    <a:pt x="513" y="1208"/>
                    <a:pt x="513" y="1207"/>
                  </a:cubicBezTo>
                  <a:cubicBezTo>
                    <a:pt x="512" y="1207"/>
                    <a:pt x="510" y="1207"/>
                    <a:pt x="510" y="1207"/>
                  </a:cubicBezTo>
                  <a:cubicBezTo>
                    <a:pt x="507" y="1207"/>
                    <a:pt x="507" y="1200"/>
                    <a:pt x="503" y="1201"/>
                  </a:cubicBezTo>
                  <a:cubicBezTo>
                    <a:pt x="502" y="1201"/>
                    <a:pt x="505" y="1209"/>
                    <a:pt x="506" y="1209"/>
                  </a:cubicBezTo>
                  <a:cubicBezTo>
                    <a:pt x="508" y="1210"/>
                    <a:pt x="508" y="1218"/>
                    <a:pt x="506" y="1224"/>
                  </a:cubicBezTo>
                  <a:cubicBezTo>
                    <a:pt x="504" y="1229"/>
                    <a:pt x="492" y="1227"/>
                    <a:pt x="491" y="1234"/>
                  </a:cubicBezTo>
                  <a:cubicBezTo>
                    <a:pt x="491" y="1235"/>
                    <a:pt x="486" y="1240"/>
                    <a:pt x="486" y="1240"/>
                  </a:cubicBezTo>
                  <a:close/>
                  <a:moveTo>
                    <a:pt x="475" y="1124"/>
                  </a:moveTo>
                  <a:cubicBezTo>
                    <a:pt x="477" y="1128"/>
                    <a:pt x="467" y="1145"/>
                    <a:pt x="475" y="1142"/>
                  </a:cubicBezTo>
                  <a:cubicBezTo>
                    <a:pt x="486" y="1138"/>
                    <a:pt x="472" y="1118"/>
                    <a:pt x="471" y="1113"/>
                  </a:cubicBezTo>
                  <a:cubicBezTo>
                    <a:pt x="471" y="1112"/>
                    <a:pt x="471" y="1112"/>
                    <a:pt x="471" y="1112"/>
                  </a:cubicBezTo>
                  <a:cubicBezTo>
                    <a:pt x="467" y="1109"/>
                    <a:pt x="463" y="1107"/>
                    <a:pt x="460" y="1110"/>
                  </a:cubicBezTo>
                  <a:cubicBezTo>
                    <a:pt x="457" y="1113"/>
                    <a:pt x="474" y="1122"/>
                    <a:pt x="475" y="1124"/>
                  </a:cubicBezTo>
                  <a:close/>
                  <a:moveTo>
                    <a:pt x="404" y="1122"/>
                  </a:moveTo>
                  <a:cubicBezTo>
                    <a:pt x="404" y="1122"/>
                    <a:pt x="404" y="1122"/>
                    <a:pt x="404" y="1122"/>
                  </a:cubicBezTo>
                  <a:cubicBezTo>
                    <a:pt x="404" y="1122"/>
                    <a:pt x="404" y="1122"/>
                    <a:pt x="404" y="1122"/>
                  </a:cubicBezTo>
                  <a:close/>
                  <a:moveTo>
                    <a:pt x="391" y="1183"/>
                  </a:moveTo>
                  <a:cubicBezTo>
                    <a:pt x="402" y="1187"/>
                    <a:pt x="402" y="1171"/>
                    <a:pt x="405" y="1167"/>
                  </a:cubicBezTo>
                  <a:cubicBezTo>
                    <a:pt x="408" y="1164"/>
                    <a:pt x="419" y="1171"/>
                    <a:pt x="422" y="1167"/>
                  </a:cubicBezTo>
                  <a:cubicBezTo>
                    <a:pt x="423" y="1166"/>
                    <a:pt x="403" y="1135"/>
                    <a:pt x="404" y="1126"/>
                  </a:cubicBezTo>
                  <a:cubicBezTo>
                    <a:pt x="404" y="1125"/>
                    <a:pt x="404" y="1125"/>
                    <a:pt x="404" y="1125"/>
                  </a:cubicBezTo>
                  <a:cubicBezTo>
                    <a:pt x="405" y="1121"/>
                    <a:pt x="402" y="1119"/>
                    <a:pt x="401" y="1124"/>
                  </a:cubicBezTo>
                  <a:cubicBezTo>
                    <a:pt x="399" y="1142"/>
                    <a:pt x="417" y="1155"/>
                    <a:pt x="414" y="1163"/>
                  </a:cubicBezTo>
                  <a:cubicBezTo>
                    <a:pt x="412" y="1167"/>
                    <a:pt x="407" y="1162"/>
                    <a:pt x="406" y="1161"/>
                  </a:cubicBezTo>
                  <a:cubicBezTo>
                    <a:pt x="402" y="1159"/>
                    <a:pt x="406" y="1164"/>
                    <a:pt x="404" y="1165"/>
                  </a:cubicBezTo>
                  <a:cubicBezTo>
                    <a:pt x="402" y="1167"/>
                    <a:pt x="401" y="1169"/>
                    <a:pt x="400" y="1170"/>
                  </a:cubicBezTo>
                  <a:cubicBezTo>
                    <a:pt x="397" y="1172"/>
                    <a:pt x="392" y="1163"/>
                    <a:pt x="392" y="1168"/>
                  </a:cubicBezTo>
                  <a:cubicBezTo>
                    <a:pt x="391" y="1171"/>
                    <a:pt x="397" y="1171"/>
                    <a:pt x="398" y="1173"/>
                  </a:cubicBezTo>
                  <a:cubicBezTo>
                    <a:pt x="399" y="1177"/>
                    <a:pt x="390" y="1183"/>
                    <a:pt x="391" y="1183"/>
                  </a:cubicBezTo>
                  <a:close/>
                  <a:moveTo>
                    <a:pt x="369" y="1088"/>
                  </a:moveTo>
                  <a:cubicBezTo>
                    <a:pt x="370" y="1089"/>
                    <a:pt x="374" y="1090"/>
                    <a:pt x="374" y="1087"/>
                  </a:cubicBezTo>
                  <a:cubicBezTo>
                    <a:pt x="375" y="1078"/>
                    <a:pt x="383" y="1080"/>
                    <a:pt x="382" y="1068"/>
                  </a:cubicBezTo>
                  <a:cubicBezTo>
                    <a:pt x="381" y="1062"/>
                    <a:pt x="374" y="1062"/>
                    <a:pt x="371" y="1058"/>
                  </a:cubicBezTo>
                  <a:cubicBezTo>
                    <a:pt x="371" y="1058"/>
                    <a:pt x="371" y="1058"/>
                    <a:pt x="371" y="1058"/>
                  </a:cubicBezTo>
                  <a:cubicBezTo>
                    <a:pt x="370" y="1057"/>
                    <a:pt x="360" y="1075"/>
                    <a:pt x="369" y="1088"/>
                  </a:cubicBezTo>
                  <a:close/>
                  <a:moveTo>
                    <a:pt x="329" y="1285"/>
                  </a:moveTo>
                  <a:cubicBezTo>
                    <a:pt x="329" y="1288"/>
                    <a:pt x="343" y="1283"/>
                    <a:pt x="339" y="1282"/>
                  </a:cubicBezTo>
                  <a:cubicBezTo>
                    <a:pt x="333" y="1279"/>
                    <a:pt x="327" y="1274"/>
                    <a:pt x="316" y="1268"/>
                  </a:cubicBezTo>
                  <a:cubicBezTo>
                    <a:pt x="314" y="1267"/>
                    <a:pt x="314" y="1267"/>
                    <a:pt x="314" y="1267"/>
                  </a:cubicBezTo>
                  <a:cubicBezTo>
                    <a:pt x="299" y="1263"/>
                    <a:pt x="330" y="1277"/>
                    <a:pt x="329" y="1285"/>
                  </a:cubicBezTo>
                  <a:close/>
                  <a:moveTo>
                    <a:pt x="344" y="1320"/>
                  </a:moveTo>
                  <a:cubicBezTo>
                    <a:pt x="344" y="1320"/>
                    <a:pt x="344" y="1320"/>
                    <a:pt x="344" y="1320"/>
                  </a:cubicBezTo>
                  <a:cubicBezTo>
                    <a:pt x="345" y="1320"/>
                    <a:pt x="349" y="1321"/>
                    <a:pt x="349" y="1320"/>
                  </a:cubicBezTo>
                  <a:cubicBezTo>
                    <a:pt x="350" y="1318"/>
                    <a:pt x="347" y="1319"/>
                    <a:pt x="346" y="1319"/>
                  </a:cubicBezTo>
                  <a:cubicBezTo>
                    <a:pt x="319" y="1323"/>
                    <a:pt x="312" y="1329"/>
                    <a:pt x="287" y="1344"/>
                  </a:cubicBezTo>
                  <a:cubicBezTo>
                    <a:pt x="282" y="1347"/>
                    <a:pt x="278" y="1351"/>
                    <a:pt x="277" y="1356"/>
                  </a:cubicBezTo>
                  <a:cubicBezTo>
                    <a:pt x="277" y="1356"/>
                    <a:pt x="280" y="1357"/>
                    <a:pt x="280" y="1357"/>
                  </a:cubicBezTo>
                  <a:cubicBezTo>
                    <a:pt x="286" y="1360"/>
                    <a:pt x="282" y="1353"/>
                    <a:pt x="283" y="1351"/>
                  </a:cubicBezTo>
                  <a:cubicBezTo>
                    <a:pt x="289" y="1345"/>
                    <a:pt x="294" y="1340"/>
                    <a:pt x="302" y="1339"/>
                  </a:cubicBezTo>
                  <a:cubicBezTo>
                    <a:pt x="321" y="1334"/>
                    <a:pt x="317" y="1323"/>
                    <a:pt x="337" y="1328"/>
                  </a:cubicBezTo>
                  <a:cubicBezTo>
                    <a:pt x="337" y="1328"/>
                    <a:pt x="338" y="1328"/>
                    <a:pt x="338" y="1328"/>
                  </a:cubicBezTo>
                  <a:cubicBezTo>
                    <a:pt x="341" y="1326"/>
                    <a:pt x="330" y="1321"/>
                    <a:pt x="344" y="1320"/>
                  </a:cubicBezTo>
                  <a:close/>
                  <a:moveTo>
                    <a:pt x="380" y="1349"/>
                  </a:moveTo>
                  <a:cubicBezTo>
                    <a:pt x="388" y="1334"/>
                    <a:pt x="354" y="1342"/>
                    <a:pt x="359" y="1326"/>
                  </a:cubicBezTo>
                  <a:cubicBezTo>
                    <a:pt x="362" y="1318"/>
                    <a:pt x="392" y="1320"/>
                    <a:pt x="388" y="1298"/>
                  </a:cubicBezTo>
                  <a:cubicBezTo>
                    <a:pt x="388" y="1296"/>
                    <a:pt x="382" y="1303"/>
                    <a:pt x="382" y="1296"/>
                  </a:cubicBezTo>
                  <a:cubicBezTo>
                    <a:pt x="382" y="1295"/>
                    <a:pt x="399" y="1293"/>
                    <a:pt x="398" y="1291"/>
                  </a:cubicBezTo>
                  <a:cubicBezTo>
                    <a:pt x="396" y="1288"/>
                    <a:pt x="383" y="1296"/>
                    <a:pt x="379" y="1291"/>
                  </a:cubicBezTo>
                  <a:cubicBezTo>
                    <a:pt x="377" y="1287"/>
                    <a:pt x="387" y="1285"/>
                    <a:pt x="388" y="1281"/>
                  </a:cubicBezTo>
                  <a:cubicBezTo>
                    <a:pt x="389" y="1277"/>
                    <a:pt x="382" y="1276"/>
                    <a:pt x="380" y="1274"/>
                  </a:cubicBezTo>
                  <a:cubicBezTo>
                    <a:pt x="378" y="1271"/>
                    <a:pt x="400" y="1261"/>
                    <a:pt x="401" y="1260"/>
                  </a:cubicBezTo>
                  <a:cubicBezTo>
                    <a:pt x="416" y="1244"/>
                    <a:pt x="403" y="1259"/>
                    <a:pt x="421" y="1248"/>
                  </a:cubicBezTo>
                  <a:cubicBezTo>
                    <a:pt x="423" y="1247"/>
                    <a:pt x="408" y="1241"/>
                    <a:pt x="410" y="1235"/>
                  </a:cubicBezTo>
                  <a:cubicBezTo>
                    <a:pt x="410" y="1234"/>
                    <a:pt x="428" y="1242"/>
                    <a:pt x="429" y="1242"/>
                  </a:cubicBezTo>
                  <a:cubicBezTo>
                    <a:pt x="446" y="1244"/>
                    <a:pt x="448" y="1235"/>
                    <a:pt x="463" y="1251"/>
                  </a:cubicBezTo>
                  <a:cubicBezTo>
                    <a:pt x="465" y="1252"/>
                    <a:pt x="468" y="1257"/>
                    <a:pt x="470" y="1257"/>
                  </a:cubicBezTo>
                  <a:cubicBezTo>
                    <a:pt x="470" y="1257"/>
                    <a:pt x="462" y="1241"/>
                    <a:pt x="456" y="1240"/>
                  </a:cubicBezTo>
                  <a:cubicBezTo>
                    <a:pt x="456" y="1240"/>
                    <a:pt x="456" y="1240"/>
                    <a:pt x="456" y="1240"/>
                  </a:cubicBezTo>
                  <a:cubicBezTo>
                    <a:pt x="465" y="1232"/>
                    <a:pt x="466" y="1225"/>
                    <a:pt x="466" y="1218"/>
                  </a:cubicBezTo>
                  <a:cubicBezTo>
                    <a:pt x="466" y="1217"/>
                    <a:pt x="477" y="1206"/>
                    <a:pt x="470" y="1208"/>
                  </a:cubicBezTo>
                  <a:cubicBezTo>
                    <a:pt x="468" y="1209"/>
                    <a:pt x="467" y="1215"/>
                    <a:pt x="465" y="1214"/>
                  </a:cubicBezTo>
                  <a:cubicBezTo>
                    <a:pt x="459" y="1212"/>
                    <a:pt x="469" y="1200"/>
                    <a:pt x="466" y="1199"/>
                  </a:cubicBezTo>
                  <a:cubicBezTo>
                    <a:pt x="447" y="1197"/>
                    <a:pt x="465" y="1226"/>
                    <a:pt x="457" y="1231"/>
                  </a:cubicBezTo>
                  <a:cubicBezTo>
                    <a:pt x="456" y="1231"/>
                    <a:pt x="451" y="1223"/>
                    <a:pt x="450" y="1222"/>
                  </a:cubicBezTo>
                  <a:cubicBezTo>
                    <a:pt x="447" y="1219"/>
                    <a:pt x="439" y="1218"/>
                    <a:pt x="436" y="1216"/>
                  </a:cubicBezTo>
                  <a:cubicBezTo>
                    <a:pt x="435" y="1216"/>
                    <a:pt x="429" y="1213"/>
                    <a:pt x="429" y="1215"/>
                  </a:cubicBezTo>
                  <a:cubicBezTo>
                    <a:pt x="430" y="1228"/>
                    <a:pt x="446" y="1219"/>
                    <a:pt x="453" y="1232"/>
                  </a:cubicBezTo>
                  <a:cubicBezTo>
                    <a:pt x="453" y="1233"/>
                    <a:pt x="457" y="1237"/>
                    <a:pt x="456" y="1238"/>
                  </a:cubicBezTo>
                  <a:cubicBezTo>
                    <a:pt x="456" y="1238"/>
                    <a:pt x="454" y="1238"/>
                    <a:pt x="453" y="1238"/>
                  </a:cubicBezTo>
                  <a:cubicBezTo>
                    <a:pt x="440" y="1236"/>
                    <a:pt x="431" y="1240"/>
                    <a:pt x="432" y="1229"/>
                  </a:cubicBezTo>
                  <a:cubicBezTo>
                    <a:pt x="432" y="1227"/>
                    <a:pt x="438" y="1226"/>
                    <a:pt x="435" y="1225"/>
                  </a:cubicBezTo>
                  <a:cubicBezTo>
                    <a:pt x="433" y="1224"/>
                    <a:pt x="430" y="1221"/>
                    <a:pt x="428" y="1222"/>
                  </a:cubicBezTo>
                  <a:cubicBezTo>
                    <a:pt x="424" y="1226"/>
                    <a:pt x="419" y="1243"/>
                    <a:pt x="412" y="1231"/>
                  </a:cubicBezTo>
                  <a:cubicBezTo>
                    <a:pt x="411" y="1229"/>
                    <a:pt x="420" y="1223"/>
                    <a:pt x="418" y="1222"/>
                  </a:cubicBezTo>
                  <a:cubicBezTo>
                    <a:pt x="415" y="1222"/>
                    <a:pt x="406" y="1222"/>
                    <a:pt x="415" y="1221"/>
                  </a:cubicBezTo>
                  <a:cubicBezTo>
                    <a:pt x="416" y="1220"/>
                    <a:pt x="425" y="1217"/>
                    <a:pt x="421" y="1215"/>
                  </a:cubicBezTo>
                  <a:cubicBezTo>
                    <a:pt x="421" y="1214"/>
                    <a:pt x="402" y="1220"/>
                    <a:pt x="401" y="1219"/>
                  </a:cubicBezTo>
                  <a:cubicBezTo>
                    <a:pt x="395" y="1212"/>
                    <a:pt x="413" y="1208"/>
                    <a:pt x="402" y="1205"/>
                  </a:cubicBezTo>
                  <a:cubicBezTo>
                    <a:pt x="392" y="1202"/>
                    <a:pt x="400" y="1220"/>
                    <a:pt x="394" y="1221"/>
                  </a:cubicBezTo>
                  <a:cubicBezTo>
                    <a:pt x="380" y="1225"/>
                    <a:pt x="375" y="1200"/>
                    <a:pt x="370" y="1210"/>
                  </a:cubicBezTo>
                  <a:cubicBezTo>
                    <a:pt x="369" y="1212"/>
                    <a:pt x="374" y="1215"/>
                    <a:pt x="374" y="1217"/>
                  </a:cubicBezTo>
                  <a:cubicBezTo>
                    <a:pt x="372" y="1242"/>
                    <a:pt x="398" y="1207"/>
                    <a:pt x="404" y="1242"/>
                  </a:cubicBezTo>
                  <a:cubicBezTo>
                    <a:pt x="404" y="1243"/>
                    <a:pt x="410" y="1243"/>
                    <a:pt x="410" y="1245"/>
                  </a:cubicBezTo>
                  <a:cubicBezTo>
                    <a:pt x="410" y="1246"/>
                    <a:pt x="407" y="1246"/>
                    <a:pt x="406" y="1246"/>
                  </a:cubicBezTo>
                  <a:cubicBezTo>
                    <a:pt x="389" y="1248"/>
                    <a:pt x="394" y="1260"/>
                    <a:pt x="389" y="1262"/>
                  </a:cubicBezTo>
                  <a:cubicBezTo>
                    <a:pt x="385" y="1264"/>
                    <a:pt x="376" y="1252"/>
                    <a:pt x="372" y="1255"/>
                  </a:cubicBezTo>
                  <a:cubicBezTo>
                    <a:pt x="370" y="1256"/>
                    <a:pt x="385" y="1263"/>
                    <a:pt x="383" y="1265"/>
                  </a:cubicBezTo>
                  <a:cubicBezTo>
                    <a:pt x="374" y="1269"/>
                    <a:pt x="375" y="1270"/>
                    <a:pt x="376" y="1280"/>
                  </a:cubicBezTo>
                  <a:cubicBezTo>
                    <a:pt x="377" y="1285"/>
                    <a:pt x="372" y="1285"/>
                    <a:pt x="367" y="1283"/>
                  </a:cubicBezTo>
                  <a:cubicBezTo>
                    <a:pt x="365" y="1282"/>
                    <a:pt x="361" y="1284"/>
                    <a:pt x="366" y="1285"/>
                  </a:cubicBezTo>
                  <a:cubicBezTo>
                    <a:pt x="371" y="1286"/>
                    <a:pt x="374" y="1292"/>
                    <a:pt x="373" y="1293"/>
                  </a:cubicBezTo>
                  <a:cubicBezTo>
                    <a:pt x="372" y="1296"/>
                    <a:pt x="365" y="1289"/>
                    <a:pt x="364" y="1292"/>
                  </a:cubicBezTo>
                  <a:cubicBezTo>
                    <a:pt x="363" y="1295"/>
                    <a:pt x="379" y="1307"/>
                    <a:pt x="379" y="1312"/>
                  </a:cubicBezTo>
                  <a:cubicBezTo>
                    <a:pt x="379" y="1315"/>
                    <a:pt x="343" y="1326"/>
                    <a:pt x="344" y="1332"/>
                  </a:cubicBezTo>
                  <a:cubicBezTo>
                    <a:pt x="344" y="1334"/>
                    <a:pt x="355" y="1330"/>
                    <a:pt x="357" y="1333"/>
                  </a:cubicBezTo>
                  <a:cubicBezTo>
                    <a:pt x="358" y="1334"/>
                    <a:pt x="358" y="1342"/>
                    <a:pt x="360" y="1344"/>
                  </a:cubicBezTo>
                  <a:cubicBezTo>
                    <a:pt x="364" y="1346"/>
                    <a:pt x="383" y="1337"/>
                    <a:pt x="376" y="1348"/>
                  </a:cubicBezTo>
                  <a:cubicBezTo>
                    <a:pt x="375" y="1350"/>
                    <a:pt x="378" y="1352"/>
                    <a:pt x="380" y="1349"/>
                  </a:cubicBezTo>
                  <a:close/>
                  <a:moveTo>
                    <a:pt x="405" y="1484"/>
                  </a:moveTo>
                  <a:cubicBezTo>
                    <a:pt x="404" y="1485"/>
                    <a:pt x="399" y="1487"/>
                    <a:pt x="402" y="1488"/>
                  </a:cubicBezTo>
                  <a:cubicBezTo>
                    <a:pt x="412" y="1493"/>
                    <a:pt x="396" y="1489"/>
                    <a:pt x="390" y="1490"/>
                  </a:cubicBezTo>
                  <a:cubicBezTo>
                    <a:pt x="388" y="1491"/>
                    <a:pt x="380" y="1495"/>
                    <a:pt x="380" y="1498"/>
                  </a:cubicBezTo>
                  <a:cubicBezTo>
                    <a:pt x="379" y="1503"/>
                    <a:pt x="397" y="1510"/>
                    <a:pt x="394" y="1505"/>
                  </a:cubicBezTo>
                  <a:cubicBezTo>
                    <a:pt x="393" y="1503"/>
                    <a:pt x="398" y="1501"/>
                    <a:pt x="404" y="1499"/>
                  </a:cubicBezTo>
                  <a:cubicBezTo>
                    <a:pt x="404" y="1498"/>
                    <a:pt x="404" y="1498"/>
                    <a:pt x="404" y="1498"/>
                  </a:cubicBezTo>
                  <a:cubicBezTo>
                    <a:pt x="407" y="1496"/>
                    <a:pt x="414" y="1482"/>
                    <a:pt x="405" y="1484"/>
                  </a:cubicBezTo>
                  <a:close/>
                  <a:moveTo>
                    <a:pt x="442" y="1380"/>
                  </a:moveTo>
                  <a:cubicBezTo>
                    <a:pt x="439" y="1377"/>
                    <a:pt x="433" y="1368"/>
                    <a:pt x="434" y="1366"/>
                  </a:cubicBezTo>
                  <a:cubicBezTo>
                    <a:pt x="434" y="1363"/>
                    <a:pt x="437" y="1369"/>
                    <a:pt x="439" y="1368"/>
                  </a:cubicBezTo>
                  <a:cubicBezTo>
                    <a:pt x="440" y="1367"/>
                    <a:pt x="436" y="1362"/>
                    <a:pt x="435" y="1362"/>
                  </a:cubicBezTo>
                  <a:cubicBezTo>
                    <a:pt x="421" y="1355"/>
                    <a:pt x="422" y="1366"/>
                    <a:pt x="408" y="1358"/>
                  </a:cubicBezTo>
                  <a:cubicBezTo>
                    <a:pt x="407" y="1357"/>
                    <a:pt x="406" y="1357"/>
                    <a:pt x="405" y="1356"/>
                  </a:cubicBezTo>
                  <a:cubicBezTo>
                    <a:pt x="404" y="1355"/>
                    <a:pt x="403" y="1354"/>
                    <a:pt x="403" y="1353"/>
                  </a:cubicBezTo>
                  <a:cubicBezTo>
                    <a:pt x="403" y="1348"/>
                    <a:pt x="425" y="1343"/>
                    <a:pt x="428" y="1346"/>
                  </a:cubicBezTo>
                  <a:cubicBezTo>
                    <a:pt x="429" y="1347"/>
                    <a:pt x="431" y="1350"/>
                    <a:pt x="433" y="1347"/>
                  </a:cubicBezTo>
                  <a:cubicBezTo>
                    <a:pt x="434" y="1347"/>
                    <a:pt x="432" y="1346"/>
                    <a:pt x="432" y="1346"/>
                  </a:cubicBezTo>
                  <a:cubicBezTo>
                    <a:pt x="427" y="1341"/>
                    <a:pt x="412" y="1338"/>
                    <a:pt x="412" y="1338"/>
                  </a:cubicBezTo>
                  <a:cubicBezTo>
                    <a:pt x="412" y="1336"/>
                    <a:pt x="417" y="1338"/>
                    <a:pt x="418" y="1336"/>
                  </a:cubicBezTo>
                  <a:cubicBezTo>
                    <a:pt x="420" y="1334"/>
                    <a:pt x="427" y="1298"/>
                    <a:pt x="450" y="1310"/>
                  </a:cubicBezTo>
                  <a:cubicBezTo>
                    <a:pt x="451" y="1311"/>
                    <a:pt x="457" y="1312"/>
                    <a:pt x="458" y="1312"/>
                  </a:cubicBezTo>
                  <a:cubicBezTo>
                    <a:pt x="460" y="1308"/>
                    <a:pt x="442" y="1305"/>
                    <a:pt x="442" y="1302"/>
                  </a:cubicBezTo>
                  <a:cubicBezTo>
                    <a:pt x="442" y="1301"/>
                    <a:pt x="444" y="1300"/>
                    <a:pt x="444" y="1299"/>
                  </a:cubicBezTo>
                  <a:cubicBezTo>
                    <a:pt x="450" y="1290"/>
                    <a:pt x="466" y="1293"/>
                    <a:pt x="466" y="1293"/>
                  </a:cubicBezTo>
                  <a:cubicBezTo>
                    <a:pt x="469" y="1291"/>
                    <a:pt x="462" y="1286"/>
                    <a:pt x="464" y="1284"/>
                  </a:cubicBezTo>
                  <a:cubicBezTo>
                    <a:pt x="466" y="1282"/>
                    <a:pt x="476" y="1281"/>
                    <a:pt x="472" y="1279"/>
                  </a:cubicBezTo>
                  <a:cubicBezTo>
                    <a:pt x="471" y="1279"/>
                    <a:pt x="471" y="1279"/>
                    <a:pt x="471" y="1279"/>
                  </a:cubicBezTo>
                  <a:cubicBezTo>
                    <a:pt x="469" y="1278"/>
                    <a:pt x="467" y="1280"/>
                    <a:pt x="464" y="1280"/>
                  </a:cubicBezTo>
                  <a:cubicBezTo>
                    <a:pt x="458" y="1281"/>
                    <a:pt x="455" y="1287"/>
                    <a:pt x="448" y="1289"/>
                  </a:cubicBezTo>
                  <a:cubicBezTo>
                    <a:pt x="445" y="1291"/>
                    <a:pt x="449" y="1294"/>
                    <a:pt x="447" y="1295"/>
                  </a:cubicBezTo>
                  <a:cubicBezTo>
                    <a:pt x="437" y="1299"/>
                    <a:pt x="436" y="1287"/>
                    <a:pt x="430" y="1296"/>
                  </a:cubicBezTo>
                  <a:cubicBezTo>
                    <a:pt x="427" y="1299"/>
                    <a:pt x="440" y="1297"/>
                    <a:pt x="436" y="1303"/>
                  </a:cubicBezTo>
                  <a:cubicBezTo>
                    <a:pt x="433" y="1307"/>
                    <a:pt x="414" y="1324"/>
                    <a:pt x="411" y="1326"/>
                  </a:cubicBezTo>
                  <a:cubicBezTo>
                    <a:pt x="408" y="1327"/>
                    <a:pt x="406" y="1320"/>
                    <a:pt x="402" y="1323"/>
                  </a:cubicBezTo>
                  <a:cubicBezTo>
                    <a:pt x="402" y="1324"/>
                    <a:pt x="402" y="1324"/>
                    <a:pt x="402" y="1324"/>
                  </a:cubicBezTo>
                  <a:cubicBezTo>
                    <a:pt x="399" y="1330"/>
                    <a:pt x="407" y="1331"/>
                    <a:pt x="408" y="1334"/>
                  </a:cubicBezTo>
                  <a:cubicBezTo>
                    <a:pt x="412" y="1345"/>
                    <a:pt x="404" y="1345"/>
                    <a:pt x="399" y="1350"/>
                  </a:cubicBezTo>
                  <a:cubicBezTo>
                    <a:pt x="397" y="1352"/>
                    <a:pt x="402" y="1358"/>
                    <a:pt x="401" y="1358"/>
                  </a:cubicBezTo>
                  <a:cubicBezTo>
                    <a:pt x="396" y="1362"/>
                    <a:pt x="387" y="1351"/>
                    <a:pt x="386" y="1345"/>
                  </a:cubicBezTo>
                  <a:cubicBezTo>
                    <a:pt x="386" y="1344"/>
                    <a:pt x="384" y="1337"/>
                    <a:pt x="384" y="1338"/>
                  </a:cubicBezTo>
                  <a:cubicBezTo>
                    <a:pt x="375" y="1358"/>
                    <a:pt x="413" y="1368"/>
                    <a:pt x="426" y="1376"/>
                  </a:cubicBezTo>
                  <a:cubicBezTo>
                    <a:pt x="430" y="1379"/>
                    <a:pt x="426" y="1366"/>
                    <a:pt x="431" y="1369"/>
                  </a:cubicBezTo>
                  <a:cubicBezTo>
                    <a:pt x="434" y="1371"/>
                    <a:pt x="437" y="1388"/>
                    <a:pt x="446" y="1384"/>
                  </a:cubicBezTo>
                  <a:cubicBezTo>
                    <a:pt x="448" y="1383"/>
                    <a:pt x="444" y="1381"/>
                    <a:pt x="442" y="1380"/>
                  </a:cubicBezTo>
                  <a:close/>
                  <a:moveTo>
                    <a:pt x="473" y="1340"/>
                  </a:moveTo>
                  <a:cubicBezTo>
                    <a:pt x="472" y="1339"/>
                    <a:pt x="473" y="1337"/>
                    <a:pt x="475" y="1336"/>
                  </a:cubicBezTo>
                  <a:cubicBezTo>
                    <a:pt x="478" y="1333"/>
                    <a:pt x="471" y="1327"/>
                    <a:pt x="467" y="1327"/>
                  </a:cubicBezTo>
                  <a:cubicBezTo>
                    <a:pt x="467" y="1327"/>
                    <a:pt x="467" y="1327"/>
                    <a:pt x="467" y="1327"/>
                  </a:cubicBezTo>
                  <a:cubicBezTo>
                    <a:pt x="464" y="1327"/>
                    <a:pt x="468" y="1333"/>
                    <a:pt x="466" y="1335"/>
                  </a:cubicBezTo>
                  <a:cubicBezTo>
                    <a:pt x="465" y="1335"/>
                    <a:pt x="446" y="1335"/>
                    <a:pt x="462" y="1340"/>
                  </a:cubicBezTo>
                  <a:cubicBezTo>
                    <a:pt x="462" y="1340"/>
                    <a:pt x="464" y="1344"/>
                    <a:pt x="463" y="1344"/>
                  </a:cubicBezTo>
                  <a:cubicBezTo>
                    <a:pt x="462" y="1346"/>
                    <a:pt x="458" y="1348"/>
                    <a:pt x="456" y="1346"/>
                  </a:cubicBezTo>
                  <a:cubicBezTo>
                    <a:pt x="450" y="1339"/>
                    <a:pt x="457" y="1359"/>
                    <a:pt x="446" y="1357"/>
                  </a:cubicBezTo>
                  <a:cubicBezTo>
                    <a:pt x="442" y="1356"/>
                    <a:pt x="439" y="1345"/>
                    <a:pt x="435" y="1349"/>
                  </a:cubicBezTo>
                  <a:cubicBezTo>
                    <a:pt x="434" y="1350"/>
                    <a:pt x="447" y="1368"/>
                    <a:pt x="451" y="1369"/>
                  </a:cubicBezTo>
                  <a:cubicBezTo>
                    <a:pt x="452" y="1369"/>
                    <a:pt x="454" y="1361"/>
                    <a:pt x="454" y="1360"/>
                  </a:cubicBezTo>
                  <a:cubicBezTo>
                    <a:pt x="454" y="1359"/>
                    <a:pt x="470" y="1366"/>
                    <a:pt x="470" y="1364"/>
                  </a:cubicBezTo>
                  <a:cubicBezTo>
                    <a:pt x="470" y="1362"/>
                    <a:pt x="468" y="1361"/>
                    <a:pt x="467" y="1360"/>
                  </a:cubicBezTo>
                  <a:cubicBezTo>
                    <a:pt x="466" y="1360"/>
                    <a:pt x="448" y="1355"/>
                    <a:pt x="460" y="1349"/>
                  </a:cubicBezTo>
                  <a:cubicBezTo>
                    <a:pt x="460" y="1349"/>
                    <a:pt x="466" y="1348"/>
                    <a:pt x="467" y="1346"/>
                  </a:cubicBezTo>
                  <a:cubicBezTo>
                    <a:pt x="467" y="1345"/>
                    <a:pt x="468" y="1339"/>
                    <a:pt x="470" y="1340"/>
                  </a:cubicBezTo>
                  <a:cubicBezTo>
                    <a:pt x="476" y="1345"/>
                    <a:pt x="477" y="1367"/>
                    <a:pt x="485" y="1362"/>
                  </a:cubicBezTo>
                  <a:cubicBezTo>
                    <a:pt x="492" y="1358"/>
                    <a:pt x="476" y="1344"/>
                    <a:pt x="473" y="1340"/>
                  </a:cubicBezTo>
                  <a:close/>
                  <a:moveTo>
                    <a:pt x="508" y="1330"/>
                  </a:moveTo>
                  <a:cubicBezTo>
                    <a:pt x="508" y="1330"/>
                    <a:pt x="507" y="1330"/>
                    <a:pt x="507" y="1330"/>
                  </a:cubicBezTo>
                  <a:cubicBezTo>
                    <a:pt x="499" y="1326"/>
                    <a:pt x="491" y="1331"/>
                    <a:pt x="484" y="1322"/>
                  </a:cubicBezTo>
                  <a:cubicBezTo>
                    <a:pt x="484" y="1322"/>
                    <a:pt x="480" y="1319"/>
                    <a:pt x="481" y="1318"/>
                  </a:cubicBezTo>
                  <a:cubicBezTo>
                    <a:pt x="485" y="1313"/>
                    <a:pt x="508" y="1324"/>
                    <a:pt x="499" y="1313"/>
                  </a:cubicBezTo>
                  <a:cubicBezTo>
                    <a:pt x="498" y="1313"/>
                    <a:pt x="498" y="1313"/>
                    <a:pt x="498" y="1313"/>
                  </a:cubicBezTo>
                  <a:cubicBezTo>
                    <a:pt x="493" y="1311"/>
                    <a:pt x="489" y="1315"/>
                    <a:pt x="483" y="1314"/>
                  </a:cubicBezTo>
                  <a:cubicBezTo>
                    <a:pt x="463" y="1311"/>
                    <a:pt x="494" y="1343"/>
                    <a:pt x="508" y="1331"/>
                  </a:cubicBezTo>
                  <a:cubicBezTo>
                    <a:pt x="508" y="1331"/>
                    <a:pt x="508" y="1331"/>
                    <a:pt x="508" y="1330"/>
                  </a:cubicBezTo>
                  <a:close/>
                  <a:moveTo>
                    <a:pt x="606" y="1373"/>
                  </a:moveTo>
                  <a:cubicBezTo>
                    <a:pt x="593" y="1364"/>
                    <a:pt x="604" y="1367"/>
                    <a:pt x="599" y="1358"/>
                  </a:cubicBezTo>
                  <a:cubicBezTo>
                    <a:pt x="598" y="1355"/>
                    <a:pt x="592" y="1354"/>
                    <a:pt x="592" y="1350"/>
                  </a:cubicBezTo>
                  <a:cubicBezTo>
                    <a:pt x="592" y="1347"/>
                    <a:pt x="599" y="1349"/>
                    <a:pt x="600" y="1347"/>
                  </a:cubicBezTo>
                  <a:cubicBezTo>
                    <a:pt x="603" y="1342"/>
                    <a:pt x="601" y="1352"/>
                    <a:pt x="603" y="1353"/>
                  </a:cubicBezTo>
                  <a:cubicBezTo>
                    <a:pt x="606" y="1355"/>
                    <a:pt x="607" y="1350"/>
                    <a:pt x="606" y="1348"/>
                  </a:cubicBezTo>
                  <a:cubicBezTo>
                    <a:pt x="605" y="1346"/>
                    <a:pt x="608" y="1343"/>
                    <a:pt x="608" y="1343"/>
                  </a:cubicBezTo>
                  <a:cubicBezTo>
                    <a:pt x="606" y="1341"/>
                    <a:pt x="599" y="1343"/>
                    <a:pt x="599" y="1342"/>
                  </a:cubicBezTo>
                  <a:cubicBezTo>
                    <a:pt x="599" y="1340"/>
                    <a:pt x="617" y="1326"/>
                    <a:pt x="614" y="1324"/>
                  </a:cubicBezTo>
                  <a:cubicBezTo>
                    <a:pt x="611" y="1321"/>
                    <a:pt x="605" y="1330"/>
                    <a:pt x="605" y="1332"/>
                  </a:cubicBezTo>
                  <a:cubicBezTo>
                    <a:pt x="604" y="1334"/>
                    <a:pt x="592" y="1344"/>
                    <a:pt x="589" y="1348"/>
                  </a:cubicBezTo>
                  <a:cubicBezTo>
                    <a:pt x="587" y="1354"/>
                    <a:pt x="602" y="1355"/>
                    <a:pt x="592" y="1360"/>
                  </a:cubicBezTo>
                  <a:cubicBezTo>
                    <a:pt x="587" y="1362"/>
                    <a:pt x="578" y="1347"/>
                    <a:pt x="570" y="1345"/>
                  </a:cubicBezTo>
                  <a:cubicBezTo>
                    <a:pt x="566" y="1344"/>
                    <a:pt x="570" y="1350"/>
                    <a:pt x="568" y="1350"/>
                  </a:cubicBezTo>
                  <a:cubicBezTo>
                    <a:pt x="563" y="1350"/>
                    <a:pt x="557" y="1345"/>
                    <a:pt x="552" y="1343"/>
                  </a:cubicBezTo>
                  <a:cubicBezTo>
                    <a:pt x="548" y="1342"/>
                    <a:pt x="546" y="1346"/>
                    <a:pt x="544" y="1344"/>
                  </a:cubicBezTo>
                  <a:cubicBezTo>
                    <a:pt x="543" y="1343"/>
                    <a:pt x="544" y="1338"/>
                    <a:pt x="543" y="1339"/>
                  </a:cubicBezTo>
                  <a:cubicBezTo>
                    <a:pt x="542" y="1340"/>
                    <a:pt x="541" y="1346"/>
                    <a:pt x="540" y="1344"/>
                  </a:cubicBezTo>
                  <a:cubicBezTo>
                    <a:pt x="537" y="1338"/>
                    <a:pt x="546" y="1332"/>
                    <a:pt x="546" y="1329"/>
                  </a:cubicBezTo>
                  <a:cubicBezTo>
                    <a:pt x="547" y="1326"/>
                    <a:pt x="535" y="1322"/>
                    <a:pt x="538" y="1320"/>
                  </a:cubicBezTo>
                  <a:cubicBezTo>
                    <a:pt x="542" y="1319"/>
                    <a:pt x="546" y="1318"/>
                    <a:pt x="549" y="1320"/>
                  </a:cubicBezTo>
                  <a:cubicBezTo>
                    <a:pt x="550" y="1321"/>
                    <a:pt x="558" y="1324"/>
                    <a:pt x="558" y="1322"/>
                  </a:cubicBezTo>
                  <a:cubicBezTo>
                    <a:pt x="556" y="1312"/>
                    <a:pt x="550" y="1319"/>
                    <a:pt x="541" y="1315"/>
                  </a:cubicBezTo>
                  <a:cubicBezTo>
                    <a:pt x="540" y="1315"/>
                    <a:pt x="555" y="1298"/>
                    <a:pt x="545" y="1302"/>
                  </a:cubicBezTo>
                  <a:cubicBezTo>
                    <a:pt x="543" y="1302"/>
                    <a:pt x="542" y="1300"/>
                    <a:pt x="542" y="1299"/>
                  </a:cubicBezTo>
                  <a:cubicBezTo>
                    <a:pt x="546" y="1293"/>
                    <a:pt x="566" y="1308"/>
                    <a:pt x="563" y="1302"/>
                  </a:cubicBezTo>
                  <a:cubicBezTo>
                    <a:pt x="562" y="1297"/>
                    <a:pt x="549" y="1290"/>
                    <a:pt x="549" y="1289"/>
                  </a:cubicBezTo>
                  <a:cubicBezTo>
                    <a:pt x="549" y="1289"/>
                    <a:pt x="565" y="1270"/>
                    <a:pt x="559" y="1266"/>
                  </a:cubicBezTo>
                  <a:cubicBezTo>
                    <a:pt x="558" y="1265"/>
                    <a:pt x="544" y="1281"/>
                    <a:pt x="544" y="1276"/>
                  </a:cubicBezTo>
                  <a:cubicBezTo>
                    <a:pt x="544" y="1266"/>
                    <a:pt x="546" y="1262"/>
                    <a:pt x="554" y="1261"/>
                  </a:cubicBezTo>
                  <a:cubicBezTo>
                    <a:pt x="557" y="1260"/>
                    <a:pt x="561" y="1257"/>
                    <a:pt x="560" y="1256"/>
                  </a:cubicBezTo>
                  <a:cubicBezTo>
                    <a:pt x="556" y="1252"/>
                    <a:pt x="553" y="1260"/>
                    <a:pt x="548" y="1255"/>
                  </a:cubicBezTo>
                  <a:cubicBezTo>
                    <a:pt x="543" y="1250"/>
                    <a:pt x="555" y="1253"/>
                    <a:pt x="553" y="1251"/>
                  </a:cubicBezTo>
                  <a:cubicBezTo>
                    <a:pt x="552" y="1250"/>
                    <a:pt x="546" y="1245"/>
                    <a:pt x="549" y="1243"/>
                  </a:cubicBezTo>
                  <a:cubicBezTo>
                    <a:pt x="553" y="1240"/>
                    <a:pt x="553" y="1248"/>
                    <a:pt x="554" y="1247"/>
                  </a:cubicBezTo>
                  <a:cubicBezTo>
                    <a:pt x="559" y="1245"/>
                    <a:pt x="562" y="1243"/>
                    <a:pt x="562" y="1244"/>
                  </a:cubicBezTo>
                  <a:cubicBezTo>
                    <a:pt x="566" y="1246"/>
                    <a:pt x="563" y="1238"/>
                    <a:pt x="564" y="1238"/>
                  </a:cubicBezTo>
                  <a:cubicBezTo>
                    <a:pt x="567" y="1238"/>
                    <a:pt x="575" y="1244"/>
                    <a:pt x="576" y="1243"/>
                  </a:cubicBezTo>
                  <a:cubicBezTo>
                    <a:pt x="580" y="1238"/>
                    <a:pt x="564" y="1234"/>
                    <a:pt x="563" y="1232"/>
                  </a:cubicBezTo>
                  <a:cubicBezTo>
                    <a:pt x="561" y="1228"/>
                    <a:pt x="567" y="1218"/>
                    <a:pt x="568" y="1215"/>
                  </a:cubicBezTo>
                  <a:cubicBezTo>
                    <a:pt x="568" y="1214"/>
                    <a:pt x="570" y="1207"/>
                    <a:pt x="572" y="1207"/>
                  </a:cubicBezTo>
                  <a:cubicBezTo>
                    <a:pt x="574" y="1208"/>
                    <a:pt x="571" y="1225"/>
                    <a:pt x="582" y="1227"/>
                  </a:cubicBezTo>
                  <a:cubicBezTo>
                    <a:pt x="582" y="1227"/>
                    <a:pt x="575" y="1219"/>
                    <a:pt x="576" y="1217"/>
                  </a:cubicBezTo>
                  <a:cubicBezTo>
                    <a:pt x="577" y="1215"/>
                    <a:pt x="577" y="1200"/>
                    <a:pt x="578" y="1199"/>
                  </a:cubicBezTo>
                  <a:cubicBezTo>
                    <a:pt x="579" y="1199"/>
                    <a:pt x="586" y="1203"/>
                    <a:pt x="587" y="1203"/>
                  </a:cubicBezTo>
                  <a:cubicBezTo>
                    <a:pt x="593" y="1201"/>
                    <a:pt x="577" y="1194"/>
                    <a:pt x="579" y="1188"/>
                  </a:cubicBezTo>
                  <a:cubicBezTo>
                    <a:pt x="579" y="1186"/>
                    <a:pt x="580" y="1180"/>
                    <a:pt x="580" y="1183"/>
                  </a:cubicBezTo>
                  <a:cubicBezTo>
                    <a:pt x="581" y="1189"/>
                    <a:pt x="595" y="1205"/>
                    <a:pt x="601" y="1201"/>
                  </a:cubicBezTo>
                  <a:cubicBezTo>
                    <a:pt x="606" y="1196"/>
                    <a:pt x="580" y="1186"/>
                    <a:pt x="587" y="1183"/>
                  </a:cubicBezTo>
                  <a:cubicBezTo>
                    <a:pt x="592" y="1180"/>
                    <a:pt x="608" y="1197"/>
                    <a:pt x="610" y="1196"/>
                  </a:cubicBezTo>
                  <a:cubicBezTo>
                    <a:pt x="615" y="1193"/>
                    <a:pt x="591" y="1155"/>
                    <a:pt x="613" y="1152"/>
                  </a:cubicBezTo>
                  <a:cubicBezTo>
                    <a:pt x="641" y="1149"/>
                    <a:pt x="630" y="1179"/>
                    <a:pt x="626" y="1172"/>
                  </a:cubicBezTo>
                  <a:cubicBezTo>
                    <a:pt x="626" y="1172"/>
                    <a:pt x="626" y="1172"/>
                    <a:pt x="626" y="1172"/>
                  </a:cubicBezTo>
                  <a:cubicBezTo>
                    <a:pt x="625" y="1171"/>
                    <a:pt x="625" y="1171"/>
                    <a:pt x="626" y="1172"/>
                  </a:cubicBezTo>
                  <a:cubicBezTo>
                    <a:pt x="626" y="1173"/>
                    <a:pt x="629" y="1178"/>
                    <a:pt x="627" y="1178"/>
                  </a:cubicBezTo>
                  <a:cubicBezTo>
                    <a:pt x="624" y="1179"/>
                    <a:pt x="622" y="1176"/>
                    <a:pt x="617" y="1176"/>
                  </a:cubicBezTo>
                  <a:cubicBezTo>
                    <a:pt x="613" y="1176"/>
                    <a:pt x="626" y="1183"/>
                    <a:pt x="617" y="1182"/>
                  </a:cubicBezTo>
                  <a:cubicBezTo>
                    <a:pt x="613" y="1182"/>
                    <a:pt x="614" y="1197"/>
                    <a:pt x="622" y="1197"/>
                  </a:cubicBezTo>
                  <a:cubicBezTo>
                    <a:pt x="624" y="1196"/>
                    <a:pt x="619" y="1193"/>
                    <a:pt x="619" y="1191"/>
                  </a:cubicBezTo>
                  <a:cubicBezTo>
                    <a:pt x="622" y="1179"/>
                    <a:pt x="630" y="1185"/>
                    <a:pt x="638" y="1177"/>
                  </a:cubicBezTo>
                  <a:cubicBezTo>
                    <a:pt x="641" y="1174"/>
                    <a:pt x="640" y="1151"/>
                    <a:pt x="642" y="1151"/>
                  </a:cubicBezTo>
                  <a:cubicBezTo>
                    <a:pt x="643" y="1150"/>
                    <a:pt x="643" y="1151"/>
                    <a:pt x="643" y="1152"/>
                  </a:cubicBezTo>
                  <a:cubicBezTo>
                    <a:pt x="658" y="1163"/>
                    <a:pt x="640" y="1172"/>
                    <a:pt x="644" y="1175"/>
                  </a:cubicBezTo>
                  <a:cubicBezTo>
                    <a:pt x="647" y="1177"/>
                    <a:pt x="653" y="1161"/>
                    <a:pt x="654" y="1170"/>
                  </a:cubicBezTo>
                  <a:cubicBezTo>
                    <a:pt x="654" y="1171"/>
                    <a:pt x="666" y="1177"/>
                    <a:pt x="666" y="1177"/>
                  </a:cubicBezTo>
                  <a:cubicBezTo>
                    <a:pt x="668" y="1177"/>
                    <a:pt x="666" y="1169"/>
                    <a:pt x="666" y="1169"/>
                  </a:cubicBezTo>
                  <a:cubicBezTo>
                    <a:pt x="667" y="1160"/>
                    <a:pt x="659" y="1170"/>
                    <a:pt x="658" y="1170"/>
                  </a:cubicBezTo>
                  <a:cubicBezTo>
                    <a:pt x="656" y="1170"/>
                    <a:pt x="657" y="1167"/>
                    <a:pt x="658" y="1166"/>
                  </a:cubicBezTo>
                  <a:cubicBezTo>
                    <a:pt x="664" y="1163"/>
                    <a:pt x="656" y="1164"/>
                    <a:pt x="654" y="1164"/>
                  </a:cubicBezTo>
                  <a:cubicBezTo>
                    <a:pt x="653" y="1164"/>
                    <a:pt x="653" y="1161"/>
                    <a:pt x="653" y="1160"/>
                  </a:cubicBezTo>
                  <a:cubicBezTo>
                    <a:pt x="654" y="1153"/>
                    <a:pt x="659" y="1156"/>
                    <a:pt x="661" y="1152"/>
                  </a:cubicBezTo>
                  <a:cubicBezTo>
                    <a:pt x="662" y="1152"/>
                    <a:pt x="658" y="1151"/>
                    <a:pt x="660" y="1147"/>
                  </a:cubicBezTo>
                  <a:cubicBezTo>
                    <a:pt x="662" y="1144"/>
                    <a:pt x="672" y="1157"/>
                    <a:pt x="676" y="1155"/>
                  </a:cubicBezTo>
                  <a:cubicBezTo>
                    <a:pt x="680" y="1153"/>
                    <a:pt x="667" y="1149"/>
                    <a:pt x="667" y="1147"/>
                  </a:cubicBezTo>
                  <a:cubicBezTo>
                    <a:pt x="669" y="1135"/>
                    <a:pt x="670" y="1151"/>
                    <a:pt x="676" y="1144"/>
                  </a:cubicBezTo>
                  <a:cubicBezTo>
                    <a:pt x="677" y="1143"/>
                    <a:pt x="672" y="1141"/>
                    <a:pt x="671" y="1140"/>
                  </a:cubicBezTo>
                  <a:cubicBezTo>
                    <a:pt x="665" y="1135"/>
                    <a:pt x="662" y="1132"/>
                    <a:pt x="660" y="1124"/>
                  </a:cubicBezTo>
                  <a:cubicBezTo>
                    <a:pt x="659" y="1124"/>
                    <a:pt x="656" y="1119"/>
                    <a:pt x="657" y="1119"/>
                  </a:cubicBezTo>
                  <a:cubicBezTo>
                    <a:pt x="660" y="1118"/>
                    <a:pt x="668" y="1127"/>
                    <a:pt x="672" y="1127"/>
                  </a:cubicBezTo>
                  <a:cubicBezTo>
                    <a:pt x="676" y="1127"/>
                    <a:pt x="667" y="1117"/>
                    <a:pt x="671" y="1115"/>
                  </a:cubicBezTo>
                  <a:cubicBezTo>
                    <a:pt x="674" y="1113"/>
                    <a:pt x="680" y="1124"/>
                    <a:pt x="688" y="1120"/>
                  </a:cubicBezTo>
                  <a:cubicBezTo>
                    <a:pt x="688" y="1120"/>
                    <a:pt x="675" y="1113"/>
                    <a:pt x="674" y="1113"/>
                  </a:cubicBezTo>
                  <a:cubicBezTo>
                    <a:pt x="665" y="1109"/>
                    <a:pt x="663" y="1123"/>
                    <a:pt x="658" y="1107"/>
                  </a:cubicBezTo>
                  <a:cubicBezTo>
                    <a:pt x="658" y="1106"/>
                    <a:pt x="661" y="1104"/>
                    <a:pt x="662" y="1103"/>
                  </a:cubicBezTo>
                  <a:cubicBezTo>
                    <a:pt x="662" y="1103"/>
                    <a:pt x="665" y="1110"/>
                    <a:pt x="668" y="1108"/>
                  </a:cubicBezTo>
                  <a:cubicBezTo>
                    <a:pt x="671" y="1106"/>
                    <a:pt x="663" y="1102"/>
                    <a:pt x="665" y="1099"/>
                  </a:cubicBezTo>
                  <a:cubicBezTo>
                    <a:pt x="666" y="1098"/>
                    <a:pt x="662" y="1095"/>
                    <a:pt x="667" y="1098"/>
                  </a:cubicBezTo>
                  <a:cubicBezTo>
                    <a:pt x="677" y="1105"/>
                    <a:pt x="680" y="1103"/>
                    <a:pt x="669" y="1096"/>
                  </a:cubicBezTo>
                  <a:cubicBezTo>
                    <a:pt x="661" y="1091"/>
                    <a:pt x="679" y="1092"/>
                    <a:pt x="674" y="1089"/>
                  </a:cubicBezTo>
                  <a:cubicBezTo>
                    <a:pt x="665" y="1083"/>
                    <a:pt x="665" y="1094"/>
                    <a:pt x="662" y="1095"/>
                  </a:cubicBezTo>
                  <a:cubicBezTo>
                    <a:pt x="656" y="1098"/>
                    <a:pt x="645" y="1086"/>
                    <a:pt x="644" y="1092"/>
                  </a:cubicBezTo>
                  <a:cubicBezTo>
                    <a:pt x="643" y="1097"/>
                    <a:pt x="659" y="1099"/>
                    <a:pt x="657" y="1105"/>
                  </a:cubicBezTo>
                  <a:cubicBezTo>
                    <a:pt x="656" y="1109"/>
                    <a:pt x="643" y="1095"/>
                    <a:pt x="642" y="1095"/>
                  </a:cubicBezTo>
                  <a:cubicBezTo>
                    <a:pt x="641" y="1095"/>
                    <a:pt x="647" y="1102"/>
                    <a:pt x="647" y="1103"/>
                  </a:cubicBezTo>
                  <a:cubicBezTo>
                    <a:pt x="646" y="1110"/>
                    <a:pt x="658" y="1121"/>
                    <a:pt x="652" y="1125"/>
                  </a:cubicBezTo>
                  <a:cubicBezTo>
                    <a:pt x="651" y="1125"/>
                    <a:pt x="632" y="1106"/>
                    <a:pt x="631" y="1104"/>
                  </a:cubicBezTo>
                  <a:cubicBezTo>
                    <a:pt x="630" y="1102"/>
                    <a:pt x="622" y="1097"/>
                    <a:pt x="622" y="1100"/>
                  </a:cubicBezTo>
                  <a:cubicBezTo>
                    <a:pt x="622" y="1105"/>
                    <a:pt x="670" y="1139"/>
                    <a:pt x="655" y="1152"/>
                  </a:cubicBezTo>
                  <a:cubicBezTo>
                    <a:pt x="647" y="1159"/>
                    <a:pt x="618" y="1120"/>
                    <a:pt x="616" y="1114"/>
                  </a:cubicBezTo>
                  <a:cubicBezTo>
                    <a:pt x="616" y="1113"/>
                    <a:pt x="612" y="1109"/>
                    <a:pt x="610" y="1109"/>
                  </a:cubicBezTo>
                  <a:cubicBezTo>
                    <a:pt x="603" y="1113"/>
                    <a:pt x="636" y="1145"/>
                    <a:pt x="632" y="1151"/>
                  </a:cubicBezTo>
                  <a:cubicBezTo>
                    <a:pt x="629" y="1154"/>
                    <a:pt x="619" y="1144"/>
                    <a:pt x="617" y="1144"/>
                  </a:cubicBezTo>
                  <a:cubicBezTo>
                    <a:pt x="609" y="1142"/>
                    <a:pt x="615" y="1150"/>
                    <a:pt x="615" y="1150"/>
                  </a:cubicBezTo>
                  <a:cubicBezTo>
                    <a:pt x="603" y="1154"/>
                    <a:pt x="603" y="1151"/>
                    <a:pt x="599" y="1155"/>
                  </a:cubicBezTo>
                  <a:cubicBezTo>
                    <a:pt x="597" y="1158"/>
                    <a:pt x="600" y="1184"/>
                    <a:pt x="600" y="1184"/>
                  </a:cubicBezTo>
                  <a:cubicBezTo>
                    <a:pt x="581" y="1179"/>
                    <a:pt x="594" y="1169"/>
                    <a:pt x="593" y="1167"/>
                  </a:cubicBezTo>
                  <a:cubicBezTo>
                    <a:pt x="593" y="1165"/>
                    <a:pt x="593" y="1159"/>
                    <a:pt x="590" y="1160"/>
                  </a:cubicBezTo>
                  <a:cubicBezTo>
                    <a:pt x="586" y="1161"/>
                    <a:pt x="588" y="1170"/>
                    <a:pt x="584" y="1172"/>
                  </a:cubicBezTo>
                  <a:cubicBezTo>
                    <a:pt x="581" y="1173"/>
                    <a:pt x="584" y="1186"/>
                    <a:pt x="583" y="1182"/>
                  </a:cubicBezTo>
                  <a:cubicBezTo>
                    <a:pt x="581" y="1174"/>
                    <a:pt x="559" y="1164"/>
                    <a:pt x="559" y="1155"/>
                  </a:cubicBezTo>
                  <a:cubicBezTo>
                    <a:pt x="559" y="1152"/>
                    <a:pt x="575" y="1167"/>
                    <a:pt x="565" y="1153"/>
                  </a:cubicBezTo>
                  <a:cubicBezTo>
                    <a:pt x="562" y="1148"/>
                    <a:pt x="570" y="1144"/>
                    <a:pt x="573" y="1142"/>
                  </a:cubicBezTo>
                  <a:cubicBezTo>
                    <a:pt x="577" y="1139"/>
                    <a:pt x="587" y="1154"/>
                    <a:pt x="592" y="1150"/>
                  </a:cubicBezTo>
                  <a:cubicBezTo>
                    <a:pt x="597" y="1145"/>
                    <a:pt x="580" y="1141"/>
                    <a:pt x="579" y="1134"/>
                  </a:cubicBezTo>
                  <a:cubicBezTo>
                    <a:pt x="578" y="1132"/>
                    <a:pt x="584" y="1140"/>
                    <a:pt x="584" y="1138"/>
                  </a:cubicBezTo>
                  <a:cubicBezTo>
                    <a:pt x="584" y="1132"/>
                    <a:pt x="580" y="1118"/>
                    <a:pt x="585" y="1121"/>
                  </a:cubicBezTo>
                  <a:cubicBezTo>
                    <a:pt x="586" y="1121"/>
                    <a:pt x="591" y="1126"/>
                    <a:pt x="590" y="1123"/>
                  </a:cubicBezTo>
                  <a:cubicBezTo>
                    <a:pt x="590" y="1121"/>
                    <a:pt x="584" y="1116"/>
                    <a:pt x="586" y="1114"/>
                  </a:cubicBezTo>
                  <a:cubicBezTo>
                    <a:pt x="593" y="1108"/>
                    <a:pt x="612" y="1146"/>
                    <a:pt x="612" y="1134"/>
                  </a:cubicBezTo>
                  <a:cubicBezTo>
                    <a:pt x="613" y="1129"/>
                    <a:pt x="619" y="1138"/>
                    <a:pt x="619" y="1136"/>
                  </a:cubicBezTo>
                  <a:cubicBezTo>
                    <a:pt x="618" y="1117"/>
                    <a:pt x="582" y="1109"/>
                    <a:pt x="579" y="1094"/>
                  </a:cubicBezTo>
                  <a:cubicBezTo>
                    <a:pt x="578" y="1085"/>
                    <a:pt x="592" y="1103"/>
                    <a:pt x="595" y="1098"/>
                  </a:cubicBezTo>
                  <a:cubicBezTo>
                    <a:pt x="596" y="1097"/>
                    <a:pt x="580" y="1087"/>
                    <a:pt x="578" y="1086"/>
                  </a:cubicBezTo>
                  <a:cubicBezTo>
                    <a:pt x="576" y="1084"/>
                    <a:pt x="573" y="1068"/>
                    <a:pt x="567" y="1071"/>
                  </a:cubicBezTo>
                  <a:cubicBezTo>
                    <a:pt x="560" y="1074"/>
                    <a:pt x="570" y="1083"/>
                    <a:pt x="568" y="1083"/>
                  </a:cubicBezTo>
                  <a:cubicBezTo>
                    <a:pt x="563" y="1083"/>
                    <a:pt x="544" y="1068"/>
                    <a:pt x="549" y="1063"/>
                  </a:cubicBezTo>
                  <a:cubicBezTo>
                    <a:pt x="549" y="1063"/>
                    <a:pt x="550" y="1057"/>
                    <a:pt x="549" y="1056"/>
                  </a:cubicBezTo>
                  <a:cubicBezTo>
                    <a:pt x="546" y="1054"/>
                    <a:pt x="544" y="1064"/>
                    <a:pt x="540" y="1064"/>
                  </a:cubicBezTo>
                  <a:cubicBezTo>
                    <a:pt x="540" y="1064"/>
                    <a:pt x="542" y="1076"/>
                    <a:pt x="538" y="1076"/>
                  </a:cubicBezTo>
                  <a:cubicBezTo>
                    <a:pt x="535" y="1075"/>
                    <a:pt x="537" y="1072"/>
                    <a:pt x="535" y="1071"/>
                  </a:cubicBezTo>
                  <a:cubicBezTo>
                    <a:pt x="525" y="1068"/>
                    <a:pt x="540" y="1084"/>
                    <a:pt x="538" y="1090"/>
                  </a:cubicBezTo>
                  <a:cubicBezTo>
                    <a:pt x="535" y="1096"/>
                    <a:pt x="523" y="1080"/>
                    <a:pt x="524" y="1090"/>
                  </a:cubicBezTo>
                  <a:cubicBezTo>
                    <a:pt x="525" y="1091"/>
                    <a:pt x="522" y="1092"/>
                    <a:pt x="523" y="1094"/>
                  </a:cubicBezTo>
                  <a:cubicBezTo>
                    <a:pt x="536" y="1106"/>
                    <a:pt x="541" y="1098"/>
                    <a:pt x="543" y="1085"/>
                  </a:cubicBezTo>
                  <a:cubicBezTo>
                    <a:pt x="544" y="1084"/>
                    <a:pt x="541" y="1079"/>
                    <a:pt x="541" y="1078"/>
                  </a:cubicBezTo>
                  <a:cubicBezTo>
                    <a:pt x="542" y="1078"/>
                    <a:pt x="568" y="1091"/>
                    <a:pt x="576" y="1101"/>
                  </a:cubicBezTo>
                  <a:cubicBezTo>
                    <a:pt x="578" y="1104"/>
                    <a:pt x="584" y="1107"/>
                    <a:pt x="582" y="1109"/>
                  </a:cubicBezTo>
                  <a:cubicBezTo>
                    <a:pt x="581" y="1110"/>
                    <a:pt x="578" y="1106"/>
                    <a:pt x="577" y="1107"/>
                  </a:cubicBezTo>
                  <a:cubicBezTo>
                    <a:pt x="573" y="1108"/>
                    <a:pt x="562" y="1106"/>
                    <a:pt x="565" y="1108"/>
                  </a:cubicBezTo>
                  <a:cubicBezTo>
                    <a:pt x="567" y="1109"/>
                    <a:pt x="575" y="1113"/>
                    <a:pt x="575" y="1115"/>
                  </a:cubicBezTo>
                  <a:cubicBezTo>
                    <a:pt x="574" y="1117"/>
                    <a:pt x="566" y="1122"/>
                    <a:pt x="564" y="1124"/>
                  </a:cubicBezTo>
                  <a:cubicBezTo>
                    <a:pt x="562" y="1125"/>
                    <a:pt x="581" y="1126"/>
                    <a:pt x="574" y="1138"/>
                  </a:cubicBezTo>
                  <a:cubicBezTo>
                    <a:pt x="571" y="1141"/>
                    <a:pt x="567" y="1129"/>
                    <a:pt x="563" y="1130"/>
                  </a:cubicBezTo>
                  <a:cubicBezTo>
                    <a:pt x="561" y="1131"/>
                    <a:pt x="570" y="1156"/>
                    <a:pt x="554" y="1147"/>
                  </a:cubicBezTo>
                  <a:cubicBezTo>
                    <a:pt x="553" y="1146"/>
                    <a:pt x="546" y="1147"/>
                    <a:pt x="545" y="1148"/>
                  </a:cubicBezTo>
                  <a:cubicBezTo>
                    <a:pt x="543" y="1157"/>
                    <a:pt x="558" y="1163"/>
                    <a:pt x="561" y="1165"/>
                  </a:cubicBezTo>
                  <a:cubicBezTo>
                    <a:pt x="570" y="1170"/>
                    <a:pt x="564" y="1176"/>
                    <a:pt x="564" y="1176"/>
                  </a:cubicBezTo>
                  <a:cubicBezTo>
                    <a:pt x="574" y="1181"/>
                    <a:pt x="569" y="1171"/>
                    <a:pt x="573" y="1175"/>
                  </a:cubicBezTo>
                  <a:cubicBezTo>
                    <a:pt x="576" y="1177"/>
                    <a:pt x="577" y="1193"/>
                    <a:pt x="576" y="1193"/>
                  </a:cubicBezTo>
                  <a:cubicBezTo>
                    <a:pt x="576" y="1194"/>
                    <a:pt x="574" y="1193"/>
                    <a:pt x="573" y="1193"/>
                  </a:cubicBezTo>
                  <a:cubicBezTo>
                    <a:pt x="566" y="1190"/>
                    <a:pt x="575" y="1198"/>
                    <a:pt x="570" y="1204"/>
                  </a:cubicBezTo>
                  <a:cubicBezTo>
                    <a:pt x="562" y="1213"/>
                    <a:pt x="558" y="1204"/>
                    <a:pt x="554" y="1211"/>
                  </a:cubicBezTo>
                  <a:cubicBezTo>
                    <a:pt x="552" y="1215"/>
                    <a:pt x="562" y="1216"/>
                    <a:pt x="557" y="1220"/>
                  </a:cubicBezTo>
                  <a:cubicBezTo>
                    <a:pt x="549" y="1227"/>
                    <a:pt x="532" y="1215"/>
                    <a:pt x="532" y="1216"/>
                  </a:cubicBezTo>
                  <a:cubicBezTo>
                    <a:pt x="527" y="1233"/>
                    <a:pt x="551" y="1221"/>
                    <a:pt x="553" y="1227"/>
                  </a:cubicBezTo>
                  <a:cubicBezTo>
                    <a:pt x="554" y="1228"/>
                    <a:pt x="548" y="1226"/>
                    <a:pt x="549" y="1231"/>
                  </a:cubicBezTo>
                  <a:cubicBezTo>
                    <a:pt x="550" y="1235"/>
                    <a:pt x="560" y="1233"/>
                    <a:pt x="558" y="1237"/>
                  </a:cubicBezTo>
                  <a:cubicBezTo>
                    <a:pt x="555" y="1245"/>
                    <a:pt x="544" y="1237"/>
                    <a:pt x="540" y="1239"/>
                  </a:cubicBezTo>
                  <a:cubicBezTo>
                    <a:pt x="538" y="1239"/>
                    <a:pt x="541" y="1240"/>
                    <a:pt x="541" y="1240"/>
                  </a:cubicBezTo>
                  <a:cubicBezTo>
                    <a:pt x="545" y="1243"/>
                    <a:pt x="542" y="1251"/>
                    <a:pt x="538" y="1252"/>
                  </a:cubicBezTo>
                  <a:cubicBezTo>
                    <a:pt x="536" y="1252"/>
                    <a:pt x="536" y="1255"/>
                    <a:pt x="536" y="1255"/>
                  </a:cubicBezTo>
                  <a:cubicBezTo>
                    <a:pt x="524" y="1254"/>
                    <a:pt x="516" y="1249"/>
                    <a:pt x="512" y="1260"/>
                  </a:cubicBezTo>
                  <a:cubicBezTo>
                    <a:pt x="512" y="1261"/>
                    <a:pt x="534" y="1256"/>
                    <a:pt x="535" y="1259"/>
                  </a:cubicBezTo>
                  <a:cubicBezTo>
                    <a:pt x="537" y="1274"/>
                    <a:pt x="522" y="1275"/>
                    <a:pt x="517" y="1271"/>
                  </a:cubicBezTo>
                  <a:cubicBezTo>
                    <a:pt x="515" y="1270"/>
                    <a:pt x="508" y="1269"/>
                    <a:pt x="508" y="1269"/>
                  </a:cubicBezTo>
                  <a:cubicBezTo>
                    <a:pt x="513" y="1288"/>
                    <a:pt x="538" y="1283"/>
                    <a:pt x="534" y="1293"/>
                  </a:cubicBezTo>
                  <a:cubicBezTo>
                    <a:pt x="533" y="1299"/>
                    <a:pt x="514" y="1309"/>
                    <a:pt x="514" y="1309"/>
                  </a:cubicBezTo>
                  <a:cubicBezTo>
                    <a:pt x="512" y="1308"/>
                    <a:pt x="507" y="1305"/>
                    <a:pt x="506" y="1307"/>
                  </a:cubicBezTo>
                  <a:cubicBezTo>
                    <a:pt x="506" y="1309"/>
                    <a:pt x="507" y="1310"/>
                    <a:pt x="508" y="1310"/>
                  </a:cubicBezTo>
                  <a:cubicBezTo>
                    <a:pt x="517" y="1315"/>
                    <a:pt x="509" y="1316"/>
                    <a:pt x="507" y="1319"/>
                  </a:cubicBezTo>
                  <a:cubicBezTo>
                    <a:pt x="506" y="1319"/>
                    <a:pt x="520" y="1326"/>
                    <a:pt x="521" y="1328"/>
                  </a:cubicBezTo>
                  <a:cubicBezTo>
                    <a:pt x="522" y="1331"/>
                    <a:pt x="513" y="1332"/>
                    <a:pt x="515" y="1334"/>
                  </a:cubicBezTo>
                  <a:cubicBezTo>
                    <a:pt x="516" y="1337"/>
                    <a:pt x="521" y="1334"/>
                    <a:pt x="522" y="1338"/>
                  </a:cubicBezTo>
                  <a:cubicBezTo>
                    <a:pt x="522" y="1339"/>
                    <a:pt x="523" y="1342"/>
                    <a:pt x="524" y="1341"/>
                  </a:cubicBezTo>
                  <a:cubicBezTo>
                    <a:pt x="528" y="1333"/>
                    <a:pt x="534" y="1361"/>
                    <a:pt x="531" y="1347"/>
                  </a:cubicBezTo>
                  <a:cubicBezTo>
                    <a:pt x="530" y="1341"/>
                    <a:pt x="539" y="1347"/>
                    <a:pt x="540" y="1349"/>
                  </a:cubicBezTo>
                  <a:cubicBezTo>
                    <a:pt x="544" y="1359"/>
                    <a:pt x="520" y="1372"/>
                    <a:pt x="520" y="1376"/>
                  </a:cubicBezTo>
                  <a:cubicBezTo>
                    <a:pt x="522" y="1384"/>
                    <a:pt x="538" y="1374"/>
                    <a:pt x="538" y="1374"/>
                  </a:cubicBezTo>
                  <a:cubicBezTo>
                    <a:pt x="544" y="1380"/>
                    <a:pt x="536" y="1382"/>
                    <a:pt x="544" y="1385"/>
                  </a:cubicBezTo>
                  <a:cubicBezTo>
                    <a:pt x="545" y="1386"/>
                    <a:pt x="545" y="1386"/>
                    <a:pt x="545" y="1386"/>
                  </a:cubicBezTo>
                  <a:cubicBezTo>
                    <a:pt x="546" y="1393"/>
                    <a:pt x="552" y="1377"/>
                    <a:pt x="547" y="1373"/>
                  </a:cubicBezTo>
                  <a:cubicBezTo>
                    <a:pt x="545" y="1372"/>
                    <a:pt x="524" y="1369"/>
                    <a:pt x="553" y="1360"/>
                  </a:cubicBezTo>
                  <a:cubicBezTo>
                    <a:pt x="555" y="1359"/>
                    <a:pt x="557" y="1357"/>
                    <a:pt x="558" y="1355"/>
                  </a:cubicBezTo>
                  <a:cubicBezTo>
                    <a:pt x="558" y="1355"/>
                    <a:pt x="551" y="1354"/>
                    <a:pt x="550" y="1354"/>
                  </a:cubicBezTo>
                  <a:cubicBezTo>
                    <a:pt x="547" y="1352"/>
                    <a:pt x="544" y="1347"/>
                    <a:pt x="549" y="1346"/>
                  </a:cubicBezTo>
                  <a:cubicBezTo>
                    <a:pt x="549" y="1346"/>
                    <a:pt x="551" y="1346"/>
                    <a:pt x="551" y="1346"/>
                  </a:cubicBezTo>
                  <a:cubicBezTo>
                    <a:pt x="553" y="1346"/>
                    <a:pt x="554" y="1346"/>
                    <a:pt x="555" y="1347"/>
                  </a:cubicBezTo>
                  <a:cubicBezTo>
                    <a:pt x="561" y="1350"/>
                    <a:pt x="571" y="1360"/>
                    <a:pt x="570" y="1361"/>
                  </a:cubicBezTo>
                  <a:cubicBezTo>
                    <a:pt x="570" y="1362"/>
                    <a:pt x="566" y="1366"/>
                    <a:pt x="568" y="1367"/>
                  </a:cubicBezTo>
                  <a:cubicBezTo>
                    <a:pt x="571" y="1368"/>
                    <a:pt x="574" y="1357"/>
                    <a:pt x="575" y="1356"/>
                  </a:cubicBezTo>
                  <a:cubicBezTo>
                    <a:pt x="576" y="1354"/>
                    <a:pt x="578" y="1361"/>
                    <a:pt x="578" y="1362"/>
                  </a:cubicBezTo>
                  <a:cubicBezTo>
                    <a:pt x="580" y="1362"/>
                    <a:pt x="580" y="1357"/>
                    <a:pt x="582" y="1357"/>
                  </a:cubicBezTo>
                  <a:cubicBezTo>
                    <a:pt x="588" y="1360"/>
                    <a:pt x="588" y="1368"/>
                    <a:pt x="592" y="1371"/>
                  </a:cubicBezTo>
                  <a:cubicBezTo>
                    <a:pt x="593" y="1371"/>
                    <a:pt x="597" y="1371"/>
                    <a:pt x="597" y="1372"/>
                  </a:cubicBezTo>
                  <a:cubicBezTo>
                    <a:pt x="599" y="1383"/>
                    <a:pt x="584" y="1386"/>
                    <a:pt x="584" y="1392"/>
                  </a:cubicBezTo>
                  <a:cubicBezTo>
                    <a:pt x="583" y="1400"/>
                    <a:pt x="589" y="1382"/>
                    <a:pt x="589" y="1392"/>
                  </a:cubicBezTo>
                  <a:cubicBezTo>
                    <a:pt x="589" y="1393"/>
                    <a:pt x="588" y="1396"/>
                    <a:pt x="590" y="1396"/>
                  </a:cubicBezTo>
                  <a:cubicBezTo>
                    <a:pt x="591" y="1396"/>
                    <a:pt x="594" y="1386"/>
                    <a:pt x="595" y="1385"/>
                  </a:cubicBezTo>
                  <a:cubicBezTo>
                    <a:pt x="600" y="1378"/>
                    <a:pt x="597" y="1379"/>
                    <a:pt x="599" y="1378"/>
                  </a:cubicBezTo>
                  <a:cubicBezTo>
                    <a:pt x="601" y="1376"/>
                    <a:pt x="612" y="1377"/>
                    <a:pt x="606" y="1373"/>
                  </a:cubicBezTo>
                  <a:close/>
                  <a:moveTo>
                    <a:pt x="614" y="1287"/>
                  </a:moveTo>
                  <a:cubicBezTo>
                    <a:pt x="605" y="1283"/>
                    <a:pt x="608" y="1262"/>
                    <a:pt x="602" y="1262"/>
                  </a:cubicBezTo>
                  <a:cubicBezTo>
                    <a:pt x="596" y="1261"/>
                    <a:pt x="599" y="1277"/>
                    <a:pt x="596" y="1279"/>
                  </a:cubicBezTo>
                  <a:cubicBezTo>
                    <a:pt x="592" y="1281"/>
                    <a:pt x="577" y="1267"/>
                    <a:pt x="576" y="1269"/>
                  </a:cubicBezTo>
                  <a:cubicBezTo>
                    <a:pt x="573" y="1274"/>
                    <a:pt x="582" y="1274"/>
                    <a:pt x="581" y="1277"/>
                  </a:cubicBezTo>
                  <a:cubicBezTo>
                    <a:pt x="573" y="1291"/>
                    <a:pt x="567" y="1287"/>
                    <a:pt x="576" y="1297"/>
                  </a:cubicBezTo>
                  <a:cubicBezTo>
                    <a:pt x="578" y="1298"/>
                    <a:pt x="585" y="1295"/>
                    <a:pt x="583" y="1303"/>
                  </a:cubicBezTo>
                  <a:cubicBezTo>
                    <a:pt x="584" y="1304"/>
                    <a:pt x="584" y="1304"/>
                    <a:pt x="584" y="1304"/>
                  </a:cubicBezTo>
                  <a:cubicBezTo>
                    <a:pt x="583" y="1305"/>
                    <a:pt x="587" y="1308"/>
                    <a:pt x="588" y="1308"/>
                  </a:cubicBezTo>
                  <a:cubicBezTo>
                    <a:pt x="597" y="1309"/>
                    <a:pt x="598" y="1306"/>
                    <a:pt x="600" y="1295"/>
                  </a:cubicBezTo>
                  <a:cubicBezTo>
                    <a:pt x="600" y="1294"/>
                    <a:pt x="597" y="1294"/>
                    <a:pt x="597" y="1292"/>
                  </a:cubicBezTo>
                  <a:cubicBezTo>
                    <a:pt x="600" y="1280"/>
                    <a:pt x="582" y="1299"/>
                    <a:pt x="589" y="1286"/>
                  </a:cubicBezTo>
                  <a:cubicBezTo>
                    <a:pt x="590" y="1284"/>
                    <a:pt x="587" y="1281"/>
                    <a:pt x="589" y="1280"/>
                  </a:cubicBezTo>
                  <a:cubicBezTo>
                    <a:pt x="590" y="1279"/>
                    <a:pt x="595" y="1282"/>
                    <a:pt x="595" y="1282"/>
                  </a:cubicBezTo>
                  <a:cubicBezTo>
                    <a:pt x="603" y="1288"/>
                    <a:pt x="596" y="1278"/>
                    <a:pt x="602" y="1278"/>
                  </a:cubicBezTo>
                  <a:cubicBezTo>
                    <a:pt x="605" y="1278"/>
                    <a:pt x="613" y="1296"/>
                    <a:pt x="620" y="1297"/>
                  </a:cubicBezTo>
                  <a:cubicBezTo>
                    <a:pt x="621" y="1297"/>
                    <a:pt x="639" y="1299"/>
                    <a:pt x="632" y="1295"/>
                  </a:cubicBezTo>
                  <a:cubicBezTo>
                    <a:pt x="629" y="1293"/>
                    <a:pt x="636" y="1291"/>
                    <a:pt x="633" y="1288"/>
                  </a:cubicBezTo>
                  <a:cubicBezTo>
                    <a:pt x="629" y="1284"/>
                    <a:pt x="630" y="1281"/>
                    <a:pt x="624" y="1277"/>
                  </a:cubicBezTo>
                  <a:cubicBezTo>
                    <a:pt x="622" y="1276"/>
                    <a:pt x="624" y="1282"/>
                    <a:pt x="624" y="1284"/>
                  </a:cubicBezTo>
                  <a:cubicBezTo>
                    <a:pt x="623" y="1289"/>
                    <a:pt x="614" y="1276"/>
                    <a:pt x="613" y="1280"/>
                  </a:cubicBezTo>
                  <a:cubicBezTo>
                    <a:pt x="612" y="1282"/>
                    <a:pt x="617" y="1289"/>
                    <a:pt x="614" y="1287"/>
                  </a:cubicBezTo>
                  <a:close/>
                  <a:moveTo>
                    <a:pt x="635" y="1386"/>
                  </a:moveTo>
                  <a:cubicBezTo>
                    <a:pt x="634" y="1386"/>
                    <a:pt x="634" y="1386"/>
                    <a:pt x="634" y="1386"/>
                  </a:cubicBezTo>
                  <a:cubicBezTo>
                    <a:pt x="634" y="1381"/>
                    <a:pt x="611" y="1381"/>
                    <a:pt x="611" y="1381"/>
                  </a:cubicBezTo>
                  <a:cubicBezTo>
                    <a:pt x="611" y="1381"/>
                    <a:pt x="628" y="1399"/>
                    <a:pt x="612" y="1395"/>
                  </a:cubicBezTo>
                  <a:cubicBezTo>
                    <a:pt x="610" y="1395"/>
                    <a:pt x="605" y="1394"/>
                    <a:pt x="606" y="1398"/>
                  </a:cubicBezTo>
                  <a:cubicBezTo>
                    <a:pt x="608" y="1402"/>
                    <a:pt x="613" y="1400"/>
                    <a:pt x="615" y="1399"/>
                  </a:cubicBezTo>
                  <a:cubicBezTo>
                    <a:pt x="620" y="1395"/>
                    <a:pt x="618" y="1402"/>
                    <a:pt x="619" y="1402"/>
                  </a:cubicBezTo>
                  <a:cubicBezTo>
                    <a:pt x="633" y="1404"/>
                    <a:pt x="611" y="1387"/>
                    <a:pt x="632" y="1389"/>
                  </a:cubicBezTo>
                  <a:cubicBezTo>
                    <a:pt x="633" y="1389"/>
                    <a:pt x="634" y="1392"/>
                    <a:pt x="635" y="1391"/>
                  </a:cubicBezTo>
                  <a:cubicBezTo>
                    <a:pt x="636" y="1390"/>
                    <a:pt x="635" y="1387"/>
                    <a:pt x="635" y="1386"/>
                  </a:cubicBezTo>
                  <a:close/>
                  <a:moveTo>
                    <a:pt x="662" y="1325"/>
                  </a:moveTo>
                  <a:cubicBezTo>
                    <a:pt x="659" y="1324"/>
                    <a:pt x="657" y="1325"/>
                    <a:pt x="654" y="1323"/>
                  </a:cubicBezTo>
                  <a:cubicBezTo>
                    <a:pt x="648" y="1320"/>
                    <a:pt x="649" y="1325"/>
                    <a:pt x="644" y="1324"/>
                  </a:cubicBezTo>
                  <a:cubicBezTo>
                    <a:pt x="640" y="1323"/>
                    <a:pt x="647" y="1314"/>
                    <a:pt x="647" y="1313"/>
                  </a:cubicBezTo>
                  <a:cubicBezTo>
                    <a:pt x="649" y="1301"/>
                    <a:pt x="644" y="1294"/>
                    <a:pt x="641" y="1291"/>
                  </a:cubicBezTo>
                  <a:cubicBezTo>
                    <a:pt x="641" y="1291"/>
                    <a:pt x="638" y="1285"/>
                    <a:pt x="637" y="1285"/>
                  </a:cubicBezTo>
                  <a:cubicBezTo>
                    <a:pt x="636" y="1285"/>
                    <a:pt x="647" y="1310"/>
                    <a:pt x="643" y="1315"/>
                  </a:cubicBezTo>
                  <a:cubicBezTo>
                    <a:pt x="640" y="1320"/>
                    <a:pt x="635" y="1324"/>
                    <a:pt x="635" y="1329"/>
                  </a:cubicBezTo>
                  <a:cubicBezTo>
                    <a:pt x="635" y="1336"/>
                    <a:pt x="651" y="1337"/>
                    <a:pt x="652" y="1341"/>
                  </a:cubicBezTo>
                  <a:cubicBezTo>
                    <a:pt x="652" y="1341"/>
                    <a:pt x="652" y="1343"/>
                    <a:pt x="652" y="1343"/>
                  </a:cubicBezTo>
                  <a:cubicBezTo>
                    <a:pt x="649" y="1354"/>
                    <a:pt x="643" y="1347"/>
                    <a:pt x="640" y="1351"/>
                  </a:cubicBezTo>
                  <a:cubicBezTo>
                    <a:pt x="639" y="1353"/>
                    <a:pt x="633" y="1348"/>
                    <a:pt x="633" y="1350"/>
                  </a:cubicBezTo>
                  <a:cubicBezTo>
                    <a:pt x="635" y="1363"/>
                    <a:pt x="648" y="1359"/>
                    <a:pt x="646" y="1372"/>
                  </a:cubicBezTo>
                  <a:cubicBezTo>
                    <a:pt x="645" y="1373"/>
                    <a:pt x="645" y="1373"/>
                    <a:pt x="645" y="1373"/>
                  </a:cubicBezTo>
                  <a:cubicBezTo>
                    <a:pt x="646" y="1376"/>
                    <a:pt x="648" y="1372"/>
                    <a:pt x="649" y="1373"/>
                  </a:cubicBezTo>
                  <a:cubicBezTo>
                    <a:pt x="660" y="1375"/>
                    <a:pt x="647" y="1364"/>
                    <a:pt x="651" y="1360"/>
                  </a:cubicBezTo>
                  <a:cubicBezTo>
                    <a:pt x="655" y="1357"/>
                    <a:pt x="658" y="1369"/>
                    <a:pt x="663" y="1368"/>
                  </a:cubicBezTo>
                  <a:cubicBezTo>
                    <a:pt x="664" y="1368"/>
                    <a:pt x="669" y="1369"/>
                    <a:pt x="668" y="1367"/>
                  </a:cubicBezTo>
                  <a:cubicBezTo>
                    <a:pt x="668" y="1367"/>
                    <a:pt x="668" y="1367"/>
                    <a:pt x="667" y="1366"/>
                  </a:cubicBezTo>
                  <a:cubicBezTo>
                    <a:pt x="664" y="1362"/>
                    <a:pt x="659" y="1365"/>
                    <a:pt x="656" y="1359"/>
                  </a:cubicBezTo>
                  <a:cubicBezTo>
                    <a:pt x="656" y="1359"/>
                    <a:pt x="657" y="1349"/>
                    <a:pt x="654" y="1352"/>
                  </a:cubicBezTo>
                  <a:cubicBezTo>
                    <a:pt x="653" y="1353"/>
                    <a:pt x="652" y="1357"/>
                    <a:pt x="651" y="1356"/>
                  </a:cubicBezTo>
                  <a:cubicBezTo>
                    <a:pt x="648" y="1353"/>
                    <a:pt x="656" y="1346"/>
                    <a:pt x="656" y="1342"/>
                  </a:cubicBezTo>
                  <a:cubicBezTo>
                    <a:pt x="655" y="1334"/>
                    <a:pt x="639" y="1332"/>
                    <a:pt x="640" y="1329"/>
                  </a:cubicBezTo>
                  <a:cubicBezTo>
                    <a:pt x="645" y="1321"/>
                    <a:pt x="685" y="1339"/>
                    <a:pt x="662" y="1325"/>
                  </a:cubicBezTo>
                  <a:close/>
                  <a:moveTo>
                    <a:pt x="672" y="1282"/>
                  </a:moveTo>
                  <a:cubicBezTo>
                    <a:pt x="671" y="1282"/>
                    <a:pt x="671" y="1282"/>
                    <a:pt x="671" y="1282"/>
                  </a:cubicBezTo>
                  <a:cubicBezTo>
                    <a:pt x="667" y="1281"/>
                    <a:pt x="662" y="1283"/>
                    <a:pt x="661" y="1277"/>
                  </a:cubicBezTo>
                  <a:cubicBezTo>
                    <a:pt x="660" y="1273"/>
                    <a:pt x="664" y="1268"/>
                    <a:pt x="663" y="1264"/>
                  </a:cubicBezTo>
                  <a:cubicBezTo>
                    <a:pt x="663" y="1262"/>
                    <a:pt x="657" y="1261"/>
                    <a:pt x="658" y="1259"/>
                  </a:cubicBezTo>
                  <a:cubicBezTo>
                    <a:pt x="659" y="1256"/>
                    <a:pt x="665" y="1263"/>
                    <a:pt x="663" y="1260"/>
                  </a:cubicBezTo>
                  <a:cubicBezTo>
                    <a:pt x="654" y="1243"/>
                    <a:pt x="640" y="1247"/>
                    <a:pt x="638" y="1236"/>
                  </a:cubicBezTo>
                  <a:cubicBezTo>
                    <a:pt x="638" y="1234"/>
                    <a:pt x="634" y="1232"/>
                    <a:pt x="632" y="1233"/>
                  </a:cubicBezTo>
                  <a:cubicBezTo>
                    <a:pt x="632" y="1233"/>
                    <a:pt x="633" y="1237"/>
                    <a:pt x="634" y="1238"/>
                  </a:cubicBezTo>
                  <a:cubicBezTo>
                    <a:pt x="639" y="1251"/>
                    <a:pt x="666" y="1258"/>
                    <a:pt x="652" y="1263"/>
                  </a:cubicBezTo>
                  <a:cubicBezTo>
                    <a:pt x="646" y="1265"/>
                    <a:pt x="635" y="1247"/>
                    <a:pt x="631" y="1247"/>
                  </a:cubicBezTo>
                  <a:cubicBezTo>
                    <a:pt x="630" y="1246"/>
                    <a:pt x="625" y="1250"/>
                    <a:pt x="627" y="1251"/>
                  </a:cubicBezTo>
                  <a:cubicBezTo>
                    <a:pt x="638" y="1252"/>
                    <a:pt x="621" y="1263"/>
                    <a:pt x="619" y="1263"/>
                  </a:cubicBezTo>
                  <a:cubicBezTo>
                    <a:pt x="612" y="1261"/>
                    <a:pt x="617" y="1260"/>
                    <a:pt x="616" y="1255"/>
                  </a:cubicBezTo>
                  <a:cubicBezTo>
                    <a:pt x="615" y="1247"/>
                    <a:pt x="628" y="1247"/>
                    <a:pt x="621" y="1242"/>
                  </a:cubicBezTo>
                  <a:cubicBezTo>
                    <a:pt x="614" y="1236"/>
                    <a:pt x="614" y="1254"/>
                    <a:pt x="613" y="1256"/>
                  </a:cubicBezTo>
                  <a:cubicBezTo>
                    <a:pt x="611" y="1261"/>
                    <a:pt x="607" y="1258"/>
                    <a:pt x="606" y="1259"/>
                  </a:cubicBezTo>
                  <a:cubicBezTo>
                    <a:pt x="604" y="1261"/>
                    <a:pt x="608" y="1262"/>
                    <a:pt x="609" y="1264"/>
                  </a:cubicBezTo>
                  <a:cubicBezTo>
                    <a:pt x="610" y="1269"/>
                    <a:pt x="630" y="1270"/>
                    <a:pt x="632" y="1273"/>
                  </a:cubicBezTo>
                  <a:cubicBezTo>
                    <a:pt x="635" y="1277"/>
                    <a:pt x="652" y="1295"/>
                    <a:pt x="651" y="1302"/>
                  </a:cubicBezTo>
                  <a:cubicBezTo>
                    <a:pt x="650" y="1303"/>
                    <a:pt x="652" y="1308"/>
                    <a:pt x="655" y="1306"/>
                  </a:cubicBezTo>
                  <a:cubicBezTo>
                    <a:pt x="656" y="1305"/>
                    <a:pt x="652" y="1300"/>
                    <a:pt x="654" y="1299"/>
                  </a:cubicBezTo>
                  <a:cubicBezTo>
                    <a:pt x="657" y="1299"/>
                    <a:pt x="655" y="1306"/>
                    <a:pt x="659" y="1306"/>
                  </a:cubicBezTo>
                  <a:cubicBezTo>
                    <a:pt x="665" y="1306"/>
                    <a:pt x="660" y="1298"/>
                    <a:pt x="661" y="1297"/>
                  </a:cubicBezTo>
                  <a:cubicBezTo>
                    <a:pt x="661" y="1297"/>
                    <a:pt x="661" y="1290"/>
                    <a:pt x="659" y="1289"/>
                  </a:cubicBezTo>
                  <a:cubicBezTo>
                    <a:pt x="655" y="1284"/>
                    <a:pt x="658" y="1295"/>
                    <a:pt x="656" y="1295"/>
                  </a:cubicBezTo>
                  <a:cubicBezTo>
                    <a:pt x="654" y="1293"/>
                    <a:pt x="641" y="1286"/>
                    <a:pt x="643" y="1282"/>
                  </a:cubicBezTo>
                  <a:cubicBezTo>
                    <a:pt x="643" y="1281"/>
                    <a:pt x="646" y="1283"/>
                    <a:pt x="648" y="1284"/>
                  </a:cubicBezTo>
                  <a:cubicBezTo>
                    <a:pt x="658" y="1290"/>
                    <a:pt x="650" y="1280"/>
                    <a:pt x="659" y="1286"/>
                  </a:cubicBezTo>
                  <a:cubicBezTo>
                    <a:pt x="661" y="1287"/>
                    <a:pt x="667" y="1292"/>
                    <a:pt x="670" y="1290"/>
                  </a:cubicBezTo>
                  <a:cubicBezTo>
                    <a:pt x="671" y="1288"/>
                    <a:pt x="671" y="1283"/>
                    <a:pt x="672" y="1285"/>
                  </a:cubicBezTo>
                  <a:cubicBezTo>
                    <a:pt x="683" y="1296"/>
                    <a:pt x="673" y="1282"/>
                    <a:pt x="672" y="1282"/>
                  </a:cubicBezTo>
                  <a:close/>
                  <a:moveTo>
                    <a:pt x="693" y="1262"/>
                  </a:moveTo>
                  <a:cubicBezTo>
                    <a:pt x="700" y="1259"/>
                    <a:pt x="683" y="1246"/>
                    <a:pt x="688" y="1240"/>
                  </a:cubicBezTo>
                  <a:cubicBezTo>
                    <a:pt x="688" y="1239"/>
                    <a:pt x="688" y="1239"/>
                    <a:pt x="688" y="1239"/>
                  </a:cubicBezTo>
                  <a:cubicBezTo>
                    <a:pt x="691" y="1231"/>
                    <a:pt x="682" y="1227"/>
                    <a:pt x="677" y="1222"/>
                  </a:cubicBezTo>
                  <a:cubicBezTo>
                    <a:pt x="677" y="1222"/>
                    <a:pt x="676" y="1221"/>
                    <a:pt x="676" y="1222"/>
                  </a:cubicBezTo>
                  <a:cubicBezTo>
                    <a:pt x="676" y="1223"/>
                    <a:pt x="682" y="1241"/>
                    <a:pt x="681" y="1240"/>
                  </a:cubicBezTo>
                  <a:cubicBezTo>
                    <a:pt x="674" y="1238"/>
                    <a:pt x="674" y="1217"/>
                    <a:pt x="670" y="1223"/>
                  </a:cubicBezTo>
                  <a:cubicBezTo>
                    <a:pt x="670" y="1223"/>
                    <a:pt x="669" y="1231"/>
                    <a:pt x="667" y="1228"/>
                  </a:cubicBezTo>
                  <a:cubicBezTo>
                    <a:pt x="665" y="1225"/>
                    <a:pt x="660" y="1216"/>
                    <a:pt x="660" y="1219"/>
                  </a:cubicBezTo>
                  <a:cubicBezTo>
                    <a:pt x="659" y="1227"/>
                    <a:pt x="677" y="1239"/>
                    <a:pt x="676" y="1242"/>
                  </a:cubicBezTo>
                  <a:cubicBezTo>
                    <a:pt x="673" y="1249"/>
                    <a:pt x="662" y="1239"/>
                    <a:pt x="665" y="1248"/>
                  </a:cubicBezTo>
                  <a:cubicBezTo>
                    <a:pt x="668" y="1254"/>
                    <a:pt x="680" y="1252"/>
                    <a:pt x="681" y="1252"/>
                  </a:cubicBezTo>
                  <a:cubicBezTo>
                    <a:pt x="686" y="1254"/>
                    <a:pt x="689" y="1264"/>
                    <a:pt x="693" y="1262"/>
                  </a:cubicBezTo>
                  <a:close/>
                  <a:moveTo>
                    <a:pt x="701" y="1337"/>
                  </a:moveTo>
                  <a:cubicBezTo>
                    <a:pt x="709" y="1345"/>
                    <a:pt x="718" y="1341"/>
                    <a:pt x="708" y="1346"/>
                  </a:cubicBezTo>
                  <a:cubicBezTo>
                    <a:pt x="707" y="1346"/>
                    <a:pt x="705" y="1349"/>
                    <a:pt x="705" y="1350"/>
                  </a:cubicBezTo>
                  <a:cubicBezTo>
                    <a:pt x="706" y="1352"/>
                    <a:pt x="710" y="1345"/>
                    <a:pt x="711" y="1350"/>
                  </a:cubicBezTo>
                  <a:cubicBezTo>
                    <a:pt x="714" y="1361"/>
                    <a:pt x="745" y="1349"/>
                    <a:pt x="762" y="1346"/>
                  </a:cubicBezTo>
                  <a:cubicBezTo>
                    <a:pt x="765" y="1345"/>
                    <a:pt x="771" y="1357"/>
                    <a:pt x="775" y="1358"/>
                  </a:cubicBezTo>
                  <a:cubicBezTo>
                    <a:pt x="777" y="1359"/>
                    <a:pt x="780" y="1357"/>
                    <a:pt x="780" y="1361"/>
                  </a:cubicBezTo>
                  <a:cubicBezTo>
                    <a:pt x="780" y="1371"/>
                    <a:pt x="765" y="1351"/>
                    <a:pt x="757" y="1356"/>
                  </a:cubicBezTo>
                  <a:cubicBezTo>
                    <a:pt x="747" y="1362"/>
                    <a:pt x="746" y="1362"/>
                    <a:pt x="749" y="1366"/>
                  </a:cubicBezTo>
                  <a:cubicBezTo>
                    <a:pt x="751" y="1368"/>
                    <a:pt x="750" y="1371"/>
                    <a:pt x="752" y="1370"/>
                  </a:cubicBezTo>
                  <a:cubicBezTo>
                    <a:pt x="757" y="1368"/>
                    <a:pt x="752" y="1375"/>
                    <a:pt x="753" y="1376"/>
                  </a:cubicBezTo>
                  <a:cubicBezTo>
                    <a:pt x="755" y="1378"/>
                    <a:pt x="759" y="1377"/>
                    <a:pt x="761" y="1375"/>
                  </a:cubicBezTo>
                  <a:cubicBezTo>
                    <a:pt x="763" y="1374"/>
                    <a:pt x="787" y="1373"/>
                    <a:pt x="797" y="1369"/>
                  </a:cubicBezTo>
                  <a:cubicBezTo>
                    <a:pt x="804" y="1366"/>
                    <a:pt x="841" y="1360"/>
                    <a:pt x="839" y="1349"/>
                  </a:cubicBezTo>
                  <a:cubicBezTo>
                    <a:pt x="837" y="1326"/>
                    <a:pt x="801" y="1341"/>
                    <a:pt x="798" y="1339"/>
                  </a:cubicBezTo>
                  <a:cubicBezTo>
                    <a:pt x="796" y="1338"/>
                    <a:pt x="786" y="1340"/>
                    <a:pt x="787" y="1334"/>
                  </a:cubicBezTo>
                  <a:cubicBezTo>
                    <a:pt x="787" y="1331"/>
                    <a:pt x="794" y="1332"/>
                    <a:pt x="798" y="1332"/>
                  </a:cubicBezTo>
                  <a:cubicBezTo>
                    <a:pt x="798" y="1332"/>
                    <a:pt x="799" y="1333"/>
                    <a:pt x="800" y="1333"/>
                  </a:cubicBezTo>
                  <a:cubicBezTo>
                    <a:pt x="801" y="1333"/>
                    <a:pt x="800" y="1332"/>
                    <a:pt x="798" y="1332"/>
                  </a:cubicBezTo>
                  <a:cubicBezTo>
                    <a:pt x="797" y="1331"/>
                    <a:pt x="811" y="1328"/>
                    <a:pt x="812" y="1326"/>
                  </a:cubicBezTo>
                  <a:cubicBezTo>
                    <a:pt x="817" y="1321"/>
                    <a:pt x="801" y="1307"/>
                    <a:pt x="816" y="1317"/>
                  </a:cubicBezTo>
                  <a:cubicBezTo>
                    <a:pt x="818" y="1319"/>
                    <a:pt x="822" y="1318"/>
                    <a:pt x="824" y="1317"/>
                  </a:cubicBezTo>
                  <a:cubicBezTo>
                    <a:pt x="825" y="1315"/>
                    <a:pt x="818" y="1305"/>
                    <a:pt x="820" y="1302"/>
                  </a:cubicBezTo>
                  <a:cubicBezTo>
                    <a:pt x="826" y="1295"/>
                    <a:pt x="830" y="1304"/>
                    <a:pt x="835" y="1304"/>
                  </a:cubicBezTo>
                  <a:cubicBezTo>
                    <a:pt x="837" y="1304"/>
                    <a:pt x="836" y="1303"/>
                    <a:pt x="835" y="1302"/>
                  </a:cubicBezTo>
                  <a:cubicBezTo>
                    <a:pt x="834" y="1301"/>
                    <a:pt x="832" y="1299"/>
                    <a:pt x="835" y="1299"/>
                  </a:cubicBezTo>
                  <a:cubicBezTo>
                    <a:pt x="836" y="1300"/>
                    <a:pt x="840" y="1301"/>
                    <a:pt x="841" y="1300"/>
                  </a:cubicBezTo>
                  <a:cubicBezTo>
                    <a:pt x="845" y="1295"/>
                    <a:pt x="811" y="1299"/>
                    <a:pt x="814" y="1293"/>
                  </a:cubicBezTo>
                  <a:cubicBezTo>
                    <a:pt x="816" y="1288"/>
                    <a:pt x="822" y="1293"/>
                    <a:pt x="823" y="1294"/>
                  </a:cubicBezTo>
                  <a:cubicBezTo>
                    <a:pt x="826" y="1294"/>
                    <a:pt x="823" y="1287"/>
                    <a:pt x="824" y="1286"/>
                  </a:cubicBezTo>
                  <a:cubicBezTo>
                    <a:pt x="825" y="1285"/>
                    <a:pt x="833" y="1286"/>
                    <a:pt x="834" y="1287"/>
                  </a:cubicBezTo>
                  <a:cubicBezTo>
                    <a:pt x="841" y="1290"/>
                    <a:pt x="854" y="1308"/>
                    <a:pt x="860" y="1305"/>
                  </a:cubicBezTo>
                  <a:cubicBezTo>
                    <a:pt x="862" y="1304"/>
                    <a:pt x="853" y="1297"/>
                    <a:pt x="854" y="1297"/>
                  </a:cubicBezTo>
                  <a:cubicBezTo>
                    <a:pt x="858" y="1297"/>
                    <a:pt x="872" y="1300"/>
                    <a:pt x="872" y="1300"/>
                  </a:cubicBezTo>
                  <a:cubicBezTo>
                    <a:pt x="878" y="1296"/>
                    <a:pt x="867" y="1296"/>
                    <a:pt x="873" y="1294"/>
                  </a:cubicBezTo>
                  <a:cubicBezTo>
                    <a:pt x="878" y="1292"/>
                    <a:pt x="885" y="1283"/>
                    <a:pt x="884" y="1281"/>
                  </a:cubicBezTo>
                  <a:cubicBezTo>
                    <a:pt x="883" y="1281"/>
                    <a:pt x="886" y="1278"/>
                    <a:pt x="886" y="1277"/>
                  </a:cubicBezTo>
                  <a:cubicBezTo>
                    <a:pt x="889" y="1277"/>
                    <a:pt x="886" y="1283"/>
                    <a:pt x="890" y="1282"/>
                  </a:cubicBezTo>
                  <a:cubicBezTo>
                    <a:pt x="891" y="1281"/>
                    <a:pt x="891" y="1279"/>
                    <a:pt x="891" y="1278"/>
                  </a:cubicBezTo>
                  <a:cubicBezTo>
                    <a:pt x="893" y="1275"/>
                    <a:pt x="895" y="1281"/>
                    <a:pt x="897" y="1278"/>
                  </a:cubicBezTo>
                  <a:cubicBezTo>
                    <a:pt x="899" y="1275"/>
                    <a:pt x="892" y="1273"/>
                    <a:pt x="893" y="1272"/>
                  </a:cubicBezTo>
                  <a:cubicBezTo>
                    <a:pt x="895" y="1269"/>
                    <a:pt x="908" y="1271"/>
                    <a:pt x="908" y="1268"/>
                  </a:cubicBezTo>
                  <a:cubicBezTo>
                    <a:pt x="908" y="1266"/>
                    <a:pt x="904" y="1262"/>
                    <a:pt x="907" y="1262"/>
                  </a:cubicBezTo>
                  <a:cubicBezTo>
                    <a:pt x="911" y="1261"/>
                    <a:pt x="911" y="1267"/>
                    <a:pt x="913" y="1267"/>
                  </a:cubicBezTo>
                  <a:cubicBezTo>
                    <a:pt x="922" y="1267"/>
                    <a:pt x="907" y="1254"/>
                    <a:pt x="915" y="1259"/>
                  </a:cubicBezTo>
                  <a:cubicBezTo>
                    <a:pt x="918" y="1260"/>
                    <a:pt x="923" y="1254"/>
                    <a:pt x="921" y="1251"/>
                  </a:cubicBezTo>
                  <a:cubicBezTo>
                    <a:pt x="918" y="1247"/>
                    <a:pt x="914" y="1242"/>
                    <a:pt x="911" y="1237"/>
                  </a:cubicBezTo>
                  <a:cubicBezTo>
                    <a:pt x="903" y="1224"/>
                    <a:pt x="916" y="1255"/>
                    <a:pt x="899" y="1241"/>
                  </a:cubicBezTo>
                  <a:cubicBezTo>
                    <a:pt x="896" y="1237"/>
                    <a:pt x="887" y="1225"/>
                    <a:pt x="888" y="1225"/>
                  </a:cubicBezTo>
                  <a:cubicBezTo>
                    <a:pt x="889" y="1226"/>
                    <a:pt x="896" y="1232"/>
                    <a:pt x="896" y="1229"/>
                  </a:cubicBezTo>
                  <a:cubicBezTo>
                    <a:pt x="896" y="1226"/>
                    <a:pt x="899" y="1219"/>
                    <a:pt x="896" y="1216"/>
                  </a:cubicBezTo>
                  <a:cubicBezTo>
                    <a:pt x="895" y="1215"/>
                    <a:pt x="895" y="1215"/>
                    <a:pt x="895" y="1215"/>
                  </a:cubicBezTo>
                  <a:cubicBezTo>
                    <a:pt x="902" y="1216"/>
                    <a:pt x="920" y="1219"/>
                    <a:pt x="928" y="1225"/>
                  </a:cubicBezTo>
                  <a:cubicBezTo>
                    <a:pt x="930" y="1226"/>
                    <a:pt x="931" y="1230"/>
                    <a:pt x="933" y="1227"/>
                  </a:cubicBezTo>
                  <a:cubicBezTo>
                    <a:pt x="934" y="1226"/>
                    <a:pt x="933" y="1225"/>
                    <a:pt x="934" y="1225"/>
                  </a:cubicBezTo>
                  <a:cubicBezTo>
                    <a:pt x="935" y="1222"/>
                    <a:pt x="939" y="1225"/>
                    <a:pt x="941" y="1221"/>
                  </a:cubicBezTo>
                  <a:cubicBezTo>
                    <a:pt x="941" y="1220"/>
                    <a:pt x="937" y="1216"/>
                    <a:pt x="936" y="1215"/>
                  </a:cubicBezTo>
                  <a:cubicBezTo>
                    <a:pt x="920" y="1212"/>
                    <a:pt x="907" y="1214"/>
                    <a:pt x="898" y="1197"/>
                  </a:cubicBezTo>
                  <a:cubicBezTo>
                    <a:pt x="897" y="1194"/>
                    <a:pt x="904" y="1200"/>
                    <a:pt x="908" y="1199"/>
                  </a:cubicBezTo>
                  <a:cubicBezTo>
                    <a:pt x="911" y="1199"/>
                    <a:pt x="902" y="1193"/>
                    <a:pt x="907" y="1192"/>
                  </a:cubicBezTo>
                  <a:cubicBezTo>
                    <a:pt x="912" y="1192"/>
                    <a:pt x="914" y="1201"/>
                    <a:pt x="916" y="1195"/>
                  </a:cubicBezTo>
                  <a:cubicBezTo>
                    <a:pt x="917" y="1191"/>
                    <a:pt x="927" y="1198"/>
                    <a:pt x="926" y="1195"/>
                  </a:cubicBezTo>
                  <a:cubicBezTo>
                    <a:pt x="925" y="1188"/>
                    <a:pt x="914" y="1192"/>
                    <a:pt x="915" y="1189"/>
                  </a:cubicBezTo>
                  <a:cubicBezTo>
                    <a:pt x="917" y="1185"/>
                    <a:pt x="940" y="1180"/>
                    <a:pt x="930" y="1176"/>
                  </a:cubicBezTo>
                  <a:cubicBezTo>
                    <a:pt x="921" y="1174"/>
                    <a:pt x="923" y="1146"/>
                    <a:pt x="911" y="1148"/>
                  </a:cubicBezTo>
                  <a:cubicBezTo>
                    <a:pt x="897" y="1150"/>
                    <a:pt x="908" y="1154"/>
                    <a:pt x="908" y="1159"/>
                  </a:cubicBezTo>
                  <a:cubicBezTo>
                    <a:pt x="907" y="1167"/>
                    <a:pt x="899" y="1158"/>
                    <a:pt x="906" y="1170"/>
                  </a:cubicBezTo>
                  <a:cubicBezTo>
                    <a:pt x="908" y="1175"/>
                    <a:pt x="898" y="1169"/>
                    <a:pt x="901" y="1173"/>
                  </a:cubicBezTo>
                  <a:cubicBezTo>
                    <a:pt x="906" y="1178"/>
                    <a:pt x="908" y="1178"/>
                    <a:pt x="910" y="1181"/>
                  </a:cubicBezTo>
                  <a:cubicBezTo>
                    <a:pt x="910" y="1182"/>
                    <a:pt x="913" y="1185"/>
                    <a:pt x="910" y="1185"/>
                  </a:cubicBezTo>
                  <a:cubicBezTo>
                    <a:pt x="900" y="1185"/>
                    <a:pt x="891" y="1162"/>
                    <a:pt x="888" y="1160"/>
                  </a:cubicBezTo>
                  <a:cubicBezTo>
                    <a:pt x="883" y="1157"/>
                    <a:pt x="887" y="1172"/>
                    <a:pt x="882" y="1164"/>
                  </a:cubicBezTo>
                  <a:cubicBezTo>
                    <a:pt x="880" y="1161"/>
                    <a:pt x="885" y="1156"/>
                    <a:pt x="883" y="1154"/>
                  </a:cubicBezTo>
                  <a:cubicBezTo>
                    <a:pt x="881" y="1152"/>
                    <a:pt x="877" y="1149"/>
                    <a:pt x="875" y="1151"/>
                  </a:cubicBezTo>
                  <a:cubicBezTo>
                    <a:pt x="872" y="1153"/>
                    <a:pt x="865" y="1157"/>
                    <a:pt x="868" y="1159"/>
                  </a:cubicBezTo>
                  <a:cubicBezTo>
                    <a:pt x="874" y="1165"/>
                    <a:pt x="876" y="1168"/>
                    <a:pt x="879" y="1177"/>
                  </a:cubicBezTo>
                  <a:cubicBezTo>
                    <a:pt x="881" y="1181"/>
                    <a:pt x="869" y="1180"/>
                    <a:pt x="869" y="1181"/>
                  </a:cubicBezTo>
                  <a:cubicBezTo>
                    <a:pt x="876" y="1193"/>
                    <a:pt x="877" y="1196"/>
                    <a:pt x="874" y="1204"/>
                  </a:cubicBezTo>
                  <a:cubicBezTo>
                    <a:pt x="874" y="1206"/>
                    <a:pt x="887" y="1208"/>
                    <a:pt x="886" y="1208"/>
                  </a:cubicBezTo>
                  <a:cubicBezTo>
                    <a:pt x="863" y="1224"/>
                    <a:pt x="877" y="1204"/>
                    <a:pt x="856" y="1210"/>
                  </a:cubicBezTo>
                  <a:cubicBezTo>
                    <a:pt x="853" y="1212"/>
                    <a:pt x="870" y="1214"/>
                    <a:pt x="870" y="1217"/>
                  </a:cubicBezTo>
                  <a:cubicBezTo>
                    <a:pt x="870" y="1220"/>
                    <a:pt x="856" y="1217"/>
                    <a:pt x="854" y="1217"/>
                  </a:cubicBezTo>
                  <a:cubicBezTo>
                    <a:pt x="849" y="1215"/>
                    <a:pt x="837" y="1227"/>
                    <a:pt x="830" y="1223"/>
                  </a:cubicBezTo>
                  <a:cubicBezTo>
                    <a:pt x="830" y="1223"/>
                    <a:pt x="827" y="1222"/>
                    <a:pt x="829" y="1221"/>
                  </a:cubicBezTo>
                  <a:cubicBezTo>
                    <a:pt x="831" y="1220"/>
                    <a:pt x="834" y="1222"/>
                    <a:pt x="836" y="1221"/>
                  </a:cubicBezTo>
                  <a:cubicBezTo>
                    <a:pt x="839" y="1219"/>
                    <a:pt x="822" y="1213"/>
                    <a:pt x="821" y="1212"/>
                  </a:cubicBezTo>
                  <a:cubicBezTo>
                    <a:pt x="820" y="1209"/>
                    <a:pt x="842" y="1219"/>
                    <a:pt x="843" y="1218"/>
                  </a:cubicBezTo>
                  <a:cubicBezTo>
                    <a:pt x="849" y="1216"/>
                    <a:pt x="825" y="1205"/>
                    <a:pt x="831" y="1205"/>
                  </a:cubicBezTo>
                  <a:cubicBezTo>
                    <a:pt x="832" y="1205"/>
                    <a:pt x="846" y="1215"/>
                    <a:pt x="846" y="1213"/>
                  </a:cubicBezTo>
                  <a:cubicBezTo>
                    <a:pt x="848" y="1207"/>
                    <a:pt x="836" y="1204"/>
                    <a:pt x="834" y="1201"/>
                  </a:cubicBezTo>
                  <a:cubicBezTo>
                    <a:pt x="833" y="1200"/>
                    <a:pt x="830" y="1188"/>
                    <a:pt x="826" y="1183"/>
                  </a:cubicBezTo>
                  <a:cubicBezTo>
                    <a:pt x="831" y="1186"/>
                    <a:pt x="837" y="1189"/>
                    <a:pt x="840" y="1189"/>
                  </a:cubicBezTo>
                  <a:cubicBezTo>
                    <a:pt x="841" y="1189"/>
                    <a:pt x="829" y="1179"/>
                    <a:pt x="840" y="1182"/>
                  </a:cubicBezTo>
                  <a:cubicBezTo>
                    <a:pt x="842" y="1183"/>
                    <a:pt x="846" y="1186"/>
                    <a:pt x="847" y="1184"/>
                  </a:cubicBezTo>
                  <a:cubicBezTo>
                    <a:pt x="849" y="1181"/>
                    <a:pt x="823" y="1171"/>
                    <a:pt x="820" y="1167"/>
                  </a:cubicBezTo>
                  <a:cubicBezTo>
                    <a:pt x="805" y="1144"/>
                    <a:pt x="785" y="1157"/>
                    <a:pt x="772" y="1122"/>
                  </a:cubicBezTo>
                  <a:cubicBezTo>
                    <a:pt x="772" y="1122"/>
                    <a:pt x="775" y="1121"/>
                    <a:pt x="775" y="1120"/>
                  </a:cubicBezTo>
                  <a:cubicBezTo>
                    <a:pt x="776" y="1117"/>
                    <a:pt x="780" y="1120"/>
                    <a:pt x="783" y="1115"/>
                  </a:cubicBezTo>
                  <a:cubicBezTo>
                    <a:pt x="783" y="1114"/>
                    <a:pt x="775" y="1110"/>
                    <a:pt x="774" y="1110"/>
                  </a:cubicBezTo>
                  <a:cubicBezTo>
                    <a:pt x="769" y="1110"/>
                    <a:pt x="779" y="1097"/>
                    <a:pt x="781" y="1095"/>
                  </a:cubicBezTo>
                  <a:cubicBezTo>
                    <a:pt x="782" y="1094"/>
                    <a:pt x="801" y="1095"/>
                    <a:pt x="786" y="1091"/>
                  </a:cubicBezTo>
                  <a:cubicBezTo>
                    <a:pt x="782" y="1091"/>
                    <a:pt x="795" y="1093"/>
                    <a:pt x="795" y="1090"/>
                  </a:cubicBezTo>
                  <a:cubicBezTo>
                    <a:pt x="795" y="1085"/>
                    <a:pt x="792" y="1087"/>
                    <a:pt x="790" y="1087"/>
                  </a:cubicBezTo>
                  <a:cubicBezTo>
                    <a:pt x="780" y="1087"/>
                    <a:pt x="783" y="1094"/>
                    <a:pt x="774" y="1095"/>
                  </a:cubicBezTo>
                  <a:cubicBezTo>
                    <a:pt x="768" y="1096"/>
                    <a:pt x="765" y="1087"/>
                    <a:pt x="762" y="1087"/>
                  </a:cubicBezTo>
                  <a:cubicBezTo>
                    <a:pt x="753" y="1085"/>
                    <a:pt x="754" y="1097"/>
                    <a:pt x="745" y="1091"/>
                  </a:cubicBezTo>
                  <a:cubicBezTo>
                    <a:pt x="741" y="1088"/>
                    <a:pt x="753" y="1080"/>
                    <a:pt x="747" y="1076"/>
                  </a:cubicBezTo>
                  <a:cubicBezTo>
                    <a:pt x="746" y="1075"/>
                    <a:pt x="744" y="1077"/>
                    <a:pt x="743" y="1078"/>
                  </a:cubicBezTo>
                  <a:cubicBezTo>
                    <a:pt x="730" y="1082"/>
                    <a:pt x="744" y="1085"/>
                    <a:pt x="738" y="1093"/>
                  </a:cubicBezTo>
                  <a:cubicBezTo>
                    <a:pt x="734" y="1098"/>
                    <a:pt x="749" y="1095"/>
                    <a:pt x="743" y="1100"/>
                  </a:cubicBezTo>
                  <a:cubicBezTo>
                    <a:pt x="738" y="1103"/>
                    <a:pt x="732" y="1103"/>
                    <a:pt x="729" y="1093"/>
                  </a:cubicBezTo>
                  <a:cubicBezTo>
                    <a:pt x="729" y="1092"/>
                    <a:pt x="723" y="1088"/>
                    <a:pt x="723" y="1089"/>
                  </a:cubicBezTo>
                  <a:cubicBezTo>
                    <a:pt x="722" y="1092"/>
                    <a:pt x="727" y="1093"/>
                    <a:pt x="728" y="1095"/>
                  </a:cubicBezTo>
                  <a:cubicBezTo>
                    <a:pt x="729" y="1099"/>
                    <a:pt x="720" y="1097"/>
                    <a:pt x="719" y="1097"/>
                  </a:cubicBezTo>
                  <a:cubicBezTo>
                    <a:pt x="717" y="1097"/>
                    <a:pt x="712" y="1095"/>
                    <a:pt x="711" y="1095"/>
                  </a:cubicBezTo>
                  <a:cubicBezTo>
                    <a:pt x="703" y="1090"/>
                    <a:pt x="697" y="1076"/>
                    <a:pt x="691" y="1068"/>
                  </a:cubicBezTo>
                  <a:cubicBezTo>
                    <a:pt x="691" y="1068"/>
                    <a:pt x="691" y="1067"/>
                    <a:pt x="691" y="1067"/>
                  </a:cubicBezTo>
                  <a:cubicBezTo>
                    <a:pt x="692" y="1062"/>
                    <a:pt x="698" y="1071"/>
                    <a:pt x="700" y="1071"/>
                  </a:cubicBezTo>
                  <a:cubicBezTo>
                    <a:pt x="707" y="1071"/>
                    <a:pt x="700" y="1061"/>
                    <a:pt x="701" y="1055"/>
                  </a:cubicBezTo>
                  <a:cubicBezTo>
                    <a:pt x="701" y="1052"/>
                    <a:pt x="707" y="1048"/>
                    <a:pt x="706" y="1047"/>
                  </a:cubicBezTo>
                  <a:cubicBezTo>
                    <a:pt x="705" y="1046"/>
                    <a:pt x="702" y="1042"/>
                    <a:pt x="704" y="1041"/>
                  </a:cubicBezTo>
                  <a:cubicBezTo>
                    <a:pt x="706" y="1040"/>
                    <a:pt x="699" y="1044"/>
                    <a:pt x="697" y="1043"/>
                  </a:cubicBezTo>
                  <a:cubicBezTo>
                    <a:pt x="696" y="1042"/>
                    <a:pt x="696" y="1041"/>
                    <a:pt x="696" y="1040"/>
                  </a:cubicBezTo>
                  <a:cubicBezTo>
                    <a:pt x="697" y="1035"/>
                    <a:pt x="687" y="1024"/>
                    <a:pt x="691" y="1027"/>
                  </a:cubicBezTo>
                  <a:cubicBezTo>
                    <a:pt x="693" y="1029"/>
                    <a:pt x="696" y="1037"/>
                    <a:pt x="698" y="1034"/>
                  </a:cubicBezTo>
                  <a:cubicBezTo>
                    <a:pt x="706" y="1025"/>
                    <a:pt x="665" y="1000"/>
                    <a:pt x="661" y="1006"/>
                  </a:cubicBezTo>
                  <a:cubicBezTo>
                    <a:pt x="660" y="1007"/>
                    <a:pt x="673" y="1021"/>
                    <a:pt x="673" y="1021"/>
                  </a:cubicBezTo>
                  <a:cubicBezTo>
                    <a:pt x="678" y="1018"/>
                    <a:pt x="669" y="1015"/>
                    <a:pt x="673" y="1013"/>
                  </a:cubicBezTo>
                  <a:cubicBezTo>
                    <a:pt x="681" y="1011"/>
                    <a:pt x="687" y="1026"/>
                    <a:pt x="692" y="1040"/>
                  </a:cubicBezTo>
                  <a:cubicBezTo>
                    <a:pt x="698" y="1054"/>
                    <a:pt x="678" y="1045"/>
                    <a:pt x="693" y="1061"/>
                  </a:cubicBezTo>
                  <a:cubicBezTo>
                    <a:pt x="695" y="1064"/>
                    <a:pt x="680" y="1063"/>
                    <a:pt x="683" y="1066"/>
                  </a:cubicBezTo>
                  <a:cubicBezTo>
                    <a:pt x="701" y="1080"/>
                    <a:pt x="684" y="1078"/>
                    <a:pt x="686" y="1083"/>
                  </a:cubicBezTo>
                  <a:cubicBezTo>
                    <a:pt x="687" y="1086"/>
                    <a:pt x="690" y="1084"/>
                    <a:pt x="691" y="1083"/>
                  </a:cubicBezTo>
                  <a:cubicBezTo>
                    <a:pt x="692" y="1082"/>
                    <a:pt x="693" y="1083"/>
                    <a:pt x="693" y="1088"/>
                  </a:cubicBezTo>
                  <a:cubicBezTo>
                    <a:pt x="693" y="1088"/>
                    <a:pt x="698" y="1092"/>
                    <a:pt x="699" y="1092"/>
                  </a:cubicBezTo>
                  <a:cubicBezTo>
                    <a:pt x="702" y="1094"/>
                    <a:pt x="717" y="1121"/>
                    <a:pt x="722" y="1117"/>
                  </a:cubicBezTo>
                  <a:cubicBezTo>
                    <a:pt x="724" y="1116"/>
                    <a:pt x="719" y="1110"/>
                    <a:pt x="722" y="1107"/>
                  </a:cubicBezTo>
                  <a:cubicBezTo>
                    <a:pt x="723" y="1107"/>
                    <a:pt x="725" y="1112"/>
                    <a:pt x="726" y="1108"/>
                  </a:cubicBezTo>
                  <a:cubicBezTo>
                    <a:pt x="727" y="1104"/>
                    <a:pt x="732" y="1102"/>
                    <a:pt x="734" y="1107"/>
                  </a:cubicBezTo>
                  <a:cubicBezTo>
                    <a:pt x="735" y="1114"/>
                    <a:pt x="725" y="1110"/>
                    <a:pt x="729" y="1118"/>
                  </a:cubicBezTo>
                  <a:cubicBezTo>
                    <a:pt x="729" y="1118"/>
                    <a:pt x="729" y="1119"/>
                    <a:pt x="730" y="1119"/>
                  </a:cubicBezTo>
                  <a:cubicBezTo>
                    <a:pt x="727" y="1120"/>
                    <a:pt x="725" y="1122"/>
                    <a:pt x="725" y="1124"/>
                  </a:cubicBezTo>
                  <a:cubicBezTo>
                    <a:pt x="725" y="1127"/>
                    <a:pt x="733" y="1127"/>
                    <a:pt x="732" y="1130"/>
                  </a:cubicBezTo>
                  <a:cubicBezTo>
                    <a:pt x="732" y="1136"/>
                    <a:pt x="726" y="1131"/>
                    <a:pt x="726" y="1131"/>
                  </a:cubicBezTo>
                  <a:cubicBezTo>
                    <a:pt x="726" y="1137"/>
                    <a:pt x="725" y="1142"/>
                    <a:pt x="725" y="1146"/>
                  </a:cubicBezTo>
                  <a:cubicBezTo>
                    <a:pt x="724" y="1149"/>
                    <a:pt x="732" y="1157"/>
                    <a:pt x="729" y="1156"/>
                  </a:cubicBezTo>
                  <a:cubicBezTo>
                    <a:pt x="724" y="1154"/>
                    <a:pt x="718" y="1146"/>
                    <a:pt x="716" y="1150"/>
                  </a:cubicBezTo>
                  <a:cubicBezTo>
                    <a:pt x="714" y="1157"/>
                    <a:pt x="735" y="1160"/>
                    <a:pt x="737" y="1166"/>
                  </a:cubicBezTo>
                  <a:cubicBezTo>
                    <a:pt x="740" y="1174"/>
                    <a:pt x="725" y="1160"/>
                    <a:pt x="724" y="1163"/>
                  </a:cubicBezTo>
                  <a:cubicBezTo>
                    <a:pt x="724" y="1165"/>
                    <a:pt x="732" y="1172"/>
                    <a:pt x="734" y="1175"/>
                  </a:cubicBezTo>
                  <a:cubicBezTo>
                    <a:pt x="735" y="1176"/>
                    <a:pt x="737" y="1178"/>
                    <a:pt x="735" y="1178"/>
                  </a:cubicBezTo>
                  <a:cubicBezTo>
                    <a:pt x="732" y="1177"/>
                    <a:pt x="719" y="1167"/>
                    <a:pt x="720" y="1163"/>
                  </a:cubicBezTo>
                  <a:cubicBezTo>
                    <a:pt x="721" y="1162"/>
                    <a:pt x="721" y="1158"/>
                    <a:pt x="720" y="1159"/>
                  </a:cubicBezTo>
                  <a:cubicBezTo>
                    <a:pt x="718" y="1159"/>
                    <a:pt x="714" y="1167"/>
                    <a:pt x="711" y="1165"/>
                  </a:cubicBezTo>
                  <a:cubicBezTo>
                    <a:pt x="708" y="1164"/>
                    <a:pt x="712" y="1156"/>
                    <a:pt x="708" y="1155"/>
                  </a:cubicBezTo>
                  <a:cubicBezTo>
                    <a:pt x="704" y="1153"/>
                    <a:pt x="707" y="1163"/>
                    <a:pt x="705" y="1158"/>
                  </a:cubicBezTo>
                  <a:cubicBezTo>
                    <a:pt x="701" y="1150"/>
                    <a:pt x="702" y="1168"/>
                    <a:pt x="701" y="1168"/>
                  </a:cubicBezTo>
                  <a:cubicBezTo>
                    <a:pt x="696" y="1169"/>
                    <a:pt x="678" y="1142"/>
                    <a:pt x="682" y="1153"/>
                  </a:cubicBezTo>
                  <a:cubicBezTo>
                    <a:pt x="685" y="1161"/>
                    <a:pt x="703" y="1182"/>
                    <a:pt x="709" y="1171"/>
                  </a:cubicBezTo>
                  <a:cubicBezTo>
                    <a:pt x="709" y="1170"/>
                    <a:pt x="705" y="1168"/>
                    <a:pt x="705" y="1168"/>
                  </a:cubicBezTo>
                  <a:cubicBezTo>
                    <a:pt x="703" y="1166"/>
                    <a:pt x="710" y="1169"/>
                    <a:pt x="712" y="1169"/>
                  </a:cubicBezTo>
                  <a:cubicBezTo>
                    <a:pt x="715" y="1168"/>
                    <a:pt x="712" y="1175"/>
                    <a:pt x="718" y="1181"/>
                  </a:cubicBezTo>
                  <a:cubicBezTo>
                    <a:pt x="719" y="1182"/>
                    <a:pt x="723" y="1184"/>
                    <a:pt x="724" y="1184"/>
                  </a:cubicBezTo>
                  <a:cubicBezTo>
                    <a:pt x="732" y="1181"/>
                    <a:pt x="720" y="1173"/>
                    <a:pt x="723" y="1173"/>
                  </a:cubicBezTo>
                  <a:cubicBezTo>
                    <a:pt x="724" y="1172"/>
                    <a:pt x="748" y="1194"/>
                    <a:pt x="739" y="1177"/>
                  </a:cubicBezTo>
                  <a:cubicBezTo>
                    <a:pt x="739" y="1176"/>
                    <a:pt x="735" y="1168"/>
                    <a:pt x="740" y="1171"/>
                  </a:cubicBezTo>
                  <a:cubicBezTo>
                    <a:pt x="741" y="1172"/>
                    <a:pt x="744" y="1177"/>
                    <a:pt x="744" y="1178"/>
                  </a:cubicBezTo>
                  <a:cubicBezTo>
                    <a:pt x="747" y="1198"/>
                    <a:pt x="750" y="1182"/>
                    <a:pt x="754" y="1191"/>
                  </a:cubicBezTo>
                  <a:cubicBezTo>
                    <a:pt x="757" y="1197"/>
                    <a:pt x="745" y="1190"/>
                    <a:pt x="744" y="1193"/>
                  </a:cubicBezTo>
                  <a:cubicBezTo>
                    <a:pt x="744" y="1198"/>
                    <a:pt x="757" y="1210"/>
                    <a:pt x="759" y="1216"/>
                  </a:cubicBezTo>
                  <a:cubicBezTo>
                    <a:pt x="761" y="1219"/>
                    <a:pt x="746" y="1216"/>
                    <a:pt x="749" y="1218"/>
                  </a:cubicBezTo>
                  <a:cubicBezTo>
                    <a:pt x="755" y="1223"/>
                    <a:pt x="783" y="1230"/>
                    <a:pt x="786" y="1229"/>
                  </a:cubicBezTo>
                  <a:cubicBezTo>
                    <a:pt x="786" y="1229"/>
                    <a:pt x="774" y="1226"/>
                    <a:pt x="783" y="1224"/>
                  </a:cubicBezTo>
                  <a:cubicBezTo>
                    <a:pt x="791" y="1222"/>
                    <a:pt x="804" y="1235"/>
                    <a:pt x="801" y="1235"/>
                  </a:cubicBezTo>
                  <a:cubicBezTo>
                    <a:pt x="799" y="1234"/>
                    <a:pt x="789" y="1228"/>
                    <a:pt x="788" y="1230"/>
                  </a:cubicBezTo>
                  <a:cubicBezTo>
                    <a:pt x="786" y="1233"/>
                    <a:pt x="820" y="1245"/>
                    <a:pt x="822" y="1248"/>
                  </a:cubicBezTo>
                  <a:cubicBezTo>
                    <a:pt x="822" y="1249"/>
                    <a:pt x="830" y="1250"/>
                    <a:pt x="829" y="1252"/>
                  </a:cubicBezTo>
                  <a:cubicBezTo>
                    <a:pt x="829" y="1252"/>
                    <a:pt x="816" y="1252"/>
                    <a:pt x="815" y="1252"/>
                  </a:cubicBezTo>
                  <a:cubicBezTo>
                    <a:pt x="815" y="1252"/>
                    <a:pt x="814" y="1252"/>
                    <a:pt x="814" y="1252"/>
                  </a:cubicBezTo>
                  <a:cubicBezTo>
                    <a:pt x="814" y="1253"/>
                    <a:pt x="818" y="1255"/>
                    <a:pt x="819" y="1255"/>
                  </a:cubicBezTo>
                  <a:cubicBezTo>
                    <a:pt x="832" y="1259"/>
                    <a:pt x="836" y="1257"/>
                    <a:pt x="838" y="1266"/>
                  </a:cubicBezTo>
                  <a:cubicBezTo>
                    <a:pt x="840" y="1273"/>
                    <a:pt x="803" y="1261"/>
                    <a:pt x="803" y="1262"/>
                  </a:cubicBezTo>
                  <a:cubicBezTo>
                    <a:pt x="801" y="1264"/>
                    <a:pt x="808" y="1263"/>
                    <a:pt x="808" y="1264"/>
                  </a:cubicBezTo>
                  <a:cubicBezTo>
                    <a:pt x="812" y="1268"/>
                    <a:pt x="799" y="1267"/>
                    <a:pt x="807" y="1272"/>
                  </a:cubicBezTo>
                  <a:cubicBezTo>
                    <a:pt x="807" y="1273"/>
                    <a:pt x="809" y="1276"/>
                    <a:pt x="808" y="1277"/>
                  </a:cubicBezTo>
                  <a:cubicBezTo>
                    <a:pt x="805" y="1278"/>
                    <a:pt x="801" y="1271"/>
                    <a:pt x="801" y="1271"/>
                  </a:cubicBezTo>
                  <a:cubicBezTo>
                    <a:pt x="798" y="1272"/>
                    <a:pt x="801" y="1278"/>
                    <a:pt x="801" y="1279"/>
                  </a:cubicBezTo>
                  <a:cubicBezTo>
                    <a:pt x="800" y="1279"/>
                    <a:pt x="798" y="1274"/>
                    <a:pt x="795" y="1274"/>
                  </a:cubicBezTo>
                  <a:cubicBezTo>
                    <a:pt x="789" y="1272"/>
                    <a:pt x="802" y="1282"/>
                    <a:pt x="793" y="1279"/>
                  </a:cubicBezTo>
                  <a:cubicBezTo>
                    <a:pt x="788" y="1278"/>
                    <a:pt x="789" y="1271"/>
                    <a:pt x="783" y="1277"/>
                  </a:cubicBezTo>
                  <a:cubicBezTo>
                    <a:pt x="782" y="1278"/>
                    <a:pt x="782" y="1278"/>
                    <a:pt x="781" y="1279"/>
                  </a:cubicBezTo>
                  <a:cubicBezTo>
                    <a:pt x="778" y="1284"/>
                    <a:pt x="784" y="1309"/>
                    <a:pt x="767" y="1316"/>
                  </a:cubicBezTo>
                  <a:cubicBezTo>
                    <a:pt x="764" y="1318"/>
                    <a:pt x="764" y="1313"/>
                    <a:pt x="763" y="1311"/>
                  </a:cubicBezTo>
                  <a:cubicBezTo>
                    <a:pt x="762" y="1305"/>
                    <a:pt x="760" y="1296"/>
                    <a:pt x="755" y="1296"/>
                  </a:cubicBezTo>
                  <a:cubicBezTo>
                    <a:pt x="747" y="1296"/>
                    <a:pt x="758" y="1294"/>
                    <a:pt x="756" y="1292"/>
                  </a:cubicBezTo>
                  <a:cubicBezTo>
                    <a:pt x="750" y="1284"/>
                    <a:pt x="749" y="1284"/>
                    <a:pt x="745" y="1276"/>
                  </a:cubicBezTo>
                  <a:cubicBezTo>
                    <a:pt x="744" y="1275"/>
                    <a:pt x="734" y="1281"/>
                    <a:pt x="734" y="1277"/>
                  </a:cubicBezTo>
                  <a:cubicBezTo>
                    <a:pt x="735" y="1274"/>
                    <a:pt x="728" y="1266"/>
                    <a:pt x="726" y="1268"/>
                  </a:cubicBezTo>
                  <a:cubicBezTo>
                    <a:pt x="719" y="1277"/>
                    <a:pt x="744" y="1282"/>
                    <a:pt x="743" y="1286"/>
                  </a:cubicBezTo>
                  <a:cubicBezTo>
                    <a:pt x="741" y="1291"/>
                    <a:pt x="738" y="1292"/>
                    <a:pt x="733" y="1292"/>
                  </a:cubicBezTo>
                  <a:cubicBezTo>
                    <a:pt x="722" y="1293"/>
                    <a:pt x="725" y="1296"/>
                    <a:pt x="734" y="1296"/>
                  </a:cubicBezTo>
                  <a:cubicBezTo>
                    <a:pt x="734" y="1296"/>
                    <a:pt x="736" y="1295"/>
                    <a:pt x="736" y="1296"/>
                  </a:cubicBezTo>
                  <a:cubicBezTo>
                    <a:pt x="737" y="1298"/>
                    <a:pt x="733" y="1300"/>
                    <a:pt x="731" y="1301"/>
                  </a:cubicBezTo>
                  <a:cubicBezTo>
                    <a:pt x="724" y="1301"/>
                    <a:pt x="721" y="1305"/>
                    <a:pt x="719" y="1302"/>
                  </a:cubicBezTo>
                  <a:cubicBezTo>
                    <a:pt x="717" y="1301"/>
                    <a:pt x="718" y="1290"/>
                    <a:pt x="713" y="1292"/>
                  </a:cubicBezTo>
                  <a:cubicBezTo>
                    <a:pt x="711" y="1293"/>
                    <a:pt x="714" y="1300"/>
                    <a:pt x="714" y="1301"/>
                  </a:cubicBezTo>
                  <a:cubicBezTo>
                    <a:pt x="714" y="1308"/>
                    <a:pt x="724" y="1316"/>
                    <a:pt x="702" y="1308"/>
                  </a:cubicBezTo>
                  <a:cubicBezTo>
                    <a:pt x="701" y="1308"/>
                    <a:pt x="703" y="1300"/>
                    <a:pt x="704" y="1300"/>
                  </a:cubicBezTo>
                  <a:cubicBezTo>
                    <a:pt x="706" y="1299"/>
                    <a:pt x="706" y="1297"/>
                    <a:pt x="705" y="1295"/>
                  </a:cubicBezTo>
                  <a:cubicBezTo>
                    <a:pt x="702" y="1292"/>
                    <a:pt x="702" y="1301"/>
                    <a:pt x="700" y="1299"/>
                  </a:cubicBezTo>
                  <a:cubicBezTo>
                    <a:pt x="699" y="1297"/>
                    <a:pt x="706" y="1278"/>
                    <a:pt x="696" y="1289"/>
                  </a:cubicBezTo>
                  <a:cubicBezTo>
                    <a:pt x="691" y="1294"/>
                    <a:pt x="697" y="1311"/>
                    <a:pt x="705" y="1313"/>
                  </a:cubicBezTo>
                  <a:cubicBezTo>
                    <a:pt x="707" y="1314"/>
                    <a:pt x="715" y="1319"/>
                    <a:pt x="715" y="1319"/>
                  </a:cubicBezTo>
                  <a:cubicBezTo>
                    <a:pt x="704" y="1319"/>
                    <a:pt x="688" y="1309"/>
                    <a:pt x="695" y="1322"/>
                  </a:cubicBezTo>
                  <a:cubicBezTo>
                    <a:pt x="698" y="1327"/>
                    <a:pt x="699" y="1318"/>
                    <a:pt x="703" y="1321"/>
                  </a:cubicBezTo>
                  <a:cubicBezTo>
                    <a:pt x="704" y="1322"/>
                    <a:pt x="701" y="1327"/>
                    <a:pt x="700" y="1327"/>
                  </a:cubicBezTo>
                  <a:cubicBezTo>
                    <a:pt x="691" y="1332"/>
                    <a:pt x="697" y="1332"/>
                    <a:pt x="693" y="1340"/>
                  </a:cubicBezTo>
                  <a:cubicBezTo>
                    <a:pt x="692" y="1342"/>
                    <a:pt x="699" y="1335"/>
                    <a:pt x="701" y="1337"/>
                  </a:cubicBezTo>
                  <a:close/>
                  <a:moveTo>
                    <a:pt x="729" y="1375"/>
                  </a:moveTo>
                  <a:cubicBezTo>
                    <a:pt x="729" y="1376"/>
                    <a:pt x="733" y="1380"/>
                    <a:pt x="734" y="1379"/>
                  </a:cubicBezTo>
                  <a:cubicBezTo>
                    <a:pt x="738" y="1379"/>
                    <a:pt x="737" y="1384"/>
                    <a:pt x="732" y="1389"/>
                  </a:cubicBezTo>
                  <a:cubicBezTo>
                    <a:pt x="730" y="1392"/>
                    <a:pt x="730" y="1380"/>
                    <a:pt x="727" y="1384"/>
                  </a:cubicBezTo>
                  <a:cubicBezTo>
                    <a:pt x="717" y="1401"/>
                    <a:pt x="707" y="1371"/>
                    <a:pt x="699" y="1387"/>
                  </a:cubicBezTo>
                  <a:cubicBezTo>
                    <a:pt x="699" y="1388"/>
                    <a:pt x="699" y="1388"/>
                    <a:pt x="699" y="1388"/>
                  </a:cubicBezTo>
                  <a:cubicBezTo>
                    <a:pt x="699" y="1388"/>
                    <a:pt x="699" y="1392"/>
                    <a:pt x="701" y="1390"/>
                  </a:cubicBezTo>
                  <a:cubicBezTo>
                    <a:pt x="703" y="1387"/>
                    <a:pt x="741" y="1403"/>
                    <a:pt x="749" y="1388"/>
                  </a:cubicBezTo>
                  <a:cubicBezTo>
                    <a:pt x="751" y="1385"/>
                    <a:pt x="732" y="1369"/>
                    <a:pt x="729" y="1375"/>
                  </a:cubicBezTo>
                  <a:close/>
                  <a:moveTo>
                    <a:pt x="171" y="1048"/>
                  </a:moveTo>
                  <a:cubicBezTo>
                    <a:pt x="186" y="1038"/>
                    <a:pt x="165" y="1042"/>
                    <a:pt x="165" y="1041"/>
                  </a:cubicBezTo>
                  <a:cubicBezTo>
                    <a:pt x="165" y="1041"/>
                    <a:pt x="165" y="1041"/>
                    <a:pt x="165" y="1041"/>
                  </a:cubicBezTo>
                  <a:cubicBezTo>
                    <a:pt x="162" y="1042"/>
                    <a:pt x="168" y="1050"/>
                    <a:pt x="171" y="1048"/>
                  </a:cubicBezTo>
                  <a:close/>
                  <a:moveTo>
                    <a:pt x="154" y="1052"/>
                  </a:moveTo>
                  <a:cubicBezTo>
                    <a:pt x="138" y="1053"/>
                    <a:pt x="174" y="1083"/>
                    <a:pt x="179" y="1055"/>
                  </a:cubicBezTo>
                  <a:cubicBezTo>
                    <a:pt x="179" y="1054"/>
                    <a:pt x="179" y="1054"/>
                    <a:pt x="179" y="1054"/>
                  </a:cubicBezTo>
                  <a:cubicBezTo>
                    <a:pt x="176" y="1049"/>
                    <a:pt x="165" y="1059"/>
                    <a:pt x="161" y="1059"/>
                  </a:cubicBezTo>
                  <a:cubicBezTo>
                    <a:pt x="156" y="1058"/>
                    <a:pt x="170" y="1051"/>
                    <a:pt x="154" y="1052"/>
                  </a:cubicBezTo>
                  <a:close/>
                  <a:moveTo>
                    <a:pt x="94" y="1525"/>
                  </a:moveTo>
                  <a:cubicBezTo>
                    <a:pt x="95" y="1526"/>
                    <a:pt x="106" y="1526"/>
                    <a:pt x="104" y="1522"/>
                  </a:cubicBezTo>
                  <a:cubicBezTo>
                    <a:pt x="103" y="1520"/>
                    <a:pt x="102" y="1522"/>
                    <a:pt x="101" y="1519"/>
                  </a:cubicBezTo>
                  <a:cubicBezTo>
                    <a:pt x="100" y="1519"/>
                    <a:pt x="100" y="1519"/>
                    <a:pt x="100" y="1519"/>
                  </a:cubicBezTo>
                  <a:cubicBezTo>
                    <a:pt x="98" y="1519"/>
                    <a:pt x="92" y="1524"/>
                    <a:pt x="94" y="1525"/>
                  </a:cubicBezTo>
                  <a:close/>
                  <a:moveTo>
                    <a:pt x="86" y="1521"/>
                  </a:moveTo>
                  <a:cubicBezTo>
                    <a:pt x="83" y="1530"/>
                    <a:pt x="87" y="1523"/>
                    <a:pt x="89" y="1520"/>
                  </a:cubicBezTo>
                  <a:cubicBezTo>
                    <a:pt x="90" y="1519"/>
                    <a:pt x="90" y="1519"/>
                    <a:pt x="90" y="1519"/>
                  </a:cubicBezTo>
                  <a:cubicBezTo>
                    <a:pt x="91" y="1517"/>
                    <a:pt x="87" y="1518"/>
                    <a:pt x="86" y="1521"/>
                  </a:cubicBezTo>
                  <a:close/>
                  <a:moveTo>
                    <a:pt x="75" y="1530"/>
                  </a:moveTo>
                  <a:cubicBezTo>
                    <a:pt x="76" y="1531"/>
                    <a:pt x="79" y="1529"/>
                    <a:pt x="80" y="1529"/>
                  </a:cubicBezTo>
                  <a:cubicBezTo>
                    <a:pt x="80" y="1529"/>
                    <a:pt x="84" y="1531"/>
                    <a:pt x="85" y="1530"/>
                  </a:cubicBezTo>
                  <a:cubicBezTo>
                    <a:pt x="85" y="1529"/>
                    <a:pt x="84" y="1528"/>
                    <a:pt x="83" y="1527"/>
                  </a:cubicBezTo>
                  <a:cubicBezTo>
                    <a:pt x="82" y="1527"/>
                    <a:pt x="82" y="1527"/>
                    <a:pt x="82" y="1527"/>
                  </a:cubicBezTo>
                  <a:cubicBezTo>
                    <a:pt x="82" y="1527"/>
                    <a:pt x="80" y="1526"/>
                    <a:pt x="79" y="1526"/>
                  </a:cubicBezTo>
                  <a:cubicBezTo>
                    <a:pt x="79" y="1526"/>
                    <a:pt x="75" y="1530"/>
                    <a:pt x="75" y="15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" name="Denmark"/>
            <p:cNvSpPr>
              <a:spLocks noEditPoints="1"/>
            </p:cNvSpPr>
            <p:nvPr/>
          </p:nvSpPr>
          <p:spPr bwMode="auto">
            <a:xfrm>
              <a:off x="3141" y="1709"/>
              <a:ext cx="337" cy="232"/>
            </a:xfrm>
            <a:custGeom>
              <a:avLst/>
              <a:gdLst>
                <a:gd name="T0" fmla="*/ 138 w 647"/>
                <a:gd name="T1" fmla="*/ 401 h 446"/>
                <a:gd name="T2" fmla="*/ 52 w 647"/>
                <a:gd name="T3" fmla="*/ 371 h 446"/>
                <a:gd name="T4" fmla="*/ 55 w 647"/>
                <a:gd name="T5" fmla="*/ 368 h 446"/>
                <a:gd name="T6" fmla="*/ 14 w 647"/>
                <a:gd name="T7" fmla="*/ 316 h 446"/>
                <a:gd name="T8" fmla="*/ 12 w 647"/>
                <a:gd name="T9" fmla="*/ 275 h 446"/>
                <a:gd name="T10" fmla="*/ 13 w 647"/>
                <a:gd name="T11" fmla="*/ 161 h 446"/>
                <a:gd name="T12" fmla="*/ 55 w 647"/>
                <a:gd name="T13" fmla="*/ 163 h 446"/>
                <a:gd name="T14" fmla="*/ 88 w 647"/>
                <a:gd name="T15" fmla="*/ 166 h 446"/>
                <a:gd name="T16" fmla="*/ 117 w 647"/>
                <a:gd name="T17" fmla="*/ 170 h 446"/>
                <a:gd name="T18" fmla="*/ 138 w 647"/>
                <a:gd name="T19" fmla="*/ 114 h 446"/>
                <a:gd name="T20" fmla="*/ 38 w 647"/>
                <a:gd name="T21" fmla="*/ 140 h 446"/>
                <a:gd name="T22" fmla="*/ 47 w 647"/>
                <a:gd name="T23" fmla="*/ 156 h 446"/>
                <a:gd name="T24" fmla="*/ 48 w 647"/>
                <a:gd name="T25" fmla="*/ 94 h 446"/>
                <a:gd name="T26" fmla="*/ 223 w 647"/>
                <a:gd name="T27" fmla="*/ 11 h 446"/>
                <a:gd name="T28" fmla="*/ 203 w 647"/>
                <a:gd name="T29" fmla="*/ 111 h 446"/>
                <a:gd name="T30" fmla="*/ 200 w 647"/>
                <a:gd name="T31" fmla="*/ 112 h 446"/>
                <a:gd name="T32" fmla="*/ 177 w 647"/>
                <a:gd name="T33" fmla="*/ 154 h 446"/>
                <a:gd name="T34" fmla="*/ 203 w 647"/>
                <a:gd name="T35" fmla="*/ 153 h 446"/>
                <a:gd name="T36" fmla="*/ 259 w 647"/>
                <a:gd name="T37" fmla="*/ 188 h 446"/>
                <a:gd name="T38" fmla="*/ 204 w 647"/>
                <a:gd name="T39" fmla="*/ 222 h 446"/>
                <a:gd name="T40" fmla="*/ 161 w 647"/>
                <a:gd name="T41" fmla="*/ 270 h 446"/>
                <a:gd name="T42" fmla="*/ 133 w 647"/>
                <a:gd name="T43" fmla="*/ 289 h 446"/>
                <a:gd name="T44" fmla="*/ 138 w 647"/>
                <a:gd name="T45" fmla="*/ 319 h 446"/>
                <a:gd name="T46" fmla="*/ 133 w 647"/>
                <a:gd name="T47" fmla="*/ 376 h 446"/>
                <a:gd name="T48" fmla="*/ 366 w 647"/>
                <a:gd name="T49" fmla="*/ 408 h 446"/>
                <a:gd name="T50" fmla="*/ 351 w 647"/>
                <a:gd name="T51" fmla="*/ 390 h 446"/>
                <a:gd name="T52" fmla="*/ 392 w 647"/>
                <a:gd name="T53" fmla="*/ 347 h 446"/>
                <a:gd name="T54" fmla="*/ 378 w 647"/>
                <a:gd name="T55" fmla="*/ 231 h 446"/>
                <a:gd name="T56" fmla="*/ 344 w 647"/>
                <a:gd name="T57" fmla="*/ 297 h 446"/>
                <a:gd name="T58" fmla="*/ 327 w 647"/>
                <a:gd name="T59" fmla="*/ 287 h 446"/>
                <a:gd name="T60" fmla="*/ 326 w 647"/>
                <a:gd name="T61" fmla="*/ 263 h 446"/>
                <a:gd name="T62" fmla="*/ 293 w 647"/>
                <a:gd name="T63" fmla="*/ 255 h 446"/>
                <a:gd name="T64" fmla="*/ 258 w 647"/>
                <a:gd name="T65" fmla="*/ 285 h 446"/>
                <a:gd name="T66" fmla="*/ 275 w 647"/>
                <a:gd name="T67" fmla="*/ 307 h 446"/>
                <a:gd name="T68" fmla="*/ 279 w 647"/>
                <a:gd name="T69" fmla="*/ 341 h 446"/>
                <a:gd name="T70" fmla="*/ 327 w 647"/>
                <a:gd name="T71" fmla="*/ 358 h 446"/>
                <a:gd name="T72" fmla="*/ 333 w 647"/>
                <a:gd name="T73" fmla="*/ 384 h 446"/>
                <a:gd name="T74" fmla="*/ 366 w 647"/>
                <a:gd name="T75" fmla="*/ 408 h 446"/>
                <a:gd name="T76" fmla="*/ 262 w 647"/>
                <a:gd name="T77" fmla="*/ 416 h 446"/>
                <a:gd name="T78" fmla="*/ 396 w 647"/>
                <a:gd name="T79" fmla="*/ 384 h 446"/>
                <a:gd name="T80" fmla="*/ 200 w 647"/>
                <a:gd name="T81" fmla="*/ 112 h 446"/>
                <a:gd name="T82" fmla="*/ 177 w 647"/>
                <a:gd name="T83" fmla="*/ 154 h 446"/>
                <a:gd name="T84" fmla="*/ 245 w 647"/>
                <a:gd name="T85" fmla="*/ 389 h 446"/>
                <a:gd name="T86" fmla="*/ 233 w 647"/>
                <a:gd name="T87" fmla="*/ 418 h 446"/>
                <a:gd name="T88" fmla="*/ 261 w 647"/>
                <a:gd name="T89" fmla="*/ 79 h 446"/>
                <a:gd name="T90" fmla="*/ 179 w 647"/>
                <a:gd name="T91" fmla="*/ 375 h 446"/>
                <a:gd name="T92" fmla="*/ 238 w 647"/>
                <a:gd name="T93" fmla="*/ 321 h 446"/>
                <a:gd name="T94" fmla="*/ 219 w 647"/>
                <a:gd name="T95" fmla="*/ 313 h 446"/>
                <a:gd name="T96" fmla="*/ 147 w 647"/>
                <a:gd name="T97" fmla="*/ 323 h 446"/>
                <a:gd name="T98" fmla="*/ 159 w 647"/>
                <a:gd name="T99" fmla="*/ 332 h 446"/>
                <a:gd name="T100" fmla="*/ 179 w 647"/>
                <a:gd name="T101" fmla="*/ 374 h 446"/>
                <a:gd name="T102" fmla="*/ 77 w 647"/>
                <a:gd name="T103" fmla="*/ 114 h 446"/>
                <a:gd name="T104" fmla="*/ 147 w 647"/>
                <a:gd name="T105" fmla="*/ 323 h 446"/>
                <a:gd name="T106" fmla="*/ 158 w 647"/>
                <a:gd name="T107" fmla="*/ 390 h 446"/>
                <a:gd name="T108" fmla="*/ 164 w 647"/>
                <a:gd name="T109" fmla="*/ 404 h 446"/>
                <a:gd name="T110" fmla="*/ 222 w 647"/>
                <a:gd name="T111" fmla="*/ 390 h 446"/>
                <a:gd name="T112" fmla="*/ 223 w 647"/>
                <a:gd name="T113" fmla="*/ 253 h 446"/>
                <a:gd name="T114" fmla="*/ 210 w 647"/>
                <a:gd name="T115" fmla="*/ 410 h 446"/>
                <a:gd name="T116" fmla="*/ 232 w 647"/>
                <a:gd name="T117" fmla="*/ 265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47" h="446">
                  <a:moveTo>
                    <a:pt x="152" y="397"/>
                  </a:moveTo>
                  <a:cubicBezTo>
                    <a:pt x="153" y="399"/>
                    <a:pt x="153" y="400"/>
                    <a:pt x="152" y="401"/>
                  </a:cubicBezTo>
                  <a:cubicBezTo>
                    <a:pt x="151" y="403"/>
                    <a:pt x="148" y="400"/>
                    <a:pt x="146" y="401"/>
                  </a:cubicBezTo>
                  <a:cubicBezTo>
                    <a:pt x="144" y="404"/>
                    <a:pt x="156" y="411"/>
                    <a:pt x="140" y="406"/>
                  </a:cubicBezTo>
                  <a:cubicBezTo>
                    <a:pt x="138" y="406"/>
                    <a:pt x="139" y="402"/>
                    <a:pt x="138" y="401"/>
                  </a:cubicBezTo>
                  <a:cubicBezTo>
                    <a:pt x="137" y="400"/>
                    <a:pt x="145" y="399"/>
                    <a:pt x="140" y="396"/>
                  </a:cubicBezTo>
                  <a:cubicBezTo>
                    <a:pt x="139" y="396"/>
                    <a:pt x="126" y="406"/>
                    <a:pt x="123" y="411"/>
                  </a:cubicBezTo>
                  <a:cubicBezTo>
                    <a:pt x="106" y="412"/>
                    <a:pt x="85" y="399"/>
                    <a:pt x="67" y="401"/>
                  </a:cubicBezTo>
                  <a:cubicBezTo>
                    <a:pt x="65" y="401"/>
                    <a:pt x="58" y="401"/>
                    <a:pt x="52" y="400"/>
                  </a:cubicBezTo>
                  <a:cubicBezTo>
                    <a:pt x="53" y="387"/>
                    <a:pt x="56" y="371"/>
                    <a:pt x="52" y="371"/>
                  </a:cubicBezTo>
                  <a:cubicBezTo>
                    <a:pt x="48" y="370"/>
                    <a:pt x="46" y="367"/>
                    <a:pt x="44" y="368"/>
                  </a:cubicBezTo>
                  <a:cubicBezTo>
                    <a:pt x="43" y="370"/>
                    <a:pt x="46" y="373"/>
                    <a:pt x="44" y="375"/>
                  </a:cubicBezTo>
                  <a:cubicBezTo>
                    <a:pt x="41" y="377"/>
                    <a:pt x="37" y="380"/>
                    <a:pt x="36" y="374"/>
                  </a:cubicBezTo>
                  <a:cubicBezTo>
                    <a:pt x="36" y="371"/>
                    <a:pt x="35" y="370"/>
                    <a:pt x="36" y="367"/>
                  </a:cubicBezTo>
                  <a:cubicBezTo>
                    <a:pt x="44" y="345"/>
                    <a:pt x="42" y="372"/>
                    <a:pt x="55" y="368"/>
                  </a:cubicBezTo>
                  <a:cubicBezTo>
                    <a:pt x="57" y="368"/>
                    <a:pt x="52" y="331"/>
                    <a:pt x="50" y="328"/>
                  </a:cubicBezTo>
                  <a:cubicBezTo>
                    <a:pt x="47" y="322"/>
                    <a:pt x="35" y="325"/>
                    <a:pt x="30" y="319"/>
                  </a:cubicBezTo>
                  <a:cubicBezTo>
                    <a:pt x="24" y="313"/>
                    <a:pt x="23" y="303"/>
                    <a:pt x="16" y="309"/>
                  </a:cubicBezTo>
                  <a:cubicBezTo>
                    <a:pt x="11" y="313"/>
                    <a:pt x="25" y="318"/>
                    <a:pt x="24" y="322"/>
                  </a:cubicBezTo>
                  <a:cubicBezTo>
                    <a:pt x="23" y="325"/>
                    <a:pt x="15" y="317"/>
                    <a:pt x="14" y="316"/>
                  </a:cubicBezTo>
                  <a:cubicBezTo>
                    <a:pt x="12" y="314"/>
                    <a:pt x="3" y="314"/>
                    <a:pt x="2" y="311"/>
                  </a:cubicBezTo>
                  <a:cubicBezTo>
                    <a:pt x="0" y="304"/>
                    <a:pt x="12" y="290"/>
                    <a:pt x="11" y="281"/>
                  </a:cubicBezTo>
                  <a:cubicBezTo>
                    <a:pt x="10" y="274"/>
                    <a:pt x="8" y="267"/>
                    <a:pt x="8" y="260"/>
                  </a:cubicBezTo>
                  <a:cubicBezTo>
                    <a:pt x="8" y="259"/>
                    <a:pt x="5" y="251"/>
                    <a:pt x="6" y="251"/>
                  </a:cubicBezTo>
                  <a:cubicBezTo>
                    <a:pt x="10" y="250"/>
                    <a:pt x="11" y="275"/>
                    <a:pt x="12" y="275"/>
                  </a:cubicBezTo>
                  <a:cubicBezTo>
                    <a:pt x="38" y="275"/>
                    <a:pt x="27" y="232"/>
                    <a:pt x="7" y="233"/>
                  </a:cubicBezTo>
                  <a:cubicBezTo>
                    <a:pt x="7" y="233"/>
                    <a:pt x="9" y="251"/>
                    <a:pt x="5" y="249"/>
                  </a:cubicBezTo>
                  <a:cubicBezTo>
                    <a:pt x="4" y="249"/>
                    <a:pt x="4" y="246"/>
                    <a:pt x="4" y="245"/>
                  </a:cubicBezTo>
                  <a:cubicBezTo>
                    <a:pt x="2" y="227"/>
                    <a:pt x="2" y="166"/>
                    <a:pt x="13" y="151"/>
                  </a:cubicBezTo>
                  <a:cubicBezTo>
                    <a:pt x="15" y="148"/>
                    <a:pt x="10" y="160"/>
                    <a:pt x="13" y="161"/>
                  </a:cubicBezTo>
                  <a:cubicBezTo>
                    <a:pt x="22" y="164"/>
                    <a:pt x="18" y="169"/>
                    <a:pt x="21" y="172"/>
                  </a:cubicBezTo>
                  <a:cubicBezTo>
                    <a:pt x="22" y="174"/>
                    <a:pt x="25" y="169"/>
                    <a:pt x="27" y="169"/>
                  </a:cubicBezTo>
                  <a:cubicBezTo>
                    <a:pt x="32" y="167"/>
                    <a:pt x="42" y="170"/>
                    <a:pt x="45" y="169"/>
                  </a:cubicBezTo>
                  <a:cubicBezTo>
                    <a:pt x="49" y="169"/>
                    <a:pt x="46" y="184"/>
                    <a:pt x="53" y="183"/>
                  </a:cubicBezTo>
                  <a:cubicBezTo>
                    <a:pt x="73" y="182"/>
                    <a:pt x="54" y="167"/>
                    <a:pt x="55" y="163"/>
                  </a:cubicBezTo>
                  <a:cubicBezTo>
                    <a:pt x="58" y="157"/>
                    <a:pt x="72" y="155"/>
                    <a:pt x="76" y="152"/>
                  </a:cubicBezTo>
                  <a:cubicBezTo>
                    <a:pt x="79" y="151"/>
                    <a:pt x="69" y="150"/>
                    <a:pt x="69" y="150"/>
                  </a:cubicBezTo>
                  <a:cubicBezTo>
                    <a:pt x="70" y="145"/>
                    <a:pt x="76" y="139"/>
                    <a:pt x="79" y="137"/>
                  </a:cubicBezTo>
                  <a:cubicBezTo>
                    <a:pt x="82" y="136"/>
                    <a:pt x="85" y="136"/>
                    <a:pt x="88" y="137"/>
                  </a:cubicBezTo>
                  <a:cubicBezTo>
                    <a:pt x="110" y="147"/>
                    <a:pt x="85" y="154"/>
                    <a:pt x="88" y="166"/>
                  </a:cubicBezTo>
                  <a:cubicBezTo>
                    <a:pt x="88" y="167"/>
                    <a:pt x="88" y="170"/>
                    <a:pt x="89" y="171"/>
                  </a:cubicBezTo>
                  <a:cubicBezTo>
                    <a:pt x="94" y="174"/>
                    <a:pt x="92" y="159"/>
                    <a:pt x="97" y="158"/>
                  </a:cubicBezTo>
                  <a:cubicBezTo>
                    <a:pt x="110" y="156"/>
                    <a:pt x="105" y="176"/>
                    <a:pt x="112" y="176"/>
                  </a:cubicBezTo>
                  <a:cubicBezTo>
                    <a:pt x="113" y="176"/>
                    <a:pt x="113" y="174"/>
                    <a:pt x="114" y="173"/>
                  </a:cubicBezTo>
                  <a:cubicBezTo>
                    <a:pt x="115" y="173"/>
                    <a:pt x="120" y="172"/>
                    <a:pt x="117" y="170"/>
                  </a:cubicBezTo>
                  <a:cubicBezTo>
                    <a:pt x="99" y="160"/>
                    <a:pt x="122" y="163"/>
                    <a:pt x="111" y="152"/>
                  </a:cubicBezTo>
                  <a:cubicBezTo>
                    <a:pt x="108" y="149"/>
                    <a:pt x="100" y="158"/>
                    <a:pt x="99" y="155"/>
                  </a:cubicBezTo>
                  <a:cubicBezTo>
                    <a:pt x="97" y="153"/>
                    <a:pt x="106" y="149"/>
                    <a:pt x="105" y="146"/>
                  </a:cubicBezTo>
                  <a:cubicBezTo>
                    <a:pt x="105" y="142"/>
                    <a:pt x="98" y="130"/>
                    <a:pt x="98" y="125"/>
                  </a:cubicBezTo>
                  <a:cubicBezTo>
                    <a:pt x="103" y="98"/>
                    <a:pt x="132" y="115"/>
                    <a:pt x="138" y="114"/>
                  </a:cubicBezTo>
                  <a:cubicBezTo>
                    <a:pt x="142" y="114"/>
                    <a:pt x="143" y="106"/>
                    <a:pt x="145" y="105"/>
                  </a:cubicBezTo>
                  <a:cubicBezTo>
                    <a:pt x="151" y="101"/>
                    <a:pt x="170" y="107"/>
                    <a:pt x="165" y="102"/>
                  </a:cubicBezTo>
                  <a:cubicBezTo>
                    <a:pt x="154" y="90"/>
                    <a:pt x="123" y="107"/>
                    <a:pt x="107" y="111"/>
                  </a:cubicBezTo>
                  <a:cubicBezTo>
                    <a:pt x="103" y="112"/>
                    <a:pt x="98" y="105"/>
                    <a:pt x="94" y="103"/>
                  </a:cubicBezTo>
                  <a:cubicBezTo>
                    <a:pt x="90" y="101"/>
                    <a:pt x="45" y="125"/>
                    <a:pt x="38" y="140"/>
                  </a:cubicBezTo>
                  <a:cubicBezTo>
                    <a:pt x="35" y="145"/>
                    <a:pt x="42" y="152"/>
                    <a:pt x="41" y="153"/>
                  </a:cubicBezTo>
                  <a:cubicBezTo>
                    <a:pt x="41" y="153"/>
                    <a:pt x="30" y="154"/>
                    <a:pt x="31" y="154"/>
                  </a:cubicBezTo>
                  <a:cubicBezTo>
                    <a:pt x="33" y="158"/>
                    <a:pt x="36" y="152"/>
                    <a:pt x="38" y="156"/>
                  </a:cubicBezTo>
                  <a:cubicBezTo>
                    <a:pt x="39" y="157"/>
                    <a:pt x="42" y="156"/>
                    <a:pt x="43" y="155"/>
                  </a:cubicBezTo>
                  <a:cubicBezTo>
                    <a:pt x="45" y="153"/>
                    <a:pt x="49" y="152"/>
                    <a:pt x="47" y="156"/>
                  </a:cubicBezTo>
                  <a:cubicBezTo>
                    <a:pt x="46" y="159"/>
                    <a:pt x="49" y="159"/>
                    <a:pt x="49" y="162"/>
                  </a:cubicBezTo>
                  <a:cubicBezTo>
                    <a:pt x="49" y="164"/>
                    <a:pt x="46" y="168"/>
                    <a:pt x="43" y="168"/>
                  </a:cubicBezTo>
                  <a:cubicBezTo>
                    <a:pt x="36" y="168"/>
                    <a:pt x="22" y="140"/>
                    <a:pt x="17" y="141"/>
                  </a:cubicBezTo>
                  <a:cubicBezTo>
                    <a:pt x="15" y="142"/>
                    <a:pt x="20" y="153"/>
                    <a:pt x="17" y="152"/>
                  </a:cubicBezTo>
                  <a:cubicBezTo>
                    <a:pt x="4" y="148"/>
                    <a:pt x="39" y="101"/>
                    <a:pt x="48" y="94"/>
                  </a:cubicBezTo>
                  <a:cubicBezTo>
                    <a:pt x="56" y="88"/>
                    <a:pt x="105" y="95"/>
                    <a:pt x="118" y="89"/>
                  </a:cubicBezTo>
                  <a:cubicBezTo>
                    <a:pt x="143" y="78"/>
                    <a:pt x="151" y="47"/>
                    <a:pt x="168" y="29"/>
                  </a:cubicBezTo>
                  <a:cubicBezTo>
                    <a:pt x="173" y="24"/>
                    <a:pt x="191" y="28"/>
                    <a:pt x="199" y="23"/>
                  </a:cubicBezTo>
                  <a:cubicBezTo>
                    <a:pt x="205" y="19"/>
                    <a:pt x="222" y="0"/>
                    <a:pt x="230" y="7"/>
                  </a:cubicBezTo>
                  <a:cubicBezTo>
                    <a:pt x="230" y="7"/>
                    <a:pt x="224" y="11"/>
                    <a:pt x="223" y="11"/>
                  </a:cubicBezTo>
                  <a:cubicBezTo>
                    <a:pt x="218" y="15"/>
                    <a:pt x="210" y="24"/>
                    <a:pt x="211" y="31"/>
                  </a:cubicBezTo>
                  <a:cubicBezTo>
                    <a:pt x="212" y="38"/>
                    <a:pt x="222" y="43"/>
                    <a:pt x="221" y="50"/>
                  </a:cubicBezTo>
                  <a:cubicBezTo>
                    <a:pt x="221" y="56"/>
                    <a:pt x="223" y="72"/>
                    <a:pt x="221" y="78"/>
                  </a:cubicBezTo>
                  <a:cubicBezTo>
                    <a:pt x="220" y="82"/>
                    <a:pt x="212" y="85"/>
                    <a:pt x="210" y="90"/>
                  </a:cubicBezTo>
                  <a:cubicBezTo>
                    <a:pt x="209" y="94"/>
                    <a:pt x="206" y="110"/>
                    <a:pt x="203" y="111"/>
                  </a:cubicBezTo>
                  <a:cubicBezTo>
                    <a:pt x="202" y="112"/>
                    <a:pt x="201" y="112"/>
                    <a:pt x="200" y="112"/>
                  </a:cubicBezTo>
                  <a:cubicBezTo>
                    <a:pt x="198" y="111"/>
                    <a:pt x="193" y="109"/>
                    <a:pt x="186" y="106"/>
                  </a:cubicBezTo>
                  <a:cubicBezTo>
                    <a:pt x="182" y="102"/>
                    <a:pt x="178" y="98"/>
                    <a:pt x="173" y="98"/>
                  </a:cubicBezTo>
                  <a:cubicBezTo>
                    <a:pt x="160" y="97"/>
                    <a:pt x="174" y="102"/>
                    <a:pt x="186" y="106"/>
                  </a:cubicBezTo>
                  <a:cubicBezTo>
                    <a:pt x="190" y="110"/>
                    <a:pt x="194" y="113"/>
                    <a:pt x="200" y="112"/>
                  </a:cubicBezTo>
                  <a:cubicBezTo>
                    <a:pt x="200" y="112"/>
                    <a:pt x="200" y="112"/>
                    <a:pt x="200" y="112"/>
                  </a:cubicBezTo>
                  <a:cubicBezTo>
                    <a:pt x="204" y="116"/>
                    <a:pt x="197" y="124"/>
                    <a:pt x="197" y="129"/>
                  </a:cubicBezTo>
                  <a:cubicBezTo>
                    <a:pt x="198" y="136"/>
                    <a:pt x="207" y="144"/>
                    <a:pt x="203" y="150"/>
                  </a:cubicBezTo>
                  <a:cubicBezTo>
                    <a:pt x="203" y="150"/>
                    <a:pt x="201" y="151"/>
                    <a:pt x="198" y="151"/>
                  </a:cubicBezTo>
                  <a:cubicBezTo>
                    <a:pt x="191" y="151"/>
                    <a:pt x="183" y="152"/>
                    <a:pt x="177" y="154"/>
                  </a:cubicBezTo>
                  <a:cubicBezTo>
                    <a:pt x="167" y="156"/>
                    <a:pt x="156" y="158"/>
                    <a:pt x="156" y="160"/>
                  </a:cubicBezTo>
                  <a:cubicBezTo>
                    <a:pt x="155" y="160"/>
                    <a:pt x="171" y="160"/>
                    <a:pt x="174" y="157"/>
                  </a:cubicBezTo>
                  <a:cubicBezTo>
                    <a:pt x="174" y="156"/>
                    <a:pt x="176" y="155"/>
                    <a:pt x="177" y="154"/>
                  </a:cubicBezTo>
                  <a:cubicBezTo>
                    <a:pt x="185" y="153"/>
                    <a:pt x="193" y="152"/>
                    <a:pt x="198" y="151"/>
                  </a:cubicBezTo>
                  <a:cubicBezTo>
                    <a:pt x="200" y="152"/>
                    <a:pt x="202" y="152"/>
                    <a:pt x="203" y="153"/>
                  </a:cubicBezTo>
                  <a:cubicBezTo>
                    <a:pt x="215" y="158"/>
                    <a:pt x="181" y="178"/>
                    <a:pt x="189" y="185"/>
                  </a:cubicBezTo>
                  <a:cubicBezTo>
                    <a:pt x="192" y="187"/>
                    <a:pt x="194" y="166"/>
                    <a:pt x="202" y="166"/>
                  </a:cubicBezTo>
                  <a:cubicBezTo>
                    <a:pt x="202" y="166"/>
                    <a:pt x="204" y="166"/>
                    <a:pt x="204" y="167"/>
                  </a:cubicBezTo>
                  <a:cubicBezTo>
                    <a:pt x="217" y="187"/>
                    <a:pt x="239" y="169"/>
                    <a:pt x="256" y="185"/>
                  </a:cubicBezTo>
                  <a:cubicBezTo>
                    <a:pt x="257" y="186"/>
                    <a:pt x="259" y="187"/>
                    <a:pt x="259" y="188"/>
                  </a:cubicBezTo>
                  <a:cubicBezTo>
                    <a:pt x="257" y="201"/>
                    <a:pt x="232" y="240"/>
                    <a:pt x="235" y="220"/>
                  </a:cubicBezTo>
                  <a:cubicBezTo>
                    <a:pt x="235" y="218"/>
                    <a:pt x="232" y="217"/>
                    <a:pt x="230" y="217"/>
                  </a:cubicBezTo>
                  <a:cubicBezTo>
                    <a:pt x="218" y="218"/>
                    <a:pt x="227" y="237"/>
                    <a:pt x="220" y="235"/>
                  </a:cubicBezTo>
                  <a:cubicBezTo>
                    <a:pt x="217" y="235"/>
                    <a:pt x="217" y="230"/>
                    <a:pt x="219" y="229"/>
                  </a:cubicBezTo>
                  <a:cubicBezTo>
                    <a:pt x="222" y="227"/>
                    <a:pt x="204" y="226"/>
                    <a:pt x="204" y="222"/>
                  </a:cubicBezTo>
                  <a:cubicBezTo>
                    <a:pt x="204" y="218"/>
                    <a:pt x="215" y="224"/>
                    <a:pt x="216" y="220"/>
                  </a:cubicBezTo>
                  <a:cubicBezTo>
                    <a:pt x="217" y="218"/>
                    <a:pt x="218" y="205"/>
                    <a:pt x="209" y="209"/>
                  </a:cubicBezTo>
                  <a:cubicBezTo>
                    <a:pt x="182" y="217"/>
                    <a:pt x="202" y="257"/>
                    <a:pt x="190" y="273"/>
                  </a:cubicBezTo>
                  <a:cubicBezTo>
                    <a:pt x="189" y="273"/>
                    <a:pt x="189" y="273"/>
                    <a:pt x="188" y="273"/>
                  </a:cubicBezTo>
                  <a:cubicBezTo>
                    <a:pt x="185" y="271"/>
                    <a:pt x="164" y="259"/>
                    <a:pt x="161" y="270"/>
                  </a:cubicBezTo>
                  <a:cubicBezTo>
                    <a:pt x="160" y="272"/>
                    <a:pt x="167" y="273"/>
                    <a:pt x="168" y="273"/>
                  </a:cubicBezTo>
                  <a:cubicBezTo>
                    <a:pt x="181" y="275"/>
                    <a:pt x="175" y="282"/>
                    <a:pt x="173" y="287"/>
                  </a:cubicBezTo>
                  <a:cubicBezTo>
                    <a:pt x="172" y="288"/>
                    <a:pt x="175" y="289"/>
                    <a:pt x="174" y="290"/>
                  </a:cubicBezTo>
                  <a:cubicBezTo>
                    <a:pt x="164" y="299"/>
                    <a:pt x="148" y="287"/>
                    <a:pt x="139" y="289"/>
                  </a:cubicBezTo>
                  <a:cubicBezTo>
                    <a:pt x="138" y="289"/>
                    <a:pt x="133" y="289"/>
                    <a:pt x="133" y="289"/>
                  </a:cubicBezTo>
                  <a:cubicBezTo>
                    <a:pt x="132" y="292"/>
                    <a:pt x="140" y="291"/>
                    <a:pt x="141" y="291"/>
                  </a:cubicBezTo>
                  <a:cubicBezTo>
                    <a:pt x="145" y="293"/>
                    <a:pt x="147" y="300"/>
                    <a:pt x="150" y="301"/>
                  </a:cubicBezTo>
                  <a:cubicBezTo>
                    <a:pt x="152" y="302"/>
                    <a:pt x="159" y="299"/>
                    <a:pt x="160" y="301"/>
                  </a:cubicBezTo>
                  <a:cubicBezTo>
                    <a:pt x="162" y="309"/>
                    <a:pt x="128" y="317"/>
                    <a:pt x="128" y="320"/>
                  </a:cubicBezTo>
                  <a:cubicBezTo>
                    <a:pt x="128" y="321"/>
                    <a:pt x="137" y="319"/>
                    <a:pt x="138" y="319"/>
                  </a:cubicBezTo>
                  <a:cubicBezTo>
                    <a:pt x="147" y="320"/>
                    <a:pt x="135" y="331"/>
                    <a:pt x="137" y="336"/>
                  </a:cubicBezTo>
                  <a:cubicBezTo>
                    <a:pt x="138" y="340"/>
                    <a:pt x="148" y="349"/>
                    <a:pt x="147" y="353"/>
                  </a:cubicBezTo>
                  <a:cubicBezTo>
                    <a:pt x="147" y="354"/>
                    <a:pt x="146" y="354"/>
                    <a:pt x="145" y="355"/>
                  </a:cubicBezTo>
                  <a:cubicBezTo>
                    <a:pt x="143" y="359"/>
                    <a:pt x="121" y="370"/>
                    <a:pt x="126" y="370"/>
                  </a:cubicBezTo>
                  <a:cubicBezTo>
                    <a:pt x="127" y="371"/>
                    <a:pt x="135" y="373"/>
                    <a:pt x="133" y="376"/>
                  </a:cubicBezTo>
                  <a:cubicBezTo>
                    <a:pt x="131" y="378"/>
                    <a:pt x="122" y="380"/>
                    <a:pt x="122" y="382"/>
                  </a:cubicBezTo>
                  <a:cubicBezTo>
                    <a:pt x="123" y="385"/>
                    <a:pt x="135" y="380"/>
                    <a:pt x="136" y="380"/>
                  </a:cubicBezTo>
                  <a:cubicBezTo>
                    <a:pt x="141" y="380"/>
                    <a:pt x="147" y="387"/>
                    <a:pt x="151" y="393"/>
                  </a:cubicBezTo>
                  <a:cubicBezTo>
                    <a:pt x="150" y="393"/>
                    <a:pt x="150" y="395"/>
                    <a:pt x="152" y="397"/>
                  </a:cubicBezTo>
                  <a:close/>
                  <a:moveTo>
                    <a:pt x="366" y="408"/>
                  </a:moveTo>
                  <a:cubicBezTo>
                    <a:pt x="366" y="407"/>
                    <a:pt x="364" y="406"/>
                    <a:pt x="364" y="405"/>
                  </a:cubicBezTo>
                  <a:cubicBezTo>
                    <a:pt x="358" y="398"/>
                    <a:pt x="338" y="396"/>
                    <a:pt x="341" y="392"/>
                  </a:cubicBezTo>
                  <a:cubicBezTo>
                    <a:pt x="343" y="390"/>
                    <a:pt x="341" y="389"/>
                    <a:pt x="342" y="387"/>
                  </a:cubicBezTo>
                  <a:cubicBezTo>
                    <a:pt x="345" y="383"/>
                    <a:pt x="347" y="389"/>
                    <a:pt x="351" y="390"/>
                  </a:cubicBezTo>
                  <a:cubicBezTo>
                    <a:pt x="351" y="390"/>
                    <a:pt x="351" y="390"/>
                    <a:pt x="351" y="390"/>
                  </a:cubicBezTo>
                  <a:cubicBezTo>
                    <a:pt x="364" y="393"/>
                    <a:pt x="368" y="374"/>
                    <a:pt x="367" y="370"/>
                  </a:cubicBezTo>
                  <a:cubicBezTo>
                    <a:pt x="367" y="368"/>
                    <a:pt x="350" y="368"/>
                    <a:pt x="352" y="364"/>
                  </a:cubicBezTo>
                  <a:cubicBezTo>
                    <a:pt x="357" y="357"/>
                    <a:pt x="361" y="365"/>
                    <a:pt x="361" y="365"/>
                  </a:cubicBezTo>
                  <a:cubicBezTo>
                    <a:pt x="364" y="364"/>
                    <a:pt x="363" y="357"/>
                    <a:pt x="369" y="355"/>
                  </a:cubicBezTo>
                  <a:cubicBezTo>
                    <a:pt x="374" y="353"/>
                    <a:pt x="391" y="355"/>
                    <a:pt x="392" y="347"/>
                  </a:cubicBezTo>
                  <a:cubicBezTo>
                    <a:pt x="394" y="329"/>
                    <a:pt x="367" y="335"/>
                    <a:pt x="368" y="321"/>
                  </a:cubicBezTo>
                  <a:cubicBezTo>
                    <a:pt x="369" y="304"/>
                    <a:pt x="392" y="308"/>
                    <a:pt x="395" y="303"/>
                  </a:cubicBezTo>
                  <a:cubicBezTo>
                    <a:pt x="410" y="282"/>
                    <a:pt x="393" y="266"/>
                    <a:pt x="405" y="246"/>
                  </a:cubicBezTo>
                  <a:cubicBezTo>
                    <a:pt x="405" y="245"/>
                    <a:pt x="407" y="244"/>
                    <a:pt x="406" y="243"/>
                  </a:cubicBezTo>
                  <a:cubicBezTo>
                    <a:pt x="403" y="237"/>
                    <a:pt x="384" y="232"/>
                    <a:pt x="378" y="231"/>
                  </a:cubicBezTo>
                  <a:cubicBezTo>
                    <a:pt x="370" y="230"/>
                    <a:pt x="337" y="250"/>
                    <a:pt x="337" y="255"/>
                  </a:cubicBezTo>
                  <a:cubicBezTo>
                    <a:pt x="337" y="262"/>
                    <a:pt x="351" y="252"/>
                    <a:pt x="352" y="255"/>
                  </a:cubicBezTo>
                  <a:cubicBezTo>
                    <a:pt x="355" y="260"/>
                    <a:pt x="364" y="293"/>
                    <a:pt x="356" y="297"/>
                  </a:cubicBezTo>
                  <a:cubicBezTo>
                    <a:pt x="351" y="299"/>
                    <a:pt x="355" y="293"/>
                    <a:pt x="352" y="292"/>
                  </a:cubicBezTo>
                  <a:cubicBezTo>
                    <a:pt x="352" y="292"/>
                    <a:pt x="345" y="298"/>
                    <a:pt x="344" y="297"/>
                  </a:cubicBezTo>
                  <a:cubicBezTo>
                    <a:pt x="343" y="295"/>
                    <a:pt x="345" y="293"/>
                    <a:pt x="346" y="292"/>
                  </a:cubicBezTo>
                  <a:cubicBezTo>
                    <a:pt x="354" y="285"/>
                    <a:pt x="358" y="262"/>
                    <a:pt x="343" y="260"/>
                  </a:cubicBezTo>
                  <a:cubicBezTo>
                    <a:pt x="341" y="260"/>
                    <a:pt x="344" y="264"/>
                    <a:pt x="345" y="266"/>
                  </a:cubicBezTo>
                  <a:cubicBezTo>
                    <a:pt x="345" y="267"/>
                    <a:pt x="336" y="296"/>
                    <a:pt x="332" y="296"/>
                  </a:cubicBezTo>
                  <a:cubicBezTo>
                    <a:pt x="329" y="296"/>
                    <a:pt x="330" y="286"/>
                    <a:pt x="327" y="287"/>
                  </a:cubicBezTo>
                  <a:cubicBezTo>
                    <a:pt x="310" y="295"/>
                    <a:pt x="338" y="275"/>
                    <a:pt x="326" y="277"/>
                  </a:cubicBezTo>
                  <a:cubicBezTo>
                    <a:pt x="320" y="279"/>
                    <a:pt x="312" y="279"/>
                    <a:pt x="322" y="274"/>
                  </a:cubicBezTo>
                  <a:cubicBezTo>
                    <a:pt x="323" y="273"/>
                    <a:pt x="325" y="275"/>
                    <a:pt x="327" y="273"/>
                  </a:cubicBezTo>
                  <a:cubicBezTo>
                    <a:pt x="330" y="269"/>
                    <a:pt x="319" y="266"/>
                    <a:pt x="322" y="262"/>
                  </a:cubicBezTo>
                  <a:cubicBezTo>
                    <a:pt x="324" y="259"/>
                    <a:pt x="326" y="262"/>
                    <a:pt x="326" y="263"/>
                  </a:cubicBezTo>
                  <a:cubicBezTo>
                    <a:pt x="329" y="265"/>
                    <a:pt x="328" y="261"/>
                    <a:pt x="328" y="260"/>
                  </a:cubicBezTo>
                  <a:cubicBezTo>
                    <a:pt x="328" y="257"/>
                    <a:pt x="332" y="257"/>
                    <a:pt x="332" y="255"/>
                  </a:cubicBezTo>
                  <a:cubicBezTo>
                    <a:pt x="332" y="253"/>
                    <a:pt x="317" y="258"/>
                    <a:pt x="315" y="257"/>
                  </a:cubicBezTo>
                  <a:cubicBezTo>
                    <a:pt x="310" y="256"/>
                    <a:pt x="292" y="249"/>
                    <a:pt x="286" y="250"/>
                  </a:cubicBezTo>
                  <a:cubicBezTo>
                    <a:pt x="284" y="250"/>
                    <a:pt x="293" y="255"/>
                    <a:pt x="293" y="255"/>
                  </a:cubicBezTo>
                  <a:cubicBezTo>
                    <a:pt x="299" y="259"/>
                    <a:pt x="315" y="258"/>
                    <a:pt x="305" y="271"/>
                  </a:cubicBezTo>
                  <a:cubicBezTo>
                    <a:pt x="295" y="283"/>
                    <a:pt x="302" y="261"/>
                    <a:pt x="295" y="281"/>
                  </a:cubicBezTo>
                  <a:cubicBezTo>
                    <a:pt x="292" y="288"/>
                    <a:pt x="269" y="294"/>
                    <a:pt x="277" y="285"/>
                  </a:cubicBezTo>
                  <a:cubicBezTo>
                    <a:pt x="277" y="284"/>
                    <a:pt x="272" y="284"/>
                    <a:pt x="271" y="284"/>
                  </a:cubicBezTo>
                  <a:cubicBezTo>
                    <a:pt x="266" y="287"/>
                    <a:pt x="263" y="286"/>
                    <a:pt x="258" y="285"/>
                  </a:cubicBezTo>
                  <a:cubicBezTo>
                    <a:pt x="257" y="285"/>
                    <a:pt x="250" y="284"/>
                    <a:pt x="251" y="286"/>
                  </a:cubicBezTo>
                  <a:cubicBezTo>
                    <a:pt x="252" y="292"/>
                    <a:pt x="262" y="292"/>
                    <a:pt x="268" y="294"/>
                  </a:cubicBezTo>
                  <a:cubicBezTo>
                    <a:pt x="272" y="295"/>
                    <a:pt x="259" y="293"/>
                    <a:pt x="255" y="295"/>
                  </a:cubicBezTo>
                  <a:cubicBezTo>
                    <a:pt x="254" y="296"/>
                    <a:pt x="261" y="297"/>
                    <a:pt x="262" y="297"/>
                  </a:cubicBezTo>
                  <a:cubicBezTo>
                    <a:pt x="268" y="298"/>
                    <a:pt x="272" y="301"/>
                    <a:pt x="275" y="307"/>
                  </a:cubicBezTo>
                  <a:cubicBezTo>
                    <a:pt x="278" y="314"/>
                    <a:pt x="268" y="311"/>
                    <a:pt x="269" y="316"/>
                  </a:cubicBezTo>
                  <a:cubicBezTo>
                    <a:pt x="269" y="318"/>
                    <a:pt x="274" y="316"/>
                    <a:pt x="275" y="317"/>
                  </a:cubicBezTo>
                  <a:cubicBezTo>
                    <a:pt x="278" y="320"/>
                    <a:pt x="283" y="328"/>
                    <a:pt x="281" y="333"/>
                  </a:cubicBezTo>
                  <a:cubicBezTo>
                    <a:pt x="279" y="337"/>
                    <a:pt x="266" y="334"/>
                    <a:pt x="271" y="341"/>
                  </a:cubicBezTo>
                  <a:cubicBezTo>
                    <a:pt x="274" y="344"/>
                    <a:pt x="275" y="337"/>
                    <a:pt x="279" y="341"/>
                  </a:cubicBezTo>
                  <a:cubicBezTo>
                    <a:pt x="282" y="344"/>
                    <a:pt x="284" y="348"/>
                    <a:pt x="287" y="352"/>
                  </a:cubicBezTo>
                  <a:cubicBezTo>
                    <a:pt x="289" y="354"/>
                    <a:pt x="280" y="354"/>
                    <a:pt x="284" y="359"/>
                  </a:cubicBezTo>
                  <a:cubicBezTo>
                    <a:pt x="285" y="360"/>
                    <a:pt x="293" y="361"/>
                    <a:pt x="289" y="359"/>
                  </a:cubicBezTo>
                  <a:cubicBezTo>
                    <a:pt x="285" y="357"/>
                    <a:pt x="301" y="355"/>
                    <a:pt x="305" y="358"/>
                  </a:cubicBezTo>
                  <a:cubicBezTo>
                    <a:pt x="313" y="364"/>
                    <a:pt x="323" y="356"/>
                    <a:pt x="327" y="358"/>
                  </a:cubicBezTo>
                  <a:cubicBezTo>
                    <a:pt x="330" y="360"/>
                    <a:pt x="324" y="364"/>
                    <a:pt x="326" y="365"/>
                  </a:cubicBezTo>
                  <a:cubicBezTo>
                    <a:pt x="327" y="366"/>
                    <a:pt x="342" y="370"/>
                    <a:pt x="329" y="370"/>
                  </a:cubicBezTo>
                  <a:cubicBezTo>
                    <a:pt x="320" y="369"/>
                    <a:pt x="337" y="377"/>
                    <a:pt x="336" y="380"/>
                  </a:cubicBezTo>
                  <a:cubicBezTo>
                    <a:pt x="335" y="381"/>
                    <a:pt x="319" y="373"/>
                    <a:pt x="317" y="375"/>
                  </a:cubicBezTo>
                  <a:cubicBezTo>
                    <a:pt x="312" y="380"/>
                    <a:pt x="327" y="380"/>
                    <a:pt x="333" y="384"/>
                  </a:cubicBezTo>
                  <a:cubicBezTo>
                    <a:pt x="348" y="393"/>
                    <a:pt x="327" y="391"/>
                    <a:pt x="327" y="393"/>
                  </a:cubicBezTo>
                  <a:cubicBezTo>
                    <a:pt x="329" y="411"/>
                    <a:pt x="348" y="422"/>
                    <a:pt x="344" y="442"/>
                  </a:cubicBezTo>
                  <a:cubicBezTo>
                    <a:pt x="343" y="444"/>
                    <a:pt x="347" y="446"/>
                    <a:pt x="348" y="446"/>
                  </a:cubicBezTo>
                  <a:cubicBezTo>
                    <a:pt x="349" y="446"/>
                    <a:pt x="347" y="430"/>
                    <a:pt x="348" y="427"/>
                  </a:cubicBezTo>
                  <a:cubicBezTo>
                    <a:pt x="350" y="423"/>
                    <a:pt x="366" y="411"/>
                    <a:pt x="366" y="408"/>
                  </a:cubicBezTo>
                  <a:close/>
                  <a:moveTo>
                    <a:pt x="320" y="399"/>
                  </a:moveTo>
                  <a:cubicBezTo>
                    <a:pt x="315" y="398"/>
                    <a:pt x="319" y="415"/>
                    <a:pt x="314" y="412"/>
                  </a:cubicBezTo>
                  <a:cubicBezTo>
                    <a:pt x="302" y="407"/>
                    <a:pt x="278" y="381"/>
                    <a:pt x="266" y="397"/>
                  </a:cubicBezTo>
                  <a:cubicBezTo>
                    <a:pt x="262" y="402"/>
                    <a:pt x="265" y="403"/>
                    <a:pt x="267" y="407"/>
                  </a:cubicBezTo>
                  <a:cubicBezTo>
                    <a:pt x="272" y="415"/>
                    <a:pt x="260" y="414"/>
                    <a:pt x="262" y="416"/>
                  </a:cubicBezTo>
                  <a:cubicBezTo>
                    <a:pt x="262" y="416"/>
                    <a:pt x="262" y="416"/>
                    <a:pt x="262" y="416"/>
                  </a:cubicBezTo>
                  <a:cubicBezTo>
                    <a:pt x="273" y="430"/>
                    <a:pt x="335" y="445"/>
                    <a:pt x="338" y="429"/>
                  </a:cubicBezTo>
                  <a:cubicBezTo>
                    <a:pt x="339" y="426"/>
                    <a:pt x="327" y="400"/>
                    <a:pt x="320" y="399"/>
                  </a:cubicBezTo>
                  <a:close/>
                  <a:moveTo>
                    <a:pt x="399" y="386"/>
                  </a:moveTo>
                  <a:cubicBezTo>
                    <a:pt x="398" y="385"/>
                    <a:pt x="397" y="385"/>
                    <a:pt x="396" y="384"/>
                  </a:cubicBezTo>
                  <a:cubicBezTo>
                    <a:pt x="362" y="372"/>
                    <a:pt x="384" y="392"/>
                    <a:pt x="368" y="388"/>
                  </a:cubicBezTo>
                  <a:cubicBezTo>
                    <a:pt x="367" y="388"/>
                    <a:pt x="364" y="392"/>
                    <a:pt x="364" y="395"/>
                  </a:cubicBezTo>
                  <a:cubicBezTo>
                    <a:pt x="364" y="395"/>
                    <a:pt x="361" y="398"/>
                    <a:pt x="361" y="399"/>
                  </a:cubicBezTo>
                  <a:cubicBezTo>
                    <a:pt x="363" y="402"/>
                    <a:pt x="400" y="392"/>
                    <a:pt x="399" y="386"/>
                  </a:cubicBezTo>
                  <a:close/>
                  <a:moveTo>
                    <a:pt x="200" y="112"/>
                  </a:moveTo>
                  <a:cubicBezTo>
                    <a:pt x="198" y="111"/>
                    <a:pt x="193" y="109"/>
                    <a:pt x="186" y="106"/>
                  </a:cubicBezTo>
                  <a:cubicBezTo>
                    <a:pt x="190" y="110"/>
                    <a:pt x="194" y="113"/>
                    <a:pt x="200" y="112"/>
                  </a:cubicBezTo>
                  <a:close/>
                  <a:moveTo>
                    <a:pt x="177" y="154"/>
                  </a:moveTo>
                  <a:cubicBezTo>
                    <a:pt x="185" y="153"/>
                    <a:pt x="193" y="152"/>
                    <a:pt x="198" y="151"/>
                  </a:cubicBezTo>
                  <a:cubicBezTo>
                    <a:pt x="191" y="151"/>
                    <a:pt x="183" y="152"/>
                    <a:pt x="177" y="154"/>
                  </a:cubicBezTo>
                  <a:close/>
                  <a:moveTo>
                    <a:pt x="408" y="293"/>
                  </a:moveTo>
                  <a:cubicBezTo>
                    <a:pt x="408" y="290"/>
                    <a:pt x="391" y="308"/>
                    <a:pt x="404" y="311"/>
                  </a:cubicBezTo>
                  <a:cubicBezTo>
                    <a:pt x="415" y="313"/>
                    <a:pt x="413" y="298"/>
                    <a:pt x="408" y="293"/>
                  </a:cubicBezTo>
                  <a:close/>
                  <a:moveTo>
                    <a:pt x="233" y="418"/>
                  </a:moveTo>
                  <a:cubicBezTo>
                    <a:pt x="237" y="408"/>
                    <a:pt x="239" y="398"/>
                    <a:pt x="245" y="389"/>
                  </a:cubicBezTo>
                  <a:cubicBezTo>
                    <a:pt x="245" y="389"/>
                    <a:pt x="245" y="389"/>
                    <a:pt x="245" y="389"/>
                  </a:cubicBezTo>
                  <a:cubicBezTo>
                    <a:pt x="262" y="351"/>
                    <a:pt x="234" y="384"/>
                    <a:pt x="227" y="400"/>
                  </a:cubicBezTo>
                  <a:cubicBezTo>
                    <a:pt x="226" y="402"/>
                    <a:pt x="226" y="405"/>
                    <a:pt x="225" y="407"/>
                  </a:cubicBezTo>
                  <a:cubicBezTo>
                    <a:pt x="225" y="410"/>
                    <a:pt x="218" y="411"/>
                    <a:pt x="220" y="413"/>
                  </a:cubicBezTo>
                  <a:cubicBezTo>
                    <a:pt x="228" y="417"/>
                    <a:pt x="227" y="435"/>
                    <a:pt x="233" y="418"/>
                  </a:cubicBezTo>
                  <a:close/>
                  <a:moveTo>
                    <a:pt x="625" y="386"/>
                  </a:moveTo>
                  <a:cubicBezTo>
                    <a:pt x="625" y="386"/>
                    <a:pt x="625" y="386"/>
                    <a:pt x="625" y="386"/>
                  </a:cubicBezTo>
                  <a:cubicBezTo>
                    <a:pt x="647" y="377"/>
                    <a:pt x="604" y="343"/>
                    <a:pt x="598" y="344"/>
                  </a:cubicBezTo>
                  <a:cubicBezTo>
                    <a:pt x="578" y="348"/>
                    <a:pt x="600" y="397"/>
                    <a:pt x="625" y="386"/>
                  </a:cubicBezTo>
                  <a:close/>
                  <a:moveTo>
                    <a:pt x="261" y="79"/>
                  </a:moveTo>
                  <a:cubicBezTo>
                    <a:pt x="275" y="77"/>
                    <a:pt x="284" y="50"/>
                    <a:pt x="262" y="67"/>
                  </a:cubicBezTo>
                  <a:cubicBezTo>
                    <a:pt x="262" y="67"/>
                    <a:pt x="262" y="67"/>
                    <a:pt x="262" y="67"/>
                  </a:cubicBezTo>
                  <a:cubicBezTo>
                    <a:pt x="246" y="68"/>
                    <a:pt x="250" y="81"/>
                    <a:pt x="261" y="79"/>
                  </a:cubicBezTo>
                  <a:close/>
                  <a:moveTo>
                    <a:pt x="179" y="374"/>
                  </a:moveTo>
                  <a:cubicBezTo>
                    <a:pt x="179" y="374"/>
                    <a:pt x="179" y="374"/>
                    <a:pt x="179" y="375"/>
                  </a:cubicBezTo>
                  <a:cubicBezTo>
                    <a:pt x="180" y="376"/>
                    <a:pt x="183" y="374"/>
                    <a:pt x="185" y="374"/>
                  </a:cubicBezTo>
                  <a:cubicBezTo>
                    <a:pt x="189" y="375"/>
                    <a:pt x="229" y="390"/>
                    <a:pt x="239" y="377"/>
                  </a:cubicBezTo>
                  <a:cubicBezTo>
                    <a:pt x="252" y="360"/>
                    <a:pt x="245" y="340"/>
                    <a:pt x="236" y="328"/>
                  </a:cubicBezTo>
                  <a:cubicBezTo>
                    <a:pt x="231" y="321"/>
                    <a:pt x="225" y="328"/>
                    <a:pt x="224" y="328"/>
                  </a:cubicBezTo>
                  <a:cubicBezTo>
                    <a:pt x="218" y="327"/>
                    <a:pt x="237" y="322"/>
                    <a:pt x="238" y="321"/>
                  </a:cubicBezTo>
                  <a:cubicBezTo>
                    <a:pt x="243" y="319"/>
                    <a:pt x="227" y="301"/>
                    <a:pt x="227" y="302"/>
                  </a:cubicBezTo>
                  <a:cubicBezTo>
                    <a:pt x="227" y="302"/>
                    <a:pt x="227" y="302"/>
                    <a:pt x="227" y="302"/>
                  </a:cubicBezTo>
                  <a:cubicBezTo>
                    <a:pt x="222" y="307"/>
                    <a:pt x="231" y="318"/>
                    <a:pt x="223" y="321"/>
                  </a:cubicBezTo>
                  <a:cubicBezTo>
                    <a:pt x="205" y="326"/>
                    <a:pt x="212" y="318"/>
                    <a:pt x="221" y="315"/>
                  </a:cubicBezTo>
                  <a:cubicBezTo>
                    <a:pt x="222" y="314"/>
                    <a:pt x="220" y="314"/>
                    <a:pt x="219" y="313"/>
                  </a:cubicBezTo>
                  <a:cubicBezTo>
                    <a:pt x="217" y="312"/>
                    <a:pt x="200" y="300"/>
                    <a:pt x="199" y="302"/>
                  </a:cubicBezTo>
                  <a:cubicBezTo>
                    <a:pt x="196" y="306"/>
                    <a:pt x="170" y="317"/>
                    <a:pt x="163" y="317"/>
                  </a:cubicBezTo>
                  <a:cubicBezTo>
                    <a:pt x="161" y="317"/>
                    <a:pt x="154" y="308"/>
                    <a:pt x="150" y="314"/>
                  </a:cubicBezTo>
                  <a:cubicBezTo>
                    <a:pt x="148" y="316"/>
                    <a:pt x="144" y="316"/>
                    <a:pt x="144" y="318"/>
                  </a:cubicBezTo>
                  <a:cubicBezTo>
                    <a:pt x="144" y="320"/>
                    <a:pt x="145" y="321"/>
                    <a:pt x="147" y="323"/>
                  </a:cubicBezTo>
                  <a:cubicBezTo>
                    <a:pt x="148" y="323"/>
                    <a:pt x="149" y="324"/>
                    <a:pt x="150" y="324"/>
                  </a:cubicBezTo>
                  <a:cubicBezTo>
                    <a:pt x="152" y="325"/>
                    <a:pt x="150" y="324"/>
                    <a:pt x="147" y="323"/>
                  </a:cubicBezTo>
                  <a:cubicBezTo>
                    <a:pt x="147" y="322"/>
                    <a:pt x="147" y="322"/>
                    <a:pt x="146" y="323"/>
                  </a:cubicBezTo>
                  <a:cubicBezTo>
                    <a:pt x="144" y="323"/>
                    <a:pt x="153" y="328"/>
                    <a:pt x="154" y="328"/>
                  </a:cubicBezTo>
                  <a:cubicBezTo>
                    <a:pt x="155" y="328"/>
                    <a:pt x="158" y="330"/>
                    <a:pt x="159" y="332"/>
                  </a:cubicBezTo>
                  <a:cubicBezTo>
                    <a:pt x="160" y="335"/>
                    <a:pt x="153" y="333"/>
                    <a:pt x="153" y="335"/>
                  </a:cubicBezTo>
                  <a:cubicBezTo>
                    <a:pt x="154" y="340"/>
                    <a:pt x="162" y="337"/>
                    <a:pt x="163" y="339"/>
                  </a:cubicBezTo>
                  <a:cubicBezTo>
                    <a:pt x="167" y="349"/>
                    <a:pt x="168" y="361"/>
                    <a:pt x="171" y="369"/>
                  </a:cubicBezTo>
                  <a:cubicBezTo>
                    <a:pt x="172" y="370"/>
                    <a:pt x="173" y="355"/>
                    <a:pt x="182" y="361"/>
                  </a:cubicBezTo>
                  <a:cubicBezTo>
                    <a:pt x="193" y="367"/>
                    <a:pt x="179" y="371"/>
                    <a:pt x="179" y="374"/>
                  </a:cubicBezTo>
                  <a:close/>
                  <a:moveTo>
                    <a:pt x="40" y="147"/>
                  </a:moveTo>
                  <a:cubicBezTo>
                    <a:pt x="41" y="148"/>
                    <a:pt x="46" y="146"/>
                    <a:pt x="48" y="148"/>
                  </a:cubicBezTo>
                  <a:cubicBezTo>
                    <a:pt x="73" y="169"/>
                    <a:pt x="66" y="137"/>
                    <a:pt x="69" y="128"/>
                  </a:cubicBezTo>
                  <a:cubicBezTo>
                    <a:pt x="70" y="125"/>
                    <a:pt x="76" y="126"/>
                    <a:pt x="77" y="114"/>
                  </a:cubicBezTo>
                  <a:cubicBezTo>
                    <a:pt x="77" y="114"/>
                    <a:pt x="77" y="114"/>
                    <a:pt x="77" y="114"/>
                  </a:cubicBezTo>
                  <a:cubicBezTo>
                    <a:pt x="77" y="113"/>
                    <a:pt x="66" y="123"/>
                    <a:pt x="65" y="123"/>
                  </a:cubicBezTo>
                  <a:cubicBezTo>
                    <a:pt x="49" y="121"/>
                    <a:pt x="54" y="136"/>
                    <a:pt x="53" y="137"/>
                  </a:cubicBezTo>
                  <a:cubicBezTo>
                    <a:pt x="52" y="138"/>
                    <a:pt x="36" y="142"/>
                    <a:pt x="40" y="147"/>
                  </a:cubicBezTo>
                  <a:close/>
                  <a:moveTo>
                    <a:pt x="150" y="324"/>
                  </a:moveTo>
                  <a:cubicBezTo>
                    <a:pt x="149" y="324"/>
                    <a:pt x="148" y="323"/>
                    <a:pt x="147" y="323"/>
                  </a:cubicBezTo>
                  <a:cubicBezTo>
                    <a:pt x="150" y="324"/>
                    <a:pt x="152" y="325"/>
                    <a:pt x="150" y="324"/>
                  </a:cubicBezTo>
                  <a:close/>
                  <a:moveTo>
                    <a:pt x="171" y="387"/>
                  </a:moveTo>
                  <a:cubicBezTo>
                    <a:pt x="171" y="386"/>
                    <a:pt x="171" y="386"/>
                    <a:pt x="171" y="386"/>
                  </a:cubicBezTo>
                  <a:cubicBezTo>
                    <a:pt x="168" y="382"/>
                    <a:pt x="143" y="368"/>
                    <a:pt x="140" y="379"/>
                  </a:cubicBezTo>
                  <a:cubicBezTo>
                    <a:pt x="139" y="384"/>
                    <a:pt x="158" y="383"/>
                    <a:pt x="158" y="390"/>
                  </a:cubicBezTo>
                  <a:cubicBezTo>
                    <a:pt x="159" y="393"/>
                    <a:pt x="152" y="391"/>
                    <a:pt x="151" y="393"/>
                  </a:cubicBezTo>
                  <a:cubicBezTo>
                    <a:pt x="151" y="394"/>
                    <a:pt x="152" y="396"/>
                    <a:pt x="152" y="397"/>
                  </a:cubicBezTo>
                  <a:cubicBezTo>
                    <a:pt x="153" y="398"/>
                    <a:pt x="153" y="398"/>
                    <a:pt x="154" y="399"/>
                  </a:cubicBezTo>
                  <a:cubicBezTo>
                    <a:pt x="157" y="403"/>
                    <a:pt x="160" y="398"/>
                    <a:pt x="163" y="398"/>
                  </a:cubicBezTo>
                  <a:cubicBezTo>
                    <a:pt x="182" y="401"/>
                    <a:pt x="160" y="403"/>
                    <a:pt x="164" y="404"/>
                  </a:cubicBezTo>
                  <a:cubicBezTo>
                    <a:pt x="180" y="408"/>
                    <a:pt x="182" y="398"/>
                    <a:pt x="171" y="387"/>
                  </a:cubicBezTo>
                  <a:close/>
                  <a:moveTo>
                    <a:pt x="222" y="390"/>
                  </a:moveTo>
                  <a:cubicBezTo>
                    <a:pt x="222" y="389"/>
                    <a:pt x="222" y="389"/>
                    <a:pt x="222" y="389"/>
                  </a:cubicBezTo>
                  <a:cubicBezTo>
                    <a:pt x="225" y="381"/>
                    <a:pt x="218" y="385"/>
                    <a:pt x="214" y="387"/>
                  </a:cubicBezTo>
                  <a:cubicBezTo>
                    <a:pt x="201" y="393"/>
                    <a:pt x="226" y="403"/>
                    <a:pt x="222" y="390"/>
                  </a:cubicBezTo>
                  <a:close/>
                  <a:moveTo>
                    <a:pt x="226" y="282"/>
                  </a:moveTo>
                  <a:cubicBezTo>
                    <a:pt x="229" y="282"/>
                    <a:pt x="229" y="276"/>
                    <a:pt x="228" y="274"/>
                  </a:cubicBezTo>
                  <a:cubicBezTo>
                    <a:pt x="228" y="272"/>
                    <a:pt x="229" y="268"/>
                    <a:pt x="231" y="265"/>
                  </a:cubicBezTo>
                  <a:cubicBezTo>
                    <a:pt x="228" y="263"/>
                    <a:pt x="223" y="257"/>
                    <a:pt x="222" y="253"/>
                  </a:cubicBezTo>
                  <a:cubicBezTo>
                    <a:pt x="223" y="253"/>
                    <a:pt x="223" y="253"/>
                    <a:pt x="223" y="253"/>
                  </a:cubicBezTo>
                  <a:cubicBezTo>
                    <a:pt x="221" y="245"/>
                    <a:pt x="216" y="284"/>
                    <a:pt x="226" y="282"/>
                  </a:cubicBezTo>
                  <a:close/>
                  <a:moveTo>
                    <a:pt x="183" y="394"/>
                  </a:moveTo>
                  <a:cubicBezTo>
                    <a:pt x="183" y="394"/>
                    <a:pt x="183" y="394"/>
                    <a:pt x="183" y="394"/>
                  </a:cubicBezTo>
                  <a:cubicBezTo>
                    <a:pt x="181" y="390"/>
                    <a:pt x="182" y="395"/>
                    <a:pt x="183" y="396"/>
                  </a:cubicBezTo>
                  <a:cubicBezTo>
                    <a:pt x="194" y="408"/>
                    <a:pt x="197" y="411"/>
                    <a:pt x="210" y="410"/>
                  </a:cubicBezTo>
                  <a:cubicBezTo>
                    <a:pt x="210" y="410"/>
                    <a:pt x="212" y="410"/>
                    <a:pt x="211" y="410"/>
                  </a:cubicBezTo>
                  <a:cubicBezTo>
                    <a:pt x="202" y="400"/>
                    <a:pt x="199" y="410"/>
                    <a:pt x="183" y="394"/>
                  </a:cubicBezTo>
                  <a:close/>
                  <a:moveTo>
                    <a:pt x="232" y="265"/>
                  </a:moveTo>
                  <a:cubicBezTo>
                    <a:pt x="232" y="264"/>
                    <a:pt x="231" y="264"/>
                    <a:pt x="231" y="265"/>
                  </a:cubicBezTo>
                  <a:cubicBezTo>
                    <a:pt x="232" y="266"/>
                    <a:pt x="232" y="266"/>
                    <a:pt x="232" y="265"/>
                  </a:cubicBez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4" name="Iceland"/>
          <p:cNvSpPr>
            <a:spLocks noEditPoints="1"/>
          </p:cNvSpPr>
          <p:nvPr/>
        </p:nvSpPr>
        <p:spPr bwMode="auto">
          <a:xfrm>
            <a:off x="4758621" y="4374019"/>
            <a:ext cx="1322353" cy="747724"/>
          </a:xfrm>
          <a:custGeom>
            <a:avLst/>
            <a:gdLst>
              <a:gd name="T0" fmla="*/ 1639 w 1826"/>
              <a:gd name="T1" fmla="*/ 595 h 882"/>
              <a:gd name="T2" fmla="*/ 1526 w 1826"/>
              <a:gd name="T3" fmla="*/ 630 h 882"/>
              <a:gd name="T4" fmla="*/ 1461 w 1826"/>
              <a:gd name="T5" fmla="*/ 664 h 882"/>
              <a:gd name="T6" fmla="*/ 1268 w 1826"/>
              <a:gd name="T7" fmla="*/ 756 h 882"/>
              <a:gd name="T8" fmla="*/ 1212 w 1826"/>
              <a:gd name="T9" fmla="*/ 767 h 882"/>
              <a:gd name="T10" fmla="*/ 1110 w 1826"/>
              <a:gd name="T11" fmla="*/ 803 h 882"/>
              <a:gd name="T12" fmla="*/ 1031 w 1826"/>
              <a:gd name="T13" fmla="*/ 840 h 882"/>
              <a:gd name="T14" fmla="*/ 704 w 1826"/>
              <a:gd name="T15" fmla="*/ 832 h 882"/>
              <a:gd name="T16" fmla="*/ 682 w 1826"/>
              <a:gd name="T17" fmla="*/ 767 h 882"/>
              <a:gd name="T18" fmla="*/ 589 w 1826"/>
              <a:gd name="T19" fmla="*/ 764 h 882"/>
              <a:gd name="T20" fmla="*/ 343 w 1826"/>
              <a:gd name="T21" fmla="*/ 762 h 882"/>
              <a:gd name="T22" fmla="*/ 360 w 1826"/>
              <a:gd name="T23" fmla="*/ 710 h 882"/>
              <a:gd name="T24" fmla="*/ 471 w 1826"/>
              <a:gd name="T25" fmla="*/ 664 h 882"/>
              <a:gd name="T26" fmla="*/ 462 w 1826"/>
              <a:gd name="T27" fmla="*/ 610 h 882"/>
              <a:gd name="T28" fmla="*/ 504 w 1826"/>
              <a:gd name="T29" fmla="*/ 556 h 882"/>
              <a:gd name="T30" fmla="*/ 415 w 1826"/>
              <a:gd name="T31" fmla="*/ 563 h 882"/>
              <a:gd name="T32" fmla="*/ 358 w 1826"/>
              <a:gd name="T33" fmla="*/ 541 h 882"/>
              <a:gd name="T34" fmla="*/ 332 w 1826"/>
              <a:gd name="T35" fmla="*/ 491 h 882"/>
              <a:gd name="T36" fmla="*/ 82 w 1826"/>
              <a:gd name="T37" fmla="*/ 478 h 882"/>
              <a:gd name="T38" fmla="*/ 230 w 1826"/>
              <a:gd name="T39" fmla="*/ 454 h 882"/>
              <a:gd name="T40" fmla="*/ 328 w 1826"/>
              <a:gd name="T41" fmla="*/ 423 h 882"/>
              <a:gd name="T42" fmla="*/ 386 w 1826"/>
              <a:gd name="T43" fmla="*/ 341 h 882"/>
              <a:gd name="T44" fmla="*/ 382 w 1826"/>
              <a:gd name="T45" fmla="*/ 313 h 882"/>
              <a:gd name="T46" fmla="*/ 339 w 1826"/>
              <a:gd name="T47" fmla="*/ 293 h 882"/>
              <a:gd name="T48" fmla="*/ 276 w 1826"/>
              <a:gd name="T49" fmla="*/ 280 h 882"/>
              <a:gd name="T50" fmla="*/ 108 w 1826"/>
              <a:gd name="T51" fmla="*/ 321 h 882"/>
              <a:gd name="T52" fmla="*/ 119 w 1826"/>
              <a:gd name="T53" fmla="*/ 289 h 882"/>
              <a:gd name="T54" fmla="*/ 152 w 1826"/>
              <a:gd name="T55" fmla="*/ 241 h 882"/>
              <a:gd name="T56" fmla="*/ 213 w 1826"/>
              <a:gd name="T57" fmla="*/ 219 h 882"/>
              <a:gd name="T58" fmla="*/ 128 w 1826"/>
              <a:gd name="T59" fmla="*/ 135 h 882"/>
              <a:gd name="T60" fmla="*/ 165 w 1826"/>
              <a:gd name="T61" fmla="*/ 102 h 882"/>
              <a:gd name="T62" fmla="*/ 293 w 1826"/>
              <a:gd name="T63" fmla="*/ 148 h 882"/>
              <a:gd name="T64" fmla="*/ 363 w 1826"/>
              <a:gd name="T65" fmla="*/ 174 h 882"/>
              <a:gd name="T66" fmla="*/ 339 w 1826"/>
              <a:gd name="T67" fmla="*/ 67 h 882"/>
              <a:gd name="T68" fmla="*/ 241 w 1826"/>
              <a:gd name="T69" fmla="*/ 37 h 882"/>
              <a:gd name="T70" fmla="*/ 348 w 1826"/>
              <a:gd name="T71" fmla="*/ 29 h 882"/>
              <a:gd name="T72" fmla="*/ 443 w 1826"/>
              <a:gd name="T73" fmla="*/ 94 h 882"/>
              <a:gd name="T74" fmla="*/ 532 w 1826"/>
              <a:gd name="T75" fmla="*/ 157 h 882"/>
              <a:gd name="T76" fmla="*/ 506 w 1826"/>
              <a:gd name="T77" fmla="*/ 220 h 882"/>
              <a:gd name="T78" fmla="*/ 506 w 1826"/>
              <a:gd name="T79" fmla="*/ 276 h 882"/>
              <a:gd name="T80" fmla="*/ 571 w 1826"/>
              <a:gd name="T81" fmla="*/ 389 h 882"/>
              <a:gd name="T82" fmla="*/ 640 w 1826"/>
              <a:gd name="T83" fmla="*/ 241 h 882"/>
              <a:gd name="T84" fmla="*/ 690 w 1826"/>
              <a:gd name="T85" fmla="*/ 283 h 882"/>
              <a:gd name="T86" fmla="*/ 810 w 1826"/>
              <a:gd name="T87" fmla="*/ 224 h 882"/>
              <a:gd name="T88" fmla="*/ 847 w 1826"/>
              <a:gd name="T89" fmla="*/ 152 h 882"/>
              <a:gd name="T90" fmla="*/ 944 w 1826"/>
              <a:gd name="T91" fmla="*/ 96 h 882"/>
              <a:gd name="T92" fmla="*/ 1042 w 1826"/>
              <a:gd name="T93" fmla="*/ 185 h 882"/>
              <a:gd name="T94" fmla="*/ 1070 w 1826"/>
              <a:gd name="T95" fmla="*/ 105 h 882"/>
              <a:gd name="T96" fmla="*/ 1205 w 1826"/>
              <a:gd name="T97" fmla="*/ 102 h 882"/>
              <a:gd name="T98" fmla="*/ 1335 w 1826"/>
              <a:gd name="T99" fmla="*/ 104 h 882"/>
              <a:gd name="T100" fmla="*/ 1448 w 1826"/>
              <a:gd name="T101" fmla="*/ 37 h 882"/>
              <a:gd name="T102" fmla="*/ 1594 w 1826"/>
              <a:gd name="T103" fmla="*/ 46 h 882"/>
              <a:gd name="T104" fmla="*/ 1633 w 1826"/>
              <a:gd name="T105" fmla="*/ 141 h 882"/>
              <a:gd name="T106" fmla="*/ 1678 w 1826"/>
              <a:gd name="T107" fmla="*/ 230 h 882"/>
              <a:gd name="T108" fmla="*/ 1717 w 1826"/>
              <a:gd name="T109" fmla="*/ 256 h 882"/>
              <a:gd name="T110" fmla="*/ 1742 w 1826"/>
              <a:gd name="T111" fmla="*/ 359 h 882"/>
              <a:gd name="T112" fmla="*/ 1804 w 1826"/>
              <a:gd name="T113" fmla="*/ 389 h 882"/>
              <a:gd name="T114" fmla="*/ 1744 w 1826"/>
              <a:gd name="T115" fmla="*/ 421 h 882"/>
              <a:gd name="T116" fmla="*/ 1781 w 1826"/>
              <a:gd name="T117" fmla="*/ 473 h 882"/>
              <a:gd name="T118" fmla="*/ 1679 w 1826"/>
              <a:gd name="T119" fmla="*/ 511 h 882"/>
              <a:gd name="T120" fmla="*/ 1685 w 1826"/>
              <a:gd name="T121" fmla="*/ 550 h 882"/>
              <a:gd name="T122" fmla="*/ 1385 w 1826"/>
              <a:gd name="T123" fmla="*/ 272 h 882"/>
              <a:gd name="T124" fmla="*/ 1678 w 1826"/>
              <a:gd name="T125" fmla="*/ 334 h 8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26" h="882">
                <a:moveTo>
                  <a:pt x="313" y="497"/>
                </a:move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close/>
                <a:moveTo>
                  <a:pt x="847" y="152"/>
                </a:move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close/>
                <a:moveTo>
                  <a:pt x="1142" y="790"/>
                </a:move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close/>
                <a:moveTo>
                  <a:pt x="1670" y="567"/>
                </a:moveTo>
                <a:lnTo>
                  <a:pt x="1670" y="567"/>
                </a:lnTo>
                <a:lnTo>
                  <a:pt x="1665" y="578"/>
                </a:lnTo>
                <a:lnTo>
                  <a:pt x="1654" y="599"/>
                </a:lnTo>
                <a:lnTo>
                  <a:pt x="1646" y="608"/>
                </a:lnTo>
                <a:lnTo>
                  <a:pt x="1639" y="613"/>
                </a:lnTo>
                <a:lnTo>
                  <a:pt x="1635" y="613"/>
                </a:lnTo>
                <a:lnTo>
                  <a:pt x="1631" y="613"/>
                </a:lnTo>
                <a:lnTo>
                  <a:pt x="1628" y="612"/>
                </a:lnTo>
                <a:lnTo>
                  <a:pt x="1622" y="608"/>
                </a:lnTo>
                <a:lnTo>
                  <a:pt x="1622" y="608"/>
                </a:lnTo>
                <a:lnTo>
                  <a:pt x="1622" y="608"/>
                </a:lnTo>
                <a:lnTo>
                  <a:pt x="1624" y="606"/>
                </a:lnTo>
                <a:lnTo>
                  <a:pt x="1631" y="604"/>
                </a:lnTo>
                <a:lnTo>
                  <a:pt x="1639" y="602"/>
                </a:lnTo>
                <a:lnTo>
                  <a:pt x="1642" y="600"/>
                </a:lnTo>
                <a:lnTo>
                  <a:pt x="1644" y="599"/>
                </a:lnTo>
                <a:lnTo>
                  <a:pt x="1644" y="599"/>
                </a:lnTo>
                <a:lnTo>
                  <a:pt x="1642" y="597"/>
                </a:lnTo>
                <a:lnTo>
                  <a:pt x="1642" y="595"/>
                </a:lnTo>
                <a:lnTo>
                  <a:pt x="1639" y="595"/>
                </a:lnTo>
                <a:lnTo>
                  <a:pt x="1639" y="595"/>
                </a:lnTo>
                <a:lnTo>
                  <a:pt x="1628" y="597"/>
                </a:lnTo>
                <a:lnTo>
                  <a:pt x="1615" y="604"/>
                </a:lnTo>
                <a:lnTo>
                  <a:pt x="1602" y="613"/>
                </a:lnTo>
                <a:lnTo>
                  <a:pt x="1596" y="619"/>
                </a:lnTo>
                <a:lnTo>
                  <a:pt x="1592" y="625"/>
                </a:lnTo>
                <a:lnTo>
                  <a:pt x="1592" y="625"/>
                </a:lnTo>
                <a:lnTo>
                  <a:pt x="1590" y="630"/>
                </a:lnTo>
                <a:lnTo>
                  <a:pt x="1590" y="638"/>
                </a:lnTo>
                <a:lnTo>
                  <a:pt x="1589" y="641"/>
                </a:lnTo>
                <a:lnTo>
                  <a:pt x="1585" y="643"/>
                </a:lnTo>
                <a:lnTo>
                  <a:pt x="1585" y="643"/>
                </a:lnTo>
                <a:lnTo>
                  <a:pt x="1578" y="643"/>
                </a:lnTo>
                <a:lnTo>
                  <a:pt x="1574" y="639"/>
                </a:lnTo>
                <a:lnTo>
                  <a:pt x="1568" y="636"/>
                </a:lnTo>
                <a:lnTo>
                  <a:pt x="1563" y="632"/>
                </a:lnTo>
                <a:lnTo>
                  <a:pt x="1563" y="632"/>
                </a:lnTo>
                <a:lnTo>
                  <a:pt x="1557" y="632"/>
                </a:lnTo>
                <a:lnTo>
                  <a:pt x="1552" y="636"/>
                </a:lnTo>
                <a:lnTo>
                  <a:pt x="1544" y="641"/>
                </a:lnTo>
                <a:lnTo>
                  <a:pt x="1544" y="641"/>
                </a:lnTo>
                <a:lnTo>
                  <a:pt x="1542" y="641"/>
                </a:lnTo>
                <a:lnTo>
                  <a:pt x="1540" y="639"/>
                </a:lnTo>
                <a:lnTo>
                  <a:pt x="1540" y="634"/>
                </a:lnTo>
                <a:lnTo>
                  <a:pt x="1542" y="630"/>
                </a:lnTo>
                <a:lnTo>
                  <a:pt x="1542" y="630"/>
                </a:lnTo>
                <a:lnTo>
                  <a:pt x="1540" y="632"/>
                </a:lnTo>
                <a:lnTo>
                  <a:pt x="1540" y="632"/>
                </a:lnTo>
                <a:lnTo>
                  <a:pt x="1539" y="632"/>
                </a:lnTo>
                <a:lnTo>
                  <a:pt x="1537" y="630"/>
                </a:lnTo>
                <a:lnTo>
                  <a:pt x="1533" y="626"/>
                </a:lnTo>
                <a:lnTo>
                  <a:pt x="1529" y="623"/>
                </a:lnTo>
                <a:lnTo>
                  <a:pt x="1529" y="623"/>
                </a:lnTo>
                <a:lnTo>
                  <a:pt x="1527" y="623"/>
                </a:lnTo>
                <a:lnTo>
                  <a:pt x="1527" y="623"/>
                </a:lnTo>
                <a:lnTo>
                  <a:pt x="1526" y="630"/>
                </a:lnTo>
                <a:lnTo>
                  <a:pt x="1526" y="630"/>
                </a:lnTo>
                <a:lnTo>
                  <a:pt x="1524" y="626"/>
                </a:lnTo>
                <a:lnTo>
                  <a:pt x="1520" y="617"/>
                </a:lnTo>
                <a:lnTo>
                  <a:pt x="1516" y="613"/>
                </a:lnTo>
                <a:lnTo>
                  <a:pt x="1513" y="608"/>
                </a:lnTo>
                <a:lnTo>
                  <a:pt x="1513" y="608"/>
                </a:lnTo>
                <a:lnTo>
                  <a:pt x="1511" y="608"/>
                </a:lnTo>
                <a:lnTo>
                  <a:pt x="1513" y="610"/>
                </a:lnTo>
                <a:lnTo>
                  <a:pt x="1513" y="610"/>
                </a:lnTo>
                <a:lnTo>
                  <a:pt x="1514" y="615"/>
                </a:lnTo>
                <a:lnTo>
                  <a:pt x="1516" y="621"/>
                </a:lnTo>
                <a:lnTo>
                  <a:pt x="1516" y="626"/>
                </a:lnTo>
                <a:lnTo>
                  <a:pt x="1514" y="630"/>
                </a:lnTo>
                <a:lnTo>
                  <a:pt x="1514" y="630"/>
                </a:lnTo>
                <a:lnTo>
                  <a:pt x="1513" y="632"/>
                </a:lnTo>
                <a:lnTo>
                  <a:pt x="1511" y="634"/>
                </a:lnTo>
                <a:lnTo>
                  <a:pt x="1502" y="638"/>
                </a:lnTo>
                <a:lnTo>
                  <a:pt x="1496" y="639"/>
                </a:lnTo>
                <a:lnTo>
                  <a:pt x="1494" y="639"/>
                </a:lnTo>
                <a:lnTo>
                  <a:pt x="1496" y="641"/>
                </a:lnTo>
                <a:lnTo>
                  <a:pt x="1496" y="641"/>
                </a:lnTo>
                <a:lnTo>
                  <a:pt x="1502" y="641"/>
                </a:lnTo>
                <a:lnTo>
                  <a:pt x="1503" y="641"/>
                </a:lnTo>
                <a:lnTo>
                  <a:pt x="1505" y="643"/>
                </a:lnTo>
                <a:lnTo>
                  <a:pt x="1505" y="643"/>
                </a:lnTo>
                <a:lnTo>
                  <a:pt x="1507" y="645"/>
                </a:lnTo>
                <a:lnTo>
                  <a:pt x="1505" y="647"/>
                </a:lnTo>
                <a:lnTo>
                  <a:pt x="1498" y="649"/>
                </a:lnTo>
                <a:lnTo>
                  <a:pt x="1477" y="649"/>
                </a:lnTo>
                <a:lnTo>
                  <a:pt x="1477" y="649"/>
                </a:lnTo>
                <a:lnTo>
                  <a:pt x="1472" y="652"/>
                </a:lnTo>
                <a:lnTo>
                  <a:pt x="1468" y="652"/>
                </a:lnTo>
                <a:lnTo>
                  <a:pt x="1466" y="652"/>
                </a:lnTo>
                <a:lnTo>
                  <a:pt x="1466" y="652"/>
                </a:lnTo>
                <a:lnTo>
                  <a:pt x="1464" y="656"/>
                </a:lnTo>
                <a:lnTo>
                  <a:pt x="1463" y="660"/>
                </a:lnTo>
                <a:lnTo>
                  <a:pt x="1461" y="664"/>
                </a:lnTo>
                <a:lnTo>
                  <a:pt x="1461" y="664"/>
                </a:lnTo>
                <a:lnTo>
                  <a:pt x="1453" y="665"/>
                </a:lnTo>
                <a:lnTo>
                  <a:pt x="1446" y="667"/>
                </a:lnTo>
                <a:lnTo>
                  <a:pt x="1429" y="671"/>
                </a:lnTo>
                <a:lnTo>
                  <a:pt x="1416" y="673"/>
                </a:lnTo>
                <a:lnTo>
                  <a:pt x="1413" y="675"/>
                </a:lnTo>
                <a:lnTo>
                  <a:pt x="1414" y="678"/>
                </a:lnTo>
                <a:lnTo>
                  <a:pt x="1414" y="678"/>
                </a:lnTo>
                <a:lnTo>
                  <a:pt x="1416" y="680"/>
                </a:lnTo>
                <a:lnTo>
                  <a:pt x="1416" y="682"/>
                </a:lnTo>
                <a:lnTo>
                  <a:pt x="1411" y="686"/>
                </a:lnTo>
                <a:lnTo>
                  <a:pt x="1403" y="689"/>
                </a:lnTo>
                <a:lnTo>
                  <a:pt x="1398" y="691"/>
                </a:lnTo>
                <a:lnTo>
                  <a:pt x="1398" y="691"/>
                </a:lnTo>
                <a:lnTo>
                  <a:pt x="1375" y="702"/>
                </a:lnTo>
                <a:lnTo>
                  <a:pt x="1361" y="710"/>
                </a:lnTo>
                <a:lnTo>
                  <a:pt x="1355" y="714"/>
                </a:lnTo>
                <a:lnTo>
                  <a:pt x="1355" y="714"/>
                </a:lnTo>
                <a:lnTo>
                  <a:pt x="1353" y="717"/>
                </a:lnTo>
                <a:lnTo>
                  <a:pt x="1350" y="723"/>
                </a:lnTo>
                <a:lnTo>
                  <a:pt x="1342" y="734"/>
                </a:lnTo>
                <a:lnTo>
                  <a:pt x="1342" y="734"/>
                </a:lnTo>
                <a:lnTo>
                  <a:pt x="1340" y="738"/>
                </a:lnTo>
                <a:lnTo>
                  <a:pt x="1335" y="741"/>
                </a:lnTo>
                <a:lnTo>
                  <a:pt x="1322" y="745"/>
                </a:lnTo>
                <a:lnTo>
                  <a:pt x="1303" y="749"/>
                </a:lnTo>
                <a:lnTo>
                  <a:pt x="1283" y="753"/>
                </a:lnTo>
                <a:lnTo>
                  <a:pt x="1283" y="753"/>
                </a:lnTo>
                <a:lnTo>
                  <a:pt x="1281" y="754"/>
                </a:lnTo>
                <a:lnTo>
                  <a:pt x="1281" y="756"/>
                </a:lnTo>
                <a:lnTo>
                  <a:pt x="1283" y="762"/>
                </a:lnTo>
                <a:lnTo>
                  <a:pt x="1283" y="767"/>
                </a:lnTo>
                <a:lnTo>
                  <a:pt x="1283" y="769"/>
                </a:lnTo>
                <a:lnTo>
                  <a:pt x="1281" y="769"/>
                </a:lnTo>
                <a:lnTo>
                  <a:pt x="1281" y="769"/>
                </a:lnTo>
                <a:lnTo>
                  <a:pt x="1275" y="765"/>
                </a:lnTo>
                <a:lnTo>
                  <a:pt x="1272" y="760"/>
                </a:lnTo>
                <a:lnTo>
                  <a:pt x="1268" y="756"/>
                </a:lnTo>
                <a:lnTo>
                  <a:pt x="1268" y="756"/>
                </a:lnTo>
                <a:lnTo>
                  <a:pt x="1268" y="758"/>
                </a:lnTo>
                <a:lnTo>
                  <a:pt x="1268" y="758"/>
                </a:lnTo>
                <a:lnTo>
                  <a:pt x="1266" y="764"/>
                </a:lnTo>
                <a:lnTo>
                  <a:pt x="1264" y="769"/>
                </a:lnTo>
                <a:lnTo>
                  <a:pt x="1264" y="769"/>
                </a:lnTo>
                <a:lnTo>
                  <a:pt x="1259" y="775"/>
                </a:lnTo>
                <a:lnTo>
                  <a:pt x="1255" y="775"/>
                </a:lnTo>
                <a:lnTo>
                  <a:pt x="1253" y="773"/>
                </a:lnTo>
                <a:lnTo>
                  <a:pt x="1253" y="773"/>
                </a:lnTo>
                <a:lnTo>
                  <a:pt x="1251" y="771"/>
                </a:lnTo>
                <a:lnTo>
                  <a:pt x="1253" y="765"/>
                </a:lnTo>
                <a:lnTo>
                  <a:pt x="1257" y="754"/>
                </a:lnTo>
                <a:lnTo>
                  <a:pt x="1257" y="743"/>
                </a:lnTo>
                <a:lnTo>
                  <a:pt x="1257" y="740"/>
                </a:lnTo>
                <a:lnTo>
                  <a:pt x="1253" y="736"/>
                </a:lnTo>
                <a:lnTo>
                  <a:pt x="1253" y="736"/>
                </a:lnTo>
                <a:lnTo>
                  <a:pt x="1251" y="738"/>
                </a:lnTo>
                <a:lnTo>
                  <a:pt x="1249" y="741"/>
                </a:lnTo>
                <a:lnTo>
                  <a:pt x="1249" y="749"/>
                </a:lnTo>
                <a:lnTo>
                  <a:pt x="1249" y="749"/>
                </a:lnTo>
                <a:lnTo>
                  <a:pt x="1249" y="753"/>
                </a:lnTo>
                <a:lnTo>
                  <a:pt x="1248" y="753"/>
                </a:lnTo>
                <a:lnTo>
                  <a:pt x="1244" y="753"/>
                </a:lnTo>
                <a:lnTo>
                  <a:pt x="1242" y="753"/>
                </a:lnTo>
                <a:lnTo>
                  <a:pt x="1242" y="754"/>
                </a:lnTo>
                <a:lnTo>
                  <a:pt x="1242" y="754"/>
                </a:lnTo>
                <a:lnTo>
                  <a:pt x="1246" y="762"/>
                </a:lnTo>
                <a:lnTo>
                  <a:pt x="1248" y="769"/>
                </a:lnTo>
                <a:lnTo>
                  <a:pt x="1248" y="769"/>
                </a:lnTo>
                <a:lnTo>
                  <a:pt x="1244" y="773"/>
                </a:lnTo>
                <a:lnTo>
                  <a:pt x="1240" y="773"/>
                </a:lnTo>
                <a:lnTo>
                  <a:pt x="1231" y="769"/>
                </a:lnTo>
                <a:lnTo>
                  <a:pt x="1222" y="765"/>
                </a:lnTo>
                <a:lnTo>
                  <a:pt x="1216" y="765"/>
                </a:lnTo>
                <a:lnTo>
                  <a:pt x="1212" y="767"/>
                </a:lnTo>
                <a:lnTo>
                  <a:pt x="1212" y="767"/>
                </a:lnTo>
                <a:lnTo>
                  <a:pt x="1183" y="778"/>
                </a:lnTo>
                <a:lnTo>
                  <a:pt x="1166" y="784"/>
                </a:lnTo>
                <a:lnTo>
                  <a:pt x="1160" y="786"/>
                </a:lnTo>
                <a:lnTo>
                  <a:pt x="1159" y="784"/>
                </a:lnTo>
                <a:lnTo>
                  <a:pt x="1159" y="784"/>
                </a:lnTo>
                <a:lnTo>
                  <a:pt x="1159" y="778"/>
                </a:lnTo>
                <a:lnTo>
                  <a:pt x="1157" y="775"/>
                </a:lnTo>
                <a:lnTo>
                  <a:pt x="1157" y="775"/>
                </a:lnTo>
                <a:lnTo>
                  <a:pt x="1157" y="775"/>
                </a:lnTo>
                <a:lnTo>
                  <a:pt x="1151" y="778"/>
                </a:lnTo>
                <a:lnTo>
                  <a:pt x="1149" y="782"/>
                </a:lnTo>
                <a:lnTo>
                  <a:pt x="1147" y="786"/>
                </a:lnTo>
                <a:lnTo>
                  <a:pt x="1142" y="790"/>
                </a:lnTo>
                <a:lnTo>
                  <a:pt x="1142" y="790"/>
                </a:lnTo>
                <a:lnTo>
                  <a:pt x="1134" y="791"/>
                </a:lnTo>
                <a:lnTo>
                  <a:pt x="1131" y="791"/>
                </a:lnTo>
                <a:lnTo>
                  <a:pt x="1133" y="790"/>
                </a:lnTo>
                <a:lnTo>
                  <a:pt x="1134" y="786"/>
                </a:lnTo>
                <a:lnTo>
                  <a:pt x="1134" y="786"/>
                </a:lnTo>
                <a:lnTo>
                  <a:pt x="1136" y="784"/>
                </a:lnTo>
                <a:lnTo>
                  <a:pt x="1134" y="782"/>
                </a:lnTo>
                <a:lnTo>
                  <a:pt x="1134" y="782"/>
                </a:lnTo>
                <a:lnTo>
                  <a:pt x="1127" y="780"/>
                </a:lnTo>
                <a:lnTo>
                  <a:pt x="1125" y="780"/>
                </a:lnTo>
                <a:lnTo>
                  <a:pt x="1125" y="782"/>
                </a:lnTo>
                <a:lnTo>
                  <a:pt x="1123" y="784"/>
                </a:lnTo>
                <a:lnTo>
                  <a:pt x="1121" y="784"/>
                </a:lnTo>
                <a:lnTo>
                  <a:pt x="1118" y="784"/>
                </a:lnTo>
                <a:lnTo>
                  <a:pt x="1118" y="784"/>
                </a:lnTo>
                <a:lnTo>
                  <a:pt x="1103" y="791"/>
                </a:lnTo>
                <a:lnTo>
                  <a:pt x="1092" y="799"/>
                </a:lnTo>
                <a:lnTo>
                  <a:pt x="1086" y="804"/>
                </a:lnTo>
                <a:lnTo>
                  <a:pt x="1086" y="804"/>
                </a:lnTo>
                <a:lnTo>
                  <a:pt x="1086" y="808"/>
                </a:lnTo>
                <a:lnTo>
                  <a:pt x="1090" y="808"/>
                </a:lnTo>
                <a:lnTo>
                  <a:pt x="1099" y="804"/>
                </a:lnTo>
                <a:lnTo>
                  <a:pt x="1110" y="803"/>
                </a:lnTo>
                <a:lnTo>
                  <a:pt x="1114" y="803"/>
                </a:lnTo>
                <a:lnTo>
                  <a:pt x="1116" y="806"/>
                </a:lnTo>
                <a:lnTo>
                  <a:pt x="1116" y="806"/>
                </a:lnTo>
                <a:lnTo>
                  <a:pt x="1112" y="812"/>
                </a:lnTo>
                <a:lnTo>
                  <a:pt x="1109" y="816"/>
                </a:lnTo>
                <a:lnTo>
                  <a:pt x="1109" y="816"/>
                </a:lnTo>
                <a:lnTo>
                  <a:pt x="1105" y="817"/>
                </a:lnTo>
                <a:lnTo>
                  <a:pt x="1103" y="817"/>
                </a:lnTo>
                <a:lnTo>
                  <a:pt x="1101" y="816"/>
                </a:lnTo>
                <a:lnTo>
                  <a:pt x="1101" y="816"/>
                </a:lnTo>
                <a:lnTo>
                  <a:pt x="1097" y="814"/>
                </a:lnTo>
                <a:lnTo>
                  <a:pt x="1096" y="814"/>
                </a:lnTo>
                <a:lnTo>
                  <a:pt x="1096" y="819"/>
                </a:lnTo>
                <a:lnTo>
                  <a:pt x="1097" y="829"/>
                </a:lnTo>
                <a:lnTo>
                  <a:pt x="1099" y="832"/>
                </a:lnTo>
                <a:lnTo>
                  <a:pt x="1097" y="836"/>
                </a:lnTo>
                <a:lnTo>
                  <a:pt x="1097" y="836"/>
                </a:lnTo>
                <a:lnTo>
                  <a:pt x="1096" y="840"/>
                </a:lnTo>
                <a:lnTo>
                  <a:pt x="1094" y="843"/>
                </a:lnTo>
                <a:lnTo>
                  <a:pt x="1094" y="843"/>
                </a:lnTo>
                <a:lnTo>
                  <a:pt x="1086" y="847"/>
                </a:lnTo>
                <a:lnTo>
                  <a:pt x="1071" y="853"/>
                </a:lnTo>
                <a:lnTo>
                  <a:pt x="1057" y="856"/>
                </a:lnTo>
                <a:lnTo>
                  <a:pt x="1051" y="856"/>
                </a:lnTo>
                <a:lnTo>
                  <a:pt x="1049" y="856"/>
                </a:lnTo>
                <a:lnTo>
                  <a:pt x="1049" y="856"/>
                </a:lnTo>
                <a:lnTo>
                  <a:pt x="1047" y="853"/>
                </a:lnTo>
                <a:lnTo>
                  <a:pt x="1049" y="851"/>
                </a:lnTo>
                <a:lnTo>
                  <a:pt x="1057" y="845"/>
                </a:lnTo>
                <a:lnTo>
                  <a:pt x="1060" y="843"/>
                </a:lnTo>
                <a:lnTo>
                  <a:pt x="1055" y="845"/>
                </a:lnTo>
                <a:lnTo>
                  <a:pt x="1055" y="845"/>
                </a:lnTo>
                <a:lnTo>
                  <a:pt x="1051" y="843"/>
                </a:lnTo>
                <a:lnTo>
                  <a:pt x="1045" y="843"/>
                </a:lnTo>
                <a:lnTo>
                  <a:pt x="1045" y="843"/>
                </a:lnTo>
                <a:lnTo>
                  <a:pt x="1036" y="841"/>
                </a:lnTo>
                <a:lnTo>
                  <a:pt x="1031" y="840"/>
                </a:lnTo>
                <a:lnTo>
                  <a:pt x="1031" y="840"/>
                </a:lnTo>
                <a:lnTo>
                  <a:pt x="1031" y="843"/>
                </a:lnTo>
                <a:lnTo>
                  <a:pt x="1033" y="853"/>
                </a:lnTo>
                <a:lnTo>
                  <a:pt x="1036" y="860"/>
                </a:lnTo>
                <a:lnTo>
                  <a:pt x="1038" y="862"/>
                </a:lnTo>
                <a:lnTo>
                  <a:pt x="1040" y="862"/>
                </a:lnTo>
                <a:lnTo>
                  <a:pt x="1040" y="862"/>
                </a:lnTo>
                <a:lnTo>
                  <a:pt x="1047" y="864"/>
                </a:lnTo>
                <a:lnTo>
                  <a:pt x="1051" y="864"/>
                </a:lnTo>
                <a:lnTo>
                  <a:pt x="1051" y="866"/>
                </a:lnTo>
                <a:lnTo>
                  <a:pt x="1051" y="866"/>
                </a:lnTo>
                <a:lnTo>
                  <a:pt x="1051" y="866"/>
                </a:lnTo>
                <a:lnTo>
                  <a:pt x="1033" y="873"/>
                </a:lnTo>
                <a:lnTo>
                  <a:pt x="1010" y="879"/>
                </a:lnTo>
                <a:lnTo>
                  <a:pt x="986" y="880"/>
                </a:lnTo>
                <a:lnTo>
                  <a:pt x="962" y="882"/>
                </a:lnTo>
                <a:lnTo>
                  <a:pt x="938" y="880"/>
                </a:lnTo>
                <a:lnTo>
                  <a:pt x="918" y="879"/>
                </a:lnTo>
                <a:lnTo>
                  <a:pt x="884" y="873"/>
                </a:lnTo>
                <a:lnTo>
                  <a:pt x="884" y="873"/>
                </a:lnTo>
                <a:lnTo>
                  <a:pt x="855" y="864"/>
                </a:lnTo>
                <a:lnTo>
                  <a:pt x="823" y="853"/>
                </a:lnTo>
                <a:lnTo>
                  <a:pt x="823" y="853"/>
                </a:lnTo>
                <a:lnTo>
                  <a:pt x="814" y="851"/>
                </a:lnTo>
                <a:lnTo>
                  <a:pt x="801" y="847"/>
                </a:lnTo>
                <a:lnTo>
                  <a:pt x="793" y="845"/>
                </a:lnTo>
                <a:lnTo>
                  <a:pt x="792" y="845"/>
                </a:lnTo>
                <a:lnTo>
                  <a:pt x="793" y="843"/>
                </a:lnTo>
                <a:lnTo>
                  <a:pt x="793" y="843"/>
                </a:lnTo>
                <a:lnTo>
                  <a:pt x="801" y="841"/>
                </a:lnTo>
                <a:lnTo>
                  <a:pt x="795" y="841"/>
                </a:lnTo>
                <a:lnTo>
                  <a:pt x="777" y="841"/>
                </a:lnTo>
                <a:lnTo>
                  <a:pt x="777" y="841"/>
                </a:lnTo>
                <a:lnTo>
                  <a:pt x="753" y="841"/>
                </a:lnTo>
                <a:lnTo>
                  <a:pt x="727" y="840"/>
                </a:lnTo>
                <a:lnTo>
                  <a:pt x="716" y="836"/>
                </a:lnTo>
                <a:lnTo>
                  <a:pt x="704" y="832"/>
                </a:lnTo>
                <a:lnTo>
                  <a:pt x="697" y="829"/>
                </a:lnTo>
                <a:lnTo>
                  <a:pt x="693" y="823"/>
                </a:lnTo>
                <a:lnTo>
                  <a:pt x="693" y="823"/>
                </a:lnTo>
                <a:lnTo>
                  <a:pt x="690" y="816"/>
                </a:lnTo>
                <a:lnTo>
                  <a:pt x="690" y="816"/>
                </a:lnTo>
                <a:lnTo>
                  <a:pt x="690" y="814"/>
                </a:lnTo>
                <a:lnTo>
                  <a:pt x="690" y="814"/>
                </a:lnTo>
                <a:lnTo>
                  <a:pt x="684" y="810"/>
                </a:lnTo>
                <a:lnTo>
                  <a:pt x="680" y="804"/>
                </a:lnTo>
                <a:lnTo>
                  <a:pt x="678" y="799"/>
                </a:lnTo>
                <a:lnTo>
                  <a:pt x="678" y="799"/>
                </a:lnTo>
                <a:lnTo>
                  <a:pt x="677" y="801"/>
                </a:lnTo>
                <a:lnTo>
                  <a:pt x="677" y="801"/>
                </a:lnTo>
                <a:lnTo>
                  <a:pt x="677" y="804"/>
                </a:lnTo>
                <a:lnTo>
                  <a:pt x="678" y="806"/>
                </a:lnTo>
                <a:lnTo>
                  <a:pt x="682" y="814"/>
                </a:lnTo>
                <a:lnTo>
                  <a:pt x="682" y="814"/>
                </a:lnTo>
                <a:lnTo>
                  <a:pt x="680" y="812"/>
                </a:lnTo>
                <a:lnTo>
                  <a:pt x="673" y="810"/>
                </a:lnTo>
                <a:lnTo>
                  <a:pt x="667" y="804"/>
                </a:lnTo>
                <a:lnTo>
                  <a:pt x="664" y="801"/>
                </a:lnTo>
                <a:lnTo>
                  <a:pt x="664" y="797"/>
                </a:lnTo>
                <a:lnTo>
                  <a:pt x="664" y="797"/>
                </a:lnTo>
                <a:lnTo>
                  <a:pt x="665" y="788"/>
                </a:lnTo>
                <a:lnTo>
                  <a:pt x="667" y="784"/>
                </a:lnTo>
                <a:lnTo>
                  <a:pt x="673" y="782"/>
                </a:lnTo>
                <a:lnTo>
                  <a:pt x="678" y="784"/>
                </a:lnTo>
                <a:lnTo>
                  <a:pt x="691" y="788"/>
                </a:lnTo>
                <a:lnTo>
                  <a:pt x="695" y="790"/>
                </a:lnTo>
                <a:lnTo>
                  <a:pt x="701" y="788"/>
                </a:lnTo>
                <a:lnTo>
                  <a:pt x="701" y="788"/>
                </a:lnTo>
                <a:lnTo>
                  <a:pt x="701" y="786"/>
                </a:lnTo>
                <a:lnTo>
                  <a:pt x="699" y="784"/>
                </a:lnTo>
                <a:lnTo>
                  <a:pt x="691" y="778"/>
                </a:lnTo>
                <a:lnTo>
                  <a:pt x="684" y="773"/>
                </a:lnTo>
                <a:lnTo>
                  <a:pt x="682" y="771"/>
                </a:lnTo>
                <a:lnTo>
                  <a:pt x="682" y="767"/>
                </a:lnTo>
                <a:lnTo>
                  <a:pt x="682" y="767"/>
                </a:lnTo>
                <a:lnTo>
                  <a:pt x="684" y="764"/>
                </a:lnTo>
                <a:lnTo>
                  <a:pt x="684" y="760"/>
                </a:lnTo>
                <a:lnTo>
                  <a:pt x="682" y="758"/>
                </a:lnTo>
                <a:lnTo>
                  <a:pt x="682" y="758"/>
                </a:lnTo>
                <a:lnTo>
                  <a:pt x="677" y="758"/>
                </a:lnTo>
                <a:lnTo>
                  <a:pt x="671" y="762"/>
                </a:lnTo>
                <a:lnTo>
                  <a:pt x="667" y="767"/>
                </a:lnTo>
                <a:lnTo>
                  <a:pt x="664" y="775"/>
                </a:lnTo>
                <a:lnTo>
                  <a:pt x="658" y="788"/>
                </a:lnTo>
                <a:lnTo>
                  <a:pt x="656" y="791"/>
                </a:lnTo>
                <a:lnTo>
                  <a:pt x="654" y="793"/>
                </a:lnTo>
                <a:lnTo>
                  <a:pt x="654" y="793"/>
                </a:lnTo>
                <a:lnTo>
                  <a:pt x="647" y="791"/>
                </a:lnTo>
                <a:lnTo>
                  <a:pt x="643" y="788"/>
                </a:lnTo>
                <a:lnTo>
                  <a:pt x="638" y="784"/>
                </a:lnTo>
                <a:lnTo>
                  <a:pt x="634" y="780"/>
                </a:lnTo>
                <a:lnTo>
                  <a:pt x="634" y="780"/>
                </a:lnTo>
                <a:lnTo>
                  <a:pt x="628" y="778"/>
                </a:lnTo>
                <a:lnTo>
                  <a:pt x="630" y="777"/>
                </a:lnTo>
                <a:lnTo>
                  <a:pt x="641" y="777"/>
                </a:lnTo>
                <a:lnTo>
                  <a:pt x="651" y="777"/>
                </a:lnTo>
                <a:lnTo>
                  <a:pt x="638" y="773"/>
                </a:lnTo>
                <a:lnTo>
                  <a:pt x="638" y="773"/>
                </a:lnTo>
                <a:lnTo>
                  <a:pt x="638" y="771"/>
                </a:lnTo>
                <a:lnTo>
                  <a:pt x="640" y="767"/>
                </a:lnTo>
                <a:lnTo>
                  <a:pt x="638" y="758"/>
                </a:lnTo>
                <a:lnTo>
                  <a:pt x="638" y="751"/>
                </a:lnTo>
                <a:lnTo>
                  <a:pt x="638" y="756"/>
                </a:lnTo>
                <a:lnTo>
                  <a:pt x="638" y="756"/>
                </a:lnTo>
                <a:lnTo>
                  <a:pt x="638" y="762"/>
                </a:lnTo>
                <a:lnTo>
                  <a:pt x="636" y="765"/>
                </a:lnTo>
                <a:lnTo>
                  <a:pt x="632" y="767"/>
                </a:lnTo>
                <a:lnTo>
                  <a:pt x="628" y="769"/>
                </a:lnTo>
                <a:lnTo>
                  <a:pt x="615" y="769"/>
                </a:lnTo>
                <a:lnTo>
                  <a:pt x="602" y="767"/>
                </a:lnTo>
                <a:lnTo>
                  <a:pt x="589" y="764"/>
                </a:lnTo>
                <a:lnTo>
                  <a:pt x="575" y="760"/>
                </a:lnTo>
                <a:lnTo>
                  <a:pt x="564" y="754"/>
                </a:lnTo>
                <a:lnTo>
                  <a:pt x="556" y="747"/>
                </a:lnTo>
                <a:lnTo>
                  <a:pt x="556" y="747"/>
                </a:lnTo>
                <a:lnTo>
                  <a:pt x="554" y="745"/>
                </a:lnTo>
                <a:lnTo>
                  <a:pt x="554" y="743"/>
                </a:lnTo>
                <a:lnTo>
                  <a:pt x="558" y="738"/>
                </a:lnTo>
                <a:lnTo>
                  <a:pt x="569" y="730"/>
                </a:lnTo>
                <a:lnTo>
                  <a:pt x="573" y="727"/>
                </a:lnTo>
                <a:lnTo>
                  <a:pt x="573" y="725"/>
                </a:lnTo>
                <a:lnTo>
                  <a:pt x="573" y="725"/>
                </a:lnTo>
                <a:lnTo>
                  <a:pt x="567" y="725"/>
                </a:lnTo>
                <a:lnTo>
                  <a:pt x="554" y="727"/>
                </a:lnTo>
                <a:lnTo>
                  <a:pt x="554" y="727"/>
                </a:lnTo>
                <a:lnTo>
                  <a:pt x="545" y="728"/>
                </a:lnTo>
                <a:lnTo>
                  <a:pt x="541" y="732"/>
                </a:lnTo>
                <a:lnTo>
                  <a:pt x="541" y="736"/>
                </a:lnTo>
                <a:lnTo>
                  <a:pt x="543" y="740"/>
                </a:lnTo>
                <a:lnTo>
                  <a:pt x="543" y="743"/>
                </a:lnTo>
                <a:lnTo>
                  <a:pt x="543" y="749"/>
                </a:lnTo>
                <a:lnTo>
                  <a:pt x="538" y="753"/>
                </a:lnTo>
                <a:lnTo>
                  <a:pt x="525" y="756"/>
                </a:lnTo>
                <a:lnTo>
                  <a:pt x="525" y="756"/>
                </a:lnTo>
                <a:lnTo>
                  <a:pt x="513" y="758"/>
                </a:lnTo>
                <a:lnTo>
                  <a:pt x="504" y="758"/>
                </a:lnTo>
                <a:lnTo>
                  <a:pt x="488" y="756"/>
                </a:lnTo>
                <a:lnTo>
                  <a:pt x="473" y="751"/>
                </a:lnTo>
                <a:lnTo>
                  <a:pt x="454" y="749"/>
                </a:lnTo>
                <a:lnTo>
                  <a:pt x="454" y="749"/>
                </a:lnTo>
                <a:lnTo>
                  <a:pt x="452" y="749"/>
                </a:lnTo>
                <a:lnTo>
                  <a:pt x="450" y="753"/>
                </a:lnTo>
                <a:lnTo>
                  <a:pt x="450" y="753"/>
                </a:lnTo>
                <a:lnTo>
                  <a:pt x="447" y="754"/>
                </a:lnTo>
                <a:lnTo>
                  <a:pt x="441" y="756"/>
                </a:lnTo>
                <a:lnTo>
                  <a:pt x="426" y="758"/>
                </a:lnTo>
                <a:lnTo>
                  <a:pt x="386" y="760"/>
                </a:lnTo>
                <a:lnTo>
                  <a:pt x="343" y="762"/>
                </a:lnTo>
                <a:lnTo>
                  <a:pt x="326" y="762"/>
                </a:lnTo>
                <a:lnTo>
                  <a:pt x="315" y="764"/>
                </a:lnTo>
                <a:lnTo>
                  <a:pt x="315" y="764"/>
                </a:lnTo>
                <a:lnTo>
                  <a:pt x="311" y="765"/>
                </a:lnTo>
                <a:lnTo>
                  <a:pt x="308" y="767"/>
                </a:lnTo>
                <a:lnTo>
                  <a:pt x="308" y="767"/>
                </a:lnTo>
                <a:lnTo>
                  <a:pt x="306" y="767"/>
                </a:lnTo>
                <a:lnTo>
                  <a:pt x="304" y="765"/>
                </a:lnTo>
                <a:lnTo>
                  <a:pt x="304" y="760"/>
                </a:lnTo>
                <a:lnTo>
                  <a:pt x="306" y="751"/>
                </a:lnTo>
                <a:lnTo>
                  <a:pt x="306" y="751"/>
                </a:lnTo>
                <a:lnTo>
                  <a:pt x="306" y="749"/>
                </a:lnTo>
                <a:lnTo>
                  <a:pt x="304" y="749"/>
                </a:lnTo>
                <a:lnTo>
                  <a:pt x="302" y="747"/>
                </a:lnTo>
                <a:lnTo>
                  <a:pt x="300" y="745"/>
                </a:lnTo>
                <a:lnTo>
                  <a:pt x="300" y="745"/>
                </a:lnTo>
                <a:lnTo>
                  <a:pt x="302" y="743"/>
                </a:lnTo>
                <a:lnTo>
                  <a:pt x="304" y="740"/>
                </a:lnTo>
                <a:lnTo>
                  <a:pt x="304" y="740"/>
                </a:lnTo>
                <a:lnTo>
                  <a:pt x="306" y="736"/>
                </a:lnTo>
                <a:lnTo>
                  <a:pt x="308" y="730"/>
                </a:lnTo>
                <a:lnTo>
                  <a:pt x="308" y="730"/>
                </a:lnTo>
                <a:lnTo>
                  <a:pt x="308" y="728"/>
                </a:lnTo>
                <a:lnTo>
                  <a:pt x="306" y="723"/>
                </a:lnTo>
                <a:lnTo>
                  <a:pt x="302" y="712"/>
                </a:lnTo>
                <a:lnTo>
                  <a:pt x="300" y="704"/>
                </a:lnTo>
                <a:lnTo>
                  <a:pt x="298" y="699"/>
                </a:lnTo>
                <a:lnTo>
                  <a:pt x="300" y="693"/>
                </a:lnTo>
                <a:lnTo>
                  <a:pt x="306" y="691"/>
                </a:lnTo>
                <a:lnTo>
                  <a:pt x="306" y="691"/>
                </a:lnTo>
                <a:lnTo>
                  <a:pt x="311" y="689"/>
                </a:lnTo>
                <a:lnTo>
                  <a:pt x="315" y="693"/>
                </a:lnTo>
                <a:lnTo>
                  <a:pt x="323" y="704"/>
                </a:lnTo>
                <a:lnTo>
                  <a:pt x="328" y="710"/>
                </a:lnTo>
                <a:lnTo>
                  <a:pt x="336" y="714"/>
                </a:lnTo>
                <a:lnTo>
                  <a:pt x="347" y="714"/>
                </a:lnTo>
                <a:lnTo>
                  <a:pt x="360" y="710"/>
                </a:lnTo>
                <a:lnTo>
                  <a:pt x="360" y="710"/>
                </a:lnTo>
                <a:lnTo>
                  <a:pt x="374" y="708"/>
                </a:lnTo>
                <a:lnTo>
                  <a:pt x="397" y="706"/>
                </a:lnTo>
                <a:lnTo>
                  <a:pt x="408" y="704"/>
                </a:lnTo>
                <a:lnTo>
                  <a:pt x="415" y="701"/>
                </a:lnTo>
                <a:lnTo>
                  <a:pt x="423" y="697"/>
                </a:lnTo>
                <a:lnTo>
                  <a:pt x="426" y="693"/>
                </a:lnTo>
                <a:lnTo>
                  <a:pt x="426" y="693"/>
                </a:lnTo>
                <a:lnTo>
                  <a:pt x="426" y="691"/>
                </a:lnTo>
                <a:lnTo>
                  <a:pt x="423" y="689"/>
                </a:lnTo>
                <a:lnTo>
                  <a:pt x="417" y="686"/>
                </a:lnTo>
                <a:lnTo>
                  <a:pt x="415" y="686"/>
                </a:lnTo>
                <a:lnTo>
                  <a:pt x="415" y="684"/>
                </a:lnTo>
                <a:lnTo>
                  <a:pt x="425" y="682"/>
                </a:lnTo>
                <a:lnTo>
                  <a:pt x="425" y="682"/>
                </a:lnTo>
                <a:lnTo>
                  <a:pt x="428" y="682"/>
                </a:lnTo>
                <a:lnTo>
                  <a:pt x="432" y="682"/>
                </a:lnTo>
                <a:lnTo>
                  <a:pt x="432" y="682"/>
                </a:lnTo>
                <a:lnTo>
                  <a:pt x="434" y="680"/>
                </a:lnTo>
                <a:lnTo>
                  <a:pt x="432" y="678"/>
                </a:lnTo>
                <a:lnTo>
                  <a:pt x="425" y="676"/>
                </a:lnTo>
                <a:lnTo>
                  <a:pt x="417" y="675"/>
                </a:lnTo>
                <a:lnTo>
                  <a:pt x="415" y="673"/>
                </a:lnTo>
                <a:lnTo>
                  <a:pt x="413" y="671"/>
                </a:lnTo>
                <a:lnTo>
                  <a:pt x="413" y="671"/>
                </a:lnTo>
                <a:lnTo>
                  <a:pt x="415" y="669"/>
                </a:lnTo>
                <a:lnTo>
                  <a:pt x="417" y="669"/>
                </a:lnTo>
                <a:lnTo>
                  <a:pt x="423" y="669"/>
                </a:lnTo>
                <a:lnTo>
                  <a:pt x="434" y="671"/>
                </a:lnTo>
                <a:lnTo>
                  <a:pt x="434" y="671"/>
                </a:lnTo>
                <a:lnTo>
                  <a:pt x="437" y="673"/>
                </a:lnTo>
                <a:lnTo>
                  <a:pt x="441" y="673"/>
                </a:lnTo>
                <a:lnTo>
                  <a:pt x="454" y="671"/>
                </a:lnTo>
                <a:lnTo>
                  <a:pt x="465" y="667"/>
                </a:lnTo>
                <a:lnTo>
                  <a:pt x="471" y="664"/>
                </a:lnTo>
                <a:lnTo>
                  <a:pt x="471" y="664"/>
                </a:lnTo>
                <a:lnTo>
                  <a:pt x="471" y="664"/>
                </a:lnTo>
                <a:lnTo>
                  <a:pt x="469" y="662"/>
                </a:lnTo>
                <a:lnTo>
                  <a:pt x="465" y="664"/>
                </a:lnTo>
                <a:lnTo>
                  <a:pt x="465" y="664"/>
                </a:lnTo>
                <a:lnTo>
                  <a:pt x="460" y="660"/>
                </a:lnTo>
                <a:lnTo>
                  <a:pt x="449" y="654"/>
                </a:lnTo>
                <a:lnTo>
                  <a:pt x="439" y="647"/>
                </a:lnTo>
                <a:lnTo>
                  <a:pt x="437" y="643"/>
                </a:lnTo>
                <a:lnTo>
                  <a:pt x="439" y="639"/>
                </a:lnTo>
                <a:lnTo>
                  <a:pt x="439" y="639"/>
                </a:lnTo>
                <a:lnTo>
                  <a:pt x="445" y="634"/>
                </a:lnTo>
                <a:lnTo>
                  <a:pt x="452" y="628"/>
                </a:lnTo>
                <a:lnTo>
                  <a:pt x="463" y="623"/>
                </a:lnTo>
                <a:lnTo>
                  <a:pt x="478" y="619"/>
                </a:lnTo>
                <a:lnTo>
                  <a:pt x="489" y="617"/>
                </a:lnTo>
                <a:lnTo>
                  <a:pt x="512" y="615"/>
                </a:lnTo>
                <a:lnTo>
                  <a:pt x="521" y="612"/>
                </a:lnTo>
                <a:lnTo>
                  <a:pt x="523" y="610"/>
                </a:lnTo>
                <a:lnTo>
                  <a:pt x="526" y="606"/>
                </a:lnTo>
                <a:lnTo>
                  <a:pt x="526" y="606"/>
                </a:lnTo>
                <a:lnTo>
                  <a:pt x="526" y="606"/>
                </a:lnTo>
                <a:lnTo>
                  <a:pt x="525" y="606"/>
                </a:lnTo>
                <a:lnTo>
                  <a:pt x="521" y="606"/>
                </a:lnTo>
                <a:lnTo>
                  <a:pt x="513" y="608"/>
                </a:lnTo>
                <a:lnTo>
                  <a:pt x="513" y="608"/>
                </a:lnTo>
                <a:lnTo>
                  <a:pt x="508" y="610"/>
                </a:lnTo>
                <a:lnTo>
                  <a:pt x="506" y="608"/>
                </a:lnTo>
                <a:lnTo>
                  <a:pt x="508" y="606"/>
                </a:lnTo>
                <a:lnTo>
                  <a:pt x="508" y="606"/>
                </a:lnTo>
                <a:lnTo>
                  <a:pt x="512" y="604"/>
                </a:lnTo>
                <a:lnTo>
                  <a:pt x="512" y="604"/>
                </a:lnTo>
                <a:lnTo>
                  <a:pt x="506" y="602"/>
                </a:lnTo>
                <a:lnTo>
                  <a:pt x="491" y="602"/>
                </a:lnTo>
                <a:lnTo>
                  <a:pt x="491" y="602"/>
                </a:lnTo>
                <a:lnTo>
                  <a:pt x="482" y="602"/>
                </a:lnTo>
                <a:lnTo>
                  <a:pt x="475" y="602"/>
                </a:lnTo>
                <a:lnTo>
                  <a:pt x="467" y="606"/>
                </a:lnTo>
                <a:lnTo>
                  <a:pt x="462" y="610"/>
                </a:lnTo>
                <a:lnTo>
                  <a:pt x="447" y="617"/>
                </a:lnTo>
                <a:lnTo>
                  <a:pt x="434" y="628"/>
                </a:lnTo>
                <a:lnTo>
                  <a:pt x="434" y="628"/>
                </a:lnTo>
                <a:lnTo>
                  <a:pt x="428" y="628"/>
                </a:lnTo>
                <a:lnTo>
                  <a:pt x="417" y="630"/>
                </a:lnTo>
                <a:lnTo>
                  <a:pt x="408" y="628"/>
                </a:lnTo>
                <a:lnTo>
                  <a:pt x="404" y="628"/>
                </a:lnTo>
                <a:lnTo>
                  <a:pt x="404" y="626"/>
                </a:lnTo>
                <a:lnTo>
                  <a:pt x="404" y="626"/>
                </a:lnTo>
                <a:lnTo>
                  <a:pt x="406" y="621"/>
                </a:lnTo>
                <a:lnTo>
                  <a:pt x="410" y="619"/>
                </a:lnTo>
                <a:lnTo>
                  <a:pt x="423" y="613"/>
                </a:lnTo>
                <a:lnTo>
                  <a:pt x="436" y="612"/>
                </a:lnTo>
                <a:lnTo>
                  <a:pt x="441" y="610"/>
                </a:lnTo>
                <a:lnTo>
                  <a:pt x="443" y="606"/>
                </a:lnTo>
                <a:lnTo>
                  <a:pt x="443" y="606"/>
                </a:lnTo>
                <a:lnTo>
                  <a:pt x="443" y="604"/>
                </a:lnTo>
                <a:lnTo>
                  <a:pt x="441" y="602"/>
                </a:lnTo>
                <a:lnTo>
                  <a:pt x="432" y="604"/>
                </a:lnTo>
                <a:lnTo>
                  <a:pt x="421" y="606"/>
                </a:lnTo>
                <a:lnTo>
                  <a:pt x="417" y="606"/>
                </a:lnTo>
                <a:lnTo>
                  <a:pt x="413" y="604"/>
                </a:lnTo>
                <a:lnTo>
                  <a:pt x="413" y="604"/>
                </a:lnTo>
                <a:lnTo>
                  <a:pt x="413" y="600"/>
                </a:lnTo>
                <a:lnTo>
                  <a:pt x="415" y="597"/>
                </a:lnTo>
                <a:lnTo>
                  <a:pt x="421" y="586"/>
                </a:lnTo>
                <a:lnTo>
                  <a:pt x="432" y="576"/>
                </a:lnTo>
                <a:lnTo>
                  <a:pt x="445" y="565"/>
                </a:lnTo>
                <a:lnTo>
                  <a:pt x="458" y="558"/>
                </a:lnTo>
                <a:lnTo>
                  <a:pt x="471" y="550"/>
                </a:lnTo>
                <a:lnTo>
                  <a:pt x="480" y="550"/>
                </a:lnTo>
                <a:lnTo>
                  <a:pt x="484" y="550"/>
                </a:lnTo>
                <a:lnTo>
                  <a:pt x="486" y="552"/>
                </a:lnTo>
                <a:lnTo>
                  <a:pt x="486" y="552"/>
                </a:lnTo>
                <a:lnTo>
                  <a:pt x="489" y="556"/>
                </a:lnTo>
                <a:lnTo>
                  <a:pt x="495" y="556"/>
                </a:lnTo>
                <a:lnTo>
                  <a:pt x="504" y="556"/>
                </a:lnTo>
                <a:lnTo>
                  <a:pt x="504" y="556"/>
                </a:lnTo>
                <a:lnTo>
                  <a:pt x="504" y="556"/>
                </a:lnTo>
                <a:lnTo>
                  <a:pt x="504" y="556"/>
                </a:lnTo>
                <a:lnTo>
                  <a:pt x="501" y="554"/>
                </a:lnTo>
                <a:lnTo>
                  <a:pt x="497" y="552"/>
                </a:lnTo>
                <a:lnTo>
                  <a:pt x="493" y="550"/>
                </a:lnTo>
                <a:lnTo>
                  <a:pt x="493" y="550"/>
                </a:lnTo>
                <a:lnTo>
                  <a:pt x="488" y="547"/>
                </a:lnTo>
                <a:lnTo>
                  <a:pt x="482" y="545"/>
                </a:lnTo>
                <a:lnTo>
                  <a:pt x="478" y="545"/>
                </a:lnTo>
                <a:lnTo>
                  <a:pt x="476" y="543"/>
                </a:lnTo>
                <a:lnTo>
                  <a:pt x="476" y="543"/>
                </a:lnTo>
                <a:lnTo>
                  <a:pt x="476" y="541"/>
                </a:lnTo>
                <a:lnTo>
                  <a:pt x="478" y="539"/>
                </a:lnTo>
                <a:lnTo>
                  <a:pt x="488" y="539"/>
                </a:lnTo>
                <a:lnTo>
                  <a:pt x="499" y="537"/>
                </a:lnTo>
                <a:lnTo>
                  <a:pt x="502" y="537"/>
                </a:lnTo>
                <a:lnTo>
                  <a:pt x="502" y="534"/>
                </a:lnTo>
                <a:lnTo>
                  <a:pt x="502" y="534"/>
                </a:lnTo>
                <a:lnTo>
                  <a:pt x="501" y="532"/>
                </a:lnTo>
                <a:lnTo>
                  <a:pt x="497" y="530"/>
                </a:lnTo>
                <a:lnTo>
                  <a:pt x="486" y="532"/>
                </a:lnTo>
                <a:lnTo>
                  <a:pt x="471" y="536"/>
                </a:lnTo>
                <a:lnTo>
                  <a:pt x="471" y="536"/>
                </a:lnTo>
                <a:lnTo>
                  <a:pt x="471" y="532"/>
                </a:lnTo>
                <a:lnTo>
                  <a:pt x="469" y="530"/>
                </a:lnTo>
                <a:lnTo>
                  <a:pt x="469" y="532"/>
                </a:lnTo>
                <a:lnTo>
                  <a:pt x="463" y="539"/>
                </a:lnTo>
                <a:lnTo>
                  <a:pt x="463" y="539"/>
                </a:lnTo>
                <a:lnTo>
                  <a:pt x="454" y="549"/>
                </a:lnTo>
                <a:lnTo>
                  <a:pt x="443" y="558"/>
                </a:lnTo>
                <a:lnTo>
                  <a:pt x="430" y="565"/>
                </a:lnTo>
                <a:lnTo>
                  <a:pt x="417" y="569"/>
                </a:lnTo>
                <a:lnTo>
                  <a:pt x="417" y="569"/>
                </a:lnTo>
                <a:lnTo>
                  <a:pt x="415" y="569"/>
                </a:lnTo>
                <a:lnTo>
                  <a:pt x="415" y="567"/>
                </a:lnTo>
                <a:lnTo>
                  <a:pt x="415" y="563"/>
                </a:lnTo>
                <a:lnTo>
                  <a:pt x="417" y="558"/>
                </a:lnTo>
                <a:lnTo>
                  <a:pt x="417" y="556"/>
                </a:lnTo>
                <a:lnTo>
                  <a:pt x="415" y="556"/>
                </a:lnTo>
                <a:lnTo>
                  <a:pt x="415" y="556"/>
                </a:lnTo>
                <a:lnTo>
                  <a:pt x="412" y="558"/>
                </a:lnTo>
                <a:lnTo>
                  <a:pt x="408" y="563"/>
                </a:lnTo>
                <a:lnTo>
                  <a:pt x="400" y="576"/>
                </a:lnTo>
                <a:lnTo>
                  <a:pt x="397" y="588"/>
                </a:lnTo>
                <a:lnTo>
                  <a:pt x="393" y="589"/>
                </a:lnTo>
                <a:lnTo>
                  <a:pt x="391" y="588"/>
                </a:lnTo>
                <a:lnTo>
                  <a:pt x="391" y="588"/>
                </a:lnTo>
                <a:lnTo>
                  <a:pt x="389" y="584"/>
                </a:lnTo>
                <a:lnTo>
                  <a:pt x="384" y="584"/>
                </a:lnTo>
                <a:lnTo>
                  <a:pt x="380" y="582"/>
                </a:lnTo>
                <a:lnTo>
                  <a:pt x="378" y="578"/>
                </a:lnTo>
                <a:lnTo>
                  <a:pt x="378" y="578"/>
                </a:lnTo>
                <a:lnTo>
                  <a:pt x="380" y="571"/>
                </a:lnTo>
                <a:lnTo>
                  <a:pt x="382" y="563"/>
                </a:lnTo>
                <a:lnTo>
                  <a:pt x="384" y="558"/>
                </a:lnTo>
                <a:lnTo>
                  <a:pt x="382" y="556"/>
                </a:lnTo>
                <a:lnTo>
                  <a:pt x="380" y="554"/>
                </a:lnTo>
                <a:lnTo>
                  <a:pt x="380" y="554"/>
                </a:lnTo>
                <a:lnTo>
                  <a:pt x="376" y="554"/>
                </a:lnTo>
                <a:lnTo>
                  <a:pt x="373" y="554"/>
                </a:lnTo>
                <a:lnTo>
                  <a:pt x="367" y="558"/>
                </a:lnTo>
                <a:lnTo>
                  <a:pt x="365" y="558"/>
                </a:lnTo>
                <a:lnTo>
                  <a:pt x="363" y="558"/>
                </a:lnTo>
                <a:lnTo>
                  <a:pt x="361" y="554"/>
                </a:lnTo>
                <a:lnTo>
                  <a:pt x="361" y="549"/>
                </a:lnTo>
                <a:lnTo>
                  <a:pt x="361" y="549"/>
                </a:lnTo>
                <a:lnTo>
                  <a:pt x="363" y="545"/>
                </a:lnTo>
                <a:lnTo>
                  <a:pt x="363" y="543"/>
                </a:lnTo>
                <a:lnTo>
                  <a:pt x="363" y="543"/>
                </a:lnTo>
                <a:lnTo>
                  <a:pt x="363" y="543"/>
                </a:lnTo>
                <a:lnTo>
                  <a:pt x="361" y="541"/>
                </a:lnTo>
                <a:lnTo>
                  <a:pt x="358" y="541"/>
                </a:lnTo>
                <a:lnTo>
                  <a:pt x="358" y="541"/>
                </a:lnTo>
                <a:lnTo>
                  <a:pt x="352" y="536"/>
                </a:lnTo>
                <a:lnTo>
                  <a:pt x="348" y="530"/>
                </a:lnTo>
                <a:lnTo>
                  <a:pt x="348" y="530"/>
                </a:lnTo>
                <a:lnTo>
                  <a:pt x="348" y="528"/>
                </a:lnTo>
                <a:lnTo>
                  <a:pt x="350" y="528"/>
                </a:lnTo>
                <a:lnTo>
                  <a:pt x="354" y="530"/>
                </a:lnTo>
                <a:lnTo>
                  <a:pt x="358" y="532"/>
                </a:lnTo>
                <a:lnTo>
                  <a:pt x="363" y="534"/>
                </a:lnTo>
                <a:lnTo>
                  <a:pt x="363" y="534"/>
                </a:lnTo>
                <a:lnTo>
                  <a:pt x="367" y="530"/>
                </a:lnTo>
                <a:lnTo>
                  <a:pt x="369" y="528"/>
                </a:lnTo>
                <a:lnTo>
                  <a:pt x="371" y="524"/>
                </a:lnTo>
                <a:lnTo>
                  <a:pt x="374" y="521"/>
                </a:lnTo>
                <a:lnTo>
                  <a:pt x="374" y="521"/>
                </a:lnTo>
                <a:lnTo>
                  <a:pt x="384" y="515"/>
                </a:lnTo>
                <a:lnTo>
                  <a:pt x="389" y="511"/>
                </a:lnTo>
                <a:lnTo>
                  <a:pt x="389" y="510"/>
                </a:lnTo>
                <a:lnTo>
                  <a:pt x="389" y="510"/>
                </a:lnTo>
                <a:lnTo>
                  <a:pt x="389" y="510"/>
                </a:lnTo>
                <a:lnTo>
                  <a:pt x="386" y="510"/>
                </a:lnTo>
                <a:lnTo>
                  <a:pt x="382" y="510"/>
                </a:lnTo>
                <a:lnTo>
                  <a:pt x="373" y="515"/>
                </a:lnTo>
                <a:lnTo>
                  <a:pt x="363" y="521"/>
                </a:lnTo>
                <a:lnTo>
                  <a:pt x="360" y="523"/>
                </a:lnTo>
                <a:lnTo>
                  <a:pt x="358" y="523"/>
                </a:lnTo>
                <a:lnTo>
                  <a:pt x="358" y="523"/>
                </a:lnTo>
                <a:lnTo>
                  <a:pt x="358" y="521"/>
                </a:lnTo>
                <a:lnTo>
                  <a:pt x="358" y="519"/>
                </a:lnTo>
                <a:lnTo>
                  <a:pt x="361" y="513"/>
                </a:lnTo>
                <a:lnTo>
                  <a:pt x="367" y="508"/>
                </a:lnTo>
                <a:lnTo>
                  <a:pt x="367" y="506"/>
                </a:lnTo>
                <a:lnTo>
                  <a:pt x="367" y="502"/>
                </a:lnTo>
                <a:lnTo>
                  <a:pt x="367" y="502"/>
                </a:lnTo>
                <a:lnTo>
                  <a:pt x="361" y="499"/>
                </a:lnTo>
                <a:lnTo>
                  <a:pt x="350" y="493"/>
                </a:lnTo>
                <a:lnTo>
                  <a:pt x="339" y="491"/>
                </a:lnTo>
                <a:lnTo>
                  <a:pt x="332" y="491"/>
                </a:lnTo>
                <a:lnTo>
                  <a:pt x="328" y="493"/>
                </a:lnTo>
                <a:lnTo>
                  <a:pt x="328" y="493"/>
                </a:lnTo>
                <a:lnTo>
                  <a:pt x="319" y="495"/>
                </a:lnTo>
                <a:lnTo>
                  <a:pt x="313" y="497"/>
                </a:lnTo>
                <a:lnTo>
                  <a:pt x="313" y="497"/>
                </a:lnTo>
                <a:lnTo>
                  <a:pt x="308" y="495"/>
                </a:lnTo>
                <a:lnTo>
                  <a:pt x="304" y="489"/>
                </a:lnTo>
                <a:lnTo>
                  <a:pt x="298" y="487"/>
                </a:lnTo>
                <a:lnTo>
                  <a:pt x="297" y="487"/>
                </a:lnTo>
                <a:lnTo>
                  <a:pt x="295" y="491"/>
                </a:lnTo>
                <a:lnTo>
                  <a:pt x="295" y="491"/>
                </a:lnTo>
                <a:lnTo>
                  <a:pt x="297" y="493"/>
                </a:lnTo>
                <a:lnTo>
                  <a:pt x="298" y="495"/>
                </a:lnTo>
                <a:lnTo>
                  <a:pt x="300" y="497"/>
                </a:lnTo>
                <a:lnTo>
                  <a:pt x="300" y="499"/>
                </a:lnTo>
                <a:lnTo>
                  <a:pt x="300" y="499"/>
                </a:lnTo>
                <a:lnTo>
                  <a:pt x="297" y="499"/>
                </a:lnTo>
                <a:lnTo>
                  <a:pt x="287" y="497"/>
                </a:lnTo>
                <a:lnTo>
                  <a:pt x="260" y="491"/>
                </a:lnTo>
                <a:lnTo>
                  <a:pt x="228" y="486"/>
                </a:lnTo>
                <a:lnTo>
                  <a:pt x="215" y="484"/>
                </a:lnTo>
                <a:lnTo>
                  <a:pt x="206" y="484"/>
                </a:lnTo>
                <a:lnTo>
                  <a:pt x="206" y="484"/>
                </a:lnTo>
                <a:lnTo>
                  <a:pt x="189" y="486"/>
                </a:lnTo>
                <a:lnTo>
                  <a:pt x="178" y="489"/>
                </a:lnTo>
                <a:lnTo>
                  <a:pt x="169" y="493"/>
                </a:lnTo>
                <a:lnTo>
                  <a:pt x="159" y="499"/>
                </a:lnTo>
                <a:lnTo>
                  <a:pt x="152" y="502"/>
                </a:lnTo>
                <a:lnTo>
                  <a:pt x="143" y="508"/>
                </a:lnTo>
                <a:lnTo>
                  <a:pt x="132" y="510"/>
                </a:lnTo>
                <a:lnTo>
                  <a:pt x="119" y="511"/>
                </a:lnTo>
                <a:lnTo>
                  <a:pt x="119" y="511"/>
                </a:lnTo>
                <a:lnTo>
                  <a:pt x="113" y="510"/>
                </a:lnTo>
                <a:lnTo>
                  <a:pt x="108" y="506"/>
                </a:lnTo>
                <a:lnTo>
                  <a:pt x="93" y="493"/>
                </a:lnTo>
                <a:lnTo>
                  <a:pt x="87" y="486"/>
                </a:lnTo>
                <a:lnTo>
                  <a:pt x="82" y="478"/>
                </a:lnTo>
                <a:lnTo>
                  <a:pt x="80" y="471"/>
                </a:lnTo>
                <a:lnTo>
                  <a:pt x="80" y="465"/>
                </a:lnTo>
                <a:lnTo>
                  <a:pt x="80" y="465"/>
                </a:lnTo>
                <a:lnTo>
                  <a:pt x="87" y="460"/>
                </a:lnTo>
                <a:lnTo>
                  <a:pt x="95" y="456"/>
                </a:lnTo>
                <a:lnTo>
                  <a:pt x="104" y="456"/>
                </a:lnTo>
                <a:lnTo>
                  <a:pt x="113" y="458"/>
                </a:lnTo>
                <a:lnTo>
                  <a:pt x="132" y="463"/>
                </a:lnTo>
                <a:lnTo>
                  <a:pt x="141" y="465"/>
                </a:lnTo>
                <a:lnTo>
                  <a:pt x="148" y="465"/>
                </a:lnTo>
                <a:lnTo>
                  <a:pt x="148" y="465"/>
                </a:lnTo>
                <a:lnTo>
                  <a:pt x="156" y="461"/>
                </a:lnTo>
                <a:lnTo>
                  <a:pt x="165" y="458"/>
                </a:lnTo>
                <a:lnTo>
                  <a:pt x="182" y="450"/>
                </a:lnTo>
                <a:lnTo>
                  <a:pt x="189" y="447"/>
                </a:lnTo>
                <a:lnTo>
                  <a:pt x="196" y="445"/>
                </a:lnTo>
                <a:lnTo>
                  <a:pt x="202" y="447"/>
                </a:lnTo>
                <a:lnTo>
                  <a:pt x="206" y="450"/>
                </a:lnTo>
                <a:lnTo>
                  <a:pt x="206" y="450"/>
                </a:lnTo>
                <a:lnTo>
                  <a:pt x="209" y="456"/>
                </a:lnTo>
                <a:lnTo>
                  <a:pt x="213" y="458"/>
                </a:lnTo>
                <a:lnTo>
                  <a:pt x="215" y="458"/>
                </a:lnTo>
                <a:lnTo>
                  <a:pt x="217" y="454"/>
                </a:lnTo>
                <a:lnTo>
                  <a:pt x="217" y="454"/>
                </a:lnTo>
                <a:lnTo>
                  <a:pt x="217" y="439"/>
                </a:lnTo>
                <a:lnTo>
                  <a:pt x="217" y="435"/>
                </a:lnTo>
                <a:lnTo>
                  <a:pt x="219" y="432"/>
                </a:lnTo>
                <a:lnTo>
                  <a:pt x="221" y="430"/>
                </a:lnTo>
                <a:lnTo>
                  <a:pt x="226" y="430"/>
                </a:lnTo>
                <a:lnTo>
                  <a:pt x="226" y="430"/>
                </a:lnTo>
                <a:lnTo>
                  <a:pt x="235" y="432"/>
                </a:lnTo>
                <a:lnTo>
                  <a:pt x="241" y="434"/>
                </a:lnTo>
                <a:lnTo>
                  <a:pt x="241" y="434"/>
                </a:lnTo>
                <a:lnTo>
                  <a:pt x="237" y="439"/>
                </a:lnTo>
                <a:lnTo>
                  <a:pt x="232" y="447"/>
                </a:lnTo>
                <a:lnTo>
                  <a:pt x="230" y="450"/>
                </a:lnTo>
                <a:lnTo>
                  <a:pt x="230" y="454"/>
                </a:lnTo>
                <a:lnTo>
                  <a:pt x="232" y="456"/>
                </a:lnTo>
                <a:lnTo>
                  <a:pt x="237" y="458"/>
                </a:lnTo>
                <a:lnTo>
                  <a:pt x="237" y="458"/>
                </a:lnTo>
                <a:lnTo>
                  <a:pt x="241" y="458"/>
                </a:lnTo>
                <a:lnTo>
                  <a:pt x="243" y="456"/>
                </a:lnTo>
                <a:lnTo>
                  <a:pt x="245" y="448"/>
                </a:lnTo>
                <a:lnTo>
                  <a:pt x="248" y="441"/>
                </a:lnTo>
                <a:lnTo>
                  <a:pt x="250" y="434"/>
                </a:lnTo>
                <a:lnTo>
                  <a:pt x="250" y="434"/>
                </a:lnTo>
                <a:lnTo>
                  <a:pt x="254" y="432"/>
                </a:lnTo>
                <a:lnTo>
                  <a:pt x="256" y="432"/>
                </a:lnTo>
                <a:lnTo>
                  <a:pt x="263" y="432"/>
                </a:lnTo>
                <a:lnTo>
                  <a:pt x="272" y="434"/>
                </a:lnTo>
                <a:lnTo>
                  <a:pt x="280" y="432"/>
                </a:lnTo>
                <a:lnTo>
                  <a:pt x="280" y="432"/>
                </a:lnTo>
                <a:lnTo>
                  <a:pt x="282" y="432"/>
                </a:lnTo>
                <a:lnTo>
                  <a:pt x="282" y="428"/>
                </a:lnTo>
                <a:lnTo>
                  <a:pt x="284" y="421"/>
                </a:lnTo>
                <a:lnTo>
                  <a:pt x="285" y="417"/>
                </a:lnTo>
                <a:lnTo>
                  <a:pt x="289" y="415"/>
                </a:lnTo>
                <a:lnTo>
                  <a:pt x="293" y="413"/>
                </a:lnTo>
                <a:lnTo>
                  <a:pt x="300" y="413"/>
                </a:lnTo>
                <a:lnTo>
                  <a:pt x="300" y="413"/>
                </a:lnTo>
                <a:lnTo>
                  <a:pt x="302" y="419"/>
                </a:lnTo>
                <a:lnTo>
                  <a:pt x="304" y="428"/>
                </a:lnTo>
                <a:lnTo>
                  <a:pt x="306" y="434"/>
                </a:lnTo>
                <a:lnTo>
                  <a:pt x="310" y="437"/>
                </a:lnTo>
                <a:lnTo>
                  <a:pt x="315" y="441"/>
                </a:lnTo>
                <a:lnTo>
                  <a:pt x="324" y="441"/>
                </a:lnTo>
                <a:lnTo>
                  <a:pt x="324" y="441"/>
                </a:lnTo>
                <a:lnTo>
                  <a:pt x="326" y="441"/>
                </a:lnTo>
                <a:lnTo>
                  <a:pt x="326" y="439"/>
                </a:lnTo>
                <a:lnTo>
                  <a:pt x="326" y="434"/>
                </a:lnTo>
                <a:lnTo>
                  <a:pt x="324" y="426"/>
                </a:lnTo>
                <a:lnTo>
                  <a:pt x="326" y="424"/>
                </a:lnTo>
                <a:lnTo>
                  <a:pt x="328" y="423"/>
                </a:lnTo>
                <a:lnTo>
                  <a:pt x="328" y="423"/>
                </a:lnTo>
                <a:lnTo>
                  <a:pt x="339" y="421"/>
                </a:lnTo>
                <a:lnTo>
                  <a:pt x="356" y="421"/>
                </a:lnTo>
                <a:lnTo>
                  <a:pt x="397" y="424"/>
                </a:lnTo>
                <a:lnTo>
                  <a:pt x="436" y="426"/>
                </a:lnTo>
                <a:lnTo>
                  <a:pt x="449" y="426"/>
                </a:lnTo>
                <a:lnTo>
                  <a:pt x="452" y="426"/>
                </a:lnTo>
                <a:lnTo>
                  <a:pt x="454" y="424"/>
                </a:lnTo>
                <a:lnTo>
                  <a:pt x="454" y="424"/>
                </a:lnTo>
                <a:lnTo>
                  <a:pt x="454" y="417"/>
                </a:lnTo>
                <a:lnTo>
                  <a:pt x="456" y="406"/>
                </a:lnTo>
                <a:lnTo>
                  <a:pt x="456" y="406"/>
                </a:lnTo>
                <a:lnTo>
                  <a:pt x="460" y="391"/>
                </a:lnTo>
                <a:lnTo>
                  <a:pt x="460" y="384"/>
                </a:lnTo>
                <a:lnTo>
                  <a:pt x="458" y="382"/>
                </a:lnTo>
                <a:lnTo>
                  <a:pt x="456" y="382"/>
                </a:lnTo>
                <a:lnTo>
                  <a:pt x="450" y="384"/>
                </a:lnTo>
                <a:lnTo>
                  <a:pt x="432" y="395"/>
                </a:lnTo>
                <a:lnTo>
                  <a:pt x="421" y="400"/>
                </a:lnTo>
                <a:lnTo>
                  <a:pt x="410" y="406"/>
                </a:lnTo>
                <a:lnTo>
                  <a:pt x="410" y="406"/>
                </a:lnTo>
                <a:lnTo>
                  <a:pt x="402" y="406"/>
                </a:lnTo>
                <a:lnTo>
                  <a:pt x="393" y="406"/>
                </a:lnTo>
                <a:lnTo>
                  <a:pt x="373" y="400"/>
                </a:lnTo>
                <a:lnTo>
                  <a:pt x="354" y="395"/>
                </a:lnTo>
                <a:lnTo>
                  <a:pt x="339" y="391"/>
                </a:lnTo>
                <a:lnTo>
                  <a:pt x="339" y="391"/>
                </a:lnTo>
                <a:lnTo>
                  <a:pt x="332" y="391"/>
                </a:lnTo>
                <a:lnTo>
                  <a:pt x="328" y="389"/>
                </a:lnTo>
                <a:lnTo>
                  <a:pt x="328" y="387"/>
                </a:lnTo>
                <a:lnTo>
                  <a:pt x="328" y="387"/>
                </a:lnTo>
                <a:lnTo>
                  <a:pt x="328" y="387"/>
                </a:lnTo>
                <a:lnTo>
                  <a:pt x="330" y="382"/>
                </a:lnTo>
                <a:lnTo>
                  <a:pt x="330" y="382"/>
                </a:lnTo>
                <a:lnTo>
                  <a:pt x="339" y="371"/>
                </a:lnTo>
                <a:lnTo>
                  <a:pt x="354" y="361"/>
                </a:lnTo>
                <a:lnTo>
                  <a:pt x="369" y="350"/>
                </a:lnTo>
                <a:lnTo>
                  <a:pt x="386" y="341"/>
                </a:lnTo>
                <a:lnTo>
                  <a:pt x="421" y="326"/>
                </a:lnTo>
                <a:lnTo>
                  <a:pt x="436" y="321"/>
                </a:lnTo>
                <a:lnTo>
                  <a:pt x="449" y="319"/>
                </a:lnTo>
                <a:lnTo>
                  <a:pt x="449" y="319"/>
                </a:lnTo>
                <a:lnTo>
                  <a:pt x="460" y="315"/>
                </a:lnTo>
                <a:lnTo>
                  <a:pt x="467" y="311"/>
                </a:lnTo>
                <a:lnTo>
                  <a:pt x="471" y="308"/>
                </a:lnTo>
                <a:lnTo>
                  <a:pt x="471" y="308"/>
                </a:lnTo>
                <a:lnTo>
                  <a:pt x="469" y="308"/>
                </a:lnTo>
                <a:lnTo>
                  <a:pt x="465" y="309"/>
                </a:lnTo>
                <a:lnTo>
                  <a:pt x="460" y="311"/>
                </a:lnTo>
                <a:lnTo>
                  <a:pt x="460" y="311"/>
                </a:lnTo>
                <a:lnTo>
                  <a:pt x="452" y="311"/>
                </a:lnTo>
                <a:lnTo>
                  <a:pt x="443" y="313"/>
                </a:lnTo>
                <a:lnTo>
                  <a:pt x="425" y="311"/>
                </a:lnTo>
                <a:lnTo>
                  <a:pt x="425" y="311"/>
                </a:lnTo>
                <a:lnTo>
                  <a:pt x="425" y="311"/>
                </a:lnTo>
                <a:lnTo>
                  <a:pt x="425" y="311"/>
                </a:lnTo>
                <a:lnTo>
                  <a:pt x="426" y="308"/>
                </a:lnTo>
                <a:lnTo>
                  <a:pt x="428" y="304"/>
                </a:lnTo>
                <a:lnTo>
                  <a:pt x="428" y="302"/>
                </a:lnTo>
                <a:lnTo>
                  <a:pt x="428" y="302"/>
                </a:lnTo>
                <a:lnTo>
                  <a:pt x="425" y="302"/>
                </a:lnTo>
                <a:lnTo>
                  <a:pt x="419" y="302"/>
                </a:lnTo>
                <a:lnTo>
                  <a:pt x="413" y="302"/>
                </a:lnTo>
                <a:lnTo>
                  <a:pt x="410" y="302"/>
                </a:lnTo>
                <a:lnTo>
                  <a:pt x="410" y="300"/>
                </a:lnTo>
                <a:lnTo>
                  <a:pt x="410" y="300"/>
                </a:lnTo>
                <a:lnTo>
                  <a:pt x="406" y="293"/>
                </a:lnTo>
                <a:lnTo>
                  <a:pt x="404" y="289"/>
                </a:lnTo>
                <a:lnTo>
                  <a:pt x="402" y="287"/>
                </a:lnTo>
                <a:lnTo>
                  <a:pt x="402" y="287"/>
                </a:lnTo>
                <a:lnTo>
                  <a:pt x="400" y="289"/>
                </a:lnTo>
                <a:lnTo>
                  <a:pt x="399" y="295"/>
                </a:lnTo>
                <a:lnTo>
                  <a:pt x="393" y="300"/>
                </a:lnTo>
                <a:lnTo>
                  <a:pt x="387" y="308"/>
                </a:lnTo>
                <a:lnTo>
                  <a:pt x="382" y="313"/>
                </a:lnTo>
                <a:lnTo>
                  <a:pt x="378" y="313"/>
                </a:lnTo>
                <a:lnTo>
                  <a:pt x="374" y="315"/>
                </a:lnTo>
                <a:lnTo>
                  <a:pt x="371" y="313"/>
                </a:lnTo>
                <a:lnTo>
                  <a:pt x="367" y="311"/>
                </a:lnTo>
                <a:lnTo>
                  <a:pt x="361" y="306"/>
                </a:lnTo>
                <a:lnTo>
                  <a:pt x="358" y="300"/>
                </a:lnTo>
                <a:lnTo>
                  <a:pt x="358" y="300"/>
                </a:lnTo>
                <a:lnTo>
                  <a:pt x="358" y="300"/>
                </a:lnTo>
                <a:lnTo>
                  <a:pt x="358" y="298"/>
                </a:lnTo>
                <a:lnTo>
                  <a:pt x="365" y="295"/>
                </a:lnTo>
                <a:lnTo>
                  <a:pt x="384" y="285"/>
                </a:lnTo>
                <a:lnTo>
                  <a:pt x="400" y="276"/>
                </a:lnTo>
                <a:lnTo>
                  <a:pt x="404" y="270"/>
                </a:lnTo>
                <a:lnTo>
                  <a:pt x="404" y="269"/>
                </a:lnTo>
                <a:lnTo>
                  <a:pt x="402" y="267"/>
                </a:lnTo>
                <a:lnTo>
                  <a:pt x="402" y="267"/>
                </a:lnTo>
                <a:lnTo>
                  <a:pt x="399" y="267"/>
                </a:lnTo>
                <a:lnTo>
                  <a:pt x="395" y="269"/>
                </a:lnTo>
                <a:lnTo>
                  <a:pt x="389" y="276"/>
                </a:lnTo>
                <a:lnTo>
                  <a:pt x="389" y="276"/>
                </a:lnTo>
                <a:lnTo>
                  <a:pt x="384" y="282"/>
                </a:lnTo>
                <a:lnTo>
                  <a:pt x="378" y="283"/>
                </a:lnTo>
                <a:lnTo>
                  <a:pt x="378" y="283"/>
                </a:lnTo>
                <a:lnTo>
                  <a:pt x="373" y="285"/>
                </a:lnTo>
                <a:lnTo>
                  <a:pt x="369" y="285"/>
                </a:lnTo>
                <a:lnTo>
                  <a:pt x="369" y="283"/>
                </a:lnTo>
                <a:lnTo>
                  <a:pt x="367" y="282"/>
                </a:lnTo>
                <a:lnTo>
                  <a:pt x="367" y="280"/>
                </a:lnTo>
                <a:lnTo>
                  <a:pt x="363" y="278"/>
                </a:lnTo>
                <a:lnTo>
                  <a:pt x="360" y="278"/>
                </a:lnTo>
                <a:lnTo>
                  <a:pt x="352" y="282"/>
                </a:lnTo>
                <a:lnTo>
                  <a:pt x="352" y="282"/>
                </a:lnTo>
                <a:lnTo>
                  <a:pt x="350" y="289"/>
                </a:lnTo>
                <a:lnTo>
                  <a:pt x="347" y="293"/>
                </a:lnTo>
                <a:lnTo>
                  <a:pt x="343" y="295"/>
                </a:lnTo>
                <a:lnTo>
                  <a:pt x="339" y="293"/>
                </a:lnTo>
                <a:lnTo>
                  <a:pt x="339" y="293"/>
                </a:lnTo>
                <a:lnTo>
                  <a:pt x="337" y="287"/>
                </a:lnTo>
                <a:lnTo>
                  <a:pt x="337" y="274"/>
                </a:lnTo>
                <a:lnTo>
                  <a:pt x="334" y="261"/>
                </a:lnTo>
                <a:lnTo>
                  <a:pt x="332" y="258"/>
                </a:lnTo>
                <a:lnTo>
                  <a:pt x="328" y="258"/>
                </a:lnTo>
                <a:lnTo>
                  <a:pt x="328" y="258"/>
                </a:lnTo>
                <a:lnTo>
                  <a:pt x="328" y="261"/>
                </a:lnTo>
                <a:lnTo>
                  <a:pt x="328" y="269"/>
                </a:lnTo>
                <a:lnTo>
                  <a:pt x="328" y="269"/>
                </a:lnTo>
                <a:lnTo>
                  <a:pt x="330" y="272"/>
                </a:lnTo>
                <a:lnTo>
                  <a:pt x="328" y="276"/>
                </a:lnTo>
                <a:lnTo>
                  <a:pt x="324" y="282"/>
                </a:lnTo>
                <a:lnTo>
                  <a:pt x="321" y="283"/>
                </a:lnTo>
                <a:lnTo>
                  <a:pt x="315" y="285"/>
                </a:lnTo>
                <a:lnTo>
                  <a:pt x="315" y="285"/>
                </a:lnTo>
                <a:lnTo>
                  <a:pt x="310" y="285"/>
                </a:lnTo>
                <a:lnTo>
                  <a:pt x="308" y="280"/>
                </a:lnTo>
                <a:lnTo>
                  <a:pt x="306" y="274"/>
                </a:lnTo>
                <a:lnTo>
                  <a:pt x="306" y="267"/>
                </a:lnTo>
                <a:lnTo>
                  <a:pt x="306" y="261"/>
                </a:lnTo>
                <a:lnTo>
                  <a:pt x="304" y="258"/>
                </a:lnTo>
                <a:lnTo>
                  <a:pt x="304" y="256"/>
                </a:lnTo>
                <a:lnTo>
                  <a:pt x="300" y="256"/>
                </a:lnTo>
                <a:lnTo>
                  <a:pt x="295" y="259"/>
                </a:lnTo>
                <a:lnTo>
                  <a:pt x="295" y="259"/>
                </a:lnTo>
                <a:lnTo>
                  <a:pt x="295" y="261"/>
                </a:lnTo>
                <a:lnTo>
                  <a:pt x="295" y="265"/>
                </a:lnTo>
                <a:lnTo>
                  <a:pt x="298" y="276"/>
                </a:lnTo>
                <a:lnTo>
                  <a:pt x="302" y="289"/>
                </a:lnTo>
                <a:lnTo>
                  <a:pt x="302" y="293"/>
                </a:lnTo>
                <a:lnTo>
                  <a:pt x="300" y="295"/>
                </a:lnTo>
                <a:lnTo>
                  <a:pt x="300" y="295"/>
                </a:lnTo>
                <a:lnTo>
                  <a:pt x="295" y="293"/>
                </a:lnTo>
                <a:lnTo>
                  <a:pt x="287" y="289"/>
                </a:lnTo>
                <a:lnTo>
                  <a:pt x="274" y="283"/>
                </a:lnTo>
                <a:lnTo>
                  <a:pt x="274" y="283"/>
                </a:lnTo>
                <a:lnTo>
                  <a:pt x="276" y="280"/>
                </a:lnTo>
                <a:lnTo>
                  <a:pt x="282" y="276"/>
                </a:lnTo>
                <a:lnTo>
                  <a:pt x="287" y="270"/>
                </a:lnTo>
                <a:lnTo>
                  <a:pt x="289" y="269"/>
                </a:lnTo>
                <a:lnTo>
                  <a:pt x="289" y="267"/>
                </a:lnTo>
                <a:lnTo>
                  <a:pt x="289" y="267"/>
                </a:lnTo>
                <a:lnTo>
                  <a:pt x="285" y="263"/>
                </a:lnTo>
                <a:lnTo>
                  <a:pt x="280" y="263"/>
                </a:lnTo>
                <a:lnTo>
                  <a:pt x="274" y="267"/>
                </a:lnTo>
                <a:lnTo>
                  <a:pt x="271" y="269"/>
                </a:lnTo>
                <a:lnTo>
                  <a:pt x="261" y="278"/>
                </a:lnTo>
                <a:lnTo>
                  <a:pt x="252" y="283"/>
                </a:lnTo>
                <a:lnTo>
                  <a:pt x="252" y="283"/>
                </a:lnTo>
                <a:lnTo>
                  <a:pt x="248" y="283"/>
                </a:lnTo>
                <a:lnTo>
                  <a:pt x="247" y="282"/>
                </a:lnTo>
                <a:lnTo>
                  <a:pt x="239" y="276"/>
                </a:lnTo>
                <a:lnTo>
                  <a:pt x="232" y="272"/>
                </a:lnTo>
                <a:lnTo>
                  <a:pt x="230" y="270"/>
                </a:lnTo>
                <a:lnTo>
                  <a:pt x="226" y="272"/>
                </a:lnTo>
                <a:lnTo>
                  <a:pt x="226" y="272"/>
                </a:lnTo>
                <a:lnTo>
                  <a:pt x="224" y="274"/>
                </a:lnTo>
                <a:lnTo>
                  <a:pt x="222" y="278"/>
                </a:lnTo>
                <a:lnTo>
                  <a:pt x="222" y="282"/>
                </a:lnTo>
                <a:lnTo>
                  <a:pt x="224" y="287"/>
                </a:lnTo>
                <a:lnTo>
                  <a:pt x="224" y="291"/>
                </a:lnTo>
                <a:lnTo>
                  <a:pt x="224" y="291"/>
                </a:lnTo>
                <a:lnTo>
                  <a:pt x="221" y="296"/>
                </a:lnTo>
                <a:lnTo>
                  <a:pt x="217" y="298"/>
                </a:lnTo>
                <a:lnTo>
                  <a:pt x="209" y="298"/>
                </a:lnTo>
                <a:lnTo>
                  <a:pt x="204" y="296"/>
                </a:lnTo>
                <a:lnTo>
                  <a:pt x="193" y="291"/>
                </a:lnTo>
                <a:lnTo>
                  <a:pt x="189" y="289"/>
                </a:lnTo>
                <a:lnTo>
                  <a:pt x="189" y="289"/>
                </a:lnTo>
                <a:lnTo>
                  <a:pt x="174" y="298"/>
                </a:lnTo>
                <a:lnTo>
                  <a:pt x="152" y="309"/>
                </a:lnTo>
                <a:lnTo>
                  <a:pt x="128" y="319"/>
                </a:lnTo>
                <a:lnTo>
                  <a:pt x="117" y="321"/>
                </a:lnTo>
                <a:lnTo>
                  <a:pt x="108" y="321"/>
                </a:lnTo>
                <a:lnTo>
                  <a:pt x="108" y="321"/>
                </a:lnTo>
                <a:lnTo>
                  <a:pt x="102" y="321"/>
                </a:lnTo>
                <a:lnTo>
                  <a:pt x="96" y="319"/>
                </a:lnTo>
                <a:lnTo>
                  <a:pt x="91" y="313"/>
                </a:lnTo>
                <a:lnTo>
                  <a:pt x="89" y="308"/>
                </a:lnTo>
                <a:lnTo>
                  <a:pt x="87" y="304"/>
                </a:lnTo>
                <a:lnTo>
                  <a:pt x="87" y="304"/>
                </a:lnTo>
                <a:lnTo>
                  <a:pt x="70" y="298"/>
                </a:lnTo>
                <a:lnTo>
                  <a:pt x="70" y="298"/>
                </a:lnTo>
                <a:lnTo>
                  <a:pt x="56" y="298"/>
                </a:lnTo>
                <a:lnTo>
                  <a:pt x="33" y="298"/>
                </a:lnTo>
                <a:lnTo>
                  <a:pt x="11" y="296"/>
                </a:lnTo>
                <a:lnTo>
                  <a:pt x="4" y="296"/>
                </a:lnTo>
                <a:lnTo>
                  <a:pt x="0" y="295"/>
                </a:lnTo>
                <a:lnTo>
                  <a:pt x="0" y="295"/>
                </a:lnTo>
                <a:lnTo>
                  <a:pt x="2" y="293"/>
                </a:lnTo>
                <a:lnTo>
                  <a:pt x="4" y="291"/>
                </a:lnTo>
                <a:lnTo>
                  <a:pt x="13" y="285"/>
                </a:lnTo>
                <a:lnTo>
                  <a:pt x="28" y="278"/>
                </a:lnTo>
                <a:lnTo>
                  <a:pt x="28" y="278"/>
                </a:lnTo>
                <a:lnTo>
                  <a:pt x="30" y="276"/>
                </a:lnTo>
                <a:lnTo>
                  <a:pt x="30" y="274"/>
                </a:lnTo>
                <a:lnTo>
                  <a:pt x="30" y="267"/>
                </a:lnTo>
                <a:lnTo>
                  <a:pt x="32" y="261"/>
                </a:lnTo>
                <a:lnTo>
                  <a:pt x="33" y="258"/>
                </a:lnTo>
                <a:lnTo>
                  <a:pt x="37" y="256"/>
                </a:lnTo>
                <a:lnTo>
                  <a:pt x="37" y="256"/>
                </a:lnTo>
                <a:lnTo>
                  <a:pt x="41" y="254"/>
                </a:lnTo>
                <a:lnTo>
                  <a:pt x="44" y="254"/>
                </a:lnTo>
                <a:lnTo>
                  <a:pt x="56" y="258"/>
                </a:lnTo>
                <a:lnTo>
                  <a:pt x="67" y="265"/>
                </a:lnTo>
                <a:lnTo>
                  <a:pt x="80" y="274"/>
                </a:lnTo>
                <a:lnTo>
                  <a:pt x="93" y="282"/>
                </a:lnTo>
                <a:lnTo>
                  <a:pt x="106" y="287"/>
                </a:lnTo>
                <a:lnTo>
                  <a:pt x="111" y="289"/>
                </a:lnTo>
                <a:lnTo>
                  <a:pt x="115" y="289"/>
                </a:lnTo>
                <a:lnTo>
                  <a:pt x="119" y="289"/>
                </a:lnTo>
                <a:lnTo>
                  <a:pt x="122" y="285"/>
                </a:lnTo>
                <a:lnTo>
                  <a:pt x="122" y="285"/>
                </a:lnTo>
                <a:lnTo>
                  <a:pt x="120" y="285"/>
                </a:lnTo>
                <a:lnTo>
                  <a:pt x="119" y="285"/>
                </a:lnTo>
                <a:lnTo>
                  <a:pt x="119" y="285"/>
                </a:lnTo>
                <a:lnTo>
                  <a:pt x="109" y="280"/>
                </a:lnTo>
                <a:lnTo>
                  <a:pt x="95" y="272"/>
                </a:lnTo>
                <a:lnTo>
                  <a:pt x="80" y="261"/>
                </a:lnTo>
                <a:lnTo>
                  <a:pt x="76" y="256"/>
                </a:lnTo>
                <a:lnTo>
                  <a:pt x="76" y="252"/>
                </a:lnTo>
                <a:lnTo>
                  <a:pt x="76" y="252"/>
                </a:lnTo>
                <a:lnTo>
                  <a:pt x="80" y="250"/>
                </a:lnTo>
                <a:lnTo>
                  <a:pt x="85" y="250"/>
                </a:lnTo>
                <a:lnTo>
                  <a:pt x="100" y="256"/>
                </a:lnTo>
                <a:lnTo>
                  <a:pt x="113" y="263"/>
                </a:lnTo>
                <a:lnTo>
                  <a:pt x="119" y="263"/>
                </a:lnTo>
                <a:lnTo>
                  <a:pt x="122" y="263"/>
                </a:lnTo>
                <a:lnTo>
                  <a:pt x="122" y="263"/>
                </a:lnTo>
                <a:lnTo>
                  <a:pt x="117" y="258"/>
                </a:lnTo>
                <a:lnTo>
                  <a:pt x="108" y="252"/>
                </a:lnTo>
                <a:lnTo>
                  <a:pt x="108" y="252"/>
                </a:lnTo>
                <a:lnTo>
                  <a:pt x="95" y="246"/>
                </a:lnTo>
                <a:lnTo>
                  <a:pt x="78" y="235"/>
                </a:lnTo>
                <a:lnTo>
                  <a:pt x="70" y="228"/>
                </a:lnTo>
                <a:lnTo>
                  <a:pt x="67" y="220"/>
                </a:lnTo>
                <a:lnTo>
                  <a:pt x="67" y="219"/>
                </a:lnTo>
                <a:lnTo>
                  <a:pt x="67" y="215"/>
                </a:lnTo>
                <a:lnTo>
                  <a:pt x="69" y="211"/>
                </a:lnTo>
                <a:lnTo>
                  <a:pt x="72" y="207"/>
                </a:lnTo>
                <a:lnTo>
                  <a:pt x="72" y="207"/>
                </a:lnTo>
                <a:lnTo>
                  <a:pt x="76" y="207"/>
                </a:lnTo>
                <a:lnTo>
                  <a:pt x="80" y="207"/>
                </a:lnTo>
                <a:lnTo>
                  <a:pt x="91" y="209"/>
                </a:lnTo>
                <a:lnTo>
                  <a:pt x="106" y="217"/>
                </a:lnTo>
                <a:lnTo>
                  <a:pt x="122" y="224"/>
                </a:lnTo>
                <a:lnTo>
                  <a:pt x="139" y="232"/>
                </a:lnTo>
                <a:lnTo>
                  <a:pt x="152" y="241"/>
                </a:lnTo>
                <a:lnTo>
                  <a:pt x="161" y="248"/>
                </a:lnTo>
                <a:lnTo>
                  <a:pt x="163" y="252"/>
                </a:lnTo>
                <a:lnTo>
                  <a:pt x="163" y="254"/>
                </a:lnTo>
                <a:lnTo>
                  <a:pt x="163" y="254"/>
                </a:lnTo>
                <a:lnTo>
                  <a:pt x="165" y="259"/>
                </a:lnTo>
                <a:lnTo>
                  <a:pt x="167" y="261"/>
                </a:lnTo>
                <a:lnTo>
                  <a:pt x="171" y="261"/>
                </a:lnTo>
                <a:lnTo>
                  <a:pt x="178" y="259"/>
                </a:lnTo>
                <a:lnTo>
                  <a:pt x="189" y="252"/>
                </a:lnTo>
                <a:lnTo>
                  <a:pt x="202" y="248"/>
                </a:lnTo>
                <a:lnTo>
                  <a:pt x="202" y="248"/>
                </a:lnTo>
                <a:lnTo>
                  <a:pt x="206" y="246"/>
                </a:lnTo>
                <a:lnTo>
                  <a:pt x="208" y="246"/>
                </a:lnTo>
                <a:lnTo>
                  <a:pt x="209" y="245"/>
                </a:lnTo>
                <a:lnTo>
                  <a:pt x="209" y="245"/>
                </a:lnTo>
                <a:lnTo>
                  <a:pt x="206" y="243"/>
                </a:lnTo>
                <a:lnTo>
                  <a:pt x="200" y="243"/>
                </a:lnTo>
                <a:lnTo>
                  <a:pt x="185" y="245"/>
                </a:lnTo>
                <a:lnTo>
                  <a:pt x="178" y="245"/>
                </a:lnTo>
                <a:lnTo>
                  <a:pt x="172" y="243"/>
                </a:lnTo>
                <a:lnTo>
                  <a:pt x="169" y="239"/>
                </a:lnTo>
                <a:lnTo>
                  <a:pt x="167" y="233"/>
                </a:lnTo>
                <a:lnTo>
                  <a:pt x="167" y="233"/>
                </a:lnTo>
                <a:lnTo>
                  <a:pt x="167" y="232"/>
                </a:lnTo>
                <a:lnTo>
                  <a:pt x="169" y="230"/>
                </a:lnTo>
                <a:lnTo>
                  <a:pt x="176" y="228"/>
                </a:lnTo>
                <a:lnTo>
                  <a:pt x="198" y="228"/>
                </a:lnTo>
                <a:lnTo>
                  <a:pt x="208" y="226"/>
                </a:lnTo>
                <a:lnTo>
                  <a:pt x="217" y="224"/>
                </a:lnTo>
                <a:lnTo>
                  <a:pt x="222" y="222"/>
                </a:lnTo>
                <a:lnTo>
                  <a:pt x="224" y="219"/>
                </a:lnTo>
                <a:lnTo>
                  <a:pt x="224" y="217"/>
                </a:lnTo>
                <a:lnTo>
                  <a:pt x="224" y="217"/>
                </a:lnTo>
                <a:lnTo>
                  <a:pt x="222" y="215"/>
                </a:lnTo>
                <a:lnTo>
                  <a:pt x="219" y="217"/>
                </a:lnTo>
                <a:lnTo>
                  <a:pt x="213" y="219"/>
                </a:lnTo>
                <a:lnTo>
                  <a:pt x="213" y="219"/>
                </a:lnTo>
                <a:lnTo>
                  <a:pt x="202" y="222"/>
                </a:lnTo>
                <a:lnTo>
                  <a:pt x="189" y="222"/>
                </a:lnTo>
                <a:lnTo>
                  <a:pt x="165" y="222"/>
                </a:lnTo>
                <a:lnTo>
                  <a:pt x="165" y="222"/>
                </a:lnTo>
                <a:lnTo>
                  <a:pt x="146" y="219"/>
                </a:lnTo>
                <a:lnTo>
                  <a:pt x="135" y="213"/>
                </a:lnTo>
                <a:lnTo>
                  <a:pt x="124" y="207"/>
                </a:lnTo>
                <a:lnTo>
                  <a:pt x="117" y="200"/>
                </a:lnTo>
                <a:lnTo>
                  <a:pt x="111" y="193"/>
                </a:lnTo>
                <a:lnTo>
                  <a:pt x="109" y="189"/>
                </a:lnTo>
                <a:lnTo>
                  <a:pt x="111" y="185"/>
                </a:lnTo>
                <a:lnTo>
                  <a:pt x="113" y="181"/>
                </a:lnTo>
                <a:lnTo>
                  <a:pt x="117" y="176"/>
                </a:lnTo>
                <a:lnTo>
                  <a:pt x="117" y="176"/>
                </a:lnTo>
                <a:lnTo>
                  <a:pt x="124" y="176"/>
                </a:lnTo>
                <a:lnTo>
                  <a:pt x="135" y="178"/>
                </a:lnTo>
                <a:lnTo>
                  <a:pt x="169" y="187"/>
                </a:lnTo>
                <a:lnTo>
                  <a:pt x="202" y="196"/>
                </a:lnTo>
                <a:lnTo>
                  <a:pt x="215" y="198"/>
                </a:lnTo>
                <a:lnTo>
                  <a:pt x="221" y="198"/>
                </a:lnTo>
                <a:lnTo>
                  <a:pt x="221" y="198"/>
                </a:lnTo>
                <a:lnTo>
                  <a:pt x="221" y="196"/>
                </a:lnTo>
                <a:lnTo>
                  <a:pt x="221" y="194"/>
                </a:lnTo>
                <a:lnTo>
                  <a:pt x="211" y="193"/>
                </a:lnTo>
                <a:lnTo>
                  <a:pt x="189" y="189"/>
                </a:lnTo>
                <a:lnTo>
                  <a:pt x="189" y="189"/>
                </a:lnTo>
                <a:lnTo>
                  <a:pt x="174" y="185"/>
                </a:lnTo>
                <a:lnTo>
                  <a:pt x="152" y="176"/>
                </a:lnTo>
                <a:lnTo>
                  <a:pt x="141" y="169"/>
                </a:lnTo>
                <a:lnTo>
                  <a:pt x="130" y="163"/>
                </a:lnTo>
                <a:lnTo>
                  <a:pt x="124" y="156"/>
                </a:lnTo>
                <a:lnTo>
                  <a:pt x="120" y="148"/>
                </a:lnTo>
                <a:lnTo>
                  <a:pt x="120" y="148"/>
                </a:lnTo>
                <a:lnTo>
                  <a:pt x="120" y="144"/>
                </a:lnTo>
                <a:lnTo>
                  <a:pt x="120" y="141"/>
                </a:lnTo>
                <a:lnTo>
                  <a:pt x="124" y="137"/>
                </a:lnTo>
                <a:lnTo>
                  <a:pt x="128" y="135"/>
                </a:lnTo>
                <a:lnTo>
                  <a:pt x="137" y="135"/>
                </a:lnTo>
                <a:lnTo>
                  <a:pt x="150" y="137"/>
                </a:lnTo>
                <a:lnTo>
                  <a:pt x="161" y="141"/>
                </a:lnTo>
                <a:lnTo>
                  <a:pt x="174" y="144"/>
                </a:lnTo>
                <a:lnTo>
                  <a:pt x="182" y="150"/>
                </a:lnTo>
                <a:lnTo>
                  <a:pt x="187" y="154"/>
                </a:lnTo>
                <a:lnTo>
                  <a:pt x="187" y="154"/>
                </a:lnTo>
                <a:lnTo>
                  <a:pt x="191" y="156"/>
                </a:lnTo>
                <a:lnTo>
                  <a:pt x="193" y="157"/>
                </a:lnTo>
                <a:lnTo>
                  <a:pt x="195" y="156"/>
                </a:lnTo>
                <a:lnTo>
                  <a:pt x="195" y="156"/>
                </a:lnTo>
                <a:lnTo>
                  <a:pt x="195" y="154"/>
                </a:lnTo>
                <a:lnTo>
                  <a:pt x="193" y="152"/>
                </a:lnTo>
                <a:lnTo>
                  <a:pt x="189" y="146"/>
                </a:lnTo>
                <a:lnTo>
                  <a:pt x="172" y="137"/>
                </a:lnTo>
                <a:lnTo>
                  <a:pt x="156" y="130"/>
                </a:lnTo>
                <a:lnTo>
                  <a:pt x="148" y="126"/>
                </a:lnTo>
                <a:lnTo>
                  <a:pt x="145" y="120"/>
                </a:lnTo>
                <a:lnTo>
                  <a:pt x="145" y="120"/>
                </a:lnTo>
                <a:lnTo>
                  <a:pt x="145" y="120"/>
                </a:lnTo>
                <a:lnTo>
                  <a:pt x="146" y="118"/>
                </a:lnTo>
                <a:lnTo>
                  <a:pt x="150" y="117"/>
                </a:lnTo>
                <a:lnTo>
                  <a:pt x="165" y="118"/>
                </a:lnTo>
                <a:lnTo>
                  <a:pt x="191" y="126"/>
                </a:lnTo>
                <a:lnTo>
                  <a:pt x="191" y="126"/>
                </a:lnTo>
                <a:lnTo>
                  <a:pt x="191" y="126"/>
                </a:lnTo>
                <a:lnTo>
                  <a:pt x="189" y="124"/>
                </a:lnTo>
                <a:lnTo>
                  <a:pt x="182" y="117"/>
                </a:lnTo>
                <a:lnTo>
                  <a:pt x="182" y="117"/>
                </a:lnTo>
                <a:lnTo>
                  <a:pt x="178" y="115"/>
                </a:lnTo>
                <a:lnTo>
                  <a:pt x="174" y="115"/>
                </a:lnTo>
                <a:lnTo>
                  <a:pt x="165" y="115"/>
                </a:lnTo>
                <a:lnTo>
                  <a:pt x="158" y="113"/>
                </a:lnTo>
                <a:lnTo>
                  <a:pt x="158" y="111"/>
                </a:lnTo>
                <a:lnTo>
                  <a:pt x="159" y="107"/>
                </a:lnTo>
                <a:lnTo>
                  <a:pt x="159" y="107"/>
                </a:lnTo>
                <a:lnTo>
                  <a:pt x="165" y="102"/>
                </a:lnTo>
                <a:lnTo>
                  <a:pt x="171" y="100"/>
                </a:lnTo>
                <a:lnTo>
                  <a:pt x="178" y="98"/>
                </a:lnTo>
                <a:lnTo>
                  <a:pt x="187" y="98"/>
                </a:lnTo>
                <a:lnTo>
                  <a:pt x="204" y="102"/>
                </a:lnTo>
                <a:lnTo>
                  <a:pt x="221" y="109"/>
                </a:lnTo>
                <a:lnTo>
                  <a:pt x="237" y="118"/>
                </a:lnTo>
                <a:lnTo>
                  <a:pt x="248" y="130"/>
                </a:lnTo>
                <a:lnTo>
                  <a:pt x="258" y="139"/>
                </a:lnTo>
                <a:lnTo>
                  <a:pt x="260" y="143"/>
                </a:lnTo>
                <a:lnTo>
                  <a:pt x="260" y="146"/>
                </a:lnTo>
                <a:lnTo>
                  <a:pt x="260" y="146"/>
                </a:lnTo>
                <a:lnTo>
                  <a:pt x="254" y="159"/>
                </a:lnTo>
                <a:lnTo>
                  <a:pt x="254" y="161"/>
                </a:lnTo>
                <a:lnTo>
                  <a:pt x="256" y="161"/>
                </a:lnTo>
                <a:lnTo>
                  <a:pt x="260" y="156"/>
                </a:lnTo>
                <a:lnTo>
                  <a:pt x="265" y="143"/>
                </a:lnTo>
                <a:lnTo>
                  <a:pt x="265" y="143"/>
                </a:lnTo>
                <a:lnTo>
                  <a:pt x="267" y="141"/>
                </a:lnTo>
                <a:lnTo>
                  <a:pt x="269" y="141"/>
                </a:lnTo>
                <a:lnTo>
                  <a:pt x="271" y="146"/>
                </a:lnTo>
                <a:lnTo>
                  <a:pt x="271" y="146"/>
                </a:lnTo>
                <a:lnTo>
                  <a:pt x="274" y="150"/>
                </a:lnTo>
                <a:lnTo>
                  <a:pt x="278" y="154"/>
                </a:lnTo>
                <a:lnTo>
                  <a:pt x="278" y="156"/>
                </a:lnTo>
                <a:lnTo>
                  <a:pt x="276" y="157"/>
                </a:lnTo>
                <a:lnTo>
                  <a:pt x="267" y="169"/>
                </a:lnTo>
                <a:lnTo>
                  <a:pt x="267" y="169"/>
                </a:lnTo>
                <a:lnTo>
                  <a:pt x="274" y="163"/>
                </a:lnTo>
                <a:lnTo>
                  <a:pt x="284" y="159"/>
                </a:lnTo>
                <a:lnTo>
                  <a:pt x="284" y="159"/>
                </a:lnTo>
                <a:lnTo>
                  <a:pt x="284" y="170"/>
                </a:lnTo>
                <a:lnTo>
                  <a:pt x="284" y="178"/>
                </a:lnTo>
                <a:lnTo>
                  <a:pt x="284" y="178"/>
                </a:lnTo>
                <a:lnTo>
                  <a:pt x="287" y="176"/>
                </a:lnTo>
                <a:lnTo>
                  <a:pt x="287" y="172"/>
                </a:lnTo>
                <a:lnTo>
                  <a:pt x="291" y="157"/>
                </a:lnTo>
                <a:lnTo>
                  <a:pt x="293" y="148"/>
                </a:lnTo>
                <a:lnTo>
                  <a:pt x="297" y="143"/>
                </a:lnTo>
                <a:lnTo>
                  <a:pt x="300" y="137"/>
                </a:lnTo>
                <a:lnTo>
                  <a:pt x="304" y="137"/>
                </a:lnTo>
                <a:lnTo>
                  <a:pt x="308" y="137"/>
                </a:lnTo>
                <a:lnTo>
                  <a:pt x="308" y="137"/>
                </a:lnTo>
                <a:lnTo>
                  <a:pt x="315" y="139"/>
                </a:lnTo>
                <a:lnTo>
                  <a:pt x="319" y="141"/>
                </a:lnTo>
                <a:lnTo>
                  <a:pt x="321" y="144"/>
                </a:lnTo>
                <a:lnTo>
                  <a:pt x="323" y="148"/>
                </a:lnTo>
                <a:lnTo>
                  <a:pt x="324" y="157"/>
                </a:lnTo>
                <a:lnTo>
                  <a:pt x="321" y="169"/>
                </a:lnTo>
                <a:lnTo>
                  <a:pt x="313" y="189"/>
                </a:lnTo>
                <a:lnTo>
                  <a:pt x="311" y="196"/>
                </a:lnTo>
                <a:lnTo>
                  <a:pt x="311" y="200"/>
                </a:lnTo>
                <a:lnTo>
                  <a:pt x="313" y="202"/>
                </a:lnTo>
                <a:lnTo>
                  <a:pt x="313" y="202"/>
                </a:lnTo>
                <a:lnTo>
                  <a:pt x="317" y="196"/>
                </a:lnTo>
                <a:lnTo>
                  <a:pt x="324" y="181"/>
                </a:lnTo>
                <a:lnTo>
                  <a:pt x="334" y="159"/>
                </a:lnTo>
                <a:lnTo>
                  <a:pt x="334" y="159"/>
                </a:lnTo>
                <a:lnTo>
                  <a:pt x="337" y="163"/>
                </a:lnTo>
                <a:lnTo>
                  <a:pt x="341" y="167"/>
                </a:lnTo>
                <a:lnTo>
                  <a:pt x="345" y="176"/>
                </a:lnTo>
                <a:lnTo>
                  <a:pt x="345" y="176"/>
                </a:lnTo>
                <a:lnTo>
                  <a:pt x="347" y="176"/>
                </a:lnTo>
                <a:lnTo>
                  <a:pt x="350" y="178"/>
                </a:lnTo>
                <a:lnTo>
                  <a:pt x="352" y="180"/>
                </a:lnTo>
                <a:lnTo>
                  <a:pt x="352" y="183"/>
                </a:lnTo>
                <a:lnTo>
                  <a:pt x="350" y="187"/>
                </a:lnTo>
                <a:lnTo>
                  <a:pt x="348" y="191"/>
                </a:lnTo>
                <a:lnTo>
                  <a:pt x="348" y="191"/>
                </a:lnTo>
                <a:lnTo>
                  <a:pt x="343" y="196"/>
                </a:lnTo>
                <a:lnTo>
                  <a:pt x="347" y="193"/>
                </a:lnTo>
                <a:lnTo>
                  <a:pt x="361" y="178"/>
                </a:lnTo>
                <a:lnTo>
                  <a:pt x="361" y="178"/>
                </a:lnTo>
                <a:lnTo>
                  <a:pt x="363" y="176"/>
                </a:lnTo>
                <a:lnTo>
                  <a:pt x="363" y="174"/>
                </a:lnTo>
                <a:lnTo>
                  <a:pt x="360" y="165"/>
                </a:lnTo>
                <a:lnTo>
                  <a:pt x="347" y="150"/>
                </a:lnTo>
                <a:lnTo>
                  <a:pt x="347" y="150"/>
                </a:lnTo>
                <a:lnTo>
                  <a:pt x="343" y="144"/>
                </a:lnTo>
                <a:lnTo>
                  <a:pt x="343" y="139"/>
                </a:lnTo>
                <a:lnTo>
                  <a:pt x="345" y="137"/>
                </a:lnTo>
                <a:lnTo>
                  <a:pt x="347" y="135"/>
                </a:lnTo>
                <a:lnTo>
                  <a:pt x="354" y="133"/>
                </a:lnTo>
                <a:lnTo>
                  <a:pt x="358" y="131"/>
                </a:lnTo>
                <a:lnTo>
                  <a:pt x="358" y="128"/>
                </a:lnTo>
                <a:lnTo>
                  <a:pt x="358" y="128"/>
                </a:lnTo>
                <a:lnTo>
                  <a:pt x="356" y="126"/>
                </a:lnTo>
                <a:lnTo>
                  <a:pt x="352" y="128"/>
                </a:lnTo>
                <a:lnTo>
                  <a:pt x="343" y="131"/>
                </a:lnTo>
                <a:lnTo>
                  <a:pt x="343" y="131"/>
                </a:lnTo>
                <a:lnTo>
                  <a:pt x="336" y="131"/>
                </a:lnTo>
                <a:lnTo>
                  <a:pt x="328" y="130"/>
                </a:lnTo>
                <a:lnTo>
                  <a:pt x="304" y="117"/>
                </a:lnTo>
                <a:lnTo>
                  <a:pt x="304" y="117"/>
                </a:lnTo>
                <a:lnTo>
                  <a:pt x="272" y="102"/>
                </a:lnTo>
                <a:lnTo>
                  <a:pt x="260" y="93"/>
                </a:lnTo>
                <a:lnTo>
                  <a:pt x="256" y="91"/>
                </a:lnTo>
                <a:lnTo>
                  <a:pt x="256" y="89"/>
                </a:lnTo>
                <a:lnTo>
                  <a:pt x="258" y="89"/>
                </a:lnTo>
                <a:lnTo>
                  <a:pt x="258" y="89"/>
                </a:lnTo>
                <a:lnTo>
                  <a:pt x="291" y="85"/>
                </a:lnTo>
                <a:lnTo>
                  <a:pt x="332" y="83"/>
                </a:lnTo>
                <a:lnTo>
                  <a:pt x="356" y="80"/>
                </a:lnTo>
                <a:lnTo>
                  <a:pt x="356" y="80"/>
                </a:lnTo>
                <a:lnTo>
                  <a:pt x="352" y="80"/>
                </a:lnTo>
                <a:lnTo>
                  <a:pt x="336" y="78"/>
                </a:lnTo>
                <a:lnTo>
                  <a:pt x="336" y="78"/>
                </a:lnTo>
                <a:lnTo>
                  <a:pt x="330" y="76"/>
                </a:lnTo>
                <a:lnTo>
                  <a:pt x="328" y="74"/>
                </a:lnTo>
                <a:lnTo>
                  <a:pt x="328" y="72"/>
                </a:lnTo>
                <a:lnTo>
                  <a:pt x="332" y="70"/>
                </a:lnTo>
                <a:lnTo>
                  <a:pt x="339" y="67"/>
                </a:lnTo>
                <a:lnTo>
                  <a:pt x="343" y="63"/>
                </a:lnTo>
                <a:lnTo>
                  <a:pt x="343" y="63"/>
                </a:lnTo>
                <a:lnTo>
                  <a:pt x="339" y="63"/>
                </a:lnTo>
                <a:lnTo>
                  <a:pt x="336" y="65"/>
                </a:lnTo>
                <a:lnTo>
                  <a:pt x="328" y="68"/>
                </a:lnTo>
                <a:lnTo>
                  <a:pt x="319" y="70"/>
                </a:lnTo>
                <a:lnTo>
                  <a:pt x="313" y="72"/>
                </a:lnTo>
                <a:lnTo>
                  <a:pt x="308" y="70"/>
                </a:lnTo>
                <a:lnTo>
                  <a:pt x="308" y="70"/>
                </a:lnTo>
                <a:lnTo>
                  <a:pt x="304" y="68"/>
                </a:lnTo>
                <a:lnTo>
                  <a:pt x="304" y="67"/>
                </a:lnTo>
                <a:lnTo>
                  <a:pt x="308" y="61"/>
                </a:lnTo>
                <a:lnTo>
                  <a:pt x="308" y="61"/>
                </a:lnTo>
                <a:lnTo>
                  <a:pt x="313" y="54"/>
                </a:lnTo>
                <a:lnTo>
                  <a:pt x="313" y="52"/>
                </a:lnTo>
                <a:lnTo>
                  <a:pt x="313" y="52"/>
                </a:lnTo>
                <a:lnTo>
                  <a:pt x="308" y="52"/>
                </a:lnTo>
                <a:lnTo>
                  <a:pt x="300" y="54"/>
                </a:lnTo>
                <a:lnTo>
                  <a:pt x="280" y="61"/>
                </a:lnTo>
                <a:lnTo>
                  <a:pt x="265" y="68"/>
                </a:lnTo>
                <a:lnTo>
                  <a:pt x="265" y="68"/>
                </a:lnTo>
                <a:lnTo>
                  <a:pt x="261" y="68"/>
                </a:lnTo>
                <a:lnTo>
                  <a:pt x="256" y="68"/>
                </a:lnTo>
                <a:lnTo>
                  <a:pt x="243" y="65"/>
                </a:lnTo>
                <a:lnTo>
                  <a:pt x="230" y="59"/>
                </a:lnTo>
                <a:lnTo>
                  <a:pt x="226" y="55"/>
                </a:lnTo>
                <a:lnTo>
                  <a:pt x="224" y="52"/>
                </a:lnTo>
                <a:lnTo>
                  <a:pt x="224" y="52"/>
                </a:lnTo>
                <a:lnTo>
                  <a:pt x="228" y="52"/>
                </a:lnTo>
                <a:lnTo>
                  <a:pt x="237" y="52"/>
                </a:lnTo>
                <a:lnTo>
                  <a:pt x="247" y="50"/>
                </a:lnTo>
                <a:lnTo>
                  <a:pt x="250" y="46"/>
                </a:lnTo>
                <a:lnTo>
                  <a:pt x="252" y="42"/>
                </a:lnTo>
                <a:lnTo>
                  <a:pt x="252" y="42"/>
                </a:lnTo>
                <a:lnTo>
                  <a:pt x="250" y="41"/>
                </a:lnTo>
                <a:lnTo>
                  <a:pt x="248" y="39"/>
                </a:lnTo>
                <a:lnTo>
                  <a:pt x="241" y="37"/>
                </a:lnTo>
                <a:lnTo>
                  <a:pt x="235" y="33"/>
                </a:lnTo>
                <a:lnTo>
                  <a:pt x="234" y="31"/>
                </a:lnTo>
                <a:lnTo>
                  <a:pt x="234" y="29"/>
                </a:lnTo>
                <a:lnTo>
                  <a:pt x="234" y="29"/>
                </a:lnTo>
                <a:lnTo>
                  <a:pt x="235" y="28"/>
                </a:lnTo>
                <a:lnTo>
                  <a:pt x="239" y="28"/>
                </a:lnTo>
                <a:lnTo>
                  <a:pt x="245" y="29"/>
                </a:lnTo>
                <a:lnTo>
                  <a:pt x="254" y="35"/>
                </a:lnTo>
                <a:lnTo>
                  <a:pt x="254" y="35"/>
                </a:lnTo>
                <a:lnTo>
                  <a:pt x="254" y="29"/>
                </a:lnTo>
                <a:lnTo>
                  <a:pt x="258" y="28"/>
                </a:lnTo>
                <a:lnTo>
                  <a:pt x="261" y="28"/>
                </a:lnTo>
                <a:lnTo>
                  <a:pt x="265" y="28"/>
                </a:lnTo>
                <a:lnTo>
                  <a:pt x="280" y="31"/>
                </a:lnTo>
                <a:lnTo>
                  <a:pt x="280" y="31"/>
                </a:lnTo>
                <a:lnTo>
                  <a:pt x="276" y="28"/>
                </a:lnTo>
                <a:lnTo>
                  <a:pt x="271" y="26"/>
                </a:lnTo>
                <a:lnTo>
                  <a:pt x="265" y="20"/>
                </a:lnTo>
                <a:lnTo>
                  <a:pt x="265" y="20"/>
                </a:lnTo>
                <a:lnTo>
                  <a:pt x="267" y="18"/>
                </a:lnTo>
                <a:lnTo>
                  <a:pt x="272" y="18"/>
                </a:lnTo>
                <a:lnTo>
                  <a:pt x="284" y="24"/>
                </a:lnTo>
                <a:lnTo>
                  <a:pt x="304" y="33"/>
                </a:lnTo>
                <a:lnTo>
                  <a:pt x="304" y="33"/>
                </a:lnTo>
                <a:lnTo>
                  <a:pt x="310" y="33"/>
                </a:lnTo>
                <a:lnTo>
                  <a:pt x="313" y="33"/>
                </a:lnTo>
                <a:lnTo>
                  <a:pt x="319" y="28"/>
                </a:lnTo>
                <a:lnTo>
                  <a:pt x="323" y="26"/>
                </a:lnTo>
                <a:lnTo>
                  <a:pt x="326" y="26"/>
                </a:lnTo>
                <a:lnTo>
                  <a:pt x="332" y="26"/>
                </a:lnTo>
                <a:lnTo>
                  <a:pt x="339" y="28"/>
                </a:lnTo>
                <a:lnTo>
                  <a:pt x="339" y="28"/>
                </a:lnTo>
                <a:lnTo>
                  <a:pt x="343" y="31"/>
                </a:lnTo>
                <a:lnTo>
                  <a:pt x="345" y="33"/>
                </a:lnTo>
                <a:lnTo>
                  <a:pt x="347" y="31"/>
                </a:lnTo>
                <a:lnTo>
                  <a:pt x="347" y="31"/>
                </a:lnTo>
                <a:lnTo>
                  <a:pt x="348" y="29"/>
                </a:lnTo>
                <a:lnTo>
                  <a:pt x="348" y="28"/>
                </a:lnTo>
                <a:lnTo>
                  <a:pt x="348" y="26"/>
                </a:lnTo>
                <a:lnTo>
                  <a:pt x="345" y="22"/>
                </a:lnTo>
                <a:lnTo>
                  <a:pt x="345" y="20"/>
                </a:lnTo>
                <a:lnTo>
                  <a:pt x="345" y="20"/>
                </a:lnTo>
                <a:lnTo>
                  <a:pt x="345" y="20"/>
                </a:lnTo>
                <a:lnTo>
                  <a:pt x="350" y="18"/>
                </a:lnTo>
                <a:lnTo>
                  <a:pt x="354" y="20"/>
                </a:lnTo>
                <a:lnTo>
                  <a:pt x="358" y="22"/>
                </a:lnTo>
                <a:lnTo>
                  <a:pt x="360" y="26"/>
                </a:lnTo>
                <a:lnTo>
                  <a:pt x="369" y="41"/>
                </a:lnTo>
                <a:lnTo>
                  <a:pt x="376" y="48"/>
                </a:lnTo>
                <a:lnTo>
                  <a:pt x="387" y="57"/>
                </a:lnTo>
                <a:lnTo>
                  <a:pt x="387" y="57"/>
                </a:lnTo>
                <a:lnTo>
                  <a:pt x="387" y="59"/>
                </a:lnTo>
                <a:lnTo>
                  <a:pt x="387" y="61"/>
                </a:lnTo>
                <a:lnTo>
                  <a:pt x="386" y="67"/>
                </a:lnTo>
                <a:lnTo>
                  <a:pt x="382" y="72"/>
                </a:lnTo>
                <a:lnTo>
                  <a:pt x="382" y="74"/>
                </a:lnTo>
                <a:lnTo>
                  <a:pt x="382" y="76"/>
                </a:lnTo>
                <a:lnTo>
                  <a:pt x="382" y="76"/>
                </a:lnTo>
                <a:lnTo>
                  <a:pt x="384" y="78"/>
                </a:lnTo>
                <a:lnTo>
                  <a:pt x="387" y="78"/>
                </a:lnTo>
                <a:lnTo>
                  <a:pt x="395" y="76"/>
                </a:lnTo>
                <a:lnTo>
                  <a:pt x="406" y="70"/>
                </a:lnTo>
                <a:lnTo>
                  <a:pt x="406" y="70"/>
                </a:lnTo>
                <a:lnTo>
                  <a:pt x="415" y="74"/>
                </a:lnTo>
                <a:lnTo>
                  <a:pt x="425" y="80"/>
                </a:lnTo>
                <a:lnTo>
                  <a:pt x="430" y="85"/>
                </a:lnTo>
                <a:lnTo>
                  <a:pt x="430" y="87"/>
                </a:lnTo>
                <a:lnTo>
                  <a:pt x="428" y="91"/>
                </a:lnTo>
                <a:lnTo>
                  <a:pt x="428" y="91"/>
                </a:lnTo>
                <a:lnTo>
                  <a:pt x="425" y="93"/>
                </a:lnTo>
                <a:lnTo>
                  <a:pt x="423" y="94"/>
                </a:lnTo>
                <a:lnTo>
                  <a:pt x="423" y="94"/>
                </a:lnTo>
                <a:lnTo>
                  <a:pt x="423" y="94"/>
                </a:lnTo>
                <a:lnTo>
                  <a:pt x="443" y="94"/>
                </a:lnTo>
                <a:lnTo>
                  <a:pt x="454" y="96"/>
                </a:lnTo>
                <a:lnTo>
                  <a:pt x="458" y="98"/>
                </a:lnTo>
                <a:lnTo>
                  <a:pt x="462" y="100"/>
                </a:lnTo>
                <a:lnTo>
                  <a:pt x="462" y="100"/>
                </a:lnTo>
                <a:lnTo>
                  <a:pt x="465" y="105"/>
                </a:lnTo>
                <a:lnTo>
                  <a:pt x="467" y="111"/>
                </a:lnTo>
                <a:lnTo>
                  <a:pt x="471" y="126"/>
                </a:lnTo>
                <a:lnTo>
                  <a:pt x="473" y="139"/>
                </a:lnTo>
                <a:lnTo>
                  <a:pt x="475" y="144"/>
                </a:lnTo>
                <a:lnTo>
                  <a:pt x="475" y="146"/>
                </a:lnTo>
                <a:lnTo>
                  <a:pt x="475" y="146"/>
                </a:lnTo>
                <a:lnTo>
                  <a:pt x="478" y="148"/>
                </a:lnTo>
                <a:lnTo>
                  <a:pt x="480" y="146"/>
                </a:lnTo>
                <a:lnTo>
                  <a:pt x="484" y="143"/>
                </a:lnTo>
                <a:lnTo>
                  <a:pt x="484" y="143"/>
                </a:lnTo>
                <a:lnTo>
                  <a:pt x="484" y="139"/>
                </a:lnTo>
                <a:lnTo>
                  <a:pt x="482" y="135"/>
                </a:lnTo>
                <a:lnTo>
                  <a:pt x="480" y="130"/>
                </a:lnTo>
                <a:lnTo>
                  <a:pt x="480" y="130"/>
                </a:lnTo>
                <a:lnTo>
                  <a:pt x="488" y="124"/>
                </a:lnTo>
                <a:lnTo>
                  <a:pt x="493" y="124"/>
                </a:lnTo>
                <a:lnTo>
                  <a:pt x="495" y="128"/>
                </a:lnTo>
                <a:lnTo>
                  <a:pt x="497" y="131"/>
                </a:lnTo>
                <a:lnTo>
                  <a:pt x="499" y="141"/>
                </a:lnTo>
                <a:lnTo>
                  <a:pt x="499" y="146"/>
                </a:lnTo>
                <a:lnTo>
                  <a:pt x="499" y="146"/>
                </a:lnTo>
                <a:lnTo>
                  <a:pt x="502" y="148"/>
                </a:lnTo>
                <a:lnTo>
                  <a:pt x="508" y="148"/>
                </a:lnTo>
                <a:lnTo>
                  <a:pt x="517" y="146"/>
                </a:lnTo>
                <a:lnTo>
                  <a:pt x="521" y="146"/>
                </a:lnTo>
                <a:lnTo>
                  <a:pt x="525" y="146"/>
                </a:lnTo>
                <a:lnTo>
                  <a:pt x="528" y="148"/>
                </a:lnTo>
                <a:lnTo>
                  <a:pt x="532" y="154"/>
                </a:lnTo>
                <a:lnTo>
                  <a:pt x="532" y="154"/>
                </a:lnTo>
                <a:lnTo>
                  <a:pt x="532" y="154"/>
                </a:lnTo>
                <a:lnTo>
                  <a:pt x="532" y="156"/>
                </a:lnTo>
                <a:lnTo>
                  <a:pt x="532" y="157"/>
                </a:lnTo>
                <a:lnTo>
                  <a:pt x="528" y="157"/>
                </a:lnTo>
                <a:lnTo>
                  <a:pt x="517" y="157"/>
                </a:lnTo>
                <a:lnTo>
                  <a:pt x="517" y="157"/>
                </a:lnTo>
                <a:lnTo>
                  <a:pt x="510" y="159"/>
                </a:lnTo>
                <a:lnTo>
                  <a:pt x="502" y="161"/>
                </a:lnTo>
                <a:lnTo>
                  <a:pt x="502" y="161"/>
                </a:lnTo>
                <a:lnTo>
                  <a:pt x="499" y="161"/>
                </a:lnTo>
                <a:lnTo>
                  <a:pt x="504" y="161"/>
                </a:lnTo>
                <a:lnTo>
                  <a:pt x="513" y="163"/>
                </a:lnTo>
                <a:lnTo>
                  <a:pt x="523" y="165"/>
                </a:lnTo>
                <a:lnTo>
                  <a:pt x="523" y="165"/>
                </a:lnTo>
                <a:lnTo>
                  <a:pt x="523" y="165"/>
                </a:lnTo>
                <a:lnTo>
                  <a:pt x="517" y="169"/>
                </a:lnTo>
                <a:lnTo>
                  <a:pt x="513" y="172"/>
                </a:lnTo>
                <a:lnTo>
                  <a:pt x="513" y="172"/>
                </a:lnTo>
                <a:lnTo>
                  <a:pt x="517" y="172"/>
                </a:lnTo>
                <a:lnTo>
                  <a:pt x="523" y="172"/>
                </a:lnTo>
                <a:lnTo>
                  <a:pt x="534" y="170"/>
                </a:lnTo>
                <a:lnTo>
                  <a:pt x="534" y="170"/>
                </a:lnTo>
                <a:lnTo>
                  <a:pt x="536" y="172"/>
                </a:lnTo>
                <a:lnTo>
                  <a:pt x="536" y="174"/>
                </a:lnTo>
                <a:lnTo>
                  <a:pt x="534" y="180"/>
                </a:lnTo>
                <a:lnTo>
                  <a:pt x="534" y="185"/>
                </a:lnTo>
                <a:lnTo>
                  <a:pt x="534" y="189"/>
                </a:lnTo>
                <a:lnTo>
                  <a:pt x="534" y="189"/>
                </a:lnTo>
                <a:lnTo>
                  <a:pt x="534" y="189"/>
                </a:lnTo>
                <a:lnTo>
                  <a:pt x="538" y="191"/>
                </a:lnTo>
                <a:lnTo>
                  <a:pt x="539" y="193"/>
                </a:lnTo>
                <a:lnTo>
                  <a:pt x="539" y="193"/>
                </a:lnTo>
                <a:lnTo>
                  <a:pt x="539" y="193"/>
                </a:lnTo>
                <a:lnTo>
                  <a:pt x="538" y="198"/>
                </a:lnTo>
                <a:lnTo>
                  <a:pt x="532" y="202"/>
                </a:lnTo>
                <a:lnTo>
                  <a:pt x="521" y="206"/>
                </a:lnTo>
                <a:lnTo>
                  <a:pt x="512" y="211"/>
                </a:lnTo>
                <a:lnTo>
                  <a:pt x="508" y="215"/>
                </a:lnTo>
                <a:lnTo>
                  <a:pt x="506" y="220"/>
                </a:lnTo>
                <a:lnTo>
                  <a:pt x="506" y="220"/>
                </a:lnTo>
                <a:lnTo>
                  <a:pt x="508" y="222"/>
                </a:lnTo>
                <a:lnTo>
                  <a:pt x="512" y="224"/>
                </a:lnTo>
                <a:lnTo>
                  <a:pt x="521" y="224"/>
                </a:lnTo>
                <a:lnTo>
                  <a:pt x="528" y="226"/>
                </a:lnTo>
                <a:lnTo>
                  <a:pt x="530" y="226"/>
                </a:lnTo>
                <a:lnTo>
                  <a:pt x="530" y="228"/>
                </a:lnTo>
                <a:lnTo>
                  <a:pt x="530" y="228"/>
                </a:lnTo>
                <a:lnTo>
                  <a:pt x="525" y="235"/>
                </a:lnTo>
                <a:lnTo>
                  <a:pt x="519" y="239"/>
                </a:lnTo>
                <a:lnTo>
                  <a:pt x="512" y="243"/>
                </a:lnTo>
                <a:lnTo>
                  <a:pt x="508" y="243"/>
                </a:lnTo>
                <a:lnTo>
                  <a:pt x="502" y="241"/>
                </a:lnTo>
                <a:lnTo>
                  <a:pt x="497" y="239"/>
                </a:lnTo>
                <a:lnTo>
                  <a:pt x="488" y="232"/>
                </a:lnTo>
                <a:lnTo>
                  <a:pt x="478" y="224"/>
                </a:lnTo>
                <a:lnTo>
                  <a:pt x="471" y="217"/>
                </a:lnTo>
                <a:lnTo>
                  <a:pt x="467" y="215"/>
                </a:lnTo>
                <a:lnTo>
                  <a:pt x="463" y="215"/>
                </a:lnTo>
                <a:lnTo>
                  <a:pt x="460" y="217"/>
                </a:lnTo>
                <a:lnTo>
                  <a:pt x="458" y="219"/>
                </a:lnTo>
                <a:lnTo>
                  <a:pt x="458" y="219"/>
                </a:lnTo>
                <a:lnTo>
                  <a:pt x="463" y="222"/>
                </a:lnTo>
                <a:lnTo>
                  <a:pt x="471" y="226"/>
                </a:lnTo>
                <a:lnTo>
                  <a:pt x="471" y="226"/>
                </a:lnTo>
                <a:lnTo>
                  <a:pt x="478" y="239"/>
                </a:lnTo>
                <a:lnTo>
                  <a:pt x="484" y="246"/>
                </a:lnTo>
                <a:lnTo>
                  <a:pt x="491" y="250"/>
                </a:lnTo>
                <a:lnTo>
                  <a:pt x="499" y="252"/>
                </a:lnTo>
                <a:lnTo>
                  <a:pt x="510" y="252"/>
                </a:lnTo>
                <a:lnTo>
                  <a:pt x="515" y="254"/>
                </a:lnTo>
                <a:lnTo>
                  <a:pt x="519" y="258"/>
                </a:lnTo>
                <a:lnTo>
                  <a:pt x="519" y="258"/>
                </a:lnTo>
                <a:lnTo>
                  <a:pt x="521" y="259"/>
                </a:lnTo>
                <a:lnTo>
                  <a:pt x="519" y="263"/>
                </a:lnTo>
                <a:lnTo>
                  <a:pt x="513" y="269"/>
                </a:lnTo>
                <a:lnTo>
                  <a:pt x="508" y="274"/>
                </a:lnTo>
                <a:lnTo>
                  <a:pt x="506" y="276"/>
                </a:lnTo>
                <a:lnTo>
                  <a:pt x="506" y="278"/>
                </a:lnTo>
                <a:lnTo>
                  <a:pt x="506" y="278"/>
                </a:lnTo>
                <a:lnTo>
                  <a:pt x="510" y="278"/>
                </a:lnTo>
                <a:lnTo>
                  <a:pt x="513" y="276"/>
                </a:lnTo>
                <a:lnTo>
                  <a:pt x="525" y="269"/>
                </a:lnTo>
                <a:lnTo>
                  <a:pt x="528" y="267"/>
                </a:lnTo>
                <a:lnTo>
                  <a:pt x="534" y="267"/>
                </a:lnTo>
                <a:lnTo>
                  <a:pt x="536" y="270"/>
                </a:lnTo>
                <a:lnTo>
                  <a:pt x="538" y="280"/>
                </a:lnTo>
                <a:lnTo>
                  <a:pt x="538" y="280"/>
                </a:lnTo>
                <a:lnTo>
                  <a:pt x="536" y="287"/>
                </a:lnTo>
                <a:lnTo>
                  <a:pt x="530" y="293"/>
                </a:lnTo>
                <a:lnTo>
                  <a:pt x="517" y="304"/>
                </a:lnTo>
                <a:lnTo>
                  <a:pt x="517" y="304"/>
                </a:lnTo>
                <a:lnTo>
                  <a:pt x="508" y="311"/>
                </a:lnTo>
                <a:lnTo>
                  <a:pt x="508" y="311"/>
                </a:lnTo>
                <a:lnTo>
                  <a:pt x="510" y="311"/>
                </a:lnTo>
                <a:lnTo>
                  <a:pt x="513" y="311"/>
                </a:lnTo>
                <a:lnTo>
                  <a:pt x="523" y="306"/>
                </a:lnTo>
                <a:lnTo>
                  <a:pt x="532" y="300"/>
                </a:lnTo>
                <a:lnTo>
                  <a:pt x="536" y="300"/>
                </a:lnTo>
                <a:lnTo>
                  <a:pt x="539" y="300"/>
                </a:lnTo>
                <a:lnTo>
                  <a:pt x="539" y="300"/>
                </a:lnTo>
                <a:lnTo>
                  <a:pt x="547" y="306"/>
                </a:lnTo>
                <a:lnTo>
                  <a:pt x="551" y="313"/>
                </a:lnTo>
                <a:lnTo>
                  <a:pt x="554" y="322"/>
                </a:lnTo>
                <a:lnTo>
                  <a:pt x="556" y="334"/>
                </a:lnTo>
                <a:lnTo>
                  <a:pt x="558" y="354"/>
                </a:lnTo>
                <a:lnTo>
                  <a:pt x="560" y="363"/>
                </a:lnTo>
                <a:lnTo>
                  <a:pt x="565" y="372"/>
                </a:lnTo>
                <a:lnTo>
                  <a:pt x="565" y="372"/>
                </a:lnTo>
                <a:lnTo>
                  <a:pt x="567" y="376"/>
                </a:lnTo>
                <a:lnTo>
                  <a:pt x="569" y="382"/>
                </a:lnTo>
                <a:lnTo>
                  <a:pt x="569" y="385"/>
                </a:lnTo>
                <a:lnTo>
                  <a:pt x="569" y="389"/>
                </a:lnTo>
                <a:lnTo>
                  <a:pt x="569" y="389"/>
                </a:lnTo>
                <a:lnTo>
                  <a:pt x="571" y="389"/>
                </a:lnTo>
                <a:lnTo>
                  <a:pt x="573" y="389"/>
                </a:lnTo>
                <a:lnTo>
                  <a:pt x="575" y="382"/>
                </a:lnTo>
                <a:lnTo>
                  <a:pt x="573" y="372"/>
                </a:lnTo>
                <a:lnTo>
                  <a:pt x="573" y="367"/>
                </a:lnTo>
                <a:lnTo>
                  <a:pt x="573" y="367"/>
                </a:lnTo>
                <a:lnTo>
                  <a:pt x="569" y="363"/>
                </a:lnTo>
                <a:lnTo>
                  <a:pt x="569" y="359"/>
                </a:lnTo>
                <a:lnTo>
                  <a:pt x="571" y="354"/>
                </a:lnTo>
                <a:lnTo>
                  <a:pt x="573" y="346"/>
                </a:lnTo>
                <a:lnTo>
                  <a:pt x="575" y="339"/>
                </a:lnTo>
                <a:lnTo>
                  <a:pt x="575" y="339"/>
                </a:lnTo>
                <a:lnTo>
                  <a:pt x="571" y="322"/>
                </a:lnTo>
                <a:lnTo>
                  <a:pt x="569" y="313"/>
                </a:lnTo>
                <a:lnTo>
                  <a:pt x="569" y="309"/>
                </a:lnTo>
                <a:lnTo>
                  <a:pt x="571" y="308"/>
                </a:lnTo>
                <a:lnTo>
                  <a:pt x="571" y="308"/>
                </a:lnTo>
                <a:lnTo>
                  <a:pt x="575" y="308"/>
                </a:lnTo>
                <a:lnTo>
                  <a:pt x="578" y="311"/>
                </a:lnTo>
                <a:lnTo>
                  <a:pt x="586" y="324"/>
                </a:lnTo>
                <a:lnTo>
                  <a:pt x="595" y="337"/>
                </a:lnTo>
                <a:lnTo>
                  <a:pt x="599" y="339"/>
                </a:lnTo>
                <a:lnTo>
                  <a:pt x="601" y="339"/>
                </a:lnTo>
                <a:lnTo>
                  <a:pt x="601" y="339"/>
                </a:lnTo>
                <a:lnTo>
                  <a:pt x="601" y="339"/>
                </a:lnTo>
                <a:lnTo>
                  <a:pt x="601" y="335"/>
                </a:lnTo>
                <a:lnTo>
                  <a:pt x="601" y="335"/>
                </a:lnTo>
                <a:lnTo>
                  <a:pt x="597" y="330"/>
                </a:lnTo>
                <a:lnTo>
                  <a:pt x="595" y="322"/>
                </a:lnTo>
                <a:lnTo>
                  <a:pt x="591" y="308"/>
                </a:lnTo>
                <a:lnTo>
                  <a:pt x="593" y="291"/>
                </a:lnTo>
                <a:lnTo>
                  <a:pt x="597" y="274"/>
                </a:lnTo>
                <a:lnTo>
                  <a:pt x="604" y="261"/>
                </a:lnTo>
                <a:lnTo>
                  <a:pt x="614" y="248"/>
                </a:lnTo>
                <a:lnTo>
                  <a:pt x="619" y="245"/>
                </a:lnTo>
                <a:lnTo>
                  <a:pt x="627" y="243"/>
                </a:lnTo>
                <a:lnTo>
                  <a:pt x="632" y="241"/>
                </a:lnTo>
                <a:lnTo>
                  <a:pt x="640" y="241"/>
                </a:lnTo>
                <a:lnTo>
                  <a:pt x="640" y="241"/>
                </a:lnTo>
                <a:lnTo>
                  <a:pt x="645" y="243"/>
                </a:lnTo>
                <a:lnTo>
                  <a:pt x="647" y="246"/>
                </a:lnTo>
                <a:lnTo>
                  <a:pt x="647" y="254"/>
                </a:lnTo>
                <a:lnTo>
                  <a:pt x="647" y="261"/>
                </a:lnTo>
                <a:lnTo>
                  <a:pt x="643" y="274"/>
                </a:lnTo>
                <a:lnTo>
                  <a:pt x="643" y="280"/>
                </a:lnTo>
                <a:lnTo>
                  <a:pt x="645" y="283"/>
                </a:lnTo>
                <a:lnTo>
                  <a:pt x="645" y="283"/>
                </a:lnTo>
                <a:lnTo>
                  <a:pt x="649" y="282"/>
                </a:lnTo>
                <a:lnTo>
                  <a:pt x="653" y="278"/>
                </a:lnTo>
                <a:lnTo>
                  <a:pt x="656" y="276"/>
                </a:lnTo>
                <a:lnTo>
                  <a:pt x="656" y="276"/>
                </a:lnTo>
                <a:lnTo>
                  <a:pt x="656" y="276"/>
                </a:lnTo>
                <a:lnTo>
                  <a:pt x="656" y="276"/>
                </a:lnTo>
                <a:lnTo>
                  <a:pt x="658" y="283"/>
                </a:lnTo>
                <a:lnTo>
                  <a:pt x="662" y="293"/>
                </a:lnTo>
                <a:lnTo>
                  <a:pt x="665" y="296"/>
                </a:lnTo>
                <a:lnTo>
                  <a:pt x="669" y="298"/>
                </a:lnTo>
                <a:lnTo>
                  <a:pt x="673" y="298"/>
                </a:lnTo>
                <a:lnTo>
                  <a:pt x="677" y="296"/>
                </a:lnTo>
                <a:lnTo>
                  <a:pt x="677" y="296"/>
                </a:lnTo>
                <a:lnTo>
                  <a:pt x="680" y="291"/>
                </a:lnTo>
                <a:lnTo>
                  <a:pt x="680" y="287"/>
                </a:lnTo>
                <a:lnTo>
                  <a:pt x="677" y="283"/>
                </a:lnTo>
                <a:lnTo>
                  <a:pt x="673" y="280"/>
                </a:lnTo>
                <a:lnTo>
                  <a:pt x="669" y="278"/>
                </a:lnTo>
                <a:lnTo>
                  <a:pt x="669" y="274"/>
                </a:lnTo>
                <a:lnTo>
                  <a:pt x="673" y="270"/>
                </a:lnTo>
                <a:lnTo>
                  <a:pt x="682" y="269"/>
                </a:lnTo>
                <a:lnTo>
                  <a:pt x="682" y="269"/>
                </a:lnTo>
                <a:lnTo>
                  <a:pt x="684" y="269"/>
                </a:lnTo>
                <a:lnTo>
                  <a:pt x="684" y="270"/>
                </a:lnTo>
                <a:lnTo>
                  <a:pt x="686" y="276"/>
                </a:lnTo>
                <a:lnTo>
                  <a:pt x="688" y="283"/>
                </a:lnTo>
                <a:lnTo>
                  <a:pt x="690" y="283"/>
                </a:lnTo>
                <a:lnTo>
                  <a:pt x="690" y="283"/>
                </a:lnTo>
                <a:lnTo>
                  <a:pt x="690" y="283"/>
                </a:lnTo>
                <a:lnTo>
                  <a:pt x="697" y="272"/>
                </a:lnTo>
                <a:lnTo>
                  <a:pt x="701" y="261"/>
                </a:lnTo>
                <a:lnTo>
                  <a:pt x="704" y="250"/>
                </a:lnTo>
                <a:lnTo>
                  <a:pt x="704" y="241"/>
                </a:lnTo>
                <a:lnTo>
                  <a:pt x="704" y="232"/>
                </a:lnTo>
                <a:lnTo>
                  <a:pt x="704" y="222"/>
                </a:lnTo>
                <a:lnTo>
                  <a:pt x="699" y="206"/>
                </a:lnTo>
                <a:lnTo>
                  <a:pt x="691" y="187"/>
                </a:lnTo>
                <a:lnTo>
                  <a:pt x="684" y="170"/>
                </a:lnTo>
                <a:lnTo>
                  <a:pt x="680" y="150"/>
                </a:lnTo>
                <a:lnTo>
                  <a:pt x="680" y="141"/>
                </a:lnTo>
                <a:lnTo>
                  <a:pt x="680" y="130"/>
                </a:lnTo>
                <a:lnTo>
                  <a:pt x="680" y="130"/>
                </a:lnTo>
                <a:lnTo>
                  <a:pt x="684" y="126"/>
                </a:lnTo>
                <a:lnTo>
                  <a:pt x="688" y="124"/>
                </a:lnTo>
                <a:lnTo>
                  <a:pt x="704" y="122"/>
                </a:lnTo>
                <a:lnTo>
                  <a:pt x="721" y="120"/>
                </a:lnTo>
                <a:lnTo>
                  <a:pt x="734" y="117"/>
                </a:lnTo>
                <a:lnTo>
                  <a:pt x="734" y="117"/>
                </a:lnTo>
                <a:lnTo>
                  <a:pt x="738" y="118"/>
                </a:lnTo>
                <a:lnTo>
                  <a:pt x="741" y="122"/>
                </a:lnTo>
                <a:lnTo>
                  <a:pt x="751" y="143"/>
                </a:lnTo>
                <a:lnTo>
                  <a:pt x="751" y="143"/>
                </a:lnTo>
                <a:lnTo>
                  <a:pt x="751" y="143"/>
                </a:lnTo>
                <a:lnTo>
                  <a:pt x="758" y="156"/>
                </a:lnTo>
                <a:lnTo>
                  <a:pt x="764" y="165"/>
                </a:lnTo>
                <a:lnTo>
                  <a:pt x="771" y="172"/>
                </a:lnTo>
                <a:lnTo>
                  <a:pt x="779" y="178"/>
                </a:lnTo>
                <a:lnTo>
                  <a:pt x="792" y="183"/>
                </a:lnTo>
                <a:lnTo>
                  <a:pt x="797" y="187"/>
                </a:lnTo>
                <a:lnTo>
                  <a:pt x="801" y="193"/>
                </a:lnTo>
                <a:lnTo>
                  <a:pt x="801" y="193"/>
                </a:lnTo>
                <a:lnTo>
                  <a:pt x="805" y="200"/>
                </a:lnTo>
                <a:lnTo>
                  <a:pt x="806" y="207"/>
                </a:lnTo>
                <a:lnTo>
                  <a:pt x="806" y="217"/>
                </a:lnTo>
                <a:lnTo>
                  <a:pt x="810" y="224"/>
                </a:lnTo>
                <a:lnTo>
                  <a:pt x="810" y="224"/>
                </a:lnTo>
                <a:lnTo>
                  <a:pt x="812" y="224"/>
                </a:lnTo>
                <a:lnTo>
                  <a:pt x="812" y="224"/>
                </a:lnTo>
                <a:lnTo>
                  <a:pt x="816" y="226"/>
                </a:lnTo>
                <a:lnTo>
                  <a:pt x="819" y="226"/>
                </a:lnTo>
                <a:lnTo>
                  <a:pt x="821" y="226"/>
                </a:lnTo>
                <a:lnTo>
                  <a:pt x="823" y="224"/>
                </a:lnTo>
                <a:lnTo>
                  <a:pt x="825" y="220"/>
                </a:lnTo>
                <a:lnTo>
                  <a:pt x="827" y="220"/>
                </a:lnTo>
                <a:lnTo>
                  <a:pt x="829" y="220"/>
                </a:lnTo>
                <a:lnTo>
                  <a:pt x="829" y="220"/>
                </a:lnTo>
                <a:lnTo>
                  <a:pt x="834" y="220"/>
                </a:lnTo>
                <a:lnTo>
                  <a:pt x="836" y="222"/>
                </a:lnTo>
                <a:lnTo>
                  <a:pt x="840" y="226"/>
                </a:lnTo>
                <a:lnTo>
                  <a:pt x="842" y="230"/>
                </a:lnTo>
                <a:lnTo>
                  <a:pt x="845" y="228"/>
                </a:lnTo>
                <a:lnTo>
                  <a:pt x="845" y="228"/>
                </a:lnTo>
                <a:lnTo>
                  <a:pt x="851" y="226"/>
                </a:lnTo>
                <a:lnTo>
                  <a:pt x="853" y="222"/>
                </a:lnTo>
                <a:lnTo>
                  <a:pt x="855" y="217"/>
                </a:lnTo>
                <a:lnTo>
                  <a:pt x="855" y="213"/>
                </a:lnTo>
                <a:lnTo>
                  <a:pt x="853" y="204"/>
                </a:lnTo>
                <a:lnTo>
                  <a:pt x="849" y="194"/>
                </a:lnTo>
                <a:lnTo>
                  <a:pt x="838" y="176"/>
                </a:lnTo>
                <a:lnTo>
                  <a:pt x="832" y="169"/>
                </a:lnTo>
                <a:lnTo>
                  <a:pt x="832" y="165"/>
                </a:lnTo>
                <a:lnTo>
                  <a:pt x="832" y="165"/>
                </a:lnTo>
                <a:lnTo>
                  <a:pt x="832" y="163"/>
                </a:lnTo>
                <a:lnTo>
                  <a:pt x="834" y="161"/>
                </a:lnTo>
                <a:lnTo>
                  <a:pt x="840" y="157"/>
                </a:lnTo>
                <a:lnTo>
                  <a:pt x="845" y="156"/>
                </a:lnTo>
                <a:lnTo>
                  <a:pt x="847" y="154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44"/>
                </a:lnTo>
                <a:lnTo>
                  <a:pt x="847" y="137"/>
                </a:lnTo>
                <a:lnTo>
                  <a:pt x="851" y="133"/>
                </a:lnTo>
                <a:lnTo>
                  <a:pt x="853" y="130"/>
                </a:lnTo>
                <a:lnTo>
                  <a:pt x="858" y="128"/>
                </a:lnTo>
                <a:lnTo>
                  <a:pt x="862" y="126"/>
                </a:lnTo>
                <a:lnTo>
                  <a:pt x="873" y="126"/>
                </a:lnTo>
                <a:lnTo>
                  <a:pt x="884" y="128"/>
                </a:lnTo>
                <a:lnTo>
                  <a:pt x="895" y="131"/>
                </a:lnTo>
                <a:lnTo>
                  <a:pt x="903" y="133"/>
                </a:lnTo>
                <a:lnTo>
                  <a:pt x="906" y="133"/>
                </a:lnTo>
                <a:lnTo>
                  <a:pt x="906" y="133"/>
                </a:lnTo>
                <a:lnTo>
                  <a:pt x="908" y="131"/>
                </a:lnTo>
                <a:lnTo>
                  <a:pt x="910" y="130"/>
                </a:lnTo>
                <a:lnTo>
                  <a:pt x="906" y="122"/>
                </a:lnTo>
                <a:lnTo>
                  <a:pt x="903" y="117"/>
                </a:lnTo>
                <a:lnTo>
                  <a:pt x="903" y="113"/>
                </a:lnTo>
                <a:lnTo>
                  <a:pt x="903" y="109"/>
                </a:lnTo>
                <a:lnTo>
                  <a:pt x="903" y="109"/>
                </a:lnTo>
                <a:lnTo>
                  <a:pt x="905" y="107"/>
                </a:lnTo>
                <a:lnTo>
                  <a:pt x="908" y="104"/>
                </a:lnTo>
                <a:lnTo>
                  <a:pt x="918" y="102"/>
                </a:lnTo>
                <a:lnTo>
                  <a:pt x="918" y="102"/>
                </a:lnTo>
                <a:lnTo>
                  <a:pt x="918" y="102"/>
                </a:lnTo>
                <a:lnTo>
                  <a:pt x="919" y="100"/>
                </a:lnTo>
                <a:lnTo>
                  <a:pt x="921" y="102"/>
                </a:lnTo>
                <a:lnTo>
                  <a:pt x="925" y="105"/>
                </a:lnTo>
                <a:lnTo>
                  <a:pt x="929" y="111"/>
                </a:lnTo>
                <a:lnTo>
                  <a:pt x="931" y="111"/>
                </a:lnTo>
                <a:lnTo>
                  <a:pt x="932" y="111"/>
                </a:lnTo>
                <a:lnTo>
                  <a:pt x="932" y="111"/>
                </a:lnTo>
                <a:lnTo>
                  <a:pt x="936" y="109"/>
                </a:lnTo>
                <a:lnTo>
                  <a:pt x="938" y="105"/>
                </a:lnTo>
                <a:lnTo>
                  <a:pt x="938" y="100"/>
                </a:lnTo>
                <a:lnTo>
                  <a:pt x="940" y="98"/>
                </a:lnTo>
                <a:lnTo>
                  <a:pt x="940" y="96"/>
                </a:lnTo>
                <a:lnTo>
                  <a:pt x="944" y="96"/>
                </a:lnTo>
                <a:lnTo>
                  <a:pt x="949" y="98"/>
                </a:lnTo>
                <a:lnTo>
                  <a:pt x="949" y="98"/>
                </a:lnTo>
                <a:lnTo>
                  <a:pt x="953" y="100"/>
                </a:lnTo>
                <a:lnTo>
                  <a:pt x="953" y="102"/>
                </a:lnTo>
                <a:lnTo>
                  <a:pt x="953" y="102"/>
                </a:lnTo>
                <a:lnTo>
                  <a:pt x="949" y="107"/>
                </a:lnTo>
                <a:lnTo>
                  <a:pt x="949" y="111"/>
                </a:lnTo>
                <a:lnTo>
                  <a:pt x="949" y="113"/>
                </a:lnTo>
                <a:lnTo>
                  <a:pt x="951" y="113"/>
                </a:lnTo>
                <a:lnTo>
                  <a:pt x="957" y="109"/>
                </a:lnTo>
                <a:lnTo>
                  <a:pt x="957" y="109"/>
                </a:lnTo>
                <a:lnTo>
                  <a:pt x="960" y="105"/>
                </a:lnTo>
                <a:lnTo>
                  <a:pt x="964" y="105"/>
                </a:lnTo>
                <a:lnTo>
                  <a:pt x="964" y="105"/>
                </a:lnTo>
                <a:lnTo>
                  <a:pt x="971" y="105"/>
                </a:lnTo>
                <a:lnTo>
                  <a:pt x="975" y="107"/>
                </a:lnTo>
                <a:lnTo>
                  <a:pt x="977" y="111"/>
                </a:lnTo>
                <a:lnTo>
                  <a:pt x="977" y="117"/>
                </a:lnTo>
                <a:lnTo>
                  <a:pt x="973" y="124"/>
                </a:lnTo>
                <a:lnTo>
                  <a:pt x="973" y="128"/>
                </a:lnTo>
                <a:lnTo>
                  <a:pt x="973" y="128"/>
                </a:lnTo>
                <a:lnTo>
                  <a:pt x="975" y="131"/>
                </a:lnTo>
                <a:lnTo>
                  <a:pt x="981" y="131"/>
                </a:lnTo>
                <a:lnTo>
                  <a:pt x="988" y="133"/>
                </a:lnTo>
                <a:lnTo>
                  <a:pt x="992" y="135"/>
                </a:lnTo>
                <a:lnTo>
                  <a:pt x="994" y="139"/>
                </a:lnTo>
                <a:lnTo>
                  <a:pt x="994" y="146"/>
                </a:lnTo>
                <a:lnTo>
                  <a:pt x="994" y="156"/>
                </a:lnTo>
                <a:lnTo>
                  <a:pt x="994" y="156"/>
                </a:lnTo>
                <a:lnTo>
                  <a:pt x="992" y="159"/>
                </a:lnTo>
                <a:lnTo>
                  <a:pt x="994" y="161"/>
                </a:lnTo>
                <a:lnTo>
                  <a:pt x="994" y="161"/>
                </a:lnTo>
                <a:lnTo>
                  <a:pt x="1001" y="167"/>
                </a:lnTo>
                <a:lnTo>
                  <a:pt x="1007" y="170"/>
                </a:lnTo>
                <a:lnTo>
                  <a:pt x="1021" y="176"/>
                </a:lnTo>
                <a:lnTo>
                  <a:pt x="1034" y="181"/>
                </a:lnTo>
                <a:lnTo>
                  <a:pt x="1042" y="185"/>
                </a:lnTo>
                <a:lnTo>
                  <a:pt x="1047" y="193"/>
                </a:lnTo>
                <a:lnTo>
                  <a:pt x="1047" y="193"/>
                </a:lnTo>
                <a:lnTo>
                  <a:pt x="1051" y="198"/>
                </a:lnTo>
                <a:lnTo>
                  <a:pt x="1053" y="206"/>
                </a:lnTo>
                <a:lnTo>
                  <a:pt x="1055" y="226"/>
                </a:lnTo>
                <a:lnTo>
                  <a:pt x="1057" y="235"/>
                </a:lnTo>
                <a:lnTo>
                  <a:pt x="1060" y="243"/>
                </a:lnTo>
                <a:lnTo>
                  <a:pt x="1064" y="250"/>
                </a:lnTo>
                <a:lnTo>
                  <a:pt x="1070" y="254"/>
                </a:lnTo>
                <a:lnTo>
                  <a:pt x="1070" y="254"/>
                </a:lnTo>
                <a:lnTo>
                  <a:pt x="1071" y="254"/>
                </a:lnTo>
                <a:lnTo>
                  <a:pt x="1073" y="252"/>
                </a:lnTo>
                <a:lnTo>
                  <a:pt x="1073" y="246"/>
                </a:lnTo>
                <a:lnTo>
                  <a:pt x="1070" y="235"/>
                </a:lnTo>
                <a:lnTo>
                  <a:pt x="1070" y="235"/>
                </a:lnTo>
                <a:lnTo>
                  <a:pt x="1066" y="228"/>
                </a:lnTo>
                <a:lnTo>
                  <a:pt x="1064" y="219"/>
                </a:lnTo>
                <a:lnTo>
                  <a:pt x="1062" y="202"/>
                </a:lnTo>
                <a:lnTo>
                  <a:pt x="1062" y="194"/>
                </a:lnTo>
                <a:lnTo>
                  <a:pt x="1060" y="185"/>
                </a:lnTo>
                <a:lnTo>
                  <a:pt x="1055" y="176"/>
                </a:lnTo>
                <a:lnTo>
                  <a:pt x="1045" y="163"/>
                </a:lnTo>
                <a:lnTo>
                  <a:pt x="1045" y="163"/>
                </a:lnTo>
                <a:lnTo>
                  <a:pt x="1040" y="157"/>
                </a:lnTo>
                <a:lnTo>
                  <a:pt x="1034" y="152"/>
                </a:lnTo>
                <a:lnTo>
                  <a:pt x="1034" y="152"/>
                </a:lnTo>
                <a:lnTo>
                  <a:pt x="1034" y="152"/>
                </a:lnTo>
                <a:lnTo>
                  <a:pt x="1029" y="143"/>
                </a:lnTo>
                <a:lnTo>
                  <a:pt x="1025" y="135"/>
                </a:lnTo>
                <a:lnTo>
                  <a:pt x="1023" y="128"/>
                </a:lnTo>
                <a:lnTo>
                  <a:pt x="1023" y="122"/>
                </a:lnTo>
                <a:lnTo>
                  <a:pt x="1027" y="117"/>
                </a:lnTo>
                <a:lnTo>
                  <a:pt x="1029" y="113"/>
                </a:lnTo>
                <a:lnTo>
                  <a:pt x="1034" y="109"/>
                </a:lnTo>
                <a:lnTo>
                  <a:pt x="1040" y="107"/>
                </a:lnTo>
                <a:lnTo>
                  <a:pt x="1053" y="105"/>
                </a:lnTo>
                <a:lnTo>
                  <a:pt x="1070" y="105"/>
                </a:lnTo>
                <a:lnTo>
                  <a:pt x="1084" y="107"/>
                </a:lnTo>
                <a:lnTo>
                  <a:pt x="1096" y="111"/>
                </a:lnTo>
                <a:lnTo>
                  <a:pt x="1096" y="111"/>
                </a:lnTo>
                <a:lnTo>
                  <a:pt x="1103" y="115"/>
                </a:lnTo>
                <a:lnTo>
                  <a:pt x="1109" y="118"/>
                </a:lnTo>
                <a:lnTo>
                  <a:pt x="1121" y="131"/>
                </a:lnTo>
                <a:lnTo>
                  <a:pt x="1142" y="156"/>
                </a:lnTo>
                <a:lnTo>
                  <a:pt x="1142" y="156"/>
                </a:lnTo>
                <a:lnTo>
                  <a:pt x="1151" y="169"/>
                </a:lnTo>
                <a:lnTo>
                  <a:pt x="1157" y="178"/>
                </a:lnTo>
                <a:lnTo>
                  <a:pt x="1157" y="178"/>
                </a:lnTo>
                <a:lnTo>
                  <a:pt x="1159" y="167"/>
                </a:lnTo>
                <a:lnTo>
                  <a:pt x="1157" y="161"/>
                </a:lnTo>
                <a:lnTo>
                  <a:pt x="1157" y="159"/>
                </a:lnTo>
                <a:lnTo>
                  <a:pt x="1155" y="157"/>
                </a:lnTo>
                <a:lnTo>
                  <a:pt x="1155" y="157"/>
                </a:lnTo>
                <a:lnTo>
                  <a:pt x="1151" y="157"/>
                </a:lnTo>
                <a:lnTo>
                  <a:pt x="1149" y="156"/>
                </a:lnTo>
                <a:lnTo>
                  <a:pt x="1149" y="154"/>
                </a:lnTo>
                <a:lnTo>
                  <a:pt x="1149" y="154"/>
                </a:lnTo>
                <a:lnTo>
                  <a:pt x="1151" y="152"/>
                </a:lnTo>
                <a:lnTo>
                  <a:pt x="1155" y="152"/>
                </a:lnTo>
                <a:lnTo>
                  <a:pt x="1155" y="152"/>
                </a:lnTo>
                <a:lnTo>
                  <a:pt x="1162" y="152"/>
                </a:lnTo>
                <a:lnTo>
                  <a:pt x="1168" y="152"/>
                </a:lnTo>
                <a:lnTo>
                  <a:pt x="1173" y="156"/>
                </a:lnTo>
                <a:lnTo>
                  <a:pt x="1177" y="161"/>
                </a:lnTo>
                <a:lnTo>
                  <a:pt x="1177" y="161"/>
                </a:lnTo>
                <a:lnTo>
                  <a:pt x="1177" y="163"/>
                </a:lnTo>
                <a:lnTo>
                  <a:pt x="1177" y="165"/>
                </a:lnTo>
                <a:lnTo>
                  <a:pt x="1179" y="165"/>
                </a:lnTo>
                <a:lnTo>
                  <a:pt x="1179" y="165"/>
                </a:lnTo>
                <a:lnTo>
                  <a:pt x="1185" y="157"/>
                </a:lnTo>
                <a:lnTo>
                  <a:pt x="1188" y="146"/>
                </a:lnTo>
                <a:lnTo>
                  <a:pt x="1196" y="122"/>
                </a:lnTo>
                <a:lnTo>
                  <a:pt x="1199" y="111"/>
                </a:lnTo>
                <a:lnTo>
                  <a:pt x="1205" y="102"/>
                </a:lnTo>
                <a:lnTo>
                  <a:pt x="1212" y="94"/>
                </a:lnTo>
                <a:lnTo>
                  <a:pt x="1218" y="93"/>
                </a:lnTo>
                <a:lnTo>
                  <a:pt x="1223" y="93"/>
                </a:lnTo>
                <a:lnTo>
                  <a:pt x="1223" y="93"/>
                </a:lnTo>
                <a:lnTo>
                  <a:pt x="1236" y="93"/>
                </a:lnTo>
                <a:lnTo>
                  <a:pt x="1242" y="93"/>
                </a:lnTo>
                <a:lnTo>
                  <a:pt x="1246" y="96"/>
                </a:lnTo>
                <a:lnTo>
                  <a:pt x="1249" y="100"/>
                </a:lnTo>
                <a:lnTo>
                  <a:pt x="1251" y="107"/>
                </a:lnTo>
                <a:lnTo>
                  <a:pt x="1255" y="113"/>
                </a:lnTo>
                <a:lnTo>
                  <a:pt x="1257" y="115"/>
                </a:lnTo>
                <a:lnTo>
                  <a:pt x="1261" y="117"/>
                </a:lnTo>
                <a:lnTo>
                  <a:pt x="1274" y="117"/>
                </a:lnTo>
                <a:lnTo>
                  <a:pt x="1292" y="115"/>
                </a:lnTo>
                <a:lnTo>
                  <a:pt x="1292" y="115"/>
                </a:lnTo>
                <a:lnTo>
                  <a:pt x="1296" y="117"/>
                </a:lnTo>
                <a:lnTo>
                  <a:pt x="1303" y="122"/>
                </a:lnTo>
                <a:lnTo>
                  <a:pt x="1309" y="126"/>
                </a:lnTo>
                <a:lnTo>
                  <a:pt x="1312" y="128"/>
                </a:lnTo>
                <a:lnTo>
                  <a:pt x="1314" y="126"/>
                </a:lnTo>
                <a:lnTo>
                  <a:pt x="1314" y="126"/>
                </a:lnTo>
                <a:lnTo>
                  <a:pt x="1312" y="122"/>
                </a:lnTo>
                <a:lnTo>
                  <a:pt x="1311" y="118"/>
                </a:lnTo>
                <a:lnTo>
                  <a:pt x="1311" y="118"/>
                </a:lnTo>
                <a:lnTo>
                  <a:pt x="1305" y="113"/>
                </a:lnTo>
                <a:lnTo>
                  <a:pt x="1303" y="111"/>
                </a:lnTo>
                <a:lnTo>
                  <a:pt x="1305" y="109"/>
                </a:lnTo>
                <a:lnTo>
                  <a:pt x="1309" y="104"/>
                </a:lnTo>
                <a:lnTo>
                  <a:pt x="1318" y="100"/>
                </a:lnTo>
                <a:lnTo>
                  <a:pt x="1318" y="100"/>
                </a:lnTo>
                <a:lnTo>
                  <a:pt x="1322" y="98"/>
                </a:lnTo>
                <a:lnTo>
                  <a:pt x="1327" y="100"/>
                </a:lnTo>
                <a:lnTo>
                  <a:pt x="1331" y="104"/>
                </a:lnTo>
                <a:lnTo>
                  <a:pt x="1335" y="109"/>
                </a:lnTo>
                <a:lnTo>
                  <a:pt x="1335" y="109"/>
                </a:lnTo>
                <a:lnTo>
                  <a:pt x="1337" y="109"/>
                </a:lnTo>
                <a:lnTo>
                  <a:pt x="1335" y="104"/>
                </a:lnTo>
                <a:lnTo>
                  <a:pt x="1335" y="96"/>
                </a:lnTo>
                <a:lnTo>
                  <a:pt x="1337" y="91"/>
                </a:lnTo>
                <a:lnTo>
                  <a:pt x="1340" y="87"/>
                </a:lnTo>
                <a:lnTo>
                  <a:pt x="1340" y="87"/>
                </a:lnTo>
                <a:lnTo>
                  <a:pt x="1342" y="81"/>
                </a:lnTo>
                <a:lnTo>
                  <a:pt x="1344" y="74"/>
                </a:lnTo>
                <a:lnTo>
                  <a:pt x="1344" y="74"/>
                </a:lnTo>
                <a:lnTo>
                  <a:pt x="1342" y="67"/>
                </a:lnTo>
                <a:lnTo>
                  <a:pt x="1338" y="59"/>
                </a:lnTo>
                <a:lnTo>
                  <a:pt x="1329" y="44"/>
                </a:lnTo>
                <a:lnTo>
                  <a:pt x="1320" y="29"/>
                </a:lnTo>
                <a:lnTo>
                  <a:pt x="1316" y="22"/>
                </a:lnTo>
                <a:lnTo>
                  <a:pt x="1316" y="16"/>
                </a:lnTo>
                <a:lnTo>
                  <a:pt x="1316" y="16"/>
                </a:lnTo>
                <a:lnTo>
                  <a:pt x="1320" y="11"/>
                </a:lnTo>
                <a:lnTo>
                  <a:pt x="1325" y="9"/>
                </a:lnTo>
                <a:lnTo>
                  <a:pt x="1333" y="7"/>
                </a:lnTo>
                <a:lnTo>
                  <a:pt x="1340" y="9"/>
                </a:lnTo>
                <a:lnTo>
                  <a:pt x="1355" y="15"/>
                </a:lnTo>
                <a:lnTo>
                  <a:pt x="1362" y="16"/>
                </a:lnTo>
                <a:lnTo>
                  <a:pt x="1362" y="16"/>
                </a:lnTo>
                <a:lnTo>
                  <a:pt x="1374" y="11"/>
                </a:lnTo>
                <a:lnTo>
                  <a:pt x="1392" y="4"/>
                </a:lnTo>
                <a:lnTo>
                  <a:pt x="1403" y="0"/>
                </a:lnTo>
                <a:lnTo>
                  <a:pt x="1414" y="0"/>
                </a:lnTo>
                <a:lnTo>
                  <a:pt x="1418" y="2"/>
                </a:lnTo>
                <a:lnTo>
                  <a:pt x="1424" y="5"/>
                </a:lnTo>
                <a:lnTo>
                  <a:pt x="1427" y="9"/>
                </a:lnTo>
                <a:lnTo>
                  <a:pt x="1429" y="15"/>
                </a:lnTo>
                <a:lnTo>
                  <a:pt x="1429" y="15"/>
                </a:lnTo>
                <a:lnTo>
                  <a:pt x="1431" y="18"/>
                </a:lnTo>
                <a:lnTo>
                  <a:pt x="1431" y="22"/>
                </a:lnTo>
                <a:lnTo>
                  <a:pt x="1429" y="29"/>
                </a:lnTo>
                <a:lnTo>
                  <a:pt x="1429" y="31"/>
                </a:lnTo>
                <a:lnTo>
                  <a:pt x="1431" y="35"/>
                </a:lnTo>
                <a:lnTo>
                  <a:pt x="1437" y="37"/>
                </a:lnTo>
                <a:lnTo>
                  <a:pt x="1448" y="37"/>
                </a:lnTo>
                <a:lnTo>
                  <a:pt x="1448" y="37"/>
                </a:lnTo>
                <a:lnTo>
                  <a:pt x="1459" y="39"/>
                </a:lnTo>
                <a:lnTo>
                  <a:pt x="1463" y="41"/>
                </a:lnTo>
                <a:lnTo>
                  <a:pt x="1463" y="44"/>
                </a:lnTo>
                <a:lnTo>
                  <a:pt x="1463" y="44"/>
                </a:lnTo>
                <a:lnTo>
                  <a:pt x="1461" y="59"/>
                </a:lnTo>
                <a:lnTo>
                  <a:pt x="1457" y="70"/>
                </a:lnTo>
                <a:lnTo>
                  <a:pt x="1455" y="76"/>
                </a:lnTo>
                <a:lnTo>
                  <a:pt x="1455" y="81"/>
                </a:lnTo>
                <a:lnTo>
                  <a:pt x="1459" y="85"/>
                </a:lnTo>
                <a:lnTo>
                  <a:pt x="1463" y="89"/>
                </a:lnTo>
                <a:lnTo>
                  <a:pt x="1463" y="89"/>
                </a:lnTo>
                <a:lnTo>
                  <a:pt x="1468" y="89"/>
                </a:lnTo>
                <a:lnTo>
                  <a:pt x="1474" y="89"/>
                </a:lnTo>
                <a:lnTo>
                  <a:pt x="1479" y="87"/>
                </a:lnTo>
                <a:lnTo>
                  <a:pt x="1483" y="87"/>
                </a:lnTo>
                <a:lnTo>
                  <a:pt x="1483" y="87"/>
                </a:lnTo>
                <a:lnTo>
                  <a:pt x="1489" y="91"/>
                </a:lnTo>
                <a:lnTo>
                  <a:pt x="1494" y="96"/>
                </a:lnTo>
                <a:lnTo>
                  <a:pt x="1502" y="102"/>
                </a:lnTo>
                <a:lnTo>
                  <a:pt x="1509" y="107"/>
                </a:lnTo>
                <a:lnTo>
                  <a:pt x="1509" y="107"/>
                </a:lnTo>
                <a:lnTo>
                  <a:pt x="1516" y="109"/>
                </a:lnTo>
                <a:lnTo>
                  <a:pt x="1520" y="109"/>
                </a:lnTo>
                <a:lnTo>
                  <a:pt x="1522" y="104"/>
                </a:lnTo>
                <a:lnTo>
                  <a:pt x="1520" y="98"/>
                </a:lnTo>
                <a:lnTo>
                  <a:pt x="1520" y="87"/>
                </a:lnTo>
                <a:lnTo>
                  <a:pt x="1520" y="81"/>
                </a:lnTo>
                <a:lnTo>
                  <a:pt x="1524" y="78"/>
                </a:lnTo>
                <a:lnTo>
                  <a:pt x="1524" y="78"/>
                </a:lnTo>
                <a:lnTo>
                  <a:pt x="1542" y="72"/>
                </a:lnTo>
                <a:lnTo>
                  <a:pt x="1555" y="68"/>
                </a:lnTo>
                <a:lnTo>
                  <a:pt x="1566" y="63"/>
                </a:lnTo>
                <a:lnTo>
                  <a:pt x="1581" y="50"/>
                </a:lnTo>
                <a:lnTo>
                  <a:pt x="1581" y="50"/>
                </a:lnTo>
                <a:lnTo>
                  <a:pt x="1585" y="48"/>
                </a:lnTo>
                <a:lnTo>
                  <a:pt x="1594" y="46"/>
                </a:lnTo>
                <a:lnTo>
                  <a:pt x="1616" y="44"/>
                </a:lnTo>
                <a:lnTo>
                  <a:pt x="1639" y="42"/>
                </a:lnTo>
                <a:lnTo>
                  <a:pt x="1646" y="42"/>
                </a:lnTo>
                <a:lnTo>
                  <a:pt x="1650" y="44"/>
                </a:lnTo>
                <a:lnTo>
                  <a:pt x="1650" y="44"/>
                </a:lnTo>
                <a:lnTo>
                  <a:pt x="1644" y="46"/>
                </a:lnTo>
                <a:lnTo>
                  <a:pt x="1631" y="52"/>
                </a:lnTo>
                <a:lnTo>
                  <a:pt x="1609" y="61"/>
                </a:lnTo>
                <a:lnTo>
                  <a:pt x="1609" y="61"/>
                </a:lnTo>
                <a:lnTo>
                  <a:pt x="1590" y="68"/>
                </a:lnTo>
                <a:lnTo>
                  <a:pt x="1579" y="72"/>
                </a:lnTo>
                <a:lnTo>
                  <a:pt x="1576" y="76"/>
                </a:lnTo>
                <a:lnTo>
                  <a:pt x="1576" y="76"/>
                </a:lnTo>
                <a:lnTo>
                  <a:pt x="1576" y="76"/>
                </a:lnTo>
                <a:lnTo>
                  <a:pt x="1579" y="80"/>
                </a:lnTo>
                <a:lnTo>
                  <a:pt x="1583" y="83"/>
                </a:lnTo>
                <a:lnTo>
                  <a:pt x="1587" y="87"/>
                </a:lnTo>
                <a:lnTo>
                  <a:pt x="1589" y="91"/>
                </a:lnTo>
                <a:lnTo>
                  <a:pt x="1589" y="91"/>
                </a:lnTo>
                <a:lnTo>
                  <a:pt x="1589" y="96"/>
                </a:lnTo>
                <a:lnTo>
                  <a:pt x="1585" y="100"/>
                </a:lnTo>
                <a:lnTo>
                  <a:pt x="1585" y="100"/>
                </a:lnTo>
                <a:lnTo>
                  <a:pt x="1578" y="105"/>
                </a:lnTo>
                <a:lnTo>
                  <a:pt x="1565" y="111"/>
                </a:lnTo>
                <a:lnTo>
                  <a:pt x="1552" y="117"/>
                </a:lnTo>
                <a:lnTo>
                  <a:pt x="1550" y="120"/>
                </a:lnTo>
                <a:lnTo>
                  <a:pt x="1548" y="122"/>
                </a:lnTo>
                <a:lnTo>
                  <a:pt x="1548" y="122"/>
                </a:lnTo>
                <a:lnTo>
                  <a:pt x="1553" y="128"/>
                </a:lnTo>
                <a:lnTo>
                  <a:pt x="1557" y="131"/>
                </a:lnTo>
                <a:lnTo>
                  <a:pt x="1570" y="137"/>
                </a:lnTo>
                <a:lnTo>
                  <a:pt x="1583" y="139"/>
                </a:lnTo>
                <a:lnTo>
                  <a:pt x="1596" y="139"/>
                </a:lnTo>
                <a:lnTo>
                  <a:pt x="1620" y="137"/>
                </a:lnTo>
                <a:lnTo>
                  <a:pt x="1628" y="137"/>
                </a:lnTo>
                <a:lnTo>
                  <a:pt x="1633" y="141"/>
                </a:lnTo>
                <a:lnTo>
                  <a:pt x="1633" y="141"/>
                </a:lnTo>
                <a:lnTo>
                  <a:pt x="1639" y="148"/>
                </a:lnTo>
                <a:lnTo>
                  <a:pt x="1641" y="154"/>
                </a:lnTo>
                <a:lnTo>
                  <a:pt x="1642" y="161"/>
                </a:lnTo>
                <a:lnTo>
                  <a:pt x="1642" y="167"/>
                </a:lnTo>
                <a:lnTo>
                  <a:pt x="1641" y="170"/>
                </a:lnTo>
                <a:lnTo>
                  <a:pt x="1639" y="176"/>
                </a:lnTo>
                <a:lnTo>
                  <a:pt x="1633" y="183"/>
                </a:lnTo>
                <a:lnTo>
                  <a:pt x="1615" y="198"/>
                </a:lnTo>
                <a:lnTo>
                  <a:pt x="1607" y="206"/>
                </a:lnTo>
                <a:lnTo>
                  <a:pt x="1600" y="215"/>
                </a:lnTo>
                <a:lnTo>
                  <a:pt x="1600" y="215"/>
                </a:lnTo>
                <a:lnTo>
                  <a:pt x="1600" y="217"/>
                </a:lnTo>
                <a:lnTo>
                  <a:pt x="1602" y="217"/>
                </a:lnTo>
                <a:lnTo>
                  <a:pt x="1605" y="215"/>
                </a:lnTo>
                <a:lnTo>
                  <a:pt x="1611" y="213"/>
                </a:lnTo>
                <a:lnTo>
                  <a:pt x="1613" y="213"/>
                </a:lnTo>
                <a:lnTo>
                  <a:pt x="1613" y="215"/>
                </a:lnTo>
                <a:lnTo>
                  <a:pt x="1613" y="215"/>
                </a:lnTo>
                <a:lnTo>
                  <a:pt x="1613" y="219"/>
                </a:lnTo>
                <a:lnTo>
                  <a:pt x="1609" y="220"/>
                </a:lnTo>
                <a:lnTo>
                  <a:pt x="1607" y="224"/>
                </a:lnTo>
                <a:lnTo>
                  <a:pt x="1607" y="228"/>
                </a:lnTo>
                <a:lnTo>
                  <a:pt x="1607" y="228"/>
                </a:lnTo>
                <a:lnTo>
                  <a:pt x="1609" y="230"/>
                </a:lnTo>
                <a:lnTo>
                  <a:pt x="1611" y="230"/>
                </a:lnTo>
                <a:lnTo>
                  <a:pt x="1620" y="230"/>
                </a:lnTo>
                <a:lnTo>
                  <a:pt x="1646" y="220"/>
                </a:lnTo>
                <a:lnTo>
                  <a:pt x="1672" y="213"/>
                </a:lnTo>
                <a:lnTo>
                  <a:pt x="1681" y="211"/>
                </a:lnTo>
                <a:lnTo>
                  <a:pt x="1685" y="211"/>
                </a:lnTo>
                <a:lnTo>
                  <a:pt x="1687" y="213"/>
                </a:lnTo>
                <a:lnTo>
                  <a:pt x="1687" y="213"/>
                </a:lnTo>
                <a:lnTo>
                  <a:pt x="1687" y="215"/>
                </a:lnTo>
                <a:lnTo>
                  <a:pt x="1687" y="219"/>
                </a:lnTo>
                <a:lnTo>
                  <a:pt x="1683" y="222"/>
                </a:lnTo>
                <a:lnTo>
                  <a:pt x="1679" y="228"/>
                </a:lnTo>
                <a:lnTo>
                  <a:pt x="1678" y="230"/>
                </a:lnTo>
                <a:lnTo>
                  <a:pt x="1678" y="233"/>
                </a:lnTo>
                <a:lnTo>
                  <a:pt x="1678" y="233"/>
                </a:lnTo>
                <a:lnTo>
                  <a:pt x="1678" y="235"/>
                </a:lnTo>
                <a:lnTo>
                  <a:pt x="1681" y="237"/>
                </a:lnTo>
                <a:lnTo>
                  <a:pt x="1689" y="241"/>
                </a:lnTo>
                <a:lnTo>
                  <a:pt x="1694" y="243"/>
                </a:lnTo>
                <a:lnTo>
                  <a:pt x="1694" y="243"/>
                </a:lnTo>
                <a:lnTo>
                  <a:pt x="1694" y="245"/>
                </a:lnTo>
                <a:lnTo>
                  <a:pt x="1694" y="245"/>
                </a:lnTo>
                <a:lnTo>
                  <a:pt x="1685" y="250"/>
                </a:lnTo>
                <a:lnTo>
                  <a:pt x="1676" y="258"/>
                </a:lnTo>
                <a:lnTo>
                  <a:pt x="1676" y="258"/>
                </a:lnTo>
                <a:lnTo>
                  <a:pt x="1666" y="270"/>
                </a:lnTo>
                <a:lnTo>
                  <a:pt x="1655" y="282"/>
                </a:lnTo>
                <a:lnTo>
                  <a:pt x="1655" y="282"/>
                </a:lnTo>
                <a:lnTo>
                  <a:pt x="1650" y="291"/>
                </a:lnTo>
                <a:lnTo>
                  <a:pt x="1648" y="295"/>
                </a:lnTo>
                <a:lnTo>
                  <a:pt x="1648" y="295"/>
                </a:lnTo>
                <a:lnTo>
                  <a:pt x="1650" y="295"/>
                </a:lnTo>
                <a:lnTo>
                  <a:pt x="1650" y="295"/>
                </a:lnTo>
                <a:lnTo>
                  <a:pt x="1655" y="293"/>
                </a:lnTo>
                <a:lnTo>
                  <a:pt x="1661" y="289"/>
                </a:lnTo>
                <a:lnTo>
                  <a:pt x="1672" y="278"/>
                </a:lnTo>
                <a:lnTo>
                  <a:pt x="1685" y="265"/>
                </a:lnTo>
                <a:lnTo>
                  <a:pt x="1694" y="256"/>
                </a:lnTo>
                <a:lnTo>
                  <a:pt x="1694" y="256"/>
                </a:lnTo>
                <a:lnTo>
                  <a:pt x="1698" y="254"/>
                </a:lnTo>
                <a:lnTo>
                  <a:pt x="1700" y="254"/>
                </a:lnTo>
                <a:lnTo>
                  <a:pt x="1704" y="256"/>
                </a:lnTo>
                <a:lnTo>
                  <a:pt x="1704" y="256"/>
                </a:lnTo>
                <a:lnTo>
                  <a:pt x="1707" y="258"/>
                </a:lnTo>
                <a:lnTo>
                  <a:pt x="1707" y="256"/>
                </a:lnTo>
                <a:lnTo>
                  <a:pt x="1705" y="252"/>
                </a:lnTo>
                <a:lnTo>
                  <a:pt x="1705" y="252"/>
                </a:lnTo>
                <a:lnTo>
                  <a:pt x="1707" y="250"/>
                </a:lnTo>
                <a:lnTo>
                  <a:pt x="1709" y="252"/>
                </a:lnTo>
                <a:lnTo>
                  <a:pt x="1717" y="256"/>
                </a:lnTo>
                <a:lnTo>
                  <a:pt x="1717" y="256"/>
                </a:lnTo>
                <a:lnTo>
                  <a:pt x="1730" y="263"/>
                </a:lnTo>
                <a:lnTo>
                  <a:pt x="1737" y="265"/>
                </a:lnTo>
                <a:lnTo>
                  <a:pt x="1744" y="267"/>
                </a:lnTo>
                <a:lnTo>
                  <a:pt x="1744" y="267"/>
                </a:lnTo>
                <a:lnTo>
                  <a:pt x="1755" y="265"/>
                </a:lnTo>
                <a:lnTo>
                  <a:pt x="1761" y="267"/>
                </a:lnTo>
                <a:lnTo>
                  <a:pt x="1765" y="269"/>
                </a:lnTo>
                <a:lnTo>
                  <a:pt x="1767" y="272"/>
                </a:lnTo>
                <a:lnTo>
                  <a:pt x="1768" y="282"/>
                </a:lnTo>
                <a:lnTo>
                  <a:pt x="1770" y="285"/>
                </a:lnTo>
                <a:lnTo>
                  <a:pt x="1776" y="287"/>
                </a:lnTo>
                <a:lnTo>
                  <a:pt x="1776" y="287"/>
                </a:lnTo>
                <a:lnTo>
                  <a:pt x="1783" y="285"/>
                </a:lnTo>
                <a:lnTo>
                  <a:pt x="1793" y="283"/>
                </a:lnTo>
                <a:lnTo>
                  <a:pt x="1798" y="282"/>
                </a:lnTo>
                <a:lnTo>
                  <a:pt x="1804" y="283"/>
                </a:lnTo>
                <a:lnTo>
                  <a:pt x="1806" y="287"/>
                </a:lnTo>
                <a:lnTo>
                  <a:pt x="1807" y="293"/>
                </a:lnTo>
                <a:lnTo>
                  <a:pt x="1807" y="293"/>
                </a:lnTo>
                <a:lnTo>
                  <a:pt x="1806" y="304"/>
                </a:lnTo>
                <a:lnTo>
                  <a:pt x="1802" y="311"/>
                </a:lnTo>
                <a:lnTo>
                  <a:pt x="1796" y="319"/>
                </a:lnTo>
                <a:lnTo>
                  <a:pt x="1791" y="324"/>
                </a:lnTo>
                <a:lnTo>
                  <a:pt x="1780" y="332"/>
                </a:lnTo>
                <a:lnTo>
                  <a:pt x="1778" y="334"/>
                </a:lnTo>
                <a:lnTo>
                  <a:pt x="1778" y="334"/>
                </a:lnTo>
                <a:lnTo>
                  <a:pt x="1778" y="334"/>
                </a:lnTo>
                <a:lnTo>
                  <a:pt x="1785" y="337"/>
                </a:lnTo>
                <a:lnTo>
                  <a:pt x="1787" y="339"/>
                </a:lnTo>
                <a:lnTo>
                  <a:pt x="1785" y="343"/>
                </a:lnTo>
                <a:lnTo>
                  <a:pt x="1785" y="343"/>
                </a:lnTo>
                <a:lnTo>
                  <a:pt x="1776" y="345"/>
                </a:lnTo>
                <a:lnTo>
                  <a:pt x="1761" y="348"/>
                </a:lnTo>
                <a:lnTo>
                  <a:pt x="1748" y="354"/>
                </a:lnTo>
                <a:lnTo>
                  <a:pt x="1742" y="356"/>
                </a:lnTo>
                <a:lnTo>
                  <a:pt x="1742" y="359"/>
                </a:lnTo>
                <a:lnTo>
                  <a:pt x="1742" y="359"/>
                </a:lnTo>
                <a:lnTo>
                  <a:pt x="1744" y="359"/>
                </a:lnTo>
                <a:lnTo>
                  <a:pt x="1748" y="358"/>
                </a:lnTo>
                <a:lnTo>
                  <a:pt x="1754" y="356"/>
                </a:lnTo>
                <a:lnTo>
                  <a:pt x="1754" y="356"/>
                </a:lnTo>
                <a:lnTo>
                  <a:pt x="1767" y="354"/>
                </a:lnTo>
                <a:lnTo>
                  <a:pt x="1780" y="352"/>
                </a:lnTo>
                <a:lnTo>
                  <a:pt x="1793" y="350"/>
                </a:lnTo>
                <a:lnTo>
                  <a:pt x="1798" y="352"/>
                </a:lnTo>
                <a:lnTo>
                  <a:pt x="1804" y="354"/>
                </a:lnTo>
                <a:lnTo>
                  <a:pt x="1804" y="354"/>
                </a:lnTo>
                <a:lnTo>
                  <a:pt x="1811" y="356"/>
                </a:lnTo>
                <a:lnTo>
                  <a:pt x="1813" y="359"/>
                </a:lnTo>
                <a:lnTo>
                  <a:pt x="1815" y="361"/>
                </a:lnTo>
                <a:lnTo>
                  <a:pt x="1815" y="361"/>
                </a:lnTo>
                <a:lnTo>
                  <a:pt x="1813" y="365"/>
                </a:lnTo>
                <a:lnTo>
                  <a:pt x="1809" y="369"/>
                </a:lnTo>
                <a:lnTo>
                  <a:pt x="1806" y="372"/>
                </a:lnTo>
                <a:lnTo>
                  <a:pt x="1802" y="374"/>
                </a:lnTo>
                <a:lnTo>
                  <a:pt x="1791" y="374"/>
                </a:lnTo>
                <a:lnTo>
                  <a:pt x="1778" y="374"/>
                </a:lnTo>
                <a:lnTo>
                  <a:pt x="1754" y="374"/>
                </a:lnTo>
                <a:lnTo>
                  <a:pt x="1742" y="376"/>
                </a:lnTo>
                <a:lnTo>
                  <a:pt x="1739" y="378"/>
                </a:lnTo>
                <a:lnTo>
                  <a:pt x="1737" y="380"/>
                </a:lnTo>
                <a:lnTo>
                  <a:pt x="1737" y="380"/>
                </a:lnTo>
                <a:lnTo>
                  <a:pt x="1737" y="382"/>
                </a:lnTo>
                <a:lnTo>
                  <a:pt x="1739" y="382"/>
                </a:lnTo>
                <a:lnTo>
                  <a:pt x="1744" y="382"/>
                </a:lnTo>
                <a:lnTo>
                  <a:pt x="1754" y="382"/>
                </a:lnTo>
                <a:lnTo>
                  <a:pt x="1754" y="382"/>
                </a:lnTo>
                <a:lnTo>
                  <a:pt x="1781" y="382"/>
                </a:lnTo>
                <a:lnTo>
                  <a:pt x="1798" y="382"/>
                </a:lnTo>
                <a:lnTo>
                  <a:pt x="1806" y="384"/>
                </a:lnTo>
                <a:lnTo>
                  <a:pt x="1806" y="384"/>
                </a:lnTo>
                <a:lnTo>
                  <a:pt x="1806" y="387"/>
                </a:lnTo>
                <a:lnTo>
                  <a:pt x="1804" y="389"/>
                </a:lnTo>
                <a:lnTo>
                  <a:pt x="1794" y="391"/>
                </a:lnTo>
                <a:lnTo>
                  <a:pt x="1787" y="393"/>
                </a:lnTo>
                <a:lnTo>
                  <a:pt x="1785" y="395"/>
                </a:lnTo>
                <a:lnTo>
                  <a:pt x="1785" y="397"/>
                </a:lnTo>
                <a:lnTo>
                  <a:pt x="1785" y="397"/>
                </a:lnTo>
                <a:lnTo>
                  <a:pt x="1789" y="398"/>
                </a:lnTo>
                <a:lnTo>
                  <a:pt x="1793" y="400"/>
                </a:lnTo>
                <a:lnTo>
                  <a:pt x="1800" y="400"/>
                </a:lnTo>
                <a:lnTo>
                  <a:pt x="1807" y="398"/>
                </a:lnTo>
                <a:lnTo>
                  <a:pt x="1815" y="397"/>
                </a:lnTo>
                <a:lnTo>
                  <a:pt x="1820" y="395"/>
                </a:lnTo>
                <a:lnTo>
                  <a:pt x="1824" y="397"/>
                </a:lnTo>
                <a:lnTo>
                  <a:pt x="1826" y="402"/>
                </a:lnTo>
                <a:lnTo>
                  <a:pt x="1826" y="413"/>
                </a:lnTo>
                <a:lnTo>
                  <a:pt x="1826" y="413"/>
                </a:lnTo>
                <a:lnTo>
                  <a:pt x="1824" y="419"/>
                </a:lnTo>
                <a:lnTo>
                  <a:pt x="1818" y="423"/>
                </a:lnTo>
                <a:lnTo>
                  <a:pt x="1809" y="424"/>
                </a:lnTo>
                <a:lnTo>
                  <a:pt x="1809" y="424"/>
                </a:lnTo>
                <a:lnTo>
                  <a:pt x="1806" y="428"/>
                </a:lnTo>
                <a:lnTo>
                  <a:pt x="1806" y="432"/>
                </a:lnTo>
                <a:lnTo>
                  <a:pt x="1806" y="435"/>
                </a:lnTo>
                <a:lnTo>
                  <a:pt x="1804" y="437"/>
                </a:lnTo>
                <a:lnTo>
                  <a:pt x="1804" y="437"/>
                </a:lnTo>
                <a:lnTo>
                  <a:pt x="1794" y="441"/>
                </a:lnTo>
                <a:lnTo>
                  <a:pt x="1785" y="439"/>
                </a:lnTo>
                <a:lnTo>
                  <a:pt x="1778" y="435"/>
                </a:lnTo>
                <a:lnTo>
                  <a:pt x="1770" y="430"/>
                </a:lnTo>
                <a:lnTo>
                  <a:pt x="1755" y="419"/>
                </a:lnTo>
                <a:lnTo>
                  <a:pt x="1746" y="415"/>
                </a:lnTo>
                <a:lnTo>
                  <a:pt x="1739" y="413"/>
                </a:lnTo>
                <a:lnTo>
                  <a:pt x="1739" y="413"/>
                </a:lnTo>
                <a:lnTo>
                  <a:pt x="1737" y="413"/>
                </a:lnTo>
                <a:lnTo>
                  <a:pt x="1737" y="415"/>
                </a:lnTo>
                <a:lnTo>
                  <a:pt x="1741" y="417"/>
                </a:lnTo>
                <a:lnTo>
                  <a:pt x="1741" y="417"/>
                </a:lnTo>
                <a:lnTo>
                  <a:pt x="1744" y="421"/>
                </a:lnTo>
                <a:lnTo>
                  <a:pt x="1742" y="423"/>
                </a:lnTo>
                <a:lnTo>
                  <a:pt x="1733" y="423"/>
                </a:lnTo>
                <a:lnTo>
                  <a:pt x="1733" y="423"/>
                </a:lnTo>
                <a:lnTo>
                  <a:pt x="1717" y="423"/>
                </a:lnTo>
                <a:lnTo>
                  <a:pt x="1717" y="423"/>
                </a:lnTo>
                <a:lnTo>
                  <a:pt x="1709" y="424"/>
                </a:lnTo>
                <a:lnTo>
                  <a:pt x="1705" y="426"/>
                </a:lnTo>
                <a:lnTo>
                  <a:pt x="1704" y="426"/>
                </a:lnTo>
                <a:lnTo>
                  <a:pt x="1704" y="426"/>
                </a:lnTo>
                <a:lnTo>
                  <a:pt x="1705" y="428"/>
                </a:lnTo>
                <a:lnTo>
                  <a:pt x="1711" y="430"/>
                </a:lnTo>
                <a:lnTo>
                  <a:pt x="1718" y="430"/>
                </a:lnTo>
                <a:lnTo>
                  <a:pt x="1718" y="430"/>
                </a:lnTo>
                <a:lnTo>
                  <a:pt x="1735" y="432"/>
                </a:lnTo>
                <a:lnTo>
                  <a:pt x="1759" y="437"/>
                </a:lnTo>
                <a:lnTo>
                  <a:pt x="1772" y="441"/>
                </a:lnTo>
                <a:lnTo>
                  <a:pt x="1781" y="445"/>
                </a:lnTo>
                <a:lnTo>
                  <a:pt x="1789" y="450"/>
                </a:lnTo>
                <a:lnTo>
                  <a:pt x="1791" y="454"/>
                </a:lnTo>
                <a:lnTo>
                  <a:pt x="1793" y="456"/>
                </a:lnTo>
                <a:lnTo>
                  <a:pt x="1793" y="456"/>
                </a:lnTo>
                <a:lnTo>
                  <a:pt x="1793" y="458"/>
                </a:lnTo>
                <a:lnTo>
                  <a:pt x="1791" y="458"/>
                </a:lnTo>
                <a:lnTo>
                  <a:pt x="1785" y="460"/>
                </a:lnTo>
                <a:lnTo>
                  <a:pt x="1765" y="458"/>
                </a:lnTo>
                <a:lnTo>
                  <a:pt x="1746" y="454"/>
                </a:lnTo>
                <a:lnTo>
                  <a:pt x="1735" y="454"/>
                </a:lnTo>
                <a:lnTo>
                  <a:pt x="1735" y="454"/>
                </a:lnTo>
                <a:lnTo>
                  <a:pt x="1733" y="454"/>
                </a:lnTo>
                <a:lnTo>
                  <a:pt x="1735" y="456"/>
                </a:lnTo>
                <a:lnTo>
                  <a:pt x="1739" y="458"/>
                </a:lnTo>
                <a:lnTo>
                  <a:pt x="1746" y="461"/>
                </a:lnTo>
                <a:lnTo>
                  <a:pt x="1746" y="461"/>
                </a:lnTo>
                <a:lnTo>
                  <a:pt x="1765" y="463"/>
                </a:lnTo>
                <a:lnTo>
                  <a:pt x="1774" y="465"/>
                </a:lnTo>
                <a:lnTo>
                  <a:pt x="1778" y="469"/>
                </a:lnTo>
                <a:lnTo>
                  <a:pt x="1781" y="473"/>
                </a:lnTo>
                <a:lnTo>
                  <a:pt x="1781" y="473"/>
                </a:lnTo>
                <a:lnTo>
                  <a:pt x="1781" y="478"/>
                </a:lnTo>
                <a:lnTo>
                  <a:pt x="1780" y="480"/>
                </a:lnTo>
                <a:lnTo>
                  <a:pt x="1774" y="482"/>
                </a:lnTo>
                <a:lnTo>
                  <a:pt x="1768" y="482"/>
                </a:lnTo>
                <a:lnTo>
                  <a:pt x="1755" y="480"/>
                </a:lnTo>
                <a:lnTo>
                  <a:pt x="1750" y="480"/>
                </a:lnTo>
                <a:lnTo>
                  <a:pt x="1750" y="480"/>
                </a:lnTo>
                <a:lnTo>
                  <a:pt x="1750" y="482"/>
                </a:lnTo>
                <a:lnTo>
                  <a:pt x="1752" y="482"/>
                </a:lnTo>
                <a:lnTo>
                  <a:pt x="1759" y="486"/>
                </a:lnTo>
                <a:lnTo>
                  <a:pt x="1767" y="487"/>
                </a:lnTo>
                <a:lnTo>
                  <a:pt x="1770" y="489"/>
                </a:lnTo>
                <a:lnTo>
                  <a:pt x="1770" y="491"/>
                </a:lnTo>
                <a:lnTo>
                  <a:pt x="1770" y="491"/>
                </a:lnTo>
                <a:lnTo>
                  <a:pt x="1767" y="493"/>
                </a:lnTo>
                <a:lnTo>
                  <a:pt x="1767" y="493"/>
                </a:lnTo>
                <a:lnTo>
                  <a:pt x="1761" y="491"/>
                </a:lnTo>
                <a:lnTo>
                  <a:pt x="1755" y="493"/>
                </a:lnTo>
                <a:lnTo>
                  <a:pt x="1742" y="500"/>
                </a:lnTo>
                <a:lnTo>
                  <a:pt x="1728" y="510"/>
                </a:lnTo>
                <a:lnTo>
                  <a:pt x="1718" y="515"/>
                </a:lnTo>
                <a:lnTo>
                  <a:pt x="1707" y="521"/>
                </a:lnTo>
                <a:lnTo>
                  <a:pt x="1707" y="521"/>
                </a:lnTo>
                <a:lnTo>
                  <a:pt x="1704" y="521"/>
                </a:lnTo>
                <a:lnTo>
                  <a:pt x="1704" y="521"/>
                </a:lnTo>
                <a:lnTo>
                  <a:pt x="1694" y="517"/>
                </a:lnTo>
                <a:lnTo>
                  <a:pt x="1689" y="511"/>
                </a:lnTo>
                <a:lnTo>
                  <a:pt x="1678" y="499"/>
                </a:lnTo>
                <a:lnTo>
                  <a:pt x="1678" y="499"/>
                </a:lnTo>
                <a:lnTo>
                  <a:pt x="1674" y="495"/>
                </a:lnTo>
                <a:lnTo>
                  <a:pt x="1665" y="491"/>
                </a:lnTo>
                <a:lnTo>
                  <a:pt x="1659" y="491"/>
                </a:lnTo>
                <a:lnTo>
                  <a:pt x="1657" y="491"/>
                </a:lnTo>
                <a:lnTo>
                  <a:pt x="1657" y="491"/>
                </a:lnTo>
                <a:lnTo>
                  <a:pt x="1657" y="491"/>
                </a:lnTo>
                <a:lnTo>
                  <a:pt x="1679" y="511"/>
                </a:lnTo>
                <a:lnTo>
                  <a:pt x="1692" y="524"/>
                </a:lnTo>
                <a:lnTo>
                  <a:pt x="1696" y="530"/>
                </a:lnTo>
                <a:lnTo>
                  <a:pt x="1698" y="534"/>
                </a:lnTo>
                <a:lnTo>
                  <a:pt x="1698" y="534"/>
                </a:lnTo>
                <a:lnTo>
                  <a:pt x="1696" y="536"/>
                </a:lnTo>
                <a:lnTo>
                  <a:pt x="1692" y="536"/>
                </a:lnTo>
                <a:lnTo>
                  <a:pt x="1683" y="534"/>
                </a:lnTo>
                <a:lnTo>
                  <a:pt x="1672" y="530"/>
                </a:lnTo>
                <a:lnTo>
                  <a:pt x="1666" y="528"/>
                </a:lnTo>
                <a:lnTo>
                  <a:pt x="1663" y="530"/>
                </a:lnTo>
                <a:lnTo>
                  <a:pt x="1663" y="530"/>
                </a:lnTo>
                <a:lnTo>
                  <a:pt x="1663" y="532"/>
                </a:lnTo>
                <a:lnTo>
                  <a:pt x="1663" y="534"/>
                </a:lnTo>
                <a:lnTo>
                  <a:pt x="1663" y="534"/>
                </a:lnTo>
                <a:lnTo>
                  <a:pt x="1672" y="543"/>
                </a:lnTo>
                <a:lnTo>
                  <a:pt x="1672" y="547"/>
                </a:lnTo>
                <a:lnTo>
                  <a:pt x="1672" y="549"/>
                </a:lnTo>
                <a:lnTo>
                  <a:pt x="1670" y="549"/>
                </a:lnTo>
                <a:lnTo>
                  <a:pt x="1665" y="547"/>
                </a:lnTo>
                <a:lnTo>
                  <a:pt x="1665" y="547"/>
                </a:lnTo>
                <a:lnTo>
                  <a:pt x="1659" y="547"/>
                </a:lnTo>
                <a:lnTo>
                  <a:pt x="1652" y="549"/>
                </a:lnTo>
                <a:lnTo>
                  <a:pt x="1648" y="549"/>
                </a:lnTo>
                <a:lnTo>
                  <a:pt x="1646" y="550"/>
                </a:lnTo>
                <a:lnTo>
                  <a:pt x="1646" y="554"/>
                </a:lnTo>
                <a:lnTo>
                  <a:pt x="1648" y="556"/>
                </a:lnTo>
                <a:lnTo>
                  <a:pt x="1648" y="556"/>
                </a:lnTo>
                <a:lnTo>
                  <a:pt x="1657" y="562"/>
                </a:lnTo>
                <a:lnTo>
                  <a:pt x="1661" y="562"/>
                </a:lnTo>
                <a:lnTo>
                  <a:pt x="1665" y="562"/>
                </a:lnTo>
                <a:lnTo>
                  <a:pt x="1672" y="556"/>
                </a:lnTo>
                <a:lnTo>
                  <a:pt x="1681" y="550"/>
                </a:lnTo>
                <a:lnTo>
                  <a:pt x="1681" y="550"/>
                </a:lnTo>
                <a:lnTo>
                  <a:pt x="1683" y="550"/>
                </a:lnTo>
                <a:lnTo>
                  <a:pt x="1685" y="550"/>
                </a:lnTo>
                <a:lnTo>
                  <a:pt x="1685" y="550"/>
                </a:lnTo>
                <a:lnTo>
                  <a:pt x="1685" y="550"/>
                </a:lnTo>
                <a:lnTo>
                  <a:pt x="1683" y="554"/>
                </a:lnTo>
                <a:lnTo>
                  <a:pt x="1679" y="560"/>
                </a:lnTo>
                <a:lnTo>
                  <a:pt x="1670" y="567"/>
                </a:lnTo>
                <a:lnTo>
                  <a:pt x="1670" y="567"/>
                </a:lnTo>
                <a:close/>
                <a:moveTo>
                  <a:pt x="1390" y="287"/>
                </a:moveTo>
                <a:lnTo>
                  <a:pt x="1390" y="287"/>
                </a:lnTo>
                <a:lnTo>
                  <a:pt x="1392" y="282"/>
                </a:lnTo>
                <a:lnTo>
                  <a:pt x="1392" y="276"/>
                </a:lnTo>
                <a:lnTo>
                  <a:pt x="1390" y="270"/>
                </a:lnTo>
                <a:lnTo>
                  <a:pt x="1388" y="265"/>
                </a:lnTo>
                <a:lnTo>
                  <a:pt x="1381" y="256"/>
                </a:lnTo>
                <a:lnTo>
                  <a:pt x="1372" y="248"/>
                </a:lnTo>
                <a:lnTo>
                  <a:pt x="1372" y="248"/>
                </a:lnTo>
                <a:lnTo>
                  <a:pt x="1372" y="248"/>
                </a:lnTo>
                <a:lnTo>
                  <a:pt x="1366" y="243"/>
                </a:lnTo>
                <a:lnTo>
                  <a:pt x="1362" y="237"/>
                </a:lnTo>
                <a:lnTo>
                  <a:pt x="1359" y="224"/>
                </a:lnTo>
                <a:lnTo>
                  <a:pt x="1355" y="213"/>
                </a:lnTo>
                <a:lnTo>
                  <a:pt x="1353" y="209"/>
                </a:lnTo>
                <a:lnTo>
                  <a:pt x="1350" y="206"/>
                </a:lnTo>
                <a:lnTo>
                  <a:pt x="1350" y="206"/>
                </a:lnTo>
                <a:lnTo>
                  <a:pt x="1348" y="206"/>
                </a:lnTo>
                <a:lnTo>
                  <a:pt x="1348" y="207"/>
                </a:lnTo>
                <a:lnTo>
                  <a:pt x="1348" y="213"/>
                </a:lnTo>
                <a:lnTo>
                  <a:pt x="1350" y="220"/>
                </a:lnTo>
                <a:lnTo>
                  <a:pt x="1350" y="220"/>
                </a:lnTo>
                <a:lnTo>
                  <a:pt x="1348" y="230"/>
                </a:lnTo>
                <a:lnTo>
                  <a:pt x="1346" y="235"/>
                </a:lnTo>
                <a:lnTo>
                  <a:pt x="1348" y="239"/>
                </a:lnTo>
                <a:lnTo>
                  <a:pt x="1348" y="239"/>
                </a:lnTo>
                <a:lnTo>
                  <a:pt x="1350" y="245"/>
                </a:lnTo>
                <a:lnTo>
                  <a:pt x="1355" y="248"/>
                </a:lnTo>
                <a:lnTo>
                  <a:pt x="1366" y="256"/>
                </a:lnTo>
                <a:lnTo>
                  <a:pt x="1377" y="263"/>
                </a:lnTo>
                <a:lnTo>
                  <a:pt x="1385" y="269"/>
                </a:lnTo>
                <a:lnTo>
                  <a:pt x="1385" y="269"/>
                </a:lnTo>
                <a:lnTo>
                  <a:pt x="1385" y="272"/>
                </a:lnTo>
                <a:lnTo>
                  <a:pt x="1385" y="280"/>
                </a:lnTo>
                <a:lnTo>
                  <a:pt x="1385" y="287"/>
                </a:lnTo>
                <a:lnTo>
                  <a:pt x="1387" y="291"/>
                </a:lnTo>
                <a:lnTo>
                  <a:pt x="1388" y="293"/>
                </a:lnTo>
                <a:lnTo>
                  <a:pt x="1388" y="293"/>
                </a:lnTo>
                <a:lnTo>
                  <a:pt x="1390" y="293"/>
                </a:lnTo>
                <a:lnTo>
                  <a:pt x="1390" y="293"/>
                </a:lnTo>
                <a:lnTo>
                  <a:pt x="1390" y="287"/>
                </a:lnTo>
                <a:lnTo>
                  <a:pt x="1390" y="287"/>
                </a:lnTo>
                <a:close/>
                <a:moveTo>
                  <a:pt x="1678" y="334"/>
                </a:moveTo>
                <a:lnTo>
                  <a:pt x="1678" y="334"/>
                </a:lnTo>
                <a:lnTo>
                  <a:pt x="1678" y="334"/>
                </a:lnTo>
                <a:lnTo>
                  <a:pt x="1676" y="335"/>
                </a:lnTo>
                <a:lnTo>
                  <a:pt x="1676" y="337"/>
                </a:lnTo>
                <a:lnTo>
                  <a:pt x="1674" y="346"/>
                </a:lnTo>
                <a:lnTo>
                  <a:pt x="1672" y="354"/>
                </a:lnTo>
                <a:lnTo>
                  <a:pt x="1670" y="358"/>
                </a:lnTo>
                <a:lnTo>
                  <a:pt x="1668" y="361"/>
                </a:lnTo>
                <a:lnTo>
                  <a:pt x="1668" y="361"/>
                </a:lnTo>
                <a:lnTo>
                  <a:pt x="1661" y="365"/>
                </a:lnTo>
                <a:lnTo>
                  <a:pt x="1654" y="371"/>
                </a:lnTo>
                <a:lnTo>
                  <a:pt x="1642" y="382"/>
                </a:lnTo>
                <a:lnTo>
                  <a:pt x="1642" y="382"/>
                </a:lnTo>
                <a:lnTo>
                  <a:pt x="1618" y="397"/>
                </a:lnTo>
                <a:lnTo>
                  <a:pt x="1618" y="397"/>
                </a:lnTo>
                <a:lnTo>
                  <a:pt x="1611" y="404"/>
                </a:lnTo>
                <a:lnTo>
                  <a:pt x="1611" y="406"/>
                </a:lnTo>
                <a:lnTo>
                  <a:pt x="1613" y="404"/>
                </a:lnTo>
                <a:lnTo>
                  <a:pt x="1624" y="400"/>
                </a:lnTo>
                <a:lnTo>
                  <a:pt x="1639" y="391"/>
                </a:lnTo>
                <a:lnTo>
                  <a:pt x="1655" y="378"/>
                </a:lnTo>
                <a:lnTo>
                  <a:pt x="1670" y="363"/>
                </a:lnTo>
                <a:lnTo>
                  <a:pt x="1674" y="356"/>
                </a:lnTo>
                <a:lnTo>
                  <a:pt x="1678" y="348"/>
                </a:lnTo>
                <a:lnTo>
                  <a:pt x="1679" y="341"/>
                </a:lnTo>
                <a:lnTo>
                  <a:pt x="1678" y="334"/>
                </a:lnTo>
                <a:lnTo>
                  <a:pt x="1678" y="334"/>
                </a:lnTo>
                <a:close/>
              </a:path>
            </a:pathLst>
          </a:custGeom>
          <a:solidFill>
            <a:schemeClr val="accent3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Denmark Text"/>
          <p:cNvSpPr txBox="1"/>
          <p:nvPr/>
        </p:nvSpPr>
        <p:spPr>
          <a:xfrm>
            <a:off x="7963894" y="5976693"/>
            <a:ext cx="5021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006EB6"/>
                </a:solidFill>
              </a:rPr>
              <a:t>Denmark</a:t>
            </a:r>
          </a:p>
        </p:txBody>
      </p:sp>
      <p:sp>
        <p:nvSpPr>
          <p:cNvPr id="17" name="Finland Text"/>
          <p:cNvSpPr txBox="1"/>
          <p:nvPr/>
        </p:nvSpPr>
        <p:spPr>
          <a:xfrm>
            <a:off x="10430208" y="3140764"/>
            <a:ext cx="4041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rgbClr val="006EB6"/>
                </a:solidFill>
              </a:rPr>
              <a:t>Finland</a:t>
            </a:r>
          </a:p>
        </p:txBody>
      </p:sp>
      <p:sp>
        <p:nvSpPr>
          <p:cNvPr id="18" name="Sweden Text"/>
          <p:cNvSpPr txBox="1"/>
          <p:nvPr/>
        </p:nvSpPr>
        <p:spPr>
          <a:xfrm>
            <a:off x="9035922" y="4690272"/>
            <a:ext cx="43737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006EB6"/>
                </a:solidFill>
              </a:rPr>
              <a:t>Sweden</a:t>
            </a:r>
          </a:p>
        </p:txBody>
      </p:sp>
      <p:sp>
        <p:nvSpPr>
          <p:cNvPr id="19" name="Norway Text"/>
          <p:cNvSpPr txBox="1"/>
          <p:nvPr/>
        </p:nvSpPr>
        <p:spPr>
          <a:xfrm>
            <a:off x="8143515" y="4444794"/>
            <a:ext cx="42863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006EB6"/>
                </a:solidFill>
              </a:rPr>
              <a:t>Norway</a:t>
            </a:r>
          </a:p>
        </p:txBody>
      </p:sp>
      <p:sp>
        <p:nvSpPr>
          <p:cNvPr id="20" name="Iceland Text"/>
          <p:cNvSpPr txBox="1"/>
          <p:nvPr/>
        </p:nvSpPr>
        <p:spPr>
          <a:xfrm>
            <a:off x="5320765" y="4734408"/>
            <a:ext cx="39189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006EB6"/>
                </a:solidFill>
              </a:rPr>
              <a:t>Iceland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9137721" y="6964656"/>
            <a:ext cx="2355779" cy="1767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grpSp>
        <p:nvGrpSpPr>
          <p:cNvPr id="184" name="Greenland"/>
          <p:cNvGrpSpPr>
            <a:grpSpLocks noChangeAspect="1"/>
          </p:cNvGrpSpPr>
          <p:nvPr/>
        </p:nvGrpSpPr>
        <p:grpSpPr bwMode="auto">
          <a:xfrm rot="1181657">
            <a:off x="2374868" y="499204"/>
            <a:ext cx="2916164" cy="5138535"/>
            <a:chOff x="3036" y="1082"/>
            <a:chExt cx="1303" cy="2296"/>
          </a:xfrm>
          <a:solidFill>
            <a:schemeClr val="accent3"/>
          </a:solidFill>
        </p:grpSpPr>
        <p:sp>
          <p:nvSpPr>
            <p:cNvPr id="185" name="Freeform 5"/>
            <p:cNvSpPr>
              <a:spLocks/>
            </p:cNvSpPr>
            <p:nvPr/>
          </p:nvSpPr>
          <p:spPr bwMode="auto">
            <a:xfrm>
              <a:off x="3429" y="3262"/>
              <a:ext cx="31" cy="26"/>
            </a:xfrm>
            <a:custGeom>
              <a:avLst/>
              <a:gdLst>
                <a:gd name="T0" fmla="*/ 26 w 31"/>
                <a:gd name="T1" fmla="*/ 15 h 26"/>
                <a:gd name="T2" fmla="*/ 21 w 31"/>
                <a:gd name="T3" fmla="*/ 26 h 26"/>
                <a:gd name="T4" fmla="*/ 0 w 31"/>
                <a:gd name="T5" fmla="*/ 15 h 26"/>
                <a:gd name="T6" fmla="*/ 31 w 31"/>
                <a:gd name="T7" fmla="*/ 0 h 26"/>
                <a:gd name="T8" fmla="*/ 26 w 31"/>
                <a:gd name="T9" fmla="*/ 1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6">
                  <a:moveTo>
                    <a:pt x="26" y="15"/>
                  </a:moveTo>
                  <a:lnTo>
                    <a:pt x="21" y="26"/>
                  </a:lnTo>
                  <a:lnTo>
                    <a:pt x="0" y="15"/>
                  </a:lnTo>
                  <a:lnTo>
                    <a:pt x="31" y="0"/>
                  </a:lnTo>
                  <a:lnTo>
                    <a:pt x="26" y="1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6" name="Freeform 6"/>
            <p:cNvSpPr>
              <a:spLocks/>
            </p:cNvSpPr>
            <p:nvPr/>
          </p:nvSpPr>
          <p:spPr bwMode="auto">
            <a:xfrm>
              <a:off x="3854" y="2799"/>
              <a:ext cx="10" cy="21"/>
            </a:xfrm>
            <a:custGeom>
              <a:avLst/>
              <a:gdLst>
                <a:gd name="T0" fmla="*/ 5 w 10"/>
                <a:gd name="T1" fmla="*/ 21 h 21"/>
                <a:gd name="T2" fmla="*/ 0 w 10"/>
                <a:gd name="T3" fmla="*/ 21 h 21"/>
                <a:gd name="T4" fmla="*/ 5 w 10"/>
                <a:gd name="T5" fmla="*/ 0 h 21"/>
                <a:gd name="T6" fmla="*/ 10 w 10"/>
                <a:gd name="T7" fmla="*/ 5 h 21"/>
                <a:gd name="T8" fmla="*/ 5 w 10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1">
                  <a:moveTo>
                    <a:pt x="5" y="21"/>
                  </a:moveTo>
                  <a:lnTo>
                    <a:pt x="0" y="21"/>
                  </a:lnTo>
                  <a:lnTo>
                    <a:pt x="5" y="0"/>
                  </a:lnTo>
                  <a:lnTo>
                    <a:pt x="10" y="5"/>
                  </a:lnTo>
                  <a:lnTo>
                    <a:pt x="5" y="21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7" name="Freeform 7"/>
            <p:cNvSpPr>
              <a:spLocks/>
            </p:cNvSpPr>
            <p:nvPr/>
          </p:nvSpPr>
          <p:spPr bwMode="auto">
            <a:xfrm>
              <a:off x="3343" y="2377"/>
              <a:ext cx="25" cy="36"/>
            </a:xfrm>
            <a:custGeom>
              <a:avLst/>
              <a:gdLst>
                <a:gd name="T0" fmla="*/ 10 w 25"/>
                <a:gd name="T1" fmla="*/ 36 h 36"/>
                <a:gd name="T2" fmla="*/ 0 w 25"/>
                <a:gd name="T3" fmla="*/ 36 h 36"/>
                <a:gd name="T4" fmla="*/ 5 w 25"/>
                <a:gd name="T5" fmla="*/ 0 h 36"/>
                <a:gd name="T6" fmla="*/ 25 w 25"/>
                <a:gd name="T7" fmla="*/ 10 h 36"/>
                <a:gd name="T8" fmla="*/ 15 w 25"/>
                <a:gd name="T9" fmla="*/ 15 h 36"/>
                <a:gd name="T10" fmla="*/ 10 w 25"/>
                <a:gd name="T1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36">
                  <a:moveTo>
                    <a:pt x="10" y="36"/>
                  </a:moveTo>
                  <a:lnTo>
                    <a:pt x="0" y="36"/>
                  </a:lnTo>
                  <a:lnTo>
                    <a:pt x="5" y="0"/>
                  </a:lnTo>
                  <a:lnTo>
                    <a:pt x="25" y="10"/>
                  </a:lnTo>
                  <a:lnTo>
                    <a:pt x="15" y="15"/>
                  </a:lnTo>
                  <a:lnTo>
                    <a:pt x="10" y="36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8" name="Freeform 8"/>
            <p:cNvSpPr>
              <a:spLocks/>
            </p:cNvSpPr>
            <p:nvPr/>
          </p:nvSpPr>
          <p:spPr bwMode="auto">
            <a:xfrm>
              <a:off x="3225" y="2321"/>
              <a:ext cx="97" cy="107"/>
            </a:xfrm>
            <a:custGeom>
              <a:avLst/>
              <a:gdLst>
                <a:gd name="T0" fmla="*/ 77 w 97"/>
                <a:gd name="T1" fmla="*/ 46 h 107"/>
                <a:gd name="T2" fmla="*/ 82 w 97"/>
                <a:gd name="T3" fmla="*/ 56 h 107"/>
                <a:gd name="T4" fmla="*/ 97 w 97"/>
                <a:gd name="T5" fmla="*/ 61 h 107"/>
                <a:gd name="T6" fmla="*/ 92 w 97"/>
                <a:gd name="T7" fmla="*/ 71 h 107"/>
                <a:gd name="T8" fmla="*/ 97 w 97"/>
                <a:gd name="T9" fmla="*/ 82 h 107"/>
                <a:gd name="T10" fmla="*/ 61 w 97"/>
                <a:gd name="T11" fmla="*/ 102 h 107"/>
                <a:gd name="T12" fmla="*/ 36 w 97"/>
                <a:gd name="T13" fmla="*/ 107 h 107"/>
                <a:gd name="T14" fmla="*/ 26 w 97"/>
                <a:gd name="T15" fmla="*/ 102 h 107"/>
                <a:gd name="T16" fmla="*/ 15 w 97"/>
                <a:gd name="T17" fmla="*/ 87 h 107"/>
                <a:gd name="T18" fmla="*/ 36 w 97"/>
                <a:gd name="T19" fmla="*/ 82 h 107"/>
                <a:gd name="T20" fmla="*/ 0 w 97"/>
                <a:gd name="T21" fmla="*/ 61 h 107"/>
                <a:gd name="T22" fmla="*/ 5 w 97"/>
                <a:gd name="T23" fmla="*/ 31 h 107"/>
                <a:gd name="T24" fmla="*/ 20 w 97"/>
                <a:gd name="T25" fmla="*/ 36 h 107"/>
                <a:gd name="T26" fmla="*/ 10 w 97"/>
                <a:gd name="T27" fmla="*/ 26 h 107"/>
                <a:gd name="T28" fmla="*/ 15 w 97"/>
                <a:gd name="T29" fmla="*/ 0 h 107"/>
                <a:gd name="T30" fmla="*/ 61 w 97"/>
                <a:gd name="T31" fmla="*/ 16 h 107"/>
                <a:gd name="T32" fmla="*/ 77 w 97"/>
                <a:gd name="T33" fmla="*/ 4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7" h="107">
                  <a:moveTo>
                    <a:pt x="77" y="46"/>
                  </a:moveTo>
                  <a:lnTo>
                    <a:pt x="82" y="56"/>
                  </a:lnTo>
                  <a:lnTo>
                    <a:pt x="97" y="61"/>
                  </a:lnTo>
                  <a:lnTo>
                    <a:pt x="92" y="71"/>
                  </a:lnTo>
                  <a:lnTo>
                    <a:pt x="97" y="82"/>
                  </a:lnTo>
                  <a:lnTo>
                    <a:pt x="61" y="102"/>
                  </a:lnTo>
                  <a:lnTo>
                    <a:pt x="36" y="107"/>
                  </a:lnTo>
                  <a:lnTo>
                    <a:pt x="26" y="102"/>
                  </a:lnTo>
                  <a:lnTo>
                    <a:pt x="15" y="87"/>
                  </a:lnTo>
                  <a:lnTo>
                    <a:pt x="36" y="82"/>
                  </a:lnTo>
                  <a:lnTo>
                    <a:pt x="0" y="61"/>
                  </a:lnTo>
                  <a:lnTo>
                    <a:pt x="5" y="31"/>
                  </a:lnTo>
                  <a:lnTo>
                    <a:pt x="20" y="36"/>
                  </a:lnTo>
                  <a:lnTo>
                    <a:pt x="10" y="26"/>
                  </a:lnTo>
                  <a:lnTo>
                    <a:pt x="15" y="0"/>
                  </a:lnTo>
                  <a:lnTo>
                    <a:pt x="61" y="16"/>
                  </a:lnTo>
                  <a:lnTo>
                    <a:pt x="77" y="46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9" name="Freeform 9"/>
            <p:cNvSpPr>
              <a:spLocks/>
            </p:cNvSpPr>
            <p:nvPr/>
          </p:nvSpPr>
          <p:spPr bwMode="auto">
            <a:xfrm>
              <a:off x="3332" y="2270"/>
              <a:ext cx="21" cy="16"/>
            </a:xfrm>
            <a:custGeom>
              <a:avLst/>
              <a:gdLst>
                <a:gd name="T0" fmla="*/ 16 w 21"/>
                <a:gd name="T1" fmla="*/ 16 h 16"/>
                <a:gd name="T2" fmla="*/ 0 w 21"/>
                <a:gd name="T3" fmla="*/ 6 h 16"/>
                <a:gd name="T4" fmla="*/ 11 w 21"/>
                <a:gd name="T5" fmla="*/ 0 h 16"/>
                <a:gd name="T6" fmla="*/ 21 w 21"/>
                <a:gd name="T7" fmla="*/ 11 h 16"/>
                <a:gd name="T8" fmla="*/ 16 w 21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6">
                  <a:moveTo>
                    <a:pt x="16" y="16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21" y="11"/>
                  </a:lnTo>
                  <a:lnTo>
                    <a:pt x="16" y="16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0" name="Freeform 10"/>
            <p:cNvSpPr>
              <a:spLocks/>
            </p:cNvSpPr>
            <p:nvPr/>
          </p:nvSpPr>
          <p:spPr bwMode="auto">
            <a:xfrm>
              <a:off x="4109" y="2220"/>
              <a:ext cx="82" cy="71"/>
            </a:xfrm>
            <a:custGeom>
              <a:avLst/>
              <a:gdLst>
                <a:gd name="T0" fmla="*/ 72 w 82"/>
                <a:gd name="T1" fmla="*/ 10 h 71"/>
                <a:gd name="T2" fmla="*/ 82 w 82"/>
                <a:gd name="T3" fmla="*/ 35 h 71"/>
                <a:gd name="T4" fmla="*/ 67 w 82"/>
                <a:gd name="T5" fmla="*/ 45 h 71"/>
                <a:gd name="T6" fmla="*/ 62 w 82"/>
                <a:gd name="T7" fmla="*/ 61 h 71"/>
                <a:gd name="T8" fmla="*/ 46 w 82"/>
                <a:gd name="T9" fmla="*/ 50 h 71"/>
                <a:gd name="T10" fmla="*/ 16 w 82"/>
                <a:gd name="T11" fmla="*/ 71 h 71"/>
                <a:gd name="T12" fmla="*/ 0 w 82"/>
                <a:gd name="T13" fmla="*/ 71 h 71"/>
                <a:gd name="T14" fmla="*/ 5 w 82"/>
                <a:gd name="T15" fmla="*/ 25 h 71"/>
                <a:gd name="T16" fmla="*/ 16 w 82"/>
                <a:gd name="T17" fmla="*/ 30 h 71"/>
                <a:gd name="T18" fmla="*/ 36 w 82"/>
                <a:gd name="T19" fmla="*/ 25 h 71"/>
                <a:gd name="T20" fmla="*/ 57 w 82"/>
                <a:gd name="T21" fmla="*/ 0 h 71"/>
                <a:gd name="T22" fmla="*/ 72 w 82"/>
                <a:gd name="T23" fmla="*/ 1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71">
                  <a:moveTo>
                    <a:pt x="72" y="10"/>
                  </a:moveTo>
                  <a:lnTo>
                    <a:pt x="82" y="35"/>
                  </a:lnTo>
                  <a:lnTo>
                    <a:pt x="67" y="45"/>
                  </a:lnTo>
                  <a:lnTo>
                    <a:pt x="62" y="61"/>
                  </a:lnTo>
                  <a:lnTo>
                    <a:pt x="46" y="50"/>
                  </a:lnTo>
                  <a:lnTo>
                    <a:pt x="16" y="71"/>
                  </a:lnTo>
                  <a:lnTo>
                    <a:pt x="0" y="71"/>
                  </a:lnTo>
                  <a:lnTo>
                    <a:pt x="5" y="25"/>
                  </a:lnTo>
                  <a:lnTo>
                    <a:pt x="16" y="30"/>
                  </a:lnTo>
                  <a:lnTo>
                    <a:pt x="36" y="25"/>
                  </a:lnTo>
                  <a:lnTo>
                    <a:pt x="57" y="0"/>
                  </a:lnTo>
                  <a:lnTo>
                    <a:pt x="72" y="1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1" name="Freeform 11"/>
            <p:cNvSpPr>
              <a:spLocks/>
            </p:cNvSpPr>
            <p:nvPr/>
          </p:nvSpPr>
          <p:spPr bwMode="auto">
            <a:xfrm>
              <a:off x="3281" y="2230"/>
              <a:ext cx="16" cy="25"/>
            </a:xfrm>
            <a:custGeom>
              <a:avLst/>
              <a:gdLst>
                <a:gd name="T0" fmla="*/ 10 w 16"/>
                <a:gd name="T1" fmla="*/ 25 h 25"/>
                <a:gd name="T2" fmla="*/ 0 w 16"/>
                <a:gd name="T3" fmla="*/ 20 h 25"/>
                <a:gd name="T4" fmla="*/ 0 w 16"/>
                <a:gd name="T5" fmla="*/ 10 h 25"/>
                <a:gd name="T6" fmla="*/ 16 w 16"/>
                <a:gd name="T7" fmla="*/ 0 h 25"/>
                <a:gd name="T8" fmla="*/ 10 w 16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25">
                  <a:moveTo>
                    <a:pt x="10" y="25"/>
                  </a:moveTo>
                  <a:lnTo>
                    <a:pt x="0" y="20"/>
                  </a:lnTo>
                  <a:lnTo>
                    <a:pt x="0" y="10"/>
                  </a:lnTo>
                  <a:lnTo>
                    <a:pt x="16" y="0"/>
                  </a:lnTo>
                  <a:lnTo>
                    <a:pt x="10" y="2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2" name="Freeform 12"/>
            <p:cNvSpPr>
              <a:spLocks/>
            </p:cNvSpPr>
            <p:nvPr/>
          </p:nvSpPr>
          <p:spPr bwMode="auto">
            <a:xfrm>
              <a:off x="3245" y="2072"/>
              <a:ext cx="36" cy="26"/>
            </a:xfrm>
            <a:custGeom>
              <a:avLst/>
              <a:gdLst>
                <a:gd name="T0" fmla="*/ 36 w 36"/>
                <a:gd name="T1" fmla="*/ 5 h 26"/>
                <a:gd name="T2" fmla="*/ 21 w 36"/>
                <a:gd name="T3" fmla="*/ 26 h 26"/>
                <a:gd name="T4" fmla="*/ 0 w 36"/>
                <a:gd name="T5" fmla="*/ 5 h 26"/>
                <a:gd name="T6" fmla="*/ 11 w 36"/>
                <a:gd name="T7" fmla="*/ 0 h 26"/>
                <a:gd name="T8" fmla="*/ 36 w 36"/>
                <a:gd name="T9" fmla="*/ 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6">
                  <a:moveTo>
                    <a:pt x="36" y="5"/>
                  </a:moveTo>
                  <a:lnTo>
                    <a:pt x="21" y="26"/>
                  </a:lnTo>
                  <a:lnTo>
                    <a:pt x="0" y="5"/>
                  </a:lnTo>
                  <a:lnTo>
                    <a:pt x="11" y="0"/>
                  </a:lnTo>
                  <a:lnTo>
                    <a:pt x="36" y="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3" name="Freeform 13"/>
            <p:cNvSpPr>
              <a:spLocks/>
            </p:cNvSpPr>
            <p:nvPr/>
          </p:nvSpPr>
          <p:spPr bwMode="auto">
            <a:xfrm>
              <a:off x="4217" y="1747"/>
              <a:ext cx="46" cy="40"/>
            </a:xfrm>
            <a:custGeom>
              <a:avLst/>
              <a:gdLst>
                <a:gd name="T0" fmla="*/ 15 w 46"/>
                <a:gd name="T1" fmla="*/ 0 h 40"/>
                <a:gd name="T2" fmla="*/ 30 w 46"/>
                <a:gd name="T3" fmla="*/ 20 h 40"/>
                <a:gd name="T4" fmla="*/ 46 w 46"/>
                <a:gd name="T5" fmla="*/ 25 h 40"/>
                <a:gd name="T6" fmla="*/ 41 w 46"/>
                <a:gd name="T7" fmla="*/ 35 h 40"/>
                <a:gd name="T8" fmla="*/ 10 w 46"/>
                <a:gd name="T9" fmla="*/ 40 h 40"/>
                <a:gd name="T10" fmla="*/ 0 w 46"/>
                <a:gd name="T11" fmla="*/ 15 h 40"/>
                <a:gd name="T12" fmla="*/ 15 w 46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40">
                  <a:moveTo>
                    <a:pt x="15" y="0"/>
                  </a:moveTo>
                  <a:lnTo>
                    <a:pt x="30" y="20"/>
                  </a:lnTo>
                  <a:lnTo>
                    <a:pt x="46" y="25"/>
                  </a:lnTo>
                  <a:lnTo>
                    <a:pt x="41" y="35"/>
                  </a:lnTo>
                  <a:lnTo>
                    <a:pt x="10" y="40"/>
                  </a:lnTo>
                  <a:lnTo>
                    <a:pt x="0" y="15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4" name="Freeform 14"/>
            <p:cNvSpPr>
              <a:spLocks/>
            </p:cNvSpPr>
            <p:nvPr/>
          </p:nvSpPr>
          <p:spPr bwMode="auto">
            <a:xfrm>
              <a:off x="4160" y="1640"/>
              <a:ext cx="36" cy="56"/>
            </a:xfrm>
            <a:custGeom>
              <a:avLst/>
              <a:gdLst>
                <a:gd name="T0" fmla="*/ 36 w 36"/>
                <a:gd name="T1" fmla="*/ 56 h 56"/>
                <a:gd name="T2" fmla="*/ 0 w 36"/>
                <a:gd name="T3" fmla="*/ 0 h 56"/>
                <a:gd name="T4" fmla="*/ 11 w 36"/>
                <a:gd name="T5" fmla="*/ 5 h 56"/>
                <a:gd name="T6" fmla="*/ 36 w 36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56">
                  <a:moveTo>
                    <a:pt x="36" y="56"/>
                  </a:moveTo>
                  <a:lnTo>
                    <a:pt x="0" y="0"/>
                  </a:lnTo>
                  <a:lnTo>
                    <a:pt x="11" y="5"/>
                  </a:lnTo>
                  <a:lnTo>
                    <a:pt x="36" y="56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5" name="Freeform 15"/>
            <p:cNvSpPr>
              <a:spLocks/>
            </p:cNvSpPr>
            <p:nvPr/>
          </p:nvSpPr>
          <p:spPr bwMode="auto">
            <a:xfrm>
              <a:off x="3036" y="1508"/>
              <a:ext cx="15" cy="20"/>
            </a:xfrm>
            <a:custGeom>
              <a:avLst/>
              <a:gdLst>
                <a:gd name="T0" fmla="*/ 10 w 15"/>
                <a:gd name="T1" fmla="*/ 20 h 20"/>
                <a:gd name="T2" fmla="*/ 0 w 15"/>
                <a:gd name="T3" fmla="*/ 0 h 20"/>
                <a:gd name="T4" fmla="*/ 10 w 15"/>
                <a:gd name="T5" fmla="*/ 0 h 20"/>
                <a:gd name="T6" fmla="*/ 15 w 15"/>
                <a:gd name="T7" fmla="*/ 10 h 20"/>
                <a:gd name="T8" fmla="*/ 10 w 15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0">
                  <a:moveTo>
                    <a:pt x="10" y="2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15" y="10"/>
                  </a:lnTo>
                  <a:lnTo>
                    <a:pt x="10" y="2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6" name="Freeform 16"/>
            <p:cNvSpPr>
              <a:spLocks/>
            </p:cNvSpPr>
            <p:nvPr/>
          </p:nvSpPr>
          <p:spPr bwMode="auto">
            <a:xfrm>
              <a:off x="4140" y="1523"/>
              <a:ext cx="10" cy="25"/>
            </a:xfrm>
            <a:custGeom>
              <a:avLst/>
              <a:gdLst>
                <a:gd name="T0" fmla="*/ 5 w 10"/>
                <a:gd name="T1" fmla="*/ 25 h 25"/>
                <a:gd name="T2" fmla="*/ 0 w 10"/>
                <a:gd name="T3" fmla="*/ 0 h 25"/>
                <a:gd name="T4" fmla="*/ 10 w 10"/>
                <a:gd name="T5" fmla="*/ 15 h 25"/>
                <a:gd name="T6" fmla="*/ 5 w 10"/>
                <a:gd name="T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5">
                  <a:moveTo>
                    <a:pt x="5" y="25"/>
                  </a:moveTo>
                  <a:lnTo>
                    <a:pt x="0" y="0"/>
                  </a:lnTo>
                  <a:lnTo>
                    <a:pt x="10" y="15"/>
                  </a:lnTo>
                  <a:lnTo>
                    <a:pt x="5" y="2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7" name="Freeform 17"/>
            <p:cNvSpPr>
              <a:spLocks/>
            </p:cNvSpPr>
            <p:nvPr/>
          </p:nvSpPr>
          <p:spPr bwMode="auto">
            <a:xfrm>
              <a:off x="4094" y="1482"/>
              <a:ext cx="20" cy="41"/>
            </a:xfrm>
            <a:custGeom>
              <a:avLst/>
              <a:gdLst>
                <a:gd name="T0" fmla="*/ 20 w 20"/>
                <a:gd name="T1" fmla="*/ 41 h 41"/>
                <a:gd name="T2" fmla="*/ 5 w 20"/>
                <a:gd name="T3" fmla="*/ 26 h 41"/>
                <a:gd name="T4" fmla="*/ 0 w 20"/>
                <a:gd name="T5" fmla="*/ 10 h 41"/>
                <a:gd name="T6" fmla="*/ 5 w 20"/>
                <a:gd name="T7" fmla="*/ 0 h 41"/>
                <a:gd name="T8" fmla="*/ 20 w 20"/>
                <a:gd name="T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lnTo>
                    <a:pt x="5" y="26"/>
                  </a:lnTo>
                  <a:lnTo>
                    <a:pt x="0" y="10"/>
                  </a:lnTo>
                  <a:lnTo>
                    <a:pt x="5" y="0"/>
                  </a:lnTo>
                  <a:lnTo>
                    <a:pt x="20" y="41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8" name="Freeform 18"/>
            <p:cNvSpPr>
              <a:spLocks/>
            </p:cNvSpPr>
            <p:nvPr/>
          </p:nvSpPr>
          <p:spPr bwMode="auto">
            <a:xfrm>
              <a:off x="4038" y="1330"/>
              <a:ext cx="30" cy="35"/>
            </a:xfrm>
            <a:custGeom>
              <a:avLst/>
              <a:gdLst>
                <a:gd name="T0" fmla="*/ 30 w 30"/>
                <a:gd name="T1" fmla="*/ 20 h 35"/>
                <a:gd name="T2" fmla="*/ 25 w 30"/>
                <a:gd name="T3" fmla="*/ 35 h 35"/>
                <a:gd name="T4" fmla="*/ 10 w 30"/>
                <a:gd name="T5" fmla="*/ 35 h 35"/>
                <a:gd name="T6" fmla="*/ 0 w 30"/>
                <a:gd name="T7" fmla="*/ 20 h 35"/>
                <a:gd name="T8" fmla="*/ 20 w 30"/>
                <a:gd name="T9" fmla="*/ 0 h 35"/>
                <a:gd name="T10" fmla="*/ 30 w 30"/>
                <a:gd name="T11" fmla="*/ 2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5">
                  <a:moveTo>
                    <a:pt x="30" y="20"/>
                  </a:moveTo>
                  <a:lnTo>
                    <a:pt x="25" y="35"/>
                  </a:lnTo>
                  <a:lnTo>
                    <a:pt x="10" y="35"/>
                  </a:lnTo>
                  <a:lnTo>
                    <a:pt x="0" y="20"/>
                  </a:lnTo>
                  <a:lnTo>
                    <a:pt x="20" y="0"/>
                  </a:lnTo>
                  <a:lnTo>
                    <a:pt x="30" y="2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9" name="Freeform 19"/>
            <p:cNvSpPr>
              <a:spLocks/>
            </p:cNvSpPr>
            <p:nvPr/>
          </p:nvSpPr>
          <p:spPr bwMode="auto">
            <a:xfrm>
              <a:off x="3951" y="1157"/>
              <a:ext cx="20" cy="25"/>
            </a:xfrm>
            <a:custGeom>
              <a:avLst/>
              <a:gdLst>
                <a:gd name="T0" fmla="*/ 20 w 20"/>
                <a:gd name="T1" fmla="*/ 20 h 25"/>
                <a:gd name="T2" fmla="*/ 15 w 20"/>
                <a:gd name="T3" fmla="*/ 25 h 25"/>
                <a:gd name="T4" fmla="*/ 0 w 20"/>
                <a:gd name="T5" fmla="*/ 0 h 25"/>
                <a:gd name="T6" fmla="*/ 20 w 20"/>
                <a:gd name="T7" fmla="*/ 2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5">
                  <a:moveTo>
                    <a:pt x="20" y="20"/>
                  </a:moveTo>
                  <a:lnTo>
                    <a:pt x="15" y="25"/>
                  </a:lnTo>
                  <a:lnTo>
                    <a:pt x="0" y="0"/>
                  </a:lnTo>
                  <a:lnTo>
                    <a:pt x="20" y="2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0" name="Freeform 20"/>
            <p:cNvSpPr>
              <a:spLocks/>
            </p:cNvSpPr>
            <p:nvPr/>
          </p:nvSpPr>
          <p:spPr bwMode="auto">
            <a:xfrm>
              <a:off x="3588" y="1157"/>
              <a:ext cx="31" cy="61"/>
            </a:xfrm>
            <a:custGeom>
              <a:avLst/>
              <a:gdLst>
                <a:gd name="T0" fmla="*/ 31 w 31"/>
                <a:gd name="T1" fmla="*/ 61 h 61"/>
                <a:gd name="T2" fmla="*/ 5 w 31"/>
                <a:gd name="T3" fmla="*/ 30 h 61"/>
                <a:gd name="T4" fmla="*/ 0 w 31"/>
                <a:gd name="T5" fmla="*/ 5 h 61"/>
                <a:gd name="T6" fmla="*/ 10 w 31"/>
                <a:gd name="T7" fmla="*/ 0 h 61"/>
                <a:gd name="T8" fmla="*/ 31 w 31"/>
                <a:gd name="T9" fmla="*/ 20 h 61"/>
                <a:gd name="T10" fmla="*/ 31 w 31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61">
                  <a:moveTo>
                    <a:pt x="31" y="61"/>
                  </a:moveTo>
                  <a:lnTo>
                    <a:pt x="5" y="30"/>
                  </a:lnTo>
                  <a:lnTo>
                    <a:pt x="0" y="5"/>
                  </a:lnTo>
                  <a:lnTo>
                    <a:pt x="10" y="0"/>
                  </a:lnTo>
                  <a:lnTo>
                    <a:pt x="31" y="20"/>
                  </a:lnTo>
                  <a:lnTo>
                    <a:pt x="31" y="6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1" name="Freeform 21"/>
            <p:cNvSpPr>
              <a:spLocks/>
            </p:cNvSpPr>
            <p:nvPr/>
          </p:nvSpPr>
          <p:spPr bwMode="auto">
            <a:xfrm>
              <a:off x="3076" y="1082"/>
              <a:ext cx="1263" cy="2296"/>
            </a:xfrm>
            <a:custGeom>
              <a:avLst/>
              <a:gdLst>
                <a:gd name="T0" fmla="*/ 823 w 1273"/>
                <a:gd name="T1" fmla="*/ 51 h 2314"/>
                <a:gd name="T2" fmla="*/ 843 w 1273"/>
                <a:gd name="T3" fmla="*/ 132 h 2314"/>
                <a:gd name="T4" fmla="*/ 935 w 1273"/>
                <a:gd name="T5" fmla="*/ 148 h 2314"/>
                <a:gd name="T6" fmla="*/ 1027 w 1273"/>
                <a:gd name="T7" fmla="*/ 224 h 2314"/>
                <a:gd name="T8" fmla="*/ 1027 w 1273"/>
                <a:gd name="T9" fmla="*/ 366 h 2314"/>
                <a:gd name="T10" fmla="*/ 1068 w 1273"/>
                <a:gd name="T11" fmla="*/ 488 h 2314"/>
                <a:gd name="T12" fmla="*/ 1084 w 1273"/>
                <a:gd name="T13" fmla="*/ 570 h 2314"/>
                <a:gd name="T14" fmla="*/ 1125 w 1273"/>
                <a:gd name="T15" fmla="*/ 651 h 2314"/>
                <a:gd name="T16" fmla="*/ 1135 w 1273"/>
                <a:gd name="T17" fmla="*/ 743 h 2314"/>
                <a:gd name="T18" fmla="*/ 1140 w 1273"/>
                <a:gd name="T19" fmla="*/ 829 h 2314"/>
                <a:gd name="T20" fmla="*/ 1099 w 1273"/>
                <a:gd name="T21" fmla="*/ 890 h 2314"/>
                <a:gd name="T22" fmla="*/ 1033 w 1273"/>
                <a:gd name="T23" fmla="*/ 982 h 2314"/>
                <a:gd name="T24" fmla="*/ 1104 w 1273"/>
                <a:gd name="T25" fmla="*/ 961 h 2314"/>
                <a:gd name="T26" fmla="*/ 1201 w 1273"/>
                <a:gd name="T27" fmla="*/ 1048 h 2314"/>
                <a:gd name="T28" fmla="*/ 1232 w 1273"/>
                <a:gd name="T29" fmla="*/ 1144 h 2314"/>
                <a:gd name="T30" fmla="*/ 1073 w 1273"/>
                <a:gd name="T31" fmla="*/ 1124 h 2314"/>
                <a:gd name="T32" fmla="*/ 1114 w 1273"/>
                <a:gd name="T33" fmla="*/ 1221 h 2314"/>
                <a:gd name="T34" fmla="*/ 1268 w 1273"/>
                <a:gd name="T35" fmla="*/ 1216 h 2314"/>
                <a:gd name="T36" fmla="*/ 1165 w 1273"/>
                <a:gd name="T37" fmla="*/ 1388 h 2314"/>
                <a:gd name="T38" fmla="*/ 946 w 1273"/>
                <a:gd name="T39" fmla="*/ 1536 h 2314"/>
                <a:gd name="T40" fmla="*/ 849 w 1273"/>
                <a:gd name="T41" fmla="*/ 1724 h 2314"/>
                <a:gd name="T42" fmla="*/ 787 w 1273"/>
                <a:gd name="T43" fmla="*/ 1688 h 2314"/>
                <a:gd name="T44" fmla="*/ 700 w 1273"/>
                <a:gd name="T45" fmla="*/ 1805 h 2314"/>
                <a:gd name="T46" fmla="*/ 639 w 1273"/>
                <a:gd name="T47" fmla="*/ 1887 h 2314"/>
                <a:gd name="T48" fmla="*/ 659 w 1273"/>
                <a:gd name="T49" fmla="*/ 1983 h 2314"/>
                <a:gd name="T50" fmla="*/ 613 w 1273"/>
                <a:gd name="T51" fmla="*/ 2105 h 2314"/>
                <a:gd name="T52" fmla="*/ 562 w 1273"/>
                <a:gd name="T53" fmla="*/ 2263 h 2314"/>
                <a:gd name="T54" fmla="*/ 496 w 1273"/>
                <a:gd name="T55" fmla="*/ 2294 h 2314"/>
                <a:gd name="T56" fmla="*/ 434 w 1273"/>
                <a:gd name="T57" fmla="*/ 2197 h 2314"/>
                <a:gd name="T58" fmla="*/ 348 w 1273"/>
                <a:gd name="T59" fmla="*/ 2192 h 2314"/>
                <a:gd name="T60" fmla="*/ 296 w 1273"/>
                <a:gd name="T61" fmla="*/ 2080 h 2314"/>
                <a:gd name="T62" fmla="*/ 220 w 1273"/>
                <a:gd name="T63" fmla="*/ 1958 h 2314"/>
                <a:gd name="T64" fmla="*/ 230 w 1273"/>
                <a:gd name="T65" fmla="*/ 1831 h 2314"/>
                <a:gd name="T66" fmla="*/ 240 w 1273"/>
                <a:gd name="T67" fmla="*/ 1826 h 2314"/>
                <a:gd name="T68" fmla="*/ 256 w 1273"/>
                <a:gd name="T69" fmla="*/ 1714 h 2314"/>
                <a:gd name="T70" fmla="*/ 245 w 1273"/>
                <a:gd name="T71" fmla="*/ 1627 h 2314"/>
                <a:gd name="T72" fmla="*/ 179 w 1273"/>
                <a:gd name="T73" fmla="*/ 1541 h 2314"/>
                <a:gd name="T74" fmla="*/ 179 w 1273"/>
                <a:gd name="T75" fmla="*/ 1531 h 2314"/>
                <a:gd name="T76" fmla="*/ 240 w 1273"/>
                <a:gd name="T77" fmla="*/ 1424 h 2314"/>
                <a:gd name="T78" fmla="*/ 302 w 1273"/>
                <a:gd name="T79" fmla="*/ 1383 h 2314"/>
                <a:gd name="T80" fmla="*/ 276 w 1273"/>
                <a:gd name="T81" fmla="*/ 1297 h 2314"/>
                <a:gd name="T82" fmla="*/ 332 w 1273"/>
                <a:gd name="T83" fmla="*/ 1266 h 2314"/>
                <a:gd name="T84" fmla="*/ 286 w 1273"/>
                <a:gd name="T85" fmla="*/ 1154 h 2314"/>
                <a:gd name="T86" fmla="*/ 271 w 1273"/>
                <a:gd name="T87" fmla="*/ 1119 h 2314"/>
                <a:gd name="T88" fmla="*/ 210 w 1273"/>
                <a:gd name="T89" fmla="*/ 1068 h 2314"/>
                <a:gd name="T90" fmla="*/ 245 w 1273"/>
                <a:gd name="T91" fmla="*/ 971 h 2314"/>
                <a:gd name="T92" fmla="*/ 245 w 1273"/>
                <a:gd name="T93" fmla="*/ 849 h 2314"/>
                <a:gd name="T94" fmla="*/ 82 w 1273"/>
                <a:gd name="T95" fmla="*/ 631 h 2314"/>
                <a:gd name="T96" fmla="*/ 26 w 1273"/>
                <a:gd name="T97" fmla="*/ 514 h 2314"/>
                <a:gd name="T98" fmla="*/ 77 w 1273"/>
                <a:gd name="T99" fmla="*/ 493 h 2314"/>
                <a:gd name="T100" fmla="*/ 56 w 1273"/>
                <a:gd name="T101" fmla="*/ 437 h 2314"/>
                <a:gd name="T102" fmla="*/ 164 w 1273"/>
                <a:gd name="T103" fmla="*/ 346 h 2314"/>
                <a:gd name="T104" fmla="*/ 276 w 1273"/>
                <a:gd name="T105" fmla="*/ 198 h 2314"/>
                <a:gd name="T106" fmla="*/ 404 w 1273"/>
                <a:gd name="T107" fmla="*/ 204 h 2314"/>
                <a:gd name="T108" fmla="*/ 491 w 1273"/>
                <a:gd name="T109" fmla="*/ 153 h 2314"/>
                <a:gd name="T110" fmla="*/ 572 w 1273"/>
                <a:gd name="T111" fmla="*/ 92 h 2314"/>
                <a:gd name="T112" fmla="*/ 613 w 1273"/>
                <a:gd name="T113" fmla="*/ 46 h 2314"/>
                <a:gd name="T114" fmla="*/ 746 w 1273"/>
                <a:gd name="T115" fmla="*/ 0 h 2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73" h="2314">
                  <a:moveTo>
                    <a:pt x="746" y="0"/>
                  </a:moveTo>
                  <a:lnTo>
                    <a:pt x="797" y="15"/>
                  </a:lnTo>
                  <a:lnTo>
                    <a:pt x="797" y="26"/>
                  </a:lnTo>
                  <a:lnTo>
                    <a:pt x="731" y="51"/>
                  </a:lnTo>
                  <a:lnTo>
                    <a:pt x="736" y="61"/>
                  </a:lnTo>
                  <a:lnTo>
                    <a:pt x="751" y="46"/>
                  </a:lnTo>
                  <a:lnTo>
                    <a:pt x="792" y="41"/>
                  </a:lnTo>
                  <a:lnTo>
                    <a:pt x="808" y="26"/>
                  </a:lnTo>
                  <a:lnTo>
                    <a:pt x="823" y="51"/>
                  </a:lnTo>
                  <a:lnTo>
                    <a:pt x="833" y="46"/>
                  </a:lnTo>
                  <a:lnTo>
                    <a:pt x="864" y="56"/>
                  </a:lnTo>
                  <a:lnTo>
                    <a:pt x="869" y="76"/>
                  </a:lnTo>
                  <a:lnTo>
                    <a:pt x="859" y="97"/>
                  </a:lnTo>
                  <a:lnTo>
                    <a:pt x="782" y="132"/>
                  </a:lnTo>
                  <a:lnTo>
                    <a:pt x="777" y="142"/>
                  </a:lnTo>
                  <a:lnTo>
                    <a:pt x="787" y="153"/>
                  </a:lnTo>
                  <a:lnTo>
                    <a:pt x="808" y="137"/>
                  </a:lnTo>
                  <a:lnTo>
                    <a:pt x="843" y="132"/>
                  </a:lnTo>
                  <a:lnTo>
                    <a:pt x="864" y="158"/>
                  </a:lnTo>
                  <a:lnTo>
                    <a:pt x="869" y="122"/>
                  </a:lnTo>
                  <a:lnTo>
                    <a:pt x="889" y="112"/>
                  </a:lnTo>
                  <a:lnTo>
                    <a:pt x="910" y="168"/>
                  </a:lnTo>
                  <a:lnTo>
                    <a:pt x="905" y="234"/>
                  </a:lnTo>
                  <a:lnTo>
                    <a:pt x="925" y="178"/>
                  </a:lnTo>
                  <a:lnTo>
                    <a:pt x="925" y="142"/>
                  </a:lnTo>
                  <a:lnTo>
                    <a:pt x="930" y="137"/>
                  </a:lnTo>
                  <a:lnTo>
                    <a:pt x="935" y="148"/>
                  </a:lnTo>
                  <a:lnTo>
                    <a:pt x="966" y="153"/>
                  </a:lnTo>
                  <a:lnTo>
                    <a:pt x="971" y="102"/>
                  </a:lnTo>
                  <a:lnTo>
                    <a:pt x="997" y="92"/>
                  </a:lnTo>
                  <a:lnTo>
                    <a:pt x="1038" y="102"/>
                  </a:lnTo>
                  <a:lnTo>
                    <a:pt x="1038" y="148"/>
                  </a:lnTo>
                  <a:lnTo>
                    <a:pt x="1022" y="163"/>
                  </a:lnTo>
                  <a:lnTo>
                    <a:pt x="1033" y="188"/>
                  </a:lnTo>
                  <a:lnTo>
                    <a:pt x="1007" y="219"/>
                  </a:lnTo>
                  <a:lnTo>
                    <a:pt x="1027" y="224"/>
                  </a:lnTo>
                  <a:lnTo>
                    <a:pt x="1027" y="244"/>
                  </a:lnTo>
                  <a:lnTo>
                    <a:pt x="1007" y="265"/>
                  </a:lnTo>
                  <a:lnTo>
                    <a:pt x="981" y="259"/>
                  </a:lnTo>
                  <a:lnTo>
                    <a:pt x="976" y="290"/>
                  </a:lnTo>
                  <a:lnTo>
                    <a:pt x="987" y="310"/>
                  </a:lnTo>
                  <a:lnTo>
                    <a:pt x="1002" y="310"/>
                  </a:lnTo>
                  <a:lnTo>
                    <a:pt x="1012" y="346"/>
                  </a:lnTo>
                  <a:lnTo>
                    <a:pt x="1027" y="351"/>
                  </a:lnTo>
                  <a:lnTo>
                    <a:pt x="1027" y="366"/>
                  </a:lnTo>
                  <a:lnTo>
                    <a:pt x="1017" y="376"/>
                  </a:lnTo>
                  <a:lnTo>
                    <a:pt x="1022" y="397"/>
                  </a:lnTo>
                  <a:lnTo>
                    <a:pt x="1012" y="402"/>
                  </a:lnTo>
                  <a:lnTo>
                    <a:pt x="1007" y="417"/>
                  </a:lnTo>
                  <a:lnTo>
                    <a:pt x="1017" y="422"/>
                  </a:lnTo>
                  <a:lnTo>
                    <a:pt x="1027" y="504"/>
                  </a:lnTo>
                  <a:lnTo>
                    <a:pt x="1038" y="514"/>
                  </a:lnTo>
                  <a:lnTo>
                    <a:pt x="1043" y="483"/>
                  </a:lnTo>
                  <a:lnTo>
                    <a:pt x="1068" y="488"/>
                  </a:lnTo>
                  <a:lnTo>
                    <a:pt x="1084" y="504"/>
                  </a:lnTo>
                  <a:lnTo>
                    <a:pt x="1063" y="498"/>
                  </a:lnTo>
                  <a:lnTo>
                    <a:pt x="1053" y="509"/>
                  </a:lnTo>
                  <a:lnTo>
                    <a:pt x="1063" y="524"/>
                  </a:lnTo>
                  <a:lnTo>
                    <a:pt x="1094" y="534"/>
                  </a:lnTo>
                  <a:lnTo>
                    <a:pt x="1109" y="524"/>
                  </a:lnTo>
                  <a:lnTo>
                    <a:pt x="1125" y="544"/>
                  </a:lnTo>
                  <a:lnTo>
                    <a:pt x="1130" y="570"/>
                  </a:lnTo>
                  <a:lnTo>
                    <a:pt x="1084" y="570"/>
                  </a:lnTo>
                  <a:lnTo>
                    <a:pt x="1068" y="600"/>
                  </a:lnTo>
                  <a:lnTo>
                    <a:pt x="1048" y="595"/>
                  </a:lnTo>
                  <a:lnTo>
                    <a:pt x="1043" y="605"/>
                  </a:lnTo>
                  <a:lnTo>
                    <a:pt x="1063" y="615"/>
                  </a:lnTo>
                  <a:lnTo>
                    <a:pt x="1084" y="641"/>
                  </a:lnTo>
                  <a:lnTo>
                    <a:pt x="1094" y="631"/>
                  </a:lnTo>
                  <a:lnTo>
                    <a:pt x="1104" y="636"/>
                  </a:lnTo>
                  <a:lnTo>
                    <a:pt x="1114" y="631"/>
                  </a:lnTo>
                  <a:lnTo>
                    <a:pt x="1125" y="651"/>
                  </a:lnTo>
                  <a:lnTo>
                    <a:pt x="1145" y="666"/>
                  </a:lnTo>
                  <a:lnTo>
                    <a:pt x="1165" y="707"/>
                  </a:lnTo>
                  <a:lnTo>
                    <a:pt x="1165" y="727"/>
                  </a:lnTo>
                  <a:lnTo>
                    <a:pt x="1140" y="717"/>
                  </a:lnTo>
                  <a:lnTo>
                    <a:pt x="1135" y="737"/>
                  </a:lnTo>
                  <a:lnTo>
                    <a:pt x="1119" y="753"/>
                  </a:lnTo>
                  <a:lnTo>
                    <a:pt x="1104" y="753"/>
                  </a:lnTo>
                  <a:lnTo>
                    <a:pt x="1125" y="758"/>
                  </a:lnTo>
                  <a:lnTo>
                    <a:pt x="1135" y="743"/>
                  </a:lnTo>
                  <a:lnTo>
                    <a:pt x="1155" y="783"/>
                  </a:lnTo>
                  <a:lnTo>
                    <a:pt x="1150" y="748"/>
                  </a:lnTo>
                  <a:lnTo>
                    <a:pt x="1160" y="743"/>
                  </a:lnTo>
                  <a:lnTo>
                    <a:pt x="1201" y="783"/>
                  </a:lnTo>
                  <a:lnTo>
                    <a:pt x="1201" y="804"/>
                  </a:lnTo>
                  <a:lnTo>
                    <a:pt x="1181" y="809"/>
                  </a:lnTo>
                  <a:lnTo>
                    <a:pt x="1186" y="819"/>
                  </a:lnTo>
                  <a:lnTo>
                    <a:pt x="1165" y="834"/>
                  </a:lnTo>
                  <a:lnTo>
                    <a:pt x="1140" y="829"/>
                  </a:lnTo>
                  <a:lnTo>
                    <a:pt x="1130" y="799"/>
                  </a:lnTo>
                  <a:lnTo>
                    <a:pt x="1135" y="849"/>
                  </a:lnTo>
                  <a:lnTo>
                    <a:pt x="1145" y="854"/>
                  </a:lnTo>
                  <a:lnTo>
                    <a:pt x="1191" y="849"/>
                  </a:lnTo>
                  <a:lnTo>
                    <a:pt x="1201" y="890"/>
                  </a:lnTo>
                  <a:lnTo>
                    <a:pt x="1181" y="895"/>
                  </a:lnTo>
                  <a:lnTo>
                    <a:pt x="1165" y="921"/>
                  </a:lnTo>
                  <a:lnTo>
                    <a:pt x="1114" y="910"/>
                  </a:lnTo>
                  <a:lnTo>
                    <a:pt x="1099" y="890"/>
                  </a:lnTo>
                  <a:lnTo>
                    <a:pt x="1094" y="910"/>
                  </a:lnTo>
                  <a:lnTo>
                    <a:pt x="1058" y="895"/>
                  </a:lnTo>
                  <a:lnTo>
                    <a:pt x="1089" y="921"/>
                  </a:lnTo>
                  <a:lnTo>
                    <a:pt x="1063" y="956"/>
                  </a:lnTo>
                  <a:lnTo>
                    <a:pt x="1022" y="946"/>
                  </a:lnTo>
                  <a:lnTo>
                    <a:pt x="1048" y="956"/>
                  </a:lnTo>
                  <a:lnTo>
                    <a:pt x="1048" y="966"/>
                  </a:lnTo>
                  <a:lnTo>
                    <a:pt x="1022" y="977"/>
                  </a:lnTo>
                  <a:lnTo>
                    <a:pt x="1033" y="982"/>
                  </a:lnTo>
                  <a:lnTo>
                    <a:pt x="1033" y="971"/>
                  </a:lnTo>
                  <a:lnTo>
                    <a:pt x="1063" y="961"/>
                  </a:lnTo>
                  <a:lnTo>
                    <a:pt x="1079" y="946"/>
                  </a:lnTo>
                  <a:lnTo>
                    <a:pt x="1079" y="936"/>
                  </a:lnTo>
                  <a:lnTo>
                    <a:pt x="1099" y="926"/>
                  </a:lnTo>
                  <a:lnTo>
                    <a:pt x="1181" y="951"/>
                  </a:lnTo>
                  <a:lnTo>
                    <a:pt x="1201" y="1027"/>
                  </a:lnTo>
                  <a:lnTo>
                    <a:pt x="1150" y="1017"/>
                  </a:lnTo>
                  <a:lnTo>
                    <a:pt x="1104" y="961"/>
                  </a:lnTo>
                  <a:lnTo>
                    <a:pt x="1058" y="1007"/>
                  </a:lnTo>
                  <a:lnTo>
                    <a:pt x="1068" y="1012"/>
                  </a:lnTo>
                  <a:lnTo>
                    <a:pt x="1104" y="977"/>
                  </a:lnTo>
                  <a:lnTo>
                    <a:pt x="1119" y="1007"/>
                  </a:lnTo>
                  <a:lnTo>
                    <a:pt x="1109" y="1027"/>
                  </a:lnTo>
                  <a:lnTo>
                    <a:pt x="1114" y="1032"/>
                  </a:lnTo>
                  <a:lnTo>
                    <a:pt x="1125" y="1017"/>
                  </a:lnTo>
                  <a:lnTo>
                    <a:pt x="1130" y="1027"/>
                  </a:lnTo>
                  <a:lnTo>
                    <a:pt x="1201" y="1048"/>
                  </a:lnTo>
                  <a:lnTo>
                    <a:pt x="1206" y="1063"/>
                  </a:lnTo>
                  <a:lnTo>
                    <a:pt x="1222" y="1058"/>
                  </a:lnTo>
                  <a:lnTo>
                    <a:pt x="1211" y="1088"/>
                  </a:lnTo>
                  <a:lnTo>
                    <a:pt x="1222" y="1109"/>
                  </a:lnTo>
                  <a:lnTo>
                    <a:pt x="1222" y="1088"/>
                  </a:lnTo>
                  <a:lnTo>
                    <a:pt x="1237" y="1083"/>
                  </a:lnTo>
                  <a:lnTo>
                    <a:pt x="1273" y="1175"/>
                  </a:lnTo>
                  <a:lnTo>
                    <a:pt x="1247" y="1180"/>
                  </a:lnTo>
                  <a:lnTo>
                    <a:pt x="1232" y="1144"/>
                  </a:lnTo>
                  <a:lnTo>
                    <a:pt x="1242" y="1185"/>
                  </a:lnTo>
                  <a:lnTo>
                    <a:pt x="1232" y="1190"/>
                  </a:lnTo>
                  <a:lnTo>
                    <a:pt x="1201" y="1185"/>
                  </a:lnTo>
                  <a:lnTo>
                    <a:pt x="1176" y="1160"/>
                  </a:lnTo>
                  <a:lnTo>
                    <a:pt x="1176" y="1144"/>
                  </a:lnTo>
                  <a:lnTo>
                    <a:pt x="1160" y="1134"/>
                  </a:lnTo>
                  <a:lnTo>
                    <a:pt x="1109" y="1109"/>
                  </a:lnTo>
                  <a:lnTo>
                    <a:pt x="1073" y="1114"/>
                  </a:lnTo>
                  <a:lnTo>
                    <a:pt x="1073" y="1124"/>
                  </a:lnTo>
                  <a:lnTo>
                    <a:pt x="1114" y="1119"/>
                  </a:lnTo>
                  <a:lnTo>
                    <a:pt x="1125" y="1144"/>
                  </a:lnTo>
                  <a:lnTo>
                    <a:pt x="1104" y="1175"/>
                  </a:lnTo>
                  <a:lnTo>
                    <a:pt x="1048" y="1185"/>
                  </a:lnTo>
                  <a:lnTo>
                    <a:pt x="1063" y="1190"/>
                  </a:lnTo>
                  <a:lnTo>
                    <a:pt x="1063" y="1216"/>
                  </a:lnTo>
                  <a:lnTo>
                    <a:pt x="1038" y="1241"/>
                  </a:lnTo>
                  <a:lnTo>
                    <a:pt x="1089" y="1236"/>
                  </a:lnTo>
                  <a:lnTo>
                    <a:pt x="1114" y="1221"/>
                  </a:lnTo>
                  <a:lnTo>
                    <a:pt x="1119" y="1231"/>
                  </a:lnTo>
                  <a:lnTo>
                    <a:pt x="1104" y="1241"/>
                  </a:lnTo>
                  <a:lnTo>
                    <a:pt x="1094" y="1271"/>
                  </a:lnTo>
                  <a:lnTo>
                    <a:pt x="1104" y="1271"/>
                  </a:lnTo>
                  <a:lnTo>
                    <a:pt x="1109" y="1251"/>
                  </a:lnTo>
                  <a:lnTo>
                    <a:pt x="1155" y="1221"/>
                  </a:lnTo>
                  <a:lnTo>
                    <a:pt x="1217" y="1226"/>
                  </a:lnTo>
                  <a:lnTo>
                    <a:pt x="1263" y="1210"/>
                  </a:lnTo>
                  <a:lnTo>
                    <a:pt x="1268" y="1216"/>
                  </a:lnTo>
                  <a:lnTo>
                    <a:pt x="1242" y="1241"/>
                  </a:lnTo>
                  <a:lnTo>
                    <a:pt x="1247" y="1251"/>
                  </a:lnTo>
                  <a:lnTo>
                    <a:pt x="1222" y="1266"/>
                  </a:lnTo>
                  <a:lnTo>
                    <a:pt x="1232" y="1277"/>
                  </a:lnTo>
                  <a:lnTo>
                    <a:pt x="1211" y="1282"/>
                  </a:lnTo>
                  <a:lnTo>
                    <a:pt x="1222" y="1292"/>
                  </a:lnTo>
                  <a:lnTo>
                    <a:pt x="1191" y="1322"/>
                  </a:lnTo>
                  <a:lnTo>
                    <a:pt x="1201" y="1332"/>
                  </a:lnTo>
                  <a:lnTo>
                    <a:pt x="1165" y="1388"/>
                  </a:lnTo>
                  <a:lnTo>
                    <a:pt x="1079" y="1449"/>
                  </a:lnTo>
                  <a:lnTo>
                    <a:pt x="1053" y="1449"/>
                  </a:lnTo>
                  <a:lnTo>
                    <a:pt x="1043" y="1465"/>
                  </a:lnTo>
                  <a:lnTo>
                    <a:pt x="1027" y="1465"/>
                  </a:lnTo>
                  <a:lnTo>
                    <a:pt x="1033" y="1475"/>
                  </a:lnTo>
                  <a:lnTo>
                    <a:pt x="1017" y="1485"/>
                  </a:lnTo>
                  <a:lnTo>
                    <a:pt x="966" y="1455"/>
                  </a:lnTo>
                  <a:lnTo>
                    <a:pt x="976" y="1505"/>
                  </a:lnTo>
                  <a:lnTo>
                    <a:pt x="946" y="1536"/>
                  </a:lnTo>
                  <a:lnTo>
                    <a:pt x="920" y="1643"/>
                  </a:lnTo>
                  <a:lnTo>
                    <a:pt x="915" y="1638"/>
                  </a:lnTo>
                  <a:lnTo>
                    <a:pt x="910" y="1643"/>
                  </a:lnTo>
                  <a:lnTo>
                    <a:pt x="910" y="1658"/>
                  </a:lnTo>
                  <a:lnTo>
                    <a:pt x="884" y="1683"/>
                  </a:lnTo>
                  <a:lnTo>
                    <a:pt x="859" y="1663"/>
                  </a:lnTo>
                  <a:lnTo>
                    <a:pt x="869" y="1699"/>
                  </a:lnTo>
                  <a:lnTo>
                    <a:pt x="854" y="1709"/>
                  </a:lnTo>
                  <a:lnTo>
                    <a:pt x="849" y="1724"/>
                  </a:lnTo>
                  <a:lnTo>
                    <a:pt x="838" y="1709"/>
                  </a:lnTo>
                  <a:lnTo>
                    <a:pt x="828" y="1734"/>
                  </a:lnTo>
                  <a:lnTo>
                    <a:pt x="818" y="1724"/>
                  </a:lnTo>
                  <a:lnTo>
                    <a:pt x="803" y="1750"/>
                  </a:lnTo>
                  <a:lnTo>
                    <a:pt x="792" y="1755"/>
                  </a:lnTo>
                  <a:lnTo>
                    <a:pt x="782" y="1750"/>
                  </a:lnTo>
                  <a:lnTo>
                    <a:pt x="803" y="1683"/>
                  </a:lnTo>
                  <a:lnTo>
                    <a:pt x="767" y="1678"/>
                  </a:lnTo>
                  <a:lnTo>
                    <a:pt x="787" y="1688"/>
                  </a:lnTo>
                  <a:lnTo>
                    <a:pt x="772" y="1724"/>
                  </a:lnTo>
                  <a:lnTo>
                    <a:pt x="757" y="1714"/>
                  </a:lnTo>
                  <a:lnTo>
                    <a:pt x="772" y="1729"/>
                  </a:lnTo>
                  <a:lnTo>
                    <a:pt x="772" y="1744"/>
                  </a:lnTo>
                  <a:lnTo>
                    <a:pt x="757" y="1755"/>
                  </a:lnTo>
                  <a:lnTo>
                    <a:pt x="690" y="1765"/>
                  </a:lnTo>
                  <a:lnTo>
                    <a:pt x="716" y="1780"/>
                  </a:lnTo>
                  <a:lnTo>
                    <a:pt x="716" y="1790"/>
                  </a:lnTo>
                  <a:lnTo>
                    <a:pt x="700" y="1805"/>
                  </a:lnTo>
                  <a:lnTo>
                    <a:pt x="690" y="1811"/>
                  </a:lnTo>
                  <a:lnTo>
                    <a:pt x="654" y="1805"/>
                  </a:lnTo>
                  <a:lnTo>
                    <a:pt x="659" y="1831"/>
                  </a:lnTo>
                  <a:lnTo>
                    <a:pt x="675" y="1826"/>
                  </a:lnTo>
                  <a:lnTo>
                    <a:pt x="695" y="1861"/>
                  </a:lnTo>
                  <a:lnTo>
                    <a:pt x="685" y="1882"/>
                  </a:lnTo>
                  <a:lnTo>
                    <a:pt x="675" y="1882"/>
                  </a:lnTo>
                  <a:lnTo>
                    <a:pt x="670" y="1892"/>
                  </a:lnTo>
                  <a:lnTo>
                    <a:pt x="639" y="1887"/>
                  </a:lnTo>
                  <a:lnTo>
                    <a:pt x="659" y="1902"/>
                  </a:lnTo>
                  <a:lnTo>
                    <a:pt x="665" y="1897"/>
                  </a:lnTo>
                  <a:lnTo>
                    <a:pt x="680" y="1902"/>
                  </a:lnTo>
                  <a:lnTo>
                    <a:pt x="675" y="1922"/>
                  </a:lnTo>
                  <a:lnTo>
                    <a:pt x="680" y="1943"/>
                  </a:lnTo>
                  <a:lnTo>
                    <a:pt x="675" y="1958"/>
                  </a:lnTo>
                  <a:lnTo>
                    <a:pt x="659" y="1963"/>
                  </a:lnTo>
                  <a:lnTo>
                    <a:pt x="654" y="1978"/>
                  </a:lnTo>
                  <a:lnTo>
                    <a:pt x="659" y="1983"/>
                  </a:lnTo>
                  <a:lnTo>
                    <a:pt x="644" y="2004"/>
                  </a:lnTo>
                  <a:lnTo>
                    <a:pt x="624" y="2004"/>
                  </a:lnTo>
                  <a:lnTo>
                    <a:pt x="613" y="1994"/>
                  </a:lnTo>
                  <a:lnTo>
                    <a:pt x="634" y="2014"/>
                  </a:lnTo>
                  <a:lnTo>
                    <a:pt x="624" y="2039"/>
                  </a:lnTo>
                  <a:lnTo>
                    <a:pt x="578" y="2039"/>
                  </a:lnTo>
                  <a:lnTo>
                    <a:pt x="613" y="2055"/>
                  </a:lnTo>
                  <a:lnTo>
                    <a:pt x="603" y="2095"/>
                  </a:lnTo>
                  <a:lnTo>
                    <a:pt x="613" y="2105"/>
                  </a:lnTo>
                  <a:lnTo>
                    <a:pt x="613" y="2121"/>
                  </a:lnTo>
                  <a:lnTo>
                    <a:pt x="608" y="2131"/>
                  </a:lnTo>
                  <a:lnTo>
                    <a:pt x="593" y="2131"/>
                  </a:lnTo>
                  <a:lnTo>
                    <a:pt x="603" y="2136"/>
                  </a:lnTo>
                  <a:lnTo>
                    <a:pt x="603" y="2146"/>
                  </a:lnTo>
                  <a:lnTo>
                    <a:pt x="583" y="2228"/>
                  </a:lnTo>
                  <a:lnTo>
                    <a:pt x="562" y="2253"/>
                  </a:lnTo>
                  <a:lnTo>
                    <a:pt x="526" y="2243"/>
                  </a:lnTo>
                  <a:lnTo>
                    <a:pt x="562" y="2263"/>
                  </a:lnTo>
                  <a:lnTo>
                    <a:pt x="562" y="2294"/>
                  </a:lnTo>
                  <a:lnTo>
                    <a:pt x="552" y="2304"/>
                  </a:lnTo>
                  <a:lnTo>
                    <a:pt x="521" y="2294"/>
                  </a:lnTo>
                  <a:lnTo>
                    <a:pt x="537" y="2314"/>
                  </a:lnTo>
                  <a:lnTo>
                    <a:pt x="516" y="2314"/>
                  </a:lnTo>
                  <a:lnTo>
                    <a:pt x="516" y="2304"/>
                  </a:lnTo>
                  <a:lnTo>
                    <a:pt x="501" y="2309"/>
                  </a:lnTo>
                  <a:lnTo>
                    <a:pt x="511" y="2273"/>
                  </a:lnTo>
                  <a:lnTo>
                    <a:pt x="496" y="2294"/>
                  </a:lnTo>
                  <a:lnTo>
                    <a:pt x="480" y="2294"/>
                  </a:lnTo>
                  <a:lnTo>
                    <a:pt x="455" y="2278"/>
                  </a:lnTo>
                  <a:lnTo>
                    <a:pt x="455" y="2258"/>
                  </a:lnTo>
                  <a:lnTo>
                    <a:pt x="470" y="2258"/>
                  </a:lnTo>
                  <a:lnTo>
                    <a:pt x="486" y="2233"/>
                  </a:lnTo>
                  <a:lnTo>
                    <a:pt x="460" y="2253"/>
                  </a:lnTo>
                  <a:lnTo>
                    <a:pt x="424" y="2233"/>
                  </a:lnTo>
                  <a:lnTo>
                    <a:pt x="419" y="2217"/>
                  </a:lnTo>
                  <a:lnTo>
                    <a:pt x="434" y="2197"/>
                  </a:lnTo>
                  <a:lnTo>
                    <a:pt x="440" y="2182"/>
                  </a:lnTo>
                  <a:lnTo>
                    <a:pt x="434" y="2177"/>
                  </a:lnTo>
                  <a:lnTo>
                    <a:pt x="388" y="2212"/>
                  </a:lnTo>
                  <a:lnTo>
                    <a:pt x="358" y="2207"/>
                  </a:lnTo>
                  <a:lnTo>
                    <a:pt x="342" y="2207"/>
                  </a:lnTo>
                  <a:lnTo>
                    <a:pt x="342" y="2217"/>
                  </a:lnTo>
                  <a:lnTo>
                    <a:pt x="322" y="2212"/>
                  </a:lnTo>
                  <a:lnTo>
                    <a:pt x="322" y="2202"/>
                  </a:lnTo>
                  <a:lnTo>
                    <a:pt x="348" y="2192"/>
                  </a:lnTo>
                  <a:lnTo>
                    <a:pt x="317" y="2187"/>
                  </a:lnTo>
                  <a:lnTo>
                    <a:pt x="317" y="2172"/>
                  </a:lnTo>
                  <a:lnTo>
                    <a:pt x="291" y="2161"/>
                  </a:lnTo>
                  <a:lnTo>
                    <a:pt x="291" y="2136"/>
                  </a:lnTo>
                  <a:lnTo>
                    <a:pt x="281" y="2131"/>
                  </a:lnTo>
                  <a:lnTo>
                    <a:pt x="286" y="2121"/>
                  </a:lnTo>
                  <a:lnTo>
                    <a:pt x="281" y="2095"/>
                  </a:lnTo>
                  <a:lnTo>
                    <a:pt x="307" y="2085"/>
                  </a:lnTo>
                  <a:lnTo>
                    <a:pt x="296" y="2080"/>
                  </a:lnTo>
                  <a:lnTo>
                    <a:pt x="266" y="2085"/>
                  </a:lnTo>
                  <a:lnTo>
                    <a:pt x="276" y="2065"/>
                  </a:lnTo>
                  <a:lnTo>
                    <a:pt x="256" y="2055"/>
                  </a:lnTo>
                  <a:lnTo>
                    <a:pt x="245" y="2039"/>
                  </a:lnTo>
                  <a:lnTo>
                    <a:pt x="250" y="2019"/>
                  </a:lnTo>
                  <a:lnTo>
                    <a:pt x="245" y="2014"/>
                  </a:lnTo>
                  <a:lnTo>
                    <a:pt x="271" y="1983"/>
                  </a:lnTo>
                  <a:lnTo>
                    <a:pt x="245" y="2004"/>
                  </a:lnTo>
                  <a:lnTo>
                    <a:pt x="220" y="1958"/>
                  </a:lnTo>
                  <a:lnTo>
                    <a:pt x="204" y="1907"/>
                  </a:lnTo>
                  <a:lnTo>
                    <a:pt x="215" y="1892"/>
                  </a:lnTo>
                  <a:lnTo>
                    <a:pt x="210" y="1882"/>
                  </a:lnTo>
                  <a:lnTo>
                    <a:pt x="266" y="1872"/>
                  </a:lnTo>
                  <a:lnTo>
                    <a:pt x="256" y="1872"/>
                  </a:lnTo>
                  <a:lnTo>
                    <a:pt x="261" y="1861"/>
                  </a:lnTo>
                  <a:lnTo>
                    <a:pt x="210" y="1877"/>
                  </a:lnTo>
                  <a:lnTo>
                    <a:pt x="204" y="1861"/>
                  </a:lnTo>
                  <a:lnTo>
                    <a:pt x="230" y="1831"/>
                  </a:lnTo>
                  <a:lnTo>
                    <a:pt x="245" y="1836"/>
                  </a:lnTo>
                  <a:lnTo>
                    <a:pt x="250" y="1826"/>
                  </a:lnTo>
                  <a:lnTo>
                    <a:pt x="271" y="1826"/>
                  </a:lnTo>
                  <a:lnTo>
                    <a:pt x="281" y="1851"/>
                  </a:lnTo>
                  <a:lnTo>
                    <a:pt x="281" y="1826"/>
                  </a:lnTo>
                  <a:lnTo>
                    <a:pt x="266" y="1816"/>
                  </a:lnTo>
                  <a:lnTo>
                    <a:pt x="250" y="1770"/>
                  </a:lnTo>
                  <a:lnTo>
                    <a:pt x="256" y="1811"/>
                  </a:lnTo>
                  <a:lnTo>
                    <a:pt x="240" y="1826"/>
                  </a:lnTo>
                  <a:lnTo>
                    <a:pt x="230" y="1826"/>
                  </a:lnTo>
                  <a:lnTo>
                    <a:pt x="235" y="1811"/>
                  </a:lnTo>
                  <a:lnTo>
                    <a:pt x="204" y="1856"/>
                  </a:lnTo>
                  <a:lnTo>
                    <a:pt x="199" y="1861"/>
                  </a:lnTo>
                  <a:lnTo>
                    <a:pt x="194" y="1856"/>
                  </a:lnTo>
                  <a:lnTo>
                    <a:pt x="199" y="1770"/>
                  </a:lnTo>
                  <a:lnTo>
                    <a:pt x="189" y="1750"/>
                  </a:lnTo>
                  <a:lnTo>
                    <a:pt x="230" y="1719"/>
                  </a:lnTo>
                  <a:lnTo>
                    <a:pt x="256" y="1714"/>
                  </a:lnTo>
                  <a:lnTo>
                    <a:pt x="225" y="1719"/>
                  </a:lnTo>
                  <a:lnTo>
                    <a:pt x="189" y="1739"/>
                  </a:lnTo>
                  <a:lnTo>
                    <a:pt x="184" y="1724"/>
                  </a:lnTo>
                  <a:lnTo>
                    <a:pt x="169" y="1724"/>
                  </a:lnTo>
                  <a:lnTo>
                    <a:pt x="179" y="1683"/>
                  </a:lnTo>
                  <a:lnTo>
                    <a:pt x="169" y="1683"/>
                  </a:lnTo>
                  <a:lnTo>
                    <a:pt x="169" y="1673"/>
                  </a:lnTo>
                  <a:lnTo>
                    <a:pt x="235" y="1627"/>
                  </a:lnTo>
                  <a:lnTo>
                    <a:pt x="245" y="1627"/>
                  </a:lnTo>
                  <a:lnTo>
                    <a:pt x="266" y="1607"/>
                  </a:lnTo>
                  <a:lnTo>
                    <a:pt x="184" y="1663"/>
                  </a:lnTo>
                  <a:lnTo>
                    <a:pt x="158" y="1663"/>
                  </a:lnTo>
                  <a:lnTo>
                    <a:pt x="174" y="1617"/>
                  </a:lnTo>
                  <a:lnTo>
                    <a:pt x="194" y="1602"/>
                  </a:lnTo>
                  <a:lnTo>
                    <a:pt x="220" y="1602"/>
                  </a:lnTo>
                  <a:lnTo>
                    <a:pt x="179" y="1592"/>
                  </a:lnTo>
                  <a:lnTo>
                    <a:pt x="169" y="1566"/>
                  </a:lnTo>
                  <a:lnTo>
                    <a:pt x="179" y="1541"/>
                  </a:lnTo>
                  <a:lnTo>
                    <a:pt x="225" y="1516"/>
                  </a:lnTo>
                  <a:lnTo>
                    <a:pt x="296" y="1551"/>
                  </a:lnTo>
                  <a:lnTo>
                    <a:pt x="276" y="1531"/>
                  </a:lnTo>
                  <a:lnTo>
                    <a:pt x="291" y="1526"/>
                  </a:lnTo>
                  <a:lnTo>
                    <a:pt x="286" y="1521"/>
                  </a:lnTo>
                  <a:lnTo>
                    <a:pt x="256" y="1526"/>
                  </a:lnTo>
                  <a:lnTo>
                    <a:pt x="235" y="1510"/>
                  </a:lnTo>
                  <a:lnTo>
                    <a:pt x="194" y="1531"/>
                  </a:lnTo>
                  <a:lnTo>
                    <a:pt x="179" y="1531"/>
                  </a:lnTo>
                  <a:lnTo>
                    <a:pt x="215" y="1470"/>
                  </a:lnTo>
                  <a:lnTo>
                    <a:pt x="261" y="1495"/>
                  </a:lnTo>
                  <a:lnTo>
                    <a:pt x="281" y="1480"/>
                  </a:lnTo>
                  <a:lnTo>
                    <a:pt x="286" y="1460"/>
                  </a:lnTo>
                  <a:lnTo>
                    <a:pt x="276" y="1460"/>
                  </a:lnTo>
                  <a:lnTo>
                    <a:pt x="271" y="1475"/>
                  </a:lnTo>
                  <a:lnTo>
                    <a:pt x="240" y="1475"/>
                  </a:lnTo>
                  <a:lnTo>
                    <a:pt x="210" y="1455"/>
                  </a:lnTo>
                  <a:lnTo>
                    <a:pt x="240" y="1424"/>
                  </a:lnTo>
                  <a:lnTo>
                    <a:pt x="276" y="1449"/>
                  </a:lnTo>
                  <a:lnTo>
                    <a:pt x="302" y="1439"/>
                  </a:lnTo>
                  <a:lnTo>
                    <a:pt x="307" y="1424"/>
                  </a:lnTo>
                  <a:lnTo>
                    <a:pt x="291" y="1429"/>
                  </a:lnTo>
                  <a:lnTo>
                    <a:pt x="302" y="1394"/>
                  </a:lnTo>
                  <a:lnTo>
                    <a:pt x="327" y="1394"/>
                  </a:lnTo>
                  <a:lnTo>
                    <a:pt x="322" y="1383"/>
                  </a:lnTo>
                  <a:lnTo>
                    <a:pt x="312" y="1388"/>
                  </a:lnTo>
                  <a:lnTo>
                    <a:pt x="302" y="1383"/>
                  </a:lnTo>
                  <a:lnTo>
                    <a:pt x="317" y="1343"/>
                  </a:lnTo>
                  <a:lnTo>
                    <a:pt x="337" y="1332"/>
                  </a:lnTo>
                  <a:lnTo>
                    <a:pt x="332" y="1317"/>
                  </a:lnTo>
                  <a:lnTo>
                    <a:pt x="342" y="1312"/>
                  </a:lnTo>
                  <a:lnTo>
                    <a:pt x="337" y="1307"/>
                  </a:lnTo>
                  <a:lnTo>
                    <a:pt x="322" y="1312"/>
                  </a:lnTo>
                  <a:lnTo>
                    <a:pt x="312" y="1302"/>
                  </a:lnTo>
                  <a:lnTo>
                    <a:pt x="296" y="1307"/>
                  </a:lnTo>
                  <a:lnTo>
                    <a:pt x="276" y="1297"/>
                  </a:lnTo>
                  <a:lnTo>
                    <a:pt x="245" y="1261"/>
                  </a:lnTo>
                  <a:lnTo>
                    <a:pt x="220" y="1246"/>
                  </a:lnTo>
                  <a:lnTo>
                    <a:pt x="215" y="1221"/>
                  </a:lnTo>
                  <a:lnTo>
                    <a:pt x="230" y="1210"/>
                  </a:lnTo>
                  <a:lnTo>
                    <a:pt x="250" y="1226"/>
                  </a:lnTo>
                  <a:lnTo>
                    <a:pt x="271" y="1226"/>
                  </a:lnTo>
                  <a:lnTo>
                    <a:pt x="307" y="1266"/>
                  </a:lnTo>
                  <a:lnTo>
                    <a:pt x="327" y="1277"/>
                  </a:lnTo>
                  <a:lnTo>
                    <a:pt x="332" y="1266"/>
                  </a:lnTo>
                  <a:lnTo>
                    <a:pt x="317" y="1256"/>
                  </a:lnTo>
                  <a:lnTo>
                    <a:pt x="322" y="1226"/>
                  </a:lnTo>
                  <a:lnTo>
                    <a:pt x="307" y="1210"/>
                  </a:lnTo>
                  <a:lnTo>
                    <a:pt x="322" y="1216"/>
                  </a:lnTo>
                  <a:lnTo>
                    <a:pt x="332" y="1210"/>
                  </a:lnTo>
                  <a:lnTo>
                    <a:pt x="286" y="1185"/>
                  </a:lnTo>
                  <a:lnTo>
                    <a:pt x="271" y="1185"/>
                  </a:lnTo>
                  <a:lnTo>
                    <a:pt x="271" y="1170"/>
                  </a:lnTo>
                  <a:lnTo>
                    <a:pt x="286" y="1154"/>
                  </a:lnTo>
                  <a:lnTo>
                    <a:pt x="317" y="1144"/>
                  </a:lnTo>
                  <a:lnTo>
                    <a:pt x="291" y="1139"/>
                  </a:lnTo>
                  <a:lnTo>
                    <a:pt x="271" y="1149"/>
                  </a:lnTo>
                  <a:lnTo>
                    <a:pt x="266" y="1144"/>
                  </a:lnTo>
                  <a:lnTo>
                    <a:pt x="276" y="1129"/>
                  </a:lnTo>
                  <a:lnTo>
                    <a:pt x="266" y="1088"/>
                  </a:lnTo>
                  <a:lnTo>
                    <a:pt x="271" y="1068"/>
                  </a:lnTo>
                  <a:lnTo>
                    <a:pt x="266" y="1068"/>
                  </a:lnTo>
                  <a:lnTo>
                    <a:pt x="271" y="1119"/>
                  </a:lnTo>
                  <a:lnTo>
                    <a:pt x="250" y="1134"/>
                  </a:lnTo>
                  <a:lnTo>
                    <a:pt x="250" y="1149"/>
                  </a:lnTo>
                  <a:lnTo>
                    <a:pt x="225" y="1160"/>
                  </a:lnTo>
                  <a:lnTo>
                    <a:pt x="199" y="1144"/>
                  </a:lnTo>
                  <a:lnTo>
                    <a:pt x="199" y="1114"/>
                  </a:lnTo>
                  <a:lnTo>
                    <a:pt x="240" y="1063"/>
                  </a:lnTo>
                  <a:lnTo>
                    <a:pt x="235" y="1058"/>
                  </a:lnTo>
                  <a:lnTo>
                    <a:pt x="220" y="1073"/>
                  </a:lnTo>
                  <a:lnTo>
                    <a:pt x="210" y="1068"/>
                  </a:lnTo>
                  <a:lnTo>
                    <a:pt x="225" y="1058"/>
                  </a:lnTo>
                  <a:lnTo>
                    <a:pt x="220" y="1048"/>
                  </a:lnTo>
                  <a:lnTo>
                    <a:pt x="225" y="1043"/>
                  </a:lnTo>
                  <a:lnTo>
                    <a:pt x="235" y="1048"/>
                  </a:lnTo>
                  <a:lnTo>
                    <a:pt x="250" y="1027"/>
                  </a:lnTo>
                  <a:lnTo>
                    <a:pt x="250" y="1002"/>
                  </a:lnTo>
                  <a:lnTo>
                    <a:pt x="230" y="997"/>
                  </a:lnTo>
                  <a:lnTo>
                    <a:pt x="230" y="987"/>
                  </a:lnTo>
                  <a:lnTo>
                    <a:pt x="245" y="971"/>
                  </a:lnTo>
                  <a:lnTo>
                    <a:pt x="245" y="951"/>
                  </a:lnTo>
                  <a:lnTo>
                    <a:pt x="235" y="956"/>
                  </a:lnTo>
                  <a:lnTo>
                    <a:pt x="230" y="941"/>
                  </a:lnTo>
                  <a:lnTo>
                    <a:pt x="240" y="921"/>
                  </a:lnTo>
                  <a:lnTo>
                    <a:pt x="240" y="885"/>
                  </a:lnTo>
                  <a:lnTo>
                    <a:pt x="215" y="880"/>
                  </a:lnTo>
                  <a:lnTo>
                    <a:pt x="230" y="875"/>
                  </a:lnTo>
                  <a:lnTo>
                    <a:pt x="235" y="849"/>
                  </a:lnTo>
                  <a:lnTo>
                    <a:pt x="245" y="849"/>
                  </a:lnTo>
                  <a:lnTo>
                    <a:pt x="210" y="753"/>
                  </a:lnTo>
                  <a:lnTo>
                    <a:pt x="225" y="743"/>
                  </a:lnTo>
                  <a:lnTo>
                    <a:pt x="220" y="717"/>
                  </a:lnTo>
                  <a:lnTo>
                    <a:pt x="210" y="712"/>
                  </a:lnTo>
                  <a:lnTo>
                    <a:pt x="194" y="682"/>
                  </a:lnTo>
                  <a:lnTo>
                    <a:pt x="133" y="626"/>
                  </a:lnTo>
                  <a:lnTo>
                    <a:pt x="118" y="636"/>
                  </a:lnTo>
                  <a:lnTo>
                    <a:pt x="112" y="621"/>
                  </a:lnTo>
                  <a:lnTo>
                    <a:pt x="82" y="631"/>
                  </a:lnTo>
                  <a:lnTo>
                    <a:pt x="77" y="615"/>
                  </a:lnTo>
                  <a:lnTo>
                    <a:pt x="56" y="621"/>
                  </a:lnTo>
                  <a:lnTo>
                    <a:pt x="46" y="610"/>
                  </a:lnTo>
                  <a:lnTo>
                    <a:pt x="46" y="631"/>
                  </a:lnTo>
                  <a:lnTo>
                    <a:pt x="20" y="610"/>
                  </a:lnTo>
                  <a:lnTo>
                    <a:pt x="5" y="570"/>
                  </a:lnTo>
                  <a:lnTo>
                    <a:pt x="46" y="559"/>
                  </a:lnTo>
                  <a:lnTo>
                    <a:pt x="15" y="534"/>
                  </a:lnTo>
                  <a:lnTo>
                    <a:pt x="26" y="514"/>
                  </a:lnTo>
                  <a:lnTo>
                    <a:pt x="5" y="524"/>
                  </a:lnTo>
                  <a:lnTo>
                    <a:pt x="0" y="519"/>
                  </a:lnTo>
                  <a:lnTo>
                    <a:pt x="5" y="509"/>
                  </a:lnTo>
                  <a:lnTo>
                    <a:pt x="0" y="498"/>
                  </a:lnTo>
                  <a:lnTo>
                    <a:pt x="5" y="488"/>
                  </a:lnTo>
                  <a:lnTo>
                    <a:pt x="41" y="493"/>
                  </a:lnTo>
                  <a:lnTo>
                    <a:pt x="51" y="504"/>
                  </a:lnTo>
                  <a:lnTo>
                    <a:pt x="61" y="493"/>
                  </a:lnTo>
                  <a:lnTo>
                    <a:pt x="77" y="493"/>
                  </a:lnTo>
                  <a:lnTo>
                    <a:pt x="97" y="504"/>
                  </a:lnTo>
                  <a:lnTo>
                    <a:pt x="107" y="519"/>
                  </a:lnTo>
                  <a:lnTo>
                    <a:pt x="118" y="498"/>
                  </a:lnTo>
                  <a:lnTo>
                    <a:pt x="112" y="478"/>
                  </a:lnTo>
                  <a:lnTo>
                    <a:pt x="82" y="483"/>
                  </a:lnTo>
                  <a:lnTo>
                    <a:pt x="77" y="468"/>
                  </a:lnTo>
                  <a:lnTo>
                    <a:pt x="56" y="478"/>
                  </a:lnTo>
                  <a:lnTo>
                    <a:pt x="41" y="443"/>
                  </a:lnTo>
                  <a:lnTo>
                    <a:pt x="56" y="437"/>
                  </a:lnTo>
                  <a:lnTo>
                    <a:pt x="51" y="432"/>
                  </a:lnTo>
                  <a:lnTo>
                    <a:pt x="46" y="437"/>
                  </a:lnTo>
                  <a:lnTo>
                    <a:pt x="26" y="412"/>
                  </a:lnTo>
                  <a:lnTo>
                    <a:pt x="26" y="381"/>
                  </a:lnTo>
                  <a:lnTo>
                    <a:pt x="46" y="356"/>
                  </a:lnTo>
                  <a:lnTo>
                    <a:pt x="82" y="361"/>
                  </a:lnTo>
                  <a:lnTo>
                    <a:pt x="123" y="356"/>
                  </a:lnTo>
                  <a:lnTo>
                    <a:pt x="128" y="346"/>
                  </a:lnTo>
                  <a:lnTo>
                    <a:pt x="164" y="346"/>
                  </a:lnTo>
                  <a:lnTo>
                    <a:pt x="189" y="356"/>
                  </a:lnTo>
                  <a:lnTo>
                    <a:pt x="210" y="336"/>
                  </a:lnTo>
                  <a:lnTo>
                    <a:pt x="235" y="285"/>
                  </a:lnTo>
                  <a:lnTo>
                    <a:pt x="250" y="280"/>
                  </a:lnTo>
                  <a:lnTo>
                    <a:pt x="245" y="275"/>
                  </a:lnTo>
                  <a:lnTo>
                    <a:pt x="220" y="280"/>
                  </a:lnTo>
                  <a:lnTo>
                    <a:pt x="204" y="265"/>
                  </a:lnTo>
                  <a:lnTo>
                    <a:pt x="210" y="244"/>
                  </a:lnTo>
                  <a:lnTo>
                    <a:pt x="276" y="198"/>
                  </a:lnTo>
                  <a:lnTo>
                    <a:pt x="291" y="198"/>
                  </a:lnTo>
                  <a:lnTo>
                    <a:pt x="296" y="219"/>
                  </a:lnTo>
                  <a:lnTo>
                    <a:pt x="307" y="188"/>
                  </a:lnTo>
                  <a:lnTo>
                    <a:pt x="327" y="204"/>
                  </a:lnTo>
                  <a:lnTo>
                    <a:pt x="358" y="137"/>
                  </a:lnTo>
                  <a:lnTo>
                    <a:pt x="368" y="132"/>
                  </a:lnTo>
                  <a:lnTo>
                    <a:pt x="383" y="148"/>
                  </a:lnTo>
                  <a:lnTo>
                    <a:pt x="383" y="163"/>
                  </a:lnTo>
                  <a:lnTo>
                    <a:pt x="404" y="204"/>
                  </a:lnTo>
                  <a:lnTo>
                    <a:pt x="383" y="132"/>
                  </a:lnTo>
                  <a:lnTo>
                    <a:pt x="409" y="122"/>
                  </a:lnTo>
                  <a:lnTo>
                    <a:pt x="440" y="122"/>
                  </a:lnTo>
                  <a:lnTo>
                    <a:pt x="450" y="112"/>
                  </a:lnTo>
                  <a:lnTo>
                    <a:pt x="460" y="122"/>
                  </a:lnTo>
                  <a:lnTo>
                    <a:pt x="450" y="183"/>
                  </a:lnTo>
                  <a:lnTo>
                    <a:pt x="465" y="163"/>
                  </a:lnTo>
                  <a:lnTo>
                    <a:pt x="470" y="122"/>
                  </a:lnTo>
                  <a:lnTo>
                    <a:pt x="491" y="153"/>
                  </a:lnTo>
                  <a:lnTo>
                    <a:pt x="491" y="168"/>
                  </a:lnTo>
                  <a:lnTo>
                    <a:pt x="511" y="168"/>
                  </a:lnTo>
                  <a:lnTo>
                    <a:pt x="501" y="148"/>
                  </a:lnTo>
                  <a:lnTo>
                    <a:pt x="501" y="112"/>
                  </a:lnTo>
                  <a:lnTo>
                    <a:pt x="511" y="112"/>
                  </a:lnTo>
                  <a:lnTo>
                    <a:pt x="578" y="183"/>
                  </a:lnTo>
                  <a:lnTo>
                    <a:pt x="578" y="153"/>
                  </a:lnTo>
                  <a:lnTo>
                    <a:pt x="588" y="127"/>
                  </a:lnTo>
                  <a:lnTo>
                    <a:pt x="572" y="92"/>
                  </a:lnTo>
                  <a:lnTo>
                    <a:pt x="578" y="87"/>
                  </a:lnTo>
                  <a:lnTo>
                    <a:pt x="608" y="92"/>
                  </a:lnTo>
                  <a:lnTo>
                    <a:pt x="619" y="102"/>
                  </a:lnTo>
                  <a:lnTo>
                    <a:pt x="624" y="92"/>
                  </a:lnTo>
                  <a:lnTo>
                    <a:pt x="562" y="81"/>
                  </a:lnTo>
                  <a:lnTo>
                    <a:pt x="567" y="61"/>
                  </a:lnTo>
                  <a:lnTo>
                    <a:pt x="572" y="66"/>
                  </a:lnTo>
                  <a:lnTo>
                    <a:pt x="603" y="46"/>
                  </a:lnTo>
                  <a:lnTo>
                    <a:pt x="613" y="46"/>
                  </a:lnTo>
                  <a:lnTo>
                    <a:pt x="624" y="61"/>
                  </a:lnTo>
                  <a:lnTo>
                    <a:pt x="634" y="36"/>
                  </a:lnTo>
                  <a:lnTo>
                    <a:pt x="659" y="66"/>
                  </a:lnTo>
                  <a:lnTo>
                    <a:pt x="665" y="51"/>
                  </a:lnTo>
                  <a:lnTo>
                    <a:pt x="654" y="46"/>
                  </a:lnTo>
                  <a:lnTo>
                    <a:pt x="649" y="31"/>
                  </a:lnTo>
                  <a:lnTo>
                    <a:pt x="659" y="31"/>
                  </a:lnTo>
                  <a:lnTo>
                    <a:pt x="659" y="20"/>
                  </a:lnTo>
                  <a:lnTo>
                    <a:pt x="746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03" name="Greenland Text"/>
          <p:cNvSpPr txBox="1"/>
          <p:nvPr/>
        </p:nvSpPr>
        <p:spPr>
          <a:xfrm>
            <a:off x="3932404" y="2416629"/>
            <a:ext cx="58264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rgbClr val="006EB6"/>
                </a:solidFill>
              </a:rPr>
              <a:t>Greenland</a:t>
            </a:r>
          </a:p>
        </p:txBody>
      </p:sp>
      <p:grpSp>
        <p:nvGrpSpPr>
          <p:cNvPr id="205" name="Faeroe Island"/>
          <p:cNvGrpSpPr>
            <a:grpSpLocks noChangeAspect="1"/>
          </p:cNvGrpSpPr>
          <p:nvPr/>
        </p:nvGrpSpPr>
        <p:grpSpPr bwMode="auto">
          <a:xfrm>
            <a:off x="6480389" y="5063749"/>
            <a:ext cx="219076" cy="322263"/>
            <a:chOff x="4167" y="3001"/>
            <a:chExt cx="138" cy="203"/>
          </a:xfrm>
          <a:solidFill>
            <a:schemeClr val="accent3"/>
          </a:solidFill>
        </p:grpSpPr>
        <p:sp>
          <p:nvSpPr>
            <p:cNvPr id="207" name="Freeform 5"/>
            <p:cNvSpPr>
              <a:spLocks/>
            </p:cNvSpPr>
            <p:nvPr/>
          </p:nvSpPr>
          <p:spPr bwMode="auto">
            <a:xfrm>
              <a:off x="4217" y="3156"/>
              <a:ext cx="28" cy="48"/>
            </a:xfrm>
            <a:custGeom>
              <a:avLst/>
              <a:gdLst>
                <a:gd name="T0" fmla="*/ 25 w 28"/>
                <a:gd name="T1" fmla="*/ 41 h 48"/>
                <a:gd name="T2" fmla="*/ 28 w 28"/>
                <a:gd name="T3" fmla="*/ 48 h 48"/>
                <a:gd name="T4" fmla="*/ 23 w 28"/>
                <a:gd name="T5" fmla="*/ 46 h 48"/>
                <a:gd name="T6" fmla="*/ 15 w 28"/>
                <a:gd name="T7" fmla="*/ 39 h 48"/>
                <a:gd name="T8" fmla="*/ 3 w 28"/>
                <a:gd name="T9" fmla="*/ 22 h 48"/>
                <a:gd name="T10" fmla="*/ 0 w 28"/>
                <a:gd name="T11" fmla="*/ 7 h 48"/>
                <a:gd name="T12" fmla="*/ 0 w 28"/>
                <a:gd name="T13" fmla="*/ 0 h 48"/>
                <a:gd name="T14" fmla="*/ 3 w 28"/>
                <a:gd name="T15" fmla="*/ 0 h 48"/>
                <a:gd name="T16" fmla="*/ 5 w 28"/>
                <a:gd name="T17" fmla="*/ 7 h 48"/>
                <a:gd name="T18" fmla="*/ 20 w 28"/>
                <a:gd name="T19" fmla="*/ 12 h 48"/>
                <a:gd name="T20" fmla="*/ 23 w 28"/>
                <a:gd name="T21" fmla="*/ 14 h 48"/>
                <a:gd name="T22" fmla="*/ 23 w 28"/>
                <a:gd name="T23" fmla="*/ 22 h 48"/>
                <a:gd name="T24" fmla="*/ 25 w 28"/>
                <a:gd name="T25" fmla="*/ 29 h 48"/>
                <a:gd name="T26" fmla="*/ 25 w 28"/>
                <a:gd name="T27" fmla="*/ 4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48">
                  <a:moveTo>
                    <a:pt x="25" y="41"/>
                  </a:moveTo>
                  <a:lnTo>
                    <a:pt x="28" y="48"/>
                  </a:lnTo>
                  <a:lnTo>
                    <a:pt x="23" y="46"/>
                  </a:lnTo>
                  <a:lnTo>
                    <a:pt x="15" y="39"/>
                  </a:lnTo>
                  <a:lnTo>
                    <a:pt x="3" y="22"/>
                  </a:lnTo>
                  <a:lnTo>
                    <a:pt x="0" y="7"/>
                  </a:lnTo>
                  <a:lnTo>
                    <a:pt x="0" y="0"/>
                  </a:lnTo>
                  <a:lnTo>
                    <a:pt x="3" y="0"/>
                  </a:lnTo>
                  <a:lnTo>
                    <a:pt x="5" y="7"/>
                  </a:lnTo>
                  <a:lnTo>
                    <a:pt x="20" y="12"/>
                  </a:lnTo>
                  <a:lnTo>
                    <a:pt x="23" y="14"/>
                  </a:lnTo>
                  <a:lnTo>
                    <a:pt x="23" y="22"/>
                  </a:lnTo>
                  <a:lnTo>
                    <a:pt x="25" y="29"/>
                  </a:lnTo>
                  <a:lnTo>
                    <a:pt x="25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8" name="Freeform 6"/>
            <p:cNvSpPr>
              <a:spLocks/>
            </p:cNvSpPr>
            <p:nvPr/>
          </p:nvSpPr>
          <p:spPr bwMode="auto">
            <a:xfrm>
              <a:off x="4230" y="3097"/>
              <a:ext cx="35" cy="32"/>
            </a:xfrm>
            <a:custGeom>
              <a:avLst/>
              <a:gdLst>
                <a:gd name="T0" fmla="*/ 32 w 35"/>
                <a:gd name="T1" fmla="*/ 22 h 32"/>
                <a:gd name="T2" fmla="*/ 30 w 35"/>
                <a:gd name="T3" fmla="*/ 32 h 32"/>
                <a:gd name="T4" fmla="*/ 25 w 35"/>
                <a:gd name="T5" fmla="*/ 32 h 32"/>
                <a:gd name="T6" fmla="*/ 15 w 35"/>
                <a:gd name="T7" fmla="*/ 19 h 32"/>
                <a:gd name="T8" fmla="*/ 5 w 35"/>
                <a:gd name="T9" fmla="*/ 15 h 32"/>
                <a:gd name="T10" fmla="*/ 2 w 35"/>
                <a:gd name="T11" fmla="*/ 10 h 32"/>
                <a:gd name="T12" fmla="*/ 0 w 35"/>
                <a:gd name="T13" fmla="*/ 2 h 32"/>
                <a:gd name="T14" fmla="*/ 7 w 35"/>
                <a:gd name="T15" fmla="*/ 0 h 32"/>
                <a:gd name="T16" fmla="*/ 12 w 35"/>
                <a:gd name="T17" fmla="*/ 2 h 32"/>
                <a:gd name="T18" fmla="*/ 30 w 35"/>
                <a:gd name="T19" fmla="*/ 12 h 32"/>
                <a:gd name="T20" fmla="*/ 35 w 35"/>
                <a:gd name="T21" fmla="*/ 17 h 32"/>
                <a:gd name="T22" fmla="*/ 32 w 35"/>
                <a:gd name="T2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32">
                  <a:moveTo>
                    <a:pt x="32" y="22"/>
                  </a:moveTo>
                  <a:lnTo>
                    <a:pt x="30" y="32"/>
                  </a:lnTo>
                  <a:lnTo>
                    <a:pt x="25" y="32"/>
                  </a:lnTo>
                  <a:lnTo>
                    <a:pt x="15" y="19"/>
                  </a:lnTo>
                  <a:lnTo>
                    <a:pt x="5" y="15"/>
                  </a:lnTo>
                  <a:lnTo>
                    <a:pt x="2" y="10"/>
                  </a:lnTo>
                  <a:lnTo>
                    <a:pt x="0" y="2"/>
                  </a:lnTo>
                  <a:lnTo>
                    <a:pt x="7" y="0"/>
                  </a:lnTo>
                  <a:lnTo>
                    <a:pt x="12" y="2"/>
                  </a:lnTo>
                  <a:lnTo>
                    <a:pt x="30" y="12"/>
                  </a:lnTo>
                  <a:lnTo>
                    <a:pt x="35" y="17"/>
                  </a:lnTo>
                  <a:lnTo>
                    <a:pt x="32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9" name="Freeform 7"/>
            <p:cNvSpPr>
              <a:spLocks/>
            </p:cNvSpPr>
            <p:nvPr/>
          </p:nvSpPr>
          <p:spPr bwMode="auto">
            <a:xfrm>
              <a:off x="4167" y="3045"/>
              <a:ext cx="45" cy="22"/>
            </a:xfrm>
            <a:custGeom>
              <a:avLst/>
              <a:gdLst>
                <a:gd name="T0" fmla="*/ 33 w 45"/>
                <a:gd name="T1" fmla="*/ 3 h 22"/>
                <a:gd name="T2" fmla="*/ 43 w 45"/>
                <a:gd name="T3" fmla="*/ 10 h 22"/>
                <a:gd name="T4" fmla="*/ 45 w 45"/>
                <a:gd name="T5" fmla="*/ 18 h 22"/>
                <a:gd name="T6" fmla="*/ 38 w 45"/>
                <a:gd name="T7" fmla="*/ 22 h 22"/>
                <a:gd name="T8" fmla="*/ 30 w 45"/>
                <a:gd name="T9" fmla="*/ 22 h 22"/>
                <a:gd name="T10" fmla="*/ 20 w 45"/>
                <a:gd name="T11" fmla="*/ 22 h 22"/>
                <a:gd name="T12" fmla="*/ 3 w 45"/>
                <a:gd name="T13" fmla="*/ 15 h 22"/>
                <a:gd name="T14" fmla="*/ 0 w 45"/>
                <a:gd name="T15" fmla="*/ 0 h 22"/>
                <a:gd name="T16" fmla="*/ 10 w 45"/>
                <a:gd name="T17" fmla="*/ 3 h 22"/>
                <a:gd name="T18" fmla="*/ 25 w 45"/>
                <a:gd name="T19" fmla="*/ 0 h 22"/>
                <a:gd name="T20" fmla="*/ 33 w 45"/>
                <a:gd name="T21" fmla="*/ 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">
                  <a:moveTo>
                    <a:pt x="33" y="3"/>
                  </a:moveTo>
                  <a:lnTo>
                    <a:pt x="43" y="10"/>
                  </a:lnTo>
                  <a:lnTo>
                    <a:pt x="45" y="18"/>
                  </a:lnTo>
                  <a:lnTo>
                    <a:pt x="38" y="22"/>
                  </a:lnTo>
                  <a:lnTo>
                    <a:pt x="30" y="22"/>
                  </a:lnTo>
                  <a:lnTo>
                    <a:pt x="20" y="22"/>
                  </a:lnTo>
                  <a:lnTo>
                    <a:pt x="3" y="15"/>
                  </a:lnTo>
                  <a:lnTo>
                    <a:pt x="0" y="0"/>
                  </a:lnTo>
                  <a:lnTo>
                    <a:pt x="10" y="3"/>
                  </a:lnTo>
                  <a:lnTo>
                    <a:pt x="25" y="0"/>
                  </a:lnTo>
                  <a:lnTo>
                    <a:pt x="3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0" name="Freeform 8"/>
            <p:cNvSpPr>
              <a:spLocks/>
            </p:cNvSpPr>
            <p:nvPr/>
          </p:nvSpPr>
          <p:spPr bwMode="auto">
            <a:xfrm>
              <a:off x="4205" y="3009"/>
              <a:ext cx="70" cy="78"/>
            </a:xfrm>
            <a:custGeom>
              <a:avLst/>
              <a:gdLst>
                <a:gd name="T0" fmla="*/ 70 w 70"/>
                <a:gd name="T1" fmla="*/ 19 h 78"/>
                <a:gd name="T2" fmla="*/ 62 w 70"/>
                <a:gd name="T3" fmla="*/ 49 h 78"/>
                <a:gd name="T4" fmla="*/ 57 w 70"/>
                <a:gd name="T5" fmla="*/ 49 h 78"/>
                <a:gd name="T6" fmla="*/ 47 w 70"/>
                <a:gd name="T7" fmla="*/ 41 h 78"/>
                <a:gd name="T8" fmla="*/ 42 w 70"/>
                <a:gd name="T9" fmla="*/ 39 h 78"/>
                <a:gd name="T10" fmla="*/ 40 w 70"/>
                <a:gd name="T11" fmla="*/ 44 h 78"/>
                <a:gd name="T12" fmla="*/ 37 w 70"/>
                <a:gd name="T13" fmla="*/ 49 h 78"/>
                <a:gd name="T14" fmla="*/ 42 w 70"/>
                <a:gd name="T15" fmla="*/ 51 h 78"/>
                <a:gd name="T16" fmla="*/ 50 w 70"/>
                <a:gd name="T17" fmla="*/ 71 h 78"/>
                <a:gd name="T18" fmla="*/ 50 w 70"/>
                <a:gd name="T19" fmla="*/ 76 h 78"/>
                <a:gd name="T20" fmla="*/ 50 w 70"/>
                <a:gd name="T21" fmla="*/ 78 h 78"/>
                <a:gd name="T22" fmla="*/ 37 w 70"/>
                <a:gd name="T23" fmla="*/ 73 h 78"/>
                <a:gd name="T24" fmla="*/ 15 w 70"/>
                <a:gd name="T25" fmla="*/ 49 h 78"/>
                <a:gd name="T26" fmla="*/ 0 w 70"/>
                <a:gd name="T27" fmla="*/ 7 h 78"/>
                <a:gd name="T28" fmla="*/ 30 w 70"/>
                <a:gd name="T29" fmla="*/ 0 h 78"/>
                <a:gd name="T30" fmla="*/ 47 w 70"/>
                <a:gd name="T31" fmla="*/ 12 h 78"/>
                <a:gd name="T32" fmla="*/ 70 w 70"/>
                <a:gd name="T33" fmla="*/ 1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0" h="78">
                  <a:moveTo>
                    <a:pt x="70" y="19"/>
                  </a:moveTo>
                  <a:lnTo>
                    <a:pt x="62" y="49"/>
                  </a:lnTo>
                  <a:lnTo>
                    <a:pt x="57" y="49"/>
                  </a:lnTo>
                  <a:lnTo>
                    <a:pt x="47" y="41"/>
                  </a:lnTo>
                  <a:lnTo>
                    <a:pt x="42" y="39"/>
                  </a:lnTo>
                  <a:lnTo>
                    <a:pt x="40" y="44"/>
                  </a:lnTo>
                  <a:lnTo>
                    <a:pt x="37" y="49"/>
                  </a:lnTo>
                  <a:lnTo>
                    <a:pt x="42" y="51"/>
                  </a:lnTo>
                  <a:lnTo>
                    <a:pt x="50" y="71"/>
                  </a:lnTo>
                  <a:lnTo>
                    <a:pt x="50" y="76"/>
                  </a:lnTo>
                  <a:lnTo>
                    <a:pt x="50" y="78"/>
                  </a:lnTo>
                  <a:lnTo>
                    <a:pt x="37" y="73"/>
                  </a:lnTo>
                  <a:lnTo>
                    <a:pt x="15" y="49"/>
                  </a:lnTo>
                  <a:lnTo>
                    <a:pt x="0" y="7"/>
                  </a:lnTo>
                  <a:lnTo>
                    <a:pt x="30" y="0"/>
                  </a:lnTo>
                  <a:lnTo>
                    <a:pt x="47" y="12"/>
                  </a:lnTo>
                  <a:lnTo>
                    <a:pt x="70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1" name="Freeform 9"/>
            <p:cNvSpPr>
              <a:spLocks/>
            </p:cNvSpPr>
            <p:nvPr/>
          </p:nvSpPr>
          <p:spPr bwMode="auto">
            <a:xfrm>
              <a:off x="4285" y="3001"/>
              <a:ext cx="20" cy="37"/>
            </a:xfrm>
            <a:custGeom>
              <a:avLst/>
              <a:gdLst>
                <a:gd name="T0" fmla="*/ 20 w 20"/>
                <a:gd name="T1" fmla="*/ 22 h 37"/>
                <a:gd name="T2" fmla="*/ 12 w 20"/>
                <a:gd name="T3" fmla="*/ 37 h 37"/>
                <a:gd name="T4" fmla="*/ 2 w 20"/>
                <a:gd name="T5" fmla="*/ 35 h 37"/>
                <a:gd name="T6" fmla="*/ 0 w 20"/>
                <a:gd name="T7" fmla="*/ 32 h 37"/>
                <a:gd name="T8" fmla="*/ 0 w 20"/>
                <a:gd name="T9" fmla="*/ 30 h 37"/>
                <a:gd name="T10" fmla="*/ 2 w 20"/>
                <a:gd name="T11" fmla="*/ 18 h 37"/>
                <a:gd name="T12" fmla="*/ 2 w 20"/>
                <a:gd name="T13" fmla="*/ 0 h 37"/>
                <a:gd name="T14" fmla="*/ 12 w 20"/>
                <a:gd name="T15" fmla="*/ 15 h 37"/>
                <a:gd name="T16" fmla="*/ 20 w 20"/>
                <a:gd name="T17" fmla="*/ 2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37">
                  <a:moveTo>
                    <a:pt x="20" y="22"/>
                  </a:moveTo>
                  <a:lnTo>
                    <a:pt x="12" y="37"/>
                  </a:lnTo>
                  <a:lnTo>
                    <a:pt x="2" y="35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2" y="18"/>
                  </a:lnTo>
                  <a:lnTo>
                    <a:pt x="2" y="0"/>
                  </a:lnTo>
                  <a:lnTo>
                    <a:pt x="12" y="15"/>
                  </a:lnTo>
                  <a:lnTo>
                    <a:pt x="20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12" name="Faroe Island Text"/>
          <p:cNvSpPr txBox="1"/>
          <p:nvPr/>
        </p:nvSpPr>
        <p:spPr>
          <a:xfrm>
            <a:off x="6310916" y="5476178"/>
            <a:ext cx="558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900" b="1" dirty="0">
                <a:solidFill>
                  <a:srgbClr val="006EB6"/>
                </a:solidFill>
              </a:rPr>
              <a:t>Faroe </a:t>
            </a:r>
            <a:br>
              <a:rPr lang="en-GB" sz="900" b="1" dirty="0">
                <a:solidFill>
                  <a:srgbClr val="006EB6"/>
                </a:solidFill>
              </a:rPr>
            </a:br>
            <a:r>
              <a:rPr lang="en-GB" sz="900" b="1" dirty="0">
                <a:solidFill>
                  <a:srgbClr val="006EB6"/>
                </a:solidFill>
              </a:rPr>
              <a:t>Islands</a:t>
            </a:r>
          </a:p>
        </p:txBody>
      </p:sp>
      <p:sp>
        <p:nvSpPr>
          <p:cNvPr id="48" name="Åland Islands Text"/>
          <p:cNvSpPr txBox="1"/>
          <p:nvPr/>
        </p:nvSpPr>
        <p:spPr>
          <a:xfrm>
            <a:off x="9732683" y="4665157"/>
            <a:ext cx="558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900" b="1" noProof="1">
                <a:solidFill>
                  <a:srgbClr val="006EB6"/>
                </a:solidFill>
              </a:rPr>
              <a:t>Åland Islands</a:t>
            </a:r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35344241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72"/>
          <p:cNvGrpSpPr>
            <a:grpSpLocks noChangeAspect="1"/>
          </p:cNvGrpSpPr>
          <p:nvPr/>
        </p:nvGrpSpPr>
        <p:grpSpPr bwMode="auto">
          <a:xfrm rot="20418998">
            <a:off x="5869970" y="594201"/>
            <a:ext cx="5439342" cy="5600739"/>
            <a:chOff x="2987" y="657"/>
            <a:chExt cx="1247" cy="1284"/>
          </a:xfrm>
          <a:solidFill>
            <a:schemeClr val="accent3"/>
          </a:solidFill>
        </p:grpSpPr>
        <p:sp>
          <p:nvSpPr>
            <p:cNvPr id="9" name="Sweden"/>
            <p:cNvSpPr>
              <a:spLocks noEditPoints="1"/>
            </p:cNvSpPr>
            <p:nvPr/>
          </p:nvSpPr>
          <p:spPr bwMode="auto">
            <a:xfrm>
              <a:off x="3277" y="834"/>
              <a:ext cx="612" cy="1054"/>
            </a:xfrm>
            <a:custGeom>
              <a:avLst/>
              <a:gdLst>
                <a:gd name="T0" fmla="*/ 1078 w 1175"/>
                <a:gd name="T1" fmla="*/ 523 h 2023"/>
                <a:gd name="T2" fmla="*/ 968 w 1175"/>
                <a:gd name="T3" fmla="*/ 549 h 2023"/>
                <a:gd name="T4" fmla="*/ 913 w 1175"/>
                <a:gd name="T5" fmla="*/ 682 h 2023"/>
                <a:gd name="T6" fmla="*/ 760 w 1175"/>
                <a:gd name="T7" fmla="*/ 867 h 2023"/>
                <a:gd name="T8" fmla="*/ 668 w 1175"/>
                <a:gd name="T9" fmla="*/ 947 h 2023"/>
                <a:gd name="T10" fmla="*/ 589 w 1175"/>
                <a:gd name="T11" fmla="*/ 1045 h 2023"/>
                <a:gd name="T12" fmla="*/ 558 w 1175"/>
                <a:gd name="T13" fmla="*/ 1219 h 2023"/>
                <a:gd name="T14" fmla="*/ 690 w 1175"/>
                <a:gd name="T15" fmla="*/ 1348 h 2023"/>
                <a:gd name="T16" fmla="*/ 603 w 1175"/>
                <a:gd name="T17" fmla="*/ 1416 h 2023"/>
                <a:gd name="T18" fmla="*/ 463 w 1175"/>
                <a:gd name="T19" fmla="*/ 1442 h 2023"/>
                <a:gd name="T20" fmla="*/ 676 w 1175"/>
                <a:gd name="T21" fmla="*/ 1466 h 2023"/>
                <a:gd name="T22" fmla="*/ 565 w 1175"/>
                <a:gd name="T23" fmla="*/ 1544 h 2023"/>
                <a:gd name="T24" fmla="*/ 512 w 1175"/>
                <a:gd name="T25" fmla="*/ 1663 h 2023"/>
                <a:gd name="T26" fmla="*/ 481 w 1175"/>
                <a:gd name="T27" fmla="*/ 1837 h 2023"/>
                <a:gd name="T28" fmla="*/ 146 w 1175"/>
                <a:gd name="T29" fmla="*/ 1872 h 2023"/>
                <a:gd name="T30" fmla="*/ 46 w 1175"/>
                <a:gd name="T31" fmla="*/ 1615 h 2023"/>
                <a:gd name="T32" fmla="*/ 79 w 1175"/>
                <a:gd name="T33" fmla="*/ 1511 h 2023"/>
                <a:gd name="T34" fmla="*/ 111 w 1175"/>
                <a:gd name="T35" fmla="*/ 1224 h 2023"/>
                <a:gd name="T36" fmla="*/ 286 w 1175"/>
                <a:gd name="T37" fmla="*/ 780 h 2023"/>
                <a:gd name="T38" fmla="*/ 425 w 1175"/>
                <a:gd name="T39" fmla="*/ 808 h 2023"/>
                <a:gd name="T40" fmla="*/ 478 w 1175"/>
                <a:gd name="T41" fmla="*/ 321 h 2023"/>
                <a:gd name="T42" fmla="*/ 887 w 1175"/>
                <a:gd name="T43" fmla="*/ 18 h 2023"/>
                <a:gd name="T44" fmla="*/ 530 w 1175"/>
                <a:gd name="T45" fmla="*/ 1508 h 2023"/>
                <a:gd name="T46" fmla="*/ 480 w 1175"/>
                <a:gd name="T47" fmla="*/ 248 h 2023"/>
                <a:gd name="T48" fmla="*/ 465 w 1175"/>
                <a:gd name="T49" fmla="*/ 619 h 2023"/>
                <a:gd name="T50" fmla="*/ 317 w 1175"/>
                <a:gd name="T51" fmla="*/ 459 h 2023"/>
                <a:gd name="T52" fmla="*/ 424 w 1175"/>
                <a:gd name="T53" fmla="*/ 1284 h 2023"/>
                <a:gd name="T54" fmla="*/ 378 w 1175"/>
                <a:gd name="T55" fmla="*/ 1004 h 2023"/>
                <a:gd name="T56" fmla="*/ 356 w 1175"/>
                <a:gd name="T57" fmla="*/ 1262 h 2023"/>
                <a:gd name="T58" fmla="*/ 290 w 1175"/>
                <a:gd name="T59" fmla="*/ 1515 h 2023"/>
                <a:gd name="T60" fmla="*/ 315 w 1175"/>
                <a:gd name="T61" fmla="*/ 1531 h 2023"/>
                <a:gd name="T62" fmla="*/ 310 w 1175"/>
                <a:gd name="T63" fmla="*/ 928 h 2023"/>
                <a:gd name="T64" fmla="*/ 190 w 1175"/>
                <a:gd name="T65" fmla="*/ 1367 h 2023"/>
                <a:gd name="T66" fmla="*/ 205 w 1175"/>
                <a:gd name="T67" fmla="*/ 863 h 2023"/>
                <a:gd name="T68" fmla="*/ 144 w 1175"/>
                <a:gd name="T69" fmla="*/ 883 h 2023"/>
                <a:gd name="T70" fmla="*/ 152 w 1175"/>
                <a:gd name="T71" fmla="*/ 1437 h 2023"/>
                <a:gd name="T72" fmla="*/ 133 w 1175"/>
                <a:gd name="T73" fmla="*/ 1660 h 2023"/>
                <a:gd name="T74" fmla="*/ 191 w 1175"/>
                <a:gd name="T75" fmla="*/ 1470 h 2023"/>
                <a:gd name="T76" fmla="*/ 193 w 1175"/>
                <a:gd name="T77" fmla="*/ 1579 h 2023"/>
                <a:gd name="T78" fmla="*/ 302 w 1175"/>
                <a:gd name="T79" fmla="*/ 1912 h 2023"/>
                <a:gd name="T80" fmla="*/ 348 w 1175"/>
                <a:gd name="T81" fmla="*/ 1791 h 2023"/>
                <a:gd name="T82" fmla="*/ 385 w 1175"/>
                <a:gd name="T83" fmla="*/ 1648 h 2023"/>
                <a:gd name="T84" fmla="*/ 447 w 1175"/>
                <a:gd name="T85" fmla="*/ 1650 h 2023"/>
                <a:gd name="T86" fmla="*/ 406 w 1175"/>
                <a:gd name="T87" fmla="*/ 1476 h 2023"/>
                <a:gd name="T88" fmla="*/ 515 w 1175"/>
                <a:gd name="T89" fmla="*/ 709 h 2023"/>
                <a:gd name="T90" fmla="*/ 527 w 1175"/>
                <a:gd name="T91" fmla="*/ 811 h 2023"/>
                <a:gd name="T92" fmla="*/ 537 w 1175"/>
                <a:gd name="T93" fmla="*/ 1327 h 2023"/>
                <a:gd name="T94" fmla="*/ 508 w 1175"/>
                <a:gd name="T95" fmla="*/ 599 h 2023"/>
                <a:gd name="T96" fmla="*/ 529 w 1175"/>
                <a:gd name="T97" fmla="*/ 412 h 2023"/>
                <a:gd name="T98" fmla="*/ 595 w 1175"/>
                <a:gd name="T99" fmla="*/ 496 h 2023"/>
                <a:gd name="T100" fmla="*/ 644 w 1175"/>
                <a:gd name="T101" fmla="*/ 422 h 2023"/>
                <a:gd name="T102" fmla="*/ 695 w 1175"/>
                <a:gd name="T103" fmla="*/ 349 h 2023"/>
                <a:gd name="T104" fmla="*/ 541 w 1175"/>
                <a:gd name="T105" fmla="*/ 200 h 2023"/>
                <a:gd name="T106" fmla="*/ 852 w 1175"/>
                <a:gd name="T107" fmla="*/ 190 h 2023"/>
                <a:gd name="T108" fmla="*/ 872 w 1175"/>
                <a:gd name="T109" fmla="*/ 200 h 2023"/>
                <a:gd name="T110" fmla="*/ 528 w 1175"/>
                <a:gd name="T111" fmla="*/ 1784 h 2023"/>
                <a:gd name="T112" fmla="*/ 584 w 1175"/>
                <a:gd name="T113" fmla="*/ 1448 h 2023"/>
                <a:gd name="T114" fmla="*/ 662 w 1175"/>
                <a:gd name="T115" fmla="*/ 1511 h 2023"/>
                <a:gd name="T116" fmla="*/ 735 w 1175"/>
                <a:gd name="T117" fmla="*/ 1656 h 2023"/>
                <a:gd name="T118" fmla="*/ 672 w 1175"/>
                <a:gd name="T119" fmla="*/ 1441 h 2023"/>
                <a:gd name="T120" fmla="*/ 643 w 1175"/>
                <a:gd name="T121" fmla="*/ 1776 h 2023"/>
                <a:gd name="T122" fmla="*/ 304 w 1175"/>
                <a:gd name="T123" fmla="*/ 1639 h 2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75" h="2023">
                  <a:moveTo>
                    <a:pt x="675" y="1343"/>
                  </a:moveTo>
                  <a:cubicBezTo>
                    <a:pt x="675" y="1342"/>
                    <a:pt x="675" y="1342"/>
                    <a:pt x="674" y="1342"/>
                  </a:cubicBezTo>
                  <a:cubicBezTo>
                    <a:pt x="674" y="1342"/>
                    <a:pt x="675" y="1342"/>
                    <a:pt x="675" y="1343"/>
                  </a:cubicBezTo>
                  <a:close/>
                  <a:moveTo>
                    <a:pt x="65" y="1650"/>
                  </a:moveTo>
                  <a:cubicBezTo>
                    <a:pt x="65" y="1650"/>
                    <a:pt x="65" y="1650"/>
                    <a:pt x="65" y="1650"/>
                  </a:cubicBezTo>
                  <a:cubicBezTo>
                    <a:pt x="67" y="1637"/>
                    <a:pt x="44" y="1644"/>
                    <a:pt x="44" y="1646"/>
                  </a:cubicBezTo>
                  <a:cubicBezTo>
                    <a:pt x="42" y="1652"/>
                    <a:pt x="50" y="1647"/>
                    <a:pt x="50" y="1650"/>
                  </a:cubicBezTo>
                  <a:cubicBezTo>
                    <a:pt x="49" y="1668"/>
                    <a:pt x="61" y="1656"/>
                    <a:pt x="65" y="1650"/>
                  </a:cubicBezTo>
                  <a:close/>
                  <a:moveTo>
                    <a:pt x="694" y="893"/>
                  </a:moveTo>
                  <a:cubicBezTo>
                    <a:pt x="694" y="893"/>
                    <a:pt x="694" y="893"/>
                    <a:pt x="694" y="893"/>
                  </a:cubicBezTo>
                  <a:cubicBezTo>
                    <a:pt x="694" y="893"/>
                    <a:pt x="694" y="893"/>
                    <a:pt x="694" y="893"/>
                  </a:cubicBezTo>
                  <a:close/>
                  <a:moveTo>
                    <a:pt x="705" y="900"/>
                  </a:moveTo>
                  <a:cubicBezTo>
                    <a:pt x="710" y="898"/>
                    <a:pt x="700" y="896"/>
                    <a:pt x="698" y="895"/>
                  </a:cubicBezTo>
                  <a:cubicBezTo>
                    <a:pt x="696" y="895"/>
                    <a:pt x="695" y="894"/>
                    <a:pt x="694" y="893"/>
                  </a:cubicBezTo>
                  <a:cubicBezTo>
                    <a:pt x="697" y="896"/>
                    <a:pt x="689" y="910"/>
                    <a:pt x="705" y="900"/>
                  </a:cubicBezTo>
                  <a:close/>
                  <a:moveTo>
                    <a:pt x="1129" y="416"/>
                  </a:moveTo>
                  <a:cubicBezTo>
                    <a:pt x="1129" y="455"/>
                    <a:pt x="1165" y="472"/>
                    <a:pt x="1175" y="507"/>
                  </a:cubicBezTo>
                  <a:cubicBezTo>
                    <a:pt x="1175" y="507"/>
                    <a:pt x="1154" y="515"/>
                    <a:pt x="1153" y="514"/>
                  </a:cubicBezTo>
                  <a:cubicBezTo>
                    <a:pt x="1139" y="510"/>
                    <a:pt x="1125" y="503"/>
                    <a:pt x="1113" y="503"/>
                  </a:cubicBezTo>
                  <a:cubicBezTo>
                    <a:pt x="1108" y="502"/>
                    <a:pt x="1110" y="514"/>
                    <a:pt x="1110" y="514"/>
                  </a:cubicBezTo>
                  <a:cubicBezTo>
                    <a:pt x="1109" y="514"/>
                    <a:pt x="1092" y="504"/>
                    <a:pt x="1088" y="504"/>
                  </a:cubicBezTo>
                  <a:cubicBezTo>
                    <a:pt x="1085" y="504"/>
                    <a:pt x="1092" y="510"/>
                    <a:pt x="1092" y="514"/>
                  </a:cubicBezTo>
                  <a:cubicBezTo>
                    <a:pt x="1091" y="515"/>
                    <a:pt x="1085" y="515"/>
                    <a:pt x="1084" y="516"/>
                  </a:cubicBezTo>
                  <a:cubicBezTo>
                    <a:pt x="1082" y="517"/>
                    <a:pt x="1085" y="524"/>
                    <a:pt x="1078" y="523"/>
                  </a:cubicBezTo>
                  <a:cubicBezTo>
                    <a:pt x="1076" y="523"/>
                    <a:pt x="1078" y="520"/>
                    <a:pt x="1078" y="519"/>
                  </a:cubicBezTo>
                  <a:cubicBezTo>
                    <a:pt x="1078" y="519"/>
                    <a:pt x="1044" y="491"/>
                    <a:pt x="1039" y="492"/>
                  </a:cubicBezTo>
                  <a:cubicBezTo>
                    <a:pt x="1037" y="492"/>
                    <a:pt x="1041" y="496"/>
                    <a:pt x="1042" y="496"/>
                  </a:cubicBezTo>
                  <a:cubicBezTo>
                    <a:pt x="1045" y="499"/>
                    <a:pt x="1045" y="514"/>
                    <a:pt x="1040" y="515"/>
                  </a:cubicBezTo>
                  <a:cubicBezTo>
                    <a:pt x="1038" y="516"/>
                    <a:pt x="1038" y="510"/>
                    <a:pt x="1036" y="508"/>
                  </a:cubicBezTo>
                  <a:cubicBezTo>
                    <a:pt x="1033" y="506"/>
                    <a:pt x="1028" y="513"/>
                    <a:pt x="1027" y="512"/>
                  </a:cubicBezTo>
                  <a:cubicBezTo>
                    <a:pt x="1025" y="510"/>
                    <a:pt x="1028" y="492"/>
                    <a:pt x="1014" y="499"/>
                  </a:cubicBezTo>
                  <a:cubicBezTo>
                    <a:pt x="1012" y="500"/>
                    <a:pt x="1016" y="501"/>
                    <a:pt x="1012" y="502"/>
                  </a:cubicBezTo>
                  <a:cubicBezTo>
                    <a:pt x="1010" y="503"/>
                    <a:pt x="1014" y="512"/>
                    <a:pt x="1013" y="515"/>
                  </a:cubicBezTo>
                  <a:cubicBezTo>
                    <a:pt x="1011" y="523"/>
                    <a:pt x="1001" y="513"/>
                    <a:pt x="1001" y="514"/>
                  </a:cubicBezTo>
                  <a:cubicBezTo>
                    <a:pt x="998" y="520"/>
                    <a:pt x="1015" y="519"/>
                    <a:pt x="1016" y="525"/>
                  </a:cubicBezTo>
                  <a:cubicBezTo>
                    <a:pt x="1016" y="528"/>
                    <a:pt x="1012" y="530"/>
                    <a:pt x="1012" y="528"/>
                  </a:cubicBezTo>
                  <a:cubicBezTo>
                    <a:pt x="1011" y="527"/>
                    <a:pt x="1006" y="519"/>
                    <a:pt x="1005" y="525"/>
                  </a:cubicBezTo>
                  <a:cubicBezTo>
                    <a:pt x="1003" y="533"/>
                    <a:pt x="1011" y="534"/>
                    <a:pt x="998" y="535"/>
                  </a:cubicBezTo>
                  <a:cubicBezTo>
                    <a:pt x="995" y="536"/>
                    <a:pt x="1011" y="535"/>
                    <a:pt x="1009" y="532"/>
                  </a:cubicBezTo>
                  <a:cubicBezTo>
                    <a:pt x="1005" y="527"/>
                    <a:pt x="1011" y="528"/>
                    <a:pt x="1011" y="531"/>
                  </a:cubicBezTo>
                  <a:cubicBezTo>
                    <a:pt x="1011" y="534"/>
                    <a:pt x="1011" y="539"/>
                    <a:pt x="1014" y="540"/>
                  </a:cubicBezTo>
                  <a:cubicBezTo>
                    <a:pt x="1016" y="541"/>
                    <a:pt x="1023" y="545"/>
                    <a:pt x="1019" y="548"/>
                  </a:cubicBezTo>
                  <a:cubicBezTo>
                    <a:pt x="1013" y="552"/>
                    <a:pt x="965" y="519"/>
                    <a:pt x="961" y="520"/>
                  </a:cubicBezTo>
                  <a:cubicBezTo>
                    <a:pt x="959" y="520"/>
                    <a:pt x="962" y="524"/>
                    <a:pt x="963" y="525"/>
                  </a:cubicBezTo>
                  <a:cubicBezTo>
                    <a:pt x="973" y="535"/>
                    <a:pt x="990" y="538"/>
                    <a:pt x="999" y="547"/>
                  </a:cubicBezTo>
                  <a:cubicBezTo>
                    <a:pt x="1000" y="548"/>
                    <a:pt x="993" y="549"/>
                    <a:pt x="993" y="549"/>
                  </a:cubicBezTo>
                  <a:cubicBezTo>
                    <a:pt x="987" y="548"/>
                    <a:pt x="981" y="555"/>
                    <a:pt x="973" y="549"/>
                  </a:cubicBezTo>
                  <a:cubicBezTo>
                    <a:pt x="972" y="549"/>
                    <a:pt x="969" y="548"/>
                    <a:pt x="968" y="549"/>
                  </a:cubicBezTo>
                  <a:cubicBezTo>
                    <a:pt x="968" y="559"/>
                    <a:pt x="988" y="549"/>
                    <a:pt x="983" y="565"/>
                  </a:cubicBezTo>
                  <a:cubicBezTo>
                    <a:pt x="983" y="566"/>
                    <a:pt x="980" y="565"/>
                    <a:pt x="979" y="565"/>
                  </a:cubicBezTo>
                  <a:cubicBezTo>
                    <a:pt x="977" y="564"/>
                    <a:pt x="976" y="559"/>
                    <a:pt x="975" y="564"/>
                  </a:cubicBezTo>
                  <a:cubicBezTo>
                    <a:pt x="974" y="572"/>
                    <a:pt x="958" y="567"/>
                    <a:pt x="945" y="571"/>
                  </a:cubicBezTo>
                  <a:cubicBezTo>
                    <a:pt x="944" y="572"/>
                    <a:pt x="935" y="569"/>
                    <a:pt x="934" y="572"/>
                  </a:cubicBezTo>
                  <a:cubicBezTo>
                    <a:pt x="933" y="580"/>
                    <a:pt x="961" y="583"/>
                    <a:pt x="952" y="592"/>
                  </a:cubicBezTo>
                  <a:cubicBezTo>
                    <a:pt x="944" y="599"/>
                    <a:pt x="933" y="582"/>
                    <a:pt x="929" y="578"/>
                  </a:cubicBezTo>
                  <a:cubicBezTo>
                    <a:pt x="927" y="577"/>
                    <a:pt x="919" y="571"/>
                    <a:pt x="921" y="575"/>
                  </a:cubicBezTo>
                  <a:cubicBezTo>
                    <a:pt x="924" y="578"/>
                    <a:pt x="916" y="576"/>
                    <a:pt x="916" y="578"/>
                  </a:cubicBezTo>
                  <a:cubicBezTo>
                    <a:pt x="916" y="581"/>
                    <a:pt x="927" y="580"/>
                    <a:pt x="928" y="581"/>
                  </a:cubicBezTo>
                  <a:cubicBezTo>
                    <a:pt x="932" y="583"/>
                    <a:pt x="948" y="602"/>
                    <a:pt x="948" y="607"/>
                  </a:cubicBezTo>
                  <a:cubicBezTo>
                    <a:pt x="948" y="609"/>
                    <a:pt x="943" y="609"/>
                    <a:pt x="943" y="612"/>
                  </a:cubicBezTo>
                  <a:cubicBezTo>
                    <a:pt x="942" y="616"/>
                    <a:pt x="938" y="617"/>
                    <a:pt x="944" y="619"/>
                  </a:cubicBezTo>
                  <a:cubicBezTo>
                    <a:pt x="948" y="620"/>
                    <a:pt x="940" y="621"/>
                    <a:pt x="939" y="621"/>
                  </a:cubicBezTo>
                  <a:cubicBezTo>
                    <a:pt x="935" y="620"/>
                    <a:pt x="931" y="633"/>
                    <a:pt x="927" y="636"/>
                  </a:cubicBezTo>
                  <a:cubicBezTo>
                    <a:pt x="924" y="638"/>
                    <a:pt x="917" y="635"/>
                    <a:pt x="914" y="637"/>
                  </a:cubicBezTo>
                  <a:cubicBezTo>
                    <a:pt x="911" y="641"/>
                    <a:pt x="912" y="658"/>
                    <a:pt x="903" y="657"/>
                  </a:cubicBezTo>
                  <a:cubicBezTo>
                    <a:pt x="900" y="657"/>
                    <a:pt x="899" y="647"/>
                    <a:pt x="896" y="653"/>
                  </a:cubicBezTo>
                  <a:cubicBezTo>
                    <a:pt x="891" y="667"/>
                    <a:pt x="922" y="661"/>
                    <a:pt x="920" y="667"/>
                  </a:cubicBezTo>
                  <a:cubicBezTo>
                    <a:pt x="919" y="670"/>
                    <a:pt x="914" y="666"/>
                    <a:pt x="913" y="668"/>
                  </a:cubicBezTo>
                  <a:cubicBezTo>
                    <a:pt x="912" y="673"/>
                    <a:pt x="929" y="686"/>
                    <a:pt x="912" y="676"/>
                  </a:cubicBezTo>
                  <a:cubicBezTo>
                    <a:pt x="910" y="675"/>
                    <a:pt x="904" y="668"/>
                    <a:pt x="902" y="671"/>
                  </a:cubicBezTo>
                  <a:cubicBezTo>
                    <a:pt x="901" y="672"/>
                    <a:pt x="902" y="675"/>
                    <a:pt x="902" y="675"/>
                  </a:cubicBezTo>
                  <a:cubicBezTo>
                    <a:pt x="903" y="680"/>
                    <a:pt x="910" y="681"/>
                    <a:pt x="913" y="682"/>
                  </a:cubicBezTo>
                  <a:cubicBezTo>
                    <a:pt x="918" y="683"/>
                    <a:pt x="920" y="690"/>
                    <a:pt x="923" y="694"/>
                  </a:cubicBezTo>
                  <a:cubicBezTo>
                    <a:pt x="925" y="697"/>
                    <a:pt x="923" y="685"/>
                    <a:pt x="929" y="691"/>
                  </a:cubicBezTo>
                  <a:cubicBezTo>
                    <a:pt x="930" y="693"/>
                    <a:pt x="932" y="698"/>
                    <a:pt x="934" y="696"/>
                  </a:cubicBezTo>
                  <a:cubicBezTo>
                    <a:pt x="940" y="690"/>
                    <a:pt x="940" y="709"/>
                    <a:pt x="934" y="699"/>
                  </a:cubicBezTo>
                  <a:cubicBezTo>
                    <a:pt x="932" y="696"/>
                    <a:pt x="930" y="702"/>
                    <a:pt x="929" y="703"/>
                  </a:cubicBezTo>
                  <a:cubicBezTo>
                    <a:pt x="928" y="703"/>
                    <a:pt x="923" y="698"/>
                    <a:pt x="923" y="700"/>
                  </a:cubicBezTo>
                  <a:cubicBezTo>
                    <a:pt x="923" y="704"/>
                    <a:pt x="931" y="704"/>
                    <a:pt x="933" y="703"/>
                  </a:cubicBezTo>
                  <a:cubicBezTo>
                    <a:pt x="939" y="701"/>
                    <a:pt x="933" y="711"/>
                    <a:pt x="935" y="713"/>
                  </a:cubicBezTo>
                  <a:cubicBezTo>
                    <a:pt x="939" y="715"/>
                    <a:pt x="944" y="706"/>
                    <a:pt x="946" y="709"/>
                  </a:cubicBezTo>
                  <a:cubicBezTo>
                    <a:pt x="948" y="712"/>
                    <a:pt x="947" y="714"/>
                    <a:pt x="945" y="714"/>
                  </a:cubicBezTo>
                  <a:cubicBezTo>
                    <a:pt x="934" y="715"/>
                    <a:pt x="911" y="745"/>
                    <a:pt x="899" y="747"/>
                  </a:cubicBezTo>
                  <a:cubicBezTo>
                    <a:pt x="898" y="747"/>
                    <a:pt x="867" y="810"/>
                    <a:pt x="864" y="812"/>
                  </a:cubicBezTo>
                  <a:cubicBezTo>
                    <a:pt x="861" y="813"/>
                    <a:pt x="851" y="810"/>
                    <a:pt x="851" y="809"/>
                  </a:cubicBezTo>
                  <a:cubicBezTo>
                    <a:pt x="850" y="809"/>
                    <a:pt x="849" y="806"/>
                    <a:pt x="848" y="807"/>
                  </a:cubicBezTo>
                  <a:cubicBezTo>
                    <a:pt x="841" y="807"/>
                    <a:pt x="842" y="824"/>
                    <a:pt x="839" y="827"/>
                  </a:cubicBezTo>
                  <a:cubicBezTo>
                    <a:pt x="831" y="832"/>
                    <a:pt x="837" y="814"/>
                    <a:pt x="832" y="818"/>
                  </a:cubicBezTo>
                  <a:cubicBezTo>
                    <a:pt x="830" y="819"/>
                    <a:pt x="834" y="833"/>
                    <a:pt x="830" y="833"/>
                  </a:cubicBezTo>
                  <a:cubicBezTo>
                    <a:pt x="824" y="832"/>
                    <a:pt x="831" y="821"/>
                    <a:pt x="829" y="820"/>
                  </a:cubicBezTo>
                  <a:cubicBezTo>
                    <a:pt x="825" y="820"/>
                    <a:pt x="825" y="833"/>
                    <a:pt x="825" y="833"/>
                  </a:cubicBezTo>
                  <a:cubicBezTo>
                    <a:pt x="820" y="836"/>
                    <a:pt x="812" y="830"/>
                    <a:pt x="808" y="831"/>
                  </a:cubicBezTo>
                  <a:cubicBezTo>
                    <a:pt x="801" y="833"/>
                    <a:pt x="806" y="844"/>
                    <a:pt x="794" y="838"/>
                  </a:cubicBezTo>
                  <a:cubicBezTo>
                    <a:pt x="790" y="836"/>
                    <a:pt x="779" y="864"/>
                    <a:pt x="777" y="865"/>
                  </a:cubicBezTo>
                  <a:cubicBezTo>
                    <a:pt x="771" y="867"/>
                    <a:pt x="762" y="839"/>
                    <a:pt x="752" y="847"/>
                  </a:cubicBezTo>
                  <a:cubicBezTo>
                    <a:pt x="752" y="848"/>
                    <a:pt x="762" y="863"/>
                    <a:pt x="760" y="867"/>
                  </a:cubicBezTo>
                  <a:cubicBezTo>
                    <a:pt x="759" y="871"/>
                    <a:pt x="752" y="862"/>
                    <a:pt x="751" y="861"/>
                  </a:cubicBezTo>
                  <a:cubicBezTo>
                    <a:pt x="747" y="859"/>
                    <a:pt x="743" y="859"/>
                    <a:pt x="741" y="860"/>
                  </a:cubicBezTo>
                  <a:cubicBezTo>
                    <a:pt x="736" y="862"/>
                    <a:pt x="740" y="878"/>
                    <a:pt x="738" y="881"/>
                  </a:cubicBezTo>
                  <a:cubicBezTo>
                    <a:pt x="737" y="882"/>
                    <a:pt x="736" y="882"/>
                    <a:pt x="735" y="881"/>
                  </a:cubicBezTo>
                  <a:cubicBezTo>
                    <a:pt x="729" y="873"/>
                    <a:pt x="725" y="894"/>
                    <a:pt x="725" y="894"/>
                  </a:cubicBezTo>
                  <a:cubicBezTo>
                    <a:pt x="722" y="895"/>
                    <a:pt x="720" y="891"/>
                    <a:pt x="719" y="891"/>
                  </a:cubicBezTo>
                  <a:cubicBezTo>
                    <a:pt x="715" y="894"/>
                    <a:pt x="720" y="897"/>
                    <a:pt x="723" y="897"/>
                  </a:cubicBezTo>
                  <a:cubicBezTo>
                    <a:pt x="724" y="897"/>
                    <a:pt x="720" y="903"/>
                    <a:pt x="719" y="903"/>
                  </a:cubicBezTo>
                  <a:cubicBezTo>
                    <a:pt x="713" y="905"/>
                    <a:pt x="710" y="888"/>
                    <a:pt x="704" y="888"/>
                  </a:cubicBezTo>
                  <a:cubicBezTo>
                    <a:pt x="702" y="889"/>
                    <a:pt x="690" y="889"/>
                    <a:pt x="694" y="893"/>
                  </a:cubicBezTo>
                  <a:cubicBezTo>
                    <a:pt x="693" y="893"/>
                    <a:pt x="691" y="893"/>
                    <a:pt x="688" y="895"/>
                  </a:cubicBezTo>
                  <a:cubicBezTo>
                    <a:pt x="687" y="896"/>
                    <a:pt x="693" y="905"/>
                    <a:pt x="692" y="906"/>
                  </a:cubicBezTo>
                  <a:cubicBezTo>
                    <a:pt x="691" y="908"/>
                    <a:pt x="678" y="902"/>
                    <a:pt x="675" y="903"/>
                  </a:cubicBezTo>
                  <a:cubicBezTo>
                    <a:pt x="675" y="903"/>
                    <a:pt x="680" y="905"/>
                    <a:pt x="680" y="906"/>
                  </a:cubicBezTo>
                  <a:cubicBezTo>
                    <a:pt x="682" y="909"/>
                    <a:pt x="674" y="921"/>
                    <a:pt x="668" y="926"/>
                  </a:cubicBezTo>
                  <a:cubicBezTo>
                    <a:pt x="667" y="927"/>
                    <a:pt x="664" y="921"/>
                    <a:pt x="662" y="921"/>
                  </a:cubicBezTo>
                  <a:cubicBezTo>
                    <a:pt x="654" y="922"/>
                    <a:pt x="665" y="927"/>
                    <a:pt x="663" y="927"/>
                  </a:cubicBezTo>
                  <a:cubicBezTo>
                    <a:pt x="659" y="928"/>
                    <a:pt x="650" y="923"/>
                    <a:pt x="647" y="929"/>
                  </a:cubicBezTo>
                  <a:cubicBezTo>
                    <a:pt x="646" y="930"/>
                    <a:pt x="654" y="931"/>
                    <a:pt x="654" y="931"/>
                  </a:cubicBezTo>
                  <a:cubicBezTo>
                    <a:pt x="658" y="931"/>
                    <a:pt x="678" y="927"/>
                    <a:pt x="677" y="935"/>
                  </a:cubicBezTo>
                  <a:cubicBezTo>
                    <a:pt x="677" y="936"/>
                    <a:pt x="660" y="933"/>
                    <a:pt x="660" y="937"/>
                  </a:cubicBezTo>
                  <a:cubicBezTo>
                    <a:pt x="659" y="942"/>
                    <a:pt x="672" y="939"/>
                    <a:pt x="672" y="941"/>
                  </a:cubicBezTo>
                  <a:cubicBezTo>
                    <a:pt x="670" y="948"/>
                    <a:pt x="665" y="942"/>
                    <a:pt x="661" y="942"/>
                  </a:cubicBezTo>
                  <a:cubicBezTo>
                    <a:pt x="658" y="943"/>
                    <a:pt x="668" y="947"/>
                    <a:pt x="668" y="947"/>
                  </a:cubicBezTo>
                  <a:cubicBezTo>
                    <a:pt x="668" y="949"/>
                    <a:pt x="660" y="953"/>
                    <a:pt x="659" y="954"/>
                  </a:cubicBezTo>
                  <a:cubicBezTo>
                    <a:pt x="654" y="954"/>
                    <a:pt x="650" y="944"/>
                    <a:pt x="647" y="946"/>
                  </a:cubicBezTo>
                  <a:cubicBezTo>
                    <a:pt x="639" y="953"/>
                    <a:pt x="648" y="951"/>
                    <a:pt x="650" y="952"/>
                  </a:cubicBezTo>
                  <a:cubicBezTo>
                    <a:pt x="653" y="955"/>
                    <a:pt x="641" y="965"/>
                    <a:pt x="642" y="961"/>
                  </a:cubicBezTo>
                  <a:cubicBezTo>
                    <a:pt x="645" y="952"/>
                    <a:pt x="639" y="963"/>
                    <a:pt x="637" y="963"/>
                  </a:cubicBezTo>
                  <a:cubicBezTo>
                    <a:pt x="631" y="965"/>
                    <a:pt x="625" y="962"/>
                    <a:pt x="631" y="958"/>
                  </a:cubicBezTo>
                  <a:cubicBezTo>
                    <a:pt x="633" y="957"/>
                    <a:pt x="639" y="956"/>
                    <a:pt x="637" y="955"/>
                  </a:cubicBezTo>
                  <a:cubicBezTo>
                    <a:pt x="629" y="952"/>
                    <a:pt x="622" y="958"/>
                    <a:pt x="622" y="958"/>
                  </a:cubicBezTo>
                  <a:cubicBezTo>
                    <a:pt x="612" y="954"/>
                    <a:pt x="621" y="927"/>
                    <a:pt x="598" y="930"/>
                  </a:cubicBezTo>
                  <a:cubicBezTo>
                    <a:pt x="598" y="930"/>
                    <a:pt x="604" y="935"/>
                    <a:pt x="605" y="935"/>
                  </a:cubicBezTo>
                  <a:cubicBezTo>
                    <a:pt x="608" y="937"/>
                    <a:pt x="615" y="950"/>
                    <a:pt x="614" y="954"/>
                  </a:cubicBezTo>
                  <a:cubicBezTo>
                    <a:pt x="612" y="960"/>
                    <a:pt x="628" y="967"/>
                    <a:pt x="625" y="978"/>
                  </a:cubicBezTo>
                  <a:cubicBezTo>
                    <a:pt x="624" y="982"/>
                    <a:pt x="612" y="976"/>
                    <a:pt x="614" y="979"/>
                  </a:cubicBezTo>
                  <a:cubicBezTo>
                    <a:pt x="618" y="984"/>
                    <a:pt x="630" y="981"/>
                    <a:pt x="631" y="989"/>
                  </a:cubicBezTo>
                  <a:cubicBezTo>
                    <a:pt x="631" y="989"/>
                    <a:pt x="627" y="990"/>
                    <a:pt x="626" y="991"/>
                  </a:cubicBezTo>
                  <a:cubicBezTo>
                    <a:pt x="623" y="993"/>
                    <a:pt x="621" y="998"/>
                    <a:pt x="621" y="990"/>
                  </a:cubicBezTo>
                  <a:cubicBezTo>
                    <a:pt x="621" y="989"/>
                    <a:pt x="621" y="985"/>
                    <a:pt x="619" y="988"/>
                  </a:cubicBezTo>
                  <a:cubicBezTo>
                    <a:pt x="614" y="994"/>
                    <a:pt x="618" y="999"/>
                    <a:pt x="611" y="1005"/>
                  </a:cubicBezTo>
                  <a:cubicBezTo>
                    <a:pt x="608" y="1007"/>
                    <a:pt x="601" y="1000"/>
                    <a:pt x="595" y="1006"/>
                  </a:cubicBezTo>
                  <a:cubicBezTo>
                    <a:pt x="593" y="1009"/>
                    <a:pt x="600" y="1012"/>
                    <a:pt x="598" y="1012"/>
                  </a:cubicBezTo>
                  <a:cubicBezTo>
                    <a:pt x="584" y="1014"/>
                    <a:pt x="573" y="989"/>
                    <a:pt x="565" y="1005"/>
                  </a:cubicBezTo>
                  <a:cubicBezTo>
                    <a:pt x="563" y="1010"/>
                    <a:pt x="571" y="1031"/>
                    <a:pt x="577" y="1037"/>
                  </a:cubicBezTo>
                  <a:cubicBezTo>
                    <a:pt x="580" y="1040"/>
                    <a:pt x="593" y="1038"/>
                    <a:pt x="594" y="1042"/>
                  </a:cubicBezTo>
                  <a:cubicBezTo>
                    <a:pt x="595" y="1043"/>
                    <a:pt x="591" y="1044"/>
                    <a:pt x="589" y="1045"/>
                  </a:cubicBezTo>
                  <a:cubicBezTo>
                    <a:pt x="581" y="1049"/>
                    <a:pt x="586" y="1039"/>
                    <a:pt x="581" y="1045"/>
                  </a:cubicBezTo>
                  <a:cubicBezTo>
                    <a:pt x="575" y="1051"/>
                    <a:pt x="577" y="1075"/>
                    <a:pt x="577" y="1075"/>
                  </a:cubicBezTo>
                  <a:cubicBezTo>
                    <a:pt x="577" y="1078"/>
                    <a:pt x="568" y="1081"/>
                    <a:pt x="567" y="1084"/>
                  </a:cubicBezTo>
                  <a:cubicBezTo>
                    <a:pt x="565" y="1092"/>
                    <a:pt x="568" y="1110"/>
                    <a:pt x="571" y="1115"/>
                  </a:cubicBezTo>
                  <a:cubicBezTo>
                    <a:pt x="571" y="1115"/>
                    <a:pt x="570" y="1117"/>
                    <a:pt x="571" y="1118"/>
                  </a:cubicBezTo>
                  <a:cubicBezTo>
                    <a:pt x="576" y="1120"/>
                    <a:pt x="588" y="1114"/>
                    <a:pt x="580" y="1129"/>
                  </a:cubicBezTo>
                  <a:cubicBezTo>
                    <a:pt x="580" y="1131"/>
                    <a:pt x="579" y="1131"/>
                    <a:pt x="578" y="1131"/>
                  </a:cubicBezTo>
                  <a:cubicBezTo>
                    <a:pt x="571" y="1128"/>
                    <a:pt x="555" y="1108"/>
                    <a:pt x="548" y="1117"/>
                  </a:cubicBezTo>
                  <a:cubicBezTo>
                    <a:pt x="547" y="1119"/>
                    <a:pt x="554" y="1119"/>
                    <a:pt x="554" y="1119"/>
                  </a:cubicBezTo>
                  <a:cubicBezTo>
                    <a:pt x="571" y="1122"/>
                    <a:pt x="537" y="1130"/>
                    <a:pt x="549" y="1131"/>
                  </a:cubicBezTo>
                  <a:cubicBezTo>
                    <a:pt x="551" y="1131"/>
                    <a:pt x="557" y="1131"/>
                    <a:pt x="558" y="1133"/>
                  </a:cubicBezTo>
                  <a:cubicBezTo>
                    <a:pt x="560" y="1136"/>
                    <a:pt x="549" y="1135"/>
                    <a:pt x="549" y="1135"/>
                  </a:cubicBezTo>
                  <a:cubicBezTo>
                    <a:pt x="548" y="1134"/>
                    <a:pt x="542" y="1135"/>
                    <a:pt x="541" y="1138"/>
                  </a:cubicBezTo>
                  <a:cubicBezTo>
                    <a:pt x="541" y="1138"/>
                    <a:pt x="550" y="1140"/>
                    <a:pt x="551" y="1140"/>
                  </a:cubicBezTo>
                  <a:cubicBezTo>
                    <a:pt x="553" y="1141"/>
                    <a:pt x="539" y="1142"/>
                    <a:pt x="545" y="1143"/>
                  </a:cubicBezTo>
                  <a:cubicBezTo>
                    <a:pt x="560" y="1146"/>
                    <a:pt x="547" y="1164"/>
                    <a:pt x="548" y="1169"/>
                  </a:cubicBezTo>
                  <a:cubicBezTo>
                    <a:pt x="549" y="1171"/>
                    <a:pt x="560" y="1176"/>
                    <a:pt x="560" y="1177"/>
                  </a:cubicBezTo>
                  <a:cubicBezTo>
                    <a:pt x="560" y="1177"/>
                    <a:pt x="560" y="1180"/>
                    <a:pt x="557" y="1181"/>
                  </a:cubicBezTo>
                  <a:cubicBezTo>
                    <a:pt x="555" y="1181"/>
                    <a:pt x="545" y="1175"/>
                    <a:pt x="544" y="1176"/>
                  </a:cubicBezTo>
                  <a:cubicBezTo>
                    <a:pt x="544" y="1177"/>
                    <a:pt x="553" y="1184"/>
                    <a:pt x="554" y="1185"/>
                  </a:cubicBezTo>
                  <a:cubicBezTo>
                    <a:pt x="555" y="1187"/>
                    <a:pt x="548" y="1204"/>
                    <a:pt x="549" y="1206"/>
                  </a:cubicBezTo>
                  <a:cubicBezTo>
                    <a:pt x="552" y="1211"/>
                    <a:pt x="552" y="1204"/>
                    <a:pt x="552" y="1211"/>
                  </a:cubicBezTo>
                  <a:cubicBezTo>
                    <a:pt x="552" y="1214"/>
                    <a:pt x="552" y="1218"/>
                    <a:pt x="550" y="1219"/>
                  </a:cubicBezTo>
                  <a:cubicBezTo>
                    <a:pt x="549" y="1220"/>
                    <a:pt x="558" y="1219"/>
                    <a:pt x="558" y="1219"/>
                  </a:cubicBezTo>
                  <a:cubicBezTo>
                    <a:pt x="560" y="1224"/>
                    <a:pt x="549" y="1225"/>
                    <a:pt x="549" y="1230"/>
                  </a:cubicBezTo>
                  <a:cubicBezTo>
                    <a:pt x="549" y="1237"/>
                    <a:pt x="564" y="1243"/>
                    <a:pt x="561" y="1253"/>
                  </a:cubicBezTo>
                  <a:cubicBezTo>
                    <a:pt x="560" y="1257"/>
                    <a:pt x="567" y="1253"/>
                    <a:pt x="566" y="1256"/>
                  </a:cubicBezTo>
                  <a:cubicBezTo>
                    <a:pt x="565" y="1260"/>
                    <a:pt x="552" y="1263"/>
                    <a:pt x="552" y="1266"/>
                  </a:cubicBezTo>
                  <a:cubicBezTo>
                    <a:pt x="553" y="1268"/>
                    <a:pt x="558" y="1265"/>
                    <a:pt x="559" y="1266"/>
                  </a:cubicBezTo>
                  <a:cubicBezTo>
                    <a:pt x="566" y="1269"/>
                    <a:pt x="565" y="1276"/>
                    <a:pt x="566" y="1277"/>
                  </a:cubicBezTo>
                  <a:cubicBezTo>
                    <a:pt x="568" y="1281"/>
                    <a:pt x="587" y="1269"/>
                    <a:pt x="594" y="1278"/>
                  </a:cubicBezTo>
                  <a:cubicBezTo>
                    <a:pt x="596" y="1281"/>
                    <a:pt x="590" y="1281"/>
                    <a:pt x="590" y="1282"/>
                  </a:cubicBezTo>
                  <a:cubicBezTo>
                    <a:pt x="588" y="1285"/>
                    <a:pt x="592" y="1291"/>
                    <a:pt x="594" y="1292"/>
                  </a:cubicBezTo>
                  <a:cubicBezTo>
                    <a:pt x="600" y="1301"/>
                    <a:pt x="605" y="1275"/>
                    <a:pt x="621" y="1280"/>
                  </a:cubicBezTo>
                  <a:cubicBezTo>
                    <a:pt x="623" y="1281"/>
                    <a:pt x="622" y="1282"/>
                    <a:pt x="623" y="1284"/>
                  </a:cubicBezTo>
                  <a:cubicBezTo>
                    <a:pt x="625" y="1289"/>
                    <a:pt x="631" y="1306"/>
                    <a:pt x="640" y="1310"/>
                  </a:cubicBezTo>
                  <a:cubicBezTo>
                    <a:pt x="641" y="1310"/>
                    <a:pt x="648" y="1311"/>
                    <a:pt x="648" y="1312"/>
                  </a:cubicBezTo>
                  <a:cubicBezTo>
                    <a:pt x="649" y="1314"/>
                    <a:pt x="642" y="1313"/>
                    <a:pt x="645" y="1318"/>
                  </a:cubicBezTo>
                  <a:cubicBezTo>
                    <a:pt x="645" y="1318"/>
                    <a:pt x="645" y="1319"/>
                    <a:pt x="646" y="1319"/>
                  </a:cubicBezTo>
                  <a:cubicBezTo>
                    <a:pt x="648" y="1319"/>
                    <a:pt x="651" y="1315"/>
                    <a:pt x="653" y="1315"/>
                  </a:cubicBezTo>
                  <a:cubicBezTo>
                    <a:pt x="656" y="1315"/>
                    <a:pt x="679" y="1331"/>
                    <a:pt x="679" y="1332"/>
                  </a:cubicBezTo>
                  <a:cubicBezTo>
                    <a:pt x="680" y="1335"/>
                    <a:pt x="673" y="1334"/>
                    <a:pt x="672" y="1333"/>
                  </a:cubicBezTo>
                  <a:cubicBezTo>
                    <a:pt x="665" y="1331"/>
                    <a:pt x="660" y="1318"/>
                    <a:pt x="653" y="1321"/>
                  </a:cubicBezTo>
                  <a:cubicBezTo>
                    <a:pt x="650" y="1323"/>
                    <a:pt x="665" y="1335"/>
                    <a:pt x="665" y="1336"/>
                  </a:cubicBezTo>
                  <a:cubicBezTo>
                    <a:pt x="665" y="1338"/>
                    <a:pt x="661" y="1335"/>
                    <a:pt x="669" y="1343"/>
                  </a:cubicBezTo>
                  <a:cubicBezTo>
                    <a:pt x="671" y="1346"/>
                    <a:pt x="674" y="1341"/>
                    <a:pt x="674" y="1342"/>
                  </a:cubicBezTo>
                  <a:cubicBezTo>
                    <a:pt x="674" y="1343"/>
                    <a:pt x="675" y="1357"/>
                    <a:pt x="677" y="1356"/>
                  </a:cubicBezTo>
                  <a:cubicBezTo>
                    <a:pt x="682" y="1355"/>
                    <a:pt x="675" y="1338"/>
                    <a:pt x="690" y="1348"/>
                  </a:cubicBezTo>
                  <a:cubicBezTo>
                    <a:pt x="691" y="1350"/>
                    <a:pt x="689" y="1358"/>
                    <a:pt x="692" y="1362"/>
                  </a:cubicBezTo>
                  <a:cubicBezTo>
                    <a:pt x="693" y="1363"/>
                    <a:pt x="696" y="1367"/>
                    <a:pt x="696" y="1366"/>
                  </a:cubicBezTo>
                  <a:cubicBezTo>
                    <a:pt x="696" y="1363"/>
                    <a:pt x="689" y="1347"/>
                    <a:pt x="697" y="1349"/>
                  </a:cubicBezTo>
                  <a:cubicBezTo>
                    <a:pt x="702" y="1351"/>
                    <a:pt x="699" y="1359"/>
                    <a:pt x="701" y="1364"/>
                  </a:cubicBezTo>
                  <a:cubicBezTo>
                    <a:pt x="704" y="1374"/>
                    <a:pt x="711" y="1376"/>
                    <a:pt x="716" y="1382"/>
                  </a:cubicBezTo>
                  <a:cubicBezTo>
                    <a:pt x="716" y="1383"/>
                    <a:pt x="718" y="1384"/>
                    <a:pt x="718" y="1382"/>
                  </a:cubicBezTo>
                  <a:cubicBezTo>
                    <a:pt x="720" y="1376"/>
                    <a:pt x="721" y="1386"/>
                    <a:pt x="720" y="1390"/>
                  </a:cubicBezTo>
                  <a:cubicBezTo>
                    <a:pt x="719" y="1396"/>
                    <a:pt x="705" y="1375"/>
                    <a:pt x="704" y="1376"/>
                  </a:cubicBezTo>
                  <a:cubicBezTo>
                    <a:pt x="700" y="1380"/>
                    <a:pt x="707" y="1387"/>
                    <a:pt x="704" y="1391"/>
                  </a:cubicBezTo>
                  <a:cubicBezTo>
                    <a:pt x="701" y="1395"/>
                    <a:pt x="690" y="1395"/>
                    <a:pt x="690" y="1399"/>
                  </a:cubicBezTo>
                  <a:cubicBezTo>
                    <a:pt x="690" y="1400"/>
                    <a:pt x="725" y="1391"/>
                    <a:pt x="721" y="1403"/>
                  </a:cubicBezTo>
                  <a:cubicBezTo>
                    <a:pt x="719" y="1408"/>
                    <a:pt x="710" y="1398"/>
                    <a:pt x="706" y="1402"/>
                  </a:cubicBezTo>
                  <a:cubicBezTo>
                    <a:pt x="695" y="1413"/>
                    <a:pt x="687" y="1415"/>
                    <a:pt x="684" y="1418"/>
                  </a:cubicBezTo>
                  <a:cubicBezTo>
                    <a:pt x="680" y="1422"/>
                    <a:pt x="670" y="1438"/>
                    <a:pt x="659" y="1442"/>
                  </a:cubicBezTo>
                  <a:cubicBezTo>
                    <a:pt x="657" y="1443"/>
                    <a:pt x="650" y="1439"/>
                    <a:pt x="649" y="1441"/>
                  </a:cubicBezTo>
                  <a:cubicBezTo>
                    <a:pt x="647" y="1445"/>
                    <a:pt x="658" y="1449"/>
                    <a:pt x="655" y="1452"/>
                  </a:cubicBezTo>
                  <a:cubicBezTo>
                    <a:pt x="653" y="1452"/>
                    <a:pt x="651" y="1453"/>
                    <a:pt x="650" y="1452"/>
                  </a:cubicBezTo>
                  <a:cubicBezTo>
                    <a:pt x="648" y="1452"/>
                    <a:pt x="638" y="1451"/>
                    <a:pt x="640" y="1449"/>
                  </a:cubicBezTo>
                  <a:cubicBezTo>
                    <a:pt x="646" y="1439"/>
                    <a:pt x="636" y="1449"/>
                    <a:pt x="633" y="1451"/>
                  </a:cubicBezTo>
                  <a:cubicBezTo>
                    <a:pt x="631" y="1453"/>
                    <a:pt x="626" y="1449"/>
                    <a:pt x="626" y="1451"/>
                  </a:cubicBezTo>
                  <a:cubicBezTo>
                    <a:pt x="626" y="1452"/>
                    <a:pt x="639" y="1460"/>
                    <a:pt x="638" y="1461"/>
                  </a:cubicBezTo>
                  <a:cubicBezTo>
                    <a:pt x="634" y="1465"/>
                    <a:pt x="605" y="1459"/>
                    <a:pt x="603" y="1450"/>
                  </a:cubicBezTo>
                  <a:cubicBezTo>
                    <a:pt x="602" y="1443"/>
                    <a:pt x="611" y="1436"/>
                    <a:pt x="611" y="1433"/>
                  </a:cubicBezTo>
                  <a:cubicBezTo>
                    <a:pt x="611" y="1429"/>
                    <a:pt x="605" y="1419"/>
                    <a:pt x="603" y="1416"/>
                  </a:cubicBezTo>
                  <a:cubicBezTo>
                    <a:pt x="600" y="1411"/>
                    <a:pt x="601" y="1408"/>
                    <a:pt x="600" y="1409"/>
                  </a:cubicBezTo>
                  <a:cubicBezTo>
                    <a:pt x="598" y="1410"/>
                    <a:pt x="602" y="1421"/>
                    <a:pt x="599" y="1421"/>
                  </a:cubicBezTo>
                  <a:cubicBezTo>
                    <a:pt x="598" y="1420"/>
                    <a:pt x="592" y="1414"/>
                    <a:pt x="592" y="1413"/>
                  </a:cubicBezTo>
                  <a:cubicBezTo>
                    <a:pt x="592" y="1410"/>
                    <a:pt x="604" y="1398"/>
                    <a:pt x="589" y="1394"/>
                  </a:cubicBezTo>
                  <a:cubicBezTo>
                    <a:pt x="586" y="1393"/>
                    <a:pt x="587" y="1400"/>
                    <a:pt x="584" y="1402"/>
                  </a:cubicBezTo>
                  <a:cubicBezTo>
                    <a:pt x="581" y="1405"/>
                    <a:pt x="573" y="1401"/>
                    <a:pt x="569" y="1402"/>
                  </a:cubicBezTo>
                  <a:cubicBezTo>
                    <a:pt x="567" y="1403"/>
                    <a:pt x="578" y="1405"/>
                    <a:pt x="578" y="1405"/>
                  </a:cubicBezTo>
                  <a:cubicBezTo>
                    <a:pt x="582" y="1407"/>
                    <a:pt x="576" y="1413"/>
                    <a:pt x="578" y="1418"/>
                  </a:cubicBezTo>
                  <a:cubicBezTo>
                    <a:pt x="579" y="1420"/>
                    <a:pt x="581" y="1427"/>
                    <a:pt x="584" y="1427"/>
                  </a:cubicBezTo>
                  <a:cubicBezTo>
                    <a:pt x="584" y="1427"/>
                    <a:pt x="583" y="1420"/>
                    <a:pt x="582" y="1418"/>
                  </a:cubicBezTo>
                  <a:cubicBezTo>
                    <a:pt x="580" y="1414"/>
                    <a:pt x="584" y="1408"/>
                    <a:pt x="585" y="1407"/>
                  </a:cubicBezTo>
                  <a:cubicBezTo>
                    <a:pt x="587" y="1402"/>
                    <a:pt x="590" y="1407"/>
                    <a:pt x="589" y="1409"/>
                  </a:cubicBezTo>
                  <a:cubicBezTo>
                    <a:pt x="587" y="1425"/>
                    <a:pt x="609" y="1426"/>
                    <a:pt x="606" y="1433"/>
                  </a:cubicBezTo>
                  <a:cubicBezTo>
                    <a:pt x="595" y="1462"/>
                    <a:pt x="570" y="1416"/>
                    <a:pt x="570" y="1415"/>
                  </a:cubicBezTo>
                  <a:cubicBezTo>
                    <a:pt x="564" y="1414"/>
                    <a:pt x="568" y="1424"/>
                    <a:pt x="569" y="1424"/>
                  </a:cubicBezTo>
                  <a:cubicBezTo>
                    <a:pt x="572" y="1440"/>
                    <a:pt x="571" y="1437"/>
                    <a:pt x="568" y="1442"/>
                  </a:cubicBezTo>
                  <a:cubicBezTo>
                    <a:pt x="568" y="1443"/>
                    <a:pt x="542" y="1423"/>
                    <a:pt x="541" y="1423"/>
                  </a:cubicBezTo>
                  <a:cubicBezTo>
                    <a:pt x="538" y="1422"/>
                    <a:pt x="543" y="1429"/>
                    <a:pt x="542" y="1431"/>
                  </a:cubicBezTo>
                  <a:cubicBezTo>
                    <a:pt x="541" y="1434"/>
                    <a:pt x="536" y="1432"/>
                    <a:pt x="535" y="1431"/>
                  </a:cubicBezTo>
                  <a:cubicBezTo>
                    <a:pt x="511" y="1423"/>
                    <a:pt x="515" y="1436"/>
                    <a:pt x="507" y="1433"/>
                  </a:cubicBezTo>
                  <a:cubicBezTo>
                    <a:pt x="504" y="1432"/>
                    <a:pt x="501" y="1424"/>
                    <a:pt x="497" y="1422"/>
                  </a:cubicBezTo>
                  <a:cubicBezTo>
                    <a:pt x="497" y="1422"/>
                    <a:pt x="496" y="1422"/>
                    <a:pt x="495" y="1422"/>
                  </a:cubicBezTo>
                  <a:cubicBezTo>
                    <a:pt x="493" y="1423"/>
                    <a:pt x="490" y="1438"/>
                    <a:pt x="490" y="1438"/>
                  </a:cubicBezTo>
                  <a:cubicBezTo>
                    <a:pt x="476" y="1443"/>
                    <a:pt x="472" y="1438"/>
                    <a:pt x="463" y="1442"/>
                  </a:cubicBezTo>
                  <a:cubicBezTo>
                    <a:pt x="459" y="1445"/>
                    <a:pt x="450" y="1433"/>
                    <a:pt x="449" y="1438"/>
                  </a:cubicBezTo>
                  <a:cubicBezTo>
                    <a:pt x="445" y="1450"/>
                    <a:pt x="500" y="1443"/>
                    <a:pt x="500" y="1443"/>
                  </a:cubicBezTo>
                  <a:cubicBezTo>
                    <a:pt x="501" y="1443"/>
                    <a:pt x="502" y="1441"/>
                    <a:pt x="503" y="1441"/>
                  </a:cubicBezTo>
                  <a:cubicBezTo>
                    <a:pt x="506" y="1441"/>
                    <a:pt x="525" y="1461"/>
                    <a:pt x="526" y="1453"/>
                  </a:cubicBezTo>
                  <a:cubicBezTo>
                    <a:pt x="527" y="1452"/>
                    <a:pt x="509" y="1442"/>
                    <a:pt x="510" y="1441"/>
                  </a:cubicBezTo>
                  <a:cubicBezTo>
                    <a:pt x="523" y="1427"/>
                    <a:pt x="532" y="1454"/>
                    <a:pt x="539" y="1458"/>
                  </a:cubicBezTo>
                  <a:cubicBezTo>
                    <a:pt x="543" y="1459"/>
                    <a:pt x="549" y="1454"/>
                    <a:pt x="554" y="1457"/>
                  </a:cubicBezTo>
                  <a:cubicBezTo>
                    <a:pt x="556" y="1458"/>
                    <a:pt x="563" y="1457"/>
                    <a:pt x="564" y="1460"/>
                  </a:cubicBezTo>
                  <a:cubicBezTo>
                    <a:pt x="566" y="1464"/>
                    <a:pt x="559" y="1463"/>
                    <a:pt x="558" y="1464"/>
                  </a:cubicBezTo>
                  <a:cubicBezTo>
                    <a:pt x="557" y="1464"/>
                    <a:pt x="558" y="1466"/>
                    <a:pt x="559" y="1466"/>
                  </a:cubicBezTo>
                  <a:cubicBezTo>
                    <a:pt x="560" y="1468"/>
                    <a:pt x="553" y="1471"/>
                    <a:pt x="555" y="1472"/>
                  </a:cubicBezTo>
                  <a:cubicBezTo>
                    <a:pt x="556" y="1473"/>
                    <a:pt x="570" y="1475"/>
                    <a:pt x="571" y="1474"/>
                  </a:cubicBezTo>
                  <a:cubicBezTo>
                    <a:pt x="572" y="1473"/>
                    <a:pt x="565" y="1465"/>
                    <a:pt x="567" y="1463"/>
                  </a:cubicBezTo>
                  <a:cubicBezTo>
                    <a:pt x="573" y="1458"/>
                    <a:pt x="589" y="1477"/>
                    <a:pt x="589" y="1477"/>
                  </a:cubicBezTo>
                  <a:cubicBezTo>
                    <a:pt x="592" y="1476"/>
                    <a:pt x="587" y="1469"/>
                    <a:pt x="589" y="1468"/>
                  </a:cubicBezTo>
                  <a:cubicBezTo>
                    <a:pt x="593" y="1467"/>
                    <a:pt x="611" y="1477"/>
                    <a:pt x="614" y="1477"/>
                  </a:cubicBezTo>
                  <a:cubicBezTo>
                    <a:pt x="620" y="1479"/>
                    <a:pt x="617" y="1466"/>
                    <a:pt x="624" y="1465"/>
                  </a:cubicBezTo>
                  <a:cubicBezTo>
                    <a:pt x="628" y="1464"/>
                    <a:pt x="642" y="1467"/>
                    <a:pt x="645" y="1464"/>
                  </a:cubicBezTo>
                  <a:cubicBezTo>
                    <a:pt x="648" y="1458"/>
                    <a:pt x="649" y="1456"/>
                    <a:pt x="656" y="1456"/>
                  </a:cubicBezTo>
                  <a:cubicBezTo>
                    <a:pt x="663" y="1455"/>
                    <a:pt x="664" y="1463"/>
                    <a:pt x="667" y="1462"/>
                  </a:cubicBezTo>
                  <a:cubicBezTo>
                    <a:pt x="671" y="1460"/>
                    <a:pt x="661" y="1452"/>
                    <a:pt x="663" y="1447"/>
                  </a:cubicBezTo>
                  <a:cubicBezTo>
                    <a:pt x="664" y="1445"/>
                    <a:pt x="671" y="1448"/>
                    <a:pt x="672" y="1449"/>
                  </a:cubicBezTo>
                  <a:cubicBezTo>
                    <a:pt x="674" y="1451"/>
                    <a:pt x="682" y="1461"/>
                    <a:pt x="683" y="1463"/>
                  </a:cubicBezTo>
                  <a:cubicBezTo>
                    <a:pt x="684" y="1465"/>
                    <a:pt x="678" y="1466"/>
                    <a:pt x="676" y="1466"/>
                  </a:cubicBezTo>
                  <a:cubicBezTo>
                    <a:pt x="667" y="1467"/>
                    <a:pt x="653" y="1460"/>
                    <a:pt x="650" y="1465"/>
                  </a:cubicBezTo>
                  <a:cubicBezTo>
                    <a:pt x="648" y="1467"/>
                    <a:pt x="649" y="1471"/>
                    <a:pt x="651" y="1472"/>
                  </a:cubicBezTo>
                  <a:cubicBezTo>
                    <a:pt x="654" y="1473"/>
                    <a:pt x="667" y="1481"/>
                    <a:pt x="663" y="1481"/>
                  </a:cubicBezTo>
                  <a:cubicBezTo>
                    <a:pt x="662" y="1481"/>
                    <a:pt x="659" y="1480"/>
                    <a:pt x="658" y="1479"/>
                  </a:cubicBezTo>
                  <a:cubicBezTo>
                    <a:pt x="648" y="1472"/>
                    <a:pt x="656" y="1484"/>
                    <a:pt x="659" y="1484"/>
                  </a:cubicBezTo>
                  <a:cubicBezTo>
                    <a:pt x="661" y="1483"/>
                    <a:pt x="663" y="1485"/>
                    <a:pt x="663" y="1486"/>
                  </a:cubicBezTo>
                  <a:cubicBezTo>
                    <a:pt x="663" y="1490"/>
                    <a:pt x="644" y="1495"/>
                    <a:pt x="629" y="1501"/>
                  </a:cubicBezTo>
                  <a:cubicBezTo>
                    <a:pt x="624" y="1503"/>
                    <a:pt x="619" y="1528"/>
                    <a:pt x="616" y="1529"/>
                  </a:cubicBezTo>
                  <a:cubicBezTo>
                    <a:pt x="613" y="1530"/>
                    <a:pt x="613" y="1523"/>
                    <a:pt x="613" y="1522"/>
                  </a:cubicBezTo>
                  <a:cubicBezTo>
                    <a:pt x="612" y="1518"/>
                    <a:pt x="608" y="1522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ubicBezTo>
                    <a:pt x="607" y="1519"/>
                    <a:pt x="610" y="1528"/>
                    <a:pt x="603" y="1521"/>
                  </a:cubicBezTo>
                  <a:cubicBezTo>
                    <a:pt x="601" y="1519"/>
                    <a:pt x="606" y="1490"/>
                    <a:pt x="604" y="1491"/>
                  </a:cubicBezTo>
                  <a:cubicBezTo>
                    <a:pt x="599" y="1492"/>
                    <a:pt x="601" y="1502"/>
                    <a:pt x="599" y="1502"/>
                  </a:cubicBezTo>
                  <a:cubicBezTo>
                    <a:pt x="593" y="1500"/>
                    <a:pt x="599" y="1481"/>
                    <a:pt x="595" y="1485"/>
                  </a:cubicBezTo>
                  <a:cubicBezTo>
                    <a:pt x="583" y="1498"/>
                    <a:pt x="599" y="1523"/>
                    <a:pt x="585" y="1523"/>
                  </a:cubicBezTo>
                  <a:cubicBezTo>
                    <a:pt x="584" y="1523"/>
                    <a:pt x="590" y="1530"/>
                    <a:pt x="587" y="1531"/>
                  </a:cubicBezTo>
                  <a:cubicBezTo>
                    <a:pt x="585" y="1531"/>
                    <a:pt x="578" y="1522"/>
                    <a:pt x="576" y="1524"/>
                  </a:cubicBezTo>
                  <a:cubicBezTo>
                    <a:pt x="572" y="1527"/>
                    <a:pt x="584" y="1538"/>
                    <a:pt x="579" y="1539"/>
                  </a:cubicBezTo>
                  <a:cubicBezTo>
                    <a:pt x="578" y="1539"/>
                    <a:pt x="571" y="1539"/>
                    <a:pt x="570" y="1538"/>
                  </a:cubicBezTo>
                  <a:cubicBezTo>
                    <a:pt x="569" y="1538"/>
                    <a:pt x="567" y="1536"/>
                    <a:pt x="566" y="1537"/>
                  </a:cubicBezTo>
                  <a:cubicBezTo>
                    <a:pt x="565" y="1539"/>
                    <a:pt x="570" y="1540"/>
                    <a:pt x="569" y="1542"/>
                  </a:cubicBezTo>
                  <a:cubicBezTo>
                    <a:pt x="569" y="1546"/>
                    <a:pt x="567" y="1545"/>
                    <a:pt x="565" y="1544"/>
                  </a:cubicBezTo>
                  <a:cubicBezTo>
                    <a:pt x="560" y="1543"/>
                    <a:pt x="561" y="1548"/>
                    <a:pt x="560" y="1548"/>
                  </a:cubicBezTo>
                  <a:cubicBezTo>
                    <a:pt x="550" y="1549"/>
                    <a:pt x="546" y="1541"/>
                    <a:pt x="539" y="1544"/>
                  </a:cubicBezTo>
                  <a:cubicBezTo>
                    <a:pt x="537" y="1545"/>
                    <a:pt x="541" y="1546"/>
                    <a:pt x="541" y="1546"/>
                  </a:cubicBezTo>
                  <a:cubicBezTo>
                    <a:pt x="548" y="1547"/>
                    <a:pt x="538" y="1550"/>
                    <a:pt x="543" y="1551"/>
                  </a:cubicBezTo>
                  <a:cubicBezTo>
                    <a:pt x="556" y="1553"/>
                    <a:pt x="539" y="1554"/>
                    <a:pt x="533" y="1554"/>
                  </a:cubicBezTo>
                  <a:cubicBezTo>
                    <a:pt x="528" y="1554"/>
                    <a:pt x="542" y="1558"/>
                    <a:pt x="539" y="1560"/>
                  </a:cubicBezTo>
                  <a:cubicBezTo>
                    <a:pt x="518" y="1575"/>
                    <a:pt x="475" y="1545"/>
                    <a:pt x="463" y="1561"/>
                  </a:cubicBezTo>
                  <a:cubicBezTo>
                    <a:pt x="460" y="1565"/>
                    <a:pt x="474" y="1557"/>
                    <a:pt x="477" y="1561"/>
                  </a:cubicBezTo>
                  <a:cubicBezTo>
                    <a:pt x="478" y="1562"/>
                    <a:pt x="480" y="1567"/>
                    <a:pt x="481" y="1567"/>
                  </a:cubicBezTo>
                  <a:cubicBezTo>
                    <a:pt x="485" y="1568"/>
                    <a:pt x="483" y="1561"/>
                    <a:pt x="487" y="1561"/>
                  </a:cubicBezTo>
                  <a:cubicBezTo>
                    <a:pt x="501" y="1565"/>
                    <a:pt x="532" y="1573"/>
                    <a:pt x="530" y="1582"/>
                  </a:cubicBezTo>
                  <a:cubicBezTo>
                    <a:pt x="530" y="1586"/>
                    <a:pt x="506" y="1590"/>
                    <a:pt x="497" y="1586"/>
                  </a:cubicBezTo>
                  <a:cubicBezTo>
                    <a:pt x="496" y="1586"/>
                    <a:pt x="483" y="1582"/>
                    <a:pt x="484" y="1583"/>
                  </a:cubicBezTo>
                  <a:cubicBezTo>
                    <a:pt x="491" y="1593"/>
                    <a:pt x="515" y="1593"/>
                    <a:pt x="516" y="1599"/>
                  </a:cubicBezTo>
                  <a:cubicBezTo>
                    <a:pt x="516" y="1603"/>
                    <a:pt x="501" y="1597"/>
                    <a:pt x="503" y="1601"/>
                  </a:cubicBezTo>
                  <a:cubicBezTo>
                    <a:pt x="504" y="1605"/>
                    <a:pt x="508" y="1604"/>
                    <a:pt x="509" y="1608"/>
                  </a:cubicBezTo>
                  <a:cubicBezTo>
                    <a:pt x="510" y="1611"/>
                    <a:pt x="513" y="1606"/>
                    <a:pt x="514" y="1605"/>
                  </a:cubicBezTo>
                  <a:cubicBezTo>
                    <a:pt x="516" y="1605"/>
                    <a:pt x="512" y="1614"/>
                    <a:pt x="520" y="1621"/>
                  </a:cubicBezTo>
                  <a:cubicBezTo>
                    <a:pt x="522" y="1624"/>
                    <a:pt x="520" y="1628"/>
                    <a:pt x="518" y="1631"/>
                  </a:cubicBezTo>
                  <a:cubicBezTo>
                    <a:pt x="513" y="1636"/>
                    <a:pt x="503" y="1621"/>
                    <a:pt x="502" y="1622"/>
                  </a:cubicBezTo>
                  <a:cubicBezTo>
                    <a:pt x="502" y="1622"/>
                    <a:pt x="515" y="1646"/>
                    <a:pt x="514" y="1648"/>
                  </a:cubicBezTo>
                  <a:cubicBezTo>
                    <a:pt x="510" y="1655"/>
                    <a:pt x="502" y="1640"/>
                    <a:pt x="501" y="1652"/>
                  </a:cubicBezTo>
                  <a:cubicBezTo>
                    <a:pt x="501" y="1652"/>
                    <a:pt x="505" y="1653"/>
                    <a:pt x="505" y="1653"/>
                  </a:cubicBezTo>
                  <a:cubicBezTo>
                    <a:pt x="516" y="1656"/>
                    <a:pt x="512" y="1661"/>
                    <a:pt x="512" y="1663"/>
                  </a:cubicBezTo>
                  <a:cubicBezTo>
                    <a:pt x="513" y="1666"/>
                    <a:pt x="517" y="1665"/>
                    <a:pt x="514" y="1668"/>
                  </a:cubicBezTo>
                  <a:cubicBezTo>
                    <a:pt x="511" y="1669"/>
                    <a:pt x="510" y="1666"/>
                    <a:pt x="510" y="1665"/>
                  </a:cubicBezTo>
                  <a:cubicBezTo>
                    <a:pt x="509" y="1662"/>
                    <a:pt x="506" y="1662"/>
                    <a:pt x="504" y="1661"/>
                  </a:cubicBezTo>
                  <a:cubicBezTo>
                    <a:pt x="501" y="1659"/>
                    <a:pt x="493" y="1650"/>
                    <a:pt x="492" y="1651"/>
                  </a:cubicBezTo>
                  <a:cubicBezTo>
                    <a:pt x="490" y="1652"/>
                    <a:pt x="498" y="1662"/>
                    <a:pt x="498" y="1663"/>
                  </a:cubicBezTo>
                  <a:cubicBezTo>
                    <a:pt x="499" y="1667"/>
                    <a:pt x="491" y="1662"/>
                    <a:pt x="494" y="1665"/>
                  </a:cubicBezTo>
                  <a:cubicBezTo>
                    <a:pt x="495" y="1668"/>
                    <a:pt x="510" y="1682"/>
                    <a:pt x="508" y="1684"/>
                  </a:cubicBezTo>
                  <a:cubicBezTo>
                    <a:pt x="506" y="1686"/>
                    <a:pt x="487" y="1663"/>
                    <a:pt x="484" y="1665"/>
                  </a:cubicBezTo>
                  <a:cubicBezTo>
                    <a:pt x="483" y="1666"/>
                    <a:pt x="504" y="1687"/>
                    <a:pt x="504" y="1687"/>
                  </a:cubicBezTo>
                  <a:cubicBezTo>
                    <a:pt x="505" y="1687"/>
                    <a:pt x="512" y="1691"/>
                    <a:pt x="510" y="1692"/>
                  </a:cubicBezTo>
                  <a:cubicBezTo>
                    <a:pt x="507" y="1694"/>
                    <a:pt x="495" y="1691"/>
                    <a:pt x="502" y="1696"/>
                  </a:cubicBezTo>
                  <a:cubicBezTo>
                    <a:pt x="503" y="1697"/>
                    <a:pt x="503" y="1698"/>
                    <a:pt x="502" y="1698"/>
                  </a:cubicBezTo>
                  <a:cubicBezTo>
                    <a:pt x="498" y="1705"/>
                    <a:pt x="497" y="1706"/>
                    <a:pt x="492" y="1711"/>
                  </a:cubicBezTo>
                  <a:cubicBezTo>
                    <a:pt x="491" y="1712"/>
                    <a:pt x="497" y="1712"/>
                    <a:pt x="499" y="1713"/>
                  </a:cubicBezTo>
                  <a:cubicBezTo>
                    <a:pt x="501" y="1714"/>
                    <a:pt x="507" y="1716"/>
                    <a:pt x="508" y="1722"/>
                  </a:cubicBezTo>
                  <a:cubicBezTo>
                    <a:pt x="510" y="1731"/>
                    <a:pt x="487" y="1746"/>
                    <a:pt x="488" y="1753"/>
                  </a:cubicBezTo>
                  <a:cubicBezTo>
                    <a:pt x="489" y="1756"/>
                    <a:pt x="485" y="1764"/>
                    <a:pt x="488" y="1768"/>
                  </a:cubicBezTo>
                  <a:cubicBezTo>
                    <a:pt x="491" y="1771"/>
                    <a:pt x="502" y="1781"/>
                    <a:pt x="499" y="1784"/>
                  </a:cubicBezTo>
                  <a:cubicBezTo>
                    <a:pt x="498" y="1785"/>
                    <a:pt x="486" y="1782"/>
                    <a:pt x="486" y="1784"/>
                  </a:cubicBezTo>
                  <a:cubicBezTo>
                    <a:pt x="486" y="1788"/>
                    <a:pt x="485" y="1800"/>
                    <a:pt x="486" y="1808"/>
                  </a:cubicBezTo>
                  <a:cubicBezTo>
                    <a:pt x="486" y="1809"/>
                    <a:pt x="481" y="1823"/>
                    <a:pt x="487" y="1818"/>
                  </a:cubicBezTo>
                  <a:cubicBezTo>
                    <a:pt x="489" y="1816"/>
                    <a:pt x="490" y="1819"/>
                    <a:pt x="489" y="1822"/>
                  </a:cubicBezTo>
                  <a:cubicBezTo>
                    <a:pt x="488" y="1825"/>
                    <a:pt x="480" y="1820"/>
                    <a:pt x="478" y="1824"/>
                  </a:cubicBezTo>
                  <a:cubicBezTo>
                    <a:pt x="477" y="1827"/>
                    <a:pt x="483" y="1833"/>
                    <a:pt x="481" y="1837"/>
                  </a:cubicBezTo>
                  <a:cubicBezTo>
                    <a:pt x="477" y="1842"/>
                    <a:pt x="473" y="1835"/>
                    <a:pt x="469" y="1839"/>
                  </a:cubicBezTo>
                  <a:cubicBezTo>
                    <a:pt x="460" y="1852"/>
                    <a:pt x="448" y="1913"/>
                    <a:pt x="434" y="1918"/>
                  </a:cubicBezTo>
                  <a:cubicBezTo>
                    <a:pt x="426" y="1921"/>
                    <a:pt x="432" y="1907"/>
                    <a:pt x="431" y="1907"/>
                  </a:cubicBezTo>
                  <a:cubicBezTo>
                    <a:pt x="426" y="1903"/>
                    <a:pt x="413" y="1908"/>
                    <a:pt x="410" y="1907"/>
                  </a:cubicBezTo>
                  <a:cubicBezTo>
                    <a:pt x="407" y="1906"/>
                    <a:pt x="413" y="1901"/>
                    <a:pt x="410" y="1901"/>
                  </a:cubicBezTo>
                  <a:cubicBezTo>
                    <a:pt x="404" y="1899"/>
                    <a:pt x="394" y="1910"/>
                    <a:pt x="390" y="1910"/>
                  </a:cubicBezTo>
                  <a:cubicBezTo>
                    <a:pt x="381" y="1911"/>
                    <a:pt x="389" y="1906"/>
                    <a:pt x="384" y="1904"/>
                  </a:cubicBezTo>
                  <a:cubicBezTo>
                    <a:pt x="384" y="1903"/>
                    <a:pt x="383" y="1905"/>
                    <a:pt x="383" y="1905"/>
                  </a:cubicBezTo>
                  <a:cubicBezTo>
                    <a:pt x="372" y="1913"/>
                    <a:pt x="345" y="1901"/>
                    <a:pt x="331" y="1907"/>
                  </a:cubicBezTo>
                  <a:cubicBezTo>
                    <a:pt x="323" y="1910"/>
                    <a:pt x="345" y="1927"/>
                    <a:pt x="333" y="1929"/>
                  </a:cubicBezTo>
                  <a:cubicBezTo>
                    <a:pt x="324" y="1930"/>
                    <a:pt x="321" y="1915"/>
                    <a:pt x="311" y="1924"/>
                  </a:cubicBezTo>
                  <a:cubicBezTo>
                    <a:pt x="258" y="1970"/>
                    <a:pt x="323" y="1991"/>
                    <a:pt x="286" y="2013"/>
                  </a:cubicBezTo>
                  <a:cubicBezTo>
                    <a:pt x="277" y="2019"/>
                    <a:pt x="255" y="2006"/>
                    <a:pt x="243" y="2008"/>
                  </a:cubicBezTo>
                  <a:cubicBezTo>
                    <a:pt x="217" y="2012"/>
                    <a:pt x="200" y="2023"/>
                    <a:pt x="172" y="2014"/>
                  </a:cubicBezTo>
                  <a:cubicBezTo>
                    <a:pt x="170" y="2013"/>
                    <a:pt x="164" y="2015"/>
                    <a:pt x="164" y="2013"/>
                  </a:cubicBezTo>
                  <a:cubicBezTo>
                    <a:pt x="164" y="2011"/>
                    <a:pt x="166" y="2010"/>
                    <a:pt x="166" y="2008"/>
                  </a:cubicBezTo>
                  <a:cubicBezTo>
                    <a:pt x="166" y="2008"/>
                    <a:pt x="177" y="2008"/>
                    <a:pt x="178" y="2005"/>
                  </a:cubicBezTo>
                  <a:cubicBezTo>
                    <a:pt x="178" y="2004"/>
                    <a:pt x="178" y="2002"/>
                    <a:pt x="177" y="2002"/>
                  </a:cubicBezTo>
                  <a:cubicBezTo>
                    <a:pt x="161" y="1989"/>
                    <a:pt x="185" y="1983"/>
                    <a:pt x="185" y="1973"/>
                  </a:cubicBezTo>
                  <a:cubicBezTo>
                    <a:pt x="185" y="1963"/>
                    <a:pt x="174" y="1968"/>
                    <a:pt x="174" y="1959"/>
                  </a:cubicBezTo>
                  <a:cubicBezTo>
                    <a:pt x="174" y="1958"/>
                    <a:pt x="142" y="1903"/>
                    <a:pt x="137" y="1895"/>
                  </a:cubicBezTo>
                  <a:cubicBezTo>
                    <a:pt x="135" y="1893"/>
                    <a:pt x="128" y="1890"/>
                    <a:pt x="130" y="1888"/>
                  </a:cubicBezTo>
                  <a:cubicBezTo>
                    <a:pt x="137" y="1882"/>
                    <a:pt x="154" y="1906"/>
                    <a:pt x="163" y="1897"/>
                  </a:cubicBezTo>
                  <a:cubicBezTo>
                    <a:pt x="170" y="1888"/>
                    <a:pt x="145" y="1877"/>
                    <a:pt x="146" y="1872"/>
                  </a:cubicBezTo>
                  <a:cubicBezTo>
                    <a:pt x="148" y="1856"/>
                    <a:pt x="191" y="1882"/>
                    <a:pt x="169" y="1840"/>
                  </a:cubicBezTo>
                  <a:cubicBezTo>
                    <a:pt x="166" y="1834"/>
                    <a:pt x="157" y="1844"/>
                    <a:pt x="154" y="1840"/>
                  </a:cubicBezTo>
                  <a:cubicBezTo>
                    <a:pt x="142" y="1823"/>
                    <a:pt x="141" y="1813"/>
                    <a:pt x="121" y="1802"/>
                  </a:cubicBezTo>
                  <a:cubicBezTo>
                    <a:pt x="118" y="1800"/>
                    <a:pt x="123" y="1791"/>
                    <a:pt x="119" y="1787"/>
                  </a:cubicBezTo>
                  <a:cubicBezTo>
                    <a:pt x="116" y="1784"/>
                    <a:pt x="103" y="1765"/>
                    <a:pt x="103" y="1764"/>
                  </a:cubicBezTo>
                  <a:cubicBezTo>
                    <a:pt x="106" y="1757"/>
                    <a:pt x="99" y="1742"/>
                    <a:pt x="96" y="1743"/>
                  </a:cubicBezTo>
                  <a:cubicBezTo>
                    <a:pt x="96" y="1744"/>
                    <a:pt x="94" y="1744"/>
                    <a:pt x="94" y="1743"/>
                  </a:cubicBezTo>
                  <a:cubicBezTo>
                    <a:pt x="93" y="1734"/>
                    <a:pt x="99" y="1738"/>
                    <a:pt x="96" y="1729"/>
                  </a:cubicBezTo>
                  <a:cubicBezTo>
                    <a:pt x="96" y="1728"/>
                    <a:pt x="96" y="1727"/>
                    <a:pt x="95" y="1726"/>
                  </a:cubicBezTo>
                  <a:cubicBezTo>
                    <a:pt x="94" y="1726"/>
                    <a:pt x="83" y="1755"/>
                    <a:pt x="81" y="1736"/>
                  </a:cubicBezTo>
                  <a:cubicBezTo>
                    <a:pt x="80" y="1719"/>
                    <a:pt x="88" y="1715"/>
                    <a:pt x="78" y="1706"/>
                  </a:cubicBezTo>
                  <a:cubicBezTo>
                    <a:pt x="78" y="1706"/>
                    <a:pt x="78" y="1705"/>
                    <a:pt x="78" y="1705"/>
                  </a:cubicBezTo>
                  <a:cubicBezTo>
                    <a:pt x="78" y="1703"/>
                    <a:pt x="74" y="1698"/>
                    <a:pt x="75" y="1696"/>
                  </a:cubicBezTo>
                  <a:cubicBezTo>
                    <a:pt x="75" y="1695"/>
                    <a:pt x="84" y="1694"/>
                    <a:pt x="83" y="1693"/>
                  </a:cubicBezTo>
                  <a:cubicBezTo>
                    <a:pt x="80" y="1689"/>
                    <a:pt x="64" y="1695"/>
                    <a:pt x="63" y="1693"/>
                  </a:cubicBezTo>
                  <a:cubicBezTo>
                    <a:pt x="63" y="1688"/>
                    <a:pt x="71" y="1684"/>
                    <a:pt x="73" y="1682"/>
                  </a:cubicBezTo>
                  <a:cubicBezTo>
                    <a:pt x="77" y="1677"/>
                    <a:pt x="62" y="1678"/>
                    <a:pt x="60" y="1673"/>
                  </a:cubicBezTo>
                  <a:cubicBezTo>
                    <a:pt x="58" y="1671"/>
                    <a:pt x="62" y="1666"/>
                    <a:pt x="64" y="1666"/>
                  </a:cubicBezTo>
                  <a:cubicBezTo>
                    <a:pt x="72" y="1664"/>
                    <a:pt x="66" y="1662"/>
                    <a:pt x="66" y="1658"/>
                  </a:cubicBezTo>
                  <a:cubicBezTo>
                    <a:pt x="66" y="1651"/>
                    <a:pt x="82" y="1625"/>
                    <a:pt x="80" y="1620"/>
                  </a:cubicBezTo>
                  <a:cubicBezTo>
                    <a:pt x="79" y="1619"/>
                    <a:pt x="71" y="1612"/>
                    <a:pt x="73" y="1608"/>
                  </a:cubicBezTo>
                  <a:cubicBezTo>
                    <a:pt x="74" y="1605"/>
                    <a:pt x="80" y="1606"/>
                    <a:pt x="80" y="1602"/>
                  </a:cubicBezTo>
                  <a:cubicBezTo>
                    <a:pt x="79" y="1600"/>
                    <a:pt x="71" y="1605"/>
                    <a:pt x="69" y="1604"/>
                  </a:cubicBezTo>
                  <a:cubicBezTo>
                    <a:pt x="63" y="1602"/>
                    <a:pt x="51" y="1618"/>
                    <a:pt x="46" y="1615"/>
                  </a:cubicBezTo>
                  <a:cubicBezTo>
                    <a:pt x="42" y="1612"/>
                    <a:pt x="57" y="1593"/>
                    <a:pt x="59" y="1592"/>
                  </a:cubicBezTo>
                  <a:cubicBezTo>
                    <a:pt x="60" y="1592"/>
                    <a:pt x="62" y="1591"/>
                    <a:pt x="60" y="1590"/>
                  </a:cubicBezTo>
                  <a:cubicBezTo>
                    <a:pt x="57" y="1587"/>
                    <a:pt x="54" y="1593"/>
                    <a:pt x="53" y="1593"/>
                  </a:cubicBezTo>
                  <a:cubicBezTo>
                    <a:pt x="51" y="1592"/>
                    <a:pt x="51" y="1588"/>
                    <a:pt x="51" y="1587"/>
                  </a:cubicBezTo>
                  <a:cubicBezTo>
                    <a:pt x="48" y="1579"/>
                    <a:pt x="48" y="1605"/>
                    <a:pt x="42" y="1611"/>
                  </a:cubicBezTo>
                  <a:cubicBezTo>
                    <a:pt x="41" y="1611"/>
                    <a:pt x="37" y="1614"/>
                    <a:pt x="36" y="1614"/>
                  </a:cubicBezTo>
                  <a:cubicBezTo>
                    <a:pt x="35" y="1612"/>
                    <a:pt x="44" y="1605"/>
                    <a:pt x="39" y="1607"/>
                  </a:cubicBezTo>
                  <a:cubicBezTo>
                    <a:pt x="33" y="1609"/>
                    <a:pt x="36" y="1602"/>
                    <a:pt x="38" y="1603"/>
                  </a:cubicBezTo>
                  <a:cubicBezTo>
                    <a:pt x="40" y="1603"/>
                    <a:pt x="39" y="1595"/>
                    <a:pt x="37" y="1596"/>
                  </a:cubicBezTo>
                  <a:cubicBezTo>
                    <a:pt x="36" y="1597"/>
                    <a:pt x="41" y="1592"/>
                    <a:pt x="39" y="1588"/>
                  </a:cubicBezTo>
                  <a:cubicBezTo>
                    <a:pt x="38" y="1586"/>
                    <a:pt x="35" y="1593"/>
                    <a:pt x="33" y="1595"/>
                  </a:cubicBezTo>
                  <a:cubicBezTo>
                    <a:pt x="30" y="1598"/>
                    <a:pt x="24" y="1603"/>
                    <a:pt x="21" y="1603"/>
                  </a:cubicBezTo>
                  <a:cubicBezTo>
                    <a:pt x="20" y="1603"/>
                    <a:pt x="21" y="1596"/>
                    <a:pt x="20" y="1595"/>
                  </a:cubicBezTo>
                  <a:cubicBezTo>
                    <a:pt x="20" y="1591"/>
                    <a:pt x="23" y="1579"/>
                    <a:pt x="27" y="1570"/>
                  </a:cubicBezTo>
                  <a:cubicBezTo>
                    <a:pt x="27" y="1570"/>
                    <a:pt x="27" y="1569"/>
                    <a:pt x="26" y="1569"/>
                  </a:cubicBezTo>
                  <a:cubicBezTo>
                    <a:pt x="14" y="1552"/>
                    <a:pt x="26" y="1541"/>
                    <a:pt x="22" y="1531"/>
                  </a:cubicBezTo>
                  <a:cubicBezTo>
                    <a:pt x="17" y="1522"/>
                    <a:pt x="0" y="1494"/>
                    <a:pt x="29" y="1494"/>
                  </a:cubicBezTo>
                  <a:cubicBezTo>
                    <a:pt x="34" y="1494"/>
                    <a:pt x="35" y="1511"/>
                    <a:pt x="39" y="1511"/>
                  </a:cubicBezTo>
                  <a:cubicBezTo>
                    <a:pt x="41" y="1521"/>
                    <a:pt x="43" y="1532"/>
                    <a:pt x="57" y="1521"/>
                  </a:cubicBezTo>
                  <a:cubicBezTo>
                    <a:pt x="72" y="1509"/>
                    <a:pt x="72" y="1491"/>
                    <a:pt x="69" y="1473"/>
                  </a:cubicBezTo>
                  <a:cubicBezTo>
                    <a:pt x="72" y="1482"/>
                    <a:pt x="76" y="1490"/>
                    <a:pt x="73" y="1495"/>
                  </a:cubicBezTo>
                  <a:cubicBezTo>
                    <a:pt x="72" y="1496"/>
                    <a:pt x="75" y="1498"/>
                    <a:pt x="75" y="1499"/>
                  </a:cubicBezTo>
                  <a:cubicBezTo>
                    <a:pt x="76" y="1503"/>
                    <a:pt x="75" y="1501"/>
                    <a:pt x="76" y="1505"/>
                  </a:cubicBezTo>
                  <a:cubicBezTo>
                    <a:pt x="78" y="1509"/>
                    <a:pt x="73" y="1508"/>
                    <a:pt x="79" y="1511"/>
                  </a:cubicBezTo>
                  <a:cubicBezTo>
                    <a:pt x="80" y="1512"/>
                    <a:pt x="80" y="1513"/>
                    <a:pt x="80" y="1515"/>
                  </a:cubicBezTo>
                  <a:cubicBezTo>
                    <a:pt x="82" y="1529"/>
                    <a:pt x="85" y="1516"/>
                    <a:pt x="81" y="1509"/>
                  </a:cubicBezTo>
                  <a:cubicBezTo>
                    <a:pt x="81" y="1508"/>
                    <a:pt x="81" y="1508"/>
                    <a:pt x="81" y="1508"/>
                  </a:cubicBezTo>
                  <a:cubicBezTo>
                    <a:pt x="81" y="1509"/>
                    <a:pt x="74" y="1470"/>
                    <a:pt x="75" y="1468"/>
                  </a:cubicBezTo>
                  <a:cubicBezTo>
                    <a:pt x="75" y="1467"/>
                    <a:pt x="76" y="1464"/>
                    <a:pt x="78" y="1464"/>
                  </a:cubicBezTo>
                  <a:cubicBezTo>
                    <a:pt x="78" y="1464"/>
                    <a:pt x="82" y="1478"/>
                    <a:pt x="85" y="1479"/>
                  </a:cubicBezTo>
                  <a:cubicBezTo>
                    <a:pt x="91" y="1482"/>
                    <a:pt x="102" y="1489"/>
                    <a:pt x="105" y="1497"/>
                  </a:cubicBezTo>
                  <a:cubicBezTo>
                    <a:pt x="105" y="1497"/>
                    <a:pt x="106" y="1513"/>
                    <a:pt x="107" y="1510"/>
                  </a:cubicBezTo>
                  <a:cubicBezTo>
                    <a:pt x="118" y="1489"/>
                    <a:pt x="89" y="1485"/>
                    <a:pt x="83" y="1470"/>
                  </a:cubicBezTo>
                  <a:cubicBezTo>
                    <a:pt x="81" y="1465"/>
                    <a:pt x="81" y="1462"/>
                    <a:pt x="84" y="1457"/>
                  </a:cubicBezTo>
                  <a:cubicBezTo>
                    <a:pt x="93" y="1442"/>
                    <a:pt x="81" y="1453"/>
                    <a:pt x="80" y="1452"/>
                  </a:cubicBezTo>
                  <a:cubicBezTo>
                    <a:pt x="77" y="1450"/>
                    <a:pt x="77" y="1441"/>
                    <a:pt x="76" y="1441"/>
                  </a:cubicBezTo>
                  <a:cubicBezTo>
                    <a:pt x="70" y="1441"/>
                    <a:pt x="76" y="1459"/>
                    <a:pt x="73" y="1464"/>
                  </a:cubicBezTo>
                  <a:cubicBezTo>
                    <a:pt x="72" y="1467"/>
                    <a:pt x="67" y="1458"/>
                    <a:pt x="65" y="1457"/>
                  </a:cubicBezTo>
                  <a:cubicBezTo>
                    <a:pt x="61" y="1443"/>
                    <a:pt x="57" y="1430"/>
                    <a:pt x="60" y="1423"/>
                  </a:cubicBezTo>
                  <a:cubicBezTo>
                    <a:pt x="65" y="1412"/>
                    <a:pt x="82" y="1418"/>
                    <a:pt x="80" y="1402"/>
                  </a:cubicBezTo>
                  <a:cubicBezTo>
                    <a:pt x="80" y="1397"/>
                    <a:pt x="74" y="1393"/>
                    <a:pt x="74" y="1388"/>
                  </a:cubicBezTo>
                  <a:cubicBezTo>
                    <a:pt x="74" y="1378"/>
                    <a:pt x="101" y="1382"/>
                    <a:pt x="105" y="1380"/>
                  </a:cubicBezTo>
                  <a:cubicBezTo>
                    <a:pt x="111" y="1378"/>
                    <a:pt x="130" y="1360"/>
                    <a:pt x="133" y="1354"/>
                  </a:cubicBezTo>
                  <a:cubicBezTo>
                    <a:pt x="134" y="1352"/>
                    <a:pt x="133" y="1349"/>
                    <a:pt x="133" y="1346"/>
                  </a:cubicBezTo>
                  <a:cubicBezTo>
                    <a:pt x="133" y="1341"/>
                    <a:pt x="133" y="1336"/>
                    <a:pt x="133" y="1331"/>
                  </a:cubicBezTo>
                  <a:cubicBezTo>
                    <a:pt x="133" y="1328"/>
                    <a:pt x="132" y="1325"/>
                    <a:pt x="133" y="1323"/>
                  </a:cubicBezTo>
                  <a:cubicBezTo>
                    <a:pt x="136" y="1313"/>
                    <a:pt x="144" y="1310"/>
                    <a:pt x="144" y="1299"/>
                  </a:cubicBezTo>
                  <a:cubicBezTo>
                    <a:pt x="144" y="1274"/>
                    <a:pt x="108" y="1247"/>
                    <a:pt x="111" y="1224"/>
                  </a:cubicBezTo>
                  <a:cubicBezTo>
                    <a:pt x="113" y="1210"/>
                    <a:pt x="140" y="1218"/>
                    <a:pt x="148" y="1212"/>
                  </a:cubicBezTo>
                  <a:cubicBezTo>
                    <a:pt x="151" y="1210"/>
                    <a:pt x="167" y="1172"/>
                    <a:pt x="166" y="1169"/>
                  </a:cubicBezTo>
                  <a:cubicBezTo>
                    <a:pt x="155" y="1140"/>
                    <a:pt x="108" y="1143"/>
                    <a:pt x="101" y="1115"/>
                  </a:cubicBezTo>
                  <a:cubicBezTo>
                    <a:pt x="94" y="1093"/>
                    <a:pt x="119" y="1061"/>
                    <a:pt x="117" y="1037"/>
                  </a:cubicBezTo>
                  <a:cubicBezTo>
                    <a:pt x="115" y="1019"/>
                    <a:pt x="95" y="1005"/>
                    <a:pt x="92" y="988"/>
                  </a:cubicBezTo>
                  <a:cubicBezTo>
                    <a:pt x="90" y="982"/>
                    <a:pt x="97" y="972"/>
                    <a:pt x="98" y="966"/>
                  </a:cubicBezTo>
                  <a:cubicBezTo>
                    <a:pt x="98" y="960"/>
                    <a:pt x="91" y="949"/>
                    <a:pt x="93" y="944"/>
                  </a:cubicBezTo>
                  <a:cubicBezTo>
                    <a:pt x="93" y="944"/>
                    <a:pt x="105" y="926"/>
                    <a:pt x="105" y="926"/>
                  </a:cubicBezTo>
                  <a:cubicBezTo>
                    <a:pt x="105" y="914"/>
                    <a:pt x="84" y="901"/>
                    <a:pt x="84" y="889"/>
                  </a:cubicBezTo>
                  <a:cubicBezTo>
                    <a:pt x="85" y="878"/>
                    <a:pt x="106" y="868"/>
                    <a:pt x="108" y="857"/>
                  </a:cubicBezTo>
                  <a:cubicBezTo>
                    <a:pt x="109" y="852"/>
                    <a:pt x="102" y="848"/>
                    <a:pt x="102" y="842"/>
                  </a:cubicBezTo>
                  <a:cubicBezTo>
                    <a:pt x="103" y="827"/>
                    <a:pt x="130" y="803"/>
                    <a:pt x="156" y="786"/>
                  </a:cubicBezTo>
                  <a:cubicBezTo>
                    <a:pt x="155" y="791"/>
                    <a:pt x="173" y="792"/>
                    <a:pt x="175" y="799"/>
                  </a:cubicBezTo>
                  <a:cubicBezTo>
                    <a:pt x="176" y="800"/>
                    <a:pt x="183" y="815"/>
                    <a:pt x="184" y="815"/>
                  </a:cubicBezTo>
                  <a:cubicBezTo>
                    <a:pt x="194" y="817"/>
                    <a:pt x="183" y="798"/>
                    <a:pt x="180" y="797"/>
                  </a:cubicBezTo>
                  <a:cubicBezTo>
                    <a:pt x="179" y="796"/>
                    <a:pt x="179" y="796"/>
                    <a:pt x="179" y="796"/>
                  </a:cubicBezTo>
                  <a:cubicBezTo>
                    <a:pt x="178" y="795"/>
                    <a:pt x="171" y="783"/>
                    <a:pt x="164" y="781"/>
                  </a:cubicBezTo>
                  <a:cubicBezTo>
                    <a:pt x="166" y="780"/>
                    <a:pt x="167" y="779"/>
                    <a:pt x="169" y="778"/>
                  </a:cubicBezTo>
                  <a:cubicBezTo>
                    <a:pt x="170" y="781"/>
                    <a:pt x="171" y="783"/>
                    <a:pt x="172" y="781"/>
                  </a:cubicBezTo>
                  <a:cubicBezTo>
                    <a:pt x="172" y="780"/>
                    <a:pt x="172" y="780"/>
                    <a:pt x="172" y="780"/>
                  </a:cubicBezTo>
                  <a:cubicBezTo>
                    <a:pt x="172" y="778"/>
                    <a:pt x="173" y="777"/>
                    <a:pt x="173" y="776"/>
                  </a:cubicBezTo>
                  <a:cubicBezTo>
                    <a:pt x="184" y="770"/>
                    <a:pt x="194" y="766"/>
                    <a:pt x="200" y="765"/>
                  </a:cubicBezTo>
                  <a:cubicBezTo>
                    <a:pt x="222" y="763"/>
                    <a:pt x="255" y="784"/>
                    <a:pt x="272" y="771"/>
                  </a:cubicBezTo>
                  <a:cubicBezTo>
                    <a:pt x="279" y="776"/>
                    <a:pt x="285" y="779"/>
                    <a:pt x="286" y="780"/>
                  </a:cubicBezTo>
                  <a:cubicBezTo>
                    <a:pt x="289" y="782"/>
                    <a:pt x="276" y="785"/>
                    <a:pt x="277" y="786"/>
                  </a:cubicBezTo>
                  <a:cubicBezTo>
                    <a:pt x="277" y="788"/>
                    <a:pt x="281" y="786"/>
                    <a:pt x="282" y="786"/>
                  </a:cubicBezTo>
                  <a:cubicBezTo>
                    <a:pt x="292" y="783"/>
                    <a:pt x="315" y="800"/>
                    <a:pt x="318" y="810"/>
                  </a:cubicBezTo>
                  <a:cubicBezTo>
                    <a:pt x="319" y="811"/>
                    <a:pt x="319" y="811"/>
                    <a:pt x="319" y="811"/>
                  </a:cubicBezTo>
                  <a:cubicBezTo>
                    <a:pt x="346" y="817"/>
                    <a:pt x="298" y="785"/>
                    <a:pt x="274" y="769"/>
                  </a:cubicBezTo>
                  <a:cubicBezTo>
                    <a:pt x="278" y="766"/>
                    <a:pt x="280" y="760"/>
                    <a:pt x="282" y="753"/>
                  </a:cubicBezTo>
                  <a:cubicBezTo>
                    <a:pt x="293" y="690"/>
                    <a:pt x="255" y="720"/>
                    <a:pt x="240" y="695"/>
                  </a:cubicBezTo>
                  <a:cubicBezTo>
                    <a:pt x="239" y="693"/>
                    <a:pt x="241" y="689"/>
                    <a:pt x="243" y="684"/>
                  </a:cubicBezTo>
                  <a:cubicBezTo>
                    <a:pt x="249" y="688"/>
                    <a:pt x="273" y="700"/>
                    <a:pt x="277" y="701"/>
                  </a:cubicBezTo>
                  <a:cubicBezTo>
                    <a:pt x="274" y="700"/>
                    <a:pt x="288" y="719"/>
                    <a:pt x="299" y="723"/>
                  </a:cubicBezTo>
                  <a:cubicBezTo>
                    <a:pt x="317" y="729"/>
                    <a:pt x="352" y="724"/>
                    <a:pt x="366" y="742"/>
                  </a:cubicBezTo>
                  <a:cubicBezTo>
                    <a:pt x="369" y="746"/>
                    <a:pt x="386" y="762"/>
                    <a:pt x="388" y="771"/>
                  </a:cubicBezTo>
                  <a:cubicBezTo>
                    <a:pt x="388" y="775"/>
                    <a:pt x="384" y="771"/>
                    <a:pt x="385" y="776"/>
                  </a:cubicBezTo>
                  <a:cubicBezTo>
                    <a:pt x="386" y="778"/>
                    <a:pt x="403" y="786"/>
                    <a:pt x="399" y="789"/>
                  </a:cubicBezTo>
                  <a:cubicBezTo>
                    <a:pt x="397" y="790"/>
                    <a:pt x="395" y="785"/>
                    <a:pt x="393" y="785"/>
                  </a:cubicBezTo>
                  <a:cubicBezTo>
                    <a:pt x="392" y="785"/>
                    <a:pt x="403" y="797"/>
                    <a:pt x="387" y="790"/>
                  </a:cubicBezTo>
                  <a:cubicBezTo>
                    <a:pt x="384" y="788"/>
                    <a:pt x="378" y="779"/>
                    <a:pt x="379" y="788"/>
                  </a:cubicBezTo>
                  <a:cubicBezTo>
                    <a:pt x="379" y="793"/>
                    <a:pt x="400" y="797"/>
                    <a:pt x="405" y="801"/>
                  </a:cubicBezTo>
                  <a:cubicBezTo>
                    <a:pt x="408" y="804"/>
                    <a:pt x="403" y="818"/>
                    <a:pt x="404" y="819"/>
                  </a:cubicBezTo>
                  <a:cubicBezTo>
                    <a:pt x="406" y="820"/>
                    <a:pt x="407" y="816"/>
                    <a:pt x="408" y="816"/>
                  </a:cubicBezTo>
                  <a:cubicBezTo>
                    <a:pt x="413" y="815"/>
                    <a:pt x="408" y="801"/>
                    <a:pt x="423" y="809"/>
                  </a:cubicBezTo>
                  <a:cubicBezTo>
                    <a:pt x="426" y="810"/>
                    <a:pt x="422" y="814"/>
                    <a:pt x="423" y="816"/>
                  </a:cubicBezTo>
                  <a:cubicBezTo>
                    <a:pt x="424" y="817"/>
                    <a:pt x="430" y="820"/>
                    <a:pt x="432" y="819"/>
                  </a:cubicBezTo>
                  <a:cubicBezTo>
                    <a:pt x="432" y="819"/>
                    <a:pt x="426" y="809"/>
                    <a:pt x="425" y="808"/>
                  </a:cubicBezTo>
                  <a:cubicBezTo>
                    <a:pt x="423" y="803"/>
                    <a:pt x="414" y="805"/>
                    <a:pt x="410" y="802"/>
                  </a:cubicBezTo>
                  <a:cubicBezTo>
                    <a:pt x="404" y="797"/>
                    <a:pt x="405" y="790"/>
                    <a:pt x="401" y="783"/>
                  </a:cubicBezTo>
                  <a:cubicBezTo>
                    <a:pt x="399" y="782"/>
                    <a:pt x="381" y="735"/>
                    <a:pt x="381" y="732"/>
                  </a:cubicBezTo>
                  <a:cubicBezTo>
                    <a:pt x="381" y="730"/>
                    <a:pt x="362" y="726"/>
                    <a:pt x="361" y="728"/>
                  </a:cubicBezTo>
                  <a:cubicBezTo>
                    <a:pt x="361" y="730"/>
                    <a:pt x="390" y="740"/>
                    <a:pt x="378" y="750"/>
                  </a:cubicBezTo>
                  <a:cubicBezTo>
                    <a:pt x="377" y="752"/>
                    <a:pt x="374" y="746"/>
                    <a:pt x="373" y="746"/>
                  </a:cubicBezTo>
                  <a:cubicBezTo>
                    <a:pt x="370" y="739"/>
                    <a:pt x="362" y="731"/>
                    <a:pt x="355" y="729"/>
                  </a:cubicBezTo>
                  <a:cubicBezTo>
                    <a:pt x="330" y="723"/>
                    <a:pt x="305" y="724"/>
                    <a:pt x="285" y="708"/>
                  </a:cubicBezTo>
                  <a:cubicBezTo>
                    <a:pt x="282" y="705"/>
                    <a:pt x="285" y="702"/>
                    <a:pt x="283" y="700"/>
                  </a:cubicBezTo>
                  <a:cubicBezTo>
                    <a:pt x="283" y="699"/>
                    <a:pt x="257" y="683"/>
                    <a:pt x="253" y="683"/>
                  </a:cubicBezTo>
                  <a:cubicBezTo>
                    <a:pt x="251" y="683"/>
                    <a:pt x="247" y="682"/>
                    <a:pt x="245" y="682"/>
                  </a:cubicBezTo>
                  <a:cubicBezTo>
                    <a:pt x="258" y="660"/>
                    <a:pt x="292" y="620"/>
                    <a:pt x="297" y="609"/>
                  </a:cubicBezTo>
                  <a:cubicBezTo>
                    <a:pt x="299" y="604"/>
                    <a:pt x="298" y="597"/>
                    <a:pt x="301" y="592"/>
                  </a:cubicBezTo>
                  <a:cubicBezTo>
                    <a:pt x="301" y="592"/>
                    <a:pt x="313" y="582"/>
                    <a:pt x="313" y="582"/>
                  </a:cubicBezTo>
                  <a:cubicBezTo>
                    <a:pt x="314" y="578"/>
                    <a:pt x="313" y="574"/>
                    <a:pt x="313" y="571"/>
                  </a:cubicBezTo>
                  <a:cubicBezTo>
                    <a:pt x="313" y="571"/>
                    <a:pt x="313" y="549"/>
                    <a:pt x="313" y="549"/>
                  </a:cubicBezTo>
                  <a:cubicBezTo>
                    <a:pt x="313" y="546"/>
                    <a:pt x="312" y="542"/>
                    <a:pt x="313" y="538"/>
                  </a:cubicBezTo>
                  <a:cubicBezTo>
                    <a:pt x="315" y="526"/>
                    <a:pt x="324" y="515"/>
                    <a:pt x="325" y="503"/>
                  </a:cubicBezTo>
                  <a:cubicBezTo>
                    <a:pt x="326" y="494"/>
                    <a:pt x="308" y="464"/>
                    <a:pt x="313" y="457"/>
                  </a:cubicBezTo>
                  <a:cubicBezTo>
                    <a:pt x="314" y="455"/>
                    <a:pt x="394" y="454"/>
                    <a:pt x="399" y="434"/>
                  </a:cubicBezTo>
                  <a:cubicBezTo>
                    <a:pt x="401" y="425"/>
                    <a:pt x="388" y="412"/>
                    <a:pt x="390" y="403"/>
                  </a:cubicBezTo>
                  <a:cubicBezTo>
                    <a:pt x="392" y="397"/>
                    <a:pt x="409" y="390"/>
                    <a:pt x="414" y="385"/>
                  </a:cubicBezTo>
                  <a:cubicBezTo>
                    <a:pt x="427" y="373"/>
                    <a:pt x="435" y="354"/>
                    <a:pt x="448" y="342"/>
                  </a:cubicBezTo>
                  <a:cubicBezTo>
                    <a:pt x="456" y="334"/>
                    <a:pt x="471" y="330"/>
                    <a:pt x="478" y="321"/>
                  </a:cubicBezTo>
                  <a:cubicBezTo>
                    <a:pt x="500" y="292"/>
                    <a:pt x="452" y="273"/>
                    <a:pt x="454" y="259"/>
                  </a:cubicBezTo>
                  <a:cubicBezTo>
                    <a:pt x="457" y="243"/>
                    <a:pt x="478" y="248"/>
                    <a:pt x="485" y="238"/>
                  </a:cubicBezTo>
                  <a:cubicBezTo>
                    <a:pt x="498" y="221"/>
                    <a:pt x="500" y="200"/>
                    <a:pt x="512" y="184"/>
                  </a:cubicBezTo>
                  <a:cubicBezTo>
                    <a:pt x="516" y="178"/>
                    <a:pt x="544" y="162"/>
                    <a:pt x="555" y="157"/>
                  </a:cubicBezTo>
                  <a:cubicBezTo>
                    <a:pt x="555" y="162"/>
                    <a:pt x="583" y="179"/>
                    <a:pt x="584" y="184"/>
                  </a:cubicBezTo>
                  <a:cubicBezTo>
                    <a:pt x="585" y="185"/>
                    <a:pt x="585" y="186"/>
                    <a:pt x="586" y="187"/>
                  </a:cubicBezTo>
                  <a:cubicBezTo>
                    <a:pt x="587" y="188"/>
                    <a:pt x="587" y="188"/>
                    <a:pt x="587" y="189"/>
                  </a:cubicBezTo>
                  <a:cubicBezTo>
                    <a:pt x="588" y="189"/>
                    <a:pt x="588" y="189"/>
                    <a:pt x="588" y="189"/>
                  </a:cubicBezTo>
                  <a:cubicBezTo>
                    <a:pt x="594" y="192"/>
                    <a:pt x="588" y="174"/>
                    <a:pt x="582" y="174"/>
                  </a:cubicBezTo>
                  <a:cubicBezTo>
                    <a:pt x="565" y="172"/>
                    <a:pt x="587" y="168"/>
                    <a:pt x="574" y="162"/>
                  </a:cubicBezTo>
                  <a:cubicBezTo>
                    <a:pt x="571" y="161"/>
                    <a:pt x="568" y="168"/>
                    <a:pt x="565" y="162"/>
                  </a:cubicBezTo>
                  <a:cubicBezTo>
                    <a:pt x="565" y="161"/>
                    <a:pt x="562" y="156"/>
                    <a:pt x="559" y="155"/>
                  </a:cubicBezTo>
                  <a:cubicBezTo>
                    <a:pt x="559" y="155"/>
                    <a:pt x="559" y="155"/>
                    <a:pt x="560" y="155"/>
                  </a:cubicBezTo>
                  <a:cubicBezTo>
                    <a:pt x="573" y="150"/>
                    <a:pt x="602" y="182"/>
                    <a:pt x="615" y="176"/>
                  </a:cubicBezTo>
                  <a:cubicBezTo>
                    <a:pt x="655" y="157"/>
                    <a:pt x="621" y="101"/>
                    <a:pt x="632" y="89"/>
                  </a:cubicBezTo>
                  <a:cubicBezTo>
                    <a:pt x="654" y="67"/>
                    <a:pt x="776" y="122"/>
                    <a:pt x="797" y="116"/>
                  </a:cubicBezTo>
                  <a:cubicBezTo>
                    <a:pt x="800" y="115"/>
                    <a:pt x="820" y="97"/>
                    <a:pt x="820" y="97"/>
                  </a:cubicBezTo>
                  <a:cubicBezTo>
                    <a:pt x="831" y="84"/>
                    <a:pt x="799" y="89"/>
                    <a:pt x="799" y="81"/>
                  </a:cubicBezTo>
                  <a:cubicBezTo>
                    <a:pt x="799" y="77"/>
                    <a:pt x="831" y="57"/>
                    <a:pt x="835" y="45"/>
                  </a:cubicBezTo>
                  <a:cubicBezTo>
                    <a:pt x="838" y="29"/>
                    <a:pt x="827" y="17"/>
                    <a:pt x="817" y="7"/>
                  </a:cubicBezTo>
                  <a:cubicBezTo>
                    <a:pt x="815" y="6"/>
                    <a:pt x="810" y="4"/>
                    <a:pt x="812" y="2"/>
                  </a:cubicBezTo>
                  <a:cubicBezTo>
                    <a:pt x="815" y="0"/>
                    <a:pt x="819" y="2"/>
                    <a:pt x="823" y="2"/>
                  </a:cubicBezTo>
                  <a:cubicBezTo>
                    <a:pt x="827" y="2"/>
                    <a:pt x="855" y="2"/>
                    <a:pt x="859" y="2"/>
                  </a:cubicBezTo>
                  <a:cubicBezTo>
                    <a:pt x="867" y="6"/>
                    <a:pt x="885" y="11"/>
                    <a:pt x="887" y="18"/>
                  </a:cubicBezTo>
                  <a:cubicBezTo>
                    <a:pt x="887" y="24"/>
                    <a:pt x="874" y="16"/>
                    <a:pt x="884" y="26"/>
                  </a:cubicBezTo>
                  <a:cubicBezTo>
                    <a:pt x="890" y="33"/>
                    <a:pt x="974" y="85"/>
                    <a:pt x="986" y="92"/>
                  </a:cubicBezTo>
                  <a:cubicBezTo>
                    <a:pt x="1016" y="109"/>
                    <a:pt x="1055" y="98"/>
                    <a:pt x="1081" y="129"/>
                  </a:cubicBezTo>
                  <a:cubicBezTo>
                    <a:pt x="1085" y="133"/>
                    <a:pt x="1083" y="145"/>
                    <a:pt x="1084" y="147"/>
                  </a:cubicBezTo>
                  <a:cubicBezTo>
                    <a:pt x="1086" y="149"/>
                    <a:pt x="1089" y="146"/>
                    <a:pt x="1091" y="146"/>
                  </a:cubicBezTo>
                  <a:cubicBezTo>
                    <a:pt x="1101" y="144"/>
                    <a:pt x="1102" y="150"/>
                    <a:pt x="1109" y="157"/>
                  </a:cubicBezTo>
                  <a:cubicBezTo>
                    <a:pt x="1115" y="165"/>
                    <a:pt x="1137" y="171"/>
                    <a:pt x="1130" y="178"/>
                  </a:cubicBezTo>
                  <a:cubicBezTo>
                    <a:pt x="1126" y="182"/>
                    <a:pt x="1118" y="181"/>
                    <a:pt x="1115" y="186"/>
                  </a:cubicBezTo>
                  <a:cubicBezTo>
                    <a:pt x="1106" y="201"/>
                    <a:pt x="1124" y="219"/>
                    <a:pt x="1120" y="233"/>
                  </a:cubicBezTo>
                  <a:cubicBezTo>
                    <a:pt x="1118" y="238"/>
                    <a:pt x="1105" y="244"/>
                    <a:pt x="1109" y="251"/>
                  </a:cubicBezTo>
                  <a:cubicBezTo>
                    <a:pt x="1115" y="260"/>
                    <a:pt x="1130" y="251"/>
                    <a:pt x="1139" y="259"/>
                  </a:cubicBezTo>
                  <a:cubicBezTo>
                    <a:pt x="1150" y="268"/>
                    <a:pt x="1122" y="289"/>
                    <a:pt x="1121" y="298"/>
                  </a:cubicBezTo>
                  <a:cubicBezTo>
                    <a:pt x="1120" y="318"/>
                    <a:pt x="1163" y="334"/>
                    <a:pt x="1160" y="354"/>
                  </a:cubicBezTo>
                  <a:cubicBezTo>
                    <a:pt x="1160" y="354"/>
                    <a:pt x="1151" y="362"/>
                    <a:pt x="1151" y="362"/>
                  </a:cubicBezTo>
                  <a:cubicBezTo>
                    <a:pt x="1147" y="370"/>
                    <a:pt x="1153" y="383"/>
                    <a:pt x="1150" y="390"/>
                  </a:cubicBezTo>
                  <a:cubicBezTo>
                    <a:pt x="1144" y="403"/>
                    <a:pt x="1129" y="398"/>
                    <a:pt x="1129" y="416"/>
                  </a:cubicBezTo>
                  <a:close/>
                  <a:moveTo>
                    <a:pt x="465" y="1611"/>
                  </a:moveTo>
                  <a:cubicBezTo>
                    <a:pt x="466" y="1614"/>
                    <a:pt x="489" y="1615"/>
                    <a:pt x="488" y="1615"/>
                  </a:cubicBezTo>
                  <a:cubicBezTo>
                    <a:pt x="485" y="1615"/>
                    <a:pt x="481" y="1612"/>
                    <a:pt x="479" y="1610"/>
                  </a:cubicBezTo>
                  <a:cubicBezTo>
                    <a:pt x="479" y="1610"/>
                    <a:pt x="479" y="1610"/>
                    <a:pt x="479" y="1610"/>
                  </a:cubicBezTo>
                  <a:cubicBezTo>
                    <a:pt x="476" y="1606"/>
                    <a:pt x="464" y="1606"/>
                    <a:pt x="465" y="1611"/>
                  </a:cubicBezTo>
                  <a:close/>
                  <a:moveTo>
                    <a:pt x="526" y="1502"/>
                  </a:moveTo>
                  <a:cubicBezTo>
                    <a:pt x="529" y="1503"/>
                    <a:pt x="522" y="1521"/>
                    <a:pt x="529" y="1509"/>
                  </a:cubicBezTo>
                  <a:cubicBezTo>
                    <a:pt x="530" y="1508"/>
                    <a:pt x="530" y="1508"/>
                    <a:pt x="530" y="1508"/>
                  </a:cubicBezTo>
                  <a:cubicBezTo>
                    <a:pt x="535" y="1506"/>
                    <a:pt x="546" y="1516"/>
                    <a:pt x="547" y="1510"/>
                  </a:cubicBezTo>
                  <a:cubicBezTo>
                    <a:pt x="548" y="1499"/>
                    <a:pt x="533" y="1505"/>
                    <a:pt x="523" y="1497"/>
                  </a:cubicBezTo>
                  <a:cubicBezTo>
                    <a:pt x="522" y="1496"/>
                    <a:pt x="524" y="1502"/>
                    <a:pt x="526" y="1502"/>
                  </a:cubicBezTo>
                  <a:close/>
                  <a:moveTo>
                    <a:pt x="674" y="1389"/>
                  </a:moveTo>
                  <a:cubicBezTo>
                    <a:pt x="677" y="1390"/>
                    <a:pt x="684" y="1390"/>
                    <a:pt x="684" y="1386"/>
                  </a:cubicBezTo>
                  <a:cubicBezTo>
                    <a:pt x="684" y="1386"/>
                    <a:pt x="684" y="1386"/>
                    <a:pt x="684" y="1386"/>
                  </a:cubicBezTo>
                  <a:cubicBezTo>
                    <a:pt x="680" y="1382"/>
                    <a:pt x="659" y="1386"/>
                    <a:pt x="674" y="1389"/>
                  </a:cubicBezTo>
                  <a:close/>
                  <a:moveTo>
                    <a:pt x="668" y="247"/>
                  </a:moveTo>
                  <a:cubicBezTo>
                    <a:pt x="679" y="251"/>
                    <a:pt x="714" y="268"/>
                    <a:pt x="725" y="260"/>
                  </a:cubicBezTo>
                  <a:cubicBezTo>
                    <a:pt x="727" y="258"/>
                    <a:pt x="719" y="259"/>
                    <a:pt x="716" y="259"/>
                  </a:cubicBezTo>
                  <a:cubicBezTo>
                    <a:pt x="714" y="258"/>
                    <a:pt x="714" y="258"/>
                    <a:pt x="714" y="258"/>
                  </a:cubicBezTo>
                  <a:cubicBezTo>
                    <a:pt x="710" y="258"/>
                    <a:pt x="667" y="241"/>
                    <a:pt x="666" y="244"/>
                  </a:cubicBezTo>
                  <a:cubicBezTo>
                    <a:pt x="665" y="245"/>
                    <a:pt x="666" y="247"/>
                    <a:pt x="668" y="247"/>
                  </a:cubicBezTo>
                  <a:close/>
                  <a:moveTo>
                    <a:pt x="509" y="275"/>
                  </a:moveTo>
                  <a:cubicBezTo>
                    <a:pt x="511" y="273"/>
                    <a:pt x="496" y="265"/>
                    <a:pt x="507" y="265"/>
                  </a:cubicBezTo>
                  <a:cubicBezTo>
                    <a:pt x="508" y="265"/>
                    <a:pt x="517" y="269"/>
                    <a:pt x="516" y="266"/>
                  </a:cubicBezTo>
                  <a:cubicBezTo>
                    <a:pt x="514" y="261"/>
                    <a:pt x="501" y="262"/>
                    <a:pt x="497" y="260"/>
                  </a:cubicBezTo>
                  <a:cubicBezTo>
                    <a:pt x="495" y="259"/>
                    <a:pt x="490" y="255"/>
                    <a:pt x="492" y="254"/>
                  </a:cubicBezTo>
                  <a:cubicBezTo>
                    <a:pt x="501" y="251"/>
                    <a:pt x="549" y="247"/>
                    <a:pt x="552" y="236"/>
                  </a:cubicBezTo>
                  <a:cubicBezTo>
                    <a:pt x="552" y="235"/>
                    <a:pt x="543" y="234"/>
                    <a:pt x="542" y="233"/>
                  </a:cubicBezTo>
                  <a:cubicBezTo>
                    <a:pt x="536" y="233"/>
                    <a:pt x="546" y="238"/>
                    <a:pt x="536" y="239"/>
                  </a:cubicBezTo>
                  <a:cubicBezTo>
                    <a:pt x="528" y="240"/>
                    <a:pt x="511" y="229"/>
                    <a:pt x="503" y="235"/>
                  </a:cubicBezTo>
                  <a:cubicBezTo>
                    <a:pt x="500" y="239"/>
                    <a:pt x="527" y="241"/>
                    <a:pt x="527" y="242"/>
                  </a:cubicBezTo>
                  <a:cubicBezTo>
                    <a:pt x="520" y="252"/>
                    <a:pt x="486" y="246"/>
                    <a:pt x="480" y="248"/>
                  </a:cubicBezTo>
                  <a:cubicBezTo>
                    <a:pt x="470" y="251"/>
                    <a:pt x="490" y="258"/>
                    <a:pt x="491" y="260"/>
                  </a:cubicBezTo>
                  <a:cubicBezTo>
                    <a:pt x="492" y="262"/>
                    <a:pt x="473" y="260"/>
                    <a:pt x="473" y="263"/>
                  </a:cubicBezTo>
                  <a:cubicBezTo>
                    <a:pt x="473" y="264"/>
                    <a:pt x="506" y="281"/>
                    <a:pt x="509" y="275"/>
                  </a:cubicBezTo>
                  <a:close/>
                  <a:moveTo>
                    <a:pt x="483" y="328"/>
                  </a:moveTo>
                  <a:cubicBezTo>
                    <a:pt x="484" y="327"/>
                    <a:pt x="489" y="328"/>
                    <a:pt x="491" y="329"/>
                  </a:cubicBezTo>
                  <a:cubicBezTo>
                    <a:pt x="504" y="331"/>
                    <a:pt x="482" y="334"/>
                    <a:pt x="490" y="334"/>
                  </a:cubicBezTo>
                  <a:cubicBezTo>
                    <a:pt x="496" y="334"/>
                    <a:pt x="507" y="336"/>
                    <a:pt x="513" y="339"/>
                  </a:cubicBezTo>
                  <a:cubicBezTo>
                    <a:pt x="513" y="339"/>
                    <a:pt x="513" y="339"/>
                    <a:pt x="513" y="339"/>
                  </a:cubicBezTo>
                  <a:cubicBezTo>
                    <a:pt x="515" y="340"/>
                    <a:pt x="483" y="314"/>
                    <a:pt x="477" y="324"/>
                  </a:cubicBezTo>
                  <a:cubicBezTo>
                    <a:pt x="474" y="328"/>
                    <a:pt x="482" y="330"/>
                    <a:pt x="483" y="328"/>
                  </a:cubicBezTo>
                  <a:close/>
                  <a:moveTo>
                    <a:pt x="472" y="345"/>
                  </a:moveTo>
                  <a:cubicBezTo>
                    <a:pt x="472" y="345"/>
                    <a:pt x="472" y="345"/>
                    <a:pt x="472" y="345"/>
                  </a:cubicBezTo>
                  <a:cubicBezTo>
                    <a:pt x="484" y="343"/>
                    <a:pt x="497" y="344"/>
                    <a:pt x="509" y="346"/>
                  </a:cubicBezTo>
                  <a:cubicBezTo>
                    <a:pt x="509" y="346"/>
                    <a:pt x="528" y="348"/>
                    <a:pt x="527" y="348"/>
                  </a:cubicBezTo>
                  <a:cubicBezTo>
                    <a:pt x="527" y="347"/>
                    <a:pt x="527" y="347"/>
                    <a:pt x="526" y="347"/>
                  </a:cubicBezTo>
                  <a:cubicBezTo>
                    <a:pt x="517" y="343"/>
                    <a:pt x="431" y="329"/>
                    <a:pt x="472" y="345"/>
                  </a:cubicBezTo>
                  <a:close/>
                  <a:moveTo>
                    <a:pt x="486" y="401"/>
                  </a:moveTo>
                  <a:cubicBezTo>
                    <a:pt x="482" y="398"/>
                    <a:pt x="476" y="381"/>
                    <a:pt x="473" y="382"/>
                  </a:cubicBezTo>
                  <a:cubicBezTo>
                    <a:pt x="458" y="386"/>
                    <a:pt x="485" y="407"/>
                    <a:pt x="505" y="411"/>
                  </a:cubicBezTo>
                  <a:cubicBezTo>
                    <a:pt x="508" y="411"/>
                    <a:pt x="508" y="411"/>
                    <a:pt x="508" y="411"/>
                  </a:cubicBezTo>
                  <a:cubicBezTo>
                    <a:pt x="535" y="411"/>
                    <a:pt x="495" y="406"/>
                    <a:pt x="486" y="401"/>
                  </a:cubicBezTo>
                  <a:close/>
                  <a:moveTo>
                    <a:pt x="460" y="605"/>
                  </a:moveTo>
                  <a:cubicBezTo>
                    <a:pt x="465" y="608"/>
                    <a:pt x="473" y="614"/>
                    <a:pt x="475" y="617"/>
                  </a:cubicBezTo>
                  <a:cubicBezTo>
                    <a:pt x="481" y="623"/>
                    <a:pt x="467" y="614"/>
                    <a:pt x="465" y="619"/>
                  </a:cubicBezTo>
                  <a:cubicBezTo>
                    <a:pt x="465" y="620"/>
                    <a:pt x="474" y="622"/>
                    <a:pt x="475" y="623"/>
                  </a:cubicBezTo>
                  <a:cubicBezTo>
                    <a:pt x="484" y="625"/>
                    <a:pt x="486" y="643"/>
                    <a:pt x="494" y="648"/>
                  </a:cubicBezTo>
                  <a:cubicBezTo>
                    <a:pt x="500" y="652"/>
                    <a:pt x="515" y="653"/>
                    <a:pt x="516" y="651"/>
                  </a:cubicBezTo>
                  <a:cubicBezTo>
                    <a:pt x="517" y="651"/>
                    <a:pt x="507" y="648"/>
                    <a:pt x="505" y="646"/>
                  </a:cubicBezTo>
                  <a:cubicBezTo>
                    <a:pt x="498" y="636"/>
                    <a:pt x="504" y="655"/>
                    <a:pt x="496" y="645"/>
                  </a:cubicBezTo>
                  <a:cubicBezTo>
                    <a:pt x="484" y="627"/>
                    <a:pt x="483" y="613"/>
                    <a:pt x="465" y="604"/>
                  </a:cubicBezTo>
                  <a:cubicBezTo>
                    <a:pt x="463" y="603"/>
                    <a:pt x="455" y="598"/>
                    <a:pt x="454" y="599"/>
                  </a:cubicBezTo>
                  <a:cubicBezTo>
                    <a:pt x="453" y="599"/>
                    <a:pt x="459" y="605"/>
                    <a:pt x="460" y="605"/>
                  </a:cubicBezTo>
                  <a:close/>
                  <a:moveTo>
                    <a:pt x="396" y="533"/>
                  </a:moveTo>
                  <a:cubicBezTo>
                    <a:pt x="402" y="537"/>
                    <a:pt x="402" y="544"/>
                    <a:pt x="406" y="549"/>
                  </a:cubicBezTo>
                  <a:cubicBezTo>
                    <a:pt x="407" y="549"/>
                    <a:pt x="407" y="549"/>
                    <a:pt x="407" y="549"/>
                  </a:cubicBezTo>
                  <a:cubicBezTo>
                    <a:pt x="423" y="556"/>
                    <a:pt x="402" y="532"/>
                    <a:pt x="395" y="528"/>
                  </a:cubicBezTo>
                  <a:cubicBezTo>
                    <a:pt x="376" y="518"/>
                    <a:pt x="383" y="524"/>
                    <a:pt x="396" y="533"/>
                  </a:cubicBezTo>
                  <a:close/>
                  <a:moveTo>
                    <a:pt x="375" y="541"/>
                  </a:moveTo>
                  <a:cubicBezTo>
                    <a:pt x="376" y="545"/>
                    <a:pt x="394" y="559"/>
                    <a:pt x="399" y="559"/>
                  </a:cubicBezTo>
                  <a:cubicBezTo>
                    <a:pt x="406" y="560"/>
                    <a:pt x="414" y="558"/>
                    <a:pt x="422" y="559"/>
                  </a:cubicBezTo>
                  <a:cubicBezTo>
                    <a:pt x="423" y="559"/>
                    <a:pt x="429" y="559"/>
                    <a:pt x="429" y="558"/>
                  </a:cubicBezTo>
                  <a:cubicBezTo>
                    <a:pt x="428" y="554"/>
                    <a:pt x="405" y="557"/>
                    <a:pt x="402" y="556"/>
                  </a:cubicBezTo>
                  <a:cubicBezTo>
                    <a:pt x="392" y="553"/>
                    <a:pt x="386" y="531"/>
                    <a:pt x="370" y="531"/>
                  </a:cubicBezTo>
                  <a:cubicBezTo>
                    <a:pt x="367" y="530"/>
                    <a:pt x="375" y="540"/>
                    <a:pt x="375" y="541"/>
                  </a:cubicBezTo>
                  <a:close/>
                  <a:moveTo>
                    <a:pt x="359" y="480"/>
                  </a:moveTo>
                  <a:cubicBezTo>
                    <a:pt x="360" y="481"/>
                    <a:pt x="360" y="481"/>
                    <a:pt x="360" y="481"/>
                  </a:cubicBezTo>
                  <a:cubicBezTo>
                    <a:pt x="359" y="484"/>
                    <a:pt x="371" y="477"/>
                    <a:pt x="365" y="474"/>
                  </a:cubicBezTo>
                  <a:cubicBezTo>
                    <a:pt x="354" y="468"/>
                    <a:pt x="318" y="453"/>
                    <a:pt x="317" y="459"/>
                  </a:cubicBezTo>
                  <a:cubicBezTo>
                    <a:pt x="315" y="464"/>
                    <a:pt x="362" y="469"/>
                    <a:pt x="359" y="480"/>
                  </a:cubicBezTo>
                  <a:close/>
                  <a:moveTo>
                    <a:pt x="400" y="633"/>
                  </a:moveTo>
                  <a:cubicBezTo>
                    <a:pt x="400" y="633"/>
                    <a:pt x="385" y="632"/>
                    <a:pt x="383" y="630"/>
                  </a:cubicBezTo>
                  <a:cubicBezTo>
                    <a:pt x="383" y="629"/>
                    <a:pt x="383" y="629"/>
                    <a:pt x="383" y="629"/>
                  </a:cubicBezTo>
                  <a:cubicBezTo>
                    <a:pt x="377" y="627"/>
                    <a:pt x="376" y="617"/>
                    <a:pt x="373" y="616"/>
                  </a:cubicBezTo>
                  <a:cubicBezTo>
                    <a:pt x="371" y="616"/>
                    <a:pt x="375" y="626"/>
                    <a:pt x="371" y="625"/>
                  </a:cubicBezTo>
                  <a:cubicBezTo>
                    <a:pt x="368" y="624"/>
                    <a:pt x="339" y="615"/>
                    <a:pt x="340" y="622"/>
                  </a:cubicBezTo>
                  <a:cubicBezTo>
                    <a:pt x="340" y="625"/>
                    <a:pt x="363" y="625"/>
                    <a:pt x="366" y="627"/>
                  </a:cubicBezTo>
                  <a:cubicBezTo>
                    <a:pt x="370" y="628"/>
                    <a:pt x="396" y="642"/>
                    <a:pt x="400" y="633"/>
                  </a:cubicBezTo>
                  <a:close/>
                  <a:moveTo>
                    <a:pt x="436" y="780"/>
                  </a:moveTo>
                  <a:cubicBezTo>
                    <a:pt x="437" y="779"/>
                    <a:pt x="437" y="779"/>
                    <a:pt x="437" y="779"/>
                  </a:cubicBezTo>
                  <a:cubicBezTo>
                    <a:pt x="447" y="757"/>
                    <a:pt x="407" y="739"/>
                    <a:pt x="399" y="743"/>
                  </a:cubicBezTo>
                  <a:cubicBezTo>
                    <a:pt x="396" y="744"/>
                    <a:pt x="407" y="747"/>
                    <a:pt x="408" y="747"/>
                  </a:cubicBezTo>
                  <a:cubicBezTo>
                    <a:pt x="411" y="748"/>
                    <a:pt x="426" y="758"/>
                    <a:pt x="428" y="760"/>
                  </a:cubicBezTo>
                  <a:cubicBezTo>
                    <a:pt x="433" y="764"/>
                    <a:pt x="430" y="795"/>
                    <a:pt x="436" y="780"/>
                  </a:cubicBezTo>
                  <a:close/>
                  <a:moveTo>
                    <a:pt x="399" y="1195"/>
                  </a:moveTo>
                  <a:cubicBezTo>
                    <a:pt x="414" y="1193"/>
                    <a:pt x="412" y="1216"/>
                    <a:pt x="425" y="1216"/>
                  </a:cubicBezTo>
                  <a:cubicBezTo>
                    <a:pt x="427" y="1216"/>
                    <a:pt x="421" y="1210"/>
                    <a:pt x="421" y="1209"/>
                  </a:cubicBezTo>
                  <a:cubicBezTo>
                    <a:pt x="415" y="1201"/>
                    <a:pt x="426" y="1199"/>
                    <a:pt x="413" y="1195"/>
                  </a:cubicBezTo>
                  <a:cubicBezTo>
                    <a:pt x="413" y="1195"/>
                    <a:pt x="413" y="1195"/>
                    <a:pt x="413" y="1195"/>
                  </a:cubicBezTo>
                  <a:cubicBezTo>
                    <a:pt x="408" y="1193"/>
                    <a:pt x="412" y="1190"/>
                    <a:pt x="407" y="1190"/>
                  </a:cubicBezTo>
                  <a:cubicBezTo>
                    <a:pt x="405" y="1191"/>
                    <a:pt x="388" y="1196"/>
                    <a:pt x="399" y="1195"/>
                  </a:cubicBezTo>
                  <a:close/>
                  <a:moveTo>
                    <a:pt x="414" y="1287"/>
                  </a:moveTo>
                  <a:cubicBezTo>
                    <a:pt x="402" y="1308"/>
                    <a:pt x="425" y="1293"/>
                    <a:pt x="424" y="1284"/>
                  </a:cubicBezTo>
                  <a:cubicBezTo>
                    <a:pt x="424" y="1284"/>
                    <a:pt x="424" y="1284"/>
                    <a:pt x="424" y="1284"/>
                  </a:cubicBezTo>
                  <a:cubicBezTo>
                    <a:pt x="418" y="1278"/>
                    <a:pt x="416" y="1284"/>
                    <a:pt x="414" y="1287"/>
                  </a:cubicBezTo>
                  <a:close/>
                  <a:moveTo>
                    <a:pt x="392" y="1446"/>
                  </a:moveTo>
                  <a:cubicBezTo>
                    <a:pt x="392" y="1446"/>
                    <a:pt x="392" y="1446"/>
                    <a:pt x="392" y="1446"/>
                  </a:cubicBezTo>
                  <a:cubicBezTo>
                    <a:pt x="393" y="1440"/>
                    <a:pt x="381" y="1445"/>
                    <a:pt x="382" y="1448"/>
                  </a:cubicBezTo>
                  <a:cubicBezTo>
                    <a:pt x="384" y="1455"/>
                    <a:pt x="403" y="1453"/>
                    <a:pt x="392" y="1446"/>
                  </a:cubicBezTo>
                  <a:close/>
                  <a:moveTo>
                    <a:pt x="361" y="950"/>
                  </a:moveTo>
                  <a:cubicBezTo>
                    <a:pt x="370" y="953"/>
                    <a:pt x="374" y="954"/>
                    <a:pt x="382" y="960"/>
                  </a:cubicBezTo>
                  <a:cubicBezTo>
                    <a:pt x="386" y="964"/>
                    <a:pt x="393" y="973"/>
                    <a:pt x="396" y="969"/>
                  </a:cubicBezTo>
                  <a:cubicBezTo>
                    <a:pt x="400" y="962"/>
                    <a:pt x="366" y="938"/>
                    <a:pt x="366" y="937"/>
                  </a:cubicBezTo>
                  <a:cubicBezTo>
                    <a:pt x="366" y="937"/>
                    <a:pt x="366" y="937"/>
                    <a:pt x="366" y="937"/>
                  </a:cubicBezTo>
                  <a:cubicBezTo>
                    <a:pt x="367" y="936"/>
                    <a:pt x="362" y="937"/>
                    <a:pt x="363" y="938"/>
                  </a:cubicBezTo>
                  <a:cubicBezTo>
                    <a:pt x="364" y="942"/>
                    <a:pt x="358" y="949"/>
                    <a:pt x="361" y="950"/>
                  </a:cubicBezTo>
                  <a:close/>
                  <a:moveTo>
                    <a:pt x="353" y="1009"/>
                  </a:moveTo>
                  <a:cubicBezTo>
                    <a:pt x="352" y="1010"/>
                    <a:pt x="370" y="1038"/>
                    <a:pt x="361" y="1030"/>
                  </a:cubicBezTo>
                  <a:cubicBezTo>
                    <a:pt x="358" y="1026"/>
                    <a:pt x="350" y="1021"/>
                    <a:pt x="358" y="1029"/>
                  </a:cubicBezTo>
                  <a:cubicBezTo>
                    <a:pt x="358" y="1029"/>
                    <a:pt x="358" y="1029"/>
                    <a:pt x="358" y="1029"/>
                  </a:cubicBezTo>
                  <a:cubicBezTo>
                    <a:pt x="358" y="1030"/>
                    <a:pt x="358" y="1030"/>
                    <a:pt x="358" y="1030"/>
                  </a:cubicBezTo>
                  <a:cubicBezTo>
                    <a:pt x="360" y="1032"/>
                    <a:pt x="362" y="1034"/>
                    <a:pt x="364" y="1036"/>
                  </a:cubicBezTo>
                  <a:cubicBezTo>
                    <a:pt x="387" y="1053"/>
                    <a:pt x="359" y="1028"/>
                    <a:pt x="367" y="1020"/>
                  </a:cubicBezTo>
                  <a:cubicBezTo>
                    <a:pt x="368" y="1019"/>
                    <a:pt x="370" y="1019"/>
                    <a:pt x="372" y="1018"/>
                  </a:cubicBezTo>
                  <a:cubicBezTo>
                    <a:pt x="372" y="1018"/>
                    <a:pt x="373" y="1018"/>
                    <a:pt x="373" y="1018"/>
                  </a:cubicBezTo>
                  <a:cubicBezTo>
                    <a:pt x="383" y="1015"/>
                    <a:pt x="398" y="1017"/>
                    <a:pt x="397" y="1013"/>
                  </a:cubicBezTo>
                  <a:cubicBezTo>
                    <a:pt x="397" y="1011"/>
                    <a:pt x="378" y="1000"/>
                    <a:pt x="378" y="1004"/>
                  </a:cubicBezTo>
                  <a:cubicBezTo>
                    <a:pt x="377" y="1005"/>
                    <a:pt x="381" y="1005"/>
                    <a:pt x="381" y="1005"/>
                  </a:cubicBezTo>
                  <a:cubicBezTo>
                    <a:pt x="387" y="1006"/>
                    <a:pt x="392" y="1016"/>
                    <a:pt x="381" y="1008"/>
                  </a:cubicBezTo>
                  <a:cubicBezTo>
                    <a:pt x="373" y="1002"/>
                    <a:pt x="382" y="1013"/>
                    <a:pt x="382" y="1013"/>
                  </a:cubicBezTo>
                  <a:cubicBezTo>
                    <a:pt x="380" y="1015"/>
                    <a:pt x="377" y="1016"/>
                    <a:pt x="373" y="1018"/>
                  </a:cubicBezTo>
                  <a:cubicBezTo>
                    <a:pt x="373" y="1018"/>
                    <a:pt x="372" y="1018"/>
                    <a:pt x="372" y="1018"/>
                  </a:cubicBezTo>
                  <a:cubicBezTo>
                    <a:pt x="368" y="1019"/>
                    <a:pt x="363" y="1019"/>
                    <a:pt x="361" y="1018"/>
                  </a:cubicBezTo>
                  <a:cubicBezTo>
                    <a:pt x="359" y="1017"/>
                    <a:pt x="354" y="1008"/>
                    <a:pt x="353" y="1009"/>
                  </a:cubicBezTo>
                  <a:close/>
                  <a:moveTo>
                    <a:pt x="366" y="1507"/>
                  </a:moveTo>
                  <a:cubicBezTo>
                    <a:pt x="359" y="1507"/>
                    <a:pt x="368" y="1512"/>
                    <a:pt x="374" y="1509"/>
                  </a:cubicBezTo>
                  <a:cubicBezTo>
                    <a:pt x="375" y="1509"/>
                    <a:pt x="375" y="1509"/>
                    <a:pt x="375" y="1509"/>
                  </a:cubicBezTo>
                  <a:cubicBezTo>
                    <a:pt x="380" y="1507"/>
                    <a:pt x="369" y="1506"/>
                    <a:pt x="366" y="1507"/>
                  </a:cubicBezTo>
                  <a:close/>
                  <a:moveTo>
                    <a:pt x="362" y="1572"/>
                  </a:moveTo>
                  <a:cubicBezTo>
                    <a:pt x="362" y="1575"/>
                    <a:pt x="368" y="1572"/>
                    <a:pt x="370" y="1573"/>
                  </a:cubicBezTo>
                  <a:cubicBezTo>
                    <a:pt x="372" y="1577"/>
                    <a:pt x="379" y="1574"/>
                    <a:pt x="382" y="1573"/>
                  </a:cubicBezTo>
                  <a:cubicBezTo>
                    <a:pt x="383" y="1572"/>
                    <a:pt x="383" y="1572"/>
                    <a:pt x="383" y="1572"/>
                  </a:cubicBezTo>
                  <a:cubicBezTo>
                    <a:pt x="380" y="1569"/>
                    <a:pt x="362" y="1565"/>
                    <a:pt x="362" y="1572"/>
                  </a:cubicBezTo>
                  <a:close/>
                  <a:moveTo>
                    <a:pt x="325" y="1229"/>
                  </a:moveTo>
                  <a:cubicBezTo>
                    <a:pt x="325" y="1229"/>
                    <a:pt x="325" y="1229"/>
                    <a:pt x="325" y="1229"/>
                  </a:cubicBezTo>
                  <a:cubicBezTo>
                    <a:pt x="325" y="1224"/>
                    <a:pt x="309" y="1227"/>
                    <a:pt x="310" y="1232"/>
                  </a:cubicBezTo>
                  <a:cubicBezTo>
                    <a:pt x="312" y="1239"/>
                    <a:pt x="322" y="1240"/>
                    <a:pt x="327" y="1244"/>
                  </a:cubicBezTo>
                  <a:cubicBezTo>
                    <a:pt x="329" y="1247"/>
                    <a:pt x="330" y="1256"/>
                    <a:pt x="333" y="1255"/>
                  </a:cubicBezTo>
                  <a:cubicBezTo>
                    <a:pt x="335" y="1255"/>
                    <a:pt x="340" y="1244"/>
                    <a:pt x="350" y="1248"/>
                  </a:cubicBezTo>
                  <a:cubicBezTo>
                    <a:pt x="361" y="1252"/>
                    <a:pt x="338" y="1259"/>
                    <a:pt x="351" y="1258"/>
                  </a:cubicBezTo>
                  <a:cubicBezTo>
                    <a:pt x="352" y="1258"/>
                    <a:pt x="354" y="1264"/>
                    <a:pt x="356" y="1262"/>
                  </a:cubicBezTo>
                  <a:cubicBezTo>
                    <a:pt x="356" y="1261"/>
                    <a:pt x="355" y="1260"/>
                    <a:pt x="355" y="1259"/>
                  </a:cubicBezTo>
                  <a:cubicBezTo>
                    <a:pt x="350" y="1246"/>
                    <a:pt x="369" y="1244"/>
                    <a:pt x="366" y="1239"/>
                  </a:cubicBezTo>
                  <a:cubicBezTo>
                    <a:pt x="365" y="1238"/>
                    <a:pt x="361" y="1237"/>
                    <a:pt x="360" y="1237"/>
                  </a:cubicBezTo>
                  <a:cubicBezTo>
                    <a:pt x="354" y="1238"/>
                    <a:pt x="331" y="1242"/>
                    <a:pt x="325" y="1229"/>
                  </a:cubicBezTo>
                  <a:close/>
                  <a:moveTo>
                    <a:pt x="333" y="1427"/>
                  </a:moveTo>
                  <a:cubicBezTo>
                    <a:pt x="335" y="1423"/>
                    <a:pt x="326" y="1424"/>
                    <a:pt x="330" y="1417"/>
                  </a:cubicBezTo>
                  <a:cubicBezTo>
                    <a:pt x="328" y="1416"/>
                    <a:pt x="327" y="1417"/>
                    <a:pt x="325" y="1417"/>
                  </a:cubicBezTo>
                  <a:cubicBezTo>
                    <a:pt x="317" y="1416"/>
                    <a:pt x="319" y="1425"/>
                    <a:pt x="318" y="1425"/>
                  </a:cubicBezTo>
                  <a:cubicBezTo>
                    <a:pt x="317" y="1425"/>
                    <a:pt x="324" y="1439"/>
                    <a:pt x="328" y="1433"/>
                  </a:cubicBezTo>
                  <a:cubicBezTo>
                    <a:pt x="330" y="1432"/>
                    <a:pt x="324" y="1432"/>
                    <a:pt x="323" y="1431"/>
                  </a:cubicBezTo>
                  <a:cubicBezTo>
                    <a:pt x="316" y="1412"/>
                    <a:pt x="332" y="1429"/>
                    <a:pt x="333" y="1427"/>
                  </a:cubicBezTo>
                  <a:close/>
                  <a:moveTo>
                    <a:pt x="318" y="1465"/>
                  </a:moveTo>
                  <a:cubicBezTo>
                    <a:pt x="318" y="1465"/>
                    <a:pt x="318" y="1465"/>
                    <a:pt x="318" y="1465"/>
                  </a:cubicBezTo>
                  <a:cubicBezTo>
                    <a:pt x="321" y="1459"/>
                    <a:pt x="310" y="1467"/>
                    <a:pt x="309" y="1468"/>
                  </a:cubicBezTo>
                  <a:cubicBezTo>
                    <a:pt x="304" y="1474"/>
                    <a:pt x="316" y="1468"/>
                    <a:pt x="318" y="1465"/>
                  </a:cubicBezTo>
                  <a:close/>
                  <a:moveTo>
                    <a:pt x="306" y="1578"/>
                  </a:moveTo>
                  <a:cubicBezTo>
                    <a:pt x="315" y="1570"/>
                    <a:pt x="302" y="1567"/>
                    <a:pt x="300" y="1559"/>
                  </a:cubicBezTo>
                  <a:cubicBezTo>
                    <a:pt x="300" y="1557"/>
                    <a:pt x="296" y="1554"/>
                    <a:pt x="295" y="1553"/>
                  </a:cubicBezTo>
                  <a:cubicBezTo>
                    <a:pt x="290" y="1555"/>
                    <a:pt x="282" y="1562"/>
                    <a:pt x="284" y="1565"/>
                  </a:cubicBezTo>
                  <a:cubicBezTo>
                    <a:pt x="287" y="1574"/>
                    <a:pt x="291" y="1557"/>
                    <a:pt x="294" y="1558"/>
                  </a:cubicBezTo>
                  <a:cubicBezTo>
                    <a:pt x="299" y="1559"/>
                    <a:pt x="298" y="1569"/>
                    <a:pt x="303" y="1569"/>
                  </a:cubicBezTo>
                  <a:cubicBezTo>
                    <a:pt x="308" y="1569"/>
                    <a:pt x="305" y="1579"/>
                    <a:pt x="306" y="1578"/>
                  </a:cubicBezTo>
                  <a:close/>
                  <a:moveTo>
                    <a:pt x="277" y="1514"/>
                  </a:moveTo>
                  <a:cubicBezTo>
                    <a:pt x="277" y="1518"/>
                    <a:pt x="287" y="1512"/>
                    <a:pt x="290" y="1515"/>
                  </a:cubicBezTo>
                  <a:cubicBezTo>
                    <a:pt x="295" y="1521"/>
                    <a:pt x="301" y="1526"/>
                    <a:pt x="300" y="1509"/>
                  </a:cubicBezTo>
                  <a:cubicBezTo>
                    <a:pt x="299" y="1508"/>
                    <a:pt x="299" y="1508"/>
                    <a:pt x="299" y="1508"/>
                  </a:cubicBezTo>
                  <a:cubicBezTo>
                    <a:pt x="299" y="1508"/>
                    <a:pt x="299" y="1498"/>
                    <a:pt x="299" y="1498"/>
                  </a:cubicBezTo>
                  <a:cubicBezTo>
                    <a:pt x="292" y="1498"/>
                    <a:pt x="297" y="1506"/>
                    <a:pt x="291" y="1503"/>
                  </a:cubicBezTo>
                  <a:cubicBezTo>
                    <a:pt x="278" y="1495"/>
                    <a:pt x="292" y="1508"/>
                    <a:pt x="291" y="1510"/>
                  </a:cubicBezTo>
                  <a:cubicBezTo>
                    <a:pt x="290" y="1513"/>
                    <a:pt x="277" y="1507"/>
                    <a:pt x="277" y="1514"/>
                  </a:cubicBezTo>
                  <a:close/>
                  <a:moveTo>
                    <a:pt x="279" y="1245"/>
                  </a:moveTo>
                  <a:cubicBezTo>
                    <a:pt x="276" y="1243"/>
                    <a:pt x="275" y="1238"/>
                    <a:pt x="272" y="1236"/>
                  </a:cubicBezTo>
                  <a:cubicBezTo>
                    <a:pt x="269" y="1235"/>
                    <a:pt x="267" y="1232"/>
                    <a:pt x="264" y="1230"/>
                  </a:cubicBezTo>
                  <a:cubicBezTo>
                    <a:pt x="263" y="1230"/>
                    <a:pt x="263" y="1230"/>
                    <a:pt x="263" y="1230"/>
                  </a:cubicBezTo>
                  <a:cubicBezTo>
                    <a:pt x="260" y="1230"/>
                    <a:pt x="262" y="1233"/>
                    <a:pt x="264" y="1234"/>
                  </a:cubicBezTo>
                  <a:cubicBezTo>
                    <a:pt x="265" y="1234"/>
                    <a:pt x="266" y="1237"/>
                    <a:pt x="267" y="1238"/>
                  </a:cubicBezTo>
                  <a:cubicBezTo>
                    <a:pt x="267" y="1243"/>
                    <a:pt x="283" y="1248"/>
                    <a:pt x="279" y="1245"/>
                  </a:cubicBezTo>
                  <a:close/>
                  <a:moveTo>
                    <a:pt x="297" y="1399"/>
                  </a:moveTo>
                  <a:cubicBezTo>
                    <a:pt x="297" y="1399"/>
                    <a:pt x="297" y="1399"/>
                    <a:pt x="297" y="1399"/>
                  </a:cubicBezTo>
                  <a:cubicBezTo>
                    <a:pt x="297" y="1396"/>
                    <a:pt x="289" y="1400"/>
                    <a:pt x="289" y="1403"/>
                  </a:cubicBezTo>
                  <a:cubicBezTo>
                    <a:pt x="289" y="1410"/>
                    <a:pt x="300" y="1413"/>
                    <a:pt x="297" y="1399"/>
                  </a:cubicBezTo>
                  <a:close/>
                  <a:moveTo>
                    <a:pt x="291" y="1449"/>
                  </a:moveTo>
                  <a:cubicBezTo>
                    <a:pt x="296" y="1445"/>
                    <a:pt x="295" y="1442"/>
                    <a:pt x="293" y="1438"/>
                  </a:cubicBezTo>
                  <a:cubicBezTo>
                    <a:pt x="292" y="1437"/>
                    <a:pt x="292" y="1437"/>
                    <a:pt x="292" y="1437"/>
                  </a:cubicBezTo>
                  <a:cubicBezTo>
                    <a:pt x="290" y="1435"/>
                    <a:pt x="286" y="1455"/>
                    <a:pt x="291" y="1449"/>
                  </a:cubicBezTo>
                  <a:close/>
                  <a:moveTo>
                    <a:pt x="310" y="1553"/>
                  </a:moveTo>
                  <a:cubicBezTo>
                    <a:pt x="311" y="1553"/>
                    <a:pt x="315" y="1533"/>
                    <a:pt x="315" y="1531"/>
                  </a:cubicBezTo>
                  <a:cubicBezTo>
                    <a:pt x="315" y="1531"/>
                    <a:pt x="315" y="1531"/>
                    <a:pt x="315" y="1531"/>
                  </a:cubicBezTo>
                  <a:cubicBezTo>
                    <a:pt x="312" y="1528"/>
                    <a:pt x="310" y="1529"/>
                    <a:pt x="311" y="1533"/>
                  </a:cubicBezTo>
                  <a:cubicBezTo>
                    <a:pt x="312" y="1538"/>
                    <a:pt x="300" y="1531"/>
                    <a:pt x="298" y="1535"/>
                  </a:cubicBezTo>
                  <a:cubicBezTo>
                    <a:pt x="297" y="1538"/>
                    <a:pt x="308" y="1553"/>
                    <a:pt x="310" y="1553"/>
                  </a:cubicBezTo>
                  <a:close/>
                  <a:moveTo>
                    <a:pt x="325" y="933"/>
                  </a:moveTo>
                  <a:cubicBezTo>
                    <a:pt x="325" y="932"/>
                    <a:pt x="325" y="932"/>
                    <a:pt x="325" y="932"/>
                  </a:cubicBezTo>
                  <a:cubicBezTo>
                    <a:pt x="325" y="925"/>
                    <a:pt x="316" y="935"/>
                    <a:pt x="315" y="937"/>
                  </a:cubicBezTo>
                  <a:cubicBezTo>
                    <a:pt x="314" y="943"/>
                    <a:pt x="321" y="941"/>
                    <a:pt x="323" y="946"/>
                  </a:cubicBezTo>
                  <a:cubicBezTo>
                    <a:pt x="329" y="965"/>
                    <a:pt x="318" y="952"/>
                    <a:pt x="322" y="962"/>
                  </a:cubicBezTo>
                  <a:cubicBezTo>
                    <a:pt x="323" y="965"/>
                    <a:pt x="330" y="978"/>
                    <a:pt x="333" y="978"/>
                  </a:cubicBezTo>
                  <a:cubicBezTo>
                    <a:pt x="334" y="977"/>
                    <a:pt x="328" y="965"/>
                    <a:pt x="328" y="963"/>
                  </a:cubicBezTo>
                  <a:cubicBezTo>
                    <a:pt x="327" y="942"/>
                    <a:pt x="323" y="941"/>
                    <a:pt x="325" y="933"/>
                  </a:cubicBezTo>
                  <a:close/>
                  <a:moveTo>
                    <a:pt x="295" y="888"/>
                  </a:moveTo>
                  <a:cubicBezTo>
                    <a:pt x="292" y="888"/>
                    <a:pt x="268" y="879"/>
                    <a:pt x="268" y="880"/>
                  </a:cubicBezTo>
                  <a:cubicBezTo>
                    <a:pt x="267" y="883"/>
                    <a:pt x="284" y="892"/>
                    <a:pt x="282" y="898"/>
                  </a:cubicBezTo>
                  <a:cubicBezTo>
                    <a:pt x="281" y="900"/>
                    <a:pt x="268" y="888"/>
                    <a:pt x="264" y="888"/>
                  </a:cubicBezTo>
                  <a:cubicBezTo>
                    <a:pt x="263" y="888"/>
                    <a:pt x="264" y="891"/>
                    <a:pt x="264" y="892"/>
                  </a:cubicBezTo>
                  <a:cubicBezTo>
                    <a:pt x="270" y="898"/>
                    <a:pt x="297" y="907"/>
                    <a:pt x="301" y="912"/>
                  </a:cubicBezTo>
                  <a:cubicBezTo>
                    <a:pt x="306" y="920"/>
                    <a:pt x="307" y="943"/>
                    <a:pt x="305" y="944"/>
                  </a:cubicBezTo>
                  <a:cubicBezTo>
                    <a:pt x="302" y="945"/>
                    <a:pt x="299" y="928"/>
                    <a:pt x="298" y="930"/>
                  </a:cubicBezTo>
                  <a:cubicBezTo>
                    <a:pt x="296" y="933"/>
                    <a:pt x="299" y="945"/>
                    <a:pt x="301" y="946"/>
                  </a:cubicBezTo>
                  <a:cubicBezTo>
                    <a:pt x="304" y="948"/>
                    <a:pt x="309" y="951"/>
                    <a:pt x="308" y="954"/>
                  </a:cubicBezTo>
                  <a:cubicBezTo>
                    <a:pt x="308" y="954"/>
                    <a:pt x="304" y="963"/>
                    <a:pt x="306" y="961"/>
                  </a:cubicBezTo>
                  <a:cubicBezTo>
                    <a:pt x="316" y="955"/>
                    <a:pt x="309" y="939"/>
                    <a:pt x="310" y="929"/>
                  </a:cubicBezTo>
                  <a:cubicBezTo>
                    <a:pt x="310" y="928"/>
                    <a:pt x="310" y="928"/>
                    <a:pt x="310" y="928"/>
                  </a:cubicBezTo>
                  <a:cubicBezTo>
                    <a:pt x="308" y="921"/>
                    <a:pt x="300" y="907"/>
                    <a:pt x="311" y="905"/>
                  </a:cubicBezTo>
                  <a:cubicBezTo>
                    <a:pt x="317" y="903"/>
                    <a:pt x="329" y="906"/>
                    <a:pt x="333" y="911"/>
                  </a:cubicBezTo>
                  <a:cubicBezTo>
                    <a:pt x="333" y="912"/>
                    <a:pt x="339" y="920"/>
                    <a:pt x="339" y="916"/>
                  </a:cubicBezTo>
                  <a:cubicBezTo>
                    <a:pt x="340" y="914"/>
                    <a:pt x="314" y="887"/>
                    <a:pt x="313" y="886"/>
                  </a:cubicBezTo>
                  <a:cubicBezTo>
                    <a:pt x="308" y="885"/>
                    <a:pt x="313" y="894"/>
                    <a:pt x="308" y="894"/>
                  </a:cubicBezTo>
                  <a:cubicBezTo>
                    <a:pt x="301" y="894"/>
                    <a:pt x="301" y="888"/>
                    <a:pt x="295" y="888"/>
                  </a:cubicBezTo>
                  <a:close/>
                  <a:moveTo>
                    <a:pt x="275" y="844"/>
                  </a:moveTo>
                  <a:cubicBezTo>
                    <a:pt x="278" y="844"/>
                    <a:pt x="291" y="849"/>
                    <a:pt x="293" y="847"/>
                  </a:cubicBezTo>
                  <a:cubicBezTo>
                    <a:pt x="296" y="845"/>
                    <a:pt x="271" y="839"/>
                    <a:pt x="269" y="838"/>
                  </a:cubicBezTo>
                  <a:cubicBezTo>
                    <a:pt x="268" y="838"/>
                    <a:pt x="268" y="838"/>
                    <a:pt x="268" y="838"/>
                  </a:cubicBezTo>
                  <a:cubicBezTo>
                    <a:pt x="249" y="821"/>
                    <a:pt x="258" y="845"/>
                    <a:pt x="275" y="844"/>
                  </a:cubicBezTo>
                  <a:close/>
                  <a:moveTo>
                    <a:pt x="254" y="1262"/>
                  </a:moveTo>
                  <a:cubicBezTo>
                    <a:pt x="259" y="1263"/>
                    <a:pt x="261" y="1254"/>
                    <a:pt x="262" y="1251"/>
                  </a:cubicBezTo>
                  <a:cubicBezTo>
                    <a:pt x="262" y="1251"/>
                    <a:pt x="262" y="1251"/>
                    <a:pt x="262" y="1251"/>
                  </a:cubicBezTo>
                  <a:cubicBezTo>
                    <a:pt x="265" y="1244"/>
                    <a:pt x="247" y="1259"/>
                    <a:pt x="254" y="1262"/>
                  </a:cubicBezTo>
                  <a:close/>
                  <a:moveTo>
                    <a:pt x="201" y="1128"/>
                  </a:moveTo>
                  <a:cubicBezTo>
                    <a:pt x="201" y="1128"/>
                    <a:pt x="201" y="1128"/>
                    <a:pt x="201" y="1128"/>
                  </a:cubicBezTo>
                  <a:cubicBezTo>
                    <a:pt x="196" y="1124"/>
                    <a:pt x="210" y="1141"/>
                    <a:pt x="215" y="1144"/>
                  </a:cubicBezTo>
                  <a:cubicBezTo>
                    <a:pt x="221" y="1149"/>
                    <a:pt x="231" y="1148"/>
                    <a:pt x="238" y="1153"/>
                  </a:cubicBezTo>
                  <a:cubicBezTo>
                    <a:pt x="239" y="1154"/>
                    <a:pt x="240" y="1156"/>
                    <a:pt x="241" y="1157"/>
                  </a:cubicBezTo>
                  <a:cubicBezTo>
                    <a:pt x="241" y="1158"/>
                    <a:pt x="242" y="1165"/>
                    <a:pt x="244" y="1162"/>
                  </a:cubicBezTo>
                  <a:cubicBezTo>
                    <a:pt x="249" y="1154"/>
                    <a:pt x="212" y="1139"/>
                    <a:pt x="201" y="1128"/>
                  </a:cubicBezTo>
                  <a:close/>
                  <a:moveTo>
                    <a:pt x="190" y="1374"/>
                  </a:moveTo>
                  <a:cubicBezTo>
                    <a:pt x="189" y="1371"/>
                    <a:pt x="191" y="1369"/>
                    <a:pt x="190" y="1367"/>
                  </a:cubicBezTo>
                  <a:cubicBezTo>
                    <a:pt x="189" y="1366"/>
                    <a:pt x="189" y="1366"/>
                    <a:pt x="189" y="1366"/>
                  </a:cubicBezTo>
                  <a:cubicBezTo>
                    <a:pt x="188" y="1363"/>
                    <a:pt x="182" y="1348"/>
                    <a:pt x="179" y="1349"/>
                  </a:cubicBezTo>
                  <a:cubicBezTo>
                    <a:pt x="173" y="1350"/>
                    <a:pt x="207" y="1403"/>
                    <a:pt x="190" y="1374"/>
                  </a:cubicBezTo>
                  <a:close/>
                  <a:moveTo>
                    <a:pt x="180" y="1391"/>
                  </a:moveTo>
                  <a:cubicBezTo>
                    <a:pt x="179" y="1391"/>
                    <a:pt x="179" y="1391"/>
                    <a:pt x="179" y="1391"/>
                  </a:cubicBezTo>
                  <a:cubicBezTo>
                    <a:pt x="176" y="1386"/>
                    <a:pt x="173" y="1372"/>
                    <a:pt x="170" y="1377"/>
                  </a:cubicBezTo>
                  <a:cubicBezTo>
                    <a:pt x="166" y="1384"/>
                    <a:pt x="182" y="1395"/>
                    <a:pt x="180" y="1391"/>
                  </a:cubicBezTo>
                  <a:close/>
                  <a:moveTo>
                    <a:pt x="205" y="1430"/>
                  </a:moveTo>
                  <a:cubicBezTo>
                    <a:pt x="205" y="1431"/>
                    <a:pt x="206" y="1434"/>
                    <a:pt x="207" y="1434"/>
                  </a:cubicBezTo>
                  <a:cubicBezTo>
                    <a:pt x="209" y="1434"/>
                    <a:pt x="208" y="1430"/>
                    <a:pt x="208" y="1429"/>
                  </a:cubicBezTo>
                  <a:cubicBezTo>
                    <a:pt x="208" y="1414"/>
                    <a:pt x="193" y="1408"/>
                    <a:pt x="193" y="1393"/>
                  </a:cubicBezTo>
                  <a:cubicBezTo>
                    <a:pt x="193" y="1393"/>
                    <a:pt x="193" y="1393"/>
                    <a:pt x="193" y="1393"/>
                  </a:cubicBezTo>
                  <a:cubicBezTo>
                    <a:pt x="185" y="1385"/>
                    <a:pt x="204" y="1430"/>
                    <a:pt x="205" y="1430"/>
                  </a:cubicBezTo>
                  <a:close/>
                  <a:moveTo>
                    <a:pt x="219" y="1068"/>
                  </a:moveTo>
                  <a:cubicBezTo>
                    <a:pt x="221" y="1065"/>
                    <a:pt x="206" y="1060"/>
                    <a:pt x="203" y="1060"/>
                  </a:cubicBezTo>
                  <a:cubicBezTo>
                    <a:pt x="203" y="1060"/>
                    <a:pt x="203" y="1060"/>
                    <a:pt x="203" y="1060"/>
                  </a:cubicBezTo>
                  <a:cubicBezTo>
                    <a:pt x="196" y="1060"/>
                    <a:pt x="217" y="1070"/>
                    <a:pt x="219" y="1068"/>
                  </a:cubicBezTo>
                  <a:close/>
                  <a:moveTo>
                    <a:pt x="210" y="896"/>
                  </a:moveTo>
                  <a:cubicBezTo>
                    <a:pt x="210" y="896"/>
                    <a:pt x="210" y="896"/>
                    <a:pt x="210" y="896"/>
                  </a:cubicBezTo>
                  <a:cubicBezTo>
                    <a:pt x="204" y="893"/>
                    <a:pt x="184" y="897"/>
                    <a:pt x="190" y="900"/>
                  </a:cubicBezTo>
                  <a:cubicBezTo>
                    <a:pt x="198" y="904"/>
                    <a:pt x="203" y="897"/>
                    <a:pt x="212" y="901"/>
                  </a:cubicBezTo>
                  <a:cubicBezTo>
                    <a:pt x="213" y="901"/>
                    <a:pt x="228" y="905"/>
                    <a:pt x="226" y="901"/>
                  </a:cubicBezTo>
                  <a:cubicBezTo>
                    <a:pt x="225" y="898"/>
                    <a:pt x="214" y="899"/>
                    <a:pt x="210" y="896"/>
                  </a:cubicBezTo>
                  <a:close/>
                  <a:moveTo>
                    <a:pt x="205" y="863"/>
                  </a:moveTo>
                  <a:cubicBezTo>
                    <a:pt x="206" y="863"/>
                    <a:pt x="211" y="869"/>
                    <a:pt x="212" y="869"/>
                  </a:cubicBezTo>
                  <a:cubicBezTo>
                    <a:pt x="219" y="861"/>
                    <a:pt x="189" y="852"/>
                    <a:pt x="185" y="847"/>
                  </a:cubicBezTo>
                  <a:cubicBezTo>
                    <a:pt x="176" y="836"/>
                    <a:pt x="193" y="842"/>
                    <a:pt x="195" y="839"/>
                  </a:cubicBezTo>
                  <a:cubicBezTo>
                    <a:pt x="198" y="833"/>
                    <a:pt x="181" y="835"/>
                    <a:pt x="180" y="828"/>
                  </a:cubicBezTo>
                  <a:cubicBezTo>
                    <a:pt x="177" y="815"/>
                    <a:pt x="214" y="842"/>
                    <a:pt x="203" y="822"/>
                  </a:cubicBezTo>
                  <a:cubicBezTo>
                    <a:pt x="203" y="821"/>
                    <a:pt x="203" y="821"/>
                    <a:pt x="203" y="821"/>
                  </a:cubicBezTo>
                  <a:cubicBezTo>
                    <a:pt x="197" y="818"/>
                    <a:pt x="187" y="821"/>
                    <a:pt x="181" y="822"/>
                  </a:cubicBezTo>
                  <a:cubicBezTo>
                    <a:pt x="179" y="822"/>
                    <a:pt x="173" y="828"/>
                    <a:pt x="173" y="829"/>
                  </a:cubicBezTo>
                  <a:cubicBezTo>
                    <a:pt x="172" y="832"/>
                    <a:pt x="167" y="828"/>
                    <a:pt x="167" y="830"/>
                  </a:cubicBezTo>
                  <a:cubicBezTo>
                    <a:pt x="161" y="840"/>
                    <a:pt x="199" y="859"/>
                    <a:pt x="205" y="863"/>
                  </a:cubicBezTo>
                  <a:close/>
                  <a:moveTo>
                    <a:pt x="130" y="824"/>
                  </a:moveTo>
                  <a:cubicBezTo>
                    <a:pt x="134" y="826"/>
                    <a:pt x="160" y="831"/>
                    <a:pt x="162" y="827"/>
                  </a:cubicBezTo>
                  <a:cubicBezTo>
                    <a:pt x="162" y="827"/>
                    <a:pt x="130" y="824"/>
                    <a:pt x="130" y="816"/>
                  </a:cubicBezTo>
                  <a:cubicBezTo>
                    <a:pt x="130" y="816"/>
                    <a:pt x="130" y="816"/>
                    <a:pt x="130" y="816"/>
                  </a:cubicBezTo>
                  <a:cubicBezTo>
                    <a:pt x="126" y="812"/>
                    <a:pt x="127" y="821"/>
                    <a:pt x="130" y="824"/>
                  </a:cubicBezTo>
                  <a:close/>
                  <a:moveTo>
                    <a:pt x="132" y="833"/>
                  </a:moveTo>
                  <a:cubicBezTo>
                    <a:pt x="136" y="834"/>
                    <a:pt x="142" y="845"/>
                    <a:pt x="147" y="842"/>
                  </a:cubicBezTo>
                  <a:cubicBezTo>
                    <a:pt x="152" y="840"/>
                    <a:pt x="146" y="834"/>
                    <a:pt x="144" y="832"/>
                  </a:cubicBezTo>
                  <a:cubicBezTo>
                    <a:pt x="144" y="832"/>
                    <a:pt x="144" y="832"/>
                    <a:pt x="144" y="832"/>
                  </a:cubicBezTo>
                  <a:cubicBezTo>
                    <a:pt x="143" y="831"/>
                    <a:pt x="127" y="830"/>
                    <a:pt x="127" y="831"/>
                  </a:cubicBezTo>
                  <a:cubicBezTo>
                    <a:pt x="127" y="832"/>
                    <a:pt x="131" y="833"/>
                    <a:pt x="132" y="833"/>
                  </a:cubicBezTo>
                  <a:close/>
                  <a:moveTo>
                    <a:pt x="142" y="895"/>
                  </a:moveTo>
                  <a:cubicBezTo>
                    <a:pt x="146" y="894"/>
                    <a:pt x="144" y="892"/>
                    <a:pt x="145" y="889"/>
                  </a:cubicBezTo>
                  <a:cubicBezTo>
                    <a:pt x="146" y="885"/>
                    <a:pt x="144" y="887"/>
                    <a:pt x="144" y="883"/>
                  </a:cubicBezTo>
                  <a:cubicBezTo>
                    <a:pt x="144" y="882"/>
                    <a:pt x="144" y="882"/>
                    <a:pt x="144" y="882"/>
                  </a:cubicBezTo>
                  <a:cubicBezTo>
                    <a:pt x="137" y="874"/>
                    <a:pt x="122" y="898"/>
                    <a:pt x="142" y="895"/>
                  </a:cubicBezTo>
                  <a:close/>
                  <a:moveTo>
                    <a:pt x="172" y="1018"/>
                  </a:moveTo>
                  <a:cubicBezTo>
                    <a:pt x="169" y="1010"/>
                    <a:pt x="148" y="1008"/>
                    <a:pt x="146" y="999"/>
                  </a:cubicBezTo>
                  <a:cubicBezTo>
                    <a:pt x="146" y="999"/>
                    <a:pt x="146" y="999"/>
                    <a:pt x="146" y="999"/>
                  </a:cubicBezTo>
                  <a:cubicBezTo>
                    <a:pt x="144" y="997"/>
                    <a:pt x="143" y="998"/>
                    <a:pt x="144" y="1000"/>
                  </a:cubicBezTo>
                  <a:cubicBezTo>
                    <a:pt x="147" y="1004"/>
                    <a:pt x="152" y="1006"/>
                    <a:pt x="154" y="1011"/>
                  </a:cubicBezTo>
                  <a:cubicBezTo>
                    <a:pt x="156" y="1017"/>
                    <a:pt x="175" y="1024"/>
                    <a:pt x="172" y="1018"/>
                  </a:cubicBezTo>
                  <a:close/>
                  <a:moveTo>
                    <a:pt x="168" y="1429"/>
                  </a:moveTo>
                  <a:cubicBezTo>
                    <a:pt x="169" y="1427"/>
                    <a:pt x="170" y="1434"/>
                    <a:pt x="171" y="1435"/>
                  </a:cubicBezTo>
                  <a:cubicBezTo>
                    <a:pt x="172" y="1437"/>
                    <a:pt x="185" y="1452"/>
                    <a:pt x="186" y="1452"/>
                  </a:cubicBezTo>
                  <a:cubicBezTo>
                    <a:pt x="190" y="1451"/>
                    <a:pt x="180" y="1441"/>
                    <a:pt x="180" y="1440"/>
                  </a:cubicBezTo>
                  <a:cubicBezTo>
                    <a:pt x="179" y="1440"/>
                    <a:pt x="179" y="1440"/>
                    <a:pt x="179" y="1440"/>
                  </a:cubicBezTo>
                  <a:cubicBezTo>
                    <a:pt x="175" y="1436"/>
                    <a:pt x="173" y="1416"/>
                    <a:pt x="171" y="1415"/>
                  </a:cubicBezTo>
                  <a:cubicBezTo>
                    <a:pt x="168" y="1415"/>
                    <a:pt x="170" y="1417"/>
                    <a:pt x="170" y="1418"/>
                  </a:cubicBezTo>
                  <a:cubicBezTo>
                    <a:pt x="175" y="1430"/>
                    <a:pt x="165" y="1423"/>
                    <a:pt x="162" y="1422"/>
                  </a:cubicBezTo>
                  <a:cubicBezTo>
                    <a:pt x="160" y="1422"/>
                    <a:pt x="165" y="1432"/>
                    <a:pt x="168" y="1429"/>
                  </a:cubicBezTo>
                  <a:close/>
                  <a:moveTo>
                    <a:pt x="152" y="1437"/>
                  </a:moveTo>
                  <a:cubicBezTo>
                    <a:pt x="153" y="1438"/>
                    <a:pt x="164" y="1459"/>
                    <a:pt x="164" y="1458"/>
                  </a:cubicBezTo>
                  <a:cubicBezTo>
                    <a:pt x="167" y="1455"/>
                    <a:pt x="164" y="1453"/>
                    <a:pt x="163" y="1452"/>
                  </a:cubicBezTo>
                  <a:cubicBezTo>
                    <a:pt x="148" y="1435"/>
                    <a:pt x="145" y="1423"/>
                    <a:pt x="133" y="1414"/>
                  </a:cubicBezTo>
                  <a:cubicBezTo>
                    <a:pt x="133" y="1414"/>
                    <a:pt x="133" y="1414"/>
                    <a:pt x="133" y="1414"/>
                  </a:cubicBezTo>
                  <a:cubicBezTo>
                    <a:pt x="130" y="1413"/>
                    <a:pt x="132" y="1415"/>
                    <a:pt x="130" y="1416"/>
                  </a:cubicBezTo>
                  <a:cubicBezTo>
                    <a:pt x="125" y="1417"/>
                    <a:pt x="146" y="1432"/>
                    <a:pt x="152" y="1437"/>
                  </a:cubicBezTo>
                  <a:close/>
                  <a:moveTo>
                    <a:pt x="133" y="1445"/>
                  </a:moveTo>
                  <a:cubicBezTo>
                    <a:pt x="136" y="1444"/>
                    <a:pt x="137" y="1438"/>
                    <a:pt x="135" y="1436"/>
                  </a:cubicBezTo>
                  <a:cubicBezTo>
                    <a:pt x="132" y="1433"/>
                    <a:pt x="126" y="1439"/>
                    <a:pt x="127" y="1434"/>
                  </a:cubicBezTo>
                  <a:cubicBezTo>
                    <a:pt x="127" y="1434"/>
                    <a:pt x="127" y="1434"/>
                    <a:pt x="127" y="1434"/>
                  </a:cubicBezTo>
                  <a:cubicBezTo>
                    <a:pt x="125" y="1429"/>
                    <a:pt x="124" y="1446"/>
                    <a:pt x="133" y="1445"/>
                  </a:cubicBezTo>
                  <a:close/>
                  <a:moveTo>
                    <a:pt x="118" y="1485"/>
                  </a:moveTo>
                  <a:cubicBezTo>
                    <a:pt x="119" y="1486"/>
                    <a:pt x="120" y="1493"/>
                    <a:pt x="120" y="1493"/>
                  </a:cubicBezTo>
                  <a:cubicBezTo>
                    <a:pt x="120" y="1493"/>
                    <a:pt x="123" y="1471"/>
                    <a:pt x="123" y="1470"/>
                  </a:cubicBezTo>
                  <a:cubicBezTo>
                    <a:pt x="120" y="1470"/>
                    <a:pt x="119" y="1475"/>
                    <a:pt x="119" y="1478"/>
                  </a:cubicBezTo>
                  <a:cubicBezTo>
                    <a:pt x="119" y="1481"/>
                    <a:pt x="118" y="1469"/>
                    <a:pt x="115" y="1474"/>
                  </a:cubicBezTo>
                  <a:cubicBezTo>
                    <a:pt x="107" y="1486"/>
                    <a:pt x="102" y="1475"/>
                    <a:pt x="102" y="1457"/>
                  </a:cubicBezTo>
                  <a:cubicBezTo>
                    <a:pt x="102" y="1456"/>
                    <a:pt x="102" y="1456"/>
                    <a:pt x="102" y="1456"/>
                  </a:cubicBezTo>
                  <a:cubicBezTo>
                    <a:pt x="99" y="1451"/>
                    <a:pt x="99" y="1468"/>
                    <a:pt x="99" y="1469"/>
                  </a:cubicBezTo>
                  <a:cubicBezTo>
                    <a:pt x="98" y="1487"/>
                    <a:pt x="117" y="1481"/>
                    <a:pt x="118" y="1485"/>
                  </a:cubicBezTo>
                  <a:close/>
                  <a:moveTo>
                    <a:pt x="128" y="1717"/>
                  </a:moveTo>
                  <a:cubicBezTo>
                    <a:pt x="128" y="1717"/>
                    <a:pt x="128" y="1717"/>
                    <a:pt x="128" y="1717"/>
                  </a:cubicBezTo>
                  <a:cubicBezTo>
                    <a:pt x="126" y="1714"/>
                    <a:pt x="121" y="1722"/>
                    <a:pt x="118" y="1723"/>
                  </a:cubicBezTo>
                  <a:cubicBezTo>
                    <a:pt x="117" y="1724"/>
                    <a:pt x="107" y="1726"/>
                    <a:pt x="107" y="1728"/>
                  </a:cubicBezTo>
                  <a:cubicBezTo>
                    <a:pt x="108" y="1730"/>
                    <a:pt x="131" y="1724"/>
                    <a:pt x="128" y="1717"/>
                  </a:cubicBezTo>
                  <a:close/>
                  <a:moveTo>
                    <a:pt x="128" y="1660"/>
                  </a:moveTo>
                  <a:cubicBezTo>
                    <a:pt x="124" y="1662"/>
                    <a:pt x="120" y="1662"/>
                    <a:pt x="119" y="1667"/>
                  </a:cubicBezTo>
                  <a:cubicBezTo>
                    <a:pt x="118" y="1668"/>
                    <a:pt x="117" y="1675"/>
                    <a:pt x="121" y="1672"/>
                  </a:cubicBezTo>
                  <a:cubicBezTo>
                    <a:pt x="125" y="1668"/>
                    <a:pt x="129" y="1663"/>
                    <a:pt x="133" y="1660"/>
                  </a:cubicBezTo>
                  <a:cubicBezTo>
                    <a:pt x="133" y="1660"/>
                    <a:pt x="133" y="1660"/>
                    <a:pt x="133" y="1660"/>
                  </a:cubicBezTo>
                  <a:cubicBezTo>
                    <a:pt x="133" y="1657"/>
                    <a:pt x="130" y="1660"/>
                    <a:pt x="128" y="1660"/>
                  </a:cubicBezTo>
                  <a:close/>
                  <a:moveTo>
                    <a:pt x="213" y="1681"/>
                  </a:moveTo>
                  <a:cubicBezTo>
                    <a:pt x="213" y="1676"/>
                    <a:pt x="203" y="1693"/>
                    <a:pt x="207" y="1695"/>
                  </a:cubicBezTo>
                  <a:cubicBezTo>
                    <a:pt x="214" y="1697"/>
                    <a:pt x="213" y="1684"/>
                    <a:pt x="213" y="1681"/>
                  </a:cubicBezTo>
                  <a:close/>
                  <a:moveTo>
                    <a:pt x="253" y="1790"/>
                  </a:moveTo>
                  <a:cubicBezTo>
                    <a:pt x="245" y="1763"/>
                    <a:pt x="227" y="1812"/>
                    <a:pt x="236" y="1823"/>
                  </a:cubicBezTo>
                  <a:cubicBezTo>
                    <a:pt x="238" y="1826"/>
                    <a:pt x="251" y="1791"/>
                    <a:pt x="252" y="1791"/>
                  </a:cubicBezTo>
                  <a:lnTo>
                    <a:pt x="253" y="1790"/>
                  </a:lnTo>
                  <a:close/>
                  <a:moveTo>
                    <a:pt x="258" y="1543"/>
                  </a:moveTo>
                  <a:cubicBezTo>
                    <a:pt x="259" y="1542"/>
                    <a:pt x="273" y="1524"/>
                    <a:pt x="270" y="1515"/>
                  </a:cubicBezTo>
                  <a:cubicBezTo>
                    <a:pt x="269" y="1514"/>
                    <a:pt x="264" y="1512"/>
                    <a:pt x="265" y="1510"/>
                  </a:cubicBezTo>
                  <a:cubicBezTo>
                    <a:pt x="266" y="1509"/>
                    <a:pt x="283" y="1504"/>
                    <a:pt x="279" y="1500"/>
                  </a:cubicBezTo>
                  <a:cubicBezTo>
                    <a:pt x="271" y="1491"/>
                    <a:pt x="261" y="1509"/>
                    <a:pt x="262" y="1496"/>
                  </a:cubicBezTo>
                  <a:cubicBezTo>
                    <a:pt x="262" y="1488"/>
                    <a:pt x="282" y="1472"/>
                    <a:pt x="275" y="1463"/>
                  </a:cubicBezTo>
                  <a:cubicBezTo>
                    <a:pt x="270" y="1458"/>
                    <a:pt x="261" y="1464"/>
                    <a:pt x="257" y="1465"/>
                  </a:cubicBezTo>
                  <a:cubicBezTo>
                    <a:pt x="254" y="1465"/>
                    <a:pt x="254" y="1458"/>
                    <a:pt x="251" y="1458"/>
                  </a:cubicBezTo>
                  <a:cubicBezTo>
                    <a:pt x="249" y="1457"/>
                    <a:pt x="253" y="1464"/>
                    <a:pt x="246" y="1463"/>
                  </a:cubicBezTo>
                  <a:cubicBezTo>
                    <a:pt x="241" y="1463"/>
                    <a:pt x="249" y="1454"/>
                    <a:pt x="248" y="1453"/>
                  </a:cubicBezTo>
                  <a:cubicBezTo>
                    <a:pt x="245" y="1451"/>
                    <a:pt x="242" y="1457"/>
                    <a:pt x="239" y="1456"/>
                  </a:cubicBezTo>
                  <a:cubicBezTo>
                    <a:pt x="236" y="1454"/>
                    <a:pt x="240" y="1451"/>
                    <a:pt x="239" y="1451"/>
                  </a:cubicBezTo>
                  <a:cubicBezTo>
                    <a:pt x="236" y="1450"/>
                    <a:pt x="201" y="1459"/>
                    <a:pt x="200" y="1460"/>
                  </a:cubicBezTo>
                  <a:cubicBezTo>
                    <a:pt x="198" y="1462"/>
                    <a:pt x="205" y="1464"/>
                    <a:pt x="204" y="1466"/>
                  </a:cubicBezTo>
                  <a:cubicBezTo>
                    <a:pt x="203" y="1467"/>
                    <a:pt x="196" y="1466"/>
                    <a:pt x="196" y="1464"/>
                  </a:cubicBezTo>
                  <a:cubicBezTo>
                    <a:pt x="189" y="1449"/>
                    <a:pt x="195" y="1466"/>
                    <a:pt x="191" y="1470"/>
                  </a:cubicBezTo>
                  <a:cubicBezTo>
                    <a:pt x="189" y="1473"/>
                    <a:pt x="187" y="1468"/>
                    <a:pt x="186" y="1469"/>
                  </a:cubicBezTo>
                  <a:cubicBezTo>
                    <a:pt x="186" y="1469"/>
                    <a:pt x="209" y="1522"/>
                    <a:pt x="198" y="1526"/>
                  </a:cubicBezTo>
                  <a:cubicBezTo>
                    <a:pt x="197" y="1526"/>
                    <a:pt x="197" y="1526"/>
                    <a:pt x="197" y="1526"/>
                  </a:cubicBezTo>
                  <a:cubicBezTo>
                    <a:pt x="187" y="1524"/>
                    <a:pt x="188" y="1511"/>
                    <a:pt x="185" y="1507"/>
                  </a:cubicBezTo>
                  <a:cubicBezTo>
                    <a:pt x="178" y="1500"/>
                    <a:pt x="172" y="1506"/>
                    <a:pt x="169" y="1498"/>
                  </a:cubicBezTo>
                  <a:cubicBezTo>
                    <a:pt x="169" y="1497"/>
                    <a:pt x="169" y="1496"/>
                    <a:pt x="168" y="1496"/>
                  </a:cubicBezTo>
                  <a:cubicBezTo>
                    <a:pt x="141" y="1504"/>
                    <a:pt x="150" y="1534"/>
                    <a:pt x="140" y="1536"/>
                  </a:cubicBezTo>
                  <a:cubicBezTo>
                    <a:pt x="134" y="1537"/>
                    <a:pt x="141" y="1513"/>
                    <a:pt x="129" y="1514"/>
                  </a:cubicBezTo>
                  <a:cubicBezTo>
                    <a:pt x="128" y="1514"/>
                    <a:pt x="135" y="1534"/>
                    <a:pt x="135" y="1536"/>
                  </a:cubicBezTo>
                  <a:cubicBezTo>
                    <a:pt x="134" y="1538"/>
                    <a:pt x="124" y="1529"/>
                    <a:pt x="127" y="1537"/>
                  </a:cubicBezTo>
                  <a:cubicBezTo>
                    <a:pt x="130" y="1547"/>
                    <a:pt x="137" y="1533"/>
                    <a:pt x="134" y="1544"/>
                  </a:cubicBezTo>
                  <a:cubicBezTo>
                    <a:pt x="133" y="1548"/>
                    <a:pt x="134" y="1554"/>
                    <a:pt x="136" y="1556"/>
                  </a:cubicBezTo>
                  <a:cubicBezTo>
                    <a:pt x="138" y="1558"/>
                    <a:pt x="147" y="1560"/>
                    <a:pt x="147" y="1560"/>
                  </a:cubicBezTo>
                  <a:cubicBezTo>
                    <a:pt x="143" y="1574"/>
                    <a:pt x="117" y="1583"/>
                    <a:pt x="117" y="1594"/>
                  </a:cubicBezTo>
                  <a:cubicBezTo>
                    <a:pt x="117" y="1595"/>
                    <a:pt x="117" y="1597"/>
                    <a:pt x="118" y="1597"/>
                  </a:cubicBezTo>
                  <a:cubicBezTo>
                    <a:pt x="132" y="1604"/>
                    <a:pt x="138" y="1584"/>
                    <a:pt x="146" y="1583"/>
                  </a:cubicBezTo>
                  <a:cubicBezTo>
                    <a:pt x="152" y="1582"/>
                    <a:pt x="133" y="1600"/>
                    <a:pt x="139" y="1601"/>
                  </a:cubicBezTo>
                  <a:cubicBezTo>
                    <a:pt x="146" y="1602"/>
                    <a:pt x="151" y="1593"/>
                    <a:pt x="150" y="1589"/>
                  </a:cubicBezTo>
                  <a:cubicBezTo>
                    <a:pt x="149" y="1586"/>
                    <a:pt x="177" y="1580"/>
                    <a:pt x="173" y="1576"/>
                  </a:cubicBezTo>
                  <a:cubicBezTo>
                    <a:pt x="170" y="1574"/>
                    <a:pt x="168" y="1571"/>
                    <a:pt x="174" y="1570"/>
                  </a:cubicBezTo>
                  <a:cubicBezTo>
                    <a:pt x="178" y="1570"/>
                    <a:pt x="177" y="1564"/>
                    <a:pt x="179" y="1564"/>
                  </a:cubicBezTo>
                  <a:cubicBezTo>
                    <a:pt x="179" y="1565"/>
                    <a:pt x="179" y="1565"/>
                    <a:pt x="179" y="1565"/>
                  </a:cubicBezTo>
                  <a:cubicBezTo>
                    <a:pt x="180" y="1567"/>
                    <a:pt x="182" y="1565"/>
                    <a:pt x="184" y="1565"/>
                  </a:cubicBezTo>
                  <a:cubicBezTo>
                    <a:pt x="206" y="1560"/>
                    <a:pt x="184" y="1578"/>
                    <a:pt x="193" y="1579"/>
                  </a:cubicBezTo>
                  <a:cubicBezTo>
                    <a:pt x="194" y="1579"/>
                    <a:pt x="195" y="1579"/>
                    <a:pt x="196" y="1579"/>
                  </a:cubicBezTo>
                  <a:cubicBezTo>
                    <a:pt x="197" y="1579"/>
                    <a:pt x="197" y="1579"/>
                    <a:pt x="197" y="1579"/>
                  </a:cubicBezTo>
                  <a:cubicBezTo>
                    <a:pt x="198" y="1579"/>
                    <a:pt x="198" y="1579"/>
                    <a:pt x="198" y="1579"/>
                  </a:cubicBezTo>
                  <a:cubicBezTo>
                    <a:pt x="199" y="1579"/>
                    <a:pt x="199" y="1579"/>
                    <a:pt x="199" y="1579"/>
                  </a:cubicBezTo>
                  <a:cubicBezTo>
                    <a:pt x="207" y="1578"/>
                    <a:pt x="205" y="1567"/>
                    <a:pt x="211" y="1563"/>
                  </a:cubicBezTo>
                  <a:cubicBezTo>
                    <a:pt x="225" y="1553"/>
                    <a:pt x="237" y="1553"/>
                    <a:pt x="252" y="1549"/>
                  </a:cubicBezTo>
                  <a:cubicBezTo>
                    <a:pt x="253" y="1549"/>
                    <a:pt x="258" y="1544"/>
                    <a:pt x="258" y="1543"/>
                  </a:cubicBezTo>
                  <a:close/>
                  <a:moveTo>
                    <a:pt x="272" y="1768"/>
                  </a:moveTo>
                  <a:cubicBezTo>
                    <a:pt x="263" y="1768"/>
                    <a:pt x="267" y="1797"/>
                    <a:pt x="268" y="1790"/>
                  </a:cubicBezTo>
                  <a:cubicBezTo>
                    <a:pt x="268" y="1790"/>
                    <a:pt x="268" y="1790"/>
                    <a:pt x="268" y="1790"/>
                  </a:cubicBezTo>
                  <a:cubicBezTo>
                    <a:pt x="268" y="1787"/>
                    <a:pt x="275" y="1769"/>
                    <a:pt x="272" y="1768"/>
                  </a:cubicBezTo>
                  <a:close/>
                  <a:moveTo>
                    <a:pt x="277" y="1790"/>
                  </a:moveTo>
                  <a:cubicBezTo>
                    <a:pt x="277" y="1789"/>
                    <a:pt x="277" y="1789"/>
                    <a:pt x="277" y="1789"/>
                  </a:cubicBezTo>
                  <a:cubicBezTo>
                    <a:pt x="276" y="1786"/>
                    <a:pt x="282" y="1779"/>
                    <a:pt x="281" y="1777"/>
                  </a:cubicBezTo>
                  <a:cubicBezTo>
                    <a:pt x="279" y="1772"/>
                    <a:pt x="274" y="1781"/>
                    <a:pt x="273" y="1784"/>
                  </a:cubicBezTo>
                  <a:cubicBezTo>
                    <a:pt x="273" y="1793"/>
                    <a:pt x="278" y="1802"/>
                    <a:pt x="277" y="1790"/>
                  </a:cubicBezTo>
                  <a:close/>
                  <a:moveTo>
                    <a:pt x="280" y="1849"/>
                  </a:moveTo>
                  <a:cubicBezTo>
                    <a:pt x="284" y="1853"/>
                    <a:pt x="287" y="1842"/>
                    <a:pt x="289" y="1837"/>
                  </a:cubicBezTo>
                  <a:cubicBezTo>
                    <a:pt x="289" y="1837"/>
                    <a:pt x="289" y="1837"/>
                    <a:pt x="289" y="1837"/>
                  </a:cubicBezTo>
                  <a:cubicBezTo>
                    <a:pt x="300" y="1831"/>
                    <a:pt x="265" y="1835"/>
                    <a:pt x="280" y="1849"/>
                  </a:cubicBezTo>
                  <a:close/>
                  <a:moveTo>
                    <a:pt x="315" y="1910"/>
                  </a:moveTo>
                  <a:cubicBezTo>
                    <a:pt x="315" y="1907"/>
                    <a:pt x="312" y="1913"/>
                    <a:pt x="311" y="1909"/>
                  </a:cubicBezTo>
                  <a:cubicBezTo>
                    <a:pt x="311" y="1908"/>
                    <a:pt x="309" y="1909"/>
                    <a:pt x="307" y="1908"/>
                  </a:cubicBezTo>
                  <a:cubicBezTo>
                    <a:pt x="303" y="1905"/>
                    <a:pt x="305" y="1911"/>
                    <a:pt x="302" y="1912"/>
                  </a:cubicBezTo>
                  <a:cubicBezTo>
                    <a:pt x="299" y="1913"/>
                    <a:pt x="295" y="1907"/>
                    <a:pt x="294" y="1909"/>
                  </a:cubicBezTo>
                  <a:cubicBezTo>
                    <a:pt x="290" y="1919"/>
                    <a:pt x="316" y="1924"/>
                    <a:pt x="315" y="1910"/>
                  </a:cubicBezTo>
                  <a:close/>
                  <a:moveTo>
                    <a:pt x="339" y="1836"/>
                  </a:moveTo>
                  <a:cubicBezTo>
                    <a:pt x="334" y="1839"/>
                    <a:pt x="337" y="1831"/>
                    <a:pt x="332" y="1829"/>
                  </a:cubicBezTo>
                  <a:cubicBezTo>
                    <a:pt x="329" y="1827"/>
                    <a:pt x="332" y="1850"/>
                    <a:pt x="325" y="1835"/>
                  </a:cubicBezTo>
                  <a:cubicBezTo>
                    <a:pt x="324" y="1832"/>
                    <a:pt x="324" y="1829"/>
                    <a:pt x="323" y="1825"/>
                  </a:cubicBezTo>
                  <a:cubicBezTo>
                    <a:pt x="323" y="1825"/>
                    <a:pt x="323" y="1825"/>
                    <a:pt x="323" y="1825"/>
                  </a:cubicBezTo>
                  <a:cubicBezTo>
                    <a:pt x="319" y="1822"/>
                    <a:pt x="321" y="1829"/>
                    <a:pt x="322" y="1831"/>
                  </a:cubicBezTo>
                  <a:cubicBezTo>
                    <a:pt x="326" y="1843"/>
                    <a:pt x="330" y="1858"/>
                    <a:pt x="340" y="1855"/>
                  </a:cubicBezTo>
                  <a:cubicBezTo>
                    <a:pt x="340" y="1855"/>
                    <a:pt x="332" y="1841"/>
                    <a:pt x="341" y="1846"/>
                  </a:cubicBezTo>
                  <a:cubicBezTo>
                    <a:pt x="352" y="1851"/>
                    <a:pt x="340" y="1836"/>
                    <a:pt x="339" y="1836"/>
                  </a:cubicBezTo>
                  <a:close/>
                  <a:moveTo>
                    <a:pt x="334" y="1804"/>
                  </a:moveTo>
                  <a:cubicBezTo>
                    <a:pt x="341" y="1806"/>
                    <a:pt x="347" y="1794"/>
                    <a:pt x="338" y="1791"/>
                  </a:cubicBezTo>
                  <a:cubicBezTo>
                    <a:pt x="339" y="1790"/>
                    <a:pt x="339" y="1790"/>
                    <a:pt x="339" y="1790"/>
                  </a:cubicBezTo>
                  <a:cubicBezTo>
                    <a:pt x="342" y="1786"/>
                    <a:pt x="317" y="1797"/>
                    <a:pt x="334" y="1804"/>
                  </a:cubicBezTo>
                  <a:close/>
                  <a:moveTo>
                    <a:pt x="349" y="1599"/>
                  </a:moveTo>
                  <a:cubicBezTo>
                    <a:pt x="349" y="1599"/>
                    <a:pt x="349" y="1599"/>
                    <a:pt x="349" y="1599"/>
                  </a:cubicBezTo>
                  <a:cubicBezTo>
                    <a:pt x="349" y="1599"/>
                    <a:pt x="349" y="1599"/>
                    <a:pt x="349" y="1599"/>
                  </a:cubicBezTo>
                  <a:cubicBezTo>
                    <a:pt x="349" y="1599"/>
                    <a:pt x="349" y="1599"/>
                    <a:pt x="349" y="1599"/>
                  </a:cubicBezTo>
                  <a:cubicBezTo>
                    <a:pt x="348" y="1595"/>
                    <a:pt x="333" y="1597"/>
                    <a:pt x="334" y="1602"/>
                  </a:cubicBezTo>
                  <a:cubicBezTo>
                    <a:pt x="335" y="1607"/>
                    <a:pt x="347" y="1602"/>
                    <a:pt x="349" y="1599"/>
                  </a:cubicBezTo>
                  <a:close/>
                  <a:moveTo>
                    <a:pt x="354" y="1791"/>
                  </a:moveTo>
                  <a:cubicBezTo>
                    <a:pt x="354" y="1790"/>
                    <a:pt x="354" y="1790"/>
                    <a:pt x="354" y="1790"/>
                  </a:cubicBezTo>
                  <a:cubicBezTo>
                    <a:pt x="354" y="1784"/>
                    <a:pt x="347" y="1790"/>
                    <a:pt x="348" y="1791"/>
                  </a:cubicBezTo>
                  <a:cubicBezTo>
                    <a:pt x="350" y="1793"/>
                    <a:pt x="358" y="1796"/>
                    <a:pt x="354" y="1791"/>
                  </a:cubicBezTo>
                  <a:close/>
                  <a:moveTo>
                    <a:pt x="356" y="1577"/>
                  </a:moveTo>
                  <a:cubicBezTo>
                    <a:pt x="359" y="1570"/>
                    <a:pt x="346" y="1572"/>
                    <a:pt x="344" y="1568"/>
                  </a:cubicBezTo>
                  <a:cubicBezTo>
                    <a:pt x="342" y="1565"/>
                    <a:pt x="365" y="1522"/>
                    <a:pt x="350" y="1526"/>
                  </a:cubicBezTo>
                  <a:cubicBezTo>
                    <a:pt x="349" y="1526"/>
                    <a:pt x="350" y="1533"/>
                    <a:pt x="348" y="1535"/>
                  </a:cubicBezTo>
                  <a:cubicBezTo>
                    <a:pt x="335" y="1551"/>
                    <a:pt x="334" y="1544"/>
                    <a:pt x="317" y="1562"/>
                  </a:cubicBezTo>
                  <a:cubicBezTo>
                    <a:pt x="315" y="1564"/>
                    <a:pt x="288" y="1624"/>
                    <a:pt x="287" y="1632"/>
                  </a:cubicBezTo>
                  <a:cubicBezTo>
                    <a:pt x="287" y="1638"/>
                    <a:pt x="267" y="1681"/>
                    <a:pt x="286" y="1681"/>
                  </a:cubicBezTo>
                  <a:cubicBezTo>
                    <a:pt x="294" y="1681"/>
                    <a:pt x="296" y="1656"/>
                    <a:pt x="306" y="1650"/>
                  </a:cubicBezTo>
                  <a:cubicBezTo>
                    <a:pt x="307" y="1650"/>
                    <a:pt x="307" y="1650"/>
                    <a:pt x="307" y="1650"/>
                  </a:cubicBezTo>
                  <a:cubicBezTo>
                    <a:pt x="320" y="1634"/>
                    <a:pt x="317" y="1609"/>
                    <a:pt x="328" y="1596"/>
                  </a:cubicBezTo>
                  <a:cubicBezTo>
                    <a:pt x="336" y="1586"/>
                    <a:pt x="352" y="1587"/>
                    <a:pt x="356" y="1577"/>
                  </a:cubicBezTo>
                  <a:close/>
                  <a:moveTo>
                    <a:pt x="358" y="1764"/>
                  </a:moveTo>
                  <a:cubicBezTo>
                    <a:pt x="357" y="1763"/>
                    <a:pt x="357" y="1763"/>
                    <a:pt x="357" y="1763"/>
                  </a:cubicBezTo>
                  <a:cubicBezTo>
                    <a:pt x="356" y="1759"/>
                    <a:pt x="355" y="1783"/>
                    <a:pt x="361" y="1781"/>
                  </a:cubicBezTo>
                  <a:cubicBezTo>
                    <a:pt x="361" y="1781"/>
                    <a:pt x="359" y="1764"/>
                    <a:pt x="358" y="1764"/>
                  </a:cubicBezTo>
                  <a:close/>
                  <a:moveTo>
                    <a:pt x="371" y="1822"/>
                  </a:moveTo>
                  <a:cubicBezTo>
                    <a:pt x="371" y="1822"/>
                    <a:pt x="371" y="1822"/>
                    <a:pt x="371" y="1822"/>
                  </a:cubicBezTo>
                  <a:cubicBezTo>
                    <a:pt x="370" y="1820"/>
                    <a:pt x="369" y="1821"/>
                    <a:pt x="368" y="1822"/>
                  </a:cubicBezTo>
                  <a:cubicBezTo>
                    <a:pt x="366" y="1824"/>
                    <a:pt x="356" y="1818"/>
                    <a:pt x="365" y="1828"/>
                  </a:cubicBezTo>
                  <a:cubicBezTo>
                    <a:pt x="371" y="1833"/>
                    <a:pt x="374" y="1829"/>
                    <a:pt x="371" y="1822"/>
                  </a:cubicBezTo>
                  <a:close/>
                  <a:moveTo>
                    <a:pt x="390" y="1651"/>
                  </a:moveTo>
                  <a:cubicBezTo>
                    <a:pt x="390" y="1650"/>
                    <a:pt x="390" y="1650"/>
                    <a:pt x="390" y="1650"/>
                  </a:cubicBezTo>
                  <a:cubicBezTo>
                    <a:pt x="389" y="1644"/>
                    <a:pt x="386" y="1650"/>
                    <a:pt x="385" y="1648"/>
                  </a:cubicBezTo>
                  <a:cubicBezTo>
                    <a:pt x="376" y="1637"/>
                    <a:pt x="375" y="1646"/>
                    <a:pt x="368" y="1645"/>
                  </a:cubicBezTo>
                  <a:cubicBezTo>
                    <a:pt x="366" y="1644"/>
                    <a:pt x="363" y="1646"/>
                    <a:pt x="362" y="1643"/>
                  </a:cubicBezTo>
                  <a:cubicBezTo>
                    <a:pt x="362" y="1641"/>
                    <a:pt x="359" y="1625"/>
                    <a:pt x="359" y="1634"/>
                  </a:cubicBezTo>
                  <a:cubicBezTo>
                    <a:pt x="360" y="1638"/>
                    <a:pt x="357" y="1641"/>
                    <a:pt x="357" y="1641"/>
                  </a:cubicBezTo>
                  <a:cubicBezTo>
                    <a:pt x="358" y="1645"/>
                    <a:pt x="372" y="1663"/>
                    <a:pt x="375" y="1663"/>
                  </a:cubicBezTo>
                  <a:cubicBezTo>
                    <a:pt x="375" y="1663"/>
                    <a:pt x="375" y="1649"/>
                    <a:pt x="379" y="1651"/>
                  </a:cubicBezTo>
                  <a:cubicBezTo>
                    <a:pt x="381" y="1652"/>
                    <a:pt x="385" y="1669"/>
                    <a:pt x="389" y="1666"/>
                  </a:cubicBezTo>
                  <a:cubicBezTo>
                    <a:pt x="394" y="1663"/>
                    <a:pt x="381" y="1651"/>
                    <a:pt x="386" y="1652"/>
                  </a:cubicBezTo>
                  <a:cubicBezTo>
                    <a:pt x="389" y="1652"/>
                    <a:pt x="393" y="1662"/>
                    <a:pt x="390" y="1651"/>
                  </a:cubicBezTo>
                  <a:close/>
                  <a:moveTo>
                    <a:pt x="405" y="1500"/>
                  </a:moveTo>
                  <a:cubicBezTo>
                    <a:pt x="405" y="1500"/>
                    <a:pt x="405" y="1500"/>
                    <a:pt x="405" y="1500"/>
                  </a:cubicBezTo>
                  <a:cubicBezTo>
                    <a:pt x="384" y="1500"/>
                    <a:pt x="406" y="1516"/>
                    <a:pt x="405" y="1500"/>
                  </a:cubicBezTo>
                  <a:close/>
                  <a:moveTo>
                    <a:pt x="425" y="1579"/>
                  </a:moveTo>
                  <a:cubicBezTo>
                    <a:pt x="427" y="1577"/>
                    <a:pt x="455" y="1576"/>
                    <a:pt x="433" y="1575"/>
                  </a:cubicBezTo>
                  <a:cubicBezTo>
                    <a:pt x="426" y="1575"/>
                    <a:pt x="420" y="1574"/>
                    <a:pt x="413" y="1574"/>
                  </a:cubicBezTo>
                  <a:cubicBezTo>
                    <a:pt x="413" y="1574"/>
                    <a:pt x="413" y="1574"/>
                    <a:pt x="413" y="1574"/>
                  </a:cubicBezTo>
                  <a:cubicBezTo>
                    <a:pt x="394" y="1582"/>
                    <a:pt x="412" y="1589"/>
                    <a:pt x="425" y="1579"/>
                  </a:cubicBezTo>
                  <a:close/>
                  <a:moveTo>
                    <a:pt x="433" y="1518"/>
                  </a:moveTo>
                  <a:cubicBezTo>
                    <a:pt x="427" y="1518"/>
                    <a:pt x="440" y="1520"/>
                    <a:pt x="441" y="1520"/>
                  </a:cubicBezTo>
                  <a:cubicBezTo>
                    <a:pt x="460" y="1523"/>
                    <a:pt x="447" y="1516"/>
                    <a:pt x="435" y="1509"/>
                  </a:cubicBezTo>
                  <a:cubicBezTo>
                    <a:pt x="434" y="1509"/>
                    <a:pt x="434" y="1509"/>
                    <a:pt x="434" y="1509"/>
                  </a:cubicBezTo>
                  <a:cubicBezTo>
                    <a:pt x="416" y="1506"/>
                    <a:pt x="448" y="1518"/>
                    <a:pt x="433" y="1518"/>
                  </a:cubicBezTo>
                  <a:close/>
                  <a:moveTo>
                    <a:pt x="447" y="1650"/>
                  </a:moveTo>
                  <a:cubicBezTo>
                    <a:pt x="447" y="1650"/>
                    <a:pt x="447" y="1650"/>
                    <a:pt x="447" y="1650"/>
                  </a:cubicBezTo>
                  <a:cubicBezTo>
                    <a:pt x="442" y="1646"/>
                    <a:pt x="435" y="1650"/>
                    <a:pt x="433" y="1647"/>
                  </a:cubicBezTo>
                  <a:cubicBezTo>
                    <a:pt x="431" y="1645"/>
                    <a:pt x="431" y="1645"/>
                    <a:pt x="428" y="1647"/>
                  </a:cubicBezTo>
                  <a:cubicBezTo>
                    <a:pt x="422" y="1651"/>
                    <a:pt x="437" y="1668"/>
                    <a:pt x="441" y="1659"/>
                  </a:cubicBezTo>
                  <a:cubicBezTo>
                    <a:pt x="443" y="1654"/>
                    <a:pt x="420" y="1652"/>
                    <a:pt x="440" y="1650"/>
                  </a:cubicBezTo>
                  <a:cubicBezTo>
                    <a:pt x="443" y="1650"/>
                    <a:pt x="445" y="1651"/>
                    <a:pt x="447" y="1650"/>
                  </a:cubicBezTo>
                  <a:close/>
                  <a:moveTo>
                    <a:pt x="442" y="1555"/>
                  </a:moveTo>
                  <a:cubicBezTo>
                    <a:pt x="442" y="1554"/>
                    <a:pt x="442" y="1554"/>
                    <a:pt x="442" y="1554"/>
                  </a:cubicBezTo>
                  <a:cubicBezTo>
                    <a:pt x="438" y="1552"/>
                    <a:pt x="430" y="1566"/>
                    <a:pt x="441" y="1567"/>
                  </a:cubicBezTo>
                  <a:cubicBezTo>
                    <a:pt x="459" y="1568"/>
                    <a:pt x="452" y="1563"/>
                    <a:pt x="442" y="1555"/>
                  </a:cubicBezTo>
                  <a:close/>
                  <a:moveTo>
                    <a:pt x="490" y="1525"/>
                  </a:moveTo>
                  <a:cubicBezTo>
                    <a:pt x="503" y="1535"/>
                    <a:pt x="490" y="1533"/>
                    <a:pt x="500" y="1537"/>
                  </a:cubicBezTo>
                  <a:cubicBezTo>
                    <a:pt x="502" y="1537"/>
                    <a:pt x="510" y="1541"/>
                    <a:pt x="511" y="1539"/>
                  </a:cubicBezTo>
                  <a:cubicBezTo>
                    <a:pt x="511" y="1539"/>
                    <a:pt x="504" y="1535"/>
                    <a:pt x="504" y="1534"/>
                  </a:cubicBezTo>
                  <a:cubicBezTo>
                    <a:pt x="502" y="1526"/>
                    <a:pt x="500" y="1524"/>
                    <a:pt x="497" y="1523"/>
                  </a:cubicBezTo>
                  <a:cubicBezTo>
                    <a:pt x="497" y="1523"/>
                    <a:pt x="497" y="1523"/>
                    <a:pt x="497" y="1523"/>
                  </a:cubicBezTo>
                  <a:cubicBezTo>
                    <a:pt x="494" y="1524"/>
                    <a:pt x="483" y="1521"/>
                    <a:pt x="490" y="1525"/>
                  </a:cubicBezTo>
                  <a:close/>
                  <a:moveTo>
                    <a:pt x="447" y="1468"/>
                  </a:moveTo>
                  <a:cubicBezTo>
                    <a:pt x="446" y="1469"/>
                    <a:pt x="446" y="1469"/>
                    <a:pt x="446" y="1469"/>
                  </a:cubicBezTo>
                  <a:cubicBezTo>
                    <a:pt x="432" y="1469"/>
                    <a:pt x="430" y="1469"/>
                    <a:pt x="424" y="1466"/>
                  </a:cubicBezTo>
                  <a:cubicBezTo>
                    <a:pt x="414" y="1460"/>
                    <a:pt x="406" y="1467"/>
                    <a:pt x="398" y="1469"/>
                  </a:cubicBezTo>
                  <a:cubicBezTo>
                    <a:pt x="395" y="1469"/>
                    <a:pt x="379" y="1465"/>
                    <a:pt x="378" y="1468"/>
                  </a:cubicBezTo>
                  <a:cubicBezTo>
                    <a:pt x="377" y="1472"/>
                    <a:pt x="384" y="1470"/>
                    <a:pt x="385" y="1470"/>
                  </a:cubicBezTo>
                  <a:cubicBezTo>
                    <a:pt x="388" y="1471"/>
                    <a:pt x="407" y="1471"/>
                    <a:pt x="407" y="1471"/>
                  </a:cubicBezTo>
                  <a:cubicBezTo>
                    <a:pt x="411" y="1472"/>
                    <a:pt x="404" y="1473"/>
                    <a:pt x="406" y="1476"/>
                  </a:cubicBezTo>
                  <a:cubicBezTo>
                    <a:pt x="409" y="1478"/>
                    <a:pt x="413" y="1475"/>
                    <a:pt x="415" y="1477"/>
                  </a:cubicBezTo>
                  <a:cubicBezTo>
                    <a:pt x="416" y="1478"/>
                    <a:pt x="403" y="1491"/>
                    <a:pt x="423" y="1489"/>
                  </a:cubicBezTo>
                  <a:cubicBezTo>
                    <a:pt x="440" y="1487"/>
                    <a:pt x="432" y="1483"/>
                    <a:pt x="442" y="1479"/>
                  </a:cubicBezTo>
                  <a:cubicBezTo>
                    <a:pt x="448" y="1476"/>
                    <a:pt x="483" y="1473"/>
                    <a:pt x="485" y="1465"/>
                  </a:cubicBezTo>
                  <a:cubicBezTo>
                    <a:pt x="485" y="1464"/>
                    <a:pt x="481" y="1466"/>
                    <a:pt x="479" y="1467"/>
                  </a:cubicBezTo>
                  <a:cubicBezTo>
                    <a:pt x="472" y="1470"/>
                    <a:pt x="452" y="1466"/>
                    <a:pt x="447" y="1468"/>
                  </a:cubicBezTo>
                  <a:close/>
                  <a:moveTo>
                    <a:pt x="447" y="1374"/>
                  </a:moveTo>
                  <a:cubicBezTo>
                    <a:pt x="447" y="1373"/>
                    <a:pt x="447" y="1373"/>
                    <a:pt x="447" y="1373"/>
                  </a:cubicBezTo>
                  <a:cubicBezTo>
                    <a:pt x="448" y="1370"/>
                    <a:pt x="443" y="1371"/>
                    <a:pt x="442" y="1371"/>
                  </a:cubicBezTo>
                  <a:cubicBezTo>
                    <a:pt x="434" y="1372"/>
                    <a:pt x="440" y="1374"/>
                    <a:pt x="440" y="1374"/>
                  </a:cubicBezTo>
                  <a:cubicBezTo>
                    <a:pt x="437" y="1376"/>
                    <a:pt x="441" y="1377"/>
                    <a:pt x="443" y="1378"/>
                  </a:cubicBezTo>
                  <a:cubicBezTo>
                    <a:pt x="450" y="1384"/>
                    <a:pt x="446" y="1378"/>
                    <a:pt x="447" y="1374"/>
                  </a:cubicBezTo>
                  <a:close/>
                  <a:moveTo>
                    <a:pt x="447" y="1077"/>
                  </a:moveTo>
                  <a:cubicBezTo>
                    <a:pt x="446" y="1077"/>
                    <a:pt x="446" y="1077"/>
                    <a:pt x="446" y="1077"/>
                  </a:cubicBezTo>
                  <a:cubicBezTo>
                    <a:pt x="436" y="1065"/>
                    <a:pt x="445" y="1079"/>
                    <a:pt x="439" y="1076"/>
                  </a:cubicBezTo>
                  <a:cubicBezTo>
                    <a:pt x="438" y="1075"/>
                    <a:pt x="433" y="1074"/>
                    <a:pt x="432" y="1076"/>
                  </a:cubicBezTo>
                  <a:cubicBezTo>
                    <a:pt x="432" y="1077"/>
                    <a:pt x="435" y="1079"/>
                    <a:pt x="436" y="1080"/>
                  </a:cubicBezTo>
                  <a:cubicBezTo>
                    <a:pt x="439" y="1083"/>
                    <a:pt x="449" y="1080"/>
                    <a:pt x="449" y="1080"/>
                  </a:cubicBezTo>
                  <a:cubicBezTo>
                    <a:pt x="449" y="1078"/>
                    <a:pt x="451" y="1078"/>
                    <a:pt x="447" y="1077"/>
                  </a:cubicBezTo>
                  <a:close/>
                  <a:moveTo>
                    <a:pt x="470" y="672"/>
                  </a:moveTo>
                  <a:cubicBezTo>
                    <a:pt x="473" y="675"/>
                    <a:pt x="473" y="680"/>
                    <a:pt x="477" y="683"/>
                  </a:cubicBezTo>
                  <a:cubicBezTo>
                    <a:pt x="489" y="692"/>
                    <a:pt x="466" y="668"/>
                    <a:pt x="486" y="680"/>
                  </a:cubicBezTo>
                  <a:cubicBezTo>
                    <a:pt x="494" y="685"/>
                    <a:pt x="504" y="691"/>
                    <a:pt x="511" y="699"/>
                  </a:cubicBezTo>
                  <a:cubicBezTo>
                    <a:pt x="512" y="700"/>
                    <a:pt x="514" y="709"/>
                    <a:pt x="515" y="709"/>
                  </a:cubicBezTo>
                  <a:cubicBezTo>
                    <a:pt x="516" y="708"/>
                    <a:pt x="517" y="706"/>
                    <a:pt x="517" y="705"/>
                  </a:cubicBezTo>
                  <a:cubicBezTo>
                    <a:pt x="515" y="700"/>
                    <a:pt x="509" y="686"/>
                    <a:pt x="502" y="683"/>
                  </a:cubicBezTo>
                  <a:cubicBezTo>
                    <a:pt x="493" y="680"/>
                    <a:pt x="442" y="653"/>
                    <a:pt x="440" y="641"/>
                  </a:cubicBezTo>
                  <a:cubicBezTo>
                    <a:pt x="440" y="640"/>
                    <a:pt x="440" y="640"/>
                    <a:pt x="440" y="640"/>
                  </a:cubicBezTo>
                  <a:cubicBezTo>
                    <a:pt x="435" y="635"/>
                    <a:pt x="442" y="649"/>
                    <a:pt x="443" y="650"/>
                  </a:cubicBezTo>
                  <a:cubicBezTo>
                    <a:pt x="449" y="660"/>
                    <a:pt x="460" y="664"/>
                    <a:pt x="470" y="672"/>
                  </a:cubicBezTo>
                  <a:close/>
                  <a:moveTo>
                    <a:pt x="512" y="1088"/>
                  </a:moveTo>
                  <a:cubicBezTo>
                    <a:pt x="512" y="1088"/>
                    <a:pt x="512" y="1088"/>
                    <a:pt x="512" y="1088"/>
                  </a:cubicBezTo>
                  <a:cubicBezTo>
                    <a:pt x="509" y="1088"/>
                    <a:pt x="505" y="1088"/>
                    <a:pt x="502" y="1089"/>
                  </a:cubicBezTo>
                  <a:cubicBezTo>
                    <a:pt x="489" y="1091"/>
                    <a:pt x="540" y="1116"/>
                    <a:pt x="512" y="1088"/>
                  </a:cubicBezTo>
                  <a:close/>
                  <a:moveTo>
                    <a:pt x="515" y="1109"/>
                  </a:moveTo>
                  <a:cubicBezTo>
                    <a:pt x="520" y="1112"/>
                    <a:pt x="512" y="1101"/>
                    <a:pt x="504" y="1098"/>
                  </a:cubicBezTo>
                  <a:cubicBezTo>
                    <a:pt x="504" y="1098"/>
                    <a:pt x="504" y="1098"/>
                    <a:pt x="504" y="1098"/>
                  </a:cubicBezTo>
                  <a:cubicBezTo>
                    <a:pt x="496" y="1098"/>
                    <a:pt x="509" y="1105"/>
                    <a:pt x="503" y="1104"/>
                  </a:cubicBezTo>
                  <a:cubicBezTo>
                    <a:pt x="493" y="1103"/>
                    <a:pt x="512" y="1108"/>
                    <a:pt x="515" y="1109"/>
                  </a:cubicBezTo>
                  <a:close/>
                  <a:moveTo>
                    <a:pt x="501" y="1285"/>
                  </a:moveTo>
                  <a:cubicBezTo>
                    <a:pt x="506" y="1290"/>
                    <a:pt x="526" y="1290"/>
                    <a:pt x="527" y="1279"/>
                  </a:cubicBezTo>
                  <a:cubicBezTo>
                    <a:pt x="527" y="1279"/>
                    <a:pt x="527" y="1279"/>
                    <a:pt x="527" y="1279"/>
                  </a:cubicBezTo>
                  <a:cubicBezTo>
                    <a:pt x="528" y="1278"/>
                    <a:pt x="498" y="1282"/>
                    <a:pt x="501" y="1285"/>
                  </a:cubicBezTo>
                  <a:close/>
                  <a:moveTo>
                    <a:pt x="527" y="811"/>
                  </a:moveTo>
                  <a:cubicBezTo>
                    <a:pt x="527" y="811"/>
                    <a:pt x="527" y="811"/>
                    <a:pt x="527" y="811"/>
                  </a:cubicBezTo>
                  <a:cubicBezTo>
                    <a:pt x="526" y="809"/>
                    <a:pt x="526" y="815"/>
                    <a:pt x="525" y="817"/>
                  </a:cubicBezTo>
                  <a:cubicBezTo>
                    <a:pt x="522" y="821"/>
                    <a:pt x="511" y="808"/>
                    <a:pt x="511" y="812"/>
                  </a:cubicBezTo>
                  <a:cubicBezTo>
                    <a:pt x="508" y="825"/>
                    <a:pt x="546" y="827"/>
                    <a:pt x="527" y="811"/>
                  </a:cubicBezTo>
                  <a:close/>
                  <a:moveTo>
                    <a:pt x="476" y="1124"/>
                  </a:moveTo>
                  <a:cubicBezTo>
                    <a:pt x="476" y="1124"/>
                    <a:pt x="476" y="1124"/>
                    <a:pt x="476" y="1124"/>
                  </a:cubicBezTo>
                  <a:cubicBezTo>
                    <a:pt x="476" y="1122"/>
                    <a:pt x="474" y="1118"/>
                    <a:pt x="473" y="1122"/>
                  </a:cubicBezTo>
                  <a:cubicBezTo>
                    <a:pt x="473" y="1126"/>
                    <a:pt x="462" y="1120"/>
                    <a:pt x="462" y="1124"/>
                  </a:cubicBezTo>
                  <a:cubicBezTo>
                    <a:pt x="462" y="1129"/>
                    <a:pt x="469" y="1128"/>
                    <a:pt x="472" y="1128"/>
                  </a:cubicBezTo>
                  <a:cubicBezTo>
                    <a:pt x="476" y="1130"/>
                    <a:pt x="479" y="1146"/>
                    <a:pt x="482" y="1144"/>
                  </a:cubicBezTo>
                  <a:cubicBezTo>
                    <a:pt x="485" y="1143"/>
                    <a:pt x="476" y="1127"/>
                    <a:pt x="476" y="1124"/>
                  </a:cubicBezTo>
                  <a:close/>
                  <a:moveTo>
                    <a:pt x="499" y="976"/>
                  </a:moveTo>
                  <a:cubicBezTo>
                    <a:pt x="500" y="976"/>
                    <a:pt x="514" y="989"/>
                    <a:pt x="515" y="987"/>
                  </a:cubicBezTo>
                  <a:cubicBezTo>
                    <a:pt x="519" y="982"/>
                    <a:pt x="488" y="970"/>
                    <a:pt x="488" y="970"/>
                  </a:cubicBezTo>
                  <a:cubicBezTo>
                    <a:pt x="488" y="970"/>
                    <a:pt x="488" y="970"/>
                    <a:pt x="488" y="970"/>
                  </a:cubicBezTo>
                  <a:cubicBezTo>
                    <a:pt x="481" y="968"/>
                    <a:pt x="472" y="966"/>
                    <a:pt x="472" y="967"/>
                  </a:cubicBezTo>
                  <a:cubicBezTo>
                    <a:pt x="474" y="978"/>
                    <a:pt x="493" y="972"/>
                    <a:pt x="499" y="976"/>
                  </a:cubicBezTo>
                  <a:close/>
                  <a:moveTo>
                    <a:pt x="558" y="1344"/>
                  </a:moveTo>
                  <a:cubicBezTo>
                    <a:pt x="557" y="1347"/>
                    <a:pt x="573" y="1347"/>
                    <a:pt x="573" y="1343"/>
                  </a:cubicBezTo>
                  <a:cubicBezTo>
                    <a:pt x="573" y="1343"/>
                    <a:pt x="573" y="1343"/>
                    <a:pt x="573" y="1343"/>
                  </a:cubicBezTo>
                  <a:cubicBezTo>
                    <a:pt x="577" y="1339"/>
                    <a:pt x="560" y="1340"/>
                    <a:pt x="558" y="1344"/>
                  </a:cubicBezTo>
                  <a:close/>
                  <a:moveTo>
                    <a:pt x="517" y="1327"/>
                  </a:moveTo>
                  <a:cubicBezTo>
                    <a:pt x="513" y="1329"/>
                    <a:pt x="518" y="1337"/>
                    <a:pt x="514" y="1339"/>
                  </a:cubicBezTo>
                  <a:cubicBezTo>
                    <a:pt x="511" y="1340"/>
                    <a:pt x="489" y="1340"/>
                    <a:pt x="489" y="1340"/>
                  </a:cubicBezTo>
                  <a:cubicBezTo>
                    <a:pt x="489" y="1347"/>
                    <a:pt x="510" y="1338"/>
                    <a:pt x="516" y="1342"/>
                  </a:cubicBezTo>
                  <a:cubicBezTo>
                    <a:pt x="528" y="1349"/>
                    <a:pt x="515" y="1335"/>
                    <a:pt x="523" y="1328"/>
                  </a:cubicBezTo>
                  <a:cubicBezTo>
                    <a:pt x="527" y="1325"/>
                    <a:pt x="534" y="1329"/>
                    <a:pt x="536" y="1327"/>
                  </a:cubicBezTo>
                  <a:cubicBezTo>
                    <a:pt x="537" y="1327"/>
                    <a:pt x="537" y="1327"/>
                    <a:pt x="537" y="1327"/>
                  </a:cubicBezTo>
                  <a:cubicBezTo>
                    <a:pt x="539" y="1325"/>
                    <a:pt x="538" y="1319"/>
                    <a:pt x="541" y="1317"/>
                  </a:cubicBezTo>
                  <a:cubicBezTo>
                    <a:pt x="550" y="1311"/>
                    <a:pt x="543" y="1323"/>
                    <a:pt x="548" y="1321"/>
                  </a:cubicBezTo>
                  <a:cubicBezTo>
                    <a:pt x="553" y="1320"/>
                    <a:pt x="568" y="1308"/>
                    <a:pt x="572" y="1303"/>
                  </a:cubicBezTo>
                  <a:cubicBezTo>
                    <a:pt x="579" y="1291"/>
                    <a:pt x="562" y="1290"/>
                    <a:pt x="570" y="1298"/>
                  </a:cubicBezTo>
                  <a:cubicBezTo>
                    <a:pt x="570" y="1298"/>
                    <a:pt x="571" y="1299"/>
                    <a:pt x="571" y="1299"/>
                  </a:cubicBezTo>
                  <a:cubicBezTo>
                    <a:pt x="572" y="1301"/>
                    <a:pt x="548" y="1308"/>
                    <a:pt x="547" y="1309"/>
                  </a:cubicBezTo>
                  <a:cubicBezTo>
                    <a:pt x="544" y="1317"/>
                    <a:pt x="525" y="1321"/>
                    <a:pt x="517" y="1327"/>
                  </a:cubicBezTo>
                  <a:close/>
                  <a:moveTo>
                    <a:pt x="551" y="929"/>
                  </a:moveTo>
                  <a:cubicBezTo>
                    <a:pt x="550" y="928"/>
                    <a:pt x="550" y="928"/>
                    <a:pt x="550" y="928"/>
                  </a:cubicBezTo>
                  <a:cubicBezTo>
                    <a:pt x="549" y="927"/>
                    <a:pt x="530" y="909"/>
                    <a:pt x="528" y="916"/>
                  </a:cubicBezTo>
                  <a:cubicBezTo>
                    <a:pt x="528" y="917"/>
                    <a:pt x="554" y="935"/>
                    <a:pt x="551" y="929"/>
                  </a:cubicBezTo>
                  <a:close/>
                  <a:moveTo>
                    <a:pt x="543" y="614"/>
                  </a:moveTo>
                  <a:cubicBezTo>
                    <a:pt x="542" y="612"/>
                    <a:pt x="546" y="615"/>
                    <a:pt x="544" y="611"/>
                  </a:cubicBezTo>
                  <a:cubicBezTo>
                    <a:pt x="543" y="607"/>
                    <a:pt x="539" y="602"/>
                    <a:pt x="536" y="600"/>
                  </a:cubicBezTo>
                  <a:cubicBezTo>
                    <a:pt x="532" y="596"/>
                    <a:pt x="507" y="579"/>
                    <a:pt x="503" y="580"/>
                  </a:cubicBezTo>
                  <a:cubicBezTo>
                    <a:pt x="502" y="580"/>
                    <a:pt x="513" y="593"/>
                    <a:pt x="501" y="586"/>
                  </a:cubicBezTo>
                  <a:cubicBezTo>
                    <a:pt x="493" y="581"/>
                    <a:pt x="502" y="578"/>
                    <a:pt x="492" y="572"/>
                  </a:cubicBezTo>
                  <a:cubicBezTo>
                    <a:pt x="488" y="569"/>
                    <a:pt x="482" y="571"/>
                    <a:pt x="478" y="569"/>
                  </a:cubicBezTo>
                  <a:cubicBezTo>
                    <a:pt x="477" y="568"/>
                    <a:pt x="470" y="564"/>
                    <a:pt x="470" y="564"/>
                  </a:cubicBezTo>
                  <a:cubicBezTo>
                    <a:pt x="467" y="565"/>
                    <a:pt x="475" y="570"/>
                    <a:pt x="475" y="570"/>
                  </a:cubicBezTo>
                  <a:cubicBezTo>
                    <a:pt x="478" y="574"/>
                    <a:pt x="492" y="575"/>
                    <a:pt x="493" y="579"/>
                  </a:cubicBezTo>
                  <a:cubicBezTo>
                    <a:pt x="494" y="580"/>
                    <a:pt x="491" y="586"/>
                    <a:pt x="492" y="589"/>
                  </a:cubicBezTo>
                  <a:cubicBezTo>
                    <a:pt x="492" y="592"/>
                    <a:pt x="498" y="590"/>
                    <a:pt x="501" y="591"/>
                  </a:cubicBezTo>
                  <a:cubicBezTo>
                    <a:pt x="505" y="592"/>
                    <a:pt x="506" y="596"/>
                    <a:pt x="508" y="599"/>
                  </a:cubicBezTo>
                  <a:cubicBezTo>
                    <a:pt x="515" y="604"/>
                    <a:pt x="525" y="598"/>
                    <a:pt x="541" y="617"/>
                  </a:cubicBezTo>
                  <a:cubicBezTo>
                    <a:pt x="542" y="617"/>
                    <a:pt x="542" y="617"/>
                    <a:pt x="542" y="617"/>
                  </a:cubicBezTo>
                  <a:cubicBezTo>
                    <a:pt x="543" y="620"/>
                    <a:pt x="556" y="625"/>
                    <a:pt x="558" y="621"/>
                  </a:cubicBezTo>
                  <a:cubicBezTo>
                    <a:pt x="559" y="615"/>
                    <a:pt x="546" y="619"/>
                    <a:pt x="543" y="614"/>
                  </a:cubicBezTo>
                  <a:close/>
                  <a:moveTo>
                    <a:pt x="577" y="531"/>
                  </a:moveTo>
                  <a:cubicBezTo>
                    <a:pt x="571" y="525"/>
                    <a:pt x="534" y="507"/>
                    <a:pt x="525" y="507"/>
                  </a:cubicBezTo>
                  <a:cubicBezTo>
                    <a:pt x="524" y="507"/>
                    <a:pt x="524" y="507"/>
                    <a:pt x="523" y="507"/>
                  </a:cubicBezTo>
                  <a:cubicBezTo>
                    <a:pt x="523" y="507"/>
                    <a:pt x="531" y="510"/>
                    <a:pt x="531" y="510"/>
                  </a:cubicBezTo>
                  <a:cubicBezTo>
                    <a:pt x="533" y="511"/>
                    <a:pt x="541" y="517"/>
                    <a:pt x="543" y="519"/>
                  </a:cubicBezTo>
                  <a:cubicBezTo>
                    <a:pt x="549" y="528"/>
                    <a:pt x="558" y="523"/>
                    <a:pt x="573" y="532"/>
                  </a:cubicBezTo>
                  <a:cubicBezTo>
                    <a:pt x="576" y="534"/>
                    <a:pt x="571" y="538"/>
                    <a:pt x="577" y="542"/>
                  </a:cubicBezTo>
                  <a:cubicBezTo>
                    <a:pt x="577" y="543"/>
                    <a:pt x="577" y="543"/>
                    <a:pt x="577" y="543"/>
                  </a:cubicBezTo>
                  <a:cubicBezTo>
                    <a:pt x="582" y="546"/>
                    <a:pt x="579" y="533"/>
                    <a:pt x="577" y="531"/>
                  </a:cubicBezTo>
                  <a:close/>
                  <a:moveTo>
                    <a:pt x="658" y="519"/>
                  </a:moveTo>
                  <a:cubicBezTo>
                    <a:pt x="656" y="515"/>
                    <a:pt x="632" y="509"/>
                    <a:pt x="618" y="490"/>
                  </a:cubicBezTo>
                  <a:cubicBezTo>
                    <a:pt x="617" y="489"/>
                    <a:pt x="622" y="480"/>
                    <a:pt x="622" y="479"/>
                  </a:cubicBezTo>
                  <a:cubicBezTo>
                    <a:pt x="623" y="476"/>
                    <a:pt x="613" y="472"/>
                    <a:pt x="618" y="469"/>
                  </a:cubicBezTo>
                  <a:cubicBezTo>
                    <a:pt x="621" y="467"/>
                    <a:pt x="637" y="473"/>
                    <a:pt x="635" y="468"/>
                  </a:cubicBezTo>
                  <a:cubicBezTo>
                    <a:pt x="635" y="467"/>
                    <a:pt x="634" y="467"/>
                    <a:pt x="634" y="466"/>
                  </a:cubicBezTo>
                  <a:cubicBezTo>
                    <a:pt x="628" y="459"/>
                    <a:pt x="618" y="463"/>
                    <a:pt x="609" y="454"/>
                  </a:cubicBezTo>
                  <a:cubicBezTo>
                    <a:pt x="609" y="453"/>
                    <a:pt x="608" y="453"/>
                    <a:pt x="608" y="453"/>
                  </a:cubicBezTo>
                  <a:cubicBezTo>
                    <a:pt x="602" y="451"/>
                    <a:pt x="612" y="452"/>
                    <a:pt x="612" y="451"/>
                  </a:cubicBezTo>
                  <a:cubicBezTo>
                    <a:pt x="613" y="443"/>
                    <a:pt x="594" y="450"/>
                    <a:pt x="590" y="443"/>
                  </a:cubicBezTo>
                  <a:cubicBezTo>
                    <a:pt x="582" y="433"/>
                    <a:pt x="538" y="400"/>
                    <a:pt x="529" y="412"/>
                  </a:cubicBezTo>
                  <a:cubicBezTo>
                    <a:pt x="528" y="413"/>
                    <a:pt x="542" y="415"/>
                    <a:pt x="539" y="416"/>
                  </a:cubicBezTo>
                  <a:cubicBezTo>
                    <a:pt x="530" y="419"/>
                    <a:pt x="556" y="420"/>
                    <a:pt x="563" y="428"/>
                  </a:cubicBezTo>
                  <a:cubicBezTo>
                    <a:pt x="567" y="434"/>
                    <a:pt x="579" y="434"/>
                    <a:pt x="579" y="441"/>
                  </a:cubicBezTo>
                  <a:cubicBezTo>
                    <a:pt x="579" y="441"/>
                    <a:pt x="566" y="441"/>
                    <a:pt x="567" y="442"/>
                  </a:cubicBezTo>
                  <a:cubicBezTo>
                    <a:pt x="582" y="453"/>
                    <a:pt x="602" y="450"/>
                    <a:pt x="612" y="466"/>
                  </a:cubicBezTo>
                  <a:cubicBezTo>
                    <a:pt x="612" y="466"/>
                    <a:pt x="612" y="467"/>
                    <a:pt x="612" y="467"/>
                  </a:cubicBezTo>
                  <a:cubicBezTo>
                    <a:pt x="611" y="467"/>
                    <a:pt x="611" y="467"/>
                    <a:pt x="610" y="467"/>
                  </a:cubicBezTo>
                  <a:cubicBezTo>
                    <a:pt x="604" y="466"/>
                    <a:pt x="606" y="476"/>
                    <a:pt x="601" y="467"/>
                  </a:cubicBezTo>
                  <a:cubicBezTo>
                    <a:pt x="601" y="466"/>
                    <a:pt x="599" y="463"/>
                    <a:pt x="597" y="464"/>
                  </a:cubicBezTo>
                  <a:cubicBezTo>
                    <a:pt x="597" y="465"/>
                    <a:pt x="598" y="471"/>
                    <a:pt x="595" y="470"/>
                  </a:cubicBezTo>
                  <a:cubicBezTo>
                    <a:pt x="592" y="470"/>
                    <a:pt x="590" y="463"/>
                    <a:pt x="587" y="462"/>
                  </a:cubicBezTo>
                  <a:cubicBezTo>
                    <a:pt x="586" y="462"/>
                    <a:pt x="584" y="460"/>
                    <a:pt x="584" y="460"/>
                  </a:cubicBezTo>
                  <a:cubicBezTo>
                    <a:pt x="580" y="461"/>
                    <a:pt x="587" y="473"/>
                    <a:pt x="585" y="470"/>
                  </a:cubicBezTo>
                  <a:cubicBezTo>
                    <a:pt x="583" y="466"/>
                    <a:pt x="579" y="456"/>
                    <a:pt x="573" y="462"/>
                  </a:cubicBezTo>
                  <a:cubicBezTo>
                    <a:pt x="571" y="465"/>
                    <a:pt x="564" y="459"/>
                    <a:pt x="563" y="461"/>
                  </a:cubicBezTo>
                  <a:cubicBezTo>
                    <a:pt x="562" y="464"/>
                    <a:pt x="567" y="464"/>
                    <a:pt x="565" y="466"/>
                  </a:cubicBezTo>
                  <a:cubicBezTo>
                    <a:pt x="564" y="468"/>
                    <a:pt x="570" y="477"/>
                    <a:pt x="570" y="477"/>
                  </a:cubicBezTo>
                  <a:cubicBezTo>
                    <a:pt x="574" y="474"/>
                    <a:pt x="566" y="469"/>
                    <a:pt x="576" y="467"/>
                  </a:cubicBezTo>
                  <a:cubicBezTo>
                    <a:pt x="577" y="466"/>
                    <a:pt x="577" y="467"/>
                    <a:pt x="578" y="467"/>
                  </a:cubicBezTo>
                  <a:cubicBezTo>
                    <a:pt x="581" y="468"/>
                    <a:pt x="582" y="472"/>
                    <a:pt x="583" y="474"/>
                  </a:cubicBezTo>
                  <a:cubicBezTo>
                    <a:pt x="589" y="479"/>
                    <a:pt x="603" y="478"/>
                    <a:pt x="604" y="485"/>
                  </a:cubicBezTo>
                  <a:cubicBezTo>
                    <a:pt x="605" y="487"/>
                    <a:pt x="597" y="487"/>
                    <a:pt x="595" y="487"/>
                  </a:cubicBezTo>
                  <a:cubicBezTo>
                    <a:pt x="594" y="488"/>
                    <a:pt x="600" y="492"/>
                    <a:pt x="600" y="492"/>
                  </a:cubicBezTo>
                  <a:cubicBezTo>
                    <a:pt x="601" y="497"/>
                    <a:pt x="594" y="495"/>
                    <a:pt x="595" y="496"/>
                  </a:cubicBezTo>
                  <a:cubicBezTo>
                    <a:pt x="605" y="511"/>
                    <a:pt x="608" y="494"/>
                    <a:pt x="613" y="492"/>
                  </a:cubicBezTo>
                  <a:cubicBezTo>
                    <a:pt x="614" y="492"/>
                    <a:pt x="632" y="508"/>
                    <a:pt x="631" y="519"/>
                  </a:cubicBezTo>
                  <a:cubicBezTo>
                    <a:pt x="631" y="521"/>
                    <a:pt x="631" y="521"/>
                    <a:pt x="631" y="521"/>
                  </a:cubicBezTo>
                  <a:cubicBezTo>
                    <a:pt x="632" y="522"/>
                    <a:pt x="631" y="539"/>
                    <a:pt x="639" y="540"/>
                  </a:cubicBezTo>
                  <a:cubicBezTo>
                    <a:pt x="640" y="540"/>
                    <a:pt x="643" y="537"/>
                    <a:pt x="641" y="536"/>
                  </a:cubicBezTo>
                  <a:cubicBezTo>
                    <a:pt x="630" y="528"/>
                    <a:pt x="646" y="529"/>
                    <a:pt x="645" y="528"/>
                  </a:cubicBezTo>
                  <a:cubicBezTo>
                    <a:pt x="644" y="528"/>
                    <a:pt x="640" y="527"/>
                    <a:pt x="642" y="526"/>
                  </a:cubicBezTo>
                  <a:cubicBezTo>
                    <a:pt x="646" y="523"/>
                    <a:pt x="663" y="536"/>
                    <a:pt x="672" y="531"/>
                  </a:cubicBezTo>
                  <a:cubicBezTo>
                    <a:pt x="677" y="527"/>
                    <a:pt x="660" y="525"/>
                    <a:pt x="658" y="519"/>
                  </a:cubicBezTo>
                  <a:close/>
                  <a:moveTo>
                    <a:pt x="613" y="408"/>
                  </a:moveTo>
                  <a:cubicBezTo>
                    <a:pt x="614" y="408"/>
                    <a:pt x="614" y="408"/>
                    <a:pt x="614" y="408"/>
                  </a:cubicBezTo>
                  <a:cubicBezTo>
                    <a:pt x="620" y="409"/>
                    <a:pt x="614" y="400"/>
                    <a:pt x="611" y="397"/>
                  </a:cubicBezTo>
                  <a:cubicBezTo>
                    <a:pt x="603" y="390"/>
                    <a:pt x="572" y="371"/>
                    <a:pt x="573" y="367"/>
                  </a:cubicBezTo>
                  <a:cubicBezTo>
                    <a:pt x="573" y="364"/>
                    <a:pt x="567" y="361"/>
                    <a:pt x="566" y="364"/>
                  </a:cubicBezTo>
                  <a:cubicBezTo>
                    <a:pt x="564" y="368"/>
                    <a:pt x="609" y="406"/>
                    <a:pt x="613" y="408"/>
                  </a:cubicBezTo>
                  <a:close/>
                  <a:moveTo>
                    <a:pt x="659" y="413"/>
                  </a:moveTo>
                  <a:cubicBezTo>
                    <a:pt x="656" y="414"/>
                    <a:pt x="652" y="412"/>
                    <a:pt x="649" y="413"/>
                  </a:cubicBezTo>
                  <a:cubicBezTo>
                    <a:pt x="648" y="413"/>
                    <a:pt x="648" y="414"/>
                    <a:pt x="648" y="414"/>
                  </a:cubicBezTo>
                  <a:cubicBezTo>
                    <a:pt x="649" y="415"/>
                    <a:pt x="653" y="415"/>
                    <a:pt x="652" y="415"/>
                  </a:cubicBezTo>
                  <a:cubicBezTo>
                    <a:pt x="652" y="416"/>
                    <a:pt x="647" y="415"/>
                    <a:pt x="646" y="415"/>
                  </a:cubicBezTo>
                  <a:cubicBezTo>
                    <a:pt x="640" y="412"/>
                    <a:pt x="633" y="411"/>
                    <a:pt x="626" y="408"/>
                  </a:cubicBezTo>
                  <a:cubicBezTo>
                    <a:pt x="614" y="401"/>
                    <a:pt x="629" y="423"/>
                    <a:pt x="626" y="411"/>
                  </a:cubicBezTo>
                  <a:cubicBezTo>
                    <a:pt x="626" y="411"/>
                    <a:pt x="626" y="411"/>
                    <a:pt x="626" y="411"/>
                  </a:cubicBezTo>
                  <a:cubicBezTo>
                    <a:pt x="629" y="412"/>
                    <a:pt x="644" y="422"/>
                    <a:pt x="644" y="422"/>
                  </a:cubicBezTo>
                  <a:cubicBezTo>
                    <a:pt x="650" y="422"/>
                    <a:pt x="660" y="413"/>
                    <a:pt x="667" y="416"/>
                  </a:cubicBezTo>
                  <a:cubicBezTo>
                    <a:pt x="679" y="421"/>
                    <a:pt x="674" y="424"/>
                    <a:pt x="678" y="430"/>
                  </a:cubicBezTo>
                  <a:cubicBezTo>
                    <a:pt x="679" y="431"/>
                    <a:pt x="680" y="432"/>
                    <a:pt x="681" y="432"/>
                  </a:cubicBezTo>
                  <a:cubicBezTo>
                    <a:pt x="690" y="428"/>
                    <a:pt x="672" y="410"/>
                    <a:pt x="659" y="413"/>
                  </a:cubicBezTo>
                  <a:close/>
                  <a:moveTo>
                    <a:pt x="703" y="374"/>
                  </a:moveTo>
                  <a:cubicBezTo>
                    <a:pt x="702" y="370"/>
                    <a:pt x="679" y="361"/>
                    <a:pt x="674" y="361"/>
                  </a:cubicBezTo>
                  <a:cubicBezTo>
                    <a:pt x="669" y="361"/>
                    <a:pt x="663" y="361"/>
                    <a:pt x="658" y="360"/>
                  </a:cubicBezTo>
                  <a:cubicBezTo>
                    <a:pt x="657" y="360"/>
                    <a:pt x="648" y="362"/>
                    <a:pt x="651" y="364"/>
                  </a:cubicBezTo>
                  <a:cubicBezTo>
                    <a:pt x="653" y="365"/>
                    <a:pt x="657" y="364"/>
                    <a:pt x="659" y="364"/>
                  </a:cubicBezTo>
                  <a:cubicBezTo>
                    <a:pt x="664" y="363"/>
                    <a:pt x="672" y="363"/>
                    <a:pt x="676" y="364"/>
                  </a:cubicBezTo>
                  <a:cubicBezTo>
                    <a:pt x="683" y="367"/>
                    <a:pt x="686" y="375"/>
                    <a:pt x="691" y="378"/>
                  </a:cubicBezTo>
                  <a:cubicBezTo>
                    <a:pt x="691" y="378"/>
                    <a:pt x="691" y="378"/>
                    <a:pt x="691" y="378"/>
                  </a:cubicBezTo>
                  <a:cubicBezTo>
                    <a:pt x="694" y="380"/>
                    <a:pt x="699" y="379"/>
                    <a:pt x="697" y="375"/>
                  </a:cubicBezTo>
                  <a:cubicBezTo>
                    <a:pt x="693" y="369"/>
                    <a:pt x="704" y="377"/>
                    <a:pt x="703" y="374"/>
                  </a:cubicBezTo>
                  <a:close/>
                  <a:moveTo>
                    <a:pt x="756" y="372"/>
                  </a:moveTo>
                  <a:cubicBezTo>
                    <a:pt x="754" y="366"/>
                    <a:pt x="699" y="344"/>
                    <a:pt x="676" y="338"/>
                  </a:cubicBezTo>
                  <a:cubicBezTo>
                    <a:pt x="667" y="336"/>
                    <a:pt x="655" y="343"/>
                    <a:pt x="646" y="343"/>
                  </a:cubicBezTo>
                  <a:cubicBezTo>
                    <a:pt x="637" y="343"/>
                    <a:pt x="613" y="343"/>
                    <a:pt x="606" y="336"/>
                  </a:cubicBezTo>
                  <a:cubicBezTo>
                    <a:pt x="606" y="335"/>
                    <a:pt x="602" y="332"/>
                    <a:pt x="600" y="334"/>
                  </a:cubicBezTo>
                  <a:cubicBezTo>
                    <a:pt x="595" y="342"/>
                    <a:pt x="621" y="344"/>
                    <a:pt x="624" y="345"/>
                  </a:cubicBezTo>
                  <a:cubicBezTo>
                    <a:pt x="625" y="345"/>
                    <a:pt x="625" y="345"/>
                    <a:pt x="625" y="345"/>
                  </a:cubicBezTo>
                  <a:cubicBezTo>
                    <a:pt x="638" y="351"/>
                    <a:pt x="660" y="342"/>
                    <a:pt x="673" y="341"/>
                  </a:cubicBezTo>
                  <a:cubicBezTo>
                    <a:pt x="679" y="340"/>
                    <a:pt x="686" y="348"/>
                    <a:pt x="692" y="348"/>
                  </a:cubicBezTo>
                  <a:cubicBezTo>
                    <a:pt x="692" y="348"/>
                    <a:pt x="695" y="348"/>
                    <a:pt x="695" y="349"/>
                  </a:cubicBezTo>
                  <a:cubicBezTo>
                    <a:pt x="695" y="350"/>
                    <a:pt x="689" y="351"/>
                    <a:pt x="690" y="352"/>
                  </a:cubicBezTo>
                  <a:cubicBezTo>
                    <a:pt x="692" y="355"/>
                    <a:pt x="701" y="350"/>
                    <a:pt x="702" y="350"/>
                  </a:cubicBezTo>
                  <a:cubicBezTo>
                    <a:pt x="713" y="351"/>
                    <a:pt x="735" y="369"/>
                    <a:pt x="736" y="371"/>
                  </a:cubicBezTo>
                  <a:cubicBezTo>
                    <a:pt x="737" y="374"/>
                    <a:pt x="754" y="381"/>
                    <a:pt x="752" y="378"/>
                  </a:cubicBezTo>
                  <a:cubicBezTo>
                    <a:pt x="751" y="375"/>
                    <a:pt x="757" y="374"/>
                    <a:pt x="756" y="372"/>
                  </a:cubicBezTo>
                  <a:close/>
                  <a:moveTo>
                    <a:pt x="645" y="316"/>
                  </a:moveTo>
                  <a:cubicBezTo>
                    <a:pt x="655" y="317"/>
                    <a:pt x="665" y="319"/>
                    <a:pt x="673" y="324"/>
                  </a:cubicBezTo>
                  <a:cubicBezTo>
                    <a:pt x="674" y="325"/>
                    <a:pt x="674" y="325"/>
                    <a:pt x="674" y="325"/>
                  </a:cubicBezTo>
                  <a:cubicBezTo>
                    <a:pt x="678" y="328"/>
                    <a:pt x="676" y="321"/>
                    <a:pt x="675" y="319"/>
                  </a:cubicBezTo>
                  <a:cubicBezTo>
                    <a:pt x="673" y="317"/>
                    <a:pt x="638" y="303"/>
                    <a:pt x="632" y="316"/>
                  </a:cubicBezTo>
                  <a:cubicBezTo>
                    <a:pt x="630" y="319"/>
                    <a:pt x="644" y="316"/>
                    <a:pt x="645" y="316"/>
                  </a:cubicBezTo>
                  <a:close/>
                  <a:moveTo>
                    <a:pt x="786" y="378"/>
                  </a:moveTo>
                  <a:cubicBezTo>
                    <a:pt x="786" y="370"/>
                    <a:pt x="768" y="361"/>
                    <a:pt x="766" y="368"/>
                  </a:cubicBezTo>
                  <a:cubicBezTo>
                    <a:pt x="765" y="372"/>
                    <a:pt x="782" y="375"/>
                    <a:pt x="779" y="380"/>
                  </a:cubicBezTo>
                  <a:cubicBezTo>
                    <a:pt x="777" y="384"/>
                    <a:pt x="755" y="375"/>
                    <a:pt x="754" y="381"/>
                  </a:cubicBezTo>
                  <a:cubicBezTo>
                    <a:pt x="753" y="383"/>
                    <a:pt x="761" y="385"/>
                    <a:pt x="762" y="385"/>
                  </a:cubicBezTo>
                  <a:cubicBezTo>
                    <a:pt x="762" y="385"/>
                    <a:pt x="762" y="385"/>
                    <a:pt x="762" y="385"/>
                  </a:cubicBezTo>
                  <a:cubicBezTo>
                    <a:pt x="766" y="384"/>
                    <a:pt x="786" y="383"/>
                    <a:pt x="786" y="378"/>
                  </a:cubicBezTo>
                  <a:close/>
                  <a:moveTo>
                    <a:pt x="742" y="298"/>
                  </a:moveTo>
                  <a:cubicBezTo>
                    <a:pt x="727" y="289"/>
                    <a:pt x="714" y="271"/>
                    <a:pt x="698" y="263"/>
                  </a:cubicBezTo>
                  <a:cubicBezTo>
                    <a:pt x="689" y="259"/>
                    <a:pt x="679" y="263"/>
                    <a:pt x="670" y="260"/>
                  </a:cubicBezTo>
                  <a:cubicBezTo>
                    <a:pt x="659" y="258"/>
                    <a:pt x="650" y="243"/>
                    <a:pt x="640" y="238"/>
                  </a:cubicBezTo>
                  <a:cubicBezTo>
                    <a:pt x="627" y="232"/>
                    <a:pt x="615" y="229"/>
                    <a:pt x="602" y="224"/>
                  </a:cubicBezTo>
                  <a:cubicBezTo>
                    <a:pt x="594" y="222"/>
                    <a:pt x="544" y="198"/>
                    <a:pt x="541" y="200"/>
                  </a:cubicBezTo>
                  <a:cubicBezTo>
                    <a:pt x="537" y="203"/>
                    <a:pt x="547" y="203"/>
                    <a:pt x="550" y="206"/>
                  </a:cubicBezTo>
                  <a:cubicBezTo>
                    <a:pt x="560" y="212"/>
                    <a:pt x="566" y="216"/>
                    <a:pt x="566" y="216"/>
                  </a:cubicBezTo>
                  <a:cubicBezTo>
                    <a:pt x="567" y="220"/>
                    <a:pt x="551" y="215"/>
                    <a:pt x="552" y="216"/>
                  </a:cubicBezTo>
                  <a:cubicBezTo>
                    <a:pt x="554" y="222"/>
                    <a:pt x="611" y="232"/>
                    <a:pt x="633" y="239"/>
                  </a:cubicBezTo>
                  <a:cubicBezTo>
                    <a:pt x="635" y="240"/>
                    <a:pt x="658" y="257"/>
                    <a:pt x="664" y="262"/>
                  </a:cubicBezTo>
                  <a:cubicBezTo>
                    <a:pt x="674" y="269"/>
                    <a:pt x="689" y="262"/>
                    <a:pt x="696" y="267"/>
                  </a:cubicBezTo>
                  <a:cubicBezTo>
                    <a:pt x="712" y="277"/>
                    <a:pt x="731" y="301"/>
                    <a:pt x="740" y="306"/>
                  </a:cubicBezTo>
                  <a:cubicBezTo>
                    <a:pt x="747" y="310"/>
                    <a:pt x="755" y="305"/>
                    <a:pt x="763" y="308"/>
                  </a:cubicBezTo>
                  <a:cubicBezTo>
                    <a:pt x="764" y="308"/>
                    <a:pt x="782" y="325"/>
                    <a:pt x="786" y="324"/>
                  </a:cubicBezTo>
                  <a:cubicBezTo>
                    <a:pt x="786" y="323"/>
                    <a:pt x="786" y="323"/>
                    <a:pt x="786" y="323"/>
                  </a:cubicBezTo>
                  <a:cubicBezTo>
                    <a:pt x="791" y="302"/>
                    <a:pt x="751" y="304"/>
                    <a:pt x="742" y="298"/>
                  </a:cubicBezTo>
                  <a:close/>
                  <a:moveTo>
                    <a:pt x="780" y="197"/>
                  </a:moveTo>
                  <a:cubicBezTo>
                    <a:pt x="764" y="197"/>
                    <a:pt x="748" y="192"/>
                    <a:pt x="731" y="192"/>
                  </a:cubicBezTo>
                  <a:cubicBezTo>
                    <a:pt x="729" y="192"/>
                    <a:pt x="718" y="193"/>
                    <a:pt x="718" y="193"/>
                  </a:cubicBezTo>
                  <a:cubicBezTo>
                    <a:pt x="719" y="195"/>
                    <a:pt x="723" y="196"/>
                    <a:pt x="724" y="196"/>
                  </a:cubicBezTo>
                  <a:cubicBezTo>
                    <a:pt x="752" y="197"/>
                    <a:pt x="772" y="200"/>
                    <a:pt x="798" y="208"/>
                  </a:cubicBezTo>
                  <a:cubicBezTo>
                    <a:pt x="798" y="208"/>
                    <a:pt x="798" y="208"/>
                    <a:pt x="798" y="208"/>
                  </a:cubicBezTo>
                  <a:cubicBezTo>
                    <a:pt x="806" y="209"/>
                    <a:pt x="786" y="197"/>
                    <a:pt x="780" y="197"/>
                  </a:cubicBezTo>
                  <a:close/>
                  <a:moveTo>
                    <a:pt x="848" y="705"/>
                  </a:moveTo>
                  <a:cubicBezTo>
                    <a:pt x="842" y="703"/>
                    <a:pt x="834" y="719"/>
                    <a:pt x="844" y="723"/>
                  </a:cubicBezTo>
                  <a:cubicBezTo>
                    <a:pt x="844" y="723"/>
                    <a:pt x="844" y="723"/>
                    <a:pt x="844" y="723"/>
                  </a:cubicBezTo>
                  <a:cubicBezTo>
                    <a:pt x="847" y="728"/>
                    <a:pt x="852" y="707"/>
                    <a:pt x="848" y="705"/>
                  </a:cubicBezTo>
                  <a:close/>
                  <a:moveTo>
                    <a:pt x="876" y="191"/>
                  </a:moveTo>
                  <a:cubicBezTo>
                    <a:pt x="874" y="183"/>
                    <a:pt x="861" y="191"/>
                    <a:pt x="852" y="190"/>
                  </a:cubicBezTo>
                  <a:cubicBezTo>
                    <a:pt x="849" y="189"/>
                    <a:pt x="847" y="188"/>
                    <a:pt x="844" y="186"/>
                  </a:cubicBezTo>
                  <a:cubicBezTo>
                    <a:pt x="843" y="185"/>
                    <a:pt x="843" y="183"/>
                    <a:pt x="842" y="181"/>
                  </a:cubicBezTo>
                  <a:cubicBezTo>
                    <a:pt x="842" y="178"/>
                    <a:pt x="845" y="169"/>
                    <a:pt x="841" y="168"/>
                  </a:cubicBezTo>
                  <a:cubicBezTo>
                    <a:pt x="838" y="166"/>
                    <a:pt x="843" y="176"/>
                    <a:pt x="840" y="176"/>
                  </a:cubicBezTo>
                  <a:cubicBezTo>
                    <a:pt x="828" y="176"/>
                    <a:pt x="835" y="166"/>
                    <a:pt x="832" y="163"/>
                  </a:cubicBezTo>
                  <a:cubicBezTo>
                    <a:pt x="829" y="160"/>
                    <a:pt x="830" y="165"/>
                    <a:pt x="828" y="166"/>
                  </a:cubicBezTo>
                  <a:cubicBezTo>
                    <a:pt x="823" y="170"/>
                    <a:pt x="816" y="155"/>
                    <a:pt x="813" y="152"/>
                  </a:cubicBezTo>
                  <a:cubicBezTo>
                    <a:pt x="810" y="148"/>
                    <a:pt x="802" y="136"/>
                    <a:pt x="809" y="136"/>
                  </a:cubicBezTo>
                  <a:cubicBezTo>
                    <a:pt x="809" y="136"/>
                    <a:pt x="812" y="137"/>
                    <a:pt x="811" y="136"/>
                  </a:cubicBezTo>
                  <a:cubicBezTo>
                    <a:pt x="807" y="129"/>
                    <a:pt x="776" y="128"/>
                    <a:pt x="770" y="128"/>
                  </a:cubicBezTo>
                  <a:cubicBezTo>
                    <a:pt x="769" y="128"/>
                    <a:pt x="764" y="128"/>
                    <a:pt x="764" y="127"/>
                  </a:cubicBezTo>
                  <a:cubicBezTo>
                    <a:pt x="766" y="119"/>
                    <a:pt x="797" y="128"/>
                    <a:pt x="794" y="123"/>
                  </a:cubicBezTo>
                  <a:cubicBezTo>
                    <a:pt x="788" y="115"/>
                    <a:pt x="745" y="122"/>
                    <a:pt x="732" y="115"/>
                  </a:cubicBezTo>
                  <a:cubicBezTo>
                    <a:pt x="721" y="109"/>
                    <a:pt x="708" y="106"/>
                    <a:pt x="695" y="102"/>
                  </a:cubicBezTo>
                  <a:cubicBezTo>
                    <a:pt x="688" y="100"/>
                    <a:pt x="677" y="87"/>
                    <a:pt x="675" y="94"/>
                  </a:cubicBezTo>
                  <a:cubicBezTo>
                    <a:pt x="672" y="117"/>
                    <a:pt x="744" y="120"/>
                    <a:pt x="757" y="123"/>
                  </a:cubicBezTo>
                  <a:cubicBezTo>
                    <a:pt x="761" y="125"/>
                    <a:pt x="758" y="130"/>
                    <a:pt x="765" y="132"/>
                  </a:cubicBezTo>
                  <a:cubicBezTo>
                    <a:pt x="778" y="137"/>
                    <a:pt x="795" y="134"/>
                    <a:pt x="806" y="143"/>
                  </a:cubicBezTo>
                  <a:cubicBezTo>
                    <a:pt x="811" y="147"/>
                    <a:pt x="814" y="159"/>
                    <a:pt x="818" y="164"/>
                  </a:cubicBezTo>
                  <a:cubicBezTo>
                    <a:pt x="822" y="171"/>
                    <a:pt x="833" y="179"/>
                    <a:pt x="844" y="186"/>
                  </a:cubicBezTo>
                  <a:cubicBezTo>
                    <a:pt x="846" y="189"/>
                    <a:pt x="849" y="190"/>
                    <a:pt x="852" y="190"/>
                  </a:cubicBezTo>
                  <a:cubicBezTo>
                    <a:pt x="856" y="193"/>
                    <a:pt x="860" y="195"/>
                    <a:pt x="864" y="196"/>
                  </a:cubicBezTo>
                  <a:cubicBezTo>
                    <a:pt x="868" y="199"/>
                    <a:pt x="875" y="202"/>
                    <a:pt x="872" y="200"/>
                  </a:cubicBezTo>
                  <a:cubicBezTo>
                    <a:pt x="872" y="200"/>
                    <a:pt x="872" y="200"/>
                    <a:pt x="872" y="200"/>
                  </a:cubicBezTo>
                  <a:cubicBezTo>
                    <a:pt x="869" y="199"/>
                    <a:pt x="866" y="198"/>
                    <a:pt x="864" y="196"/>
                  </a:cubicBezTo>
                  <a:cubicBezTo>
                    <a:pt x="862" y="195"/>
                    <a:pt x="861" y="194"/>
                    <a:pt x="862" y="193"/>
                  </a:cubicBezTo>
                  <a:cubicBezTo>
                    <a:pt x="864" y="191"/>
                    <a:pt x="871" y="197"/>
                    <a:pt x="874" y="195"/>
                  </a:cubicBezTo>
                  <a:cubicBezTo>
                    <a:pt x="876" y="194"/>
                    <a:pt x="876" y="193"/>
                    <a:pt x="876" y="191"/>
                  </a:cubicBezTo>
                  <a:close/>
                  <a:moveTo>
                    <a:pt x="42" y="1640"/>
                  </a:moveTo>
                  <a:cubicBezTo>
                    <a:pt x="44" y="1643"/>
                    <a:pt x="47" y="1637"/>
                    <a:pt x="49" y="1635"/>
                  </a:cubicBezTo>
                  <a:cubicBezTo>
                    <a:pt x="53" y="1631"/>
                    <a:pt x="88" y="1652"/>
                    <a:pt x="67" y="1612"/>
                  </a:cubicBezTo>
                  <a:cubicBezTo>
                    <a:pt x="67" y="1612"/>
                    <a:pt x="67" y="1612"/>
                    <a:pt x="67" y="1612"/>
                  </a:cubicBezTo>
                  <a:cubicBezTo>
                    <a:pt x="62" y="1611"/>
                    <a:pt x="29" y="1628"/>
                    <a:pt x="42" y="1640"/>
                  </a:cubicBezTo>
                  <a:close/>
                  <a:moveTo>
                    <a:pt x="541" y="1740"/>
                  </a:moveTo>
                  <a:cubicBezTo>
                    <a:pt x="539" y="1735"/>
                    <a:pt x="530" y="1746"/>
                    <a:pt x="531" y="1753"/>
                  </a:cubicBezTo>
                  <a:cubicBezTo>
                    <a:pt x="533" y="1761"/>
                    <a:pt x="525" y="1758"/>
                    <a:pt x="526" y="1765"/>
                  </a:cubicBezTo>
                  <a:cubicBezTo>
                    <a:pt x="527" y="1772"/>
                    <a:pt x="526" y="1775"/>
                    <a:pt x="517" y="1789"/>
                  </a:cubicBezTo>
                  <a:cubicBezTo>
                    <a:pt x="508" y="1804"/>
                    <a:pt x="514" y="1806"/>
                    <a:pt x="507" y="1805"/>
                  </a:cubicBezTo>
                  <a:cubicBezTo>
                    <a:pt x="499" y="1805"/>
                    <a:pt x="501" y="1807"/>
                    <a:pt x="494" y="1821"/>
                  </a:cubicBezTo>
                  <a:cubicBezTo>
                    <a:pt x="487" y="1835"/>
                    <a:pt x="479" y="1848"/>
                    <a:pt x="481" y="1865"/>
                  </a:cubicBezTo>
                  <a:cubicBezTo>
                    <a:pt x="484" y="1881"/>
                    <a:pt x="478" y="1900"/>
                    <a:pt x="484" y="1900"/>
                  </a:cubicBezTo>
                  <a:cubicBezTo>
                    <a:pt x="494" y="1899"/>
                    <a:pt x="496" y="1873"/>
                    <a:pt x="500" y="1867"/>
                  </a:cubicBezTo>
                  <a:cubicBezTo>
                    <a:pt x="504" y="1861"/>
                    <a:pt x="500" y="1852"/>
                    <a:pt x="504" y="1850"/>
                  </a:cubicBezTo>
                  <a:cubicBezTo>
                    <a:pt x="508" y="1847"/>
                    <a:pt x="508" y="1842"/>
                    <a:pt x="512" y="1824"/>
                  </a:cubicBezTo>
                  <a:cubicBezTo>
                    <a:pt x="517" y="1806"/>
                    <a:pt x="521" y="1819"/>
                    <a:pt x="521" y="1810"/>
                  </a:cubicBezTo>
                  <a:cubicBezTo>
                    <a:pt x="521" y="1799"/>
                    <a:pt x="524" y="1809"/>
                    <a:pt x="524" y="1798"/>
                  </a:cubicBezTo>
                  <a:cubicBezTo>
                    <a:pt x="524" y="1787"/>
                    <a:pt x="530" y="1787"/>
                    <a:pt x="527" y="1786"/>
                  </a:cubicBezTo>
                  <a:cubicBezTo>
                    <a:pt x="525" y="1785"/>
                    <a:pt x="525" y="1783"/>
                    <a:pt x="528" y="1784"/>
                  </a:cubicBezTo>
                  <a:cubicBezTo>
                    <a:pt x="530" y="1784"/>
                    <a:pt x="532" y="1783"/>
                    <a:pt x="534" y="1772"/>
                  </a:cubicBezTo>
                  <a:cubicBezTo>
                    <a:pt x="537" y="1761"/>
                    <a:pt x="542" y="1763"/>
                    <a:pt x="540" y="1755"/>
                  </a:cubicBezTo>
                  <a:cubicBezTo>
                    <a:pt x="537" y="1746"/>
                    <a:pt x="547" y="1746"/>
                    <a:pt x="546" y="1742"/>
                  </a:cubicBezTo>
                  <a:cubicBezTo>
                    <a:pt x="545" y="1738"/>
                    <a:pt x="543" y="1744"/>
                    <a:pt x="541" y="1740"/>
                  </a:cubicBezTo>
                  <a:close/>
                  <a:moveTo>
                    <a:pt x="558" y="1445"/>
                  </a:moveTo>
                  <a:cubicBezTo>
                    <a:pt x="556" y="1445"/>
                    <a:pt x="558" y="1447"/>
                    <a:pt x="551" y="1444"/>
                  </a:cubicBezTo>
                  <a:cubicBezTo>
                    <a:pt x="537" y="1439"/>
                    <a:pt x="549" y="1460"/>
                    <a:pt x="562" y="1453"/>
                  </a:cubicBezTo>
                  <a:cubicBezTo>
                    <a:pt x="563" y="1453"/>
                    <a:pt x="564" y="1453"/>
                    <a:pt x="564" y="1451"/>
                  </a:cubicBezTo>
                  <a:cubicBezTo>
                    <a:pt x="564" y="1449"/>
                    <a:pt x="560" y="1445"/>
                    <a:pt x="558" y="1445"/>
                  </a:cubicBezTo>
                  <a:close/>
                  <a:moveTo>
                    <a:pt x="690" y="1462"/>
                  </a:moveTo>
                  <a:cubicBezTo>
                    <a:pt x="690" y="1462"/>
                    <a:pt x="695" y="1461"/>
                    <a:pt x="695" y="1459"/>
                  </a:cubicBezTo>
                  <a:cubicBezTo>
                    <a:pt x="695" y="1458"/>
                    <a:pt x="695" y="1458"/>
                    <a:pt x="695" y="1458"/>
                  </a:cubicBezTo>
                  <a:cubicBezTo>
                    <a:pt x="695" y="1456"/>
                    <a:pt x="695" y="1456"/>
                    <a:pt x="695" y="1454"/>
                  </a:cubicBezTo>
                  <a:cubicBezTo>
                    <a:pt x="695" y="1454"/>
                    <a:pt x="695" y="1454"/>
                    <a:pt x="695" y="1454"/>
                  </a:cubicBezTo>
                  <a:cubicBezTo>
                    <a:pt x="693" y="1451"/>
                    <a:pt x="688" y="1451"/>
                    <a:pt x="693" y="1458"/>
                  </a:cubicBezTo>
                  <a:cubicBezTo>
                    <a:pt x="694" y="1459"/>
                    <a:pt x="691" y="1461"/>
                    <a:pt x="690" y="1462"/>
                  </a:cubicBezTo>
                  <a:close/>
                  <a:moveTo>
                    <a:pt x="643" y="1507"/>
                  </a:moveTo>
                  <a:cubicBezTo>
                    <a:pt x="643" y="1506"/>
                    <a:pt x="643" y="1506"/>
                    <a:pt x="643" y="1506"/>
                  </a:cubicBezTo>
                  <a:cubicBezTo>
                    <a:pt x="642" y="1499"/>
                    <a:pt x="636" y="1510"/>
                    <a:pt x="636" y="1511"/>
                  </a:cubicBezTo>
                  <a:cubicBezTo>
                    <a:pt x="637" y="1512"/>
                    <a:pt x="643" y="1509"/>
                    <a:pt x="643" y="1507"/>
                  </a:cubicBezTo>
                  <a:close/>
                  <a:moveTo>
                    <a:pt x="584" y="1448"/>
                  </a:moveTo>
                  <a:cubicBezTo>
                    <a:pt x="578" y="1447"/>
                    <a:pt x="584" y="1451"/>
                    <a:pt x="585" y="1454"/>
                  </a:cubicBezTo>
                  <a:cubicBezTo>
                    <a:pt x="586" y="1462"/>
                    <a:pt x="591" y="1453"/>
                    <a:pt x="585" y="1448"/>
                  </a:cubicBezTo>
                  <a:lnTo>
                    <a:pt x="584" y="1448"/>
                  </a:lnTo>
                  <a:close/>
                  <a:moveTo>
                    <a:pt x="706" y="1416"/>
                  </a:moveTo>
                  <a:cubicBezTo>
                    <a:pt x="706" y="1415"/>
                    <a:pt x="706" y="1415"/>
                    <a:pt x="706" y="1415"/>
                  </a:cubicBezTo>
                  <a:cubicBezTo>
                    <a:pt x="711" y="1412"/>
                    <a:pt x="687" y="1424"/>
                    <a:pt x="692" y="1426"/>
                  </a:cubicBezTo>
                  <a:cubicBezTo>
                    <a:pt x="697" y="1427"/>
                    <a:pt x="703" y="1418"/>
                    <a:pt x="706" y="1416"/>
                  </a:cubicBezTo>
                  <a:close/>
                  <a:moveTo>
                    <a:pt x="581" y="1546"/>
                  </a:moveTo>
                  <a:cubicBezTo>
                    <a:pt x="583" y="1544"/>
                    <a:pt x="582" y="1542"/>
                    <a:pt x="580" y="1541"/>
                  </a:cubicBezTo>
                  <a:cubicBezTo>
                    <a:pt x="580" y="1541"/>
                    <a:pt x="580" y="1541"/>
                    <a:pt x="580" y="1541"/>
                  </a:cubicBezTo>
                  <a:cubicBezTo>
                    <a:pt x="578" y="1540"/>
                    <a:pt x="579" y="1547"/>
                    <a:pt x="581" y="1546"/>
                  </a:cubicBezTo>
                  <a:close/>
                  <a:moveTo>
                    <a:pt x="658" y="1470"/>
                  </a:moveTo>
                  <a:cubicBezTo>
                    <a:pt x="658" y="1470"/>
                    <a:pt x="654" y="1470"/>
                    <a:pt x="654" y="1470"/>
                  </a:cubicBezTo>
                  <a:cubicBezTo>
                    <a:pt x="654" y="1471"/>
                    <a:pt x="659" y="1471"/>
                    <a:pt x="660" y="1472"/>
                  </a:cubicBezTo>
                  <a:cubicBezTo>
                    <a:pt x="664" y="1476"/>
                    <a:pt x="678" y="1484"/>
                    <a:pt x="670" y="1478"/>
                  </a:cubicBezTo>
                  <a:cubicBezTo>
                    <a:pt x="668" y="1476"/>
                    <a:pt x="684" y="1476"/>
                    <a:pt x="668" y="1470"/>
                  </a:cubicBezTo>
                  <a:cubicBezTo>
                    <a:pt x="668" y="1470"/>
                    <a:pt x="668" y="1470"/>
                    <a:pt x="668" y="1470"/>
                  </a:cubicBezTo>
                  <a:cubicBezTo>
                    <a:pt x="666" y="1471"/>
                    <a:pt x="661" y="1471"/>
                    <a:pt x="658" y="1470"/>
                  </a:cubicBezTo>
                  <a:close/>
                  <a:moveTo>
                    <a:pt x="676" y="1322"/>
                  </a:moveTo>
                  <a:cubicBezTo>
                    <a:pt x="676" y="1322"/>
                    <a:pt x="673" y="1317"/>
                    <a:pt x="673" y="1316"/>
                  </a:cubicBezTo>
                  <a:cubicBezTo>
                    <a:pt x="670" y="1308"/>
                    <a:pt x="661" y="1306"/>
                    <a:pt x="661" y="1294"/>
                  </a:cubicBezTo>
                  <a:cubicBezTo>
                    <a:pt x="661" y="1294"/>
                    <a:pt x="661" y="1294"/>
                    <a:pt x="661" y="1294"/>
                  </a:cubicBezTo>
                  <a:cubicBezTo>
                    <a:pt x="650" y="1290"/>
                    <a:pt x="668" y="1331"/>
                    <a:pt x="676" y="1322"/>
                  </a:cubicBezTo>
                  <a:close/>
                  <a:moveTo>
                    <a:pt x="662" y="1511"/>
                  </a:moveTo>
                  <a:cubicBezTo>
                    <a:pt x="662" y="1511"/>
                    <a:pt x="662" y="1511"/>
                    <a:pt x="662" y="1511"/>
                  </a:cubicBezTo>
                  <a:cubicBezTo>
                    <a:pt x="664" y="1507"/>
                    <a:pt x="658" y="1511"/>
                    <a:pt x="655" y="1512"/>
                  </a:cubicBezTo>
                  <a:cubicBezTo>
                    <a:pt x="650" y="1514"/>
                    <a:pt x="655" y="1516"/>
                    <a:pt x="662" y="1511"/>
                  </a:cubicBezTo>
                  <a:close/>
                  <a:moveTo>
                    <a:pt x="697" y="1335"/>
                  </a:moveTo>
                  <a:cubicBezTo>
                    <a:pt x="698" y="1335"/>
                    <a:pt x="698" y="1335"/>
                    <a:pt x="698" y="1335"/>
                  </a:cubicBezTo>
                  <a:cubicBezTo>
                    <a:pt x="691" y="1330"/>
                    <a:pt x="701" y="1352"/>
                    <a:pt x="697" y="1335"/>
                  </a:cubicBezTo>
                  <a:close/>
                  <a:moveTo>
                    <a:pt x="692" y="1476"/>
                  </a:moveTo>
                  <a:cubicBezTo>
                    <a:pt x="686" y="1481"/>
                    <a:pt x="694" y="1480"/>
                    <a:pt x="697" y="1477"/>
                  </a:cubicBezTo>
                  <a:cubicBezTo>
                    <a:pt x="697" y="1477"/>
                    <a:pt x="697" y="1477"/>
                    <a:pt x="697" y="1477"/>
                  </a:cubicBezTo>
                  <a:cubicBezTo>
                    <a:pt x="699" y="1474"/>
                    <a:pt x="692" y="1475"/>
                    <a:pt x="692" y="1476"/>
                  </a:cubicBezTo>
                  <a:close/>
                  <a:moveTo>
                    <a:pt x="742" y="1655"/>
                  </a:moveTo>
                  <a:cubicBezTo>
                    <a:pt x="742" y="1655"/>
                    <a:pt x="742" y="1655"/>
                    <a:pt x="742" y="1655"/>
                  </a:cubicBezTo>
                  <a:cubicBezTo>
                    <a:pt x="745" y="1654"/>
                    <a:pt x="744" y="1652"/>
                    <a:pt x="741" y="1652"/>
                  </a:cubicBezTo>
                  <a:cubicBezTo>
                    <a:pt x="739" y="1651"/>
                    <a:pt x="735" y="1654"/>
                    <a:pt x="734" y="1653"/>
                  </a:cubicBezTo>
                  <a:cubicBezTo>
                    <a:pt x="734" y="1652"/>
                    <a:pt x="734" y="1652"/>
                    <a:pt x="734" y="1652"/>
                  </a:cubicBezTo>
                  <a:cubicBezTo>
                    <a:pt x="734" y="1649"/>
                    <a:pt x="733" y="1652"/>
                    <a:pt x="732" y="1652"/>
                  </a:cubicBezTo>
                  <a:cubicBezTo>
                    <a:pt x="730" y="1652"/>
                    <a:pt x="731" y="1650"/>
                    <a:pt x="729" y="1650"/>
                  </a:cubicBezTo>
                  <a:cubicBezTo>
                    <a:pt x="728" y="1651"/>
                    <a:pt x="723" y="1652"/>
                    <a:pt x="722" y="1653"/>
                  </a:cubicBezTo>
                  <a:cubicBezTo>
                    <a:pt x="721" y="1654"/>
                    <a:pt x="721" y="1656"/>
                    <a:pt x="720" y="1658"/>
                  </a:cubicBezTo>
                  <a:cubicBezTo>
                    <a:pt x="719" y="1660"/>
                    <a:pt x="717" y="1659"/>
                    <a:pt x="717" y="1662"/>
                  </a:cubicBezTo>
                  <a:cubicBezTo>
                    <a:pt x="718" y="1664"/>
                    <a:pt x="720" y="1664"/>
                    <a:pt x="720" y="1666"/>
                  </a:cubicBezTo>
                  <a:cubicBezTo>
                    <a:pt x="721" y="1666"/>
                    <a:pt x="724" y="1673"/>
                    <a:pt x="726" y="1671"/>
                  </a:cubicBezTo>
                  <a:cubicBezTo>
                    <a:pt x="727" y="1670"/>
                    <a:pt x="725" y="1669"/>
                    <a:pt x="726" y="1668"/>
                  </a:cubicBezTo>
                  <a:cubicBezTo>
                    <a:pt x="734" y="1662"/>
                    <a:pt x="724" y="1665"/>
                    <a:pt x="727" y="1660"/>
                  </a:cubicBezTo>
                  <a:cubicBezTo>
                    <a:pt x="728" y="1660"/>
                    <a:pt x="728" y="1659"/>
                    <a:pt x="729" y="1659"/>
                  </a:cubicBezTo>
                  <a:cubicBezTo>
                    <a:pt x="730" y="1658"/>
                    <a:pt x="731" y="1659"/>
                    <a:pt x="732" y="1659"/>
                  </a:cubicBezTo>
                  <a:cubicBezTo>
                    <a:pt x="734" y="1659"/>
                    <a:pt x="734" y="1657"/>
                    <a:pt x="735" y="1656"/>
                  </a:cubicBezTo>
                  <a:cubicBezTo>
                    <a:pt x="739" y="1654"/>
                    <a:pt x="739" y="1658"/>
                    <a:pt x="742" y="1655"/>
                  </a:cubicBezTo>
                  <a:close/>
                  <a:moveTo>
                    <a:pt x="734" y="1601"/>
                  </a:moveTo>
                  <a:cubicBezTo>
                    <a:pt x="736" y="1601"/>
                    <a:pt x="744" y="1599"/>
                    <a:pt x="744" y="1596"/>
                  </a:cubicBezTo>
                  <a:cubicBezTo>
                    <a:pt x="743" y="1595"/>
                    <a:pt x="736" y="1594"/>
                    <a:pt x="734" y="1593"/>
                  </a:cubicBezTo>
                  <a:cubicBezTo>
                    <a:pt x="734" y="1593"/>
                    <a:pt x="734" y="1593"/>
                    <a:pt x="734" y="1593"/>
                  </a:cubicBezTo>
                  <a:cubicBezTo>
                    <a:pt x="727" y="1593"/>
                    <a:pt x="734" y="1601"/>
                    <a:pt x="734" y="1601"/>
                  </a:cubicBezTo>
                  <a:close/>
                  <a:moveTo>
                    <a:pt x="606" y="1517"/>
                  </a:moveTo>
                  <a:cubicBezTo>
                    <a:pt x="606" y="1517"/>
                    <a:pt x="606" y="1517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lose/>
                  <a:moveTo>
                    <a:pt x="713" y="1444"/>
                  </a:moveTo>
                  <a:cubicBezTo>
                    <a:pt x="713" y="1443"/>
                    <a:pt x="713" y="1443"/>
                    <a:pt x="713" y="1443"/>
                  </a:cubicBezTo>
                  <a:cubicBezTo>
                    <a:pt x="707" y="1435"/>
                    <a:pt x="708" y="1455"/>
                    <a:pt x="713" y="1444"/>
                  </a:cubicBezTo>
                  <a:close/>
                  <a:moveTo>
                    <a:pt x="673" y="1490"/>
                  </a:moveTo>
                  <a:cubicBezTo>
                    <a:pt x="673" y="1490"/>
                    <a:pt x="673" y="1490"/>
                    <a:pt x="673" y="1490"/>
                  </a:cubicBezTo>
                  <a:cubicBezTo>
                    <a:pt x="673" y="1486"/>
                    <a:pt x="665" y="1498"/>
                    <a:pt x="664" y="1498"/>
                  </a:cubicBezTo>
                  <a:cubicBezTo>
                    <a:pt x="661" y="1500"/>
                    <a:pt x="670" y="1502"/>
                    <a:pt x="673" y="1490"/>
                  </a:cubicBezTo>
                  <a:close/>
                  <a:moveTo>
                    <a:pt x="673" y="1469"/>
                  </a:moveTo>
                  <a:cubicBezTo>
                    <a:pt x="677" y="1475"/>
                    <a:pt x="683" y="1470"/>
                    <a:pt x="685" y="1468"/>
                  </a:cubicBezTo>
                  <a:cubicBezTo>
                    <a:pt x="685" y="1468"/>
                    <a:pt x="685" y="1468"/>
                    <a:pt x="685" y="1468"/>
                  </a:cubicBezTo>
                  <a:cubicBezTo>
                    <a:pt x="689" y="1466"/>
                    <a:pt x="671" y="1465"/>
                    <a:pt x="673" y="1469"/>
                  </a:cubicBezTo>
                  <a:close/>
                  <a:moveTo>
                    <a:pt x="718" y="1416"/>
                  </a:moveTo>
                  <a:cubicBezTo>
                    <a:pt x="718" y="1411"/>
                    <a:pt x="714" y="1415"/>
                    <a:pt x="712" y="1416"/>
                  </a:cubicBezTo>
                  <a:cubicBezTo>
                    <a:pt x="699" y="1423"/>
                    <a:pt x="715" y="1416"/>
                    <a:pt x="718" y="1416"/>
                  </a:cubicBezTo>
                  <a:close/>
                  <a:moveTo>
                    <a:pt x="672" y="1441"/>
                  </a:moveTo>
                  <a:cubicBezTo>
                    <a:pt x="673" y="1448"/>
                    <a:pt x="682" y="1436"/>
                    <a:pt x="690" y="1432"/>
                  </a:cubicBezTo>
                  <a:cubicBezTo>
                    <a:pt x="690" y="1432"/>
                    <a:pt x="690" y="1432"/>
                    <a:pt x="690" y="1432"/>
                  </a:cubicBezTo>
                  <a:cubicBezTo>
                    <a:pt x="696" y="1428"/>
                    <a:pt x="670" y="1435"/>
                    <a:pt x="672" y="1441"/>
                  </a:cubicBezTo>
                  <a:close/>
                  <a:moveTo>
                    <a:pt x="541" y="1439"/>
                  </a:moveTo>
                  <a:cubicBezTo>
                    <a:pt x="540" y="1437"/>
                    <a:pt x="540" y="1436"/>
                    <a:pt x="538" y="1435"/>
                  </a:cubicBezTo>
                  <a:cubicBezTo>
                    <a:pt x="538" y="1435"/>
                    <a:pt x="538" y="1435"/>
                    <a:pt x="538" y="1435"/>
                  </a:cubicBezTo>
                  <a:cubicBezTo>
                    <a:pt x="535" y="1433"/>
                    <a:pt x="525" y="1447"/>
                    <a:pt x="539" y="1454"/>
                  </a:cubicBezTo>
                  <a:cubicBezTo>
                    <a:pt x="542" y="1455"/>
                    <a:pt x="542" y="1453"/>
                    <a:pt x="541" y="1452"/>
                  </a:cubicBezTo>
                  <a:cubicBezTo>
                    <a:pt x="536" y="1442"/>
                    <a:pt x="544" y="1442"/>
                    <a:pt x="541" y="1439"/>
                  </a:cubicBezTo>
                  <a:close/>
                  <a:moveTo>
                    <a:pt x="718" y="1668"/>
                  </a:moveTo>
                  <a:cubicBezTo>
                    <a:pt x="711" y="1663"/>
                    <a:pt x="717" y="1660"/>
                    <a:pt x="712" y="1661"/>
                  </a:cubicBezTo>
                  <a:cubicBezTo>
                    <a:pt x="707" y="1662"/>
                    <a:pt x="710" y="1666"/>
                    <a:pt x="707" y="1666"/>
                  </a:cubicBezTo>
                  <a:cubicBezTo>
                    <a:pt x="704" y="1666"/>
                    <a:pt x="707" y="1658"/>
                    <a:pt x="702" y="1660"/>
                  </a:cubicBezTo>
                  <a:cubicBezTo>
                    <a:pt x="696" y="1662"/>
                    <a:pt x="703" y="1666"/>
                    <a:pt x="700" y="1667"/>
                  </a:cubicBezTo>
                  <a:cubicBezTo>
                    <a:pt x="696" y="1669"/>
                    <a:pt x="699" y="1672"/>
                    <a:pt x="697" y="1673"/>
                  </a:cubicBezTo>
                  <a:cubicBezTo>
                    <a:pt x="692" y="1674"/>
                    <a:pt x="696" y="1659"/>
                    <a:pt x="688" y="1659"/>
                  </a:cubicBezTo>
                  <a:cubicBezTo>
                    <a:pt x="679" y="1659"/>
                    <a:pt x="685" y="1673"/>
                    <a:pt x="674" y="1672"/>
                  </a:cubicBezTo>
                  <a:cubicBezTo>
                    <a:pt x="661" y="1672"/>
                    <a:pt x="658" y="1694"/>
                    <a:pt x="645" y="1704"/>
                  </a:cubicBezTo>
                  <a:cubicBezTo>
                    <a:pt x="631" y="1714"/>
                    <a:pt x="635" y="1717"/>
                    <a:pt x="636" y="1727"/>
                  </a:cubicBezTo>
                  <a:cubicBezTo>
                    <a:pt x="638" y="1737"/>
                    <a:pt x="642" y="1734"/>
                    <a:pt x="640" y="1736"/>
                  </a:cubicBezTo>
                  <a:cubicBezTo>
                    <a:pt x="639" y="1739"/>
                    <a:pt x="641" y="1742"/>
                    <a:pt x="637" y="1746"/>
                  </a:cubicBezTo>
                  <a:cubicBezTo>
                    <a:pt x="632" y="1751"/>
                    <a:pt x="632" y="1753"/>
                    <a:pt x="636" y="1755"/>
                  </a:cubicBezTo>
                  <a:cubicBezTo>
                    <a:pt x="639" y="1757"/>
                    <a:pt x="638" y="1756"/>
                    <a:pt x="639" y="1765"/>
                  </a:cubicBezTo>
                  <a:cubicBezTo>
                    <a:pt x="640" y="1773"/>
                    <a:pt x="646" y="1769"/>
                    <a:pt x="643" y="1776"/>
                  </a:cubicBezTo>
                  <a:cubicBezTo>
                    <a:pt x="641" y="1783"/>
                    <a:pt x="643" y="1783"/>
                    <a:pt x="648" y="1778"/>
                  </a:cubicBezTo>
                  <a:cubicBezTo>
                    <a:pt x="653" y="1774"/>
                    <a:pt x="652" y="1783"/>
                    <a:pt x="646" y="1785"/>
                  </a:cubicBezTo>
                  <a:cubicBezTo>
                    <a:pt x="640" y="1787"/>
                    <a:pt x="645" y="1788"/>
                    <a:pt x="641" y="1795"/>
                  </a:cubicBezTo>
                  <a:cubicBezTo>
                    <a:pt x="636" y="1803"/>
                    <a:pt x="635" y="1802"/>
                    <a:pt x="645" y="1800"/>
                  </a:cubicBezTo>
                  <a:cubicBezTo>
                    <a:pt x="651" y="1799"/>
                    <a:pt x="652" y="1800"/>
                    <a:pt x="652" y="1796"/>
                  </a:cubicBezTo>
                  <a:cubicBezTo>
                    <a:pt x="653" y="1792"/>
                    <a:pt x="657" y="1795"/>
                    <a:pt x="656" y="1792"/>
                  </a:cubicBezTo>
                  <a:cubicBezTo>
                    <a:pt x="655" y="1789"/>
                    <a:pt x="660" y="1789"/>
                    <a:pt x="658" y="1788"/>
                  </a:cubicBezTo>
                  <a:cubicBezTo>
                    <a:pt x="655" y="1786"/>
                    <a:pt x="654" y="1777"/>
                    <a:pt x="659" y="1776"/>
                  </a:cubicBezTo>
                  <a:cubicBezTo>
                    <a:pt x="664" y="1774"/>
                    <a:pt x="669" y="1771"/>
                    <a:pt x="664" y="1771"/>
                  </a:cubicBezTo>
                  <a:cubicBezTo>
                    <a:pt x="659" y="1772"/>
                    <a:pt x="657" y="1770"/>
                    <a:pt x="670" y="1765"/>
                  </a:cubicBezTo>
                  <a:cubicBezTo>
                    <a:pt x="684" y="1760"/>
                    <a:pt x="667" y="1762"/>
                    <a:pt x="681" y="1758"/>
                  </a:cubicBezTo>
                  <a:cubicBezTo>
                    <a:pt x="690" y="1756"/>
                    <a:pt x="693" y="1754"/>
                    <a:pt x="686" y="1750"/>
                  </a:cubicBezTo>
                  <a:cubicBezTo>
                    <a:pt x="679" y="1747"/>
                    <a:pt x="700" y="1733"/>
                    <a:pt x="704" y="1736"/>
                  </a:cubicBezTo>
                  <a:cubicBezTo>
                    <a:pt x="708" y="1738"/>
                    <a:pt x="713" y="1724"/>
                    <a:pt x="702" y="1728"/>
                  </a:cubicBezTo>
                  <a:cubicBezTo>
                    <a:pt x="692" y="1731"/>
                    <a:pt x="691" y="1719"/>
                    <a:pt x="696" y="1710"/>
                  </a:cubicBezTo>
                  <a:cubicBezTo>
                    <a:pt x="701" y="1701"/>
                    <a:pt x="690" y="1705"/>
                    <a:pt x="694" y="1699"/>
                  </a:cubicBezTo>
                  <a:cubicBezTo>
                    <a:pt x="698" y="1692"/>
                    <a:pt x="695" y="1685"/>
                    <a:pt x="699" y="1687"/>
                  </a:cubicBezTo>
                  <a:cubicBezTo>
                    <a:pt x="704" y="1689"/>
                    <a:pt x="702" y="1686"/>
                    <a:pt x="704" y="1688"/>
                  </a:cubicBezTo>
                  <a:cubicBezTo>
                    <a:pt x="706" y="1690"/>
                    <a:pt x="708" y="1690"/>
                    <a:pt x="708" y="1683"/>
                  </a:cubicBezTo>
                  <a:cubicBezTo>
                    <a:pt x="709" y="1676"/>
                    <a:pt x="712" y="1683"/>
                    <a:pt x="713" y="1679"/>
                  </a:cubicBezTo>
                  <a:cubicBezTo>
                    <a:pt x="713" y="1675"/>
                    <a:pt x="715" y="1671"/>
                    <a:pt x="719" y="1673"/>
                  </a:cubicBezTo>
                  <a:cubicBezTo>
                    <a:pt x="723" y="1675"/>
                    <a:pt x="724" y="1673"/>
                    <a:pt x="718" y="1668"/>
                  </a:cubicBezTo>
                  <a:close/>
                  <a:moveTo>
                    <a:pt x="301" y="1648"/>
                  </a:moveTo>
                  <a:cubicBezTo>
                    <a:pt x="306" y="1644"/>
                    <a:pt x="311" y="1629"/>
                    <a:pt x="304" y="1639"/>
                  </a:cubicBezTo>
                  <a:cubicBezTo>
                    <a:pt x="301" y="1642"/>
                    <a:pt x="295" y="1650"/>
                    <a:pt x="301" y="1648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Norway"/>
            <p:cNvSpPr>
              <a:spLocks noEditPoints="1"/>
            </p:cNvSpPr>
            <p:nvPr/>
          </p:nvSpPr>
          <p:spPr bwMode="auto">
            <a:xfrm>
              <a:off x="2987" y="657"/>
              <a:ext cx="1223" cy="1039"/>
            </a:xfrm>
            <a:custGeom>
              <a:avLst/>
              <a:gdLst>
                <a:gd name="T0" fmla="*/ 550 w 2349"/>
                <a:gd name="T1" fmla="*/ 1825 h 1995"/>
                <a:gd name="T2" fmla="*/ 389 w 2349"/>
                <a:gd name="T3" fmla="*/ 1893 h 1995"/>
                <a:gd name="T4" fmla="*/ 71 w 2349"/>
                <a:gd name="T5" fmla="*/ 1857 h 1995"/>
                <a:gd name="T6" fmla="*/ 107 w 2349"/>
                <a:gd name="T7" fmla="*/ 1799 h 1995"/>
                <a:gd name="T8" fmla="*/ 82 w 2349"/>
                <a:gd name="T9" fmla="*/ 1729 h 1995"/>
                <a:gd name="T10" fmla="*/ 79 w 2349"/>
                <a:gd name="T11" fmla="*/ 1671 h 1995"/>
                <a:gd name="T12" fmla="*/ 35 w 2349"/>
                <a:gd name="T13" fmla="*/ 1565 h 1995"/>
                <a:gd name="T14" fmla="*/ 110 w 2349"/>
                <a:gd name="T15" fmla="*/ 1539 h 1995"/>
                <a:gd name="T16" fmla="*/ 64 w 2349"/>
                <a:gd name="T17" fmla="*/ 1429 h 1995"/>
                <a:gd name="T18" fmla="*/ 84 w 2349"/>
                <a:gd name="T19" fmla="*/ 1391 h 1995"/>
                <a:gd name="T20" fmla="*/ 168 w 2349"/>
                <a:gd name="T21" fmla="*/ 1334 h 1995"/>
                <a:gd name="T22" fmla="*/ 306 w 2349"/>
                <a:gd name="T23" fmla="*/ 1297 h 1995"/>
                <a:gd name="T24" fmla="*/ 417 w 2349"/>
                <a:gd name="T25" fmla="*/ 1212 h 1995"/>
                <a:gd name="T26" fmla="*/ 567 w 2349"/>
                <a:gd name="T27" fmla="*/ 1138 h 1995"/>
                <a:gd name="T28" fmla="*/ 546 w 2349"/>
                <a:gd name="T29" fmla="*/ 1064 h 1995"/>
                <a:gd name="T30" fmla="*/ 603 w 2349"/>
                <a:gd name="T31" fmla="*/ 983 h 1995"/>
                <a:gd name="T32" fmla="*/ 691 w 2349"/>
                <a:gd name="T33" fmla="*/ 887 h 1995"/>
                <a:gd name="T34" fmla="*/ 751 w 2349"/>
                <a:gd name="T35" fmla="*/ 768 h 1995"/>
                <a:gd name="T36" fmla="*/ 824 w 2349"/>
                <a:gd name="T37" fmla="*/ 665 h 1995"/>
                <a:gd name="T38" fmla="*/ 921 w 2349"/>
                <a:gd name="T39" fmla="*/ 625 h 1995"/>
                <a:gd name="T40" fmla="*/ 962 w 2349"/>
                <a:gd name="T41" fmla="*/ 559 h 1995"/>
                <a:gd name="T42" fmla="*/ 954 w 2349"/>
                <a:gd name="T43" fmla="*/ 508 h 1995"/>
                <a:gd name="T44" fmla="*/ 1077 w 2349"/>
                <a:gd name="T45" fmla="*/ 487 h 1995"/>
                <a:gd name="T46" fmla="*/ 1139 w 2349"/>
                <a:gd name="T47" fmla="*/ 364 h 1995"/>
                <a:gd name="T48" fmla="*/ 1330 w 2349"/>
                <a:gd name="T49" fmla="*/ 277 h 1995"/>
                <a:gd name="T50" fmla="*/ 1533 w 2349"/>
                <a:gd name="T51" fmla="*/ 197 h 1995"/>
                <a:gd name="T52" fmla="*/ 1642 w 2349"/>
                <a:gd name="T53" fmla="*/ 196 h 1995"/>
                <a:gd name="T54" fmla="*/ 1847 w 2349"/>
                <a:gd name="T55" fmla="*/ 55 h 1995"/>
                <a:gd name="T56" fmla="*/ 2033 w 2349"/>
                <a:gd name="T57" fmla="*/ 61 h 1995"/>
                <a:gd name="T58" fmla="*/ 2095 w 2349"/>
                <a:gd name="T59" fmla="*/ 164 h 1995"/>
                <a:gd name="T60" fmla="*/ 2128 w 2349"/>
                <a:gd name="T61" fmla="*/ 165 h 1995"/>
                <a:gd name="T62" fmla="*/ 2159 w 2349"/>
                <a:gd name="T63" fmla="*/ 343 h 1995"/>
                <a:gd name="T64" fmla="*/ 1114 w 2349"/>
                <a:gd name="T65" fmla="*/ 496 h 1995"/>
                <a:gd name="T66" fmla="*/ 642 w 2349"/>
                <a:gd name="T67" fmla="*/ 1229 h 1995"/>
                <a:gd name="T68" fmla="*/ 849 w 2349"/>
                <a:gd name="T69" fmla="*/ 704 h 1995"/>
                <a:gd name="T70" fmla="*/ 774 w 2349"/>
                <a:gd name="T71" fmla="*/ 992 h 1995"/>
                <a:gd name="T72" fmla="*/ 314 w 2349"/>
                <a:gd name="T73" fmla="*/ 1848 h 1995"/>
                <a:gd name="T74" fmla="*/ 522 w 2349"/>
                <a:gd name="T75" fmla="*/ 1227 h 1995"/>
                <a:gd name="T76" fmla="*/ 578 w 2349"/>
                <a:gd name="T77" fmla="*/ 1754 h 1995"/>
                <a:gd name="T78" fmla="*/ 7 w 2349"/>
                <a:gd name="T79" fmla="*/ 1597 h 1995"/>
                <a:gd name="T80" fmla="*/ 576 w 2349"/>
                <a:gd name="T81" fmla="*/ 983 h 1995"/>
                <a:gd name="T82" fmla="*/ 42 w 2349"/>
                <a:gd name="T83" fmla="*/ 1762 h 1995"/>
                <a:gd name="T84" fmla="*/ 1451 w 2349"/>
                <a:gd name="T85" fmla="*/ 191 h 1995"/>
                <a:gd name="T86" fmla="*/ 666 w 2349"/>
                <a:gd name="T87" fmla="*/ 921 h 1995"/>
                <a:gd name="T88" fmla="*/ 298 w 2349"/>
                <a:gd name="T89" fmla="*/ 1234 h 1995"/>
                <a:gd name="T90" fmla="*/ 1039 w 2349"/>
                <a:gd name="T91" fmla="*/ 428 h 1995"/>
                <a:gd name="T92" fmla="*/ 869 w 2349"/>
                <a:gd name="T93" fmla="*/ 394 h 1995"/>
                <a:gd name="T94" fmla="*/ 1713 w 2349"/>
                <a:gd name="T95" fmla="*/ 30 h 1995"/>
                <a:gd name="T96" fmla="*/ 1236 w 2349"/>
                <a:gd name="T97" fmla="*/ 240 h 1995"/>
                <a:gd name="T98" fmla="*/ 1596 w 2349"/>
                <a:gd name="T99" fmla="*/ 80 h 1995"/>
                <a:gd name="T100" fmla="*/ 1641 w 2349"/>
                <a:gd name="T101" fmla="*/ 125 h 1995"/>
                <a:gd name="T102" fmla="*/ 1266 w 2349"/>
                <a:gd name="T103" fmla="*/ 197 h 1995"/>
                <a:gd name="T104" fmla="*/ 1090 w 2349"/>
                <a:gd name="T105" fmla="*/ 304 h 1995"/>
                <a:gd name="T106" fmla="*/ 913 w 2349"/>
                <a:gd name="T107" fmla="*/ 361 h 1995"/>
                <a:gd name="T108" fmla="*/ 1037 w 2349"/>
                <a:gd name="T109" fmla="*/ 353 h 1995"/>
                <a:gd name="T110" fmla="*/ 916 w 2349"/>
                <a:gd name="T111" fmla="*/ 465 h 1995"/>
                <a:gd name="T112" fmla="*/ 906 w 2349"/>
                <a:gd name="T113" fmla="*/ 441 h 1995"/>
                <a:gd name="T114" fmla="*/ 997 w 2349"/>
                <a:gd name="T115" fmla="*/ 357 h 1995"/>
                <a:gd name="T116" fmla="*/ 918 w 2349"/>
                <a:gd name="T117" fmla="*/ 512 h 1995"/>
                <a:gd name="T118" fmla="*/ 104 w 2349"/>
                <a:gd name="T119" fmla="*/ 1827 h 1995"/>
                <a:gd name="T120" fmla="*/ 10 w 2349"/>
                <a:gd name="T121" fmla="*/ 1542 h 1995"/>
                <a:gd name="T122" fmla="*/ 44 w 2349"/>
                <a:gd name="T123" fmla="*/ 1439 h 19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49" h="1995">
                  <a:moveTo>
                    <a:pt x="42" y="1698"/>
                  </a:moveTo>
                  <a:cubicBezTo>
                    <a:pt x="40" y="1696"/>
                    <a:pt x="38" y="1688"/>
                    <a:pt x="41" y="1690"/>
                  </a:cubicBezTo>
                  <a:cubicBezTo>
                    <a:pt x="41" y="1690"/>
                    <a:pt x="41" y="1690"/>
                    <a:pt x="41" y="1690"/>
                  </a:cubicBezTo>
                  <a:cubicBezTo>
                    <a:pt x="46" y="1695"/>
                    <a:pt x="46" y="1698"/>
                    <a:pt x="47" y="1703"/>
                  </a:cubicBezTo>
                  <a:cubicBezTo>
                    <a:pt x="48" y="1707"/>
                    <a:pt x="42" y="1705"/>
                    <a:pt x="39" y="1702"/>
                  </a:cubicBezTo>
                  <a:cubicBezTo>
                    <a:pt x="32" y="1693"/>
                    <a:pt x="44" y="1701"/>
                    <a:pt x="42" y="1698"/>
                  </a:cubicBezTo>
                  <a:close/>
                  <a:moveTo>
                    <a:pt x="247" y="1329"/>
                  </a:moveTo>
                  <a:cubicBezTo>
                    <a:pt x="247" y="1327"/>
                    <a:pt x="248" y="1325"/>
                    <a:pt x="247" y="1324"/>
                  </a:cubicBezTo>
                  <a:cubicBezTo>
                    <a:pt x="247" y="1326"/>
                    <a:pt x="247" y="1327"/>
                    <a:pt x="247" y="1329"/>
                  </a:cubicBezTo>
                  <a:close/>
                  <a:moveTo>
                    <a:pt x="161" y="1398"/>
                  </a:moveTo>
                  <a:cubicBezTo>
                    <a:pt x="162" y="1397"/>
                    <a:pt x="163" y="1396"/>
                    <a:pt x="164" y="1396"/>
                  </a:cubicBezTo>
                  <a:cubicBezTo>
                    <a:pt x="164" y="1395"/>
                    <a:pt x="163" y="1393"/>
                    <a:pt x="161" y="1390"/>
                  </a:cubicBezTo>
                  <a:cubicBezTo>
                    <a:pt x="162" y="1393"/>
                    <a:pt x="162" y="1396"/>
                    <a:pt x="161" y="1398"/>
                  </a:cubicBezTo>
                  <a:close/>
                  <a:moveTo>
                    <a:pt x="430" y="1186"/>
                  </a:moveTo>
                  <a:cubicBezTo>
                    <a:pt x="430" y="1185"/>
                    <a:pt x="429" y="1185"/>
                    <a:pt x="429" y="1185"/>
                  </a:cubicBezTo>
                  <a:cubicBezTo>
                    <a:pt x="428" y="1183"/>
                    <a:pt x="426" y="1183"/>
                    <a:pt x="425" y="1183"/>
                  </a:cubicBezTo>
                  <a:cubicBezTo>
                    <a:pt x="426" y="1184"/>
                    <a:pt x="428" y="1185"/>
                    <a:pt x="430" y="1186"/>
                  </a:cubicBezTo>
                  <a:close/>
                  <a:moveTo>
                    <a:pt x="30" y="1706"/>
                  </a:moveTo>
                  <a:cubicBezTo>
                    <a:pt x="30" y="1707"/>
                    <a:pt x="30" y="1707"/>
                    <a:pt x="30" y="1707"/>
                  </a:cubicBezTo>
                  <a:cubicBezTo>
                    <a:pt x="30" y="1725"/>
                    <a:pt x="46" y="1688"/>
                    <a:pt x="30" y="1706"/>
                  </a:cubicBezTo>
                  <a:close/>
                  <a:moveTo>
                    <a:pt x="33" y="1672"/>
                  </a:moveTo>
                  <a:cubicBezTo>
                    <a:pt x="31" y="1666"/>
                    <a:pt x="30" y="1655"/>
                    <a:pt x="23" y="1644"/>
                  </a:cubicBezTo>
                  <a:cubicBezTo>
                    <a:pt x="19" y="1639"/>
                    <a:pt x="21" y="1653"/>
                    <a:pt x="21" y="1658"/>
                  </a:cubicBezTo>
                  <a:cubicBezTo>
                    <a:pt x="21" y="1658"/>
                    <a:pt x="21" y="1658"/>
                    <a:pt x="21" y="1659"/>
                  </a:cubicBezTo>
                  <a:cubicBezTo>
                    <a:pt x="21" y="1659"/>
                    <a:pt x="22" y="1659"/>
                    <a:pt x="22" y="1659"/>
                  </a:cubicBezTo>
                  <a:cubicBezTo>
                    <a:pt x="22" y="1660"/>
                    <a:pt x="23" y="1660"/>
                    <a:pt x="24" y="1661"/>
                  </a:cubicBezTo>
                  <a:cubicBezTo>
                    <a:pt x="27" y="1664"/>
                    <a:pt x="26" y="1668"/>
                    <a:pt x="20" y="1664"/>
                  </a:cubicBezTo>
                  <a:cubicBezTo>
                    <a:pt x="17" y="1662"/>
                    <a:pt x="19" y="1670"/>
                    <a:pt x="20" y="1671"/>
                  </a:cubicBezTo>
                  <a:cubicBezTo>
                    <a:pt x="20" y="1672"/>
                    <a:pt x="32" y="1680"/>
                    <a:pt x="33" y="1680"/>
                  </a:cubicBezTo>
                  <a:cubicBezTo>
                    <a:pt x="35" y="1680"/>
                    <a:pt x="34" y="1673"/>
                    <a:pt x="33" y="1672"/>
                  </a:cubicBezTo>
                  <a:close/>
                  <a:moveTo>
                    <a:pt x="597" y="1851"/>
                  </a:moveTo>
                  <a:cubicBezTo>
                    <a:pt x="598" y="1851"/>
                    <a:pt x="593" y="1836"/>
                    <a:pt x="593" y="1835"/>
                  </a:cubicBezTo>
                  <a:cubicBezTo>
                    <a:pt x="589" y="1827"/>
                    <a:pt x="581" y="1836"/>
                    <a:pt x="575" y="1832"/>
                  </a:cubicBezTo>
                  <a:cubicBezTo>
                    <a:pt x="572" y="1830"/>
                    <a:pt x="578" y="1820"/>
                    <a:pt x="574" y="1821"/>
                  </a:cubicBezTo>
                  <a:cubicBezTo>
                    <a:pt x="564" y="1824"/>
                    <a:pt x="573" y="1830"/>
                    <a:pt x="566" y="1832"/>
                  </a:cubicBezTo>
                  <a:cubicBezTo>
                    <a:pt x="562" y="1833"/>
                    <a:pt x="561" y="1825"/>
                    <a:pt x="558" y="1824"/>
                  </a:cubicBezTo>
                  <a:cubicBezTo>
                    <a:pt x="550" y="1820"/>
                    <a:pt x="555" y="1836"/>
                    <a:pt x="550" y="1825"/>
                  </a:cubicBezTo>
                  <a:cubicBezTo>
                    <a:pt x="549" y="1822"/>
                    <a:pt x="548" y="1828"/>
                    <a:pt x="539" y="1819"/>
                  </a:cubicBezTo>
                  <a:cubicBezTo>
                    <a:pt x="539" y="1818"/>
                    <a:pt x="536" y="1820"/>
                    <a:pt x="535" y="1818"/>
                  </a:cubicBezTo>
                  <a:cubicBezTo>
                    <a:pt x="534" y="1816"/>
                    <a:pt x="535" y="1813"/>
                    <a:pt x="535" y="1810"/>
                  </a:cubicBezTo>
                  <a:cubicBezTo>
                    <a:pt x="535" y="1806"/>
                    <a:pt x="522" y="1790"/>
                    <a:pt x="522" y="1788"/>
                  </a:cubicBezTo>
                  <a:cubicBezTo>
                    <a:pt x="526" y="1769"/>
                    <a:pt x="531" y="1791"/>
                    <a:pt x="532" y="1781"/>
                  </a:cubicBezTo>
                  <a:cubicBezTo>
                    <a:pt x="535" y="1761"/>
                    <a:pt x="509" y="1731"/>
                    <a:pt x="527" y="1727"/>
                  </a:cubicBezTo>
                  <a:cubicBezTo>
                    <a:pt x="533" y="1725"/>
                    <a:pt x="530" y="1749"/>
                    <a:pt x="534" y="1744"/>
                  </a:cubicBezTo>
                  <a:cubicBezTo>
                    <a:pt x="535" y="1741"/>
                    <a:pt x="540" y="1715"/>
                    <a:pt x="531" y="1720"/>
                  </a:cubicBezTo>
                  <a:cubicBezTo>
                    <a:pt x="484" y="1743"/>
                    <a:pt x="537" y="1752"/>
                    <a:pt x="522" y="1769"/>
                  </a:cubicBezTo>
                  <a:cubicBezTo>
                    <a:pt x="509" y="1785"/>
                    <a:pt x="506" y="1756"/>
                    <a:pt x="498" y="1747"/>
                  </a:cubicBezTo>
                  <a:cubicBezTo>
                    <a:pt x="497" y="1745"/>
                    <a:pt x="491" y="1741"/>
                    <a:pt x="490" y="1745"/>
                  </a:cubicBezTo>
                  <a:cubicBezTo>
                    <a:pt x="489" y="1748"/>
                    <a:pt x="502" y="1757"/>
                    <a:pt x="503" y="1765"/>
                  </a:cubicBezTo>
                  <a:cubicBezTo>
                    <a:pt x="504" y="1784"/>
                    <a:pt x="495" y="1766"/>
                    <a:pt x="491" y="1769"/>
                  </a:cubicBezTo>
                  <a:cubicBezTo>
                    <a:pt x="489" y="1770"/>
                    <a:pt x="494" y="1774"/>
                    <a:pt x="494" y="1775"/>
                  </a:cubicBezTo>
                  <a:cubicBezTo>
                    <a:pt x="498" y="1778"/>
                    <a:pt x="513" y="1789"/>
                    <a:pt x="513" y="1790"/>
                  </a:cubicBezTo>
                  <a:cubicBezTo>
                    <a:pt x="513" y="1794"/>
                    <a:pt x="508" y="1796"/>
                    <a:pt x="510" y="1800"/>
                  </a:cubicBezTo>
                  <a:cubicBezTo>
                    <a:pt x="511" y="1803"/>
                    <a:pt x="517" y="1804"/>
                    <a:pt x="516" y="1806"/>
                  </a:cubicBezTo>
                  <a:cubicBezTo>
                    <a:pt x="510" y="1818"/>
                    <a:pt x="506" y="1807"/>
                    <a:pt x="502" y="1811"/>
                  </a:cubicBezTo>
                  <a:cubicBezTo>
                    <a:pt x="495" y="1819"/>
                    <a:pt x="501" y="1834"/>
                    <a:pt x="497" y="1841"/>
                  </a:cubicBezTo>
                  <a:cubicBezTo>
                    <a:pt x="497" y="1842"/>
                    <a:pt x="495" y="1845"/>
                    <a:pt x="493" y="1844"/>
                  </a:cubicBezTo>
                  <a:cubicBezTo>
                    <a:pt x="491" y="1843"/>
                    <a:pt x="490" y="1846"/>
                    <a:pt x="489" y="1847"/>
                  </a:cubicBezTo>
                  <a:cubicBezTo>
                    <a:pt x="478" y="1853"/>
                    <a:pt x="487" y="1839"/>
                    <a:pt x="472" y="1844"/>
                  </a:cubicBezTo>
                  <a:cubicBezTo>
                    <a:pt x="472" y="1844"/>
                    <a:pt x="471" y="1860"/>
                    <a:pt x="456" y="1856"/>
                  </a:cubicBezTo>
                  <a:cubicBezTo>
                    <a:pt x="455" y="1856"/>
                    <a:pt x="455" y="1856"/>
                    <a:pt x="455" y="1856"/>
                  </a:cubicBezTo>
                  <a:cubicBezTo>
                    <a:pt x="453" y="1854"/>
                    <a:pt x="458" y="1851"/>
                    <a:pt x="455" y="1847"/>
                  </a:cubicBezTo>
                  <a:cubicBezTo>
                    <a:pt x="453" y="1844"/>
                    <a:pt x="450" y="1840"/>
                    <a:pt x="449" y="1841"/>
                  </a:cubicBezTo>
                  <a:cubicBezTo>
                    <a:pt x="446" y="1848"/>
                    <a:pt x="445" y="1838"/>
                    <a:pt x="443" y="1836"/>
                  </a:cubicBezTo>
                  <a:cubicBezTo>
                    <a:pt x="441" y="1834"/>
                    <a:pt x="442" y="1841"/>
                    <a:pt x="440" y="1841"/>
                  </a:cubicBezTo>
                  <a:cubicBezTo>
                    <a:pt x="436" y="1840"/>
                    <a:pt x="438" y="1829"/>
                    <a:pt x="436" y="1831"/>
                  </a:cubicBezTo>
                  <a:cubicBezTo>
                    <a:pt x="434" y="1833"/>
                    <a:pt x="430" y="1831"/>
                    <a:pt x="429" y="1832"/>
                  </a:cubicBezTo>
                  <a:cubicBezTo>
                    <a:pt x="425" y="1837"/>
                    <a:pt x="450" y="1850"/>
                    <a:pt x="445" y="1852"/>
                  </a:cubicBezTo>
                  <a:cubicBezTo>
                    <a:pt x="435" y="1856"/>
                    <a:pt x="419" y="1866"/>
                    <a:pt x="414" y="1868"/>
                  </a:cubicBezTo>
                  <a:cubicBezTo>
                    <a:pt x="413" y="1869"/>
                    <a:pt x="401" y="1866"/>
                    <a:pt x="405" y="1873"/>
                  </a:cubicBezTo>
                  <a:cubicBezTo>
                    <a:pt x="409" y="1879"/>
                    <a:pt x="428" y="1864"/>
                    <a:pt x="414" y="1878"/>
                  </a:cubicBezTo>
                  <a:cubicBezTo>
                    <a:pt x="412" y="1880"/>
                    <a:pt x="417" y="1878"/>
                    <a:pt x="418" y="1879"/>
                  </a:cubicBezTo>
                  <a:cubicBezTo>
                    <a:pt x="421" y="1888"/>
                    <a:pt x="383" y="1887"/>
                    <a:pt x="393" y="1888"/>
                  </a:cubicBezTo>
                  <a:cubicBezTo>
                    <a:pt x="407" y="1890"/>
                    <a:pt x="397" y="1891"/>
                    <a:pt x="389" y="1893"/>
                  </a:cubicBezTo>
                  <a:cubicBezTo>
                    <a:pt x="379" y="1895"/>
                    <a:pt x="401" y="1892"/>
                    <a:pt x="399" y="1896"/>
                  </a:cubicBezTo>
                  <a:cubicBezTo>
                    <a:pt x="395" y="1904"/>
                    <a:pt x="373" y="1905"/>
                    <a:pt x="373" y="1905"/>
                  </a:cubicBezTo>
                  <a:cubicBezTo>
                    <a:pt x="372" y="1906"/>
                    <a:pt x="378" y="1909"/>
                    <a:pt x="375" y="1912"/>
                  </a:cubicBezTo>
                  <a:cubicBezTo>
                    <a:pt x="367" y="1923"/>
                    <a:pt x="339" y="1953"/>
                    <a:pt x="337" y="1954"/>
                  </a:cubicBezTo>
                  <a:cubicBezTo>
                    <a:pt x="336" y="1955"/>
                    <a:pt x="322" y="1955"/>
                    <a:pt x="314" y="1962"/>
                  </a:cubicBezTo>
                  <a:cubicBezTo>
                    <a:pt x="310" y="1964"/>
                    <a:pt x="314" y="1972"/>
                    <a:pt x="310" y="1974"/>
                  </a:cubicBezTo>
                  <a:cubicBezTo>
                    <a:pt x="310" y="1974"/>
                    <a:pt x="287" y="1977"/>
                    <a:pt x="298" y="1969"/>
                  </a:cubicBezTo>
                  <a:cubicBezTo>
                    <a:pt x="299" y="1968"/>
                    <a:pt x="294" y="1957"/>
                    <a:pt x="292" y="1959"/>
                  </a:cubicBezTo>
                  <a:cubicBezTo>
                    <a:pt x="290" y="1961"/>
                    <a:pt x="290" y="1976"/>
                    <a:pt x="286" y="1979"/>
                  </a:cubicBezTo>
                  <a:cubicBezTo>
                    <a:pt x="285" y="1980"/>
                    <a:pt x="262" y="1985"/>
                    <a:pt x="260" y="1984"/>
                  </a:cubicBezTo>
                  <a:cubicBezTo>
                    <a:pt x="259" y="1984"/>
                    <a:pt x="259" y="1984"/>
                    <a:pt x="258" y="1984"/>
                  </a:cubicBezTo>
                  <a:cubicBezTo>
                    <a:pt x="249" y="1987"/>
                    <a:pt x="235" y="1983"/>
                    <a:pt x="227" y="1985"/>
                  </a:cubicBezTo>
                  <a:cubicBezTo>
                    <a:pt x="226" y="1985"/>
                    <a:pt x="225" y="1986"/>
                    <a:pt x="225" y="1984"/>
                  </a:cubicBezTo>
                  <a:cubicBezTo>
                    <a:pt x="225" y="1984"/>
                    <a:pt x="225" y="1982"/>
                    <a:pt x="224" y="1982"/>
                  </a:cubicBezTo>
                  <a:cubicBezTo>
                    <a:pt x="221" y="1983"/>
                    <a:pt x="204" y="1993"/>
                    <a:pt x="202" y="1992"/>
                  </a:cubicBezTo>
                  <a:cubicBezTo>
                    <a:pt x="197" y="1990"/>
                    <a:pt x="217" y="1979"/>
                    <a:pt x="216" y="1976"/>
                  </a:cubicBezTo>
                  <a:cubicBezTo>
                    <a:pt x="215" y="1975"/>
                    <a:pt x="200" y="1986"/>
                    <a:pt x="198" y="1985"/>
                  </a:cubicBezTo>
                  <a:cubicBezTo>
                    <a:pt x="198" y="1985"/>
                    <a:pt x="204" y="1973"/>
                    <a:pt x="199" y="1979"/>
                  </a:cubicBezTo>
                  <a:cubicBezTo>
                    <a:pt x="195" y="1983"/>
                    <a:pt x="195" y="1986"/>
                    <a:pt x="195" y="1979"/>
                  </a:cubicBezTo>
                  <a:cubicBezTo>
                    <a:pt x="195" y="1974"/>
                    <a:pt x="185" y="1983"/>
                    <a:pt x="185" y="1977"/>
                  </a:cubicBezTo>
                  <a:cubicBezTo>
                    <a:pt x="185" y="1972"/>
                    <a:pt x="203" y="1974"/>
                    <a:pt x="201" y="1971"/>
                  </a:cubicBezTo>
                  <a:cubicBezTo>
                    <a:pt x="200" y="1967"/>
                    <a:pt x="193" y="1972"/>
                    <a:pt x="189" y="1970"/>
                  </a:cubicBezTo>
                  <a:cubicBezTo>
                    <a:pt x="185" y="1967"/>
                    <a:pt x="180" y="1962"/>
                    <a:pt x="185" y="1971"/>
                  </a:cubicBezTo>
                  <a:cubicBezTo>
                    <a:pt x="187" y="1973"/>
                    <a:pt x="184" y="1974"/>
                    <a:pt x="180" y="1972"/>
                  </a:cubicBezTo>
                  <a:cubicBezTo>
                    <a:pt x="179" y="1972"/>
                    <a:pt x="177" y="1960"/>
                    <a:pt x="177" y="1967"/>
                  </a:cubicBezTo>
                  <a:cubicBezTo>
                    <a:pt x="176" y="1972"/>
                    <a:pt x="186" y="1995"/>
                    <a:pt x="166" y="1980"/>
                  </a:cubicBezTo>
                  <a:cubicBezTo>
                    <a:pt x="155" y="1971"/>
                    <a:pt x="174" y="1961"/>
                    <a:pt x="184" y="1955"/>
                  </a:cubicBezTo>
                  <a:cubicBezTo>
                    <a:pt x="186" y="1954"/>
                    <a:pt x="189" y="1953"/>
                    <a:pt x="189" y="1952"/>
                  </a:cubicBezTo>
                  <a:cubicBezTo>
                    <a:pt x="188" y="1949"/>
                    <a:pt x="176" y="1958"/>
                    <a:pt x="174" y="1957"/>
                  </a:cubicBezTo>
                  <a:cubicBezTo>
                    <a:pt x="170" y="1955"/>
                    <a:pt x="176" y="1951"/>
                    <a:pt x="176" y="1947"/>
                  </a:cubicBezTo>
                  <a:cubicBezTo>
                    <a:pt x="177" y="1944"/>
                    <a:pt x="173" y="1945"/>
                    <a:pt x="172" y="1945"/>
                  </a:cubicBezTo>
                  <a:cubicBezTo>
                    <a:pt x="165" y="1946"/>
                    <a:pt x="170" y="1952"/>
                    <a:pt x="169" y="1956"/>
                  </a:cubicBezTo>
                  <a:cubicBezTo>
                    <a:pt x="167" y="1962"/>
                    <a:pt x="136" y="1945"/>
                    <a:pt x="132" y="1944"/>
                  </a:cubicBezTo>
                  <a:cubicBezTo>
                    <a:pt x="113" y="1938"/>
                    <a:pt x="118" y="1930"/>
                    <a:pt x="109" y="1924"/>
                  </a:cubicBezTo>
                  <a:cubicBezTo>
                    <a:pt x="106" y="1921"/>
                    <a:pt x="96" y="1923"/>
                    <a:pt x="92" y="1922"/>
                  </a:cubicBezTo>
                  <a:cubicBezTo>
                    <a:pt x="84" y="1919"/>
                    <a:pt x="64" y="1893"/>
                    <a:pt x="65" y="1884"/>
                  </a:cubicBezTo>
                  <a:cubicBezTo>
                    <a:pt x="65" y="1873"/>
                    <a:pt x="74" y="1869"/>
                    <a:pt x="71" y="1857"/>
                  </a:cubicBezTo>
                  <a:cubicBezTo>
                    <a:pt x="70" y="1853"/>
                    <a:pt x="79" y="1867"/>
                    <a:pt x="80" y="1860"/>
                  </a:cubicBezTo>
                  <a:cubicBezTo>
                    <a:pt x="80" y="1857"/>
                    <a:pt x="66" y="1846"/>
                    <a:pt x="73" y="1844"/>
                  </a:cubicBezTo>
                  <a:cubicBezTo>
                    <a:pt x="83" y="1842"/>
                    <a:pt x="86" y="1857"/>
                    <a:pt x="87" y="1862"/>
                  </a:cubicBezTo>
                  <a:cubicBezTo>
                    <a:pt x="87" y="1863"/>
                    <a:pt x="86" y="1868"/>
                    <a:pt x="88" y="1868"/>
                  </a:cubicBezTo>
                  <a:cubicBezTo>
                    <a:pt x="91" y="1867"/>
                    <a:pt x="95" y="1854"/>
                    <a:pt x="100" y="1854"/>
                  </a:cubicBezTo>
                  <a:cubicBezTo>
                    <a:pt x="110" y="1855"/>
                    <a:pt x="118" y="1879"/>
                    <a:pt x="133" y="1872"/>
                  </a:cubicBezTo>
                  <a:cubicBezTo>
                    <a:pt x="135" y="1872"/>
                    <a:pt x="128" y="1871"/>
                    <a:pt x="127" y="1871"/>
                  </a:cubicBezTo>
                  <a:cubicBezTo>
                    <a:pt x="117" y="1868"/>
                    <a:pt x="121" y="1856"/>
                    <a:pt x="124" y="1854"/>
                  </a:cubicBezTo>
                  <a:cubicBezTo>
                    <a:pt x="132" y="1850"/>
                    <a:pt x="165" y="1848"/>
                    <a:pt x="169" y="1841"/>
                  </a:cubicBezTo>
                  <a:cubicBezTo>
                    <a:pt x="170" y="1840"/>
                    <a:pt x="155" y="1843"/>
                    <a:pt x="154" y="1843"/>
                  </a:cubicBezTo>
                  <a:cubicBezTo>
                    <a:pt x="146" y="1844"/>
                    <a:pt x="124" y="1848"/>
                    <a:pt x="119" y="1855"/>
                  </a:cubicBezTo>
                  <a:cubicBezTo>
                    <a:pt x="118" y="1857"/>
                    <a:pt x="117" y="1865"/>
                    <a:pt x="115" y="1862"/>
                  </a:cubicBezTo>
                  <a:cubicBezTo>
                    <a:pt x="113" y="1859"/>
                    <a:pt x="108" y="1851"/>
                    <a:pt x="114" y="1850"/>
                  </a:cubicBezTo>
                  <a:cubicBezTo>
                    <a:pt x="115" y="1850"/>
                    <a:pt x="119" y="1851"/>
                    <a:pt x="117" y="1849"/>
                  </a:cubicBezTo>
                  <a:cubicBezTo>
                    <a:pt x="113" y="1845"/>
                    <a:pt x="101" y="1848"/>
                    <a:pt x="101" y="1839"/>
                  </a:cubicBezTo>
                  <a:cubicBezTo>
                    <a:pt x="101" y="1832"/>
                    <a:pt x="125" y="1829"/>
                    <a:pt x="125" y="1828"/>
                  </a:cubicBezTo>
                  <a:cubicBezTo>
                    <a:pt x="124" y="1826"/>
                    <a:pt x="110" y="1831"/>
                    <a:pt x="114" y="1825"/>
                  </a:cubicBezTo>
                  <a:cubicBezTo>
                    <a:pt x="121" y="1816"/>
                    <a:pt x="134" y="1812"/>
                    <a:pt x="143" y="1806"/>
                  </a:cubicBezTo>
                  <a:cubicBezTo>
                    <a:pt x="146" y="1803"/>
                    <a:pt x="158" y="1806"/>
                    <a:pt x="155" y="1803"/>
                  </a:cubicBezTo>
                  <a:cubicBezTo>
                    <a:pt x="147" y="1795"/>
                    <a:pt x="131" y="1813"/>
                    <a:pt x="124" y="1812"/>
                  </a:cubicBezTo>
                  <a:cubicBezTo>
                    <a:pt x="116" y="1811"/>
                    <a:pt x="135" y="1805"/>
                    <a:pt x="131" y="1800"/>
                  </a:cubicBezTo>
                  <a:cubicBezTo>
                    <a:pt x="131" y="1799"/>
                    <a:pt x="131" y="1799"/>
                    <a:pt x="130" y="1798"/>
                  </a:cubicBezTo>
                  <a:cubicBezTo>
                    <a:pt x="130" y="1797"/>
                    <a:pt x="130" y="1797"/>
                    <a:pt x="130" y="1797"/>
                  </a:cubicBezTo>
                  <a:cubicBezTo>
                    <a:pt x="130" y="1797"/>
                    <a:pt x="130" y="1797"/>
                    <a:pt x="130" y="1798"/>
                  </a:cubicBezTo>
                  <a:cubicBezTo>
                    <a:pt x="130" y="1798"/>
                    <a:pt x="130" y="1798"/>
                    <a:pt x="130" y="1798"/>
                  </a:cubicBezTo>
                  <a:cubicBezTo>
                    <a:pt x="130" y="1800"/>
                    <a:pt x="130" y="1803"/>
                    <a:pt x="128" y="1803"/>
                  </a:cubicBezTo>
                  <a:cubicBezTo>
                    <a:pt x="125" y="1803"/>
                    <a:pt x="119" y="1796"/>
                    <a:pt x="118" y="1800"/>
                  </a:cubicBezTo>
                  <a:cubicBezTo>
                    <a:pt x="118" y="1802"/>
                    <a:pt x="114" y="1805"/>
                    <a:pt x="113" y="1802"/>
                  </a:cubicBezTo>
                  <a:cubicBezTo>
                    <a:pt x="111" y="1797"/>
                    <a:pt x="138" y="1777"/>
                    <a:pt x="141" y="1776"/>
                  </a:cubicBezTo>
                  <a:cubicBezTo>
                    <a:pt x="145" y="1774"/>
                    <a:pt x="151" y="1770"/>
                    <a:pt x="155" y="1770"/>
                  </a:cubicBezTo>
                  <a:cubicBezTo>
                    <a:pt x="156" y="1770"/>
                    <a:pt x="162" y="1769"/>
                    <a:pt x="162" y="1769"/>
                  </a:cubicBezTo>
                  <a:cubicBezTo>
                    <a:pt x="153" y="1762"/>
                    <a:pt x="144" y="1775"/>
                    <a:pt x="137" y="1774"/>
                  </a:cubicBezTo>
                  <a:cubicBezTo>
                    <a:pt x="130" y="1772"/>
                    <a:pt x="147" y="1757"/>
                    <a:pt x="141" y="1756"/>
                  </a:cubicBezTo>
                  <a:cubicBezTo>
                    <a:pt x="137" y="1755"/>
                    <a:pt x="132" y="1773"/>
                    <a:pt x="131" y="1776"/>
                  </a:cubicBezTo>
                  <a:cubicBezTo>
                    <a:pt x="127" y="1783"/>
                    <a:pt x="119" y="1794"/>
                    <a:pt x="114" y="1792"/>
                  </a:cubicBezTo>
                  <a:cubicBezTo>
                    <a:pt x="113" y="1792"/>
                    <a:pt x="114" y="1786"/>
                    <a:pt x="112" y="1788"/>
                  </a:cubicBezTo>
                  <a:cubicBezTo>
                    <a:pt x="110" y="1790"/>
                    <a:pt x="114" y="1800"/>
                    <a:pt x="107" y="1799"/>
                  </a:cubicBezTo>
                  <a:cubicBezTo>
                    <a:pt x="100" y="1798"/>
                    <a:pt x="102" y="1787"/>
                    <a:pt x="109" y="1786"/>
                  </a:cubicBezTo>
                  <a:cubicBezTo>
                    <a:pt x="113" y="1785"/>
                    <a:pt x="116" y="1784"/>
                    <a:pt x="120" y="1782"/>
                  </a:cubicBezTo>
                  <a:cubicBezTo>
                    <a:pt x="121" y="1782"/>
                    <a:pt x="124" y="1781"/>
                    <a:pt x="123" y="1780"/>
                  </a:cubicBezTo>
                  <a:cubicBezTo>
                    <a:pt x="121" y="1778"/>
                    <a:pt x="109" y="1781"/>
                    <a:pt x="106" y="1781"/>
                  </a:cubicBezTo>
                  <a:cubicBezTo>
                    <a:pt x="103" y="1781"/>
                    <a:pt x="96" y="1773"/>
                    <a:pt x="96" y="1773"/>
                  </a:cubicBezTo>
                  <a:cubicBezTo>
                    <a:pt x="90" y="1776"/>
                    <a:pt x="99" y="1779"/>
                    <a:pt x="96" y="1783"/>
                  </a:cubicBezTo>
                  <a:cubicBezTo>
                    <a:pt x="92" y="1786"/>
                    <a:pt x="82" y="1783"/>
                    <a:pt x="82" y="1791"/>
                  </a:cubicBezTo>
                  <a:cubicBezTo>
                    <a:pt x="82" y="1793"/>
                    <a:pt x="85" y="1790"/>
                    <a:pt x="85" y="1790"/>
                  </a:cubicBezTo>
                  <a:cubicBezTo>
                    <a:pt x="91" y="1786"/>
                    <a:pt x="104" y="1792"/>
                    <a:pt x="99" y="1800"/>
                  </a:cubicBezTo>
                  <a:cubicBezTo>
                    <a:pt x="98" y="1803"/>
                    <a:pt x="89" y="1801"/>
                    <a:pt x="87" y="1801"/>
                  </a:cubicBezTo>
                  <a:cubicBezTo>
                    <a:pt x="87" y="1801"/>
                    <a:pt x="82" y="1810"/>
                    <a:pt x="78" y="1808"/>
                  </a:cubicBezTo>
                  <a:cubicBezTo>
                    <a:pt x="76" y="1806"/>
                    <a:pt x="84" y="1783"/>
                    <a:pt x="74" y="1790"/>
                  </a:cubicBezTo>
                  <a:cubicBezTo>
                    <a:pt x="68" y="1794"/>
                    <a:pt x="77" y="1807"/>
                    <a:pt x="71" y="1809"/>
                  </a:cubicBezTo>
                  <a:cubicBezTo>
                    <a:pt x="57" y="1815"/>
                    <a:pt x="66" y="1791"/>
                    <a:pt x="62" y="1791"/>
                  </a:cubicBezTo>
                  <a:cubicBezTo>
                    <a:pt x="58" y="1790"/>
                    <a:pt x="62" y="1807"/>
                    <a:pt x="59" y="1808"/>
                  </a:cubicBezTo>
                  <a:cubicBezTo>
                    <a:pt x="57" y="1808"/>
                    <a:pt x="56" y="1799"/>
                    <a:pt x="56" y="1798"/>
                  </a:cubicBezTo>
                  <a:cubicBezTo>
                    <a:pt x="57" y="1790"/>
                    <a:pt x="53" y="1788"/>
                    <a:pt x="53" y="1796"/>
                  </a:cubicBezTo>
                  <a:cubicBezTo>
                    <a:pt x="53" y="1797"/>
                    <a:pt x="54" y="1801"/>
                    <a:pt x="52" y="1801"/>
                  </a:cubicBezTo>
                  <a:cubicBezTo>
                    <a:pt x="47" y="1801"/>
                    <a:pt x="40" y="1780"/>
                    <a:pt x="40" y="1776"/>
                  </a:cubicBezTo>
                  <a:cubicBezTo>
                    <a:pt x="40" y="1773"/>
                    <a:pt x="44" y="1776"/>
                    <a:pt x="46" y="1774"/>
                  </a:cubicBezTo>
                  <a:cubicBezTo>
                    <a:pt x="52" y="1767"/>
                    <a:pt x="49" y="1752"/>
                    <a:pt x="58" y="1756"/>
                  </a:cubicBezTo>
                  <a:cubicBezTo>
                    <a:pt x="60" y="1757"/>
                    <a:pt x="59" y="1764"/>
                    <a:pt x="60" y="1765"/>
                  </a:cubicBezTo>
                  <a:cubicBezTo>
                    <a:pt x="67" y="1766"/>
                    <a:pt x="61" y="1751"/>
                    <a:pt x="65" y="1746"/>
                  </a:cubicBezTo>
                  <a:cubicBezTo>
                    <a:pt x="66" y="1746"/>
                    <a:pt x="67" y="1744"/>
                    <a:pt x="68" y="1745"/>
                  </a:cubicBezTo>
                  <a:cubicBezTo>
                    <a:pt x="69" y="1746"/>
                    <a:pt x="68" y="1765"/>
                    <a:pt x="67" y="1768"/>
                  </a:cubicBezTo>
                  <a:cubicBezTo>
                    <a:pt x="66" y="1769"/>
                    <a:pt x="56" y="1774"/>
                    <a:pt x="61" y="1777"/>
                  </a:cubicBezTo>
                  <a:cubicBezTo>
                    <a:pt x="71" y="1784"/>
                    <a:pt x="71" y="1753"/>
                    <a:pt x="75" y="1752"/>
                  </a:cubicBezTo>
                  <a:cubicBezTo>
                    <a:pt x="83" y="1751"/>
                    <a:pt x="89" y="1763"/>
                    <a:pt x="89" y="1763"/>
                  </a:cubicBezTo>
                  <a:cubicBezTo>
                    <a:pt x="94" y="1764"/>
                    <a:pt x="91" y="1756"/>
                    <a:pt x="98" y="1756"/>
                  </a:cubicBezTo>
                  <a:cubicBezTo>
                    <a:pt x="112" y="1755"/>
                    <a:pt x="90" y="1753"/>
                    <a:pt x="90" y="1752"/>
                  </a:cubicBezTo>
                  <a:cubicBezTo>
                    <a:pt x="92" y="1740"/>
                    <a:pt x="114" y="1744"/>
                    <a:pt x="125" y="1738"/>
                  </a:cubicBezTo>
                  <a:cubicBezTo>
                    <a:pt x="137" y="1731"/>
                    <a:pt x="142" y="1728"/>
                    <a:pt x="141" y="1727"/>
                  </a:cubicBezTo>
                  <a:cubicBezTo>
                    <a:pt x="135" y="1723"/>
                    <a:pt x="118" y="1739"/>
                    <a:pt x="112" y="1739"/>
                  </a:cubicBezTo>
                  <a:cubicBezTo>
                    <a:pt x="103" y="1740"/>
                    <a:pt x="112" y="1730"/>
                    <a:pt x="110" y="1727"/>
                  </a:cubicBezTo>
                  <a:cubicBezTo>
                    <a:pt x="108" y="1721"/>
                    <a:pt x="105" y="1739"/>
                    <a:pt x="99" y="1739"/>
                  </a:cubicBezTo>
                  <a:cubicBezTo>
                    <a:pt x="91" y="1740"/>
                    <a:pt x="89" y="1726"/>
                    <a:pt x="87" y="1728"/>
                  </a:cubicBezTo>
                  <a:cubicBezTo>
                    <a:pt x="86" y="1729"/>
                    <a:pt x="83" y="1731"/>
                    <a:pt x="82" y="1729"/>
                  </a:cubicBezTo>
                  <a:cubicBezTo>
                    <a:pt x="81" y="1727"/>
                    <a:pt x="89" y="1725"/>
                    <a:pt x="90" y="1725"/>
                  </a:cubicBezTo>
                  <a:cubicBezTo>
                    <a:pt x="92" y="1723"/>
                    <a:pt x="88" y="1719"/>
                    <a:pt x="93" y="1717"/>
                  </a:cubicBezTo>
                  <a:cubicBezTo>
                    <a:pt x="97" y="1715"/>
                    <a:pt x="107" y="1715"/>
                    <a:pt x="110" y="1712"/>
                  </a:cubicBezTo>
                  <a:cubicBezTo>
                    <a:pt x="117" y="1706"/>
                    <a:pt x="108" y="1698"/>
                    <a:pt x="131" y="1691"/>
                  </a:cubicBezTo>
                  <a:cubicBezTo>
                    <a:pt x="133" y="1690"/>
                    <a:pt x="138" y="1690"/>
                    <a:pt x="139" y="1689"/>
                  </a:cubicBezTo>
                  <a:cubicBezTo>
                    <a:pt x="142" y="1683"/>
                    <a:pt x="120" y="1697"/>
                    <a:pt x="120" y="1680"/>
                  </a:cubicBezTo>
                  <a:cubicBezTo>
                    <a:pt x="119" y="1676"/>
                    <a:pt x="155" y="1643"/>
                    <a:pt x="164" y="1645"/>
                  </a:cubicBezTo>
                  <a:cubicBezTo>
                    <a:pt x="172" y="1646"/>
                    <a:pt x="160" y="1672"/>
                    <a:pt x="159" y="1681"/>
                  </a:cubicBezTo>
                  <a:cubicBezTo>
                    <a:pt x="159" y="1682"/>
                    <a:pt x="158" y="1696"/>
                    <a:pt x="160" y="1695"/>
                  </a:cubicBezTo>
                  <a:cubicBezTo>
                    <a:pt x="167" y="1691"/>
                    <a:pt x="163" y="1657"/>
                    <a:pt x="174" y="1651"/>
                  </a:cubicBezTo>
                  <a:cubicBezTo>
                    <a:pt x="183" y="1645"/>
                    <a:pt x="183" y="1638"/>
                    <a:pt x="196" y="1636"/>
                  </a:cubicBezTo>
                  <a:cubicBezTo>
                    <a:pt x="199" y="1636"/>
                    <a:pt x="211" y="1641"/>
                    <a:pt x="212" y="1635"/>
                  </a:cubicBezTo>
                  <a:cubicBezTo>
                    <a:pt x="212" y="1634"/>
                    <a:pt x="194" y="1635"/>
                    <a:pt x="193" y="1634"/>
                  </a:cubicBezTo>
                  <a:cubicBezTo>
                    <a:pt x="193" y="1634"/>
                    <a:pt x="205" y="1622"/>
                    <a:pt x="204" y="1621"/>
                  </a:cubicBezTo>
                  <a:cubicBezTo>
                    <a:pt x="200" y="1619"/>
                    <a:pt x="177" y="1645"/>
                    <a:pt x="169" y="1645"/>
                  </a:cubicBezTo>
                  <a:cubicBezTo>
                    <a:pt x="158" y="1643"/>
                    <a:pt x="177" y="1632"/>
                    <a:pt x="174" y="1632"/>
                  </a:cubicBezTo>
                  <a:cubicBezTo>
                    <a:pt x="169" y="1630"/>
                    <a:pt x="148" y="1649"/>
                    <a:pt x="141" y="1650"/>
                  </a:cubicBezTo>
                  <a:cubicBezTo>
                    <a:pt x="136" y="1650"/>
                    <a:pt x="132" y="1638"/>
                    <a:pt x="129" y="1639"/>
                  </a:cubicBezTo>
                  <a:cubicBezTo>
                    <a:pt x="125" y="1640"/>
                    <a:pt x="135" y="1651"/>
                    <a:pt x="133" y="1652"/>
                  </a:cubicBezTo>
                  <a:cubicBezTo>
                    <a:pt x="133" y="1652"/>
                    <a:pt x="123" y="1652"/>
                    <a:pt x="124" y="1654"/>
                  </a:cubicBezTo>
                  <a:cubicBezTo>
                    <a:pt x="125" y="1655"/>
                    <a:pt x="130" y="1654"/>
                    <a:pt x="130" y="1656"/>
                  </a:cubicBezTo>
                  <a:cubicBezTo>
                    <a:pt x="130" y="1657"/>
                    <a:pt x="127" y="1664"/>
                    <a:pt x="127" y="1666"/>
                  </a:cubicBezTo>
                  <a:cubicBezTo>
                    <a:pt x="128" y="1667"/>
                    <a:pt x="124" y="1670"/>
                    <a:pt x="124" y="1671"/>
                  </a:cubicBezTo>
                  <a:cubicBezTo>
                    <a:pt x="122" y="1672"/>
                    <a:pt x="116" y="1667"/>
                    <a:pt x="113" y="1668"/>
                  </a:cubicBezTo>
                  <a:cubicBezTo>
                    <a:pt x="107" y="1670"/>
                    <a:pt x="104" y="1677"/>
                    <a:pt x="100" y="1683"/>
                  </a:cubicBezTo>
                  <a:cubicBezTo>
                    <a:pt x="98" y="1687"/>
                    <a:pt x="104" y="1695"/>
                    <a:pt x="102" y="1700"/>
                  </a:cubicBezTo>
                  <a:cubicBezTo>
                    <a:pt x="99" y="1708"/>
                    <a:pt x="92" y="1703"/>
                    <a:pt x="92" y="1705"/>
                  </a:cubicBezTo>
                  <a:cubicBezTo>
                    <a:pt x="92" y="1710"/>
                    <a:pt x="90" y="1707"/>
                    <a:pt x="87" y="1706"/>
                  </a:cubicBezTo>
                  <a:cubicBezTo>
                    <a:pt x="85" y="1704"/>
                    <a:pt x="83" y="1695"/>
                    <a:pt x="88" y="1697"/>
                  </a:cubicBezTo>
                  <a:cubicBezTo>
                    <a:pt x="90" y="1698"/>
                    <a:pt x="92" y="1698"/>
                    <a:pt x="94" y="1696"/>
                  </a:cubicBezTo>
                  <a:cubicBezTo>
                    <a:pt x="99" y="1691"/>
                    <a:pt x="89" y="1695"/>
                    <a:pt x="89" y="1695"/>
                  </a:cubicBezTo>
                  <a:cubicBezTo>
                    <a:pt x="84" y="1692"/>
                    <a:pt x="90" y="1689"/>
                    <a:pt x="87" y="1684"/>
                  </a:cubicBezTo>
                  <a:cubicBezTo>
                    <a:pt x="85" y="1681"/>
                    <a:pt x="95" y="1676"/>
                    <a:pt x="94" y="1676"/>
                  </a:cubicBezTo>
                  <a:cubicBezTo>
                    <a:pt x="87" y="1671"/>
                    <a:pt x="82" y="1689"/>
                    <a:pt x="74" y="1685"/>
                  </a:cubicBezTo>
                  <a:cubicBezTo>
                    <a:pt x="71" y="1684"/>
                    <a:pt x="78" y="1675"/>
                    <a:pt x="82" y="1674"/>
                  </a:cubicBezTo>
                  <a:cubicBezTo>
                    <a:pt x="83" y="1674"/>
                    <a:pt x="88" y="1673"/>
                    <a:pt x="87" y="1672"/>
                  </a:cubicBezTo>
                  <a:cubicBezTo>
                    <a:pt x="85" y="1670"/>
                    <a:pt x="76" y="1675"/>
                    <a:pt x="79" y="1671"/>
                  </a:cubicBezTo>
                  <a:cubicBezTo>
                    <a:pt x="79" y="1671"/>
                    <a:pt x="82" y="1668"/>
                    <a:pt x="79" y="1668"/>
                  </a:cubicBezTo>
                  <a:cubicBezTo>
                    <a:pt x="78" y="1669"/>
                    <a:pt x="75" y="1673"/>
                    <a:pt x="75" y="1672"/>
                  </a:cubicBezTo>
                  <a:cubicBezTo>
                    <a:pt x="73" y="1668"/>
                    <a:pt x="91" y="1653"/>
                    <a:pt x="90" y="1650"/>
                  </a:cubicBezTo>
                  <a:cubicBezTo>
                    <a:pt x="88" y="1649"/>
                    <a:pt x="80" y="1656"/>
                    <a:pt x="76" y="1663"/>
                  </a:cubicBezTo>
                  <a:cubicBezTo>
                    <a:pt x="65" y="1682"/>
                    <a:pt x="64" y="1687"/>
                    <a:pt x="61" y="1687"/>
                  </a:cubicBezTo>
                  <a:cubicBezTo>
                    <a:pt x="54" y="1688"/>
                    <a:pt x="56" y="1676"/>
                    <a:pt x="55" y="1675"/>
                  </a:cubicBezTo>
                  <a:cubicBezTo>
                    <a:pt x="53" y="1674"/>
                    <a:pt x="38" y="1679"/>
                    <a:pt x="47" y="1673"/>
                  </a:cubicBezTo>
                  <a:cubicBezTo>
                    <a:pt x="47" y="1673"/>
                    <a:pt x="53" y="1669"/>
                    <a:pt x="52" y="1668"/>
                  </a:cubicBezTo>
                  <a:cubicBezTo>
                    <a:pt x="52" y="1668"/>
                    <a:pt x="29" y="1660"/>
                    <a:pt x="42" y="1660"/>
                  </a:cubicBezTo>
                  <a:cubicBezTo>
                    <a:pt x="43" y="1661"/>
                    <a:pt x="38" y="1659"/>
                    <a:pt x="37" y="1657"/>
                  </a:cubicBezTo>
                  <a:cubicBezTo>
                    <a:pt x="35" y="1652"/>
                    <a:pt x="50" y="1655"/>
                    <a:pt x="51" y="1650"/>
                  </a:cubicBezTo>
                  <a:cubicBezTo>
                    <a:pt x="51" y="1647"/>
                    <a:pt x="49" y="1643"/>
                    <a:pt x="46" y="1640"/>
                  </a:cubicBezTo>
                  <a:cubicBezTo>
                    <a:pt x="43" y="1638"/>
                    <a:pt x="46" y="1629"/>
                    <a:pt x="50" y="1631"/>
                  </a:cubicBezTo>
                  <a:cubicBezTo>
                    <a:pt x="61" y="1637"/>
                    <a:pt x="64" y="1651"/>
                    <a:pt x="81" y="1646"/>
                  </a:cubicBezTo>
                  <a:cubicBezTo>
                    <a:pt x="84" y="1645"/>
                    <a:pt x="87" y="1642"/>
                    <a:pt x="88" y="1638"/>
                  </a:cubicBezTo>
                  <a:cubicBezTo>
                    <a:pt x="89" y="1629"/>
                    <a:pt x="87" y="1615"/>
                    <a:pt x="88" y="1609"/>
                  </a:cubicBezTo>
                  <a:cubicBezTo>
                    <a:pt x="89" y="1607"/>
                    <a:pt x="92" y="1603"/>
                    <a:pt x="91" y="1603"/>
                  </a:cubicBezTo>
                  <a:cubicBezTo>
                    <a:pt x="81" y="1606"/>
                    <a:pt x="86" y="1593"/>
                    <a:pt x="71" y="1606"/>
                  </a:cubicBezTo>
                  <a:cubicBezTo>
                    <a:pt x="68" y="1609"/>
                    <a:pt x="74" y="1614"/>
                    <a:pt x="70" y="1617"/>
                  </a:cubicBezTo>
                  <a:cubicBezTo>
                    <a:pt x="62" y="1622"/>
                    <a:pt x="28" y="1630"/>
                    <a:pt x="32" y="1611"/>
                  </a:cubicBezTo>
                  <a:cubicBezTo>
                    <a:pt x="32" y="1611"/>
                    <a:pt x="34" y="1611"/>
                    <a:pt x="34" y="1611"/>
                  </a:cubicBezTo>
                  <a:cubicBezTo>
                    <a:pt x="38" y="1611"/>
                    <a:pt x="41" y="1619"/>
                    <a:pt x="44" y="1618"/>
                  </a:cubicBezTo>
                  <a:cubicBezTo>
                    <a:pt x="44" y="1617"/>
                    <a:pt x="37" y="1607"/>
                    <a:pt x="34" y="1606"/>
                  </a:cubicBezTo>
                  <a:cubicBezTo>
                    <a:pt x="27" y="1602"/>
                    <a:pt x="40" y="1607"/>
                    <a:pt x="36" y="1603"/>
                  </a:cubicBezTo>
                  <a:cubicBezTo>
                    <a:pt x="31" y="1598"/>
                    <a:pt x="22" y="1598"/>
                    <a:pt x="18" y="1591"/>
                  </a:cubicBezTo>
                  <a:cubicBezTo>
                    <a:pt x="15" y="1587"/>
                    <a:pt x="26" y="1595"/>
                    <a:pt x="31" y="1595"/>
                  </a:cubicBezTo>
                  <a:cubicBezTo>
                    <a:pt x="43" y="1595"/>
                    <a:pt x="53" y="1615"/>
                    <a:pt x="57" y="1615"/>
                  </a:cubicBezTo>
                  <a:cubicBezTo>
                    <a:pt x="57" y="1615"/>
                    <a:pt x="63" y="1617"/>
                    <a:pt x="57" y="1610"/>
                  </a:cubicBezTo>
                  <a:cubicBezTo>
                    <a:pt x="56" y="1608"/>
                    <a:pt x="58" y="1607"/>
                    <a:pt x="60" y="1608"/>
                  </a:cubicBezTo>
                  <a:cubicBezTo>
                    <a:pt x="68" y="1615"/>
                    <a:pt x="58" y="1601"/>
                    <a:pt x="56" y="1599"/>
                  </a:cubicBezTo>
                  <a:cubicBezTo>
                    <a:pt x="54" y="1598"/>
                    <a:pt x="45" y="1600"/>
                    <a:pt x="45" y="1595"/>
                  </a:cubicBezTo>
                  <a:cubicBezTo>
                    <a:pt x="45" y="1593"/>
                    <a:pt x="59" y="1582"/>
                    <a:pt x="61" y="1582"/>
                  </a:cubicBezTo>
                  <a:cubicBezTo>
                    <a:pt x="62" y="1582"/>
                    <a:pt x="72" y="1581"/>
                    <a:pt x="72" y="1580"/>
                  </a:cubicBezTo>
                  <a:cubicBezTo>
                    <a:pt x="58" y="1574"/>
                    <a:pt x="39" y="1596"/>
                    <a:pt x="28" y="1585"/>
                  </a:cubicBezTo>
                  <a:cubicBezTo>
                    <a:pt x="28" y="1585"/>
                    <a:pt x="27" y="1584"/>
                    <a:pt x="27" y="1583"/>
                  </a:cubicBezTo>
                  <a:cubicBezTo>
                    <a:pt x="23" y="1567"/>
                    <a:pt x="25" y="1563"/>
                    <a:pt x="31" y="1579"/>
                  </a:cubicBezTo>
                  <a:cubicBezTo>
                    <a:pt x="32" y="1580"/>
                    <a:pt x="37" y="1562"/>
                    <a:pt x="35" y="1565"/>
                  </a:cubicBezTo>
                  <a:cubicBezTo>
                    <a:pt x="33" y="1568"/>
                    <a:pt x="24" y="1566"/>
                    <a:pt x="24" y="1563"/>
                  </a:cubicBezTo>
                  <a:cubicBezTo>
                    <a:pt x="23" y="1536"/>
                    <a:pt x="61" y="1566"/>
                    <a:pt x="65" y="1562"/>
                  </a:cubicBezTo>
                  <a:cubicBezTo>
                    <a:pt x="67" y="1561"/>
                    <a:pt x="63" y="1556"/>
                    <a:pt x="66" y="1554"/>
                  </a:cubicBezTo>
                  <a:cubicBezTo>
                    <a:pt x="70" y="1552"/>
                    <a:pt x="81" y="1552"/>
                    <a:pt x="80" y="1552"/>
                  </a:cubicBezTo>
                  <a:cubicBezTo>
                    <a:pt x="77" y="1551"/>
                    <a:pt x="77" y="1549"/>
                    <a:pt x="81" y="1549"/>
                  </a:cubicBezTo>
                  <a:cubicBezTo>
                    <a:pt x="84" y="1549"/>
                    <a:pt x="96" y="1543"/>
                    <a:pt x="94" y="1549"/>
                  </a:cubicBezTo>
                  <a:cubicBezTo>
                    <a:pt x="94" y="1549"/>
                    <a:pt x="92" y="1553"/>
                    <a:pt x="94" y="1553"/>
                  </a:cubicBezTo>
                  <a:cubicBezTo>
                    <a:pt x="95" y="1552"/>
                    <a:pt x="128" y="1535"/>
                    <a:pt x="137" y="1550"/>
                  </a:cubicBezTo>
                  <a:cubicBezTo>
                    <a:pt x="138" y="1551"/>
                    <a:pt x="133" y="1555"/>
                    <a:pt x="135" y="1556"/>
                  </a:cubicBezTo>
                  <a:cubicBezTo>
                    <a:pt x="139" y="1557"/>
                    <a:pt x="139" y="1552"/>
                    <a:pt x="142" y="1552"/>
                  </a:cubicBezTo>
                  <a:cubicBezTo>
                    <a:pt x="150" y="1551"/>
                    <a:pt x="142" y="1563"/>
                    <a:pt x="146" y="1561"/>
                  </a:cubicBezTo>
                  <a:cubicBezTo>
                    <a:pt x="161" y="1553"/>
                    <a:pt x="163" y="1530"/>
                    <a:pt x="188" y="1542"/>
                  </a:cubicBezTo>
                  <a:cubicBezTo>
                    <a:pt x="190" y="1543"/>
                    <a:pt x="204" y="1555"/>
                    <a:pt x="203" y="1560"/>
                  </a:cubicBezTo>
                  <a:cubicBezTo>
                    <a:pt x="203" y="1566"/>
                    <a:pt x="185" y="1571"/>
                    <a:pt x="191" y="1571"/>
                  </a:cubicBezTo>
                  <a:cubicBezTo>
                    <a:pt x="202" y="1573"/>
                    <a:pt x="201" y="1564"/>
                    <a:pt x="212" y="1571"/>
                  </a:cubicBezTo>
                  <a:cubicBezTo>
                    <a:pt x="216" y="1573"/>
                    <a:pt x="211" y="1581"/>
                    <a:pt x="212" y="1582"/>
                  </a:cubicBezTo>
                  <a:cubicBezTo>
                    <a:pt x="214" y="1584"/>
                    <a:pt x="217" y="1576"/>
                    <a:pt x="217" y="1575"/>
                  </a:cubicBezTo>
                  <a:cubicBezTo>
                    <a:pt x="218" y="1567"/>
                    <a:pt x="198" y="1555"/>
                    <a:pt x="204" y="1548"/>
                  </a:cubicBezTo>
                  <a:cubicBezTo>
                    <a:pt x="205" y="1547"/>
                    <a:pt x="215" y="1546"/>
                    <a:pt x="217" y="1546"/>
                  </a:cubicBezTo>
                  <a:cubicBezTo>
                    <a:pt x="222" y="1547"/>
                    <a:pt x="222" y="1541"/>
                    <a:pt x="230" y="1544"/>
                  </a:cubicBezTo>
                  <a:cubicBezTo>
                    <a:pt x="232" y="1545"/>
                    <a:pt x="239" y="1551"/>
                    <a:pt x="241" y="1548"/>
                  </a:cubicBezTo>
                  <a:cubicBezTo>
                    <a:pt x="244" y="1545"/>
                    <a:pt x="231" y="1542"/>
                    <a:pt x="234" y="1540"/>
                  </a:cubicBezTo>
                  <a:cubicBezTo>
                    <a:pt x="236" y="1538"/>
                    <a:pt x="264" y="1529"/>
                    <a:pt x="264" y="1529"/>
                  </a:cubicBezTo>
                  <a:cubicBezTo>
                    <a:pt x="261" y="1525"/>
                    <a:pt x="229" y="1539"/>
                    <a:pt x="232" y="1516"/>
                  </a:cubicBezTo>
                  <a:cubicBezTo>
                    <a:pt x="233" y="1511"/>
                    <a:pt x="254" y="1493"/>
                    <a:pt x="254" y="1492"/>
                  </a:cubicBezTo>
                  <a:cubicBezTo>
                    <a:pt x="252" y="1486"/>
                    <a:pt x="234" y="1510"/>
                    <a:pt x="230" y="1509"/>
                  </a:cubicBezTo>
                  <a:cubicBezTo>
                    <a:pt x="217" y="1506"/>
                    <a:pt x="234" y="1528"/>
                    <a:pt x="234" y="1535"/>
                  </a:cubicBezTo>
                  <a:cubicBezTo>
                    <a:pt x="235" y="1542"/>
                    <a:pt x="223" y="1536"/>
                    <a:pt x="222" y="1536"/>
                  </a:cubicBezTo>
                  <a:cubicBezTo>
                    <a:pt x="218" y="1535"/>
                    <a:pt x="206" y="1543"/>
                    <a:pt x="201" y="1545"/>
                  </a:cubicBezTo>
                  <a:cubicBezTo>
                    <a:pt x="198" y="1546"/>
                    <a:pt x="194" y="1543"/>
                    <a:pt x="195" y="1541"/>
                  </a:cubicBezTo>
                  <a:cubicBezTo>
                    <a:pt x="195" y="1540"/>
                    <a:pt x="205" y="1539"/>
                    <a:pt x="203" y="1536"/>
                  </a:cubicBezTo>
                  <a:cubicBezTo>
                    <a:pt x="201" y="1533"/>
                    <a:pt x="166" y="1541"/>
                    <a:pt x="163" y="1530"/>
                  </a:cubicBezTo>
                  <a:cubicBezTo>
                    <a:pt x="162" y="1527"/>
                    <a:pt x="183" y="1508"/>
                    <a:pt x="177" y="1504"/>
                  </a:cubicBezTo>
                  <a:cubicBezTo>
                    <a:pt x="170" y="1499"/>
                    <a:pt x="172" y="1518"/>
                    <a:pt x="164" y="1522"/>
                  </a:cubicBezTo>
                  <a:cubicBezTo>
                    <a:pt x="149" y="1529"/>
                    <a:pt x="164" y="1539"/>
                    <a:pt x="158" y="1543"/>
                  </a:cubicBezTo>
                  <a:cubicBezTo>
                    <a:pt x="144" y="1551"/>
                    <a:pt x="138" y="1539"/>
                    <a:pt x="129" y="1536"/>
                  </a:cubicBezTo>
                  <a:cubicBezTo>
                    <a:pt x="126" y="1535"/>
                    <a:pt x="116" y="1547"/>
                    <a:pt x="110" y="1539"/>
                  </a:cubicBezTo>
                  <a:cubicBezTo>
                    <a:pt x="109" y="1538"/>
                    <a:pt x="118" y="1534"/>
                    <a:pt x="116" y="1533"/>
                  </a:cubicBezTo>
                  <a:cubicBezTo>
                    <a:pt x="109" y="1529"/>
                    <a:pt x="75" y="1550"/>
                    <a:pt x="59" y="1552"/>
                  </a:cubicBezTo>
                  <a:cubicBezTo>
                    <a:pt x="57" y="1552"/>
                    <a:pt x="39" y="1544"/>
                    <a:pt x="39" y="1544"/>
                  </a:cubicBezTo>
                  <a:cubicBezTo>
                    <a:pt x="38" y="1542"/>
                    <a:pt x="49" y="1542"/>
                    <a:pt x="40" y="1540"/>
                  </a:cubicBezTo>
                  <a:cubicBezTo>
                    <a:pt x="37" y="1539"/>
                    <a:pt x="31" y="1543"/>
                    <a:pt x="28" y="1538"/>
                  </a:cubicBezTo>
                  <a:cubicBezTo>
                    <a:pt x="26" y="1534"/>
                    <a:pt x="46" y="1538"/>
                    <a:pt x="46" y="1536"/>
                  </a:cubicBezTo>
                  <a:cubicBezTo>
                    <a:pt x="46" y="1535"/>
                    <a:pt x="42" y="1532"/>
                    <a:pt x="41" y="1532"/>
                  </a:cubicBezTo>
                  <a:cubicBezTo>
                    <a:pt x="32" y="1529"/>
                    <a:pt x="30" y="1526"/>
                    <a:pt x="28" y="1527"/>
                  </a:cubicBezTo>
                  <a:cubicBezTo>
                    <a:pt x="26" y="1529"/>
                    <a:pt x="21" y="1528"/>
                    <a:pt x="20" y="1525"/>
                  </a:cubicBezTo>
                  <a:cubicBezTo>
                    <a:pt x="19" y="1522"/>
                    <a:pt x="45" y="1515"/>
                    <a:pt x="46" y="1516"/>
                  </a:cubicBezTo>
                  <a:cubicBezTo>
                    <a:pt x="49" y="1517"/>
                    <a:pt x="63" y="1533"/>
                    <a:pt x="53" y="1517"/>
                  </a:cubicBezTo>
                  <a:cubicBezTo>
                    <a:pt x="52" y="1515"/>
                    <a:pt x="49" y="1516"/>
                    <a:pt x="49" y="1514"/>
                  </a:cubicBezTo>
                  <a:cubicBezTo>
                    <a:pt x="49" y="1510"/>
                    <a:pt x="71" y="1510"/>
                    <a:pt x="73" y="1510"/>
                  </a:cubicBezTo>
                  <a:cubicBezTo>
                    <a:pt x="75" y="1510"/>
                    <a:pt x="76" y="1509"/>
                    <a:pt x="78" y="1509"/>
                  </a:cubicBezTo>
                  <a:cubicBezTo>
                    <a:pt x="78" y="1509"/>
                    <a:pt x="81" y="1510"/>
                    <a:pt x="81" y="1509"/>
                  </a:cubicBezTo>
                  <a:cubicBezTo>
                    <a:pt x="76" y="1496"/>
                    <a:pt x="33" y="1518"/>
                    <a:pt x="28" y="1516"/>
                  </a:cubicBezTo>
                  <a:cubicBezTo>
                    <a:pt x="15" y="1509"/>
                    <a:pt x="36" y="1505"/>
                    <a:pt x="35" y="1501"/>
                  </a:cubicBezTo>
                  <a:cubicBezTo>
                    <a:pt x="35" y="1501"/>
                    <a:pt x="19" y="1504"/>
                    <a:pt x="19" y="1502"/>
                  </a:cubicBezTo>
                  <a:cubicBezTo>
                    <a:pt x="26" y="1489"/>
                    <a:pt x="62" y="1498"/>
                    <a:pt x="68" y="1499"/>
                  </a:cubicBezTo>
                  <a:cubicBezTo>
                    <a:pt x="71" y="1500"/>
                    <a:pt x="89" y="1488"/>
                    <a:pt x="92" y="1495"/>
                  </a:cubicBezTo>
                  <a:cubicBezTo>
                    <a:pt x="92" y="1497"/>
                    <a:pt x="94" y="1499"/>
                    <a:pt x="96" y="1497"/>
                  </a:cubicBezTo>
                  <a:cubicBezTo>
                    <a:pt x="97" y="1496"/>
                    <a:pt x="94" y="1494"/>
                    <a:pt x="93" y="1492"/>
                  </a:cubicBezTo>
                  <a:cubicBezTo>
                    <a:pt x="91" y="1488"/>
                    <a:pt x="39" y="1500"/>
                    <a:pt x="36" y="1485"/>
                  </a:cubicBezTo>
                  <a:cubicBezTo>
                    <a:pt x="34" y="1477"/>
                    <a:pt x="53" y="1487"/>
                    <a:pt x="55" y="1483"/>
                  </a:cubicBezTo>
                  <a:cubicBezTo>
                    <a:pt x="58" y="1477"/>
                    <a:pt x="34" y="1483"/>
                    <a:pt x="39" y="1479"/>
                  </a:cubicBezTo>
                  <a:cubicBezTo>
                    <a:pt x="47" y="1473"/>
                    <a:pt x="54" y="1479"/>
                    <a:pt x="56" y="1479"/>
                  </a:cubicBezTo>
                  <a:cubicBezTo>
                    <a:pt x="57" y="1479"/>
                    <a:pt x="63" y="1479"/>
                    <a:pt x="62" y="1477"/>
                  </a:cubicBezTo>
                  <a:cubicBezTo>
                    <a:pt x="57" y="1469"/>
                    <a:pt x="36" y="1483"/>
                    <a:pt x="33" y="1474"/>
                  </a:cubicBezTo>
                  <a:cubicBezTo>
                    <a:pt x="32" y="1471"/>
                    <a:pt x="56" y="1471"/>
                    <a:pt x="56" y="1469"/>
                  </a:cubicBezTo>
                  <a:cubicBezTo>
                    <a:pt x="56" y="1467"/>
                    <a:pt x="48" y="1470"/>
                    <a:pt x="47" y="1470"/>
                  </a:cubicBezTo>
                  <a:cubicBezTo>
                    <a:pt x="44" y="1471"/>
                    <a:pt x="23" y="1472"/>
                    <a:pt x="21" y="1470"/>
                  </a:cubicBezTo>
                  <a:cubicBezTo>
                    <a:pt x="7" y="1452"/>
                    <a:pt x="38" y="1458"/>
                    <a:pt x="36" y="1454"/>
                  </a:cubicBezTo>
                  <a:cubicBezTo>
                    <a:pt x="34" y="1451"/>
                    <a:pt x="47" y="1452"/>
                    <a:pt x="45" y="1450"/>
                  </a:cubicBezTo>
                  <a:cubicBezTo>
                    <a:pt x="43" y="1449"/>
                    <a:pt x="29" y="1453"/>
                    <a:pt x="30" y="1451"/>
                  </a:cubicBezTo>
                  <a:cubicBezTo>
                    <a:pt x="30" y="1450"/>
                    <a:pt x="32" y="1449"/>
                    <a:pt x="33" y="1449"/>
                  </a:cubicBezTo>
                  <a:cubicBezTo>
                    <a:pt x="46" y="1443"/>
                    <a:pt x="58" y="1428"/>
                    <a:pt x="63" y="1429"/>
                  </a:cubicBezTo>
                  <a:cubicBezTo>
                    <a:pt x="63" y="1429"/>
                    <a:pt x="64" y="1429"/>
                    <a:pt x="64" y="1429"/>
                  </a:cubicBezTo>
                  <a:cubicBezTo>
                    <a:pt x="64" y="1430"/>
                    <a:pt x="65" y="1430"/>
                    <a:pt x="65" y="1430"/>
                  </a:cubicBezTo>
                  <a:cubicBezTo>
                    <a:pt x="67" y="1430"/>
                    <a:pt x="93" y="1434"/>
                    <a:pt x="90" y="1439"/>
                  </a:cubicBezTo>
                  <a:cubicBezTo>
                    <a:pt x="90" y="1440"/>
                    <a:pt x="85" y="1440"/>
                    <a:pt x="84" y="1440"/>
                  </a:cubicBezTo>
                  <a:cubicBezTo>
                    <a:pt x="74" y="1443"/>
                    <a:pt x="84" y="1442"/>
                    <a:pt x="89" y="1441"/>
                  </a:cubicBezTo>
                  <a:cubicBezTo>
                    <a:pt x="92" y="1440"/>
                    <a:pt x="95" y="1440"/>
                    <a:pt x="99" y="1439"/>
                  </a:cubicBezTo>
                  <a:cubicBezTo>
                    <a:pt x="117" y="1434"/>
                    <a:pt x="101" y="1458"/>
                    <a:pt x="108" y="1452"/>
                  </a:cubicBezTo>
                  <a:cubicBezTo>
                    <a:pt x="109" y="1450"/>
                    <a:pt x="109" y="1442"/>
                    <a:pt x="111" y="1441"/>
                  </a:cubicBezTo>
                  <a:cubicBezTo>
                    <a:pt x="118" y="1438"/>
                    <a:pt x="122" y="1456"/>
                    <a:pt x="129" y="1450"/>
                  </a:cubicBezTo>
                  <a:cubicBezTo>
                    <a:pt x="130" y="1449"/>
                    <a:pt x="118" y="1443"/>
                    <a:pt x="118" y="1441"/>
                  </a:cubicBezTo>
                  <a:cubicBezTo>
                    <a:pt x="118" y="1440"/>
                    <a:pt x="120" y="1441"/>
                    <a:pt x="121" y="1441"/>
                  </a:cubicBezTo>
                  <a:cubicBezTo>
                    <a:pt x="123" y="1442"/>
                    <a:pt x="125" y="1442"/>
                    <a:pt x="127" y="1441"/>
                  </a:cubicBezTo>
                  <a:cubicBezTo>
                    <a:pt x="137" y="1440"/>
                    <a:pt x="146" y="1447"/>
                    <a:pt x="155" y="1445"/>
                  </a:cubicBezTo>
                  <a:cubicBezTo>
                    <a:pt x="159" y="1444"/>
                    <a:pt x="160" y="1442"/>
                    <a:pt x="161" y="1440"/>
                  </a:cubicBezTo>
                  <a:cubicBezTo>
                    <a:pt x="164" y="1439"/>
                    <a:pt x="167" y="1436"/>
                    <a:pt x="171" y="1435"/>
                  </a:cubicBezTo>
                  <a:cubicBezTo>
                    <a:pt x="176" y="1436"/>
                    <a:pt x="185" y="1442"/>
                    <a:pt x="186" y="1436"/>
                  </a:cubicBezTo>
                  <a:cubicBezTo>
                    <a:pt x="186" y="1435"/>
                    <a:pt x="179" y="1435"/>
                    <a:pt x="177" y="1434"/>
                  </a:cubicBezTo>
                  <a:cubicBezTo>
                    <a:pt x="175" y="1434"/>
                    <a:pt x="172" y="1434"/>
                    <a:pt x="171" y="1435"/>
                  </a:cubicBezTo>
                  <a:cubicBezTo>
                    <a:pt x="170" y="1435"/>
                    <a:pt x="169" y="1435"/>
                    <a:pt x="168" y="1435"/>
                  </a:cubicBezTo>
                  <a:cubicBezTo>
                    <a:pt x="164" y="1435"/>
                    <a:pt x="163" y="1438"/>
                    <a:pt x="161" y="1440"/>
                  </a:cubicBezTo>
                  <a:cubicBezTo>
                    <a:pt x="160" y="1441"/>
                    <a:pt x="159" y="1442"/>
                    <a:pt x="157" y="1442"/>
                  </a:cubicBezTo>
                  <a:cubicBezTo>
                    <a:pt x="152" y="1442"/>
                    <a:pt x="96" y="1438"/>
                    <a:pt x="94" y="1437"/>
                  </a:cubicBezTo>
                  <a:cubicBezTo>
                    <a:pt x="82" y="1432"/>
                    <a:pt x="98" y="1430"/>
                    <a:pt x="103" y="1431"/>
                  </a:cubicBezTo>
                  <a:cubicBezTo>
                    <a:pt x="104" y="1431"/>
                    <a:pt x="111" y="1430"/>
                    <a:pt x="110" y="1429"/>
                  </a:cubicBezTo>
                  <a:cubicBezTo>
                    <a:pt x="99" y="1422"/>
                    <a:pt x="35" y="1432"/>
                    <a:pt x="33" y="1429"/>
                  </a:cubicBezTo>
                  <a:cubicBezTo>
                    <a:pt x="32" y="1427"/>
                    <a:pt x="36" y="1425"/>
                    <a:pt x="36" y="1423"/>
                  </a:cubicBezTo>
                  <a:cubicBezTo>
                    <a:pt x="36" y="1417"/>
                    <a:pt x="43" y="1424"/>
                    <a:pt x="45" y="1423"/>
                  </a:cubicBezTo>
                  <a:cubicBezTo>
                    <a:pt x="47" y="1423"/>
                    <a:pt x="52" y="1413"/>
                    <a:pt x="53" y="1413"/>
                  </a:cubicBezTo>
                  <a:cubicBezTo>
                    <a:pt x="54" y="1413"/>
                    <a:pt x="62" y="1416"/>
                    <a:pt x="60" y="1413"/>
                  </a:cubicBezTo>
                  <a:cubicBezTo>
                    <a:pt x="50" y="1397"/>
                    <a:pt x="33" y="1406"/>
                    <a:pt x="31" y="1390"/>
                  </a:cubicBezTo>
                  <a:cubicBezTo>
                    <a:pt x="30" y="1386"/>
                    <a:pt x="37" y="1391"/>
                    <a:pt x="37" y="1387"/>
                  </a:cubicBezTo>
                  <a:cubicBezTo>
                    <a:pt x="37" y="1382"/>
                    <a:pt x="46" y="1391"/>
                    <a:pt x="48" y="1392"/>
                  </a:cubicBezTo>
                  <a:cubicBezTo>
                    <a:pt x="51" y="1392"/>
                    <a:pt x="64" y="1415"/>
                    <a:pt x="65" y="1415"/>
                  </a:cubicBezTo>
                  <a:cubicBezTo>
                    <a:pt x="67" y="1416"/>
                    <a:pt x="69" y="1410"/>
                    <a:pt x="70" y="1409"/>
                  </a:cubicBezTo>
                  <a:cubicBezTo>
                    <a:pt x="71" y="1407"/>
                    <a:pt x="76" y="1409"/>
                    <a:pt x="77" y="1406"/>
                  </a:cubicBezTo>
                  <a:cubicBezTo>
                    <a:pt x="78" y="1400"/>
                    <a:pt x="50" y="1406"/>
                    <a:pt x="61" y="1390"/>
                  </a:cubicBezTo>
                  <a:cubicBezTo>
                    <a:pt x="70" y="1379"/>
                    <a:pt x="85" y="1405"/>
                    <a:pt x="91" y="1403"/>
                  </a:cubicBezTo>
                  <a:cubicBezTo>
                    <a:pt x="95" y="1402"/>
                    <a:pt x="80" y="1394"/>
                    <a:pt x="84" y="1391"/>
                  </a:cubicBezTo>
                  <a:cubicBezTo>
                    <a:pt x="87" y="1389"/>
                    <a:pt x="104" y="1385"/>
                    <a:pt x="106" y="1391"/>
                  </a:cubicBezTo>
                  <a:cubicBezTo>
                    <a:pt x="108" y="1395"/>
                    <a:pt x="99" y="1413"/>
                    <a:pt x="99" y="1413"/>
                  </a:cubicBezTo>
                  <a:cubicBezTo>
                    <a:pt x="105" y="1417"/>
                    <a:pt x="103" y="1396"/>
                    <a:pt x="110" y="1396"/>
                  </a:cubicBezTo>
                  <a:cubicBezTo>
                    <a:pt x="112" y="1396"/>
                    <a:pt x="114" y="1400"/>
                    <a:pt x="116" y="1401"/>
                  </a:cubicBezTo>
                  <a:cubicBezTo>
                    <a:pt x="125" y="1405"/>
                    <a:pt x="145" y="1408"/>
                    <a:pt x="146" y="1408"/>
                  </a:cubicBezTo>
                  <a:cubicBezTo>
                    <a:pt x="147" y="1405"/>
                    <a:pt x="122" y="1402"/>
                    <a:pt x="121" y="1400"/>
                  </a:cubicBezTo>
                  <a:cubicBezTo>
                    <a:pt x="108" y="1388"/>
                    <a:pt x="102" y="1388"/>
                    <a:pt x="117" y="1387"/>
                  </a:cubicBezTo>
                  <a:cubicBezTo>
                    <a:pt x="121" y="1387"/>
                    <a:pt x="108" y="1383"/>
                    <a:pt x="108" y="1379"/>
                  </a:cubicBezTo>
                  <a:cubicBezTo>
                    <a:pt x="110" y="1374"/>
                    <a:pt x="137" y="1360"/>
                    <a:pt x="141" y="1362"/>
                  </a:cubicBezTo>
                  <a:cubicBezTo>
                    <a:pt x="144" y="1363"/>
                    <a:pt x="156" y="1380"/>
                    <a:pt x="161" y="1390"/>
                  </a:cubicBezTo>
                  <a:cubicBezTo>
                    <a:pt x="162" y="1393"/>
                    <a:pt x="162" y="1396"/>
                    <a:pt x="161" y="1398"/>
                  </a:cubicBezTo>
                  <a:cubicBezTo>
                    <a:pt x="161" y="1399"/>
                    <a:pt x="160" y="1400"/>
                    <a:pt x="160" y="1401"/>
                  </a:cubicBezTo>
                  <a:cubicBezTo>
                    <a:pt x="161" y="1401"/>
                    <a:pt x="161" y="1400"/>
                    <a:pt x="161" y="1398"/>
                  </a:cubicBezTo>
                  <a:cubicBezTo>
                    <a:pt x="162" y="1397"/>
                    <a:pt x="163" y="1396"/>
                    <a:pt x="164" y="1396"/>
                  </a:cubicBezTo>
                  <a:cubicBezTo>
                    <a:pt x="164" y="1395"/>
                    <a:pt x="163" y="1393"/>
                    <a:pt x="161" y="1390"/>
                  </a:cubicBezTo>
                  <a:cubicBezTo>
                    <a:pt x="161" y="1387"/>
                    <a:pt x="160" y="1385"/>
                    <a:pt x="159" y="1383"/>
                  </a:cubicBezTo>
                  <a:cubicBezTo>
                    <a:pt x="156" y="1377"/>
                    <a:pt x="146" y="1369"/>
                    <a:pt x="148" y="1362"/>
                  </a:cubicBezTo>
                  <a:cubicBezTo>
                    <a:pt x="151" y="1350"/>
                    <a:pt x="163" y="1365"/>
                    <a:pt x="164" y="1364"/>
                  </a:cubicBezTo>
                  <a:cubicBezTo>
                    <a:pt x="165" y="1364"/>
                    <a:pt x="164" y="1352"/>
                    <a:pt x="175" y="1351"/>
                  </a:cubicBezTo>
                  <a:cubicBezTo>
                    <a:pt x="205" y="1347"/>
                    <a:pt x="198" y="1402"/>
                    <a:pt x="200" y="1403"/>
                  </a:cubicBezTo>
                  <a:cubicBezTo>
                    <a:pt x="206" y="1407"/>
                    <a:pt x="212" y="1397"/>
                    <a:pt x="217" y="1401"/>
                  </a:cubicBezTo>
                  <a:cubicBezTo>
                    <a:pt x="219" y="1402"/>
                    <a:pt x="216" y="1396"/>
                    <a:pt x="209" y="1400"/>
                  </a:cubicBezTo>
                  <a:cubicBezTo>
                    <a:pt x="195" y="1410"/>
                    <a:pt x="206" y="1388"/>
                    <a:pt x="205" y="1383"/>
                  </a:cubicBezTo>
                  <a:cubicBezTo>
                    <a:pt x="205" y="1382"/>
                    <a:pt x="204" y="1377"/>
                    <a:pt x="205" y="1377"/>
                  </a:cubicBezTo>
                  <a:cubicBezTo>
                    <a:pt x="208" y="1374"/>
                    <a:pt x="233" y="1377"/>
                    <a:pt x="236" y="1380"/>
                  </a:cubicBezTo>
                  <a:cubicBezTo>
                    <a:pt x="236" y="1381"/>
                    <a:pt x="238" y="1384"/>
                    <a:pt x="239" y="1383"/>
                  </a:cubicBezTo>
                  <a:cubicBezTo>
                    <a:pt x="241" y="1382"/>
                    <a:pt x="236" y="1377"/>
                    <a:pt x="235" y="1377"/>
                  </a:cubicBezTo>
                  <a:cubicBezTo>
                    <a:pt x="228" y="1370"/>
                    <a:pt x="210" y="1375"/>
                    <a:pt x="200" y="1371"/>
                  </a:cubicBezTo>
                  <a:cubicBezTo>
                    <a:pt x="195" y="1368"/>
                    <a:pt x="199" y="1350"/>
                    <a:pt x="175" y="1346"/>
                  </a:cubicBezTo>
                  <a:cubicBezTo>
                    <a:pt x="166" y="1344"/>
                    <a:pt x="156" y="1359"/>
                    <a:pt x="144" y="1353"/>
                  </a:cubicBezTo>
                  <a:cubicBezTo>
                    <a:pt x="141" y="1351"/>
                    <a:pt x="130" y="1352"/>
                    <a:pt x="133" y="1349"/>
                  </a:cubicBezTo>
                  <a:cubicBezTo>
                    <a:pt x="141" y="1340"/>
                    <a:pt x="168" y="1350"/>
                    <a:pt x="173" y="1344"/>
                  </a:cubicBezTo>
                  <a:cubicBezTo>
                    <a:pt x="173" y="1344"/>
                    <a:pt x="167" y="1341"/>
                    <a:pt x="165" y="1341"/>
                  </a:cubicBezTo>
                  <a:cubicBezTo>
                    <a:pt x="150" y="1343"/>
                    <a:pt x="134" y="1339"/>
                    <a:pt x="135" y="1332"/>
                  </a:cubicBezTo>
                  <a:cubicBezTo>
                    <a:pt x="136" y="1330"/>
                    <a:pt x="138" y="1329"/>
                    <a:pt x="139" y="1328"/>
                  </a:cubicBezTo>
                  <a:cubicBezTo>
                    <a:pt x="144" y="1325"/>
                    <a:pt x="162" y="1325"/>
                    <a:pt x="165" y="1329"/>
                  </a:cubicBezTo>
                  <a:cubicBezTo>
                    <a:pt x="166" y="1331"/>
                    <a:pt x="166" y="1335"/>
                    <a:pt x="168" y="1334"/>
                  </a:cubicBezTo>
                  <a:cubicBezTo>
                    <a:pt x="174" y="1329"/>
                    <a:pt x="169" y="1327"/>
                    <a:pt x="178" y="1321"/>
                  </a:cubicBezTo>
                  <a:cubicBezTo>
                    <a:pt x="182" y="1319"/>
                    <a:pt x="185" y="1323"/>
                    <a:pt x="188" y="1325"/>
                  </a:cubicBezTo>
                  <a:cubicBezTo>
                    <a:pt x="189" y="1326"/>
                    <a:pt x="193" y="1328"/>
                    <a:pt x="193" y="1330"/>
                  </a:cubicBezTo>
                  <a:cubicBezTo>
                    <a:pt x="194" y="1330"/>
                    <a:pt x="193" y="1322"/>
                    <a:pt x="206" y="1321"/>
                  </a:cubicBezTo>
                  <a:cubicBezTo>
                    <a:pt x="207" y="1321"/>
                    <a:pt x="211" y="1326"/>
                    <a:pt x="212" y="1330"/>
                  </a:cubicBezTo>
                  <a:cubicBezTo>
                    <a:pt x="213" y="1333"/>
                    <a:pt x="211" y="1340"/>
                    <a:pt x="214" y="1339"/>
                  </a:cubicBezTo>
                  <a:cubicBezTo>
                    <a:pt x="218" y="1336"/>
                    <a:pt x="212" y="1324"/>
                    <a:pt x="217" y="1324"/>
                  </a:cubicBezTo>
                  <a:cubicBezTo>
                    <a:pt x="231" y="1322"/>
                    <a:pt x="243" y="1343"/>
                    <a:pt x="250" y="1343"/>
                  </a:cubicBezTo>
                  <a:cubicBezTo>
                    <a:pt x="254" y="1343"/>
                    <a:pt x="252" y="1337"/>
                    <a:pt x="254" y="1336"/>
                  </a:cubicBezTo>
                  <a:cubicBezTo>
                    <a:pt x="258" y="1332"/>
                    <a:pt x="267" y="1334"/>
                    <a:pt x="272" y="1332"/>
                  </a:cubicBezTo>
                  <a:cubicBezTo>
                    <a:pt x="275" y="1331"/>
                    <a:pt x="266" y="1331"/>
                    <a:pt x="263" y="1332"/>
                  </a:cubicBezTo>
                  <a:cubicBezTo>
                    <a:pt x="257" y="1332"/>
                    <a:pt x="247" y="1336"/>
                    <a:pt x="242" y="1331"/>
                  </a:cubicBezTo>
                  <a:cubicBezTo>
                    <a:pt x="239" y="1328"/>
                    <a:pt x="239" y="1318"/>
                    <a:pt x="246" y="1323"/>
                  </a:cubicBezTo>
                  <a:cubicBezTo>
                    <a:pt x="246" y="1323"/>
                    <a:pt x="246" y="1324"/>
                    <a:pt x="247" y="1324"/>
                  </a:cubicBezTo>
                  <a:cubicBezTo>
                    <a:pt x="247" y="1326"/>
                    <a:pt x="247" y="1327"/>
                    <a:pt x="247" y="1329"/>
                  </a:cubicBezTo>
                  <a:cubicBezTo>
                    <a:pt x="247" y="1329"/>
                    <a:pt x="247" y="1329"/>
                    <a:pt x="247" y="1330"/>
                  </a:cubicBezTo>
                  <a:cubicBezTo>
                    <a:pt x="247" y="1331"/>
                    <a:pt x="247" y="1330"/>
                    <a:pt x="247" y="1329"/>
                  </a:cubicBezTo>
                  <a:cubicBezTo>
                    <a:pt x="247" y="1327"/>
                    <a:pt x="248" y="1325"/>
                    <a:pt x="247" y="1324"/>
                  </a:cubicBezTo>
                  <a:cubicBezTo>
                    <a:pt x="247" y="1322"/>
                    <a:pt x="247" y="1321"/>
                    <a:pt x="247" y="1320"/>
                  </a:cubicBezTo>
                  <a:cubicBezTo>
                    <a:pt x="251" y="1308"/>
                    <a:pt x="291" y="1308"/>
                    <a:pt x="296" y="1310"/>
                  </a:cubicBezTo>
                  <a:cubicBezTo>
                    <a:pt x="297" y="1311"/>
                    <a:pt x="304" y="1315"/>
                    <a:pt x="304" y="1315"/>
                  </a:cubicBezTo>
                  <a:cubicBezTo>
                    <a:pt x="306" y="1312"/>
                    <a:pt x="300" y="1309"/>
                    <a:pt x="298" y="1308"/>
                  </a:cubicBezTo>
                  <a:cubicBezTo>
                    <a:pt x="294" y="1306"/>
                    <a:pt x="299" y="1303"/>
                    <a:pt x="298" y="1302"/>
                  </a:cubicBezTo>
                  <a:cubicBezTo>
                    <a:pt x="293" y="1298"/>
                    <a:pt x="244" y="1319"/>
                    <a:pt x="235" y="1316"/>
                  </a:cubicBezTo>
                  <a:cubicBezTo>
                    <a:pt x="232" y="1315"/>
                    <a:pt x="243" y="1303"/>
                    <a:pt x="254" y="1302"/>
                  </a:cubicBezTo>
                  <a:cubicBezTo>
                    <a:pt x="257" y="1301"/>
                    <a:pt x="265" y="1302"/>
                    <a:pt x="263" y="1300"/>
                  </a:cubicBezTo>
                  <a:cubicBezTo>
                    <a:pt x="258" y="1295"/>
                    <a:pt x="215" y="1308"/>
                    <a:pt x="206" y="1309"/>
                  </a:cubicBezTo>
                  <a:cubicBezTo>
                    <a:pt x="205" y="1309"/>
                    <a:pt x="198" y="1311"/>
                    <a:pt x="198" y="1309"/>
                  </a:cubicBezTo>
                  <a:cubicBezTo>
                    <a:pt x="197" y="1297"/>
                    <a:pt x="206" y="1295"/>
                    <a:pt x="220" y="1297"/>
                  </a:cubicBezTo>
                  <a:cubicBezTo>
                    <a:pt x="220" y="1297"/>
                    <a:pt x="222" y="1297"/>
                    <a:pt x="221" y="1297"/>
                  </a:cubicBezTo>
                  <a:cubicBezTo>
                    <a:pt x="219" y="1294"/>
                    <a:pt x="189" y="1287"/>
                    <a:pt x="192" y="1281"/>
                  </a:cubicBezTo>
                  <a:cubicBezTo>
                    <a:pt x="194" y="1277"/>
                    <a:pt x="221" y="1266"/>
                    <a:pt x="227" y="1267"/>
                  </a:cubicBezTo>
                  <a:cubicBezTo>
                    <a:pt x="232" y="1269"/>
                    <a:pt x="241" y="1282"/>
                    <a:pt x="245" y="1282"/>
                  </a:cubicBezTo>
                  <a:cubicBezTo>
                    <a:pt x="252" y="1281"/>
                    <a:pt x="264" y="1266"/>
                    <a:pt x="272" y="1273"/>
                  </a:cubicBezTo>
                  <a:cubicBezTo>
                    <a:pt x="274" y="1275"/>
                    <a:pt x="261" y="1282"/>
                    <a:pt x="263" y="1282"/>
                  </a:cubicBezTo>
                  <a:cubicBezTo>
                    <a:pt x="272" y="1283"/>
                    <a:pt x="284" y="1269"/>
                    <a:pt x="293" y="1274"/>
                  </a:cubicBezTo>
                  <a:cubicBezTo>
                    <a:pt x="304" y="1280"/>
                    <a:pt x="299" y="1289"/>
                    <a:pt x="306" y="1297"/>
                  </a:cubicBezTo>
                  <a:cubicBezTo>
                    <a:pt x="313" y="1304"/>
                    <a:pt x="331" y="1306"/>
                    <a:pt x="337" y="1312"/>
                  </a:cubicBezTo>
                  <a:cubicBezTo>
                    <a:pt x="339" y="1315"/>
                    <a:pt x="338" y="1322"/>
                    <a:pt x="340" y="1320"/>
                  </a:cubicBezTo>
                  <a:cubicBezTo>
                    <a:pt x="342" y="1318"/>
                    <a:pt x="342" y="1317"/>
                    <a:pt x="342" y="1315"/>
                  </a:cubicBezTo>
                  <a:cubicBezTo>
                    <a:pt x="342" y="1313"/>
                    <a:pt x="342" y="1312"/>
                    <a:pt x="341" y="1311"/>
                  </a:cubicBezTo>
                  <a:cubicBezTo>
                    <a:pt x="315" y="1292"/>
                    <a:pt x="308" y="1289"/>
                    <a:pt x="291" y="1266"/>
                  </a:cubicBezTo>
                  <a:cubicBezTo>
                    <a:pt x="289" y="1263"/>
                    <a:pt x="279" y="1270"/>
                    <a:pt x="281" y="1267"/>
                  </a:cubicBezTo>
                  <a:cubicBezTo>
                    <a:pt x="300" y="1232"/>
                    <a:pt x="318" y="1285"/>
                    <a:pt x="326" y="1286"/>
                  </a:cubicBezTo>
                  <a:cubicBezTo>
                    <a:pt x="329" y="1286"/>
                    <a:pt x="337" y="1295"/>
                    <a:pt x="340" y="1292"/>
                  </a:cubicBezTo>
                  <a:cubicBezTo>
                    <a:pt x="343" y="1288"/>
                    <a:pt x="329" y="1287"/>
                    <a:pt x="330" y="1285"/>
                  </a:cubicBezTo>
                  <a:cubicBezTo>
                    <a:pt x="334" y="1279"/>
                    <a:pt x="352" y="1297"/>
                    <a:pt x="354" y="1295"/>
                  </a:cubicBezTo>
                  <a:cubicBezTo>
                    <a:pt x="357" y="1293"/>
                    <a:pt x="326" y="1281"/>
                    <a:pt x="329" y="1276"/>
                  </a:cubicBezTo>
                  <a:cubicBezTo>
                    <a:pt x="331" y="1271"/>
                    <a:pt x="347" y="1279"/>
                    <a:pt x="351" y="1273"/>
                  </a:cubicBezTo>
                  <a:cubicBezTo>
                    <a:pt x="353" y="1269"/>
                    <a:pt x="338" y="1274"/>
                    <a:pt x="337" y="1271"/>
                  </a:cubicBezTo>
                  <a:cubicBezTo>
                    <a:pt x="337" y="1270"/>
                    <a:pt x="345" y="1267"/>
                    <a:pt x="344" y="1266"/>
                  </a:cubicBezTo>
                  <a:cubicBezTo>
                    <a:pt x="344" y="1266"/>
                    <a:pt x="327" y="1273"/>
                    <a:pt x="323" y="1271"/>
                  </a:cubicBezTo>
                  <a:cubicBezTo>
                    <a:pt x="323" y="1271"/>
                    <a:pt x="320" y="1271"/>
                    <a:pt x="320" y="1270"/>
                  </a:cubicBezTo>
                  <a:cubicBezTo>
                    <a:pt x="321" y="1266"/>
                    <a:pt x="334" y="1269"/>
                    <a:pt x="333" y="1266"/>
                  </a:cubicBezTo>
                  <a:cubicBezTo>
                    <a:pt x="333" y="1266"/>
                    <a:pt x="300" y="1266"/>
                    <a:pt x="306" y="1251"/>
                  </a:cubicBezTo>
                  <a:cubicBezTo>
                    <a:pt x="307" y="1247"/>
                    <a:pt x="313" y="1259"/>
                    <a:pt x="318" y="1258"/>
                  </a:cubicBezTo>
                  <a:cubicBezTo>
                    <a:pt x="322" y="1257"/>
                    <a:pt x="310" y="1249"/>
                    <a:pt x="313" y="1247"/>
                  </a:cubicBezTo>
                  <a:cubicBezTo>
                    <a:pt x="318" y="1244"/>
                    <a:pt x="340" y="1248"/>
                    <a:pt x="346" y="1251"/>
                  </a:cubicBezTo>
                  <a:cubicBezTo>
                    <a:pt x="347" y="1251"/>
                    <a:pt x="348" y="1254"/>
                    <a:pt x="349" y="1253"/>
                  </a:cubicBezTo>
                  <a:cubicBezTo>
                    <a:pt x="350" y="1249"/>
                    <a:pt x="340" y="1250"/>
                    <a:pt x="342" y="1245"/>
                  </a:cubicBezTo>
                  <a:cubicBezTo>
                    <a:pt x="344" y="1239"/>
                    <a:pt x="369" y="1239"/>
                    <a:pt x="374" y="1238"/>
                  </a:cubicBezTo>
                  <a:cubicBezTo>
                    <a:pt x="375" y="1238"/>
                    <a:pt x="376" y="1238"/>
                    <a:pt x="375" y="1238"/>
                  </a:cubicBezTo>
                  <a:cubicBezTo>
                    <a:pt x="375" y="1238"/>
                    <a:pt x="375" y="1238"/>
                    <a:pt x="374" y="1238"/>
                  </a:cubicBezTo>
                  <a:cubicBezTo>
                    <a:pt x="373" y="1238"/>
                    <a:pt x="372" y="1238"/>
                    <a:pt x="371" y="1238"/>
                  </a:cubicBezTo>
                  <a:cubicBezTo>
                    <a:pt x="352" y="1237"/>
                    <a:pt x="349" y="1240"/>
                    <a:pt x="338" y="1227"/>
                  </a:cubicBezTo>
                  <a:cubicBezTo>
                    <a:pt x="338" y="1227"/>
                    <a:pt x="334" y="1226"/>
                    <a:pt x="334" y="1225"/>
                  </a:cubicBezTo>
                  <a:cubicBezTo>
                    <a:pt x="339" y="1219"/>
                    <a:pt x="353" y="1224"/>
                    <a:pt x="359" y="1218"/>
                  </a:cubicBezTo>
                  <a:cubicBezTo>
                    <a:pt x="363" y="1215"/>
                    <a:pt x="346" y="1214"/>
                    <a:pt x="348" y="1209"/>
                  </a:cubicBezTo>
                  <a:cubicBezTo>
                    <a:pt x="352" y="1202"/>
                    <a:pt x="367" y="1211"/>
                    <a:pt x="370" y="1210"/>
                  </a:cubicBezTo>
                  <a:cubicBezTo>
                    <a:pt x="376" y="1210"/>
                    <a:pt x="379" y="1199"/>
                    <a:pt x="381" y="1199"/>
                  </a:cubicBezTo>
                  <a:cubicBezTo>
                    <a:pt x="397" y="1200"/>
                    <a:pt x="388" y="1225"/>
                    <a:pt x="389" y="1226"/>
                  </a:cubicBezTo>
                  <a:cubicBezTo>
                    <a:pt x="394" y="1227"/>
                    <a:pt x="398" y="1217"/>
                    <a:pt x="403" y="1216"/>
                  </a:cubicBezTo>
                  <a:cubicBezTo>
                    <a:pt x="406" y="1215"/>
                    <a:pt x="424" y="1215"/>
                    <a:pt x="423" y="1209"/>
                  </a:cubicBezTo>
                  <a:cubicBezTo>
                    <a:pt x="423" y="1207"/>
                    <a:pt x="419" y="1212"/>
                    <a:pt x="417" y="1212"/>
                  </a:cubicBezTo>
                  <a:cubicBezTo>
                    <a:pt x="412" y="1213"/>
                    <a:pt x="396" y="1216"/>
                    <a:pt x="395" y="1211"/>
                  </a:cubicBezTo>
                  <a:cubicBezTo>
                    <a:pt x="393" y="1198"/>
                    <a:pt x="424" y="1204"/>
                    <a:pt x="424" y="1198"/>
                  </a:cubicBezTo>
                  <a:cubicBezTo>
                    <a:pt x="424" y="1197"/>
                    <a:pt x="418" y="1199"/>
                    <a:pt x="417" y="1200"/>
                  </a:cubicBezTo>
                  <a:cubicBezTo>
                    <a:pt x="409" y="1200"/>
                    <a:pt x="409" y="1196"/>
                    <a:pt x="404" y="1195"/>
                  </a:cubicBezTo>
                  <a:cubicBezTo>
                    <a:pt x="402" y="1194"/>
                    <a:pt x="407" y="1199"/>
                    <a:pt x="407" y="1201"/>
                  </a:cubicBezTo>
                  <a:cubicBezTo>
                    <a:pt x="406" y="1203"/>
                    <a:pt x="398" y="1200"/>
                    <a:pt x="397" y="1200"/>
                  </a:cubicBezTo>
                  <a:cubicBezTo>
                    <a:pt x="395" y="1199"/>
                    <a:pt x="394" y="1198"/>
                    <a:pt x="394" y="1196"/>
                  </a:cubicBezTo>
                  <a:cubicBezTo>
                    <a:pt x="395" y="1195"/>
                    <a:pt x="413" y="1184"/>
                    <a:pt x="415" y="1186"/>
                  </a:cubicBezTo>
                  <a:cubicBezTo>
                    <a:pt x="416" y="1186"/>
                    <a:pt x="412" y="1191"/>
                    <a:pt x="415" y="1193"/>
                  </a:cubicBezTo>
                  <a:cubicBezTo>
                    <a:pt x="416" y="1193"/>
                    <a:pt x="417" y="1194"/>
                    <a:pt x="417" y="1193"/>
                  </a:cubicBezTo>
                  <a:cubicBezTo>
                    <a:pt x="419" y="1193"/>
                    <a:pt x="421" y="1184"/>
                    <a:pt x="425" y="1183"/>
                  </a:cubicBezTo>
                  <a:cubicBezTo>
                    <a:pt x="426" y="1184"/>
                    <a:pt x="428" y="1185"/>
                    <a:pt x="430" y="1186"/>
                  </a:cubicBezTo>
                  <a:cubicBezTo>
                    <a:pt x="430" y="1187"/>
                    <a:pt x="430" y="1189"/>
                    <a:pt x="431" y="1189"/>
                  </a:cubicBezTo>
                  <a:cubicBezTo>
                    <a:pt x="431" y="1189"/>
                    <a:pt x="431" y="1189"/>
                    <a:pt x="432" y="1189"/>
                  </a:cubicBezTo>
                  <a:cubicBezTo>
                    <a:pt x="432" y="1188"/>
                    <a:pt x="431" y="1187"/>
                    <a:pt x="430" y="1186"/>
                  </a:cubicBezTo>
                  <a:cubicBezTo>
                    <a:pt x="430" y="1185"/>
                    <a:pt x="429" y="1185"/>
                    <a:pt x="429" y="1185"/>
                  </a:cubicBezTo>
                  <a:cubicBezTo>
                    <a:pt x="428" y="1183"/>
                    <a:pt x="426" y="1183"/>
                    <a:pt x="425" y="1183"/>
                  </a:cubicBezTo>
                  <a:cubicBezTo>
                    <a:pt x="425" y="1183"/>
                    <a:pt x="425" y="1182"/>
                    <a:pt x="425" y="1182"/>
                  </a:cubicBezTo>
                  <a:cubicBezTo>
                    <a:pt x="425" y="1180"/>
                    <a:pt x="443" y="1173"/>
                    <a:pt x="444" y="1174"/>
                  </a:cubicBezTo>
                  <a:cubicBezTo>
                    <a:pt x="450" y="1176"/>
                    <a:pt x="468" y="1208"/>
                    <a:pt x="461" y="1216"/>
                  </a:cubicBezTo>
                  <a:cubicBezTo>
                    <a:pt x="460" y="1217"/>
                    <a:pt x="454" y="1219"/>
                    <a:pt x="455" y="1221"/>
                  </a:cubicBezTo>
                  <a:cubicBezTo>
                    <a:pt x="456" y="1223"/>
                    <a:pt x="467" y="1216"/>
                    <a:pt x="469" y="1216"/>
                  </a:cubicBezTo>
                  <a:cubicBezTo>
                    <a:pt x="473" y="1215"/>
                    <a:pt x="482" y="1219"/>
                    <a:pt x="488" y="1220"/>
                  </a:cubicBezTo>
                  <a:cubicBezTo>
                    <a:pt x="490" y="1221"/>
                    <a:pt x="491" y="1221"/>
                    <a:pt x="492" y="1222"/>
                  </a:cubicBezTo>
                  <a:cubicBezTo>
                    <a:pt x="493" y="1225"/>
                    <a:pt x="491" y="1232"/>
                    <a:pt x="493" y="1230"/>
                  </a:cubicBezTo>
                  <a:cubicBezTo>
                    <a:pt x="499" y="1227"/>
                    <a:pt x="497" y="1224"/>
                    <a:pt x="492" y="1222"/>
                  </a:cubicBezTo>
                  <a:cubicBezTo>
                    <a:pt x="492" y="1221"/>
                    <a:pt x="491" y="1220"/>
                    <a:pt x="491" y="1220"/>
                  </a:cubicBezTo>
                  <a:cubicBezTo>
                    <a:pt x="490" y="1220"/>
                    <a:pt x="489" y="1220"/>
                    <a:pt x="488" y="1220"/>
                  </a:cubicBezTo>
                  <a:cubicBezTo>
                    <a:pt x="479" y="1216"/>
                    <a:pt x="468" y="1212"/>
                    <a:pt x="477" y="1205"/>
                  </a:cubicBezTo>
                  <a:cubicBezTo>
                    <a:pt x="494" y="1193"/>
                    <a:pt x="548" y="1213"/>
                    <a:pt x="551" y="1201"/>
                  </a:cubicBezTo>
                  <a:cubicBezTo>
                    <a:pt x="552" y="1198"/>
                    <a:pt x="537" y="1200"/>
                    <a:pt x="538" y="1193"/>
                  </a:cubicBezTo>
                  <a:cubicBezTo>
                    <a:pt x="538" y="1192"/>
                    <a:pt x="545" y="1184"/>
                    <a:pt x="549" y="1183"/>
                  </a:cubicBezTo>
                  <a:cubicBezTo>
                    <a:pt x="551" y="1183"/>
                    <a:pt x="551" y="1183"/>
                    <a:pt x="551" y="1182"/>
                  </a:cubicBezTo>
                  <a:cubicBezTo>
                    <a:pt x="552" y="1181"/>
                    <a:pt x="552" y="1180"/>
                    <a:pt x="552" y="1180"/>
                  </a:cubicBezTo>
                  <a:cubicBezTo>
                    <a:pt x="550" y="1177"/>
                    <a:pt x="528" y="1188"/>
                    <a:pt x="529" y="1187"/>
                  </a:cubicBezTo>
                  <a:cubicBezTo>
                    <a:pt x="539" y="1168"/>
                    <a:pt x="599" y="1153"/>
                    <a:pt x="600" y="1151"/>
                  </a:cubicBezTo>
                  <a:cubicBezTo>
                    <a:pt x="605" y="1136"/>
                    <a:pt x="568" y="1146"/>
                    <a:pt x="567" y="1138"/>
                  </a:cubicBezTo>
                  <a:cubicBezTo>
                    <a:pt x="566" y="1129"/>
                    <a:pt x="604" y="1124"/>
                    <a:pt x="603" y="1118"/>
                  </a:cubicBezTo>
                  <a:cubicBezTo>
                    <a:pt x="603" y="1114"/>
                    <a:pt x="582" y="1119"/>
                    <a:pt x="580" y="1113"/>
                  </a:cubicBezTo>
                  <a:cubicBezTo>
                    <a:pt x="579" y="1108"/>
                    <a:pt x="595" y="1106"/>
                    <a:pt x="591" y="1103"/>
                  </a:cubicBezTo>
                  <a:cubicBezTo>
                    <a:pt x="583" y="1099"/>
                    <a:pt x="576" y="1118"/>
                    <a:pt x="570" y="1122"/>
                  </a:cubicBezTo>
                  <a:cubicBezTo>
                    <a:pt x="561" y="1129"/>
                    <a:pt x="524" y="1139"/>
                    <a:pt x="521" y="1149"/>
                  </a:cubicBezTo>
                  <a:cubicBezTo>
                    <a:pt x="521" y="1150"/>
                    <a:pt x="531" y="1145"/>
                    <a:pt x="532" y="1144"/>
                  </a:cubicBezTo>
                  <a:cubicBezTo>
                    <a:pt x="536" y="1141"/>
                    <a:pt x="567" y="1130"/>
                    <a:pt x="566" y="1144"/>
                  </a:cubicBezTo>
                  <a:cubicBezTo>
                    <a:pt x="565" y="1156"/>
                    <a:pt x="472" y="1203"/>
                    <a:pt x="463" y="1194"/>
                  </a:cubicBezTo>
                  <a:cubicBezTo>
                    <a:pt x="460" y="1191"/>
                    <a:pt x="462" y="1184"/>
                    <a:pt x="461" y="1181"/>
                  </a:cubicBezTo>
                  <a:cubicBezTo>
                    <a:pt x="460" y="1177"/>
                    <a:pt x="448" y="1175"/>
                    <a:pt x="452" y="1167"/>
                  </a:cubicBezTo>
                  <a:cubicBezTo>
                    <a:pt x="454" y="1162"/>
                    <a:pt x="492" y="1158"/>
                    <a:pt x="471" y="1159"/>
                  </a:cubicBezTo>
                  <a:cubicBezTo>
                    <a:pt x="468" y="1159"/>
                    <a:pt x="474" y="1154"/>
                    <a:pt x="474" y="1153"/>
                  </a:cubicBezTo>
                  <a:cubicBezTo>
                    <a:pt x="473" y="1152"/>
                    <a:pt x="430" y="1173"/>
                    <a:pt x="429" y="1170"/>
                  </a:cubicBezTo>
                  <a:cubicBezTo>
                    <a:pt x="422" y="1160"/>
                    <a:pt x="445" y="1159"/>
                    <a:pt x="450" y="1155"/>
                  </a:cubicBezTo>
                  <a:cubicBezTo>
                    <a:pt x="450" y="1155"/>
                    <a:pt x="430" y="1158"/>
                    <a:pt x="429" y="1155"/>
                  </a:cubicBezTo>
                  <a:cubicBezTo>
                    <a:pt x="428" y="1149"/>
                    <a:pt x="474" y="1135"/>
                    <a:pt x="477" y="1132"/>
                  </a:cubicBezTo>
                  <a:cubicBezTo>
                    <a:pt x="480" y="1130"/>
                    <a:pt x="487" y="1133"/>
                    <a:pt x="487" y="1130"/>
                  </a:cubicBezTo>
                  <a:cubicBezTo>
                    <a:pt x="487" y="1120"/>
                    <a:pt x="468" y="1136"/>
                    <a:pt x="465" y="1132"/>
                  </a:cubicBezTo>
                  <a:cubicBezTo>
                    <a:pt x="464" y="1131"/>
                    <a:pt x="481" y="1126"/>
                    <a:pt x="481" y="1123"/>
                  </a:cubicBezTo>
                  <a:cubicBezTo>
                    <a:pt x="481" y="1120"/>
                    <a:pt x="465" y="1128"/>
                    <a:pt x="464" y="1127"/>
                  </a:cubicBezTo>
                  <a:cubicBezTo>
                    <a:pt x="464" y="1126"/>
                    <a:pt x="468" y="1121"/>
                    <a:pt x="469" y="1120"/>
                  </a:cubicBezTo>
                  <a:cubicBezTo>
                    <a:pt x="470" y="1114"/>
                    <a:pt x="465" y="1105"/>
                    <a:pt x="470" y="1103"/>
                  </a:cubicBezTo>
                  <a:cubicBezTo>
                    <a:pt x="472" y="1103"/>
                    <a:pt x="490" y="1111"/>
                    <a:pt x="489" y="1103"/>
                  </a:cubicBezTo>
                  <a:cubicBezTo>
                    <a:pt x="489" y="1099"/>
                    <a:pt x="479" y="1105"/>
                    <a:pt x="479" y="1102"/>
                  </a:cubicBezTo>
                  <a:cubicBezTo>
                    <a:pt x="483" y="1089"/>
                    <a:pt x="489" y="1094"/>
                    <a:pt x="502" y="1093"/>
                  </a:cubicBezTo>
                  <a:cubicBezTo>
                    <a:pt x="507" y="1092"/>
                    <a:pt x="490" y="1089"/>
                    <a:pt x="492" y="1085"/>
                  </a:cubicBezTo>
                  <a:cubicBezTo>
                    <a:pt x="495" y="1076"/>
                    <a:pt x="510" y="1083"/>
                    <a:pt x="514" y="1076"/>
                  </a:cubicBezTo>
                  <a:cubicBezTo>
                    <a:pt x="514" y="1076"/>
                    <a:pt x="508" y="1061"/>
                    <a:pt x="518" y="1070"/>
                  </a:cubicBezTo>
                  <a:cubicBezTo>
                    <a:pt x="521" y="1073"/>
                    <a:pt x="514" y="1065"/>
                    <a:pt x="516" y="1065"/>
                  </a:cubicBezTo>
                  <a:cubicBezTo>
                    <a:pt x="520" y="1065"/>
                    <a:pt x="524" y="1072"/>
                    <a:pt x="528" y="1067"/>
                  </a:cubicBezTo>
                  <a:cubicBezTo>
                    <a:pt x="532" y="1062"/>
                    <a:pt x="507" y="1064"/>
                    <a:pt x="511" y="1059"/>
                  </a:cubicBezTo>
                  <a:cubicBezTo>
                    <a:pt x="513" y="1056"/>
                    <a:pt x="530" y="1054"/>
                    <a:pt x="537" y="1062"/>
                  </a:cubicBezTo>
                  <a:cubicBezTo>
                    <a:pt x="537" y="1063"/>
                    <a:pt x="541" y="1065"/>
                    <a:pt x="542" y="1065"/>
                  </a:cubicBezTo>
                  <a:cubicBezTo>
                    <a:pt x="542" y="1065"/>
                    <a:pt x="545" y="1065"/>
                    <a:pt x="545" y="1065"/>
                  </a:cubicBezTo>
                  <a:cubicBezTo>
                    <a:pt x="545" y="1065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5" y="1063"/>
                    <a:pt x="545" y="1063"/>
                  </a:cubicBezTo>
                  <a:cubicBezTo>
                    <a:pt x="542" y="1059"/>
                    <a:pt x="541" y="1054"/>
                    <a:pt x="537" y="1054"/>
                  </a:cubicBezTo>
                  <a:cubicBezTo>
                    <a:pt x="537" y="1054"/>
                    <a:pt x="526" y="1056"/>
                    <a:pt x="528" y="1053"/>
                  </a:cubicBezTo>
                  <a:cubicBezTo>
                    <a:pt x="531" y="1049"/>
                    <a:pt x="539" y="1048"/>
                    <a:pt x="543" y="1050"/>
                  </a:cubicBezTo>
                  <a:cubicBezTo>
                    <a:pt x="545" y="1051"/>
                    <a:pt x="540" y="1045"/>
                    <a:pt x="541" y="1044"/>
                  </a:cubicBezTo>
                  <a:cubicBezTo>
                    <a:pt x="544" y="1042"/>
                    <a:pt x="547" y="1047"/>
                    <a:pt x="548" y="1048"/>
                  </a:cubicBezTo>
                  <a:cubicBezTo>
                    <a:pt x="549" y="1049"/>
                    <a:pt x="551" y="1051"/>
                    <a:pt x="550" y="1048"/>
                  </a:cubicBezTo>
                  <a:cubicBezTo>
                    <a:pt x="550" y="1046"/>
                    <a:pt x="555" y="1046"/>
                    <a:pt x="556" y="1045"/>
                  </a:cubicBezTo>
                  <a:cubicBezTo>
                    <a:pt x="558" y="1041"/>
                    <a:pt x="549" y="1036"/>
                    <a:pt x="551" y="1033"/>
                  </a:cubicBezTo>
                  <a:cubicBezTo>
                    <a:pt x="561" y="1022"/>
                    <a:pt x="575" y="1056"/>
                    <a:pt x="577" y="1055"/>
                  </a:cubicBezTo>
                  <a:cubicBezTo>
                    <a:pt x="579" y="1054"/>
                    <a:pt x="588" y="1050"/>
                    <a:pt x="589" y="1056"/>
                  </a:cubicBezTo>
                  <a:cubicBezTo>
                    <a:pt x="590" y="1060"/>
                    <a:pt x="577" y="1071"/>
                    <a:pt x="579" y="1073"/>
                  </a:cubicBezTo>
                  <a:cubicBezTo>
                    <a:pt x="580" y="1074"/>
                    <a:pt x="585" y="1067"/>
                    <a:pt x="585" y="1066"/>
                  </a:cubicBezTo>
                  <a:cubicBezTo>
                    <a:pt x="588" y="1063"/>
                    <a:pt x="593" y="1054"/>
                    <a:pt x="595" y="1053"/>
                  </a:cubicBezTo>
                  <a:cubicBezTo>
                    <a:pt x="596" y="1053"/>
                    <a:pt x="617" y="1050"/>
                    <a:pt x="617" y="1049"/>
                  </a:cubicBezTo>
                  <a:cubicBezTo>
                    <a:pt x="618" y="1046"/>
                    <a:pt x="593" y="1057"/>
                    <a:pt x="599" y="1045"/>
                  </a:cubicBezTo>
                  <a:cubicBezTo>
                    <a:pt x="605" y="1035"/>
                    <a:pt x="607" y="1042"/>
                    <a:pt x="613" y="1038"/>
                  </a:cubicBezTo>
                  <a:cubicBezTo>
                    <a:pt x="615" y="1037"/>
                    <a:pt x="628" y="1032"/>
                    <a:pt x="628" y="1031"/>
                  </a:cubicBezTo>
                  <a:cubicBezTo>
                    <a:pt x="627" y="1028"/>
                    <a:pt x="616" y="1034"/>
                    <a:pt x="615" y="1032"/>
                  </a:cubicBezTo>
                  <a:cubicBezTo>
                    <a:pt x="612" y="1028"/>
                    <a:pt x="599" y="1040"/>
                    <a:pt x="594" y="1014"/>
                  </a:cubicBezTo>
                  <a:cubicBezTo>
                    <a:pt x="594" y="1014"/>
                    <a:pt x="602" y="1011"/>
                    <a:pt x="603" y="1011"/>
                  </a:cubicBezTo>
                  <a:cubicBezTo>
                    <a:pt x="612" y="1007"/>
                    <a:pt x="631" y="1004"/>
                    <a:pt x="634" y="1001"/>
                  </a:cubicBezTo>
                  <a:cubicBezTo>
                    <a:pt x="638" y="996"/>
                    <a:pt x="621" y="1001"/>
                    <a:pt x="616" y="997"/>
                  </a:cubicBezTo>
                  <a:cubicBezTo>
                    <a:pt x="613" y="994"/>
                    <a:pt x="626" y="996"/>
                    <a:pt x="629" y="992"/>
                  </a:cubicBezTo>
                  <a:cubicBezTo>
                    <a:pt x="629" y="991"/>
                    <a:pt x="617" y="997"/>
                    <a:pt x="617" y="994"/>
                  </a:cubicBezTo>
                  <a:cubicBezTo>
                    <a:pt x="618" y="987"/>
                    <a:pt x="657" y="975"/>
                    <a:pt x="662" y="977"/>
                  </a:cubicBezTo>
                  <a:cubicBezTo>
                    <a:pt x="662" y="977"/>
                    <a:pt x="668" y="982"/>
                    <a:pt x="668" y="979"/>
                  </a:cubicBezTo>
                  <a:cubicBezTo>
                    <a:pt x="668" y="977"/>
                    <a:pt x="664" y="976"/>
                    <a:pt x="663" y="975"/>
                  </a:cubicBezTo>
                  <a:cubicBezTo>
                    <a:pt x="638" y="962"/>
                    <a:pt x="601" y="1013"/>
                    <a:pt x="581" y="1010"/>
                  </a:cubicBezTo>
                  <a:cubicBezTo>
                    <a:pt x="580" y="1010"/>
                    <a:pt x="598" y="1002"/>
                    <a:pt x="598" y="998"/>
                  </a:cubicBezTo>
                  <a:cubicBezTo>
                    <a:pt x="596" y="994"/>
                    <a:pt x="574" y="1004"/>
                    <a:pt x="583" y="994"/>
                  </a:cubicBezTo>
                  <a:cubicBezTo>
                    <a:pt x="584" y="992"/>
                    <a:pt x="624" y="988"/>
                    <a:pt x="621" y="984"/>
                  </a:cubicBezTo>
                  <a:cubicBezTo>
                    <a:pt x="620" y="982"/>
                    <a:pt x="583" y="996"/>
                    <a:pt x="581" y="991"/>
                  </a:cubicBezTo>
                  <a:cubicBezTo>
                    <a:pt x="581" y="991"/>
                    <a:pt x="581" y="991"/>
                    <a:pt x="581" y="991"/>
                  </a:cubicBezTo>
                  <a:cubicBezTo>
                    <a:pt x="582" y="990"/>
                    <a:pt x="582" y="989"/>
                    <a:pt x="582" y="988"/>
                  </a:cubicBezTo>
                  <a:cubicBezTo>
                    <a:pt x="586" y="985"/>
                    <a:pt x="596" y="984"/>
                    <a:pt x="603" y="983"/>
                  </a:cubicBezTo>
                  <a:cubicBezTo>
                    <a:pt x="605" y="984"/>
                    <a:pt x="608" y="983"/>
                    <a:pt x="610" y="982"/>
                  </a:cubicBezTo>
                  <a:cubicBezTo>
                    <a:pt x="611" y="982"/>
                    <a:pt x="612" y="982"/>
                    <a:pt x="612" y="982"/>
                  </a:cubicBezTo>
                  <a:cubicBezTo>
                    <a:pt x="612" y="982"/>
                    <a:pt x="611" y="982"/>
                    <a:pt x="610" y="982"/>
                  </a:cubicBezTo>
                  <a:cubicBezTo>
                    <a:pt x="609" y="983"/>
                    <a:pt x="606" y="983"/>
                    <a:pt x="603" y="983"/>
                  </a:cubicBezTo>
                  <a:cubicBezTo>
                    <a:pt x="602" y="982"/>
                    <a:pt x="602" y="982"/>
                    <a:pt x="602" y="980"/>
                  </a:cubicBezTo>
                  <a:cubicBezTo>
                    <a:pt x="602" y="979"/>
                    <a:pt x="605" y="979"/>
                    <a:pt x="606" y="979"/>
                  </a:cubicBezTo>
                  <a:cubicBezTo>
                    <a:pt x="614" y="973"/>
                    <a:pt x="621" y="982"/>
                    <a:pt x="633" y="973"/>
                  </a:cubicBezTo>
                  <a:cubicBezTo>
                    <a:pt x="634" y="972"/>
                    <a:pt x="641" y="951"/>
                    <a:pt x="649" y="965"/>
                  </a:cubicBezTo>
                  <a:cubicBezTo>
                    <a:pt x="651" y="968"/>
                    <a:pt x="657" y="962"/>
                    <a:pt x="660" y="963"/>
                  </a:cubicBezTo>
                  <a:cubicBezTo>
                    <a:pt x="664" y="964"/>
                    <a:pt x="663" y="971"/>
                    <a:pt x="665" y="971"/>
                  </a:cubicBezTo>
                  <a:cubicBezTo>
                    <a:pt x="669" y="971"/>
                    <a:pt x="664" y="965"/>
                    <a:pt x="665" y="963"/>
                  </a:cubicBezTo>
                  <a:cubicBezTo>
                    <a:pt x="668" y="958"/>
                    <a:pt x="731" y="944"/>
                    <a:pt x="733" y="921"/>
                  </a:cubicBezTo>
                  <a:cubicBezTo>
                    <a:pt x="733" y="917"/>
                    <a:pt x="722" y="928"/>
                    <a:pt x="721" y="929"/>
                  </a:cubicBezTo>
                  <a:cubicBezTo>
                    <a:pt x="712" y="936"/>
                    <a:pt x="695" y="955"/>
                    <a:pt x="682" y="948"/>
                  </a:cubicBezTo>
                  <a:cubicBezTo>
                    <a:pt x="681" y="947"/>
                    <a:pt x="680" y="945"/>
                    <a:pt x="682" y="944"/>
                  </a:cubicBezTo>
                  <a:cubicBezTo>
                    <a:pt x="683" y="943"/>
                    <a:pt x="694" y="942"/>
                    <a:pt x="692" y="940"/>
                  </a:cubicBezTo>
                  <a:cubicBezTo>
                    <a:pt x="691" y="939"/>
                    <a:pt x="688" y="940"/>
                    <a:pt x="687" y="938"/>
                  </a:cubicBezTo>
                  <a:cubicBezTo>
                    <a:pt x="686" y="933"/>
                    <a:pt x="676" y="938"/>
                    <a:pt x="682" y="933"/>
                  </a:cubicBezTo>
                  <a:cubicBezTo>
                    <a:pt x="685" y="931"/>
                    <a:pt x="711" y="934"/>
                    <a:pt x="712" y="932"/>
                  </a:cubicBezTo>
                  <a:cubicBezTo>
                    <a:pt x="712" y="930"/>
                    <a:pt x="702" y="928"/>
                    <a:pt x="701" y="930"/>
                  </a:cubicBezTo>
                  <a:cubicBezTo>
                    <a:pt x="697" y="933"/>
                    <a:pt x="687" y="929"/>
                    <a:pt x="681" y="929"/>
                  </a:cubicBezTo>
                  <a:cubicBezTo>
                    <a:pt x="679" y="929"/>
                    <a:pt x="672" y="938"/>
                    <a:pt x="670" y="935"/>
                  </a:cubicBezTo>
                  <a:cubicBezTo>
                    <a:pt x="670" y="935"/>
                    <a:pt x="679" y="924"/>
                    <a:pt x="680" y="924"/>
                  </a:cubicBezTo>
                  <a:cubicBezTo>
                    <a:pt x="689" y="923"/>
                    <a:pt x="692" y="908"/>
                    <a:pt x="704" y="918"/>
                  </a:cubicBezTo>
                  <a:cubicBezTo>
                    <a:pt x="705" y="918"/>
                    <a:pt x="708" y="924"/>
                    <a:pt x="709" y="920"/>
                  </a:cubicBezTo>
                  <a:cubicBezTo>
                    <a:pt x="710" y="919"/>
                    <a:pt x="700" y="914"/>
                    <a:pt x="694" y="908"/>
                  </a:cubicBezTo>
                  <a:cubicBezTo>
                    <a:pt x="694" y="907"/>
                    <a:pt x="689" y="903"/>
                    <a:pt x="691" y="902"/>
                  </a:cubicBezTo>
                  <a:cubicBezTo>
                    <a:pt x="702" y="897"/>
                    <a:pt x="702" y="916"/>
                    <a:pt x="711" y="914"/>
                  </a:cubicBezTo>
                  <a:cubicBezTo>
                    <a:pt x="716" y="914"/>
                    <a:pt x="704" y="902"/>
                    <a:pt x="708" y="902"/>
                  </a:cubicBezTo>
                  <a:cubicBezTo>
                    <a:pt x="710" y="901"/>
                    <a:pt x="716" y="902"/>
                    <a:pt x="717" y="901"/>
                  </a:cubicBezTo>
                  <a:cubicBezTo>
                    <a:pt x="718" y="900"/>
                    <a:pt x="703" y="901"/>
                    <a:pt x="702" y="900"/>
                  </a:cubicBezTo>
                  <a:cubicBezTo>
                    <a:pt x="702" y="899"/>
                    <a:pt x="707" y="898"/>
                    <a:pt x="706" y="897"/>
                  </a:cubicBezTo>
                  <a:cubicBezTo>
                    <a:pt x="706" y="897"/>
                    <a:pt x="699" y="897"/>
                    <a:pt x="698" y="893"/>
                  </a:cubicBezTo>
                  <a:cubicBezTo>
                    <a:pt x="697" y="889"/>
                    <a:pt x="702" y="884"/>
                    <a:pt x="699" y="880"/>
                  </a:cubicBezTo>
                  <a:cubicBezTo>
                    <a:pt x="699" y="879"/>
                    <a:pt x="697" y="884"/>
                    <a:pt x="697" y="884"/>
                  </a:cubicBezTo>
                  <a:cubicBezTo>
                    <a:pt x="697" y="893"/>
                    <a:pt x="690" y="890"/>
                    <a:pt x="691" y="889"/>
                  </a:cubicBezTo>
                  <a:cubicBezTo>
                    <a:pt x="696" y="884"/>
                    <a:pt x="697" y="878"/>
                    <a:pt x="691" y="887"/>
                  </a:cubicBezTo>
                  <a:cubicBezTo>
                    <a:pt x="689" y="889"/>
                    <a:pt x="685" y="892"/>
                    <a:pt x="683" y="887"/>
                  </a:cubicBezTo>
                  <a:cubicBezTo>
                    <a:pt x="682" y="884"/>
                    <a:pt x="687" y="880"/>
                    <a:pt x="684" y="880"/>
                  </a:cubicBezTo>
                  <a:cubicBezTo>
                    <a:pt x="683" y="880"/>
                    <a:pt x="680" y="882"/>
                    <a:pt x="680" y="880"/>
                  </a:cubicBezTo>
                  <a:cubicBezTo>
                    <a:pt x="678" y="845"/>
                    <a:pt x="706" y="872"/>
                    <a:pt x="711" y="873"/>
                  </a:cubicBezTo>
                  <a:cubicBezTo>
                    <a:pt x="713" y="873"/>
                    <a:pt x="717" y="877"/>
                    <a:pt x="718" y="873"/>
                  </a:cubicBezTo>
                  <a:cubicBezTo>
                    <a:pt x="719" y="870"/>
                    <a:pt x="709" y="870"/>
                    <a:pt x="708" y="870"/>
                  </a:cubicBezTo>
                  <a:cubicBezTo>
                    <a:pt x="703" y="867"/>
                    <a:pt x="697" y="862"/>
                    <a:pt x="697" y="856"/>
                  </a:cubicBezTo>
                  <a:cubicBezTo>
                    <a:pt x="697" y="854"/>
                    <a:pt x="705" y="847"/>
                    <a:pt x="706" y="847"/>
                  </a:cubicBezTo>
                  <a:cubicBezTo>
                    <a:pt x="707" y="847"/>
                    <a:pt x="711" y="853"/>
                    <a:pt x="712" y="850"/>
                  </a:cubicBezTo>
                  <a:cubicBezTo>
                    <a:pt x="715" y="838"/>
                    <a:pt x="700" y="851"/>
                    <a:pt x="706" y="833"/>
                  </a:cubicBezTo>
                  <a:cubicBezTo>
                    <a:pt x="710" y="818"/>
                    <a:pt x="731" y="825"/>
                    <a:pt x="740" y="829"/>
                  </a:cubicBezTo>
                  <a:cubicBezTo>
                    <a:pt x="742" y="830"/>
                    <a:pt x="752" y="841"/>
                    <a:pt x="753" y="840"/>
                  </a:cubicBezTo>
                  <a:cubicBezTo>
                    <a:pt x="761" y="827"/>
                    <a:pt x="731" y="826"/>
                    <a:pt x="731" y="820"/>
                  </a:cubicBezTo>
                  <a:cubicBezTo>
                    <a:pt x="730" y="814"/>
                    <a:pt x="746" y="809"/>
                    <a:pt x="741" y="805"/>
                  </a:cubicBezTo>
                  <a:cubicBezTo>
                    <a:pt x="740" y="805"/>
                    <a:pt x="702" y="815"/>
                    <a:pt x="708" y="807"/>
                  </a:cubicBezTo>
                  <a:cubicBezTo>
                    <a:pt x="712" y="802"/>
                    <a:pt x="782" y="779"/>
                    <a:pt x="788" y="782"/>
                  </a:cubicBezTo>
                  <a:cubicBezTo>
                    <a:pt x="791" y="783"/>
                    <a:pt x="788" y="786"/>
                    <a:pt x="786" y="787"/>
                  </a:cubicBezTo>
                  <a:cubicBezTo>
                    <a:pt x="784" y="788"/>
                    <a:pt x="785" y="802"/>
                    <a:pt x="785" y="802"/>
                  </a:cubicBezTo>
                  <a:cubicBezTo>
                    <a:pt x="786" y="802"/>
                    <a:pt x="792" y="795"/>
                    <a:pt x="794" y="794"/>
                  </a:cubicBezTo>
                  <a:cubicBezTo>
                    <a:pt x="799" y="791"/>
                    <a:pt x="811" y="800"/>
                    <a:pt x="812" y="794"/>
                  </a:cubicBezTo>
                  <a:cubicBezTo>
                    <a:pt x="812" y="788"/>
                    <a:pt x="791" y="792"/>
                    <a:pt x="792" y="788"/>
                  </a:cubicBezTo>
                  <a:cubicBezTo>
                    <a:pt x="792" y="787"/>
                    <a:pt x="795" y="785"/>
                    <a:pt x="796" y="783"/>
                  </a:cubicBezTo>
                  <a:cubicBezTo>
                    <a:pt x="796" y="783"/>
                    <a:pt x="824" y="790"/>
                    <a:pt x="830" y="775"/>
                  </a:cubicBezTo>
                  <a:cubicBezTo>
                    <a:pt x="831" y="773"/>
                    <a:pt x="841" y="771"/>
                    <a:pt x="839" y="767"/>
                  </a:cubicBezTo>
                  <a:cubicBezTo>
                    <a:pt x="838" y="764"/>
                    <a:pt x="828" y="771"/>
                    <a:pt x="826" y="771"/>
                  </a:cubicBezTo>
                  <a:cubicBezTo>
                    <a:pt x="793" y="776"/>
                    <a:pt x="791" y="778"/>
                    <a:pt x="753" y="788"/>
                  </a:cubicBezTo>
                  <a:cubicBezTo>
                    <a:pt x="750" y="788"/>
                    <a:pt x="742" y="793"/>
                    <a:pt x="740" y="789"/>
                  </a:cubicBezTo>
                  <a:cubicBezTo>
                    <a:pt x="739" y="787"/>
                    <a:pt x="746" y="784"/>
                    <a:pt x="747" y="783"/>
                  </a:cubicBezTo>
                  <a:cubicBezTo>
                    <a:pt x="753" y="775"/>
                    <a:pt x="784" y="773"/>
                    <a:pt x="785" y="771"/>
                  </a:cubicBezTo>
                  <a:cubicBezTo>
                    <a:pt x="786" y="769"/>
                    <a:pt x="774" y="770"/>
                    <a:pt x="773" y="769"/>
                  </a:cubicBezTo>
                  <a:cubicBezTo>
                    <a:pt x="771" y="768"/>
                    <a:pt x="777" y="767"/>
                    <a:pt x="777" y="766"/>
                  </a:cubicBezTo>
                  <a:cubicBezTo>
                    <a:pt x="778" y="764"/>
                    <a:pt x="769" y="768"/>
                    <a:pt x="769" y="765"/>
                  </a:cubicBezTo>
                  <a:cubicBezTo>
                    <a:pt x="767" y="760"/>
                    <a:pt x="761" y="759"/>
                    <a:pt x="767" y="766"/>
                  </a:cubicBezTo>
                  <a:cubicBezTo>
                    <a:pt x="767" y="766"/>
                    <a:pt x="768" y="767"/>
                    <a:pt x="767" y="768"/>
                  </a:cubicBezTo>
                  <a:cubicBezTo>
                    <a:pt x="766" y="770"/>
                    <a:pt x="759" y="772"/>
                    <a:pt x="757" y="772"/>
                  </a:cubicBezTo>
                  <a:cubicBezTo>
                    <a:pt x="756" y="772"/>
                    <a:pt x="750" y="773"/>
                    <a:pt x="750" y="771"/>
                  </a:cubicBezTo>
                  <a:cubicBezTo>
                    <a:pt x="749" y="770"/>
                    <a:pt x="754" y="768"/>
                    <a:pt x="751" y="768"/>
                  </a:cubicBezTo>
                  <a:cubicBezTo>
                    <a:pt x="748" y="767"/>
                    <a:pt x="748" y="769"/>
                    <a:pt x="746" y="770"/>
                  </a:cubicBezTo>
                  <a:cubicBezTo>
                    <a:pt x="744" y="770"/>
                    <a:pt x="741" y="769"/>
                    <a:pt x="739" y="768"/>
                  </a:cubicBezTo>
                  <a:cubicBezTo>
                    <a:pt x="731" y="761"/>
                    <a:pt x="758" y="761"/>
                    <a:pt x="751" y="751"/>
                  </a:cubicBezTo>
                  <a:cubicBezTo>
                    <a:pt x="750" y="749"/>
                    <a:pt x="753" y="748"/>
                    <a:pt x="752" y="747"/>
                  </a:cubicBezTo>
                  <a:cubicBezTo>
                    <a:pt x="750" y="744"/>
                    <a:pt x="734" y="740"/>
                    <a:pt x="735" y="738"/>
                  </a:cubicBezTo>
                  <a:cubicBezTo>
                    <a:pt x="735" y="737"/>
                    <a:pt x="740" y="737"/>
                    <a:pt x="741" y="737"/>
                  </a:cubicBezTo>
                  <a:cubicBezTo>
                    <a:pt x="758" y="729"/>
                    <a:pt x="754" y="755"/>
                    <a:pt x="772" y="747"/>
                  </a:cubicBezTo>
                  <a:cubicBezTo>
                    <a:pt x="775" y="746"/>
                    <a:pt x="768" y="746"/>
                    <a:pt x="767" y="746"/>
                  </a:cubicBezTo>
                  <a:cubicBezTo>
                    <a:pt x="758" y="747"/>
                    <a:pt x="764" y="745"/>
                    <a:pt x="763" y="741"/>
                  </a:cubicBezTo>
                  <a:cubicBezTo>
                    <a:pt x="763" y="739"/>
                    <a:pt x="759" y="739"/>
                    <a:pt x="761" y="738"/>
                  </a:cubicBezTo>
                  <a:cubicBezTo>
                    <a:pt x="768" y="731"/>
                    <a:pt x="795" y="741"/>
                    <a:pt x="797" y="739"/>
                  </a:cubicBezTo>
                  <a:cubicBezTo>
                    <a:pt x="799" y="736"/>
                    <a:pt x="778" y="732"/>
                    <a:pt x="778" y="732"/>
                  </a:cubicBezTo>
                  <a:cubicBezTo>
                    <a:pt x="778" y="730"/>
                    <a:pt x="779" y="730"/>
                    <a:pt x="780" y="729"/>
                  </a:cubicBezTo>
                  <a:cubicBezTo>
                    <a:pt x="781" y="728"/>
                    <a:pt x="783" y="727"/>
                    <a:pt x="784" y="727"/>
                  </a:cubicBezTo>
                  <a:cubicBezTo>
                    <a:pt x="791" y="725"/>
                    <a:pt x="802" y="726"/>
                    <a:pt x="802" y="725"/>
                  </a:cubicBezTo>
                  <a:cubicBezTo>
                    <a:pt x="802" y="725"/>
                    <a:pt x="795" y="723"/>
                    <a:pt x="794" y="723"/>
                  </a:cubicBezTo>
                  <a:cubicBezTo>
                    <a:pt x="792" y="723"/>
                    <a:pt x="788" y="725"/>
                    <a:pt x="784" y="727"/>
                  </a:cubicBezTo>
                  <a:cubicBezTo>
                    <a:pt x="782" y="727"/>
                    <a:pt x="781" y="728"/>
                    <a:pt x="780" y="729"/>
                  </a:cubicBezTo>
                  <a:cubicBezTo>
                    <a:pt x="770" y="733"/>
                    <a:pt x="759" y="738"/>
                    <a:pt x="756" y="732"/>
                  </a:cubicBezTo>
                  <a:cubicBezTo>
                    <a:pt x="752" y="726"/>
                    <a:pt x="773" y="729"/>
                    <a:pt x="773" y="722"/>
                  </a:cubicBezTo>
                  <a:cubicBezTo>
                    <a:pt x="773" y="720"/>
                    <a:pt x="755" y="721"/>
                    <a:pt x="753" y="718"/>
                  </a:cubicBezTo>
                  <a:cubicBezTo>
                    <a:pt x="751" y="716"/>
                    <a:pt x="758" y="718"/>
                    <a:pt x="761" y="717"/>
                  </a:cubicBezTo>
                  <a:cubicBezTo>
                    <a:pt x="764" y="716"/>
                    <a:pt x="785" y="721"/>
                    <a:pt x="786" y="720"/>
                  </a:cubicBezTo>
                  <a:cubicBezTo>
                    <a:pt x="788" y="716"/>
                    <a:pt x="757" y="709"/>
                    <a:pt x="758" y="708"/>
                  </a:cubicBezTo>
                  <a:cubicBezTo>
                    <a:pt x="761" y="704"/>
                    <a:pt x="814" y="717"/>
                    <a:pt x="817" y="705"/>
                  </a:cubicBezTo>
                  <a:cubicBezTo>
                    <a:pt x="818" y="703"/>
                    <a:pt x="788" y="709"/>
                    <a:pt x="787" y="709"/>
                  </a:cubicBezTo>
                  <a:cubicBezTo>
                    <a:pt x="782" y="707"/>
                    <a:pt x="788" y="701"/>
                    <a:pt x="791" y="701"/>
                  </a:cubicBezTo>
                  <a:cubicBezTo>
                    <a:pt x="793" y="700"/>
                    <a:pt x="804" y="704"/>
                    <a:pt x="805" y="701"/>
                  </a:cubicBezTo>
                  <a:cubicBezTo>
                    <a:pt x="805" y="699"/>
                    <a:pt x="781" y="700"/>
                    <a:pt x="782" y="697"/>
                  </a:cubicBezTo>
                  <a:cubicBezTo>
                    <a:pt x="784" y="689"/>
                    <a:pt x="820" y="698"/>
                    <a:pt x="826" y="697"/>
                  </a:cubicBezTo>
                  <a:cubicBezTo>
                    <a:pt x="831" y="696"/>
                    <a:pt x="815" y="696"/>
                    <a:pt x="810" y="694"/>
                  </a:cubicBezTo>
                  <a:cubicBezTo>
                    <a:pt x="799" y="690"/>
                    <a:pt x="801" y="684"/>
                    <a:pt x="793" y="680"/>
                  </a:cubicBezTo>
                  <a:cubicBezTo>
                    <a:pt x="791" y="679"/>
                    <a:pt x="784" y="681"/>
                    <a:pt x="784" y="679"/>
                  </a:cubicBezTo>
                  <a:cubicBezTo>
                    <a:pt x="783" y="669"/>
                    <a:pt x="802" y="676"/>
                    <a:pt x="807" y="673"/>
                  </a:cubicBezTo>
                  <a:cubicBezTo>
                    <a:pt x="809" y="671"/>
                    <a:pt x="813" y="671"/>
                    <a:pt x="815" y="668"/>
                  </a:cubicBezTo>
                  <a:cubicBezTo>
                    <a:pt x="816" y="666"/>
                    <a:pt x="822" y="667"/>
                    <a:pt x="821" y="665"/>
                  </a:cubicBezTo>
                  <a:cubicBezTo>
                    <a:pt x="820" y="664"/>
                    <a:pt x="824" y="664"/>
                    <a:pt x="824" y="665"/>
                  </a:cubicBezTo>
                  <a:cubicBezTo>
                    <a:pt x="825" y="669"/>
                    <a:pt x="817" y="670"/>
                    <a:pt x="817" y="673"/>
                  </a:cubicBezTo>
                  <a:cubicBezTo>
                    <a:pt x="819" y="678"/>
                    <a:pt x="827" y="673"/>
                    <a:pt x="830" y="668"/>
                  </a:cubicBezTo>
                  <a:cubicBezTo>
                    <a:pt x="833" y="664"/>
                    <a:pt x="824" y="659"/>
                    <a:pt x="830" y="655"/>
                  </a:cubicBezTo>
                  <a:cubicBezTo>
                    <a:pt x="833" y="654"/>
                    <a:pt x="834" y="657"/>
                    <a:pt x="834" y="659"/>
                  </a:cubicBezTo>
                  <a:cubicBezTo>
                    <a:pt x="837" y="673"/>
                    <a:pt x="839" y="670"/>
                    <a:pt x="848" y="664"/>
                  </a:cubicBezTo>
                  <a:cubicBezTo>
                    <a:pt x="848" y="664"/>
                    <a:pt x="848" y="664"/>
                    <a:pt x="848" y="664"/>
                  </a:cubicBezTo>
                  <a:cubicBezTo>
                    <a:pt x="858" y="659"/>
                    <a:pt x="841" y="654"/>
                    <a:pt x="873" y="657"/>
                  </a:cubicBezTo>
                  <a:cubicBezTo>
                    <a:pt x="875" y="657"/>
                    <a:pt x="880" y="659"/>
                    <a:pt x="880" y="657"/>
                  </a:cubicBezTo>
                  <a:cubicBezTo>
                    <a:pt x="875" y="642"/>
                    <a:pt x="841" y="665"/>
                    <a:pt x="855" y="642"/>
                  </a:cubicBezTo>
                  <a:cubicBezTo>
                    <a:pt x="856" y="640"/>
                    <a:pt x="865" y="638"/>
                    <a:pt x="866" y="638"/>
                  </a:cubicBezTo>
                  <a:cubicBezTo>
                    <a:pt x="870" y="638"/>
                    <a:pt x="861" y="646"/>
                    <a:pt x="864" y="647"/>
                  </a:cubicBezTo>
                  <a:cubicBezTo>
                    <a:pt x="866" y="648"/>
                    <a:pt x="866" y="641"/>
                    <a:pt x="868" y="640"/>
                  </a:cubicBezTo>
                  <a:cubicBezTo>
                    <a:pt x="875" y="639"/>
                    <a:pt x="879" y="641"/>
                    <a:pt x="885" y="640"/>
                  </a:cubicBezTo>
                  <a:cubicBezTo>
                    <a:pt x="889" y="639"/>
                    <a:pt x="894" y="645"/>
                    <a:pt x="894" y="645"/>
                  </a:cubicBezTo>
                  <a:cubicBezTo>
                    <a:pt x="898" y="634"/>
                    <a:pt x="872" y="638"/>
                    <a:pt x="872" y="636"/>
                  </a:cubicBezTo>
                  <a:cubicBezTo>
                    <a:pt x="872" y="635"/>
                    <a:pt x="910" y="629"/>
                    <a:pt x="914" y="631"/>
                  </a:cubicBezTo>
                  <a:cubicBezTo>
                    <a:pt x="915" y="632"/>
                    <a:pt x="914" y="633"/>
                    <a:pt x="914" y="634"/>
                  </a:cubicBezTo>
                  <a:cubicBezTo>
                    <a:pt x="913" y="635"/>
                    <a:pt x="913" y="635"/>
                    <a:pt x="912" y="635"/>
                  </a:cubicBezTo>
                  <a:cubicBezTo>
                    <a:pt x="910" y="638"/>
                    <a:pt x="905" y="641"/>
                    <a:pt x="908" y="643"/>
                  </a:cubicBezTo>
                  <a:cubicBezTo>
                    <a:pt x="924" y="654"/>
                    <a:pt x="908" y="642"/>
                    <a:pt x="912" y="635"/>
                  </a:cubicBezTo>
                  <a:cubicBezTo>
                    <a:pt x="913" y="635"/>
                    <a:pt x="913" y="635"/>
                    <a:pt x="914" y="634"/>
                  </a:cubicBezTo>
                  <a:cubicBezTo>
                    <a:pt x="915" y="633"/>
                    <a:pt x="916" y="632"/>
                    <a:pt x="918" y="632"/>
                  </a:cubicBezTo>
                  <a:cubicBezTo>
                    <a:pt x="941" y="625"/>
                    <a:pt x="953" y="655"/>
                    <a:pt x="960" y="653"/>
                  </a:cubicBezTo>
                  <a:cubicBezTo>
                    <a:pt x="962" y="653"/>
                    <a:pt x="956" y="650"/>
                    <a:pt x="955" y="647"/>
                  </a:cubicBezTo>
                  <a:cubicBezTo>
                    <a:pt x="954" y="644"/>
                    <a:pt x="959" y="643"/>
                    <a:pt x="958" y="639"/>
                  </a:cubicBezTo>
                  <a:cubicBezTo>
                    <a:pt x="957" y="637"/>
                    <a:pt x="948" y="635"/>
                    <a:pt x="950" y="632"/>
                  </a:cubicBezTo>
                  <a:cubicBezTo>
                    <a:pt x="953" y="626"/>
                    <a:pt x="978" y="643"/>
                    <a:pt x="982" y="637"/>
                  </a:cubicBezTo>
                  <a:cubicBezTo>
                    <a:pt x="982" y="637"/>
                    <a:pt x="978" y="632"/>
                    <a:pt x="978" y="631"/>
                  </a:cubicBezTo>
                  <a:cubicBezTo>
                    <a:pt x="978" y="631"/>
                    <a:pt x="978" y="631"/>
                    <a:pt x="978" y="631"/>
                  </a:cubicBezTo>
                  <a:cubicBezTo>
                    <a:pt x="977" y="631"/>
                    <a:pt x="977" y="631"/>
                    <a:pt x="977" y="631"/>
                  </a:cubicBezTo>
                  <a:cubicBezTo>
                    <a:pt x="976" y="631"/>
                    <a:pt x="976" y="631"/>
                    <a:pt x="975" y="632"/>
                  </a:cubicBezTo>
                  <a:cubicBezTo>
                    <a:pt x="975" y="632"/>
                    <a:pt x="975" y="632"/>
                    <a:pt x="974" y="632"/>
                  </a:cubicBezTo>
                  <a:cubicBezTo>
                    <a:pt x="972" y="632"/>
                    <a:pt x="970" y="632"/>
                    <a:pt x="968" y="632"/>
                  </a:cubicBezTo>
                  <a:cubicBezTo>
                    <a:pt x="963" y="631"/>
                    <a:pt x="956" y="627"/>
                    <a:pt x="951" y="627"/>
                  </a:cubicBezTo>
                  <a:cubicBezTo>
                    <a:pt x="948" y="627"/>
                    <a:pt x="943" y="636"/>
                    <a:pt x="939" y="631"/>
                  </a:cubicBezTo>
                  <a:cubicBezTo>
                    <a:pt x="939" y="631"/>
                    <a:pt x="941" y="629"/>
                    <a:pt x="942" y="627"/>
                  </a:cubicBezTo>
                  <a:cubicBezTo>
                    <a:pt x="943" y="626"/>
                    <a:pt x="923" y="628"/>
                    <a:pt x="921" y="625"/>
                  </a:cubicBezTo>
                  <a:cubicBezTo>
                    <a:pt x="919" y="622"/>
                    <a:pt x="933" y="616"/>
                    <a:pt x="929" y="616"/>
                  </a:cubicBezTo>
                  <a:cubicBezTo>
                    <a:pt x="922" y="615"/>
                    <a:pt x="918" y="621"/>
                    <a:pt x="913" y="623"/>
                  </a:cubicBezTo>
                  <a:cubicBezTo>
                    <a:pt x="911" y="624"/>
                    <a:pt x="910" y="623"/>
                    <a:pt x="909" y="622"/>
                  </a:cubicBezTo>
                  <a:cubicBezTo>
                    <a:pt x="907" y="621"/>
                    <a:pt x="896" y="620"/>
                    <a:pt x="895" y="623"/>
                  </a:cubicBezTo>
                  <a:cubicBezTo>
                    <a:pt x="895" y="624"/>
                    <a:pt x="901" y="623"/>
                    <a:pt x="901" y="625"/>
                  </a:cubicBezTo>
                  <a:cubicBezTo>
                    <a:pt x="900" y="627"/>
                    <a:pt x="881" y="632"/>
                    <a:pt x="882" y="631"/>
                  </a:cubicBezTo>
                  <a:cubicBezTo>
                    <a:pt x="882" y="628"/>
                    <a:pt x="889" y="627"/>
                    <a:pt x="889" y="621"/>
                  </a:cubicBezTo>
                  <a:cubicBezTo>
                    <a:pt x="889" y="620"/>
                    <a:pt x="885" y="622"/>
                    <a:pt x="884" y="622"/>
                  </a:cubicBezTo>
                  <a:cubicBezTo>
                    <a:pt x="880" y="625"/>
                    <a:pt x="875" y="625"/>
                    <a:pt x="870" y="626"/>
                  </a:cubicBezTo>
                  <a:cubicBezTo>
                    <a:pt x="868" y="626"/>
                    <a:pt x="855" y="627"/>
                    <a:pt x="856" y="626"/>
                  </a:cubicBezTo>
                  <a:cubicBezTo>
                    <a:pt x="859" y="620"/>
                    <a:pt x="875" y="606"/>
                    <a:pt x="882" y="599"/>
                  </a:cubicBezTo>
                  <a:cubicBezTo>
                    <a:pt x="882" y="599"/>
                    <a:pt x="884" y="598"/>
                    <a:pt x="885" y="598"/>
                  </a:cubicBezTo>
                  <a:cubicBezTo>
                    <a:pt x="895" y="596"/>
                    <a:pt x="899" y="606"/>
                    <a:pt x="899" y="606"/>
                  </a:cubicBezTo>
                  <a:cubicBezTo>
                    <a:pt x="903" y="606"/>
                    <a:pt x="904" y="600"/>
                    <a:pt x="907" y="600"/>
                  </a:cubicBezTo>
                  <a:cubicBezTo>
                    <a:pt x="908" y="600"/>
                    <a:pt x="920" y="596"/>
                    <a:pt x="920" y="595"/>
                  </a:cubicBezTo>
                  <a:cubicBezTo>
                    <a:pt x="919" y="593"/>
                    <a:pt x="886" y="597"/>
                    <a:pt x="891" y="587"/>
                  </a:cubicBezTo>
                  <a:cubicBezTo>
                    <a:pt x="892" y="585"/>
                    <a:pt x="899" y="582"/>
                    <a:pt x="900" y="581"/>
                  </a:cubicBezTo>
                  <a:cubicBezTo>
                    <a:pt x="903" y="580"/>
                    <a:pt x="933" y="570"/>
                    <a:pt x="930" y="580"/>
                  </a:cubicBezTo>
                  <a:cubicBezTo>
                    <a:pt x="927" y="586"/>
                    <a:pt x="921" y="580"/>
                    <a:pt x="918" y="580"/>
                  </a:cubicBezTo>
                  <a:cubicBezTo>
                    <a:pt x="915" y="581"/>
                    <a:pt x="924" y="585"/>
                    <a:pt x="913" y="588"/>
                  </a:cubicBezTo>
                  <a:cubicBezTo>
                    <a:pt x="911" y="588"/>
                    <a:pt x="906" y="588"/>
                    <a:pt x="906" y="589"/>
                  </a:cubicBezTo>
                  <a:cubicBezTo>
                    <a:pt x="906" y="590"/>
                    <a:pt x="908" y="590"/>
                    <a:pt x="909" y="590"/>
                  </a:cubicBezTo>
                  <a:cubicBezTo>
                    <a:pt x="917" y="590"/>
                    <a:pt x="918" y="590"/>
                    <a:pt x="925" y="587"/>
                  </a:cubicBezTo>
                  <a:cubicBezTo>
                    <a:pt x="926" y="587"/>
                    <a:pt x="932" y="583"/>
                    <a:pt x="932" y="585"/>
                  </a:cubicBezTo>
                  <a:cubicBezTo>
                    <a:pt x="933" y="589"/>
                    <a:pt x="932" y="592"/>
                    <a:pt x="929" y="594"/>
                  </a:cubicBezTo>
                  <a:cubicBezTo>
                    <a:pt x="925" y="598"/>
                    <a:pt x="945" y="586"/>
                    <a:pt x="955" y="590"/>
                  </a:cubicBezTo>
                  <a:cubicBezTo>
                    <a:pt x="969" y="596"/>
                    <a:pt x="965" y="632"/>
                    <a:pt x="977" y="618"/>
                  </a:cubicBezTo>
                  <a:cubicBezTo>
                    <a:pt x="979" y="617"/>
                    <a:pt x="962" y="602"/>
                    <a:pt x="965" y="590"/>
                  </a:cubicBezTo>
                  <a:cubicBezTo>
                    <a:pt x="966" y="584"/>
                    <a:pt x="980" y="579"/>
                    <a:pt x="985" y="578"/>
                  </a:cubicBezTo>
                  <a:cubicBezTo>
                    <a:pt x="987" y="578"/>
                    <a:pt x="996" y="579"/>
                    <a:pt x="996" y="577"/>
                  </a:cubicBezTo>
                  <a:cubicBezTo>
                    <a:pt x="996" y="574"/>
                    <a:pt x="983" y="574"/>
                    <a:pt x="982" y="575"/>
                  </a:cubicBezTo>
                  <a:cubicBezTo>
                    <a:pt x="969" y="579"/>
                    <a:pt x="951" y="591"/>
                    <a:pt x="937" y="582"/>
                  </a:cubicBezTo>
                  <a:cubicBezTo>
                    <a:pt x="933" y="580"/>
                    <a:pt x="938" y="571"/>
                    <a:pt x="940" y="571"/>
                  </a:cubicBezTo>
                  <a:cubicBezTo>
                    <a:pt x="946" y="571"/>
                    <a:pt x="958" y="579"/>
                    <a:pt x="957" y="574"/>
                  </a:cubicBezTo>
                  <a:cubicBezTo>
                    <a:pt x="956" y="568"/>
                    <a:pt x="945" y="563"/>
                    <a:pt x="938" y="568"/>
                  </a:cubicBezTo>
                  <a:cubicBezTo>
                    <a:pt x="937" y="569"/>
                    <a:pt x="931" y="571"/>
                    <a:pt x="931" y="568"/>
                  </a:cubicBezTo>
                  <a:cubicBezTo>
                    <a:pt x="932" y="556"/>
                    <a:pt x="944" y="552"/>
                    <a:pt x="962" y="559"/>
                  </a:cubicBezTo>
                  <a:cubicBezTo>
                    <a:pt x="964" y="560"/>
                    <a:pt x="961" y="553"/>
                    <a:pt x="968" y="557"/>
                  </a:cubicBezTo>
                  <a:cubicBezTo>
                    <a:pt x="969" y="558"/>
                    <a:pt x="974" y="558"/>
                    <a:pt x="974" y="558"/>
                  </a:cubicBezTo>
                  <a:cubicBezTo>
                    <a:pt x="973" y="557"/>
                    <a:pt x="949" y="551"/>
                    <a:pt x="951" y="549"/>
                  </a:cubicBezTo>
                  <a:cubicBezTo>
                    <a:pt x="957" y="544"/>
                    <a:pt x="979" y="548"/>
                    <a:pt x="982" y="554"/>
                  </a:cubicBezTo>
                  <a:cubicBezTo>
                    <a:pt x="984" y="557"/>
                    <a:pt x="992" y="560"/>
                    <a:pt x="990" y="556"/>
                  </a:cubicBezTo>
                  <a:cubicBezTo>
                    <a:pt x="978" y="537"/>
                    <a:pt x="975" y="547"/>
                    <a:pt x="960" y="543"/>
                  </a:cubicBezTo>
                  <a:cubicBezTo>
                    <a:pt x="952" y="540"/>
                    <a:pt x="956" y="531"/>
                    <a:pt x="953" y="531"/>
                  </a:cubicBezTo>
                  <a:cubicBezTo>
                    <a:pt x="951" y="530"/>
                    <a:pt x="953" y="535"/>
                    <a:pt x="952" y="536"/>
                  </a:cubicBezTo>
                  <a:cubicBezTo>
                    <a:pt x="950" y="536"/>
                    <a:pt x="952" y="529"/>
                    <a:pt x="948" y="531"/>
                  </a:cubicBezTo>
                  <a:cubicBezTo>
                    <a:pt x="946" y="532"/>
                    <a:pt x="952" y="539"/>
                    <a:pt x="947" y="542"/>
                  </a:cubicBezTo>
                  <a:cubicBezTo>
                    <a:pt x="937" y="549"/>
                    <a:pt x="907" y="573"/>
                    <a:pt x="892" y="563"/>
                  </a:cubicBezTo>
                  <a:cubicBezTo>
                    <a:pt x="890" y="561"/>
                    <a:pt x="901" y="557"/>
                    <a:pt x="903" y="556"/>
                  </a:cubicBezTo>
                  <a:cubicBezTo>
                    <a:pt x="908" y="553"/>
                    <a:pt x="893" y="552"/>
                    <a:pt x="897" y="551"/>
                  </a:cubicBezTo>
                  <a:cubicBezTo>
                    <a:pt x="903" y="549"/>
                    <a:pt x="913" y="550"/>
                    <a:pt x="920" y="550"/>
                  </a:cubicBezTo>
                  <a:cubicBezTo>
                    <a:pt x="921" y="550"/>
                    <a:pt x="925" y="550"/>
                    <a:pt x="926" y="549"/>
                  </a:cubicBezTo>
                  <a:cubicBezTo>
                    <a:pt x="927" y="545"/>
                    <a:pt x="917" y="548"/>
                    <a:pt x="915" y="546"/>
                  </a:cubicBezTo>
                  <a:cubicBezTo>
                    <a:pt x="911" y="542"/>
                    <a:pt x="895" y="547"/>
                    <a:pt x="894" y="539"/>
                  </a:cubicBezTo>
                  <a:cubicBezTo>
                    <a:pt x="893" y="534"/>
                    <a:pt x="924" y="535"/>
                    <a:pt x="925" y="531"/>
                  </a:cubicBezTo>
                  <a:cubicBezTo>
                    <a:pt x="925" y="530"/>
                    <a:pt x="902" y="532"/>
                    <a:pt x="902" y="532"/>
                  </a:cubicBezTo>
                  <a:cubicBezTo>
                    <a:pt x="905" y="528"/>
                    <a:pt x="934" y="520"/>
                    <a:pt x="935" y="528"/>
                  </a:cubicBezTo>
                  <a:cubicBezTo>
                    <a:pt x="935" y="530"/>
                    <a:pt x="931" y="531"/>
                    <a:pt x="932" y="534"/>
                  </a:cubicBezTo>
                  <a:cubicBezTo>
                    <a:pt x="933" y="535"/>
                    <a:pt x="939" y="530"/>
                    <a:pt x="940" y="529"/>
                  </a:cubicBezTo>
                  <a:cubicBezTo>
                    <a:pt x="942" y="527"/>
                    <a:pt x="957" y="518"/>
                    <a:pt x="964" y="520"/>
                  </a:cubicBezTo>
                  <a:cubicBezTo>
                    <a:pt x="966" y="521"/>
                    <a:pt x="957" y="529"/>
                    <a:pt x="962" y="531"/>
                  </a:cubicBezTo>
                  <a:cubicBezTo>
                    <a:pt x="962" y="531"/>
                    <a:pt x="969" y="519"/>
                    <a:pt x="979" y="516"/>
                  </a:cubicBezTo>
                  <a:cubicBezTo>
                    <a:pt x="988" y="513"/>
                    <a:pt x="988" y="524"/>
                    <a:pt x="991" y="524"/>
                  </a:cubicBezTo>
                  <a:cubicBezTo>
                    <a:pt x="998" y="524"/>
                    <a:pt x="995" y="509"/>
                    <a:pt x="1001" y="507"/>
                  </a:cubicBezTo>
                  <a:cubicBezTo>
                    <a:pt x="1002" y="507"/>
                    <a:pt x="1002" y="507"/>
                    <a:pt x="1003" y="507"/>
                  </a:cubicBezTo>
                  <a:cubicBezTo>
                    <a:pt x="1003" y="507"/>
                    <a:pt x="1004" y="508"/>
                    <a:pt x="1004" y="508"/>
                  </a:cubicBezTo>
                  <a:cubicBezTo>
                    <a:pt x="1005" y="508"/>
                    <a:pt x="1001" y="508"/>
                    <a:pt x="1003" y="508"/>
                  </a:cubicBezTo>
                  <a:cubicBezTo>
                    <a:pt x="1003" y="508"/>
                    <a:pt x="1005" y="508"/>
                    <a:pt x="1005" y="507"/>
                  </a:cubicBezTo>
                  <a:cubicBezTo>
                    <a:pt x="1010" y="503"/>
                    <a:pt x="995" y="509"/>
                    <a:pt x="992" y="503"/>
                  </a:cubicBezTo>
                  <a:cubicBezTo>
                    <a:pt x="991" y="500"/>
                    <a:pt x="997" y="502"/>
                    <a:pt x="996" y="499"/>
                  </a:cubicBezTo>
                  <a:cubicBezTo>
                    <a:pt x="995" y="497"/>
                    <a:pt x="990" y="499"/>
                    <a:pt x="989" y="500"/>
                  </a:cubicBezTo>
                  <a:cubicBezTo>
                    <a:pt x="985" y="505"/>
                    <a:pt x="979" y="503"/>
                    <a:pt x="972" y="503"/>
                  </a:cubicBezTo>
                  <a:cubicBezTo>
                    <a:pt x="969" y="503"/>
                    <a:pt x="965" y="494"/>
                    <a:pt x="962" y="496"/>
                  </a:cubicBezTo>
                  <a:cubicBezTo>
                    <a:pt x="960" y="498"/>
                    <a:pt x="956" y="506"/>
                    <a:pt x="954" y="508"/>
                  </a:cubicBezTo>
                  <a:cubicBezTo>
                    <a:pt x="952" y="509"/>
                    <a:pt x="952" y="510"/>
                    <a:pt x="950" y="509"/>
                  </a:cubicBezTo>
                  <a:cubicBezTo>
                    <a:pt x="948" y="508"/>
                    <a:pt x="939" y="508"/>
                    <a:pt x="941" y="502"/>
                  </a:cubicBezTo>
                  <a:cubicBezTo>
                    <a:pt x="945" y="488"/>
                    <a:pt x="963" y="491"/>
                    <a:pt x="967" y="491"/>
                  </a:cubicBezTo>
                  <a:cubicBezTo>
                    <a:pt x="970" y="491"/>
                    <a:pt x="974" y="481"/>
                    <a:pt x="975" y="482"/>
                  </a:cubicBezTo>
                  <a:cubicBezTo>
                    <a:pt x="977" y="487"/>
                    <a:pt x="988" y="494"/>
                    <a:pt x="972" y="493"/>
                  </a:cubicBezTo>
                  <a:cubicBezTo>
                    <a:pt x="970" y="493"/>
                    <a:pt x="972" y="500"/>
                    <a:pt x="977" y="499"/>
                  </a:cubicBezTo>
                  <a:cubicBezTo>
                    <a:pt x="1005" y="493"/>
                    <a:pt x="996" y="463"/>
                    <a:pt x="1008" y="470"/>
                  </a:cubicBezTo>
                  <a:cubicBezTo>
                    <a:pt x="1012" y="473"/>
                    <a:pt x="1007" y="481"/>
                    <a:pt x="1008" y="482"/>
                  </a:cubicBezTo>
                  <a:cubicBezTo>
                    <a:pt x="1009" y="483"/>
                    <a:pt x="1013" y="480"/>
                    <a:pt x="1014" y="482"/>
                  </a:cubicBezTo>
                  <a:cubicBezTo>
                    <a:pt x="1015" y="484"/>
                    <a:pt x="1013" y="489"/>
                    <a:pt x="1011" y="490"/>
                  </a:cubicBezTo>
                  <a:cubicBezTo>
                    <a:pt x="1009" y="494"/>
                    <a:pt x="1009" y="501"/>
                    <a:pt x="1010" y="505"/>
                  </a:cubicBezTo>
                  <a:cubicBezTo>
                    <a:pt x="1012" y="510"/>
                    <a:pt x="1043" y="543"/>
                    <a:pt x="1050" y="540"/>
                  </a:cubicBezTo>
                  <a:cubicBezTo>
                    <a:pt x="1051" y="540"/>
                    <a:pt x="1041" y="536"/>
                    <a:pt x="1045" y="533"/>
                  </a:cubicBezTo>
                  <a:cubicBezTo>
                    <a:pt x="1047" y="531"/>
                    <a:pt x="1042" y="530"/>
                    <a:pt x="1041" y="529"/>
                  </a:cubicBezTo>
                  <a:cubicBezTo>
                    <a:pt x="1032" y="524"/>
                    <a:pt x="1025" y="523"/>
                    <a:pt x="1029" y="513"/>
                  </a:cubicBezTo>
                  <a:cubicBezTo>
                    <a:pt x="1030" y="511"/>
                    <a:pt x="1021" y="509"/>
                    <a:pt x="1023" y="508"/>
                  </a:cubicBezTo>
                  <a:cubicBezTo>
                    <a:pt x="1032" y="501"/>
                    <a:pt x="1038" y="524"/>
                    <a:pt x="1045" y="524"/>
                  </a:cubicBezTo>
                  <a:cubicBezTo>
                    <a:pt x="1052" y="524"/>
                    <a:pt x="1033" y="510"/>
                    <a:pt x="1034" y="508"/>
                  </a:cubicBezTo>
                  <a:cubicBezTo>
                    <a:pt x="1036" y="502"/>
                    <a:pt x="1050" y="522"/>
                    <a:pt x="1053" y="514"/>
                  </a:cubicBezTo>
                  <a:cubicBezTo>
                    <a:pt x="1053" y="514"/>
                    <a:pt x="1047" y="513"/>
                    <a:pt x="1046" y="512"/>
                  </a:cubicBezTo>
                  <a:cubicBezTo>
                    <a:pt x="1043" y="510"/>
                    <a:pt x="1050" y="508"/>
                    <a:pt x="1049" y="506"/>
                  </a:cubicBezTo>
                  <a:cubicBezTo>
                    <a:pt x="1048" y="504"/>
                    <a:pt x="1036" y="506"/>
                    <a:pt x="1037" y="502"/>
                  </a:cubicBezTo>
                  <a:cubicBezTo>
                    <a:pt x="1040" y="491"/>
                    <a:pt x="1069" y="498"/>
                    <a:pt x="1068" y="497"/>
                  </a:cubicBezTo>
                  <a:cubicBezTo>
                    <a:pt x="1057" y="486"/>
                    <a:pt x="1044" y="497"/>
                    <a:pt x="1035" y="496"/>
                  </a:cubicBezTo>
                  <a:cubicBezTo>
                    <a:pt x="1029" y="495"/>
                    <a:pt x="1032" y="492"/>
                    <a:pt x="1027" y="489"/>
                  </a:cubicBezTo>
                  <a:cubicBezTo>
                    <a:pt x="1027" y="489"/>
                    <a:pt x="1026" y="489"/>
                    <a:pt x="1026" y="488"/>
                  </a:cubicBezTo>
                  <a:cubicBezTo>
                    <a:pt x="1027" y="487"/>
                    <a:pt x="1040" y="488"/>
                    <a:pt x="1041" y="487"/>
                  </a:cubicBezTo>
                  <a:cubicBezTo>
                    <a:pt x="1044" y="487"/>
                    <a:pt x="1040" y="480"/>
                    <a:pt x="1043" y="480"/>
                  </a:cubicBezTo>
                  <a:cubicBezTo>
                    <a:pt x="1044" y="481"/>
                    <a:pt x="1054" y="486"/>
                    <a:pt x="1054" y="483"/>
                  </a:cubicBezTo>
                  <a:cubicBezTo>
                    <a:pt x="1055" y="482"/>
                    <a:pt x="1052" y="480"/>
                    <a:pt x="1051" y="480"/>
                  </a:cubicBezTo>
                  <a:cubicBezTo>
                    <a:pt x="1046" y="478"/>
                    <a:pt x="1048" y="476"/>
                    <a:pt x="1046" y="474"/>
                  </a:cubicBezTo>
                  <a:cubicBezTo>
                    <a:pt x="1044" y="473"/>
                    <a:pt x="1030" y="478"/>
                    <a:pt x="1026" y="478"/>
                  </a:cubicBezTo>
                  <a:cubicBezTo>
                    <a:pt x="1025" y="478"/>
                    <a:pt x="1020" y="478"/>
                    <a:pt x="1019" y="477"/>
                  </a:cubicBezTo>
                  <a:cubicBezTo>
                    <a:pt x="1015" y="473"/>
                    <a:pt x="1034" y="472"/>
                    <a:pt x="1033" y="470"/>
                  </a:cubicBezTo>
                  <a:cubicBezTo>
                    <a:pt x="1032" y="469"/>
                    <a:pt x="1013" y="465"/>
                    <a:pt x="1014" y="464"/>
                  </a:cubicBezTo>
                  <a:cubicBezTo>
                    <a:pt x="1024" y="451"/>
                    <a:pt x="1048" y="467"/>
                    <a:pt x="1055" y="478"/>
                  </a:cubicBezTo>
                  <a:cubicBezTo>
                    <a:pt x="1057" y="480"/>
                    <a:pt x="1076" y="489"/>
                    <a:pt x="1077" y="487"/>
                  </a:cubicBezTo>
                  <a:cubicBezTo>
                    <a:pt x="1077" y="478"/>
                    <a:pt x="1029" y="455"/>
                    <a:pt x="1029" y="455"/>
                  </a:cubicBezTo>
                  <a:cubicBezTo>
                    <a:pt x="1031" y="453"/>
                    <a:pt x="1025" y="455"/>
                    <a:pt x="1024" y="454"/>
                  </a:cubicBezTo>
                  <a:cubicBezTo>
                    <a:pt x="1024" y="450"/>
                    <a:pt x="1059" y="446"/>
                    <a:pt x="1063" y="445"/>
                  </a:cubicBezTo>
                  <a:cubicBezTo>
                    <a:pt x="1066" y="445"/>
                    <a:pt x="1069" y="445"/>
                    <a:pt x="1073" y="447"/>
                  </a:cubicBezTo>
                  <a:cubicBezTo>
                    <a:pt x="1075" y="448"/>
                    <a:pt x="1077" y="448"/>
                    <a:pt x="1079" y="449"/>
                  </a:cubicBezTo>
                  <a:cubicBezTo>
                    <a:pt x="1086" y="451"/>
                    <a:pt x="1079" y="458"/>
                    <a:pt x="1079" y="458"/>
                  </a:cubicBezTo>
                  <a:cubicBezTo>
                    <a:pt x="1085" y="457"/>
                    <a:pt x="1094" y="451"/>
                    <a:pt x="1099" y="451"/>
                  </a:cubicBezTo>
                  <a:cubicBezTo>
                    <a:pt x="1113" y="452"/>
                    <a:pt x="1104" y="458"/>
                    <a:pt x="1114" y="463"/>
                  </a:cubicBezTo>
                  <a:cubicBezTo>
                    <a:pt x="1116" y="464"/>
                    <a:pt x="1123" y="466"/>
                    <a:pt x="1123" y="469"/>
                  </a:cubicBezTo>
                  <a:cubicBezTo>
                    <a:pt x="1123" y="470"/>
                    <a:pt x="1121" y="481"/>
                    <a:pt x="1122" y="482"/>
                  </a:cubicBezTo>
                  <a:cubicBezTo>
                    <a:pt x="1125" y="485"/>
                    <a:pt x="1127" y="474"/>
                    <a:pt x="1131" y="472"/>
                  </a:cubicBezTo>
                  <a:cubicBezTo>
                    <a:pt x="1131" y="472"/>
                    <a:pt x="1131" y="471"/>
                    <a:pt x="1131" y="471"/>
                  </a:cubicBezTo>
                  <a:cubicBezTo>
                    <a:pt x="1131" y="464"/>
                    <a:pt x="1106" y="456"/>
                    <a:pt x="1112" y="449"/>
                  </a:cubicBezTo>
                  <a:cubicBezTo>
                    <a:pt x="1118" y="442"/>
                    <a:pt x="1125" y="448"/>
                    <a:pt x="1135" y="452"/>
                  </a:cubicBezTo>
                  <a:cubicBezTo>
                    <a:pt x="1136" y="453"/>
                    <a:pt x="1147" y="454"/>
                    <a:pt x="1145" y="451"/>
                  </a:cubicBezTo>
                  <a:cubicBezTo>
                    <a:pt x="1145" y="449"/>
                    <a:pt x="1127" y="446"/>
                    <a:pt x="1128" y="443"/>
                  </a:cubicBezTo>
                  <a:cubicBezTo>
                    <a:pt x="1130" y="437"/>
                    <a:pt x="1156" y="444"/>
                    <a:pt x="1159" y="446"/>
                  </a:cubicBezTo>
                  <a:cubicBezTo>
                    <a:pt x="1163" y="448"/>
                    <a:pt x="1176" y="448"/>
                    <a:pt x="1172" y="447"/>
                  </a:cubicBezTo>
                  <a:cubicBezTo>
                    <a:pt x="1163" y="446"/>
                    <a:pt x="1157" y="440"/>
                    <a:pt x="1149" y="437"/>
                  </a:cubicBezTo>
                  <a:cubicBezTo>
                    <a:pt x="1147" y="437"/>
                    <a:pt x="1138" y="439"/>
                    <a:pt x="1136" y="437"/>
                  </a:cubicBezTo>
                  <a:cubicBezTo>
                    <a:pt x="1136" y="436"/>
                    <a:pt x="1147" y="426"/>
                    <a:pt x="1142" y="425"/>
                  </a:cubicBezTo>
                  <a:cubicBezTo>
                    <a:pt x="1127" y="421"/>
                    <a:pt x="1112" y="449"/>
                    <a:pt x="1095" y="439"/>
                  </a:cubicBezTo>
                  <a:cubicBezTo>
                    <a:pt x="1093" y="438"/>
                    <a:pt x="1095" y="437"/>
                    <a:pt x="1096" y="437"/>
                  </a:cubicBezTo>
                  <a:cubicBezTo>
                    <a:pt x="1107" y="436"/>
                    <a:pt x="1100" y="432"/>
                    <a:pt x="1094" y="429"/>
                  </a:cubicBezTo>
                  <a:cubicBezTo>
                    <a:pt x="1091" y="428"/>
                    <a:pt x="1054" y="450"/>
                    <a:pt x="1049" y="439"/>
                  </a:cubicBezTo>
                  <a:cubicBezTo>
                    <a:pt x="1041" y="421"/>
                    <a:pt x="1057" y="431"/>
                    <a:pt x="1061" y="424"/>
                  </a:cubicBezTo>
                  <a:cubicBezTo>
                    <a:pt x="1065" y="418"/>
                    <a:pt x="1040" y="417"/>
                    <a:pt x="1074" y="402"/>
                  </a:cubicBezTo>
                  <a:cubicBezTo>
                    <a:pt x="1090" y="396"/>
                    <a:pt x="1113" y="410"/>
                    <a:pt x="1104" y="404"/>
                  </a:cubicBezTo>
                  <a:cubicBezTo>
                    <a:pt x="1097" y="399"/>
                    <a:pt x="1114" y="395"/>
                    <a:pt x="1117" y="395"/>
                  </a:cubicBezTo>
                  <a:cubicBezTo>
                    <a:pt x="1122" y="394"/>
                    <a:pt x="1149" y="412"/>
                    <a:pt x="1155" y="405"/>
                  </a:cubicBezTo>
                  <a:cubicBezTo>
                    <a:pt x="1155" y="404"/>
                    <a:pt x="1153" y="403"/>
                    <a:pt x="1152" y="402"/>
                  </a:cubicBezTo>
                  <a:cubicBezTo>
                    <a:pt x="1149" y="400"/>
                    <a:pt x="1114" y="391"/>
                    <a:pt x="1115" y="389"/>
                  </a:cubicBezTo>
                  <a:cubicBezTo>
                    <a:pt x="1120" y="370"/>
                    <a:pt x="1163" y="392"/>
                    <a:pt x="1164" y="390"/>
                  </a:cubicBezTo>
                  <a:cubicBezTo>
                    <a:pt x="1169" y="383"/>
                    <a:pt x="1134" y="380"/>
                    <a:pt x="1136" y="377"/>
                  </a:cubicBezTo>
                  <a:cubicBezTo>
                    <a:pt x="1141" y="367"/>
                    <a:pt x="1169" y="373"/>
                    <a:pt x="1170" y="371"/>
                  </a:cubicBezTo>
                  <a:cubicBezTo>
                    <a:pt x="1170" y="370"/>
                    <a:pt x="1166" y="368"/>
                    <a:pt x="1165" y="367"/>
                  </a:cubicBezTo>
                  <a:cubicBezTo>
                    <a:pt x="1158" y="361"/>
                    <a:pt x="1150" y="361"/>
                    <a:pt x="1139" y="364"/>
                  </a:cubicBezTo>
                  <a:cubicBezTo>
                    <a:pt x="1138" y="365"/>
                    <a:pt x="1133" y="368"/>
                    <a:pt x="1133" y="366"/>
                  </a:cubicBezTo>
                  <a:cubicBezTo>
                    <a:pt x="1131" y="361"/>
                    <a:pt x="1140" y="359"/>
                    <a:pt x="1142" y="357"/>
                  </a:cubicBezTo>
                  <a:cubicBezTo>
                    <a:pt x="1143" y="356"/>
                    <a:pt x="1136" y="356"/>
                    <a:pt x="1152" y="339"/>
                  </a:cubicBezTo>
                  <a:cubicBezTo>
                    <a:pt x="1159" y="331"/>
                    <a:pt x="1161" y="336"/>
                    <a:pt x="1178" y="328"/>
                  </a:cubicBezTo>
                  <a:cubicBezTo>
                    <a:pt x="1180" y="327"/>
                    <a:pt x="1197" y="327"/>
                    <a:pt x="1197" y="326"/>
                  </a:cubicBezTo>
                  <a:cubicBezTo>
                    <a:pt x="1196" y="323"/>
                    <a:pt x="1189" y="325"/>
                    <a:pt x="1189" y="322"/>
                  </a:cubicBezTo>
                  <a:cubicBezTo>
                    <a:pt x="1189" y="320"/>
                    <a:pt x="1192" y="314"/>
                    <a:pt x="1191" y="313"/>
                  </a:cubicBezTo>
                  <a:cubicBezTo>
                    <a:pt x="1189" y="313"/>
                    <a:pt x="1180" y="317"/>
                    <a:pt x="1183" y="312"/>
                  </a:cubicBezTo>
                  <a:cubicBezTo>
                    <a:pt x="1188" y="304"/>
                    <a:pt x="1193" y="297"/>
                    <a:pt x="1198" y="289"/>
                  </a:cubicBezTo>
                  <a:cubicBezTo>
                    <a:pt x="1201" y="286"/>
                    <a:pt x="1195" y="280"/>
                    <a:pt x="1197" y="278"/>
                  </a:cubicBezTo>
                  <a:cubicBezTo>
                    <a:pt x="1202" y="271"/>
                    <a:pt x="1214" y="272"/>
                    <a:pt x="1217" y="282"/>
                  </a:cubicBezTo>
                  <a:cubicBezTo>
                    <a:pt x="1217" y="284"/>
                    <a:pt x="1213" y="289"/>
                    <a:pt x="1216" y="289"/>
                  </a:cubicBezTo>
                  <a:cubicBezTo>
                    <a:pt x="1219" y="290"/>
                    <a:pt x="1224" y="286"/>
                    <a:pt x="1227" y="291"/>
                  </a:cubicBezTo>
                  <a:cubicBezTo>
                    <a:pt x="1230" y="297"/>
                    <a:pt x="1224" y="312"/>
                    <a:pt x="1228" y="313"/>
                  </a:cubicBezTo>
                  <a:cubicBezTo>
                    <a:pt x="1232" y="314"/>
                    <a:pt x="1230" y="294"/>
                    <a:pt x="1233" y="293"/>
                  </a:cubicBezTo>
                  <a:cubicBezTo>
                    <a:pt x="1237" y="293"/>
                    <a:pt x="1235" y="302"/>
                    <a:pt x="1237" y="304"/>
                  </a:cubicBezTo>
                  <a:cubicBezTo>
                    <a:pt x="1249" y="316"/>
                    <a:pt x="1242" y="301"/>
                    <a:pt x="1243" y="300"/>
                  </a:cubicBezTo>
                  <a:cubicBezTo>
                    <a:pt x="1249" y="297"/>
                    <a:pt x="1273" y="305"/>
                    <a:pt x="1273" y="305"/>
                  </a:cubicBezTo>
                  <a:cubicBezTo>
                    <a:pt x="1274" y="303"/>
                    <a:pt x="1271" y="302"/>
                    <a:pt x="1270" y="301"/>
                  </a:cubicBezTo>
                  <a:cubicBezTo>
                    <a:pt x="1268" y="299"/>
                    <a:pt x="1221" y="284"/>
                    <a:pt x="1223" y="277"/>
                  </a:cubicBezTo>
                  <a:cubicBezTo>
                    <a:pt x="1226" y="267"/>
                    <a:pt x="1255" y="260"/>
                    <a:pt x="1261" y="265"/>
                  </a:cubicBezTo>
                  <a:cubicBezTo>
                    <a:pt x="1264" y="267"/>
                    <a:pt x="1258" y="269"/>
                    <a:pt x="1259" y="271"/>
                  </a:cubicBezTo>
                  <a:cubicBezTo>
                    <a:pt x="1260" y="276"/>
                    <a:pt x="1276" y="289"/>
                    <a:pt x="1281" y="293"/>
                  </a:cubicBezTo>
                  <a:cubicBezTo>
                    <a:pt x="1287" y="297"/>
                    <a:pt x="1301" y="292"/>
                    <a:pt x="1306" y="299"/>
                  </a:cubicBezTo>
                  <a:cubicBezTo>
                    <a:pt x="1311" y="310"/>
                    <a:pt x="1284" y="304"/>
                    <a:pt x="1287" y="310"/>
                  </a:cubicBezTo>
                  <a:cubicBezTo>
                    <a:pt x="1287" y="311"/>
                    <a:pt x="1287" y="311"/>
                    <a:pt x="1287" y="311"/>
                  </a:cubicBezTo>
                  <a:cubicBezTo>
                    <a:pt x="1289" y="311"/>
                    <a:pt x="1290" y="311"/>
                    <a:pt x="1291" y="310"/>
                  </a:cubicBezTo>
                  <a:cubicBezTo>
                    <a:pt x="1294" y="308"/>
                    <a:pt x="1309" y="321"/>
                    <a:pt x="1317" y="316"/>
                  </a:cubicBezTo>
                  <a:cubicBezTo>
                    <a:pt x="1319" y="314"/>
                    <a:pt x="1313" y="311"/>
                    <a:pt x="1312" y="310"/>
                  </a:cubicBezTo>
                  <a:cubicBezTo>
                    <a:pt x="1309" y="305"/>
                    <a:pt x="1314" y="300"/>
                    <a:pt x="1309" y="295"/>
                  </a:cubicBezTo>
                  <a:cubicBezTo>
                    <a:pt x="1299" y="284"/>
                    <a:pt x="1279" y="295"/>
                    <a:pt x="1272" y="278"/>
                  </a:cubicBezTo>
                  <a:cubicBezTo>
                    <a:pt x="1268" y="269"/>
                    <a:pt x="1286" y="262"/>
                    <a:pt x="1292" y="267"/>
                  </a:cubicBezTo>
                  <a:cubicBezTo>
                    <a:pt x="1292" y="267"/>
                    <a:pt x="1296" y="270"/>
                    <a:pt x="1295" y="267"/>
                  </a:cubicBezTo>
                  <a:cubicBezTo>
                    <a:pt x="1291" y="250"/>
                    <a:pt x="1271" y="275"/>
                    <a:pt x="1267" y="259"/>
                  </a:cubicBezTo>
                  <a:cubicBezTo>
                    <a:pt x="1262" y="238"/>
                    <a:pt x="1326" y="213"/>
                    <a:pt x="1341" y="222"/>
                  </a:cubicBezTo>
                  <a:cubicBezTo>
                    <a:pt x="1343" y="223"/>
                    <a:pt x="1341" y="226"/>
                    <a:pt x="1340" y="227"/>
                  </a:cubicBezTo>
                  <a:cubicBezTo>
                    <a:pt x="1332" y="233"/>
                    <a:pt x="1331" y="266"/>
                    <a:pt x="1330" y="277"/>
                  </a:cubicBezTo>
                  <a:cubicBezTo>
                    <a:pt x="1330" y="278"/>
                    <a:pt x="1317" y="287"/>
                    <a:pt x="1320" y="288"/>
                  </a:cubicBezTo>
                  <a:cubicBezTo>
                    <a:pt x="1338" y="296"/>
                    <a:pt x="1335" y="257"/>
                    <a:pt x="1338" y="254"/>
                  </a:cubicBezTo>
                  <a:cubicBezTo>
                    <a:pt x="1342" y="251"/>
                    <a:pt x="1366" y="257"/>
                    <a:pt x="1372" y="258"/>
                  </a:cubicBezTo>
                  <a:cubicBezTo>
                    <a:pt x="1376" y="259"/>
                    <a:pt x="1364" y="255"/>
                    <a:pt x="1360" y="253"/>
                  </a:cubicBezTo>
                  <a:cubicBezTo>
                    <a:pt x="1352" y="251"/>
                    <a:pt x="1342" y="247"/>
                    <a:pt x="1346" y="237"/>
                  </a:cubicBezTo>
                  <a:cubicBezTo>
                    <a:pt x="1346" y="236"/>
                    <a:pt x="1358" y="215"/>
                    <a:pt x="1361" y="217"/>
                  </a:cubicBezTo>
                  <a:cubicBezTo>
                    <a:pt x="1364" y="219"/>
                    <a:pt x="1359" y="231"/>
                    <a:pt x="1362" y="229"/>
                  </a:cubicBezTo>
                  <a:cubicBezTo>
                    <a:pt x="1367" y="224"/>
                    <a:pt x="1371" y="203"/>
                    <a:pt x="1375" y="201"/>
                  </a:cubicBezTo>
                  <a:cubicBezTo>
                    <a:pt x="1377" y="201"/>
                    <a:pt x="1375" y="215"/>
                    <a:pt x="1380" y="215"/>
                  </a:cubicBezTo>
                  <a:cubicBezTo>
                    <a:pt x="1387" y="215"/>
                    <a:pt x="1381" y="193"/>
                    <a:pt x="1388" y="196"/>
                  </a:cubicBezTo>
                  <a:cubicBezTo>
                    <a:pt x="1400" y="201"/>
                    <a:pt x="1396" y="260"/>
                    <a:pt x="1387" y="265"/>
                  </a:cubicBezTo>
                  <a:cubicBezTo>
                    <a:pt x="1382" y="269"/>
                    <a:pt x="1389" y="275"/>
                    <a:pt x="1384" y="279"/>
                  </a:cubicBezTo>
                  <a:cubicBezTo>
                    <a:pt x="1378" y="284"/>
                    <a:pt x="1362" y="295"/>
                    <a:pt x="1362" y="299"/>
                  </a:cubicBezTo>
                  <a:cubicBezTo>
                    <a:pt x="1361" y="302"/>
                    <a:pt x="1351" y="306"/>
                    <a:pt x="1354" y="309"/>
                  </a:cubicBezTo>
                  <a:cubicBezTo>
                    <a:pt x="1358" y="313"/>
                    <a:pt x="1363" y="303"/>
                    <a:pt x="1365" y="302"/>
                  </a:cubicBezTo>
                  <a:cubicBezTo>
                    <a:pt x="1369" y="298"/>
                    <a:pt x="1385" y="292"/>
                    <a:pt x="1387" y="289"/>
                  </a:cubicBezTo>
                  <a:cubicBezTo>
                    <a:pt x="1391" y="283"/>
                    <a:pt x="1400" y="270"/>
                    <a:pt x="1401" y="264"/>
                  </a:cubicBezTo>
                  <a:cubicBezTo>
                    <a:pt x="1402" y="263"/>
                    <a:pt x="1403" y="259"/>
                    <a:pt x="1403" y="259"/>
                  </a:cubicBezTo>
                  <a:cubicBezTo>
                    <a:pt x="1407" y="257"/>
                    <a:pt x="1433" y="278"/>
                    <a:pt x="1437" y="273"/>
                  </a:cubicBezTo>
                  <a:cubicBezTo>
                    <a:pt x="1438" y="272"/>
                    <a:pt x="1405" y="253"/>
                    <a:pt x="1404" y="250"/>
                  </a:cubicBezTo>
                  <a:cubicBezTo>
                    <a:pt x="1404" y="246"/>
                    <a:pt x="1410" y="243"/>
                    <a:pt x="1410" y="239"/>
                  </a:cubicBezTo>
                  <a:cubicBezTo>
                    <a:pt x="1410" y="235"/>
                    <a:pt x="1403" y="233"/>
                    <a:pt x="1404" y="230"/>
                  </a:cubicBezTo>
                  <a:cubicBezTo>
                    <a:pt x="1405" y="228"/>
                    <a:pt x="1410" y="230"/>
                    <a:pt x="1412" y="229"/>
                  </a:cubicBezTo>
                  <a:cubicBezTo>
                    <a:pt x="1439" y="222"/>
                    <a:pt x="1430" y="208"/>
                    <a:pt x="1456" y="200"/>
                  </a:cubicBezTo>
                  <a:cubicBezTo>
                    <a:pt x="1462" y="197"/>
                    <a:pt x="1454" y="204"/>
                    <a:pt x="1452" y="204"/>
                  </a:cubicBezTo>
                  <a:cubicBezTo>
                    <a:pt x="1441" y="210"/>
                    <a:pt x="1441" y="222"/>
                    <a:pt x="1450" y="226"/>
                  </a:cubicBezTo>
                  <a:cubicBezTo>
                    <a:pt x="1455" y="227"/>
                    <a:pt x="1450" y="214"/>
                    <a:pt x="1459" y="212"/>
                  </a:cubicBezTo>
                  <a:cubicBezTo>
                    <a:pt x="1473" y="209"/>
                    <a:pt x="1460" y="222"/>
                    <a:pt x="1463" y="222"/>
                  </a:cubicBezTo>
                  <a:cubicBezTo>
                    <a:pt x="1471" y="223"/>
                    <a:pt x="1469" y="213"/>
                    <a:pt x="1469" y="209"/>
                  </a:cubicBezTo>
                  <a:cubicBezTo>
                    <a:pt x="1470" y="204"/>
                    <a:pt x="1480" y="209"/>
                    <a:pt x="1480" y="206"/>
                  </a:cubicBezTo>
                  <a:cubicBezTo>
                    <a:pt x="1480" y="203"/>
                    <a:pt x="1459" y="196"/>
                    <a:pt x="1478" y="188"/>
                  </a:cubicBezTo>
                  <a:cubicBezTo>
                    <a:pt x="1478" y="188"/>
                    <a:pt x="1479" y="187"/>
                    <a:pt x="1479" y="187"/>
                  </a:cubicBezTo>
                  <a:cubicBezTo>
                    <a:pt x="1495" y="183"/>
                    <a:pt x="1538" y="235"/>
                    <a:pt x="1546" y="234"/>
                  </a:cubicBezTo>
                  <a:cubicBezTo>
                    <a:pt x="1552" y="233"/>
                    <a:pt x="1544" y="223"/>
                    <a:pt x="1541" y="221"/>
                  </a:cubicBezTo>
                  <a:cubicBezTo>
                    <a:pt x="1525" y="211"/>
                    <a:pt x="1545" y="222"/>
                    <a:pt x="1541" y="214"/>
                  </a:cubicBezTo>
                  <a:cubicBezTo>
                    <a:pt x="1539" y="209"/>
                    <a:pt x="1532" y="210"/>
                    <a:pt x="1531" y="201"/>
                  </a:cubicBezTo>
                  <a:cubicBezTo>
                    <a:pt x="1531" y="199"/>
                    <a:pt x="1534" y="199"/>
                    <a:pt x="1533" y="197"/>
                  </a:cubicBezTo>
                  <a:cubicBezTo>
                    <a:pt x="1526" y="186"/>
                    <a:pt x="1553" y="209"/>
                    <a:pt x="1545" y="191"/>
                  </a:cubicBezTo>
                  <a:cubicBezTo>
                    <a:pt x="1544" y="189"/>
                    <a:pt x="1552" y="188"/>
                    <a:pt x="1550" y="186"/>
                  </a:cubicBezTo>
                  <a:cubicBezTo>
                    <a:pt x="1547" y="183"/>
                    <a:pt x="1523" y="195"/>
                    <a:pt x="1522" y="186"/>
                  </a:cubicBezTo>
                  <a:cubicBezTo>
                    <a:pt x="1521" y="182"/>
                    <a:pt x="1541" y="182"/>
                    <a:pt x="1544" y="179"/>
                  </a:cubicBezTo>
                  <a:cubicBezTo>
                    <a:pt x="1544" y="178"/>
                    <a:pt x="1550" y="174"/>
                    <a:pt x="1548" y="173"/>
                  </a:cubicBezTo>
                  <a:cubicBezTo>
                    <a:pt x="1541" y="170"/>
                    <a:pt x="1523" y="184"/>
                    <a:pt x="1514" y="182"/>
                  </a:cubicBezTo>
                  <a:cubicBezTo>
                    <a:pt x="1510" y="181"/>
                    <a:pt x="1492" y="175"/>
                    <a:pt x="1491" y="172"/>
                  </a:cubicBezTo>
                  <a:cubicBezTo>
                    <a:pt x="1491" y="169"/>
                    <a:pt x="1497" y="164"/>
                    <a:pt x="1494" y="163"/>
                  </a:cubicBezTo>
                  <a:cubicBezTo>
                    <a:pt x="1487" y="161"/>
                    <a:pt x="1472" y="168"/>
                    <a:pt x="1469" y="158"/>
                  </a:cubicBezTo>
                  <a:cubicBezTo>
                    <a:pt x="1468" y="156"/>
                    <a:pt x="1487" y="146"/>
                    <a:pt x="1490" y="148"/>
                  </a:cubicBezTo>
                  <a:cubicBezTo>
                    <a:pt x="1491" y="149"/>
                    <a:pt x="1489" y="151"/>
                    <a:pt x="1490" y="152"/>
                  </a:cubicBezTo>
                  <a:cubicBezTo>
                    <a:pt x="1493" y="168"/>
                    <a:pt x="1495" y="138"/>
                    <a:pt x="1502" y="140"/>
                  </a:cubicBezTo>
                  <a:cubicBezTo>
                    <a:pt x="1508" y="141"/>
                    <a:pt x="1521" y="166"/>
                    <a:pt x="1528" y="168"/>
                  </a:cubicBezTo>
                  <a:cubicBezTo>
                    <a:pt x="1529" y="168"/>
                    <a:pt x="1528" y="159"/>
                    <a:pt x="1528" y="159"/>
                  </a:cubicBezTo>
                  <a:cubicBezTo>
                    <a:pt x="1532" y="156"/>
                    <a:pt x="1522" y="157"/>
                    <a:pt x="1522" y="151"/>
                  </a:cubicBezTo>
                  <a:cubicBezTo>
                    <a:pt x="1523" y="148"/>
                    <a:pt x="1534" y="142"/>
                    <a:pt x="1538" y="140"/>
                  </a:cubicBezTo>
                  <a:cubicBezTo>
                    <a:pt x="1538" y="140"/>
                    <a:pt x="1540" y="139"/>
                    <a:pt x="1540" y="139"/>
                  </a:cubicBezTo>
                  <a:cubicBezTo>
                    <a:pt x="1542" y="140"/>
                    <a:pt x="1543" y="141"/>
                    <a:pt x="1541" y="142"/>
                  </a:cubicBezTo>
                  <a:cubicBezTo>
                    <a:pt x="1533" y="150"/>
                    <a:pt x="1544" y="143"/>
                    <a:pt x="1547" y="142"/>
                  </a:cubicBezTo>
                  <a:cubicBezTo>
                    <a:pt x="1553" y="141"/>
                    <a:pt x="1545" y="153"/>
                    <a:pt x="1551" y="153"/>
                  </a:cubicBezTo>
                  <a:cubicBezTo>
                    <a:pt x="1551" y="154"/>
                    <a:pt x="1564" y="132"/>
                    <a:pt x="1568" y="147"/>
                  </a:cubicBezTo>
                  <a:cubicBezTo>
                    <a:pt x="1569" y="150"/>
                    <a:pt x="1564" y="152"/>
                    <a:pt x="1563" y="154"/>
                  </a:cubicBezTo>
                  <a:cubicBezTo>
                    <a:pt x="1561" y="157"/>
                    <a:pt x="1569" y="164"/>
                    <a:pt x="1563" y="167"/>
                  </a:cubicBezTo>
                  <a:cubicBezTo>
                    <a:pt x="1563" y="167"/>
                    <a:pt x="1560" y="168"/>
                    <a:pt x="1561" y="169"/>
                  </a:cubicBezTo>
                  <a:cubicBezTo>
                    <a:pt x="1563" y="171"/>
                    <a:pt x="1573" y="169"/>
                    <a:pt x="1577" y="169"/>
                  </a:cubicBezTo>
                  <a:cubicBezTo>
                    <a:pt x="1580" y="170"/>
                    <a:pt x="1588" y="176"/>
                    <a:pt x="1589" y="171"/>
                  </a:cubicBezTo>
                  <a:cubicBezTo>
                    <a:pt x="1590" y="168"/>
                    <a:pt x="1556" y="166"/>
                    <a:pt x="1573" y="151"/>
                  </a:cubicBezTo>
                  <a:cubicBezTo>
                    <a:pt x="1573" y="151"/>
                    <a:pt x="1574" y="150"/>
                    <a:pt x="1574" y="150"/>
                  </a:cubicBezTo>
                  <a:cubicBezTo>
                    <a:pt x="1583" y="146"/>
                    <a:pt x="1591" y="157"/>
                    <a:pt x="1595" y="157"/>
                  </a:cubicBezTo>
                  <a:cubicBezTo>
                    <a:pt x="1598" y="156"/>
                    <a:pt x="1627" y="155"/>
                    <a:pt x="1627" y="160"/>
                  </a:cubicBezTo>
                  <a:cubicBezTo>
                    <a:pt x="1627" y="177"/>
                    <a:pt x="1565" y="178"/>
                    <a:pt x="1565" y="185"/>
                  </a:cubicBezTo>
                  <a:cubicBezTo>
                    <a:pt x="1565" y="185"/>
                    <a:pt x="1579" y="182"/>
                    <a:pt x="1581" y="182"/>
                  </a:cubicBezTo>
                  <a:cubicBezTo>
                    <a:pt x="1594" y="180"/>
                    <a:pt x="1613" y="180"/>
                    <a:pt x="1623" y="172"/>
                  </a:cubicBezTo>
                  <a:cubicBezTo>
                    <a:pt x="1625" y="171"/>
                    <a:pt x="1627" y="169"/>
                    <a:pt x="1629" y="169"/>
                  </a:cubicBezTo>
                  <a:cubicBezTo>
                    <a:pt x="1630" y="169"/>
                    <a:pt x="1630" y="169"/>
                    <a:pt x="1630" y="170"/>
                  </a:cubicBezTo>
                  <a:cubicBezTo>
                    <a:pt x="1631" y="172"/>
                    <a:pt x="1629" y="181"/>
                    <a:pt x="1630" y="186"/>
                  </a:cubicBezTo>
                  <a:cubicBezTo>
                    <a:pt x="1631" y="188"/>
                    <a:pt x="1644" y="184"/>
                    <a:pt x="1642" y="196"/>
                  </a:cubicBezTo>
                  <a:cubicBezTo>
                    <a:pt x="1642" y="197"/>
                    <a:pt x="1637" y="199"/>
                    <a:pt x="1638" y="200"/>
                  </a:cubicBezTo>
                  <a:cubicBezTo>
                    <a:pt x="1642" y="200"/>
                    <a:pt x="1652" y="190"/>
                    <a:pt x="1657" y="192"/>
                  </a:cubicBezTo>
                  <a:cubicBezTo>
                    <a:pt x="1661" y="193"/>
                    <a:pt x="1657" y="200"/>
                    <a:pt x="1657" y="200"/>
                  </a:cubicBezTo>
                  <a:cubicBezTo>
                    <a:pt x="1659" y="200"/>
                    <a:pt x="1662" y="197"/>
                    <a:pt x="1664" y="196"/>
                  </a:cubicBezTo>
                  <a:cubicBezTo>
                    <a:pt x="1696" y="186"/>
                    <a:pt x="1647" y="189"/>
                    <a:pt x="1644" y="177"/>
                  </a:cubicBezTo>
                  <a:cubicBezTo>
                    <a:pt x="1644" y="173"/>
                    <a:pt x="1668" y="176"/>
                    <a:pt x="1665" y="169"/>
                  </a:cubicBezTo>
                  <a:cubicBezTo>
                    <a:pt x="1664" y="167"/>
                    <a:pt x="1656" y="168"/>
                    <a:pt x="1656" y="165"/>
                  </a:cubicBezTo>
                  <a:cubicBezTo>
                    <a:pt x="1656" y="164"/>
                    <a:pt x="1671" y="161"/>
                    <a:pt x="1665" y="160"/>
                  </a:cubicBezTo>
                  <a:cubicBezTo>
                    <a:pt x="1663" y="160"/>
                    <a:pt x="1648" y="159"/>
                    <a:pt x="1650" y="157"/>
                  </a:cubicBezTo>
                  <a:cubicBezTo>
                    <a:pt x="1653" y="153"/>
                    <a:pt x="1676" y="155"/>
                    <a:pt x="1676" y="152"/>
                  </a:cubicBezTo>
                  <a:cubicBezTo>
                    <a:pt x="1676" y="149"/>
                    <a:pt x="1655" y="152"/>
                    <a:pt x="1656" y="150"/>
                  </a:cubicBezTo>
                  <a:cubicBezTo>
                    <a:pt x="1658" y="145"/>
                    <a:pt x="1684" y="145"/>
                    <a:pt x="1683" y="143"/>
                  </a:cubicBezTo>
                  <a:cubicBezTo>
                    <a:pt x="1683" y="142"/>
                    <a:pt x="1670" y="141"/>
                    <a:pt x="1670" y="141"/>
                  </a:cubicBezTo>
                  <a:cubicBezTo>
                    <a:pt x="1667" y="137"/>
                    <a:pt x="1705" y="113"/>
                    <a:pt x="1709" y="112"/>
                  </a:cubicBezTo>
                  <a:cubicBezTo>
                    <a:pt x="1717" y="110"/>
                    <a:pt x="1748" y="119"/>
                    <a:pt x="1750" y="118"/>
                  </a:cubicBezTo>
                  <a:cubicBezTo>
                    <a:pt x="1757" y="113"/>
                    <a:pt x="1727" y="113"/>
                    <a:pt x="1727" y="104"/>
                  </a:cubicBezTo>
                  <a:cubicBezTo>
                    <a:pt x="1727" y="100"/>
                    <a:pt x="1739" y="97"/>
                    <a:pt x="1741" y="94"/>
                  </a:cubicBezTo>
                  <a:cubicBezTo>
                    <a:pt x="1745" y="91"/>
                    <a:pt x="1741" y="80"/>
                    <a:pt x="1750" y="80"/>
                  </a:cubicBezTo>
                  <a:cubicBezTo>
                    <a:pt x="1751" y="80"/>
                    <a:pt x="1762" y="82"/>
                    <a:pt x="1763" y="84"/>
                  </a:cubicBezTo>
                  <a:cubicBezTo>
                    <a:pt x="1765" y="86"/>
                    <a:pt x="1787" y="99"/>
                    <a:pt x="1784" y="87"/>
                  </a:cubicBezTo>
                  <a:cubicBezTo>
                    <a:pt x="1780" y="75"/>
                    <a:pt x="1762" y="71"/>
                    <a:pt x="1750" y="68"/>
                  </a:cubicBezTo>
                  <a:cubicBezTo>
                    <a:pt x="1748" y="68"/>
                    <a:pt x="1739" y="69"/>
                    <a:pt x="1740" y="66"/>
                  </a:cubicBezTo>
                  <a:cubicBezTo>
                    <a:pt x="1745" y="34"/>
                    <a:pt x="1762" y="71"/>
                    <a:pt x="1775" y="66"/>
                  </a:cubicBezTo>
                  <a:cubicBezTo>
                    <a:pt x="1777" y="65"/>
                    <a:pt x="1773" y="55"/>
                    <a:pt x="1772" y="54"/>
                  </a:cubicBezTo>
                  <a:cubicBezTo>
                    <a:pt x="1771" y="51"/>
                    <a:pt x="1786" y="53"/>
                    <a:pt x="1781" y="50"/>
                  </a:cubicBezTo>
                  <a:cubicBezTo>
                    <a:pt x="1780" y="50"/>
                    <a:pt x="1772" y="47"/>
                    <a:pt x="1772" y="46"/>
                  </a:cubicBezTo>
                  <a:cubicBezTo>
                    <a:pt x="1773" y="45"/>
                    <a:pt x="1767" y="40"/>
                    <a:pt x="1771" y="39"/>
                  </a:cubicBezTo>
                  <a:cubicBezTo>
                    <a:pt x="1781" y="37"/>
                    <a:pt x="1771" y="34"/>
                    <a:pt x="1772" y="34"/>
                  </a:cubicBezTo>
                  <a:cubicBezTo>
                    <a:pt x="1786" y="27"/>
                    <a:pt x="1793" y="46"/>
                    <a:pt x="1793" y="46"/>
                  </a:cubicBezTo>
                  <a:cubicBezTo>
                    <a:pt x="1804" y="47"/>
                    <a:pt x="1808" y="29"/>
                    <a:pt x="1813" y="38"/>
                  </a:cubicBezTo>
                  <a:cubicBezTo>
                    <a:pt x="1817" y="43"/>
                    <a:pt x="1794" y="50"/>
                    <a:pt x="1800" y="52"/>
                  </a:cubicBezTo>
                  <a:cubicBezTo>
                    <a:pt x="1809" y="54"/>
                    <a:pt x="1821" y="43"/>
                    <a:pt x="1821" y="43"/>
                  </a:cubicBezTo>
                  <a:cubicBezTo>
                    <a:pt x="1825" y="46"/>
                    <a:pt x="1832" y="55"/>
                    <a:pt x="1830" y="61"/>
                  </a:cubicBezTo>
                  <a:cubicBezTo>
                    <a:pt x="1830" y="61"/>
                    <a:pt x="1828" y="64"/>
                    <a:pt x="1830" y="64"/>
                  </a:cubicBezTo>
                  <a:cubicBezTo>
                    <a:pt x="1849" y="64"/>
                    <a:pt x="1836" y="35"/>
                    <a:pt x="1839" y="35"/>
                  </a:cubicBezTo>
                  <a:cubicBezTo>
                    <a:pt x="1840" y="34"/>
                    <a:pt x="1842" y="35"/>
                    <a:pt x="1843" y="35"/>
                  </a:cubicBezTo>
                  <a:cubicBezTo>
                    <a:pt x="1862" y="44"/>
                    <a:pt x="1844" y="53"/>
                    <a:pt x="1847" y="55"/>
                  </a:cubicBezTo>
                  <a:cubicBezTo>
                    <a:pt x="1847" y="55"/>
                    <a:pt x="1847" y="56"/>
                    <a:pt x="1848" y="56"/>
                  </a:cubicBezTo>
                  <a:cubicBezTo>
                    <a:pt x="1850" y="57"/>
                    <a:pt x="1851" y="53"/>
                    <a:pt x="1852" y="52"/>
                  </a:cubicBezTo>
                  <a:cubicBezTo>
                    <a:pt x="1855" y="49"/>
                    <a:pt x="1866" y="47"/>
                    <a:pt x="1870" y="48"/>
                  </a:cubicBezTo>
                  <a:cubicBezTo>
                    <a:pt x="1871" y="48"/>
                    <a:pt x="1875" y="56"/>
                    <a:pt x="1877" y="52"/>
                  </a:cubicBezTo>
                  <a:cubicBezTo>
                    <a:pt x="1878" y="49"/>
                    <a:pt x="1886" y="44"/>
                    <a:pt x="1888" y="48"/>
                  </a:cubicBezTo>
                  <a:cubicBezTo>
                    <a:pt x="1891" y="54"/>
                    <a:pt x="1837" y="95"/>
                    <a:pt x="1822" y="104"/>
                  </a:cubicBezTo>
                  <a:cubicBezTo>
                    <a:pt x="1821" y="105"/>
                    <a:pt x="1815" y="108"/>
                    <a:pt x="1815" y="109"/>
                  </a:cubicBezTo>
                  <a:cubicBezTo>
                    <a:pt x="1816" y="112"/>
                    <a:pt x="1830" y="103"/>
                    <a:pt x="1833" y="109"/>
                  </a:cubicBezTo>
                  <a:cubicBezTo>
                    <a:pt x="1835" y="116"/>
                    <a:pt x="1813" y="112"/>
                    <a:pt x="1814" y="115"/>
                  </a:cubicBezTo>
                  <a:cubicBezTo>
                    <a:pt x="1815" y="121"/>
                    <a:pt x="1831" y="114"/>
                    <a:pt x="1832" y="118"/>
                  </a:cubicBezTo>
                  <a:cubicBezTo>
                    <a:pt x="1838" y="133"/>
                    <a:pt x="1814" y="124"/>
                    <a:pt x="1815" y="134"/>
                  </a:cubicBezTo>
                  <a:cubicBezTo>
                    <a:pt x="1815" y="138"/>
                    <a:pt x="1831" y="140"/>
                    <a:pt x="1821" y="144"/>
                  </a:cubicBezTo>
                  <a:cubicBezTo>
                    <a:pt x="1812" y="147"/>
                    <a:pt x="1790" y="176"/>
                    <a:pt x="1807" y="181"/>
                  </a:cubicBezTo>
                  <a:cubicBezTo>
                    <a:pt x="1810" y="182"/>
                    <a:pt x="1812" y="181"/>
                    <a:pt x="1811" y="178"/>
                  </a:cubicBezTo>
                  <a:cubicBezTo>
                    <a:pt x="1806" y="165"/>
                    <a:pt x="1813" y="170"/>
                    <a:pt x="1818" y="170"/>
                  </a:cubicBezTo>
                  <a:cubicBezTo>
                    <a:pt x="1821" y="170"/>
                    <a:pt x="1814" y="177"/>
                    <a:pt x="1816" y="178"/>
                  </a:cubicBezTo>
                  <a:cubicBezTo>
                    <a:pt x="1824" y="184"/>
                    <a:pt x="1847" y="154"/>
                    <a:pt x="1853" y="149"/>
                  </a:cubicBezTo>
                  <a:cubicBezTo>
                    <a:pt x="1862" y="139"/>
                    <a:pt x="1840" y="144"/>
                    <a:pt x="1847" y="135"/>
                  </a:cubicBezTo>
                  <a:cubicBezTo>
                    <a:pt x="1865" y="114"/>
                    <a:pt x="1894" y="93"/>
                    <a:pt x="1908" y="76"/>
                  </a:cubicBezTo>
                  <a:cubicBezTo>
                    <a:pt x="1908" y="76"/>
                    <a:pt x="1909" y="75"/>
                    <a:pt x="1909" y="74"/>
                  </a:cubicBezTo>
                  <a:cubicBezTo>
                    <a:pt x="1913" y="66"/>
                    <a:pt x="1921" y="63"/>
                    <a:pt x="1926" y="56"/>
                  </a:cubicBezTo>
                  <a:cubicBezTo>
                    <a:pt x="1928" y="53"/>
                    <a:pt x="1955" y="31"/>
                    <a:pt x="1958" y="37"/>
                  </a:cubicBezTo>
                  <a:cubicBezTo>
                    <a:pt x="1960" y="42"/>
                    <a:pt x="1961" y="71"/>
                    <a:pt x="1954" y="77"/>
                  </a:cubicBezTo>
                  <a:cubicBezTo>
                    <a:pt x="1951" y="80"/>
                    <a:pt x="1926" y="83"/>
                    <a:pt x="1927" y="88"/>
                  </a:cubicBezTo>
                  <a:cubicBezTo>
                    <a:pt x="1927" y="90"/>
                    <a:pt x="1935" y="87"/>
                    <a:pt x="1936" y="86"/>
                  </a:cubicBezTo>
                  <a:cubicBezTo>
                    <a:pt x="1940" y="85"/>
                    <a:pt x="1952" y="84"/>
                    <a:pt x="1954" y="88"/>
                  </a:cubicBezTo>
                  <a:cubicBezTo>
                    <a:pt x="1961" y="100"/>
                    <a:pt x="1936" y="119"/>
                    <a:pt x="1941" y="133"/>
                  </a:cubicBezTo>
                  <a:cubicBezTo>
                    <a:pt x="1944" y="140"/>
                    <a:pt x="1964" y="117"/>
                    <a:pt x="1967" y="114"/>
                  </a:cubicBezTo>
                  <a:cubicBezTo>
                    <a:pt x="1971" y="112"/>
                    <a:pt x="1993" y="121"/>
                    <a:pt x="1994" y="116"/>
                  </a:cubicBezTo>
                  <a:cubicBezTo>
                    <a:pt x="1995" y="112"/>
                    <a:pt x="1979" y="107"/>
                    <a:pt x="1983" y="100"/>
                  </a:cubicBezTo>
                  <a:cubicBezTo>
                    <a:pt x="1988" y="91"/>
                    <a:pt x="1993" y="95"/>
                    <a:pt x="2001" y="96"/>
                  </a:cubicBezTo>
                  <a:cubicBezTo>
                    <a:pt x="2002" y="96"/>
                    <a:pt x="2010" y="98"/>
                    <a:pt x="2009" y="97"/>
                  </a:cubicBezTo>
                  <a:cubicBezTo>
                    <a:pt x="2008" y="94"/>
                    <a:pt x="1993" y="90"/>
                    <a:pt x="1994" y="88"/>
                  </a:cubicBezTo>
                  <a:cubicBezTo>
                    <a:pt x="1996" y="79"/>
                    <a:pt x="1993" y="78"/>
                    <a:pt x="1997" y="72"/>
                  </a:cubicBezTo>
                  <a:cubicBezTo>
                    <a:pt x="2000" y="68"/>
                    <a:pt x="2012" y="74"/>
                    <a:pt x="2014" y="73"/>
                  </a:cubicBezTo>
                  <a:cubicBezTo>
                    <a:pt x="2017" y="70"/>
                    <a:pt x="2007" y="66"/>
                    <a:pt x="2013" y="59"/>
                  </a:cubicBezTo>
                  <a:cubicBezTo>
                    <a:pt x="2015" y="56"/>
                    <a:pt x="2029" y="61"/>
                    <a:pt x="2033" y="61"/>
                  </a:cubicBezTo>
                  <a:cubicBezTo>
                    <a:pt x="2036" y="61"/>
                    <a:pt x="2044" y="63"/>
                    <a:pt x="2041" y="62"/>
                  </a:cubicBezTo>
                  <a:cubicBezTo>
                    <a:pt x="2027" y="59"/>
                    <a:pt x="2027" y="52"/>
                    <a:pt x="2022" y="44"/>
                  </a:cubicBezTo>
                  <a:cubicBezTo>
                    <a:pt x="2021" y="43"/>
                    <a:pt x="2017" y="48"/>
                    <a:pt x="2016" y="49"/>
                  </a:cubicBezTo>
                  <a:cubicBezTo>
                    <a:pt x="2011" y="49"/>
                    <a:pt x="1998" y="49"/>
                    <a:pt x="1996" y="43"/>
                  </a:cubicBezTo>
                  <a:cubicBezTo>
                    <a:pt x="1991" y="28"/>
                    <a:pt x="2014" y="43"/>
                    <a:pt x="2016" y="40"/>
                  </a:cubicBezTo>
                  <a:cubicBezTo>
                    <a:pt x="2019" y="36"/>
                    <a:pt x="2004" y="31"/>
                    <a:pt x="2005" y="28"/>
                  </a:cubicBezTo>
                  <a:cubicBezTo>
                    <a:pt x="2006" y="12"/>
                    <a:pt x="2033" y="39"/>
                    <a:pt x="2035" y="38"/>
                  </a:cubicBezTo>
                  <a:cubicBezTo>
                    <a:pt x="2042" y="33"/>
                    <a:pt x="2021" y="19"/>
                    <a:pt x="2044" y="10"/>
                  </a:cubicBezTo>
                  <a:cubicBezTo>
                    <a:pt x="2047" y="8"/>
                    <a:pt x="2046" y="17"/>
                    <a:pt x="2047" y="20"/>
                  </a:cubicBezTo>
                  <a:cubicBezTo>
                    <a:pt x="2048" y="21"/>
                    <a:pt x="2061" y="24"/>
                    <a:pt x="2063" y="24"/>
                  </a:cubicBezTo>
                  <a:cubicBezTo>
                    <a:pt x="2071" y="27"/>
                    <a:pt x="2093" y="14"/>
                    <a:pt x="2096" y="18"/>
                  </a:cubicBezTo>
                  <a:cubicBezTo>
                    <a:pt x="2102" y="24"/>
                    <a:pt x="2087" y="30"/>
                    <a:pt x="2093" y="34"/>
                  </a:cubicBezTo>
                  <a:cubicBezTo>
                    <a:pt x="2098" y="37"/>
                    <a:pt x="2115" y="22"/>
                    <a:pt x="2123" y="34"/>
                  </a:cubicBezTo>
                  <a:cubicBezTo>
                    <a:pt x="2130" y="43"/>
                    <a:pt x="2109" y="48"/>
                    <a:pt x="2107" y="49"/>
                  </a:cubicBezTo>
                  <a:cubicBezTo>
                    <a:pt x="2106" y="50"/>
                    <a:pt x="2117" y="50"/>
                    <a:pt x="2113" y="53"/>
                  </a:cubicBezTo>
                  <a:cubicBezTo>
                    <a:pt x="2109" y="56"/>
                    <a:pt x="2097" y="55"/>
                    <a:pt x="2095" y="58"/>
                  </a:cubicBezTo>
                  <a:cubicBezTo>
                    <a:pt x="2093" y="59"/>
                    <a:pt x="2106" y="60"/>
                    <a:pt x="2097" y="64"/>
                  </a:cubicBezTo>
                  <a:cubicBezTo>
                    <a:pt x="2090" y="68"/>
                    <a:pt x="2056" y="58"/>
                    <a:pt x="2053" y="65"/>
                  </a:cubicBezTo>
                  <a:cubicBezTo>
                    <a:pt x="2053" y="66"/>
                    <a:pt x="2061" y="66"/>
                    <a:pt x="2059" y="68"/>
                  </a:cubicBezTo>
                  <a:cubicBezTo>
                    <a:pt x="2052" y="75"/>
                    <a:pt x="2057" y="70"/>
                    <a:pt x="2063" y="68"/>
                  </a:cubicBezTo>
                  <a:cubicBezTo>
                    <a:pt x="2069" y="67"/>
                    <a:pt x="2074" y="71"/>
                    <a:pt x="2080" y="71"/>
                  </a:cubicBezTo>
                  <a:cubicBezTo>
                    <a:pt x="2081" y="71"/>
                    <a:pt x="2086" y="72"/>
                    <a:pt x="2086" y="73"/>
                  </a:cubicBezTo>
                  <a:cubicBezTo>
                    <a:pt x="2086" y="78"/>
                    <a:pt x="2055" y="90"/>
                    <a:pt x="2050" y="92"/>
                  </a:cubicBezTo>
                  <a:cubicBezTo>
                    <a:pt x="2050" y="92"/>
                    <a:pt x="2043" y="93"/>
                    <a:pt x="2043" y="94"/>
                  </a:cubicBezTo>
                  <a:cubicBezTo>
                    <a:pt x="2046" y="100"/>
                    <a:pt x="2090" y="79"/>
                    <a:pt x="2096" y="77"/>
                  </a:cubicBezTo>
                  <a:cubicBezTo>
                    <a:pt x="2097" y="77"/>
                    <a:pt x="2100" y="74"/>
                    <a:pt x="2101" y="76"/>
                  </a:cubicBezTo>
                  <a:cubicBezTo>
                    <a:pt x="2114" y="95"/>
                    <a:pt x="2061" y="105"/>
                    <a:pt x="2061" y="114"/>
                  </a:cubicBezTo>
                  <a:cubicBezTo>
                    <a:pt x="2061" y="115"/>
                    <a:pt x="2063" y="117"/>
                    <a:pt x="2064" y="118"/>
                  </a:cubicBezTo>
                  <a:cubicBezTo>
                    <a:pt x="2065" y="127"/>
                    <a:pt x="2072" y="104"/>
                    <a:pt x="2090" y="110"/>
                  </a:cubicBezTo>
                  <a:cubicBezTo>
                    <a:pt x="2091" y="110"/>
                    <a:pt x="2083" y="115"/>
                    <a:pt x="2081" y="116"/>
                  </a:cubicBezTo>
                  <a:cubicBezTo>
                    <a:pt x="2080" y="117"/>
                    <a:pt x="2082" y="120"/>
                    <a:pt x="2084" y="121"/>
                  </a:cubicBezTo>
                  <a:cubicBezTo>
                    <a:pt x="2088" y="123"/>
                    <a:pt x="2096" y="103"/>
                    <a:pt x="2104" y="109"/>
                  </a:cubicBezTo>
                  <a:cubicBezTo>
                    <a:pt x="2105" y="109"/>
                    <a:pt x="2089" y="129"/>
                    <a:pt x="2088" y="132"/>
                  </a:cubicBezTo>
                  <a:cubicBezTo>
                    <a:pt x="2086" y="142"/>
                    <a:pt x="2093" y="160"/>
                    <a:pt x="2089" y="170"/>
                  </a:cubicBezTo>
                  <a:cubicBezTo>
                    <a:pt x="2086" y="176"/>
                    <a:pt x="2078" y="177"/>
                    <a:pt x="2076" y="180"/>
                  </a:cubicBezTo>
                  <a:cubicBezTo>
                    <a:pt x="2075" y="181"/>
                    <a:pt x="2083" y="180"/>
                    <a:pt x="2084" y="180"/>
                  </a:cubicBezTo>
                  <a:cubicBezTo>
                    <a:pt x="2088" y="177"/>
                    <a:pt x="2094" y="169"/>
                    <a:pt x="2095" y="164"/>
                  </a:cubicBezTo>
                  <a:cubicBezTo>
                    <a:pt x="2099" y="150"/>
                    <a:pt x="2088" y="124"/>
                    <a:pt x="2107" y="115"/>
                  </a:cubicBezTo>
                  <a:cubicBezTo>
                    <a:pt x="2116" y="110"/>
                    <a:pt x="2118" y="121"/>
                    <a:pt x="2120" y="120"/>
                  </a:cubicBezTo>
                  <a:cubicBezTo>
                    <a:pt x="2122" y="118"/>
                    <a:pt x="2118" y="114"/>
                    <a:pt x="2121" y="112"/>
                  </a:cubicBezTo>
                  <a:cubicBezTo>
                    <a:pt x="2121" y="112"/>
                    <a:pt x="2125" y="110"/>
                    <a:pt x="2124" y="110"/>
                  </a:cubicBezTo>
                  <a:cubicBezTo>
                    <a:pt x="2121" y="107"/>
                    <a:pt x="2112" y="109"/>
                    <a:pt x="2110" y="104"/>
                  </a:cubicBezTo>
                  <a:cubicBezTo>
                    <a:pt x="2109" y="103"/>
                    <a:pt x="2111" y="101"/>
                    <a:pt x="2112" y="100"/>
                  </a:cubicBezTo>
                  <a:cubicBezTo>
                    <a:pt x="2114" y="96"/>
                    <a:pt x="2116" y="85"/>
                    <a:pt x="2120" y="82"/>
                  </a:cubicBezTo>
                  <a:cubicBezTo>
                    <a:pt x="2122" y="80"/>
                    <a:pt x="2128" y="85"/>
                    <a:pt x="2130" y="83"/>
                  </a:cubicBezTo>
                  <a:cubicBezTo>
                    <a:pt x="2132" y="81"/>
                    <a:pt x="2120" y="79"/>
                    <a:pt x="2121" y="75"/>
                  </a:cubicBezTo>
                  <a:cubicBezTo>
                    <a:pt x="2123" y="67"/>
                    <a:pt x="2141" y="53"/>
                    <a:pt x="2148" y="50"/>
                  </a:cubicBezTo>
                  <a:cubicBezTo>
                    <a:pt x="2149" y="49"/>
                    <a:pt x="2150" y="49"/>
                    <a:pt x="2151" y="49"/>
                  </a:cubicBezTo>
                  <a:cubicBezTo>
                    <a:pt x="2159" y="48"/>
                    <a:pt x="2196" y="57"/>
                    <a:pt x="2200" y="65"/>
                  </a:cubicBezTo>
                  <a:cubicBezTo>
                    <a:pt x="2200" y="66"/>
                    <a:pt x="2196" y="69"/>
                    <a:pt x="2195" y="69"/>
                  </a:cubicBezTo>
                  <a:cubicBezTo>
                    <a:pt x="2189" y="74"/>
                    <a:pt x="2191" y="74"/>
                    <a:pt x="2199" y="73"/>
                  </a:cubicBezTo>
                  <a:cubicBezTo>
                    <a:pt x="2206" y="72"/>
                    <a:pt x="2190" y="76"/>
                    <a:pt x="2193" y="77"/>
                  </a:cubicBezTo>
                  <a:cubicBezTo>
                    <a:pt x="2194" y="77"/>
                    <a:pt x="2197" y="77"/>
                    <a:pt x="2196" y="79"/>
                  </a:cubicBezTo>
                  <a:cubicBezTo>
                    <a:pt x="2196" y="80"/>
                    <a:pt x="2185" y="82"/>
                    <a:pt x="2189" y="86"/>
                  </a:cubicBezTo>
                  <a:cubicBezTo>
                    <a:pt x="2191" y="87"/>
                    <a:pt x="2227" y="68"/>
                    <a:pt x="2233" y="73"/>
                  </a:cubicBezTo>
                  <a:cubicBezTo>
                    <a:pt x="2240" y="80"/>
                    <a:pt x="2223" y="90"/>
                    <a:pt x="2224" y="92"/>
                  </a:cubicBezTo>
                  <a:cubicBezTo>
                    <a:pt x="2227" y="99"/>
                    <a:pt x="2250" y="77"/>
                    <a:pt x="2252" y="77"/>
                  </a:cubicBezTo>
                  <a:cubicBezTo>
                    <a:pt x="2259" y="76"/>
                    <a:pt x="2261" y="77"/>
                    <a:pt x="2266" y="80"/>
                  </a:cubicBezTo>
                  <a:cubicBezTo>
                    <a:pt x="2278" y="86"/>
                    <a:pt x="2260" y="86"/>
                    <a:pt x="2262" y="88"/>
                  </a:cubicBezTo>
                  <a:cubicBezTo>
                    <a:pt x="2263" y="89"/>
                    <a:pt x="2272" y="88"/>
                    <a:pt x="2274" y="90"/>
                  </a:cubicBezTo>
                  <a:cubicBezTo>
                    <a:pt x="2276" y="90"/>
                    <a:pt x="2284" y="93"/>
                    <a:pt x="2284" y="95"/>
                  </a:cubicBezTo>
                  <a:cubicBezTo>
                    <a:pt x="2283" y="102"/>
                    <a:pt x="2272" y="107"/>
                    <a:pt x="2265" y="106"/>
                  </a:cubicBezTo>
                  <a:cubicBezTo>
                    <a:pt x="2263" y="106"/>
                    <a:pt x="2253" y="104"/>
                    <a:pt x="2253" y="105"/>
                  </a:cubicBezTo>
                  <a:cubicBezTo>
                    <a:pt x="2263" y="117"/>
                    <a:pt x="2283" y="100"/>
                    <a:pt x="2294" y="101"/>
                  </a:cubicBezTo>
                  <a:cubicBezTo>
                    <a:pt x="2297" y="102"/>
                    <a:pt x="2304" y="103"/>
                    <a:pt x="2306" y="104"/>
                  </a:cubicBezTo>
                  <a:cubicBezTo>
                    <a:pt x="2307" y="105"/>
                    <a:pt x="2307" y="106"/>
                    <a:pt x="2306" y="107"/>
                  </a:cubicBezTo>
                  <a:cubicBezTo>
                    <a:pt x="2302" y="110"/>
                    <a:pt x="2304" y="110"/>
                    <a:pt x="2309" y="112"/>
                  </a:cubicBezTo>
                  <a:cubicBezTo>
                    <a:pt x="2315" y="114"/>
                    <a:pt x="2320" y="124"/>
                    <a:pt x="2325" y="125"/>
                  </a:cubicBezTo>
                  <a:cubicBezTo>
                    <a:pt x="2326" y="125"/>
                    <a:pt x="2349" y="114"/>
                    <a:pt x="2348" y="133"/>
                  </a:cubicBezTo>
                  <a:cubicBezTo>
                    <a:pt x="2346" y="165"/>
                    <a:pt x="2320" y="138"/>
                    <a:pt x="2299" y="152"/>
                  </a:cubicBezTo>
                  <a:cubicBezTo>
                    <a:pt x="2289" y="159"/>
                    <a:pt x="2275" y="180"/>
                    <a:pt x="2267" y="180"/>
                  </a:cubicBezTo>
                  <a:cubicBezTo>
                    <a:pt x="2234" y="183"/>
                    <a:pt x="2198" y="175"/>
                    <a:pt x="2165" y="170"/>
                  </a:cubicBezTo>
                  <a:cubicBezTo>
                    <a:pt x="2155" y="169"/>
                    <a:pt x="2147" y="162"/>
                    <a:pt x="2136" y="162"/>
                  </a:cubicBezTo>
                  <a:cubicBezTo>
                    <a:pt x="2134" y="163"/>
                    <a:pt x="2129" y="163"/>
                    <a:pt x="2128" y="165"/>
                  </a:cubicBezTo>
                  <a:cubicBezTo>
                    <a:pt x="2127" y="166"/>
                    <a:pt x="2138" y="167"/>
                    <a:pt x="2139" y="168"/>
                  </a:cubicBezTo>
                  <a:cubicBezTo>
                    <a:pt x="2140" y="169"/>
                    <a:pt x="2116" y="179"/>
                    <a:pt x="2140" y="176"/>
                  </a:cubicBezTo>
                  <a:cubicBezTo>
                    <a:pt x="2140" y="176"/>
                    <a:pt x="2152" y="174"/>
                    <a:pt x="2150" y="176"/>
                  </a:cubicBezTo>
                  <a:cubicBezTo>
                    <a:pt x="2148" y="179"/>
                    <a:pt x="2143" y="178"/>
                    <a:pt x="2158" y="179"/>
                  </a:cubicBezTo>
                  <a:cubicBezTo>
                    <a:pt x="2165" y="180"/>
                    <a:pt x="2170" y="180"/>
                    <a:pt x="2176" y="182"/>
                  </a:cubicBezTo>
                  <a:cubicBezTo>
                    <a:pt x="2176" y="182"/>
                    <a:pt x="2176" y="183"/>
                    <a:pt x="2176" y="183"/>
                  </a:cubicBezTo>
                  <a:cubicBezTo>
                    <a:pt x="2174" y="186"/>
                    <a:pt x="2186" y="184"/>
                    <a:pt x="2177" y="188"/>
                  </a:cubicBezTo>
                  <a:cubicBezTo>
                    <a:pt x="2176" y="188"/>
                    <a:pt x="2174" y="189"/>
                    <a:pt x="2176" y="190"/>
                  </a:cubicBezTo>
                  <a:cubicBezTo>
                    <a:pt x="2182" y="193"/>
                    <a:pt x="2201" y="189"/>
                    <a:pt x="2209" y="191"/>
                  </a:cubicBezTo>
                  <a:cubicBezTo>
                    <a:pt x="2209" y="191"/>
                    <a:pt x="2209" y="191"/>
                    <a:pt x="2209" y="191"/>
                  </a:cubicBezTo>
                  <a:cubicBezTo>
                    <a:pt x="2211" y="193"/>
                    <a:pt x="2213" y="194"/>
                    <a:pt x="2216" y="194"/>
                  </a:cubicBezTo>
                  <a:cubicBezTo>
                    <a:pt x="2237" y="199"/>
                    <a:pt x="2203" y="202"/>
                    <a:pt x="2201" y="210"/>
                  </a:cubicBezTo>
                  <a:cubicBezTo>
                    <a:pt x="2201" y="212"/>
                    <a:pt x="2195" y="212"/>
                    <a:pt x="2196" y="214"/>
                  </a:cubicBezTo>
                  <a:cubicBezTo>
                    <a:pt x="2197" y="216"/>
                    <a:pt x="2202" y="215"/>
                    <a:pt x="2203" y="213"/>
                  </a:cubicBezTo>
                  <a:cubicBezTo>
                    <a:pt x="2211" y="198"/>
                    <a:pt x="2229" y="206"/>
                    <a:pt x="2232" y="217"/>
                  </a:cubicBezTo>
                  <a:cubicBezTo>
                    <a:pt x="2234" y="223"/>
                    <a:pt x="2212" y="238"/>
                    <a:pt x="2213" y="239"/>
                  </a:cubicBezTo>
                  <a:cubicBezTo>
                    <a:pt x="2213" y="240"/>
                    <a:pt x="2206" y="245"/>
                    <a:pt x="2207" y="246"/>
                  </a:cubicBezTo>
                  <a:cubicBezTo>
                    <a:pt x="2208" y="247"/>
                    <a:pt x="2211" y="244"/>
                    <a:pt x="2212" y="243"/>
                  </a:cubicBezTo>
                  <a:cubicBezTo>
                    <a:pt x="2224" y="232"/>
                    <a:pt x="2229" y="235"/>
                    <a:pt x="2245" y="235"/>
                  </a:cubicBezTo>
                  <a:cubicBezTo>
                    <a:pt x="2246" y="235"/>
                    <a:pt x="2256" y="224"/>
                    <a:pt x="2259" y="228"/>
                  </a:cubicBezTo>
                  <a:cubicBezTo>
                    <a:pt x="2261" y="232"/>
                    <a:pt x="2247" y="238"/>
                    <a:pt x="2247" y="240"/>
                  </a:cubicBezTo>
                  <a:cubicBezTo>
                    <a:pt x="2247" y="242"/>
                    <a:pt x="2249" y="238"/>
                    <a:pt x="2251" y="238"/>
                  </a:cubicBezTo>
                  <a:cubicBezTo>
                    <a:pt x="2255" y="236"/>
                    <a:pt x="2256" y="236"/>
                    <a:pt x="2259" y="233"/>
                  </a:cubicBezTo>
                  <a:cubicBezTo>
                    <a:pt x="2260" y="232"/>
                    <a:pt x="2262" y="237"/>
                    <a:pt x="2263" y="238"/>
                  </a:cubicBezTo>
                  <a:cubicBezTo>
                    <a:pt x="2274" y="249"/>
                    <a:pt x="2258" y="208"/>
                    <a:pt x="2279" y="210"/>
                  </a:cubicBezTo>
                  <a:cubicBezTo>
                    <a:pt x="2288" y="211"/>
                    <a:pt x="2268" y="219"/>
                    <a:pt x="2285" y="217"/>
                  </a:cubicBezTo>
                  <a:cubicBezTo>
                    <a:pt x="2290" y="216"/>
                    <a:pt x="2292" y="238"/>
                    <a:pt x="2289" y="242"/>
                  </a:cubicBezTo>
                  <a:cubicBezTo>
                    <a:pt x="2288" y="243"/>
                    <a:pt x="2280" y="244"/>
                    <a:pt x="2286" y="245"/>
                  </a:cubicBezTo>
                  <a:cubicBezTo>
                    <a:pt x="2302" y="246"/>
                    <a:pt x="2288" y="224"/>
                    <a:pt x="2293" y="221"/>
                  </a:cubicBezTo>
                  <a:cubicBezTo>
                    <a:pt x="2295" y="220"/>
                    <a:pt x="2311" y="222"/>
                    <a:pt x="2329" y="225"/>
                  </a:cubicBezTo>
                  <a:cubicBezTo>
                    <a:pt x="2334" y="234"/>
                    <a:pt x="2338" y="239"/>
                    <a:pt x="2338" y="248"/>
                  </a:cubicBezTo>
                  <a:cubicBezTo>
                    <a:pt x="2338" y="294"/>
                    <a:pt x="2275" y="240"/>
                    <a:pt x="2260" y="247"/>
                  </a:cubicBezTo>
                  <a:cubicBezTo>
                    <a:pt x="2258" y="248"/>
                    <a:pt x="2264" y="249"/>
                    <a:pt x="2266" y="250"/>
                  </a:cubicBezTo>
                  <a:cubicBezTo>
                    <a:pt x="2277" y="256"/>
                    <a:pt x="2260" y="271"/>
                    <a:pt x="2256" y="274"/>
                  </a:cubicBezTo>
                  <a:cubicBezTo>
                    <a:pt x="2240" y="284"/>
                    <a:pt x="2204" y="286"/>
                    <a:pt x="2192" y="300"/>
                  </a:cubicBezTo>
                  <a:cubicBezTo>
                    <a:pt x="2185" y="309"/>
                    <a:pt x="2192" y="353"/>
                    <a:pt x="2165" y="345"/>
                  </a:cubicBezTo>
                  <a:cubicBezTo>
                    <a:pt x="2163" y="344"/>
                    <a:pt x="2161" y="344"/>
                    <a:pt x="2159" y="343"/>
                  </a:cubicBezTo>
                  <a:cubicBezTo>
                    <a:pt x="2108" y="324"/>
                    <a:pt x="2194" y="286"/>
                    <a:pt x="2190" y="271"/>
                  </a:cubicBezTo>
                  <a:cubicBezTo>
                    <a:pt x="2179" y="222"/>
                    <a:pt x="2102" y="233"/>
                    <a:pt x="2069" y="180"/>
                  </a:cubicBezTo>
                  <a:cubicBezTo>
                    <a:pt x="2037" y="176"/>
                    <a:pt x="2028" y="194"/>
                    <a:pt x="2000" y="203"/>
                  </a:cubicBezTo>
                  <a:cubicBezTo>
                    <a:pt x="1981" y="209"/>
                    <a:pt x="1957" y="190"/>
                    <a:pt x="1938" y="202"/>
                  </a:cubicBezTo>
                  <a:cubicBezTo>
                    <a:pt x="1934" y="204"/>
                    <a:pt x="1899" y="234"/>
                    <a:pt x="1895" y="239"/>
                  </a:cubicBezTo>
                  <a:cubicBezTo>
                    <a:pt x="1892" y="241"/>
                    <a:pt x="1889" y="255"/>
                    <a:pt x="1883" y="263"/>
                  </a:cubicBezTo>
                  <a:cubicBezTo>
                    <a:pt x="1879" y="268"/>
                    <a:pt x="1884" y="283"/>
                    <a:pt x="1881" y="289"/>
                  </a:cubicBezTo>
                  <a:cubicBezTo>
                    <a:pt x="1877" y="300"/>
                    <a:pt x="1870" y="305"/>
                    <a:pt x="1871" y="319"/>
                  </a:cubicBezTo>
                  <a:cubicBezTo>
                    <a:pt x="1871" y="327"/>
                    <a:pt x="1881" y="339"/>
                    <a:pt x="1880" y="348"/>
                  </a:cubicBezTo>
                  <a:cubicBezTo>
                    <a:pt x="1876" y="368"/>
                    <a:pt x="1854" y="366"/>
                    <a:pt x="1841" y="369"/>
                  </a:cubicBezTo>
                  <a:cubicBezTo>
                    <a:pt x="1819" y="375"/>
                    <a:pt x="1827" y="398"/>
                    <a:pt x="1816" y="408"/>
                  </a:cubicBezTo>
                  <a:cubicBezTo>
                    <a:pt x="1810" y="414"/>
                    <a:pt x="1805" y="413"/>
                    <a:pt x="1800" y="419"/>
                  </a:cubicBezTo>
                  <a:cubicBezTo>
                    <a:pt x="1799" y="420"/>
                    <a:pt x="1782" y="402"/>
                    <a:pt x="1779" y="400"/>
                  </a:cubicBezTo>
                  <a:cubicBezTo>
                    <a:pt x="1770" y="396"/>
                    <a:pt x="1710" y="375"/>
                    <a:pt x="1705" y="377"/>
                  </a:cubicBezTo>
                  <a:cubicBezTo>
                    <a:pt x="1699" y="378"/>
                    <a:pt x="1696" y="392"/>
                    <a:pt x="1691" y="395"/>
                  </a:cubicBezTo>
                  <a:cubicBezTo>
                    <a:pt x="1686" y="399"/>
                    <a:pt x="1652" y="410"/>
                    <a:pt x="1647" y="408"/>
                  </a:cubicBezTo>
                  <a:cubicBezTo>
                    <a:pt x="1647" y="408"/>
                    <a:pt x="1635" y="398"/>
                    <a:pt x="1635" y="398"/>
                  </a:cubicBezTo>
                  <a:cubicBezTo>
                    <a:pt x="1622" y="392"/>
                    <a:pt x="1597" y="396"/>
                    <a:pt x="1583" y="396"/>
                  </a:cubicBezTo>
                  <a:cubicBezTo>
                    <a:pt x="1580" y="395"/>
                    <a:pt x="1577" y="397"/>
                    <a:pt x="1575" y="395"/>
                  </a:cubicBezTo>
                  <a:cubicBezTo>
                    <a:pt x="1571" y="390"/>
                    <a:pt x="1574" y="381"/>
                    <a:pt x="1571" y="374"/>
                  </a:cubicBezTo>
                  <a:cubicBezTo>
                    <a:pt x="1562" y="351"/>
                    <a:pt x="1503" y="294"/>
                    <a:pt x="1479" y="297"/>
                  </a:cubicBezTo>
                  <a:cubicBezTo>
                    <a:pt x="1471" y="299"/>
                    <a:pt x="1453" y="313"/>
                    <a:pt x="1453" y="321"/>
                  </a:cubicBezTo>
                  <a:cubicBezTo>
                    <a:pt x="1454" y="325"/>
                    <a:pt x="1467" y="342"/>
                    <a:pt x="1456" y="345"/>
                  </a:cubicBezTo>
                  <a:cubicBezTo>
                    <a:pt x="1452" y="346"/>
                    <a:pt x="1414" y="325"/>
                    <a:pt x="1413" y="340"/>
                  </a:cubicBezTo>
                  <a:cubicBezTo>
                    <a:pt x="1413" y="341"/>
                    <a:pt x="1415" y="341"/>
                    <a:pt x="1417" y="342"/>
                  </a:cubicBezTo>
                  <a:cubicBezTo>
                    <a:pt x="1413" y="342"/>
                    <a:pt x="1385" y="342"/>
                    <a:pt x="1381" y="342"/>
                  </a:cubicBezTo>
                  <a:cubicBezTo>
                    <a:pt x="1377" y="342"/>
                    <a:pt x="1373" y="340"/>
                    <a:pt x="1370" y="342"/>
                  </a:cubicBezTo>
                  <a:cubicBezTo>
                    <a:pt x="1368" y="344"/>
                    <a:pt x="1373" y="346"/>
                    <a:pt x="1375" y="347"/>
                  </a:cubicBezTo>
                  <a:cubicBezTo>
                    <a:pt x="1385" y="357"/>
                    <a:pt x="1396" y="369"/>
                    <a:pt x="1393" y="385"/>
                  </a:cubicBezTo>
                  <a:cubicBezTo>
                    <a:pt x="1389" y="397"/>
                    <a:pt x="1357" y="417"/>
                    <a:pt x="1357" y="421"/>
                  </a:cubicBezTo>
                  <a:cubicBezTo>
                    <a:pt x="1357" y="429"/>
                    <a:pt x="1389" y="424"/>
                    <a:pt x="1378" y="437"/>
                  </a:cubicBezTo>
                  <a:cubicBezTo>
                    <a:pt x="1378" y="437"/>
                    <a:pt x="1358" y="455"/>
                    <a:pt x="1355" y="456"/>
                  </a:cubicBezTo>
                  <a:cubicBezTo>
                    <a:pt x="1334" y="462"/>
                    <a:pt x="1212" y="407"/>
                    <a:pt x="1190" y="429"/>
                  </a:cubicBezTo>
                  <a:cubicBezTo>
                    <a:pt x="1179" y="441"/>
                    <a:pt x="1213" y="497"/>
                    <a:pt x="1173" y="516"/>
                  </a:cubicBezTo>
                  <a:cubicBezTo>
                    <a:pt x="1160" y="522"/>
                    <a:pt x="1131" y="490"/>
                    <a:pt x="1118" y="495"/>
                  </a:cubicBezTo>
                  <a:cubicBezTo>
                    <a:pt x="1117" y="495"/>
                    <a:pt x="1117" y="495"/>
                    <a:pt x="1117" y="495"/>
                  </a:cubicBezTo>
                  <a:cubicBezTo>
                    <a:pt x="1116" y="495"/>
                    <a:pt x="1115" y="495"/>
                    <a:pt x="1114" y="496"/>
                  </a:cubicBezTo>
                  <a:cubicBezTo>
                    <a:pt x="1113" y="496"/>
                    <a:pt x="1113" y="497"/>
                    <a:pt x="1113" y="497"/>
                  </a:cubicBezTo>
                  <a:cubicBezTo>
                    <a:pt x="1102" y="502"/>
                    <a:pt x="1074" y="518"/>
                    <a:pt x="1070" y="524"/>
                  </a:cubicBezTo>
                  <a:cubicBezTo>
                    <a:pt x="1058" y="540"/>
                    <a:pt x="1056" y="561"/>
                    <a:pt x="1043" y="578"/>
                  </a:cubicBezTo>
                  <a:cubicBezTo>
                    <a:pt x="1036" y="588"/>
                    <a:pt x="1015" y="583"/>
                    <a:pt x="1012" y="599"/>
                  </a:cubicBezTo>
                  <a:cubicBezTo>
                    <a:pt x="1010" y="613"/>
                    <a:pt x="1058" y="632"/>
                    <a:pt x="1036" y="661"/>
                  </a:cubicBezTo>
                  <a:cubicBezTo>
                    <a:pt x="1029" y="670"/>
                    <a:pt x="1014" y="674"/>
                    <a:pt x="1006" y="682"/>
                  </a:cubicBezTo>
                  <a:cubicBezTo>
                    <a:pt x="993" y="694"/>
                    <a:pt x="985" y="713"/>
                    <a:pt x="972" y="725"/>
                  </a:cubicBezTo>
                  <a:cubicBezTo>
                    <a:pt x="967" y="730"/>
                    <a:pt x="950" y="737"/>
                    <a:pt x="948" y="743"/>
                  </a:cubicBezTo>
                  <a:cubicBezTo>
                    <a:pt x="946" y="752"/>
                    <a:pt x="959" y="765"/>
                    <a:pt x="957" y="774"/>
                  </a:cubicBezTo>
                  <a:cubicBezTo>
                    <a:pt x="952" y="794"/>
                    <a:pt x="872" y="795"/>
                    <a:pt x="871" y="797"/>
                  </a:cubicBezTo>
                  <a:cubicBezTo>
                    <a:pt x="866" y="804"/>
                    <a:pt x="884" y="834"/>
                    <a:pt x="883" y="843"/>
                  </a:cubicBezTo>
                  <a:cubicBezTo>
                    <a:pt x="882" y="855"/>
                    <a:pt x="873" y="866"/>
                    <a:pt x="871" y="878"/>
                  </a:cubicBezTo>
                  <a:cubicBezTo>
                    <a:pt x="870" y="882"/>
                    <a:pt x="871" y="886"/>
                    <a:pt x="871" y="889"/>
                  </a:cubicBezTo>
                  <a:cubicBezTo>
                    <a:pt x="871" y="889"/>
                    <a:pt x="871" y="911"/>
                    <a:pt x="871" y="911"/>
                  </a:cubicBezTo>
                  <a:cubicBezTo>
                    <a:pt x="871" y="914"/>
                    <a:pt x="872" y="918"/>
                    <a:pt x="871" y="922"/>
                  </a:cubicBezTo>
                  <a:cubicBezTo>
                    <a:pt x="871" y="922"/>
                    <a:pt x="859" y="932"/>
                    <a:pt x="859" y="932"/>
                  </a:cubicBezTo>
                  <a:cubicBezTo>
                    <a:pt x="856" y="937"/>
                    <a:pt x="857" y="944"/>
                    <a:pt x="855" y="949"/>
                  </a:cubicBezTo>
                  <a:cubicBezTo>
                    <a:pt x="850" y="960"/>
                    <a:pt x="816" y="1000"/>
                    <a:pt x="803" y="1022"/>
                  </a:cubicBezTo>
                  <a:cubicBezTo>
                    <a:pt x="802" y="1022"/>
                    <a:pt x="801" y="1022"/>
                    <a:pt x="800" y="1023"/>
                  </a:cubicBezTo>
                  <a:cubicBezTo>
                    <a:pt x="800" y="1023"/>
                    <a:pt x="801" y="1024"/>
                    <a:pt x="801" y="1024"/>
                  </a:cubicBezTo>
                  <a:cubicBezTo>
                    <a:pt x="799" y="1029"/>
                    <a:pt x="797" y="1033"/>
                    <a:pt x="798" y="1035"/>
                  </a:cubicBezTo>
                  <a:cubicBezTo>
                    <a:pt x="813" y="1060"/>
                    <a:pt x="851" y="1030"/>
                    <a:pt x="840" y="1093"/>
                  </a:cubicBezTo>
                  <a:cubicBezTo>
                    <a:pt x="838" y="1100"/>
                    <a:pt x="836" y="1106"/>
                    <a:pt x="832" y="1109"/>
                  </a:cubicBezTo>
                  <a:cubicBezTo>
                    <a:pt x="825" y="1105"/>
                    <a:pt x="820" y="1101"/>
                    <a:pt x="820" y="1101"/>
                  </a:cubicBezTo>
                  <a:cubicBezTo>
                    <a:pt x="819" y="1099"/>
                    <a:pt x="812" y="1093"/>
                    <a:pt x="811" y="1095"/>
                  </a:cubicBezTo>
                  <a:cubicBezTo>
                    <a:pt x="809" y="1097"/>
                    <a:pt x="820" y="1105"/>
                    <a:pt x="830" y="1111"/>
                  </a:cubicBezTo>
                  <a:cubicBezTo>
                    <a:pt x="813" y="1124"/>
                    <a:pt x="780" y="1103"/>
                    <a:pt x="758" y="1105"/>
                  </a:cubicBezTo>
                  <a:cubicBezTo>
                    <a:pt x="752" y="1106"/>
                    <a:pt x="742" y="1110"/>
                    <a:pt x="731" y="1116"/>
                  </a:cubicBezTo>
                  <a:cubicBezTo>
                    <a:pt x="732" y="1102"/>
                    <a:pt x="726" y="1095"/>
                    <a:pt x="718" y="1099"/>
                  </a:cubicBezTo>
                  <a:cubicBezTo>
                    <a:pt x="718" y="1099"/>
                    <a:pt x="724" y="1107"/>
                    <a:pt x="725" y="1109"/>
                  </a:cubicBezTo>
                  <a:cubicBezTo>
                    <a:pt x="725" y="1111"/>
                    <a:pt x="726" y="1115"/>
                    <a:pt x="727" y="1118"/>
                  </a:cubicBezTo>
                  <a:cubicBezTo>
                    <a:pt x="725" y="1119"/>
                    <a:pt x="724" y="1120"/>
                    <a:pt x="722" y="1121"/>
                  </a:cubicBezTo>
                  <a:cubicBezTo>
                    <a:pt x="719" y="1120"/>
                    <a:pt x="716" y="1121"/>
                    <a:pt x="714" y="1124"/>
                  </a:cubicBezTo>
                  <a:cubicBezTo>
                    <a:pt x="714" y="1125"/>
                    <a:pt x="714" y="1125"/>
                    <a:pt x="714" y="1126"/>
                  </a:cubicBezTo>
                  <a:cubicBezTo>
                    <a:pt x="688" y="1143"/>
                    <a:pt x="661" y="1167"/>
                    <a:pt x="660" y="1182"/>
                  </a:cubicBezTo>
                  <a:cubicBezTo>
                    <a:pt x="660" y="1188"/>
                    <a:pt x="667" y="1192"/>
                    <a:pt x="666" y="1197"/>
                  </a:cubicBezTo>
                  <a:cubicBezTo>
                    <a:pt x="664" y="1208"/>
                    <a:pt x="643" y="1218"/>
                    <a:pt x="642" y="1229"/>
                  </a:cubicBezTo>
                  <a:cubicBezTo>
                    <a:pt x="642" y="1241"/>
                    <a:pt x="663" y="1254"/>
                    <a:pt x="663" y="1266"/>
                  </a:cubicBezTo>
                  <a:cubicBezTo>
                    <a:pt x="663" y="1266"/>
                    <a:pt x="651" y="1284"/>
                    <a:pt x="651" y="1284"/>
                  </a:cubicBezTo>
                  <a:cubicBezTo>
                    <a:pt x="649" y="1289"/>
                    <a:pt x="656" y="1300"/>
                    <a:pt x="656" y="1306"/>
                  </a:cubicBezTo>
                  <a:cubicBezTo>
                    <a:pt x="655" y="1312"/>
                    <a:pt x="648" y="1322"/>
                    <a:pt x="650" y="1328"/>
                  </a:cubicBezTo>
                  <a:cubicBezTo>
                    <a:pt x="653" y="1345"/>
                    <a:pt x="673" y="1359"/>
                    <a:pt x="675" y="1377"/>
                  </a:cubicBezTo>
                  <a:cubicBezTo>
                    <a:pt x="677" y="1401"/>
                    <a:pt x="652" y="1433"/>
                    <a:pt x="659" y="1455"/>
                  </a:cubicBezTo>
                  <a:cubicBezTo>
                    <a:pt x="666" y="1483"/>
                    <a:pt x="713" y="1480"/>
                    <a:pt x="724" y="1509"/>
                  </a:cubicBezTo>
                  <a:cubicBezTo>
                    <a:pt x="725" y="1512"/>
                    <a:pt x="709" y="1550"/>
                    <a:pt x="706" y="1552"/>
                  </a:cubicBezTo>
                  <a:cubicBezTo>
                    <a:pt x="698" y="1558"/>
                    <a:pt x="671" y="1550"/>
                    <a:pt x="669" y="1564"/>
                  </a:cubicBezTo>
                  <a:cubicBezTo>
                    <a:pt x="666" y="1587"/>
                    <a:pt x="702" y="1614"/>
                    <a:pt x="702" y="1639"/>
                  </a:cubicBezTo>
                  <a:cubicBezTo>
                    <a:pt x="702" y="1650"/>
                    <a:pt x="694" y="1653"/>
                    <a:pt x="691" y="1663"/>
                  </a:cubicBezTo>
                  <a:cubicBezTo>
                    <a:pt x="690" y="1665"/>
                    <a:pt x="691" y="1668"/>
                    <a:pt x="691" y="1671"/>
                  </a:cubicBezTo>
                  <a:cubicBezTo>
                    <a:pt x="691" y="1676"/>
                    <a:pt x="691" y="1681"/>
                    <a:pt x="691" y="1686"/>
                  </a:cubicBezTo>
                  <a:cubicBezTo>
                    <a:pt x="691" y="1689"/>
                    <a:pt x="692" y="1692"/>
                    <a:pt x="691" y="1694"/>
                  </a:cubicBezTo>
                  <a:cubicBezTo>
                    <a:pt x="688" y="1700"/>
                    <a:pt x="669" y="1718"/>
                    <a:pt x="663" y="1720"/>
                  </a:cubicBezTo>
                  <a:cubicBezTo>
                    <a:pt x="659" y="1722"/>
                    <a:pt x="632" y="1718"/>
                    <a:pt x="632" y="1728"/>
                  </a:cubicBezTo>
                  <a:cubicBezTo>
                    <a:pt x="632" y="1733"/>
                    <a:pt x="638" y="1737"/>
                    <a:pt x="638" y="1742"/>
                  </a:cubicBezTo>
                  <a:cubicBezTo>
                    <a:pt x="640" y="1758"/>
                    <a:pt x="623" y="1752"/>
                    <a:pt x="618" y="1763"/>
                  </a:cubicBezTo>
                  <a:cubicBezTo>
                    <a:pt x="615" y="1770"/>
                    <a:pt x="619" y="1783"/>
                    <a:pt x="623" y="1797"/>
                  </a:cubicBezTo>
                  <a:cubicBezTo>
                    <a:pt x="622" y="1797"/>
                    <a:pt x="622" y="1797"/>
                    <a:pt x="622" y="1797"/>
                  </a:cubicBezTo>
                  <a:cubicBezTo>
                    <a:pt x="621" y="1801"/>
                    <a:pt x="624" y="1807"/>
                    <a:pt x="627" y="1813"/>
                  </a:cubicBezTo>
                  <a:cubicBezTo>
                    <a:pt x="630" y="1831"/>
                    <a:pt x="630" y="1849"/>
                    <a:pt x="615" y="1861"/>
                  </a:cubicBezTo>
                  <a:cubicBezTo>
                    <a:pt x="601" y="1872"/>
                    <a:pt x="599" y="1861"/>
                    <a:pt x="597" y="1851"/>
                  </a:cubicBezTo>
                  <a:close/>
                  <a:moveTo>
                    <a:pt x="1736" y="255"/>
                  </a:moveTo>
                  <a:cubicBezTo>
                    <a:pt x="1736" y="255"/>
                    <a:pt x="1736" y="255"/>
                    <a:pt x="1736" y="255"/>
                  </a:cubicBezTo>
                  <a:cubicBezTo>
                    <a:pt x="1743" y="253"/>
                    <a:pt x="1755" y="240"/>
                    <a:pt x="1734" y="238"/>
                  </a:cubicBezTo>
                  <a:cubicBezTo>
                    <a:pt x="1723" y="237"/>
                    <a:pt x="1726" y="253"/>
                    <a:pt x="1736" y="255"/>
                  </a:cubicBezTo>
                  <a:close/>
                  <a:moveTo>
                    <a:pt x="1273" y="409"/>
                  </a:moveTo>
                  <a:cubicBezTo>
                    <a:pt x="1274" y="411"/>
                    <a:pt x="1281" y="413"/>
                    <a:pt x="1282" y="414"/>
                  </a:cubicBezTo>
                  <a:cubicBezTo>
                    <a:pt x="1305" y="425"/>
                    <a:pt x="1329" y="434"/>
                    <a:pt x="1349" y="450"/>
                  </a:cubicBezTo>
                  <a:cubicBezTo>
                    <a:pt x="1350" y="450"/>
                    <a:pt x="1352" y="450"/>
                    <a:pt x="1353" y="451"/>
                  </a:cubicBezTo>
                  <a:cubicBezTo>
                    <a:pt x="1356" y="449"/>
                    <a:pt x="1335" y="423"/>
                    <a:pt x="1300" y="419"/>
                  </a:cubicBezTo>
                  <a:cubicBezTo>
                    <a:pt x="1293" y="418"/>
                    <a:pt x="1288" y="415"/>
                    <a:pt x="1282" y="413"/>
                  </a:cubicBezTo>
                  <a:cubicBezTo>
                    <a:pt x="1279" y="411"/>
                    <a:pt x="1273" y="406"/>
                    <a:pt x="1273" y="409"/>
                  </a:cubicBezTo>
                  <a:close/>
                  <a:moveTo>
                    <a:pt x="842" y="713"/>
                  </a:moveTo>
                  <a:cubicBezTo>
                    <a:pt x="844" y="712"/>
                    <a:pt x="844" y="712"/>
                    <a:pt x="844" y="712"/>
                  </a:cubicBezTo>
                  <a:cubicBezTo>
                    <a:pt x="847" y="712"/>
                    <a:pt x="850" y="706"/>
                    <a:pt x="849" y="704"/>
                  </a:cubicBezTo>
                  <a:cubicBezTo>
                    <a:pt x="847" y="701"/>
                    <a:pt x="817" y="714"/>
                    <a:pt x="842" y="713"/>
                  </a:cubicBezTo>
                  <a:close/>
                  <a:moveTo>
                    <a:pt x="844" y="759"/>
                  </a:moveTo>
                  <a:cubicBezTo>
                    <a:pt x="845" y="759"/>
                    <a:pt x="850" y="760"/>
                    <a:pt x="850" y="758"/>
                  </a:cubicBezTo>
                  <a:cubicBezTo>
                    <a:pt x="849" y="756"/>
                    <a:pt x="834" y="758"/>
                    <a:pt x="832" y="757"/>
                  </a:cubicBezTo>
                  <a:cubicBezTo>
                    <a:pt x="829" y="757"/>
                    <a:pt x="814" y="748"/>
                    <a:pt x="812" y="751"/>
                  </a:cubicBezTo>
                  <a:cubicBezTo>
                    <a:pt x="809" y="756"/>
                    <a:pt x="823" y="754"/>
                    <a:pt x="826" y="758"/>
                  </a:cubicBezTo>
                  <a:cubicBezTo>
                    <a:pt x="827" y="759"/>
                    <a:pt x="827" y="759"/>
                    <a:pt x="827" y="759"/>
                  </a:cubicBezTo>
                  <a:cubicBezTo>
                    <a:pt x="828" y="768"/>
                    <a:pt x="834" y="760"/>
                    <a:pt x="844" y="759"/>
                  </a:cubicBezTo>
                  <a:close/>
                  <a:moveTo>
                    <a:pt x="807" y="865"/>
                  </a:moveTo>
                  <a:cubicBezTo>
                    <a:pt x="807" y="866"/>
                    <a:pt x="827" y="869"/>
                    <a:pt x="830" y="871"/>
                  </a:cubicBezTo>
                  <a:cubicBezTo>
                    <a:pt x="832" y="870"/>
                    <a:pt x="832" y="870"/>
                    <a:pt x="832" y="870"/>
                  </a:cubicBezTo>
                  <a:cubicBezTo>
                    <a:pt x="851" y="871"/>
                    <a:pt x="831" y="861"/>
                    <a:pt x="832" y="858"/>
                  </a:cubicBezTo>
                  <a:cubicBezTo>
                    <a:pt x="833" y="854"/>
                    <a:pt x="842" y="854"/>
                    <a:pt x="844" y="851"/>
                  </a:cubicBezTo>
                  <a:cubicBezTo>
                    <a:pt x="846" y="849"/>
                    <a:pt x="840" y="849"/>
                    <a:pt x="841" y="847"/>
                  </a:cubicBezTo>
                  <a:cubicBezTo>
                    <a:pt x="843" y="839"/>
                    <a:pt x="851" y="838"/>
                    <a:pt x="859" y="836"/>
                  </a:cubicBezTo>
                  <a:cubicBezTo>
                    <a:pt x="859" y="835"/>
                    <a:pt x="869" y="833"/>
                    <a:pt x="865" y="832"/>
                  </a:cubicBezTo>
                  <a:cubicBezTo>
                    <a:pt x="849" y="827"/>
                    <a:pt x="836" y="844"/>
                    <a:pt x="823" y="850"/>
                  </a:cubicBezTo>
                  <a:cubicBezTo>
                    <a:pt x="821" y="851"/>
                    <a:pt x="810" y="841"/>
                    <a:pt x="810" y="843"/>
                  </a:cubicBezTo>
                  <a:cubicBezTo>
                    <a:pt x="810" y="849"/>
                    <a:pt x="829" y="857"/>
                    <a:pt x="820" y="863"/>
                  </a:cubicBezTo>
                  <a:cubicBezTo>
                    <a:pt x="818" y="864"/>
                    <a:pt x="807" y="865"/>
                    <a:pt x="807" y="865"/>
                  </a:cubicBezTo>
                  <a:close/>
                  <a:moveTo>
                    <a:pt x="784" y="967"/>
                  </a:moveTo>
                  <a:cubicBezTo>
                    <a:pt x="786" y="971"/>
                    <a:pt x="781" y="972"/>
                    <a:pt x="785" y="976"/>
                  </a:cubicBezTo>
                  <a:cubicBezTo>
                    <a:pt x="784" y="976"/>
                    <a:pt x="784" y="976"/>
                    <a:pt x="784" y="976"/>
                  </a:cubicBezTo>
                  <a:cubicBezTo>
                    <a:pt x="788" y="982"/>
                    <a:pt x="796" y="968"/>
                    <a:pt x="803" y="969"/>
                  </a:cubicBezTo>
                  <a:cubicBezTo>
                    <a:pt x="803" y="969"/>
                    <a:pt x="811" y="969"/>
                    <a:pt x="810" y="968"/>
                  </a:cubicBezTo>
                  <a:cubicBezTo>
                    <a:pt x="805" y="960"/>
                    <a:pt x="797" y="969"/>
                    <a:pt x="789" y="969"/>
                  </a:cubicBezTo>
                  <a:cubicBezTo>
                    <a:pt x="788" y="969"/>
                    <a:pt x="781" y="961"/>
                    <a:pt x="780" y="961"/>
                  </a:cubicBezTo>
                  <a:cubicBezTo>
                    <a:pt x="779" y="963"/>
                    <a:pt x="784" y="966"/>
                    <a:pt x="784" y="967"/>
                  </a:cubicBezTo>
                  <a:close/>
                  <a:moveTo>
                    <a:pt x="774" y="992"/>
                  </a:moveTo>
                  <a:cubicBezTo>
                    <a:pt x="780" y="1000"/>
                    <a:pt x="791" y="1010"/>
                    <a:pt x="800" y="1015"/>
                  </a:cubicBezTo>
                  <a:cubicBezTo>
                    <a:pt x="800" y="1015"/>
                    <a:pt x="800" y="1015"/>
                    <a:pt x="800" y="1015"/>
                  </a:cubicBezTo>
                  <a:cubicBezTo>
                    <a:pt x="806" y="1017"/>
                    <a:pt x="805" y="1008"/>
                    <a:pt x="802" y="1007"/>
                  </a:cubicBezTo>
                  <a:cubicBezTo>
                    <a:pt x="784" y="1000"/>
                    <a:pt x="795" y="987"/>
                    <a:pt x="793" y="983"/>
                  </a:cubicBezTo>
                  <a:cubicBezTo>
                    <a:pt x="792" y="981"/>
                    <a:pt x="785" y="978"/>
                    <a:pt x="783" y="980"/>
                  </a:cubicBezTo>
                  <a:cubicBezTo>
                    <a:pt x="781" y="981"/>
                    <a:pt x="779" y="979"/>
                    <a:pt x="778" y="981"/>
                  </a:cubicBezTo>
                  <a:cubicBezTo>
                    <a:pt x="777" y="983"/>
                    <a:pt x="785" y="984"/>
                    <a:pt x="785" y="984"/>
                  </a:cubicBezTo>
                  <a:cubicBezTo>
                    <a:pt x="789" y="987"/>
                    <a:pt x="771" y="988"/>
                    <a:pt x="774" y="992"/>
                  </a:cubicBezTo>
                  <a:close/>
                  <a:moveTo>
                    <a:pt x="754" y="1021"/>
                  </a:moveTo>
                  <a:cubicBezTo>
                    <a:pt x="754" y="1021"/>
                    <a:pt x="754" y="1021"/>
                    <a:pt x="754" y="1021"/>
                  </a:cubicBezTo>
                  <a:cubicBezTo>
                    <a:pt x="760" y="1023"/>
                    <a:pt x="766" y="1015"/>
                    <a:pt x="769" y="1015"/>
                  </a:cubicBezTo>
                  <a:cubicBezTo>
                    <a:pt x="775" y="1014"/>
                    <a:pt x="804" y="1023"/>
                    <a:pt x="788" y="1014"/>
                  </a:cubicBezTo>
                  <a:cubicBezTo>
                    <a:pt x="776" y="1007"/>
                    <a:pt x="762" y="995"/>
                    <a:pt x="757" y="1017"/>
                  </a:cubicBezTo>
                  <a:cubicBezTo>
                    <a:pt x="756" y="1020"/>
                    <a:pt x="752" y="1016"/>
                    <a:pt x="754" y="1021"/>
                  </a:cubicBezTo>
                  <a:close/>
                  <a:moveTo>
                    <a:pt x="641" y="1537"/>
                  </a:moveTo>
                  <a:cubicBezTo>
                    <a:pt x="638" y="1532"/>
                    <a:pt x="634" y="1521"/>
                    <a:pt x="629" y="1519"/>
                  </a:cubicBezTo>
                  <a:cubicBezTo>
                    <a:pt x="629" y="1519"/>
                    <a:pt x="629" y="1519"/>
                    <a:pt x="629" y="1519"/>
                  </a:cubicBezTo>
                  <a:cubicBezTo>
                    <a:pt x="620" y="1514"/>
                    <a:pt x="643" y="1545"/>
                    <a:pt x="645" y="1544"/>
                  </a:cubicBezTo>
                  <a:cubicBezTo>
                    <a:pt x="646" y="1544"/>
                    <a:pt x="641" y="1538"/>
                    <a:pt x="641" y="1537"/>
                  </a:cubicBezTo>
                  <a:close/>
                  <a:moveTo>
                    <a:pt x="640" y="1372"/>
                  </a:moveTo>
                  <a:cubicBezTo>
                    <a:pt x="636" y="1394"/>
                    <a:pt x="625" y="1390"/>
                    <a:pt x="622" y="1399"/>
                  </a:cubicBezTo>
                  <a:cubicBezTo>
                    <a:pt x="622" y="1401"/>
                    <a:pt x="623" y="1402"/>
                    <a:pt x="624" y="1403"/>
                  </a:cubicBezTo>
                  <a:cubicBezTo>
                    <a:pt x="632" y="1409"/>
                    <a:pt x="642" y="1426"/>
                    <a:pt x="641" y="1425"/>
                  </a:cubicBezTo>
                  <a:cubicBezTo>
                    <a:pt x="641" y="1424"/>
                    <a:pt x="639" y="1418"/>
                    <a:pt x="639" y="1417"/>
                  </a:cubicBezTo>
                  <a:cubicBezTo>
                    <a:pt x="639" y="1416"/>
                    <a:pt x="639" y="1416"/>
                    <a:pt x="639" y="1416"/>
                  </a:cubicBezTo>
                  <a:cubicBezTo>
                    <a:pt x="642" y="1401"/>
                    <a:pt x="647" y="1360"/>
                    <a:pt x="644" y="1357"/>
                  </a:cubicBezTo>
                  <a:cubicBezTo>
                    <a:pt x="635" y="1348"/>
                    <a:pt x="641" y="1366"/>
                    <a:pt x="640" y="1372"/>
                  </a:cubicBezTo>
                  <a:close/>
                  <a:moveTo>
                    <a:pt x="609" y="1115"/>
                  </a:moveTo>
                  <a:cubicBezTo>
                    <a:pt x="609" y="1116"/>
                    <a:pt x="609" y="1115"/>
                    <a:pt x="610" y="1115"/>
                  </a:cubicBezTo>
                  <a:cubicBezTo>
                    <a:pt x="619" y="1115"/>
                    <a:pt x="613" y="1104"/>
                    <a:pt x="624" y="1102"/>
                  </a:cubicBezTo>
                  <a:cubicBezTo>
                    <a:pt x="645" y="1097"/>
                    <a:pt x="661" y="1092"/>
                    <a:pt x="679" y="1084"/>
                  </a:cubicBezTo>
                  <a:cubicBezTo>
                    <a:pt x="680" y="1084"/>
                    <a:pt x="680" y="1083"/>
                    <a:pt x="680" y="1082"/>
                  </a:cubicBezTo>
                  <a:cubicBezTo>
                    <a:pt x="678" y="1080"/>
                    <a:pt x="610" y="1102"/>
                    <a:pt x="613" y="1106"/>
                  </a:cubicBezTo>
                  <a:cubicBezTo>
                    <a:pt x="615" y="1108"/>
                    <a:pt x="611" y="1113"/>
                    <a:pt x="610" y="1114"/>
                  </a:cubicBezTo>
                  <a:cubicBezTo>
                    <a:pt x="609" y="1115"/>
                    <a:pt x="609" y="1115"/>
                    <a:pt x="609" y="1115"/>
                  </a:cubicBezTo>
                  <a:cubicBezTo>
                    <a:pt x="609" y="1115"/>
                    <a:pt x="609" y="1115"/>
                    <a:pt x="609" y="1115"/>
                  </a:cubicBezTo>
                  <a:close/>
                  <a:moveTo>
                    <a:pt x="622" y="1662"/>
                  </a:moveTo>
                  <a:cubicBezTo>
                    <a:pt x="623" y="1663"/>
                    <a:pt x="618" y="1651"/>
                    <a:pt x="615" y="1646"/>
                  </a:cubicBezTo>
                  <a:cubicBezTo>
                    <a:pt x="615" y="1646"/>
                    <a:pt x="615" y="1646"/>
                    <a:pt x="615" y="1646"/>
                  </a:cubicBezTo>
                  <a:cubicBezTo>
                    <a:pt x="612" y="1641"/>
                    <a:pt x="615" y="1653"/>
                    <a:pt x="610" y="1652"/>
                  </a:cubicBezTo>
                  <a:cubicBezTo>
                    <a:pt x="602" y="1650"/>
                    <a:pt x="622" y="1662"/>
                    <a:pt x="622" y="1662"/>
                  </a:cubicBezTo>
                  <a:close/>
                  <a:moveTo>
                    <a:pt x="314" y="1848"/>
                  </a:moveTo>
                  <a:cubicBezTo>
                    <a:pt x="314" y="1834"/>
                    <a:pt x="302" y="1838"/>
                    <a:pt x="297" y="1829"/>
                  </a:cubicBezTo>
                  <a:cubicBezTo>
                    <a:pt x="286" y="1809"/>
                    <a:pt x="307" y="1852"/>
                    <a:pt x="314" y="1849"/>
                  </a:cubicBezTo>
                  <a:lnTo>
                    <a:pt x="314" y="1848"/>
                  </a:lnTo>
                  <a:close/>
                  <a:moveTo>
                    <a:pt x="318" y="1734"/>
                  </a:moveTo>
                  <a:cubicBezTo>
                    <a:pt x="314" y="1727"/>
                    <a:pt x="301" y="1728"/>
                    <a:pt x="296" y="1725"/>
                  </a:cubicBezTo>
                  <a:cubicBezTo>
                    <a:pt x="290" y="1722"/>
                    <a:pt x="301" y="1717"/>
                    <a:pt x="293" y="1713"/>
                  </a:cubicBezTo>
                  <a:cubicBezTo>
                    <a:pt x="288" y="1709"/>
                    <a:pt x="278" y="1707"/>
                    <a:pt x="291" y="1713"/>
                  </a:cubicBezTo>
                  <a:cubicBezTo>
                    <a:pt x="292" y="1713"/>
                    <a:pt x="292" y="1713"/>
                    <a:pt x="292" y="1713"/>
                  </a:cubicBezTo>
                  <a:cubicBezTo>
                    <a:pt x="292" y="1713"/>
                    <a:pt x="292" y="1713"/>
                    <a:pt x="293" y="1713"/>
                  </a:cubicBezTo>
                  <a:cubicBezTo>
                    <a:pt x="293" y="1714"/>
                    <a:pt x="294" y="1715"/>
                    <a:pt x="294" y="1716"/>
                  </a:cubicBezTo>
                  <a:cubicBezTo>
                    <a:pt x="295" y="1720"/>
                    <a:pt x="291" y="1726"/>
                    <a:pt x="292" y="1730"/>
                  </a:cubicBezTo>
                  <a:cubicBezTo>
                    <a:pt x="292" y="1733"/>
                    <a:pt x="300" y="1737"/>
                    <a:pt x="303" y="1738"/>
                  </a:cubicBezTo>
                  <a:cubicBezTo>
                    <a:pt x="305" y="1739"/>
                    <a:pt x="312" y="1742"/>
                    <a:pt x="310" y="1740"/>
                  </a:cubicBezTo>
                  <a:cubicBezTo>
                    <a:pt x="309" y="1739"/>
                    <a:pt x="296" y="1732"/>
                    <a:pt x="300" y="1729"/>
                  </a:cubicBezTo>
                  <a:cubicBezTo>
                    <a:pt x="300" y="1728"/>
                    <a:pt x="318" y="1734"/>
                    <a:pt x="318" y="1734"/>
                  </a:cubicBezTo>
                  <a:close/>
                  <a:moveTo>
                    <a:pt x="333" y="1804"/>
                  </a:moveTo>
                  <a:cubicBezTo>
                    <a:pt x="333" y="1804"/>
                    <a:pt x="333" y="1804"/>
                    <a:pt x="333" y="1804"/>
                  </a:cubicBezTo>
                  <a:cubicBezTo>
                    <a:pt x="327" y="1800"/>
                    <a:pt x="330" y="1848"/>
                    <a:pt x="335" y="1847"/>
                  </a:cubicBezTo>
                  <a:cubicBezTo>
                    <a:pt x="335" y="1847"/>
                    <a:pt x="334" y="1806"/>
                    <a:pt x="333" y="1804"/>
                  </a:cubicBezTo>
                  <a:close/>
                  <a:moveTo>
                    <a:pt x="397" y="1512"/>
                  </a:moveTo>
                  <a:cubicBezTo>
                    <a:pt x="397" y="1510"/>
                    <a:pt x="403" y="1512"/>
                    <a:pt x="403" y="1511"/>
                  </a:cubicBezTo>
                  <a:cubicBezTo>
                    <a:pt x="400" y="1505"/>
                    <a:pt x="386" y="1510"/>
                    <a:pt x="381" y="1512"/>
                  </a:cubicBezTo>
                  <a:cubicBezTo>
                    <a:pt x="380" y="1512"/>
                    <a:pt x="380" y="1512"/>
                    <a:pt x="380" y="1512"/>
                  </a:cubicBezTo>
                  <a:cubicBezTo>
                    <a:pt x="369" y="1520"/>
                    <a:pt x="352" y="1511"/>
                    <a:pt x="338" y="1511"/>
                  </a:cubicBezTo>
                  <a:cubicBezTo>
                    <a:pt x="334" y="1510"/>
                    <a:pt x="329" y="1510"/>
                    <a:pt x="325" y="1509"/>
                  </a:cubicBezTo>
                  <a:cubicBezTo>
                    <a:pt x="323" y="1508"/>
                    <a:pt x="316" y="1506"/>
                    <a:pt x="318" y="1508"/>
                  </a:cubicBezTo>
                  <a:cubicBezTo>
                    <a:pt x="330" y="1519"/>
                    <a:pt x="372" y="1519"/>
                    <a:pt x="381" y="1513"/>
                  </a:cubicBezTo>
                  <a:cubicBezTo>
                    <a:pt x="386" y="1510"/>
                    <a:pt x="397" y="1517"/>
                    <a:pt x="397" y="1512"/>
                  </a:cubicBezTo>
                  <a:close/>
                  <a:moveTo>
                    <a:pt x="425" y="1821"/>
                  </a:moveTo>
                  <a:cubicBezTo>
                    <a:pt x="421" y="1814"/>
                    <a:pt x="401" y="1805"/>
                    <a:pt x="402" y="1797"/>
                  </a:cubicBezTo>
                  <a:cubicBezTo>
                    <a:pt x="402" y="1797"/>
                    <a:pt x="402" y="1797"/>
                    <a:pt x="402" y="1797"/>
                  </a:cubicBezTo>
                  <a:cubicBezTo>
                    <a:pt x="402" y="1794"/>
                    <a:pt x="392" y="1795"/>
                    <a:pt x="395" y="1800"/>
                  </a:cubicBezTo>
                  <a:cubicBezTo>
                    <a:pt x="399" y="1806"/>
                    <a:pt x="408" y="1809"/>
                    <a:pt x="412" y="1814"/>
                  </a:cubicBezTo>
                  <a:cubicBezTo>
                    <a:pt x="416" y="1817"/>
                    <a:pt x="426" y="1826"/>
                    <a:pt x="425" y="1821"/>
                  </a:cubicBezTo>
                  <a:close/>
                  <a:moveTo>
                    <a:pt x="515" y="1230"/>
                  </a:moveTo>
                  <a:cubicBezTo>
                    <a:pt x="516" y="1231"/>
                    <a:pt x="520" y="1229"/>
                    <a:pt x="521" y="1229"/>
                  </a:cubicBezTo>
                  <a:cubicBezTo>
                    <a:pt x="526" y="1228"/>
                    <a:pt x="564" y="1238"/>
                    <a:pt x="562" y="1231"/>
                  </a:cubicBezTo>
                  <a:cubicBezTo>
                    <a:pt x="560" y="1228"/>
                    <a:pt x="569" y="1231"/>
                    <a:pt x="566" y="1228"/>
                  </a:cubicBezTo>
                  <a:cubicBezTo>
                    <a:pt x="565" y="1227"/>
                    <a:pt x="565" y="1227"/>
                    <a:pt x="565" y="1227"/>
                  </a:cubicBezTo>
                  <a:cubicBezTo>
                    <a:pt x="557" y="1225"/>
                    <a:pt x="531" y="1226"/>
                    <a:pt x="522" y="1227"/>
                  </a:cubicBezTo>
                  <a:cubicBezTo>
                    <a:pt x="521" y="1227"/>
                    <a:pt x="514" y="1228"/>
                    <a:pt x="515" y="1230"/>
                  </a:cubicBezTo>
                  <a:close/>
                  <a:moveTo>
                    <a:pt x="492" y="1706"/>
                  </a:moveTo>
                  <a:cubicBezTo>
                    <a:pt x="492" y="1705"/>
                    <a:pt x="501" y="1689"/>
                    <a:pt x="499" y="1689"/>
                  </a:cubicBezTo>
                  <a:cubicBezTo>
                    <a:pt x="495" y="1690"/>
                    <a:pt x="497" y="1698"/>
                    <a:pt x="494" y="1698"/>
                  </a:cubicBezTo>
                  <a:cubicBezTo>
                    <a:pt x="483" y="1701"/>
                    <a:pt x="483" y="1677"/>
                    <a:pt x="470" y="1707"/>
                  </a:cubicBezTo>
                  <a:cubicBezTo>
                    <a:pt x="469" y="1708"/>
                    <a:pt x="469" y="1709"/>
                    <a:pt x="469" y="1710"/>
                  </a:cubicBezTo>
                  <a:cubicBezTo>
                    <a:pt x="470" y="1711"/>
                    <a:pt x="476" y="1705"/>
                    <a:pt x="477" y="1704"/>
                  </a:cubicBezTo>
                  <a:cubicBezTo>
                    <a:pt x="488" y="1701"/>
                    <a:pt x="503" y="1729"/>
                    <a:pt x="497" y="1714"/>
                  </a:cubicBezTo>
                  <a:cubicBezTo>
                    <a:pt x="496" y="1711"/>
                    <a:pt x="494" y="1709"/>
                    <a:pt x="493" y="1706"/>
                  </a:cubicBezTo>
                  <a:lnTo>
                    <a:pt x="492" y="1706"/>
                  </a:lnTo>
                  <a:close/>
                  <a:moveTo>
                    <a:pt x="509" y="1639"/>
                  </a:moveTo>
                  <a:cubicBezTo>
                    <a:pt x="507" y="1634"/>
                    <a:pt x="499" y="1631"/>
                    <a:pt x="499" y="1630"/>
                  </a:cubicBezTo>
                  <a:cubicBezTo>
                    <a:pt x="498" y="1627"/>
                    <a:pt x="498" y="1623"/>
                    <a:pt x="498" y="1620"/>
                  </a:cubicBezTo>
                  <a:cubicBezTo>
                    <a:pt x="498" y="1620"/>
                    <a:pt x="498" y="1620"/>
                    <a:pt x="498" y="1620"/>
                  </a:cubicBezTo>
                  <a:cubicBezTo>
                    <a:pt x="500" y="1618"/>
                    <a:pt x="500" y="1616"/>
                    <a:pt x="500" y="1615"/>
                  </a:cubicBezTo>
                  <a:cubicBezTo>
                    <a:pt x="500" y="1615"/>
                    <a:pt x="500" y="1614"/>
                    <a:pt x="500" y="1614"/>
                  </a:cubicBezTo>
                  <a:cubicBezTo>
                    <a:pt x="500" y="1612"/>
                    <a:pt x="499" y="1611"/>
                    <a:pt x="498" y="1609"/>
                  </a:cubicBezTo>
                  <a:cubicBezTo>
                    <a:pt x="498" y="1603"/>
                    <a:pt x="496" y="1597"/>
                    <a:pt x="488" y="1592"/>
                  </a:cubicBezTo>
                  <a:cubicBezTo>
                    <a:pt x="487" y="1592"/>
                    <a:pt x="487" y="1592"/>
                    <a:pt x="487" y="1592"/>
                  </a:cubicBezTo>
                  <a:cubicBezTo>
                    <a:pt x="476" y="1590"/>
                    <a:pt x="492" y="1600"/>
                    <a:pt x="498" y="1609"/>
                  </a:cubicBezTo>
                  <a:cubicBezTo>
                    <a:pt x="498" y="1613"/>
                    <a:pt x="498" y="1616"/>
                    <a:pt x="498" y="1620"/>
                  </a:cubicBezTo>
                  <a:cubicBezTo>
                    <a:pt x="490" y="1627"/>
                    <a:pt x="503" y="1634"/>
                    <a:pt x="504" y="1640"/>
                  </a:cubicBezTo>
                  <a:cubicBezTo>
                    <a:pt x="504" y="1645"/>
                    <a:pt x="495" y="1669"/>
                    <a:pt x="505" y="1670"/>
                  </a:cubicBezTo>
                  <a:cubicBezTo>
                    <a:pt x="506" y="1670"/>
                    <a:pt x="506" y="1670"/>
                    <a:pt x="507" y="1670"/>
                  </a:cubicBezTo>
                  <a:cubicBezTo>
                    <a:pt x="509" y="1668"/>
                    <a:pt x="503" y="1663"/>
                    <a:pt x="503" y="1660"/>
                  </a:cubicBezTo>
                  <a:cubicBezTo>
                    <a:pt x="504" y="1653"/>
                    <a:pt x="509" y="1650"/>
                    <a:pt x="512" y="1645"/>
                  </a:cubicBezTo>
                  <a:cubicBezTo>
                    <a:pt x="513" y="1643"/>
                    <a:pt x="509" y="1641"/>
                    <a:pt x="509" y="1639"/>
                  </a:cubicBezTo>
                  <a:close/>
                  <a:moveTo>
                    <a:pt x="568" y="1667"/>
                  </a:moveTo>
                  <a:cubicBezTo>
                    <a:pt x="575" y="1667"/>
                    <a:pt x="563" y="1658"/>
                    <a:pt x="565" y="1651"/>
                  </a:cubicBezTo>
                  <a:cubicBezTo>
                    <a:pt x="565" y="1649"/>
                    <a:pt x="566" y="1648"/>
                    <a:pt x="565" y="1649"/>
                  </a:cubicBezTo>
                  <a:cubicBezTo>
                    <a:pt x="565" y="1649"/>
                    <a:pt x="565" y="1649"/>
                    <a:pt x="565" y="1649"/>
                  </a:cubicBezTo>
                  <a:cubicBezTo>
                    <a:pt x="565" y="1650"/>
                    <a:pt x="565" y="1650"/>
                    <a:pt x="565" y="1651"/>
                  </a:cubicBezTo>
                  <a:cubicBezTo>
                    <a:pt x="562" y="1656"/>
                    <a:pt x="558" y="1667"/>
                    <a:pt x="568" y="1667"/>
                  </a:cubicBezTo>
                  <a:close/>
                  <a:moveTo>
                    <a:pt x="566" y="1714"/>
                  </a:moveTo>
                  <a:cubicBezTo>
                    <a:pt x="566" y="1714"/>
                    <a:pt x="566" y="1714"/>
                    <a:pt x="566" y="1714"/>
                  </a:cubicBezTo>
                  <a:cubicBezTo>
                    <a:pt x="560" y="1709"/>
                    <a:pt x="566" y="1718"/>
                    <a:pt x="567" y="1720"/>
                  </a:cubicBezTo>
                  <a:cubicBezTo>
                    <a:pt x="574" y="1730"/>
                    <a:pt x="577" y="1740"/>
                    <a:pt x="578" y="1754"/>
                  </a:cubicBezTo>
                  <a:cubicBezTo>
                    <a:pt x="578" y="1756"/>
                    <a:pt x="578" y="1759"/>
                    <a:pt x="581" y="1758"/>
                  </a:cubicBezTo>
                  <a:cubicBezTo>
                    <a:pt x="591" y="1754"/>
                    <a:pt x="569" y="1718"/>
                    <a:pt x="566" y="1714"/>
                  </a:cubicBezTo>
                  <a:close/>
                  <a:moveTo>
                    <a:pt x="584" y="1621"/>
                  </a:moveTo>
                  <a:cubicBezTo>
                    <a:pt x="583" y="1616"/>
                    <a:pt x="582" y="1625"/>
                    <a:pt x="577" y="1621"/>
                  </a:cubicBezTo>
                  <a:cubicBezTo>
                    <a:pt x="560" y="1610"/>
                    <a:pt x="572" y="1582"/>
                    <a:pt x="548" y="1578"/>
                  </a:cubicBezTo>
                  <a:cubicBezTo>
                    <a:pt x="547" y="1578"/>
                    <a:pt x="565" y="1600"/>
                    <a:pt x="546" y="1597"/>
                  </a:cubicBezTo>
                  <a:cubicBezTo>
                    <a:pt x="529" y="1594"/>
                    <a:pt x="534" y="1573"/>
                    <a:pt x="519" y="1562"/>
                  </a:cubicBezTo>
                  <a:cubicBezTo>
                    <a:pt x="519" y="1562"/>
                    <a:pt x="519" y="1562"/>
                    <a:pt x="519" y="1562"/>
                  </a:cubicBezTo>
                  <a:cubicBezTo>
                    <a:pt x="511" y="1558"/>
                    <a:pt x="509" y="1552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8" y="1546"/>
                    <a:pt x="508" y="1545"/>
                    <a:pt x="508" y="1545"/>
                  </a:cubicBezTo>
                  <a:cubicBezTo>
                    <a:pt x="508" y="1545"/>
                    <a:pt x="508" y="1547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9" y="1549"/>
                    <a:pt x="508" y="1551"/>
                    <a:pt x="508" y="1552"/>
                  </a:cubicBezTo>
                  <a:cubicBezTo>
                    <a:pt x="505" y="1561"/>
                    <a:pt x="521" y="1566"/>
                    <a:pt x="527" y="1573"/>
                  </a:cubicBezTo>
                  <a:cubicBezTo>
                    <a:pt x="533" y="1580"/>
                    <a:pt x="527" y="1590"/>
                    <a:pt x="534" y="1595"/>
                  </a:cubicBezTo>
                  <a:cubicBezTo>
                    <a:pt x="544" y="1604"/>
                    <a:pt x="557" y="1608"/>
                    <a:pt x="567" y="1616"/>
                  </a:cubicBezTo>
                  <a:cubicBezTo>
                    <a:pt x="576" y="1623"/>
                    <a:pt x="570" y="1632"/>
                    <a:pt x="575" y="1640"/>
                  </a:cubicBezTo>
                  <a:cubicBezTo>
                    <a:pt x="576" y="1642"/>
                    <a:pt x="577" y="1650"/>
                    <a:pt x="579" y="1648"/>
                  </a:cubicBezTo>
                  <a:cubicBezTo>
                    <a:pt x="581" y="1647"/>
                    <a:pt x="579" y="1636"/>
                    <a:pt x="579" y="1633"/>
                  </a:cubicBezTo>
                  <a:cubicBezTo>
                    <a:pt x="579" y="1629"/>
                    <a:pt x="585" y="1624"/>
                    <a:pt x="584" y="1621"/>
                  </a:cubicBezTo>
                  <a:close/>
                  <a:moveTo>
                    <a:pt x="585" y="1492"/>
                  </a:moveTo>
                  <a:cubicBezTo>
                    <a:pt x="580" y="1482"/>
                    <a:pt x="583" y="1474"/>
                    <a:pt x="579" y="1464"/>
                  </a:cubicBezTo>
                  <a:cubicBezTo>
                    <a:pt x="579" y="1464"/>
                    <a:pt x="579" y="1464"/>
                    <a:pt x="579" y="1464"/>
                  </a:cubicBezTo>
                  <a:cubicBezTo>
                    <a:pt x="577" y="1461"/>
                    <a:pt x="578" y="1504"/>
                    <a:pt x="589" y="1504"/>
                  </a:cubicBezTo>
                  <a:cubicBezTo>
                    <a:pt x="593" y="1504"/>
                    <a:pt x="586" y="1493"/>
                    <a:pt x="585" y="1492"/>
                  </a:cubicBezTo>
                  <a:close/>
                  <a:moveTo>
                    <a:pt x="38" y="1632"/>
                  </a:moveTo>
                  <a:cubicBezTo>
                    <a:pt x="46" y="1625"/>
                    <a:pt x="17" y="1619"/>
                    <a:pt x="16" y="1619"/>
                  </a:cubicBezTo>
                  <a:cubicBezTo>
                    <a:pt x="16" y="1619"/>
                    <a:pt x="16" y="1619"/>
                    <a:pt x="16" y="1619"/>
                  </a:cubicBezTo>
                  <a:cubicBezTo>
                    <a:pt x="12" y="1618"/>
                    <a:pt x="33" y="1636"/>
                    <a:pt x="38" y="1632"/>
                  </a:cubicBezTo>
                  <a:close/>
                  <a:moveTo>
                    <a:pt x="168" y="1435"/>
                  </a:moveTo>
                  <a:cubicBezTo>
                    <a:pt x="164" y="1435"/>
                    <a:pt x="163" y="1438"/>
                    <a:pt x="161" y="1440"/>
                  </a:cubicBezTo>
                  <a:cubicBezTo>
                    <a:pt x="164" y="1439"/>
                    <a:pt x="167" y="1436"/>
                    <a:pt x="171" y="1435"/>
                  </a:cubicBezTo>
                  <a:cubicBezTo>
                    <a:pt x="170" y="1435"/>
                    <a:pt x="169" y="1435"/>
                    <a:pt x="168" y="1435"/>
                  </a:cubicBezTo>
                  <a:close/>
                  <a:moveTo>
                    <a:pt x="31" y="1620"/>
                  </a:moveTo>
                  <a:cubicBezTo>
                    <a:pt x="34" y="1617"/>
                    <a:pt x="9" y="1598"/>
                    <a:pt x="7" y="1597"/>
                  </a:cubicBezTo>
                  <a:cubicBezTo>
                    <a:pt x="6" y="1597"/>
                    <a:pt x="6" y="1597"/>
                    <a:pt x="6" y="1597"/>
                  </a:cubicBezTo>
                  <a:cubicBezTo>
                    <a:pt x="0" y="1595"/>
                    <a:pt x="24" y="1625"/>
                    <a:pt x="31" y="1620"/>
                  </a:cubicBezTo>
                  <a:close/>
                  <a:moveTo>
                    <a:pt x="20" y="1628"/>
                  </a:moveTo>
                  <a:cubicBezTo>
                    <a:pt x="16" y="1626"/>
                    <a:pt x="22" y="1638"/>
                    <a:pt x="24" y="1635"/>
                  </a:cubicBezTo>
                  <a:cubicBezTo>
                    <a:pt x="26" y="1633"/>
                    <a:pt x="31" y="1653"/>
                    <a:pt x="39" y="1648"/>
                  </a:cubicBezTo>
                  <a:cubicBezTo>
                    <a:pt x="50" y="1641"/>
                    <a:pt x="22" y="1630"/>
                    <a:pt x="20" y="1628"/>
                  </a:cubicBezTo>
                  <a:close/>
                  <a:moveTo>
                    <a:pt x="130" y="1797"/>
                  </a:moveTo>
                  <a:cubicBezTo>
                    <a:pt x="130" y="1797"/>
                    <a:pt x="130" y="1797"/>
                    <a:pt x="130" y="1798"/>
                  </a:cubicBezTo>
                  <a:cubicBezTo>
                    <a:pt x="130" y="1798"/>
                    <a:pt x="130" y="1798"/>
                    <a:pt x="130" y="1798"/>
                  </a:cubicBezTo>
                  <a:cubicBezTo>
                    <a:pt x="130" y="1797"/>
                    <a:pt x="130" y="1797"/>
                    <a:pt x="130" y="1797"/>
                  </a:cubicBezTo>
                  <a:close/>
                  <a:moveTo>
                    <a:pt x="60" y="1703"/>
                  </a:moveTo>
                  <a:cubicBezTo>
                    <a:pt x="61" y="1700"/>
                    <a:pt x="59" y="1695"/>
                    <a:pt x="57" y="1694"/>
                  </a:cubicBezTo>
                  <a:cubicBezTo>
                    <a:pt x="57" y="1694"/>
                    <a:pt x="57" y="1694"/>
                    <a:pt x="57" y="1694"/>
                  </a:cubicBezTo>
                  <a:cubicBezTo>
                    <a:pt x="49" y="1693"/>
                    <a:pt x="56" y="1713"/>
                    <a:pt x="60" y="1703"/>
                  </a:cubicBezTo>
                  <a:close/>
                  <a:moveTo>
                    <a:pt x="57" y="1814"/>
                  </a:moveTo>
                  <a:cubicBezTo>
                    <a:pt x="57" y="1814"/>
                    <a:pt x="57" y="1814"/>
                    <a:pt x="57" y="1814"/>
                  </a:cubicBezTo>
                  <a:cubicBezTo>
                    <a:pt x="56" y="1814"/>
                    <a:pt x="52" y="1830"/>
                    <a:pt x="61" y="1825"/>
                  </a:cubicBezTo>
                  <a:cubicBezTo>
                    <a:pt x="65" y="1823"/>
                    <a:pt x="59" y="1816"/>
                    <a:pt x="57" y="1814"/>
                  </a:cubicBezTo>
                  <a:close/>
                  <a:moveTo>
                    <a:pt x="42" y="1791"/>
                  </a:moveTo>
                  <a:cubicBezTo>
                    <a:pt x="40" y="1789"/>
                    <a:pt x="40" y="1791"/>
                    <a:pt x="40" y="1793"/>
                  </a:cubicBezTo>
                  <a:cubicBezTo>
                    <a:pt x="41" y="1808"/>
                    <a:pt x="40" y="1807"/>
                    <a:pt x="38" y="1826"/>
                  </a:cubicBezTo>
                  <a:cubicBezTo>
                    <a:pt x="38" y="1827"/>
                    <a:pt x="38" y="1828"/>
                    <a:pt x="38" y="1828"/>
                  </a:cubicBezTo>
                  <a:cubicBezTo>
                    <a:pt x="55" y="1835"/>
                    <a:pt x="50" y="1797"/>
                    <a:pt x="42" y="1791"/>
                  </a:cubicBezTo>
                  <a:close/>
                  <a:moveTo>
                    <a:pt x="50" y="1716"/>
                  </a:moveTo>
                  <a:cubicBezTo>
                    <a:pt x="41" y="1730"/>
                    <a:pt x="61" y="1742"/>
                    <a:pt x="62" y="1741"/>
                  </a:cubicBezTo>
                  <a:cubicBezTo>
                    <a:pt x="76" y="1737"/>
                    <a:pt x="64" y="1715"/>
                    <a:pt x="55" y="1711"/>
                  </a:cubicBezTo>
                  <a:cubicBezTo>
                    <a:pt x="55" y="1711"/>
                    <a:pt x="55" y="1711"/>
                    <a:pt x="55" y="1711"/>
                  </a:cubicBezTo>
                  <a:cubicBezTo>
                    <a:pt x="55" y="1709"/>
                    <a:pt x="51" y="1714"/>
                    <a:pt x="50" y="1716"/>
                  </a:cubicBezTo>
                  <a:close/>
                  <a:moveTo>
                    <a:pt x="581" y="991"/>
                  </a:moveTo>
                  <a:cubicBezTo>
                    <a:pt x="582" y="990"/>
                    <a:pt x="582" y="989"/>
                    <a:pt x="582" y="988"/>
                  </a:cubicBezTo>
                  <a:cubicBezTo>
                    <a:pt x="581" y="989"/>
                    <a:pt x="581" y="990"/>
                    <a:pt x="581" y="991"/>
                  </a:cubicBezTo>
                  <a:close/>
                  <a:moveTo>
                    <a:pt x="912" y="635"/>
                  </a:moveTo>
                  <a:cubicBezTo>
                    <a:pt x="913" y="635"/>
                    <a:pt x="913" y="635"/>
                    <a:pt x="914" y="634"/>
                  </a:cubicBezTo>
                  <a:cubicBezTo>
                    <a:pt x="913" y="635"/>
                    <a:pt x="913" y="635"/>
                    <a:pt x="912" y="635"/>
                  </a:cubicBezTo>
                  <a:close/>
                  <a:moveTo>
                    <a:pt x="582" y="988"/>
                  </a:moveTo>
                  <a:cubicBezTo>
                    <a:pt x="582" y="987"/>
                    <a:pt x="583" y="987"/>
                    <a:pt x="583" y="986"/>
                  </a:cubicBezTo>
                  <a:cubicBezTo>
                    <a:pt x="583" y="985"/>
                    <a:pt x="577" y="984"/>
                    <a:pt x="576" y="983"/>
                  </a:cubicBezTo>
                  <a:cubicBezTo>
                    <a:pt x="567" y="969"/>
                    <a:pt x="538" y="997"/>
                    <a:pt x="551" y="992"/>
                  </a:cubicBezTo>
                  <a:cubicBezTo>
                    <a:pt x="553" y="990"/>
                    <a:pt x="556" y="988"/>
                    <a:pt x="558" y="987"/>
                  </a:cubicBezTo>
                  <a:cubicBezTo>
                    <a:pt x="559" y="986"/>
                    <a:pt x="559" y="986"/>
                    <a:pt x="559" y="986"/>
                  </a:cubicBezTo>
                  <a:cubicBezTo>
                    <a:pt x="560" y="985"/>
                    <a:pt x="561" y="985"/>
                    <a:pt x="563" y="986"/>
                  </a:cubicBezTo>
                  <a:cubicBezTo>
                    <a:pt x="569" y="992"/>
                    <a:pt x="577" y="995"/>
                    <a:pt x="581" y="991"/>
                  </a:cubicBezTo>
                  <a:cubicBezTo>
                    <a:pt x="581" y="990"/>
                    <a:pt x="581" y="989"/>
                    <a:pt x="582" y="988"/>
                  </a:cubicBezTo>
                  <a:close/>
                  <a:moveTo>
                    <a:pt x="780" y="729"/>
                  </a:moveTo>
                  <a:cubicBezTo>
                    <a:pt x="781" y="728"/>
                    <a:pt x="783" y="727"/>
                    <a:pt x="784" y="727"/>
                  </a:cubicBezTo>
                  <a:cubicBezTo>
                    <a:pt x="782" y="727"/>
                    <a:pt x="781" y="728"/>
                    <a:pt x="780" y="729"/>
                  </a:cubicBezTo>
                  <a:close/>
                  <a:moveTo>
                    <a:pt x="491" y="1220"/>
                  </a:moveTo>
                  <a:cubicBezTo>
                    <a:pt x="490" y="1220"/>
                    <a:pt x="489" y="1220"/>
                    <a:pt x="488" y="1220"/>
                  </a:cubicBezTo>
                  <a:cubicBezTo>
                    <a:pt x="490" y="1221"/>
                    <a:pt x="491" y="1221"/>
                    <a:pt x="492" y="1222"/>
                  </a:cubicBezTo>
                  <a:cubicBezTo>
                    <a:pt x="492" y="1221"/>
                    <a:pt x="491" y="1220"/>
                    <a:pt x="491" y="1220"/>
                  </a:cubicBezTo>
                  <a:close/>
                  <a:moveTo>
                    <a:pt x="546" y="1064"/>
                  </a:move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lose/>
                  <a:moveTo>
                    <a:pt x="56" y="1708"/>
                  </a:moveTo>
                  <a:cubicBezTo>
                    <a:pt x="56" y="1714"/>
                    <a:pt x="67" y="1713"/>
                    <a:pt x="67" y="1713"/>
                  </a:cubicBezTo>
                  <a:cubicBezTo>
                    <a:pt x="75" y="1727"/>
                    <a:pt x="79" y="1717"/>
                    <a:pt x="83" y="1706"/>
                  </a:cubicBezTo>
                  <a:cubicBezTo>
                    <a:pt x="83" y="1705"/>
                    <a:pt x="83" y="1705"/>
                    <a:pt x="83" y="1705"/>
                  </a:cubicBezTo>
                  <a:cubicBezTo>
                    <a:pt x="84" y="1683"/>
                    <a:pt x="63" y="1706"/>
                    <a:pt x="60" y="1706"/>
                  </a:cubicBezTo>
                  <a:cubicBezTo>
                    <a:pt x="59" y="1706"/>
                    <a:pt x="56" y="1706"/>
                    <a:pt x="56" y="1708"/>
                  </a:cubicBezTo>
                  <a:close/>
                  <a:moveTo>
                    <a:pt x="610" y="982"/>
                  </a:moveTo>
                  <a:cubicBezTo>
                    <a:pt x="609" y="983"/>
                    <a:pt x="606" y="983"/>
                    <a:pt x="603" y="983"/>
                  </a:cubicBezTo>
                  <a:cubicBezTo>
                    <a:pt x="605" y="984"/>
                    <a:pt x="608" y="983"/>
                    <a:pt x="610" y="982"/>
                  </a:cubicBezTo>
                  <a:close/>
                  <a:moveTo>
                    <a:pt x="42" y="1762"/>
                  </a:moveTo>
                  <a:cubicBezTo>
                    <a:pt x="45" y="1755"/>
                    <a:pt x="31" y="1748"/>
                    <a:pt x="43" y="1742"/>
                  </a:cubicBezTo>
                  <a:cubicBezTo>
                    <a:pt x="52" y="1737"/>
                    <a:pt x="48" y="1748"/>
                    <a:pt x="48" y="1751"/>
                  </a:cubicBezTo>
                  <a:cubicBezTo>
                    <a:pt x="48" y="1754"/>
                    <a:pt x="53" y="1750"/>
                    <a:pt x="54" y="1749"/>
                  </a:cubicBezTo>
                  <a:cubicBezTo>
                    <a:pt x="57" y="1747"/>
                    <a:pt x="49" y="1739"/>
                    <a:pt x="48" y="1736"/>
                  </a:cubicBezTo>
                  <a:cubicBezTo>
                    <a:pt x="47" y="1732"/>
                    <a:pt x="40" y="1730"/>
                    <a:pt x="38" y="1725"/>
                  </a:cubicBezTo>
                  <a:cubicBezTo>
                    <a:pt x="38" y="1725"/>
                    <a:pt x="38" y="1725"/>
                    <a:pt x="38" y="1725"/>
                  </a:cubicBezTo>
                  <a:cubicBezTo>
                    <a:pt x="36" y="1724"/>
                    <a:pt x="39" y="1730"/>
                    <a:pt x="37" y="1731"/>
                  </a:cubicBezTo>
                  <a:cubicBezTo>
                    <a:pt x="23" y="1742"/>
                    <a:pt x="44" y="1734"/>
                    <a:pt x="35" y="1750"/>
                  </a:cubicBezTo>
                  <a:cubicBezTo>
                    <a:pt x="33" y="1754"/>
                    <a:pt x="35" y="1763"/>
                    <a:pt x="37" y="1766"/>
                  </a:cubicBezTo>
                  <a:cubicBezTo>
                    <a:pt x="38" y="1767"/>
                    <a:pt x="42" y="1763"/>
                    <a:pt x="42" y="1762"/>
                  </a:cubicBezTo>
                  <a:close/>
                  <a:moveTo>
                    <a:pt x="346" y="1178"/>
                  </a:moveTo>
                  <a:cubicBezTo>
                    <a:pt x="345" y="1178"/>
                    <a:pt x="340" y="1177"/>
                    <a:pt x="340" y="1180"/>
                  </a:cubicBezTo>
                  <a:cubicBezTo>
                    <a:pt x="340" y="1182"/>
                    <a:pt x="356" y="1183"/>
                    <a:pt x="356" y="1185"/>
                  </a:cubicBezTo>
                  <a:cubicBezTo>
                    <a:pt x="356" y="1187"/>
                    <a:pt x="350" y="1185"/>
                    <a:pt x="350" y="1185"/>
                  </a:cubicBezTo>
                  <a:cubicBezTo>
                    <a:pt x="339" y="1183"/>
                    <a:pt x="316" y="1187"/>
                    <a:pt x="317" y="1202"/>
                  </a:cubicBezTo>
                  <a:cubicBezTo>
                    <a:pt x="317" y="1210"/>
                    <a:pt x="354" y="1199"/>
                    <a:pt x="363" y="1197"/>
                  </a:cubicBezTo>
                  <a:cubicBezTo>
                    <a:pt x="373" y="1196"/>
                    <a:pt x="386" y="1195"/>
                    <a:pt x="393" y="1187"/>
                  </a:cubicBezTo>
                  <a:cubicBezTo>
                    <a:pt x="394" y="1187"/>
                    <a:pt x="394" y="1187"/>
                    <a:pt x="394" y="1187"/>
                  </a:cubicBezTo>
                  <a:cubicBezTo>
                    <a:pt x="399" y="1185"/>
                    <a:pt x="392" y="1186"/>
                    <a:pt x="392" y="1183"/>
                  </a:cubicBezTo>
                  <a:cubicBezTo>
                    <a:pt x="391" y="1175"/>
                    <a:pt x="381" y="1183"/>
                    <a:pt x="379" y="1182"/>
                  </a:cubicBezTo>
                  <a:cubicBezTo>
                    <a:pt x="374" y="1180"/>
                    <a:pt x="384" y="1168"/>
                    <a:pt x="373" y="1173"/>
                  </a:cubicBezTo>
                  <a:cubicBezTo>
                    <a:pt x="372" y="1173"/>
                    <a:pt x="370" y="1173"/>
                    <a:pt x="369" y="1174"/>
                  </a:cubicBezTo>
                  <a:cubicBezTo>
                    <a:pt x="369" y="1174"/>
                    <a:pt x="355" y="1180"/>
                    <a:pt x="346" y="1178"/>
                  </a:cubicBezTo>
                  <a:close/>
                  <a:moveTo>
                    <a:pt x="552" y="974"/>
                  </a:moveTo>
                  <a:cubicBezTo>
                    <a:pt x="552" y="972"/>
                    <a:pt x="548" y="973"/>
                    <a:pt x="547" y="972"/>
                  </a:cubicBezTo>
                  <a:cubicBezTo>
                    <a:pt x="537" y="971"/>
                    <a:pt x="544" y="982"/>
                    <a:pt x="552" y="975"/>
                  </a:cubicBezTo>
                  <a:cubicBezTo>
                    <a:pt x="552" y="975"/>
                    <a:pt x="552" y="975"/>
                    <a:pt x="552" y="975"/>
                  </a:cubicBezTo>
                  <a:cubicBezTo>
                    <a:pt x="552" y="974"/>
                    <a:pt x="552" y="974"/>
                    <a:pt x="552" y="974"/>
                  </a:cubicBezTo>
                  <a:close/>
                  <a:moveTo>
                    <a:pt x="706" y="802"/>
                  </a:move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lose/>
                  <a:moveTo>
                    <a:pt x="718" y="785"/>
                  </a:moveTo>
                  <a:cubicBezTo>
                    <a:pt x="722" y="785"/>
                    <a:pt x="726" y="779"/>
                    <a:pt x="726" y="776"/>
                  </a:cubicBezTo>
                  <a:cubicBezTo>
                    <a:pt x="726" y="776"/>
                    <a:pt x="726" y="776"/>
                    <a:pt x="726" y="776"/>
                  </a:cubicBezTo>
                  <a:cubicBezTo>
                    <a:pt x="723" y="768"/>
                    <a:pt x="703" y="783"/>
                    <a:pt x="718" y="785"/>
                  </a:cubicBezTo>
                  <a:close/>
                  <a:moveTo>
                    <a:pt x="558" y="981"/>
                  </a:moveTo>
                  <a:cubicBezTo>
                    <a:pt x="559" y="980"/>
                    <a:pt x="559" y="980"/>
                    <a:pt x="559" y="980"/>
                  </a:cubicBezTo>
                  <a:cubicBezTo>
                    <a:pt x="576" y="966"/>
                    <a:pt x="558" y="974"/>
                    <a:pt x="546" y="981"/>
                  </a:cubicBezTo>
                  <a:cubicBezTo>
                    <a:pt x="524" y="994"/>
                    <a:pt x="541" y="990"/>
                    <a:pt x="558" y="981"/>
                  </a:cubicBezTo>
                  <a:close/>
                  <a:moveTo>
                    <a:pt x="1452" y="185"/>
                  </a:moveTo>
                  <a:cubicBezTo>
                    <a:pt x="1453" y="186"/>
                    <a:pt x="1453" y="186"/>
                    <a:pt x="1453" y="186"/>
                  </a:cubicBezTo>
                  <a:cubicBezTo>
                    <a:pt x="1473" y="188"/>
                    <a:pt x="1448" y="173"/>
                    <a:pt x="1452" y="185"/>
                  </a:cubicBezTo>
                  <a:close/>
                  <a:moveTo>
                    <a:pt x="1447" y="177"/>
                  </a:moveTo>
                  <a:cubicBezTo>
                    <a:pt x="1467" y="172"/>
                    <a:pt x="1421" y="161"/>
                    <a:pt x="1444" y="177"/>
                  </a:cubicBezTo>
                  <a:lnTo>
                    <a:pt x="1447" y="177"/>
                  </a:lnTo>
                  <a:close/>
                  <a:moveTo>
                    <a:pt x="1434" y="200"/>
                  </a:moveTo>
                  <a:cubicBezTo>
                    <a:pt x="1440" y="204"/>
                    <a:pt x="1469" y="186"/>
                    <a:pt x="1451" y="191"/>
                  </a:cubicBezTo>
                  <a:cubicBezTo>
                    <a:pt x="1450" y="192"/>
                    <a:pt x="1450" y="192"/>
                    <a:pt x="1450" y="192"/>
                  </a:cubicBezTo>
                  <a:cubicBezTo>
                    <a:pt x="1446" y="193"/>
                    <a:pt x="1443" y="187"/>
                    <a:pt x="1440" y="185"/>
                  </a:cubicBezTo>
                  <a:cubicBezTo>
                    <a:pt x="1429" y="180"/>
                    <a:pt x="1426" y="196"/>
                    <a:pt x="1434" y="200"/>
                  </a:cubicBezTo>
                  <a:close/>
                  <a:moveTo>
                    <a:pt x="647" y="950"/>
                  </a:moveTo>
                  <a:cubicBezTo>
                    <a:pt x="651" y="941"/>
                    <a:pt x="636" y="952"/>
                    <a:pt x="634" y="955"/>
                  </a:cubicBezTo>
                  <a:cubicBezTo>
                    <a:pt x="632" y="959"/>
                    <a:pt x="629" y="960"/>
                    <a:pt x="626" y="963"/>
                  </a:cubicBezTo>
                  <a:cubicBezTo>
                    <a:pt x="620" y="972"/>
                    <a:pt x="642" y="959"/>
                    <a:pt x="645" y="956"/>
                  </a:cubicBezTo>
                  <a:cubicBezTo>
                    <a:pt x="650" y="952"/>
                    <a:pt x="638" y="957"/>
                    <a:pt x="639" y="955"/>
                  </a:cubicBezTo>
                  <a:cubicBezTo>
                    <a:pt x="640" y="951"/>
                    <a:pt x="646" y="953"/>
                    <a:pt x="647" y="950"/>
                  </a:cubicBezTo>
                  <a:close/>
                  <a:moveTo>
                    <a:pt x="665" y="898"/>
                  </a:moveTo>
                  <a:cubicBezTo>
                    <a:pt x="665" y="897"/>
                    <a:pt x="665" y="897"/>
                    <a:pt x="665" y="897"/>
                  </a:cubicBezTo>
                  <a:cubicBezTo>
                    <a:pt x="656" y="896"/>
                    <a:pt x="657" y="921"/>
                    <a:pt x="665" y="898"/>
                  </a:cubicBezTo>
                  <a:close/>
                  <a:moveTo>
                    <a:pt x="702" y="799"/>
                  </a:moveTo>
                  <a:cubicBezTo>
                    <a:pt x="707" y="797"/>
                    <a:pt x="699" y="798"/>
                    <a:pt x="698" y="798"/>
                  </a:cubicBezTo>
                  <a:cubicBezTo>
                    <a:pt x="694" y="797"/>
                    <a:pt x="703" y="795"/>
                    <a:pt x="703" y="794"/>
                  </a:cubicBezTo>
                  <a:cubicBezTo>
                    <a:pt x="703" y="792"/>
                    <a:pt x="701" y="784"/>
                    <a:pt x="698" y="784"/>
                  </a:cubicBezTo>
                  <a:cubicBezTo>
                    <a:pt x="697" y="784"/>
                    <a:pt x="697" y="786"/>
                    <a:pt x="697" y="786"/>
                  </a:cubicBezTo>
                  <a:cubicBezTo>
                    <a:pt x="696" y="788"/>
                    <a:pt x="694" y="788"/>
                    <a:pt x="693" y="788"/>
                  </a:cubicBezTo>
                  <a:cubicBezTo>
                    <a:pt x="676" y="789"/>
                    <a:pt x="700" y="794"/>
                    <a:pt x="700" y="794"/>
                  </a:cubicBezTo>
                  <a:cubicBezTo>
                    <a:pt x="699" y="795"/>
                    <a:pt x="696" y="795"/>
                    <a:pt x="696" y="795"/>
                  </a:cubicBezTo>
                  <a:cubicBezTo>
                    <a:pt x="689" y="799"/>
                    <a:pt x="674" y="812"/>
                    <a:pt x="674" y="815"/>
                  </a:cubicBezTo>
                  <a:cubicBezTo>
                    <a:pt x="674" y="816"/>
                    <a:pt x="703" y="806"/>
                    <a:pt x="706" y="802"/>
                  </a:cubicBezTo>
                  <a:cubicBezTo>
                    <a:pt x="705" y="803"/>
                    <a:pt x="701" y="800"/>
                    <a:pt x="702" y="799"/>
                  </a:cubicBezTo>
                  <a:close/>
                  <a:moveTo>
                    <a:pt x="607" y="962"/>
                  </a:moveTo>
                  <a:cubicBezTo>
                    <a:pt x="612" y="965"/>
                    <a:pt x="618" y="959"/>
                    <a:pt x="624" y="956"/>
                  </a:cubicBezTo>
                  <a:cubicBezTo>
                    <a:pt x="624" y="956"/>
                    <a:pt x="624" y="956"/>
                    <a:pt x="624" y="956"/>
                  </a:cubicBezTo>
                  <a:cubicBezTo>
                    <a:pt x="640" y="947"/>
                    <a:pt x="597" y="958"/>
                    <a:pt x="607" y="962"/>
                  </a:cubicBezTo>
                  <a:close/>
                  <a:moveTo>
                    <a:pt x="689" y="912"/>
                  </a:moveTo>
                  <a:cubicBezTo>
                    <a:pt x="695" y="909"/>
                    <a:pt x="677" y="880"/>
                    <a:pt x="671" y="882"/>
                  </a:cubicBezTo>
                  <a:cubicBezTo>
                    <a:pt x="667" y="883"/>
                    <a:pt x="670" y="889"/>
                    <a:pt x="670" y="889"/>
                  </a:cubicBezTo>
                  <a:cubicBezTo>
                    <a:pt x="668" y="907"/>
                    <a:pt x="671" y="890"/>
                    <a:pt x="676" y="898"/>
                  </a:cubicBezTo>
                  <a:cubicBezTo>
                    <a:pt x="677" y="899"/>
                    <a:pt x="677" y="899"/>
                    <a:pt x="677" y="899"/>
                  </a:cubicBezTo>
                  <a:cubicBezTo>
                    <a:pt x="677" y="900"/>
                    <a:pt x="665" y="906"/>
                    <a:pt x="663" y="909"/>
                  </a:cubicBezTo>
                  <a:cubicBezTo>
                    <a:pt x="661" y="913"/>
                    <a:pt x="658" y="932"/>
                    <a:pt x="655" y="935"/>
                  </a:cubicBezTo>
                  <a:cubicBezTo>
                    <a:pt x="654" y="935"/>
                    <a:pt x="652" y="937"/>
                    <a:pt x="654" y="938"/>
                  </a:cubicBezTo>
                  <a:cubicBezTo>
                    <a:pt x="654" y="938"/>
                    <a:pt x="654" y="938"/>
                    <a:pt x="655" y="938"/>
                  </a:cubicBezTo>
                  <a:cubicBezTo>
                    <a:pt x="670" y="933"/>
                    <a:pt x="663" y="926"/>
                    <a:pt x="666" y="921"/>
                  </a:cubicBezTo>
                  <a:cubicBezTo>
                    <a:pt x="670" y="914"/>
                    <a:pt x="681" y="917"/>
                    <a:pt x="688" y="914"/>
                  </a:cubicBezTo>
                  <a:cubicBezTo>
                    <a:pt x="688" y="914"/>
                    <a:pt x="688" y="914"/>
                    <a:pt x="688" y="914"/>
                  </a:cubicBezTo>
                  <a:cubicBezTo>
                    <a:pt x="688" y="914"/>
                    <a:pt x="688" y="913"/>
                    <a:pt x="689" y="912"/>
                  </a:cubicBezTo>
                  <a:close/>
                  <a:moveTo>
                    <a:pt x="660" y="941"/>
                  </a:moveTo>
                  <a:cubicBezTo>
                    <a:pt x="659" y="941"/>
                    <a:pt x="658" y="941"/>
                    <a:pt x="657" y="942"/>
                  </a:cubicBezTo>
                  <a:cubicBezTo>
                    <a:pt x="655" y="944"/>
                    <a:pt x="661" y="948"/>
                    <a:pt x="659" y="951"/>
                  </a:cubicBezTo>
                  <a:cubicBezTo>
                    <a:pt x="657" y="954"/>
                    <a:pt x="647" y="955"/>
                    <a:pt x="646" y="958"/>
                  </a:cubicBezTo>
                  <a:cubicBezTo>
                    <a:pt x="645" y="964"/>
                    <a:pt x="672" y="958"/>
                    <a:pt x="675" y="956"/>
                  </a:cubicBezTo>
                  <a:cubicBezTo>
                    <a:pt x="676" y="955"/>
                    <a:pt x="676" y="955"/>
                    <a:pt x="676" y="955"/>
                  </a:cubicBezTo>
                  <a:cubicBezTo>
                    <a:pt x="678" y="950"/>
                    <a:pt x="670" y="953"/>
                    <a:pt x="668" y="952"/>
                  </a:cubicBezTo>
                  <a:cubicBezTo>
                    <a:pt x="667" y="952"/>
                    <a:pt x="672" y="947"/>
                    <a:pt x="672" y="947"/>
                  </a:cubicBezTo>
                  <a:cubicBezTo>
                    <a:pt x="673" y="939"/>
                    <a:pt x="663" y="939"/>
                    <a:pt x="660" y="941"/>
                  </a:cubicBezTo>
                  <a:close/>
                  <a:moveTo>
                    <a:pt x="648" y="864"/>
                  </a:moveTo>
                  <a:cubicBezTo>
                    <a:pt x="648" y="863"/>
                    <a:pt x="648" y="863"/>
                    <a:pt x="648" y="863"/>
                  </a:cubicBezTo>
                  <a:cubicBezTo>
                    <a:pt x="644" y="864"/>
                    <a:pt x="620" y="865"/>
                    <a:pt x="627" y="877"/>
                  </a:cubicBezTo>
                  <a:cubicBezTo>
                    <a:pt x="631" y="885"/>
                    <a:pt x="653" y="875"/>
                    <a:pt x="648" y="864"/>
                  </a:cubicBezTo>
                  <a:close/>
                  <a:moveTo>
                    <a:pt x="1884" y="83"/>
                  </a:moveTo>
                  <a:cubicBezTo>
                    <a:pt x="1885" y="83"/>
                    <a:pt x="1885" y="83"/>
                    <a:pt x="1885" y="83"/>
                  </a:cubicBezTo>
                  <a:cubicBezTo>
                    <a:pt x="1893" y="84"/>
                    <a:pt x="1891" y="75"/>
                    <a:pt x="1890" y="76"/>
                  </a:cubicBezTo>
                  <a:cubicBezTo>
                    <a:pt x="1887" y="76"/>
                    <a:pt x="1880" y="80"/>
                    <a:pt x="1884" y="83"/>
                  </a:cubicBezTo>
                  <a:close/>
                  <a:moveTo>
                    <a:pt x="715" y="558"/>
                  </a:moveTo>
                  <a:cubicBezTo>
                    <a:pt x="715" y="558"/>
                    <a:pt x="715" y="558"/>
                    <a:pt x="715" y="558"/>
                  </a:cubicBezTo>
                  <a:cubicBezTo>
                    <a:pt x="715" y="558"/>
                    <a:pt x="697" y="561"/>
                    <a:pt x="703" y="566"/>
                  </a:cubicBezTo>
                  <a:cubicBezTo>
                    <a:pt x="704" y="567"/>
                    <a:pt x="716" y="561"/>
                    <a:pt x="715" y="558"/>
                  </a:cubicBezTo>
                  <a:close/>
                  <a:moveTo>
                    <a:pt x="281" y="1249"/>
                  </a:moveTo>
                  <a:cubicBezTo>
                    <a:pt x="280" y="1248"/>
                    <a:pt x="280" y="1248"/>
                    <a:pt x="280" y="1248"/>
                  </a:cubicBezTo>
                  <a:cubicBezTo>
                    <a:pt x="265" y="1246"/>
                    <a:pt x="277" y="1260"/>
                    <a:pt x="281" y="1249"/>
                  </a:cubicBezTo>
                  <a:close/>
                  <a:moveTo>
                    <a:pt x="284" y="1257"/>
                  </a:moveTo>
                  <a:cubicBezTo>
                    <a:pt x="284" y="1257"/>
                    <a:pt x="284" y="1257"/>
                    <a:pt x="284" y="1257"/>
                  </a:cubicBezTo>
                  <a:cubicBezTo>
                    <a:pt x="280" y="1251"/>
                    <a:pt x="265" y="1257"/>
                    <a:pt x="263" y="1261"/>
                  </a:cubicBezTo>
                  <a:cubicBezTo>
                    <a:pt x="262" y="1263"/>
                    <a:pt x="282" y="1270"/>
                    <a:pt x="284" y="1257"/>
                  </a:cubicBezTo>
                  <a:close/>
                  <a:moveTo>
                    <a:pt x="308" y="1212"/>
                  </a:moveTo>
                  <a:cubicBezTo>
                    <a:pt x="308" y="1211"/>
                    <a:pt x="308" y="1211"/>
                    <a:pt x="308" y="1211"/>
                  </a:cubicBezTo>
                  <a:cubicBezTo>
                    <a:pt x="303" y="1190"/>
                    <a:pt x="287" y="1209"/>
                    <a:pt x="280" y="1205"/>
                  </a:cubicBezTo>
                  <a:cubicBezTo>
                    <a:pt x="279" y="1205"/>
                    <a:pt x="271" y="1208"/>
                    <a:pt x="272" y="1209"/>
                  </a:cubicBezTo>
                  <a:cubicBezTo>
                    <a:pt x="277" y="1218"/>
                    <a:pt x="299" y="1228"/>
                    <a:pt x="308" y="1212"/>
                  </a:cubicBezTo>
                  <a:close/>
                  <a:moveTo>
                    <a:pt x="298" y="1234"/>
                  </a:moveTo>
                  <a:cubicBezTo>
                    <a:pt x="280" y="1237"/>
                    <a:pt x="287" y="1252"/>
                    <a:pt x="305" y="1247"/>
                  </a:cubicBezTo>
                  <a:cubicBezTo>
                    <a:pt x="306" y="1247"/>
                    <a:pt x="306" y="1247"/>
                    <a:pt x="306" y="1247"/>
                  </a:cubicBezTo>
                  <a:cubicBezTo>
                    <a:pt x="310" y="1246"/>
                    <a:pt x="305" y="1233"/>
                    <a:pt x="298" y="1234"/>
                  </a:cubicBezTo>
                  <a:close/>
                  <a:moveTo>
                    <a:pt x="266" y="1269"/>
                  </a:moveTo>
                  <a:cubicBezTo>
                    <a:pt x="266" y="1268"/>
                    <a:pt x="266" y="1268"/>
                    <a:pt x="266" y="1268"/>
                  </a:cubicBezTo>
                  <a:cubicBezTo>
                    <a:pt x="263" y="1264"/>
                    <a:pt x="262" y="1254"/>
                    <a:pt x="260" y="1252"/>
                  </a:cubicBezTo>
                  <a:cubicBezTo>
                    <a:pt x="254" y="1247"/>
                    <a:pt x="256" y="1265"/>
                    <a:pt x="253" y="1266"/>
                  </a:cubicBezTo>
                  <a:cubicBezTo>
                    <a:pt x="250" y="1267"/>
                    <a:pt x="245" y="1259"/>
                    <a:pt x="243" y="1259"/>
                  </a:cubicBezTo>
                  <a:cubicBezTo>
                    <a:pt x="243" y="1260"/>
                    <a:pt x="235" y="1268"/>
                    <a:pt x="235" y="1270"/>
                  </a:cubicBezTo>
                  <a:cubicBezTo>
                    <a:pt x="237" y="1283"/>
                    <a:pt x="260" y="1273"/>
                    <a:pt x="266" y="1269"/>
                  </a:cubicBezTo>
                  <a:close/>
                  <a:moveTo>
                    <a:pt x="119" y="1331"/>
                  </a:moveTo>
                  <a:cubicBezTo>
                    <a:pt x="118" y="1332"/>
                    <a:pt x="113" y="1335"/>
                    <a:pt x="113" y="1337"/>
                  </a:cubicBezTo>
                  <a:cubicBezTo>
                    <a:pt x="114" y="1338"/>
                    <a:pt x="114" y="1338"/>
                    <a:pt x="114" y="1338"/>
                  </a:cubicBezTo>
                  <a:cubicBezTo>
                    <a:pt x="120" y="1345"/>
                    <a:pt x="125" y="1329"/>
                    <a:pt x="119" y="1331"/>
                  </a:cubicBezTo>
                  <a:close/>
                  <a:moveTo>
                    <a:pt x="308" y="1239"/>
                  </a:moveTo>
                  <a:cubicBezTo>
                    <a:pt x="311" y="1244"/>
                    <a:pt x="309" y="1247"/>
                    <a:pt x="318" y="1245"/>
                  </a:cubicBezTo>
                  <a:cubicBezTo>
                    <a:pt x="318" y="1245"/>
                    <a:pt x="318" y="1245"/>
                    <a:pt x="318" y="1245"/>
                  </a:cubicBezTo>
                  <a:cubicBezTo>
                    <a:pt x="325" y="1244"/>
                    <a:pt x="303" y="1229"/>
                    <a:pt x="308" y="1239"/>
                  </a:cubicBezTo>
                  <a:close/>
                  <a:moveTo>
                    <a:pt x="194" y="1314"/>
                  </a:moveTo>
                  <a:cubicBezTo>
                    <a:pt x="194" y="1314"/>
                    <a:pt x="194" y="1314"/>
                    <a:pt x="194" y="1314"/>
                  </a:cubicBezTo>
                  <a:cubicBezTo>
                    <a:pt x="199" y="1304"/>
                    <a:pt x="166" y="1306"/>
                    <a:pt x="171" y="1317"/>
                  </a:cubicBezTo>
                  <a:cubicBezTo>
                    <a:pt x="173" y="1322"/>
                    <a:pt x="189" y="1316"/>
                    <a:pt x="194" y="1314"/>
                  </a:cubicBezTo>
                  <a:close/>
                  <a:moveTo>
                    <a:pt x="197" y="1293"/>
                  </a:moveTo>
                  <a:cubicBezTo>
                    <a:pt x="194" y="1286"/>
                    <a:pt x="181" y="1295"/>
                    <a:pt x="181" y="1297"/>
                  </a:cubicBezTo>
                  <a:cubicBezTo>
                    <a:pt x="181" y="1308"/>
                    <a:pt x="197" y="1294"/>
                    <a:pt x="197" y="1293"/>
                  </a:cubicBezTo>
                  <a:close/>
                  <a:moveTo>
                    <a:pt x="197" y="1293"/>
                  </a:moveTo>
                  <a:cubicBezTo>
                    <a:pt x="197" y="1293"/>
                    <a:pt x="197" y="1293"/>
                    <a:pt x="197" y="1293"/>
                  </a:cubicBezTo>
                  <a:cubicBezTo>
                    <a:pt x="197" y="1293"/>
                    <a:pt x="197" y="1293"/>
                    <a:pt x="197" y="1293"/>
                  </a:cubicBezTo>
                  <a:close/>
                  <a:moveTo>
                    <a:pt x="342" y="1243"/>
                  </a:moveTo>
                  <a:cubicBezTo>
                    <a:pt x="342" y="1242"/>
                    <a:pt x="342" y="1242"/>
                    <a:pt x="342" y="1242"/>
                  </a:cubicBezTo>
                  <a:cubicBezTo>
                    <a:pt x="344" y="1241"/>
                    <a:pt x="342" y="1239"/>
                    <a:pt x="342" y="1238"/>
                  </a:cubicBezTo>
                  <a:cubicBezTo>
                    <a:pt x="340" y="1235"/>
                    <a:pt x="336" y="1236"/>
                    <a:pt x="334" y="1233"/>
                  </a:cubicBezTo>
                  <a:cubicBezTo>
                    <a:pt x="327" y="1218"/>
                    <a:pt x="330" y="1236"/>
                    <a:pt x="326" y="1236"/>
                  </a:cubicBezTo>
                  <a:cubicBezTo>
                    <a:pt x="325" y="1237"/>
                    <a:pt x="325" y="1230"/>
                    <a:pt x="324" y="1230"/>
                  </a:cubicBezTo>
                  <a:cubicBezTo>
                    <a:pt x="323" y="1230"/>
                    <a:pt x="316" y="1229"/>
                    <a:pt x="316" y="1229"/>
                  </a:cubicBezTo>
                  <a:cubicBezTo>
                    <a:pt x="308" y="1239"/>
                    <a:pt x="333" y="1248"/>
                    <a:pt x="342" y="1243"/>
                  </a:cubicBezTo>
                  <a:close/>
                  <a:moveTo>
                    <a:pt x="1039" y="428"/>
                  </a:moveTo>
                  <a:cubicBezTo>
                    <a:pt x="1021" y="415"/>
                    <a:pt x="1013" y="445"/>
                    <a:pt x="1015" y="448"/>
                  </a:cubicBezTo>
                  <a:cubicBezTo>
                    <a:pt x="1015" y="448"/>
                    <a:pt x="1015" y="448"/>
                    <a:pt x="1015" y="448"/>
                  </a:cubicBezTo>
                  <a:cubicBezTo>
                    <a:pt x="1021" y="452"/>
                    <a:pt x="1055" y="439"/>
                    <a:pt x="1039" y="428"/>
                  </a:cubicBezTo>
                  <a:close/>
                  <a:moveTo>
                    <a:pt x="1917" y="22"/>
                  </a:moveTo>
                  <a:cubicBezTo>
                    <a:pt x="1914" y="16"/>
                    <a:pt x="1895" y="38"/>
                    <a:pt x="1891" y="27"/>
                  </a:cubicBezTo>
                  <a:cubicBezTo>
                    <a:pt x="1891" y="26"/>
                    <a:pt x="1900" y="24"/>
                    <a:pt x="1890" y="22"/>
                  </a:cubicBezTo>
                  <a:cubicBezTo>
                    <a:pt x="1885" y="21"/>
                    <a:pt x="1905" y="18"/>
                    <a:pt x="1901" y="11"/>
                  </a:cubicBezTo>
                  <a:cubicBezTo>
                    <a:pt x="1899" y="7"/>
                    <a:pt x="1883" y="13"/>
                    <a:pt x="1880" y="13"/>
                  </a:cubicBezTo>
                  <a:cubicBezTo>
                    <a:pt x="1877" y="12"/>
                    <a:pt x="1879" y="10"/>
                    <a:pt x="1879" y="9"/>
                  </a:cubicBezTo>
                  <a:cubicBezTo>
                    <a:pt x="1885" y="0"/>
                    <a:pt x="1873" y="7"/>
                    <a:pt x="1870" y="6"/>
                  </a:cubicBezTo>
                  <a:cubicBezTo>
                    <a:pt x="1867" y="6"/>
                    <a:pt x="1869" y="1"/>
                    <a:pt x="1867" y="1"/>
                  </a:cubicBezTo>
                  <a:cubicBezTo>
                    <a:pt x="1843" y="10"/>
                    <a:pt x="1879" y="8"/>
                    <a:pt x="1873" y="20"/>
                  </a:cubicBezTo>
                  <a:cubicBezTo>
                    <a:pt x="1872" y="22"/>
                    <a:pt x="1870" y="18"/>
                    <a:pt x="1868" y="17"/>
                  </a:cubicBezTo>
                  <a:cubicBezTo>
                    <a:pt x="1859" y="12"/>
                    <a:pt x="1849" y="17"/>
                    <a:pt x="1847" y="16"/>
                  </a:cubicBezTo>
                  <a:cubicBezTo>
                    <a:pt x="1846" y="16"/>
                    <a:pt x="1837" y="13"/>
                    <a:pt x="1838" y="16"/>
                  </a:cubicBezTo>
                  <a:cubicBezTo>
                    <a:pt x="1838" y="17"/>
                    <a:pt x="1839" y="18"/>
                    <a:pt x="1839" y="18"/>
                  </a:cubicBezTo>
                  <a:cubicBezTo>
                    <a:pt x="1841" y="19"/>
                    <a:pt x="1836" y="20"/>
                    <a:pt x="1835" y="20"/>
                  </a:cubicBezTo>
                  <a:cubicBezTo>
                    <a:pt x="1825" y="27"/>
                    <a:pt x="1857" y="24"/>
                    <a:pt x="1858" y="26"/>
                  </a:cubicBezTo>
                  <a:cubicBezTo>
                    <a:pt x="1859" y="27"/>
                    <a:pt x="1858" y="27"/>
                    <a:pt x="1858" y="28"/>
                  </a:cubicBezTo>
                  <a:cubicBezTo>
                    <a:pt x="1856" y="28"/>
                    <a:pt x="1846" y="29"/>
                    <a:pt x="1846" y="31"/>
                  </a:cubicBezTo>
                  <a:cubicBezTo>
                    <a:pt x="1846" y="32"/>
                    <a:pt x="1851" y="34"/>
                    <a:pt x="1851" y="35"/>
                  </a:cubicBezTo>
                  <a:cubicBezTo>
                    <a:pt x="1853" y="37"/>
                    <a:pt x="1855" y="40"/>
                    <a:pt x="1858" y="41"/>
                  </a:cubicBezTo>
                  <a:cubicBezTo>
                    <a:pt x="1859" y="41"/>
                    <a:pt x="1859" y="41"/>
                    <a:pt x="1859" y="41"/>
                  </a:cubicBezTo>
                  <a:cubicBezTo>
                    <a:pt x="1877" y="42"/>
                    <a:pt x="1870" y="32"/>
                    <a:pt x="1889" y="34"/>
                  </a:cubicBezTo>
                  <a:cubicBezTo>
                    <a:pt x="1891" y="35"/>
                    <a:pt x="1922" y="30"/>
                    <a:pt x="1917" y="22"/>
                  </a:cubicBezTo>
                  <a:close/>
                  <a:moveTo>
                    <a:pt x="330" y="1220"/>
                  </a:moveTo>
                  <a:cubicBezTo>
                    <a:pt x="331" y="1222"/>
                    <a:pt x="350" y="1222"/>
                    <a:pt x="352" y="1218"/>
                  </a:cubicBezTo>
                  <a:cubicBezTo>
                    <a:pt x="352" y="1218"/>
                    <a:pt x="352" y="1218"/>
                    <a:pt x="352" y="1218"/>
                  </a:cubicBezTo>
                  <a:cubicBezTo>
                    <a:pt x="354" y="1210"/>
                    <a:pt x="327" y="1211"/>
                    <a:pt x="330" y="1220"/>
                  </a:cubicBezTo>
                  <a:close/>
                  <a:moveTo>
                    <a:pt x="331" y="1167"/>
                  </a:moveTo>
                  <a:cubicBezTo>
                    <a:pt x="344" y="1168"/>
                    <a:pt x="361" y="1170"/>
                    <a:pt x="365" y="1162"/>
                  </a:cubicBezTo>
                  <a:cubicBezTo>
                    <a:pt x="365" y="1162"/>
                    <a:pt x="365" y="1162"/>
                    <a:pt x="365" y="1162"/>
                  </a:cubicBezTo>
                  <a:cubicBezTo>
                    <a:pt x="366" y="1157"/>
                    <a:pt x="367" y="1148"/>
                    <a:pt x="363" y="1148"/>
                  </a:cubicBezTo>
                  <a:cubicBezTo>
                    <a:pt x="357" y="1148"/>
                    <a:pt x="358" y="1155"/>
                    <a:pt x="355" y="1156"/>
                  </a:cubicBezTo>
                  <a:cubicBezTo>
                    <a:pt x="350" y="1157"/>
                    <a:pt x="316" y="1167"/>
                    <a:pt x="316" y="1168"/>
                  </a:cubicBezTo>
                  <a:cubicBezTo>
                    <a:pt x="316" y="1174"/>
                    <a:pt x="329" y="1167"/>
                    <a:pt x="331" y="1167"/>
                  </a:cubicBezTo>
                  <a:close/>
                  <a:moveTo>
                    <a:pt x="869" y="394"/>
                  </a:moveTo>
                  <a:cubicBezTo>
                    <a:pt x="864" y="394"/>
                    <a:pt x="857" y="400"/>
                    <a:pt x="861" y="405"/>
                  </a:cubicBezTo>
                  <a:cubicBezTo>
                    <a:pt x="862" y="407"/>
                    <a:pt x="877" y="421"/>
                    <a:pt x="886" y="403"/>
                  </a:cubicBezTo>
                  <a:cubicBezTo>
                    <a:pt x="887" y="401"/>
                    <a:pt x="885" y="395"/>
                    <a:pt x="887" y="397"/>
                  </a:cubicBezTo>
                  <a:cubicBezTo>
                    <a:pt x="895" y="402"/>
                    <a:pt x="912" y="403"/>
                    <a:pt x="920" y="393"/>
                  </a:cubicBezTo>
                  <a:cubicBezTo>
                    <a:pt x="924" y="389"/>
                    <a:pt x="911" y="387"/>
                    <a:pt x="919" y="388"/>
                  </a:cubicBezTo>
                  <a:cubicBezTo>
                    <a:pt x="925" y="389"/>
                    <a:pt x="932" y="391"/>
                    <a:pt x="930" y="398"/>
                  </a:cubicBezTo>
                  <a:cubicBezTo>
                    <a:pt x="929" y="405"/>
                    <a:pt x="899" y="402"/>
                    <a:pt x="899" y="411"/>
                  </a:cubicBezTo>
                  <a:cubicBezTo>
                    <a:pt x="898" y="411"/>
                    <a:pt x="898" y="411"/>
                    <a:pt x="898" y="411"/>
                  </a:cubicBezTo>
                  <a:cubicBezTo>
                    <a:pt x="899" y="424"/>
                    <a:pt x="947" y="414"/>
                    <a:pt x="950" y="401"/>
                  </a:cubicBezTo>
                  <a:cubicBezTo>
                    <a:pt x="952" y="391"/>
                    <a:pt x="940" y="391"/>
                    <a:pt x="940" y="389"/>
                  </a:cubicBezTo>
                  <a:cubicBezTo>
                    <a:pt x="940" y="382"/>
                    <a:pt x="951" y="383"/>
                    <a:pt x="950" y="375"/>
                  </a:cubicBezTo>
                  <a:cubicBezTo>
                    <a:pt x="949" y="371"/>
                    <a:pt x="937" y="378"/>
                    <a:pt x="937" y="378"/>
                  </a:cubicBezTo>
                  <a:cubicBezTo>
                    <a:pt x="936" y="375"/>
                    <a:pt x="943" y="369"/>
                    <a:pt x="942" y="364"/>
                  </a:cubicBezTo>
                  <a:cubicBezTo>
                    <a:pt x="941" y="361"/>
                    <a:pt x="931" y="369"/>
                    <a:pt x="933" y="367"/>
                  </a:cubicBezTo>
                  <a:cubicBezTo>
                    <a:pt x="934" y="366"/>
                    <a:pt x="933" y="353"/>
                    <a:pt x="928" y="349"/>
                  </a:cubicBezTo>
                  <a:cubicBezTo>
                    <a:pt x="924" y="346"/>
                    <a:pt x="915" y="353"/>
                    <a:pt x="916" y="358"/>
                  </a:cubicBezTo>
                  <a:cubicBezTo>
                    <a:pt x="917" y="363"/>
                    <a:pt x="931" y="375"/>
                    <a:pt x="929" y="379"/>
                  </a:cubicBezTo>
                  <a:cubicBezTo>
                    <a:pt x="928" y="382"/>
                    <a:pt x="923" y="374"/>
                    <a:pt x="920" y="374"/>
                  </a:cubicBezTo>
                  <a:cubicBezTo>
                    <a:pt x="919" y="374"/>
                    <a:pt x="916" y="388"/>
                    <a:pt x="915" y="380"/>
                  </a:cubicBezTo>
                  <a:cubicBezTo>
                    <a:pt x="915" y="378"/>
                    <a:pt x="915" y="372"/>
                    <a:pt x="911" y="372"/>
                  </a:cubicBezTo>
                  <a:cubicBezTo>
                    <a:pt x="904" y="372"/>
                    <a:pt x="916" y="386"/>
                    <a:pt x="907" y="389"/>
                  </a:cubicBezTo>
                  <a:cubicBezTo>
                    <a:pt x="903" y="390"/>
                    <a:pt x="907" y="383"/>
                    <a:pt x="900" y="384"/>
                  </a:cubicBezTo>
                  <a:cubicBezTo>
                    <a:pt x="897" y="384"/>
                    <a:pt x="889" y="391"/>
                    <a:pt x="887" y="389"/>
                  </a:cubicBezTo>
                  <a:cubicBezTo>
                    <a:pt x="885" y="388"/>
                    <a:pt x="892" y="375"/>
                    <a:pt x="883" y="378"/>
                  </a:cubicBezTo>
                  <a:cubicBezTo>
                    <a:pt x="878" y="380"/>
                    <a:pt x="886" y="393"/>
                    <a:pt x="881" y="393"/>
                  </a:cubicBezTo>
                  <a:cubicBezTo>
                    <a:pt x="875" y="393"/>
                    <a:pt x="876" y="386"/>
                    <a:pt x="876" y="383"/>
                  </a:cubicBezTo>
                  <a:cubicBezTo>
                    <a:pt x="875" y="379"/>
                    <a:pt x="872" y="383"/>
                    <a:pt x="870" y="384"/>
                  </a:cubicBezTo>
                  <a:cubicBezTo>
                    <a:pt x="859" y="390"/>
                    <a:pt x="870" y="389"/>
                    <a:pt x="872" y="392"/>
                  </a:cubicBezTo>
                  <a:cubicBezTo>
                    <a:pt x="873" y="394"/>
                    <a:pt x="869" y="394"/>
                    <a:pt x="869" y="394"/>
                  </a:cubicBezTo>
                  <a:close/>
                  <a:moveTo>
                    <a:pt x="1737" y="40"/>
                  </a:moveTo>
                  <a:cubicBezTo>
                    <a:pt x="1740" y="40"/>
                    <a:pt x="1747" y="36"/>
                    <a:pt x="1745" y="35"/>
                  </a:cubicBezTo>
                  <a:cubicBezTo>
                    <a:pt x="1738" y="30"/>
                    <a:pt x="1734" y="37"/>
                    <a:pt x="1731" y="32"/>
                  </a:cubicBezTo>
                  <a:cubicBezTo>
                    <a:pt x="1731" y="32"/>
                    <a:pt x="1730" y="31"/>
                    <a:pt x="1730" y="31"/>
                  </a:cubicBezTo>
                  <a:cubicBezTo>
                    <a:pt x="1730" y="30"/>
                    <a:pt x="1744" y="29"/>
                    <a:pt x="1743" y="28"/>
                  </a:cubicBezTo>
                  <a:cubicBezTo>
                    <a:pt x="1741" y="27"/>
                    <a:pt x="1737" y="28"/>
                    <a:pt x="1735" y="28"/>
                  </a:cubicBezTo>
                  <a:cubicBezTo>
                    <a:pt x="1724" y="27"/>
                    <a:pt x="1723" y="24"/>
                    <a:pt x="1714" y="28"/>
                  </a:cubicBezTo>
                  <a:cubicBezTo>
                    <a:pt x="1713" y="28"/>
                    <a:pt x="1712" y="29"/>
                    <a:pt x="1713" y="30"/>
                  </a:cubicBezTo>
                  <a:cubicBezTo>
                    <a:pt x="1716" y="34"/>
                    <a:pt x="1723" y="29"/>
                    <a:pt x="1727" y="32"/>
                  </a:cubicBezTo>
                  <a:cubicBezTo>
                    <a:pt x="1728" y="32"/>
                    <a:pt x="1722" y="33"/>
                    <a:pt x="1721" y="33"/>
                  </a:cubicBezTo>
                  <a:cubicBezTo>
                    <a:pt x="1711" y="34"/>
                    <a:pt x="1719" y="36"/>
                    <a:pt x="1723" y="38"/>
                  </a:cubicBezTo>
                  <a:cubicBezTo>
                    <a:pt x="1724" y="39"/>
                    <a:pt x="1724" y="39"/>
                    <a:pt x="1724" y="39"/>
                  </a:cubicBezTo>
                  <a:cubicBezTo>
                    <a:pt x="1727" y="46"/>
                    <a:pt x="1734" y="39"/>
                    <a:pt x="1737" y="40"/>
                  </a:cubicBezTo>
                  <a:close/>
                  <a:moveTo>
                    <a:pt x="1529" y="131"/>
                  </a:moveTo>
                  <a:cubicBezTo>
                    <a:pt x="1517" y="127"/>
                    <a:pt x="1513" y="132"/>
                    <a:pt x="1520" y="146"/>
                  </a:cubicBezTo>
                  <a:cubicBezTo>
                    <a:pt x="1520" y="146"/>
                    <a:pt x="1520" y="146"/>
                    <a:pt x="1520" y="146"/>
                  </a:cubicBezTo>
                  <a:cubicBezTo>
                    <a:pt x="1525" y="151"/>
                    <a:pt x="1534" y="133"/>
                    <a:pt x="1529" y="131"/>
                  </a:cubicBezTo>
                  <a:close/>
                  <a:moveTo>
                    <a:pt x="1427" y="206"/>
                  </a:moveTo>
                  <a:cubicBezTo>
                    <a:pt x="1422" y="198"/>
                    <a:pt x="1408" y="214"/>
                    <a:pt x="1412" y="223"/>
                  </a:cubicBezTo>
                  <a:cubicBezTo>
                    <a:pt x="1412" y="223"/>
                    <a:pt x="1412" y="223"/>
                    <a:pt x="1412" y="223"/>
                  </a:cubicBezTo>
                  <a:cubicBezTo>
                    <a:pt x="1422" y="225"/>
                    <a:pt x="1432" y="213"/>
                    <a:pt x="1427" y="206"/>
                  </a:cubicBezTo>
                  <a:close/>
                  <a:moveTo>
                    <a:pt x="1430" y="172"/>
                  </a:moveTo>
                  <a:cubicBezTo>
                    <a:pt x="1430" y="165"/>
                    <a:pt x="1442" y="156"/>
                    <a:pt x="1428" y="153"/>
                  </a:cubicBezTo>
                  <a:cubicBezTo>
                    <a:pt x="1410" y="149"/>
                    <a:pt x="1380" y="176"/>
                    <a:pt x="1403" y="181"/>
                  </a:cubicBezTo>
                  <a:cubicBezTo>
                    <a:pt x="1404" y="182"/>
                    <a:pt x="1404" y="182"/>
                    <a:pt x="1404" y="182"/>
                  </a:cubicBezTo>
                  <a:cubicBezTo>
                    <a:pt x="1409" y="182"/>
                    <a:pt x="1411" y="174"/>
                    <a:pt x="1413" y="174"/>
                  </a:cubicBezTo>
                  <a:cubicBezTo>
                    <a:pt x="1415" y="174"/>
                    <a:pt x="1410" y="186"/>
                    <a:pt x="1431" y="182"/>
                  </a:cubicBezTo>
                  <a:cubicBezTo>
                    <a:pt x="1434" y="181"/>
                    <a:pt x="1430" y="174"/>
                    <a:pt x="1430" y="172"/>
                  </a:cubicBezTo>
                  <a:close/>
                  <a:moveTo>
                    <a:pt x="1703" y="79"/>
                  </a:moveTo>
                  <a:cubicBezTo>
                    <a:pt x="1702" y="79"/>
                    <a:pt x="1704" y="68"/>
                    <a:pt x="1692" y="71"/>
                  </a:cubicBezTo>
                  <a:cubicBezTo>
                    <a:pt x="1682" y="73"/>
                    <a:pt x="1690" y="100"/>
                    <a:pt x="1696" y="107"/>
                  </a:cubicBezTo>
                  <a:cubicBezTo>
                    <a:pt x="1696" y="107"/>
                    <a:pt x="1696" y="107"/>
                    <a:pt x="1696" y="107"/>
                  </a:cubicBezTo>
                  <a:cubicBezTo>
                    <a:pt x="1716" y="115"/>
                    <a:pt x="1733" y="96"/>
                    <a:pt x="1721" y="81"/>
                  </a:cubicBezTo>
                  <a:cubicBezTo>
                    <a:pt x="1716" y="74"/>
                    <a:pt x="1708" y="80"/>
                    <a:pt x="1703" y="79"/>
                  </a:cubicBezTo>
                  <a:close/>
                  <a:moveTo>
                    <a:pt x="1254" y="243"/>
                  </a:moveTo>
                  <a:cubicBezTo>
                    <a:pt x="1260" y="238"/>
                    <a:pt x="1289" y="231"/>
                    <a:pt x="1273" y="220"/>
                  </a:cubicBezTo>
                  <a:cubicBezTo>
                    <a:pt x="1272" y="219"/>
                    <a:pt x="1272" y="219"/>
                    <a:pt x="1272" y="219"/>
                  </a:cubicBezTo>
                  <a:cubicBezTo>
                    <a:pt x="1267" y="217"/>
                    <a:pt x="1257" y="217"/>
                    <a:pt x="1259" y="214"/>
                  </a:cubicBezTo>
                  <a:cubicBezTo>
                    <a:pt x="1261" y="211"/>
                    <a:pt x="1242" y="209"/>
                    <a:pt x="1242" y="212"/>
                  </a:cubicBezTo>
                  <a:cubicBezTo>
                    <a:pt x="1242" y="214"/>
                    <a:pt x="1260" y="241"/>
                    <a:pt x="1249" y="242"/>
                  </a:cubicBezTo>
                  <a:cubicBezTo>
                    <a:pt x="1247" y="242"/>
                    <a:pt x="1244" y="239"/>
                    <a:pt x="1242" y="238"/>
                  </a:cubicBezTo>
                  <a:cubicBezTo>
                    <a:pt x="1238" y="234"/>
                    <a:pt x="1243" y="225"/>
                    <a:pt x="1241" y="223"/>
                  </a:cubicBezTo>
                  <a:cubicBezTo>
                    <a:pt x="1235" y="215"/>
                    <a:pt x="1230" y="232"/>
                    <a:pt x="1228" y="232"/>
                  </a:cubicBezTo>
                  <a:cubicBezTo>
                    <a:pt x="1227" y="232"/>
                    <a:pt x="1217" y="218"/>
                    <a:pt x="1212" y="227"/>
                  </a:cubicBezTo>
                  <a:cubicBezTo>
                    <a:pt x="1206" y="239"/>
                    <a:pt x="1238" y="237"/>
                    <a:pt x="1236" y="240"/>
                  </a:cubicBezTo>
                  <a:cubicBezTo>
                    <a:pt x="1234" y="245"/>
                    <a:pt x="1202" y="235"/>
                    <a:pt x="1200" y="238"/>
                  </a:cubicBezTo>
                  <a:cubicBezTo>
                    <a:pt x="1199" y="239"/>
                    <a:pt x="1202" y="241"/>
                    <a:pt x="1202" y="242"/>
                  </a:cubicBezTo>
                  <a:cubicBezTo>
                    <a:pt x="1205" y="244"/>
                    <a:pt x="1207" y="249"/>
                    <a:pt x="1211" y="249"/>
                  </a:cubicBezTo>
                  <a:cubicBezTo>
                    <a:pt x="1212" y="250"/>
                    <a:pt x="1218" y="247"/>
                    <a:pt x="1219" y="249"/>
                  </a:cubicBezTo>
                  <a:cubicBezTo>
                    <a:pt x="1219" y="249"/>
                    <a:pt x="1217" y="251"/>
                    <a:pt x="1217" y="251"/>
                  </a:cubicBezTo>
                  <a:cubicBezTo>
                    <a:pt x="1210" y="256"/>
                    <a:pt x="1186" y="247"/>
                    <a:pt x="1186" y="252"/>
                  </a:cubicBezTo>
                  <a:cubicBezTo>
                    <a:pt x="1186" y="253"/>
                    <a:pt x="1181" y="256"/>
                    <a:pt x="1183" y="258"/>
                  </a:cubicBezTo>
                  <a:cubicBezTo>
                    <a:pt x="1190" y="267"/>
                    <a:pt x="1246" y="263"/>
                    <a:pt x="1253" y="258"/>
                  </a:cubicBezTo>
                  <a:cubicBezTo>
                    <a:pt x="1266" y="249"/>
                    <a:pt x="1245" y="251"/>
                    <a:pt x="1254" y="243"/>
                  </a:cubicBezTo>
                  <a:close/>
                  <a:moveTo>
                    <a:pt x="1570" y="112"/>
                  </a:moveTo>
                  <a:cubicBezTo>
                    <a:pt x="1577" y="111"/>
                    <a:pt x="1596" y="110"/>
                    <a:pt x="1596" y="103"/>
                  </a:cubicBezTo>
                  <a:cubicBezTo>
                    <a:pt x="1596" y="102"/>
                    <a:pt x="1595" y="100"/>
                    <a:pt x="1597" y="100"/>
                  </a:cubicBezTo>
                  <a:cubicBezTo>
                    <a:pt x="1606" y="99"/>
                    <a:pt x="1606" y="106"/>
                    <a:pt x="1608" y="107"/>
                  </a:cubicBezTo>
                  <a:cubicBezTo>
                    <a:pt x="1612" y="109"/>
                    <a:pt x="1618" y="106"/>
                    <a:pt x="1622" y="104"/>
                  </a:cubicBezTo>
                  <a:cubicBezTo>
                    <a:pt x="1626" y="101"/>
                    <a:pt x="1615" y="99"/>
                    <a:pt x="1619" y="98"/>
                  </a:cubicBezTo>
                  <a:cubicBezTo>
                    <a:pt x="1635" y="95"/>
                    <a:pt x="1636" y="98"/>
                    <a:pt x="1637" y="97"/>
                  </a:cubicBezTo>
                  <a:cubicBezTo>
                    <a:pt x="1637" y="97"/>
                    <a:pt x="1640" y="86"/>
                    <a:pt x="1641" y="84"/>
                  </a:cubicBezTo>
                  <a:cubicBezTo>
                    <a:pt x="1643" y="77"/>
                    <a:pt x="1652" y="84"/>
                    <a:pt x="1653" y="82"/>
                  </a:cubicBezTo>
                  <a:cubicBezTo>
                    <a:pt x="1655" y="74"/>
                    <a:pt x="1660" y="75"/>
                    <a:pt x="1664" y="72"/>
                  </a:cubicBezTo>
                  <a:cubicBezTo>
                    <a:pt x="1670" y="68"/>
                    <a:pt x="1664" y="64"/>
                    <a:pt x="1666" y="64"/>
                  </a:cubicBezTo>
                  <a:cubicBezTo>
                    <a:pt x="1666" y="64"/>
                    <a:pt x="1672" y="65"/>
                    <a:pt x="1672" y="63"/>
                  </a:cubicBezTo>
                  <a:cubicBezTo>
                    <a:pt x="1670" y="60"/>
                    <a:pt x="1664" y="58"/>
                    <a:pt x="1663" y="56"/>
                  </a:cubicBezTo>
                  <a:cubicBezTo>
                    <a:pt x="1659" y="43"/>
                    <a:pt x="1657" y="67"/>
                    <a:pt x="1655" y="67"/>
                  </a:cubicBezTo>
                  <a:cubicBezTo>
                    <a:pt x="1651" y="67"/>
                    <a:pt x="1649" y="61"/>
                    <a:pt x="1646" y="59"/>
                  </a:cubicBezTo>
                  <a:cubicBezTo>
                    <a:pt x="1643" y="57"/>
                    <a:pt x="1650" y="67"/>
                    <a:pt x="1642" y="63"/>
                  </a:cubicBezTo>
                  <a:cubicBezTo>
                    <a:pt x="1641" y="63"/>
                    <a:pt x="1636" y="59"/>
                    <a:pt x="1635" y="61"/>
                  </a:cubicBezTo>
                  <a:cubicBezTo>
                    <a:pt x="1634" y="63"/>
                    <a:pt x="1629" y="65"/>
                    <a:pt x="1639" y="69"/>
                  </a:cubicBezTo>
                  <a:cubicBezTo>
                    <a:pt x="1642" y="69"/>
                    <a:pt x="1647" y="73"/>
                    <a:pt x="1644" y="74"/>
                  </a:cubicBezTo>
                  <a:cubicBezTo>
                    <a:pt x="1641" y="75"/>
                    <a:pt x="1633" y="74"/>
                    <a:pt x="1631" y="76"/>
                  </a:cubicBezTo>
                  <a:cubicBezTo>
                    <a:pt x="1618" y="92"/>
                    <a:pt x="1628" y="72"/>
                    <a:pt x="1612" y="72"/>
                  </a:cubicBezTo>
                  <a:cubicBezTo>
                    <a:pt x="1608" y="72"/>
                    <a:pt x="1613" y="67"/>
                    <a:pt x="1610" y="69"/>
                  </a:cubicBezTo>
                  <a:cubicBezTo>
                    <a:pt x="1595" y="75"/>
                    <a:pt x="1616" y="79"/>
                    <a:pt x="1613" y="87"/>
                  </a:cubicBezTo>
                  <a:cubicBezTo>
                    <a:pt x="1613" y="90"/>
                    <a:pt x="1607" y="84"/>
                    <a:pt x="1607" y="88"/>
                  </a:cubicBezTo>
                  <a:cubicBezTo>
                    <a:pt x="1605" y="101"/>
                    <a:pt x="1604" y="86"/>
                    <a:pt x="1601" y="86"/>
                  </a:cubicBezTo>
                  <a:cubicBezTo>
                    <a:pt x="1598" y="85"/>
                    <a:pt x="1600" y="88"/>
                    <a:pt x="1598" y="88"/>
                  </a:cubicBezTo>
                  <a:cubicBezTo>
                    <a:pt x="1596" y="89"/>
                    <a:pt x="1597" y="84"/>
                    <a:pt x="1598" y="82"/>
                  </a:cubicBezTo>
                  <a:cubicBezTo>
                    <a:pt x="1598" y="81"/>
                    <a:pt x="1596" y="80"/>
                    <a:pt x="1596" y="80"/>
                  </a:cubicBezTo>
                  <a:cubicBezTo>
                    <a:pt x="1584" y="75"/>
                    <a:pt x="1585" y="83"/>
                    <a:pt x="1583" y="83"/>
                  </a:cubicBezTo>
                  <a:cubicBezTo>
                    <a:pt x="1574" y="81"/>
                    <a:pt x="1571" y="73"/>
                    <a:pt x="1576" y="88"/>
                  </a:cubicBezTo>
                  <a:cubicBezTo>
                    <a:pt x="1576" y="89"/>
                    <a:pt x="1577" y="90"/>
                    <a:pt x="1576" y="90"/>
                  </a:cubicBezTo>
                  <a:cubicBezTo>
                    <a:pt x="1567" y="90"/>
                    <a:pt x="1562" y="76"/>
                    <a:pt x="1562" y="87"/>
                  </a:cubicBezTo>
                  <a:cubicBezTo>
                    <a:pt x="1562" y="88"/>
                    <a:pt x="1562" y="88"/>
                    <a:pt x="1561" y="89"/>
                  </a:cubicBezTo>
                  <a:cubicBezTo>
                    <a:pt x="1560" y="90"/>
                    <a:pt x="1525" y="85"/>
                    <a:pt x="1540" y="89"/>
                  </a:cubicBezTo>
                  <a:cubicBezTo>
                    <a:pt x="1540" y="89"/>
                    <a:pt x="1540" y="89"/>
                    <a:pt x="1540" y="89"/>
                  </a:cubicBezTo>
                  <a:cubicBezTo>
                    <a:pt x="1550" y="91"/>
                    <a:pt x="1532" y="95"/>
                    <a:pt x="1544" y="97"/>
                  </a:cubicBezTo>
                  <a:cubicBezTo>
                    <a:pt x="1547" y="98"/>
                    <a:pt x="1563" y="93"/>
                    <a:pt x="1568" y="93"/>
                  </a:cubicBezTo>
                  <a:cubicBezTo>
                    <a:pt x="1568" y="93"/>
                    <a:pt x="1569" y="92"/>
                    <a:pt x="1569" y="93"/>
                  </a:cubicBezTo>
                  <a:cubicBezTo>
                    <a:pt x="1570" y="94"/>
                    <a:pt x="1564" y="96"/>
                    <a:pt x="1564" y="97"/>
                  </a:cubicBezTo>
                  <a:cubicBezTo>
                    <a:pt x="1557" y="99"/>
                    <a:pt x="1551" y="116"/>
                    <a:pt x="1553" y="116"/>
                  </a:cubicBezTo>
                  <a:cubicBezTo>
                    <a:pt x="1562" y="119"/>
                    <a:pt x="1561" y="105"/>
                    <a:pt x="1566" y="105"/>
                  </a:cubicBezTo>
                  <a:cubicBezTo>
                    <a:pt x="1570" y="104"/>
                    <a:pt x="1562" y="113"/>
                    <a:pt x="1570" y="112"/>
                  </a:cubicBezTo>
                  <a:close/>
                  <a:moveTo>
                    <a:pt x="1738" y="16"/>
                  </a:moveTo>
                  <a:cubicBezTo>
                    <a:pt x="1737" y="16"/>
                    <a:pt x="1727" y="15"/>
                    <a:pt x="1725" y="14"/>
                  </a:cubicBezTo>
                  <a:cubicBezTo>
                    <a:pt x="1719" y="12"/>
                    <a:pt x="1727" y="17"/>
                    <a:pt x="1729" y="19"/>
                  </a:cubicBezTo>
                  <a:cubicBezTo>
                    <a:pt x="1734" y="20"/>
                    <a:pt x="1741" y="21"/>
                    <a:pt x="1738" y="16"/>
                  </a:cubicBezTo>
                  <a:close/>
                  <a:moveTo>
                    <a:pt x="1723" y="18"/>
                  </a:moveTo>
                  <a:cubicBezTo>
                    <a:pt x="1724" y="18"/>
                    <a:pt x="1724" y="18"/>
                    <a:pt x="1724" y="18"/>
                  </a:cubicBezTo>
                  <a:cubicBezTo>
                    <a:pt x="1729" y="20"/>
                    <a:pt x="1729" y="20"/>
                    <a:pt x="1729" y="19"/>
                  </a:cubicBezTo>
                  <a:cubicBezTo>
                    <a:pt x="1723" y="17"/>
                    <a:pt x="1719" y="16"/>
                    <a:pt x="1723" y="18"/>
                  </a:cubicBezTo>
                  <a:close/>
                  <a:moveTo>
                    <a:pt x="1685" y="122"/>
                  </a:moveTo>
                  <a:cubicBezTo>
                    <a:pt x="1690" y="116"/>
                    <a:pt x="1683" y="93"/>
                    <a:pt x="1679" y="92"/>
                  </a:cubicBezTo>
                  <a:cubicBezTo>
                    <a:pt x="1671" y="89"/>
                    <a:pt x="1662" y="94"/>
                    <a:pt x="1666" y="93"/>
                  </a:cubicBezTo>
                  <a:cubicBezTo>
                    <a:pt x="1658" y="96"/>
                    <a:pt x="1676" y="99"/>
                    <a:pt x="1670" y="98"/>
                  </a:cubicBezTo>
                  <a:cubicBezTo>
                    <a:pt x="1680" y="100"/>
                    <a:pt x="1675" y="102"/>
                    <a:pt x="1667" y="102"/>
                  </a:cubicBezTo>
                  <a:cubicBezTo>
                    <a:pt x="1663" y="102"/>
                    <a:pt x="1665" y="110"/>
                    <a:pt x="1662" y="105"/>
                  </a:cubicBezTo>
                  <a:cubicBezTo>
                    <a:pt x="1661" y="104"/>
                    <a:pt x="1656" y="102"/>
                    <a:pt x="1655" y="105"/>
                  </a:cubicBezTo>
                  <a:cubicBezTo>
                    <a:pt x="1654" y="113"/>
                    <a:pt x="1659" y="115"/>
                    <a:pt x="1653" y="115"/>
                  </a:cubicBezTo>
                  <a:cubicBezTo>
                    <a:pt x="1651" y="116"/>
                    <a:pt x="1653" y="107"/>
                    <a:pt x="1652" y="105"/>
                  </a:cubicBezTo>
                  <a:cubicBezTo>
                    <a:pt x="1651" y="103"/>
                    <a:pt x="1643" y="101"/>
                    <a:pt x="1644" y="105"/>
                  </a:cubicBezTo>
                  <a:cubicBezTo>
                    <a:pt x="1645" y="107"/>
                    <a:pt x="1646" y="106"/>
                    <a:pt x="1647" y="107"/>
                  </a:cubicBezTo>
                  <a:cubicBezTo>
                    <a:pt x="1649" y="110"/>
                    <a:pt x="1642" y="108"/>
                    <a:pt x="1639" y="108"/>
                  </a:cubicBezTo>
                  <a:cubicBezTo>
                    <a:pt x="1624" y="109"/>
                    <a:pt x="1611" y="131"/>
                    <a:pt x="1627" y="134"/>
                  </a:cubicBezTo>
                  <a:cubicBezTo>
                    <a:pt x="1629" y="135"/>
                    <a:pt x="1629" y="135"/>
                    <a:pt x="1629" y="135"/>
                  </a:cubicBezTo>
                  <a:cubicBezTo>
                    <a:pt x="1633" y="143"/>
                    <a:pt x="1639" y="125"/>
                    <a:pt x="1641" y="125"/>
                  </a:cubicBezTo>
                  <a:cubicBezTo>
                    <a:pt x="1642" y="125"/>
                    <a:pt x="1634" y="143"/>
                    <a:pt x="1636" y="145"/>
                  </a:cubicBezTo>
                  <a:cubicBezTo>
                    <a:pt x="1640" y="148"/>
                    <a:pt x="1663" y="144"/>
                    <a:pt x="1663" y="140"/>
                  </a:cubicBezTo>
                  <a:cubicBezTo>
                    <a:pt x="1663" y="138"/>
                    <a:pt x="1656" y="139"/>
                    <a:pt x="1655" y="138"/>
                  </a:cubicBezTo>
                  <a:cubicBezTo>
                    <a:pt x="1654" y="136"/>
                    <a:pt x="1666" y="135"/>
                    <a:pt x="1667" y="135"/>
                  </a:cubicBezTo>
                  <a:cubicBezTo>
                    <a:pt x="1673" y="132"/>
                    <a:pt x="1680" y="127"/>
                    <a:pt x="1685" y="122"/>
                  </a:cubicBezTo>
                  <a:close/>
                  <a:moveTo>
                    <a:pt x="1585" y="145"/>
                  </a:moveTo>
                  <a:cubicBezTo>
                    <a:pt x="1599" y="148"/>
                    <a:pt x="1612" y="151"/>
                    <a:pt x="1627" y="151"/>
                  </a:cubicBezTo>
                  <a:cubicBezTo>
                    <a:pt x="1628" y="151"/>
                    <a:pt x="1628" y="151"/>
                    <a:pt x="1628" y="151"/>
                  </a:cubicBezTo>
                  <a:cubicBezTo>
                    <a:pt x="1641" y="149"/>
                    <a:pt x="1609" y="128"/>
                    <a:pt x="1607" y="129"/>
                  </a:cubicBezTo>
                  <a:cubicBezTo>
                    <a:pt x="1606" y="129"/>
                    <a:pt x="1605" y="130"/>
                    <a:pt x="1605" y="131"/>
                  </a:cubicBezTo>
                  <a:cubicBezTo>
                    <a:pt x="1608" y="147"/>
                    <a:pt x="1599" y="128"/>
                    <a:pt x="1599" y="128"/>
                  </a:cubicBezTo>
                  <a:cubicBezTo>
                    <a:pt x="1589" y="130"/>
                    <a:pt x="1583" y="131"/>
                    <a:pt x="1583" y="132"/>
                  </a:cubicBezTo>
                  <a:cubicBezTo>
                    <a:pt x="1583" y="134"/>
                    <a:pt x="1587" y="138"/>
                    <a:pt x="1584" y="139"/>
                  </a:cubicBezTo>
                  <a:cubicBezTo>
                    <a:pt x="1581" y="140"/>
                    <a:pt x="1580" y="132"/>
                    <a:pt x="1574" y="135"/>
                  </a:cubicBezTo>
                  <a:cubicBezTo>
                    <a:pt x="1573" y="135"/>
                    <a:pt x="1573" y="135"/>
                    <a:pt x="1573" y="136"/>
                  </a:cubicBezTo>
                  <a:cubicBezTo>
                    <a:pt x="1571" y="141"/>
                    <a:pt x="1582" y="145"/>
                    <a:pt x="1585" y="145"/>
                  </a:cubicBezTo>
                  <a:close/>
                  <a:moveTo>
                    <a:pt x="1255" y="178"/>
                  </a:moveTo>
                  <a:cubicBezTo>
                    <a:pt x="1251" y="178"/>
                    <a:pt x="1247" y="159"/>
                    <a:pt x="1246" y="175"/>
                  </a:cubicBezTo>
                  <a:cubicBezTo>
                    <a:pt x="1245" y="175"/>
                    <a:pt x="1238" y="183"/>
                    <a:pt x="1241" y="183"/>
                  </a:cubicBezTo>
                  <a:cubicBezTo>
                    <a:pt x="1249" y="184"/>
                    <a:pt x="1240" y="184"/>
                    <a:pt x="1243" y="190"/>
                  </a:cubicBezTo>
                  <a:cubicBezTo>
                    <a:pt x="1243" y="190"/>
                    <a:pt x="1243" y="190"/>
                    <a:pt x="1243" y="190"/>
                  </a:cubicBezTo>
                  <a:cubicBezTo>
                    <a:pt x="1247" y="194"/>
                    <a:pt x="1274" y="178"/>
                    <a:pt x="1271" y="175"/>
                  </a:cubicBezTo>
                  <a:cubicBezTo>
                    <a:pt x="1260" y="166"/>
                    <a:pt x="1265" y="179"/>
                    <a:pt x="1255" y="178"/>
                  </a:cubicBezTo>
                  <a:close/>
                  <a:moveTo>
                    <a:pt x="1280" y="222"/>
                  </a:moveTo>
                  <a:cubicBezTo>
                    <a:pt x="1282" y="226"/>
                    <a:pt x="1288" y="224"/>
                    <a:pt x="1291" y="224"/>
                  </a:cubicBezTo>
                  <a:cubicBezTo>
                    <a:pt x="1311" y="220"/>
                    <a:pt x="1316" y="204"/>
                    <a:pt x="1332" y="195"/>
                  </a:cubicBezTo>
                  <a:cubicBezTo>
                    <a:pt x="1333" y="195"/>
                    <a:pt x="1334" y="192"/>
                    <a:pt x="1334" y="191"/>
                  </a:cubicBezTo>
                  <a:cubicBezTo>
                    <a:pt x="1329" y="183"/>
                    <a:pt x="1326" y="195"/>
                    <a:pt x="1323" y="192"/>
                  </a:cubicBezTo>
                  <a:cubicBezTo>
                    <a:pt x="1319" y="188"/>
                    <a:pt x="1324" y="177"/>
                    <a:pt x="1311" y="187"/>
                  </a:cubicBezTo>
                  <a:cubicBezTo>
                    <a:pt x="1310" y="188"/>
                    <a:pt x="1309" y="189"/>
                    <a:pt x="1309" y="190"/>
                  </a:cubicBezTo>
                  <a:cubicBezTo>
                    <a:pt x="1309" y="191"/>
                    <a:pt x="1311" y="194"/>
                    <a:pt x="1309" y="193"/>
                  </a:cubicBezTo>
                  <a:cubicBezTo>
                    <a:pt x="1294" y="191"/>
                    <a:pt x="1304" y="174"/>
                    <a:pt x="1294" y="180"/>
                  </a:cubicBezTo>
                  <a:cubicBezTo>
                    <a:pt x="1290" y="183"/>
                    <a:pt x="1295" y="171"/>
                    <a:pt x="1289" y="177"/>
                  </a:cubicBezTo>
                  <a:cubicBezTo>
                    <a:pt x="1287" y="180"/>
                    <a:pt x="1277" y="180"/>
                    <a:pt x="1278" y="182"/>
                  </a:cubicBezTo>
                  <a:cubicBezTo>
                    <a:pt x="1280" y="185"/>
                    <a:pt x="1286" y="186"/>
                    <a:pt x="1280" y="189"/>
                  </a:cubicBezTo>
                  <a:cubicBezTo>
                    <a:pt x="1279" y="189"/>
                    <a:pt x="1259" y="182"/>
                    <a:pt x="1258" y="191"/>
                  </a:cubicBezTo>
                  <a:cubicBezTo>
                    <a:pt x="1257" y="194"/>
                    <a:pt x="1269" y="194"/>
                    <a:pt x="1266" y="197"/>
                  </a:cubicBezTo>
                  <a:cubicBezTo>
                    <a:pt x="1263" y="199"/>
                    <a:pt x="1248" y="198"/>
                    <a:pt x="1249" y="201"/>
                  </a:cubicBezTo>
                  <a:cubicBezTo>
                    <a:pt x="1251" y="210"/>
                    <a:pt x="1275" y="212"/>
                    <a:pt x="1280" y="222"/>
                  </a:cubicBezTo>
                  <a:close/>
                  <a:moveTo>
                    <a:pt x="1313" y="164"/>
                  </a:moveTo>
                  <a:cubicBezTo>
                    <a:pt x="1310" y="161"/>
                    <a:pt x="1291" y="169"/>
                    <a:pt x="1320" y="175"/>
                  </a:cubicBezTo>
                  <a:cubicBezTo>
                    <a:pt x="1320" y="175"/>
                    <a:pt x="1320" y="175"/>
                    <a:pt x="1320" y="175"/>
                  </a:cubicBezTo>
                  <a:cubicBezTo>
                    <a:pt x="1337" y="174"/>
                    <a:pt x="1317" y="168"/>
                    <a:pt x="1313" y="164"/>
                  </a:cubicBezTo>
                  <a:close/>
                  <a:moveTo>
                    <a:pt x="1285" y="164"/>
                  </a:moveTo>
                  <a:cubicBezTo>
                    <a:pt x="1285" y="164"/>
                    <a:pt x="1275" y="159"/>
                    <a:pt x="1275" y="165"/>
                  </a:cubicBezTo>
                  <a:cubicBezTo>
                    <a:pt x="1275" y="166"/>
                    <a:pt x="1282" y="169"/>
                    <a:pt x="1283" y="171"/>
                  </a:cubicBezTo>
                  <a:cubicBezTo>
                    <a:pt x="1283" y="171"/>
                    <a:pt x="1283" y="171"/>
                    <a:pt x="1283" y="171"/>
                  </a:cubicBezTo>
                  <a:cubicBezTo>
                    <a:pt x="1287" y="179"/>
                    <a:pt x="1302" y="155"/>
                    <a:pt x="1293" y="150"/>
                  </a:cubicBezTo>
                  <a:cubicBezTo>
                    <a:pt x="1283" y="144"/>
                    <a:pt x="1286" y="161"/>
                    <a:pt x="1285" y="164"/>
                  </a:cubicBezTo>
                  <a:close/>
                  <a:moveTo>
                    <a:pt x="1191" y="293"/>
                  </a:moveTo>
                  <a:cubicBezTo>
                    <a:pt x="1194" y="276"/>
                    <a:pt x="1182" y="286"/>
                    <a:pt x="1179" y="284"/>
                  </a:cubicBezTo>
                  <a:cubicBezTo>
                    <a:pt x="1174" y="280"/>
                    <a:pt x="1193" y="275"/>
                    <a:pt x="1183" y="270"/>
                  </a:cubicBezTo>
                  <a:cubicBezTo>
                    <a:pt x="1182" y="269"/>
                    <a:pt x="1182" y="269"/>
                    <a:pt x="1182" y="269"/>
                  </a:cubicBezTo>
                  <a:cubicBezTo>
                    <a:pt x="1175" y="262"/>
                    <a:pt x="1172" y="281"/>
                    <a:pt x="1168" y="279"/>
                  </a:cubicBezTo>
                  <a:cubicBezTo>
                    <a:pt x="1165" y="278"/>
                    <a:pt x="1175" y="264"/>
                    <a:pt x="1171" y="258"/>
                  </a:cubicBezTo>
                  <a:cubicBezTo>
                    <a:pt x="1167" y="253"/>
                    <a:pt x="1163" y="265"/>
                    <a:pt x="1162" y="265"/>
                  </a:cubicBezTo>
                  <a:cubicBezTo>
                    <a:pt x="1160" y="265"/>
                    <a:pt x="1155" y="251"/>
                    <a:pt x="1152" y="256"/>
                  </a:cubicBezTo>
                  <a:cubicBezTo>
                    <a:pt x="1147" y="264"/>
                    <a:pt x="1161" y="264"/>
                    <a:pt x="1152" y="270"/>
                  </a:cubicBezTo>
                  <a:cubicBezTo>
                    <a:pt x="1150" y="271"/>
                    <a:pt x="1142" y="251"/>
                    <a:pt x="1136" y="255"/>
                  </a:cubicBezTo>
                  <a:cubicBezTo>
                    <a:pt x="1128" y="261"/>
                    <a:pt x="1154" y="275"/>
                    <a:pt x="1151" y="277"/>
                  </a:cubicBezTo>
                  <a:cubicBezTo>
                    <a:pt x="1146" y="283"/>
                    <a:pt x="1131" y="262"/>
                    <a:pt x="1122" y="266"/>
                  </a:cubicBezTo>
                  <a:cubicBezTo>
                    <a:pt x="1119" y="267"/>
                    <a:pt x="1123" y="269"/>
                    <a:pt x="1124" y="270"/>
                  </a:cubicBezTo>
                  <a:cubicBezTo>
                    <a:pt x="1128" y="276"/>
                    <a:pt x="1126" y="274"/>
                    <a:pt x="1122" y="276"/>
                  </a:cubicBezTo>
                  <a:cubicBezTo>
                    <a:pt x="1119" y="277"/>
                    <a:pt x="1113" y="267"/>
                    <a:pt x="1110" y="271"/>
                  </a:cubicBezTo>
                  <a:cubicBezTo>
                    <a:pt x="1105" y="280"/>
                    <a:pt x="1137" y="282"/>
                    <a:pt x="1138" y="283"/>
                  </a:cubicBezTo>
                  <a:cubicBezTo>
                    <a:pt x="1139" y="284"/>
                    <a:pt x="1122" y="285"/>
                    <a:pt x="1121" y="285"/>
                  </a:cubicBezTo>
                  <a:cubicBezTo>
                    <a:pt x="1117" y="286"/>
                    <a:pt x="1132" y="290"/>
                    <a:pt x="1129" y="293"/>
                  </a:cubicBezTo>
                  <a:cubicBezTo>
                    <a:pt x="1128" y="294"/>
                    <a:pt x="1126" y="292"/>
                    <a:pt x="1125" y="292"/>
                  </a:cubicBezTo>
                  <a:cubicBezTo>
                    <a:pt x="1113" y="284"/>
                    <a:pt x="1090" y="286"/>
                    <a:pt x="1083" y="293"/>
                  </a:cubicBezTo>
                  <a:cubicBezTo>
                    <a:pt x="1081" y="295"/>
                    <a:pt x="1097" y="293"/>
                    <a:pt x="1097" y="293"/>
                  </a:cubicBezTo>
                  <a:cubicBezTo>
                    <a:pt x="1103" y="294"/>
                    <a:pt x="1101" y="295"/>
                    <a:pt x="1106" y="301"/>
                  </a:cubicBezTo>
                  <a:cubicBezTo>
                    <a:pt x="1107" y="303"/>
                    <a:pt x="1100" y="300"/>
                    <a:pt x="1100" y="300"/>
                  </a:cubicBezTo>
                  <a:cubicBezTo>
                    <a:pt x="1097" y="300"/>
                    <a:pt x="1085" y="300"/>
                    <a:pt x="1085" y="302"/>
                  </a:cubicBezTo>
                  <a:cubicBezTo>
                    <a:pt x="1084" y="305"/>
                    <a:pt x="1089" y="304"/>
                    <a:pt x="1090" y="304"/>
                  </a:cubicBezTo>
                  <a:cubicBezTo>
                    <a:pt x="1091" y="303"/>
                    <a:pt x="1103" y="308"/>
                    <a:pt x="1103" y="311"/>
                  </a:cubicBezTo>
                  <a:cubicBezTo>
                    <a:pt x="1103" y="313"/>
                    <a:pt x="1106" y="310"/>
                    <a:pt x="1107" y="311"/>
                  </a:cubicBezTo>
                  <a:cubicBezTo>
                    <a:pt x="1109" y="318"/>
                    <a:pt x="1083" y="311"/>
                    <a:pt x="1083" y="315"/>
                  </a:cubicBezTo>
                  <a:cubicBezTo>
                    <a:pt x="1083" y="319"/>
                    <a:pt x="1097" y="325"/>
                    <a:pt x="1105" y="321"/>
                  </a:cubicBezTo>
                  <a:cubicBezTo>
                    <a:pt x="1105" y="321"/>
                    <a:pt x="1109" y="318"/>
                    <a:pt x="1109" y="319"/>
                  </a:cubicBezTo>
                  <a:cubicBezTo>
                    <a:pt x="1110" y="323"/>
                    <a:pt x="1089" y="334"/>
                    <a:pt x="1079" y="332"/>
                  </a:cubicBezTo>
                  <a:cubicBezTo>
                    <a:pt x="1076" y="331"/>
                    <a:pt x="1075" y="333"/>
                    <a:pt x="1074" y="334"/>
                  </a:cubicBezTo>
                  <a:cubicBezTo>
                    <a:pt x="1073" y="335"/>
                    <a:pt x="1073" y="340"/>
                    <a:pt x="1074" y="340"/>
                  </a:cubicBezTo>
                  <a:cubicBezTo>
                    <a:pt x="1078" y="342"/>
                    <a:pt x="1104" y="335"/>
                    <a:pt x="1106" y="338"/>
                  </a:cubicBezTo>
                  <a:cubicBezTo>
                    <a:pt x="1106" y="339"/>
                    <a:pt x="1094" y="349"/>
                    <a:pt x="1098" y="350"/>
                  </a:cubicBezTo>
                  <a:cubicBezTo>
                    <a:pt x="1110" y="354"/>
                    <a:pt x="1116" y="325"/>
                    <a:pt x="1136" y="319"/>
                  </a:cubicBezTo>
                  <a:cubicBezTo>
                    <a:pt x="1142" y="316"/>
                    <a:pt x="1139" y="321"/>
                    <a:pt x="1138" y="324"/>
                  </a:cubicBezTo>
                  <a:cubicBezTo>
                    <a:pt x="1138" y="324"/>
                    <a:pt x="1178" y="329"/>
                    <a:pt x="1183" y="320"/>
                  </a:cubicBezTo>
                  <a:cubicBezTo>
                    <a:pt x="1184" y="319"/>
                    <a:pt x="1173" y="315"/>
                    <a:pt x="1172" y="312"/>
                  </a:cubicBezTo>
                  <a:cubicBezTo>
                    <a:pt x="1172" y="311"/>
                    <a:pt x="1175" y="312"/>
                    <a:pt x="1175" y="312"/>
                  </a:cubicBezTo>
                  <a:cubicBezTo>
                    <a:pt x="1183" y="312"/>
                    <a:pt x="1178" y="306"/>
                    <a:pt x="1176" y="302"/>
                  </a:cubicBezTo>
                  <a:cubicBezTo>
                    <a:pt x="1176" y="301"/>
                    <a:pt x="1174" y="301"/>
                    <a:pt x="1175" y="299"/>
                  </a:cubicBezTo>
                  <a:cubicBezTo>
                    <a:pt x="1178" y="296"/>
                    <a:pt x="1191" y="296"/>
                    <a:pt x="1191" y="293"/>
                  </a:cubicBezTo>
                  <a:close/>
                  <a:moveTo>
                    <a:pt x="1324" y="215"/>
                  </a:moveTo>
                  <a:cubicBezTo>
                    <a:pt x="1353" y="212"/>
                    <a:pt x="1367" y="172"/>
                    <a:pt x="1314" y="215"/>
                  </a:cubicBezTo>
                  <a:cubicBezTo>
                    <a:pt x="1314" y="216"/>
                    <a:pt x="1314" y="216"/>
                    <a:pt x="1314" y="216"/>
                  </a:cubicBezTo>
                  <a:cubicBezTo>
                    <a:pt x="1318" y="218"/>
                    <a:pt x="1320" y="215"/>
                    <a:pt x="1324" y="215"/>
                  </a:cubicBezTo>
                  <a:close/>
                  <a:moveTo>
                    <a:pt x="1098" y="379"/>
                  </a:moveTo>
                  <a:cubicBezTo>
                    <a:pt x="1093" y="366"/>
                    <a:pt x="1081" y="388"/>
                    <a:pt x="1077" y="393"/>
                  </a:cubicBezTo>
                  <a:cubicBezTo>
                    <a:pt x="1077" y="394"/>
                    <a:pt x="1077" y="394"/>
                    <a:pt x="1077" y="394"/>
                  </a:cubicBezTo>
                  <a:cubicBezTo>
                    <a:pt x="1080" y="396"/>
                    <a:pt x="1106" y="390"/>
                    <a:pt x="1107" y="387"/>
                  </a:cubicBezTo>
                  <a:cubicBezTo>
                    <a:pt x="1108" y="385"/>
                    <a:pt x="1099" y="381"/>
                    <a:pt x="1098" y="379"/>
                  </a:cubicBezTo>
                  <a:close/>
                  <a:moveTo>
                    <a:pt x="1110" y="381"/>
                  </a:moveTo>
                  <a:cubicBezTo>
                    <a:pt x="1114" y="384"/>
                    <a:pt x="1134" y="373"/>
                    <a:pt x="1132" y="369"/>
                  </a:cubicBezTo>
                  <a:cubicBezTo>
                    <a:pt x="1129" y="364"/>
                    <a:pt x="1108" y="358"/>
                    <a:pt x="1111" y="366"/>
                  </a:cubicBezTo>
                  <a:cubicBezTo>
                    <a:pt x="1112" y="368"/>
                    <a:pt x="1123" y="378"/>
                    <a:pt x="1113" y="371"/>
                  </a:cubicBezTo>
                  <a:cubicBezTo>
                    <a:pt x="1096" y="360"/>
                    <a:pt x="1102" y="367"/>
                    <a:pt x="1110" y="381"/>
                  </a:cubicBezTo>
                  <a:close/>
                  <a:moveTo>
                    <a:pt x="1134" y="350"/>
                  </a:moveTo>
                  <a:cubicBezTo>
                    <a:pt x="1156" y="339"/>
                    <a:pt x="1147" y="320"/>
                    <a:pt x="1131" y="349"/>
                  </a:cubicBezTo>
                  <a:cubicBezTo>
                    <a:pt x="1131" y="349"/>
                    <a:pt x="1131" y="349"/>
                    <a:pt x="1131" y="349"/>
                  </a:cubicBezTo>
                  <a:cubicBezTo>
                    <a:pt x="1132" y="351"/>
                    <a:pt x="1133" y="351"/>
                    <a:pt x="1134" y="350"/>
                  </a:cubicBezTo>
                  <a:close/>
                  <a:moveTo>
                    <a:pt x="913" y="361"/>
                  </a:moveTo>
                  <a:cubicBezTo>
                    <a:pt x="906" y="358"/>
                    <a:pt x="905" y="368"/>
                    <a:pt x="913" y="369"/>
                  </a:cubicBezTo>
                  <a:cubicBezTo>
                    <a:pt x="913" y="369"/>
                    <a:pt x="913" y="369"/>
                    <a:pt x="913" y="369"/>
                  </a:cubicBezTo>
                  <a:cubicBezTo>
                    <a:pt x="924" y="369"/>
                    <a:pt x="918" y="362"/>
                    <a:pt x="913" y="361"/>
                  </a:cubicBezTo>
                  <a:close/>
                  <a:moveTo>
                    <a:pt x="142" y="1357"/>
                  </a:moveTo>
                  <a:cubicBezTo>
                    <a:pt x="142" y="1357"/>
                    <a:pt x="142" y="1357"/>
                    <a:pt x="142" y="1357"/>
                  </a:cubicBezTo>
                  <a:cubicBezTo>
                    <a:pt x="144" y="1355"/>
                    <a:pt x="120" y="1348"/>
                    <a:pt x="115" y="1352"/>
                  </a:cubicBezTo>
                  <a:cubicBezTo>
                    <a:pt x="112" y="1354"/>
                    <a:pt x="136" y="1359"/>
                    <a:pt x="142" y="1357"/>
                  </a:cubicBezTo>
                  <a:close/>
                  <a:moveTo>
                    <a:pt x="834" y="653"/>
                  </a:moveTo>
                  <a:cubicBezTo>
                    <a:pt x="838" y="656"/>
                    <a:pt x="840" y="664"/>
                    <a:pt x="844" y="664"/>
                  </a:cubicBezTo>
                  <a:cubicBezTo>
                    <a:pt x="844" y="663"/>
                    <a:pt x="844" y="663"/>
                    <a:pt x="844" y="663"/>
                  </a:cubicBezTo>
                  <a:cubicBezTo>
                    <a:pt x="846" y="662"/>
                    <a:pt x="848" y="646"/>
                    <a:pt x="850" y="641"/>
                  </a:cubicBezTo>
                  <a:cubicBezTo>
                    <a:pt x="852" y="634"/>
                    <a:pt x="847" y="640"/>
                    <a:pt x="844" y="643"/>
                  </a:cubicBezTo>
                  <a:cubicBezTo>
                    <a:pt x="839" y="651"/>
                    <a:pt x="828" y="639"/>
                    <a:pt x="826" y="651"/>
                  </a:cubicBezTo>
                  <a:cubicBezTo>
                    <a:pt x="825" y="654"/>
                    <a:pt x="833" y="652"/>
                    <a:pt x="834" y="653"/>
                  </a:cubicBezTo>
                  <a:close/>
                  <a:moveTo>
                    <a:pt x="706" y="802"/>
                  </a:move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lose/>
                  <a:moveTo>
                    <a:pt x="856" y="606"/>
                  </a:moveTo>
                  <a:cubicBezTo>
                    <a:pt x="875" y="600"/>
                    <a:pt x="840" y="596"/>
                    <a:pt x="846" y="608"/>
                  </a:cubicBezTo>
                  <a:cubicBezTo>
                    <a:pt x="846" y="609"/>
                    <a:pt x="855" y="606"/>
                    <a:pt x="856" y="606"/>
                  </a:cubicBezTo>
                  <a:close/>
                  <a:moveTo>
                    <a:pt x="849" y="466"/>
                  </a:moveTo>
                  <a:cubicBezTo>
                    <a:pt x="856" y="456"/>
                    <a:pt x="824" y="455"/>
                    <a:pt x="833" y="462"/>
                  </a:cubicBezTo>
                  <a:cubicBezTo>
                    <a:pt x="835" y="464"/>
                    <a:pt x="840" y="467"/>
                    <a:pt x="843" y="469"/>
                  </a:cubicBezTo>
                  <a:cubicBezTo>
                    <a:pt x="843" y="469"/>
                    <a:pt x="843" y="469"/>
                    <a:pt x="843" y="469"/>
                  </a:cubicBezTo>
                  <a:cubicBezTo>
                    <a:pt x="846" y="469"/>
                    <a:pt x="847" y="469"/>
                    <a:pt x="849" y="466"/>
                  </a:cubicBezTo>
                  <a:close/>
                  <a:moveTo>
                    <a:pt x="726" y="818"/>
                  </a:moveTo>
                  <a:cubicBezTo>
                    <a:pt x="727" y="817"/>
                    <a:pt x="727" y="817"/>
                    <a:pt x="727" y="817"/>
                  </a:cubicBezTo>
                  <a:cubicBezTo>
                    <a:pt x="729" y="816"/>
                    <a:pt x="729" y="815"/>
                    <a:pt x="727" y="814"/>
                  </a:cubicBezTo>
                  <a:cubicBezTo>
                    <a:pt x="718" y="812"/>
                    <a:pt x="711" y="823"/>
                    <a:pt x="703" y="822"/>
                  </a:cubicBezTo>
                  <a:cubicBezTo>
                    <a:pt x="699" y="822"/>
                    <a:pt x="709" y="815"/>
                    <a:pt x="705" y="815"/>
                  </a:cubicBezTo>
                  <a:cubicBezTo>
                    <a:pt x="696" y="814"/>
                    <a:pt x="691" y="821"/>
                    <a:pt x="688" y="827"/>
                  </a:cubicBezTo>
                  <a:cubicBezTo>
                    <a:pt x="687" y="829"/>
                    <a:pt x="680" y="831"/>
                    <a:pt x="681" y="835"/>
                  </a:cubicBezTo>
                  <a:cubicBezTo>
                    <a:pt x="681" y="835"/>
                    <a:pt x="692" y="832"/>
                    <a:pt x="691" y="835"/>
                  </a:cubicBezTo>
                  <a:cubicBezTo>
                    <a:pt x="689" y="840"/>
                    <a:pt x="711" y="822"/>
                    <a:pt x="726" y="818"/>
                  </a:cubicBezTo>
                  <a:close/>
                  <a:moveTo>
                    <a:pt x="1057" y="363"/>
                  </a:moveTo>
                  <a:cubicBezTo>
                    <a:pt x="1062" y="355"/>
                    <a:pt x="1043" y="357"/>
                    <a:pt x="1037" y="353"/>
                  </a:cubicBezTo>
                  <a:cubicBezTo>
                    <a:pt x="1024" y="344"/>
                    <a:pt x="1033" y="366"/>
                    <a:pt x="1050" y="369"/>
                  </a:cubicBezTo>
                  <a:cubicBezTo>
                    <a:pt x="1050" y="369"/>
                    <a:pt x="1050" y="369"/>
                    <a:pt x="1050" y="369"/>
                  </a:cubicBezTo>
                  <a:cubicBezTo>
                    <a:pt x="1058" y="370"/>
                    <a:pt x="1055" y="367"/>
                    <a:pt x="1057" y="363"/>
                  </a:cubicBezTo>
                  <a:close/>
                  <a:moveTo>
                    <a:pt x="737" y="514"/>
                  </a:moveTo>
                  <a:cubicBezTo>
                    <a:pt x="739" y="513"/>
                    <a:pt x="739" y="519"/>
                    <a:pt x="742" y="519"/>
                  </a:cubicBezTo>
                  <a:cubicBezTo>
                    <a:pt x="746" y="519"/>
                    <a:pt x="752" y="515"/>
                    <a:pt x="748" y="508"/>
                  </a:cubicBezTo>
                  <a:cubicBezTo>
                    <a:pt x="748" y="508"/>
                    <a:pt x="748" y="508"/>
                    <a:pt x="748" y="508"/>
                  </a:cubicBezTo>
                  <a:cubicBezTo>
                    <a:pt x="747" y="500"/>
                    <a:pt x="744" y="510"/>
                    <a:pt x="743" y="504"/>
                  </a:cubicBezTo>
                  <a:cubicBezTo>
                    <a:pt x="743" y="501"/>
                    <a:pt x="747" y="500"/>
                    <a:pt x="749" y="497"/>
                  </a:cubicBezTo>
                  <a:cubicBezTo>
                    <a:pt x="750" y="496"/>
                    <a:pt x="743" y="487"/>
                    <a:pt x="742" y="495"/>
                  </a:cubicBezTo>
                  <a:cubicBezTo>
                    <a:pt x="742" y="496"/>
                    <a:pt x="742" y="496"/>
                    <a:pt x="742" y="496"/>
                  </a:cubicBezTo>
                  <a:cubicBezTo>
                    <a:pt x="742" y="496"/>
                    <a:pt x="741" y="498"/>
                    <a:pt x="741" y="498"/>
                  </a:cubicBezTo>
                  <a:cubicBezTo>
                    <a:pt x="734" y="506"/>
                    <a:pt x="716" y="536"/>
                    <a:pt x="718" y="538"/>
                  </a:cubicBezTo>
                  <a:cubicBezTo>
                    <a:pt x="722" y="543"/>
                    <a:pt x="726" y="532"/>
                    <a:pt x="728" y="531"/>
                  </a:cubicBezTo>
                  <a:cubicBezTo>
                    <a:pt x="750" y="523"/>
                    <a:pt x="730" y="519"/>
                    <a:pt x="737" y="514"/>
                  </a:cubicBezTo>
                  <a:close/>
                  <a:moveTo>
                    <a:pt x="762" y="508"/>
                  </a:moveTo>
                  <a:cubicBezTo>
                    <a:pt x="763" y="508"/>
                    <a:pt x="763" y="508"/>
                    <a:pt x="763" y="508"/>
                  </a:cubicBezTo>
                  <a:cubicBezTo>
                    <a:pt x="789" y="481"/>
                    <a:pt x="763" y="481"/>
                    <a:pt x="762" y="488"/>
                  </a:cubicBezTo>
                  <a:cubicBezTo>
                    <a:pt x="762" y="491"/>
                    <a:pt x="768" y="492"/>
                    <a:pt x="766" y="496"/>
                  </a:cubicBezTo>
                  <a:cubicBezTo>
                    <a:pt x="764" y="499"/>
                    <a:pt x="754" y="490"/>
                    <a:pt x="752" y="504"/>
                  </a:cubicBezTo>
                  <a:cubicBezTo>
                    <a:pt x="751" y="512"/>
                    <a:pt x="756" y="502"/>
                    <a:pt x="756" y="502"/>
                  </a:cubicBezTo>
                  <a:cubicBezTo>
                    <a:pt x="760" y="504"/>
                    <a:pt x="754" y="514"/>
                    <a:pt x="762" y="508"/>
                  </a:cubicBezTo>
                  <a:close/>
                  <a:moveTo>
                    <a:pt x="993" y="343"/>
                  </a:moveTo>
                  <a:cubicBezTo>
                    <a:pt x="993" y="335"/>
                    <a:pt x="1032" y="313"/>
                    <a:pt x="1016" y="301"/>
                  </a:cubicBezTo>
                  <a:cubicBezTo>
                    <a:pt x="1015" y="300"/>
                    <a:pt x="1014" y="301"/>
                    <a:pt x="1013" y="302"/>
                  </a:cubicBezTo>
                  <a:cubicBezTo>
                    <a:pt x="1009" y="304"/>
                    <a:pt x="966" y="335"/>
                    <a:pt x="966" y="335"/>
                  </a:cubicBezTo>
                  <a:cubicBezTo>
                    <a:pt x="961" y="345"/>
                    <a:pt x="957" y="356"/>
                    <a:pt x="953" y="364"/>
                  </a:cubicBezTo>
                  <a:cubicBezTo>
                    <a:pt x="953" y="365"/>
                    <a:pt x="953" y="365"/>
                    <a:pt x="953" y="365"/>
                  </a:cubicBezTo>
                  <a:cubicBezTo>
                    <a:pt x="950" y="374"/>
                    <a:pt x="962" y="366"/>
                    <a:pt x="964" y="361"/>
                  </a:cubicBezTo>
                  <a:cubicBezTo>
                    <a:pt x="966" y="357"/>
                    <a:pt x="965" y="351"/>
                    <a:pt x="965" y="351"/>
                  </a:cubicBezTo>
                  <a:cubicBezTo>
                    <a:pt x="965" y="351"/>
                    <a:pt x="993" y="356"/>
                    <a:pt x="993" y="343"/>
                  </a:cubicBezTo>
                  <a:close/>
                  <a:moveTo>
                    <a:pt x="916" y="464"/>
                  </a:moveTo>
                  <a:cubicBezTo>
                    <a:pt x="913" y="458"/>
                    <a:pt x="902" y="466"/>
                    <a:pt x="905" y="471"/>
                  </a:cubicBezTo>
                  <a:cubicBezTo>
                    <a:pt x="908" y="476"/>
                    <a:pt x="912" y="471"/>
                    <a:pt x="914" y="467"/>
                  </a:cubicBezTo>
                  <a:cubicBezTo>
                    <a:pt x="914" y="467"/>
                    <a:pt x="914" y="467"/>
                    <a:pt x="914" y="467"/>
                  </a:cubicBezTo>
                  <a:cubicBezTo>
                    <a:pt x="915" y="466"/>
                    <a:pt x="915" y="465"/>
                    <a:pt x="916" y="464"/>
                  </a:cubicBezTo>
                  <a:close/>
                  <a:moveTo>
                    <a:pt x="916" y="465"/>
                  </a:moveTo>
                  <a:cubicBezTo>
                    <a:pt x="916" y="464"/>
                    <a:pt x="916" y="464"/>
                    <a:pt x="916" y="464"/>
                  </a:cubicBezTo>
                  <a:cubicBezTo>
                    <a:pt x="915" y="465"/>
                    <a:pt x="915" y="466"/>
                    <a:pt x="914" y="467"/>
                  </a:cubicBezTo>
                  <a:cubicBezTo>
                    <a:pt x="914" y="467"/>
                    <a:pt x="914" y="467"/>
                    <a:pt x="914" y="467"/>
                  </a:cubicBezTo>
                  <a:cubicBezTo>
                    <a:pt x="915" y="466"/>
                    <a:pt x="916" y="465"/>
                    <a:pt x="916" y="465"/>
                  </a:cubicBezTo>
                  <a:close/>
                  <a:moveTo>
                    <a:pt x="1812" y="28"/>
                  </a:moveTo>
                  <a:cubicBezTo>
                    <a:pt x="1813" y="28"/>
                    <a:pt x="1813" y="28"/>
                    <a:pt x="1813" y="28"/>
                  </a:cubicBezTo>
                  <a:cubicBezTo>
                    <a:pt x="1829" y="21"/>
                    <a:pt x="1799" y="18"/>
                    <a:pt x="1812" y="28"/>
                  </a:cubicBezTo>
                  <a:close/>
                  <a:moveTo>
                    <a:pt x="1775" y="26"/>
                  </a:moveTo>
                  <a:cubicBezTo>
                    <a:pt x="1774" y="30"/>
                    <a:pt x="1786" y="30"/>
                    <a:pt x="1788" y="30"/>
                  </a:cubicBezTo>
                  <a:cubicBezTo>
                    <a:pt x="1789" y="30"/>
                    <a:pt x="1789" y="30"/>
                    <a:pt x="1789" y="30"/>
                  </a:cubicBezTo>
                  <a:cubicBezTo>
                    <a:pt x="1797" y="29"/>
                    <a:pt x="1775" y="24"/>
                    <a:pt x="1775" y="26"/>
                  </a:cubicBezTo>
                  <a:close/>
                  <a:moveTo>
                    <a:pt x="1792" y="24"/>
                  </a:moveTo>
                  <a:cubicBezTo>
                    <a:pt x="1805" y="23"/>
                    <a:pt x="1796" y="4"/>
                    <a:pt x="1788" y="11"/>
                  </a:cubicBezTo>
                  <a:cubicBezTo>
                    <a:pt x="1786" y="14"/>
                    <a:pt x="1795" y="15"/>
                    <a:pt x="1792" y="17"/>
                  </a:cubicBezTo>
                  <a:cubicBezTo>
                    <a:pt x="1789" y="19"/>
                    <a:pt x="1770" y="17"/>
                    <a:pt x="1792" y="24"/>
                  </a:cubicBezTo>
                  <a:close/>
                  <a:moveTo>
                    <a:pt x="838" y="469"/>
                  </a:moveTo>
                  <a:cubicBezTo>
                    <a:pt x="830" y="463"/>
                    <a:pt x="830" y="471"/>
                    <a:pt x="824" y="471"/>
                  </a:cubicBezTo>
                  <a:cubicBezTo>
                    <a:pt x="816" y="469"/>
                    <a:pt x="787" y="455"/>
                    <a:pt x="783" y="471"/>
                  </a:cubicBezTo>
                  <a:cubicBezTo>
                    <a:pt x="783" y="472"/>
                    <a:pt x="791" y="472"/>
                    <a:pt x="792" y="473"/>
                  </a:cubicBezTo>
                  <a:cubicBezTo>
                    <a:pt x="794" y="478"/>
                    <a:pt x="775" y="472"/>
                    <a:pt x="782" y="483"/>
                  </a:cubicBezTo>
                  <a:cubicBezTo>
                    <a:pt x="783" y="484"/>
                    <a:pt x="781" y="486"/>
                    <a:pt x="781" y="487"/>
                  </a:cubicBezTo>
                  <a:cubicBezTo>
                    <a:pt x="781" y="487"/>
                    <a:pt x="781" y="487"/>
                    <a:pt x="781" y="487"/>
                  </a:cubicBezTo>
                  <a:cubicBezTo>
                    <a:pt x="785" y="488"/>
                    <a:pt x="782" y="484"/>
                    <a:pt x="785" y="486"/>
                  </a:cubicBezTo>
                  <a:cubicBezTo>
                    <a:pt x="788" y="488"/>
                    <a:pt x="772" y="493"/>
                    <a:pt x="781" y="501"/>
                  </a:cubicBezTo>
                  <a:cubicBezTo>
                    <a:pt x="782" y="502"/>
                    <a:pt x="782" y="502"/>
                    <a:pt x="782" y="502"/>
                  </a:cubicBezTo>
                  <a:cubicBezTo>
                    <a:pt x="791" y="502"/>
                    <a:pt x="783" y="488"/>
                    <a:pt x="791" y="490"/>
                  </a:cubicBezTo>
                  <a:cubicBezTo>
                    <a:pt x="791" y="490"/>
                    <a:pt x="794" y="493"/>
                    <a:pt x="794" y="493"/>
                  </a:cubicBezTo>
                  <a:cubicBezTo>
                    <a:pt x="793" y="496"/>
                    <a:pt x="797" y="500"/>
                    <a:pt x="800" y="497"/>
                  </a:cubicBezTo>
                  <a:cubicBezTo>
                    <a:pt x="802" y="496"/>
                    <a:pt x="798" y="489"/>
                    <a:pt x="802" y="489"/>
                  </a:cubicBezTo>
                  <a:cubicBezTo>
                    <a:pt x="803" y="488"/>
                    <a:pt x="813" y="498"/>
                    <a:pt x="813" y="489"/>
                  </a:cubicBezTo>
                  <a:cubicBezTo>
                    <a:pt x="813" y="486"/>
                    <a:pt x="806" y="484"/>
                    <a:pt x="806" y="484"/>
                  </a:cubicBezTo>
                  <a:cubicBezTo>
                    <a:pt x="807" y="484"/>
                    <a:pt x="846" y="475"/>
                    <a:pt x="838" y="469"/>
                  </a:cubicBezTo>
                  <a:close/>
                  <a:moveTo>
                    <a:pt x="891" y="468"/>
                  </a:moveTo>
                  <a:cubicBezTo>
                    <a:pt x="891" y="469"/>
                    <a:pt x="908" y="462"/>
                    <a:pt x="917" y="452"/>
                  </a:cubicBezTo>
                  <a:cubicBezTo>
                    <a:pt x="918" y="450"/>
                    <a:pt x="929" y="439"/>
                    <a:pt x="929" y="438"/>
                  </a:cubicBezTo>
                  <a:cubicBezTo>
                    <a:pt x="928" y="437"/>
                    <a:pt x="920" y="439"/>
                    <a:pt x="919" y="439"/>
                  </a:cubicBezTo>
                  <a:cubicBezTo>
                    <a:pt x="916" y="442"/>
                    <a:pt x="910" y="438"/>
                    <a:pt x="906" y="441"/>
                  </a:cubicBezTo>
                  <a:cubicBezTo>
                    <a:pt x="903" y="443"/>
                    <a:pt x="907" y="449"/>
                    <a:pt x="903" y="449"/>
                  </a:cubicBezTo>
                  <a:cubicBezTo>
                    <a:pt x="902" y="450"/>
                    <a:pt x="900" y="451"/>
                    <a:pt x="899" y="452"/>
                  </a:cubicBezTo>
                  <a:cubicBezTo>
                    <a:pt x="897" y="452"/>
                    <a:pt x="896" y="453"/>
                    <a:pt x="895" y="452"/>
                  </a:cubicBezTo>
                  <a:cubicBezTo>
                    <a:pt x="894" y="452"/>
                    <a:pt x="905" y="446"/>
                    <a:pt x="896" y="441"/>
                  </a:cubicBezTo>
                  <a:cubicBezTo>
                    <a:pt x="887" y="436"/>
                    <a:pt x="892" y="447"/>
                    <a:pt x="890" y="449"/>
                  </a:cubicBezTo>
                  <a:cubicBezTo>
                    <a:pt x="887" y="451"/>
                    <a:pt x="886" y="443"/>
                    <a:pt x="886" y="442"/>
                  </a:cubicBezTo>
                  <a:cubicBezTo>
                    <a:pt x="883" y="440"/>
                    <a:pt x="879" y="443"/>
                    <a:pt x="877" y="444"/>
                  </a:cubicBezTo>
                  <a:cubicBezTo>
                    <a:pt x="875" y="445"/>
                    <a:pt x="875" y="450"/>
                    <a:pt x="874" y="449"/>
                  </a:cubicBezTo>
                  <a:cubicBezTo>
                    <a:pt x="873" y="447"/>
                    <a:pt x="861" y="449"/>
                    <a:pt x="861" y="450"/>
                  </a:cubicBezTo>
                  <a:cubicBezTo>
                    <a:pt x="860" y="452"/>
                    <a:pt x="870" y="456"/>
                    <a:pt x="871" y="459"/>
                  </a:cubicBezTo>
                  <a:cubicBezTo>
                    <a:pt x="872" y="461"/>
                    <a:pt x="867" y="457"/>
                    <a:pt x="866" y="458"/>
                  </a:cubicBezTo>
                  <a:cubicBezTo>
                    <a:pt x="858" y="468"/>
                    <a:pt x="859" y="454"/>
                    <a:pt x="855" y="458"/>
                  </a:cubicBezTo>
                  <a:cubicBezTo>
                    <a:pt x="850" y="463"/>
                    <a:pt x="855" y="464"/>
                    <a:pt x="856" y="467"/>
                  </a:cubicBezTo>
                  <a:cubicBezTo>
                    <a:pt x="856" y="469"/>
                    <a:pt x="851" y="470"/>
                    <a:pt x="853" y="470"/>
                  </a:cubicBezTo>
                  <a:cubicBezTo>
                    <a:pt x="854" y="470"/>
                    <a:pt x="858" y="470"/>
                    <a:pt x="858" y="471"/>
                  </a:cubicBezTo>
                  <a:cubicBezTo>
                    <a:pt x="858" y="471"/>
                    <a:pt x="853" y="473"/>
                    <a:pt x="852" y="473"/>
                  </a:cubicBezTo>
                  <a:cubicBezTo>
                    <a:pt x="842" y="473"/>
                    <a:pt x="848" y="478"/>
                    <a:pt x="845" y="482"/>
                  </a:cubicBezTo>
                  <a:cubicBezTo>
                    <a:pt x="844" y="484"/>
                    <a:pt x="844" y="484"/>
                    <a:pt x="844" y="484"/>
                  </a:cubicBezTo>
                  <a:cubicBezTo>
                    <a:pt x="845" y="485"/>
                    <a:pt x="887" y="473"/>
                    <a:pt x="886" y="469"/>
                  </a:cubicBezTo>
                  <a:cubicBezTo>
                    <a:pt x="885" y="464"/>
                    <a:pt x="885" y="457"/>
                    <a:pt x="890" y="456"/>
                  </a:cubicBezTo>
                  <a:cubicBezTo>
                    <a:pt x="898" y="454"/>
                    <a:pt x="889" y="467"/>
                    <a:pt x="891" y="468"/>
                  </a:cubicBezTo>
                  <a:close/>
                  <a:moveTo>
                    <a:pt x="1055" y="405"/>
                  </a:moveTo>
                  <a:cubicBezTo>
                    <a:pt x="1056" y="397"/>
                    <a:pt x="1052" y="391"/>
                    <a:pt x="1049" y="386"/>
                  </a:cubicBezTo>
                  <a:cubicBezTo>
                    <a:pt x="1048" y="384"/>
                    <a:pt x="1055" y="380"/>
                    <a:pt x="1054" y="379"/>
                  </a:cubicBezTo>
                  <a:cubicBezTo>
                    <a:pt x="1054" y="377"/>
                    <a:pt x="1047" y="381"/>
                    <a:pt x="1044" y="380"/>
                  </a:cubicBezTo>
                  <a:cubicBezTo>
                    <a:pt x="1044" y="379"/>
                    <a:pt x="1031" y="366"/>
                    <a:pt x="1027" y="366"/>
                  </a:cubicBezTo>
                  <a:cubicBezTo>
                    <a:pt x="1024" y="366"/>
                    <a:pt x="1035" y="380"/>
                    <a:pt x="1029" y="376"/>
                  </a:cubicBezTo>
                  <a:cubicBezTo>
                    <a:pt x="1026" y="375"/>
                    <a:pt x="1026" y="373"/>
                    <a:pt x="1023" y="373"/>
                  </a:cubicBezTo>
                  <a:cubicBezTo>
                    <a:pt x="1001" y="375"/>
                    <a:pt x="1023" y="386"/>
                    <a:pt x="1023" y="389"/>
                  </a:cubicBezTo>
                  <a:cubicBezTo>
                    <a:pt x="1025" y="399"/>
                    <a:pt x="1008" y="387"/>
                    <a:pt x="1008" y="398"/>
                  </a:cubicBezTo>
                  <a:cubicBezTo>
                    <a:pt x="1008" y="401"/>
                    <a:pt x="1012" y="410"/>
                    <a:pt x="1009" y="408"/>
                  </a:cubicBezTo>
                  <a:cubicBezTo>
                    <a:pt x="1007" y="407"/>
                    <a:pt x="1008" y="404"/>
                    <a:pt x="1005" y="404"/>
                  </a:cubicBezTo>
                  <a:cubicBezTo>
                    <a:pt x="998" y="402"/>
                    <a:pt x="990" y="415"/>
                    <a:pt x="988" y="420"/>
                  </a:cubicBezTo>
                  <a:cubicBezTo>
                    <a:pt x="988" y="421"/>
                    <a:pt x="982" y="426"/>
                    <a:pt x="981" y="425"/>
                  </a:cubicBezTo>
                  <a:cubicBezTo>
                    <a:pt x="976" y="418"/>
                    <a:pt x="1002" y="400"/>
                    <a:pt x="1004" y="390"/>
                  </a:cubicBezTo>
                  <a:cubicBezTo>
                    <a:pt x="1005" y="383"/>
                    <a:pt x="981" y="399"/>
                    <a:pt x="984" y="393"/>
                  </a:cubicBezTo>
                  <a:cubicBezTo>
                    <a:pt x="986" y="384"/>
                    <a:pt x="1007" y="369"/>
                    <a:pt x="997" y="357"/>
                  </a:cubicBezTo>
                  <a:cubicBezTo>
                    <a:pt x="996" y="357"/>
                    <a:pt x="995" y="356"/>
                    <a:pt x="995" y="356"/>
                  </a:cubicBezTo>
                  <a:cubicBezTo>
                    <a:pt x="982" y="353"/>
                    <a:pt x="961" y="367"/>
                    <a:pt x="965" y="375"/>
                  </a:cubicBezTo>
                  <a:cubicBezTo>
                    <a:pt x="966" y="377"/>
                    <a:pt x="973" y="379"/>
                    <a:pt x="972" y="379"/>
                  </a:cubicBezTo>
                  <a:cubicBezTo>
                    <a:pt x="968" y="383"/>
                    <a:pt x="957" y="376"/>
                    <a:pt x="956" y="384"/>
                  </a:cubicBezTo>
                  <a:cubicBezTo>
                    <a:pt x="956" y="385"/>
                    <a:pt x="956" y="387"/>
                    <a:pt x="956" y="388"/>
                  </a:cubicBezTo>
                  <a:cubicBezTo>
                    <a:pt x="956" y="389"/>
                    <a:pt x="982" y="396"/>
                    <a:pt x="979" y="398"/>
                  </a:cubicBezTo>
                  <a:cubicBezTo>
                    <a:pt x="977" y="399"/>
                    <a:pt x="961" y="391"/>
                    <a:pt x="957" y="394"/>
                  </a:cubicBezTo>
                  <a:cubicBezTo>
                    <a:pt x="946" y="403"/>
                    <a:pt x="967" y="408"/>
                    <a:pt x="968" y="410"/>
                  </a:cubicBezTo>
                  <a:cubicBezTo>
                    <a:pt x="969" y="411"/>
                    <a:pt x="973" y="411"/>
                    <a:pt x="972" y="413"/>
                  </a:cubicBezTo>
                  <a:cubicBezTo>
                    <a:pt x="972" y="413"/>
                    <a:pt x="971" y="413"/>
                    <a:pt x="971" y="413"/>
                  </a:cubicBezTo>
                  <a:cubicBezTo>
                    <a:pt x="970" y="413"/>
                    <a:pt x="970" y="413"/>
                    <a:pt x="969" y="413"/>
                  </a:cubicBezTo>
                  <a:cubicBezTo>
                    <a:pt x="960" y="413"/>
                    <a:pt x="950" y="409"/>
                    <a:pt x="953" y="416"/>
                  </a:cubicBezTo>
                  <a:cubicBezTo>
                    <a:pt x="954" y="417"/>
                    <a:pt x="956" y="421"/>
                    <a:pt x="956" y="421"/>
                  </a:cubicBezTo>
                  <a:cubicBezTo>
                    <a:pt x="950" y="422"/>
                    <a:pt x="940" y="413"/>
                    <a:pt x="935" y="420"/>
                  </a:cubicBezTo>
                  <a:cubicBezTo>
                    <a:pt x="930" y="427"/>
                    <a:pt x="949" y="430"/>
                    <a:pt x="940" y="432"/>
                  </a:cubicBezTo>
                  <a:cubicBezTo>
                    <a:pt x="933" y="433"/>
                    <a:pt x="941" y="435"/>
                    <a:pt x="945" y="435"/>
                  </a:cubicBezTo>
                  <a:cubicBezTo>
                    <a:pt x="946" y="435"/>
                    <a:pt x="948" y="435"/>
                    <a:pt x="948" y="436"/>
                  </a:cubicBezTo>
                  <a:cubicBezTo>
                    <a:pt x="947" y="437"/>
                    <a:pt x="940" y="438"/>
                    <a:pt x="939" y="438"/>
                  </a:cubicBezTo>
                  <a:cubicBezTo>
                    <a:pt x="928" y="438"/>
                    <a:pt x="921" y="456"/>
                    <a:pt x="916" y="464"/>
                  </a:cubicBezTo>
                  <a:cubicBezTo>
                    <a:pt x="916" y="464"/>
                    <a:pt x="916" y="464"/>
                    <a:pt x="916" y="465"/>
                  </a:cubicBezTo>
                  <a:cubicBezTo>
                    <a:pt x="916" y="465"/>
                    <a:pt x="916" y="465"/>
                    <a:pt x="916" y="465"/>
                  </a:cubicBezTo>
                  <a:cubicBezTo>
                    <a:pt x="916" y="465"/>
                    <a:pt x="915" y="466"/>
                    <a:pt x="914" y="467"/>
                  </a:cubicBezTo>
                  <a:cubicBezTo>
                    <a:pt x="914" y="468"/>
                    <a:pt x="914" y="468"/>
                    <a:pt x="914" y="468"/>
                  </a:cubicBezTo>
                  <a:cubicBezTo>
                    <a:pt x="914" y="470"/>
                    <a:pt x="935" y="458"/>
                    <a:pt x="936" y="455"/>
                  </a:cubicBezTo>
                  <a:cubicBezTo>
                    <a:pt x="940" y="449"/>
                    <a:pt x="946" y="447"/>
                    <a:pt x="959" y="439"/>
                  </a:cubicBezTo>
                  <a:cubicBezTo>
                    <a:pt x="962" y="437"/>
                    <a:pt x="962" y="427"/>
                    <a:pt x="965" y="428"/>
                  </a:cubicBezTo>
                  <a:cubicBezTo>
                    <a:pt x="980" y="434"/>
                    <a:pt x="942" y="451"/>
                    <a:pt x="945" y="456"/>
                  </a:cubicBezTo>
                  <a:cubicBezTo>
                    <a:pt x="946" y="457"/>
                    <a:pt x="958" y="457"/>
                    <a:pt x="960" y="456"/>
                  </a:cubicBezTo>
                  <a:cubicBezTo>
                    <a:pt x="965" y="453"/>
                    <a:pt x="970" y="465"/>
                    <a:pt x="972" y="461"/>
                  </a:cubicBezTo>
                  <a:cubicBezTo>
                    <a:pt x="974" y="458"/>
                    <a:pt x="980" y="441"/>
                    <a:pt x="983" y="441"/>
                  </a:cubicBezTo>
                  <a:cubicBezTo>
                    <a:pt x="985" y="442"/>
                    <a:pt x="983" y="447"/>
                    <a:pt x="987" y="447"/>
                  </a:cubicBezTo>
                  <a:cubicBezTo>
                    <a:pt x="988" y="447"/>
                    <a:pt x="989" y="427"/>
                    <a:pt x="994" y="438"/>
                  </a:cubicBezTo>
                  <a:cubicBezTo>
                    <a:pt x="996" y="441"/>
                    <a:pt x="991" y="448"/>
                    <a:pt x="993" y="451"/>
                  </a:cubicBezTo>
                  <a:cubicBezTo>
                    <a:pt x="999" y="459"/>
                    <a:pt x="1012" y="425"/>
                    <a:pt x="1014" y="424"/>
                  </a:cubicBezTo>
                  <a:cubicBezTo>
                    <a:pt x="1026" y="417"/>
                    <a:pt x="1053" y="430"/>
                    <a:pt x="1055" y="405"/>
                  </a:cubicBezTo>
                  <a:close/>
                  <a:moveTo>
                    <a:pt x="922" y="511"/>
                  </a:moveTo>
                  <a:cubicBezTo>
                    <a:pt x="920" y="509"/>
                    <a:pt x="919" y="511"/>
                    <a:pt x="918" y="512"/>
                  </a:cubicBezTo>
                  <a:cubicBezTo>
                    <a:pt x="905" y="524"/>
                    <a:pt x="915" y="523"/>
                    <a:pt x="935" y="521"/>
                  </a:cubicBezTo>
                  <a:cubicBezTo>
                    <a:pt x="936" y="520"/>
                    <a:pt x="936" y="520"/>
                    <a:pt x="936" y="520"/>
                  </a:cubicBezTo>
                  <a:cubicBezTo>
                    <a:pt x="947" y="517"/>
                    <a:pt x="926" y="518"/>
                    <a:pt x="922" y="511"/>
                  </a:cubicBezTo>
                  <a:close/>
                  <a:moveTo>
                    <a:pt x="934" y="513"/>
                  </a:moveTo>
                  <a:cubicBezTo>
                    <a:pt x="936" y="513"/>
                    <a:pt x="937" y="513"/>
                    <a:pt x="938" y="513"/>
                  </a:cubicBezTo>
                  <a:cubicBezTo>
                    <a:pt x="940" y="513"/>
                    <a:pt x="940" y="513"/>
                    <a:pt x="940" y="513"/>
                  </a:cubicBezTo>
                  <a:cubicBezTo>
                    <a:pt x="952" y="504"/>
                    <a:pt x="912" y="511"/>
                    <a:pt x="934" y="513"/>
                  </a:cubicBezTo>
                  <a:close/>
                  <a:moveTo>
                    <a:pt x="562" y="1026"/>
                  </a:moveTo>
                  <a:cubicBezTo>
                    <a:pt x="561" y="1036"/>
                    <a:pt x="572" y="1029"/>
                    <a:pt x="577" y="1032"/>
                  </a:cubicBezTo>
                  <a:cubicBezTo>
                    <a:pt x="584" y="1037"/>
                    <a:pt x="570" y="1032"/>
                    <a:pt x="570" y="1037"/>
                  </a:cubicBezTo>
                  <a:cubicBezTo>
                    <a:pt x="570" y="1043"/>
                    <a:pt x="588" y="1048"/>
                    <a:pt x="592" y="1048"/>
                  </a:cubicBezTo>
                  <a:cubicBezTo>
                    <a:pt x="594" y="1048"/>
                    <a:pt x="595" y="1050"/>
                    <a:pt x="596" y="1049"/>
                  </a:cubicBezTo>
                  <a:cubicBezTo>
                    <a:pt x="597" y="1048"/>
                    <a:pt x="598" y="1045"/>
                    <a:pt x="599" y="1043"/>
                  </a:cubicBezTo>
                  <a:cubicBezTo>
                    <a:pt x="599" y="1043"/>
                    <a:pt x="599" y="1043"/>
                    <a:pt x="599" y="1043"/>
                  </a:cubicBezTo>
                  <a:cubicBezTo>
                    <a:pt x="603" y="1038"/>
                    <a:pt x="585" y="1040"/>
                    <a:pt x="585" y="1039"/>
                  </a:cubicBezTo>
                  <a:cubicBezTo>
                    <a:pt x="584" y="1039"/>
                    <a:pt x="564" y="1013"/>
                    <a:pt x="562" y="1026"/>
                  </a:cubicBezTo>
                  <a:close/>
                  <a:moveTo>
                    <a:pt x="95" y="1822"/>
                  </a:moveTo>
                  <a:cubicBezTo>
                    <a:pt x="90" y="1820"/>
                    <a:pt x="87" y="1835"/>
                    <a:pt x="98" y="1825"/>
                  </a:cubicBezTo>
                  <a:cubicBezTo>
                    <a:pt x="100" y="1823"/>
                    <a:pt x="94" y="1824"/>
                    <a:pt x="95" y="1822"/>
                  </a:cubicBezTo>
                  <a:close/>
                  <a:moveTo>
                    <a:pt x="594" y="1029"/>
                  </a:moveTo>
                  <a:cubicBezTo>
                    <a:pt x="593" y="1029"/>
                    <a:pt x="590" y="1037"/>
                    <a:pt x="600" y="1038"/>
                  </a:cubicBezTo>
                  <a:cubicBezTo>
                    <a:pt x="600" y="1038"/>
                    <a:pt x="600" y="1038"/>
                    <a:pt x="600" y="1038"/>
                  </a:cubicBezTo>
                  <a:cubicBezTo>
                    <a:pt x="606" y="1039"/>
                    <a:pt x="594" y="1029"/>
                    <a:pt x="594" y="1029"/>
                  </a:cubicBezTo>
                  <a:close/>
                  <a:moveTo>
                    <a:pt x="560" y="1158"/>
                  </a:moveTo>
                  <a:cubicBezTo>
                    <a:pt x="563" y="1163"/>
                    <a:pt x="573" y="1152"/>
                    <a:pt x="579" y="1150"/>
                  </a:cubicBezTo>
                  <a:cubicBezTo>
                    <a:pt x="579" y="1150"/>
                    <a:pt x="579" y="1150"/>
                    <a:pt x="579" y="1150"/>
                  </a:cubicBezTo>
                  <a:cubicBezTo>
                    <a:pt x="581" y="1147"/>
                    <a:pt x="556" y="1149"/>
                    <a:pt x="560" y="1158"/>
                  </a:cubicBezTo>
                  <a:close/>
                  <a:moveTo>
                    <a:pt x="21" y="1510"/>
                  </a:moveTo>
                  <a:cubicBezTo>
                    <a:pt x="21" y="1510"/>
                    <a:pt x="21" y="1510"/>
                    <a:pt x="21" y="1510"/>
                  </a:cubicBezTo>
                  <a:cubicBezTo>
                    <a:pt x="19" y="1507"/>
                    <a:pt x="14" y="1506"/>
                    <a:pt x="13" y="1508"/>
                  </a:cubicBezTo>
                  <a:cubicBezTo>
                    <a:pt x="8" y="1515"/>
                    <a:pt x="21" y="1521"/>
                    <a:pt x="21" y="1510"/>
                  </a:cubicBezTo>
                  <a:close/>
                  <a:moveTo>
                    <a:pt x="85" y="1609"/>
                  </a:moveTo>
                  <a:cubicBezTo>
                    <a:pt x="85" y="1609"/>
                    <a:pt x="85" y="1609"/>
                    <a:pt x="85" y="1609"/>
                  </a:cubicBezTo>
                  <a:cubicBezTo>
                    <a:pt x="82" y="1605"/>
                    <a:pt x="74" y="1615"/>
                    <a:pt x="70" y="1621"/>
                  </a:cubicBezTo>
                  <a:cubicBezTo>
                    <a:pt x="67" y="1624"/>
                    <a:pt x="53" y="1625"/>
                    <a:pt x="55" y="1628"/>
                  </a:cubicBezTo>
                  <a:cubicBezTo>
                    <a:pt x="61" y="1642"/>
                    <a:pt x="89" y="1657"/>
                    <a:pt x="85" y="1609"/>
                  </a:cubicBezTo>
                  <a:close/>
                  <a:moveTo>
                    <a:pt x="104" y="1827"/>
                  </a:moveTo>
                  <a:cubicBezTo>
                    <a:pt x="104" y="1827"/>
                    <a:pt x="104" y="1827"/>
                    <a:pt x="104" y="1827"/>
                  </a:cubicBezTo>
                  <a:cubicBezTo>
                    <a:pt x="104" y="1826"/>
                    <a:pt x="103" y="1827"/>
                    <a:pt x="103" y="1827"/>
                  </a:cubicBezTo>
                  <a:cubicBezTo>
                    <a:pt x="94" y="1833"/>
                    <a:pt x="108" y="1835"/>
                    <a:pt x="104" y="1827"/>
                  </a:cubicBezTo>
                  <a:close/>
                  <a:moveTo>
                    <a:pt x="105" y="1816"/>
                  </a:moveTo>
                  <a:cubicBezTo>
                    <a:pt x="109" y="1819"/>
                    <a:pt x="124" y="1813"/>
                    <a:pt x="116" y="1808"/>
                  </a:cubicBezTo>
                  <a:cubicBezTo>
                    <a:pt x="116" y="1808"/>
                    <a:pt x="116" y="1808"/>
                    <a:pt x="116" y="1808"/>
                  </a:cubicBezTo>
                  <a:cubicBezTo>
                    <a:pt x="111" y="1806"/>
                    <a:pt x="99" y="1813"/>
                    <a:pt x="105" y="1816"/>
                  </a:cubicBezTo>
                  <a:close/>
                  <a:moveTo>
                    <a:pt x="111" y="1683"/>
                  </a:moveTo>
                  <a:cubicBezTo>
                    <a:pt x="110" y="1683"/>
                    <a:pt x="110" y="1683"/>
                    <a:pt x="110" y="1683"/>
                  </a:cubicBezTo>
                  <a:cubicBezTo>
                    <a:pt x="106" y="1684"/>
                    <a:pt x="104" y="1688"/>
                    <a:pt x="106" y="1691"/>
                  </a:cubicBezTo>
                  <a:cubicBezTo>
                    <a:pt x="111" y="1701"/>
                    <a:pt x="119" y="1683"/>
                    <a:pt x="111" y="1683"/>
                  </a:cubicBezTo>
                  <a:close/>
                  <a:moveTo>
                    <a:pt x="578" y="1019"/>
                  </a:moveTo>
                  <a:cubicBezTo>
                    <a:pt x="568" y="1022"/>
                    <a:pt x="596" y="1037"/>
                    <a:pt x="590" y="1022"/>
                  </a:cubicBezTo>
                  <a:cubicBezTo>
                    <a:pt x="590" y="1021"/>
                    <a:pt x="590" y="1021"/>
                    <a:pt x="590" y="1021"/>
                  </a:cubicBezTo>
                  <a:cubicBezTo>
                    <a:pt x="587" y="1017"/>
                    <a:pt x="582" y="1017"/>
                    <a:pt x="578" y="1019"/>
                  </a:cubicBezTo>
                  <a:close/>
                  <a:moveTo>
                    <a:pt x="1836" y="147"/>
                  </a:moveTo>
                  <a:cubicBezTo>
                    <a:pt x="1836" y="148"/>
                    <a:pt x="1836" y="148"/>
                    <a:pt x="1836" y="148"/>
                  </a:cubicBezTo>
                  <a:cubicBezTo>
                    <a:pt x="1843" y="157"/>
                    <a:pt x="1841" y="130"/>
                    <a:pt x="1836" y="147"/>
                  </a:cubicBezTo>
                  <a:close/>
                  <a:moveTo>
                    <a:pt x="11" y="1553"/>
                  </a:moveTo>
                  <a:cubicBezTo>
                    <a:pt x="11" y="1553"/>
                    <a:pt x="11" y="1553"/>
                    <a:pt x="11" y="1553"/>
                  </a:cubicBez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1" y="1552"/>
                    <a:pt x="11" y="1553"/>
                  </a:cubicBezTo>
                  <a:close/>
                  <a:moveTo>
                    <a:pt x="8" y="1552"/>
                  </a:moveTo>
                  <a:cubicBezTo>
                    <a:pt x="8" y="1550"/>
                    <a:pt x="10" y="1553"/>
                    <a:pt x="12" y="1554"/>
                  </a:cubicBezTo>
                  <a:cubicBezTo>
                    <a:pt x="12" y="1554"/>
                    <a:pt x="12" y="1554"/>
                    <a:pt x="11" y="1553"/>
                  </a:cubicBezTo>
                  <a:cubicBezTo>
                    <a:pt x="11" y="1553"/>
                    <a:pt x="11" y="1553"/>
                    <a:pt x="11" y="1553"/>
                  </a:cubicBezTo>
                  <a:cubicBezTo>
                    <a:pt x="11" y="1552"/>
                    <a:pt x="12" y="1554"/>
                    <a:pt x="12" y="1554"/>
                  </a:cubicBezTo>
                  <a:cubicBezTo>
                    <a:pt x="14" y="1555"/>
                    <a:pt x="15" y="1555"/>
                    <a:pt x="15" y="1555"/>
                  </a:cubicBezTo>
                  <a:cubicBezTo>
                    <a:pt x="22" y="1548"/>
                    <a:pt x="23" y="1546"/>
                    <a:pt x="20" y="1536"/>
                  </a:cubicBezTo>
                  <a:cubicBezTo>
                    <a:pt x="20" y="1536"/>
                    <a:pt x="20" y="1536"/>
                    <a:pt x="20" y="1536"/>
                  </a:cubicBezTo>
                  <a:cubicBezTo>
                    <a:pt x="18" y="1535"/>
                    <a:pt x="16" y="1536"/>
                    <a:pt x="15" y="1538"/>
                  </a:cubicBezTo>
                  <a:cubicBezTo>
                    <a:pt x="15" y="1539"/>
                    <a:pt x="16" y="1541"/>
                    <a:pt x="15" y="1542"/>
                  </a:cubicBezTo>
                  <a:cubicBezTo>
                    <a:pt x="15" y="1542"/>
                    <a:pt x="16" y="1542"/>
                    <a:pt x="15" y="1543"/>
                  </a:cubicBezTo>
                  <a:cubicBezTo>
                    <a:pt x="14" y="1543"/>
                    <a:pt x="13" y="1536"/>
                    <a:pt x="13" y="1535"/>
                  </a:cubicBezTo>
                  <a:cubicBezTo>
                    <a:pt x="13" y="1531"/>
                    <a:pt x="11" y="1536"/>
                    <a:pt x="13" y="1541"/>
                  </a:cubicBezTo>
                  <a:cubicBezTo>
                    <a:pt x="14" y="1545"/>
                    <a:pt x="12" y="1545"/>
                    <a:pt x="10" y="1542"/>
                  </a:cubicBezTo>
                  <a:cubicBezTo>
                    <a:pt x="3" y="1529"/>
                    <a:pt x="6" y="1561"/>
                    <a:pt x="8" y="1552"/>
                  </a:cubicBezTo>
                  <a:close/>
                  <a:moveTo>
                    <a:pt x="113" y="1370"/>
                  </a:moveTo>
                  <a:cubicBezTo>
                    <a:pt x="113" y="1370"/>
                    <a:pt x="113" y="1370"/>
                    <a:pt x="113" y="1370"/>
                  </a:cubicBezTo>
                  <a:cubicBezTo>
                    <a:pt x="121" y="1364"/>
                    <a:pt x="108" y="1349"/>
                    <a:pt x="100" y="1356"/>
                  </a:cubicBezTo>
                  <a:cubicBezTo>
                    <a:pt x="95" y="1360"/>
                    <a:pt x="90" y="1394"/>
                    <a:pt x="113" y="1370"/>
                  </a:cubicBezTo>
                  <a:close/>
                  <a:moveTo>
                    <a:pt x="994" y="511"/>
                  </a:moveTo>
                  <a:cubicBezTo>
                    <a:pt x="995" y="510"/>
                    <a:pt x="995" y="510"/>
                    <a:pt x="995" y="510"/>
                  </a:cubicBezTo>
                  <a:cubicBezTo>
                    <a:pt x="998" y="509"/>
                    <a:pt x="960" y="500"/>
                    <a:pt x="960" y="512"/>
                  </a:cubicBezTo>
                  <a:cubicBezTo>
                    <a:pt x="960" y="513"/>
                    <a:pt x="969" y="513"/>
                    <a:pt x="970" y="513"/>
                  </a:cubicBezTo>
                  <a:cubicBezTo>
                    <a:pt x="978" y="514"/>
                    <a:pt x="985" y="512"/>
                    <a:pt x="994" y="511"/>
                  </a:cubicBezTo>
                  <a:close/>
                  <a:moveTo>
                    <a:pt x="2256" y="222"/>
                  </a:moveTo>
                  <a:cubicBezTo>
                    <a:pt x="2258" y="221"/>
                    <a:pt x="2268" y="219"/>
                    <a:pt x="2268" y="217"/>
                  </a:cubicBezTo>
                  <a:cubicBezTo>
                    <a:pt x="2269" y="212"/>
                    <a:pt x="2257" y="211"/>
                    <a:pt x="2259" y="207"/>
                  </a:cubicBezTo>
                  <a:cubicBezTo>
                    <a:pt x="2258" y="207"/>
                    <a:pt x="2258" y="207"/>
                    <a:pt x="2258" y="207"/>
                  </a:cubicBezTo>
                  <a:cubicBezTo>
                    <a:pt x="2237" y="197"/>
                    <a:pt x="2247" y="214"/>
                    <a:pt x="2237" y="222"/>
                  </a:cubicBezTo>
                  <a:cubicBezTo>
                    <a:pt x="2234" y="224"/>
                    <a:pt x="2231" y="227"/>
                    <a:pt x="2236" y="228"/>
                  </a:cubicBezTo>
                  <a:cubicBezTo>
                    <a:pt x="2238" y="228"/>
                    <a:pt x="2245" y="229"/>
                    <a:pt x="2245" y="226"/>
                  </a:cubicBezTo>
                  <a:cubicBezTo>
                    <a:pt x="2244" y="220"/>
                    <a:pt x="2248" y="226"/>
                    <a:pt x="2256" y="222"/>
                  </a:cubicBezTo>
                  <a:close/>
                  <a:moveTo>
                    <a:pt x="743" y="757"/>
                  </a:moveTo>
                  <a:cubicBezTo>
                    <a:pt x="743" y="758"/>
                    <a:pt x="743" y="758"/>
                    <a:pt x="743" y="758"/>
                  </a:cubicBezTo>
                  <a:cubicBezTo>
                    <a:pt x="758" y="762"/>
                    <a:pt x="747" y="737"/>
                    <a:pt x="743" y="757"/>
                  </a:cubicBezTo>
                  <a:close/>
                  <a:moveTo>
                    <a:pt x="12" y="1554"/>
                  </a:move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2" y="1554"/>
                    <a:pt x="12" y="1554"/>
                  </a:cubicBezTo>
                  <a:close/>
                  <a:moveTo>
                    <a:pt x="1354" y="182"/>
                  </a:moveTo>
                  <a:cubicBezTo>
                    <a:pt x="1364" y="185"/>
                    <a:pt x="1362" y="176"/>
                    <a:pt x="1368" y="175"/>
                  </a:cubicBezTo>
                  <a:cubicBezTo>
                    <a:pt x="1384" y="172"/>
                    <a:pt x="1363" y="171"/>
                    <a:pt x="1357" y="167"/>
                  </a:cubicBezTo>
                  <a:cubicBezTo>
                    <a:pt x="1356" y="166"/>
                    <a:pt x="1354" y="153"/>
                    <a:pt x="1350" y="157"/>
                  </a:cubicBezTo>
                  <a:cubicBezTo>
                    <a:pt x="1348" y="159"/>
                    <a:pt x="1349" y="166"/>
                    <a:pt x="1344" y="164"/>
                  </a:cubicBezTo>
                  <a:cubicBezTo>
                    <a:pt x="1341" y="162"/>
                    <a:pt x="1344" y="156"/>
                    <a:pt x="1338" y="154"/>
                  </a:cubicBezTo>
                  <a:cubicBezTo>
                    <a:pt x="1335" y="153"/>
                    <a:pt x="1335" y="145"/>
                    <a:pt x="1332" y="145"/>
                  </a:cubicBezTo>
                  <a:cubicBezTo>
                    <a:pt x="1311" y="145"/>
                    <a:pt x="1340" y="179"/>
                    <a:pt x="1353" y="182"/>
                  </a:cubicBezTo>
                  <a:lnTo>
                    <a:pt x="1354" y="182"/>
                  </a:lnTo>
                  <a:close/>
                  <a:moveTo>
                    <a:pt x="14" y="1441"/>
                  </a:moveTo>
                  <a:cubicBezTo>
                    <a:pt x="17" y="1442"/>
                    <a:pt x="10" y="1453"/>
                    <a:pt x="24" y="1447"/>
                  </a:cubicBezTo>
                  <a:cubicBezTo>
                    <a:pt x="26" y="1447"/>
                    <a:pt x="40" y="1436"/>
                    <a:pt x="36" y="1441"/>
                  </a:cubicBezTo>
                  <a:cubicBezTo>
                    <a:pt x="33" y="1444"/>
                    <a:pt x="44" y="1441"/>
                    <a:pt x="44" y="1439"/>
                  </a:cubicBezTo>
                  <a:cubicBezTo>
                    <a:pt x="43" y="1438"/>
                    <a:pt x="43" y="1438"/>
                    <a:pt x="43" y="1438"/>
                  </a:cubicBezTo>
                  <a:cubicBezTo>
                    <a:pt x="34" y="1431"/>
                    <a:pt x="18" y="1432"/>
                    <a:pt x="11" y="1436"/>
                  </a:cubicBezTo>
                  <a:cubicBezTo>
                    <a:pt x="10" y="1436"/>
                    <a:pt x="5" y="1439"/>
                    <a:pt x="7" y="1440"/>
                  </a:cubicBezTo>
                  <a:cubicBezTo>
                    <a:pt x="8" y="1441"/>
                    <a:pt x="12" y="1440"/>
                    <a:pt x="14" y="1441"/>
                  </a:cubicBezTo>
                  <a:close/>
                  <a:moveTo>
                    <a:pt x="27" y="1421"/>
                  </a:moveTo>
                  <a:cubicBezTo>
                    <a:pt x="29" y="1423"/>
                    <a:pt x="23" y="1432"/>
                    <a:pt x="34" y="1419"/>
                  </a:cubicBezTo>
                  <a:cubicBezTo>
                    <a:pt x="34" y="1418"/>
                    <a:pt x="34" y="1418"/>
                    <a:pt x="34" y="1418"/>
                  </a:cubicBezTo>
                  <a:cubicBezTo>
                    <a:pt x="36" y="1416"/>
                    <a:pt x="24" y="1410"/>
                    <a:pt x="20" y="1411"/>
                  </a:cubicBezTo>
                  <a:cubicBezTo>
                    <a:pt x="17" y="1413"/>
                    <a:pt x="25" y="1418"/>
                    <a:pt x="27" y="1421"/>
                  </a:cubicBezTo>
                  <a:close/>
                  <a:moveTo>
                    <a:pt x="96" y="1377"/>
                  </a:moveTo>
                  <a:cubicBezTo>
                    <a:pt x="96" y="1377"/>
                    <a:pt x="96" y="1377"/>
                    <a:pt x="96" y="1377"/>
                  </a:cubicBezTo>
                  <a:cubicBezTo>
                    <a:pt x="96" y="1377"/>
                    <a:pt x="86" y="1373"/>
                    <a:pt x="84" y="1373"/>
                  </a:cubicBezTo>
                  <a:cubicBezTo>
                    <a:pt x="80" y="1375"/>
                    <a:pt x="67" y="1376"/>
                    <a:pt x="70" y="1381"/>
                  </a:cubicBezTo>
                  <a:cubicBezTo>
                    <a:pt x="71" y="1382"/>
                    <a:pt x="78" y="1382"/>
                    <a:pt x="78" y="1384"/>
                  </a:cubicBezTo>
                  <a:cubicBezTo>
                    <a:pt x="78" y="1386"/>
                    <a:pt x="68" y="1382"/>
                    <a:pt x="69" y="1384"/>
                  </a:cubicBezTo>
                  <a:cubicBezTo>
                    <a:pt x="77" y="1401"/>
                    <a:pt x="93" y="1380"/>
                    <a:pt x="96" y="137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inland"/>
            <p:cNvSpPr>
              <a:spLocks noEditPoints="1"/>
            </p:cNvSpPr>
            <p:nvPr/>
          </p:nvSpPr>
          <p:spPr bwMode="auto">
            <a:xfrm>
              <a:off x="3671" y="749"/>
              <a:ext cx="563" cy="835"/>
            </a:xfrm>
            <a:custGeom>
              <a:avLst/>
              <a:gdLst>
                <a:gd name="T0" fmla="*/ 195 w 1081"/>
                <a:gd name="T1" fmla="*/ 1493 h 1604"/>
                <a:gd name="T2" fmla="*/ 261 w 1081"/>
                <a:gd name="T3" fmla="*/ 1595 h 1604"/>
                <a:gd name="T4" fmla="*/ 320 w 1081"/>
                <a:gd name="T5" fmla="*/ 1535 h 1604"/>
                <a:gd name="T6" fmla="*/ 244 w 1081"/>
                <a:gd name="T7" fmla="*/ 1490 h 1604"/>
                <a:gd name="T8" fmla="*/ 214 w 1081"/>
                <a:gd name="T9" fmla="*/ 1502 h 1604"/>
                <a:gd name="T10" fmla="*/ 309 w 1081"/>
                <a:gd name="T11" fmla="*/ 1490 h 1604"/>
                <a:gd name="T12" fmla="*/ 50 w 1081"/>
                <a:gd name="T13" fmla="*/ 1489 h 1604"/>
                <a:gd name="T14" fmla="*/ 39 w 1081"/>
                <a:gd name="T15" fmla="*/ 1469 h 1604"/>
                <a:gd name="T16" fmla="*/ 53 w 1081"/>
                <a:gd name="T17" fmla="*/ 1522 h 1604"/>
                <a:gd name="T18" fmla="*/ 73 w 1081"/>
                <a:gd name="T19" fmla="*/ 1507 h 1604"/>
                <a:gd name="T20" fmla="*/ 875 w 1081"/>
                <a:gd name="T21" fmla="*/ 1228 h 1604"/>
                <a:gd name="T22" fmla="*/ 691 w 1081"/>
                <a:gd name="T23" fmla="*/ 1446 h 1604"/>
                <a:gd name="T24" fmla="*/ 538 w 1081"/>
                <a:gd name="T25" fmla="*/ 1495 h 1604"/>
                <a:gd name="T26" fmla="*/ 304 w 1081"/>
                <a:gd name="T27" fmla="*/ 1509 h 1604"/>
                <a:gd name="T28" fmla="*/ 179 w 1081"/>
                <a:gd name="T29" fmla="*/ 1378 h 1604"/>
                <a:gd name="T30" fmla="*/ 176 w 1081"/>
                <a:gd name="T31" fmla="*/ 1087 h 1604"/>
                <a:gd name="T32" fmla="*/ 463 w 1081"/>
                <a:gd name="T33" fmla="*/ 826 h 1604"/>
                <a:gd name="T34" fmla="*/ 335 w 1081"/>
                <a:gd name="T35" fmla="*/ 310 h 1604"/>
                <a:gd name="T36" fmla="*/ 755 w 1081"/>
                <a:gd name="T37" fmla="*/ 4 h 1604"/>
                <a:gd name="T38" fmla="*/ 1046 w 1081"/>
                <a:gd name="T39" fmla="*/ 1058 h 1604"/>
                <a:gd name="T40" fmla="*/ 986 w 1081"/>
                <a:gd name="T41" fmla="*/ 1122 h 1604"/>
                <a:gd name="T42" fmla="*/ 476 w 1081"/>
                <a:gd name="T43" fmla="*/ 539 h 1604"/>
                <a:gd name="T44" fmla="*/ 942 w 1081"/>
                <a:gd name="T45" fmla="*/ 1052 h 1604"/>
                <a:gd name="T46" fmla="*/ 853 w 1081"/>
                <a:gd name="T47" fmla="*/ 1164 h 1604"/>
                <a:gd name="T48" fmla="*/ 742 w 1081"/>
                <a:gd name="T49" fmla="*/ 1031 h 1604"/>
                <a:gd name="T50" fmla="*/ 667 w 1081"/>
                <a:gd name="T51" fmla="*/ 910 h 1604"/>
                <a:gd name="T52" fmla="*/ 661 w 1081"/>
                <a:gd name="T53" fmla="*/ 620 h 1604"/>
                <a:gd name="T54" fmla="*/ 748 w 1081"/>
                <a:gd name="T55" fmla="*/ 590 h 1604"/>
                <a:gd name="T56" fmla="*/ 784 w 1081"/>
                <a:gd name="T57" fmla="*/ 924 h 1604"/>
                <a:gd name="T58" fmla="*/ 850 w 1081"/>
                <a:gd name="T59" fmla="*/ 707 h 1604"/>
                <a:gd name="T60" fmla="*/ 868 w 1081"/>
                <a:gd name="T61" fmla="*/ 651 h 1604"/>
                <a:gd name="T62" fmla="*/ 844 w 1081"/>
                <a:gd name="T63" fmla="*/ 599 h 1604"/>
                <a:gd name="T64" fmla="*/ 757 w 1081"/>
                <a:gd name="T65" fmla="*/ 205 h 1604"/>
                <a:gd name="T66" fmla="*/ 764 w 1081"/>
                <a:gd name="T67" fmla="*/ 129 h 1604"/>
                <a:gd name="T68" fmla="*/ 716 w 1081"/>
                <a:gd name="T69" fmla="*/ 333 h 1604"/>
                <a:gd name="T70" fmla="*/ 557 w 1081"/>
                <a:gd name="T71" fmla="*/ 1055 h 1604"/>
                <a:gd name="T72" fmla="*/ 495 w 1081"/>
                <a:gd name="T73" fmla="*/ 1140 h 1604"/>
                <a:gd name="T74" fmla="*/ 404 w 1081"/>
                <a:gd name="T75" fmla="*/ 1122 h 1604"/>
                <a:gd name="T76" fmla="*/ 346 w 1081"/>
                <a:gd name="T77" fmla="*/ 1319 h 1604"/>
                <a:gd name="T78" fmla="*/ 457 w 1081"/>
                <a:gd name="T79" fmla="*/ 1231 h 1604"/>
                <a:gd name="T80" fmla="*/ 364 w 1081"/>
                <a:gd name="T81" fmla="*/ 1292 h 1604"/>
                <a:gd name="T82" fmla="*/ 442 w 1081"/>
                <a:gd name="T83" fmla="*/ 1302 h 1604"/>
                <a:gd name="T84" fmla="*/ 463 w 1081"/>
                <a:gd name="T85" fmla="*/ 1344 h 1604"/>
                <a:gd name="T86" fmla="*/ 599 w 1081"/>
                <a:gd name="T87" fmla="*/ 1342 h 1604"/>
                <a:gd name="T88" fmla="*/ 564 w 1081"/>
                <a:gd name="T89" fmla="*/ 1238 h 1604"/>
                <a:gd name="T90" fmla="*/ 666 w 1081"/>
                <a:gd name="T91" fmla="*/ 1169 h 1604"/>
                <a:gd name="T92" fmla="*/ 652 w 1081"/>
                <a:gd name="T93" fmla="*/ 1125 h 1604"/>
                <a:gd name="T94" fmla="*/ 567 w 1081"/>
                <a:gd name="T95" fmla="*/ 1071 h 1604"/>
                <a:gd name="T96" fmla="*/ 557 w 1081"/>
                <a:gd name="T97" fmla="*/ 1220 h 1604"/>
                <a:gd name="T98" fmla="*/ 553 w 1081"/>
                <a:gd name="T99" fmla="*/ 1360 h 1604"/>
                <a:gd name="T100" fmla="*/ 597 w 1081"/>
                <a:gd name="T101" fmla="*/ 1292 h 1604"/>
                <a:gd name="T102" fmla="*/ 635 w 1081"/>
                <a:gd name="T103" fmla="*/ 1329 h 1604"/>
                <a:gd name="T104" fmla="*/ 627 w 1081"/>
                <a:gd name="T105" fmla="*/ 1251 h 1604"/>
                <a:gd name="T106" fmla="*/ 660 w 1081"/>
                <a:gd name="T107" fmla="*/ 1219 h 1604"/>
                <a:gd name="T108" fmla="*/ 835 w 1081"/>
                <a:gd name="T109" fmla="*/ 1302 h 1604"/>
                <a:gd name="T110" fmla="*/ 933 w 1081"/>
                <a:gd name="T111" fmla="*/ 1227 h 1604"/>
                <a:gd name="T112" fmla="*/ 830 w 1081"/>
                <a:gd name="T113" fmla="*/ 1223 h 1604"/>
                <a:gd name="T114" fmla="*/ 723 w 1081"/>
                <a:gd name="T115" fmla="*/ 1089 h 1604"/>
                <a:gd name="T116" fmla="*/ 730 w 1081"/>
                <a:gd name="T117" fmla="*/ 1119 h 1604"/>
                <a:gd name="T118" fmla="*/ 759 w 1081"/>
                <a:gd name="T119" fmla="*/ 1216 h 1604"/>
                <a:gd name="T120" fmla="*/ 743 w 1081"/>
                <a:gd name="T121" fmla="*/ 1286 h 1604"/>
                <a:gd name="T122" fmla="*/ 171 w 1081"/>
                <a:gd name="T123" fmla="*/ 1048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81" h="1604">
                  <a:moveTo>
                    <a:pt x="165" y="1457"/>
                  </a:moveTo>
                  <a:cubicBezTo>
                    <a:pt x="163" y="1455"/>
                    <a:pt x="161" y="1447"/>
                    <a:pt x="164" y="1448"/>
                  </a:cubicBezTo>
                  <a:cubicBezTo>
                    <a:pt x="164" y="1448"/>
                    <a:pt x="164" y="1448"/>
                    <a:pt x="164" y="1448"/>
                  </a:cubicBezTo>
                  <a:cubicBezTo>
                    <a:pt x="170" y="1454"/>
                    <a:pt x="170" y="1465"/>
                    <a:pt x="165" y="1457"/>
                  </a:cubicBezTo>
                  <a:close/>
                  <a:moveTo>
                    <a:pt x="176" y="1448"/>
                  </a:moveTo>
                  <a:cubicBezTo>
                    <a:pt x="173" y="1450"/>
                    <a:pt x="169" y="1457"/>
                    <a:pt x="179" y="1460"/>
                  </a:cubicBezTo>
                  <a:cubicBezTo>
                    <a:pt x="182" y="1461"/>
                    <a:pt x="186" y="1455"/>
                    <a:pt x="185" y="1452"/>
                  </a:cubicBezTo>
                  <a:cubicBezTo>
                    <a:pt x="183" y="1449"/>
                    <a:pt x="178" y="1452"/>
                    <a:pt x="177" y="1448"/>
                  </a:cubicBezTo>
                  <a:cubicBezTo>
                    <a:pt x="177" y="1448"/>
                    <a:pt x="176" y="1448"/>
                    <a:pt x="176" y="1448"/>
                  </a:cubicBezTo>
                  <a:close/>
                  <a:moveTo>
                    <a:pt x="168" y="1500"/>
                  </a:moveTo>
                  <a:cubicBezTo>
                    <a:pt x="168" y="1500"/>
                    <a:pt x="168" y="1500"/>
                    <a:pt x="168" y="1500"/>
                  </a:cubicBezTo>
                  <a:cubicBezTo>
                    <a:pt x="167" y="1500"/>
                    <a:pt x="161" y="1500"/>
                    <a:pt x="161" y="1503"/>
                  </a:cubicBezTo>
                  <a:cubicBezTo>
                    <a:pt x="161" y="1504"/>
                    <a:pt x="164" y="1503"/>
                    <a:pt x="164" y="1503"/>
                  </a:cubicBezTo>
                  <a:cubicBezTo>
                    <a:pt x="166" y="1505"/>
                    <a:pt x="166" y="1505"/>
                    <a:pt x="169" y="1505"/>
                  </a:cubicBezTo>
                  <a:cubicBezTo>
                    <a:pt x="170" y="1505"/>
                    <a:pt x="171" y="1508"/>
                    <a:pt x="171" y="1507"/>
                  </a:cubicBezTo>
                  <a:cubicBezTo>
                    <a:pt x="172" y="1506"/>
                    <a:pt x="171" y="1505"/>
                    <a:pt x="172" y="1504"/>
                  </a:cubicBezTo>
                  <a:cubicBezTo>
                    <a:pt x="173" y="1504"/>
                    <a:pt x="177" y="1504"/>
                    <a:pt x="177" y="1504"/>
                  </a:cubicBezTo>
                  <a:cubicBezTo>
                    <a:pt x="177" y="1503"/>
                    <a:pt x="177" y="1503"/>
                    <a:pt x="176" y="1503"/>
                  </a:cubicBezTo>
                  <a:cubicBezTo>
                    <a:pt x="173" y="1503"/>
                    <a:pt x="170" y="1503"/>
                    <a:pt x="168" y="1500"/>
                  </a:cubicBezTo>
                  <a:close/>
                  <a:moveTo>
                    <a:pt x="182" y="1510"/>
                  </a:moveTo>
                  <a:cubicBezTo>
                    <a:pt x="180" y="1511"/>
                    <a:pt x="189" y="1511"/>
                    <a:pt x="187" y="1512"/>
                  </a:cubicBezTo>
                  <a:cubicBezTo>
                    <a:pt x="186" y="1513"/>
                    <a:pt x="179" y="1512"/>
                    <a:pt x="180" y="1514"/>
                  </a:cubicBezTo>
                  <a:cubicBezTo>
                    <a:pt x="181" y="1516"/>
                    <a:pt x="191" y="1517"/>
                    <a:pt x="194" y="1515"/>
                  </a:cubicBezTo>
                  <a:cubicBezTo>
                    <a:pt x="196" y="1513"/>
                    <a:pt x="192" y="1512"/>
                    <a:pt x="192" y="1512"/>
                  </a:cubicBezTo>
                  <a:cubicBezTo>
                    <a:pt x="191" y="1511"/>
                    <a:pt x="196" y="1511"/>
                    <a:pt x="196" y="1507"/>
                  </a:cubicBezTo>
                  <a:cubicBezTo>
                    <a:pt x="191" y="1504"/>
                    <a:pt x="185" y="1506"/>
                    <a:pt x="182" y="1510"/>
                  </a:cubicBezTo>
                  <a:close/>
                  <a:moveTo>
                    <a:pt x="192" y="1494"/>
                  </a:moveTo>
                  <a:cubicBezTo>
                    <a:pt x="192" y="1495"/>
                    <a:pt x="190" y="1500"/>
                    <a:pt x="192" y="1499"/>
                  </a:cubicBezTo>
                  <a:cubicBezTo>
                    <a:pt x="198" y="1499"/>
                    <a:pt x="193" y="1495"/>
                    <a:pt x="195" y="1493"/>
                  </a:cubicBezTo>
                  <a:cubicBezTo>
                    <a:pt x="195" y="1493"/>
                    <a:pt x="195" y="1493"/>
                    <a:pt x="195" y="1493"/>
                  </a:cubicBezTo>
                  <a:cubicBezTo>
                    <a:pt x="196" y="1490"/>
                    <a:pt x="193" y="1492"/>
                    <a:pt x="192" y="1494"/>
                  </a:cubicBezTo>
                  <a:close/>
                  <a:moveTo>
                    <a:pt x="196" y="1507"/>
                  </a:moveTo>
                  <a:cubicBezTo>
                    <a:pt x="196" y="1507"/>
                    <a:pt x="196" y="1507"/>
                    <a:pt x="196" y="1507"/>
                  </a:cubicBezTo>
                  <a:cubicBezTo>
                    <a:pt x="196" y="1507"/>
                    <a:pt x="196" y="1507"/>
                    <a:pt x="196" y="1507"/>
                  </a:cubicBezTo>
                  <a:close/>
                  <a:moveTo>
                    <a:pt x="248" y="1554"/>
                  </a:moveTo>
                  <a:cubicBezTo>
                    <a:pt x="249" y="1553"/>
                    <a:pt x="249" y="1553"/>
                    <a:pt x="249" y="1553"/>
                  </a:cubicBezTo>
                  <a:cubicBezTo>
                    <a:pt x="253" y="1542"/>
                    <a:pt x="244" y="1543"/>
                    <a:pt x="243" y="1543"/>
                  </a:cubicBezTo>
                  <a:cubicBezTo>
                    <a:pt x="238" y="1537"/>
                    <a:pt x="248" y="1566"/>
                    <a:pt x="248" y="1554"/>
                  </a:cubicBezTo>
                  <a:close/>
                  <a:moveTo>
                    <a:pt x="250" y="1495"/>
                  </a:moveTo>
                  <a:cubicBezTo>
                    <a:pt x="234" y="1501"/>
                    <a:pt x="256" y="1509"/>
                    <a:pt x="252" y="1495"/>
                  </a:cubicBezTo>
                  <a:cubicBezTo>
                    <a:pt x="252" y="1495"/>
                    <a:pt x="252" y="1495"/>
                    <a:pt x="252" y="1495"/>
                  </a:cubicBezTo>
                  <a:cubicBezTo>
                    <a:pt x="252" y="1494"/>
                    <a:pt x="251" y="1494"/>
                    <a:pt x="250" y="1495"/>
                  </a:cubicBezTo>
                  <a:close/>
                  <a:moveTo>
                    <a:pt x="249" y="1575"/>
                  </a:moveTo>
                  <a:cubicBezTo>
                    <a:pt x="246" y="1574"/>
                    <a:pt x="252" y="1568"/>
                    <a:pt x="249" y="1569"/>
                  </a:cubicBezTo>
                  <a:cubicBezTo>
                    <a:pt x="246" y="1570"/>
                    <a:pt x="245" y="1579"/>
                    <a:pt x="245" y="1580"/>
                  </a:cubicBezTo>
                  <a:cubicBezTo>
                    <a:pt x="246" y="1580"/>
                    <a:pt x="246" y="1580"/>
                    <a:pt x="246" y="1580"/>
                  </a:cubicBezTo>
                  <a:cubicBezTo>
                    <a:pt x="246" y="1580"/>
                    <a:pt x="246" y="1580"/>
                    <a:pt x="246" y="1580"/>
                  </a:cubicBezTo>
                  <a:cubicBezTo>
                    <a:pt x="247" y="1580"/>
                    <a:pt x="247" y="1580"/>
                    <a:pt x="247" y="1580"/>
                  </a:cubicBezTo>
                  <a:cubicBezTo>
                    <a:pt x="251" y="1580"/>
                    <a:pt x="257" y="1580"/>
                    <a:pt x="261" y="1581"/>
                  </a:cubicBezTo>
                  <a:cubicBezTo>
                    <a:pt x="261" y="1581"/>
                    <a:pt x="262" y="1581"/>
                    <a:pt x="261" y="1582"/>
                  </a:cubicBezTo>
                  <a:cubicBezTo>
                    <a:pt x="261" y="1582"/>
                    <a:pt x="261" y="1582"/>
                    <a:pt x="261" y="1582"/>
                  </a:cubicBezTo>
                  <a:cubicBezTo>
                    <a:pt x="261" y="1582"/>
                    <a:pt x="261" y="1582"/>
                    <a:pt x="260" y="1582"/>
                  </a:cubicBezTo>
                  <a:cubicBezTo>
                    <a:pt x="259" y="1582"/>
                    <a:pt x="246" y="1582"/>
                    <a:pt x="246" y="1585"/>
                  </a:cubicBezTo>
                  <a:cubicBezTo>
                    <a:pt x="246" y="1587"/>
                    <a:pt x="250" y="1587"/>
                    <a:pt x="250" y="1589"/>
                  </a:cubicBezTo>
                  <a:cubicBezTo>
                    <a:pt x="251" y="1592"/>
                    <a:pt x="249" y="1597"/>
                    <a:pt x="250" y="1600"/>
                  </a:cubicBezTo>
                  <a:cubicBezTo>
                    <a:pt x="250" y="1600"/>
                    <a:pt x="250" y="1601"/>
                    <a:pt x="250" y="1601"/>
                  </a:cubicBezTo>
                  <a:cubicBezTo>
                    <a:pt x="253" y="1601"/>
                    <a:pt x="256" y="1599"/>
                    <a:pt x="259" y="1597"/>
                  </a:cubicBezTo>
                  <a:cubicBezTo>
                    <a:pt x="259" y="1597"/>
                    <a:pt x="260" y="1595"/>
                    <a:pt x="261" y="1595"/>
                  </a:cubicBezTo>
                  <a:cubicBezTo>
                    <a:pt x="262" y="1595"/>
                    <a:pt x="261" y="1596"/>
                    <a:pt x="261" y="1596"/>
                  </a:cubicBezTo>
                  <a:cubicBezTo>
                    <a:pt x="260" y="1597"/>
                    <a:pt x="259" y="1599"/>
                    <a:pt x="259" y="1600"/>
                  </a:cubicBezTo>
                  <a:cubicBezTo>
                    <a:pt x="259" y="1601"/>
                    <a:pt x="261" y="1599"/>
                    <a:pt x="261" y="1600"/>
                  </a:cubicBezTo>
                  <a:cubicBezTo>
                    <a:pt x="262" y="1601"/>
                    <a:pt x="261" y="1603"/>
                    <a:pt x="262" y="1603"/>
                  </a:cubicBezTo>
                  <a:cubicBezTo>
                    <a:pt x="262" y="1604"/>
                    <a:pt x="262" y="1603"/>
                    <a:pt x="262" y="1602"/>
                  </a:cubicBezTo>
                  <a:cubicBezTo>
                    <a:pt x="262" y="1599"/>
                    <a:pt x="264" y="1601"/>
                    <a:pt x="265" y="1600"/>
                  </a:cubicBezTo>
                  <a:cubicBezTo>
                    <a:pt x="265" y="1599"/>
                    <a:pt x="265" y="1597"/>
                    <a:pt x="266" y="1597"/>
                  </a:cubicBezTo>
                  <a:cubicBezTo>
                    <a:pt x="268" y="1598"/>
                    <a:pt x="267" y="1601"/>
                    <a:pt x="270" y="1601"/>
                  </a:cubicBezTo>
                  <a:cubicBezTo>
                    <a:pt x="270" y="1600"/>
                    <a:pt x="270" y="1600"/>
                    <a:pt x="270" y="1600"/>
                  </a:cubicBezTo>
                  <a:cubicBezTo>
                    <a:pt x="271" y="1600"/>
                    <a:pt x="271" y="1600"/>
                    <a:pt x="272" y="1600"/>
                  </a:cubicBezTo>
                  <a:cubicBezTo>
                    <a:pt x="273" y="1600"/>
                    <a:pt x="276" y="1598"/>
                    <a:pt x="276" y="1596"/>
                  </a:cubicBezTo>
                  <a:cubicBezTo>
                    <a:pt x="275" y="1595"/>
                    <a:pt x="272" y="1596"/>
                    <a:pt x="273" y="1595"/>
                  </a:cubicBezTo>
                  <a:cubicBezTo>
                    <a:pt x="277" y="1590"/>
                    <a:pt x="283" y="1591"/>
                    <a:pt x="284" y="1583"/>
                  </a:cubicBezTo>
                  <a:cubicBezTo>
                    <a:pt x="284" y="1581"/>
                    <a:pt x="281" y="1578"/>
                    <a:pt x="281" y="1578"/>
                  </a:cubicBezTo>
                  <a:cubicBezTo>
                    <a:pt x="281" y="1577"/>
                    <a:pt x="283" y="1577"/>
                    <a:pt x="283" y="1576"/>
                  </a:cubicBezTo>
                  <a:cubicBezTo>
                    <a:pt x="283" y="1575"/>
                    <a:pt x="282" y="1574"/>
                    <a:pt x="283" y="1573"/>
                  </a:cubicBezTo>
                  <a:cubicBezTo>
                    <a:pt x="283" y="1571"/>
                    <a:pt x="285" y="1572"/>
                    <a:pt x="285" y="1571"/>
                  </a:cubicBezTo>
                  <a:cubicBezTo>
                    <a:pt x="286" y="1570"/>
                    <a:pt x="294" y="1560"/>
                    <a:pt x="293" y="1559"/>
                  </a:cubicBezTo>
                  <a:cubicBezTo>
                    <a:pt x="290" y="1554"/>
                    <a:pt x="283" y="1568"/>
                    <a:pt x="278" y="1569"/>
                  </a:cubicBezTo>
                  <a:cubicBezTo>
                    <a:pt x="272" y="1570"/>
                    <a:pt x="267" y="1570"/>
                    <a:pt x="261" y="1571"/>
                  </a:cubicBezTo>
                  <a:cubicBezTo>
                    <a:pt x="257" y="1572"/>
                    <a:pt x="256" y="1576"/>
                    <a:pt x="249" y="1575"/>
                  </a:cubicBezTo>
                  <a:close/>
                  <a:moveTo>
                    <a:pt x="308" y="1544"/>
                  </a:moveTo>
                  <a:cubicBezTo>
                    <a:pt x="312" y="1543"/>
                    <a:pt x="307" y="1539"/>
                    <a:pt x="311" y="1538"/>
                  </a:cubicBezTo>
                  <a:cubicBezTo>
                    <a:pt x="311" y="1538"/>
                    <a:pt x="312" y="1540"/>
                    <a:pt x="313" y="1540"/>
                  </a:cubicBezTo>
                  <a:cubicBezTo>
                    <a:pt x="313" y="1541"/>
                    <a:pt x="315" y="1540"/>
                    <a:pt x="315" y="1540"/>
                  </a:cubicBezTo>
                  <a:cubicBezTo>
                    <a:pt x="316" y="1541"/>
                    <a:pt x="315" y="1544"/>
                    <a:pt x="318" y="1544"/>
                  </a:cubicBezTo>
                  <a:cubicBezTo>
                    <a:pt x="321" y="1544"/>
                    <a:pt x="318" y="1541"/>
                    <a:pt x="319" y="1540"/>
                  </a:cubicBezTo>
                  <a:cubicBezTo>
                    <a:pt x="319" y="1538"/>
                    <a:pt x="322" y="1538"/>
                    <a:pt x="321" y="1536"/>
                  </a:cubicBezTo>
                  <a:cubicBezTo>
                    <a:pt x="320" y="1535"/>
                    <a:pt x="320" y="1535"/>
                    <a:pt x="320" y="1535"/>
                  </a:cubicBezTo>
                  <a:cubicBezTo>
                    <a:pt x="317" y="1536"/>
                    <a:pt x="306" y="1534"/>
                    <a:pt x="306" y="1534"/>
                  </a:cubicBezTo>
                  <a:cubicBezTo>
                    <a:pt x="305" y="1535"/>
                    <a:pt x="303" y="1536"/>
                    <a:pt x="301" y="1536"/>
                  </a:cubicBezTo>
                  <a:cubicBezTo>
                    <a:pt x="299" y="1536"/>
                    <a:pt x="301" y="1533"/>
                    <a:pt x="299" y="1533"/>
                  </a:cubicBezTo>
                  <a:cubicBezTo>
                    <a:pt x="298" y="1533"/>
                    <a:pt x="297" y="1535"/>
                    <a:pt x="297" y="1536"/>
                  </a:cubicBezTo>
                  <a:cubicBezTo>
                    <a:pt x="297" y="1539"/>
                    <a:pt x="301" y="1536"/>
                    <a:pt x="301" y="1538"/>
                  </a:cubicBezTo>
                  <a:cubicBezTo>
                    <a:pt x="302" y="1541"/>
                    <a:pt x="304" y="1545"/>
                    <a:pt x="308" y="1544"/>
                  </a:cubicBezTo>
                  <a:close/>
                  <a:moveTo>
                    <a:pt x="225" y="1487"/>
                  </a:moveTo>
                  <a:cubicBezTo>
                    <a:pt x="224" y="1486"/>
                    <a:pt x="224" y="1486"/>
                    <a:pt x="224" y="1486"/>
                  </a:cubicBezTo>
                  <a:cubicBezTo>
                    <a:pt x="218" y="1483"/>
                    <a:pt x="221" y="1497"/>
                    <a:pt x="225" y="1487"/>
                  </a:cubicBezTo>
                  <a:close/>
                  <a:moveTo>
                    <a:pt x="222" y="1510"/>
                  </a:moveTo>
                  <a:cubicBezTo>
                    <a:pt x="222" y="1510"/>
                    <a:pt x="222" y="1510"/>
                    <a:pt x="223" y="1510"/>
                  </a:cubicBezTo>
                  <a:cubicBezTo>
                    <a:pt x="223" y="1511"/>
                    <a:pt x="223" y="1511"/>
                    <a:pt x="223" y="1511"/>
                  </a:cubicBezTo>
                  <a:cubicBezTo>
                    <a:pt x="223" y="1511"/>
                    <a:pt x="224" y="1509"/>
                    <a:pt x="224" y="1509"/>
                  </a:cubicBezTo>
                  <a:cubicBezTo>
                    <a:pt x="225" y="1510"/>
                    <a:pt x="225" y="1511"/>
                    <a:pt x="226" y="1511"/>
                  </a:cubicBezTo>
                  <a:cubicBezTo>
                    <a:pt x="226" y="1511"/>
                    <a:pt x="226" y="1511"/>
                    <a:pt x="226" y="1511"/>
                  </a:cubicBezTo>
                  <a:cubicBezTo>
                    <a:pt x="227" y="1510"/>
                    <a:pt x="229" y="1510"/>
                    <a:pt x="229" y="1509"/>
                  </a:cubicBezTo>
                  <a:cubicBezTo>
                    <a:pt x="230" y="1506"/>
                    <a:pt x="228" y="1507"/>
                    <a:pt x="228" y="1506"/>
                  </a:cubicBezTo>
                  <a:cubicBezTo>
                    <a:pt x="227" y="1504"/>
                    <a:pt x="234" y="1504"/>
                    <a:pt x="233" y="1502"/>
                  </a:cubicBezTo>
                  <a:cubicBezTo>
                    <a:pt x="232" y="1500"/>
                    <a:pt x="217" y="1504"/>
                    <a:pt x="222" y="1510"/>
                  </a:cubicBezTo>
                  <a:close/>
                  <a:moveTo>
                    <a:pt x="321" y="1528"/>
                  </a:moveTo>
                  <a:cubicBezTo>
                    <a:pt x="317" y="1532"/>
                    <a:pt x="330" y="1534"/>
                    <a:pt x="327" y="1529"/>
                  </a:cubicBezTo>
                  <a:cubicBezTo>
                    <a:pt x="327" y="1528"/>
                    <a:pt x="327" y="1528"/>
                    <a:pt x="327" y="1528"/>
                  </a:cubicBezTo>
                  <a:cubicBezTo>
                    <a:pt x="328" y="1526"/>
                    <a:pt x="322" y="1527"/>
                    <a:pt x="321" y="1528"/>
                  </a:cubicBezTo>
                  <a:close/>
                  <a:moveTo>
                    <a:pt x="254" y="1487"/>
                  </a:moveTo>
                  <a:cubicBezTo>
                    <a:pt x="249" y="1485"/>
                    <a:pt x="229" y="1481"/>
                    <a:pt x="231" y="1490"/>
                  </a:cubicBezTo>
                  <a:cubicBezTo>
                    <a:pt x="231" y="1491"/>
                    <a:pt x="244" y="1494"/>
                    <a:pt x="241" y="1490"/>
                  </a:cubicBezTo>
                  <a:cubicBezTo>
                    <a:pt x="241" y="1489"/>
                    <a:pt x="238" y="1490"/>
                    <a:pt x="238" y="1489"/>
                  </a:cubicBezTo>
                  <a:cubicBezTo>
                    <a:pt x="237" y="1489"/>
                    <a:pt x="241" y="1489"/>
                    <a:pt x="242" y="1490"/>
                  </a:cubicBezTo>
                  <a:cubicBezTo>
                    <a:pt x="243" y="1490"/>
                    <a:pt x="243" y="1490"/>
                    <a:pt x="244" y="1490"/>
                  </a:cubicBezTo>
                  <a:cubicBezTo>
                    <a:pt x="244" y="1490"/>
                    <a:pt x="245" y="1490"/>
                    <a:pt x="245" y="1490"/>
                  </a:cubicBezTo>
                  <a:cubicBezTo>
                    <a:pt x="245" y="1491"/>
                    <a:pt x="242" y="1493"/>
                    <a:pt x="243" y="1494"/>
                  </a:cubicBezTo>
                  <a:cubicBezTo>
                    <a:pt x="244" y="1495"/>
                    <a:pt x="249" y="1492"/>
                    <a:pt x="250" y="1491"/>
                  </a:cubicBezTo>
                  <a:cubicBezTo>
                    <a:pt x="252" y="1490"/>
                    <a:pt x="254" y="1493"/>
                    <a:pt x="255" y="1490"/>
                  </a:cubicBezTo>
                  <a:cubicBezTo>
                    <a:pt x="255" y="1489"/>
                    <a:pt x="255" y="1489"/>
                    <a:pt x="255" y="1489"/>
                  </a:cubicBezTo>
                  <a:cubicBezTo>
                    <a:pt x="255" y="1489"/>
                    <a:pt x="255" y="1489"/>
                    <a:pt x="255" y="1489"/>
                  </a:cubicBezTo>
                  <a:cubicBezTo>
                    <a:pt x="256" y="1487"/>
                    <a:pt x="255" y="1487"/>
                    <a:pt x="254" y="1487"/>
                  </a:cubicBezTo>
                  <a:close/>
                  <a:moveTo>
                    <a:pt x="158" y="1404"/>
                  </a:moveTo>
                  <a:cubicBezTo>
                    <a:pt x="157" y="1405"/>
                    <a:pt x="162" y="1406"/>
                    <a:pt x="163" y="1405"/>
                  </a:cubicBezTo>
                  <a:cubicBezTo>
                    <a:pt x="164" y="1404"/>
                    <a:pt x="164" y="1404"/>
                    <a:pt x="164" y="1404"/>
                  </a:cubicBezTo>
                  <a:cubicBezTo>
                    <a:pt x="167" y="1405"/>
                    <a:pt x="160" y="1401"/>
                    <a:pt x="158" y="1404"/>
                  </a:cubicBezTo>
                  <a:close/>
                  <a:moveTo>
                    <a:pt x="224" y="1483"/>
                  </a:moveTo>
                  <a:cubicBezTo>
                    <a:pt x="228" y="1482"/>
                    <a:pt x="224" y="1482"/>
                    <a:pt x="223" y="1482"/>
                  </a:cubicBezTo>
                  <a:cubicBezTo>
                    <a:pt x="217" y="1480"/>
                    <a:pt x="224" y="1471"/>
                    <a:pt x="210" y="1463"/>
                  </a:cubicBezTo>
                  <a:cubicBezTo>
                    <a:pt x="210" y="1463"/>
                    <a:pt x="210" y="1463"/>
                    <a:pt x="210" y="1463"/>
                  </a:cubicBezTo>
                  <a:cubicBezTo>
                    <a:pt x="210" y="1462"/>
                    <a:pt x="206" y="1492"/>
                    <a:pt x="224" y="1483"/>
                  </a:cubicBezTo>
                  <a:close/>
                  <a:moveTo>
                    <a:pt x="199" y="1513"/>
                  </a:moveTo>
                  <a:cubicBezTo>
                    <a:pt x="199" y="1513"/>
                    <a:pt x="201" y="1514"/>
                    <a:pt x="201" y="1514"/>
                  </a:cubicBezTo>
                  <a:cubicBezTo>
                    <a:pt x="203" y="1514"/>
                    <a:pt x="207" y="1513"/>
                    <a:pt x="208" y="1512"/>
                  </a:cubicBezTo>
                  <a:cubicBezTo>
                    <a:pt x="210" y="1510"/>
                    <a:pt x="206" y="1510"/>
                    <a:pt x="208" y="1510"/>
                  </a:cubicBezTo>
                  <a:cubicBezTo>
                    <a:pt x="208" y="1510"/>
                    <a:pt x="209" y="1510"/>
                    <a:pt x="209" y="1510"/>
                  </a:cubicBezTo>
                  <a:cubicBezTo>
                    <a:pt x="209" y="1510"/>
                    <a:pt x="209" y="1510"/>
                    <a:pt x="209" y="1509"/>
                  </a:cubicBezTo>
                  <a:cubicBezTo>
                    <a:pt x="209" y="1509"/>
                    <a:pt x="211" y="1509"/>
                    <a:pt x="211" y="1509"/>
                  </a:cubicBezTo>
                  <a:cubicBezTo>
                    <a:pt x="211" y="1508"/>
                    <a:pt x="207" y="1509"/>
                    <a:pt x="208" y="1508"/>
                  </a:cubicBezTo>
                  <a:cubicBezTo>
                    <a:pt x="208" y="1508"/>
                    <a:pt x="209" y="1508"/>
                    <a:pt x="209" y="1508"/>
                  </a:cubicBezTo>
                  <a:cubicBezTo>
                    <a:pt x="210" y="1508"/>
                    <a:pt x="214" y="1508"/>
                    <a:pt x="214" y="1507"/>
                  </a:cubicBezTo>
                  <a:cubicBezTo>
                    <a:pt x="214" y="1506"/>
                    <a:pt x="212" y="1506"/>
                    <a:pt x="213" y="1505"/>
                  </a:cubicBezTo>
                  <a:cubicBezTo>
                    <a:pt x="214" y="1504"/>
                    <a:pt x="215" y="1506"/>
                    <a:pt x="216" y="1505"/>
                  </a:cubicBezTo>
                  <a:cubicBezTo>
                    <a:pt x="217" y="1504"/>
                    <a:pt x="214" y="1502"/>
                    <a:pt x="214" y="1502"/>
                  </a:cubicBezTo>
                  <a:cubicBezTo>
                    <a:pt x="214" y="1502"/>
                    <a:pt x="214" y="1502"/>
                    <a:pt x="214" y="1502"/>
                  </a:cubicBezTo>
                  <a:cubicBezTo>
                    <a:pt x="210" y="1503"/>
                    <a:pt x="205" y="1502"/>
                    <a:pt x="202" y="1503"/>
                  </a:cubicBezTo>
                  <a:cubicBezTo>
                    <a:pt x="198" y="1504"/>
                    <a:pt x="202" y="1508"/>
                    <a:pt x="202" y="1509"/>
                  </a:cubicBezTo>
                  <a:cubicBezTo>
                    <a:pt x="201" y="1511"/>
                    <a:pt x="200" y="1508"/>
                    <a:pt x="201" y="1511"/>
                  </a:cubicBezTo>
                  <a:cubicBezTo>
                    <a:pt x="201" y="1513"/>
                    <a:pt x="199" y="1512"/>
                    <a:pt x="199" y="1513"/>
                  </a:cubicBezTo>
                  <a:close/>
                  <a:moveTo>
                    <a:pt x="166" y="1435"/>
                  </a:moveTo>
                  <a:cubicBezTo>
                    <a:pt x="151" y="1436"/>
                    <a:pt x="180" y="1456"/>
                    <a:pt x="166" y="1436"/>
                  </a:cubicBezTo>
                  <a:lnTo>
                    <a:pt x="166" y="1435"/>
                  </a:lnTo>
                  <a:close/>
                  <a:moveTo>
                    <a:pt x="261" y="1522"/>
                  </a:moveTo>
                  <a:cubicBezTo>
                    <a:pt x="259" y="1523"/>
                    <a:pt x="262" y="1516"/>
                    <a:pt x="258" y="1518"/>
                  </a:cubicBezTo>
                  <a:cubicBezTo>
                    <a:pt x="255" y="1520"/>
                    <a:pt x="260" y="1531"/>
                    <a:pt x="260" y="1531"/>
                  </a:cubicBezTo>
                  <a:cubicBezTo>
                    <a:pt x="261" y="1531"/>
                    <a:pt x="260" y="1529"/>
                    <a:pt x="261" y="1529"/>
                  </a:cubicBezTo>
                  <a:cubicBezTo>
                    <a:pt x="262" y="1528"/>
                    <a:pt x="262" y="1529"/>
                    <a:pt x="263" y="1528"/>
                  </a:cubicBezTo>
                  <a:cubicBezTo>
                    <a:pt x="264" y="1526"/>
                    <a:pt x="265" y="1531"/>
                    <a:pt x="265" y="1529"/>
                  </a:cubicBezTo>
                  <a:cubicBezTo>
                    <a:pt x="266" y="1529"/>
                    <a:pt x="266" y="1529"/>
                    <a:pt x="266" y="1529"/>
                  </a:cubicBezTo>
                  <a:cubicBezTo>
                    <a:pt x="266" y="1527"/>
                    <a:pt x="267" y="1519"/>
                    <a:pt x="265" y="1518"/>
                  </a:cubicBezTo>
                  <a:cubicBezTo>
                    <a:pt x="259" y="1514"/>
                    <a:pt x="264" y="1521"/>
                    <a:pt x="261" y="1522"/>
                  </a:cubicBezTo>
                  <a:close/>
                  <a:moveTo>
                    <a:pt x="267" y="1499"/>
                  </a:moveTo>
                  <a:cubicBezTo>
                    <a:pt x="254" y="1503"/>
                    <a:pt x="272" y="1509"/>
                    <a:pt x="274" y="1510"/>
                  </a:cubicBezTo>
                  <a:cubicBezTo>
                    <a:pt x="275" y="1510"/>
                    <a:pt x="279" y="1511"/>
                    <a:pt x="279" y="1511"/>
                  </a:cubicBezTo>
                  <a:cubicBezTo>
                    <a:pt x="278" y="1512"/>
                    <a:pt x="270" y="1511"/>
                    <a:pt x="268" y="1513"/>
                  </a:cubicBezTo>
                  <a:cubicBezTo>
                    <a:pt x="262" y="1516"/>
                    <a:pt x="270" y="1517"/>
                    <a:pt x="268" y="1524"/>
                  </a:cubicBezTo>
                  <a:cubicBezTo>
                    <a:pt x="266" y="1532"/>
                    <a:pt x="273" y="1528"/>
                    <a:pt x="277" y="1525"/>
                  </a:cubicBezTo>
                  <a:cubicBezTo>
                    <a:pt x="279" y="1524"/>
                    <a:pt x="278" y="1533"/>
                    <a:pt x="280" y="1531"/>
                  </a:cubicBezTo>
                  <a:cubicBezTo>
                    <a:pt x="280" y="1531"/>
                    <a:pt x="283" y="1525"/>
                    <a:pt x="284" y="1526"/>
                  </a:cubicBezTo>
                  <a:cubicBezTo>
                    <a:pt x="285" y="1527"/>
                    <a:pt x="285" y="1530"/>
                    <a:pt x="287" y="1529"/>
                  </a:cubicBezTo>
                  <a:cubicBezTo>
                    <a:pt x="288" y="1529"/>
                    <a:pt x="288" y="1529"/>
                    <a:pt x="288" y="1529"/>
                  </a:cubicBezTo>
                  <a:cubicBezTo>
                    <a:pt x="289" y="1528"/>
                    <a:pt x="293" y="1528"/>
                    <a:pt x="293" y="1525"/>
                  </a:cubicBezTo>
                  <a:cubicBezTo>
                    <a:pt x="291" y="1516"/>
                    <a:pt x="310" y="1491"/>
                    <a:pt x="309" y="1490"/>
                  </a:cubicBezTo>
                  <a:cubicBezTo>
                    <a:pt x="306" y="1486"/>
                    <a:pt x="298" y="1499"/>
                    <a:pt x="293" y="1499"/>
                  </a:cubicBezTo>
                  <a:cubicBezTo>
                    <a:pt x="284" y="1498"/>
                    <a:pt x="275" y="1506"/>
                    <a:pt x="267" y="1504"/>
                  </a:cubicBezTo>
                  <a:cubicBezTo>
                    <a:pt x="265" y="1504"/>
                    <a:pt x="271" y="1498"/>
                    <a:pt x="267" y="1499"/>
                  </a:cubicBezTo>
                  <a:close/>
                  <a:moveTo>
                    <a:pt x="240" y="1049"/>
                  </a:moveTo>
                  <a:cubicBezTo>
                    <a:pt x="265" y="1049"/>
                    <a:pt x="234" y="1040"/>
                    <a:pt x="237" y="1048"/>
                  </a:cubicBezTo>
                  <a:cubicBezTo>
                    <a:pt x="237" y="1048"/>
                    <a:pt x="237" y="1048"/>
                    <a:pt x="237" y="1048"/>
                  </a:cubicBezTo>
                  <a:cubicBezTo>
                    <a:pt x="238" y="1049"/>
                    <a:pt x="238" y="1049"/>
                    <a:pt x="240" y="1049"/>
                  </a:cubicBezTo>
                  <a:close/>
                  <a:moveTo>
                    <a:pt x="20" y="1492"/>
                  </a:moveTo>
                  <a:cubicBezTo>
                    <a:pt x="20" y="1493"/>
                    <a:pt x="20" y="1486"/>
                    <a:pt x="16" y="1489"/>
                  </a:cubicBezTo>
                  <a:cubicBezTo>
                    <a:pt x="16" y="1489"/>
                    <a:pt x="17" y="1490"/>
                    <a:pt x="17" y="1490"/>
                  </a:cubicBezTo>
                  <a:cubicBezTo>
                    <a:pt x="19" y="1494"/>
                    <a:pt x="19" y="1499"/>
                    <a:pt x="21" y="1503"/>
                  </a:cubicBezTo>
                  <a:cubicBezTo>
                    <a:pt x="22" y="1507"/>
                    <a:pt x="24" y="1509"/>
                    <a:pt x="25" y="1513"/>
                  </a:cubicBezTo>
                  <a:cubicBezTo>
                    <a:pt x="26" y="1513"/>
                    <a:pt x="26" y="1516"/>
                    <a:pt x="26" y="1516"/>
                  </a:cubicBezTo>
                  <a:cubicBezTo>
                    <a:pt x="28" y="1517"/>
                    <a:pt x="28" y="1514"/>
                    <a:pt x="29" y="1513"/>
                  </a:cubicBezTo>
                  <a:cubicBezTo>
                    <a:pt x="32" y="1512"/>
                    <a:pt x="31" y="1516"/>
                    <a:pt x="35" y="1516"/>
                  </a:cubicBezTo>
                  <a:cubicBezTo>
                    <a:pt x="37" y="1515"/>
                    <a:pt x="35" y="1512"/>
                    <a:pt x="38" y="1513"/>
                  </a:cubicBezTo>
                  <a:cubicBezTo>
                    <a:pt x="44" y="1513"/>
                    <a:pt x="40" y="1519"/>
                    <a:pt x="42" y="1520"/>
                  </a:cubicBezTo>
                  <a:cubicBezTo>
                    <a:pt x="42" y="1521"/>
                    <a:pt x="43" y="1520"/>
                    <a:pt x="43" y="1520"/>
                  </a:cubicBezTo>
                  <a:cubicBezTo>
                    <a:pt x="46" y="1520"/>
                    <a:pt x="41" y="1515"/>
                    <a:pt x="44" y="1514"/>
                  </a:cubicBezTo>
                  <a:cubicBezTo>
                    <a:pt x="46" y="1513"/>
                    <a:pt x="49" y="1515"/>
                    <a:pt x="52" y="1514"/>
                  </a:cubicBezTo>
                  <a:cubicBezTo>
                    <a:pt x="55" y="1513"/>
                    <a:pt x="50" y="1510"/>
                    <a:pt x="50" y="1509"/>
                  </a:cubicBezTo>
                  <a:cubicBezTo>
                    <a:pt x="50" y="1507"/>
                    <a:pt x="52" y="1504"/>
                    <a:pt x="52" y="1502"/>
                  </a:cubicBezTo>
                  <a:cubicBezTo>
                    <a:pt x="52" y="1501"/>
                    <a:pt x="49" y="1505"/>
                    <a:pt x="49" y="1505"/>
                  </a:cubicBezTo>
                  <a:cubicBezTo>
                    <a:pt x="47" y="1504"/>
                    <a:pt x="39" y="1498"/>
                    <a:pt x="40" y="1495"/>
                  </a:cubicBezTo>
                  <a:cubicBezTo>
                    <a:pt x="40" y="1495"/>
                    <a:pt x="41" y="1495"/>
                    <a:pt x="41" y="1495"/>
                  </a:cubicBezTo>
                  <a:cubicBezTo>
                    <a:pt x="47" y="1497"/>
                    <a:pt x="40" y="1499"/>
                    <a:pt x="46" y="1499"/>
                  </a:cubicBezTo>
                  <a:cubicBezTo>
                    <a:pt x="47" y="1499"/>
                    <a:pt x="49" y="1501"/>
                    <a:pt x="49" y="1500"/>
                  </a:cubicBezTo>
                  <a:cubicBezTo>
                    <a:pt x="52" y="1495"/>
                    <a:pt x="45" y="1490"/>
                    <a:pt x="45" y="1488"/>
                  </a:cubicBezTo>
                  <a:cubicBezTo>
                    <a:pt x="46" y="1486"/>
                    <a:pt x="48" y="1490"/>
                    <a:pt x="50" y="1489"/>
                  </a:cubicBezTo>
                  <a:cubicBezTo>
                    <a:pt x="52" y="1487"/>
                    <a:pt x="49" y="1483"/>
                    <a:pt x="50" y="1482"/>
                  </a:cubicBezTo>
                  <a:cubicBezTo>
                    <a:pt x="51" y="1481"/>
                    <a:pt x="54" y="1483"/>
                    <a:pt x="54" y="1484"/>
                  </a:cubicBezTo>
                  <a:cubicBezTo>
                    <a:pt x="54" y="1486"/>
                    <a:pt x="50" y="1489"/>
                    <a:pt x="50" y="1491"/>
                  </a:cubicBezTo>
                  <a:cubicBezTo>
                    <a:pt x="50" y="1494"/>
                    <a:pt x="53" y="1494"/>
                    <a:pt x="53" y="1496"/>
                  </a:cubicBezTo>
                  <a:cubicBezTo>
                    <a:pt x="54" y="1496"/>
                    <a:pt x="52" y="1499"/>
                    <a:pt x="53" y="1499"/>
                  </a:cubicBezTo>
                  <a:cubicBezTo>
                    <a:pt x="54" y="1500"/>
                    <a:pt x="55" y="1495"/>
                    <a:pt x="56" y="1494"/>
                  </a:cubicBezTo>
                  <a:cubicBezTo>
                    <a:pt x="57" y="1492"/>
                    <a:pt x="63" y="1490"/>
                    <a:pt x="64" y="1492"/>
                  </a:cubicBezTo>
                  <a:cubicBezTo>
                    <a:pt x="66" y="1494"/>
                    <a:pt x="58" y="1494"/>
                    <a:pt x="57" y="1495"/>
                  </a:cubicBezTo>
                  <a:cubicBezTo>
                    <a:pt x="56" y="1496"/>
                    <a:pt x="55" y="1502"/>
                    <a:pt x="56" y="1502"/>
                  </a:cubicBezTo>
                  <a:cubicBezTo>
                    <a:pt x="57" y="1502"/>
                    <a:pt x="58" y="1500"/>
                    <a:pt x="59" y="1501"/>
                  </a:cubicBezTo>
                  <a:cubicBezTo>
                    <a:pt x="60" y="1501"/>
                    <a:pt x="60" y="1502"/>
                    <a:pt x="61" y="1503"/>
                  </a:cubicBezTo>
                  <a:cubicBezTo>
                    <a:pt x="65" y="1505"/>
                    <a:pt x="63" y="1499"/>
                    <a:pt x="66" y="1498"/>
                  </a:cubicBezTo>
                  <a:cubicBezTo>
                    <a:pt x="66" y="1498"/>
                    <a:pt x="68" y="1499"/>
                    <a:pt x="68" y="1498"/>
                  </a:cubicBezTo>
                  <a:cubicBezTo>
                    <a:pt x="68" y="1497"/>
                    <a:pt x="65" y="1495"/>
                    <a:pt x="67" y="1494"/>
                  </a:cubicBezTo>
                  <a:cubicBezTo>
                    <a:pt x="67" y="1493"/>
                    <a:pt x="69" y="1494"/>
                    <a:pt x="69" y="1494"/>
                  </a:cubicBezTo>
                  <a:cubicBezTo>
                    <a:pt x="70" y="1494"/>
                    <a:pt x="69" y="1492"/>
                    <a:pt x="70" y="1491"/>
                  </a:cubicBezTo>
                  <a:cubicBezTo>
                    <a:pt x="70" y="1490"/>
                    <a:pt x="73" y="1488"/>
                    <a:pt x="73" y="1487"/>
                  </a:cubicBezTo>
                  <a:cubicBezTo>
                    <a:pt x="72" y="1485"/>
                    <a:pt x="65" y="1486"/>
                    <a:pt x="64" y="1486"/>
                  </a:cubicBezTo>
                  <a:cubicBezTo>
                    <a:pt x="64" y="1486"/>
                    <a:pt x="66" y="1481"/>
                    <a:pt x="65" y="1480"/>
                  </a:cubicBezTo>
                  <a:cubicBezTo>
                    <a:pt x="65" y="1480"/>
                    <a:pt x="63" y="1481"/>
                    <a:pt x="63" y="1481"/>
                  </a:cubicBezTo>
                  <a:cubicBezTo>
                    <a:pt x="62" y="1481"/>
                    <a:pt x="62" y="1480"/>
                    <a:pt x="61" y="1479"/>
                  </a:cubicBezTo>
                  <a:cubicBezTo>
                    <a:pt x="60" y="1478"/>
                    <a:pt x="58" y="1479"/>
                    <a:pt x="57" y="1478"/>
                  </a:cubicBezTo>
                  <a:cubicBezTo>
                    <a:pt x="57" y="1477"/>
                    <a:pt x="58" y="1476"/>
                    <a:pt x="57" y="1476"/>
                  </a:cubicBezTo>
                  <a:cubicBezTo>
                    <a:pt x="56" y="1475"/>
                    <a:pt x="55" y="1477"/>
                    <a:pt x="54" y="1477"/>
                  </a:cubicBezTo>
                  <a:cubicBezTo>
                    <a:pt x="54" y="1477"/>
                    <a:pt x="50" y="1473"/>
                    <a:pt x="50" y="1476"/>
                  </a:cubicBezTo>
                  <a:cubicBezTo>
                    <a:pt x="50" y="1476"/>
                    <a:pt x="52" y="1478"/>
                    <a:pt x="51" y="1479"/>
                  </a:cubicBezTo>
                  <a:cubicBezTo>
                    <a:pt x="50" y="1479"/>
                    <a:pt x="47" y="1476"/>
                    <a:pt x="46" y="1475"/>
                  </a:cubicBezTo>
                  <a:cubicBezTo>
                    <a:pt x="45" y="1475"/>
                    <a:pt x="42" y="1477"/>
                    <a:pt x="41" y="1476"/>
                  </a:cubicBezTo>
                  <a:cubicBezTo>
                    <a:pt x="40" y="1475"/>
                    <a:pt x="40" y="1470"/>
                    <a:pt x="39" y="1469"/>
                  </a:cubicBezTo>
                  <a:cubicBezTo>
                    <a:pt x="38" y="1469"/>
                    <a:pt x="38" y="1469"/>
                    <a:pt x="38" y="1469"/>
                  </a:cubicBezTo>
                  <a:cubicBezTo>
                    <a:pt x="33" y="1468"/>
                    <a:pt x="33" y="1471"/>
                    <a:pt x="30" y="1475"/>
                  </a:cubicBezTo>
                  <a:cubicBezTo>
                    <a:pt x="30" y="1475"/>
                    <a:pt x="28" y="1475"/>
                    <a:pt x="28" y="1476"/>
                  </a:cubicBezTo>
                  <a:cubicBezTo>
                    <a:pt x="28" y="1478"/>
                    <a:pt x="31" y="1477"/>
                    <a:pt x="32" y="1478"/>
                  </a:cubicBezTo>
                  <a:cubicBezTo>
                    <a:pt x="33" y="1478"/>
                    <a:pt x="33" y="1483"/>
                    <a:pt x="35" y="1482"/>
                  </a:cubicBezTo>
                  <a:cubicBezTo>
                    <a:pt x="37" y="1481"/>
                    <a:pt x="37" y="1476"/>
                    <a:pt x="38" y="1477"/>
                  </a:cubicBezTo>
                  <a:cubicBezTo>
                    <a:pt x="40" y="1478"/>
                    <a:pt x="45" y="1490"/>
                    <a:pt x="40" y="1488"/>
                  </a:cubicBezTo>
                  <a:cubicBezTo>
                    <a:pt x="38" y="1488"/>
                    <a:pt x="39" y="1483"/>
                    <a:pt x="38" y="1483"/>
                  </a:cubicBezTo>
                  <a:cubicBezTo>
                    <a:pt x="37" y="1483"/>
                    <a:pt x="38" y="1488"/>
                    <a:pt x="38" y="1489"/>
                  </a:cubicBezTo>
                  <a:cubicBezTo>
                    <a:pt x="37" y="1491"/>
                    <a:pt x="35" y="1491"/>
                    <a:pt x="35" y="1494"/>
                  </a:cubicBezTo>
                  <a:cubicBezTo>
                    <a:pt x="35" y="1497"/>
                    <a:pt x="33" y="1494"/>
                    <a:pt x="32" y="1494"/>
                  </a:cubicBezTo>
                  <a:cubicBezTo>
                    <a:pt x="31" y="1494"/>
                    <a:pt x="33" y="1500"/>
                    <a:pt x="31" y="1500"/>
                  </a:cubicBezTo>
                  <a:cubicBezTo>
                    <a:pt x="30" y="1500"/>
                    <a:pt x="27" y="1493"/>
                    <a:pt x="26" y="1492"/>
                  </a:cubicBezTo>
                  <a:cubicBezTo>
                    <a:pt x="26" y="1491"/>
                    <a:pt x="29" y="1486"/>
                    <a:pt x="29" y="1484"/>
                  </a:cubicBezTo>
                  <a:cubicBezTo>
                    <a:pt x="29" y="1484"/>
                    <a:pt x="29" y="1484"/>
                    <a:pt x="29" y="1484"/>
                  </a:cubicBezTo>
                  <a:cubicBezTo>
                    <a:pt x="29" y="1484"/>
                    <a:pt x="30" y="1484"/>
                    <a:pt x="30" y="1483"/>
                  </a:cubicBezTo>
                  <a:cubicBezTo>
                    <a:pt x="29" y="1483"/>
                    <a:pt x="29" y="1483"/>
                    <a:pt x="29" y="1483"/>
                  </a:cubicBezTo>
                  <a:cubicBezTo>
                    <a:pt x="29" y="1483"/>
                    <a:pt x="29" y="1483"/>
                    <a:pt x="29" y="1483"/>
                  </a:cubicBezTo>
                  <a:cubicBezTo>
                    <a:pt x="28" y="1483"/>
                    <a:pt x="28" y="1484"/>
                    <a:pt x="27" y="1483"/>
                  </a:cubicBezTo>
                  <a:cubicBezTo>
                    <a:pt x="23" y="1481"/>
                    <a:pt x="27" y="1486"/>
                    <a:pt x="27" y="1486"/>
                  </a:cubicBezTo>
                  <a:cubicBezTo>
                    <a:pt x="26" y="1487"/>
                    <a:pt x="22" y="1488"/>
                    <a:pt x="22" y="1488"/>
                  </a:cubicBezTo>
                  <a:cubicBezTo>
                    <a:pt x="20" y="1489"/>
                    <a:pt x="21" y="1491"/>
                    <a:pt x="20" y="1492"/>
                  </a:cubicBezTo>
                  <a:close/>
                  <a:moveTo>
                    <a:pt x="67" y="1518"/>
                  </a:moveTo>
                  <a:cubicBezTo>
                    <a:pt x="66" y="1517"/>
                    <a:pt x="61" y="1516"/>
                    <a:pt x="60" y="1515"/>
                  </a:cubicBezTo>
                  <a:cubicBezTo>
                    <a:pt x="58" y="1515"/>
                    <a:pt x="57" y="1512"/>
                    <a:pt x="56" y="1513"/>
                  </a:cubicBezTo>
                  <a:cubicBezTo>
                    <a:pt x="55" y="1514"/>
                    <a:pt x="56" y="1517"/>
                    <a:pt x="55" y="1518"/>
                  </a:cubicBezTo>
                  <a:cubicBezTo>
                    <a:pt x="54" y="1518"/>
                    <a:pt x="47" y="1515"/>
                    <a:pt x="48" y="1519"/>
                  </a:cubicBezTo>
                  <a:cubicBezTo>
                    <a:pt x="48" y="1520"/>
                    <a:pt x="50" y="1519"/>
                    <a:pt x="51" y="1520"/>
                  </a:cubicBezTo>
                  <a:cubicBezTo>
                    <a:pt x="52" y="1520"/>
                    <a:pt x="52" y="1522"/>
                    <a:pt x="53" y="1522"/>
                  </a:cubicBezTo>
                  <a:cubicBezTo>
                    <a:pt x="54" y="1523"/>
                    <a:pt x="55" y="1521"/>
                    <a:pt x="56" y="1522"/>
                  </a:cubicBezTo>
                  <a:cubicBezTo>
                    <a:pt x="58" y="1522"/>
                    <a:pt x="58" y="1527"/>
                    <a:pt x="60" y="1528"/>
                  </a:cubicBezTo>
                  <a:cubicBezTo>
                    <a:pt x="62" y="1529"/>
                    <a:pt x="64" y="1524"/>
                    <a:pt x="65" y="1526"/>
                  </a:cubicBezTo>
                  <a:cubicBezTo>
                    <a:pt x="67" y="1528"/>
                    <a:pt x="65" y="1532"/>
                    <a:pt x="68" y="1527"/>
                  </a:cubicBezTo>
                  <a:cubicBezTo>
                    <a:pt x="68" y="1526"/>
                    <a:pt x="68" y="1526"/>
                    <a:pt x="68" y="1526"/>
                  </a:cubicBezTo>
                  <a:cubicBezTo>
                    <a:pt x="65" y="1523"/>
                    <a:pt x="68" y="1521"/>
                    <a:pt x="67" y="1518"/>
                  </a:cubicBezTo>
                  <a:close/>
                  <a:moveTo>
                    <a:pt x="14" y="1491"/>
                  </a:moveTo>
                  <a:cubicBezTo>
                    <a:pt x="9" y="1484"/>
                    <a:pt x="0" y="1505"/>
                    <a:pt x="8" y="1509"/>
                  </a:cubicBezTo>
                  <a:cubicBezTo>
                    <a:pt x="10" y="1510"/>
                    <a:pt x="12" y="1506"/>
                    <a:pt x="13" y="1504"/>
                  </a:cubicBezTo>
                  <a:cubicBezTo>
                    <a:pt x="13" y="1503"/>
                    <a:pt x="11" y="1498"/>
                    <a:pt x="11" y="1498"/>
                  </a:cubicBezTo>
                  <a:cubicBezTo>
                    <a:pt x="13" y="1498"/>
                    <a:pt x="16" y="1507"/>
                    <a:pt x="18" y="1505"/>
                  </a:cubicBezTo>
                  <a:cubicBezTo>
                    <a:pt x="20" y="1504"/>
                    <a:pt x="15" y="1492"/>
                    <a:pt x="14" y="1491"/>
                  </a:cubicBezTo>
                  <a:close/>
                  <a:moveTo>
                    <a:pt x="79" y="1491"/>
                  </a:moveTo>
                  <a:cubicBezTo>
                    <a:pt x="77" y="1495"/>
                    <a:pt x="83" y="1492"/>
                    <a:pt x="83" y="1494"/>
                  </a:cubicBezTo>
                  <a:cubicBezTo>
                    <a:pt x="83" y="1495"/>
                    <a:pt x="82" y="1496"/>
                    <a:pt x="82" y="1497"/>
                  </a:cubicBezTo>
                  <a:cubicBezTo>
                    <a:pt x="81" y="1500"/>
                    <a:pt x="84" y="1499"/>
                    <a:pt x="84" y="1497"/>
                  </a:cubicBezTo>
                  <a:cubicBezTo>
                    <a:pt x="85" y="1494"/>
                    <a:pt x="86" y="1494"/>
                    <a:pt x="87" y="1492"/>
                  </a:cubicBezTo>
                  <a:cubicBezTo>
                    <a:pt x="88" y="1489"/>
                    <a:pt x="81" y="1486"/>
                    <a:pt x="79" y="1491"/>
                  </a:cubicBezTo>
                  <a:close/>
                  <a:moveTo>
                    <a:pt x="87" y="1492"/>
                  </a:moveTo>
                  <a:cubicBezTo>
                    <a:pt x="87" y="1492"/>
                    <a:pt x="87" y="1492"/>
                    <a:pt x="87" y="1492"/>
                  </a:cubicBezTo>
                  <a:cubicBezTo>
                    <a:pt x="87" y="1492"/>
                    <a:pt x="87" y="1492"/>
                    <a:pt x="87" y="1492"/>
                  </a:cubicBezTo>
                  <a:close/>
                  <a:moveTo>
                    <a:pt x="73" y="1507"/>
                  </a:moveTo>
                  <a:cubicBezTo>
                    <a:pt x="72" y="1506"/>
                    <a:pt x="72" y="1506"/>
                    <a:pt x="72" y="1506"/>
                  </a:cubicBezTo>
                  <a:cubicBezTo>
                    <a:pt x="68" y="1506"/>
                    <a:pt x="73" y="1510"/>
                    <a:pt x="71" y="1511"/>
                  </a:cubicBezTo>
                  <a:cubicBezTo>
                    <a:pt x="69" y="1513"/>
                    <a:pt x="69" y="1506"/>
                    <a:pt x="68" y="1506"/>
                  </a:cubicBezTo>
                  <a:cubicBezTo>
                    <a:pt x="67" y="1506"/>
                    <a:pt x="65" y="1514"/>
                    <a:pt x="66" y="1515"/>
                  </a:cubicBezTo>
                  <a:cubicBezTo>
                    <a:pt x="67" y="1516"/>
                    <a:pt x="69" y="1516"/>
                    <a:pt x="70" y="1517"/>
                  </a:cubicBezTo>
                  <a:cubicBezTo>
                    <a:pt x="72" y="1522"/>
                    <a:pt x="71" y="1516"/>
                    <a:pt x="72" y="1515"/>
                  </a:cubicBezTo>
                  <a:cubicBezTo>
                    <a:pt x="73" y="1511"/>
                    <a:pt x="76" y="1512"/>
                    <a:pt x="73" y="1507"/>
                  </a:cubicBezTo>
                  <a:close/>
                  <a:moveTo>
                    <a:pt x="801" y="1166"/>
                  </a:moveTo>
                  <a:cubicBezTo>
                    <a:pt x="805" y="1163"/>
                    <a:pt x="818" y="1172"/>
                    <a:pt x="819" y="1171"/>
                  </a:cubicBezTo>
                  <a:cubicBezTo>
                    <a:pt x="819" y="1166"/>
                    <a:pt x="796" y="1151"/>
                    <a:pt x="792" y="1152"/>
                  </a:cubicBezTo>
                  <a:cubicBezTo>
                    <a:pt x="770" y="1159"/>
                    <a:pt x="789" y="1180"/>
                    <a:pt x="767" y="1176"/>
                  </a:cubicBezTo>
                  <a:cubicBezTo>
                    <a:pt x="765" y="1176"/>
                    <a:pt x="771" y="1170"/>
                    <a:pt x="773" y="1167"/>
                  </a:cubicBezTo>
                  <a:cubicBezTo>
                    <a:pt x="778" y="1156"/>
                    <a:pt x="766" y="1152"/>
                    <a:pt x="763" y="1143"/>
                  </a:cubicBezTo>
                  <a:cubicBezTo>
                    <a:pt x="762" y="1139"/>
                    <a:pt x="772" y="1144"/>
                    <a:pt x="772" y="1143"/>
                  </a:cubicBezTo>
                  <a:cubicBezTo>
                    <a:pt x="773" y="1128"/>
                    <a:pt x="748" y="1129"/>
                    <a:pt x="740" y="1137"/>
                  </a:cubicBezTo>
                  <a:cubicBezTo>
                    <a:pt x="739" y="1139"/>
                    <a:pt x="743" y="1139"/>
                    <a:pt x="741" y="1140"/>
                  </a:cubicBezTo>
                  <a:cubicBezTo>
                    <a:pt x="728" y="1148"/>
                    <a:pt x="748" y="1148"/>
                    <a:pt x="748" y="1148"/>
                  </a:cubicBezTo>
                  <a:cubicBezTo>
                    <a:pt x="747" y="1152"/>
                    <a:pt x="740" y="1152"/>
                    <a:pt x="738" y="1150"/>
                  </a:cubicBezTo>
                  <a:cubicBezTo>
                    <a:pt x="733" y="1146"/>
                    <a:pt x="743" y="1157"/>
                    <a:pt x="744" y="1160"/>
                  </a:cubicBezTo>
                  <a:cubicBezTo>
                    <a:pt x="747" y="1167"/>
                    <a:pt x="750" y="1180"/>
                    <a:pt x="761" y="1182"/>
                  </a:cubicBezTo>
                  <a:cubicBezTo>
                    <a:pt x="764" y="1183"/>
                    <a:pt x="762" y="1176"/>
                    <a:pt x="765" y="1178"/>
                  </a:cubicBezTo>
                  <a:cubicBezTo>
                    <a:pt x="772" y="1181"/>
                    <a:pt x="737" y="1210"/>
                    <a:pt x="767" y="1207"/>
                  </a:cubicBezTo>
                  <a:cubicBezTo>
                    <a:pt x="771" y="1206"/>
                    <a:pt x="772" y="1200"/>
                    <a:pt x="775" y="1201"/>
                  </a:cubicBezTo>
                  <a:cubicBezTo>
                    <a:pt x="779" y="1201"/>
                    <a:pt x="782" y="1207"/>
                    <a:pt x="787" y="1205"/>
                  </a:cubicBezTo>
                  <a:cubicBezTo>
                    <a:pt x="789" y="1204"/>
                    <a:pt x="786" y="1203"/>
                    <a:pt x="785" y="1202"/>
                  </a:cubicBezTo>
                  <a:cubicBezTo>
                    <a:pt x="779" y="1200"/>
                    <a:pt x="784" y="1198"/>
                    <a:pt x="788" y="1197"/>
                  </a:cubicBezTo>
                  <a:cubicBezTo>
                    <a:pt x="790" y="1196"/>
                    <a:pt x="801" y="1215"/>
                    <a:pt x="810" y="1210"/>
                  </a:cubicBezTo>
                  <a:cubicBezTo>
                    <a:pt x="814" y="1208"/>
                    <a:pt x="809" y="1202"/>
                    <a:pt x="815" y="1201"/>
                  </a:cubicBezTo>
                  <a:cubicBezTo>
                    <a:pt x="816" y="1201"/>
                    <a:pt x="815" y="1192"/>
                    <a:pt x="817" y="1195"/>
                  </a:cubicBezTo>
                  <a:cubicBezTo>
                    <a:pt x="819" y="1199"/>
                    <a:pt x="828" y="1196"/>
                    <a:pt x="820" y="1188"/>
                  </a:cubicBezTo>
                  <a:cubicBezTo>
                    <a:pt x="813" y="1182"/>
                    <a:pt x="830" y="1192"/>
                    <a:pt x="823" y="1186"/>
                  </a:cubicBezTo>
                  <a:cubicBezTo>
                    <a:pt x="823" y="1186"/>
                    <a:pt x="816" y="1183"/>
                    <a:pt x="818" y="1182"/>
                  </a:cubicBezTo>
                  <a:cubicBezTo>
                    <a:pt x="819" y="1181"/>
                    <a:pt x="821" y="1181"/>
                    <a:pt x="822" y="1181"/>
                  </a:cubicBezTo>
                  <a:cubicBezTo>
                    <a:pt x="817" y="1178"/>
                    <a:pt x="813" y="1176"/>
                    <a:pt x="812" y="1175"/>
                  </a:cubicBezTo>
                  <a:cubicBezTo>
                    <a:pt x="807" y="1174"/>
                    <a:pt x="798" y="1169"/>
                    <a:pt x="801" y="1166"/>
                  </a:cubicBezTo>
                  <a:close/>
                  <a:moveTo>
                    <a:pt x="875" y="1228"/>
                  </a:moveTo>
                  <a:cubicBezTo>
                    <a:pt x="876" y="1231"/>
                    <a:pt x="872" y="1234"/>
                    <a:pt x="872" y="1234"/>
                  </a:cubicBezTo>
                  <a:cubicBezTo>
                    <a:pt x="873" y="1235"/>
                    <a:pt x="879" y="1243"/>
                    <a:pt x="875" y="1243"/>
                  </a:cubicBezTo>
                  <a:cubicBezTo>
                    <a:pt x="871" y="1243"/>
                    <a:pt x="866" y="1233"/>
                    <a:pt x="864" y="1230"/>
                  </a:cubicBezTo>
                  <a:cubicBezTo>
                    <a:pt x="862" y="1226"/>
                    <a:pt x="874" y="1234"/>
                    <a:pt x="872" y="1227"/>
                  </a:cubicBezTo>
                  <a:cubicBezTo>
                    <a:pt x="871" y="1226"/>
                    <a:pt x="871" y="1222"/>
                    <a:pt x="870" y="1221"/>
                  </a:cubicBezTo>
                  <a:cubicBezTo>
                    <a:pt x="868" y="1218"/>
                    <a:pt x="823" y="1228"/>
                    <a:pt x="820" y="1232"/>
                  </a:cubicBezTo>
                  <a:cubicBezTo>
                    <a:pt x="819" y="1234"/>
                    <a:pt x="824" y="1240"/>
                    <a:pt x="825" y="1241"/>
                  </a:cubicBezTo>
                  <a:cubicBezTo>
                    <a:pt x="835" y="1248"/>
                    <a:pt x="851" y="1279"/>
                    <a:pt x="866" y="1277"/>
                  </a:cubicBezTo>
                  <a:cubicBezTo>
                    <a:pt x="875" y="1276"/>
                    <a:pt x="867" y="1270"/>
                    <a:pt x="867" y="1269"/>
                  </a:cubicBezTo>
                  <a:cubicBezTo>
                    <a:pt x="867" y="1269"/>
                    <a:pt x="879" y="1265"/>
                    <a:pt x="879" y="1263"/>
                  </a:cubicBezTo>
                  <a:cubicBezTo>
                    <a:pt x="878" y="1258"/>
                    <a:pt x="876" y="1246"/>
                    <a:pt x="881" y="1243"/>
                  </a:cubicBezTo>
                  <a:cubicBezTo>
                    <a:pt x="884" y="1241"/>
                    <a:pt x="893" y="1255"/>
                    <a:pt x="896" y="1250"/>
                  </a:cubicBezTo>
                  <a:cubicBezTo>
                    <a:pt x="897" y="1247"/>
                    <a:pt x="892" y="1245"/>
                    <a:pt x="890" y="1242"/>
                  </a:cubicBezTo>
                  <a:cubicBezTo>
                    <a:pt x="891" y="1242"/>
                    <a:pt x="891" y="1242"/>
                    <a:pt x="891" y="1242"/>
                  </a:cubicBezTo>
                  <a:cubicBezTo>
                    <a:pt x="886" y="1233"/>
                    <a:pt x="871" y="1209"/>
                    <a:pt x="875" y="1228"/>
                  </a:cubicBezTo>
                  <a:close/>
                  <a:moveTo>
                    <a:pt x="153" y="1093"/>
                  </a:moveTo>
                  <a:cubicBezTo>
                    <a:pt x="149" y="1092"/>
                    <a:pt x="154" y="1108"/>
                    <a:pt x="159" y="1100"/>
                  </a:cubicBezTo>
                  <a:cubicBezTo>
                    <a:pt x="161" y="1097"/>
                    <a:pt x="154" y="1094"/>
                    <a:pt x="153" y="1093"/>
                  </a:cubicBezTo>
                  <a:close/>
                  <a:moveTo>
                    <a:pt x="743" y="1451"/>
                  </a:moveTo>
                  <a:cubicBezTo>
                    <a:pt x="742" y="1449"/>
                    <a:pt x="741" y="1447"/>
                    <a:pt x="738" y="1447"/>
                  </a:cubicBezTo>
                  <a:cubicBezTo>
                    <a:pt x="735" y="1448"/>
                    <a:pt x="741" y="1462"/>
                    <a:pt x="735" y="1461"/>
                  </a:cubicBezTo>
                  <a:cubicBezTo>
                    <a:pt x="734" y="1461"/>
                    <a:pt x="727" y="1458"/>
                    <a:pt x="732" y="1458"/>
                  </a:cubicBezTo>
                  <a:cubicBezTo>
                    <a:pt x="732" y="1458"/>
                    <a:pt x="734" y="1457"/>
                    <a:pt x="733" y="1456"/>
                  </a:cubicBezTo>
                  <a:cubicBezTo>
                    <a:pt x="733" y="1455"/>
                    <a:pt x="725" y="1462"/>
                    <a:pt x="720" y="1459"/>
                  </a:cubicBezTo>
                  <a:cubicBezTo>
                    <a:pt x="719" y="1458"/>
                    <a:pt x="712" y="1457"/>
                    <a:pt x="714" y="1458"/>
                  </a:cubicBezTo>
                  <a:cubicBezTo>
                    <a:pt x="716" y="1459"/>
                    <a:pt x="719" y="1464"/>
                    <a:pt x="716" y="1465"/>
                  </a:cubicBezTo>
                  <a:cubicBezTo>
                    <a:pt x="710" y="1465"/>
                    <a:pt x="699" y="1458"/>
                    <a:pt x="692" y="1457"/>
                  </a:cubicBezTo>
                  <a:cubicBezTo>
                    <a:pt x="690" y="1457"/>
                    <a:pt x="705" y="1455"/>
                    <a:pt x="694" y="1452"/>
                  </a:cubicBezTo>
                  <a:cubicBezTo>
                    <a:pt x="690" y="1450"/>
                    <a:pt x="691" y="1446"/>
                    <a:pt x="691" y="1446"/>
                  </a:cubicBezTo>
                  <a:cubicBezTo>
                    <a:pt x="684" y="1446"/>
                    <a:pt x="692" y="1454"/>
                    <a:pt x="688" y="1456"/>
                  </a:cubicBezTo>
                  <a:cubicBezTo>
                    <a:pt x="687" y="1457"/>
                    <a:pt x="688" y="1454"/>
                    <a:pt x="686" y="1454"/>
                  </a:cubicBezTo>
                  <a:cubicBezTo>
                    <a:pt x="673" y="1454"/>
                    <a:pt x="675" y="1460"/>
                    <a:pt x="668" y="1461"/>
                  </a:cubicBezTo>
                  <a:cubicBezTo>
                    <a:pt x="662" y="1461"/>
                    <a:pt x="670" y="1467"/>
                    <a:pt x="668" y="1466"/>
                  </a:cubicBezTo>
                  <a:cubicBezTo>
                    <a:pt x="663" y="1466"/>
                    <a:pt x="658" y="1460"/>
                    <a:pt x="653" y="1460"/>
                  </a:cubicBezTo>
                  <a:cubicBezTo>
                    <a:pt x="646" y="1461"/>
                    <a:pt x="639" y="1474"/>
                    <a:pt x="627" y="1466"/>
                  </a:cubicBezTo>
                  <a:cubicBezTo>
                    <a:pt x="623" y="1464"/>
                    <a:pt x="625" y="1459"/>
                    <a:pt x="628" y="1457"/>
                  </a:cubicBezTo>
                  <a:cubicBezTo>
                    <a:pt x="635" y="1453"/>
                    <a:pt x="632" y="1436"/>
                    <a:pt x="645" y="1446"/>
                  </a:cubicBezTo>
                  <a:cubicBezTo>
                    <a:pt x="645" y="1446"/>
                    <a:pt x="649" y="1448"/>
                    <a:pt x="649" y="1448"/>
                  </a:cubicBezTo>
                  <a:cubicBezTo>
                    <a:pt x="650" y="1448"/>
                    <a:pt x="645" y="1438"/>
                    <a:pt x="644" y="1437"/>
                  </a:cubicBezTo>
                  <a:cubicBezTo>
                    <a:pt x="630" y="1433"/>
                    <a:pt x="622" y="1476"/>
                    <a:pt x="612" y="1477"/>
                  </a:cubicBezTo>
                  <a:cubicBezTo>
                    <a:pt x="611" y="1477"/>
                    <a:pt x="606" y="1467"/>
                    <a:pt x="604" y="1465"/>
                  </a:cubicBezTo>
                  <a:cubicBezTo>
                    <a:pt x="604" y="1465"/>
                    <a:pt x="607" y="1480"/>
                    <a:pt x="601" y="1472"/>
                  </a:cubicBezTo>
                  <a:cubicBezTo>
                    <a:pt x="600" y="1472"/>
                    <a:pt x="586" y="1467"/>
                    <a:pt x="582" y="1464"/>
                  </a:cubicBezTo>
                  <a:cubicBezTo>
                    <a:pt x="581" y="1463"/>
                    <a:pt x="576" y="1459"/>
                    <a:pt x="575" y="1461"/>
                  </a:cubicBezTo>
                  <a:cubicBezTo>
                    <a:pt x="574" y="1461"/>
                    <a:pt x="575" y="1462"/>
                    <a:pt x="575" y="1462"/>
                  </a:cubicBezTo>
                  <a:cubicBezTo>
                    <a:pt x="581" y="1466"/>
                    <a:pt x="595" y="1483"/>
                    <a:pt x="590" y="1488"/>
                  </a:cubicBezTo>
                  <a:cubicBezTo>
                    <a:pt x="587" y="1490"/>
                    <a:pt x="575" y="1468"/>
                    <a:pt x="568" y="1472"/>
                  </a:cubicBezTo>
                  <a:cubicBezTo>
                    <a:pt x="566" y="1474"/>
                    <a:pt x="571" y="1476"/>
                    <a:pt x="573" y="1478"/>
                  </a:cubicBezTo>
                  <a:cubicBezTo>
                    <a:pt x="578" y="1481"/>
                    <a:pt x="571" y="1484"/>
                    <a:pt x="571" y="1485"/>
                  </a:cubicBezTo>
                  <a:cubicBezTo>
                    <a:pt x="572" y="1487"/>
                    <a:pt x="577" y="1493"/>
                    <a:pt x="576" y="1495"/>
                  </a:cubicBezTo>
                  <a:cubicBezTo>
                    <a:pt x="574" y="1498"/>
                    <a:pt x="564" y="1483"/>
                    <a:pt x="559" y="1485"/>
                  </a:cubicBezTo>
                  <a:cubicBezTo>
                    <a:pt x="558" y="1485"/>
                    <a:pt x="562" y="1488"/>
                    <a:pt x="562" y="1489"/>
                  </a:cubicBezTo>
                  <a:cubicBezTo>
                    <a:pt x="563" y="1492"/>
                    <a:pt x="569" y="1490"/>
                    <a:pt x="568" y="1492"/>
                  </a:cubicBezTo>
                  <a:cubicBezTo>
                    <a:pt x="567" y="1499"/>
                    <a:pt x="551" y="1494"/>
                    <a:pt x="551" y="1487"/>
                  </a:cubicBezTo>
                  <a:cubicBezTo>
                    <a:pt x="551" y="1483"/>
                    <a:pt x="555" y="1484"/>
                    <a:pt x="552" y="1483"/>
                  </a:cubicBezTo>
                  <a:cubicBezTo>
                    <a:pt x="552" y="1483"/>
                    <a:pt x="551" y="1483"/>
                    <a:pt x="551" y="1482"/>
                  </a:cubicBezTo>
                  <a:cubicBezTo>
                    <a:pt x="550" y="1481"/>
                    <a:pt x="555" y="1478"/>
                    <a:pt x="553" y="1478"/>
                  </a:cubicBezTo>
                  <a:cubicBezTo>
                    <a:pt x="539" y="1476"/>
                    <a:pt x="545" y="1493"/>
                    <a:pt x="538" y="1495"/>
                  </a:cubicBezTo>
                  <a:cubicBezTo>
                    <a:pt x="535" y="1496"/>
                    <a:pt x="500" y="1495"/>
                    <a:pt x="510" y="1500"/>
                  </a:cubicBezTo>
                  <a:cubicBezTo>
                    <a:pt x="513" y="1501"/>
                    <a:pt x="500" y="1508"/>
                    <a:pt x="501" y="1505"/>
                  </a:cubicBezTo>
                  <a:cubicBezTo>
                    <a:pt x="502" y="1504"/>
                    <a:pt x="503" y="1502"/>
                    <a:pt x="502" y="1503"/>
                  </a:cubicBezTo>
                  <a:cubicBezTo>
                    <a:pt x="497" y="1505"/>
                    <a:pt x="499" y="1509"/>
                    <a:pt x="498" y="1509"/>
                  </a:cubicBezTo>
                  <a:cubicBezTo>
                    <a:pt x="488" y="1511"/>
                    <a:pt x="499" y="1500"/>
                    <a:pt x="494" y="1501"/>
                  </a:cubicBezTo>
                  <a:cubicBezTo>
                    <a:pt x="489" y="1501"/>
                    <a:pt x="493" y="1508"/>
                    <a:pt x="489" y="1510"/>
                  </a:cubicBezTo>
                  <a:cubicBezTo>
                    <a:pt x="488" y="1511"/>
                    <a:pt x="486" y="1510"/>
                    <a:pt x="485" y="1510"/>
                  </a:cubicBezTo>
                  <a:cubicBezTo>
                    <a:pt x="473" y="1507"/>
                    <a:pt x="487" y="1507"/>
                    <a:pt x="481" y="1504"/>
                  </a:cubicBezTo>
                  <a:cubicBezTo>
                    <a:pt x="477" y="1502"/>
                    <a:pt x="469" y="1515"/>
                    <a:pt x="463" y="1516"/>
                  </a:cubicBezTo>
                  <a:cubicBezTo>
                    <a:pt x="462" y="1516"/>
                    <a:pt x="457" y="1508"/>
                    <a:pt x="453" y="1508"/>
                  </a:cubicBezTo>
                  <a:cubicBezTo>
                    <a:pt x="453" y="1508"/>
                    <a:pt x="452" y="1509"/>
                    <a:pt x="452" y="1509"/>
                  </a:cubicBezTo>
                  <a:cubicBezTo>
                    <a:pt x="453" y="1516"/>
                    <a:pt x="457" y="1515"/>
                    <a:pt x="458" y="1516"/>
                  </a:cubicBezTo>
                  <a:cubicBezTo>
                    <a:pt x="459" y="1518"/>
                    <a:pt x="447" y="1533"/>
                    <a:pt x="441" y="1532"/>
                  </a:cubicBezTo>
                  <a:cubicBezTo>
                    <a:pt x="440" y="1531"/>
                    <a:pt x="446" y="1525"/>
                    <a:pt x="445" y="1523"/>
                  </a:cubicBezTo>
                  <a:cubicBezTo>
                    <a:pt x="442" y="1519"/>
                    <a:pt x="438" y="1530"/>
                    <a:pt x="433" y="1531"/>
                  </a:cubicBezTo>
                  <a:cubicBezTo>
                    <a:pt x="432" y="1531"/>
                    <a:pt x="438" y="1521"/>
                    <a:pt x="436" y="1520"/>
                  </a:cubicBezTo>
                  <a:cubicBezTo>
                    <a:pt x="422" y="1517"/>
                    <a:pt x="382" y="1545"/>
                    <a:pt x="354" y="1537"/>
                  </a:cubicBezTo>
                  <a:cubicBezTo>
                    <a:pt x="353" y="1537"/>
                    <a:pt x="366" y="1520"/>
                    <a:pt x="363" y="1520"/>
                  </a:cubicBezTo>
                  <a:cubicBezTo>
                    <a:pt x="355" y="1520"/>
                    <a:pt x="332" y="1572"/>
                    <a:pt x="305" y="1558"/>
                  </a:cubicBezTo>
                  <a:cubicBezTo>
                    <a:pt x="304" y="1557"/>
                    <a:pt x="317" y="1550"/>
                    <a:pt x="319" y="1550"/>
                  </a:cubicBezTo>
                  <a:cubicBezTo>
                    <a:pt x="329" y="1547"/>
                    <a:pt x="342" y="1540"/>
                    <a:pt x="345" y="1527"/>
                  </a:cubicBezTo>
                  <a:cubicBezTo>
                    <a:pt x="346" y="1524"/>
                    <a:pt x="337" y="1538"/>
                    <a:pt x="336" y="1540"/>
                  </a:cubicBezTo>
                  <a:cubicBezTo>
                    <a:pt x="335" y="1541"/>
                    <a:pt x="326" y="1537"/>
                    <a:pt x="326" y="1539"/>
                  </a:cubicBezTo>
                  <a:cubicBezTo>
                    <a:pt x="325" y="1539"/>
                    <a:pt x="325" y="1543"/>
                    <a:pt x="324" y="1541"/>
                  </a:cubicBezTo>
                  <a:cubicBezTo>
                    <a:pt x="319" y="1533"/>
                    <a:pt x="338" y="1531"/>
                    <a:pt x="338" y="1525"/>
                  </a:cubicBezTo>
                  <a:cubicBezTo>
                    <a:pt x="338" y="1523"/>
                    <a:pt x="330" y="1523"/>
                    <a:pt x="329" y="1523"/>
                  </a:cubicBezTo>
                  <a:cubicBezTo>
                    <a:pt x="308" y="1524"/>
                    <a:pt x="323" y="1518"/>
                    <a:pt x="317" y="1512"/>
                  </a:cubicBezTo>
                  <a:cubicBezTo>
                    <a:pt x="317" y="1511"/>
                    <a:pt x="316" y="1513"/>
                    <a:pt x="315" y="1514"/>
                  </a:cubicBezTo>
                  <a:cubicBezTo>
                    <a:pt x="314" y="1517"/>
                    <a:pt x="305" y="1513"/>
                    <a:pt x="304" y="1509"/>
                  </a:cubicBezTo>
                  <a:cubicBezTo>
                    <a:pt x="300" y="1500"/>
                    <a:pt x="325" y="1485"/>
                    <a:pt x="323" y="1480"/>
                  </a:cubicBezTo>
                  <a:cubicBezTo>
                    <a:pt x="322" y="1478"/>
                    <a:pt x="290" y="1497"/>
                    <a:pt x="284" y="1498"/>
                  </a:cubicBezTo>
                  <a:cubicBezTo>
                    <a:pt x="280" y="1499"/>
                    <a:pt x="273" y="1505"/>
                    <a:pt x="272" y="1501"/>
                  </a:cubicBezTo>
                  <a:cubicBezTo>
                    <a:pt x="272" y="1496"/>
                    <a:pt x="288" y="1493"/>
                    <a:pt x="283" y="1490"/>
                  </a:cubicBezTo>
                  <a:cubicBezTo>
                    <a:pt x="282" y="1489"/>
                    <a:pt x="265" y="1498"/>
                    <a:pt x="266" y="1495"/>
                  </a:cubicBezTo>
                  <a:cubicBezTo>
                    <a:pt x="266" y="1492"/>
                    <a:pt x="283" y="1475"/>
                    <a:pt x="282" y="1474"/>
                  </a:cubicBezTo>
                  <a:cubicBezTo>
                    <a:pt x="281" y="1472"/>
                    <a:pt x="257" y="1477"/>
                    <a:pt x="251" y="1477"/>
                  </a:cubicBezTo>
                  <a:cubicBezTo>
                    <a:pt x="238" y="1475"/>
                    <a:pt x="226" y="1456"/>
                    <a:pt x="220" y="1455"/>
                  </a:cubicBezTo>
                  <a:cubicBezTo>
                    <a:pt x="205" y="1453"/>
                    <a:pt x="220" y="1464"/>
                    <a:pt x="207" y="1461"/>
                  </a:cubicBezTo>
                  <a:cubicBezTo>
                    <a:pt x="199" y="1460"/>
                    <a:pt x="213" y="1447"/>
                    <a:pt x="211" y="1440"/>
                  </a:cubicBezTo>
                  <a:cubicBezTo>
                    <a:pt x="211" y="1440"/>
                    <a:pt x="201" y="1447"/>
                    <a:pt x="201" y="1447"/>
                  </a:cubicBezTo>
                  <a:cubicBezTo>
                    <a:pt x="193" y="1449"/>
                    <a:pt x="199" y="1460"/>
                    <a:pt x="188" y="1461"/>
                  </a:cubicBezTo>
                  <a:cubicBezTo>
                    <a:pt x="184" y="1461"/>
                    <a:pt x="189" y="1458"/>
                    <a:pt x="189" y="1456"/>
                  </a:cubicBezTo>
                  <a:cubicBezTo>
                    <a:pt x="187" y="1451"/>
                    <a:pt x="188" y="1450"/>
                    <a:pt x="188" y="1449"/>
                  </a:cubicBezTo>
                  <a:cubicBezTo>
                    <a:pt x="185" y="1446"/>
                    <a:pt x="181" y="1448"/>
                    <a:pt x="177" y="1448"/>
                  </a:cubicBezTo>
                  <a:cubicBezTo>
                    <a:pt x="177" y="1448"/>
                    <a:pt x="177" y="1448"/>
                    <a:pt x="177" y="1448"/>
                  </a:cubicBezTo>
                  <a:cubicBezTo>
                    <a:pt x="177" y="1448"/>
                    <a:pt x="177" y="1448"/>
                    <a:pt x="177" y="1448"/>
                  </a:cubicBezTo>
                  <a:cubicBezTo>
                    <a:pt x="177" y="1448"/>
                    <a:pt x="177" y="1448"/>
                    <a:pt x="176" y="1448"/>
                  </a:cubicBezTo>
                  <a:cubicBezTo>
                    <a:pt x="175" y="1448"/>
                    <a:pt x="174" y="1448"/>
                    <a:pt x="173" y="1447"/>
                  </a:cubicBezTo>
                  <a:cubicBezTo>
                    <a:pt x="170" y="1444"/>
                    <a:pt x="177" y="1444"/>
                    <a:pt x="177" y="1444"/>
                  </a:cubicBezTo>
                  <a:cubicBezTo>
                    <a:pt x="179" y="1442"/>
                    <a:pt x="169" y="1438"/>
                    <a:pt x="168" y="1436"/>
                  </a:cubicBezTo>
                  <a:cubicBezTo>
                    <a:pt x="167" y="1433"/>
                    <a:pt x="181" y="1427"/>
                    <a:pt x="179" y="1425"/>
                  </a:cubicBezTo>
                  <a:cubicBezTo>
                    <a:pt x="177" y="1423"/>
                    <a:pt x="161" y="1411"/>
                    <a:pt x="165" y="1406"/>
                  </a:cubicBezTo>
                  <a:cubicBezTo>
                    <a:pt x="166" y="1404"/>
                    <a:pt x="174" y="1408"/>
                    <a:pt x="175" y="1405"/>
                  </a:cubicBezTo>
                  <a:cubicBezTo>
                    <a:pt x="175" y="1403"/>
                    <a:pt x="170" y="1404"/>
                    <a:pt x="169" y="1403"/>
                  </a:cubicBezTo>
                  <a:cubicBezTo>
                    <a:pt x="165" y="1398"/>
                    <a:pt x="180" y="1400"/>
                    <a:pt x="173" y="1396"/>
                  </a:cubicBezTo>
                  <a:cubicBezTo>
                    <a:pt x="170" y="1394"/>
                    <a:pt x="162" y="1379"/>
                    <a:pt x="163" y="1377"/>
                  </a:cubicBezTo>
                  <a:cubicBezTo>
                    <a:pt x="164" y="1377"/>
                    <a:pt x="169" y="1380"/>
                    <a:pt x="170" y="1380"/>
                  </a:cubicBezTo>
                  <a:cubicBezTo>
                    <a:pt x="173" y="1381"/>
                    <a:pt x="177" y="1381"/>
                    <a:pt x="179" y="1378"/>
                  </a:cubicBezTo>
                  <a:cubicBezTo>
                    <a:pt x="185" y="1370"/>
                    <a:pt x="164" y="1370"/>
                    <a:pt x="186" y="1357"/>
                  </a:cubicBezTo>
                  <a:cubicBezTo>
                    <a:pt x="188" y="1356"/>
                    <a:pt x="184" y="1352"/>
                    <a:pt x="183" y="1352"/>
                  </a:cubicBezTo>
                  <a:cubicBezTo>
                    <a:pt x="175" y="1351"/>
                    <a:pt x="186" y="1345"/>
                    <a:pt x="186" y="1341"/>
                  </a:cubicBezTo>
                  <a:cubicBezTo>
                    <a:pt x="186" y="1334"/>
                    <a:pt x="178" y="1332"/>
                    <a:pt x="176" y="1327"/>
                  </a:cubicBezTo>
                  <a:cubicBezTo>
                    <a:pt x="175" y="1325"/>
                    <a:pt x="185" y="1328"/>
                    <a:pt x="187" y="1327"/>
                  </a:cubicBezTo>
                  <a:cubicBezTo>
                    <a:pt x="191" y="1323"/>
                    <a:pt x="174" y="1316"/>
                    <a:pt x="174" y="1316"/>
                  </a:cubicBezTo>
                  <a:cubicBezTo>
                    <a:pt x="174" y="1315"/>
                    <a:pt x="189" y="1319"/>
                    <a:pt x="189" y="1316"/>
                  </a:cubicBezTo>
                  <a:cubicBezTo>
                    <a:pt x="190" y="1312"/>
                    <a:pt x="175" y="1308"/>
                    <a:pt x="177" y="1305"/>
                  </a:cubicBezTo>
                  <a:cubicBezTo>
                    <a:pt x="181" y="1298"/>
                    <a:pt x="201" y="1318"/>
                    <a:pt x="200" y="1310"/>
                  </a:cubicBezTo>
                  <a:cubicBezTo>
                    <a:pt x="200" y="1309"/>
                    <a:pt x="197" y="1307"/>
                    <a:pt x="197" y="1307"/>
                  </a:cubicBezTo>
                  <a:cubicBezTo>
                    <a:pt x="180" y="1294"/>
                    <a:pt x="188" y="1284"/>
                    <a:pt x="182" y="1280"/>
                  </a:cubicBezTo>
                  <a:cubicBezTo>
                    <a:pt x="181" y="1279"/>
                    <a:pt x="179" y="1278"/>
                    <a:pt x="179" y="1277"/>
                  </a:cubicBezTo>
                  <a:cubicBezTo>
                    <a:pt x="176" y="1273"/>
                    <a:pt x="176" y="1252"/>
                    <a:pt x="170" y="1250"/>
                  </a:cubicBezTo>
                  <a:cubicBezTo>
                    <a:pt x="166" y="1248"/>
                    <a:pt x="159" y="1246"/>
                    <a:pt x="158" y="1243"/>
                  </a:cubicBezTo>
                  <a:cubicBezTo>
                    <a:pt x="153" y="1225"/>
                    <a:pt x="170" y="1218"/>
                    <a:pt x="170" y="1202"/>
                  </a:cubicBezTo>
                  <a:cubicBezTo>
                    <a:pt x="170" y="1200"/>
                    <a:pt x="167" y="1205"/>
                    <a:pt x="165" y="1206"/>
                  </a:cubicBezTo>
                  <a:cubicBezTo>
                    <a:pt x="164" y="1207"/>
                    <a:pt x="166" y="1199"/>
                    <a:pt x="166" y="1197"/>
                  </a:cubicBezTo>
                  <a:cubicBezTo>
                    <a:pt x="168" y="1187"/>
                    <a:pt x="163" y="1191"/>
                    <a:pt x="160" y="1187"/>
                  </a:cubicBezTo>
                  <a:cubicBezTo>
                    <a:pt x="159" y="1186"/>
                    <a:pt x="163" y="1181"/>
                    <a:pt x="160" y="1180"/>
                  </a:cubicBezTo>
                  <a:cubicBezTo>
                    <a:pt x="158" y="1180"/>
                    <a:pt x="155" y="1190"/>
                    <a:pt x="156" y="1191"/>
                  </a:cubicBezTo>
                  <a:cubicBezTo>
                    <a:pt x="156" y="1194"/>
                    <a:pt x="153" y="1187"/>
                    <a:pt x="154" y="1185"/>
                  </a:cubicBezTo>
                  <a:cubicBezTo>
                    <a:pt x="157" y="1177"/>
                    <a:pt x="151" y="1182"/>
                    <a:pt x="148" y="1181"/>
                  </a:cubicBezTo>
                  <a:cubicBezTo>
                    <a:pt x="147" y="1181"/>
                    <a:pt x="150" y="1175"/>
                    <a:pt x="150" y="1174"/>
                  </a:cubicBezTo>
                  <a:cubicBezTo>
                    <a:pt x="151" y="1169"/>
                    <a:pt x="147" y="1164"/>
                    <a:pt x="148" y="1160"/>
                  </a:cubicBezTo>
                  <a:cubicBezTo>
                    <a:pt x="148" y="1157"/>
                    <a:pt x="155" y="1155"/>
                    <a:pt x="155" y="1154"/>
                  </a:cubicBezTo>
                  <a:cubicBezTo>
                    <a:pt x="155" y="1150"/>
                    <a:pt x="142" y="1157"/>
                    <a:pt x="142" y="1152"/>
                  </a:cubicBezTo>
                  <a:cubicBezTo>
                    <a:pt x="142" y="1143"/>
                    <a:pt x="153" y="1116"/>
                    <a:pt x="158" y="1112"/>
                  </a:cubicBezTo>
                  <a:cubicBezTo>
                    <a:pt x="161" y="1110"/>
                    <a:pt x="167" y="1118"/>
                    <a:pt x="170" y="1113"/>
                  </a:cubicBezTo>
                  <a:cubicBezTo>
                    <a:pt x="177" y="1103"/>
                    <a:pt x="171" y="1094"/>
                    <a:pt x="176" y="1087"/>
                  </a:cubicBezTo>
                  <a:cubicBezTo>
                    <a:pt x="178" y="1082"/>
                    <a:pt x="197" y="1091"/>
                    <a:pt x="198" y="1089"/>
                  </a:cubicBezTo>
                  <a:cubicBezTo>
                    <a:pt x="198" y="1087"/>
                    <a:pt x="177" y="1069"/>
                    <a:pt x="181" y="1062"/>
                  </a:cubicBezTo>
                  <a:cubicBezTo>
                    <a:pt x="184" y="1055"/>
                    <a:pt x="199" y="1069"/>
                    <a:pt x="204" y="1063"/>
                  </a:cubicBezTo>
                  <a:cubicBezTo>
                    <a:pt x="205" y="1062"/>
                    <a:pt x="200" y="1062"/>
                    <a:pt x="200" y="1061"/>
                  </a:cubicBezTo>
                  <a:cubicBezTo>
                    <a:pt x="197" y="1059"/>
                    <a:pt x="208" y="1057"/>
                    <a:pt x="210" y="1057"/>
                  </a:cubicBezTo>
                  <a:cubicBezTo>
                    <a:pt x="220" y="1053"/>
                    <a:pt x="212" y="1069"/>
                    <a:pt x="223" y="1072"/>
                  </a:cubicBezTo>
                  <a:cubicBezTo>
                    <a:pt x="228" y="1074"/>
                    <a:pt x="223" y="1060"/>
                    <a:pt x="228" y="1058"/>
                  </a:cubicBezTo>
                  <a:cubicBezTo>
                    <a:pt x="230" y="1057"/>
                    <a:pt x="254" y="1055"/>
                    <a:pt x="256" y="1052"/>
                  </a:cubicBezTo>
                  <a:cubicBezTo>
                    <a:pt x="268" y="1040"/>
                    <a:pt x="236" y="1032"/>
                    <a:pt x="242" y="1024"/>
                  </a:cubicBezTo>
                  <a:cubicBezTo>
                    <a:pt x="244" y="1022"/>
                    <a:pt x="259" y="1031"/>
                    <a:pt x="261" y="1031"/>
                  </a:cubicBezTo>
                  <a:cubicBezTo>
                    <a:pt x="263" y="1032"/>
                    <a:pt x="258" y="1029"/>
                    <a:pt x="257" y="1027"/>
                  </a:cubicBezTo>
                  <a:cubicBezTo>
                    <a:pt x="253" y="1024"/>
                    <a:pt x="246" y="1020"/>
                    <a:pt x="251" y="1015"/>
                  </a:cubicBezTo>
                  <a:cubicBezTo>
                    <a:pt x="254" y="1012"/>
                    <a:pt x="262" y="1026"/>
                    <a:pt x="262" y="1026"/>
                  </a:cubicBezTo>
                  <a:cubicBezTo>
                    <a:pt x="269" y="1023"/>
                    <a:pt x="273" y="993"/>
                    <a:pt x="278" y="988"/>
                  </a:cubicBezTo>
                  <a:cubicBezTo>
                    <a:pt x="283" y="983"/>
                    <a:pt x="291" y="1001"/>
                    <a:pt x="293" y="1001"/>
                  </a:cubicBezTo>
                  <a:cubicBezTo>
                    <a:pt x="309" y="996"/>
                    <a:pt x="303" y="978"/>
                    <a:pt x="306" y="974"/>
                  </a:cubicBezTo>
                  <a:cubicBezTo>
                    <a:pt x="311" y="970"/>
                    <a:pt x="312" y="983"/>
                    <a:pt x="315" y="980"/>
                  </a:cubicBezTo>
                  <a:cubicBezTo>
                    <a:pt x="317" y="979"/>
                    <a:pt x="314" y="970"/>
                    <a:pt x="321" y="966"/>
                  </a:cubicBezTo>
                  <a:cubicBezTo>
                    <a:pt x="326" y="963"/>
                    <a:pt x="345" y="964"/>
                    <a:pt x="352" y="957"/>
                  </a:cubicBezTo>
                  <a:cubicBezTo>
                    <a:pt x="356" y="952"/>
                    <a:pt x="344" y="941"/>
                    <a:pt x="349" y="937"/>
                  </a:cubicBezTo>
                  <a:cubicBezTo>
                    <a:pt x="353" y="934"/>
                    <a:pt x="364" y="944"/>
                    <a:pt x="369" y="940"/>
                  </a:cubicBezTo>
                  <a:cubicBezTo>
                    <a:pt x="373" y="938"/>
                    <a:pt x="367" y="934"/>
                    <a:pt x="367" y="932"/>
                  </a:cubicBezTo>
                  <a:cubicBezTo>
                    <a:pt x="365" y="929"/>
                    <a:pt x="387" y="909"/>
                    <a:pt x="391" y="905"/>
                  </a:cubicBezTo>
                  <a:cubicBezTo>
                    <a:pt x="393" y="903"/>
                    <a:pt x="397" y="909"/>
                    <a:pt x="399" y="907"/>
                  </a:cubicBezTo>
                  <a:cubicBezTo>
                    <a:pt x="399" y="907"/>
                    <a:pt x="398" y="905"/>
                    <a:pt x="398" y="904"/>
                  </a:cubicBezTo>
                  <a:cubicBezTo>
                    <a:pt x="391" y="886"/>
                    <a:pt x="428" y="874"/>
                    <a:pt x="435" y="865"/>
                  </a:cubicBezTo>
                  <a:cubicBezTo>
                    <a:pt x="439" y="859"/>
                    <a:pt x="446" y="839"/>
                    <a:pt x="456" y="828"/>
                  </a:cubicBezTo>
                  <a:cubicBezTo>
                    <a:pt x="457" y="826"/>
                    <a:pt x="450" y="826"/>
                    <a:pt x="452" y="823"/>
                  </a:cubicBezTo>
                  <a:cubicBezTo>
                    <a:pt x="456" y="820"/>
                    <a:pt x="460" y="826"/>
                    <a:pt x="463" y="826"/>
                  </a:cubicBezTo>
                  <a:cubicBezTo>
                    <a:pt x="467" y="826"/>
                    <a:pt x="465" y="817"/>
                    <a:pt x="469" y="816"/>
                  </a:cubicBezTo>
                  <a:cubicBezTo>
                    <a:pt x="475" y="814"/>
                    <a:pt x="497" y="806"/>
                    <a:pt x="502" y="807"/>
                  </a:cubicBezTo>
                  <a:cubicBezTo>
                    <a:pt x="513" y="809"/>
                    <a:pt x="509" y="827"/>
                    <a:pt x="523" y="820"/>
                  </a:cubicBezTo>
                  <a:cubicBezTo>
                    <a:pt x="539" y="814"/>
                    <a:pt x="509" y="804"/>
                    <a:pt x="510" y="799"/>
                  </a:cubicBezTo>
                  <a:cubicBezTo>
                    <a:pt x="513" y="788"/>
                    <a:pt x="528" y="805"/>
                    <a:pt x="532" y="801"/>
                  </a:cubicBezTo>
                  <a:cubicBezTo>
                    <a:pt x="543" y="792"/>
                    <a:pt x="514" y="777"/>
                    <a:pt x="512" y="776"/>
                  </a:cubicBezTo>
                  <a:cubicBezTo>
                    <a:pt x="509" y="772"/>
                    <a:pt x="516" y="769"/>
                    <a:pt x="517" y="768"/>
                  </a:cubicBezTo>
                  <a:cubicBezTo>
                    <a:pt x="524" y="761"/>
                    <a:pt x="521" y="746"/>
                    <a:pt x="518" y="738"/>
                  </a:cubicBezTo>
                  <a:cubicBezTo>
                    <a:pt x="518" y="738"/>
                    <a:pt x="517" y="737"/>
                    <a:pt x="517" y="736"/>
                  </a:cubicBezTo>
                  <a:cubicBezTo>
                    <a:pt x="520" y="732"/>
                    <a:pt x="528" y="731"/>
                    <a:pt x="525" y="721"/>
                  </a:cubicBezTo>
                  <a:cubicBezTo>
                    <a:pt x="522" y="712"/>
                    <a:pt x="486" y="696"/>
                    <a:pt x="476" y="694"/>
                  </a:cubicBezTo>
                  <a:cubicBezTo>
                    <a:pt x="472" y="693"/>
                    <a:pt x="466" y="701"/>
                    <a:pt x="464" y="697"/>
                  </a:cubicBezTo>
                  <a:cubicBezTo>
                    <a:pt x="461" y="694"/>
                    <a:pt x="451" y="681"/>
                    <a:pt x="454" y="674"/>
                  </a:cubicBezTo>
                  <a:cubicBezTo>
                    <a:pt x="455" y="670"/>
                    <a:pt x="467" y="657"/>
                    <a:pt x="467" y="656"/>
                  </a:cubicBezTo>
                  <a:cubicBezTo>
                    <a:pt x="467" y="656"/>
                    <a:pt x="467" y="655"/>
                    <a:pt x="466" y="655"/>
                  </a:cubicBezTo>
                  <a:cubicBezTo>
                    <a:pt x="461" y="658"/>
                    <a:pt x="456" y="672"/>
                    <a:pt x="451" y="673"/>
                  </a:cubicBezTo>
                  <a:cubicBezTo>
                    <a:pt x="442" y="676"/>
                    <a:pt x="420" y="674"/>
                    <a:pt x="419" y="671"/>
                  </a:cubicBezTo>
                  <a:cubicBezTo>
                    <a:pt x="409" y="636"/>
                    <a:pt x="373" y="619"/>
                    <a:pt x="373" y="580"/>
                  </a:cubicBezTo>
                  <a:cubicBezTo>
                    <a:pt x="373" y="562"/>
                    <a:pt x="388" y="567"/>
                    <a:pt x="394" y="554"/>
                  </a:cubicBezTo>
                  <a:cubicBezTo>
                    <a:pt x="397" y="547"/>
                    <a:pt x="391" y="534"/>
                    <a:pt x="395" y="526"/>
                  </a:cubicBezTo>
                  <a:cubicBezTo>
                    <a:pt x="395" y="526"/>
                    <a:pt x="404" y="518"/>
                    <a:pt x="404" y="518"/>
                  </a:cubicBezTo>
                  <a:cubicBezTo>
                    <a:pt x="407" y="498"/>
                    <a:pt x="364" y="482"/>
                    <a:pt x="365" y="462"/>
                  </a:cubicBezTo>
                  <a:cubicBezTo>
                    <a:pt x="366" y="453"/>
                    <a:pt x="394" y="432"/>
                    <a:pt x="383" y="423"/>
                  </a:cubicBezTo>
                  <a:cubicBezTo>
                    <a:pt x="374" y="415"/>
                    <a:pt x="359" y="424"/>
                    <a:pt x="353" y="415"/>
                  </a:cubicBezTo>
                  <a:cubicBezTo>
                    <a:pt x="349" y="408"/>
                    <a:pt x="362" y="402"/>
                    <a:pt x="364" y="397"/>
                  </a:cubicBezTo>
                  <a:cubicBezTo>
                    <a:pt x="368" y="383"/>
                    <a:pt x="350" y="365"/>
                    <a:pt x="359" y="350"/>
                  </a:cubicBezTo>
                  <a:cubicBezTo>
                    <a:pt x="362" y="345"/>
                    <a:pt x="370" y="346"/>
                    <a:pt x="374" y="342"/>
                  </a:cubicBezTo>
                  <a:cubicBezTo>
                    <a:pt x="381" y="335"/>
                    <a:pt x="359" y="329"/>
                    <a:pt x="353" y="321"/>
                  </a:cubicBezTo>
                  <a:cubicBezTo>
                    <a:pt x="346" y="314"/>
                    <a:pt x="345" y="308"/>
                    <a:pt x="335" y="310"/>
                  </a:cubicBezTo>
                  <a:cubicBezTo>
                    <a:pt x="333" y="310"/>
                    <a:pt x="330" y="313"/>
                    <a:pt x="328" y="311"/>
                  </a:cubicBezTo>
                  <a:cubicBezTo>
                    <a:pt x="327" y="309"/>
                    <a:pt x="329" y="297"/>
                    <a:pt x="325" y="293"/>
                  </a:cubicBezTo>
                  <a:cubicBezTo>
                    <a:pt x="299" y="262"/>
                    <a:pt x="260" y="273"/>
                    <a:pt x="230" y="256"/>
                  </a:cubicBezTo>
                  <a:cubicBezTo>
                    <a:pt x="218" y="249"/>
                    <a:pt x="134" y="197"/>
                    <a:pt x="128" y="190"/>
                  </a:cubicBezTo>
                  <a:cubicBezTo>
                    <a:pt x="118" y="180"/>
                    <a:pt x="131" y="188"/>
                    <a:pt x="131" y="182"/>
                  </a:cubicBezTo>
                  <a:cubicBezTo>
                    <a:pt x="129" y="175"/>
                    <a:pt x="111" y="170"/>
                    <a:pt x="103" y="166"/>
                  </a:cubicBezTo>
                  <a:cubicBezTo>
                    <a:pt x="101" y="165"/>
                    <a:pt x="99" y="165"/>
                    <a:pt x="99" y="164"/>
                  </a:cubicBezTo>
                  <a:cubicBezTo>
                    <a:pt x="100" y="149"/>
                    <a:pt x="138" y="170"/>
                    <a:pt x="142" y="169"/>
                  </a:cubicBezTo>
                  <a:cubicBezTo>
                    <a:pt x="153" y="166"/>
                    <a:pt x="140" y="149"/>
                    <a:pt x="139" y="145"/>
                  </a:cubicBezTo>
                  <a:cubicBezTo>
                    <a:pt x="139" y="137"/>
                    <a:pt x="157" y="123"/>
                    <a:pt x="165" y="121"/>
                  </a:cubicBezTo>
                  <a:cubicBezTo>
                    <a:pt x="189" y="118"/>
                    <a:pt x="248" y="175"/>
                    <a:pt x="257" y="198"/>
                  </a:cubicBezTo>
                  <a:cubicBezTo>
                    <a:pt x="260" y="205"/>
                    <a:pt x="257" y="214"/>
                    <a:pt x="261" y="219"/>
                  </a:cubicBezTo>
                  <a:cubicBezTo>
                    <a:pt x="263" y="221"/>
                    <a:pt x="266" y="219"/>
                    <a:pt x="269" y="220"/>
                  </a:cubicBezTo>
                  <a:cubicBezTo>
                    <a:pt x="283" y="220"/>
                    <a:pt x="308" y="216"/>
                    <a:pt x="321" y="222"/>
                  </a:cubicBezTo>
                  <a:cubicBezTo>
                    <a:pt x="321" y="222"/>
                    <a:pt x="333" y="232"/>
                    <a:pt x="333" y="232"/>
                  </a:cubicBezTo>
                  <a:cubicBezTo>
                    <a:pt x="338" y="234"/>
                    <a:pt x="372" y="223"/>
                    <a:pt x="377" y="219"/>
                  </a:cubicBezTo>
                  <a:cubicBezTo>
                    <a:pt x="382" y="216"/>
                    <a:pt x="385" y="202"/>
                    <a:pt x="391" y="201"/>
                  </a:cubicBezTo>
                  <a:cubicBezTo>
                    <a:pt x="396" y="199"/>
                    <a:pt x="456" y="220"/>
                    <a:pt x="465" y="224"/>
                  </a:cubicBezTo>
                  <a:cubicBezTo>
                    <a:pt x="468" y="226"/>
                    <a:pt x="485" y="244"/>
                    <a:pt x="486" y="243"/>
                  </a:cubicBezTo>
                  <a:cubicBezTo>
                    <a:pt x="491" y="237"/>
                    <a:pt x="496" y="238"/>
                    <a:pt x="502" y="232"/>
                  </a:cubicBezTo>
                  <a:cubicBezTo>
                    <a:pt x="513" y="222"/>
                    <a:pt x="505" y="199"/>
                    <a:pt x="527" y="193"/>
                  </a:cubicBezTo>
                  <a:cubicBezTo>
                    <a:pt x="540" y="190"/>
                    <a:pt x="562" y="192"/>
                    <a:pt x="566" y="172"/>
                  </a:cubicBezTo>
                  <a:cubicBezTo>
                    <a:pt x="567" y="163"/>
                    <a:pt x="557" y="151"/>
                    <a:pt x="557" y="143"/>
                  </a:cubicBezTo>
                  <a:cubicBezTo>
                    <a:pt x="556" y="129"/>
                    <a:pt x="563" y="124"/>
                    <a:pt x="567" y="113"/>
                  </a:cubicBezTo>
                  <a:cubicBezTo>
                    <a:pt x="570" y="107"/>
                    <a:pt x="565" y="92"/>
                    <a:pt x="569" y="87"/>
                  </a:cubicBezTo>
                  <a:cubicBezTo>
                    <a:pt x="575" y="79"/>
                    <a:pt x="578" y="65"/>
                    <a:pt x="581" y="63"/>
                  </a:cubicBezTo>
                  <a:cubicBezTo>
                    <a:pt x="585" y="58"/>
                    <a:pt x="620" y="28"/>
                    <a:pt x="624" y="26"/>
                  </a:cubicBezTo>
                  <a:cubicBezTo>
                    <a:pt x="643" y="14"/>
                    <a:pt x="667" y="33"/>
                    <a:pt x="686" y="27"/>
                  </a:cubicBezTo>
                  <a:cubicBezTo>
                    <a:pt x="714" y="18"/>
                    <a:pt x="723" y="0"/>
                    <a:pt x="755" y="4"/>
                  </a:cubicBezTo>
                  <a:cubicBezTo>
                    <a:pt x="788" y="57"/>
                    <a:pt x="865" y="46"/>
                    <a:pt x="876" y="95"/>
                  </a:cubicBezTo>
                  <a:cubicBezTo>
                    <a:pt x="880" y="110"/>
                    <a:pt x="794" y="148"/>
                    <a:pt x="845" y="167"/>
                  </a:cubicBezTo>
                  <a:cubicBezTo>
                    <a:pt x="826" y="176"/>
                    <a:pt x="797" y="190"/>
                    <a:pt x="799" y="193"/>
                  </a:cubicBezTo>
                  <a:cubicBezTo>
                    <a:pt x="808" y="201"/>
                    <a:pt x="829" y="182"/>
                    <a:pt x="832" y="203"/>
                  </a:cubicBezTo>
                  <a:cubicBezTo>
                    <a:pt x="836" y="233"/>
                    <a:pt x="792" y="222"/>
                    <a:pt x="813" y="274"/>
                  </a:cubicBezTo>
                  <a:cubicBezTo>
                    <a:pt x="815" y="281"/>
                    <a:pt x="818" y="296"/>
                    <a:pt x="823" y="301"/>
                  </a:cubicBezTo>
                  <a:cubicBezTo>
                    <a:pt x="837" y="313"/>
                    <a:pt x="866" y="308"/>
                    <a:pt x="881" y="319"/>
                  </a:cubicBezTo>
                  <a:cubicBezTo>
                    <a:pt x="894" y="328"/>
                    <a:pt x="900" y="350"/>
                    <a:pt x="912" y="361"/>
                  </a:cubicBezTo>
                  <a:cubicBezTo>
                    <a:pt x="918" y="366"/>
                    <a:pt x="938" y="371"/>
                    <a:pt x="942" y="379"/>
                  </a:cubicBezTo>
                  <a:cubicBezTo>
                    <a:pt x="956" y="408"/>
                    <a:pt x="845" y="470"/>
                    <a:pt x="856" y="506"/>
                  </a:cubicBezTo>
                  <a:cubicBezTo>
                    <a:pt x="859" y="518"/>
                    <a:pt x="875" y="526"/>
                    <a:pt x="881" y="536"/>
                  </a:cubicBezTo>
                  <a:cubicBezTo>
                    <a:pt x="896" y="563"/>
                    <a:pt x="930" y="619"/>
                    <a:pt x="938" y="647"/>
                  </a:cubicBezTo>
                  <a:cubicBezTo>
                    <a:pt x="940" y="652"/>
                    <a:pt x="956" y="689"/>
                    <a:pt x="949" y="692"/>
                  </a:cubicBezTo>
                  <a:cubicBezTo>
                    <a:pt x="944" y="695"/>
                    <a:pt x="921" y="687"/>
                    <a:pt x="915" y="695"/>
                  </a:cubicBezTo>
                  <a:cubicBezTo>
                    <a:pt x="912" y="699"/>
                    <a:pt x="922" y="701"/>
                    <a:pt x="925" y="705"/>
                  </a:cubicBezTo>
                  <a:cubicBezTo>
                    <a:pt x="930" y="711"/>
                    <a:pt x="917" y="715"/>
                    <a:pt x="917" y="715"/>
                  </a:cubicBezTo>
                  <a:cubicBezTo>
                    <a:pt x="915" y="717"/>
                    <a:pt x="917" y="719"/>
                    <a:pt x="917" y="722"/>
                  </a:cubicBezTo>
                  <a:cubicBezTo>
                    <a:pt x="917" y="726"/>
                    <a:pt x="917" y="730"/>
                    <a:pt x="917" y="734"/>
                  </a:cubicBezTo>
                  <a:cubicBezTo>
                    <a:pt x="917" y="740"/>
                    <a:pt x="899" y="755"/>
                    <a:pt x="905" y="758"/>
                  </a:cubicBezTo>
                  <a:cubicBezTo>
                    <a:pt x="917" y="765"/>
                    <a:pt x="930" y="751"/>
                    <a:pt x="927" y="773"/>
                  </a:cubicBezTo>
                  <a:cubicBezTo>
                    <a:pt x="925" y="784"/>
                    <a:pt x="890" y="772"/>
                    <a:pt x="908" y="806"/>
                  </a:cubicBezTo>
                  <a:cubicBezTo>
                    <a:pt x="921" y="831"/>
                    <a:pt x="949" y="818"/>
                    <a:pt x="958" y="844"/>
                  </a:cubicBezTo>
                  <a:cubicBezTo>
                    <a:pt x="961" y="852"/>
                    <a:pt x="939" y="853"/>
                    <a:pt x="937" y="856"/>
                  </a:cubicBezTo>
                  <a:cubicBezTo>
                    <a:pt x="931" y="868"/>
                    <a:pt x="943" y="866"/>
                    <a:pt x="946" y="872"/>
                  </a:cubicBezTo>
                  <a:cubicBezTo>
                    <a:pt x="946" y="872"/>
                    <a:pt x="943" y="884"/>
                    <a:pt x="943" y="884"/>
                  </a:cubicBezTo>
                  <a:cubicBezTo>
                    <a:pt x="949" y="902"/>
                    <a:pt x="991" y="889"/>
                    <a:pt x="994" y="932"/>
                  </a:cubicBezTo>
                  <a:cubicBezTo>
                    <a:pt x="995" y="951"/>
                    <a:pt x="941" y="976"/>
                    <a:pt x="939" y="981"/>
                  </a:cubicBezTo>
                  <a:cubicBezTo>
                    <a:pt x="937" y="987"/>
                    <a:pt x="972" y="1013"/>
                    <a:pt x="977" y="1017"/>
                  </a:cubicBezTo>
                  <a:cubicBezTo>
                    <a:pt x="997" y="1034"/>
                    <a:pt x="1025" y="1041"/>
                    <a:pt x="1046" y="1058"/>
                  </a:cubicBezTo>
                  <a:cubicBezTo>
                    <a:pt x="1054" y="1065"/>
                    <a:pt x="1051" y="1075"/>
                    <a:pt x="1059" y="1083"/>
                  </a:cubicBezTo>
                  <a:cubicBezTo>
                    <a:pt x="1063" y="1088"/>
                    <a:pt x="1078" y="1099"/>
                    <a:pt x="1080" y="1105"/>
                  </a:cubicBezTo>
                  <a:cubicBezTo>
                    <a:pt x="1081" y="1109"/>
                    <a:pt x="1068" y="1124"/>
                    <a:pt x="1067" y="1127"/>
                  </a:cubicBezTo>
                  <a:cubicBezTo>
                    <a:pt x="1048" y="1167"/>
                    <a:pt x="1035" y="1180"/>
                    <a:pt x="1004" y="1210"/>
                  </a:cubicBezTo>
                  <a:cubicBezTo>
                    <a:pt x="986" y="1227"/>
                    <a:pt x="969" y="1245"/>
                    <a:pt x="952" y="1263"/>
                  </a:cubicBezTo>
                  <a:cubicBezTo>
                    <a:pt x="950" y="1260"/>
                    <a:pt x="948" y="1258"/>
                    <a:pt x="946" y="1257"/>
                  </a:cubicBezTo>
                  <a:cubicBezTo>
                    <a:pt x="946" y="1257"/>
                    <a:pt x="940" y="1246"/>
                    <a:pt x="939" y="1244"/>
                  </a:cubicBezTo>
                  <a:cubicBezTo>
                    <a:pt x="939" y="1243"/>
                    <a:pt x="939" y="1243"/>
                    <a:pt x="939" y="1243"/>
                  </a:cubicBezTo>
                  <a:cubicBezTo>
                    <a:pt x="937" y="1239"/>
                    <a:pt x="911" y="1220"/>
                    <a:pt x="910" y="1226"/>
                  </a:cubicBezTo>
                  <a:cubicBezTo>
                    <a:pt x="909" y="1231"/>
                    <a:pt x="940" y="1245"/>
                    <a:pt x="941" y="1254"/>
                  </a:cubicBezTo>
                  <a:cubicBezTo>
                    <a:pt x="942" y="1256"/>
                    <a:pt x="935" y="1253"/>
                    <a:pt x="934" y="1254"/>
                  </a:cubicBezTo>
                  <a:cubicBezTo>
                    <a:pt x="930" y="1254"/>
                    <a:pt x="925" y="1274"/>
                    <a:pt x="926" y="1275"/>
                  </a:cubicBezTo>
                  <a:cubicBezTo>
                    <a:pt x="934" y="1286"/>
                    <a:pt x="936" y="1269"/>
                    <a:pt x="940" y="1269"/>
                  </a:cubicBezTo>
                  <a:cubicBezTo>
                    <a:pt x="942" y="1269"/>
                    <a:pt x="943" y="1271"/>
                    <a:pt x="942" y="1273"/>
                  </a:cubicBezTo>
                  <a:cubicBezTo>
                    <a:pt x="902" y="1314"/>
                    <a:pt x="862" y="1356"/>
                    <a:pt x="817" y="1391"/>
                  </a:cubicBezTo>
                  <a:cubicBezTo>
                    <a:pt x="793" y="1409"/>
                    <a:pt x="761" y="1427"/>
                    <a:pt x="743" y="1451"/>
                  </a:cubicBezTo>
                  <a:close/>
                  <a:moveTo>
                    <a:pt x="995" y="1122"/>
                  </a:moveTo>
                  <a:cubicBezTo>
                    <a:pt x="995" y="1122"/>
                    <a:pt x="996" y="1123"/>
                    <a:pt x="997" y="1124"/>
                  </a:cubicBezTo>
                  <a:cubicBezTo>
                    <a:pt x="997" y="1125"/>
                    <a:pt x="997" y="1125"/>
                    <a:pt x="998" y="1125"/>
                  </a:cubicBezTo>
                  <a:cubicBezTo>
                    <a:pt x="998" y="1126"/>
                    <a:pt x="998" y="1125"/>
                    <a:pt x="997" y="1124"/>
                  </a:cubicBezTo>
                  <a:cubicBezTo>
                    <a:pt x="996" y="1122"/>
                    <a:pt x="996" y="1120"/>
                    <a:pt x="995" y="1119"/>
                  </a:cubicBezTo>
                  <a:cubicBezTo>
                    <a:pt x="995" y="1119"/>
                    <a:pt x="994" y="1118"/>
                    <a:pt x="995" y="1118"/>
                  </a:cubicBezTo>
                  <a:cubicBezTo>
                    <a:pt x="996" y="1116"/>
                    <a:pt x="999" y="1116"/>
                    <a:pt x="1001" y="1115"/>
                  </a:cubicBezTo>
                  <a:cubicBezTo>
                    <a:pt x="1006" y="1114"/>
                    <a:pt x="1026" y="1091"/>
                    <a:pt x="1016" y="1085"/>
                  </a:cubicBezTo>
                  <a:cubicBezTo>
                    <a:pt x="1000" y="1074"/>
                    <a:pt x="1003" y="1097"/>
                    <a:pt x="1000" y="1099"/>
                  </a:cubicBezTo>
                  <a:cubicBezTo>
                    <a:pt x="1000" y="1099"/>
                    <a:pt x="985" y="1095"/>
                    <a:pt x="985" y="1101"/>
                  </a:cubicBezTo>
                  <a:cubicBezTo>
                    <a:pt x="985" y="1106"/>
                    <a:pt x="1001" y="1110"/>
                    <a:pt x="995" y="1113"/>
                  </a:cubicBezTo>
                  <a:cubicBezTo>
                    <a:pt x="992" y="1114"/>
                    <a:pt x="986" y="1118"/>
                    <a:pt x="984" y="1121"/>
                  </a:cubicBezTo>
                  <a:cubicBezTo>
                    <a:pt x="986" y="1122"/>
                    <a:pt x="986" y="1122"/>
                    <a:pt x="986" y="1122"/>
                  </a:cubicBezTo>
                  <a:cubicBezTo>
                    <a:pt x="970" y="1137"/>
                    <a:pt x="989" y="1120"/>
                    <a:pt x="995" y="1122"/>
                  </a:cubicBezTo>
                  <a:close/>
                  <a:moveTo>
                    <a:pt x="412" y="371"/>
                  </a:moveTo>
                  <a:cubicBezTo>
                    <a:pt x="412" y="371"/>
                    <a:pt x="412" y="371"/>
                    <a:pt x="412" y="371"/>
                  </a:cubicBezTo>
                  <a:cubicBezTo>
                    <a:pt x="413" y="371"/>
                    <a:pt x="413" y="375"/>
                    <a:pt x="413" y="375"/>
                  </a:cubicBezTo>
                  <a:cubicBezTo>
                    <a:pt x="413" y="375"/>
                    <a:pt x="415" y="373"/>
                    <a:pt x="415" y="373"/>
                  </a:cubicBezTo>
                  <a:cubicBezTo>
                    <a:pt x="425" y="357"/>
                    <a:pt x="410" y="350"/>
                    <a:pt x="412" y="371"/>
                  </a:cubicBezTo>
                  <a:close/>
                  <a:moveTo>
                    <a:pt x="420" y="349"/>
                  </a:moveTo>
                  <a:cubicBezTo>
                    <a:pt x="419" y="347"/>
                    <a:pt x="403" y="340"/>
                    <a:pt x="403" y="344"/>
                  </a:cubicBezTo>
                  <a:cubicBezTo>
                    <a:pt x="403" y="346"/>
                    <a:pt x="409" y="348"/>
                    <a:pt x="410" y="351"/>
                  </a:cubicBezTo>
                  <a:cubicBezTo>
                    <a:pt x="411" y="351"/>
                    <a:pt x="411" y="351"/>
                    <a:pt x="411" y="351"/>
                  </a:cubicBezTo>
                  <a:cubicBezTo>
                    <a:pt x="412" y="353"/>
                    <a:pt x="421" y="353"/>
                    <a:pt x="423" y="351"/>
                  </a:cubicBezTo>
                  <a:cubicBezTo>
                    <a:pt x="423" y="350"/>
                    <a:pt x="421" y="349"/>
                    <a:pt x="420" y="349"/>
                  </a:cubicBezTo>
                  <a:close/>
                  <a:moveTo>
                    <a:pt x="476" y="539"/>
                  </a:moveTo>
                  <a:cubicBezTo>
                    <a:pt x="474" y="536"/>
                    <a:pt x="465" y="529"/>
                    <a:pt x="465" y="531"/>
                  </a:cubicBezTo>
                  <a:cubicBezTo>
                    <a:pt x="464" y="534"/>
                    <a:pt x="460" y="529"/>
                    <a:pt x="459" y="532"/>
                  </a:cubicBezTo>
                  <a:cubicBezTo>
                    <a:pt x="459" y="534"/>
                    <a:pt x="466" y="537"/>
                    <a:pt x="465" y="541"/>
                  </a:cubicBezTo>
                  <a:cubicBezTo>
                    <a:pt x="465" y="542"/>
                    <a:pt x="464" y="543"/>
                    <a:pt x="463" y="544"/>
                  </a:cubicBezTo>
                  <a:cubicBezTo>
                    <a:pt x="461" y="545"/>
                    <a:pt x="459" y="544"/>
                    <a:pt x="458" y="543"/>
                  </a:cubicBezTo>
                  <a:cubicBezTo>
                    <a:pt x="458" y="543"/>
                    <a:pt x="447" y="546"/>
                    <a:pt x="444" y="542"/>
                  </a:cubicBezTo>
                  <a:cubicBezTo>
                    <a:pt x="440" y="539"/>
                    <a:pt x="444" y="527"/>
                    <a:pt x="439" y="527"/>
                  </a:cubicBezTo>
                  <a:cubicBezTo>
                    <a:pt x="435" y="527"/>
                    <a:pt x="441" y="539"/>
                    <a:pt x="437" y="538"/>
                  </a:cubicBezTo>
                  <a:cubicBezTo>
                    <a:pt x="433" y="537"/>
                    <a:pt x="435" y="540"/>
                    <a:pt x="434" y="542"/>
                  </a:cubicBezTo>
                  <a:cubicBezTo>
                    <a:pt x="430" y="549"/>
                    <a:pt x="435" y="559"/>
                    <a:pt x="437" y="562"/>
                  </a:cubicBezTo>
                  <a:cubicBezTo>
                    <a:pt x="437" y="562"/>
                    <a:pt x="437" y="562"/>
                    <a:pt x="437" y="562"/>
                  </a:cubicBezTo>
                  <a:cubicBezTo>
                    <a:pt x="446" y="570"/>
                    <a:pt x="442" y="546"/>
                    <a:pt x="442" y="545"/>
                  </a:cubicBezTo>
                  <a:cubicBezTo>
                    <a:pt x="443" y="544"/>
                    <a:pt x="446" y="546"/>
                    <a:pt x="447" y="546"/>
                  </a:cubicBezTo>
                  <a:cubicBezTo>
                    <a:pt x="452" y="547"/>
                    <a:pt x="464" y="556"/>
                    <a:pt x="467" y="549"/>
                  </a:cubicBezTo>
                  <a:cubicBezTo>
                    <a:pt x="468" y="546"/>
                    <a:pt x="465" y="544"/>
                    <a:pt x="467" y="541"/>
                  </a:cubicBezTo>
                  <a:cubicBezTo>
                    <a:pt x="467" y="540"/>
                    <a:pt x="479" y="544"/>
                    <a:pt x="476" y="539"/>
                  </a:cubicBezTo>
                  <a:close/>
                  <a:moveTo>
                    <a:pt x="207" y="1278"/>
                  </a:moveTo>
                  <a:cubicBezTo>
                    <a:pt x="205" y="1276"/>
                    <a:pt x="203" y="1273"/>
                    <a:pt x="202" y="1270"/>
                  </a:cubicBezTo>
                  <a:cubicBezTo>
                    <a:pt x="202" y="1270"/>
                    <a:pt x="202" y="1270"/>
                    <a:pt x="202" y="1270"/>
                  </a:cubicBezTo>
                  <a:cubicBezTo>
                    <a:pt x="200" y="1267"/>
                    <a:pt x="197" y="1275"/>
                    <a:pt x="201" y="1281"/>
                  </a:cubicBezTo>
                  <a:cubicBezTo>
                    <a:pt x="202" y="1282"/>
                    <a:pt x="228" y="1298"/>
                    <a:pt x="207" y="1278"/>
                  </a:cubicBezTo>
                  <a:close/>
                  <a:moveTo>
                    <a:pt x="257" y="1386"/>
                  </a:moveTo>
                  <a:cubicBezTo>
                    <a:pt x="256" y="1385"/>
                    <a:pt x="256" y="1385"/>
                    <a:pt x="256" y="1385"/>
                  </a:cubicBezTo>
                  <a:cubicBezTo>
                    <a:pt x="254" y="1382"/>
                    <a:pt x="251" y="1380"/>
                    <a:pt x="248" y="1378"/>
                  </a:cubicBezTo>
                  <a:cubicBezTo>
                    <a:pt x="222" y="1363"/>
                    <a:pt x="263" y="1432"/>
                    <a:pt x="257" y="1386"/>
                  </a:cubicBezTo>
                  <a:close/>
                  <a:moveTo>
                    <a:pt x="905" y="1046"/>
                  </a:moveTo>
                  <a:cubicBezTo>
                    <a:pt x="902" y="1046"/>
                    <a:pt x="860" y="1008"/>
                    <a:pt x="856" y="1005"/>
                  </a:cubicBezTo>
                  <a:cubicBezTo>
                    <a:pt x="856" y="1005"/>
                    <a:pt x="855" y="1004"/>
                    <a:pt x="854" y="1004"/>
                  </a:cubicBezTo>
                  <a:cubicBezTo>
                    <a:pt x="847" y="1003"/>
                    <a:pt x="869" y="1019"/>
                    <a:pt x="864" y="1025"/>
                  </a:cubicBezTo>
                  <a:cubicBezTo>
                    <a:pt x="862" y="1029"/>
                    <a:pt x="846" y="1014"/>
                    <a:pt x="845" y="1016"/>
                  </a:cubicBezTo>
                  <a:cubicBezTo>
                    <a:pt x="844" y="1017"/>
                    <a:pt x="849" y="1021"/>
                    <a:pt x="850" y="1021"/>
                  </a:cubicBezTo>
                  <a:cubicBezTo>
                    <a:pt x="857" y="1027"/>
                    <a:pt x="879" y="1053"/>
                    <a:pt x="879" y="1055"/>
                  </a:cubicBezTo>
                  <a:cubicBezTo>
                    <a:pt x="875" y="1075"/>
                    <a:pt x="897" y="1062"/>
                    <a:pt x="902" y="1064"/>
                  </a:cubicBezTo>
                  <a:cubicBezTo>
                    <a:pt x="903" y="1064"/>
                    <a:pt x="903" y="1084"/>
                    <a:pt x="910" y="1074"/>
                  </a:cubicBezTo>
                  <a:cubicBezTo>
                    <a:pt x="911" y="1073"/>
                    <a:pt x="921" y="1066"/>
                    <a:pt x="921" y="1066"/>
                  </a:cubicBezTo>
                  <a:cubicBezTo>
                    <a:pt x="925" y="1072"/>
                    <a:pt x="919" y="1076"/>
                    <a:pt x="920" y="1078"/>
                  </a:cubicBezTo>
                  <a:cubicBezTo>
                    <a:pt x="922" y="1082"/>
                    <a:pt x="946" y="1107"/>
                    <a:pt x="953" y="1109"/>
                  </a:cubicBezTo>
                  <a:cubicBezTo>
                    <a:pt x="954" y="1110"/>
                    <a:pt x="954" y="1110"/>
                    <a:pt x="954" y="1110"/>
                  </a:cubicBezTo>
                  <a:cubicBezTo>
                    <a:pt x="964" y="1110"/>
                    <a:pt x="944" y="1136"/>
                    <a:pt x="944" y="1135"/>
                  </a:cubicBezTo>
                  <a:cubicBezTo>
                    <a:pt x="948" y="1141"/>
                    <a:pt x="959" y="1118"/>
                    <a:pt x="960" y="1117"/>
                  </a:cubicBezTo>
                  <a:cubicBezTo>
                    <a:pt x="962" y="1116"/>
                    <a:pt x="972" y="1131"/>
                    <a:pt x="975" y="1125"/>
                  </a:cubicBezTo>
                  <a:cubicBezTo>
                    <a:pt x="976" y="1123"/>
                    <a:pt x="968" y="1118"/>
                    <a:pt x="967" y="1118"/>
                  </a:cubicBezTo>
                  <a:cubicBezTo>
                    <a:pt x="962" y="1117"/>
                    <a:pt x="937" y="1082"/>
                    <a:pt x="936" y="1069"/>
                  </a:cubicBezTo>
                  <a:cubicBezTo>
                    <a:pt x="935" y="1065"/>
                    <a:pt x="935" y="1050"/>
                    <a:pt x="936" y="1052"/>
                  </a:cubicBezTo>
                  <a:cubicBezTo>
                    <a:pt x="937" y="1055"/>
                    <a:pt x="950" y="1062"/>
                    <a:pt x="942" y="1052"/>
                  </a:cubicBezTo>
                  <a:cubicBezTo>
                    <a:pt x="940" y="1050"/>
                    <a:pt x="938" y="1048"/>
                    <a:pt x="935" y="1047"/>
                  </a:cubicBezTo>
                  <a:cubicBezTo>
                    <a:pt x="924" y="1042"/>
                    <a:pt x="932" y="1047"/>
                    <a:pt x="929" y="1050"/>
                  </a:cubicBezTo>
                  <a:cubicBezTo>
                    <a:pt x="924" y="1053"/>
                    <a:pt x="920" y="1046"/>
                    <a:pt x="905" y="1046"/>
                  </a:cubicBezTo>
                  <a:close/>
                  <a:moveTo>
                    <a:pt x="908" y="1139"/>
                  </a:moveTo>
                  <a:cubicBezTo>
                    <a:pt x="908" y="1140"/>
                    <a:pt x="908" y="1140"/>
                    <a:pt x="908" y="1140"/>
                  </a:cubicBezTo>
                  <a:cubicBezTo>
                    <a:pt x="909" y="1144"/>
                    <a:pt x="916" y="1138"/>
                    <a:pt x="919" y="1137"/>
                  </a:cubicBezTo>
                  <a:cubicBezTo>
                    <a:pt x="936" y="1132"/>
                    <a:pt x="904" y="1087"/>
                    <a:pt x="895" y="1086"/>
                  </a:cubicBezTo>
                  <a:cubicBezTo>
                    <a:pt x="887" y="1085"/>
                    <a:pt x="898" y="1098"/>
                    <a:pt x="900" y="1100"/>
                  </a:cubicBezTo>
                  <a:cubicBezTo>
                    <a:pt x="903" y="1102"/>
                    <a:pt x="906" y="1116"/>
                    <a:pt x="906" y="1118"/>
                  </a:cubicBezTo>
                  <a:cubicBezTo>
                    <a:pt x="905" y="1119"/>
                    <a:pt x="897" y="1115"/>
                    <a:pt x="897" y="1115"/>
                  </a:cubicBezTo>
                  <a:cubicBezTo>
                    <a:pt x="897" y="1117"/>
                    <a:pt x="900" y="1117"/>
                    <a:pt x="901" y="1118"/>
                  </a:cubicBezTo>
                  <a:cubicBezTo>
                    <a:pt x="904" y="1126"/>
                    <a:pt x="894" y="1116"/>
                    <a:pt x="892" y="1114"/>
                  </a:cubicBezTo>
                  <a:cubicBezTo>
                    <a:pt x="891" y="1113"/>
                    <a:pt x="890" y="1106"/>
                    <a:pt x="889" y="1107"/>
                  </a:cubicBezTo>
                  <a:cubicBezTo>
                    <a:pt x="876" y="1115"/>
                    <a:pt x="903" y="1123"/>
                    <a:pt x="904" y="1132"/>
                  </a:cubicBezTo>
                  <a:cubicBezTo>
                    <a:pt x="905" y="1134"/>
                    <a:pt x="907" y="1137"/>
                    <a:pt x="908" y="1139"/>
                  </a:cubicBezTo>
                  <a:close/>
                  <a:moveTo>
                    <a:pt x="900" y="1142"/>
                  </a:moveTo>
                  <a:cubicBezTo>
                    <a:pt x="899" y="1137"/>
                    <a:pt x="894" y="1131"/>
                    <a:pt x="889" y="1133"/>
                  </a:cubicBezTo>
                  <a:cubicBezTo>
                    <a:pt x="886" y="1134"/>
                    <a:pt x="885" y="1143"/>
                    <a:pt x="883" y="1142"/>
                  </a:cubicBezTo>
                  <a:cubicBezTo>
                    <a:pt x="880" y="1140"/>
                    <a:pt x="880" y="1127"/>
                    <a:pt x="879" y="1125"/>
                  </a:cubicBezTo>
                  <a:cubicBezTo>
                    <a:pt x="879" y="1125"/>
                    <a:pt x="879" y="1125"/>
                    <a:pt x="879" y="1125"/>
                  </a:cubicBezTo>
                  <a:cubicBezTo>
                    <a:pt x="876" y="1122"/>
                    <a:pt x="878" y="1121"/>
                    <a:pt x="873" y="1123"/>
                  </a:cubicBezTo>
                  <a:cubicBezTo>
                    <a:pt x="864" y="1129"/>
                    <a:pt x="868" y="1133"/>
                    <a:pt x="873" y="1139"/>
                  </a:cubicBezTo>
                  <a:cubicBezTo>
                    <a:pt x="873" y="1140"/>
                    <a:pt x="861" y="1136"/>
                    <a:pt x="863" y="1140"/>
                  </a:cubicBezTo>
                  <a:cubicBezTo>
                    <a:pt x="865" y="1144"/>
                    <a:pt x="870" y="1146"/>
                    <a:pt x="875" y="1145"/>
                  </a:cubicBezTo>
                  <a:cubicBezTo>
                    <a:pt x="880" y="1144"/>
                    <a:pt x="893" y="1150"/>
                    <a:pt x="892" y="1140"/>
                  </a:cubicBezTo>
                  <a:cubicBezTo>
                    <a:pt x="892" y="1134"/>
                    <a:pt x="901" y="1146"/>
                    <a:pt x="900" y="1142"/>
                  </a:cubicBezTo>
                  <a:close/>
                  <a:moveTo>
                    <a:pt x="818" y="1143"/>
                  </a:moveTo>
                  <a:cubicBezTo>
                    <a:pt x="817" y="1145"/>
                    <a:pt x="810" y="1144"/>
                    <a:pt x="810" y="1144"/>
                  </a:cubicBezTo>
                  <a:cubicBezTo>
                    <a:pt x="810" y="1152"/>
                    <a:pt x="851" y="1166"/>
                    <a:pt x="853" y="1164"/>
                  </a:cubicBezTo>
                  <a:cubicBezTo>
                    <a:pt x="858" y="1162"/>
                    <a:pt x="824" y="1139"/>
                    <a:pt x="824" y="1138"/>
                  </a:cubicBezTo>
                  <a:cubicBezTo>
                    <a:pt x="824" y="1137"/>
                    <a:pt x="820" y="1136"/>
                    <a:pt x="821" y="1135"/>
                  </a:cubicBezTo>
                  <a:cubicBezTo>
                    <a:pt x="821" y="1135"/>
                    <a:pt x="821" y="1132"/>
                    <a:pt x="822" y="1132"/>
                  </a:cubicBezTo>
                  <a:cubicBezTo>
                    <a:pt x="824" y="1130"/>
                    <a:pt x="825" y="1133"/>
                    <a:pt x="827" y="1130"/>
                  </a:cubicBezTo>
                  <a:cubicBezTo>
                    <a:pt x="829" y="1127"/>
                    <a:pt x="831" y="1127"/>
                    <a:pt x="832" y="1126"/>
                  </a:cubicBezTo>
                  <a:cubicBezTo>
                    <a:pt x="837" y="1120"/>
                    <a:pt x="828" y="1120"/>
                    <a:pt x="829" y="1112"/>
                  </a:cubicBezTo>
                  <a:cubicBezTo>
                    <a:pt x="830" y="1110"/>
                    <a:pt x="839" y="1117"/>
                    <a:pt x="840" y="1113"/>
                  </a:cubicBezTo>
                  <a:cubicBezTo>
                    <a:pt x="842" y="1105"/>
                    <a:pt x="830" y="1110"/>
                    <a:pt x="827" y="1109"/>
                  </a:cubicBezTo>
                  <a:cubicBezTo>
                    <a:pt x="826" y="1109"/>
                    <a:pt x="821" y="1105"/>
                    <a:pt x="822" y="1108"/>
                  </a:cubicBezTo>
                  <a:cubicBezTo>
                    <a:pt x="825" y="1122"/>
                    <a:pt x="816" y="1109"/>
                    <a:pt x="820" y="1105"/>
                  </a:cubicBezTo>
                  <a:cubicBezTo>
                    <a:pt x="823" y="1101"/>
                    <a:pt x="813" y="1102"/>
                    <a:pt x="818" y="1098"/>
                  </a:cubicBezTo>
                  <a:cubicBezTo>
                    <a:pt x="819" y="1096"/>
                    <a:pt x="823" y="1102"/>
                    <a:pt x="825" y="1097"/>
                  </a:cubicBezTo>
                  <a:cubicBezTo>
                    <a:pt x="826" y="1097"/>
                    <a:pt x="826" y="1097"/>
                    <a:pt x="826" y="1097"/>
                  </a:cubicBezTo>
                  <a:cubicBezTo>
                    <a:pt x="826" y="1095"/>
                    <a:pt x="822" y="1094"/>
                    <a:pt x="820" y="1095"/>
                  </a:cubicBezTo>
                  <a:cubicBezTo>
                    <a:pt x="805" y="1095"/>
                    <a:pt x="818" y="1107"/>
                    <a:pt x="813" y="1107"/>
                  </a:cubicBezTo>
                  <a:cubicBezTo>
                    <a:pt x="808" y="1107"/>
                    <a:pt x="798" y="1097"/>
                    <a:pt x="800" y="1102"/>
                  </a:cubicBezTo>
                  <a:cubicBezTo>
                    <a:pt x="802" y="1107"/>
                    <a:pt x="825" y="1117"/>
                    <a:pt x="825" y="1127"/>
                  </a:cubicBezTo>
                  <a:cubicBezTo>
                    <a:pt x="825" y="1128"/>
                    <a:pt x="819" y="1130"/>
                    <a:pt x="817" y="1130"/>
                  </a:cubicBezTo>
                  <a:cubicBezTo>
                    <a:pt x="804" y="1129"/>
                    <a:pt x="805" y="1117"/>
                    <a:pt x="796" y="1124"/>
                  </a:cubicBezTo>
                  <a:cubicBezTo>
                    <a:pt x="793" y="1127"/>
                    <a:pt x="804" y="1128"/>
                    <a:pt x="801" y="1133"/>
                  </a:cubicBezTo>
                  <a:cubicBezTo>
                    <a:pt x="799" y="1135"/>
                    <a:pt x="805" y="1139"/>
                    <a:pt x="808" y="1140"/>
                  </a:cubicBezTo>
                  <a:cubicBezTo>
                    <a:pt x="809" y="1141"/>
                    <a:pt x="819" y="1137"/>
                    <a:pt x="818" y="1143"/>
                  </a:cubicBezTo>
                  <a:close/>
                  <a:moveTo>
                    <a:pt x="778" y="1081"/>
                  </a:moveTo>
                  <a:cubicBezTo>
                    <a:pt x="786" y="1086"/>
                    <a:pt x="800" y="1080"/>
                    <a:pt x="799" y="1071"/>
                  </a:cubicBezTo>
                  <a:cubicBezTo>
                    <a:pt x="799" y="1071"/>
                    <a:pt x="792" y="1068"/>
                    <a:pt x="795" y="1067"/>
                  </a:cubicBezTo>
                  <a:cubicBezTo>
                    <a:pt x="796" y="1066"/>
                    <a:pt x="799" y="1065"/>
                    <a:pt x="795" y="1065"/>
                  </a:cubicBezTo>
                  <a:cubicBezTo>
                    <a:pt x="778" y="1062"/>
                    <a:pt x="798" y="1068"/>
                    <a:pt x="790" y="1070"/>
                  </a:cubicBezTo>
                  <a:cubicBezTo>
                    <a:pt x="787" y="1071"/>
                    <a:pt x="778" y="1060"/>
                    <a:pt x="771" y="1056"/>
                  </a:cubicBezTo>
                  <a:cubicBezTo>
                    <a:pt x="767" y="1054"/>
                    <a:pt x="745" y="1029"/>
                    <a:pt x="742" y="1031"/>
                  </a:cubicBezTo>
                  <a:cubicBezTo>
                    <a:pt x="741" y="1032"/>
                    <a:pt x="748" y="1038"/>
                    <a:pt x="749" y="1039"/>
                  </a:cubicBezTo>
                  <a:cubicBezTo>
                    <a:pt x="758" y="1045"/>
                    <a:pt x="757" y="1054"/>
                    <a:pt x="763" y="1061"/>
                  </a:cubicBezTo>
                  <a:cubicBezTo>
                    <a:pt x="764" y="1062"/>
                    <a:pt x="764" y="1062"/>
                    <a:pt x="764" y="1062"/>
                  </a:cubicBezTo>
                  <a:cubicBezTo>
                    <a:pt x="763" y="1064"/>
                    <a:pt x="771" y="1064"/>
                    <a:pt x="774" y="1063"/>
                  </a:cubicBezTo>
                  <a:cubicBezTo>
                    <a:pt x="778" y="1063"/>
                    <a:pt x="784" y="1071"/>
                    <a:pt x="787" y="1074"/>
                  </a:cubicBezTo>
                  <a:cubicBezTo>
                    <a:pt x="790" y="1076"/>
                    <a:pt x="775" y="1079"/>
                    <a:pt x="778" y="1081"/>
                  </a:cubicBezTo>
                  <a:close/>
                  <a:moveTo>
                    <a:pt x="737" y="919"/>
                  </a:moveTo>
                  <a:cubicBezTo>
                    <a:pt x="742" y="921"/>
                    <a:pt x="761" y="928"/>
                    <a:pt x="766" y="929"/>
                  </a:cubicBezTo>
                  <a:cubicBezTo>
                    <a:pt x="768" y="929"/>
                    <a:pt x="779" y="926"/>
                    <a:pt x="779" y="926"/>
                  </a:cubicBezTo>
                  <a:cubicBezTo>
                    <a:pt x="772" y="919"/>
                    <a:pt x="763" y="922"/>
                    <a:pt x="752" y="916"/>
                  </a:cubicBezTo>
                  <a:cubicBezTo>
                    <a:pt x="749" y="914"/>
                    <a:pt x="751" y="905"/>
                    <a:pt x="749" y="905"/>
                  </a:cubicBezTo>
                  <a:cubicBezTo>
                    <a:pt x="741" y="904"/>
                    <a:pt x="736" y="917"/>
                    <a:pt x="728" y="903"/>
                  </a:cubicBezTo>
                  <a:cubicBezTo>
                    <a:pt x="727" y="901"/>
                    <a:pt x="733" y="900"/>
                    <a:pt x="735" y="899"/>
                  </a:cubicBezTo>
                  <a:cubicBezTo>
                    <a:pt x="742" y="896"/>
                    <a:pt x="756" y="902"/>
                    <a:pt x="759" y="899"/>
                  </a:cubicBezTo>
                  <a:cubicBezTo>
                    <a:pt x="763" y="895"/>
                    <a:pt x="744" y="897"/>
                    <a:pt x="746" y="891"/>
                  </a:cubicBezTo>
                  <a:cubicBezTo>
                    <a:pt x="747" y="886"/>
                    <a:pt x="762" y="893"/>
                    <a:pt x="762" y="890"/>
                  </a:cubicBezTo>
                  <a:cubicBezTo>
                    <a:pt x="761" y="882"/>
                    <a:pt x="735" y="887"/>
                    <a:pt x="733" y="887"/>
                  </a:cubicBezTo>
                  <a:cubicBezTo>
                    <a:pt x="730" y="887"/>
                    <a:pt x="728" y="881"/>
                    <a:pt x="723" y="883"/>
                  </a:cubicBezTo>
                  <a:cubicBezTo>
                    <a:pt x="719" y="885"/>
                    <a:pt x="725" y="891"/>
                    <a:pt x="712" y="894"/>
                  </a:cubicBezTo>
                  <a:cubicBezTo>
                    <a:pt x="709" y="894"/>
                    <a:pt x="709" y="901"/>
                    <a:pt x="705" y="899"/>
                  </a:cubicBezTo>
                  <a:cubicBezTo>
                    <a:pt x="704" y="899"/>
                    <a:pt x="688" y="887"/>
                    <a:pt x="686" y="883"/>
                  </a:cubicBezTo>
                  <a:cubicBezTo>
                    <a:pt x="683" y="876"/>
                    <a:pt x="698" y="883"/>
                    <a:pt x="688" y="873"/>
                  </a:cubicBezTo>
                  <a:cubicBezTo>
                    <a:pt x="686" y="870"/>
                    <a:pt x="696" y="867"/>
                    <a:pt x="693" y="866"/>
                  </a:cubicBezTo>
                  <a:cubicBezTo>
                    <a:pt x="685" y="861"/>
                    <a:pt x="673" y="870"/>
                    <a:pt x="671" y="870"/>
                  </a:cubicBezTo>
                  <a:cubicBezTo>
                    <a:pt x="671" y="870"/>
                    <a:pt x="640" y="857"/>
                    <a:pt x="656" y="868"/>
                  </a:cubicBezTo>
                  <a:cubicBezTo>
                    <a:pt x="661" y="871"/>
                    <a:pt x="646" y="875"/>
                    <a:pt x="659" y="881"/>
                  </a:cubicBezTo>
                  <a:cubicBezTo>
                    <a:pt x="671" y="886"/>
                    <a:pt x="648" y="879"/>
                    <a:pt x="648" y="882"/>
                  </a:cubicBezTo>
                  <a:cubicBezTo>
                    <a:pt x="647" y="891"/>
                    <a:pt x="657" y="891"/>
                    <a:pt x="662" y="894"/>
                  </a:cubicBezTo>
                  <a:cubicBezTo>
                    <a:pt x="667" y="897"/>
                    <a:pt x="666" y="907"/>
                    <a:pt x="667" y="910"/>
                  </a:cubicBezTo>
                  <a:cubicBezTo>
                    <a:pt x="667" y="910"/>
                    <a:pt x="667" y="910"/>
                    <a:pt x="667" y="910"/>
                  </a:cubicBezTo>
                  <a:cubicBezTo>
                    <a:pt x="672" y="924"/>
                    <a:pt x="683" y="911"/>
                    <a:pt x="689" y="913"/>
                  </a:cubicBezTo>
                  <a:cubicBezTo>
                    <a:pt x="692" y="914"/>
                    <a:pt x="685" y="918"/>
                    <a:pt x="685" y="921"/>
                  </a:cubicBezTo>
                  <a:cubicBezTo>
                    <a:pt x="686" y="923"/>
                    <a:pt x="693" y="926"/>
                    <a:pt x="695" y="927"/>
                  </a:cubicBezTo>
                  <a:cubicBezTo>
                    <a:pt x="696" y="927"/>
                    <a:pt x="695" y="929"/>
                    <a:pt x="697" y="929"/>
                  </a:cubicBezTo>
                  <a:cubicBezTo>
                    <a:pt x="702" y="927"/>
                    <a:pt x="697" y="925"/>
                    <a:pt x="696" y="922"/>
                  </a:cubicBezTo>
                  <a:cubicBezTo>
                    <a:pt x="691" y="906"/>
                    <a:pt x="717" y="917"/>
                    <a:pt x="712" y="904"/>
                  </a:cubicBezTo>
                  <a:cubicBezTo>
                    <a:pt x="712" y="903"/>
                    <a:pt x="720" y="901"/>
                    <a:pt x="720" y="901"/>
                  </a:cubicBezTo>
                  <a:cubicBezTo>
                    <a:pt x="722" y="901"/>
                    <a:pt x="731" y="916"/>
                    <a:pt x="743" y="914"/>
                  </a:cubicBezTo>
                  <a:cubicBezTo>
                    <a:pt x="753" y="912"/>
                    <a:pt x="737" y="919"/>
                    <a:pt x="737" y="919"/>
                  </a:cubicBezTo>
                  <a:close/>
                  <a:moveTo>
                    <a:pt x="640" y="1069"/>
                  </a:moveTo>
                  <a:cubicBezTo>
                    <a:pt x="641" y="1064"/>
                    <a:pt x="649" y="1066"/>
                    <a:pt x="651" y="1064"/>
                  </a:cubicBezTo>
                  <a:cubicBezTo>
                    <a:pt x="651" y="1064"/>
                    <a:pt x="645" y="1056"/>
                    <a:pt x="648" y="1055"/>
                  </a:cubicBezTo>
                  <a:cubicBezTo>
                    <a:pt x="653" y="1052"/>
                    <a:pt x="643" y="1054"/>
                    <a:pt x="642" y="1053"/>
                  </a:cubicBezTo>
                  <a:cubicBezTo>
                    <a:pt x="634" y="1048"/>
                    <a:pt x="656" y="1046"/>
                    <a:pt x="636" y="1046"/>
                  </a:cubicBezTo>
                  <a:cubicBezTo>
                    <a:pt x="631" y="1046"/>
                    <a:pt x="630" y="1036"/>
                    <a:pt x="626" y="1037"/>
                  </a:cubicBezTo>
                  <a:cubicBezTo>
                    <a:pt x="606" y="1041"/>
                    <a:pt x="631" y="1054"/>
                    <a:pt x="636" y="1060"/>
                  </a:cubicBezTo>
                  <a:cubicBezTo>
                    <a:pt x="638" y="1062"/>
                    <a:pt x="639" y="1064"/>
                    <a:pt x="637" y="1065"/>
                  </a:cubicBezTo>
                  <a:cubicBezTo>
                    <a:pt x="637" y="1066"/>
                    <a:pt x="619" y="1069"/>
                    <a:pt x="612" y="1064"/>
                  </a:cubicBezTo>
                  <a:cubicBezTo>
                    <a:pt x="611" y="1063"/>
                    <a:pt x="606" y="1047"/>
                    <a:pt x="600" y="1053"/>
                  </a:cubicBezTo>
                  <a:cubicBezTo>
                    <a:pt x="596" y="1056"/>
                    <a:pt x="619" y="1072"/>
                    <a:pt x="620" y="1074"/>
                  </a:cubicBezTo>
                  <a:cubicBezTo>
                    <a:pt x="631" y="1086"/>
                    <a:pt x="616" y="1090"/>
                    <a:pt x="634" y="1099"/>
                  </a:cubicBezTo>
                  <a:cubicBezTo>
                    <a:pt x="635" y="1100"/>
                    <a:pt x="635" y="1100"/>
                    <a:pt x="635" y="1100"/>
                  </a:cubicBezTo>
                  <a:cubicBezTo>
                    <a:pt x="653" y="1103"/>
                    <a:pt x="628" y="1086"/>
                    <a:pt x="630" y="1081"/>
                  </a:cubicBezTo>
                  <a:cubicBezTo>
                    <a:pt x="631" y="1078"/>
                    <a:pt x="636" y="1082"/>
                    <a:pt x="639" y="1079"/>
                  </a:cubicBezTo>
                  <a:cubicBezTo>
                    <a:pt x="640" y="1078"/>
                    <a:pt x="639" y="1071"/>
                    <a:pt x="640" y="1069"/>
                  </a:cubicBezTo>
                  <a:close/>
                  <a:moveTo>
                    <a:pt x="663" y="613"/>
                  </a:moveTo>
                  <a:cubicBezTo>
                    <a:pt x="664" y="612"/>
                    <a:pt x="659" y="609"/>
                    <a:pt x="658" y="610"/>
                  </a:cubicBezTo>
                  <a:cubicBezTo>
                    <a:pt x="648" y="613"/>
                    <a:pt x="660" y="618"/>
                    <a:pt x="661" y="620"/>
                  </a:cubicBezTo>
                  <a:cubicBezTo>
                    <a:pt x="670" y="631"/>
                    <a:pt x="657" y="625"/>
                    <a:pt x="660" y="634"/>
                  </a:cubicBezTo>
                  <a:cubicBezTo>
                    <a:pt x="661" y="636"/>
                    <a:pt x="670" y="631"/>
                    <a:pt x="668" y="629"/>
                  </a:cubicBezTo>
                  <a:cubicBezTo>
                    <a:pt x="667" y="629"/>
                    <a:pt x="667" y="628"/>
                    <a:pt x="668" y="627"/>
                  </a:cubicBezTo>
                  <a:cubicBezTo>
                    <a:pt x="685" y="620"/>
                    <a:pt x="680" y="643"/>
                    <a:pt x="681" y="645"/>
                  </a:cubicBezTo>
                  <a:cubicBezTo>
                    <a:pt x="681" y="646"/>
                    <a:pt x="681" y="646"/>
                    <a:pt x="681" y="646"/>
                  </a:cubicBezTo>
                  <a:cubicBezTo>
                    <a:pt x="687" y="647"/>
                    <a:pt x="695" y="650"/>
                    <a:pt x="690" y="644"/>
                  </a:cubicBezTo>
                  <a:cubicBezTo>
                    <a:pt x="688" y="640"/>
                    <a:pt x="699" y="632"/>
                    <a:pt x="691" y="627"/>
                  </a:cubicBezTo>
                  <a:cubicBezTo>
                    <a:pt x="689" y="626"/>
                    <a:pt x="658" y="620"/>
                    <a:pt x="663" y="613"/>
                  </a:cubicBezTo>
                  <a:close/>
                  <a:moveTo>
                    <a:pt x="700" y="562"/>
                  </a:moveTo>
                  <a:cubicBezTo>
                    <a:pt x="700" y="562"/>
                    <a:pt x="682" y="557"/>
                    <a:pt x="691" y="562"/>
                  </a:cubicBezTo>
                  <a:cubicBezTo>
                    <a:pt x="692" y="563"/>
                    <a:pt x="694" y="563"/>
                    <a:pt x="695" y="564"/>
                  </a:cubicBezTo>
                  <a:cubicBezTo>
                    <a:pt x="695" y="564"/>
                    <a:pt x="695" y="564"/>
                    <a:pt x="695" y="564"/>
                  </a:cubicBezTo>
                  <a:cubicBezTo>
                    <a:pt x="716" y="574"/>
                    <a:pt x="701" y="556"/>
                    <a:pt x="717" y="549"/>
                  </a:cubicBezTo>
                  <a:cubicBezTo>
                    <a:pt x="725" y="546"/>
                    <a:pt x="738" y="560"/>
                    <a:pt x="746" y="561"/>
                  </a:cubicBezTo>
                  <a:cubicBezTo>
                    <a:pt x="748" y="561"/>
                    <a:pt x="743" y="553"/>
                    <a:pt x="752" y="552"/>
                  </a:cubicBezTo>
                  <a:cubicBezTo>
                    <a:pt x="757" y="552"/>
                    <a:pt x="759" y="548"/>
                    <a:pt x="758" y="543"/>
                  </a:cubicBezTo>
                  <a:cubicBezTo>
                    <a:pt x="757" y="540"/>
                    <a:pt x="751" y="551"/>
                    <a:pt x="751" y="551"/>
                  </a:cubicBezTo>
                  <a:cubicBezTo>
                    <a:pt x="742" y="552"/>
                    <a:pt x="737" y="555"/>
                    <a:pt x="726" y="547"/>
                  </a:cubicBezTo>
                  <a:cubicBezTo>
                    <a:pt x="723" y="545"/>
                    <a:pt x="735" y="543"/>
                    <a:pt x="733" y="540"/>
                  </a:cubicBezTo>
                  <a:cubicBezTo>
                    <a:pt x="730" y="536"/>
                    <a:pt x="713" y="530"/>
                    <a:pt x="713" y="530"/>
                  </a:cubicBezTo>
                  <a:cubicBezTo>
                    <a:pt x="710" y="532"/>
                    <a:pt x="708" y="522"/>
                    <a:pt x="705" y="524"/>
                  </a:cubicBezTo>
                  <a:cubicBezTo>
                    <a:pt x="699" y="529"/>
                    <a:pt x="718" y="537"/>
                    <a:pt x="718" y="538"/>
                  </a:cubicBezTo>
                  <a:cubicBezTo>
                    <a:pt x="719" y="540"/>
                    <a:pt x="719" y="546"/>
                    <a:pt x="717" y="547"/>
                  </a:cubicBezTo>
                  <a:cubicBezTo>
                    <a:pt x="713" y="548"/>
                    <a:pt x="713" y="544"/>
                    <a:pt x="712" y="542"/>
                  </a:cubicBezTo>
                  <a:cubicBezTo>
                    <a:pt x="712" y="540"/>
                    <a:pt x="702" y="547"/>
                    <a:pt x="700" y="554"/>
                  </a:cubicBezTo>
                  <a:cubicBezTo>
                    <a:pt x="699" y="557"/>
                    <a:pt x="703" y="561"/>
                    <a:pt x="700" y="562"/>
                  </a:cubicBezTo>
                  <a:close/>
                  <a:moveTo>
                    <a:pt x="765" y="592"/>
                  </a:moveTo>
                  <a:cubicBezTo>
                    <a:pt x="760" y="596"/>
                    <a:pt x="740" y="575"/>
                    <a:pt x="737" y="585"/>
                  </a:cubicBezTo>
                  <a:cubicBezTo>
                    <a:pt x="736" y="589"/>
                    <a:pt x="745" y="591"/>
                    <a:pt x="748" y="590"/>
                  </a:cubicBezTo>
                  <a:cubicBezTo>
                    <a:pt x="751" y="590"/>
                    <a:pt x="755" y="593"/>
                    <a:pt x="759" y="594"/>
                  </a:cubicBezTo>
                  <a:cubicBezTo>
                    <a:pt x="773" y="596"/>
                    <a:pt x="754" y="599"/>
                    <a:pt x="751" y="601"/>
                  </a:cubicBezTo>
                  <a:cubicBezTo>
                    <a:pt x="750" y="601"/>
                    <a:pt x="750" y="602"/>
                    <a:pt x="749" y="602"/>
                  </a:cubicBezTo>
                  <a:cubicBezTo>
                    <a:pt x="748" y="603"/>
                    <a:pt x="748" y="603"/>
                    <a:pt x="748" y="603"/>
                  </a:cubicBezTo>
                  <a:cubicBezTo>
                    <a:pt x="747" y="604"/>
                    <a:pt x="748" y="604"/>
                    <a:pt x="750" y="604"/>
                  </a:cubicBezTo>
                  <a:cubicBezTo>
                    <a:pt x="751" y="605"/>
                    <a:pt x="771" y="613"/>
                    <a:pt x="773" y="611"/>
                  </a:cubicBezTo>
                  <a:cubicBezTo>
                    <a:pt x="787" y="605"/>
                    <a:pt x="764" y="605"/>
                    <a:pt x="766" y="602"/>
                  </a:cubicBezTo>
                  <a:cubicBezTo>
                    <a:pt x="767" y="600"/>
                    <a:pt x="779" y="600"/>
                    <a:pt x="771" y="597"/>
                  </a:cubicBezTo>
                  <a:cubicBezTo>
                    <a:pt x="770" y="597"/>
                    <a:pt x="766" y="597"/>
                    <a:pt x="766" y="596"/>
                  </a:cubicBezTo>
                  <a:cubicBezTo>
                    <a:pt x="766" y="591"/>
                    <a:pt x="784" y="596"/>
                    <a:pt x="780" y="594"/>
                  </a:cubicBezTo>
                  <a:cubicBezTo>
                    <a:pt x="779" y="593"/>
                    <a:pt x="777" y="591"/>
                    <a:pt x="776" y="590"/>
                  </a:cubicBezTo>
                  <a:cubicBezTo>
                    <a:pt x="775" y="587"/>
                    <a:pt x="769" y="577"/>
                    <a:pt x="767" y="583"/>
                  </a:cubicBezTo>
                  <a:cubicBezTo>
                    <a:pt x="766" y="586"/>
                    <a:pt x="759" y="582"/>
                    <a:pt x="759" y="584"/>
                  </a:cubicBezTo>
                  <a:cubicBezTo>
                    <a:pt x="758" y="585"/>
                    <a:pt x="768" y="590"/>
                    <a:pt x="765" y="592"/>
                  </a:cubicBezTo>
                  <a:close/>
                  <a:moveTo>
                    <a:pt x="741" y="759"/>
                  </a:moveTo>
                  <a:cubicBezTo>
                    <a:pt x="741" y="759"/>
                    <a:pt x="741" y="759"/>
                    <a:pt x="741" y="759"/>
                  </a:cubicBezTo>
                  <a:cubicBezTo>
                    <a:pt x="741" y="759"/>
                    <a:pt x="741" y="759"/>
                    <a:pt x="741" y="759"/>
                  </a:cubicBezTo>
                  <a:cubicBezTo>
                    <a:pt x="741" y="759"/>
                    <a:pt x="741" y="759"/>
                    <a:pt x="741" y="759"/>
                  </a:cubicBezTo>
                  <a:cubicBezTo>
                    <a:pt x="742" y="760"/>
                    <a:pt x="759" y="749"/>
                    <a:pt x="759" y="746"/>
                  </a:cubicBezTo>
                  <a:cubicBezTo>
                    <a:pt x="760" y="745"/>
                    <a:pt x="753" y="745"/>
                    <a:pt x="752" y="745"/>
                  </a:cubicBezTo>
                  <a:cubicBezTo>
                    <a:pt x="744" y="749"/>
                    <a:pt x="745" y="752"/>
                    <a:pt x="741" y="759"/>
                  </a:cubicBezTo>
                  <a:close/>
                  <a:moveTo>
                    <a:pt x="696" y="760"/>
                  </a:moveTo>
                  <a:cubicBezTo>
                    <a:pt x="696" y="760"/>
                    <a:pt x="696" y="760"/>
                    <a:pt x="696" y="760"/>
                  </a:cubicBezTo>
                  <a:cubicBezTo>
                    <a:pt x="697" y="757"/>
                    <a:pt x="702" y="740"/>
                    <a:pt x="689" y="744"/>
                  </a:cubicBezTo>
                  <a:cubicBezTo>
                    <a:pt x="688" y="744"/>
                    <a:pt x="693" y="755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lose/>
                  <a:moveTo>
                    <a:pt x="784" y="924"/>
                  </a:moveTo>
                  <a:cubicBezTo>
                    <a:pt x="785" y="926"/>
                    <a:pt x="792" y="943"/>
                    <a:pt x="793" y="945"/>
                  </a:cubicBezTo>
                  <a:cubicBezTo>
                    <a:pt x="793" y="945"/>
                    <a:pt x="793" y="945"/>
                    <a:pt x="793" y="945"/>
                  </a:cubicBezTo>
                  <a:cubicBezTo>
                    <a:pt x="795" y="949"/>
                    <a:pt x="792" y="935"/>
                    <a:pt x="796" y="933"/>
                  </a:cubicBezTo>
                  <a:cubicBezTo>
                    <a:pt x="797" y="932"/>
                    <a:pt x="798" y="933"/>
                    <a:pt x="799" y="933"/>
                  </a:cubicBezTo>
                  <a:cubicBezTo>
                    <a:pt x="808" y="942"/>
                    <a:pt x="805" y="931"/>
                    <a:pt x="796" y="930"/>
                  </a:cubicBezTo>
                  <a:cubicBezTo>
                    <a:pt x="791" y="929"/>
                    <a:pt x="794" y="926"/>
                    <a:pt x="796" y="924"/>
                  </a:cubicBezTo>
                  <a:cubicBezTo>
                    <a:pt x="796" y="923"/>
                    <a:pt x="795" y="921"/>
                    <a:pt x="796" y="921"/>
                  </a:cubicBezTo>
                  <a:cubicBezTo>
                    <a:pt x="797" y="920"/>
                    <a:pt x="802" y="925"/>
                    <a:pt x="803" y="926"/>
                  </a:cubicBezTo>
                  <a:cubicBezTo>
                    <a:pt x="804" y="926"/>
                    <a:pt x="808" y="927"/>
                    <a:pt x="809" y="929"/>
                  </a:cubicBezTo>
                  <a:cubicBezTo>
                    <a:pt x="810" y="931"/>
                    <a:pt x="804" y="930"/>
                    <a:pt x="805" y="932"/>
                  </a:cubicBezTo>
                  <a:cubicBezTo>
                    <a:pt x="814" y="941"/>
                    <a:pt x="843" y="932"/>
                    <a:pt x="852" y="931"/>
                  </a:cubicBezTo>
                  <a:cubicBezTo>
                    <a:pt x="857" y="931"/>
                    <a:pt x="856" y="940"/>
                    <a:pt x="864" y="940"/>
                  </a:cubicBezTo>
                  <a:cubicBezTo>
                    <a:pt x="865" y="940"/>
                    <a:pt x="865" y="940"/>
                    <a:pt x="865" y="940"/>
                  </a:cubicBezTo>
                  <a:cubicBezTo>
                    <a:pt x="869" y="938"/>
                    <a:pt x="857" y="935"/>
                    <a:pt x="860" y="934"/>
                  </a:cubicBezTo>
                  <a:cubicBezTo>
                    <a:pt x="866" y="930"/>
                    <a:pt x="875" y="928"/>
                    <a:pt x="881" y="929"/>
                  </a:cubicBezTo>
                  <a:cubicBezTo>
                    <a:pt x="882" y="929"/>
                    <a:pt x="889" y="933"/>
                    <a:pt x="889" y="932"/>
                  </a:cubicBezTo>
                  <a:cubicBezTo>
                    <a:pt x="888" y="928"/>
                    <a:pt x="865" y="918"/>
                    <a:pt x="862" y="918"/>
                  </a:cubicBezTo>
                  <a:cubicBezTo>
                    <a:pt x="855" y="919"/>
                    <a:pt x="830" y="942"/>
                    <a:pt x="817" y="929"/>
                  </a:cubicBezTo>
                  <a:cubicBezTo>
                    <a:pt x="815" y="928"/>
                    <a:pt x="808" y="925"/>
                    <a:pt x="811" y="925"/>
                  </a:cubicBezTo>
                  <a:cubicBezTo>
                    <a:pt x="821" y="923"/>
                    <a:pt x="780" y="916"/>
                    <a:pt x="791" y="924"/>
                  </a:cubicBezTo>
                  <a:cubicBezTo>
                    <a:pt x="795" y="927"/>
                    <a:pt x="783" y="923"/>
                    <a:pt x="784" y="924"/>
                  </a:cubicBezTo>
                  <a:close/>
                  <a:moveTo>
                    <a:pt x="795" y="677"/>
                  </a:moveTo>
                  <a:cubicBezTo>
                    <a:pt x="796" y="678"/>
                    <a:pt x="808" y="681"/>
                    <a:pt x="808" y="680"/>
                  </a:cubicBezTo>
                  <a:cubicBezTo>
                    <a:pt x="807" y="670"/>
                    <a:pt x="795" y="656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lose/>
                  <a:moveTo>
                    <a:pt x="873" y="689"/>
                  </a:moveTo>
                  <a:cubicBezTo>
                    <a:pt x="863" y="680"/>
                    <a:pt x="857" y="702"/>
                    <a:pt x="850" y="707"/>
                  </a:cubicBezTo>
                  <a:cubicBezTo>
                    <a:pt x="849" y="707"/>
                    <a:pt x="849" y="707"/>
                    <a:pt x="849" y="707"/>
                  </a:cubicBezTo>
                  <a:cubicBezTo>
                    <a:pt x="824" y="711"/>
                    <a:pt x="870" y="709"/>
                    <a:pt x="871" y="702"/>
                  </a:cubicBezTo>
                  <a:cubicBezTo>
                    <a:pt x="872" y="702"/>
                    <a:pt x="864" y="698"/>
                    <a:pt x="864" y="697"/>
                  </a:cubicBezTo>
                  <a:cubicBezTo>
                    <a:pt x="861" y="691"/>
                    <a:pt x="878" y="693"/>
                    <a:pt x="873" y="689"/>
                  </a:cubicBezTo>
                  <a:close/>
                  <a:moveTo>
                    <a:pt x="837" y="810"/>
                  </a:moveTo>
                  <a:cubicBezTo>
                    <a:pt x="838" y="811"/>
                    <a:pt x="838" y="811"/>
                    <a:pt x="838" y="811"/>
                  </a:cubicBezTo>
                  <a:cubicBezTo>
                    <a:pt x="848" y="811"/>
                    <a:pt x="887" y="829"/>
                    <a:pt x="858" y="816"/>
                  </a:cubicBezTo>
                  <a:cubicBezTo>
                    <a:pt x="856" y="815"/>
                    <a:pt x="854" y="813"/>
                    <a:pt x="855" y="810"/>
                  </a:cubicBezTo>
                  <a:cubicBezTo>
                    <a:pt x="857" y="804"/>
                    <a:pt x="859" y="812"/>
                    <a:pt x="862" y="808"/>
                  </a:cubicBezTo>
                  <a:cubicBezTo>
                    <a:pt x="864" y="807"/>
                    <a:pt x="859" y="807"/>
                    <a:pt x="859" y="807"/>
                  </a:cubicBezTo>
                  <a:cubicBezTo>
                    <a:pt x="858" y="806"/>
                    <a:pt x="858" y="802"/>
                    <a:pt x="861" y="792"/>
                  </a:cubicBezTo>
                  <a:cubicBezTo>
                    <a:pt x="861" y="791"/>
                    <a:pt x="863" y="791"/>
                    <a:pt x="864" y="791"/>
                  </a:cubicBezTo>
                  <a:cubicBezTo>
                    <a:pt x="865" y="791"/>
                    <a:pt x="872" y="792"/>
                    <a:pt x="871" y="791"/>
                  </a:cubicBezTo>
                  <a:cubicBezTo>
                    <a:pt x="871" y="790"/>
                    <a:pt x="866" y="790"/>
                    <a:pt x="867" y="788"/>
                  </a:cubicBezTo>
                  <a:cubicBezTo>
                    <a:pt x="868" y="784"/>
                    <a:pt x="878" y="786"/>
                    <a:pt x="881" y="784"/>
                  </a:cubicBezTo>
                  <a:cubicBezTo>
                    <a:pt x="885" y="782"/>
                    <a:pt x="880" y="774"/>
                    <a:pt x="886" y="769"/>
                  </a:cubicBezTo>
                  <a:cubicBezTo>
                    <a:pt x="888" y="767"/>
                    <a:pt x="899" y="764"/>
                    <a:pt x="898" y="764"/>
                  </a:cubicBezTo>
                  <a:cubicBezTo>
                    <a:pt x="880" y="755"/>
                    <a:pt x="883" y="782"/>
                    <a:pt x="873" y="783"/>
                  </a:cubicBezTo>
                  <a:cubicBezTo>
                    <a:pt x="854" y="786"/>
                    <a:pt x="866" y="763"/>
                    <a:pt x="865" y="763"/>
                  </a:cubicBezTo>
                  <a:cubicBezTo>
                    <a:pt x="848" y="763"/>
                    <a:pt x="861" y="798"/>
                    <a:pt x="854" y="804"/>
                  </a:cubicBezTo>
                  <a:cubicBezTo>
                    <a:pt x="843" y="814"/>
                    <a:pt x="834" y="800"/>
                    <a:pt x="837" y="810"/>
                  </a:cubicBezTo>
                  <a:close/>
                  <a:moveTo>
                    <a:pt x="877" y="828"/>
                  </a:moveTo>
                  <a:cubicBezTo>
                    <a:pt x="877" y="828"/>
                    <a:pt x="865" y="825"/>
                    <a:pt x="865" y="828"/>
                  </a:cubicBezTo>
                  <a:cubicBezTo>
                    <a:pt x="866" y="830"/>
                    <a:pt x="898" y="842"/>
                    <a:pt x="903" y="846"/>
                  </a:cubicBezTo>
                  <a:cubicBezTo>
                    <a:pt x="903" y="846"/>
                    <a:pt x="903" y="846"/>
                    <a:pt x="903" y="846"/>
                  </a:cubicBezTo>
                  <a:cubicBezTo>
                    <a:pt x="916" y="843"/>
                    <a:pt x="888" y="830"/>
                    <a:pt x="877" y="828"/>
                  </a:cubicBezTo>
                  <a:close/>
                  <a:moveTo>
                    <a:pt x="867" y="645"/>
                  </a:moveTo>
                  <a:cubicBezTo>
                    <a:pt x="865" y="645"/>
                    <a:pt x="865" y="645"/>
                    <a:pt x="865" y="645"/>
                  </a:cubicBezTo>
                  <a:cubicBezTo>
                    <a:pt x="860" y="645"/>
                    <a:pt x="871" y="650"/>
                    <a:pt x="868" y="651"/>
                  </a:cubicBezTo>
                  <a:cubicBezTo>
                    <a:pt x="856" y="654"/>
                    <a:pt x="894" y="663"/>
                    <a:pt x="904" y="659"/>
                  </a:cubicBezTo>
                  <a:cubicBezTo>
                    <a:pt x="909" y="657"/>
                    <a:pt x="888" y="653"/>
                    <a:pt x="899" y="654"/>
                  </a:cubicBezTo>
                  <a:cubicBezTo>
                    <a:pt x="906" y="655"/>
                    <a:pt x="919" y="653"/>
                    <a:pt x="924" y="657"/>
                  </a:cubicBezTo>
                  <a:cubicBezTo>
                    <a:pt x="928" y="659"/>
                    <a:pt x="941" y="662"/>
                    <a:pt x="938" y="659"/>
                  </a:cubicBezTo>
                  <a:cubicBezTo>
                    <a:pt x="932" y="655"/>
                    <a:pt x="920" y="652"/>
                    <a:pt x="914" y="650"/>
                  </a:cubicBezTo>
                  <a:cubicBezTo>
                    <a:pt x="911" y="649"/>
                    <a:pt x="906" y="648"/>
                    <a:pt x="904" y="646"/>
                  </a:cubicBezTo>
                  <a:cubicBezTo>
                    <a:pt x="904" y="645"/>
                    <a:pt x="912" y="647"/>
                    <a:pt x="913" y="647"/>
                  </a:cubicBezTo>
                  <a:cubicBezTo>
                    <a:pt x="920" y="648"/>
                    <a:pt x="900" y="642"/>
                    <a:pt x="917" y="644"/>
                  </a:cubicBezTo>
                  <a:cubicBezTo>
                    <a:pt x="918" y="644"/>
                    <a:pt x="922" y="645"/>
                    <a:pt x="922" y="643"/>
                  </a:cubicBezTo>
                  <a:cubicBezTo>
                    <a:pt x="914" y="624"/>
                    <a:pt x="890" y="656"/>
                    <a:pt x="889" y="656"/>
                  </a:cubicBezTo>
                  <a:cubicBezTo>
                    <a:pt x="883" y="657"/>
                    <a:pt x="876" y="649"/>
                    <a:pt x="867" y="645"/>
                  </a:cubicBezTo>
                  <a:close/>
                  <a:moveTo>
                    <a:pt x="776" y="633"/>
                  </a:moveTo>
                  <a:cubicBezTo>
                    <a:pt x="775" y="633"/>
                    <a:pt x="774" y="633"/>
                    <a:pt x="773" y="633"/>
                  </a:cubicBezTo>
                  <a:cubicBezTo>
                    <a:pt x="768" y="631"/>
                    <a:pt x="775" y="624"/>
                    <a:pt x="771" y="620"/>
                  </a:cubicBezTo>
                  <a:cubicBezTo>
                    <a:pt x="766" y="615"/>
                    <a:pt x="759" y="619"/>
                    <a:pt x="754" y="615"/>
                  </a:cubicBezTo>
                  <a:cubicBezTo>
                    <a:pt x="750" y="611"/>
                    <a:pt x="745" y="615"/>
                    <a:pt x="753" y="619"/>
                  </a:cubicBezTo>
                  <a:cubicBezTo>
                    <a:pt x="755" y="619"/>
                    <a:pt x="755" y="619"/>
                    <a:pt x="755" y="619"/>
                  </a:cubicBezTo>
                  <a:cubicBezTo>
                    <a:pt x="771" y="626"/>
                    <a:pt x="757" y="638"/>
                    <a:pt x="773" y="638"/>
                  </a:cubicBezTo>
                  <a:cubicBezTo>
                    <a:pt x="790" y="638"/>
                    <a:pt x="804" y="637"/>
                    <a:pt x="818" y="633"/>
                  </a:cubicBezTo>
                  <a:cubicBezTo>
                    <a:pt x="819" y="632"/>
                    <a:pt x="824" y="628"/>
                    <a:pt x="824" y="628"/>
                  </a:cubicBezTo>
                  <a:cubicBezTo>
                    <a:pt x="821" y="626"/>
                    <a:pt x="796" y="634"/>
                    <a:pt x="799" y="631"/>
                  </a:cubicBezTo>
                  <a:cubicBezTo>
                    <a:pt x="809" y="623"/>
                    <a:pt x="819" y="629"/>
                    <a:pt x="823" y="625"/>
                  </a:cubicBezTo>
                  <a:cubicBezTo>
                    <a:pt x="828" y="621"/>
                    <a:pt x="842" y="607"/>
                    <a:pt x="844" y="605"/>
                  </a:cubicBezTo>
                  <a:cubicBezTo>
                    <a:pt x="848" y="603"/>
                    <a:pt x="854" y="609"/>
                    <a:pt x="858" y="605"/>
                  </a:cubicBezTo>
                  <a:cubicBezTo>
                    <a:pt x="859" y="604"/>
                    <a:pt x="842" y="603"/>
                    <a:pt x="848" y="599"/>
                  </a:cubicBezTo>
                  <a:cubicBezTo>
                    <a:pt x="849" y="598"/>
                    <a:pt x="857" y="597"/>
                    <a:pt x="857" y="597"/>
                  </a:cubicBezTo>
                  <a:cubicBezTo>
                    <a:pt x="860" y="598"/>
                    <a:pt x="867" y="598"/>
                    <a:pt x="865" y="596"/>
                  </a:cubicBezTo>
                  <a:cubicBezTo>
                    <a:pt x="864" y="595"/>
                    <a:pt x="846" y="592"/>
                    <a:pt x="844" y="593"/>
                  </a:cubicBezTo>
                  <a:cubicBezTo>
                    <a:pt x="842" y="593"/>
                    <a:pt x="851" y="600"/>
                    <a:pt x="844" y="599"/>
                  </a:cubicBezTo>
                  <a:cubicBezTo>
                    <a:pt x="841" y="598"/>
                    <a:pt x="835" y="587"/>
                    <a:pt x="831" y="590"/>
                  </a:cubicBezTo>
                  <a:cubicBezTo>
                    <a:pt x="829" y="591"/>
                    <a:pt x="826" y="589"/>
                    <a:pt x="824" y="590"/>
                  </a:cubicBezTo>
                  <a:cubicBezTo>
                    <a:pt x="822" y="592"/>
                    <a:pt x="828" y="595"/>
                    <a:pt x="829" y="595"/>
                  </a:cubicBezTo>
                  <a:cubicBezTo>
                    <a:pt x="836" y="600"/>
                    <a:pt x="834" y="600"/>
                    <a:pt x="835" y="605"/>
                  </a:cubicBezTo>
                  <a:cubicBezTo>
                    <a:pt x="836" y="609"/>
                    <a:pt x="828" y="611"/>
                    <a:pt x="824" y="610"/>
                  </a:cubicBezTo>
                  <a:cubicBezTo>
                    <a:pt x="819" y="609"/>
                    <a:pt x="804" y="614"/>
                    <a:pt x="809" y="615"/>
                  </a:cubicBezTo>
                  <a:cubicBezTo>
                    <a:pt x="811" y="616"/>
                    <a:pt x="816" y="617"/>
                    <a:pt x="815" y="619"/>
                  </a:cubicBezTo>
                  <a:cubicBezTo>
                    <a:pt x="815" y="620"/>
                    <a:pt x="779" y="633"/>
                    <a:pt x="776" y="633"/>
                  </a:cubicBezTo>
                  <a:close/>
                  <a:moveTo>
                    <a:pt x="697" y="196"/>
                  </a:moveTo>
                  <a:cubicBezTo>
                    <a:pt x="698" y="191"/>
                    <a:pt x="688" y="183"/>
                    <a:pt x="704" y="195"/>
                  </a:cubicBezTo>
                  <a:cubicBezTo>
                    <a:pt x="705" y="196"/>
                    <a:pt x="707" y="198"/>
                    <a:pt x="709" y="199"/>
                  </a:cubicBezTo>
                  <a:cubicBezTo>
                    <a:pt x="708" y="201"/>
                    <a:pt x="712" y="204"/>
                    <a:pt x="713" y="205"/>
                  </a:cubicBezTo>
                  <a:cubicBezTo>
                    <a:pt x="716" y="206"/>
                    <a:pt x="713" y="202"/>
                    <a:pt x="709" y="199"/>
                  </a:cubicBezTo>
                  <a:cubicBezTo>
                    <a:pt x="709" y="199"/>
                    <a:pt x="709" y="199"/>
                    <a:pt x="709" y="198"/>
                  </a:cubicBezTo>
                  <a:cubicBezTo>
                    <a:pt x="710" y="198"/>
                    <a:pt x="713" y="195"/>
                    <a:pt x="714" y="197"/>
                  </a:cubicBezTo>
                  <a:cubicBezTo>
                    <a:pt x="717" y="200"/>
                    <a:pt x="723" y="203"/>
                    <a:pt x="722" y="207"/>
                  </a:cubicBezTo>
                  <a:cubicBezTo>
                    <a:pt x="721" y="210"/>
                    <a:pt x="694" y="209"/>
                    <a:pt x="690" y="218"/>
                  </a:cubicBezTo>
                  <a:cubicBezTo>
                    <a:pt x="689" y="219"/>
                    <a:pt x="695" y="219"/>
                    <a:pt x="696" y="220"/>
                  </a:cubicBezTo>
                  <a:cubicBezTo>
                    <a:pt x="707" y="224"/>
                    <a:pt x="694" y="216"/>
                    <a:pt x="701" y="214"/>
                  </a:cubicBezTo>
                  <a:cubicBezTo>
                    <a:pt x="702" y="214"/>
                    <a:pt x="710" y="216"/>
                    <a:pt x="710" y="215"/>
                  </a:cubicBezTo>
                  <a:cubicBezTo>
                    <a:pt x="711" y="212"/>
                    <a:pt x="730" y="214"/>
                    <a:pt x="731" y="216"/>
                  </a:cubicBezTo>
                  <a:cubicBezTo>
                    <a:pt x="733" y="218"/>
                    <a:pt x="727" y="221"/>
                    <a:pt x="727" y="222"/>
                  </a:cubicBezTo>
                  <a:cubicBezTo>
                    <a:pt x="729" y="225"/>
                    <a:pt x="735" y="219"/>
                    <a:pt x="734" y="216"/>
                  </a:cubicBezTo>
                  <a:cubicBezTo>
                    <a:pt x="730" y="205"/>
                    <a:pt x="745" y="197"/>
                    <a:pt x="752" y="207"/>
                  </a:cubicBezTo>
                  <a:cubicBezTo>
                    <a:pt x="755" y="211"/>
                    <a:pt x="738" y="217"/>
                    <a:pt x="738" y="219"/>
                  </a:cubicBezTo>
                  <a:cubicBezTo>
                    <a:pt x="738" y="220"/>
                    <a:pt x="769" y="208"/>
                    <a:pt x="770" y="204"/>
                  </a:cubicBezTo>
                  <a:cubicBezTo>
                    <a:pt x="771" y="202"/>
                    <a:pt x="763" y="198"/>
                    <a:pt x="761" y="199"/>
                  </a:cubicBezTo>
                  <a:cubicBezTo>
                    <a:pt x="760" y="200"/>
                    <a:pt x="763" y="201"/>
                    <a:pt x="763" y="201"/>
                  </a:cubicBezTo>
                  <a:cubicBezTo>
                    <a:pt x="768" y="204"/>
                    <a:pt x="761" y="207"/>
                    <a:pt x="757" y="205"/>
                  </a:cubicBezTo>
                  <a:cubicBezTo>
                    <a:pt x="752" y="202"/>
                    <a:pt x="747" y="194"/>
                    <a:pt x="749" y="192"/>
                  </a:cubicBezTo>
                  <a:cubicBezTo>
                    <a:pt x="758" y="186"/>
                    <a:pt x="787" y="209"/>
                    <a:pt x="795" y="197"/>
                  </a:cubicBezTo>
                  <a:cubicBezTo>
                    <a:pt x="796" y="195"/>
                    <a:pt x="792" y="196"/>
                    <a:pt x="791" y="196"/>
                  </a:cubicBezTo>
                  <a:cubicBezTo>
                    <a:pt x="785" y="196"/>
                    <a:pt x="795" y="194"/>
                    <a:pt x="797" y="193"/>
                  </a:cubicBezTo>
                  <a:cubicBezTo>
                    <a:pt x="799" y="191"/>
                    <a:pt x="777" y="198"/>
                    <a:pt x="788" y="190"/>
                  </a:cubicBezTo>
                  <a:cubicBezTo>
                    <a:pt x="792" y="188"/>
                    <a:pt x="790" y="185"/>
                    <a:pt x="786" y="185"/>
                  </a:cubicBezTo>
                  <a:cubicBezTo>
                    <a:pt x="783" y="185"/>
                    <a:pt x="766" y="181"/>
                    <a:pt x="767" y="177"/>
                  </a:cubicBezTo>
                  <a:cubicBezTo>
                    <a:pt x="771" y="163"/>
                    <a:pt x="774" y="172"/>
                    <a:pt x="782" y="170"/>
                  </a:cubicBezTo>
                  <a:cubicBezTo>
                    <a:pt x="783" y="170"/>
                    <a:pt x="781" y="159"/>
                    <a:pt x="785" y="159"/>
                  </a:cubicBezTo>
                  <a:cubicBezTo>
                    <a:pt x="788" y="159"/>
                    <a:pt x="799" y="170"/>
                    <a:pt x="802" y="168"/>
                  </a:cubicBezTo>
                  <a:cubicBezTo>
                    <a:pt x="806" y="165"/>
                    <a:pt x="807" y="154"/>
                    <a:pt x="803" y="155"/>
                  </a:cubicBezTo>
                  <a:cubicBezTo>
                    <a:pt x="802" y="156"/>
                    <a:pt x="797" y="161"/>
                    <a:pt x="796" y="159"/>
                  </a:cubicBezTo>
                  <a:cubicBezTo>
                    <a:pt x="789" y="149"/>
                    <a:pt x="809" y="147"/>
                    <a:pt x="812" y="144"/>
                  </a:cubicBezTo>
                  <a:cubicBezTo>
                    <a:pt x="814" y="141"/>
                    <a:pt x="822" y="136"/>
                    <a:pt x="818" y="137"/>
                  </a:cubicBezTo>
                  <a:cubicBezTo>
                    <a:pt x="815" y="137"/>
                    <a:pt x="795" y="143"/>
                    <a:pt x="796" y="138"/>
                  </a:cubicBezTo>
                  <a:cubicBezTo>
                    <a:pt x="796" y="141"/>
                    <a:pt x="830" y="109"/>
                    <a:pt x="832" y="108"/>
                  </a:cubicBezTo>
                  <a:cubicBezTo>
                    <a:pt x="833" y="107"/>
                    <a:pt x="836" y="107"/>
                    <a:pt x="835" y="105"/>
                  </a:cubicBezTo>
                  <a:cubicBezTo>
                    <a:pt x="827" y="93"/>
                    <a:pt x="817" y="128"/>
                    <a:pt x="792" y="133"/>
                  </a:cubicBezTo>
                  <a:cubicBezTo>
                    <a:pt x="783" y="134"/>
                    <a:pt x="820" y="121"/>
                    <a:pt x="813" y="116"/>
                  </a:cubicBezTo>
                  <a:cubicBezTo>
                    <a:pt x="809" y="112"/>
                    <a:pt x="802" y="120"/>
                    <a:pt x="799" y="121"/>
                  </a:cubicBezTo>
                  <a:cubicBezTo>
                    <a:pt x="782" y="126"/>
                    <a:pt x="776" y="114"/>
                    <a:pt x="774" y="133"/>
                  </a:cubicBezTo>
                  <a:cubicBezTo>
                    <a:pt x="774" y="135"/>
                    <a:pt x="779" y="128"/>
                    <a:pt x="780" y="127"/>
                  </a:cubicBezTo>
                  <a:cubicBezTo>
                    <a:pt x="787" y="121"/>
                    <a:pt x="777" y="133"/>
                    <a:pt x="786" y="126"/>
                  </a:cubicBezTo>
                  <a:cubicBezTo>
                    <a:pt x="787" y="125"/>
                    <a:pt x="790" y="125"/>
                    <a:pt x="790" y="126"/>
                  </a:cubicBezTo>
                  <a:cubicBezTo>
                    <a:pt x="792" y="129"/>
                    <a:pt x="779" y="142"/>
                    <a:pt x="775" y="138"/>
                  </a:cubicBezTo>
                  <a:cubicBezTo>
                    <a:pt x="773" y="136"/>
                    <a:pt x="772" y="144"/>
                    <a:pt x="769" y="141"/>
                  </a:cubicBezTo>
                  <a:cubicBezTo>
                    <a:pt x="767" y="139"/>
                    <a:pt x="772" y="134"/>
                    <a:pt x="771" y="132"/>
                  </a:cubicBezTo>
                  <a:cubicBezTo>
                    <a:pt x="770" y="131"/>
                    <a:pt x="770" y="131"/>
                    <a:pt x="771" y="129"/>
                  </a:cubicBezTo>
                  <a:cubicBezTo>
                    <a:pt x="777" y="120"/>
                    <a:pt x="769" y="128"/>
                    <a:pt x="764" y="129"/>
                  </a:cubicBezTo>
                  <a:cubicBezTo>
                    <a:pt x="763" y="130"/>
                    <a:pt x="759" y="130"/>
                    <a:pt x="759" y="132"/>
                  </a:cubicBezTo>
                  <a:cubicBezTo>
                    <a:pt x="757" y="139"/>
                    <a:pt x="766" y="152"/>
                    <a:pt x="776" y="142"/>
                  </a:cubicBezTo>
                  <a:cubicBezTo>
                    <a:pt x="779" y="139"/>
                    <a:pt x="787" y="140"/>
                    <a:pt x="786" y="143"/>
                  </a:cubicBezTo>
                  <a:cubicBezTo>
                    <a:pt x="784" y="151"/>
                    <a:pt x="771" y="151"/>
                    <a:pt x="756" y="146"/>
                  </a:cubicBezTo>
                  <a:cubicBezTo>
                    <a:pt x="754" y="145"/>
                    <a:pt x="751" y="146"/>
                    <a:pt x="748" y="147"/>
                  </a:cubicBezTo>
                  <a:cubicBezTo>
                    <a:pt x="719" y="162"/>
                    <a:pt x="715" y="185"/>
                    <a:pt x="677" y="188"/>
                  </a:cubicBezTo>
                  <a:cubicBezTo>
                    <a:pt x="677" y="189"/>
                    <a:pt x="677" y="189"/>
                    <a:pt x="677" y="189"/>
                  </a:cubicBezTo>
                  <a:cubicBezTo>
                    <a:pt x="670" y="191"/>
                    <a:pt x="695" y="203"/>
                    <a:pt x="697" y="196"/>
                  </a:cubicBezTo>
                  <a:close/>
                  <a:moveTo>
                    <a:pt x="593" y="321"/>
                  </a:moveTo>
                  <a:cubicBezTo>
                    <a:pt x="594" y="325"/>
                    <a:pt x="601" y="320"/>
                    <a:pt x="603" y="320"/>
                  </a:cubicBezTo>
                  <a:cubicBezTo>
                    <a:pt x="611" y="318"/>
                    <a:pt x="615" y="315"/>
                    <a:pt x="620" y="315"/>
                  </a:cubicBezTo>
                  <a:cubicBezTo>
                    <a:pt x="640" y="317"/>
                    <a:pt x="649" y="346"/>
                    <a:pt x="669" y="337"/>
                  </a:cubicBezTo>
                  <a:cubicBezTo>
                    <a:pt x="674" y="334"/>
                    <a:pt x="653" y="326"/>
                    <a:pt x="657" y="323"/>
                  </a:cubicBezTo>
                  <a:cubicBezTo>
                    <a:pt x="667" y="315"/>
                    <a:pt x="699" y="320"/>
                    <a:pt x="702" y="331"/>
                  </a:cubicBezTo>
                  <a:cubicBezTo>
                    <a:pt x="704" y="335"/>
                    <a:pt x="700" y="338"/>
                    <a:pt x="702" y="342"/>
                  </a:cubicBezTo>
                  <a:cubicBezTo>
                    <a:pt x="704" y="345"/>
                    <a:pt x="689" y="348"/>
                    <a:pt x="691" y="349"/>
                  </a:cubicBezTo>
                  <a:cubicBezTo>
                    <a:pt x="700" y="353"/>
                    <a:pt x="733" y="367"/>
                    <a:pt x="742" y="358"/>
                  </a:cubicBezTo>
                  <a:cubicBezTo>
                    <a:pt x="743" y="358"/>
                    <a:pt x="737" y="356"/>
                    <a:pt x="737" y="353"/>
                  </a:cubicBezTo>
                  <a:cubicBezTo>
                    <a:pt x="738" y="348"/>
                    <a:pt x="748" y="338"/>
                    <a:pt x="751" y="335"/>
                  </a:cubicBezTo>
                  <a:cubicBezTo>
                    <a:pt x="752" y="333"/>
                    <a:pt x="789" y="339"/>
                    <a:pt x="766" y="332"/>
                  </a:cubicBezTo>
                  <a:cubicBezTo>
                    <a:pt x="766" y="332"/>
                    <a:pt x="766" y="332"/>
                    <a:pt x="766" y="332"/>
                  </a:cubicBezTo>
                  <a:cubicBezTo>
                    <a:pt x="776" y="324"/>
                    <a:pt x="763" y="316"/>
                    <a:pt x="759" y="320"/>
                  </a:cubicBezTo>
                  <a:cubicBezTo>
                    <a:pt x="758" y="321"/>
                    <a:pt x="769" y="323"/>
                    <a:pt x="768" y="327"/>
                  </a:cubicBezTo>
                  <a:cubicBezTo>
                    <a:pt x="766" y="330"/>
                    <a:pt x="741" y="335"/>
                    <a:pt x="741" y="330"/>
                  </a:cubicBezTo>
                  <a:cubicBezTo>
                    <a:pt x="740" y="325"/>
                    <a:pt x="747" y="323"/>
                    <a:pt x="747" y="319"/>
                  </a:cubicBezTo>
                  <a:cubicBezTo>
                    <a:pt x="746" y="311"/>
                    <a:pt x="740" y="323"/>
                    <a:pt x="739" y="323"/>
                  </a:cubicBezTo>
                  <a:cubicBezTo>
                    <a:pt x="733" y="324"/>
                    <a:pt x="734" y="318"/>
                    <a:pt x="725" y="321"/>
                  </a:cubicBezTo>
                  <a:cubicBezTo>
                    <a:pt x="721" y="323"/>
                    <a:pt x="737" y="330"/>
                    <a:pt x="737" y="331"/>
                  </a:cubicBezTo>
                  <a:cubicBezTo>
                    <a:pt x="737" y="338"/>
                    <a:pt x="723" y="331"/>
                    <a:pt x="716" y="333"/>
                  </a:cubicBezTo>
                  <a:cubicBezTo>
                    <a:pt x="703" y="336"/>
                    <a:pt x="721" y="293"/>
                    <a:pt x="708" y="315"/>
                  </a:cubicBezTo>
                  <a:cubicBezTo>
                    <a:pt x="705" y="320"/>
                    <a:pt x="703" y="319"/>
                    <a:pt x="698" y="321"/>
                  </a:cubicBezTo>
                  <a:cubicBezTo>
                    <a:pt x="690" y="325"/>
                    <a:pt x="679" y="308"/>
                    <a:pt x="672" y="307"/>
                  </a:cubicBezTo>
                  <a:cubicBezTo>
                    <a:pt x="669" y="306"/>
                    <a:pt x="672" y="310"/>
                    <a:pt x="672" y="311"/>
                  </a:cubicBezTo>
                  <a:cubicBezTo>
                    <a:pt x="677" y="315"/>
                    <a:pt x="659" y="321"/>
                    <a:pt x="656" y="320"/>
                  </a:cubicBezTo>
                  <a:cubicBezTo>
                    <a:pt x="652" y="320"/>
                    <a:pt x="652" y="313"/>
                    <a:pt x="649" y="310"/>
                  </a:cubicBezTo>
                  <a:cubicBezTo>
                    <a:pt x="648" y="309"/>
                    <a:pt x="643" y="314"/>
                    <a:pt x="641" y="313"/>
                  </a:cubicBezTo>
                  <a:cubicBezTo>
                    <a:pt x="633" y="311"/>
                    <a:pt x="624" y="301"/>
                    <a:pt x="610" y="306"/>
                  </a:cubicBezTo>
                  <a:cubicBezTo>
                    <a:pt x="605" y="307"/>
                    <a:pt x="617" y="308"/>
                    <a:pt x="614" y="310"/>
                  </a:cubicBezTo>
                  <a:cubicBezTo>
                    <a:pt x="609" y="312"/>
                    <a:pt x="600" y="303"/>
                    <a:pt x="599" y="308"/>
                  </a:cubicBezTo>
                  <a:cubicBezTo>
                    <a:pt x="599" y="313"/>
                    <a:pt x="609" y="313"/>
                    <a:pt x="609" y="313"/>
                  </a:cubicBezTo>
                  <a:cubicBezTo>
                    <a:pt x="606" y="321"/>
                    <a:pt x="592" y="308"/>
                    <a:pt x="593" y="321"/>
                  </a:cubicBezTo>
                  <a:close/>
                  <a:moveTo>
                    <a:pt x="561" y="1014"/>
                  </a:moveTo>
                  <a:cubicBezTo>
                    <a:pt x="563" y="1019"/>
                    <a:pt x="583" y="1020"/>
                    <a:pt x="582" y="1013"/>
                  </a:cubicBezTo>
                  <a:cubicBezTo>
                    <a:pt x="580" y="1000"/>
                    <a:pt x="584" y="1012"/>
                    <a:pt x="582" y="996"/>
                  </a:cubicBezTo>
                  <a:cubicBezTo>
                    <a:pt x="582" y="995"/>
                    <a:pt x="582" y="995"/>
                    <a:pt x="582" y="995"/>
                  </a:cubicBezTo>
                  <a:cubicBezTo>
                    <a:pt x="580" y="993"/>
                    <a:pt x="576" y="986"/>
                    <a:pt x="576" y="989"/>
                  </a:cubicBezTo>
                  <a:cubicBezTo>
                    <a:pt x="576" y="991"/>
                    <a:pt x="578" y="991"/>
                    <a:pt x="577" y="994"/>
                  </a:cubicBezTo>
                  <a:cubicBezTo>
                    <a:pt x="573" y="1011"/>
                    <a:pt x="570" y="990"/>
                    <a:pt x="562" y="1001"/>
                  </a:cubicBezTo>
                  <a:cubicBezTo>
                    <a:pt x="560" y="1004"/>
                    <a:pt x="570" y="1015"/>
                    <a:pt x="567" y="1012"/>
                  </a:cubicBezTo>
                  <a:cubicBezTo>
                    <a:pt x="565" y="1010"/>
                    <a:pt x="559" y="1010"/>
                    <a:pt x="561" y="1014"/>
                  </a:cubicBezTo>
                  <a:close/>
                  <a:moveTo>
                    <a:pt x="557" y="1055"/>
                  </a:moveTo>
                  <a:cubicBezTo>
                    <a:pt x="560" y="1055"/>
                    <a:pt x="569" y="1064"/>
                    <a:pt x="570" y="1063"/>
                  </a:cubicBezTo>
                  <a:cubicBezTo>
                    <a:pt x="574" y="1060"/>
                    <a:pt x="558" y="1055"/>
                    <a:pt x="562" y="1052"/>
                  </a:cubicBezTo>
                  <a:cubicBezTo>
                    <a:pt x="565" y="1050"/>
                    <a:pt x="587" y="1077"/>
                    <a:pt x="583" y="1062"/>
                  </a:cubicBezTo>
                  <a:cubicBezTo>
                    <a:pt x="582" y="1062"/>
                    <a:pt x="582" y="1062"/>
                    <a:pt x="582" y="1062"/>
                  </a:cubicBezTo>
                  <a:cubicBezTo>
                    <a:pt x="572" y="1055"/>
                    <a:pt x="562" y="1047"/>
                    <a:pt x="557" y="1039"/>
                  </a:cubicBezTo>
                  <a:cubicBezTo>
                    <a:pt x="556" y="1038"/>
                    <a:pt x="552" y="1042"/>
                    <a:pt x="551" y="1042"/>
                  </a:cubicBezTo>
                  <a:cubicBezTo>
                    <a:pt x="540" y="1043"/>
                    <a:pt x="547" y="1054"/>
                    <a:pt x="557" y="1055"/>
                  </a:cubicBezTo>
                  <a:close/>
                  <a:moveTo>
                    <a:pt x="515" y="1015"/>
                  </a:moveTo>
                  <a:cubicBezTo>
                    <a:pt x="519" y="1018"/>
                    <a:pt x="518" y="1019"/>
                    <a:pt x="520" y="1023"/>
                  </a:cubicBezTo>
                  <a:cubicBezTo>
                    <a:pt x="520" y="1024"/>
                    <a:pt x="521" y="1025"/>
                    <a:pt x="521" y="1026"/>
                  </a:cubicBezTo>
                  <a:cubicBezTo>
                    <a:pt x="522" y="1034"/>
                    <a:pt x="530" y="1039"/>
                    <a:pt x="534" y="1045"/>
                  </a:cubicBezTo>
                  <a:cubicBezTo>
                    <a:pt x="535" y="1046"/>
                    <a:pt x="535" y="1046"/>
                    <a:pt x="535" y="1046"/>
                  </a:cubicBezTo>
                  <a:cubicBezTo>
                    <a:pt x="553" y="1053"/>
                    <a:pt x="522" y="1026"/>
                    <a:pt x="523" y="1023"/>
                  </a:cubicBezTo>
                  <a:cubicBezTo>
                    <a:pt x="525" y="1014"/>
                    <a:pt x="512" y="1012"/>
                    <a:pt x="515" y="1015"/>
                  </a:cubicBezTo>
                  <a:close/>
                  <a:moveTo>
                    <a:pt x="500" y="1048"/>
                  </a:moveTo>
                  <a:cubicBezTo>
                    <a:pt x="501" y="1051"/>
                    <a:pt x="505" y="1074"/>
                    <a:pt x="504" y="1076"/>
                  </a:cubicBezTo>
                  <a:cubicBezTo>
                    <a:pt x="502" y="1082"/>
                    <a:pt x="495" y="1068"/>
                    <a:pt x="494" y="1070"/>
                  </a:cubicBezTo>
                  <a:cubicBezTo>
                    <a:pt x="493" y="1074"/>
                    <a:pt x="511" y="1094"/>
                    <a:pt x="512" y="1101"/>
                  </a:cubicBezTo>
                  <a:cubicBezTo>
                    <a:pt x="514" y="1110"/>
                    <a:pt x="493" y="1097"/>
                    <a:pt x="506" y="1111"/>
                  </a:cubicBezTo>
                  <a:cubicBezTo>
                    <a:pt x="507" y="1111"/>
                    <a:pt x="507" y="1111"/>
                    <a:pt x="507" y="1111"/>
                  </a:cubicBezTo>
                  <a:cubicBezTo>
                    <a:pt x="507" y="1112"/>
                    <a:pt x="515" y="1115"/>
                    <a:pt x="514" y="1107"/>
                  </a:cubicBezTo>
                  <a:cubicBezTo>
                    <a:pt x="513" y="1103"/>
                    <a:pt x="525" y="1099"/>
                    <a:pt x="524" y="1098"/>
                  </a:cubicBezTo>
                  <a:cubicBezTo>
                    <a:pt x="519" y="1094"/>
                    <a:pt x="518" y="1099"/>
                    <a:pt x="512" y="1094"/>
                  </a:cubicBezTo>
                  <a:cubicBezTo>
                    <a:pt x="511" y="1093"/>
                    <a:pt x="508" y="1093"/>
                    <a:pt x="511" y="1091"/>
                  </a:cubicBezTo>
                  <a:cubicBezTo>
                    <a:pt x="514" y="1089"/>
                    <a:pt x="508" y="1085"/>
                    <a:pt x="511" y="1085"/>
                  </a:cubicBezTo>
                  <a:cubicBezTo>
                    <a:pt x="532" y="1083"/>
                    <a:pt x="506" y="1081"/>
                    <a:pt x="511" y="1077"/>
                  </a:cubicBezTo>
                  <a:cubicBezTo>
                    <a:pt x="511" y="1076"/>
                    <a:pt x="515" y="1078"/>
                    <a:pt x="515" y="1077"/>
                  </a:cubicBezTo>
                  <a:cubicBezTo>
                    <a:pt x="515" y="1076"/>
                    <a:pt x="513" y="1074"/>
                    <a:pt x="513" y="1073"/>
                  </a:cubicBezTo>
                  <a:cubicBezTo>
                    <a:pt x="512" y="1072"/>
                    <a:pt x="507" y="1039"/>
                    <a:pt x="495" y="1039"/>
                  </a:cubicBezTo>
                  <a:cubicBezTo>
                    <a:pt x="491" y="1039"/>
                    <a:pt x="500" y="1048"/>
                    <a:pt x="500" y="1048"/>
                  </a:cubicBezTo>
                  <a:close/>
                  <a:moveTo>
                    <a:pt x="539" y="1131"/>
                  </a:moveTo>
                  <a:cubicBezTo>
                    <a:pt x="539" y="1131"/>
                    <a:pt x="539" y="1131"/>
                    <a:pt x="539" y="1131"/>
                  </a:cubicBezTo>
                  <a:cubicBezTo>
                    <a:pt x="540" y="1129"/>
                    <a:pt x="529" y="1123"/>
                    <a:pt x="528" y="1124"/>
                  </a:cubicBezTo>
                  <a:cubicBezTo>
                    <a:pt x="528" y="1124"/>
                    <a:pt x="528" y="1124"/>
                    <a:pt x="528" y="1125"/>
                  </a:cubicBezTo>
                  <a:cubicBezTo>
                    <a:pt x="527" y="1143"/>
                    <a:pt x="513" y="1129"/>
                    <a:pt x="501" y="1140"/>
                  </a:cubicBezTo>
                  <a:cubicBezTo>
                    <a:pt x="499" y="1142"/>
                    <a:pt x="494" y="1134"/>
                    <a:pt x="495" y="1140"/>
                  </a:cubicBezTo>
                  <a:cubicBezTo>
                    <a:pt x="497" y="1152"/>
                    <a:pt x="530" y="1126"/>
                    <a:pt x="537" y="1142"/>
                  </a:cubicBezTo>
                  <a:cubicBezTo>
                    <a:pt x="543" y="1156"/>
                    <a:pt x="520" y="1137"/>
                    <a:pt x="518" y="1142"/>
                  </a:cubicBezTo>
                  <a:cubicBezTo>
                    <a:pt x="513" y="1149"/>
                    <a:pt x="540" y="1153"/>
                    <a:pt x="541" y="1153"/>
                  </a:cubicBezTo>
                  <a:cubicBezTo>
                    <a:pt x="543" y="1153"/>
                    <a:pt x="538" y="1132"/>
                    <a:pt x="539" y="1131"/>
                  </a:cubicBezTo>
                  <a:close/>
                  <a:moveTo>
                    <a:pt x="486" y="1240"/>
                  </a:moveTo>
                  <a:cubicBezTo>
                    <a:pt x="490" y="1243"/>
                    <a:pt x="495" y="1237"/>
                    <a:pt x="502" y="1243"/>
                  </a:cubicBezTo>
                  <a:cubicBezTo>
                    <a:pt x="503" y="1245"/>
                    <a:pt x="501" y="1255"/>
                    <a:pt x="505" y="1254"/>
                  </a:cubicBezTo>
                  <a:cubicBezTo>
                    <a:pt x="506" y="1254"/>
                    <a:pt x="506" y="1248"/>
                    <a:pt x="506" y="1247"/>
                  </a:cubicBezTo>
                  <a:cubicBezTo>
                    <a:pt x="510" y="1244"/>
                    <a:pt x="503" y="1242"/>
                    <a:pt x="501" y="1240"/>
                  </a:cubicBezTo>
                  <a:cubicBezTo>
                    <a:pt x="500" y="1240"/>
                    <a:pt x="500" y="1240"/>
                    <a:pt x="500" y="1240"/>
                  </a:cubicBezTo>
                  <a:cubicBezTo>
                    <a:pt x="487" y="1235"/>
                    <a:pt x="503" y="1228"/>
                    <a:pt x="505" y="1231"/>
                  </a:cubicBezTo>
                  <a:cubicBezTo>
                    <a:pt x="505" y="1231"/>
                    <a:pt x="504" y="1235"/>
                    <a:pt x="506" y="1233"/>
                  </a:cubicBezTo>
                  <a:cubicBezTo>
                    <a:pt x="511" y="1230"/>
                    <a:pt x="509" y="1220"/>
                    <a:pt x="510" y="1215"/>
                  </a:cubicBezTo>
                  <a:cubicBezTo>
                    <a:pt x="511" y="1213"/>
                    <a:pt x="515" y="1211"/>
                    <a:pt x="514" y="1209"/>
                  </a:cubicBezTo>
                  <a:cubicBezTo>
                    <a:pt x="513" y="1209"/>
                    <a:pt x="513" y="1208"/>
                    <a:pt x="513" y="1207"/>
                  </a:cubicBezTo>
                  <a:cubicBezTo>
                    <a:pt x="512" y="1207"/>
                    <a:pt x="510" y="1207"/>
                    <a:pt x="510" y="1207"/>
                  </a:cubicBezTo>
                  <a:cubicBezTo>
                    <a:pt x="507" y="1207"/>
                    <a:pt x="507" y="1200"/>
                    <a:pt x="503" y="1201"/>
                  </a:cubicBezTo>
                  <a:cubicBezTo>
                    <a:pt x="502" y="1201"/>
                    <a:pt x="505" y="1209"/>
                    <a:pt x="506" y="1209"/>
                  </a:cubicBezTo>
                  <a:cubicBezTo>
                    <a:pt x="508" y="1210"/>
                    <a:pt x="508" y="1218"/>
                    <a:pt x="506" y="1224"/>
                  </a:cubicBezTo>
                  <a:cubicBezTo>
                    <a:pt x="504" y="1229"/>
                    <a:pt x="492" y="1227"/>
                    <a:pt x="491" y="1234"/>
                  </a:cubicBezTo>
                  <a:cubicBezTo>
                    <a:pt x="491" y="1235"/>
                    <a:pt x="486" y="1240"/>
                    <a:pt x="486" y="1240"/>
                  </a:cubicBezTo>
                  <a:close/>
                  <a:moveTo>
                    <a:pt x="475" y="1124"/>
                  </a:moveTo>
                  <a:cubicBezTo>
                    <a:pt x="477" y="1128"/>
                    <a:pt x="467" y="1145"/>
                    <a:pt x="475" y="1142"/>
                  </a:cubicBezTo>
                  <a:cubicBezTo>
                    <a:pt x="486" y="1138"/>
                    <a:pt x="472" y="1118"/>
                    <a:pt x="471" y="1113"/>
                  </a:cubicBezTo>
                  <a:cubicBezTo>
                    <a:pt x="471" y="1112"/>
                    <a:pt x="471" y="1112"/>
                    <a:pt x="471" y="1112"/>
                  </a:cubicBezTo>
                  <a:cubicBezTo>
                    <a:pt x="467" y="1109"/>
                    <a:pt x="463" y="1107"/>
                    <a:pt x="460" y="1110"/>
                  </a:cubicBezTo>
                  <a:cubicBezTo>
                    <a:pt x="457" y="1113"/>
                    <a:pt x="474" y="1122"/>
                    <a:pt x="475" y="1124"/>
                  </a:cubicBezTo>
                  <a:close/>
                  <a:moveTo>
                    <a:pt x="404" y="1122"/>
                  </a:moveTo>
                  <a:cubicBezTo>
                    <a:pt x="404" y="1122"/>
                    <a:pt x="404" y="1122"/>
                    <a:pt x="404" y="1122"/>
                  </a:cubicBezTo>
                  <a:cubicBezTo>
                    <a:pt x="404" y="1122"/>
                    <a:pt x="404" y="1122"/>
                    <a:pt x="404" y="1122"/>
                  </a:cubicBezTo>
                  <a:close/>
                  <a:moveTo>
                    <a:pt x="391" y="1183"/>
                  </a:moveTo>
                  <a:cubicBezTo>
                    <a:pt x="402" y="1187"/>
                    <a:pt x="402" y="1171"/>
                    <a:pt x="405" y="1167"/>
                  </a:cubicBezTo>
                  <a:cubicBezTo>
                    <a:pt x="408" y="1164"/>
                    <a:pt x="419" y="1171"/>
                    <a:pt x="422" y="1167"/>
                  </a:cubicBezTo>
                  <a:cubicBezTo>
                    <a:pt x="423" y="1166"/>
                    <a:pt x="403" y="1135"/>
                    <a:pt x="404" y="1126"/>
                  </a:cubicBezTo>
                  <a:cubicBezTo>
                    <a:pt x="404" y="1125"/>
                    <a:pt x="404" y="1125"/>
                    <a:pt x="404" y="1125"/>
                  </a:cubicBezTo>
                  <a:cubicBezTo>
                    <a:pt x="405" y="1121"/>
                    <a:pt x="402" y="1119"/>
                    <a:pt x="401" y="1124"/>
                  </a:cubicBezTo>
                  <a:cubicBezTo>
                    <a:pt x="399" y="1142"/>
                    <a:pt x="417" y="1155"/>
                    <a:pt x="414" y="1163"/>
                  </a:cubicBezTo>
                  <a:cubicBezTo>
                    <a:pt x="412" y="1167"/>
                    <a:pt x="407" y="1162"/>
                    <a:pt x="406" y="1161"/>
                  </a:cubicBezTo>
                  <a:cubicBezTo>
                    <a:pt x="402" y="1159"/>
                    <a:pt x="406" y="1164"/>
                    <a:pt x="404" y="1165"/>
                  </a:cubicBezTo>
                  <a:cubicBezTo>
                    <a:pt x="402" y="1167"/>
                    <a:pt x="401" y="1169"/>
                    <a:pt x="400" y="1170"/>
                  </a:cubicBezTo>
                  <a:cubicBezTo>
                    <a:pt x="397" y="1172"/>
                    <a:pt x="392" y="1163"/>
                    <a:pt x="392" y="1168"/>
                  </a:cubicBezTo>
                  <a:cubicBezTo>
                    <a:pt x="391" y="1171"/>
                    <a:pt x="397" y="1171"/>
                    <a:pt x="398" y="1173"/>
                  </a:cubicBezTo>
                  <a:cubicBezTo>
                    <a:pt x="399" y="1177"/>
                    <a:pt x="390" y="1183"/>
                    <a:pt x="391" y="1183"/>
                  </a:cubicBezTo>
                  <a:close/>
                  <a:moveTo>
                    <a:pt x="369" y="1088"/>
                  </a:moveTo>
                  <a:cubicBezTo>
                    <a:pt x="370" y="1089"/>
                    <a:pt x="374" y="1090"/>
                    <a:pt x="374" y="1087"/>
                  </a:cubicBezTo>
                  <a:cubicBezTo>
                    <a:pt x="375" y="1078"/>
                    <a:pt x="383" y="1080"/>
                    <a:pt x="382" y="1068"/>
                  </a:cubicBezTo>
                  <a:cubicBezTo>
                    <a:pt x="381" y="1062"/>
                    <a:pt x="374" y="1062"/>
                    <a:pt x="371" y="1058"/>
                  </a:cubicBezTo>
                  <a:cubicBezTo>
                    <a:pt x="371" y="1058"/>
                    <a:pt x="371" y="1058"/>
                    <a:pt x="371" y="1058"/>
                  </a:cubicBezTo>
                  <a:cubicBezTo>
                    <a:pt x="370" y="1057"/>
                    <a:pt x="360" y="1075"/>
                    <a:pt x="369" y="1088"/>
                  </a:cubicBezTo>
                  <a:close/>
                  <a:moveTo>
                    <a:pt x="329" y="1285"/>
                  </a:moveTo>
                  <a:cubicBezTo>
                    <a:pt x="329" y="1288"/>
                    <a:pt x="343" y="1283"/>
                    <a:pt x="339" y="1282"/>
                  </a:cubicBezTo>
                  <a:cubicBezTo>
                    <a:pt x="333" y="1279"/>
                    <a:pt x="327" y="1274"/>
                    <a:pt x="316" y="1268"/>
                  </a:cubicBezTo>
                  <a:cubicBezTo>
                    <a:pt x="314" y="1267"/>
                    <a:pt x="314" y="1267"/>
                    <a:pt x="314" y="1267"/>
                  </a:cubicBezTo>
                  <a:cubicBezTo>
                    <a:pt x="299" y="1263"/>
                    <a:pt x="330" y="1277"/>
                    <a:pt x="329" y="1285"/>
                  </a:cubicBezTo>
                  <a:close/>
                  <a:moveTo>
                    <a:pt x="344" y="1320"/>
                  </a:moveTo>
                  <a:cubicBezTo>
                    <a:pt x="344" y="1320"/>
                    <a:pt x="344" y="1320"/>
                    <a:pt x="344" y="1320"/>
                  </a:cubicBezTo>
                  <a:cubicBezTo>
                    <a:pt x="345" y="1320"/>
                    <a:pt x="349" y="1321"/>
                    <a:pt x="349" y="1320"/>
                  </a:cubicBezTo>
                  <a:cubicBezTo>
                    <a:pt x="350" y="1318"/>
                    <a:pt x="347" y="1319"/>
                    <a:pt x="346" y="1319"/>
                  </a:cubicBezTo>
                  <a:cubicBezTo>
                    <a:pt x="319" y="1323"/>
                    <a:pt x="312" y="1329"/>
                    <a:pt x="287" y="1344"/>
                  </a:cubicBezTo>
                  <a:cubicBezTo>
                    <a:pt x="282" y="1347"/>
                    <a:pt x="278" y="1351"/>
                    <a:pt x="277" y="1356"/>
                  </a:cubicBezTo>
                  <a:cubicBezTo>
                    <a:pt x="277" y="1356"/>
                    <a:pt x="280" y="1357"/>
                    <a:pt x="280" y="1357"/>
                  </a:cubicBezTo>
                  <a:cubicBezTo>
                    <a:pt x="286" y="1360"/>
                    <a:pt x="282" y="1353"/>
                    <a:pt x="283" y="1351"/>
                  </a:cubicBezTo>
                  <a:cubicBezTo>
                    <a:pt x="289" y="1345"/>
                    <a:pt x="294" y="1340"/>
                    <a:pt x="302" y="1339"/>
                  </a:cubicBezTo>
                  <a:cubicBezTo>
                    <a:pt x="321" y="1334"/>
                    <a:pt x="317" y="1323"/>
                    <a:pt x="337" y="1328"/>
                  </a:cubicBezTo>
                  <a:cubicBezTo>
                    <a:pt x="337" y="1328"/>
                    <a:pt x="338" y="1328"/>
                    <a:pt x="338" y="1328"/>
                  </a:cubicBezTo>
                  <a:cubicBezTo>
                    <a:pt x="341" y="1326"/>
                    <a:pt x="330" y="1321"/>
                    <a:pt x="344" y="1320"/>
                  </a:cubicBezTo>
                  <a:close/>
                  <a:moveTo>
                    <a:pt x="380" y="1349"/>
                  </a:moveTo>
                  <a:cubicBezTo>
                    <a:pt x="388" y="1334"/>
                    <a:pt x="354" y="1342"/>
                    <a:pt x="359" y="1326"/>
                  </a:cubicBezTo>
                  <a:cubicBezTo>
                    <a:pt x="362" y="1318"/>
                    <a:pt x="392" y="1320"/>
                    <a:pt x="388" y="1298"/>
                  </a:cubicBezTo>
                  <a:cubicBezTo>
                    <a:pt x="388" y="1296"/>
                    <a:pt x="382" y="1303"/>
                    <a:pt x="382" y="1296"/>
                  </a:cubicBezTo>
                  <a:cubicBezTo>
                    <a:pt x="382" y="1295"/>
                    <a:pt x="399" y="1293"/>
                    <a:pt x="398" y="1291"/>
                  </a:cubicBezTo>
                  <a:cubicBezTo>
                    <a:pt x="396" y="1288"/>
                    <a:pt x="383" y="1296"/>
                    <a:pt x="379" y="1291"/>
                  </a:cubicBezTo>
                  <a:cubicBezTo>
                    <a:pt x="377" y="1287"/>
                    <a:pt x="387" y="1285"/>
                    <a:pt x="388" y="1281"/>
                  </a:cubicBezTo>
                  <a:cubicBezTo>
                    <a:pt x="389" y="1277"/>
                    <a:pt x="382" y="1276"/>
                    <a:pt x="380" y="1274"/>
                  </a:cubicBezTo>
                  <a:cubicBezTo>
                    <a:pt x="378" y="1271"/>
                    <a:pt x="400" y="1261"/>
                    <a:pt x="401" y="1260"/>
                  </a:cubicBezTo>
                  <a:cubicBezTo>
                    <a:pt x="416" y="1244"/>
                    <a:pt x="403" y="1259"/>
                    <a:pt x="421" y="1248"/>
                  </a:cubicBezTo>
                  <a:cubicBezTo>
                    <a:pt x="423" y="1247"/>
                    <a:pt x="408" y="1241"/>
                    <a:pt x="410" y="1235"/>
                  </a:cubicBezTo>
                  <a:cubicBezTo>
                    <a:pt x="410" y="1234"/>
                    <a:pt x="428" y="1242"/>
                    <a:pt x="429" y="1242"/>
                  </a:cubicBezTo>
                  <a:cubicBezTo>
                    <a:pt x="446" y="1244"/>
                    <a:pt x="448" y="1235"/>
                    <a:pt x="463" y="1251"/>
                  </a:cubicBezTo>
                  <a:cubicBezTo>
                    <a:pt x="465" y="1252"/>
                    <a:pt x="468" y="1257"/>
                    <a:pt x="470" y="1257"/>
                  </a:cubicBezTo>
                  <a:cubicBezTo>
                    <a:pt x="470" y="1257"/>
                    <a:pt x="462" y="1241"/>
                    <a:pt x="456" y="1240"/>
                  </a:cubicBezTo>
                  <a:cubicBezTo>
                    <a:pt x="456" y="1240"/>
                    <a:pt x="456" y="1240"/>
                    <a:pt x="456" y="1240"/>
                  </a:cubicBezTo>
                  <a:cubicBezTo>
                    <a:pt x="465" y="1232"/>
                    <a:pt x="466" y="1225"/>
                    <a:pt x="466" y="1218"/>
                  </a:cubicBezTo>
                  <a:cubicBezTo>
                    <a:pt x="466" y="1217"/>
                    <a:pt x="477" y="1206"/>
                    <a:pt x="470" y="1208"/>
                  </a:cubicBezTo>
                  <a:cubicBezTo>
                    <a:pt x="468" y="1209"/>
                    <a:pt x="467" y="1215"/>
                    <a:pt x="465" y="1214"/>
                  </a:cubicBezTo>
                  <a:cubicBezTo>
                    <a:pt x="459" y="1212"/>
                    <a:pt x="469" y="1200"/>
                    <a:pt x="466" y="1199"/>
                  </a:cubicBezTo>
                  <a:cubicBezTo>
                    <a:pt x="447" y="1197"/>
                    <a:pt x="465" y="1226"/>
                    <a:pt x="457" y="1231"/>
                  </a:cubicBezTo>
                  <a:cubicBezTo>
                    <a:pt x="456" y="1231"/>
                    <a:pt x="451" y="1223"/>
                    <a:pt x="450" y="1222"/>
                  </a:cubicBezTo>
                  <a:cubicBezTo>
                    <a:pt x="447" y="1219"/>
                    <a:pt x="439" y="1218"/>
                    <a:pt x="436" y="1216"/>
                  </a:cubicBezTo>
                  <a:cubicBezTo>
                    <a:pt x="435" y="1216"/>
                    <a:pt x="429" y="1213"/>
                    <a:pt x="429" y="1215"/>
                  </a:cubicBezTo>
                  <a:cubicBezTo>
                    <a:pt x="430" y="1228"/>
                    <a:pt x="446" y="1219"/>
                    <a:pt x="453" y="1232"/>
                  </a:cubicBezTo>
                  <a:cubicBezTo>
                    <a:pt x="453" y="1233"/>
                    <a:pt x="457" y="1237"/>
                    <a:pt x="456" y="1238"/>
                  </a:cubicBezTo>
                  <a:cubicBezTo>
                    <a:pt x="456" y="1238"/>
                    <a:pt x="454" y="1238"/>
                    <a:pt x="453" y="1238"/>
                  </a:cubicBezTo>
                  <a:cubicBezTo>
                    <a:pt x="440" y="1236"/>
                    <a:pt x="431" y="1240"/>
                    <a:pt x="432" y="1229"/>
                  </a:cubicBezTo>
                  <a:cubicBezTo>
                    <a:pt x="432" y="1227"/>
                    <a:pt x="438" y="1226"/>
                    <a:pt x="435" y="1225"/>
                  </a:cubicBezTo>
                  <a:cubicBezTo>
                    <a:pt x="433" y="1224"/>
                    <a:pt x="430" y="1221"/>
                    <a:pt x="428" y="1222"/>
                  </a:cubicBezTo>
                  <a:cubicBezTo>
                    <a:pt x="424" y="1226"/>
                    <a:pt x="419" y="1243"/>
                    <a:pt x="412" y="1231"/>
                  </a:cubicBezTo>
                  <a:cubicBezTo>
                    <a:pt x="411" y="1229"/>
                    <a:pt x="420" y="1223"/>
                    <a:pt x="418" y="1222"/>
                  </a:cubicBezTo>
                  <a:cubicBezTo>
                    <a:pt x="415" y="1222"/>
                    <a:pt x="406" y="1222"/>
                    <a:pt x="415" y="1221"/>
                  </a:cubicBezTo>
                  <a:cubicBezTo>
                    <a:pt x="416" y="1220"/>
                    <a:pt x="425" y="1217"/>
                    <a:pt x="421" y="1215"/>
                  </a:cubicBezTo>
                  <a:cubicBezTo>
                    <a:pt x="421" y="1214"/>
                    <a:pt x="402" y="1220"/>
                    <a:pt x="401" y="1219"/>
                  </a:cubicBezTo>
                  <a:cubicBezTo>
                    <a:pt x="395" y="1212"/>
                    <a:pt x="413" y="1208"/>
                    <a:pt x="402" y="1205"/>
                  </a:cubicBezTo>
                  <a:cubicBezTo>
                    <a:pt x="392" y="1202"/>
                    <a:pt x="400" y="1220"/>
                    <a:pt x="394" y="1221"/>
                  </a:cubicBezTo>
                  <a:cubicBezTo>
                    <a:pt x="380" y="1225"/>
                    <a:pt x="375" y="1200"/>
                    <a:pt x="370" y="1210"/>
                  </a:cubicBezTo>
                  <a:cubicBezTo>
                    <a:pt x="369" y="1212"/>
                    <a:pt x="374" y="1215"/>
                    <a:pt x="374" y="1217"/>
                  </a:cubicBezTo>
                  <a:cubicBezTo>
                    <a:pt x="372" y="1242"/>
                    <a:pt x="398" y="1207"/>
                    <a:pt x="404" y="1242"/>
                  </a:cubicBezTo>
                  <a:cubicBezTo>
                    <a:pt x="404" y="1243"/>
                    <a:pt x="410" y="1243"/>
                    <a:pt x="410" y="1245"/>
                  </a:cubicBezTo>
                  <a:cubicBezTo>
                    <a:pt x="410" y="1246"/>
                    <a:pt x="407" y="1246"/>
                    <a:pt x="406" y="1246"/>
                  </a:cubicBezTo>
                  <a:cubicBezTo>
                    <a:pt x="389" y="1248"/>
                    <a:pt x="394" y="1260"/>
                    <a:pt x="389" y="1262"/>
                  </a:cubicBezTo>
                  <a:cubicBezTo>
                    <a:pt x="385" y="1264"/>
                    <a:pt x="376" y="1252"/>
                    <a:pt x="372" y="1255"/>
                  </a:cubicBezTo>
                  <a:cubicBezTo>
                    <a:pt x="370" y="1256"/>
                    <a:pt x="385" y="1263"/>
                    <a:pt x="383" y="1265"/>
                  </a:cubicBezTo>
                  <a:cubicBezTo>
                    <a:pt x="374" y="1269"/>
                    <a:pt x="375" y="1270"/>
                    <a:pt x="376" y="1280"/>
                  </a:cubicBezTo>
                  <a:cubicBezTo>
                    <a:pt x="377" y="1285"/>
                    <a:pt x="372" y="1285"/>
                    <a:pt x="367" y="1283"/>
                  </a:cubicBezTo>
                  <a:cubicBezTo>
                    <a:pt x="365" y="1282"/>
                    <a:pt x="361" y="1284"/>
                    <a:pt x="366" y="1285"/>
                  </a:cubicBezTo>
                  <a:cubicBezTo>
                    <a:pt x="371" y="1286"/>
                    <a:pt x="374" y="1292"/>
                    <a:pt x="373" y="1293"/>
                  </a:cubicBezTo>
                  <a:cubicBezTo>
                    <a:pt x="372" y="1296"/>
                    <a:pt x="365" y="1289"/>
                    <a:pt x="364" y="1292"/>
                  </a:cubicBezTo>
                  <a:cubicBezTo>
                    <a:pt x="363" y="1295"/>
                    <a:pt x="379" y="1307"/>
                    <a:pt x="379" y="1312"/>
                  </a:cubicBezTo>
                  <a:cubicBezTo>
                    <a:pt x="379" y="1315"/>
                    <a:pt x="343" y="1326"/>
                    <a:pt x="344" y="1332"/>
                  </a:cubicBezTo>
                  <a:cubicBezTo>
                    <a:pt x="344" y="1334"/>
                    <a:pt x="355" y="1330"/>
                    <a:pt x="357" y="1333"/>
                  </a:cubicBezTo>
                  <a:cubicBezTo>
                    <a:pt x="358" y="1334"/>
                    <a:pt x="358" y="1342"/>
                    <a:pt x="360" y="1344"/>
                  </a:cubicBezTo>
                  <a:cubicBezTo>
                    <a:pt x="364" y="1346"/>
                    <a:pt x="383" y="1337"/>
                    <a:pt x="376" y="1348"/>
                  </a:cubicBezTo>
                  <a:cubicBezTo>
                    <a:pt x="375" y="1350"/>
                    <a:pt x="378" y="1352"/>
                    <a:pt x="380" y="1349"/>
                  </a:cubicBezTo>
                  <a:close/>
                  <a:moveTo>
                    <a:pt x="405" y="1484"/>
                  </a:moveTo>
                  <a:cubicBezTo>
                    <a:pt x="404" y="1485"/>
                    <a:pt x="399" y="1487"/>
                    <a:pt x="402" y="1488"/>
                  </a:cubicBezTo>
                  <a:cubicBezTo>
                    <a:pt x="412" y="1493"/>
                    <a:pt x="396" y="1489"/>
                    <a:pt x="390" y="1490"/>
                  </a:cubicBezTo>
                  <a:cubicBezTo>
                    <a:pt x="388" y="1491"/>
                    <a:pt x="380" y="1495"/>
                    <a:pt x="380" y="1498"/>
                  </a:cubicBezTo>
                  <a:cubicBezTo>
                    <a:pt x="379" y="1503"/>
                    <a:pt x="397" y="1510"/>
                    <a:pt x="394" y="1505"/>
                  </a:cubicBezTo>
                  <a:cubicBezTo>
                    <a:pt x="393" y="1503"/>
                    <a:pt x="398" y="1501"/>
                    <a:pt x="404" y="1499"/>
                  </a:cubicBezTo>
                  <a:cubicBezTo>
                    <a:pt x="404" y="1498"/>
                    <a:pt x="404" y="1498"/>
                    <a:pt x="404" y="1498"/>
                  </a:cubicBezTo>
                  <a:cubicBezTo>
                    <a:pt x="407" y="1496"/>
                    <a:pt x="414" y="1482"/>
                    <a:pt x="405" y="1484"/>
                  </a:cubicBezTo>
                  <a:close/>
                  <a:moveTo>
                    <a:pt x="442" y="1380"/>
                  </a:moveTo>
                  <a:cubicBezTo>
                    <a:pt x="439" y="1377"/>
                    <a:pt x="433" y="1368"/>
                    <a:pt x="434" y="1366"/>
                  </a:cubicBezTo>
                  <a:cubicBezTo>
                    <a:pt x="434" y="1363"/>
                    <a:pt x="437" y="1369"/>
                    <a:pt x="439" y="1368"/>
                  </a:cubicBezTo>
                  <a:cubicBezTo>
                    <a:pt x="440" y="1367"/>
                    <a:pt x="436" y="1362"/>
                    <a:pt x="435" y="1362"/>
                  </a:cubicBezTo>
                  <a:cubicBezTo>
                    <a:pt x="421" y="1355"/>
                    <a:pt x="422" y="1366"/>
                    <a:pt x="408" y="1358"/>
                  </a:cubicBezTo>
                  <a:cubicBezTo>
                    <a:pt x="407" y="1357"/>
                    <a:pt x="406" y="1357"/>
                    <a:pt x="405" y="1356"/>
                  </a:cubicBezTo>
                  <a:cubicBezTo>
                    <a:pt x="404" y="1355"/>
                    <a:pt x="403" y="1354"/>
                    <a:pt x="403" y="1353"/>
                  </a:cubicBezTo>
                  <a:cubicBezTo>
                    <a:pt x="403" y="1348"/>
                    <a:pt x="425" y="1343"/>
                    <a:pt x="428" y="1346"/>
                  </a:cubicBezTo>
                  <a:cubicBezTo>
                    <a:pt x="429" y="1347"/>
                    <a:pt x="431" y="1350"/>
                    <a:pt x="433" y="1347"/>
                  </a:cubicBezTo>
                  <a:cubicBezTo>
                    <a:pt x="434" y="1347"/>
                    <a:pt x="432" y="1346"/>
                    <a:pt x="432" y="1346"/>
                  </a:cubicBezTo>
                  <a:cubicBezTo>
                    <a:pt x="427" y="1341"/>
                    <a:pt x="412" y="1338"/>
                    <a:pt x="412" y="1338"/>
                  </a:cubicBezTo>
                  <a:cubicBezTo>
                    <a:pt x="412" y="1336"/>
                    <a:pt x="417" y="1338"/>
                    <a:pt x="418" y="1336"/>
                  </a:cubicBezTo>
                  <a:cubicBezTo>
                    <a:pt x="420" y="1334"/>
                    <a:pt x="427" y="1298"/>
                    <a:pt x="450" y="1310"/>
                  </a:cubicBezTo>
                  <a:cubicBezTo>
                    <a:pt x="451" y="1311"/>
                    <a:pt x="457" y="1312"/>
                    <a:pt x="458" y="1312"/>
                  </a:cubicBezTo>
                  <a:cubicBezTo>
                    <a:pt x="460" y="1308"/>
                    <a:pt x="442" y="1305"/>
                    <a:pt x="442" y="1302"/>
                  </a:cubicBezTo>
                  <a:cubicBezTo>
                    <a:pt x="442" y="1301"/>
                    <a:pt x="444" y="1300"/>
                    <a:pt x="444" y="1299"/>
                  </a:cubicBezTo>
                  <a:cubicBezTo>
                    <a:pt x="450" y="1290"/>
                    <a:pt x="466" y="1293"/>
                    <a:pt x="466" y="1293"/>
                  </a:cubicBezTo>
                  <a:cubicBezTo>
                    <a:pt x="469" y="1291"/>
                    <a:pt x="462" y="1286"/>
                    <a:pt x="464" y="1284"/>
                  </a:cubicBezTo>
                  <a:cubicBezTo>
                    <a:pt x="466" y="1282"/>
                    <a:pt x="476" y="1281"/>
                    <a:pt x="472" y="1279"/>
                  </a:cubicBezTo>
                  <a:cubicBezTo>
                    <a:pt x="471" y="1279"/>
                    <a:pt x="471" y="1279"/>
                    <a:pt x="471" y="1279"/>
                  </a:cubicBezTo>
                  <a:cubicBezTo>
                    <a:pt x="469" y="1278"/>
                    <a:pt x="467" y="1280"/>
                    <a:pt x="464" y="1280"/>
                  </a:cubicBezTo>
                  <a:cubicBezTo>
                    <a:pt x="458" y="1281"/>
                    <a:pt x="455" y="1287"/>
                    <a:pt x="448" y="1289"/>
                  </a:cubicBezTo>
                  <a:cubicBezTo>
                    <a:pt x="445" y="1291"/>
                    <a:pt x="449" y="1294"/>
                    <a:pt x="447" y="1295"/>
                  </a:cubicBezTo>
                  <a:cubicBezTo>
                    <a:pt x="437" y="1299"/>
                    <a:pt x="436" y="1287"/>
                    <a:pt x="430" y="1296"/>
                  </a:cubicBezTo>
                  <a:cubicBezTo>
                    <a:pt x="427" y="1299"/>
                    <a:pt x="440" y="1297"/>
                    <a:pt x="436" y="1303"/>
                  </a:cubicBezTo>
                  <a:cubicBezTo>
                    <a:pt x="433" y="1307"/>
                    <a:pt x="414" y="1324"/>
                    <a:pt x="411" y="1326"/>
                  </a:cubicBezTo>
                  <a:cubicBezTo>
                    <a:pt x="408" y="1327"/>
                    <a:pt x="406" y="1320"/>
                    <a:pt x="402" y="1323"/>
                  </a:cubicBezTo>
                  <a:cubicBezTo>
                    <a:pt x="402" y="1324"/>
                    <a:pt x="402" y="1324"/>
                    <a:pt x="402" y="1324"/>
                  </a:cubicBezTo>
                  <a:cubicBezTo>
                    <a:pt x="399" y="1330"/>
                    <a:pt x="407" y="1331"/>
                    <a:pt x="408" y="1334"/>
                  </a:cubicBezTo>
                  <a:cubicBezTo>
                    <a:pt x="412" y="1345"/>
                    <a:pt x="404" y="1345"/>
                    <a:pt x="399" y="1350"/>
                  </a:cubicBezTo>
                  <a:cubicBezTo>
                    <a:pt x="397" y="1352"/>
                    <a:pt x="402" y="1358"/>
                    <a:pt x="401" y="1358"/>
                  </a:cubicBezTo>
                  <a:cubicBezTo>
                    <a:pt x="396" y="1362"/>
                    <a:pt x="387" y="1351"/>
                    <a:pt x="386" y="1345"/>
                  </a:cubicBezTo>
                  <a:cubicBezTo>
                    <a:pt x="386" y="1344"/>
                    <a:pt x="384" y="1337"/>
                    <a:pt x="384" y="1338"/>
                  </a:cubicBezTo>
                  <a:cubicBezTo>
                    <a:pt x="375" y="1358"/>
                    <a:pt x="413" y="1368"/>
                    <a:pt x="426" y="1376"/>
                  </a:cubicBezTo>
                  <a:cubicBezTo>
                    <a:pt x="430" y="1379"/>
                    <a:pt x="426" y="1366"/>
                    <a:pt x="431" y="1369"/>
                  </a:cubicBezTo>
                  <a:cubicBezTo>
                    <a:pt x="434" y="1371"/>
                    <a:pt x="437" y="1388"/>
                    <a:pt x="446" y="1384"/>
                  </a:cubicBezTo>
                  <a:cubicBezTo>
                    <a:pt x="448" y="1383"/>
                    <a:pt x="444" y="1381"/>
                    <a:pt x="442" y="1380"/>
                  </a:cubicBezTo>
                  <a:close/>
                  <a:moveTo>
                    <a:pt x="473" y="1340"/>
                  </a:moveTo>
                  <a:cubicBezTo>
                    <a:pt x="472" y="1339"/>
                    <a:pt x="473" y="1337"/>
                    <a:pt x="475" y="1336"/>
                  </a:cubicBezTo>
                  <a:cubicBezTo>
                    <a:pt x="478" y="1333"/>
                    <a:pt x="471" y="1327"/>
                    <a:pt x="467" y="1327"/>
                  </a:cubicBezTo>
                  <a:cubicBezTo>
                    <a:pt x="467" y="1327"/>
                    <a:pt x="467" y="1327"/>
                    <a:pt x="467" y="1327"/>
                  </a:cubicBezTo>
                  <a:cubicBezTo>
                    <a:pt x="464" y="1327"/>
                    <a:pt x="468" y="1333"/>
                    <a:pt x="466" y="1335"/>
                  </a:cubicBezTo>
                  <a:cubicBezTo>
                    <a:pt x="465" y="1335"/>
                    <a:pt x="446" y="1335"/>
                    <a:pt x="462" y="1340"/>
                  </a:cubicBezTo>
                  <a:cubicBezTo>
                    <a:pt x="462" y="1340"/>
                    <a:pt x="464" y="1344"/>
                    <a:pt x="463" y="1344"/>
                  </a:cubicBezTo>
                  <a:cubicBezTo>
                    <a:pt x="462" y="1346"/>
                    <a:pt x="458" y="1348"/>
                    <a:pt x="456" y="1346"/>
                  </a:cubicBezTo>
                  <a:cubicBezTo>
                    <a:pt x="450" y="1339"/>
                    <a:pt x="457" y="1359"/>
                    <a:pt x="446" y="1357"/>
                  </a:cubicBezTo>
                  <a:cubicBezTo>
                    <a:pt x="442" y="1356"/>
                    <a:pt x="439" y="1345"/>
                    <a:pt x="435" y="1349"/>
                  </a:cubicBezTo>
                  <a:cubicBezTo>
                    <a:pt x="434" y="1350"/>
                    <a:pt x="447" y="1368"/>
                    <a:pt x="451" y="1369"/>
                  </a:cubicBezTo>
                  <a:cubicBezTo>
                    <a:pt x="452" y="1369"/>
                    <a:pt x="454" y="1361"/>
                    <a:pt x="454" y="1360"/>
                  </a:cubicBezTo>
                  <a:cubicBezTo>
                    <a:pt x="454" y="1359"/>
                    <a:pt x="470" y="1366"/>
                    <a:pt x="470" y="1364"/>
                  </a:cubicBezTo>
                  <a:cubicBezTo>
                    <a:pt x="470" y="1362"/>
                    <a:pt x="468" y="1361"/>
                    <a:pt x="467" y="1360"/>
                  </a:cubicBezTo>
                  <a:cubicBezTo>
                    <a:pt x="466" y="1360"/>
                    <a:pt x="448" y="1355"/>
                    <a:pt x="460" y="1349"/>
                  </a:cubicBezTo>
                  <a:cubicBezTo>
                    <a:pt x="460" y="1349"/>
                    <a:pt x="466" y="1348"/>
                    <a:pt x="467" y="1346"/>
                  </a:cubicBezTo>
                  <a:cubicBezTo>
                    <a:pt x="467" y="1345"/>
                    <a:pt x="468" y="1339"/>
                    <a:pt x="470" y="1340"/>
                  </a:cubicBezTo>
                  <a:cubicBezTo>
                    <a:pt x="476" y="1345"/>
                    <a:pt x="477" y="1367"/>
                    <a:pt x="485" y="1362"/>
                  </a:cubicBezTo>
                  <a:cubicBezTo>
                    <a:pt x="492" y="1358"/>
                    <a:pt x="476" y="1344"/>
                    <a:pt x="473" y="1340"/>
                  </a:cubicBezTo>
                  <a:close/>
                  <a:moveTo>
                    <a:pt x="508" y="1330"/>
                  </a:moveTo>
                  <a:cubicBezTo>
                    <a:pt x="508" y="1330"/>
                    <a:pt x="507" y="1330"/>
                    <a:pt x="507" y="1330"/>
                  </a:cubicBezTo>
                  <a:cubicBezTo>
                    <a:pt x="499" y="1326"/>
                    <a:pt x="491" y="1331"/>
                    <a:pt x="484" y="1322"/>
                  </a:cubicBezTo>
                  <a:cubicBezTo>
                    <a:pt x="484" y="1322"/>
                    <a:pt x="480" y="1319"/>
                    <a:pt x="481" y="1318"/>
                  </a:cubicBezTo>
                  <a:cubicBezTo>
                    <a:pt x="485" y="1313"/>
                    <a:pt x="508" y="1324"/>
                    <a:pt x="499" y="1313"/>
                  </a:cubicBezTo>
                  <a:cubicBezTo>
                    <a:pt x="498" y="1313"/>
                    <a:pt x="498" y="1313"/>
                    <a:pt x="498" y="1313"/>
                  </a:cubicBezTo>
                  <a:cubicBezTo>
                    <a:pt x="493" y="1311"/>
                    <a:pt x="489" y="1315"/>
                    <a:pt x="483" y="1314"/>
                  </a:cubicBezTo>
                  <a:cubicBezTo>
                    <a:pt x="463" y="1311"/>
                    <a:pt x="494" y="1343"/>
                    <a:pt x="508" y="1331"/>
                  </a:cubicBezTo>
                  <a:cubicBezTo>
                    <a:pt x="508" y="1331"/>
                    <a:pt x="508" y="1331"/>
                    <a:pt x="508" y="1330"/>
                  </a:cubicBezTo>
                  <a:close/>
                  <a:moveTo>
                    <a:pt x="606" y="1373"/>
                  </a:moveTo>
                  <a:cubicBezTo>
                    <a:pt x="593" y="1364"/>
                    <a:pt x="604" y="1367"/>
                    <a:pt x="599" y="1358"/>
                  </a:cubicBezTo>
                  <a:cubicBezTo>
                    <a:pt x="598" y="1355"/>
                    <a:pt x="592" y="1354"/>
                    <a:pt x="592" y="1350"/>
                  </a:cubicBezTo>
                  <a:cubicBezTo>
                    <a:pt x="592" y="1347"/>
                    <a:pt x="599" y="1349"/>
                    <a:pt x="600" y="1347"/>
                  </a:cubicBezTo>
                  <a:cubicBezTo>
                    <a:pt x="603" y="1342"/>
                    <a:pt x="601" y="1352"/>
                    <a:pt x="603" y="1353"/>
                  </a:cubicBezTo>
                  <a:cubicBezTo>
                    <a:pt x="606" y="1355"/>
                    <a:pt x="607" y="1350"/>
                    <a:pt x="606" y="1348"/>
                  </a:cubicBezTo>
                  <a:cubicBezTo>
                    <a:pt x="605" y="1346"/>
                    <a:pt x="608" y="1343"/>
                    <a:pt x="608" y="1343"/>
                  </a:cubicBezTo>
                  <a:cubicBezTo>
                    <a:pt x="606" y="1341"/>
                    <a:pt x="599" y="1343"/>
                    <a:pt x="599" y="1342"/>
                  </a:cubicBezTo>
                  <a:cubicBezTo>
                    <a:pt x="599" y="1340"/>
                    <a:pt x="617" y="1326"/>
                    <a:pt x="614" y="1324"/>
                  </a:cubicBezTo>
                  <a:cubicBezTo>
                    <a:pt x="611" y="1321"/>
                    <a:pt x="605" y="1330"/>
                    <a:pt x="605" y="1332"/>
                  </a:cubicBezTo>
                  <a:cubicBezTo>
                    <a:pt x="604" y="1334"/>
                    <a:pt x="592" y="1344"/>
                    <a:pt x="589" y="1348"/>
                  </a:cubicBezTo>
                  <a:cubicBezTo>
                    <a:pt x="587" y="1354"/>
                    <a:pt x="602" y="1355"/>
                    <a:pt x="592" y="1360"/>
                  </a:cubicBezTo>
                  <a:cubicBezTo>
                    <a:pt x="587" y="1362"/>
                    <a:pt x="578" y="1347"/>
                    <a:pt x="570" y="1345"/>
                  </a:cubicBezTo>
                  <a:cubicBezTo>
                    <a:pt x="566" y="1344"/>
                    <a:pt x="570" y="1350"/>
                    <a:pt x="568" y="1350"/>
                  </a:cubicBezTo>
                  <a:cubicBezTo>
                    <a:pt x="563" y="1350"/>
                    <a:pt x="557" y="1345"/>
                    <a:pt x="552" y="1343"/>
                  </a:cubicBezTo>
                  <a:cubicBezTo>
                    <a:pt x="548" y="1342"/>
                    <a:pt x="546" y="1346"/>
                    <a:pt x="544" y="1344"/>
                  </a:cubicBezTo>
                  <a:cubicBezTo>
                    <a:pt x="543" y="1343"/>
                    <a:pt x="544" y="1338"/>
                    <a:pt x="543" y="1339"/>
                  </a:cubicBezTo>
                  <a:cubicBezTo>
                    <a:pt x="542" y="1340"/>
                    <a:pt x="541" y="1346"/>
                    <a:pt x="540" y="1344"/>
                  </a:cubicBezTo>
                  <a:cubicBezTo>
                    <a:pt x="537" y="1338"/>
                    <a:pt x="546" y="1332"/>
                    <a:pt x="546" y="1329"/>
                  </a:cubicBezTo>
                  <a:cubicBezTo>
                    <a:pt x="547" y="1326"/>
                    <a:pt x="535" y="1322"/>
                    <a:pt x="538" y="1320"/>
                  </a:cubicBezTo>
                  <a:cubicBezTo>
                    <a:pt x="542" y="1319"/>
                    <a:pt x="546" y="1318"/>
                    <a:pt x="549" y="1320"/>
                  </a:cubicBezTo>
                  <a:cubicBezTo>
                    <a:pt x="550" y="1321"/>
                    <a:pt x="558" y="1324"/>
                    <a:pt x="558" y="1322"/>
                  </a:cubicBezTo>
                  <a:cubicBezTo>
                    <a:pt x="556" y="1312"/>
                    <a:pt x="550" y="1319"/>
                    <a:pt x="541" y="1315"/>
                  </a:cubicBezTo>
                  <a:cubicBezTo>
                    <a:pt x="540" y="1315"/>
                    <a:pt x="555" y="1298"/>
                    <a:pt x="545" y="1302"/>
                  </a:cubicBezTo>
                  <a:cubicBezTo>
                    <a:pt x="543" y="1302"/>
                    <a:pt x="542" y="1300"/>
                    <a:pt x="542" y="1299"/>
                  </a:cubicBezTo>
                  <a:cubicBezTo>
                    <a:pt x="546" y="1293"/>
                    <a:pt x="566" y="1308"/>
                    <a:pt x="563" y="1302"/>
                  </a:cubicBezTo>
                  <a:cubicBezTo>
                    <a:pt x="562" y="1297"/>
                    <a:pt x="549" y="1290"/>
                    <a:pt x="549" y="1289"/>
                  </a:cubicBezTo>
                  <a:cubicBezTo>
                    <a:pt x="549" y="1289"/>
                    <a:pt x="565" y="1270"/>
                    <a:pt x="559" y="1266"/>
                  </a:cubicBezTo>
                  <a:cubicBezTo>
                    <a:pt x="558" y="1265"/>
                    <a:pt x="544" y="1281"/>
                    <a:pt x="544" y="1276"/>
                  </a:cubicBezTo>
                  <a:cubicBezTo>
                    <a:pt x="544" y="1266"/>
                    <a:pt x="546" y="1262"/>
                    <a:pt x="554" y="1261"/>
                  </a:cubicBezTo>
                  <a:cubicBezTo>
                    <a:pt x="557" y="1260"/>
                    <a:pt x="561" y="1257"/>
                    <a:pt x="560" y="1256"/>
                  </a:cubicBezTo>
                  <a:cubicBezTo>
                    <a:pt x="556" y="1252"/>
                    <a:pt x="553" y="1260"/>
                    <a:pt x="548" y="1255"/>
                  </a:cubicBezTo>
                  <a:cubicBezTo>
                    <a:pt x="543" y="1250"/>
                    <a:pt x="555" y="1253"/>
                    <a:pt x="553" y="1251"/>
                  </a:cubicBezTo>
                  <a:cubicBezTo>
                    <a:pt x="552" y="1250"/>
                    <a:pt x="546" y="1245"/>
                    <a:pt x="549" y="1243"/>
                  </a:cubicBezTo>
                  <a:cubicBezTo>
                    <a:pt x="553" y="1240"/>
                    <a:pt x="553" y="1248"/>
                    <a:pt x="554" y="1247"/>
                  </a:cubicBezTo>
                  <a:cubicBezTo>
                    <a:pt x="559" y="1245"/>
                    <a:pt x="562" y="1243"/>
                    <a:pt x="562" y="1244"/>
                  </a:cubicBezTo>
                  <a:cubicBezTo>
                    <a:pt x="566" y="1246"/>
                    <a:pt x="563" y="1238"/>
                    <a:pt x="564" y="1238"/>
                  </a:cubicBezTo>
                  <a:cubicBezTo>
                    <a:pt x="567" y="1238"/>
                    <a:pt x="575" y="1244"/>
                    <a:pt x="576" y="1243"/>
                  </a:cubicBezTo>
                  <a:cubicBezTo>
                    <a:pt x="580" y="1238"/>
                    <a:pt x="564" y="1234"/>
                    <a:pt x="563" y="1232"/>
                  </a:cubicBezTo>
                  <a:cubicBezTo>
                    <a:pt x="561" y="1228"/>
                    <a:pt x="567" y="1218"/>
                    <a:pt x="568" y="1215"/>
                  </a:cubicBezTo>
                  <a:cubicBezTo>
                    <a:pt x="568" y="1214"/>
                    <a:pt x="570" y="1207"/>
                    <a:pt x="572" y="1207"/>
                  </a:cubicBezTo>
                  <a:cubicBezTo>
                    <a:pt x="574" y="1208"/>
                    <a:pt x="571" y="1225"/>
                    <a:pt x="582" y="1227"/>
                  </a:cubicBezTo>
                  <a:cubicBezTo>
                    <a:pt x="582" y="1227"/>
                    <a:pt x="575" y="1219"/>
                    <a:pt x="576" y="1217"/>
                  </a:cubicBezTo>
                  <a:cubicBezTo>
                    <a:pt x="577" y="1215"/>
                    <a:pt x="577" y="1200"/>
                    <a:pt x="578" y="1199"/>
                  </a:cubicBezTo>
                  <a:cubicBezTo>
                    <a:pt x="579" y="1199"/>
                    <a:pt x="586" y="1203"/>
                    <a:pt x="587" y="1203"/>
                  </a:cubicBezTo>
                  <a:cubicBezTo>
                    <a:pt x="593" y="1201"/>
                    <a:pt x="577" y="1194"/>
                    <a:pt x="579" y="1188"/>
                  </a:cubicBezTo>
                  <a:cubicBezTo>
                    <a:pt x="579" y="1186"/>
                    <a:pt x="580" y="1180"/>
                    <a:pt x="580" y="1183"/>
                  </a:cubicBezTo>
                  <a:cubicBezTo>
                    <a:pt x="581" y="1189"/>
                    <a:pt x="595" y="1205"/>
                    <a:pt x="601" y="1201"/>
                  </a:cubicBezTo>
                  <a:cubicBezTo>
                    <a:pt x="606" y="1196"/>
                    <a:pt x="580" y="1186"/>
                    <a:pt x="587" y="1183"/>
                  </a:cubicBezTo>
                  <a:cubicBezTo>
                    <a:pt x="592" y="1180"/>
                    <a:pt x="608" y="1197"/>
                    <a:pt x="610" y="1196"/>
                  </a:cubicBezTo>
                  <a:cubicBezTo>
                    <a:pt x="615" y="1193"/>
                    <a:pt x="591" y="1155"/>
                    <a:pt x="613" y="1152"/>
                  </a:cubicBezTo>
                  <a:cubicBezTo>
                    <a:pt x="641" y="1149"/>
                    <a:pt x="630" y="1179"/>
                    <a:pt x="626" y="1172"/>
                  </a:cubicBezTo>
                  <a:cubicBezTo>
                    <a:pt x="626" y="1172"/>
                    <a:pt x="626" y="1172"/>
                    <a:pt x="626" y="1172"/>
                  </a:cubicBezTo>
                  <a:cubicBezTo>
                    <a:pt x="625" y="1171"/>
                    <a:pt x="625" y="1171"/>
                    <a:pt x="626" y="1172"/>
                  </a:cubicBezTo>
                  <a:cubicBezTo>
                    <a:pt x="626" y="1173"/>
                    <a:pt x="629" y="1178"/>
                    <a:pt x="627" y="1178"/>
                  </a:cubicBezTo>
                  <a:cubicBezTo>
                    <a:pt x="624" y="1179"/>
                    <a:pt x="622" y="1176"/>
                    <a:pt x="617" y="1176"/>
                  </a:cubicBezTo>
                  <a:cubicBezTo>
                    <a:pt x="613" y="1176"/>
                    <a:pt x="626" y="1183"/>
                    <a:pt x="617" y="1182"/>
                  </a:cubicBezTo>
                  <a:cubicBezTo>
                    <a:pt x="613" y="1182"/>
                    <a:pt x="614" y="1197"/>
                    <a:pt x="622" y="1197"/>
                  </a:cubicBezTo>
                  <a:cubicBezTo>
                    <a:pt x="624" y="1196"/>
                    <a:pt x="619" y="1193"/>
                    <a:pt x="619" y="1191"/>
                  </a:cubicBezTo>
                  <a:cubicBezTo>
                    <a:pt x="622" y="1179"/>
                    <a:pt x="630" y="1185"/>
                    <a:pt x="638" y="1177"/>
                  </a:cubicBezTo>
                  <a:cubicBezTo>
                    <a:pt x="641" y="1174"/>
                    <a:pt x="640" y="1151"/>
                    <a:pt x="642" y="1151"/>
                  </a:cubicBezTo>
                  <a:cubicBezTo>
                    <a:pt x="643" y="1150"/>
                    <a:pt x="643" y="1151"/>
                    <a:pt x="643" y="1152"/>
                  </a:cubicBezTo>
                  <a:cubicBezTo>
                    <a:pt x="658" y="1163"/>
                    <a:pt x="640" y="1172"/>
                    <a:pt x="644" y="1175"/>
                  </a:cubicBezTo>
                  <a:cubicBezTo>
                    <a:pt x="647" y="1177"/>
                    <a:pt x="653" y="1161"/>
                    <a:pt x="654" y="1170"/>
                  </a:cubicBezTo>
                  <a:cubicBezTo>
                    <a:pt x="654" y="1171"/>
                    <a:pt x="666" y="1177"/>
                    <a:pt x="666" y="1177"/>
                  </a:cubicBezTo>
                  <a:cubicBezTo>
                    <a:pt x="668" y="1177"/>
                    <a:pt x="666" y="1169"/>
                    <a:pt x="666" y="1169"/>
                  </a:cubicBezTo>
                  <a:cubicBezTo>
                    <a:pt x="667" y="1160"/>
                    <a:pt x="659" y="1170"/>
                    <a:pt x="658" y="1170"/>
                  </a:cubicBezTo>
                  <a:cubicBezTo>
                    <a:pt x="656" y="1170"/>
                    <a:pt x="657" y="1167"/>
                    <a:pt x="658" y="1166"/>
                  </a:cubicBezTo>
                  <a:cubicBezTo>
                    <a:pt x="664" y="1163"/>
                    <a:pt x="656" y="1164"/>
                    <a:pt x="654" y="1164"/>
                  </a:cubicBezTo>
                  <a:cubicBezTo>
                    <a:pt x="653" y="1164"/>
                    <a:pt x="653" y="1161"/>
                    <a:pt x="653" y="1160"/>
                  </a:cubicBezTo>
                  <a:cubicBezTo>
                    <a:pt x="654" y="1153"/>
                    <a:pt x="659" y="1156"/>
                    <a:pt x="661" y="1152"/>
                  </a:cubicBezTo>
                  <a:cubicBezTo>
                    <a:pt x="662" y="1152"/>
                    <a:pt x="658" y="1151"/>
                    <a:pt x="660" y="1147"/>
                  </a:cubicBezTo>
                  <a:cubicBezTo>
                    <a:pt x="662" y="1144"/>
                    <a:pt x="672" y="1157"/>
                    <a:pt x="676" y="1155"/>
                  </a:cubicBezTo>
                  <a:cubicBezTo>
                    <a:pt x="680" y="1153"/>
                    <a:pt x="667" y="1149"/>
                    <a:pt x="667" y="1147"/>
                  </a:cubicBezTo>
                  <a:cubicBezTo>
                    <a:pt x="669" y="1135"/>
                    <a:pt x="670" y="1151"/>
                    <a:pt x="676" y="1144"/>
                  </a:cubicBezTo>
                  <a:cubicBezTo>
                    <a:pt x="677" y="1143"/>
                    <a:pt x="672" y="1141"/>
                    <a:pt x="671" y="1140"/>
                  </a:cubicBezTo>
                  <a:cubicBezTo>
                    <a:pt x="665" y="1135"/>
                    <a:pt x="662" y="1132"/>
                    <a:pt x="660" y="1124"/>
                  </a:cubicBezTo>
                  <a:cubicBezTo>
                    <a:pt x="659" y="1124"/>
                    <a:pt x="656" y="1119"/>
                    <a:pt x="657" y="1119"/>
                  </a:cubicBezTo>
                  <a:cubicBezTo>
                    <a:pt x="660" y="1118"/>
                    <a:pt x="668" y="1127"/>
                    <a:pt x="672" y="1127"/>
                  </a:cubicBezTo>
                  <a:cubicBezTo>
                    <a:pt x="676" y="1127"/>
                    <a:pt x="667" y="1117"/>
                    <a:pt x="671" y="1115"/>
                  </a:cubicBezTo>
                  <a:cubicBezTo>
                    <a:pt x="674" y="1113"/>
                    <a:pt x="680" y="1124"/>
                    <a:pt x="688" y="1120"/>
                  </a:cubicBezTo>
                  <a:cubicBezTo>
                    <a:pt x="688" y="1120"/>
                    <a:pt x="675" y="1113"/>
                    <a:pt x="674" y="1113"/>
                  </a:cubicBezTo>
                  <a:cubicBezTo>
                    <a:pt x="665" y="1109"/>
                    <a:pt x="663" y="1123"/>
                    <a:pt x="658" y="1107"/>
                  </a:cubicBezTo>
                  <a:cubicBezTo>
                    <a:pt x="658" y="1106"/>
                    <a:pt x="661" y="1104"/>
                    <a:pt x="662" y="1103"/>
                  </a:cubicBezTo>
                  <a:cubicBezTo>
                    <a:pt x="662" y="1103"/>
                    <a:pt x="665" y="1110"/>
                    <a:pt x="668" y="1108"/>
                  </a:cubicBezTo>
                  <a:cubicBezTo>
                    <a:pt x="671" y="1106"/>
                    <a:pt x="663" y="1102"/>
                    <a:pt x="665" y="1099"/>
                  </a:cubicBezTo>
                  <a:cubicBezTo>
                    <a:pt x="666" y="1098"/>
                    <a:pt x="662" y="1095"/>
                    <a:pt x="667" y="1098"/>
                  </a:cubicBezTo>
                  <a:cubicBezTo>
                    <a:pt x="677" y="1105"/>
                    <a:pt x="680" y="1103"/>
                    <a:pt x="669" y="1096"/>
                  </a:cubicBezTo>
                  <a:cubicBezTo>
                    <a:pt x="661" y="1091"/>
                    <a:pt x="679" y="1092"/>
                    <a:pt x="674" y="1089"/>
                  </a:cubicBezTo>
                  <a:cubicBezTo>
                    <a:pt x="665" y="1083"/>
                    <a:pt x="665" y="1094"/>
                    <a:pt x="662" y="1095"/>
                  </a:cubicBezTo>
                  <a:cubicBezTo>
                    <a:pt x="656" y="1098"/>
                    <a:pt x="645" y="1086"/>
                    <a:pt x="644" y="1092"/>
                  </a:cubicBezTo>
                  <a:cubicBezTo>
                    <a:pt x="643" y="1097"/>
                    <a:pt x="659" y="1099"/>
                    <a:pt x="657" y="1105"/>
                  </a:cubicBezTo>
                  <a:cubicBezTo>
                    <a:pt x="656" y="1109"/>
                    <a:pt x="643" y="1095"/>
                    <a:pt x="642" y="1095"/>
                  </a:cubicBezTo>
                  <a:cubicBezTo>
                    <a:pt x="641" y="1095"/>
                    <a:pt x="647" y="1102"/>
                    <a:pt x="647" y="1103"/>
                  </a:cubicBezTo>
                  <a:cubicBezTo>
                    <a:pt x="646" y="1110"/>
                    <a:pt x="658" y="1121"/>
                    <a:pt x="652" y="1125"/>
                  </a:cubicBezTo>
                  <a:cubicBezTo>
                    <a:pt x="651" y="1125"/>
                    <a:pt x="632" y="1106"/>
                    <a:pt x="631" y="1104"/>
                  </a:cubicBezTo>
                  <a:cubicBezTo>
                    <a:pt x="630" y="1102"/>
                    <a:pt x="622" y="1097"/>
                    <a:pt x="622" y="1100"/>
                  </a:cubicBezTo>
                  <a:cubicBezTo>
                    <a:pt x="622" y="1105"/>
                    <a:pt x="670" y="1139"/>
                    <a:pt x="655" y="1152"/>
                  </a:cubicBezTo>
                  <a:cubicBezTo>
                    <a:pt x="647" y="1159"/>
                    <a:pt x="618" y="1120"/>
                    <a:pt x="616" y="1114"/>
                  </a:cubicBezTo>
                  <a:cubicBezTo>
                    <a:pt x="616" y="1113"/>
                    <a:pt x="612" y="1109"/>
                    <a:pt x="610" y="1109"/>
                  </a:cubicBezTo>
                  <a:cubicBezTo>
                    <a:pt x="603" y="1113"/>
                    <a:pt x="636" y="1145"/>
                    <a:pt x="632" y="1151"/>
                  </a:cubicBezTo>
                  <a:cubicBezTo>
                    <a:pt x="629" y="1154"/>
                    <a:pt x="619" y="1144"/>
                    <a:pt x="617" y="1144"/>
                  </a:cubicBezTo>
                  <a:cubicBezTo>
                    <a:pt x="609" y="1142"/>
                    <a:pt x="615" y="1150"/>
                    <a:pt x="615" y="1150"/>
                  </a:cubicBezTo>
                  <a:cubicBezTo>
                    <a:pt x="603" y="1154"/>
                    <a:pt x="603" y="1151"/>
                    <a:pt x="599" y="1155"/>
                  </a:cubicBezTo>
                  <a:cubicBezTo>
                    <a:pt x="597" y="1158"/>
                    <a:pt x="600" y="1184"/>
                    <a:pt x="600" y="1184"/>
                  </a:cubicBezTo>
                  <a:cubicBezTo>
                    <a:pt x="581" y="1179"/>
                    <a:pt x="594" y="1169"/>
                    <a:pt x="593" y="1167"/>
                  </a:cubicBezTo>
                  <a:cubicBezTo>
                    <a:pt x="593" y="1165"/>
                    <a:pt x="593" y="1159"/>
                    <a:pt x="590" y="1160"/>
                  </a:cubicBezTo>
                  <a:cubicBezTo>
                    <a:pt x="586" y="1161"/>
                    <a:pt x="588" y="1170"/>
                    <a:pt x="584" y="1172"/>
                  </a:cubicBezTo>
                  <a:cubicBezTo>
                    <a:pt x="581" y="1173"/>
                    <a:pt x="584" y="1186"/>
                    <a:pt x="583" y="1182"/>
                  </a:cubicBezTo>
                  <a:cubicBezTo>
                    <a:pt x="581" y="1174"/>
                    <a:pt x="559" y="1164"/>
                    <a:pt x="559" y="1155"/>
                  </a:cubicBezTo>
                  <a:cubicBezTo>
                    <a:pt x="559" y="1152"/>
                    <a:pt x="575" y="1167"/>
                    <a:pt x="565" y="1153"/>
                  </a:cubicBezTo>
                  <a:cubicBezTo>
                    <a:pt x="562" y="1148"/>
                    <a:pt x="570" y="1144"/>
                    <a:pt x="573" y="1142"/>
                  </a:cubicBezTo>
                  <a:cubicBezTo>
                    <a:pt x="577" y="1139"/>
                    <a:pt x="587" y="1154"/>
                    <a:pt x="592" y="1150"/>
                  </a:cubicBezTo>
                  <a:cubicBezTo>
                    <a:pt x="597" y="1145"/>
                    <a:pt x="580" y="1141"/>
                    <a:pt x="579" y="1134"/>
                  </a:cubicBezTo>
                  <a:cubicBezTo>
                    <a:pt x="578" y="1132"/>
                    <a:pt x="584" y="1140"/>
                    <a:pt x="584" y="1138"/>
                  </a:cubicBezTo>
                  <a:cubicBezTo>
                    <a:pt x="584" y="1132"/>
                    <a:pt x="580" y="1118"/>
                    <a:pt x="585" y="1121"/>
                  </a:cubicBezTo>
                  <a:cubicBezTo>
                    <a:pt x="586" y="1121"/>
                    <a:pt x="591" y="1126"/>
                    <a:pt x="590" y="1123"/>
                  </a:cubicBezTo>
                  <a:cubicBezTo>
                    <a:pt x="590" y="1121"/>
                    <a:pt x="584" y="1116"/>
                    <a:pt x="586" y="1114"/>
                  </a:cubicBezTo>
                  <a:cubicBezTo>
                    <a:pt x="593" y="1108"/>
                    <a:pt x="612" y="1146"/>
                    <a:pt x="612" y="1134"/>
                  </a:cubicBezTo>
                  <a:cubicBezTo>
                    <a:pt x="613" y="1129"/>
                    <a:pt x="619" y="1138"/>
                    <a:pt x="619" y="1136"/>
                  </a:cubicBezTo>
                  <a:cubicBezTo>
                    <a:pt x="618" y="1117"/>
                    <a:pt x="582" y="1109"/>
                    <a:pt x="579" y="1094"/>
                  </a:cubicBezTo>
                  <a:cubicBezTo>
                    <a:pt x="578" y="1085"/>
                    <a:pt x="592" y="1103"/>
                    <a:pt x="595" y="1098"/>
                  </a:cubicBezTo>
                  <a:cubicBezTo>
                    <a:pt x="596" y="1097"/>
                    <a:pt x="580" y="1087"/>
                    <a:pt x="578" y="1086"/>
                  </a:cubicBezTo>
                  <a:cubicBezTo>
                    <a:pt x="576" y="1084"/>
                    <a:pt x="573" y="1068"/>
                    <a:pt x="567" y="1071"/>
                  </a:cubicBezTo>
                  <a:cubicBezTo>
                    <a:pt x="560" y="1074"/>
                    <a:pt x="570" y="1083"/>
                    <a:pt x="568" y="1083"/>
                  </a:cubicBezTo>
                  <a:cubicBezTo>
                    <a:pt x="563" y="1083"/>
                    <a:pt x="544" y="1068"/>
                    <a:pt x="549" y="1063"/>
                  </a:cubicBezTo>
                  <a:cubicBezTo>
                    <a:pt x="549" y="1063"/>
                    <a:pt x="550" y="1057"/>
                    <a:pt x="549" y="1056"/>
                  </a:cubicBezTo>
                  <a:cubicBezTo>
                    <a:pt x="546" y="1054"/>
                    <a:pt x="544" y="1064"/>
                    <a:pt x="540" y="1064"/>
                  </a:cubicBezTo>
                  <a:cubicBezTo>
                    <a:pt x="540" y="1064"/>
                    <a:pt x="542" y="1076"/>
                    <a:pt x="538" y="1076"/>
                  </a:cubicBezTo>
                  <a:cubicBezTo>
                    <a:pt x="535" y="1075"/>
                    <a:pt x="537" y="1072"/>
                    <a:pt x="535" y="1071"/>
                  </a:cubicBezTo>
                  <a:cubicBezTo>
                    <a:pt x="525" y="1068"/>
                    <a:pt x="540" y="1084"/>
                    <a:pt x="538" y="1090"/>
                  </a:cubicBezTo>
                  <a:cubicBezTo>
                    <a:pt x="535" y="1096"/>
                    <a:pt x="523" y="1080"/>
                    <a:pt x="524" y="1090"/>
                  </a:cubicBezTo>
                  <a:cubicBezTo>
                    <a:pt x="525" y="1091"/>
                    <a:pt x="522" y="1092"/>
                    <a:pt x="523" y="1094"/>
                  </a:cubicBezTo>
                  <a:cubicBezTo>
                    <a:pt x="536" y="1106"/>
                    <a:pt x="541" y="1098"/>
                    <a:pt x="543" y="1085"/>
                  </a:cubicBezTo>
                  <a:cubicBezTo>
                    <a:pt x="544" y="1084"/>
                    <a:pt x="541" y="1079"/>
                    <a:pt x="541" y="1078"/>
                  </a:cubicBezTo>
                  <a:cubicBezTo>
                    <a:pt x="542" y="1078"/>
                    <a:pt x="568" y="1091"/>
                    <a:pt x="576" y="1101"/>
                  </a:cubicBezTo>
                  <a:cubicBezTo>
                    <a:pt x="578" y="1104"/>
                    <a:pt x="584" y="1107"/>
                    <a:pt x="582" y="1109"/>
                  </a:cubicBezTo>
                  <a:cubicBezTo>
                    <a:pt x="581" y="1110"/>
                    <a:pt x="578" y="1106"/>
                    <a:pt x="577" y="1107"/>
                  </a:cubicBezTo>
                  <a:cubicBezTo>
                    <a:pt x="573" y="1108"/>
                    <a:pt x="562" y="1106"/>
                    <a:pt x="565" y="1108"/>
                  </a:cubicBezTo>
                  <a:cubicBezTo>
                    <a:pt x="567" y="1109"/>
                    <a:pt x="575" y="1113"/>
                    <a:pt x="575" y="1115"/>
                  </a:cubicBezTo>
                  <a:cubicBezTo>
                    <a:pt x="574" y="1117"/>
                    <a:pt x="566" y="1122"/>
                    <a:pt x="564" y="1124"/>
                  </a:cubicBezTo>
                  <a:cubicBezTo>
                    <a:pt x="562" y="1125"/>
                    <a:pt x="581" y="1126"/>
                    <a:pt x="574" y="1138"/>
                  </a:cubicBezTo>
                  <a:cubicBezTo>
                    <a:pt x="571" y="1141"/>
                    <a:pt x="567" y="1129"/>
                    <a:pt x="563" y="1130"/>
                  </a:cubicBezTo>
                  <a:cubicBezTo>
                    <a:pt x="561" y="1131"/>
                    <a:pt x="570" y="1156"/>
                    <a:pt x="554" y="1147"/>
                  </a:cubicBezTo>
                  <a:cubicBezTo>
                    <a:pt x="553" y="1146"/>
                    <a:pt x="546" y="1147"/>
                    <a:pt x="545" y="1148"/>
                  </a:cubicBezTo>
                  <a:cubicBezTo>
                    <a:pt x="543" y="1157"/>
                    <a:pt x="558" y="1163"/>
                    <a:pt x="561" y="1165"/>
                  </a:cubicBezTo>
                  <a:cubicBezTo>
                    <a:pt x="570" y="1170"/>
                    <a:pt x="564" y="1176"/>
                    <a:pt x="564" y="1176"/>
                  </a:cubicBezTo>
                  <a:cubicBezTo>
                    <a:pt x="574" y="1181"/>
                    <a:pt x="569" y="1171"/>
                    <a:pt x="573" y="1175"/>
                  </a:cubicBezTo>
                  <a:cubicBezTo>
                    <a:pt x="576" y="1177"/>
                    <a:pt x="577" y="1193"/>
                    <a:pt x="576" y="1193"/>
                  </a:cubicBezTo>
                  <a:cubicBezTo>
                    <a:pt x="576" y="1194"/>
                    <a:pt x="574" y="1193"/>
                    <a:pt x="573" y="1193"/>
                  </a:cubicBezTo>
                  <a:cubicBezTo>
                    <a:pt x="566" y="1190"/>
                    <a:pt x="575" y="1198"/>
                    <a:pt x="570" y="1204"/>
                  </a:cubicBezTo>
                  <a:cubicBezTo>
                    <a:pt x="562" y="1213"/>
                    <a:pt x="558" y="1204"/>
                    <a:pt x="554" y="1211"/>
                  </a:cubicBezTo>
                  <a:cubicBezTo>
                    <a:pt x="552" y="1215"/>
                    <a:pt x="562" y="1216"/>
                    <a:pt x="557" y="1220"/>
                  </a:cubicBezTo>
                  <a:cubicBezTo>
                    <a:pt x="549" y="1227"/>
                    <a:pt x="532" y="1215"/>
                    <a:pt x="532" y="1216"/>
                  </a:cubicBezTo>
                  <a:cubicBezTo>
                    <a:pt x="527" y="1233"/>
                    <a:pt x="551" y="1221"/>
                    <a:pt x="553" y="1227"/>
                  </a:cubicBezTo>
                  <a:cubicBezTo>
                    <a:pt x="554" y="1228"/>
                    <a:pt x="548" y="1226"/>
                    <a:pt x="549" y="1231"/>
                  </a:cubicBezTo>
                  <a:cubicBezTo>
                    <a:pt x="550" y="1235"/>
                    <a:pt x="560" y="1233"/>
                    <a:pt x="558" y="1237"/>
                  </a:cubicBezTo>
                  <a:cubicBezTo>
                    <a:pt x="555" y="1245"/>
                    <a:pt x="544" y="1237"/>
                    <a:pt x="540" y="1239"/>
                  </a:cubicBezTo>
                  <a:cubicBezTo>
                    <a:pt x="538" y="1239"/>
                    <a:pt x="541" y="1240"/>
                    <a:pt x="541" y="1240"/>
                  </a:cubicBezTo>
                  <a:cubicBezTo>
                    <a:pt x="545" y="1243"/>
                    <a:pt x="542" y="1251"/>
                    <a:pt x="538" y="1252"/>
                  </a:cubicBezTo>
                  <a:cubicBezTo>
                    <a:pt x="536" y="1252"/>
                    <a:pt x="536" y="1255"/>
                    <a:pt x="536" y="1255"/>
                  </a:cubicBezTo>
                  <a:cubicBezTo>
                    <a:pt x="524" y="1254"/>
                    <a:pt x="516" y="1249"/>
                    <a:pt x="512" y="1260"/>
                  </a:cubicBezTo>
                  <a:cubicBezTo>
                    <a:pt x="512" y="1261"/>
                    <a:pt x="534" y="1256"/>
                    <a:pt x="535" y="1259"/>
                  </a:cubicBezTo>
                  <a:cubicBezTo>
                    <a:pt x="537" y="1274"/>
                    <a:pt x="522" y="1275"/>
                    <a:pt x="517" y="1271"/>
                  </a:cubicBezTo>
                  <a:cubicBezTo>
                    <a:pt x="515" y="1270"/>
                    <a:pt x="508" y="1269"/>
                    <a:pt x="508" y="1269"/>
                  </a:cubicBezTo>
                  <a:cubicBezTo>
                    <a:pt x="513" y="1288"/>
                    <a:pt x="538" y="1283"/>
                    <a:pt x="534" y="1293"/>
                  </a:cubicBezTo>
                  <a:cubicBezTo>
                    <a:pt x="533" y="1299"/>
                    <a:pt x="514" y="1309"/>
                    <a:pt x="514" y="1309"/>
                  </a:cubicBezTo>
                  <a:cubicBezTo>
                    <a:pt x="512" y="1308"/>
                    <a:pt x="507" y="1305"/>
                    <a:pt x="506" y="1307"/>
                  </a:cubicBezTo>
                  <a:cubicBezTo>
                    <a:pt x="506" y="1309"/>
                    <a:pt x="507" y="1310"/>
                    <a:pt x="508" y="1310"/>
                  </a:cubicBezTo>
                  <a:cubicBezTo>
                    <a:pt x="517" y="1315"/>
                    <a:pt x="509" y="1316"/>
                    <a:pt x="507" y="1319"/>
                  </a:cubicBezTo>
                  <a:cubicBezTo>
                    <a:pt x="506" y="1319"/>
                    <a:pt x="520" y="1326"/>
                    <a:pt x="521" y="1328"/>
                  </a:cubicBezTo>
                  <a:cubicBezTo>
                    <a:pt x="522" y="1331"/>
                    <a:pt x="513" y="1332"/>
                    <a:pt x="515" y="1334"/>
                  </a:cubicBezTo>
                  <a:cubicBezTo>
                    <a:pt x="516" y="1337"/>
                    <a:pt x="521" y="1334"/>
                    <a:pt x="522" y="1338"/>
                  </a:cubicBezTo>
                  <a:cubicBezTo>
                    <a:pt x="522" y="1339"/>
                    <a:pt x="523" y="1342"/>
                    <a:pt x="524" y="1341"/>
                  </a:cubicBezTo>
                  <a:cubicBezTo>
                    <a:pt x="528" y="1333"/>
                    <a:pt x="534" y="1361"/>
                    <a:pt x="531" y="1347"/>
                  </a:cubicBezTo>
                  <a:cubicBezTo>
                    <a:pt x="530" y="1341"/>
                    <a:pt x="539" y="1347"/>
                    <a:pt x="540" y="1349"/>
                  </a:cubicBezTo>
                  <a:cubicBezTo>
                    <a:pt x="544" y="1359"/>
                    <a:pt x="520" y="1372"/>
                    <a:pt x="520" y="1376"/>
                  </a:cubicBezTo>
                  <a:cubicBezTo>
                    <a:pt x="522" y="1384"/>
                    <a:pt x="538" y="1374"/>
                    <a:pt x="538" y="1374"/>
                  </a:cubicBezTo>
                  <a:cubicBezTo>
                    <a:pt x="544" y="1380"/>
                    <a:pt x="536" y="1382"/>
                    <a:pt x="544" y="1385"/>
                  </a:cubicBezTo>
                  <a:cubicBezTo>
                    <a:pt x="545" y="1386"/>
                    <a:pt x="545" y="1386"/>
                    <a:pt x="545" y="1386"/>
                  </a:cubicBezTo>
                  <a:cubicBezTo>
                    <a:pt x="546" y="1393"/>
                    <a:pt x="552" y="1377"/>
                    <a:pt x="547" y="1373"/>
                  </a:cubicBezTo>
                  <a:cubicBezTo>
                    <a:pt x="545" y="1372"/>
                    <a:pt x="524" y="1369"/>
                    <a:pt x="553" y="1360"/>
                  </a:cubicBezTo>
                  <a:cubicBezTo>
                    <a:pt x="555" y="1359"/>
                    <a:pt x="557" y="1357"/>
                    <a:pt x="558" y="1355"/>
                  </a:cubicBezTo>
                  <a:cubicBezTo>
                    <a:pt x="558" y="1355"/>
                    <a:pt x="551" y="1354"/>
                    <a:pt x="550" y="1354"/>
                  </a:cubicBezTo>
                  <a:cubicBezTo>
                    <a:pt x="547" y="1352"/>
                    <a:pt x="544" y="1347"/>
                    <a:pt x="549" y="1346"/>
                  </a:cubicBezTo>
                  <a:cubicBezTo>
                    <a:pt x="549" y="1346"/>
                    <a:pt x="551" y="1346"/>
                    <a:pt x="551" y="1346"/>
                  </a:cubicBezTo>
                  <a:cubicBezTo>
                    <a:pt x="553" y="1346"/>
                    <a:pt x="554" y="1346"/>
                    <a:pt x="555" y="1347"/>
                  </a:cubicBezTo>
                  <a:cubicBezTo>
                    <a:pt x="561" y="1350"/>
                    <a:pt x="571" y="1360"/>
                    <a:pt x="570" y="1361"/>
                  </a:cubicBezTo>
                  <a:cubicBezTo>
                    <a:pt x="570" y="1362"/>
                    <a:pt x="566" y="1366"/>
                    <a:pt x="568" y="1367"/>
                  </a:cubicBezTo>
                  <a:cubicBezTo>
                    <a:pt x="571" y="1368"/>
                    <a:pt x="574" y="1357"/>
                    <a:pt x="575" y="1356"/>
                  </a:cubicBezTo>
                  <a:cubicBezTo>
                    <a:pt x="576" y="1354"/>
                    <a:pt x="578" y="1361"/>
                    <a:pt x="578" y="1362"/>
                  </a:cubicBezTo>
                  <a:cubicBezTo>
                    <a:pt x="580" y="1362"/>
                    <a:pt x="580" y="1357"/>
                    <a:pt x="582" y="1357"/>
                  </a:cubicBezTo>
                  <a:cubicBezTo>
                    <a:pt x="588" y="1360"/>
                    <a:pt x="588" y="1368"/>
                    <a:pt x="592" y="1371"/>
                  </a:cubicBezTo>
                  <a:cubicBezTo>
                    <a:pt x="593" y="1371"/>
                    <a:pt x="597" y="1371"/>
                    <a:pt x="597" y="1372"/>
                  </a:cubicBezTo>
                  <a:cubicBezTo>
                    <a:pt x="599" y="1383"/>
                    <a:pt x="584" y="1386"/>
                    <a:pt x="584" y="1392"/>
                  </a:cubicBezTo>
                  <a:cubicBezTo>
                    <a:pt x="583" y="1400"/>
                    <a:pt x="589" y="1382"/>
                    <a:pt x="589" y="1392"/>
                  </a:cubicBezTo>
                  <a:cubicBezTo>
                    <a:pt x="589" y="1393"/>
                    <a:pt x="588" y="1396"/>
                    <a:pt x="590" y="1396"/>
                  </a:cubicBezTo>
                  <a:cubicBezTo>
                    <a:pt x="591" y="1396"/>
                    <a:pt x="594" y="1386"/>
                    <a:pt x="595" y="1385"/>
                  </a:cubicBezTo>
                  <a:cubicBezTo>
                    <a:pt x="600" y="1378"/>
                    <a:pt x="597" y="1379"/>
                    <a:pt x="599" y="1378"/>
                  </a:cubicBezTo>
                  <a:cubicBezTo>
                    <a:pt x="601" y="1376"/>
                    <a:pt x="612" y="1377"/>
                    <a:pt x="606" y="1373"/>
                  </a:cubicBezTo>
                  <a:close/>
                  <a:moveTo>
                    <a:pt x="614" y="1287"/>
                  </a:moveTo>
                  <a:cubicBezTo>
                    <a:pt x="605" y="1283"/>
                    <a:pt x="608" y="1262"/>
                    <a:pt x="602" y="1262"/>
                  </a:cubicBezTo>
                  <a:cubicBezTo>
                    <a:pt x="596" y="1261"/>
                    <a:pt x="599" y="1277"/>
                    <a:pt x="596" y="1279"/>
                  </a:cubicBezTo>
                  <a:cubicBezTo>
                    <a:pt x="592" y="1281"/>
                    <a:pt x="577" y="1267"/>
                    <a:pt x="576" y="1269"/>
                  </a:cubicBezTo>
                  <a:cubicBezTo>
                    <a:pt x="573" y="1274"/>
                    <a:pt x="582" y="1274"/>
                    <a:pt x="581" y="1277"/>
                  </a:cubicBezTo>
                  <a:cubicBezTo>
                    <a:pt x="573" y="1291"/>
                    <a:pt x="567" y="1287"/>
                    <a:pt x="576" y="1297"/>
                  </a:cubicBezTo>
                  <a:cubicBezTo>
                    <a:pt x="578" y="1298"/>
                    <a:pt x="585" y="1295"/>
                    <a:pt x="583" y="1303"/>
                  </a:cubicBezTo>
                  <a:cubicBezTo>
                    <a:pt x="584" y="1304"/>
                    <a:pt x="584" y="1304"/>
                    <a:pt x="584" y="1304"/>
                  </a:cubicBezTo>
                  <a:cubicBezTo>
                    <a:pt x="583" y="1305"/>
                    <a:pt x="587" y="1308"/>
                    <a:pt x="588" y="1308"/>
                  </a:cubicBezTo>
                  <a:cubicBezTo>
                    <a:pt x="597" y="1309"/>
                    <a:pt x="598" y="1306"/>
                    <a:pt x="600" y="1295"/>
                  </a:cubicBezTo>
                  <a:cubicBezTo>
                    <a:pt x="600" y="1294"/>
                    <a:pt x="597" y="1294"/>
                    <a:pt x="597" y="1292"/>
                  </a:cubicBezTo>
                  <a:cubicBezTo>
                    <a:pt x="600" y="1280"/>
                    <a:pt x="582" y="1299"/>
                    <a:pt x="589" y="1286"/>
                  </a:cubicBezTo>
                  <a:cubicBezTo>
                    <a:pt x="590" y="1284"/>
                    <a:pt x="587" y="1281"/>
                    <a:pt x="589" y="1280"/>
                  </a:cubicBezTo>
                  <a:cubicBezTo>
                    <a:pt x="590" y="1279"/>
                    <a:pt x="595" y="1282"/>
                    <a:pt x="595" y="1282"/>
                  </a:cubicBezTo>
                  <a:cubicBezTo>
                    <a:pt x="603" y="1288"/>
                    <a:pt x="596" y="1278"/>
                    <a:pt x="602" y="1278"/>
                  </a:cubicBezTo>
                  <a:cubicBezTo>
                    <a:pt x="605" y="1278"/>
                    <a:pt x="613" y="1296"/>
                    <a:pt x="620" y="1297"/>
                  </a:cubicBezTo>
                  <a:cubicBezTo>
                    <a:pt x="621" y="1297"/>
                    <a:pt x="639" y="1299"/>
                    <a:pt x="632" y="1295"/>
                  </a:cubicBezTo>
                  <a:cubicBezTo>
                    <a:pt x="629" y="1293"/>
                    <a:pt x="636" y="1291"/>
                    <a:pt x="633" y="1288"/>
                  </a:cubicBezTo>
                  <a:cubicBezTo>
                    <a:pt x="629" y="1284"/>
                    <a:pt x="630" y="1281"/>
                    <a:pt x="624" y="1277"/>
                  </a:cubicBezTo>
                  <a:cubicBezTo>
                    <a:pt x="622" y="1276"/>
                    <a:pt x="624" y="1282"/>
                    <a:pt x="624" y="1284"/>
                  </a:cubicBezTo>
                  <a:cubicBezTo>
                    <a:pt x="623" y="1289"/>
                    <a:pt x="614" y="1276"/>
                    <a:pt x="613" y="1280"/>
                  </a:cubicBezTo>
                  <a:cubicBezTo>
                    <a:pt x="612" y="1282"/>
                    <a:pt x="617" y="1289"/>
                    <a:pt x="614" y="1287"/>
                  </a:cubicBezTo>
                  <a:close/>
                  <a:moveTo>
                    <a:pt x="635" y="1386"/>
                  </a:moveTo>
                  <a:cubicBezTo>
                    <a:pt x="634" y="1386"/>
                    <a:pt x="634" y="1386"/>
                    <a:pt x="634" y="1386"/>
                  </a:cubicBezTo>
                  <a:cubicBezTo>
                    <a:pt x="634" y="1381"/>
                    <a:pt x="611" y="1381"/>
                    <a:pt x="611" y="1381"/>
                  </a:cubicBezTo>
                  <a:cubicBezTo>
                    <a:pt x="611" y="1381"/>
                    <a:pt x="628" y="1399"/>
                    <a:pt x="612" y="1395"/>
                  </a:cubicBezTo>
                  <a:cubicBezTo>
                    <a:pt x="610" y="1395"/>
                    <a:pt x="605" y="1394"/>
                    <a:pt x="606" y="1398"/>
                  </a:cubicBezTo>
                  <a:cubicBezTo>
                    <a:pt x="608" y="1402"/>
                    <a:pt x="613" y="1400"/>
                    <a:pt x="615" y="1399"/>
                  </a:cubicBezTo>
                  <a:cubicBezTo>
                    <a:pt x="620" y="1395"/>
                    <a:pt x="618" y="1402"/>
                    <a:pt x="619" y="1402"/>
                  </a:cubicBezTo>
                  <a:cubicBezTo>
                    <a:pt x="633" y="1404"/>
                    <a:pt x="611" y="1387"/>
                    <a:pt x="632" y="1389"/>
                  </a:cubicBezTo>
                  <a:cubicBezTo>
                    <a:pt x="633" y="1389"/>
                    <a:pt x="634" y="1392"/>
                    <a:pt x="635" y="1391"/>
                  </a:cubicBezTo>
                  <a:cubicBezTo>
                    <a:pt x="636" y="1390"/>
                    <a:pt x="635" y="1387"/>
                    <a:pt x="635" y="1386"/>
                  </a:cubicBezTo>
                  <a:close/>
                  <a:moveTo>
                    <a:pt x="662" y="1325"/>
                  </a:moveTo>
                  <a:cubicBezTo>
                    <a:pt x="659" y="1324"/>
                    <a:pt x="657" y="1325"/>
                    <a:pt x="654" y="1323"/>
                  </a:cubicBezTo>
                  <a:cubicBezTo>
                    <a:pt x="648" y="1320"/>
                    <a:pt x="649" y="1325"/>
                    <a:pt x="644" y="1324"/>
                  </a:cubicBezTo>
                  <a:cubicBezTo>
                    <a:pt x="640" y="1323"/>
                    <a:pt x="647" y="1314"/>
                    <a:pt x="647" y="1313"/>
                  </a:cubicBezTo>
                  <a:cubicBezTo>
                    <a:pt x="649" y="1301"/>
                    <a:pt x="644" y="1294"/>
                    <a:pt x="641" y="1291"/>
                  </a:cubicBezTo>
                  <a:cubicBezTo>
                    <a:pt x="641" y="1291"/>
                    <a:pt x="638" y="1285"/>
                    <a:pt x="637" y="1285"/>
                  </a:cubicBezTo>
                  <a:cubicBezTo>
                    <a:pt x="636" y="1285"/>
                    <a:pt x="647" y="1310"/>
                    <a:pt x="643" y="1315"/>
                  </a:cubicBezTo>
                  <a:cubicBezTo>
                    <a:pt x="640" y="1320"/>
                    <a:pt x="635" y="1324"/>
                    <a:pt x="635" y="1329"/>
                  </a:cubicBezTo>
                  <a:cubicBezTo>
                    <a:pt x="635" y="1336"/>
                    <a:pt x="651" y="1337"/>
                    <a:pt x="652" y="1341"/>
                  </a:cubicBezTo>
                  <a:cubicBezTo>
                    <a:pt x="652" y="1341"/>
                    <a:pt x="652" y="1343"/>
                    <a:pt x="652" y="1343"/>
                  </a:cubicBezTo>
                  <a:cubicBezTo>
                    <a:pt x="649" y="1354"/>
                    <a:pt x="643" y="1347"/>
                    <a:pt x="640" y="1351"/>
                  </a:cubicBezTo>
                  <a:cubicBezTo>
                    <a:pt x="639" y="1353"/>
                    <a:pt x="633" y="1348"/>
                    <a:pt x="633" y="1350"/>
                  </a:cubicBezTo>
                  <a:cubicBezTo>
                    <a:pt x="635" y="1363"/>
                    <a:pt x="648" y="1359"/>
                    <a:pt x="646" y="1372"/>
                  </a:cubicBezTo>
                  <a:cubicBezTo>
                    <a:pt x="645" y="1373"/>
                    <a:pt x="645" y="1373"/>
                    <a:pt x="645" y="1373"/>
                  </a:cubicBezTo>
                  <a:cubicBezTo>
                    <a:pt x="646" y="1376"/>
                    <a:pt x="648" y="1372"/>
                    <a:pt x="649" y="1373"/>
                  </a:cubicBezTo>
                  <a:cubicBezTo>
                    <a:pt x="660" y="1375"/>
                    <a:pt x="647" y="1364"/>
                    <a:pt x="651" y="1360"/>
                  </a:cubicBezTo>
                  <a:cubicBezTo>
                    <a:pt x="655" y="1357"/>
                    <a:pt x="658" y="1369"/>
                    <a:pt x="663" y="1368"/>
                  </a:cubicBezTo>
                  <a:cubicBezTo>
                    <a:pt x="664" y="1368"/>
                    <a:pt x="669" y="1369"/>
                    <a:pt x="668" y="1367"/>
                  </a:cubicBezTo>
                  <a:cubicBezTo>
                    <a:pt x="668" y="1367"/>
                    <a:pt x="668" y="1367"/>
                    <a:pt x="667" y="1366"/>
                  </a:cubicBezTo>
                  <a:cubicBezTo>
                    <a:pt x="664" y="1362"/>
                    <a:pt x="659" y="1365"/>
                    <a:pt x="656" y="1359"/>
                  </a:cubicBezTo>
                  <a:cubicBezTo>
                    <a:pt x="656" y="1359"/>
                    <a:pt x="657" y="1349"/>
                    <a:pt x="654" y="1352"/>
                  </a:cubicBezTo>
                  <a:cubicBezTo>
                    <a:pt x="653" y="1353"/>
                    <a:pt x="652" y="1357"/>
                    <a:pt x="651" y="1356"/>
                  </a:cubicBezTo>
                  <a:cubicBezTo>
                    <a:pt x="648" y="1353"/>
                    <a:pt x="656" y="1346"/>
                    <a:pt x="656" y="1342"/>
                  </a:cubicBezTo>
                  <a:cubicBezTo>
                    <a:pt x="655" y="1334"/>
                    <a:pt x="639" y="1332"/>
                    <a:pt x="640" y="1329"/>
                  </a:cubicBezTo>
                  <a:cubicBezTo>
                    <a:pt x="645" y="1321"/>
                    <a:pt x="685" y="1339"/>
                    <a:pt x="662" y="1325"/>
                  </a:cubicBezTo>
                  <a:close/>
                  <a:moveTo>
                    <a:pt x="672" y="1282"/>
                  </a:moveTo>
                  <a:cubicBezTo>
                    <a:pt x="671" y="1282"/>
                    <a:pt x="671" y="1282"/>
                    <a:pt x="671" y="1282"/>
                  </a:cubicBezTo>
                  <a:cubicBezTo>
                    <a:pt x="667" y="1281"/>
                    <a:pt x="662" y="1283"/>
                    <a:pt x="661" y="1277"/>
                  </a:cubicBezTo>
                  <a:cubicBezTo>
                    <a:pt x="660" y="1273"/>
                    <a:pt x="664" y="1268"/>
                    <a:pt x="663" y="1264"/>
                  </a:cubicBezTo>
                  <a:cubicBezTo>
                    <a:pt x="663" y="1262"/>
                    <a:pt x="657" y="1261"/>
                    <a:pt x="658" y="1259"/>
                  </a:cubicBezTo>
                  <a:cubicBezTo>
                    <a:pt x="659" y="1256"/>
                    <a:pt x="665" y="1263"/>
                    <a:pt x="663" y="1260"/>
                  </a:cubicBezTo>
                  <a:cubicBezTo>
                    <a:pt x="654" y="1243"/>
                    <a:pt x="640" y="1247"/>
                    <a:pt x="638" y="1236"/>
                  </a:cubicBezTo>
                  <a:cubicBezTo>
                    <a:pt x="638" y="1234"/>
                    <a:pt x="634" y="1232"/>
                    <a:pt x="632" y="1233"/>
                  </a:cubicBezTo>
                  <a:cubicBezTo>
                    <a:pt x="632" y="1233"/>
                    <a:pt x="633" y="1237"/>
                    <a:pt x="634" y="1238"/>
                  </a:cubicBezTo>
                  <a:cubicBezTo>
                    <a:pt x="639" y="1251"/>
                    <a:pt x="666" y="1258"/>
                    <a:pt x="652" y="1263"/>
                  </a:cubicBezTo>
                  <a:cubicBezTo>
                    <a:pt x="646" y="1265"/>
                    <a:pt x="635" y="1247"/>
                    <a:pt x="631" y="1247"/>
                  </a:cubicBezTo>
                  <a:cubicBezTo>
                    <a:pt x="630" y="1246"/>
                    <a:pt x="625" y="1250"/>
                    <a:pt x="627" y="1251"/>
                  </a:cubicBezTo>
                  <a:cubicBezTo>
                    <a:pt x="638" y="1252"/>
                    <a:pt x="621" y="1263"/>
                    <a:pt x="619" y="1263"/>
                  </a:cubicBezTo>
                  <a:cubicBezTo>
                    <a:pt x="612" y="1261"/>
                    <a:pt x="617" y="1260"/>
                    <a:pt x="616" y="1255"/>
                  </a:cubicBezTo>
                  <a:cubicBezTo>
                    <a:pt x="615" y="1247"/>
                    <a:pt x="628" y="1247"/>
                    <a:pt x="621" y="1242"/>
                  </a:cubicBezTo>
                  <a:cubicBezTo>
                    <a:pt x="614" y="1236"/>
                    <a:pt x="614" y="1254"/>
                    <a:pt x="613" y="1256"/>
                  </a:cubicBezTo>
                  <a:cubicBezTo>
                    <a:pt x="611" y="1261"/>
                    <a:pt x="607" y="1258"/>
                    <a:pt x="606" y="1259"/>
                  </a:cubicBezTo>
                  <a:cubicBezTo>
                    <a:pt x="604" y="1261"/>
                    <a:pt x="608" y="1262"/>
                    <a:pt x="609" y="1264"/>
                  </a:cubicBezTo>
                  <a:cubicBezTo>
                    <a:pt x="610" y="1269"/>
                    <a:pt x="630" y="1270"/>
                    <a:pt x="632" y="1273"/>
                  </a:cubicBezTo>
                  <a:cubicBezTo>
                    <a:pt x="635" y="1277"/>
                    <a:pt x="652" y="1295"/>
                    <a:pt x="651" y="1302"/>
                  </a:cubicBezTo>
                  <a:cubicBezTo>
                    <a:pt x="650" y="1303"/>
                    <a:pt x="652" y="1308"/>
                    <a:pt x="655" y="1306"/>
                  </a:cubicBezTo>
                  <a:cubicBezTo>
                    <a:pt x="656" y="1305"/>
                    <a:pt x="652" y="1300"/>
                    <a:pt x="654" y="1299"/>
                  </a:cubicBezTo>
                  <a:cubicBezTo>
                    <a:pt x="657" y="1299"/>
                    <a:pt x="655" y="1306"/>
                    <a:pt x="659" y="1306"/>
                  </a:cubicBezTo>
                  <a:cubicBezTo>
                    <a:pt x="665" y="1306"/>
                    <a:pt x="660" y="1298"/>
                    <a:pt x="661" y="1297"/>
                  </a:cubicBezTo>
                  <a:cubicBezTo>
                    <a:pt x="661" y="1297"/>
                    <a:pt x="661" y="1290"/>
                    <a:pt x="659" y="1289"/>
                  </a:cubicBezTo>
                  <a:cubicBezTo>
                    <a:pt x="655" y="1284"/>
                    <a:pt x="658" y="1295"/>
                    <a:pt x="656" y="1295"/>
                  </a:cubicBezTo>
                  <a:cubicBezTo>
                    <a:pt x="654" y="1293"/>
                    <a:pt x="641" y="1286"/>
                    <a:pt x="643" y="1282"/>
                  </a:cubicBezTo>
                  <a:cubicBezTo>
                    <a:pt x="643" y="1281"/>
                    <a:pt x="646" y="1283"/>
                    <a:pt x="648" y="1284"/>
                  </a:cubicBezTo>
                  <a:cubicBezTo>
                    <a:pt x="658" y="1290"/>
                    <a:pt x="650" y="1280"/>
                    <a:pt x="659" y="1286"/>
                  </a:cubicBezTo>
                  <a:cubicBezTo>
                    <a:pt x="661" y="1287"/>
                    <a:pt x="667" y="1292"/>
                    <a:pt x="670" y="1290"/>
                  </a:cubicBezTo>
                  <a:cubicBezTo>
                    <a:pt x="671" y="1288"/>
                    <a:pt x="671" y="1283"/>
                    <a:pt x="672" y="1285"/>
                  </a:cubicBezTo>
                  <a:cubicBezTo>
                    <a:pt x="683" y="1296"/>
                    <a:pt x="673" y="1282"/>
                    <a:pt x="672" y="1282"/>
                  </a:cubicBezTo>
                  <a:close/>
                  <a:moveTo>
                    <a:pt x="693" y="1262"/>
                  </a:moveTo>
                  <a:cubicBezTo>
                    <a:pt x="700" y="1259"/>
                    <a:pt x="683" y="1246"/>
                    <a:pt x="688" y="1240"/>
                  </a:cubicBezTo>
                  <a:cubicBezTo>
                    <a:pt x="688" y="1239"/>
                    <a:pt x="688" y="1239"/>
                    <a:pt x="688" y="1239"/>
                  </a:cubicBezTo>
                  <a:cubicBezTo>
                    <a:pt x="691" y="1231"/>
                    <a:pt x="682" y="1227"/>
                    <a:pt x="677" y="1222"/>
                  </a:cubicBezTo>
                  <a:cubicBezTo>
                    <a:pt x="677" y="1222"/>
                    <a:pt x="676" y="1221"/>
                    <a:pt x="676" y="1222"/>
                  </a:cubicBezTo>
                  <a:cubicBezTo>
                    <a:pt x="676" y="1223"/>
                    <a:pt x="682" y="1241"/>
                    <a:pt x="681" y="1240"/>
                  </a:cubicBezTo>
                  <a:cubicBezTo>
                    <a:pt x="674" y="1238"/>
                    <a:pt x="674" y="1217"/>
                    <a:pt x="670" y="1223"/>
                  </a:cubicBezTo>
                  <a:cubicBezTo>
                    <a:pt x="670" y="1223"/>
                    <a:pt x="669" y="1231"/>
                    <a:pt x="667" y="1228"/>
                  </a:cubicBezTo>
                  <a:cubicBezTo>
                    <a:pt x="665" y="1225"/>
                    <a:pt x="660" y="1216"/>
                    <a:pt x="660" y="1219"/>
                  </a:cubicBezTo>
                  <a:cubicBezTo>
                    <a:pt x="659" y="1227"/>
                    <a:pt x="677" y="1239"/>
                    <a:pt x="676" y="1242"/>
                  </a:cubicBezTo>
                  <a:cubicBezTo>
                    <a:pt x="673" y="1249"/>
                    <a:pt x="662" y="1239"/>
                    <a:pt x="665" y="1248"/>
                  </a:cubicBezTo>
                  <a:cubicBezTo>
                    <a:pt x="668" y="1254"/>
                    <a:pt x="680" y="1252"/>
                    <a:pt x="681" y="1252"/>
                  </a:cubicBezTo>
                  <a:cubicBezTo>
                    <a:pt x="686" y="1254"/>
                    <a:pt x="689" y="1264"/>
                    <a:pt x="693" y="1262"/>
                  </a:cubicBezTo>
                  <a:close/>
                  <a:moveTo>
                    <a:pt x="701" y="1337"/>
                  </a:moveTo>
                  <a:cubicBezTo>
                    <a:pt x="709" y="1345"/>
                    <a:pt x="718" y="1341"/>
                    <a:pt x="708" y="1346"/>
                  </a:cubicBezTo>
                  <a:cubicBezTo>
                    <a:pt x="707" y="1346"/>
                    <a:pt x="705" y="1349"/>
                    <a:pt x="705" y="1350"/>
                  </a:cubicBezTo>
                  <a:cubicBezTo>
                    <a:pt x="706" y="1352"/>
                    <a:pt x="710" y="1345"/>
                    <a:pt x="711" y="1350"/>
                  </a:cubicBezTo>
                  <a:cubicBezTo>
                    <a:pt x="714" y="1361"/>
                    <a:pt x="745" y="1349"/>
                    <a:pt x="762" y="1346"/>
                  </a:cubicBezTo>
                  <a:cubicBezTo>
                    <a:pt x="765" y="1345"/>
                    <a:pt x="771" y="1357"/>
                    <a:pt x="775" y="1358"/>
                  </a:cubicBezTo>
                  <a:cubicBezTo>
                    <a:pt x="777" y="1359"/>
                    <a:pt x="780" y="1357"/>
                    <a:pt x="780" y="1361"/>
                  </a:cubicBezTo>
                  <a:cubicBezTo>
                    <a:pt x="780" y="1371"/>
                    <a:pt x="765" y="1351"/>
                    <a:pt x="757" y="1356"/>
                  </a:cubicBezTo>
                  <a:cubicBezTo>
                    <a:pt x="747" y="1362"/>
                    <a:pt x="746" y="1362"/>
                    <a:pt x="749" y="1366"/>
                  </a:cubicBezTo>
                  <a:cubicBezTo>
                    <a:pt x="751" y="1368"/>
                    <a:pt x="750" y="1371"/>
                    <a:pt x="752" y="1370"/>
                  </a:cubicBezTo>
                  <a:cubicBezTo>
                    <a:pt x="757" y="1368"/>
                    <a:pt x="752" y="1375"/>
                    <a:pt x="753" y="1376"/>
                  </a:cubicBezTo>
                  <a:cubicBezTo>
                    <a:pt x="755" y="1378"/>
                    <a:pt x="759" y="1377"/>
                    <a:pt x="761" y="1375"/>
                  </a:cubicBezTo>
                  <a:cubicBezTo>
                    <a:pt x="763" y="1374"/>
                    <a:pt x="787" y="1373"/>
                    <a:pt x="797" y="1369"/>
                  </a:cubicBezTo>
                  <a:cubicBezTo>
                    <a:pt x="804" y="1366"/>
                    <a:pt x="841" y="1360"/>
                    <a:pt x="839" y="1349"/>
                  </a:cubicBezTo>
                  <a:cubicBezTo>
                    <a:pt x="837" y="1326"/>
                    <a:pt x="801" y="1341"/>
                    <a:pt x="798" y="1339"/>
                  </a:cubicBezTo>
                  <a:cubicBezTo>
                    <a:pt x="796" y="1338"/>
                    <a:pt x="786" y="1340"/>
                    <a:pt x="787" y="1334"/>
                  </a:cubicBezTo>
                  <a:cubicBezTo>
                    <a:pt x="787" y="1331"/>
                    <a:pt x="794" y="1332"/>
                    <a:pt x="798" y="1332"/>
                  </a:cubicBezTo>
                  <a:cubicBezTo>
                    <a:pt x="798" y="1332"/>
                    <a:pt x="799" y="1333"/>
                    <a:pt x="800" y="1333"/>
                  </a:cubicBezTo>
                  <a:cubicBezTo>
                    <a:pt x="801" y="1333"/>
                    <a:pt x="800" y="1332"/>
                    <a:pt x="798" y="1332"/>
                  </a:cubicBezTo>
                  <a:cubicBezTo>
                    <a:pt x="797" y="1331"/>
                    <a:pt x="811" y="1328"/>
                    <a:pt x="812" y="1326"/>
                  </a:cubicBezTo>
                  <a:cubicBezTo>
                    <a:pt x="817" y="1321"/>
                    <a:pt x="801" y="1307"/>
                    <a:pt x="816" y="1317"/>
                  </a:cubicBezTo>
                  <a:cubicBezTo>
                    <a:pt x="818" y="1319"/>
                    <a:pt x="822" y="1318"/>
                    <a:pt x="824" y="1317"/>
                  </a:cubicBezTo>
                  <a:cubicBezTo>
                    <a:pt x="825" y="1315"/>
                    <a:pt x="818" y="1305"/>
                    <a:pt x="820" y="1302"/>
                  </a:cubicBezTo>
                  <a:cubicBezTo>
                    <a:pt x="826" y="1295"/>
                    <a:pt x="830" y="1304"/>
                    <a:pt x="835" y="1304"/>
                  </a:cubicBezTo>
                  <a:cubicBezTo>
                    <a:pt x="837" y="1304"/>
                    <a:pt x="836" y="1303"/>
                    <a:pt x="835" y="1302"/>
                  </a:cubicBezTo>
                  <a:cubicBezTo>
                    <a:pt x="834" y="1301"/>
                    <a:pt x="832" y="1299"/>
                    <a:pt x="835" y="1299"/>
                  </a:cubicBezTo>
                  <a:cubicBezTo>
                    <a:pt x="836" y="1300"/>
                    <a:pt x="840" y="1301"/>
                    <a:pt x="841" y="1300"/>
                  </a:cubicBezTo>
                  <a:cubicBezTo>
                    <a:pt x="845" y="1295"/>
                    <a:pt x="811" y="1299"/>
                    <a:pt x="814" y="1293"/>
                  </a:cubicBezTo>
                  <a:cubicBezTo>
                    <a:pt x="816" y="1288"/>
                    <a:pt x="822" y="1293"/>
                    <a:pt x="823" y="1294"/>
                  </a:cubicBezTo>
                  <a:cubicBezTo>
                    <a:pt x="826" y="1294"/>
                    <a:pt x="823" y="1287"/>
                    <a:pt x="824" y="1286"/>
                  </a:cubicBezTo>
                  <a:cubicBezTo>
                    <a:pt x="825" y="1285"/>
                    <a:pt x="833" y="1286"/>
                    <a:pt x="834" y="1287"/>
                  </a:cubicBezTo>
                  <a:cubicBezTo>
                    <a:pt x="841" y="1290"/>
                    <a:pt x="854" y="1308"/>
                    <a:pt x="860" y="1305"/>
                  </a:cubicBezTo>
                  <a:cubicBezTo>
                    <a:pt x="862" y="1304"/>
                    <a:pt x="853" y="1297"/>
                    <a:pt x="854" y="1297"/>
                  </a:cubicBezTo>
                  <a:cubicBezTo>
                    <a:pt x="858" y="1297"/>
                    <a:pt x="872" y="1300"/>
                    <a:pt x="872" y="1300"/>
                  </a:cubicBezTo>
                  <a:cubicBezTo>
                    <a:pt x="878" y="1296"/>
                    <a:pt x="867" y="1296"/>
                    <a:pt x="873" y="1294"/>
                  </a:cubicBezTo>
                  <a:cubicBezTo>
                    <a:pt x="878" y="1292"/>
                    <a:pt x="885" y="1283"/>
                    <a:pt x="884" y="1281"/>
                  </a:cubicBezTo>
                  <a:cubicBezTo>
                    <a:pt x="883" y="1281"/>
                    <a:pt x="886" y="1278"/>
                    <a:pt x="886" y="1277"/>
                  </a:cubicBezTo>
                  <a:cubicBezTo>
                    <a:pt x="889" y="1277"/>
                    <a:pt x="886" y="1283"/>
                    <a:pt x="890" y="1282"/>
                  </a:cubicBezTo>
                  <a:cubicBezTo>
                    <a:pt x="891" y="1281"/>
                    <a:pt x="891" y="1279"/>
                    <a:pt x="891" y="1278"/>
                  </a:cubicBezTo>
                  <a:cubicBezTo>
                    <a:pt x="893" y="1275"/>
                    <a:pt x="895" y="1281"/>
                    <a:pt x="897" y="1278"/>
                  </a:cubicBezTo>
                  <a:cubicBezTo>
                    <a:pt x="899" y="1275"/>
                    <a:pt x="892" y="1273"/>
                    <a:pt x="893" y="1272"/>
                  </a:cubicBezTo>
                  <a:cubicBezTo>
                    <a:pt x="895" y="1269"/>
                    <a:pt x="908" y="1271"/>
                    <a:pt x="908" y="1268"/>
                  </a:cubicBezTo>
                  <a:cubicBezTo>
                    <a:pt x="908" y="1266"/>
                    <a:pt x="904" y="1262"/>
                    <a:pt x="907" y="1262"/>
                  </a:cubicBezTo>
                  <a:cubicBezTo>
                    <a:pt x="911" y="1261"/>
                    <a:pt x="911" y="1267"/>
                    <a:pt x="913" y="1267"/>
                  </a:cubicBezTo>
                  <a:cubicBezTo>
                    <a:pt x="922" y="1267"/>
                    <a:pt x="907" y="1254"/>
                    <a:pt x="915" y="1259"/>
                  </a:cubicBezTo>
                  <a:cubicBezTo>
                    <a:pt x="918" y="1260"/>
                    <a:pt x="923" y="1254"/>
                    <a:pt x="921" y="1251"/>
                  </a:cubicBezTo>
                  <a:cubicBezTo>
                    <a:pt x="918" y="1247"/>
                    <a:pt x="914" y="1242"/>
                    <a:pt x="911" y="1237"/>
                  </a:cubicBezTo>
                  <a:cubicBezTo>
                    <a:pt x="903" y="1224"/>
                    <a:pt x="916" y="1255"/>
                    <a:pt x="899" y="1241"/>
                  </a:cubicBezTo>
                  <a:cubicBezTo>
                    <a:pt x="896" y="1237"/>
                    <a:pt x="887" y="1225"/>
                    <a:pt x="888" y="1225"/>
                  </a:cubicBezTo>
                  <a:cubicBezTo>
                    <a:pt x="889" y="1226"/>
                    <a:pt x="896" y="1232"/>
                    <a:pt x="896" y="1229"/>
                  </a:cubicBezTo>
                  <a:cubicBezTo>
                    <a:pt x="896" y="1226"/>
                    <a:pt x="899" y="1219"/>
                    <a:pt x="896" y="1216"/>
                  </a:cubicBezTo>
                  <a:cubicBezTo>
                    <a:pt x="895" y="1215"/>
                    <a:pt x="895" y="1215"/>
                    <a:pt x="895" y="1215"/>
                  </a:cubicBezTo>
                  <a:cubicBezTo>
                    <a:pt x="902" y="1216"/>
                    <a:pt x="920" y="1219"/>
                    <a:pt x="928" y="1225"/>
                  </a:cubicBezTo>
                  <a:cubicBezTo>
                    <a:pt x="930" y="1226"/>
                    <a:pt x="931" y="1230"/>
                    <a:pt x="933" y="1227"/>
                  </a:cubicBezTo>
                  <a:cubicBezTo>
                    <a:pt x="934" y="1226"/>
                    <a:pt x="933" y="1225"/>
                    <a:pt x="934" y="1225"/>
                  </a:cubicBezTo>
                  <a:cubicBezTo>
                    <a:pt x="935" y="1222"/>
                    <a:pt x="939" y="1225"/>
                    <a:pt x="941" y="1221"/>
                  </a:cubicBezTo>
                  <a:cubicBezTo>
                    <a:pt x="941" y="1220"/>
                    <a:pt x="937" y="1216"/>
                    <a:pt x="936" y="1215"/>
                  </a:cubicBezTo>
                  <a:cubicBezTo>
                    <a:pt x="920" y="1212"/>
                    <a:pt x="907" y="1214"/>
                    <a:pt x="898" y="1197"/>
                  </a:cubicBezTo>
                  <a:cubicBezTo>
                    <a:pt x="897" y="1194"/>
                    <a:pt x="904" y="1200"/>
                    <a:pt x="908" y="1199"/>
                  </a:cubicBezTo>
                  <a:cubicBezTo>
                    <a:pt x="911" y="1199"/>
                    <a:pt x="902" y="1193"/>
                    <a:pt x="907" y="1192"/>
                  </a:cubicBezTo>
                  <a:cubicBezTo>
                    <a:pt x="912" y="1192"/>
                    <a:pt x="914" y="1201"/>
                    <a:pt x="916" y="1195"/>
                  </a:cubicBezTo>
                  <a:cubicBezTo>
                    <a:pt x="917" y="1191"/>
                    <a:pt x="927" y="1198"/>
                    <a:pt x="926" y="1195"/>
                  </a:cubicBezTo>
                  <a:cubicBezTo>
                    <a:pt x="925" y="1188"/>
                    <a:pt x="914" y="1192"/>
                    <a:pt x="915" y="1189"/>
                  </a:cubicBezTo>
                  <a:cubicBezTo>
                    <a:pt x="917" y="1185"/>
                    <a:pt x="940" y="1180"/>
                    <a:pt x="930" y="1176"/>
                  </a:cubicBezTo>
                  <a:cubicBezTo>
                    <a:pt x="921" y="1174"/>
                    <a:pt x="923" y="1146"/>
                    <a:pt x="911" y="1148"/>
                  </a:cubicBezTo>
                  <a:cubicBezTo>
                    <a:pt x="897" y="1150"/>
                    <a:pt x="908" y="1154"/>
                    <a:pt x="908" y="1159"/>
                  </a:cubicBezTo>
                  <a:cubicBezTo>
                    <a:pt x="907" y="1167"/>
                    <a:pt x="899" y="1158"/>
                    <a:pt x="906" y="1170"/>
                  </a:cubicBezTo>
                  <a:cubicBezTo>
                    <a:pt x="908" y="1175"/>
                    <a:pt x="898" y="1169"/>
                    <a:pt x="901" y="1173"/>
                  </a:cubicBezTo>
                  <a:cubicBezTo>
                    <a:pt x="906" y="1178"/>
                    <a:pt x="908" y="1178"/>
                    <a:pt x="910" y="1181"/>
                  </a:cubicBezTo>
                  <a:cubicBezTo>
                    <a:pt x="910" y="1182"/>
                    <a:pt x="913" y="1185"/>
                    <a:pt x="910" y="1185"/>
                  </a:cubicBezTo>
                  <a:cubicBezTo>
                    <a:pt x="900" y="1185"/>
                    <a:pt x="891" y="1162"/>
                    <a:pt x="888" y="1160"/>
                  </a:cubicBezTo>
                  <a:cubicBezTo>
                    <a:pt x="883" y="1157"/>
                    <a:pt x="887" y="1172"/>
                    <a:pt x="882" y="1164"/>
                  </a:cubicBezTo>
                  <a:cubicBezTo>
                    <a:pt x="880" y="1161"/>
                    <a:pt x="885" y="1156"/>
                    <a:pt x="883" y="1154"/>
                  </a:cubicBezTo>
                  <a:cubicBezTo>
                    <a:pt x="881" y="1152"/>
                    <a:pt x="877" y="1149"/>
                    <a:pt x="875" y="1151"/>
                  </a:cubicBezTo>
                  <a:cubicBezTo>
                    <a:pt x="872" y="1153"/>
                    <a:pt x="865" y="1157"/>
                    <a:pt x="868" y="1159"/>
                  </a:cubicBezTo>
                  <a:cubicBezTo>
                    <a:pt x="874" y="1165"/>
                    <a:pt x="876" y="1168"/>
                    <a:pt x="879" y="1177"/>
                  </a:cubicBezTo>
                  <a:cubicBezTo>
                    <a:pt x="881" y="1181"/>
                    <a:pt x="869" y="1180"/>
                    <a:pt x="869" y="1181"/>
                  </a:cubicBezTo>
                  <a:cubicBezTo>
                    <a:pt x="876" y="1193"/>
                    <a:pt x="877" y="1196"/>
                    <a:pt x="874" y="1204"/>
                  </a:cubicBezTo>
                  <a:cubicBezTo>
                    <a:pt x="874" y="1206"/>
                    <a:pt x="887" y="1208"/>
                    <a:pt x="886" y="1208"/>
                  </a:cubicBezTo>
                  <a:cubicBezTo>
                    <a:pt x="863" y="1224"/>
                    <a:pt x="877" y="1204"/>
                    <a:pt x="856" y="1210"/>
                  </a:cubicBezTo>
                  <a:cubicBezTo>
                    <a:pt x="853" y="1212"/>
                    <a:pt x="870" y="1214"/>
                    <a:pt x="870" y="1217"/>
                  </a:cubicBezTo>
                  <a:cubicBezTo>
                    <a:pt x="870" y="1220"/>
                    <a:pt x="856" y="1217"/>
                    <a:pt x="854" y="1217"/>
                  </a:cubicBezTo>
                  <a:cubicBezTo>
                    <a:pt x="849" y="1215"/>
                    <a:pt x="837" y="1227"/>
                    <a:pt x="830" y="1223"/>
                  </a:cubicBezTo>
                  <a:cubicBezTo>
                    <a:pt x="830" y="1223"/>
                    <a:pt x="827" y="1222"/>
                    <a:pt x="829" y="1221"/>
                  </a:cubicBezTo>
                  <a:cubicBezTo>
                    <a:pt x="831" y="1220"/>
                    <a:pt x="834" y="1222"/>
                    <a:pt x="836" y="1221"/>
                  </a:cubicBezTo>
                  <a:cubicBezTo>
                    <a:pt x="839" y="1219"/>
                    <a:pt x="822" y="1213"/>
                    <a:pt x="821" y="1212"/>
                  </a:cubicBezTo>
                  <a:cubicBezTo>
                    <a:pt x="820" y="1209"/>
                    <a:pt x="842" y="1219"/>
                    <a:pt x="843" y="1218"/>
                  </a:cubicBezTo>
                  <a:cubicBezTo>
                    <a:pt x="849" y="1216"/>
                    <a:pt x="825" y="1205"/>
                    <a:pt x="831" y="1205"/>
                  </a:cubicBezTo>
                  <a:cubicBezTo>
                    <a:pt x="832" y="1205"/>
                    <a:pt x="846" y="1215"/>
                    <a:pt x="846" y="1213"/>
                  </a:cubicBezTo>
                  <a:cubicBezTo>
                    <a:pt x="848" y="1207"/>
                    <a:pt x="836" y="1204"/>
                    <a:pt x="834" y="1201"/>
                  </a:cubicBezTo>
                  <a:cubicBezTo>
                    <a:pt x="833" y="1200"/>
                    <a:pt x="830" y="1188"/>
                    <a:pt x="826" y="1183"/>
                  </a:cubicBezTo>
                  <a:cubicBezTo>
                    <a:pt x="831" y="1186"/>
                    <a:pt x="837" y="1189"/>
                    <a:pt x="840" y="1189"/>
                  </a:cubicBezTo>
                  <a:cubicBezTo>
                    <a:pt x="841" y="1189"/>
                    <a:pt x="829" y="1179"/>
                    <a:pt x="840" y="1182"/>
                  </a:cubicBezTo>
                  <a:cubicBezTo>
                    <a:pt x="842" y="1183"/>
                    <a:pt x="846" y="1186"/>
                    <a:pt x="847" y="1184"/>
                  </a:cubicBezTo>
                  <a:cubicBezTo>
                    <a:pt x="849" y="1181"/>
                    <a:pt x="823" y="1171"/>
                    <a:pt x="820" y="1167"/>
                  </a:cubicBezTo>
                  <a:cubicBezTo>
                    <a:pt x="805" y="1144"/>
                    <a:pt x="785" y="1157"/>
                    <a:pt x="772" y="1122"/>
                  </a:cubicBezTo>
                  <a:cubicBezTo>
                    <a:pt x="772" y="1122"/>
                    <a:pt x="775" y="1121"/>
                    <a:pt x="775" y="1120"/>
                  </a:cubicBezTo>
                  <a:cubicBezTo>
                    <a:pt x="776" y="1117"/>
                    <a:pt x="780" y="1120"/>
                    <a:pt x="783" y="1115"/>
                  </a:cubicBezTo>
                  <a:cubicBezTo>
                    <a:pt x="783" y="1114"/>
                    <a:pt x="775" y="1110"/>
                    <a:pt x="774" y="1110"/>
                  </a:cubicBezTo>
                  <a:cubicBezTo>
                    <a:pt x="769" y="1110"/>
                    <a:pt x="779" y="1097"/>
                    <a:pt x="781" y="1095"/>
                  </a:cubicBezTo>
                  <a:cubicBezTo>
                    <a:pt x="782" y="1094"/>
                    <a:pt x="801" y="1095"/>
                    <a:pt x="786" y="1091"/>
                  </a:cubicBezTo>
                  <a:cubicBezTo>
                    <a:pt x="782" y="1091"/>
                    <a:pt x="795" y="1093"/>
                    <a:pt x="795" y="1090"/>
                  </a:cubicBezTo>
                  <a:cubicBezTo>
                    <a:pt x="795" y="1085"/>
                    <a:pt x="792" y="1087"/>
                    <a:pt x="790" y="1087"/>
                  </a:cubicBezTo>
                  <a:cubicBezTo>
                    <a:pt x="780" y="1087"/>
                    <a:pt x="783" y="1094"/>
                    <a:pt x="774" y="1095"/>
                  </a:cubicBezTo>
                  <a:cubicBezTo>
                    <a:pt x="768" y="1096"/>
                    <a:pt x="765" y="1087"/>
                    <a:pt x="762" y="1087"/>
                  </a:cubicBezTo>
                  <a:cubicBezTo>
                    <a:pt x="753" y="1085"/>
                    <a:pt x="754" y="1097"/>
                    <a:pt x="745" y="1091"/>
                  </a:cubicBezTo>
                  <a:cubicBezTo>
                    <a:pt x="741" y="1088"/>
                    <a:pt x="753" y="1080"/>
                    <a:pt x="747" y="1076"/>
                  </a:cubicBezTo>
                  <a:cubicBezTo>
                    <a:pt x="746" y="1075"/>
                    <a:pt x="744" y="1077"/>
                    <a:pt x="743" y="1078"/>
                  </a:cubicBezTo>
                  <a:cubicBezTo>
                    <a:pt x="730" y="1082"/>
                    <a:pt x="744" y="1085"/>
                    <a:pt x="738" y="1093"/>
                  </a:cubicBezTo>
                  <a:cubicBezTo>
                    <a:pt x="734" y="1098"/>
                    <a:pt x="749" y="1095"/>
                    <a:pt x="743" y="1100"/>
                  </a:cubicBezTo>
                  <a:cubicBezTo>
                    <a:pt x="738" y="1103"/>
                    <a:pt x="732" y="1103"/>
                    <a:pt x="729" y="1093"/>
                  </a:cubicBezTo>
                  <a:cubicBezTo>
                    <a:pt x="729" y="1092"/>
                    <a:pt x="723" y="1088"/>
                    <a:pt x="723" y="1089"/>
                  </a:cubicBezTo>
                  <a:cubicBezTo>
                    <a:pt x="722" y="1092"/>
                    <a:pt x="727" y="1093"/>
                    <a:pt x="728" y="1095"/>
                  </a:cubicBezTo>
                  <a:cubicBezTo>
                    <a:pt x="729" y="1099"/>
                    <a:pt x="720" y="1097"/>
                    <a:pt x="719" y="1097"/>
                  </a:cubicBezTo>
                  <a:cubicBezTo>
                    <a:pt x="717" y="1097"/>
                    <a:pt x="712" y="1095"/>
                    <a:pt x="711" y="1095"/>
                  </a:cubicBezTo>
                  <a:cubicBezTo>
                    <a:pt x="703" y="1090"/>
                    <a:pt x="697" y="1076"/>
                    <a:pt x="691" y="1068"/>
                  </a:cubicBezTo>
                  <a:cubicBezTo>
                    <a:pt x="691" y="1068"/>
                    <a:pt x="691" y="1067"/>
                    <a:pt x="691" y="1067"/>
                  </a:cubicBezTo>
                  <a:cubicBezTo>
                    <a:pt x="692" y="1062"/>
                    <a:pt x="698" y="1071"/>
                    <a:pt x="700" y="1071"/>
                  </a:cubicBezTo>
                  <a:cubicBezTo>
                    <a:pt x="707" y="1071"/>
                    <a:pt x="700" y="1061"/>
                    <a:pt x="701" y="1055"/>
                  </a:cubicBezTo>
                  <a:cubicBezTo>
                    <a:pt x="701" y="1052"/>
                    <a:pt x="707" y="1048"/>
                    <a:pt x="706" y="1047"/>
                  </a:cubicBezTo>
                  <a:cubicBezTo>
                    <a:pt x="705" y="1046"/>
                    <a:pt x="702" y="1042"/>
                    <a:pt x="704" y="1041"/>
                  </a:cubicBezTo>
                  <a:cubicBezTo>
                    <a:pt x="706" y="1040"/>
                    <a:pt x="699" y="1044"/>
                    <a:pt x="697" y="1043"/>
                  </a:cubicBezTo>
                  <a:cubicBezTo>
                    <a:pt x="696" y="1042"/>
                    <a:pt x="696" y="1041"/>
                    <a:pt x="696" y="1040"/>
                  </a:cubicBezTo>
                  <a:cubicBezTo>
                    <a:pt x="697" y="1035"/>
                    <a:pt x="687" y="1024"/>
                    <a:pt x="691" y="1027"/>
                  </a:cubicBezTo>
                  <a:cubicBezTo>
                    <a:pt x="693" y="1029"/>
                    <a:pt x="696" y="1037"/>
                    <a:pt x="698" y="1034"/>
                  </a:cubicBezTo>
                  <a:cubicBezTo>
                    <a:pt x="706" y="1025"/>
                    <a:pt x="665" y="1000"/>
                    <a:pt x="661" y="1006"/>
                  </a:cubicBezTo>
                  <a:cubicBezTo>
                    <a:pt x="660" y="1007"/>
                    <a:pt x="673" y="1021"/>
                    <a:pt x="673" y="1021"/>
                  </a:cubicBezTo>
                  <a:cubicBezTo>
                    <a:pt x="678" y="1018"/>
                    <a:pt x="669" y="1015"/>
                    <a:pt x="673" y="1013"/>
                  </a:cubicBezTo>
                  <a:cubicBezTo>
                    <a:pt x="681" y="1011"/>
                    <a:pt x="687" y="1026"/>
                    <a:pt x="692" y="1040"/>
                  </a:cubicBezTo>
                  <a:cubicBezTo>
                    <a:pt x="698" y="1054"/>
                    <a:pt x="678" y="1045"/>
                    <a:pt x="693" y="1061"/>
                  </a:cubicBezTo>
                  <a:cubicBezTo>
                    <a:pt x="695" y="1064"/>
                    <a:pt x="680" y="1063"/>
                    <a:pt x="683" y="1066"/>
                  </a:cubicBezTo>
                  <a:cubicBezTo>
                    <a:pt x="701" y="1080"/>
                    <a:pt x="684" y="1078"/>
                    <a:pt x="686" y="1083"/>
                  </a:cubicBezTo>
                  <a:cubicBezTo>
                    <a:pt x="687" y="1086"/>
                    <a:pt x="690" y="1084"/>
                    <a:pt x="691" y="1083"/>
                  </a:cubicBezTo>
                  <a:cubicBezTo>
                    <a:pt x="692" y="1082"/>
                    <a:pt x="693" y="1083"/>
                    <a:pt x="693" y="1088"/>
                  </a:cubicBezTo>
                  <a:cubicBezTo>
                    <a:pt x="693" y="1088"/>
                    <a:pt x="698" y="1092"/>
                    <a:pt x="699" y="1092"/>
                  </a:cubicBezTo>
                  <a:cubicBezTo>
                    <a:pt x="702" y="1094"/>
                    <a:pt x="717" y="1121"/>
                    <a:pt x="722" y="1117"/>
                  </a:cubicBezTo>
                  <a:cubicBezTo>
                    <a:pt x="724" y="1116"/>
                    <a:pt x="719" y="1110"/>
                    <a:pt x="722" y="1107"/>
                  </a:cubicBezTo>
                  <a:cubicBezTo>
                    <a:pt x="723" y="1107"/>
                    <a:pt x="725" y="1112"/>
                    <a:pt x="726" y="1108"/>
                  </a:cubicBezTo>
                  <a:cubicBezTo>
                    <a:pt x="727" y="1104"/>
                    <a:pt x="732" y="1102"/>
                    <a:pt x="734" y="1107"/>
                  </a:cubicBezTo>
                  <a:cubicBezTo>
                    <a:pt x="735" y="1114"/>
                    <a:pt x="725" y="1110"/>
                    <a:pt x="729" y="1118"/>
                  </a:cubicBezTo>
                  <a:cubicBezTo>
                    <a:pt x="729" y="1118"/>
                    <a:pt x="729" y="1119"/>
                    <a:pt x="730" y="1119"/>
                  </a:cubicBezTo>
                  <a:cubicBezTo>
                    <a:pt x="727" y="1120"/>
                    <a:pt x="725" y="1122"/>
                    <a:pt x="725" y="1124"/>
                  </a:cubicBezTo>
                  <a:cubicBezTo>
                    <a:pt x="725" y="1127"/>
                    <a:pt x="733" y="1127"/>
                    <a:pt x="732" y="1130"/>
                  </a:cubicBezTo>
                  <a:cubicBezTo>
                    <a:pt x="732" y="1136"/>
                    <a:pt x="726" y="1131"/>
                    <a:pt x="726" y="1131"/>
                  </a:cubicBezTo>
                  <a:cubicBezTo>
                    <a:pt x="726" y="1137"/>
                    <a:pt x="725" y="1142"/>
                    <a:pt x="725" y="1146"/>
                  </a:cubicBezTo>
                  <a:cubicBezTo>
                    <a:pt x="724" y="1149"/>
                    <a:pt x="732" y="1157"/>
                    <a:pt x="729" y="1156"/>
                  </a:cubicBezTo>
                  <a:cubicBezTo>
                    <a:pt x="724" y="1154"/>
                    <a:pt x="718" y="1146"/>
                    <a:pt x="716" y="1150"/>
                  </a:cubicBezTo>
                  <a:cubicBezTo>
                    <a:pt x="714" y="1157"/>
                    <a:pt x="735" y="1160"/>
                    <a:pt x="737" y="1166"/>
                  </a:cubicBezTo>
                  <a:cubicBezTo>
                    <a:pt x="740" y="1174"/>
                    <a:pt x="725" y="1160"/>
                    <a:pt x="724" y="1163"/>
                  </a:cubicBezTo>
                  <a:cubicBezTo>
                    <a:pt x="724" y="1165"/>
                    <a:pt x="732" y="1172"/>
                    <a:pt x="734" y="1175"/>
                  </a:cubicBezTo>
                  <a:cubicBezTo>
                    <a:pt x="735" y="1176"/>
                    <a:pt x="737" y="1178"/>
                    <a:pt x="735" y="1178"/>
                  </a:cubicBezTo>
                  <a:cubicBezTo>
                    <a:pt x="732" y="1177"/>
                    <a:pt x="719" y="1167"/>
                    <a:pt x="720" y="1163"/>
                  </a:cubicBezTo>
                  <a:cubicBezTo>
                    <a:pt x="721" y="1162"/>
                    <a:pt x="721" y="1158"/>
                    <a:pt x="720" y="1159"/>
                  </a:cubicBezTo>
                  <a:cubicBezTo>
                    <a:pt x="718" y="1159"/>
                    <a:pt x="714" y="1167"/>
                    <a:pt x="711" y="1165"/>
                  </a:cubicBezTo>
                  <a:cubicBezTo>
                    <a:pt x="708" y="1164"/>
                    <a:pt x="712" y="1156"/>
                    <a:pt x="708" y="1155"/>
                  </a:cubicBezTo>
                  <a:cubicBezTo>
                    <a:pt x="704" y="1153"/>
                    <a:pt x="707" y="1163"/>
                    <a:pt x="705" y="1158"/>
                  </a:cubicBezTo>
                  <a:cubicBezTo>
                    <a:pt x="701" y="1150"/>
                    <a:pt x="702" y="1168"/>
                    <a:pt x="701" y="1168"/>
                  </a:cubicBezTo>
                  <a:cubicBezTo>
                    <a:pt x="696" y="1169"/>
                    <a:pt x="678" y="1142"/>
                    <a:pt x="682" y="1153"/>
                  </a:cubicBezTo>
                  <a:cubicBezTo>
                    <a:pt x="685" y="1161"/>
                    <a:pt x="703" y="1182"/>
                    <a:pt x="709" y="1171"/>
                  </a:cubicBezTo>
                  <a:cubicBezTo>
                    <a:pt x="709" y="1170"/>
                    <a:pt x="705" y="1168"/>
                    <a:pt x="705" y="1168"/>
                  </a:cubicBezTo>
                  <a:cubicBezTo>
                    <a:pt x="703" y="1166"/>
                    <a:pt x="710" y="1169"/>
                    <a:pt x="712" y="1169"/>
                  </a:cubicBezTo>
                  <a:cubicBezTo>
                    <a:pt x="715" y="1168"/>
                    <a:pt x="712" y="1175"/>
                    <a:pt x="718" y="1181"/>
                  </a:cubicBezTo>
                  <a:cubicBezTo>
                    <a:pt x="719" y="1182"/>
                    <a:pt x="723" y="1184"/>
                    <a:pt x="724" y="1184"/>
                  </a:cubicBezTo>
                  <a:cubicBezTo>
                    <a:pt x="732" y="1181"/>
                    <a:pt x="720" y="1173"/>
                    <a:pt x="723" y="1173"/>
                  </a:cubicBezTo>
                  <a:cubicBezTo>
                    <a:pt x="724" y="1172"/>
                    <a:pt x="748" y="1194"/>
                    <a:pt x="739" y="1177"/>
                  </a:cubicBezTo>
                  <a:cubicBezTo>
                    <a:pt x="739" y="1176"/>
                    <a:pt x="735" y="1168"/>
                    <a:pt x="740" y="1171"/>
                  </a:cubicBezTo>
                  <a:cubicBezTo>
                    <a:pt x="741" y="1172"/>
                    <a:pt x="744" y="1177"/>
                    <a:pt x="744" y="1178"/>
                  </a:cubicBezTo>
                  <a:cubicBezTo>
                    <a:pt x="747" y="1198"/>
                    <a:pt x="750" y="1182"/>
                    <a:pt x="754" y="1191"/>
                  </a:cubicBezTo>
                  <a:cubicBezTo>
                    <a:pt x="757" y="1197"/>
                    <a:pt x="745" y="1190"/>
                    <a:pt x="744" y="1193"/>
                  </a:cubicBezTo>
                  <a:cubicBezTo>
                    <a:pt x="744" y="1198"/>
                    <a:pt x="757" y="1210"/>
                    <a:pt x="759" y="1216"/>
                  </a:cubicBezTo>
                  <a:cubicBezTo>
                    <a:pt x="761" y="1219"/>
                    <a:pt x="746" y="1216"/>
                    <a:pt x="749" y="1218"/>
                  </a:cubicBezTo>
                  <a:cubicBezTo>
                    <a:pt x="755" y="1223"/>
                    <a:pt x="783" y="1230"/>
                    <a:pt x="786" y="1229"/>
                  </a:cubicBezTo>
                  <a:cubicBezTo>
                    <a:pt x="786" y="1229"/>
                    <a:pt x="774" y="1226"/>
                    <a:pt x="783" y="1224"/>
                  </a:cubicBezTo>
                  <a:cubicBezTo>
                    <a:pt x="791" y="1222"/>
                    <a:pt x="804" y="1235"/>
                    <a:pt x="801" y="1235"/>
                  </a:cubicBezTo>
                  <a:cubicBezTo>
                    <a:pt x="799" y="1234"/>
                    <a:pt x="789" y="1228"/>
                    <a:pt x="788" y="1230"/>
                  </a:cubicBezTo>
                  <a:cubicBezTo>
                    <a:pt x="786" y="1233"/>
                    <a:pt x="820" y="1245"/>
                    <a:pt x="822" y="1248"/>
                  </a:cubicBezTo>
                  <a:cubicBezTo>
                    <a:pt x="822" y="1249"/>
                    <a:pt x="830" y="1250"/>
                    <a:pt x="829" y="1252"/>
                  </a:cubicBezTo>
                  <a:cubicBezTo>
                    <a:pt x="829" y="1252"/>
                    <a:pt x="816" y="1252"/>
                    <a:pt x="815" y="1252"/>
                  </a:cubicBezTo>
                  <a:cubicBezTo>
                    <a:pt x="815" y="1252"/>
                    <a:pt x="814" y="1252"/>
                    <a:pt x="814" y="1252"/>
                  </a:cubicBezTo>
                  <a:cubicBezTo>
                    <a:pt x="814" y="1253"/>
                    <a:pt x="818" y="1255"/>
                    <a:pt x="819" y="1255"/>
                  </a:cubicBezTo>
                  <a:cubicBezTo>
                    <a:pt x="832" y="1259"/>
                    <a:pt x="836" y="1257"/>
                    <a:pt x="838" y="1266"/>
                  </a:cubicBezTo>
                  <a:cubicBezTo>
                    <a:pt x="840" y="1273"/>
                    <a:pt x="803" y="1261"/>
                    <a:pt x="803" y="1262"/>
                  </a:cubicBezTo>
                  <a:cubicBezTo>
                    <a:pt x="801" y="1264"/>
                    <a:pt x="808" y="1263"/>
                    <a:pt x="808" y="1264"/>
                  </a:cubicBezTo>
                  <a:cubicBezTo>
                    <a:pt x="812" y="1268"/>
                    <a:pt x="799" y="1267"/>
                    <a:pt x="807" y="1272"/>
                  </a:cubicBezTo>
                  <a:cubicBezTo>
                    <a:pt x="807" y="1273"/>
                    <a:pt x="809" y="1276"/>
                    <a:pt x="808" y="1277"/>
                  </a:cubicBezTo>
                  <a:cubicBezTo>
                    <a:pt x="805" y="1278"/>
                    <a:pt x="801" y="1271"/>
                    <a:pt x="801" y="1271"/>
                  </a:cubicBezTo>
                  <a:cubicBezTo>
                    <a:pt x="798" y="1272"/>
                    <a:pt x="801" y="1278"/>
                    <a:pt x="801" y="1279"/>
                  </a:cubicBezTo>
                  <a:cubicBezTo>
                    <a:pt x="800" y="1279"/>
                    <a:pt x="798" y="1274"/>
                    <a:pt x="795" y="1274"/>
                  </a:cubicBezTo>
                  <a:cubicBezTo>
                    <a:pt x="789" y="1272"/>
                    <a:pt x="802" y="1282"/>
                    <a:pt x="793" y="1279"/>
                  </a:cubicBezTo>
                  <a:cubicBezTo>
                    <a:pt x="788" y="1278"/>
                    <a:pt x="789" y="1271"/>
                    <a:pt x="783" y="1277"/>
                  </a:cubicBezTo>
                  <a:cubicBezTo>
                    <a:pt x="782" y="1278"/>
                    <a:pt x="782" y="1278"/>
                    <a:pt x="781" y="1279"/>
                  </a:cubicBezTo>
                  <a:cubicBezTo>
                    <a:pt x="778" y="1284"/>
                    <a:pt x="784" y="1309"/>
                    <a:pt x="767" y="1316"/>
                  </a:cubicBezTo>
                  <a:cubicBezTo>
                    <a:pt x="764" y="1318"/>
                    <a:pt x="764" y="1313"/>
                    <a:pt x="763" y="1311"/>
                  </a:cubicBezTo>
                  <a:cubicBezTo>
                    <a:pt x="762" y="1305"/>
                    <a:pt x="760" y="1296"/>
                    <a:pt x="755" y="1296"/>
                  </a:cubicBezTo>
                  <a:cubicBezTo>
                    <a:pt x="747" y="1296"/>
                    <a:pt x="758" y="1294"/>
                    <a:pt x="756" y="1292"/>
                  </a:cubicBezTo>
                  <a:cubicBezTo>
                    <a:pt x="750" y="1284"/>
                    <a:pt x="749" y="1284"/>
                    <a:pt x="745" y="1276"/>
                  </a:cubicBezTo>
                  <a:cubicBezTo>
                    <a:pt x="744" y="1275"/>
                    <a:pt x="734" y="1281"/>
                    <a:pt x="734" y="1277"/>
                  </a:cubicBezTo>
                  <a:cubicBezTo>
                    <a:pt x="735" y="1274"/>
                    <a:pt x="728" y="1266"/>
                    <a:pt x="726" y="1268"/>
                  </a:cubicBezTo>
                  <a:cubicBezTo>
                    <a:pt x="719" y="1277"/>
                    <a:pt x="744" y="1282"/>
                    <a:pt x="743" y="1286"/>
                  </a:cubicBezTo>
                  <a:cubicBezTo>
                    <a:pt x="741" y="1291"/>
                    <a:pt x="738" y="1292"/>
                    <a:pt x="733" y="1292"/>
                  </a:cubicBezTo>
                  <a:cubicBezTo>
                    <a:pt x="722" y="1293"/>
                    <a:pt x="725" y="1296"/>
                    <a:pt x="734" y="1296"/>
                  </a:cubicBezTo>
                  <a:cubicBezTo>
                    <a:pt x="734" y="1296"/>
                    <a:pt x="736" y="1295"/>
                    <a:pt x="736" y="1296"/>
                  </a:cubicBezTo>
                  <a:cubicBezTo>
                    <a:pt x="737" y="1298"/>
                    <a:pt x="733" y="1300"/>
                    <a:pt x="731" y="1301"/>
                  </a:cubicBezTo>
                  <a:cubicBezTo>
                    <a:pt x="724" y="1301"/>
                    <a:pt x="721" y="1305"/>
                    <a:pt x="719" y="1302"/>
                  </a:cubicBezTo>
                  <a:cubicBezTo>
                    <a:pt x="717" y="1301"/>
                    <a:pt x="718" y="1290"/>
                    <a:pt x="713" y="1292"/>
                  </a:cubicBezTo>
                  <a:cubicBezTo>
                    <a:pt x="711" y="1293"/>
                    <a:pt x="714" y="1300"/>
                    <a:pt x="714" y="1301"/>
                  </a:cubicBezTo>
                  <a:cubicBezTo>
                    <a:pt x="714" y="1308"/>
                    <a:pt x="724" y="1316"/>
                    <a:pt x="702" y="1308"/>
                  </a:cubicBezTo>
                  <a:cubicBezTo>
                    <a:pt x="701" y="1308"/>
                    <a:pt x="703" y="1300"/>
                    <a:pt x="704" y="1300"/>
                  </a:cubicBezTo>
                  <a:cubicBezTo>
                    <a:pt x="706" y="1299"/>
                    <a:pt x="706" y="1297"/>
                    <a:pt x="705" y="1295"/>
                  </a:cubicBezTo>
                  <a:cubicBezTo>
                    <a:pt x="702" y="1292"/>
                    <a:pt x="702" y="1301"/>
                    <a:pt x="700" y="1299"/>
                  </a:cubicBezTo>
                  <a:cubicBezTo>
                    <a:pt x="699" y="1297"/>
                    <a:pt x="706" y="1278"/>
                    <a:pt x="696" y="1289"/>
                  </a:cubicBezTo>
                  <a:cubicBezTo>
                    <a:pt x="691" y="1294"/>
                    <a:pt x="697" y="1311"/>
                    <a:pt x="705" y="1313"/>
                  </a:cubicBezTo>
                  <a:cubicBezTo>
                    <a:pt x="707" y="1314"/>
                    <a:pt x="715" y="1319"/>
                    <a:pt x="715" y="1319"/>
                  </a:cubicBezTo>
                  <a:cubicBezTo>
                    <a:pt x="704" y="1319"/>
                    <a:pt x="688" y="1309"/>
                    <a:pt x="695" y="1322"/>
                  </a:cubicBezTo>
                  <a:cubicBezTo>
                    <a:pt x="698" y="1327"/>
                    <a:pt x="699" y="1318"/>
                    <a:pt x="703" y="1321"/>
                  </a:cubicBezTo>
                  <a:cubicBezTo>
                    <a:pt x="704" y="1322"/>
                    <a:pt x="701" y="1327"/>
                    <a:pt x="700" y="1327"/>
                  </a:cubicBezTo>
                  <a:cubicBezTo>
                    <a:pt x="691" y="1332"/>
                    <a:pt x="697" y="1332"/>
                    <a:pt x="693" y="1340"/>
                  </a:cubicBezTo>
                  <a:cubicBezTo>
                    <a:pt x="692" y="1342"/>
                    <a:pt x="699" y="1335"/>
                    <a:pt x="701" y="1337"/>
                  </a:cubicBezTo>
                  <a:close/>
                  <a:moveTo>
                    <a:pt x="729" y="1375"/>
                  </a:moveTo>
                  <a:cubicBezTo>
                    <a:pt x="729" y="1376"/>
                    <a:pt x="733" y="1380"/>
                    <a:pt x="734" y="1379"/>
                  </a:cubicBezTo>
                  <a:cubicBezTo>
                    <a:pt x="738" y="1379"/>
                    <a:pt x="737" y="1384"/>
                    <a:pt x="732" y="1389"/>
                  </a:cubicBezTo>
                  <a:cubicBezTo>
                    <a:pt x="730" y="1392"/>
                    <a:pt x="730" y="1380"/>
                    <a:pt x="727" y="1384"/>
                  </a:cubicBezTo>
                  <a:cubicBezTo>
                    <a:pt x="717" y="1401"/>
                    <a:pt x="707" y="1371"/>
                    <a:pt x="699" y="1387"/>
                  </a:cubicBezTo>
                  <a:cubicBezTo>
                    <a:pt x="699" y="1388"/>
                    <a:pt x="699" y="1388"/>
                    <a:pt x="699" y="1388"/>
                  </a:cubicBezTo>
                  <a:cubicBezTo>
                    <a:pt x="699" y="1388"/>
                    <a:pt x="699" y="1392"/>
                    <a:pt x="701" y="1390"/>
                  </a:cubicBezTo>
                  <a:cubicBezTo>
                    <a:pt x="703" y="1387"/>
                    <a:pt x="741" y="1403"/>
                    <a:pt x="749" y="1388"/>
                  </a:cubicBezTo>
                  <a:cubicBezTo>
                    <a:pt x="751" y="1385"/>
                    <a:pt x="732" y="1369"/>
                    <a:pt x="729" y="1375"/>
                  </a:cubicBezTo>
                  <a:close/>
                  <a:moveTo>
                    <a:pt x="171" y="1048"/>
                  </a:moveTo>
                  <a:cubicBezTo>
                    <a:pt x="186" y="1038"/>
                    <a:pt x="165" y="1042"/>
                    <a:pt x="165" y="1041"/>
                  </a:cubicBezTo>
                  <a:cubicBezTo>
                    <a:pt x="165" y="1041"/>
                    <a:pt x="165" y="1041"/>
                    <a:pt x="165" y="1041"/>
                  </a:cubicBezTo>
                  <a:cubicBezTo>
                    <a:pt x="162" y="1042"/>
                    <a:pt x="168" y="1050"/>
                    <a:pt x="171" y="1048"/>
                  </a:cubicBezTo>
                  <a:close/>
                  <a:moveTo>
                    <a:pt x="154" y="1052"/>
                  </a:moveTo>
                  <a:cubicBezTo>
                    <a:pt x="138" y="1053"/>
                    <a:pt x="174" y="1083"/>
                    <a:pt x="179" y="1055"/>
                  </a:cubicBezTo>
                  <a:cubicBezTo>
                    <a:pt x="179" y="1054"/>
                    <a:pt x="179" y="1054"/>
                    <a:pt x="179" y="1054"/>
                  </a:cubicBezTo>
                  <a:cubicBezTo>
                    <a:pt x="176" y="1049"/>
                    <a:pt x="165" y="1059"/>
                    <a:pt x="161" y="1059"/>
                  </a:cubicBezTo>
                  <a:cubicBezTo>
                    <a:pt x="156" y="1058"/>
                    <a:pt x="170" y="1051"/>
                    <a:pt x="154" y="1052"/>
                  </a:cubicBezTo>
                  <a:close/>
                  <a:moveTo>
                    <a:pt x="94" y="1525"/>
                  </a:moveTo>
                  <a:cubicBezTo>
                    <a:pt x="95" y="1526"/>
                    <a:pt x="106" y="1526"/>
                    <a:pt x="104" y="1522"/>
                  </a:cubicBezTo>
                  <a:cubicBezTo>
                    <a:pt x="103" y="1520"/>
                    <a:pt x="102" y="1522"/>
                    <a:pt x="101" y="1519"/>
                  </a:cubicBezTo>
                  <a:cubicBezTo>
                    <a:pt x="100" y="1519"/>
                    <a:pt x="100" y="1519"/>
                    <a:pt x="100" y="1519"/>
                  </a:cubicBezTo>
                  <a:cubicBezTo>
                    <a:pt x="98" y="1519"/>
                    <a:pt x="92" y="1524"/>
                    <a:pt x="94" y="1525"/>
                  </a:cubicBezTo>
                  <a:close/>
                  <a:moveTo>
                    <a:pt x="86" y="1521"/>
                  </a:moveTo>
                  <a:cubicBezTo>
                    <a:pt x="83" y="1530"/>
                    <a:pt x="87" y="1523"/>
                    <a:pt x="89" y="1520"/>
                  </a:cubicBezTo>
                  <a:cubicBezTo>
                    <a:pt x="90" y="1519"/>
                    <a:pt x="90" y="1519"/>
                    <a:pt x="90" y="1519"/>
                  </a:cubicBezTo>
                  <a:cubicBezTo>
                    <a:pt x="91" y="1517"/>
                    <a:pt x="87" y="1518"/>
                    <a:pt x="86" y="1521"/>
                  </a:cubicBezTo>
                  <a:close/>
                  <a:moveTo>
                    <a:pt x="75" y="1530"/>
                  </a:moveTo>
                  <a:cubicBezTo>
                    <a:pt x="76" y="1531"/>
                    <a:pt x="79" y="1529"/>
                    <a:pt x="80" y="1529"/>
                  </a:cubicBezTo>
                  <a:cubicBezTo>
                    <a:pt x="80" y="1529"/>
                    <a:pt x="84" y="1531"/>
                    <a:pt x="85" y="1530"/>
                  </a:cubicBezTo>
                  <a:cubicBezTo>
                    <a:pt x="85" y="1529"/>
                    <a:pt x="84" y="1528"/>
                    <a:pt x="83" y="1527"/>
                  </a:cubicBezTo>
                  <a:cubicBezTo>
                    <a:pt x="82" y="1527"/>
                    <a:pt x="82" y="1527"/>
                    <a:pt x="82" y="1527"/>
                  </a:cubicBezTo>
                  <a:cubicBezTo>
                    <a:pt x="82" y="1527"/>
                    <a:pt x="80" y="1526"/>
                    <a:pt x="79" y="1526"/>
                  </a:cubicBezTo>
                  <a:cubicBezTo>
                    <a:pt x="79" y="1526"/>
                    <a:pt x="75" y="1530"/>
                    <a:pt x="75" y="15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" name="Denmark"/>
            <p:cNvSpPr>
              <a:spLocks noEditPoints="1"/>
            </p:cNvSpPr>
            <p:nvPr/>
          </p:nvSpPr>
          <p:spPr bwMode="auto">
            <a:xfrm>
              <a:off x="3141" y="1709"/>
              <a:ext cx="337" cy="232"/>
            </a:xfrm>
            <a:custGeom>
              <a:avLst/>
              <a:gdLst>
                <a:gd name="T0" fmla="*/ 138 w 647"/>
                <a:gd name="T1" fmla="*/ 401 h 446"/>
                <a:gd name="T2" fmla="*/ 52 w 647"/>
                <a:gd name="T3" fmla="*/ 371 h 446"/>
                <a:gd name="T4" fmla="*/ 55 w 647"/>
                <a:gd name="T5" fmla="*/ 368 h 446"/>
                <a:gd name="T6" fmla="*/ 14 w 647"/>
                <a:gd name="T7" fmla="*/ 316 h 446"/>
                <a:gd name="T8" fmla="*/ 12 w 647"/>
                <a:gd name="T9" fmla="*/ 275 h 446"/>
                <a:gd name="T10" fmla="*/ 13 w 647"/>
                <a:gd name="T11" fmla="*/ 161 h 446"/>
                <a:gd name="T12" fmla="*/ 55 w 647"/>
                <a:gd name="T13" fmla="*/ 163 h 446"/>
                <a:gd name="T14" fmla="*/ 88 w 647"/>
                <a:gd name="T15" fmla="*/ 166 h 446"/>
                <a:gd name="T16" fmla="*/ 117 w 647"/>
                <a:gd name="T17" fmla="*/ 170 h 446"/>
                <a:gd name="T18" fmla="*/ 138 w 647"/>
                <a:gd name="T19" fmla="*/ 114 h 446"/>
                <a:gd name="T20" fmla="*/ 38 w 647"/>
                <a:gd name="T21" fmla="*/ 140 h 446"/>
                <a:gd name="T22" fmla="*/ 47 w 647"/>
                <a:gd name="T23" fmla="*/ 156 h 446"/>
                <a:gd name="T24" fmla="*/ 48 w 647"/>
                <a:gd name="T25" fmla="*/ 94 h 446"/>
                <a:gd name="T26" fmla="*/ 223 w 647"/>
                <a:gd name="T27" fmla="*/ 11 h 446"/>
                <a:gd name="T28" fmla="*/ 203 w 647"/>
                <a:gd name="T29" fmla="*/ 111 h 446"/>
                <a:gd name="T30" fmla="*/ 200 w 647"/>
                <a:gd name="T31" fmla="*/ 112 h 446"/>
                <a:gd name="T32" fmla="*/ 177 w 647"/>
                <a:gd name="T33" fmla="*/ 154 h 446"/>
                <a:gd name="T34" fmla="*/ 203 w 647"/>
                <a:gd name="T35" fmla="*/ 153 h 446"/>
                <a:gd name="T36" fmla="*/ 259 w 647"/>
                <a:gd name="T37" fmla="*/ 188 h 446"/>
                <a:gd name="T38" fmla="*/ 204 w 647"/>
                <a:gd name="T39" fmla="*/ 222 h 446"/>
                <a:gd name="T40" fmla="*/ 161 w 647"/>
                <a:gd name="T41" fmla="*/ 270 h 446"/>
                <a:gd name="T42" fmla="*/ 133 w 647"/>
                <a:gd name="T43" fmla="*/ 289 h 446"/>
                <a:gd name="T44" fmla="*/ 138 w 647"/>
                <a:gd name="T45" fmla="*/ 319 h 446"/>
                <a:gd name="T46" fmla="*/ 133 w 647"/>
                <a:gd name="T47" fmla="*/ 376 h 446"/>
                <a:gd name="T48" fmla="*/ 366 w 647"/>
                <a:gd name="T49" fmla="*/ 408 h 446"/>
                <a:gd name="T50" fmla="*/ 351 w 647"/>
                <a:gd name="T51" fmla="*/ 390 h 446"/>
                <a:gd name="T52" fmla="*/ 392 w 647"/>
                <a:gd name="T53" fmla="*/ 347 h 446"/>
                <a:gd name="T54" fmla="*/ 378 w 647"/>
                <a:gd name="T55" fmla="*/ 231 h 446"/>
                <a:gd name="T56" fmla="*/ 344 w 647"/>
                <a:gd name="T57" fmla="*/ 297 h 446"/>
                <a:gd name="T58" fmla="*/ 327 w 647"/>
                <a:gd name="T59" fmla="*/ 287 h 446"/>
                <a:gd name="T60" fmla="*/ 326 w 647"/>
                <a:gd name="T61" fmla="*/ 263 h 446"/>
                <a:gd name="T62" fmla="*/ 293 w 647"/>
                <a:gd name="T63" fmla="*/ 255 h 446"/>
                <a:gd name="T64" fmla="*/ 258 w 647"/>
                <a:gd name="T65" fmla="*/ 285 h 446"/>
                <a:gd name="T66" fmla="*/ 275 w 647"/>
                <a:gd name="T67" fmla="*/ 307 h 446"/>
                <a:gd name="T68" fmla="*/ 279 w 647"/>
                <a:gd name="T69" fmla="*/ 341 h 446"/>
                <a:gd name="T70" fmla="*/ 327 w 647"/>
                <a:gd name="T71" fmla="*/ 358 h 446"/>
                <a:gd name="T72" fmla="*/ 333 w 647"/>
                <a:gd name="T73" fmla="*/ 384 h 446"/>
                <a:gd name="T74" fmla="*/ 366 w 647"/>
                <a:gd name="T75" fmla="*/ 408 h 446"/>
                <a:gd name="T76" fmla="*/ 262 w 647"/>
                <a:gd name="T77" fmla="*/ 416 h 446"/>
                <a:gd name="T78" fmla="*/ 396 w 647"/>
                <a:gd name="T79" fmla="*/ 384 h 446"/>
                <a:gd name="T80" fmla="*/ 200 w 647"/>
                <a:gd name="T81" fmla="*/ 112 h 446"/>
                <a:gd name="T82" fmla="*/ 177 w 647"/>
                <a:gd name="T83" fmla="*/ 154 h 446"/>
                <a:gd name="T84" fmla="*/ 245 w 647"/>
                <a:gd name="T85" fmla="*/ 389 h 446"/>
                <a:gd name="T86" fmla="*/ 233 w 647"/>
                <a:gd name="T87" fmla="*/ 418 h 446"/>
                <a:gd name="T88" fmla="*/ 261 w 647"/>
                <a:gd name="T89" fmla="*/ 79 h 446"/>
                <a:gd name="T90" fmla="*/ 179 w 647"/>
                <a:gd name="T91" fmla="*/ 375 h 446"/>
                <a:gd name="T92" fmla="*/ 238 w 647"/>
                <a:gd name="T93" fmla="*/ 321 h 446"/>
                <a:gd name="T94" fmla="*/ 219 w 647"/>
                <a:gd name="T95" fmla="*/ 313 h 446"/>
                <a:gd name="T96" fmla="*/ 147 w 647"/>
                <a:gd name="T97" fmla="*/ 323 h 446"/>
                <a:gd name="T98" fmla="*/ 159 w 647"/>
                <a:gd name="T99" fmla="*/ 332 h 446"/>
                <a:gd name="T100" fmla="*/ 179 w 647"/>
                <a:gd name="T101" fmla="*/ 374 h 446"/>
                <a:gd name="T102" fmla="*/ 77 w 647"/>
                <a:gd name="T103" fmla="*/ 114 h 446"/>
                <a:gd name="T104" fmla="*/ 147 w 647"/>
                <a:gd name="T105" fmla="*/ 323 h 446"/>
                <a:gd name="T106" fmla="*/ 158 w 647"/>
                <a:gd name="T107" fmla="*/ 390 h 446"/>
                <a:gd name="T108" fmla="*/ 164 w 647"/>
                <a:gd name="T109" fmla="*/ 404 h 446"/>
                <a:gd name="T110" fmla="*/ 222 w 647"/>
                <a:gd name="T111" fmla="*/ 390 h 446"/>
                <a:gd name="T112" fmla="*/ 223 w 647"/>
                <a:gd name="T113" fmla="*/ 253 h 446"/>
                <a:gd name="T114" fmla="*/ 210 w 647"/>
                <a:gd name="T115" fmla="*/ 410 h 446"/>
                <a:gd name="T116" fmla="*/ 232 w 647"/>
                <a:gd name="T117" fmla="*/ 265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47" h="446">
                  <a:moveTo>
                    <a:pt x="152" y="397"/>
                  </a:moveTo>
                  <a:cubicBezTo>
                    <a:pt x="153" y="399"/>
                    <a:pt x="153" y="400"/>
                    <a:pt x="152" y="401"/>
                  </a:cubicBezTo>
                  <a:cubicBezTo>
                    <a:pt x="151" y="403"/>
                    <a:pt x="148" y="400"/>
                    <a:pt x="146" y="401"/>
                  </a:cubicBezTo>
                  <a:cubicBezTo>
                    <a:pt x="144" y="404"/>
                    <a:pt x="156" y="411"/>
                    <a:pt x="140" y="406"/>
                  </a:cubicBezTo>
                  <a:cubicBezTo>
                    <a:pt x="138" y="406"/>
                    <a:pt x="139" y="402"/>
                    <a:pt x="138" y="401"/>
                  </a:cubicBezTo>
                  <a:cubicBezTo>
                    <a:pt x="137" y="400"/>
                    <a:pt x="145" y="399"/>
                    <a:pt x="140" y="396"/>
                  </a:cubicBezTo>
                  <a:cubicBezTo>
                    <a:pt x="139" y="396"/>
                    <a:pt x="126" y="406"/>
                    <a:pt x="123" y="411"/>
                  </a:cubicBezTo>
                  <a:cubicBezTo>
                    <a:pt x="106" y="412"/>
                    <a:pt x="85" y="399"/>
                    <a:pt x="67" y="401"/>
                  </a:cubicBezTo>
                  <a:cubicBezTo>
                    <a:pt x="65" y="401"/>
                    <a:pt x="58" y="401"/>
                    <a:pt x="52" y="400"/>
                  </a:cubicBezTo>
                  <a:cubicBezTo>
                    <a:pt x="53" y="387"/>
                    <a:pt x="56" y="371"/>
                    <a:pt x="52" y="371"/>
                  </a:cubicBezTo>
                  <a:cubicBezTo>
                    <a:pt x="48" y="370"/>
                    <a:pt x="46" y="367"/>
                    <a:pt x="44" y="368"/>
                  </a:cubicBezTo>
                  <a:cubicBezTo>
                    <a:pt x="43" y="370"/>
                    <a:pt x="46" y="373"/>
                    <a:pt x="44" y="375"/>
                  </a:cubicBezTo>
                  <a:cubicBezTo>
                    <a:pt x="41" y="377"/>
                    <a:pt x="37" y="380"/>
                    <a:pt x="36" y="374"/>
                  </a:cubicBezTo>
                  <a:cubicBezTo>
                    <a:pt x="36" y="371"/>
                    <a:pt x="35" y="370"/>
                    <a:pt x="36" y="367"/>
                  </a:cubicBezTo>
                  <a:cubicBezTo>
                    <a:pt x="44" y="345"/>
                    <a:pt x="42" y="372"/>
                    <a:pt x="55" y="368"/>
                  </a:cubicBezTo>
                  <a:cubicBezTo>
                    <a:pt x="57" y="368"/>
                    <a:pt x="52" y="331"/>
                    <a:pt x="50" y="328"/>
                  </a:cubicBezTo>
                  <a:cubicBezTo>
                    <a:pt x="47" y="322"/>
                    <a:pt x="35" y="325"/>
                    <a:pt x="30" y="319"/>
                  </a:cubicBezTo>
                  <a:cubicBezTo>
                    <a:pt x="24" y="313"/>
                    <a:pt x="23" y="303"/>
                    <a:pt x="16" y="309"/>
                  </a:cubicBezTo>
                  <a:cubicBezTo>
                    <a:pt x="11" y="313"/>
                    <a:pt x="25" y="318"/>
                    <a:pt x="24" y="322"/>
                  </a:cubicBezTo>
                  <a:cubicBezTo>
                    <a:pt x="23" y="325"/>
                    <a:pt x="15" y="317"/>
                    <a:pt x="14" y="316"/>
                  </a:cubicBezTo>
                  <a:cubicBezTo>
                    <a:pt x="12" y="314"/>
                    <a:pt x="3" y="314"/>
                    <a:pt x="2" y="311"/>
                  </a:cubicBezTo>
                  <a:cubicBezTo>
                    <a:pt x="0" y="304"/>
                    <a:pt x="12" y="290"/>
                    <a:pt x="11" y="281"/>
                  </a:cubicBezTo>
                  <a:cubicBezTo>
                    <a:pt x="10" y="274"/>
                    <a:pt x="8" y="267"/>
                    <a:pt x="8" y="260"/>
                  </a:cubicBezTo>
                  <a:cubicBezTo>
                    <a:pt x="8" y="259"/>
                    <a:pt x="5" y="251"/>
                    <a:pt x="6" y="251"/>
                  </a:cubicBezTo>
                  <a:cubicBezTo>
                    <a:pt x="10" y="250"/>
                    <a:pt x="11" y="275"/>
                    <a:pt x="12" y="275"/>
                  </a:cubicBezTo>
                  <a:cubicBezTo>
                    <a:pt x="38" y="275"/>
                    <a:pt x="27" y="232"/>
                    <a:pt x="7" y="233"/>
                  </a:cubicBezTo>
                  <a:cubicBezTo>
                    <a:pt x="7" y="233"/>
                    <a:pt x="9" y="251"/>
                    <a:pt x="5" y="249"/>
                  </a:cubicBezTo>
                  <a:cubicBezTo>
                    <a:pt x="4" y="249"/>
                    <a:pt x="4" y="246"/>
                    <a:pt x="4" y="245"/>
                  </a:cubicBezTo>
                  <a:cubicBezTo>
                    <a:pt x="2" y="227"/>
                    <a:pt x="2" y="166"/>
                    <a:pt x="13" y="151"/>
                  </a:cubicBezTo>
                  <a:cubicBezTo>
                    <a:pt x="15" y="148"/>
                    <a:pt x="10" y="160"/>
                    <a:pt x="13" y="161"/>
                  </a:cubicBezTo>
                  <a:cubicBezTo>
                    <a:pt x="22" y="164"/>
                    <a:pt x="18" y="169"/>
                    <a:pt x="21" y="172"/>
                  </a:cubicBezTo>
                  <a:cubicBezTo>
                    <a:pt x="22" y="174"/>
                    <a:pt x="25" y="169"/>
                    <a:pt x="27" y="169"/>
                  </a:cubicBezTo>
                  <a:cubicBezTo>
                    <a:pt x="32" y="167"/>
                    <a:pt x="42" y="170"/>
                    <a:pt x="45" y="169"/>
                  </a:cubicBezTo>
                  <a:cubicBezTo>
                    <a:pt x="49" y="169"/>
                    <a:pt x="46" y="184"/>
                    <a:pt x="53" y="183"/>
                  </a:cubicBezTo>
                  <a:cubicBezTo>
                    <a:pt x="73" y="182"/>
                    <a:pt x="54" y="167"/>
                    <a:pt x="55" y="163"/>
                  </a:cubicBezTo>
                  <a:cubicBezTo>
                    <a:pt x="58" y="157"/>
                    <a:pt x="72" y="155"/>
                    <a:pt x="76" y="152"/>
                  </a:cubicBezTo>
                  <a:cubicBezTo>
                    <a:pt x="79" y="151"/>
                    <a:pt x="69" y="150"/>
                    <a:pt x="69" y="150"/>
                  </a:cubicBezTo>
                  <a:cubicBezTo>
                    <a:pt x="70" y="145"/>
                    <a:pt x="76" y="139"/>
                    <a:pt x="79" y="137"/>
                  </a:cubicBezTo>
                  <a:cubicBezTo>
                    <a:pt x="82" y="136"/>
                    <a:pt x="85" y="136"/>
                    <a:pt x="88" y="137"/>
                  </a:cubicBezTo>
                  <a:cubicBezTo>
                    <a:pt x="110" y="147"/>
                    <a:pt x="85" y="154"/>
                    <a:pt x="88" y="166"/>
                  </a:cubicBezTo>
                  <a:cubicBezTo>
                    <a:pt x="88" y="167"/>
                    <a:pt x="88" y="170"/>
                    <a:pt x="89" y="171"/>
                  </a:cubicBezTo>
                  <a:cubicBezTo>
                    <a:pt x="94" y="174"/>
                    <a:pt x="92" y="159"/>
                    <a:pt x="97" y="158"/>
                  </a:cubicBezTo>
                  <a:cubicBezTo>
                    <a:pt x="110" y="156"/>
                    <a:pt x="105" y="176"/>
                    <a:pt x="112" y="176"/>
                  </a:cubicBezTo>
                  <a:cubicBezTo>
                    <a:pt x="113" y="176"/>
                    <a:pt x="113" y="174"/>
                    <a:pt x="114" y="173"/>
                  </a:cubicBezTo>
                  <a:cubicBezTo>
                    <a:pt x="115" y="173"/>
                    <a:pt x="120" y="172"/>
                    <a:pt x="117" y="170"/>
                  </a:cubicBezTo>
                  <a:cubicBezTo>
                    <a:pt x="99" y="160"/>
                    <a:pt x="122" y="163"/>
                    <a:pt x="111" y="152"/>
                  </a:cubicBezTo>
                  <a:cubicBezTo>
                    <a:pt x="108" y="149"/>
                    <a:pt x="100" y="158"/>
                    <a:pt x="99" y="155"/>
                  </a:cubicBezTo>
                  <a:cubicBezTo>
                    <a:pt x="97" y="153"/>
                    <a:pt x="106" y="149"/>
                    <a:pt x="105" y="146"/>
                  </a:cubicBezTo>
                  <a:cubicBezTo>
                    <a:pt x="105" y="142"/>
                    <a:pt x="98" y="130"/>
                    <a:pt x="98" y="125"/>
                  </a:cubicBezTo>
                  <a:cubicBezTo>
                    <a:pt x="103" y="98"/>
                    <a:pt x="132" y="115"/>
                    <a:pt x="138" y="114"/>
                  </a:cubicBezTo>
                  <a:cubicBezTo>
                    <a:pt x="142" y="114"/>
                    <a:pt x="143" y="106"/>
                    <a:pt x="145" y="105"/>
                  </a:cubicBezTo>
                  <a:cubicBezTo>
                    <a:pt x="151" y="101"/>
                    <a:pt x="170" y="107"/>
                    <a:pt x="165" y="102"/>
                  </a:cubicBezTo>
                  <a:cubicBezTo>
                    <a:pt x="154" y="90"/>
                    <a:pt x="123" y="107"/>
                    <a:pt x="107" y="111"/>
                  </a:cubicBezTo>
                  <a:cubicBezTo>
                    <a:pt x="103" y="112"/>
                    <a:pt x="98" y="105"/>
                    <a:pt x="94" y="103"/>
                  </a:cubicBezTo>
                  <a:cubicBezTo>
                    <a:pt x="90" y="101"/>
                    <a:pt x="45" y="125"/>
                    <a:pt x="38" y="140"/>
                  </a:cubicBezTo>
                  <a:cubicBezTo>
                    <a:pt x="35" y="145"/>
                    <a:pt x="42" y="152"/>
                    <a:pt x="41" y="153"/>
                  </a:cubicBezTo>
                  <a:cubicBezTo>
                    <a:pt x="41" y="153"/>
                    <a:pt x="30" y="154"/>
                    <a:pt x="31" y="154"/>
                  </a:cubicBezTo>
                  <a:cubicBezTo>
                    <a:pt x="33" y="158"/>
                    <a:pt x="36" y="152"/>
                    <a:pt x="38" y="156"/>
                  </a:cubicBezTo>
                  <a:cubicBezTo>
                    <a:pt x="39" y="157"/>
                    <a:pt x="42" y="156"/>
                    <a:pt x="43" y="155"/>
                  </a:cubicBezTo>
                  <a:cubicBezTo>
                    <a:pt x="45" y="153"/>
                    <a:pt x="49" y="152"/>
                    <a:pt x="47" y="156"/>
                  </a:cubicBezTo>
                  <a:cubicBezTo>
                    <a:pt x="46" y="159"/>
                    <a:pt x="49" y="159"/>
                    <a:pt x="49" y="162"/>
                  </a:cubicBezTo>
                  <a:cubicBezTo>
                    <a:pt x="49" y="164"/>
                    <a:pt x="46" y="168"/>
                    <a:pt x="43" y="168"/>
                  </a:cubicBezTo>
                  <a:cubicBezTo>
                    <a:pt x="36" y="168"/>
                    <a:pt x="22" y="140"/>
                    <a:pt x="17" y="141"/>
                  </a:cubicBezTo>
                  <a:cubicBezTo>
                    <a:pt x="15" y="142"/>
                    <a:pt x="20" y="153"/>
                    <a:pt x="17" y="152"/>
                  </a:cubicBezTo>
                  <a:cubicBezTo>
                    <a:pt x="4" y="148"/>
                    <a:pt x="39" y="101"/>
                    <a:pt x="48" y="94"/>
                  </a:cubicBezTo>
                  <a:cubicBezTo>
                    <a:pt x="56" y="88"/>
                    <a:pt x="105" y="95"/>
                    <a:pt x="118" y="89"/>
                  </a:cubicBezTo>
                  <a:cubicBezTo>
                    <a:pt x="143" y="78"/>
                    <a:pt x="151" y="47"/>
                    <a:pt x="168" y="29"/>
                  </a:cubicBezTo>
                  <a:cubicBezTo>
                    <a:pt x="173" y="24"/>
                    <a:pt x="191" y="28"/>
                    <a:pt x="199" y="23"/>
                  </a:cubicBezTo>
                  <a:cubicBezTo>
                    <a:pt x="205" y="19"/>
                    <a:pt x="222" y="0"/>
                    <a:pt x="230" y="7"/>
                  </a:cubicBezTo>
                  <a:cubicBezTo>
                    <a:pt x="230" y="7"/>
                    <a:pt x="224" y="11"/>
                    <a:pt x="223" y="11"/>
                  </a:cubicBezTo>
                  <a:cubicBezTo>
                    <a:pt x="218" y="15"/>
                    <a:pt x="210" y="24"/>
                    <a:pt x="211" y="31"/>
                  </a:cubicBezTo>
                  <a:cubicBezTo>
                    <a:pt x="212" y="38"/>
                    <a:pt x="222" y="43"/>
                    <a:pt x="221" y="50"/>
                  </a:cubicBezTo>
                  <a:cubicBezTo>
                    <a:pt x="221" y="56"/>
                    <a:pt x="223" y="72"/>
                    <a:pt x="221" y="78"/>
                  </a:cubicBezTo>
                  <a:cubicBezTo>
                    <a:pt x="220" y="82"/>
                    <a:pt x="212" y="85"/>
                    <a:pt x="210" y="90"/>
                  </a:cubicBezTo>
                  <a:cubicBezTo>
                    <a:pt x="209" y="94"/>
                    <a:pt x="206" y="110"/>
                    <a:pt x="203" y="111"/>
                  </a:cubicBezTo>
                  <a:cubicBezTo>
                    <a:pt x="202" y="112"/>
                    <a:pt x="201" y="112"/>
                    <a:pt x="200" y="112"/>
                  </a:cubicBezTo>
                  <a:cubicBezTo>
                    <a:pt x="198" y="111"/>
                    <a:pt x="193" y="109"/>
                    <a:pt x="186" y="106"/>
                  </a:cubicBezTo>
                  <a:cubicBezTo>
                    <a:pt x="182" y="102"/>
                    <a:pt x="178" y="98"/>
                    <a:pt x="173" y="98"/>
                  </a:cubicBezTo>
                  <a:cubicBezTo>
                    <a:pt x="160" y="97"/>
                    <a:pt x="174" y="102"/>
                    <a:pt x="186" y="106"/>
                  </a:cubicBezTo>
                  <a:cubicBezTo>
                    <a:pt x="190" y="110"/>
                    <a:pt x="194" y="113"/>
                    <a:pt x="200" y="112"/>
                  </a:cubicBezTo>
                  <a:cubicBezTo>
                    <a:pt x="200" y="112"/>
                    <a:pt x="200" y="112"/>
                    <a:pt x="200" y="112"/>
                  </a:cubicBezTo>
                  <a:cubicBezTo>
                    <a:pt x="204" y="116"/>
                    <a:pt x="197" y="124"/>
                    <a:pt x="197" y="129"/>
                  </a:cubicBezTo>
                  <a:cubicBezTo>
                    <a:pt x="198" y="136"/>
                    <a:pt x="207" y="144"/>
                    <a:pt x="203" y="150"/>
                  </a:cubicBezTo>
                  <a:cubicBezTo>
                    <a:pt x="203" y="150"/>
                    <a:pt x="201" y="151"/>
                    <a:pt x="198" y="151"/>
                  </a:cubicBezTo>
                  <a:cubicBezTo>
                    <a:pt x="191" y="151"/>
                    <a:pt x="183" y="152"/>
                    <a:pt x="177" y="154"/>
                  </a:cubicBezTo>
                  <a:cubicBezTo>
                    <a:pt x="167" y="156"/>
                    <a:pt x="156" y="158"/>
                    <a:pt x="156" y="160"/>
                  </a:cubicBezTo>
                  <a:cubicBezTo>
                    <a:pt x="155" y="160"/>
                    <a:pt x="171" y="160"/>
                    <a:pt x="174" y="157"/>
                  </a:cubicBezTo>
                  <a:cubicBezTo>
                    <a:pt x="174" y="156"/>
                    <a:pt x="176" y="155"/>
                    <a:pt x="177" y="154"/>
                  </a:cubicBezTo>
                  <a:cubicBezTo>
                    <a:pt x="185" y="153"/>
                    <a:pt x="193" y="152"/>
                    <a:pt x="198" y="151"/>
                  </a:cubicBezTo>
                  <a:cubicBezTo>
                    <a:pt x="200" y="152"/>
                    <a:pt x="202" y="152"/>
                    <a:pt x="203" y="153"/>
                  </a:cubicBezTo>
                  <a:cubicBezTo>
                    <a:pt x="215" y="158"/>
                    <a:pt x="181" y="178"/>
                    <a:pt x="189" y="185"/>
                  </a:cubicBezTo>
                  <a:cubicBezTo>
                    <a:pt x="192" y="187"/>
                    <a:pt x="194" y="166"/>
                    <a:pt x="202" y="166"/>
                  </a:cubicBezTo>
                  <a:cubicBezTo>
                    <a:pt x="202" y="166"/>
                    <a:pt x="204" y="166"/>
                    <a:pt x="204" y="167"/>
                  </a:cubicBezTo>
                  <a:cubicBezTo>
                    <a:pt x="217" y="187"/>
                    <a:pt x="239" y="169"/>
                    <a:pt x="256" y="185"/>
                  </a:cubicBezTo>
                  <a:cubicBezTo>
                    <a:pt x="257" y="186"/>
                    <a:pt x="259" y="187"/>
                    <a:pt x="259" y="188"/>
                  </a:cubicBezTo>
                  <a:cubicBezTo>
                    <a:pt x="257" y="201"/>
                    <a:pt x="232" y="240"/>
                    <a:pt x="235" y="220"/>
                  </a:cubicBezTo>
                  <a:cubicBezTo>
                    <a:pt x="235" y="218"/>
                    <a:pt x="232" y="217"/>
                    <a:pt x="230" y="217"/>
                  </a:cubicBezTo>
                  <a:cubicBezTo>
                    <a:pt x="218" y="218"/>
                    <a:pt x="227" y="237"/>
                    <a:pt x="220" y="235"/>
                  </a:cubicBezTo>
                  <a:cubicBezTo>
                    <a:pt x="217" y="235"/>
                    <a:pt x="217" y="230"/>
                    <a:pt x="219" y="229"/>
                  </a:cubicBezTo>
                  <a:cubicBezTo>
                    <a:pt x="222" y="227"/>
                    <a:pt x="204" y="226"/>
                    <a:pt x="204" y="222"/>
                  </a:cubicBezTo>
                  <a:cubicBezTo>
                    <a:pt x="204" y="218"/>
                    <a:pt x="215" y="224"/>
                    <a:pt x="216" y="220"/>
                  </a:cubicBezTo>
                  <a:cubicBezTo>
                    <a:pt x="217" y="218"/>
                    <a:pt x="218" y="205"/>
                    <a:pt x="209" y="209"/>
                  </a:cubicBezTo>
                  <a:cubicBezTo>
                    <a:pt x="182" y="217"/>
                    <a:pt x="202" y="257"/>
                    <a:pt x="190" y="273"/>
                  </a:cubicBezTo>
                  <a:cubicBezTo>
                    <a:pt x="189" y="273"/>
                    <a:pt x="189" y="273"/>
                    <a:pt x="188" y="273"/>
                  </a:cubicBezTo>
                  <a:cubicBezTo>
                    <a:pt x="185" y="271"/>
                    <a:pt x="164" y="259"/>
                    <a:pt x="161" y="270"/>
                  </a:cubicBezTo>
                  <a:cubicBezTo>
                    <a:pt x="160" y="272"/>
                    <a:pt x="167" y="273"/>
                    <a:pt x="168" y="273"/>
                  </a:cubicBezTo>
                  <a:cubicBezTo>
                    <a:pt x="181" y="275"/>
                    <a:pt x="175" y="282"/>
                    <a:pt x="173" y="287"/>
                  </a:cubicBezTo>
                  <a:cubicBezTo>
                    <a:pt x="172" y="288"/>
                    <a:pt x="175" y="289"/>
                    <a:pt x="174" y="290"/>
                  </a:cubicBezTo>
                  <a:cubicBezTo>
                    <a:pt x="164" y="299"/>
                    <a:pt x="148" y="287"/>
                    <a:pt x="139" y="289"/>
                  </a:cubicBezTo>
                  <a:cubicBezTo>
                    <a:pt x="138" y="289"/>
                    <a:pt x="133" y="289"/>
                    <a:pt x="133" y="289"/>
                  </a:cubicBezTo>
                  <a:cubicBezTo>
                    <a:pt x="132" y="292"/>
                    <a:pt x="140" y="291"/>
                    <a:pt x="141" y="291"/>
                  </a:cubicBezTo>
                  <a:cubicBezTo>
                    <a:pt x="145" y="293"/>
                    <a:pt x="147" y="300"/>
                    <a:pt x="150" y="301"/>
                  </a:cubicBezTo>
                  <a:cubicBezTo>
                    <a:pt x="152" y="302"/>
                    <a:pt x="159" y="299"/>
                    <a:pt x="160" y="301"/>
                  </a:cubicBezTo>
                  <a:cubicBezTo>
                    <a:pt x="162" y="309"/>
                    <a:pt x="128" y="317"/>
                    <a:pt x="128" y="320"/>
                  </a:cubicBezTo>
                  <a:cubicBezTo>
                    <a:pt x="128" y="321"/>
                    <a:pt x="137" y="319"/>
                    <a:pt x="138" y="319"/>
                  </a:cubicBezTo>
                  <a:cubicBezTo>
                    <a:pt x="147" y="320"/>
                    <a:pt x="135" y="331"/>
                    <a:pt x="137" y="336"/>
                  </a:cubicBezTo>
                  <a:cubicBezTo>
                    <a:pt x="138" y="340"/>
                    <a:pt x="148" y="349"/>
                    <a:pt x="147" y="353"/>
                  </a:cubicBezTo>
                  <a:cubicBezTo>
                    <a:pt x="147" y="354"/>
                    <a:pt x="146" y="354"/>
                    <a:pt x="145" y="355"/>
                  </a:cubicBezTo>
                  <a:cubicBezTo>
                    <a:pt x="143" y="359"/>
                    <a:pt x="121" y="370"/>
                    <a:pt x="126" y="370"/>
                  </a:cubicBezTo>
                  <a:cubicBezTo>
                    <a:pt x="127" y="371"/>
                    <a:pt x="135" y="373"/>
                    <a:pt x="133" y="376"/>
                  </a:cubicBezTo>
                  <a:cubicBezTo>
                    <a:pt x="131" y="378"/>
                    <a:pt x="122" y="380"/>
                    <a:pt x="122" y="382"/>
                  </a:cubicBezTo>
                  <a:cubicBezTo>
                    <a:pt x="123" y="385"/>
                    <a:pt x="135" y="380"/>
                    <a:pt x="136" y="380"/>
                  </a:cubicBezTo>
                  <a:cubicBezTo>
                    <a:pt x="141" y="380"/>
                    <a:pt x="147" y="387"/>
                    <a:pt x="151" y="393"/>
                  </a:cubicBezTo>
                  <a:cubicBezTo>
                    <a:pt x="150" y="393"/>
                    <a:pt x="150" y="395"/>
                    <a:pt x="152" y="397"/>
                  </a:cubicBezTo>
                  <a:close/>
                  <a:moveTo>
                    <a:pt x="366" y="408"/>
                  </a:moveTo>
                  <a:cubicBezTo>
                    <a:pt x="366" y="407"/>
                    <a:pt x="364" y="406"/>
                    <a:pt x="364" y="405"/>
                  </a:cubicBezTo>
                  <a:cubicBezTo>
                    <a:pt x="358" y="398"/>
                    <a:pt x="338" y="396"/>
                    <a:pt x="341" y="392"/>
                  </a:cubicBezTo>
                  <a:cubicBezTo>
                    <a:pt x="343" y="390"/>
                    <a:pt x="341" y="389"/>
                    <a:pt x="342" y="387"/>
                  </a:cubicBezTo>
                  <a:cubicBezTo>
                    <a:pt x="345" y="383"/>
                    <a:pt x="347" y="389"/>
                    <a:pt x="351" y="390"/>
                  </a:cubicBezTo>
                  <a:cubicBezTo>
                    <a:pt x="351" y="390"/>
                    <a:pt x="351" y="390"/>
                    <a:pt x="351" y="390"/>
                  </a:cubicBezTo>
                  <a:cubicBezTo>
                    <a:pt x="364" y="393"/>
                    <a:pt x="368" y="374"/>
                    <a:pt x="367" y="370"/>
                  </a:cubicBezTo>
                  <a:cubicBezTo>
                    <a:pt x="367" y="368"/>
                    <a:pt x="350" y="368"/>
                    <a:pt x="352" y="364"/>
                  </a:cubicBezTo>
                  <a:cubicBezTo>
                    <a:pt x="357" y="357"/>
                    <a:pt x="361" y="365"/>
                    <a:pt x="361" y="365"/>
                  </a:cubicBezTo>
                  <a:cubicBezTo>
                    <a:pt x="364" y="364"/>
                    <a:pt x="363" y="357"/>
                    <a:pt x="369" y="355"/>
                  </a:cubicBezTo>
                  <a:cubicBezTo>
                    <a:pt x="374" y="353"/>
                    <a:pt x="391" y="355"/>
                    <a:pt x="392" y="347"/>
                  </a:cubicBezTo>
                  <a:cubicBezTo>
                    <a:pt x="394" y="329"/>
                    <a:pt x="367" y="335"/>
                    <a:pt x="368" y="321"/>
                  </a:cubicBezTo>
                  <a:cubicBezTo>
                    <a:pt x="369" y="304"/>
                    <a:pt x="392" y="308"/>
                    <a:pt x="395" y="303"/>
                  </a:cubicBezTo>
                  <a:cubicBezTo>
                    <a:pt x="410" y="282"/>
                    <a:pt x="393" y="266"/>
                    <a:pt x="405" y="246"/>
                  </a:cubicBezTo>
                  <a:cubicBezTo>
                    <a:pt x="405" y="245"/>
                    <a:pt x="407" y="244"/>
                    <a:pt x="406" y="243"/>
                  </a:cubicBezTo>
                  <a:cubicBezTo>
                    <a:pt x="403" y="237"/>
                    <a:pt x="384" y="232"/>
                    <a:pt x="378" y="231"/>
                  </a:cubicBezTo>
                  <a:cubicBezTo>
                    <a:pt x="370" y="230"/>
                    <a:pt x="337" y="250"/>
                    <a:pt x="337" y="255"/>
                  </a:cubicBezTo>
                  <a:cubicBezTo>
                    <a:pt x="337" y="262"/>
                    <a:pt x="351" y="252"/>
                    <a:pt x="352" y="255"/>
                  </a:cubicBezTo>
                  <a:cubicBezTo>
                    <a:pt x="355" y="260"/>
                    <a:pt x="364" y="293"/>
                    <a:pt x="356" y="297"/>
                  </a:cubicBezTo>
                  <a:cubicBezTo>
                    <a:pt x="351" y="299"/>
                    <a:pt x="355" y="293"/>
                    <a:pt x="352" y="292"/>
                  </a:cubicBezTo>
                  <a:cubicBezTo>
                    <a:pt x="352" y="292"/>
                    <a:pt x="345" y="298"/>
                    <a:pt x="344" y="297"/>
                  </a:cubicBezTo>
                  <a:cubicBezTo>
                    <a:pt x="343" y="295"/>
                    <a:pt x="345" y="293"/>
                    <a:pt x="346" y="292"/>
                  </a:cubicBezTo>
                  <a:cubicBezTo>
                    <a:pt x="354" y="285"/>
                    <a:pt x="358" y="262"/>
                    <a:pt x="343" y="260"/>
                  </a:cubicBezTo>
                  <a:cubicBezTo>
                    <a:pt x="341" y="260"/>
                    <a:pt x="344" y="264"/>
                    <a:pt x="345" y="266"/>
                  </a:cubicBezTo>
                  <a:cubicBezTo>
                    <a:pt x="345" y="267"/>
                    <a:pt x="336" y="296"/>
                    <a:pt x="332" y="296"/>
                  </a:cubicBezTo>
                  <a:cubicBezTo>
                    <a:pt x="329" y="296"/>
                    <a:pt x="330" y="286"/>
                    <a:pt x="327" y="287"/>
                  </a:cubicBezTo>
                  <a:cubicBezTo>
                    <a:pt x="310" y="295"/>
                    <a:pt x="338" y="275"/>
                    <a:pt x="326" y="277"/>
                  </a:cubicBezTo>
                  <a:cubicBezTo>
                    <a:pt x="320" y="279"/>
                    <a:pt x="312" y="279"/>
                    <a:pt x="322" y="274"/>
                  </a:cubicBezTo>
                  <a:cubicBezTo>
                    <a:pt x="323" y="273"/>
                    <a:pt x="325" y="275"/>
                    <a:pt x="327" y="273"/>
                  </a:cubicBezTo>
                  <a:cubicBezTo>
                    <a:pt x="330" y="269"/>
                    <a:pt x="319" y="266"/>
                    <a:pt x="322" y="262"/>
                  </a:cubicBezTo>
                  <a:cubicBezTo>
                    <a:pt x="324" y="259"/>
                    <a:pt x="326" y="262"/>
                    <a:pt x="326" y="263"/>
                  </a:cubicBezTo>
                  <a:cubicBezTo>
                    <a:pt x="329" y="265"/>
                    <a:pt x="328" y="261"/>
                    <a:pt x="328" y="260"/>
                  </a:cubicBezTo>
                  <a:cubicBezTo>
                    <a:pt x="328" y="257"/>
                    <a:pt x="332" y="257"/>
                    <a:pt x="332" y="255"/>
                  </a:cubicBezTo>
                  <a:cubicBezTo>
                    <a:pt x="332" y="253"/>
                    <a:pt x="317" y="258"/>
                    <a:pt x="315" y="257"/>
                  </a:cubicBezTo>
                  <a:cubicBezTo>
                    <a:pt x="310" y="256"/>
                    <a:pt x="292" y="249"/>
                    <a:pt x="286" y="250"/>
                  </a:cubicBezTo>
                  <a:cubicBezTo>
                    <a:pt x="284" y="250"/>
                    <a:pt x="293" y="255"/>
                    <a:pt x="293" y="255"/>
                  </a:cubicBezTo>
                  <a:cubicBezTo>
                    <a:pt x="299" y="259"/>
                    <a:pt x="315" y="258"/>
                    <a:pt x="305" y="271"/>
                  </a:cubicBezTo>
                  <a:cubicBezTo>
                    <a:pt x="295" y="283"/>
                    <a:pt x="302" y="261"/>
                    <a:pt x="295" y="281"/>
                  </a:cubicBezTo>
                  <a:cubicBezTo>
                    <a:pt x="292" y="288"/>
                    <a:pt x="269" y="294"/>
                    <a:pt x="277" y="285"/>
                  </a:cubicBezTo>
                  <a:cubicBezTo>
                    <a:pt x="277" y="284"/>
                    <a:pt x="272" y="284"/>
                    <a:pt x="271" y="284"/>
                  </a:cubicBezTo>
                  <a:cubicBezTo>
                    <a:pt x="266" y="287"/>
                    <a:pt x="263" y="286"/>
                    <a:pt x="258" y="285"/>
                  </a:cubicBezTo>
                  <a:cubicBezTo>
                    <a:pt x="257" y="285"/>
                    <a:pt x="250" y="284"/>
                    <a:pt x="251" y="286"/>
                  </a:cubicBezTo>
                  <a:cubicBezTo>
                    <a:pt x="252" y="292"/>
                    <a:pt x="262" y="292"/>
                    <a:pt x="268" y="294"/>
                  </a:cubicBezTo>
                  <a:cubicBezTo>
                    <a:pt x="272" y="295"/>
                    <a:pt x="259" y="293"/>
                    <a:pt x="255" y="295"/>
                  </a:cubicBezTo>
                  <a:cubicBezTo>
                    <a:pt x="254" y="296"/>
                    <a:pt x="261" y="297"/>
                    <a:pt x="262" y="297"/>
                  </a:cubicBezTo>
                  <a:cubicBezTo>
                    <a:pt x="268" y="298"/>
                    <a:pt x="272" y="301"/>
                    <a:pt x="275" y="307"/>
                  </a:cubicBezTo>
                  <a:cubicBezTo>
                    <a:pt x="278" y="314"/>
                    <a:pt x="268" y="311"/>
                    <a:pt x="269" y="316"/>
                  </a:cubicBezTo>
                  <a:cubicBezTo>
                    <a:pt x="269" y="318"/>
                    <a:pt x="274" y="316"/>
                    <a:pt x="275" y="317"/>
                  </a:cubicBezTo>
                  <a:cubicBezTo>
                    <a:pt x="278" y="320"/>
                    <a:pt x="283" y="328"/>
                    <a:pt x="281" y="333"/>
                  </a:cubicBezTo>
                  <a:cubicBezTo>
                    <a:pt x="279" y="337"/>
                    <a:pt x="266" y="334"/>
                    <a:pt x="271" y="341"/>
                  </a:cubicBezTo>
                  <a:cubicBezTo>
                    <a:pt x="274" y="344"/>
                    <a:pt x="275" y="337"/>
                    <a:pt x="279" y="341"/>
                  </a:cubicBezTo>
                  <a:cubicBezTo>
                    <a:pt x="282" y="344"/>
                    <a:pt x="284" y="348"/>
                    <a:pt x="287" y="352"/>
                  </a:cubicBezTo>
                  <a:cubicBezTo>
                    <a:pt x="289" y="354"/>
                    <a:pt x="280" y="354"/>
                    <a:pt x="284" y="359"/>
                  </a:cubicBezTo>
                  <a:cubicBezTo>
                    <a:pt x="285" y="360"/>
                    <a:pt x="293" y="361"/>
                    <a:pt x="289" y="359"/>
                  </a:cubicBezTo>
                  <a:cubicBezTo>
                    <a:pt x="285" y="357"/>
                    <a:pt x="301" y="355"/>
                    <a:pt x="305" y="358"/>
                  </a:cubicBezTo>
                  <a:cubicBezTo>
                    <a:pt x="313" y="364"/>
                    <a:pt x="323" y="356"/>
                    <a:pt x="327" y="358"/>
                  </a:cubicBezTo>
                  <a:cubicBezTo>
                    <a:pt x="330" y="360"/>
                    <a:pt x="324" y="364"/>
                    <a:pt x="326" y="365"/>
                  </a:cubicBezTo>
                  <a:cubicBezTo>
                    <a:pt x="327" y="366"/>
                    <a:pt x="342" y="370"/>
                    <a:pt x="329" y="370"/>
                  </a:cubicBezTo>
                  <a:cubicBezTo>
                    <a:pt x="320" y="369"/>
                    <a:pt x="337" y="377"/>
                    <a:pt x="336" y="380"/>
                  </a:cubicBezTo>
                  <a:cubicBezTo>
                    <a:pt x="335" y="381"/>
                    <a:pt x="319" y="373"/>
                    <a:pt x="317" y="375"/>
                  </a:cubicBezTo>
                  <a:cubicBezTo>
                    <a:pt x="312" y="380"/>
                    <a:pt x="327" y="380"/>
                    <a:pt x="333" y="384"/>
                  </a:cubicBezTo>
                  <a:cubicBezTo>
                    <a:pt x="348" y="393"/>
                    <a:pt x="327" y="391"/>
                    <a:pt x="327" y="393"/>
                  </a:cubicBezTo>
                  <a:cubicBezTo>
                    <a:pt x="329" y="411"/>
                    <a:pt x="348" y="422"/>
                    <a:pt x="344" y="442"/>
                  </a:cubicBezTo>
                  <a:cubicBezTo>
                    <a:pt x="343" y="444"/>
                    <a:pt x="347" y="446"/>
                    <a:pt x="348" y="446"/>
                  </a:cubicBezTo>
                  <a:cubicBezTo>
                    <a:pt x="349" y="446"/>
                    <a:pt x="347" y="430"/>
                    <a:pt x="348" y="427"/>
                  </a:cubicBezTo>
                  <a:cubicBezTo>
                    <a:pt x="350" y="423"/>
                    <a:pt x="366" y="411"/>
                    <a:pt x="366" y="408"/>
                  </a:cubicBezTo>
                  <a:close/>
                  <a:moveTo>
                    <a:pt x="320" y="399"/>
                  </a:moveTo>
                  <a:cubicBezTo>
                    <a:pt x="315" y="398"/>
                    <a:pt x="319" y="415"/>
                    <a:pt x="314" y="412"/>
                  </a:cubicBezTo>
                  <a:cubicBezTo>
                    <a:pt x="302" y="407"/>
                    <a:pt x="278" y="381"/>
                    <a:pt x="266" y="397"/>
                  </a:cubicBezTo>
                  <a:cubicBezTo>
                    <a:pt x="262" y="402"/>
                    <a:pt x="265" y="403"/>
                    <a:pt x="267" y="407"/>
                  </a:cubicBezTo>
                  <a:cubicBezTo>
                    <a:pt x="272" y="415"/>
                    <a:pt x="260" y="414"/>
                    <a:pt x="262" y="416"/>
                  </a:cubicBezTo>
                  <a:cubicBezTo>
                    <a:pt x="262" y="416"/>
                    <a:pt x="262" y="416"/>
                    <a:pt x="262" y="416"/>
                  </a:cubicBezTo>
                  <a:cubicBezTo>
                    <a:pt x="273" y="430"/>
                    <a:pt x="335" y="445"/>
                    <a:pt x="338" y="429"/>
                  </a:cubicBezTo>
                  <a:cubicBezTo>
                    <a:pt x="339" y="426"/>
                    <a:pt x="327" y="400"/>
                    <a:pt x="320" y="399"/>
                  </a:cubicBezTo>
                  <a:close/>
                  <a:moveTo>
                    <a:pt x="399" y="386"/>
                  </a:moveTo>
                  <a:cubicBezTo>
                    <a:pt x="398" y="385"/>
                    <a:pt x="397" y="385"/>
                    <a:pt x="396" y="384"/>
                  </a:cubicBezTo>
                  <a:cubicBezTo>
                    <a:pt x="362" y="372"/>
                    <a:pt x="384" y="392"/>
                    <a:pt x="368" y="388"/>
                  </a:cubicBezTo>
                  <a:cubicBezTo>
                    <a:pt x="367" y="388"/>
                    <a:pt x="364" y="392"/>
                    <a:pt x="364" y="395"/>
                  </a:cubicBezTo>
                  <a:cubicBezTo>
                    <a:pt x="364" y="395"/>
                    <a:pt x="361" y="398"/>
                    <a:pt x="361" y="399"/>
                  </a:cubicBezTo>
                  <a:cubicBezTo>
                    <a:pt x="363" y="402"/>
                    <a:pt x="400" y="392"/>
                    <a:pt x="399" y="386"/>
                  </a:cubicBezTo>
                  <a:close/>
                  <a:moveTo>
                    <a:pt x="200" y="112"/>
                  </a:moveTo>
                  <a:cubicBezTo>
                    <a:pt x="198" y="111"/>
                    <a:pt x="193" y="109"/>
                    <a:pt x="186" y="106"/>
                  </a:cubicBezTo>
                  <a:cubicBezTo>
                    <a:pt x="190" y="110"/>
                    <a:pt x="194" y="113"/>
                    <a:pt x="200" y="112"/>
                  </a:cubicBezTo>
                  <a:close/>
                  <a:moveTo>
                    <a:pt x="177" y="154"/>
                  </a:moveTo>
                  <a:cubicBezTo>
                    <a:pt x="185" y="153"/>
                    <a:pt x="193" y="152"/>
                    <a:pt x="198" y="151"/>
                  </a:cubicBezTo>
                  <a:cubicBezTo>
                    <a:pt x="191" y="151"/>
                    <a:pt x="183" y="152"/>
                    <a:pt x="177" y="154"/>
                  </a:cubicBezTo>
                  <a:close/>
                  <a:moveTo>
                    <a:pt x="408" y="293"/>
                  </a:moveTo>
                  <a:cubicBezTo>
                    <a:pt x="408" y="290"/>
                    <a:pt x="391" y="308"/>
                    <a:pt x="404" y="311"/>
                  </a:cubicBezTo>
                  <a:cubicBezTo>
                    <a:pt x="415" y="313"/>
                    <a:pt x="413" y="298"/>
                    <a:pt x="408" y="293"/>
                  </a:cubicBezTo>
                  <a:close/>
                  <a:moveTo>
                    <a:pt x="233" y="418"/>
                  </a:moveTo>
                  <a:cubicBezTo>
                    <a:pt x="237" y="408"/>
                    <a:pt x="239" y="398"/>
                    <a:pt x="245" y="389"/>
                  </a:cubicBezTo>
                  <a:cubicBezTo>
                    <a:pt x="245" y="389"/>
                    <a:pt x="245" y="389"/>
                    <a:pt x="245" y="389"/>
                  </a:cubicBezTo>
                  <a:cubicBezTo>
                    <a:pt x="262" y="351"/>
                    <a:pt x="234" y="384"/>
                    <a:pt x="227" y="400"/>
                  </a:cubicBezTo>
                  <a:cubicBezTo>
                    <a:pt x="226" y="402"/>
                    <a:pt x="226" y="405"/>
                    <a:pt x="225" y="407"/>
                  </a:cubicBezTo>
                  <a:cubicBezTo>
                    <a:pt x="225" y="410"/>
                    <a:pt x="218" y="411"/>
                    <a:pt x="220" y="413"/>
                  </a:cubicBezTo>
                  <a:cubicBezTo>
                    <a:pt x="228" y="417"/>
                    <a:pt x="227" y="435"/>
                    <a:pt x="233" y="418"/>
                  </a:cubicBezTo>
                  <a:close/>
                  <a:moveTo>
                    <a:pt x="625" y="386"/>
                  </a:moveTo>
                  <a:cubicBezTo>
                    <a:pt x="625" y="386"/>
                    <a:pt x="625" y="386"/>
                    <a:pt x="625" y="386"/>
                  </a:cubicBezTo>
                  <a:cubicBezTo>
                    <a:pt x="647" y="377"/>
                    <a:pt x="604" y="343"/>
                    <a:pt x="598" y="344"/>
                  </a:cubicBezTo>
                  <a:cubicBezTo>
                    <a:pt x="578" y="348"/>
                    <a:pt x="600" y="397"/>
                    <a:pt x="625" y="386"/>
                  </a:cubicBezTo>
                  <a:close/>
                  <a:moveTo>
                    <a:pt x="261" y="79"/>
                  </a:moveTo>
                  <a:cubicBezTo>
                    <a:pt x="275" y="77"/>
                    <a:pt x="284" y="50"/>
                    <a:pt x="262" y="67"/>
                  </a:cubicBezTo>
                  <a:cubicBezTo>
                    <a:pt x="262" y="67"/>
                    <a:pt x="262" y="67"/>
                    <a:pt x="262" y="67"/>
                  </a:cubicBezTo>
                  <a:cubicBezTo>
                    <a:pt x="246" y="68"/>
                    <a:pt x="250" y="81"/>
                    <a:pt x="261" y="79"/>
                  </a:cubicBezTo>
                  <a:close/>
                  <a:moveTo>
                    <a:pt x="179" y="374"/>
                  </a:moveTo>
                  <a:cubicBezTo>
                    <a:pt x="179" y="374"/>
                    <a:pt x="179" y="374"/>
                    <a:pt x="179" y="375"/>
                  </a:cubicBezTo>
                  <a:cubicBezTo>
                    <a:pt x="180" y="376"/>
                    <a:pt x="183" y="374"/>
                    <a:pt x="185" y="374"/>
                  </a:cubicBezTo>
                  <a:cubicBezTo>
                    <a:pt x="189" y="375"/>
                    <a:pt x="229" y="390"/>
                    <a:pt x="239" y="377"/>
                  </a:cubicBezTo>
                  <a:cubicBezTo>
                    <a:pt x="252" y="360"/>
                    <a:pt x="245" y="340"/>
                    <a:pt x="236" y="328"/>
                  </a:cubicBezTo>
                  <a:cubicBezTo>
                    <a:pt x="231" y="321"/>
                    <a:pt x="225" y="328"/>
                    <a:pt x="224" y="328"/>
                  </a:cubicBezTo>
                  <a:cubicBezTo>
                    <a:pt x="218" y="327"/>
                    <a:pt x="237" y="322"/>
                    <a:pt x="238" y="321"/>
                  </a:cubicBezTo>
                  <a:cubicBezTo>
                    <a:pt x="243" y="319"/>
                    <a:pt x="227" y="301"/>
                    <a:pt x="227" y="302"/>
                  </a:cubicBezTo>
                  <a:cubicBezTo>
                    <a:pt x="227" y="302"/>
                    <a:pt x="227" y="302"/>
                    <a:pt x="227" y="302"/>
                  </a:cubicBezTo>
                  <a:cubicBezTo>
                    <a:pt x="222" y="307"/>
                    <a:pt x="231" y="318"/>
                    <a:pt x="223" y="321"/>
                  </a:cubicBezTo>
                  <a:cubicBezTo>
                    <a:pt x="205" y="326"/>
                    <a:pt x="212" y="318"/>
                    <a:pt x="221" y="315"/>
                  </a:cubicBezTo>
                  <a:cubicBezTo>
                    <a:pt x="222" y="314"/>
                    <a:pt x="220" y="314"/>
                    <a:pt x="219" y="313"/>
                  </a:cubicBezTo>
                  <a:cubicBezTo>
                    <a:pt x="217" y="312"/>
                    <a:pt x="200" y="300"/>
                    <a:pt x="199" y="302"/>
                  </a:cubicBezTo>
                  <a:cubicBezTo>
                    <a:pt x="196" y="306"/>
                    <a:pt x="170" y="317"/>
                    <a:pt x="163" y="317"/>
                  </a:cubicBezTo>
                  <a:cubicBezTo>
                    <a:pt x="161" y="317"/>
                    <a:pt x="154" y="308"/>
                    <a:pt x="150" y="314"/>
                  </a:cubicBezTo>
                  <a:cubicBezTo>
                    <a:pt x="148" y="316"/>
                    <a:pt x="144" y="316"/>
                    <a:pt x="144" y="318"/>
                  </a:cubicBezTo>
                  <a:cubicBezTo>
                    <a:pt x="144" y="320"/>
                    <a:pt x="145" y="321"/>
                    <a:pt x="147" y="323"/>
                  </a:cubicBezTo>
                  <a:cubicBezTo>
                    <a:pt x="148" y="323"/>
                    <a:pt x="149" y="324"/>
                    <a:pt x="150" y="324"/>
                  </a:cubicBezTo>
                  <a:cubicBezTo>
                    <a:pt x="152" y="325"/>
                    <a:pt x="150" y="324"/>
                    <a:pt x="147" y="323"/>
                  </a:cubicBezTo>
                  <a:cubicBezTo>
                    <a:pt x="147" y="322"/>
                    <a:pt x="147" y="322"/>
                    <a:pt x="146" y="323"/>
                  </a:cubicBezTo>
                  <a:cubicBezTo>
                    <a:pt x="144" y="323"/>
                    <a:pt x="153" y="328"/>
                    <a:pt x="154" y="328"/>
                  </a:cubicBezTo>
                  <a:cubicBezTo>
                    <a:pt x="155" y="328"/>
                    <a:pt x="158" y="330"/>
                    <a:pt x="159" y="332"/>
                  </a:cubicBezTo>
                  <a:cubicBezTo>
                    <a:pt x="160" y="335"/>
                    <a:pt x="153" y="333"/>
                    <a:pt x="153" y="335"/>
                  </a:cubicBezTo>
                  <a:cubicBezTo>
                    <a:pt x="154" y="340"/>
                    <a:pt x="162" y="337"/>
                    <a:pt x="163" y="339"/>
                  </a:cubicBezTo>
                  <a:cubicBezTo>
                    <a:pt x="167" y="349"/>
                    <a:pt x="168" y="361"/>
                    <a:pt x="171" y="369"/>
                  </a:cubicBezTo>
                  <a:cubicBezTo>
                    <a:pt x="172" y="370"/>
                    <a:pt x="173" y="355"/>
                    <a:pt x="182" y="361"/>
                  </a:cubicBezTo>
                  <a:cubicBezTo>
                    <a:pt x="193" y="367"/>
                    <a:pt x="179" y="371"/>
                    <a:pt x="179" y="374"/>
                  </a:cubicBezTo>
                  <a:close/>
                  <a:moveTo>
                    <a:pt x="40" y="147"/>
                  </a:moveTo>
                  <a:cubicBezTo>
                    <a:pt x="41" y="148"/>
                    <a:pt x="46" y="146"/>
                    <a:pt x="48" y="148"/>
                  </a:cubicBezTo>
                  <a:cubicBezTo>
                    <a:pt x="73" y="169"/>
                    <a:pt x="66" y="137"/>
                    <a:pt x="69" y="128"/>
                  </a:cubicBezTo>
                  <a:cubicBezTo>
                    <a:pt x="70" y="125"/>
                    <a:pt x="76" y="126"/>
                    <a:pt x="77" y="114"/>
                  </a:cubicBezTo>
                  <a:cubicBezTo>
                    <a:pt x="77" y="114"/>
                    <a:pt x="77" y="114"/>
                    <a:pt x="77" y="114"/>
                  </a:cubicBezTo>
                  <a:cubicBezTo>
                    <a:pt x="77" y="113"/>
                    <a:pt x="66" y="123"/>
                    <a:pt x="65" y="123"/>
                  </a:cubicBezTo>
                  <a:cubicBezTo>
                    <a:pt x="49" y="121"/>
                    <a:pt x="54" y="136"/>
                    <a:pt x="53" y="137"/>
                  </a:cubicBezTo>
                  <a:cubicBezTo>
                    <a:pt x="52" y="138"/>
                    <a:pt x="36" y="142"/>
                    <a:pt x="40" y="147"/>
                  </a:cubicBezTo>
                  <a:close/>
                  <a:moveTo>
                    <a:pt x="150" y="324"/>
                  </a:moveTo>
                  <a:cubicBezTo>
                    <a:pt x="149" y="324"/>
                    <a:pt x="148" y="323"/>
                    <a:pt x="147" y="323"/>
                  </a:cubicBezTo>
                  <a:cubicBezTo>
                    <a:pt x="150" y="324"/>
                    <a:pt x="152" y="325"/>
                    <a:pt x="150" y="324"/>
                  </a:cubicBezTo>
                  <a:close/>
                  <a:moveTo>
                    <a:pt x="171" y="387"/>
                  </a:moveTo>
                  <a:cubicBezTo>
                    <a:pt x="171" y="386"/>
                    <a:pt x="171" y="386"/>
                    <a:pt x="171" y="386"/>
                  </a:cubicBezTo>
                  <a:cubicBezTo>
                    <a:pt x="168" y="382"/>
                    <a:pt x="143" y="368"/>
                    <a:pt x="140" y="379"/>
                  </a:cubicBezTo>
                  <a:cubicBezTo>
                    <a:pt x="139" y="384"/>
                    <a:pt x="158" y="383"/>
                    <a:pt x="158" y="390"/>
                  </a:cubicBezTo>
                  <a:cubicBezTo>
                    <a:pt x="159" y="393"/>
                    <a:pt x="152" y="391"/>
                    <a:pt x="151" y="393"/>
                  </a:cubicBezTo>
                  <a:cubicBezTo>
                    <a:pt x="151" y="394"/>
                    <a:pt x="152" y="396"/>
                    <a:pt x="152" y="397"/>
                  </a:cubicBezTo>
                  <a:cubicBezTo>
                    <a:pt x="153" y="398"/>
                    <a:pt x="153" y="398"/>
                    <a:pt x="154" y="399"/>
                  </a:cubicBezTo>
                  <a:cubicBezTo>
                    <a:pt x="157" y="403"/>
                    <a:pt x="160" y="398"/>
                    <a:pt x="163" y="398"/>
                  </a:cubicBezTo>
                  <a:cubicBezTo>
                    <a:pt x="182" y="401"/>
                    <a:pt x="160" y="403"/>
                    <a:pt x="164" y="404"/>
                  </a:cubicBezTo>
                  <a:cubicBezTo>
                    <a:pt x="180" y="408"/>
                    <a:pt x="182" y="398"/>
                    <a:pt x="171" y="387"/>
                  </a:cubicBezTo>
                  <a:close/>
                  <a:moveTo>
                    <a:pt x="222" y="390"/>
                  </a:moveTo>
                  <a:cubicBezTo>
                    <a:pt x="222" y="389"/>
                    <a:pt x="222" y="389"/>
                    <a:pt x="222" y="389"/>
                  </a:cubicBezTo>
                  <a:cubicBezTo>
                    <a:pt x="225" y="381"/>
                    <a:pt x="218" y="385"/>
                    <a:pt x="214" y="387"/>
                  </a:cubicBezTo>
                  <a:cubicBezTo>
                    <a:pt x="201" y="393"/>
                    <a:pt x="226" y="403"/>
                    <a:pt x="222" y="390"/>
                  </a:cubicBezTo>
                  <a:close/>
                  <a:moveTo>
                    <a:pt x="226" y="282"/>
                  </a:moveTo>
                  <a:cubicBezTo>
                    <a:pt x="229" y="282"/>
                    <a:pt x="229" y="276"/>
                    <a:pt x="228" y="274"/>
                  </a:cubicBezTo>
                  <a:cubicBezTo>
                    <a:pt x="228" y="272"/>
                    <a:pt x="229" y="268"/>
                    <a:pt x="231" y="265"/>
                  </a:cubicBezTo>
                  <a:cubicBezTo>
                    <a:pt x="228" y="263"/>
                    <a:pt x="223" y="257"/>
                    <a:pt x="222" y="253"/>
                  </a:cubicBezTo>
                  <a:cubicBezTo>
                    <a:pt x="223" y="253"/>
                    <a:pt x="223" y="253"/>
                    <a:pt x="223" y="253"/>
                  </a:cubicBezTo>
                  <a:cubicBezTo>
                    <a:pt x="221" y="245"/>
                    <a:pt x="216" y="284"/>
                    <a:pt x="226" y="282"/>
                  </a:cubicBezTo>
                  <a:close/>
                  <a:moveTo>
                    <a:pt x="183" y="394"/>
                  </a:moveTo>
                  <a:cubicBezTo>
                    <a:pt x="183" y="394"/>
                    <a:pt x="183" y="394"/>
                    <a:pt x="183" y="394"/>
                  </a:cubicBezTo>
                  <a:cubicBezTo>
                    <a:pt x="181" y="390"/>
                    <a:pt x="182" y="395"/>
                    <a:pt x="183" y="396"/>
                  </a:cubicBezTo>
                  <a:cubicBezTo>
                    <a:pt x="194" y="408"/>
                    <a:pt x="197" y="411"/>
                    <a:pt x="210" y="410"/>
                  </a:cubicBezTo>
                  <a:cubicBezTo>
                    <a:pt x="210" y="410"/>
                    <a:pt x="212" y="410"/>
                    <a:pt x="211" y="410"/>
                  </a:cubicBezTo>
                  <a:cubicBezTo>
                    <a:pt x="202" y="400"/>
                    <a:pt x="199" y="410"/>
                    <a:pt x="183" y="394"/>
                  </a:cubicBezTo>
                  <a:close/>
                  <a:moveTo>
                    <a:pt x="232" y="265"/>
                  </a:moveTo>
                  <a:cubicBezTo>
                    <a:pt x="232" y="264"/>
                    <a:pt x="231" y="264"/>
                    <a:pt x="231" y="265"/>
                  </a:cubicBezTo>
                  <a:cubicBezTo>
                    <a:pt x="232" y="266"/>
                    <a:pt x="232" y="266"/>
                    <a:pt x="232" y="265"/>
                  </a:cubicBezTo>
                  <a:close/>
                </a:path>
              </a:pathLst>
            </a:custGeom>
            <a:solidFill>
              <a:schemeClr val="accent2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4" name="Iceland"/>
          <p:cNvSpPr>
            <a:spLocks noEditPoints="1"/>
          </p:cNvSpPr>
          <p:nvPr/>
        </p:nvSpPr>
        <p:spPr bwMode="auto">
          <a:xfrm>
            <a:off x="1565954" y="3938138"/>
            <a:ext cx="2076589" cy="1174206"/>
          </a:xfrm>
          <a:custGeom>
            <a:avLst/>
            <a:gdLst>
              <a:gd name="T0" fmla="*/ 1639 w 1826"/>
              <a:gd name="T1" fmla="*/ 595 h 882"/>
              <a:gd name="T2" fmla="*/ 1526 w 1826"/>
              <a:gd name="T3" fmla="*/ 630 h 882"/>
              <a:gd name="T4" fmla="*/ 1461 w 1826"/>
              <a:gd name="T5" fmla="*/ 664 h 882"/>
              <a:gd name="T6" fmla="*/ 1268 w 1826"/>
              <a:gd name="T7" fmla="*/ 756 h 882"/>
              <a:gd name="T8" fmla="*/ 1212 w 1826"/>
              <a:gd name="T9" fmla="*/ 767 h 882"/>
              <a:gd name="T10" fmla="*/ 1110 w 1826"/>
              <a:gd name="T11" fmla="*/ 803 h 882"/>
              <a:gd name="T12" fmla="*/ 1031 w 1826"/>
              <a:gd name="T13" fmla="*/ 840 h 882"/>
              <a:gd name="T14" fmla="*/ 704 w 1826"/>
              <a:gd name="T15" fmla="*/ 832 h 882"/>
              <a:gd name="T16" fmla="*/ 682 w 1826"/>
              <a:gd name="T17" fmla="*/ 767 h 882"/>
              <a:gd name="T18" fmla="*/ 589 w 1826"/>
              <a:gd name="T19" fmla="*/ 764 h 882"/>
              <a:gd name="T20" fmla="*/ 343 w 1826"/>
              <a:gd name="T21" fmla="*/ 762 h 882"/>
              <a:gd name="T22" fmla="*/ 360 w 1826"/>
              <a:gd name="T23" fmla="*/ 710 h 882"/>
              <a:gd name="T24" fmla="*/ 471 w 1826"/>
              <a:gd name="T25" fmla="*/ 664 h 882"/>
              <a:gd name="T26" fmla="*/ 462 w 1826"/>
              <a:gd name="T27" fmla="*/ 610 h 882"/>
              <a:gd name="T28" fmla="*/ 504 w 1826"/>
              <a:gd name="T29" fmla="*/ 556 h 882"/>
              <a:gd name="T30" fmla="*/ 415 w 1826"/>
              <a:gd name="T31" fmla="*/ 563 h 882"/>
              <a:gd name="T32" fmla="*/ 358 w 1826"/>
              <a:gd name="T33" fmla="*/ 541 h 882"/>
              <a:gd name="T34" fmla="*/ 332 w 1826"/>
              <a:gd name="T35" fmla="*/ 491 h 882"/>
              <a:gd name="T36" fmla="*/ 82 w 1826"/>
              <a:gd name="T37" fmla="*/ 478 h 882"/>
              <a:gd name="T38" fmla="*/ 230 w 1826"/>
              <a:gd name="T39" fmla="*/ 454 h 882"/>
              <a:gd name="T40" fmla="*/ 328 w 1826"/>
              <a:gd name="T41" fmla="*/ 423 h 882"/>
              <a:gd name="T42" fmla="*/ 386 w 1826"/>
              <a:gd name="T43" fmla="*/ 341 h 882"/>
              <a:gd name="T44" fmla="*/ 382 w 1826"/>
              <a:gd name="T45" fmla="*/ 313 h 882"/>
              <a:gd name="T46" fmla="*/ 339 w 1826"/>
              <a:gd name="T47" fmla="*/ 293 h 882"/>
              <a:gd name="T48" fmla="*/ 276 w 1826"/>
              <a:gd name="T49" fmla="*/ 280 h 882"/>
              <a:gd name="T50" fmla="*/ 108 w 1826"/>
              <a:gd name="T51" fmla="*/ 321 h 882"/>
              <a:gd name="T52" fmla="*/ 119 w 1826"/>
              <a:gd name="T53" fmla="*/ 289 h 882"/>
              <a:gd name="T54" fmla="*/ 152 w 1826"/>
              <a:gd name="T55" fmla="*/ 241 h 882"/>
              <a:gd name="T56" fmla="*/ 213 w 1826"/>
              <a:gd name="T57" fmla="*/ 219 h 882"/>
              <a:gd name="T58" fmla="*/ 128 w 1826"/>
              <a:gd name="T59" fmla="*/ 135 h 882"/>
              <a:gd name="T60" fmla="*/ 165 w 1826"/>
              <a:gd name="T61" fmla="*/ 102 h 882"/>
              <a:gd name="T62" fmla="*/ 293 w 1826"/>
              <a:gd name="T63" fmla="*/ 148 h 882"/>
              <a:gd name="T64" fmla="*/ 363 w 1826"/>
              <a:gd name="T65" fmla="*/ 174 h 882"/>
              <a:gd name="T66" fmla="*/ 339 w 1826"/>
              <a:gd name="T67" fmla="*/ 67 h 882"/>
              <a:gd name="T68" fmla="*/ 241 w 1826"/>
              <a:gd name="T69" fmla="*/ 37 h 882"/>
              <a:gd name="T70" fmla="*/ 348 w 1826"/>
              <a:gd name="T71" fmla="*/ 29 h 882"/>
              <a:gd name="T72" fmla="*/ 443 w 1826"/>
              <a:gd name="T73" fmla="*/ 94 h 882"/>
              <a:gd name="T74" fmla="*/ 532 w 1826"/>
              <a:gd name="T75" fmla="*/ 157 h 882"/>
              <a:gd name="T76" fmla="*/ 506 w 1826"/>
              <a:gd name="T77" fmla="*/ 220 h 882"/>
              <a:gd name="T78" fmla="*/ 506 w 1826"/>
              <a:gd name="T79" fmla="*/ 276 h 882"/>
              <a:gd name="T80" fmla="*/ 571 w 1826"/>
              <a:gd name="T81" fmla="*/ 389 h 882"/>
              <a:gd name="T82" fmla="*/ 640 w 1826"/>
              <a:gd name="T83" fmla="*/ 241 h 882"/>
              <a:gd name="T84" fmla="*/ 690 w 1826"/>
              <a:gd name="T85" fmla="*/ 283 h 882"/>
              <a:gd name="T86" fmla="*/ 810 w 1826"/>
              <a:gd name="T87" fmla="*/ 224 h 882"/>
              <a:gd name="T88" fmla="*/ 847 w 1826"/>
              <a:gd name="T89" fmla="*/ 152 h 882"/>
              <a:gd name="T90" fmla="*/ 944 w 1826"/>
              <a:gd name="T91" fmla="*/ 96 h 882"/>
              <a:gd name="T92" fmla="*/ 1042 w 1826"/>
              <a:gd name="T93" fmla="*/ 185 h 882"/>
              <a:gd name="T94" fmla="*/ 1070 w 1826"/>
              <a:gd name="T95" fmla="*/ 105 h 882"/>
              <a:gd name="T96" fmla="*/ 1205 w 1826"/>
              <a:gd name="T97" fmla="*/ 102 h 882"/>
              <a:gd name="T98" fmla="*/ 1335 w 1826"/>
              <a:gd name="T99" fmla="*/ 104 h 882"/>
              <a:gd name="T100" fmla="*/ 1448 w 1826"/>
              <a:gd name="T101" fmla="*/ 37 h 882"/>
              <a:gd name="T102" fmla="*/ 1594 w 1826"/>
              <a:gd name="T103" fmla="*/ 46 h 882"/>
              <a:gd name="T104" fmla="*/ 1633 w 1826"/>
              <a:gd name="T105" fmla="*/ 141 h 882"/>
              <a:gd name="T106" fmla="*/ 1678 w 1826"/>
              <a:gd name="T107" fmla="*/ 230 h 882"/>
              <a:gd name="T108" fmla="*/ 1717 w 1826"/>
              <a:gd name="T109" fmla="*/ 256 h 882"/>
              <a:gd name="T110" fmla="*/ 1742 w 1826"/>
              <a:gd name="T111" fmla="*/ 359 h 882"/>
              <a:gd name="T112" fmla="*/ 1804 w 1826"/>
              <a:gd name="T113" fmla="*/ 389 h 882"/>
              <a:gd name="T114" fmla="*/ 1744 w 1826"/>
              <a:gd name="T115" fmla="*/ 421 h 882"/>
              <a:gd name="T116" fmla="*/ 1781 w 1826"/>
              <a:gd name="T117" fmla="*/ 473 h 882"/>
              <a:gd name="T118" fmla="*/ 1679 w 1826"/>
              <a:gd name="T119" fmla="*/ 511 h 882"/>
              <a:gd name="T120" fmla="*/ 1685 w 1826"/>
              <a:gd name="T121" fmla="*/ 550 h 882"/>
              <a:gd name="T122" fmla="*/ 1385 w 1826"/>
              <a:gd name="T123" fmla="*/ 272 h 882"/>
              <a:gd name="T124" fmla="*/ 1678 w 1826"/>
              <a:gd name="T125" fmla="*/ 334 h 8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26" h="882">
                <a:moveTo>
                  <a:pt x="313" y="497"/>
                </a:move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close/>
                <a:moveTo>
                  <a:pt x="847" y="152"/>
                </a:move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close/>
                <a:moveTo>
                  <a:pt x="1142" y="790"/>
                </a:move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close/>
                <a:moveTo>
                  <a:pt x="1670" y="567"/>
                </a:moveTo>
                <a:lnTo>
                  <a:pt x="1670" y="567"/>
                </a:lnTo>
                <a:lnTo>
                  <a:pt x="1665" y="578"/>
                </a:lnTo>
                <a:lnTo>
                  <a:pt x="1654" y="599"/>
                </a:lnTo>
                <a:lnTo>
                  <a:pt x="1646" y="608"/>
                </a:lnTo>
                <a:lnTo>
                  <a:pt x="1639" y="613"/>
                </a:lnTo>
                <a:lnTo>
                  <a:pt x="1635" y="613"/>
                </a:lnTo>
                <a:lnTo>
                  <a:pt x="1631" y="613"/>
                </a:lnTo>
                <a:lnTo>
                  <a:pt x="1628" y="612"/>
                </a:lnTo>
                <a:lnTo>
                  <a:pt x="1622" y="608"/>
                </a:lnTo>
                <a:lnTo>
                  <a:pt x="1622" y="608"/>
                </a:lnTo>
                <a:lnTo>
                  <a:pt x="1622" y="608"/>
                </a:lnTo>
                <a:lnTo>
                  <a:pt x="1624" y="606"/>
                </a:lnTo>
                <a:lnTo>
                  <a:pt x="1631" y="604"/>
                </a:lnTo>
                <a:lnTo>
                  <a:pt x="1639" y="602"/>
                </a:lnTo>
                <a:lnTo>
                  <a:pt x="1642" y="600"/>
                </a:lnTo>
                <a:lnTo>
                  <a:pt x="1644" y="599"/>
                </a:lnTo>
                <a:lnTo>
                  <a:pt x="1644" y="599"/>
                </a:lnTo>
                <a:lnTo>
                  <a:pt x="1642" y="597"/>
                </a:lnTo>
                <a:lnTo>
                  <a:pt x="1642" y="595"/>
                </a:lnTo>
                <a:lnTo>
                  <a:pt x="1639" y="595"/>
                </a:lnTo>
                <a:lnTo>
                  <a:pt x="1639" y="595"/>
                </a:lnTo>
                <a:lnTo>
                  <a:pt x="1628" y="597"/>
                </a:lnTo>
                <a:lnTo>
                  <a:pt x="1615" y="604"/>
                </a:lnTo>
                <a:lnTo>
                  <a:pt x="1602" y="613"/>
                </a:lnTo>
                <a:lnTo>
                  <a:pt x="1596" y="619"/>
                </a:lnTo>
                <a:lnTo>
                  <a:pt x="1592" y="625"/>
                </a:lnTo>
                <a:lnTo>
                  <a:pt x="1592" y="625"/>
                </a:lnTo>
                <a:lnTo>
                  <a:pt x="1590" y="630"/>
                </a:lnTo>
                <a:lnTo>
                  <a:pt x="1590" y="638"/>
                </a:lnTo>
                <a:lnTo>
                  <a:pt x="1589" y="641"/>
                </a:lnTo>
                <a:lnTo>
                  <a:pt x="1585" y="643"/>
                </a:lnTo>
                <a:lnTo>
                  <a:pt x="1585" y="643"/>
                </a:lnTo>
                <a:lnTo>
                  <a:pt x="1578" y="643"/>
                </a:lnTo>
                <a:lnTo>
                  <a:pt x="1574" y="639"/>
                </a:lnTo>
                <a:lnTo>
                  <a:pt x="1568" y="636"/>
                </a:lnTo>
                <a:lnTo>
                  <a:pt x="1563" y="632"/>
                </a:lnTo>
                <a:lnTo>
                  <a:pt x="1563" y="632"/>
                </a:lnTo>
                <a:lnTo>
                  <a:pt x="1557" y="632"/>
                </a:lnTo>
                <a:lnTo>
                  <a:pt x="1552" y="636"/>
                </a:lnTo>
                <a:lnTo>
                  <a:pt x="1544" y="641"/>
                </a:lnTo>
                <a:lnTo>
                  <a:pt x="1544" y="641"/>
                </a:lnTo>
                <a:lnTo>
                  <a:pt x="1542" y="641"/>
                </a:lnTo>
                <a:lnTo>
                  <a:pt x="1540" y="639"/>
                </a:lnTo>
                <a:lnTo>
                  <a:pt x="1540" y="634"/>
                </a:lnTo>
                <a:lnTo>
                  <a:pt x="1542" y="630"/>
                </a:lnTo>
                <a:lnTo>
                  <a:pt x="1542" y="630"/>
                </a:lnTo>
                <a:lnTo>
                  <a:pt x="1540" y="632"/>
                </a:lnTo>
                <a:lnTo>
                  <a:pt x="1540" y="632"/>
                </a:lnTo>
                <a:lnTo>
                  <a:pt x="1539" y="632"/>
                </a:lnTo>
                <a:lnTo>
                  <a:pt x="1537" y="630"/>
                </a:lnTo>
                <a:lnTo>
                  <a:pt x="1533" y="626"/>
                </a:lnTo>
                <a:lnTo>
                  <a:pt x="1529" y="623"/>
                </a:lnTo>
                <a:lnTo>
                  <a:pt x="1529" y="623"/>
                </a:lnTo>
                <a:lnTo>
                  <a:pt x="1527" y="623"/>
                </a:lnTo>
                <a:lnTo>
                  <a:pt x="1527" y="623"/>
                </a:lnTo>
                <a:lnTo>
                  <a:pt x="1526" y="630"/>
                </a:lnTo>
                <a:lnTo>
                  <a:pt x="1526" y="630"/>
                </a:lnTo>
                <a:lnTo>
                  <a:pt x="1524" y="626"/>
                </a:lnTo>
                <a:lnTo>
                  <a:pt x="1520" y="617"/>
                </a:lnTo>
                <a:lnTo>
                  <a:pt x="1516" y="613"/>
                </a:lnTo>
                <a:lnTo>
                  <a:pt x="1513" y="608"/>
                </a:lnTo>
                <a:lnTo>
                  <a:pt x="1513" y="608"/>
                </a:lnTo>
                <a:lnTo>
                  <a:pt x="1511" y="608"/>
                </a:lnTo>
                <a:lnTo>
                  <a:pt x="1513" y="610"/>
                </a:lnTo>
                <a:lnTo>
                  <a:pt x="1513" y="610"/>
                </a:lnTo>
                <a:lnTo>
                  <a:pt x="1514" y="615"/>
                </a:lnTo>
                <a:lnTo>
                  <a:pt x="1516" y="621"/>
                </a:lnTo>
                <a:lnTo>
                  <a:pt x="1516" y="626"/>
                </a:lnTo>
                <a:lnTo>
                  <a:pt x="1514" y="630"/>
                </a:lnTo>
                <a:lnTo>
                  <a:pt x="1514" y="630"/>
                </a:lnTo>
                <a:lnTo>
                  <a:pt x="1513" y="632"/>
                </a:lnTo>
                <a:lnTo>
                  <a:pt x="1511" y="634"/>
                </a:lnTo>
                <a:lnTo>
                  <a:pt x="1502" y="638"/>
                </a:lnTo>
                <a:lnTo>
                  <a:pt x="1496" y="639"/>
                </a:lnTo>
                <a:lnTo>
                  <a:pt x="1494" y="639"/>
                </a:lnTo>
                <a:lnTo>
                  <a:pt x="1496" y="641"/>
                </a:lnTo>
                <a:lnTo>
                  <a:pt x="1496" y="641"/>
                </a:lnTo>
                <a:lnTo>
                  <a:pt x="1502" y="641"/>
                </a:lnTo>
                <a:lnTo>
                  <a:pt x="1503" y="641"/>
                </a:lnTo>
                <a:lnTo>
                  <a:pt x="1505" y="643"/>
                </a:lnTo>
                <a:lnTo>
                  <a:pt x="1505" y="643"/>
                </a:lnTo>
                <a:lnTo>
                  <a:pt x="1507" y="645"/>
                </a:lnTo>
                <a:lnTo>
                  <a:pt x="1505" y="647"/>
                </a:lnTo>
                <a:lnTo>
                  <a:pt x="1498" y="649"/>
                </a:lnTo>
                <a:lnTo>
                  <a:pt x="1477" y="649"/>
                </a:lnTo>
                <a:lnTo>
                  <a:pt x="1477" y="649"/>
                </a:lnTo>
                <a:lnTo>
                  <a:pt x="1472" y="652"/>
                </a:lnTo>
                <a:lnTo>
                  <a:pt x="1468" y="652"/>
                </a:lnTo>
                <a:lnTo>
                  <a:pt x="1466" y="652"/>
                </a:lnTo>
                <a:lnTo>
                  <a:pt x="1466" y="652"/>
                </a:lnTo>
                <a:lnTo>
                  <a:pt x="1464" y="656"/>
                </a:lnTo>
                <a:lnTo>
                  <a:pt x="1463" y="660"/>
                </a:lnTo>
                <a:lnTo>
                  <a:pt x="1461" y="664"/>
                </a:lnTo>
                <a:lnTo>
                  <a:pt x="1461" y="664"/>
                </a:lnTo>
                <a:lnTo>
                  <a:pt x="1453" y="665"/>
                </a:lnTo>
                <a:lnTo>
                  <a:pt x="1446" y="667"/>
                </a:lnTo>
                <a:lnTo>
                  <a:pt x="1429" y="671"/>
                </a:lnTo>
                <a:lnTo>
                  <a:pt x="1416" y="673"/>
                </a:lnTo>
                <a:lnTo>
                  <a:pt x="1413" y="675"/>
                </a:lnTo>
                <a:lnTo>
                  <a:pt x="1414" y="678"/>
                </a:lnTo>
                <a:lnTo>
                  <a:pt x="1414" y="678"/>
                </a:lnTo>
                <a:lnTo>
                  <a:pt x="1416" y="680"/>
                </a:lnTo>
                <a:lnTo>
                  <a:pt x="1416" y="682"/>
                </a:lnTo>
                <a:lnTo>
                  <a:pt x="1411" y="686"/>
                </a:lnTo>
                <a:lnTo>
                  <a:pt x="1403" y="689"/>
                </a:lnTo>
                <a:lnTo>
                  <a:pt x="1398" y="691"/>
                </a:lnTo>
                <a:lnTo>
                  <a:pt x="1398" y="691"/>
                </a:lnTo>
                <a:lnTo>
                  <a:pt x="1375" y="702"/>
                </a:lnTo>
                <a:lnTo>
                  <a:pt x="1361" y="710"/>
                </a:lnTo>
                <a:lnTo>
                  <a:pt x="1355" y="714"/>
                </a:lnTo>
                <a:lnTo>
                  <a:pt x="1355" y="714"/>
                </a:lnTo>
                <a:lnTo>
                  <a:pt x="1353" y="717"/>
                </a:lnTo>
                <a:lnTo>
                  <a:pt x="1350" y="723"/>
                </a:lnTo>
                <a:lnTo>
                  <a:pt x="1342" y="734"/>
                </a:lnTo>
                <a:lnTo>
                  <a:pt x="1342" y="734"/>
                </a:lnTo>
                <a:lnTo>
                  <a:pt x="1340" y="738"/>
                </a:lnTo>
                <a:lnTo>
                  <a:pt x="1335" y="741"/>
                </a:lnTo>
                <a:lnTo>
                  <a:pt x="1322" y="745"/>
                </a:lnTo>
                <a:lnTo>
                  <a:pt x="1303" y="749"/>
                </a:lnTo>
                <a:lnTo>
                  <a:pt x="1283" y="753"/>
                </a:lnTo>
                <a:lnTo>
                  <a:pt x="1283" y="753"/>
                </a:lnTo>
                <a:lnTo>
                  <a:pt x="1281" y="754"/>
                </a:lnTo>
                <a:lnTo>
                  <a:pt x="1281" y="756"/>
                </a:lnTo>
                <a:lnTo>
                  <a:pt x="1283" y="762"/>
                </a:lnTo>
                <a:lnTo>
                  <a:pt x="1283" y="767"/>
                </a:lnTo>
                <a:lnTo>
                  <a:pt x="1283" y="769"/>
                </a:lnTo>
                <a:lnTo>
                  <a:pt x="1281" y="769"/>
                </a:lnTo>
                <a:lnTo>
                  <a:pt x="1281" y="769"/>
                </a:lnTo>
                <a:lnTo>
                  <a:pt x="1275" y="765"/>
                </a:lnTo>
                <a:lnTo>
                  <a:pt x="1272" y="760"/>
                </a:lnTo>
                <a:lnTo>
                  <a:pt x="1268" y="756"/>
                </a:lnTo>
                <a:lnTo>
                  <a:pt x="1268" y="756"/>
                </a:lnTo>
                <a:lnTo>
                  <a:pt x="1268" y="758"/>
                </a:lnTo>
                <a:lnTo>
                  <a:pt x="1268" y="758"/>
                </a:lnTo>
                <a:lnTo>
                  <a:pt x="1266" y="764"/>
                </a:lnTo>
                <a:lnTo>
                  <a:pt x="1264" y="769"/>
                </a:lnTo>
                <a:lnTo>
                  <a:pt x="1264" y="769"/>
                </a:lnTo>
                <a:lnTo>
                  <a:pt x="1259" y="775"/>
                </a:lnTo>
                <a:lnTo>
                  <a:pt x="1255" y="775"/>
                </a:lnTo>
                <a:lnTo>
                  <a:pt x="1253" y="773"/>
                </a:lnTo>
                <a:lnTo>
                  <a:pt x="1253" y="773"/>
                </a:lnTo>
                <a:lnTo>
                  <a:pt x="1251" y="771"/>
                </a:lnTo>
                <a:lnTo>
                  <a:pt x="1253" y="765"/>
                </a:lnTo>
                <a:lnTo>
                  <a:pt x="1257" y="754"/>
                </a:lnTo>
                <a:lnTo>
                  <a:pt x="1257" y="743"/>
                </a:lnTo>
                <a:lnTo>
                  <a:pt x="1257" y="740"/>
                </a:lnTo>
                <a:lnTo>
                  <a:pt x="1253" y="736"/>
                </a:lnTo>
                <a:lnTo>
                  <a:pt x="1253" y="736"/>
                </a:lnTo>
                <a:lnTo>
                  <a:pt x="1251" y="738"/>
                </a:lnTo>
                <a:lnTo>
                  <a:pt x="1249" y="741"/>
                </a:lnTo>
                <a:lnTo>
                  <a:pt x="1249" y="749"/>
                </a:lnTo>
                <a:lnTo>
                  <a:pt x="1249" y="749"/>
                </a:lnTo>
                <a:lnTo>
                  <a:pt x="1249" y="753"/>
                </a:lnTo>
                <a:lnTo>
                  <a:pt x="1248" y="753"/>
                </a:lnTo>
                <a:lnTo>
                  <a:pt x="1244" y="753"/>
                </a:lnTo>
                <a:lnTo>
                  <a:pt x="1242" y="753"/>
                </a:lnTo>
                <a:lnTo>
                  <a:pt x="1242" y="754"/>
                </a:lnTo>
                <a:lnTo>
                  <a:pt x="1242" y="754"/>
                </a:lnTo>
                <a:lnTo>
                  <a:pt x="1246" y="762"/>
                </a:lnTo>
                <a:lnTo>
                  <a:pt x="1248" y="769"/>
                </a:lnTo>
                <a:lnTo>
                  <a:pt x="1248" y="769"/>
                </a:lnTo>
                <a:lnTo>
                  <a:pt x="1244" y="773"/>
                </a:lnTo>
                <a:lnTo>
                  <a:pt x="1240" y="773"/>
                </a:lnTo>
                <a:lnTo>
                  <a:pt x="1231" y="769"/>
                </a:lnTo>
                <a:lnTo>
                  <a:pt x="1222" y="765"/>
                </a:lnTo>
                <a:lnTo>
                  <a:pt x="1216" y="765"/>
                </a:lnTo>
                <a:lnTo>
                  <a:pt x="1212" y="767"/>
                </a:lnTo>
                <a:lnTo>
                  <a:pt x="1212" y="767"/>
                </a:lnTo>
                <a:lnTo>
                  <a:pt x="1183" y="778"/>
                </a:lnTo>
                <a:lnTo>
                  <a:pt x="1166" y="784"/>
                </a:lnTo>
                <a:lnTo>
                  <a:pt x="1160" y="786"/>
                </a:lnTo>
                <a:lnTo>
                  <a:pt x="1159" y="784"/>
                </a:lnTo>
                <a:lnTo>
                  <a:pt x="1159" y="784"/>
                </a:lnTo>
                <a:lnTo>
                  <a:pt x="1159" y="778"/>
                </a:lnTo>
                <a:lnTo>
                  <a:pt x="1157" y="775"/>
                </a:lnTo>
                <a:lnTo>
                  <a:pt x="1157" y="775"/>
                </a:lnTo>
                <a:lnTo>
                  <a:pt x="1157" y="775"/>
                </a:lnTo>
                <a:lnTo>
                  <a:pt x="1151" y="778"/>
                </a:lnTo>
                <a:lnTo>
                  <a:pt x="1149" y="782"/>
                </a:lnTo>
                <a:lnTo>
                  <a:pt x="1147" y="786"/>
                </a:lnTo>
                <a:lnTo>
                  <a:pt x="1142" y="790"/>
                </a:lnTo>
                <a:lnTo>
                  <a:pt x="1142" y="790"/>
                </a:lnTo>
                <a:lnTo>
                  <a:pt x="1134" y="791"/>
                </a:lnTo>
                <a:lnTo>
                  <a:pt x="1131" y="791"/>
                </a:lnTo>
                <a:lnTo>
                  <a:pt x="1133" y="790"/>
                </a:lnTo>
                <a:lnTo>
                  <a:pt x="1134" y="786"/>
                </a:lnTo>
                <a:lnTo>
                  <a:pt x="1134" y="786"/>
                </a:lnTo>
                <a:lnTo>
                  <a:pt x="1136" y="784"/>
                </a:lnTo>
                <a:lnTo>
                  <a:pt x="1134" y="782"/>
                </a:lnTo>
                <a:lnTo>
                  <a:pt x="1134" y="782"/>
                </a:lnTo>
                <a:lnTo>
                  <a:pt x="1127" y="780"/>
                </a:lnTo>
                <a:lnTo>
                  <a:pt x="1125" y="780"/>
                </a:lnTo>
                <a:lnTo>
                  <a:pt x="1125" y="782"/>
                </a:lnTo>
                <a:lnTo>
                  <a:pt x="1123" y="784"/>
                </a:lnTo>
                <a:lnTo>
                  <a:pt x="1121" y="784"/>
                </a:lnTo>
                <a:lnTo>
                  <a:pt x="1118" y="784"/>
                </a:lnTo>
                <a:lnTo>
                  <a:pt x="1118" y="784"/>
                </a:lnTo>
                <a:lnTo>
                  <a:pt x="1103" y="791"/>
                </a:lnTo>
                <a:lnTo>
                  <a:pt x="1092" y="799"/>
                </a:lnTo>
                <a:lnTo>
                  <a:pt x="1086" y="804"/>
                </a:lnTo>
                <a:lnTo>
                  <a:pt x="1086" y="804"/>
                </a:lnTo>
                <a:lnTo>
                  <a:pt x="1086" y="808"/>
                </a:lnTo>
                <a:lnTo>
                  <a:pt x="1090" y="808"/>
                </a:lnTo>
                <a:lnTo>
                  <a:pt x="1099" y="804"/>
                </a:lnTo>
                <a:lnTo>
                  <a:pt x="1110" y="803"/>
                </a:lnTo>
                <a:lnTo>
                  <a:pt x="1114" y="803"/>
                </a:lnTo>
                <a:lnTo>
                  <a:pt x="1116" y="806"/>
                </a:lnTo>
                <a:lnTo>
                  <a:pt x="1116" y="806"/>
                </a:lnTo>
                <a:lnTo>
                  <a:pt x="1112" y="812"/>
                </a:lnTo>
                <a:lnTo>
                  <a:pt x="1109" y="816"/>
                </a:lnTo>
                <a:lnTo>
                  <a:pt x="1109" y="816"/>
                </a:lnTo>
                <a:lnTo>
                  <a:pt x="1105" y="817"/>
                </a:lnTo>
                <a:lnTo>
                  <a:pt x="1103" y="817"/>
                </a:lnTo>
                <a:lnTo>
                  <a:pt x="1101" y="816"/>
                </a:lnTo>
                <a:lnTo>
                  <a:pt x="1101" y="816"/>
                </a:lnTo>
                <a:lnTo>
                  <a:pt x="1097" y="814"/>
                </a:lnTo>
                <a:lnTo>
                  <a:pt x="1096" y="814"/>
                </a:lnTo>
                <a:lnTo>
                  <a:pt x="1096" y="819"/>
                </a:lnTo>
                <a:lnTo>
                  <a:pt x="1097" y="829"/>
                </a:lnTo>
                <a:lnTo>
                  <a:pt x="1099" y="832"/>
                </a:lnTo>
                <a:lnTo>
                  <a:pt x="1097" y="836"/>
                </a:lnTo>
                <a:lnTo>
                  <a:pt x="1097" y="836"/>
                </a:lnTo>
                <a:lnTo>
                  <a:pt x="1096" y="840"/>
                </a:lnTo>
                <a:lnTo>
                  <a:pt x="1094" y="843"/>
                </a:lnTo>
                <a:lnTo>
                  <a:pt x="1094" y="843"/>
                </a:lnTo>
                <a:lnTo>
                  <a:pt x="1086" y="847"/>
                </a:lnTo>
                <a:lnTo>
                  <a:pt x="1071" y="853"/>
                </a:lnTo>
                <a:lnTo>
                  <a:pt x="1057" y="856"/>
                </a:lnTo>
                <a:lnTo>
                  <a:pt x="1051" y="856"/>
                </a:lnTo>
                <a:lnTo>
                  <a:pt x="1049" y="856"/>
                </a:lnTo>
                <a:lnTo>
                  <a:pt x="1049" y="856"/>
                </a:lnTo>
                <a:lnTo>
                  <a:pt x="1047" y="853"/>
                </a:lnTo>
                <a:lnTo>
                  <a:pt x="1049" y="851"/>
                </a:lnTo>
                <a:lnTo>
                  <a:pt x="1057" y="845"/>
                </a:lnTo>
                <a:lnTo>
                  <a:pt x="1060" y="843"/>
                </a:lnTo>
                <a:lnTo>
                  <a:pt x="1055" y="845"/>
                </a:lnTo>
                <a:lnTo>
                  <a:pt x="1055" y="845"/>
                </a:lnTo>
                <a:lnTo>
                  <a:pt x="1051" y="843"/>
                </a:lnTo>
                <a:lnTo>
                  <a:pt x="1045" y="843"/>
                </a:lnTo>
                <a:lnTo>
                  <a:pt x="1045" y="843"/>
                </a:lnTo>
                <a:lnTo>
                  <a:pt x="1036" y="841"/>
                </a:lnTo>
                <a:lnTo>
                  <a:pt x="1031" y="840"/>
                </a:lnTo>
                <a:lnTo>
                  <a:pt x="1031" y="840"/>
                </a:lnTo>
                <a:lnTo>
                  <a:pt x="1031" y="843"/>
                </a:lnTo>
                <a:lnTo>
                  <a:pt x="1033" y="853"/>
                </a:lnTo>
                <a:lnTo>
                  <a:pt x="1036" y="860"/>
                </a:lnTo>
                <a:lnTo>
                  <a:pt x="1038" y="862"/>
                </a:lnTo>
                <a:lnTo>
                  <a:pt x="1040" y="862"/>
                </a:lnTo>
                <a:lnTo>
                  <a:pt x="1040" y="862"/>
                </a:lnTo>
                <a:lnTo>
                  <a:pt x="1047" y="864"/>
                </a:lnTo>
                <a:lnTo>
                  <a:pt x="1051" y="864"/>
                </a:lnTo>
                <a:lnTo>
                  <a:pt x="1051" y="866"/>
                </a:lnTo>
                <a:lnTo>
                  <a:pt x="1051" y="866"/>
                </a:lnTo>
                <a:lnTo>
                  <a:pt x="1051" y="866"/>
                </a:lnTo>
                <a:lnTo>
                  <a:pt x="1033" y="873"/>
                </a:lnTo>
                <a:lnTo>
                  <a:pt x="1010" y="879"/>
                </a:lnTo>
                <a:lnTo>
                  <a:pt x="986" y="880"/>
                </a:lnTo>
                <a:lnTo>
                  <a:pt x="962" y="882"/>
                </a:lnTo>
                <a:lnTo>
                  <a:pt x="938" y="880"/>
                </a:lnTo>
                <a:lnTo>
                  <a:pt x="918" y="879"/>
                </a:lnTo>
                <a:lnTo>
                  <a:pt x="884" y="873"/>
                </a:lnTo>
                <a:lnTo>
                  <a:pt x="884" y="873"/>
                </a:lnTo>
                <a:lnTo>
                  <a:pt x="855" y="864"/>
                </a:lnTo>
                <a:lnTo>
                  <a:pt x="823" y="853"/>
                </a:lnTo>
                <a:lnTo>
                  <a:pt x="823" y="853"/>
                </a:lnTo>
                <a:lnTo>
                  <a:pt x="814" y="851"/>
                </a:lnTo>
                <a:lnTo>
                  <a:pt x="801" y="847"/>
                </a:lnTo>
                <a:lnTo>
                  <a:pt x="793" y="845"/>
                </a:lnTo>
                <a:lnTo>
                  <a:pt x="792" y="845"/>
                </a:lnTo>
                <a:lnTo>
                  <a:pt x="793" y="843"/>
                </a:lnTo>
                <a:lnTo>
                  <a:pt x="793" y="843"/>
                </a:lnTo>
                <a:lnTo>
                  <a:pt x="801" y="841"/>
                </a:lnTo>
                <a:lnTo>
                  <a:pt x="795" y="841"/>
                </a:lnTo>
                <a:lnTo>
                  <a:pt x="777" y="841"/>
                </a:lnTo>
                <a:lnTo>
                  <a:pt x="777" y="841"/>
                </a:lnTo>
                <a:lnTo>
                  <a:pt x="753" y="841"/>
                </a:lnTo>
                <a:lnTo>
                  <a:pt x="727" y="840"/>
                </a:lnTo>
                <a:lnTo>
                  <a:pt x="716" y="836"/>
                </a:lnTo>
                <a:lnTo>
                  <a:pt x="704" y="832"/>
                </a:lnTo>
                <a:lnTo>
                  <a:pt x="697" y="829"/>
                </a:lnTo>
                <a:lnTo>
                  <a:pt x="693" y="823"/>
                </a:lnTo>
                <a:lnTo>
                  <a:pt x="693" y="823"/>
                </a:lnTo>
                <a:lnTo>
                  <a:pt x="690" y="816"/>
                </a:lnTo>
                <a:lnTo>
                  <a:pt x="690" y="816"/>
                </a:lnTo>
                <a:lnTo>
                  <a:pt x="690" y="814"/>
                </a:lnTo>
                <a:lnTo>
                  <a:pt x="690" y="814"/>
                </a:lnTo>
                <a:lnTo>
                  <a:pt x="684" y="810"/>
                </a:lnTo>
                <a:lnTo>
                  <a:pt x="680" y="804"/>
                </a:lnTo>
                <a:lnTo>
                  <a:pt x="678" y="799"/>
                </a:lnTo>
                <a:lnTo>
                  <a:pt x="678" y="799"/>
                </a:lnTo>
                <a:lnTo>
                  <a:pt x="677" y="801"/>
                </a:lnTo>
                <a:lnTo>
                  <a:pt x="677" y="801"/>
                </a:lnTo>
                <a:lnTo>
                  <a:pt x="677" y="804"/>
                </a:lnTo>
                <a:lnTo>
                  <a:pt x="678" y="806"/>
                </a:lnTo>
                <a:lnTo>
                  <a:pt x="682" y="814"/>
                </a:lnTo>
                <a:lnTo>
                  <a:pt x="682" y="814"/>
                </a:lnTo>
                <a:lnTo>
                  <a:pt x="680" y="812"/>
                </a:lnTo>
                <a:lnTo>
                  <a:pt x="673" y="810"/>
                </a:lnTo>
                <a:lnTo>
                  <a:pt x="667" y="804"/>
                </a:lnTo>
                <a:lnTo>
                  <a:pt x="664" y="801"/>
                </a:lnTo>
                <a:lnTo>
                  <a:pt x="664" y="797"/>
                </a:lnTo>
                <a:lnTo>
                  <a:pt x="664" y="797"/>
                </a:lnTo>
                <a:lnTo>
                  <a:pt x="665" y="788"/>
                </a:lnTo>
                <a:lnTo>
                  <a:pt x="667" y="784"/>
                </a:lnTo>
                <a:lnTo>
                  <a:pt x="673" y="782"/>
                </a:lnTo>
                <a:lnTo>
                  <a:pt x="678" y="784"/>
                </a:lnTo>
                <a:lnTo>
                  <a:pt x="691" y="788"/>
                </a:lnTo>
                <a:lnTo>
                  <a:pt x="695" y="790"/>
                </a:lnTo>
                <a:lnTo>
                  <a:pt x="701" y="788"/>
                </a:lnTo>
                <a:lnTo>
                  <a:pt x="701" y="788"/>
                </a:lnTo>
                <a:lnTo>
                  <a:pt x="701" y="786"/>
                </a:lnTo>
                <a:lnTo>
                  <a:pt x="699" y="784"/>
                </a:lnTo>
                <a:lnTo>
                  <a:pt x="691" y="778"/>
                </a:lnTo>
                <a:lnTo>
                  <a:pt x="684" y="773"/>
                </a:lnTo>
                <a:lnTo>
                  <a:pt x="682" y="771"/>
                </a:lnTo>
                <a:lnTo>
                  <a:pt x="682" y="767"/>
                </a:lnTo>
                <a:lnTo>
                  <a:pt x="682" y="767"/>
                </a:lnTo>
                <a:lnTo>
                  <a:pt x="684" y="764"/>
                </a:lnTo>
                <a:lnTo>
                  <a:pt x="684" y="760"/>
                </a:lnTo>
                <a:lnTo>
                  <a:pt x="682" y="758"/>
                </a:lnTo>
                <a:lnTo>
                  <a:pt x="682" y="758"/>
                </a:lnTo>
                <a:lnTo>
                  <a:pt x="677" y="758"/>
                </a:lnTo>
                <a:lnTo>
                  <a:pt x="671" y="762"/>
                </a:lnTo>
                <a:lnTo>
                  <a:pt x="667" y="767"/>
                </a:lnTo>
                <a:lnTo>
                  <a:pt x="664" y="775"/>
                </a:lnTo>
                <a:lnTo>
                  <a:pt x="658" y="788"/>
                </a:lnTo>
                <a:lnTo>
                  <a:pt x="656" y="791"/>
                </a:lnTo>
                <a:lnTo>
                  <a:pt x="654" y="793"/>
                </a:lnTo>
                <a:lnTo>
                  <a:pt x="654" y="793"/>
                </a:lnTo>
                <a:lnTo>
                  <a:pt x="647" y="791"/>
                </a:lnTo>
                <a:lnTo>
                  <a:pt x="643" y="788"/>
                </a:lnTo>
                <a:lnTo>
                  <a:pt x="638" y="784"/>
                </a:lnTo>
                <a:lnTo>
                  <a:pt x="634" y="780"/>
                </a:lnTo>
                <a:lnTo>
                  <a:pt x="634" y="780"/>
                </a:lnTo>
                <a:lnTo>
                  <a:pt x="628" y="778"/>
                </a:lnTo>
                <a:lnTo>
                  <a:pt x="630" y="777"/>
                </a:lnTo>
                <a:lnTo>
                  <a:pt x="641" y="777"/>
                </a:lnTo>
                <a:lnTo>
                  <a:pt x="651" y="777"/>
                </a:lnTo>
                <a:lnTo>
                  <a:pt x="638" y="773"/>
                </a:lnTo>
                <a:lnTo>
                  <a:pt x="638" y="773"/>
                </a:lnTo>
                <a:lnTo>
                  <a:pt x="638" y="771"/>
                </a:lnTo>
                <a:lnTo>
                  <a:pt x="640" y="767"/>
                </a:lnTo>
                <a:lnTo>
                  <a:pt x="638" y="758"/>
                </a:lnTo>
                <a:lnTo>
                  <a:pt x="638" y="751"/>
                </a:lnTo>
                <a:lnTo>
                  <a:pt x="638" y="756"/>
                </a:lnTo>
                <a:lnTo>
                  <a:pt x="638" y="756"/>
                </a:lnTo>
                <a:lnTo>
                  <a:pt x="638" y="762"/>
                </a:lnTo>
                <a:lnTo>
                  <a:pt x="636" y="765"/>
                </a:lnTo>
                <a:lnTo>
                  <a:pt x="632" y="767"/>
                </a:lnTo>
                <a:lnTo>
                  <a:pt x="628" y="769"/>
                </a:lnTo>
                <a:lnTo>
                  <a:pt x="615" y="769"/>
                </a:lnTo>
                <a:lnTo>
                  <a:pt x="602" y="767"/>
                </a:lnTo>
                <a:lnTo>
                  <a:pt x="589" y="764"/>
                </a:lnTo>
                <a:lnTo>
                  <a:pt x="575" y="760"/>
                </a:lnTo>
                <a:lnTo>
                  <a:pt x="564" y="754"/>
                </a:lnTo>
                <a:lnTo>
                  <a:pt x="556" y="747"/>
                </a:lnTo>
                <a:lnTo>
                  <a:pt x="556" y="747"/>
                </a:lnTo>
                <a:lnTo>
                  <a:pt x="554" y="745"/>
                </a:lnTo>
                <a:lnTo>
                  <a:pt x="554" y="743"/>
                </a:lnTo>
                <a:lnTo>
                  <a:pt x="558" y="738"/>
                </a:lnTo>
                <a:lnTo>
                  <a:pt x="569" y="730"/>
                </a:lnTo>
                <a:lnTo>
                  <a:pt x="573" y="727"/>
                </a:lnTo>
                <a:lnTo>
                  <a:pt x="573" y="725"/>
                </a:lnTo>
                <a:lnTo>
                  <a:pt x="573" y="725"/>
                </a:lnTo>
                <a:lnTo>
                  <a:pt x="567" y="725"/>
                </a:lnTo>
                <a:lnTo>
                  <a:pt x="554" y="727"/>
                </a:lnTo>
                <a:lnTo>
                  <a:pt x="554" y="727"/>
                </a:lnTo>
                <a:lnTo>
                  <a:pt x="545" y="728"/>
                </a:lnTo>
                <a:lnTo>
                  <a:pt x="541" y="732"/>
                </a:lnTo>
                <a:lnTo>
                  <a:pt x="541" y="736"/>
                </a:lnTo>
                <a:lnTo>
                  <a:pt x="543" y="740"/>
                </a:lnTo>
                <a:lnTo>
                  <a:pt x="543" y="743"/>
                </a:lnTo>
                <a:lnTo>
                  <a:pt x="543" y="749"/>
                </a:lnTo>
                <a:lnTo>
                  <a:pt x="538" y="753"/>
                </a:lnTo>
                <a:lnTo>
                  <a:pt x="525" y="756"/>
                </a:lnTo>
                <a:lnTo>
                  <a:pt x="525" y="756"/>
                </a:lnTo>
                <a:lnTo>
                  <a:pt x="513" y="758"/>
                </a:lnTo>
                <a:lnTo>
                  <a:pt x="504" y="758"/>
                </a:lnTo>
                <a:lnTo>
                  <a:pt x="488" y="756"/>
                </a:lnTo>
                <a:lnTo>
                  <a:pt x="473" y="751"/>
                </a:lnTo>
                <a:lnTo>
                  <a:pt x="454" y="749"/>
                </a:lnTo>
                <a:lnTo>
                  <a:pt x="454" y="749"/>
                </a:lnTo>
                <a:lnTo>
                  <a:pt x="452" y="749"/>
                </a:lnTo>
                <a:lnTo>
                  <a:pt x="450" y="753"/>
                </a:lnTo>
                <a:lnTo>
                  <a:pt x="450" y="753"/>
                </a:lnTo>
                <a:lnTo>
                  <a:pt x="447" y="754"/>
                </a:lnTo>
                <a:lnTo>
                  <a:pt x="441" y="756"/>
                </a:lnTo>
                <a:lnTo>
                  <a:pt x="426" y="758"/>
                </a:lnTo>
                <a:lnTo>
                  <a:pt x="386" y="760"/>
                </a:lnTo>
                <a:lnTo>
                  <a:pt x="343" y="762"/>
                </a:lnTo>
                <a:lnTo>
                  <a:pt x="326" y="762"/>
                </a:lnTo>
                <a:lnTo>
                  <a:pt x="315" y="764"/>
                </a:lnTo>
                <a:lnTo>
                  <a:pt x="315" y="764"/>
                </a:lnTo>
                <a:lnTo>
                  <a:pt x="311" y="765"/>
                </a:lnTo>
                <a:lnTo>
                  <a:pt x="308" y="767"/>
                </a:lnTo>
                <a:lnTo>
                  <a:pt x="308" y="767"/>
                </a:lnTo>
                <a:lnTo>
                  <a:pt x="306" y="767"/>
                </a:lnTo>
                <a:lnTo>
                  <a:pt x="304" y="765"/>
                </a:lnTo>
                <a:lnTo>
                  <a:pt x="304" y="760"/>
                </a:lnTo>
                <a:lnTo>
                  <a:pt x="306" y="751"/>
                </a:lnTo>
                <a:lnTo>
                  <a:pt x="306" y="751"/>
                </a:lnTo>
                <a:lnTo>
                  <a:pt x="306" y="749"/>
                </a:lnTo>
                <a:lnTo>
                  <a:pt x="304" y="749"/>
                </a:lnTo>
                <a:lnTo>
                  <a:pt x="302" y="747"/>
                </a:lnTo>
                <a:lnTo>
                  <a:pt x="300" y="745"/>
                </a:lnTo>
                <a:lnTo>
                  <a:pt x="300" y="745"/>
                </a:lnTo>
                <a:lnTo>
                  <a:pt x="302" y="743"/>
                </a:lnTo>
                <a:lnTo>
                  <a:pt x="304" y="740"/>
                </a:lnTo>
                <a:lnTo>
                  <a:pt x="304" y="740"/>
                </a:lnTo>
                <a:lnTo>
                  <a:pt x="306" y="736"/>
                </a:lnTo>
                <a:lnTo>
                  <a:pt x="308" y="730"/>
                </a:lnTo>
                <a:lnTo>
                  <a:pt x="308" y="730"/>
                </a:lnTo>
                <a:lnTo>
                  <a:pt x="308" y="728"/>
                </a:lnTo>
                <a:lnTo>
                  <a:pt x="306" y="723"/>
                </a:lnTo>
                <a:lnTo>
                  <a:pt x="302" y="712"/>
                </a:lnTo>
                <a:lnTo>
                  <a:pt x="300" y="704"/>
                </a:lnTo>
                <a:lnTo>
                  <a:pt x="298" y="699"/>
                </a:lnTo>
                <a:lnTo>
                  <a:pt x="300" y="693"/>
                </a:lnTo>
                <a:lnTo>
                  <a:pt x="306" y="691"/>
                </a:lnTo>
                <a:lnTo>
                  <a:pt x="306" y="691"/>
                </a:lnTo>
                <a:lnTo>
                  <a:pt x="311" y="689"/>
                </a:lnTo>
                <a:lnTo>
                  <a:pt x="315" y="693"/>
                </a:lnTo>
                <a:lnTo>
                  <a:pt x="323" y="704"/>
                </a:lnTo>
                <a:lnTo>
                  <a:pt x="328" y="710"/>
                </a:lnTo>
                <a:lnTo>
                  <a:pt x="336" y="714"/>
                </a:lnTo>
                <a:lnTo>
                  <a:pt x="347" y="714"/>
                </a:lnTo>
                <a:lnTo>
                  <a:pt x="360" y="710"/>
                </a:lnTo>
                <a:lnTo>
                  <a:pt x="360" y="710"/>
                </a:lnTo>
                <a:lnTo>
                  <a:pt x="374" y="708"/>
                </a:lnTo>
                <a:lnTo>
                  <a:pt x="397" y="706"/>
                </a:lnTo>
                <a:lnTo>
                  <a:pt x="408" y="704"/>
                </a:lnTo>
                <a:lnTo>
                  <a:pt x="415" y="701"/>
                </a:lnTo>
                <a:lnTo>
                  <a:pt x="423" y="697"/>
                </a:lnTo>
                <a:lnTo>
                  <a:pt x="426" y="693"/>
                </a:lnTo>
                <a:lnTo>
                  <a:pt x="426" y="693"/>
                </a:lnTo>
                <a:lnTo>
                  <a:pt x="426" y="691"/>
                </a:lnTo>
                <a:lnTo>
                  <a:pt x="423" y="689"/>
                </a:lnTo>
                <a:lnTo>
                  <a:pt x="417" y="686"/>
                </a:lnTo>
                <a:lnTo>
                  <a:pt x="415" y="686"/>
                </a:lnTo>
                <a:lnTo>
                  <a:pt x="415" y="684"/>
                </a:lnTo>
                <a:lnTo>
                  <a:pt x="425" y="682"/>
                </a:lnTo>
                <a:lnTo>
                  <a:pt x="425" y="682"/>
                </a:lnTo>
                <a:lnTo>
                  <a:pt x="428" y="682"/>
                </a:lnTo>
                <a:lnTo>
                  <a:pt x="432" y="682"/>
                </a:lnTo>
                <a:lnTo>
                  <a:pt x="432" y="682"/>
                </a:lnTo>
                <a:lnTo>
                  <a:pt x="434" y="680"/>
                </a:lnTo>
                <a:lnTo>
                  <a:pt x="432" y="678"/>
                </a:lnTo>
                <a:lnTo>
                  <a:pt x="425" y="676"/>
                </a:lnTo>
                <a:lnTo>
                  <a:pt x="417" y="675"/>
                </a:lnTo>
                <a:lnTo>
                  <a:pt x="415" y="673"/>
                </a:lnTo>
                <a:lnTo>
                  <a:pt x="413" y="671"/>
                </a:lnTo>
                <a:lnTo>
                  <a:pt x="413" y="671"/>
                </a:lnTo>
                <a:lnTo>
                  <a:pt x="415" y="669"/>
                </a:lnTo>
                <a:lnTo>
                  <a:pt x="417" y="669"/>
                </a:lnTo>
                <a:lnTo>
                  <a:pt x="423" y="669"/>
                </a:lnTo>
                <a:lnTo>
                  <a:pt x="434" y="671"/>
                </a:lnTo>
                <a:lnTo>
                  <a:pt x="434" y="671"/>
                </a:lnTo>
                <a:lnTo>
                  <a:pt x="437" y="673"/>
                </a:lnTo>
                <a:lnTo>
                  <a:pt x="441" y="673"/>
                </a:lnTo>
                <a:lnTo>
                  <a:pt x="454" y="671"/>
                </a:lnTo>
                <a:lnTo>
                  <a:pt x="465" y="667"/>
                </a:lnTo>
                <a:lnTo>
                  <a:pt x="471" y="664"/>
                </a:lnTo>
                <a:lnTo>
                  <a:pt x="471" y="664"/>
                </a:lnTo>
                <a:lnTo>
                  <a:pt x="471" y="664"/>
                </a:lnTo>
                <a:lnTo>
                  <a:pt x="469" y="662"/>
                </a:lnTo>
                <a:lnTo>
                  <a:pt x="465" y="664"/>
                </a:lnTo>
                <a:lnTo>
                  <a:pt x="465" y="664"/>
                </a:lnTo>
                <a:lnTo>
                  <a:pt x="460" y="660"/>
                </a:lnTo>
                <a:lnTo>
                  <a:pt x="449" y="654"/>
                </a:lnTo>
                <a:lnTo>
                  <a:pt x="439" y="647"/>
                </a:lnTo>
                <a:lnTo>
                  <a:pt x="437" y="643"/>
                </a:lnTo>
                <a:lnTo>
                  <a:pt x="439" y="639"/>
                </a:lnTo>
                <a:lnTo>
                  <a:pt x="439" y="639"/>
                </a:lnTo>
                <a:lnTo>
                  <a:pt x="445" y="634"/>
                </a:lnTo>
                <a:lnTo>
                  <a:pt x="452" y="628"/>
                </a:lnTo>
                <a:lnTo>
                  <a:pt x="463" y="623"/>
                </a:lnTo>
                <a:lnTo>
                  <a:pt x="478" y="619"/>
                </a:lnTo>
                <a:lnTo>
                  <a:pt x="489" y="617"/>
                </a:lnTo>
                <a:lnTo>
                  <a:pt x="512" y="615"/>
                </a:lnTo>
                <a:lnTo>
                  <a:pt x="521" y="612"/>
                </a:lnTo>
                <a:lnTo>
                  <a:pt x="523" y="610"/>
                </a:lnTo>
                <a:lnTo>
                  <a:pt x="526" y="606"/>
                </a:lnTo>
                <a:lnTo>
                  <a:pt x="526" y="606"/>
                </a:lnTo>
                <a:lnTo>
                  <a:pt x="526" y="606"/>
                </a:lnTo>
                <a:lnTo>
                  <a:pt x="525" y="606"/>
                </a:lnTo>
                <a:lnTo>
                  <a:pt x="521" y="606"/>
                </a:lnTo>
                <a:lnTo>
                  <a:pt x="513" y="608"/>
                </a:lnTo>
                <a:lnTo>
                  <a:pt x="513" y="608"/>
                </a:lnTo>
                <a:lnTo>
                  <a:pt x="508" y="610"/>
                </a:lnTo>
                <a:lnTo>
                  <a:pt x="506" y="608"/>
                </a:lnTo>
                <a:lnTo>
                  <a:pt x="508" y="606"/>
                </a:lnTo>
                <a:lnTo>
                  <a:pt x="508" y="606"/>
                </a:lnTo>
                <a:lnTo>
                  <a:pt x="512" y="604"/>
                </a:lnTo>
                <a:lnTo>
                  <a:pt x="512" y="604"/>
                </a:lnTo>
                <a:lnTo>
                  <a:pt x="506" y="602"/>
                </a:lnTo>
                <a:lnTo>
                  <a:pt x="491" y="602"/>
                </a:lnTo>
                <a:lnTo>
                  <a:pt x="491" y="602"/>
                </a:lnTo>
                <a:lnTo>
                  <a:pt x="482" y="602"/>
                </a:lnTo>
                <a:lnTo>
                  <a:pt x="475" y="602"/>
                </a:lnTo>
                <a:lnTo>
                  <a:pt x="467" y="606"/>
                </a:lnTo>
                <a:lnTo>
                  <a:pt x="462" y="610"/>
                </a:lnTo>
                <a:lnTo>
                  <a:pt x="447" y="617"/>
                </a:lnTo>
                <a:lnTo>
                  <a:pt x="434" y="628"/>
                </a:lnTo>
                <a:lnTo>
                  <a:pt x="434" y="628"/>
                </a:lnTo>
                <a:lnTo>
                  <a:pt x="428" y="628"/>
                </a:lnTo>
                <a:lnTo>
                  <a:pt x="417" y="630"/>
                </a:lnTo>
                <a:lnTo>
                  <a:pt x="408" y="628"/>
                </a:lnTo>
                <a:lnTo>
                  <a:pt x="404" y="628"/>
                </a:lnTo>
                <a:lnTo>
                  <a:pt x="404" y="626"/>
                </a:lnTo>
                <a:lnTo>
                  <a:pt x="404" y="626"/>
                </a:lnTo>
                <a:lnTo>
                  <a:pt x="406" y="621"/>
                </a:lnTo>
                <a:lnTo>
                  <a:pt x="410" y="619"/>
                </a:lnTo>
                <a:lnTo>
                  <a:pt x="423" y="613"/>
                </a:lnTo>
                <a:lnTo>
                  <a:pt x="436" y="612"/>
                </a:lnTo>
                <a:lnTo>
                  <a:pt x="441" y="610"/>
                </a:lnTo>
                <a:lnTo>
                  <a:pt x="443" y="606"/>
                </a:lnTo>
                <a:lnTo>
                  <a:pt x="443" y="606"/>
                </a:lnTo>
                <a:lnTo>
                  <a:pt x="443" y="604"/>
                </a:lnTo>
                <a:lnTo>
                  <a:pt x="441" y="602"/>
                </a:lnTo>
                <a:lnTo>
                  <a:pt x="432" y="604"/>
                </a:lnTo>
                <a:lnTo>
                  <a:pt x="421" y="606"/>
                </a:lnTo>
                <a:lnTo>
                  <a:pt x="417" y="606"/>
                </a:lnTo>
                <a:lnTo>
                  <a:pt x="413" y="604"/>
                </a:lnTo>
                <a:lnTo>
                  <a:pt x="413" y="604"/>
                </a:lnTo>
                <a:lnTo>
                  <a:pt x="413" y="600"/>
                </a:lnTo>
                <a:lnTo>
                  <a:pt x="415" y="597"/>
                </a:lnTo>
                <a:lnTo>
                  <a:pt x="421" y="586"/>
                </a:lnTo>
                <a:lnTo>
                  <a:pt x="432" y="576"/>
                </a:lnTo>
                <a:lnTo>
                  <a:pt x="445" y="565"/>
                </a:lnTo>
                <a:lnTo>
                  <a:pt x="458" y="558"/>
                </a:lnTo>
                <a:lnTo>
                  <a:pt x="471" y="550"/>
                </a:lnTo>
                <a:lnTo>
                  <a:pt x="480" y="550"/>
                </a:lnTo>
                <a:lnTo>
                  <a:pt x="484" y="550"/>
                </a:lnTo>
                <a:lnTo>
                  <a:pt x="486" y="552"/>
                </a:lnTo>
                <a:lnTo>
                  <a:pt x="486" y="552"/>
                </a:lnTo>
                <a:lnTo>
                  <a:pt x="489" y="556"/>
                </a:lnTo>
                <a:lnTo>
                  <a:pt x="495" y="556"/>
                </a:lnTo>
                <a:lnTo>
                  <a:pt x="504" y="556"/>
                </a:lnTo>
                <a:lnTo>
                  <a:pt x="504" y="556"/>
                </a:lnTo>
                <a:lnTo>
                  <a:pt x="504" y="556"/>
                </a:lnTo>
                <a:lnTo>
                  <a:pt x="504" y="556"/>
                </a:lnTo>
                <a:lnTo>
                  <a:pt x="501" y="554"/>
                </a:lnTo>
                <a:lnTo>
                  <a:pt x="497" y="552"/>
                </a:lnTo>
                <a:lnTo>
                  <a:pt x="493" y="550"/>
                </a:lnTo>
                <a:lnTo>
                  <a:pt x="493" y="550"/>
                </a:lnTo>
                <a:lnTo>
                  <a:pt x="488" y="547"/>
                </a:lnTo>
                <a:lnTo>
                  <a:pt x="482" y="545"/>
                </a:lnTo>
                <a:lnTo>
                  <a:pt x="478" y="545"/>
                </a:lnTo>
                <a:lnTo>
                  <a:pt x="476" y="543"/>
                </a:lnTo>
                <a:lnTo>
                  <a:pt x="476" y="543"/>
                </a:lnTo>
                <a:lnTo>
                  <a:pt x="476" y="541"/>
                </a:lnTo>
                <a:lnTo>
                  <a:pt x="478" y="539"/>
                </a:lnTo>
                <a:lnTo>
                  <a:pt x="488" y="539"/>
                </a:lnTo>
                <a:lnTo>
                  <a:pt x="499" y="537"/>
                </a:lnTo>
                <a:lnTo>
                  <a:pt x="502" y="537"/>
                </a:lnTo>
                <a:lnTo>
                  <a:pt x="502" y="534"/>
                </a:lnTo>
                <a:lnTo>
                  <a:pt x="502" y="534"/>
                </a:lnTo>
                <a:lnTo>
                  <a:pt x="501" y="532"/>
                </a:lnTo>
                <a:lnTo>
                  <a:pt x="497" y="530"/>
                </a:lnTo>
                <a:lnTo>
                  <a:pt x="486" y="532"/>
                </a:lnTo>
                <a:lnTo>
                  <a:pt x="471" y="536"/>
                </a:lnTo>
                <a:lnTo>
                  <a:pt x="471" y="536"/>
                </a:lnTo>
                <a:lnTo>
                  <a:pt x="471" y="532"/>
                </a:lnTo>
                <a:lnTo>
                  <a:pt x="469" y="530"/>
                </a:lnTo>
                <a:lnTo>
                  <a:pt x="469" y="532"/>
                </a:lnTo>
                <a:lnTo>
                  <a:pt x="463" y="539"/>
                </a:lnTo>
                <a:lnTo>
                  <a:pt x="463" y="539"/>
                </a:lnTo>
                <a:lnTo>
                  <a:pt x="454" y="549"/>
                </a:lnTo>
                <a:lnTo>
                  <a:pt x="443" y="558"/>
                </a:lnTo>
                <a:lnTo>
                  <a:pt x="430" y="565"/>
                </a:lnTo>
                <a:lnTo>
                  <a:pt x="417" y="569"/>
                </a:lnTo>
                <a:lnTo>
                  <a:pt x="417" y="569"/>
                </a:lnTo>
                <a:lnTo>
                  <a:pt x="415" y="569"/>
                </a:lnTo>
                <a:lnTo>
                  <a:pt x="415" y="567"/>
                </a:lnTo>
                <a:lnTo>
                  <a:pt x="415" y="563"/>
                </a:lnTo>
                <a:lnTo>
                  <a:pt x="417" y="558"/>
                </a:lnTo>
                <a:lnTo>
                  <a:pt x="417" y="556"/>
                </a:lnTo>
                <a:lnTo>
                  <a:pt x="415" y="556"/>
                </a:lnTo>
                <a:lnTo>
                  <a:pt x="415" y="556"/>
                </a:lnTo>
                <a:lnTo>
                  <a:pt x="412" y="558"/>
                </a:lnTo>
                <a:lnTo>
                  <a:pt x="408" y="563"/>
                </a:lnTo>
                <a:lnTo>
                  <a:pt x="400" y="576"/>
                </a:lnTo>
                <a:lnTo>
                  <a:pt x="397" y="588"/>
                </a:lnTo>
                <a:lnTo>
                  <a:pt x="393" y="589"/>
                </a:lnTo>
                <a:lnTo>
                  <a:pt x="391" y="588"/>
                </a:lnTo>
                <a:lnTo>
                  <a:pt x="391" y="588"/>
                </a:lnTo>
                <a:lnTo>
                  <a:pt x="389" y="584"/>
                </a:lnTo>
                <a:lnTo>
                  <a:pt x="384" y="584"/>
                </a:lnTo>
                <a:lnTo>
                  <a:pt x="380" y="582"/>
                </a:lnTo>
                <a:lnTo>
                  <a:pt x="378" y="578"/>
                </a:lnTo>
                <a:lnTo>
                  <a:pt x="378" y="578"/>
                </a:lnTo>
                <a:lnTo>
                  <a:pt x="380" y="571"/>
                </a:lnTo>
                <a:lnTo>
                  <a:pt x="382" y="563"/>
                </a:lnTo>
                <a:lnTo>
                  <a:pt x="384" y="558"/>
                </a:lnTo>
                <a:lnTo>
                  <a:pt x="382" y="556"/>
                </a:lnTo>
                <a:lnTo>
                  <a:pt x="380" y="554"/>
                </a:lnTo>
                <a:lnTo>
                  <a:pt x="380" y="554"/>
                </a:lnTo>
                <a:lnTo>
                  <a:pt x="376" y="554"/>
                </a:lnTo>
                <a:lnTo>
                  <a:pt x="373" y="554"/>
                </a:lnTo>
                <a:lnTo>
                  <a:pt x="367" y="558"/>
                </a:lnTo>
                <a:lnTo>
                  <a:pt x="365" y="558"/>
                </a:lnTo>
                <a:lnTo>
                  <a:pt x="363" y="558"/>
                </a:lnTo>
                <a:lnTo>
                  <a:pt x="361" y="554"/>
                </a:lnTo>
                <a:lnTo>
                  <a:pt x="361" y="549"/>
                </a:lnTo>
                <a:lnTo>
                  <a:pt x="361" y="549"/>
                </a:lnTo>
                <a:lnTo>
                  <a:pt x="363" y="545"/>
                </a:lnTo>
                <a:lnTo>
                  <a:pt x="363" y="543"/>
                </a:lnTo>
                <a:lnTo>
                  <a:pt x="363" y="543"/>
                </a:lnTo>
                <a:lnTo>
                  <a:pt x="363" y="543"/>
                </a:lnTo>
                <a:lnTo>
                  <a:pt x="361" y="541"/>
                </a:lnTo>
                <a:lnTo>
                  <a:pt x="358" y="541"/>
                </a:lnTo>
                <a:lnTo>
                  <a:pt x="358" y="541"/>
                </a:lnTo>
                <a:lnTo>
                  <a:pt x="352" y="536"/>
                </a:lnTo>
                <a:lnTo>
                  <a:pt x="348" y="530"/>
                </a:lnTo>
                <a:lnTo>
                  <a:pt x="348" y="530"/>
                </a:lnTo>
                <a:lnTo>
                  <a:pt x="348" y="528"/>
                </a:lnTo>
                <a:lnTo>
                  <a:pt x="350" y="528"/>
                </a:lnTo>
                <a:lnTo>
                  <a:pt x="354" y="530"/>
                </a:lnTo>
                <a:lnTo>
                  <a:pt x="358" y="532"/>
                </a:lnTo>
                <a:lnTo>
                  <a:pt x="363" y="534"/>
                </a:lnTo>
                <a:lnTo>
                  <a:pt x="363" y="534"/>
                </a:lnTo>
                <a:lnTo>
                  <a:pt x="367" y="530"/>
                </a:lnTo>
                <a:lnTo>
                  <a:pt x="369" y="528"/>
                </a:lnTo>
                <a:lnTo>
                  <a:pt x="371" y="524"/>
                </a:lnTo>
                <a:lnTo>
                  <a:pt x="374" y="521"/>
                </a:lnTo>
                <a:lnTo>
                  <a:pt x="374" y="521"/>
                </a:lnTo>
                <a:lnTo>
                  <a:pt x="384" y="515"/>
                </a:lnTo>
                <a:lnTo>
                  <a:pt x="389" y="511"/>
                </a:lnTo>
                <a:lnTo>
                  <a:pt x="389" y="510"/>
                </a:lnTo>
                <a:lnTo>
                  <a:pt x="389" y="510"/>
                </a:lnTo>
                <a:lnTo>
                  <a:pt x="389" y="510"/>
                </a:lnTo>
                <a:lnTo>
                  <a:pt x="386" y="510"/>
                </a:lnTo>
                <a:lnTo>
                  <a:pt x="382" y="510"/>
                </a:lnTo>
                <a:lnTo>
                  <a:pt x="373" y="515"/>
                </a:lnTo>
                <a:lnTo>
                  <a:pt x="363" y="521"/>
                </a:lnTo>
                <a:lnTo>
                  <a:pt x="360" y="523"/>
                </a:lnTo>
                <a:lnTo>
                  <a:pt x="358" y="523"/>
                </a:lnTo>
                <a:lnTo>
                  <a:pt x="358" y="523"/>
                </a:lnTo>
                <a:lnTo>
                  <a:pt x="358" y="521"/>
                </a:lnTo>
                <a:lnTo>
                  <a:pt x="358" y="519"/>
                </a:lnTo>
                <a:lnTo>
                  <a:pt x="361" y="513"/>
                </a:lnTo>
                <a:lnTo>
                  <a:pt x="367" y="508"/>
                </a:lnTo>
                <a:lnTo>
                  <a:pt x="367" y="506"/>
                </a:lnTo>
                <a:lnTo>
                  <a:pt x="367" y="502"/>
                </a:lnTo>
                <a:lnTo>
                  <a:pt x="367" y="502"/>
                </a:lnTo>
                <a:lnTo>
                  <a:pt x="361" y="499"/>
                </a:lnTo>
                <a:lnTo>
                  <a:pt x="350" y="493"/>
                </a:lnTo>
                <a:lnTo>
                  <a:pt x="339" y="491"/>
                </a:lnTo>
                <a:lnTo>
                  <a:pt x="332" y="491"/>
                </a:lnTo>
                <a:lnTo>
                  <a:pt x="328" y="493"/>
                </a:lnTo>
                <a:lnTo>
                  <a:pt x="328" y="493"/>
                </a:lnTo>
                <a:lnTo>
                  <a:pt x="319" y="495"/>
                </a:lnTo>
                <a:lnTo>
                  <a:pt x="313" y="497"/>
                </a:lnTo>
                <a:lnTo>
                  <a:pt x="313" y="497"/>
                </a:lnTo>
                <a:lnTo>
                  <a:pt x="308" y="495"/>
                </a:lnTo>
                <a:lnTo>
                  <a:pt x="304" y="489"/>
                </a:lnTo>
                <a:lnTo>
                  <a:pt x="298" y="487"/>
                </a:lnTo>
                <a:lnTo>
                  <a:pt x="297" y="487"/>
                </a:lnTo>
                <a:lnTo>
                  <a:pt x="295" y="491"/>
                </a:lnTo>
                <a:lnTo>
                  <a:pt x="295" y="491"/>
                </a:lnTo>
                <a:lnTo>
                  <a:pt x="297" y="493"/>
                </a:lnTo>
                <a:lnTo>
                  <a:pt x="298" y="495"/>
                </a:lnTo>
                <a:lnTo>
                  <a:pt x="300" y="497"/>
                </a:lnTo>
                <a:lnTo>
                  <a:pt x="300" y="499"/>
                </a:lnTo>
                <a:lnTo>
                  <a:pt x="300" y="499"/>
                </a:lnTo>
                <a:lnTo>
                  <a:pt x="297" y="499"/>
                </a:lnTo>
                <a:lnTo>
                  <a:pt x="287" y="497"/>
                </a:lnTo>
                <a:lnTo>
                  <a:pt x="260" y="491"/>
                </a:lnTo>
                <a:lnTo>
                  <a:pt x="228" y="486"/>
                </a:lnTo>
                <a:lnTo>
                  <a:pt x="215" y="484"/>
                </a:lnTo>
                <a:lnTo>
                  <a:pt x="206" y="484"/>
                </a:lnTo>
                <a:lnTo>
                  <a:pt x="206" y="484"/>
                </a:lnTo>
                <a:lnTo>
                  <a:pt x="189" y="486"/>
                </a:lnTo>
                <a:lnTo>
                  <a:pt x="178" y="489"/>
                </a:lnTo>
                <a:lnTo>
                  <a:pt x="169" y="493"/>
                </a:lnTo>
                <a:lnTo>
                  <a:pt x="159" y="499"/>
                </a:lnTo>
                <a:lnTo>
                  <a:pt x="152" y="502"/>
                </a:lnTo>
                <a:lnTo>
                  <a:pt x="143" y="508"/>
                </a:lnTo>
                <a:lnTo>
                  <a:pt x="132" y="510"/>
                </a:lnTo>
                <a:lnTo>
                  <a:pt x="119" y="511"/>
                </a:lnTo>
                <a:lnTo>
                  <a:pt x="119" y="511"/>
                </a:lnTo>
                <a:lnTo>
                  <a:pt x="113" y="510"/>
                </a:lnTo>
                <a:lnTo>
                  <a:pt x="108" y="506"/>
                </a:lnTo>
                <a:lnTo>
                  <a:pt x="93" y="493"/>
                </a:lnTo>
                <a:lnTo>
                  <a:pt x="87" y="486"/>
                </a:lnTo>
                <a:lnTo>
                  <a:pt x="82" y="478"/>
                </a:lnTo>
                <a:lnTo>
                  <a:pt x="80" y="471"/>
                </a:lnTo>
                <a:lnTo>
                  <a:pt x="80" y="465"/>
                </a:lnTo>
                <a:lnTo>
                  <a:pt x="80" y="465"/>
                </a:lnTo>
                <a:lnTo>
                  <a:pt x="87" y="460"/>
                </a:lnTo>
                <a:lnTo>
                  <a:pt x="95" y="456"/>
                </a:lnTo>
                <a:lnTo>
                  <a:pt x="104" y="456"/>
                </a:lnTo>
                <a:lnTo>
                  <a:pt x="113" y="458"/>
                </a:lnTo>
                <a:lnTo>
                  <a:pt x="132" y="463"/>
                </a:lnTo>
                <a:lnTo>
                  <a:pt x="141" y="465"/>
                </a:lnTo>
                <a:lnTo>
                  <a:pt x="148" y="465"/>
                </a:lnTo>
                <a:lnTo>
                  <a:pt x="148" y="465"/>
                </a:lnTo>
                <a:lnTo>
                  <a:pt x="156" y="461"/>
                </a:lnTo>
                <a:lnTo>
                  <a:pt x="165" y="458"/>
                </a:lnTo>
                <a:lnTo>
                  <a:pt x="182" y="450"/>
                </a:lnTo>
                <a:lnTo>
                  <a:pt x="189" y="447"/>
                </a:lnTo>
                <a:lnTo>
                  <a:pt x="196" y="445"/>
                </a:lnTo>
                <a:lnTo>
                  <a:pt x="202" y="447"/>
                </a:lnTo>
                <a:lnTo>
                  <a:pt x="206" y="450"/>
                </a:lnTo>
                <a:lnTo>
                  <a:pt x="206" y="450"/>
                </a:lnTo>
                <a:lnTo>
                  <a:pt x="209" y="456"/>
                </a:lnTo>
                <a:lnTo>
                  <a:pt x="213" y="458"/>
                </a:lnTo>
                <a:lnTo>
                  <a:pt x="215" y="458"/>
                </a:lnTo>
                <a:lnTo>
                  <a:pt x="217" y="454"/>
                </a:lnTo>
                <a:lnTo>
                  <a:pt x="217" y="454"/>
                </a:lnTo>
                <a:lnTo>
                  <a:pt x="217" y="439"/>
                </a:lnTo>
                <a:lnTo>
                  <a:pt x="217" y="435"/>
                </a:lnTo>
                <a:lnTo>
                  <a:pt x="219" y="432"/>
                </a:lnTo>
                <a:lnTo>
                  <a:pt x="221" y="430"/>
                </a:lnTo>
                <a:lnTo>
                  <a:pt x="226" y="430"/>
                </a:lnTo>
                <a:lnTo>
                  <a:pt x="226" y="430"/>
                </a:lnTo>
                <a:lnTo>
                  <a:pt x="235" y="432"/>
                </a:lnTo>
                <a:lnTo>
                  <a:pt x="241" y="434"/>
                </a:lnTo>
                <a:lnTo>
                  <a:pt x="241" y="434"/>
                </a:lnTo>
                <a:lnTo>
                  <a:pt x="237" y="439"/>
                </a:lnTo>
                <a:lnTo>
                  <a:pt x="232" y="447"/>
                </a:lnTo>
                <a:lnTo>
                  <a:pt x="230" y="450"/>
                </a:lnTo>
                <a:lnTo>
                  <a:pt x="230" y="454"/>
                </a:lnTo>
                <a:lnTo>
                  <a:pt x="232" y="456"/>
                </a:lnTo>
                <a:lnTo>
                  <a:pt x="237" y="458"/>
                </a:lnTo>
                <a:lnTo>
                  <a:pt x="237" y="458"/>
                </a:lnTo>
                <a:lnTo>
                  <a:pt x="241" y="458"/>
                </a:lnTo>
                <a:lnTo>
                  <a:pt x="243" y="456"/>
                </a:lnTo>
                <a:lnTo>
                  <a:pt x="245" y="448"/>
                </a:lnTo>
                <a:lnTo>
                  <a:pt x="248" y="441"/>
                </a:lnTo>
                <a:lnTo>
                  <a:pt x="250" y="434"/>
                </a:lnTo>
                <a:lnTo>
                  <a:pt x="250" y="434"/>
                </a:lnTo>
                <a:lnTo>
                  <a:pt x="254" y="432"/>
                </a:lnTo>
                <a:lnTo>
                  <a:pt x="256" y="432"/>
                </a:lnTo>
                <a:lnTo>
                  <a:pt x="263" y="432"/>
                </a:lnTo>
                <a:lnTo>
                  <a:pt x="272" y="434"/>
                </a:lnTo>
                <a:lnTo>
                  <a:pt x="280" y="432"/>
                </a:lnTo>
                <a:lnTo>
                  <a:pt x="280" y="432"/>
                </a:lnTo>
                <a:lnTo>
                  <a:pt x="282" y="432"/>
                </a:lnTo>
                <a:lnTo>
                  <a:pt x="282" y="428"/>
                </a:lnTo>
                <a:lnTo>
                  <a:pt x="284" y="421"/>
                </a:lnTo>
                <a:lnTo>
                  <a:pt x="285" y="417"/>
                </a:lnTo>
                <a:lnTo>
                  <a:pt x="289" y="415"/>
                </a:lnTo>
                <a:lnTo>
                  <a:pt x="293" y="413"/>
                </a:lnTo>
                <a:lnTo>
                  <a:pt x="300" y="413"/>
                </a:lnTo>
                <a:lnTo>
                  <a:pt x="300" y="413"/>
                </a:lnTo>
                <a:lnTo>
                  <a:pt x="302" y="419"/>
                </a:lnTo>
                <a:lnTo>
                  <a:pt x="304" y="428"/>
                </a:lnTo>
                <a:lnTo>
                  <a:pt x="306" y="434"/>
                </a:lnTo>
                <a:lnTo>
                  <a:pt x="310" y="437"/>
                </a:lnTo>
                <a:lnTo>
                  <a:pt x="315" y="441"/>
                </a:lnTo>
                <a:lnTo>
                  <a:pt x="324" y="441"/>
                </a:lnTo>
                <a:lnTo>
                  <a:pt x="324" y="441"/>
                </a:lnTo>
                <a:lnTo>
                  <a:pt x="326" y="441"/>
                </a:lnTo>
                <a:lnTo>
                  <a:pt x="326" y="439"/>
                </a:lnTo>
                <a:lnTo>
                  <a:pt x="326" y="434"/>
                </a:lnTo>
                <a:lnTo>
                  <a:pt x="324" y="426"/>
                </a:lnTo>
                <a:lnTo>
                  <a:pt x="326" y="424"/>
                </a:lnTo>
                <a:lnTo>
                  <a:pt x="328" y="423"/>
                </a:lnTo>
                <a:lnTo>
                  <a:pt x="328" y="423"/>
                </a:lnTo>
                <a:lnTo>
                  <a:pt x="339" y="421"/>
                </a:lnTo>
                <a:lnTo>
                  <a:pt x="356" y="421"/>
                </a:lnTo>
                <a:lnTo>
                  <a:pt x="397" y="424"/>
                </a:lnTo>
                <a:lnTo>
                  <a:pt x="436" y="426"/>
                </a:lnTo>
                <a:lnTo>
                  <a:pt x="449" y="426"/>
                </a:lnTo>
                <a:lnTo>
                  <a:pt x="452" y="426"/>
                </a:lnTo>
                <a:lnTo>
                  <a:pt x="454" y="424"/>
                </a:lnTo>
                <a:lnTo>
                  <a:pt x="454" y="424"/>
                </a:lnTo>
                <a:lnTo>
                  <a:pt x="454" y="417"/>
                </a:lnTo>
                <a:lnTo>
                  <a:pt x="456" y="406"/>
                </a:lnTo>
                <a:lnTo>
                  <a:pt x="456" y="406"/>
                </a:lnTo>
                <a:lnTo>
                  <a:pt x="460" y="391"/>
                </a:lnTo>
                <a:lnTo>
                  <a:pt x="460" y="384"/>
                </a:lnTo>
                <a:lnTo>
                  <a:pt x="458" y="382"/>
                </a:lnTo>
                <a:lnTo>
                  <a:pt x="456" y="382"/>
                </a:lnTo>
                <a:lnTo>
                  <a:pt x="450" y="384"/>
                </a:lnTo>
                <a:lnTo>
                  <a:pt x="432" y="395"/>
                </a:lnTo>
                <a:lnTo>
                  <a:pt x="421" y="400"/>
                </a:lnTo>
                <a:lnTo>
                  <a:pt x="410" y="406"/>
                </a:lnTo>
                <a:lnTo>
                  <a:pt x="410" y="406"/>
                </a:lnTo>
                <a:lnTo>
                  <a:pt x="402" y="406"/>
                </a:lnTo>
                <a:lnTo>
                  <a:pt x="393" y="406"/>
                </a:lnTo>
                <a:lnTo>
                  <a:pt x="373" y="400"/>
                </a:lnTo>
                <a:lnTo>
                  <a:pt x="354" y="395"/>
                </a:lnTo>
                <a:lnTo>
                  <a:pt x="339" y="391"/>
                </a:lnTo>
                <a:lnTo>
                  <a:pt x="339" y="391"/>
                </a:lnTo>
                <a:lnTo>
                  <a:pt x="332" y="391"/>
                </a:lnTo>
                <a:lnTo>
                  <a:pt x="328" y="389"/>
                </a:lnTo>
                <a:lnTo>
                  <a:pt x="328" y="387"/>
                </a:lnTo>
                <a:lnTo>
                  <a:pt x="328" y="387"/>
                </a:lnTo>
                <a:lnTo>
                  <a:pt x="328" y="387"/>
                </a:lnTo>
                <a:lnTo>
                  <a:pt x="330" y="382"/>
                </a:lnTo>
                <a:lnTo>
                  <a:pt x="330" y="382"/>
                </a:lnTo>
                <a:lnTo>
                  <a:pt x="339" y="371"/>
                </a:lnTo>
                <a:lnTo>
                  <a:pt x="354" y="361"/>
                </a:lnTo>
                <a:lnTo>
                  <a:pt x="369" y="350"/>
                </a:lnTo>
                <a:lnTo>
                  <a:pt x="386" y="341"/>
                </a:lnTo>
                <a:lnTo>
                  <a:pt x="421" y="326"/>
                </a:lnTo>
                <a:lnTo>
                  <a:pt x="436" y="321"/>
                </a:lnTo>
                <a:lnTo>
                  <a:pt x="449" y="319"/>
                </a:lnTo>
                <a:lnTo>
                  <a:pt x="449" y="319"/>
                </a:lnTo>
                <a:lnTo>
                  <a:pt x="460" y="315"/>
                </a:lnTo>
                <a:lnTo>
                  <a:pt x="467" y="311"/>
                </a:lnTo>
                <a:lnTo>
                  <a:pt x="471" y="308"/>
                </a:lnTo>
                <a:lnTo>
                  <a:pt x="471" y="308"/>
                </a:lnTo>
                <a:lnTo>
                  <a:pt x="469" y="308"/>
                </a:lnTo>
                <a:lnTo>
                  <a:pt x="465" y="309"/>
                </a:lnTo>
                <a:lnTo>
                  <a:pt x="460" y="311"/>
                </a:lnTo>
                <a:lnTo>
                  <a:pt x="460" y="311"/>
                </a:lnTo>
                <a:lnTo>
                  <a:pt x="452" y="311"/>
                </a:lnTo>
                <a:lnTo>
                  <a:pt x="443" y="313"/>
                </a:lnTo>
                <a:lnTo>
                  <a:pt x="425" y="311"/>
                </a:lnTo>
                <a:lnTo>
                  <a:pt x="425" y="311"/>
                </a:lnTo>
                <a:lnTo>
                  <a:pt x="425" y="311"/>
                </a:lnTo>
                <a:lnTo>
                  <a:pt x="425" y="311"/>
                </a:lnTo>
                <a:lnTo>
                  <a:pt x="426" y="308"/>
                </a:lnTo>
                <a:lnTo>
                  <a:pt x="428" y="304"/>
                </a:lnTo>
                <a:lnTo>
                  <a:pt x="428" y="302"/>
                </a:lnTo>
                <a:lnTo>
                  <a:pt x="428" y="302"/>
                </a:lnTo>
                <a:lnTo>
                  <a:pt x="425" y="302"/>
                </a:lnTo>
                <a:lnTo>
                  <a:pt x="419" y="302"/>
                </a:lnTo>
                <a:lnTo>
                  <a:pt x="413" y="302"/>
                </a:lnTo>
                <a:lnTo>
                  <a:pt x="410" y="302"/>
                </a:lnTo>
                <a:lnTo>
                  <a:pt x="410" y="300"/>
                </a:lnTo>
                <a:lnTo>
                  <a:pt x="410" y="300"/>
                </a:lnTo>
                <a:lnTo>
                  <a:pt x="406" y="293"/>
                </a:lnTo>
                <a:lnTo>
                  <a:pt x="404" y="289"/>
                </a:lnTo>
                <a:lnTo>
                  <a:pt x="402" y="287"/>
                </a:lnTo>
                <a:lnTo>
                  <a:pt x="402" y="287"/>
                </a:lnTo>
                <a:lnTo>
                  <a:pt x="400" y="289"/>
                </a:lnTo>
                <a:lnTo>
                  <a:pt x="399" y="295"/>
                </a:lnTo>
                <a:lnTo>
                  <a:pt x="393" y="300"/>
                </a:lnTo>
                <a:lnTo>
                  <a:pt x="387" y="308"/>
                </a:lnTo>
                <a:lnTo>
                  <a:pt x="382" y="313"/>
                </a:lnTo>
                <a:lnTo>
                  <a:pt x="378" y="313"/>
                </a:lnTo>
                <a:lnTo>
                  <a:pt x="374" y="315"/>
                </a:lnTo>
                <a:lnTo>
                  <a:pt x="371" y="313"/>
                </a:lnTo>
                <a:lnTo>
                  <a:pt x="367" y="311"/>
                </a:lnTo>
                <a:lnTo>
                  <a:pt x="361" y="306"/>
                </a:lnTo>
                <a:lnTo>
                  <a:pt x="358" y="300"/>
                </a:lnTo>
                <a:lnTo>
                  <a:pt x="358" y="300"/>
                </a:lnTo>
                <a:lnTo>
                  <a:pt x="358" y="300"/>
                </a:lnTo>
                <a:lnTo>
                  <a:pt x="358" y="298"/>
                </a:lnTo>
                <a:lnTo>
                  <a:pt x="365" y="295"/>
                </a:lnTo>
                <a:lnTo>
                  <a:pt x="384" y="285"/>
                </a:lnTo>
                <a:lnTo>
                  <a:pt x="400" y="276"/>
                </a:lnTo>
                <a:lnTo>
                  <a:pt x="404" y="270"/>
                </a:lnTo>
                <a:lnTo>
                  <a:pt x="404" y="269"/>
                </a:lnTo>
                <a:lnTo>
                  <a:pt x="402" y="267"/>
                </a:lnTo>
                <a:lnTo>
                  <a:pt x="402" y="267"/>
                </a:lnTo>
                <a:lnTo>
                  <a:pt x="399" y="267"/>
                </a:lnTo>
                <a:lnTo>
                  <a:pt x="395" y="269"/>
                </a:lnTo>
                <a:lnTo>
                  <a:pt x="389" y="276"/>
                </a:lnTo>
                <a:lnTo>
                  <a:pt x="389" y="276"/>
                </a:lnTo>
                <a:lnTo>
                  <a:pt x="384" y="282"/>
                </a:lnTo>
                <a:lnTo>
                  <a:pt x="378" y="283"/>
                </a:lnTo>
                <a:lnTo>
                  <a:pt x="378" y="283"/>
                </a:lnTo>
                <a:lnTo>
                  <a:pt x="373" y="285"/>
                </a:lnTo>
                <a:lnTo>
                  <a:pt x="369" y="285"/>
                </a:lnTo>
                <a:lnTo>
                  <a:pt x="369" y="283"/>
                </a:lnTo>
                <a:lnTo>
                  <a:pt x="367" y="282"/>
                </a:lnTo>
                <a:lnTo>
                  <a:pt x="367" y="280"/>
                </a:lnTo>
                <a:lnTo>
                  <a:pt x="363" y="278"/>
                </a:lnTo>
                <a:lnTo>
                  <a:pt x="360" y="278"/>
                </a:lnTo>
                <a:lnTo>
                  <a:pt x="352" y="282"/>
                </a:lnTo>
                <a:lnTo>
                  <a:pt x="352" y="282"/>
                </a:lnTo>
                <a:lnTo>
                  <a:pt x="350" y="289"/>
                </a:lnTo>
                <a:lnTo>
                  <a:pt x="347" y="293"/>
                </a:lnTo>
                <a:lnTo>
                  <a:pt x="343" y="295"/>
                </a:lnTo>
                <a:lnTo>
                  <a:pt x="339" y="293"/>
                </a:lnTo>
                <a:lnTo>
                  <a:pt x="339" y="293"/>
                </a:lnTo>
                <a:lnTo>
                  <a:pt x="337" y="287"/>
                </a:lnTo>
                <a:lnTo>
                  <a:pt x="337" y="274"/>
                </a:lnTo>
                <a:lnTo>
                  <a:pt x="334" y="261"/>
                </a:lnTo>
                <a:lnTo>
                  <a:pt x="332" y="258"/>
                </a:lnTo>
                <a:lnTo>
                  <a:pt x="328" y="258"/>
                </a:lnTo>
                <a:lnTo>
                  <a:pt x="328" y="258"/>
                </a:lnTo>
                <a:lnTo>
                  <a:pt x="328" y="261"/>
                </a:lnTo>
                <a:lnTo>
                  <a:pt x="328" y="269"/>
                </a:lnTo>
                <a:lnTo>
                  <a:pt x="328" y="269"/>
                </a:lnTo>
                <a:lnTo>
                  <a:pt x="330" y="272"/>
                </a:lnTo>
                <a:lnTo>
                  <a:pt x="328" y="276"/>
                </a:lnTo>
                <a:lnTo>
                  <a:pt x="324" y="282"/>
                </a:lnTo>
                <a:lnTo>
                  <a:pt x="321" y="283"/>
                </a:lnTo>
                <a:lnTo>
                  <a:pt x="315" y="285"/>
                </a:lnTo>
                <a:lnTo>
                  <a:pt x="315" y="285"/>
                </a:lnTo>
                <a:lnTo>
                  <a:pt x="310" y="285"/>
                </a:lnTo>
                <a:lnTo>
                  <a:pt x="308" y="280"/>
                </a:lnTo>
                <a:lnTo>
                  <a:pt x="306" y="274"/>
                </a:lnTo>
                <a:lnTo>
                  <a:pt x="306" y="267"/>
                </a:lnTo>
                <a:lnTo>
                  <a:pt x="306" y="261"/>
                </a:lnTo>
                <a:lnTo>
                  <a:pt x="304" y="258"/>
                </a:lnTo>
                <a:lnTo>
                  <a:pt x="304" y="256"/>
                </a:lnTo>
                <a:lnTo>
                  <a:pt x="300" y="256"/>
                </a:lnTo>
                <a:lnTo>
                  <a:pt x="295" y="259"/>
                </a:lnTo>
                <a:lnTo>
                  <a:pt x="295" y="259"/>
                </a:lnTo>
                <a:lnTo>
                  <a:pt x="295" y="261"/>
                </a:lnTo>
                <a:lnTo>
                  <a:pt x="295" y="265"/>
                </a:lnTo>
                <a:lnTo>
                  <a:pt x="298" y="276"/>
                </a:lnTo>
                <a:lnTo>
                  <a:pt x="302" y="289"/>
                </a:lnTo>
                <a:lnTo>
                  <a:pt x="302" y="293"/>
                </a:lnTo>
                <a:lnTo>
                  <a:pt x="300" y="295"/>
                </a:lnTo>
                <a:lnTo>
                  <a:pt x="300" y="295"/>
                </a:lnTo>
                <a:lnTo>
                  <a:pt x="295" y="293"/>
                </a:lnTo>
                <a:lnTo>
                  <a:pt x="287" y="289"/>
                </a:lnTo>
                <a:lnTo>
                  <a:pt x="274" y="283"/>
                </a:lnTo>
                <a:lnTo>
                  <a:pt x="274" y="283"/>
                </a:lnTo>
                <a:lnTo>
                  <a:pt x="276" y="280"/>
                </a:lnTo>
                <a:lnTo>
                  <a:pt x="282" y="276"/>
                </a:lnTo>
                <a:lnTo>
                  <a:pt x="287" y="270"/>
                </a:lnTo>
                <a:lnTo>
                  <a:pt x="289" y="269"/>
                </a:lnTo>
                <a:lnTo>
                  <a:pt x="289" y="267"/>
                </a:lnTo>
                <a:lnTo>
                  <a:pt x="289" y="267"/>
                </a:lnTo>
                <a:lnTo>
                  <a:pt x="285" y="263"/>
                </a:lnTo>
                <a:lnTo>
                  <a:pt x="280" y="263"/>
                </a:lnTo>
                <a:lnTo>
                  <a:pt x="274" y="267"/>
                </a:lnTo>
                <a:lnTo>
                  <a:pt x="271" y="269"/>
                </a:lnTo>
                <a:lnTo>
                  <a:pt x="261" y="278"/>
                </a:lnTo>
                <a:lnTo>
                  <a:pt x="252" y="283"/>
                </a:lnTo>
                <a:lnTo>
                  <a:pt x="252" y="283"/>
                </a:lnTo>
                <a:lnTo>
                  <a:pt x="248" y="283"/>
                </a:lnTo>
                <a:lnTo>
                  <a:pt x="247" y="282"/>
                </a:lnTo>
                <a:lnTo>
                  <a:pt x="239" y="276"/>
                </a:lnTo>
                <a:lnTo>
                  <a:pt x="232" y="272"/>
                </a:lnTo>
                <a:lnTo>
                  <a:pt x="230" y="270"/>
                </a:lnTo>
                <a:lnTo>
                  <a:pt x="226" y="272"/>
                </a:lnTo>
                <a:lnTo>
                  <a:pt x="226" y="272"/>
                </a:lnTo>
                <a:lnTo>
                  <a:pt x="224" y="274"/>
                </a:lnTo>
                <a:lnTo>
                  <a:pt x="222" y="278"/>
                </a:lnTo>
                <a:lnTo>
                  <a:pt x="222" y="282"/>
                </a:lnTo>
                <a:lnTo>
                  <a:pt x="224" y="287"/>
                </a:lnTo>
                <a:lnTo>
                  <a:pt x="224" y="291"/>
                </a:lnTo>
                <a:lnTo>
                  <a:pt x="224" y="291"/>
                </a:lnTo>
                <a:lnTo>
                  <a:pt x="221" y="296"/>
                </a:lnTo>
                <a:lnTo>
                  <a:pt x="217" y="298"/>
                </a:lnTo>
                <a:lnTo>
                  <a:pt x="209" y="298"/>
                </a:lnTo>
                <a:lnTo>
                  <a:pt x="204" y="296"/>
                </a:lnTo>
                <a:lnTo>
                  <a:pt x="193" y="291"/>
                </a:lnTo>
                <a:lnTo>
                  <a:pt x="189" y="289"/>
                </a:lnTo>
                <a:lnTo>
                  <a:pt x="189" y="289"/>
                </a:lnTo>
                <a:lnTo>
                  <a:pt x="174" y="298"/>
                </a:lnTo>
                <a:lnTo>
                  <a:pt x="152" y="309"/>
                </a:lnTo>
                <a:lnTo>
                  <a:pt x="128" y="319"/>
                </a:lnTo>
                <a:lnTo>
                  <a:pt x="117" y="321"/>
                </a:lnTo>
                <a:lnTo>
                  <a:pt x="108" y="321"/>
                </a:lnTo>
                <a:lnTo>
                  <a:pt x="108" y="321"/>
                </a:lnTo>
                <a:lnTo>
                  <a:pt x="102" y="321"/>
                </a:lnTo>
                <a:lnTo>
                  <a:pt x="96" y="319"/>
                </a:lnTo>
                <a:lnTo>
                  <a:pt x="91" y="313"/>
                </a:lnTo>
                <a:lnTo>
                  <a:pt x="89" y="308"/>
                </a:lnTo>
                <a:lnTo>
                  <a:pt x="87" y="304"/>
                </a:lnTo>
                <a:lnTo>
                  <a:pt x="87" y="304"/>
                </a:lnTo>
                <a:lnTo>
                  <a:pt x="70" y="298"/>
                </a:lnTo>
                <a:lnTo>
                  <a:pt x="70" y="298"/>
                </a:lnTo>
                <a:lnTo>
                  <a:pt x="56" y="298"/>
                </a:lnTo>
                <a:lnTo>
                  <a:pt x="33" y="298"/>
                </a:lnTo>
                <a:lnTo>
                  <a:pt x="11" y="296"/>
                </a:lnTo>
                <a:lnTo>
                  <a:pt x="4" y="296"/>
                </a:lnTo>
                <a:lnTo>
                  <a:pt x="0" y="295"/>
                </a:lnTo>
                <a:lnTo>
                  <a:pt x="0" y="295"/>
                </a:lnTo>
                <a:lnTo>
                  <a:pt x="2" y="293"/>
                </a:lnTo>
                <a:lnTo>
                  <a:pt x="4" y="291"/>
                </a:lnTo>
                <a:lnTo>
                  <a:pt x="13" y="285"/>
                </a:lnTo>
                <a:lnTo>
                  <a:pt x="28" y="278"/>
                </a:lnTo>
                <a:lnTo>
                  <a:pt x="28" y="278"/>
                </a:lnTo>
                <a:lnTo>
                  <a:pt x="30" y="276"/>
                </a:lnTo>
                <a:lnTo>
                  <a:pt x="30" y="274"/>
                </a:lnTo>
                <a:lnTo>
                  <a:pt x="30" y="267"/>
                </a:lnTo>
                <a:lnTo>
                  <a:pt x="32" y="261"/>
                </a:lnTo>
                <a:lnTo>
                  <a:pt x="33" y="258"/>
                </a:lnTo>
                <a:lnTo>
                  <a:pt x="37" y="256"/>
                </a:lnTo>
                <a:lnTo>
                  <a:pt x="37" y="256"/>
                </a:lnTo>
                <a:lnTo>
                  <a:pt x="41" y="254"/>
                </a:lnTo>
                <a:lnTo>
                  <a:pt x="44" y="254"/>
                </a:lnTo>
                <a:lnTo>
                  <a:pt x="56" y="258"/>
                </a:lnTo>
                <a:lnTo>
                  <a:pt x="67" y="265"/>
                </a:lnTo>
                <a:lnTo>
                  <a:pt x="80" y="274"/>
                </a:lnTo>
                <a:lnTo>
                  <a:pt x="93" y="282"/>
                </a:lnTo>
                <a:lnTo>
                  <a:pt x="106" y="287"/>
                </a:lnTo>
                <a:lnTo>
                  <a:pt x="111" y="289"/>
                </a:lnTo>
                <a:lnTo>
                  <a:pt x="115" y="289"/>
                </a:lnTo>
                <a:lnTo>
                  <a:pt x="119" y="289"/>
                </a:lnTo>
                <a:lnTo>
                  <a:pt x="122" y="285"/>
                </a:lnTo>
                <a:lnTo>
                  <a:pt x="122" y="285"/>
                </a:lnTo>
                <a:lnTo>
                  <a:pt x="120" y="285"/>
                </a:lnTo>
                <a:lnTo>
                  <a:pt x="119" y="285"/>
                </a:lnTo>
                <a:lnTo>
                  <a:pt x="119" y="285"/>
                </a:lnTo>
                <a:lnTo>
                  <a:pt x="109" y="280"/>
                </a:lnTo>
                <a:lnTo>
                  <a:pt x="95" y="272"/>
                </a:lnTo>
                <a:lnTo>
                  <a:pt x="80" y="261"/>
                </a:lnTo>
                <a:lnTo>
                  <a:pt x="76" y="256"/>
                </a:lnTo>
                <a:lnTo>
                  <a:pt x="76" y="252"/>
                </a:lnTo>
                <a:lnTo>
                  <a:pt x="76" y="252"/>
                </a:lnTo>
                <a:lnTo>
                  <a:pt x="80" y="250"/>
                </a:lnTo>
                <a:lnTo>
                  <a:pt x="85" y="250"/>
                </a:lnTo>
                <a:lnTo>
                  <a:pt x="100" y="256"/>
                </a:lnTo>
                <a:lnTo>
                  <a:pt x="113" y="263"/>
                </a:lnTo>
                <a:lnTo>
                  <a:pt x="119" y="263"/>
                </a:lnTo>
                <a:lnTo>
                  <a:pt x="122" y="263"/>
                </a:lnTo>
                <a:lnTo>
                  <a:pt x="122" y="263"/>
                </a:lnTo>
                <a:lnTo>
                  <a:pt x="117" y="258"/>
                </a:lnTo>
                <a:lnTo>
                  <a:pt x="108" y="252"/>
                </a:lnTo>
                <a:lnTo>
                  <a:pt x="108" y="252"/>
                </a:lnTo>
                <a:lnTo>
                  <a:pt x="95" y="246"/>
                </a:lnTo>
                <a:lnTo>
                  <a:pt x="78" y="235"/>
                </a:lnTo>
                <a:lnTo>
                  <a:pt x="70" y="228"/>
                </a:lnTo>
                <a:lnTo>
                  <a:pt x="67" y="220"/>
                </a:lnTo>
                <a:lnTo>
                  <a:pt x="67" y="219"/>
                </a:lnTo>
                <a:lnTo>
                  <a:pt x="67" y="215"/>
                </a:lnTo>
                <a:lnTo>
                  <a:pt x="69" y="211"/>
                </a:lnTo>
                <a:lnTo>
                  <a:pt x="72" y="207"/>
                </a:lnTo>
                <a:lnTo>
                  <a:pt x="72" y="207"/>
                </a:lnTo>
                <a:lnTo>
                  <a:pt x="76" y="207"/>
                </a:lnTo>
                <a:lnTo>
                  <a:pt x="80" y="207"/>
                </a:lnTo>
                <a:lnTo>
                  <a:pt x="91" y="209"/>
                </a:lnTo>
                <a:lnTo>
                  <a:pt x="106" y="217"/>
                </a:lnTo>
                <a:lnTo>
                  <a:pt x="122" y="224"/>
                </a:lnTo>
                <a:lnTo>
                  <a:pt x="139" y="232"/>
                </a:lnTo>
                <a:lnTo>
                  <a:pt x="152" y="241"/>
                </a:lnTo>
                <a:lnTo>
                  <a:pt x="161" y="248"/>
                </a:lnTo>
                <a:lnTo>
                  <a:pt x="163" y="252"/>
                </a:lnTo>
                <a:lnTo>
                  <a:pt x="163" y="254"/>
                </a:lnTo>
                <a:lnTo>
                  <a:pt x="163" y="254"/>
                </a:lnTo>
                <a:lnTo>
                  <a:pt x="165" y="259"/>
                </a:lnTo>
                <a:lnTo>
                  <a:pt x="167" y="261"/>
                </a:lnTo>
                <a:lnTo>
                  <a:pt x="171" y="261"/>
                </a:lnTo>
                <a:lnTo>
                  <a:pt x="178" y="259"/>
                </a:lnTo>
                <a:lnTo>
                  <a:pt x="189" y="252"/>
                </a:lnTo>
                <a:lnTo>
                  <a:pt x="202" y="248"/>
                </a:lnTo>
                <a:lnTo>
                  <a:pt x="202" y="248"/>
                </a:lnTo>
                <a:lnTo>
                  <a:pt x="206" y="246"/>
                </a:lnTo>
                <a:lnTo>
                  <a:pt x="208" y="246"/>
                </a:lnTo>
                <a:lnTo>
                  <a:pt x="209" y="245"/>
                </a:lnTo>
                <a:lnTo>
                  <a:pt x="209" y="245"/>
                </a:lnTo>
                <a:lnTo>
                  <a:pt x="206" y="243"/>
                </a:lnTo>
                <a:lnTo>
                  <a:pt x="200" y="243"/>
                </a:lnTo>
                <a:lnTo>
                  <a:pt x="185" y="245"/>
                </a:lnTo>
                <a:lnTo>
                  <a:pt x="178" y="245"/>
                </a:lnTo>
                <a:lnTo>
                  <a:pt x="172" y="243"/>
                </a:lnTo>
                <a:lnTo>
                  <a:pt x="169" y="239"/>
                </a:lnTo>
                <a:lnTo>
                  <a:pt x="167" y="233"/>
                </a:lnTo>
                <a:lnTo>
                  <a:pt x="167" y="233"/>
                </a:lnTo>
                <a:lnTo>
                  <a:pt x="167" y="232"/>
                </a:lnTo>
                <a:lnTo>
                  <a:pt x="169" y="230"/>
                </a:lnTo>
                <a:lnTo>
                  <a:pt x="176" y="228"/>
                </a:lnTo>
                <a:lnTo>
                  <a:pt x="198" y="228"/>
                </a:lnTo>
                <a:lnTo>
                  <a:pt x="208" y="226"/>
                </a:lnTo>
                <a:lnTo>
                  <a:pt x="217" y="224"/>
                </a:lnTo>
                <a:lnTo>
                  <a:pt x="222" y="222"/>
                </a:lnTo>
                <a:lnTo>
                  <a:pt x="224" y="219"/>
                </a:lnTo>
                <a:lnTo>
                  <a:pt x="224" y="217"/>
                </a:lnTo>
                <a:lnTo>
                  <a:pt x="224" y="217"/>
                </a:lnTo>
                <a:lnTo>
                  <a:pt x="222" y="215"/>
                </a:lnTo>
                <a:lnTo>
                  <a:pt x="219" y="217"/>
                </a:lnTo>
                <a:lnTo>
                  <a:pt x="213" y="219"/>
                </a:lnTo>
                <a:lnTo>
                  <a:pt x="213" y="219"/>
                </a:lnTo>
                <a:lnTo>
                  <a:pt x="202" y="222"/>
                </a:lnTo>
                <a:lnTo>
                  <a:pt x="189" y="222"/>
                </a:lnTo>
                <a:lnTo>
                  <a:pt x="165" y="222"/>
                </a:lnTo>
                <a:lnTo>
                  <a:pt x="165" y="222"/>
                </a:lnTo>
                <a:lnTo>
                  <a:pt x="146" y="219"/>
                </a:lnTo>
                <a:lnTo>
                  <a:pt x="135" y="213"/>
                </a:lnTo>
                <a:lnTo>
                  <a:pt x="124" y="207"/>
                </a:lnTo>
                <a:lnTo>
                  <a:pt x="117" y="200"/>
                </a:lnTo>
                <a:lnTo>
                  <a:pt x="111" y="193"/>
                </a:lnTo>
                <a:lnTo>
                  <a:pt x="109" y="189"/>
                </a:lnTo>
                <a:lnTo>
                  <a:pt x="111" y="185"/>
                </a:lnTo>
                <a:lnTo>
                  <a:pt x="113" y="181"/>
                </a:lnTo>
                <a:lnTo>
                  <a:pt x="117" y="176"/>
                </a:lnTo>
                <a:lnTo>
                  <a:pt x="117" y="176"/>
                </a:lnTo>
                <a:lnTo>
                  <a:pt x="124" y="176"/>
                </a:lnTo>
                <a:lnTo>
                  <a:pt x="135" y="178"/>
                </a:lnTo>
                <a:lnTo>
                  <a:pt x="169" y="187"/>
                </a:lnTo>
                <a:lnTo>
                  <a:pt x="202" y="196"/>
                </a:lnTo>
                <a:lnTo>
                  <a:pt x="215" y="198"/>
                </a:lnTo>
                <a:lnTo>
                  <a:pt x="221" y="198"/>
                </a:lnTo>
                <a:lnTo>
                  <a:pt x="221" y="198"/>
                </a:lnTo>
                <a:lnTo>
                  <a:pt x="221" y="196"/>
                </a:lnTo>
                <a:lnTo>
                  <a:pt x="221" y="194"/>
                </a:lnTo>
                <a:lnTo>
                  <a:pt x="211" y="193"/>
                </a:lnTo>
                <a:lnTo>
                  <a:pt x="189" y="189"/>
                </a:lnTo>
                <a:lnTo>
                  <a:pt x="189" y="189"/>
                </a:lnTo>
                <a:lnTo>
                  <a:pt x="174" y="185"/>
                </a:lnTo>
                <a:lnTo>
                  <a:pt x="152" y="176"/>
                </a:lnTo>
                <a:lnTo>
                  <a:pt x="141" y="169"/>
                </a:lnTo>
                <a:lnTo>
                  <a:pt x="130" y="163"/>
                </a:lnTo>
                <a:lnTo>
                  <a:pt x="124" y="156"/>
                </a:lnTo>
                <a:lnTo>
                  <a:pt x="120" y="148"/>
                </a:lnTo>
                <a:lnTo>
                  <a:pt x="120" y="148"/>
                </a:lnTo>
                <a:lnTo>
                  <a:pt x="120" y="144"/>
                </a:lnTo>
                <a:lnTo>
                  <a:pt x="120" y="141"/>
                </a:lnTo>
                <a:lnTo>
                  <a:pt x="124" y="137"/>
                </a:lnTo>
                <a:lnTo>
                  <a:pt x="128" y="135"/>
                </a:lnTo>
                <a:lnTo>
                  <a:pt x="137" y="135"/>
                </a:lnTo>
                <a:lnTo>
                  <a:pt x="150" y="137"/>
                </a:lnTo>
                <a:lnTo>
                  <a:pt x="161" y="141"/>
                </a:lnTo>
                <a:lnTo>
                  <a:pt x="174" y="144"/>
                </a:lnTo>
                <a:lnTo>
                  <a:pt x="182" y="150"/>
                </a:lnTo>
                <a:lnTo>
                  <a:pt x="187" y="154"/>
                </a:lnTo>
                <a:lnTo>
                  <a:pt x="187" y="154"/>
                </a:lnTo>
                <a:lnTo>
                  <a:pt x="191" y="156"/>
                </a:lnTo>
                <a:lnTo>
                  <a:pt x="193" y="157"/>
                </a:lnTo>
                <a:lnTo>
                  <a:pt x="195" y="156"/>
                </a:lnTo>
                <a:lnTo>
                  <a:pt x="195" y="156"/>
                </a:lnTo>
                <a:lnTo>
                  <a:pt x="195" y="154"/>
                </a:lnTo>
                <a:lnTo>
                  <a:pt x="193" y="152"/>
                </a:lnTo>
                <a:lnTo>
                  <a:pt x="189" y="146"/>
                </a:lnTo>
                <a:lnTo>
                  <a:pt x="172" y="137"/>
                </a:lnTo>
                <a:lnTo>
                  <a:pt x="156" y="130"/>
                </a:lnTo>
                <a:lnTo>
                  <a:pt x="148" y="126"/>
                </a:lnTo>
                <a:lnTo>
                  <a:pt x="145" y="120"/>
                </a:lnTo>
                <a:lnTo>
                  <a:pt x="145" y="120"/>
                </a:lnTo>
                <a:lnTo>
                  <a:pt x="145" y="120"/>
                </a:lnTo>
                <a:lnTo>
                  <a:pt x="146" y="118"/>
                </a:lnTo>
                <a:lnTo>
                  <a:pt x="150" y="117"/>
                </a:lnTo>
                <a:lnTo>
                  <a:pt x="165" y="118"/>
                </a:lnTo>
                <a:lnTo>
                  <a:pt x="191" y="126"/>
                </a:lnTo>
                <a:lnTo>
                  <a:pt x="191" y="126"/>
                </a:lnTo>
                <a:lnTo>
                  <a:pt x="191" y="126"/>
                </a:lnTo>
                <a:lnTo>
                  <a:pt x="189" y="124"/>
                </a:lnTo>
                <a:lnTo>
                  <a:pt x="182" y="117"/>
                </a:lnTo>
                <a:lnTo>
                  <a:pt x="182" y="117"/>
                </a:lnTo>
                <a:lnTo>
                  <a:pt x="178" y="115"/>
                </a:lnTo>
                <a:lnTo>
                  <a:pt x="174" y="115"/>
                </a:lnTo>
                <a:lnTo>
                  <a:pt x="165" y="115"/>
                </a:lnTo>
                <a:lnTo>
                  <a:pt x="158" y="113"/>
                </a:lnTo>
                <a:lnTo>
                  <a:pt x="158" y="111"/>
                </a:lnTo>
                <a:lnTo>
                  <a:pt x="159" y="107"/>
                </a:lnTo>
                <a:lnTo>
                  <a:pt x="159" y="107"/>
                </a:lnTo>
                <a:lnTo>
                  <a:pt x="165" y="102"/>
                </a:lnTo>
                <a:lnTo>
                  <a:pt x="171" y="100"/>
                </a:lnTo>
                <a:lnTo>
                  <a:pt x="178" y="98"/>
                </a:lnTo>
                <a:lnTo>
                  <a:pt x="187" y="98"/>
                </a:lnTo>
                <a:lnTo>
                  <a:pt x="204" y="102"/>
                </a:lnTo>
                <a:lnTo>
                  <a:pt x="221" y="109"/>
                </a:lnTo>
                <a:lnTo>
                  <a:pt x="237" y="118"/>
                </a:lnTo>
                <a:lnTo>
                  <a:pt x="248" y="130"/>
                </a:lnTo>
                <a:lnTo>
                  <a:pt x="258" y="139"/>
                </a:lnTo>
                <a:lnTo>
                  <a:pt x="260" y="143"/>
                </a:lnTo>
                <a:lnTo>
                  <a:pt x="260" y="146"/>
                </a:lnTo>
                <a:lnTo>
                  <a:pt x="260" y="146"/>
                </a:lnTo>
                <a:lnTo>
                  <a:pt x="254" y="159"/>
                </a:lnTo>
                <a:lnTo>
                  <a:pt x="254" y="161"/>
                </a:lnTo>
                <a:lnTo>
                  <a:pt x="256" y="161"/>
                </a:lnTo>
                <a:lnTo>
                  <a:pt x="260" y="156"/>
                </a:lnTo>
                <a:lnTo>
                  <a:pt x="265" y="143"/>
                </a:lnTo>
                <a:lnTo>
                  <a:pt x="265" y="143"/>
                </a:lnTo>
                <a:lnTo>
                  <a:pt x="267" y="141"/>
                </a:lnTo>
                <a:lnTo>
                  <a:pt x="269" y="141"/>
                </a:lnTo>
                <a:lnTo>
                  <a:pt x="271" y="146"/>
                </a:lnTo>
                <a:lnTo>
                  <a:pt x="271" y="146"/>
                </a:lnTo>
                <a:lnTo>
                  <a:pt x="274" y="150"/>
                </a:lnTo>
                <a:lnTo>
                  <a:pt x="278" y="154"/>
                </a:lnTo>
                <a:lnTo>
                  <a:pt x="278" y="156"/>
                </a:lnTo>
                <a:lnTo>
                  <a:pt x="276" y="157"/>
                </a:lnTo>
                <a:lnTo>
                  <a:pt x="267" y="169"/>
                </a:lnTo>
                <a:lnTo>
                  <a:pt x="267" y="169"/>
                </a:lnTo>
                <a:lnTo>
                  <a:pt x="274" y="163"/>
                </a:lnTo>
                <a:lnTo>
                  <a:pt x="284" y="159"/>
                </a:lnTo>
                <a:lnTo>
                  <a:pt x="284" y="159"/>
                </a:lnTo>
                <a:lnTo>
                  <a:pt x="284" y="170"/>
                </a:lnTo>
                <a:lnTo>
                  <a:pt x="284" y="178"/>
                </a:lnTo>
                <a:lnTo>
                  <a:pt x="284" y="178"/>
                </a:lnTo>
                <a:lnTo>
                  <a:pt x="287" y="176"/>
                </a:lnTo>
                <a:lnTo>
                  <a:pt x="287" y="172"/>
                </a:lnTo>
                <a:lnTo>
                  <a:pt x="291" y="157"/>
                </a:lnTo>
                <a:lnTo>
                  <a:pt x="293" y="148"/>
                </a:lnTo>
                <a:lnTo>
                  <a:pt x="297" y="143"/>
                </a:lnTo>
                <a:lnTo>
                  <a:pt x="300" y="137"/>
                </a:lnTo>
                <a:lnTo>
                  <a:pt x="304" y="137"/>
                </a:lnTo>
                <a:lnTo>
                  <a:pt x="308" y="137"/>
                </a:lnTo>
                <a:lnTo>
                  <a:pt x="308" y="137"/>
                </a:lnTo>
                <a:lnTo>
                  <a:pt x="315" y="139"/>
                </a:lnTo>
                <a:lnTo>
                  <a:pt x="319" y="141"/>
                </a:lnTo>
                <a:lnTo>
                  <a:pt x="321" y="144"/>
                </a:lnTo>
                <a:lnTo>
                  <a:pt x="323" y="148"/>
                </a:lnTo>
                <a:lnTo>
                  <a:pt x="324" y="157"/>
                </a:lnTo>
                <a:lnTo>
                  <a:pt x="321" y="169"/>
                </a:lnTo>
                <a:lnTo>
                  <a:pt x="313" y="189"/>
                </a:lnTo>
                <a:lnTo>
                  <a:pt x="311" y="196"/>
                </a:lnTo>
                <a:lnTo>
                  <a:pt x="311" y="200"/>
                </a:lnTo>
                <a:lnTo>
                  <a:pt x="313" y="202"/>
                </a:lnTo>
                <a:lnTo>
                  <a:pt x="313" y="202"/>
                </a:lnTo>
                <a:lnTo>
                  <a:pt x="317" y="196"/>
                </a:lnTo>
                <a:lnTo>
                  <a:pt x="324" y="181"/>
                </a:lnTo>
                <a:lnTo>
                  <a:pt x="334" y="159"/>
                </a:lnTo>
                <a:lnTo>
                  <a:pt x="334" y="159"/>
                </a:lnTo>
                <a:lnTo>
                  <a:pt x="337" y="163"/>
                </a:lnTo>
                <a:lnTo>
                  <a:pt x="341" y="167"/>
                </a:lnTo>
                <a:lnTo>
                  <a:pt x="345" y="176"/>
                </a:lnTo>
                <a:lnTo>
                  <a:pt x="345" y="176"/>
                </a:lnTo>
                <a:lnTo>
                  <a:pt x="347" y="176"/>
                </a:lnTo>
                <a:lnTo>
                  <a:pt x="350" y="178"/>
                </a:lnTo>
                <a:lnTo>
                  <a:pt x="352" y="180"/>
                </a:lnTo>
                <a:lnTo>
                  <a:pt x="352" y="183"/>
                </a:lnTo>
                <a:lnTo>
                  <a:pt x="350" y="187"/>
                </a:lnTo>
                <a:lnTo>
                  <a:pt x="348" y="191"/>
                </a:lnTo>
                <a:lnTo>
                  <a:pt x="348" y="191"/>
                </a:lnTo>
                <a:lnTo>
                  <a:pt x="343" y="196"/>
                </a:lnTo>
                <a:lnTo>
                  <a:pt x="347" y="193"/>
                </a:lnTo>
                <a:lnTo>
                  <a:pt x="361" y="178"/>
                </a:lnTo>
                <a:lnTo>
                  <a:pt x="361" y="178"/>
                </a:lnTo>
                <a:lnTo>
                  <a:pt x="363" y="176"/>
                </a:lnTo>
                <a:lnTo>
                  <a:pt x="363" y="174"/>
                </a:lnTo>
                <a:lnTo>
                  <a:pt x="360" y="165"/>
                </a:lnTo>
                <a:lnTo>
                  <a:pt x="347" y="150"/>
                </a:lnTo>
                <a:lnTo>
                  <a:pt x="347" y="150"/>
                </a:lnTo>
                <a:lnTo>
                  <a:pt x="343" y="144"/>
                </a:lnTo>
                <a:lnTo>
                  <a:pt x="343" y="139"/>
                </a:lnTo>
                <a:lnTo>
                  <a:pt x="345" y="137"/>
                </a:lnTo>
                <a:lnTo>
                  <a:pt x="347" y="135"/>
                </a:lnTo>
                <a:lnTo>
                  <a:pt x="354" y="133"/>
                </a:lnTo>
                <a:lnTo>
                  <a:pt x="358" y="131"/>
                </a:lnTo>
                <a:lnTo>
                  <a:pt x="358" y="128"/>
                </a:lnTo>
                <a:lnTo>
                  <a:pt x="358" y="128"/>
                </a:lnTo>
                <a:lnTo>
                  <a:pt x="356" y="126"/>
                </a:lnTo>
                <a:lnTo>
                  <a:pt x="352" y="128"/>
                </a:lnTo>
                <a:lnTo>
                  <a:pt x="343" y="131"/>
                </a:lnTo>
                <a:lnTo>
                  <a:pt x="343" y="131"/>
                </a:lnTo>
                <a:lnTo>
                  <a:pt x="336" y="131"/>
                </a:lnTo>
                <a:lnTo>
                  <a:pt x="328" y="130"/>
                </a:lnTo>
                <a:lnTo>
                  <a:pt x="304" y="117"/>
                </a:lnTo>
                <a:lnTo>
                  <a:pt x="304" y="117"/>
                </a:lnTo>
                <a:lnTo>
                  <a:pt x="272" y="102"/>
                </a:lnTo>
                <a:lnTo>
                  <a:pt x="260" y="93"/>
                </a:lnTo>
                <a:lnTo>
                  <a:pt x="256" y="91"/>
                </a:lnTo>
                <a:lnTo>
                  <a:pt x="256" y="89"/>
                </a:lnTo>
                <a:lnTo>
                  <a:pt x="258" y="89"/>
                </a:lnTo>
                <a:lnTo>
                  <a:pt x="258" y="89"/>
                </a:lnTo>
                <a:lnTo>
                  <a:pt x="291" y="85"/>
                </a:lnTo>
                <a:lnTo>
                  <a:pt x="332" y="83"/>
                </a:lnTo>
                <a:lnTo>
                  <a:pt x="356" y="80"/>
                </a:lnTo>
                <a:lnTo>
                  <a:pt x="356" y="80"/>
                </a:lnTo>
                <a:lnTo>
                  <a:pt x="352" y="80"/>
                </a:lnTo>
                <a:lnTo>
                  <a:pt x="336" y="78"/>
                </a:lnTo>
                <a:lnTo>
                  <a:pt x="336" y="78"/>
                </a:lnTo>
                <a:lnTo>
                  <a:pt x="330" y="76"/>
                </a:lnTo>
                <a:lnTo>
                  <a:pt x="328" y="74"/>
                </a:lnTo>
                <a:lnTo>
                  <a:pt x="328" y="72"/>
                </a:lnTo>
                <a:lnTo>
                  <a:pt x="332" y="70"/>
                </a:lnTo>
                <a:lnTo>
                  <a:pt x="339" y="67"/>
                </a:lnTo>
                <a:lnTo>
                  <a:pt x="343" y="63"/>
                </a:lnTo>
                <a:lnTo>
                  <a:pt x="343" y="63"/>
                </a:lnTo>
                <a:lnTo>
                  <a:pt x="339" y="63"/>
                </a:lnTo>
                <a:lnTo>
                  <a:pt x="336" y="65"/>
                </a:lnTo>
                <a:lnTo>
                  <a:pt x="328" y="68"/>
                </a:lnTo>
                <a:lnTo>
                  <a:pt x="319" y="70"/>
                </a:lnTo>
                <a:lnTo>
                  <a:pt x="313" y="72"/>
                </a:lnTo>
                <a:lnTo>
                  <a:pt x="308" y="70"/>
                </a:lnTo>
                <a:lnTo>
                  <a:pt x="308" y="70"/>
                </a:lnTo>
                <a:lnTo>
                  <a:pt x="304" y="68"/>
                </a:lnTo>
                <a:lnTo>
                  <a:pt x="304" y="67"/>
                </a:lnTo>
                <a:lnTo>
                  <a:pt x="308" y="61"/>
                </a:lnTo>
                <a:lnTo>
                  <a:pt x="308" y="61"/>
                </a:lnTo>
                <a:lnTo>
                  <a:pt x="313" y="54"/>
                </a:lnTo>
                <a:lnTo>
                  <a:pt x="313" y="52"/>
                </a:lnTo>
                <a:lnTo>
                  <a:pt x="313" y="52"/>
                </a:lnTo>
                <a:lnTo>
                  <a:pt x="308" y="52"/>
                </a:lnTo>
                <a:lnTo>
                  <a:pt x="300" y="54"/>
                </a:lnTo>
                <a:lnTo>
                  <a:pt x="280" y="61"/>
                </a:lnTo>
                <a:lnTo>
                  <a:pt x="265" y="68"/>
                </a:lnTo>
                <a:lnTo>
                  <a:pt x="265" y="68"/>
                </a:lnTo>
                <a:lnTo>
                  <a:pt x="261" y="68"/>
                </a:lnTo>
                <a:lnTo>
                  <a:pt x="256" y="68"/>
                </a:lnTo>
                <a:lnTo>
                  <a:pt x="243" y="65"/>
                </a:lnTo>
                <a:lnTo>
                  <a:pt x="230" y="59"/>
                </a:lnTo>
                <a:lnTo>
                  <a:pt x="226" y="55"/>
                </a:lnTo>
                <a:lnTo>
                  <a:pt x="224" y="52"/>
                </a:lnTo>
                <a:lnTo>
                  <a:pt x="224" y="52"/>
                </a:lnTo>
                <a:lnTo>
                  <a:pt x="228" y="52"/>
                </a:lnTo>
                <a:lnTo>
                  <a:pt x="237" y="52"/>
                </a:lnTo>
                <a:lnTo>
                  <a:pt x="247" y="50"/>
                </a:lnTo>
                <a:lnTo>
                  <a:pt x="250" y="46"/>
                </a:lnTo>
                <a:lnTo>
                  <a:pt x="252" y="42"/>
                </a:lnTo>
                <a:lnTo>
                  <a:pt x="252" y="42"/>
                </a:lnTo>
                <a:lnTo>
                  <a:pt x="250" y="41"/>
                </a:lnTo>
                <a:lnTo>
                  <a:pt x="248" y="39"/>
                </a:lnTo>
                <a:lnTo>
                  <a:pt x="241" y="37"/>
                </a:lnTo>
                <a:lnTo>
                  <a:pt x="235" y="33"/>
                </a:lnTo>
                <a:lnTo>
                  <a:pt x="234" y="31"/>
                </a:lnTo>
                <a:lnTo>
                  <a:pt x="234" y="29"/>
                </a:lnTo>
                <a:lnTo>
                  <a:pt x="234" y="29"/>
                </a:lnTo>
                <a:lnTo>
                  <a:pt x="235" y="28"/>
                </a:lnTo>
                <a:lnTo>
                  <a:pt x="239" y="28"/>
                </a:lnTo>
                <a:lnTo>
                  <a:pt x="245" y="29"/>
                </a:lnTo>
                <a:lnTo>
                  <a:pt x="254" y="35"/>
                </a:lnTo>
                <a:lnTo>
                  <a:pt x="254" y="35"/>
                </a:lnTo>
                <a:lnTo>
                  <a:pt x="254" y="29"/>
                </a:lnTo>
                <a:lnTo>
                  <a:pt x="258" y="28"/>
                </a:lnTo>
                <a:lnTo>
                  <a:pt x="261" y="28"/>
                </a:lnTo>
                <a:lnTo>
                  <a:pt x="265" y="28"/>
                </a:lnTo>
                <a:lnTo>
                  <a:pt x="280" y="31"/>
                </a:lnTo>
                <a:lnTo>
                  <a:pt x="280" y="31"/>
                </a:lnTo>
                <a:lnTo>
                  <a:pt x="276" y="28"/>
                </a:lnTo>
                <a:lnTo>
                  <a:pt x="271" y="26"/>
                </a:lnTo>
                <a:lnTo>
                  <a:pt x="265" y="20"/>
                </a:lnTo>
                <a:lnTo>
                  <a:pt x="265" y="20"/>
                </a:lnTo>
                <a:lnTo>
                  <a:pt x="267" y="18"/>
                </a:lnTo>
                <a:lnTo>
                  <a:pt x="272" y="18"/>
                </a:lnTo>
                <a:lnTo>
                  <a:pt x="284" y="24"/>
                </a:lnTo>
                <a:lnTo>
                  <a:pt x="304" y="33"/>
                </a:lnTo>
                <a:lnTo>
                  <a:pt x="304" y="33"/>
                </a:lnTo>
                <a:lnTo>
                  <a:pt x="310" y="33"/>
                </a:lnTo>
                <a:lnTo>
                  <a:pt x="313" y="33"/>
                </a:lnTo>
                <a:lnTo>
                  <a:pt x="319" y="28"/>
                </a:lnTo>
                <a:lnTo>
                  <a:pt x="323" y="26"/>
                </a:lnTo>
                <a:lnTo>
                  <a:pt x="326" y="26"/>
                </a:lnTo>
                <a:lnTo>
                  <a:pt x="332" y="26"/>
                </a:lnTo>
                <a:lnTo>
                  <a:pt x="339" y="28"/>
                </a:lnTo>
                <a:lnTo>
                  <a:pt x="339" y="28"/>
                </a:lnTo>
                <a:lnTo>
                  <a:pt x="343" y="31"/>
                </a:lnTo>
                <a:lnTo>
                  <a:pt x="345" y="33"/>
                </a:lnTo>
                <a:lnTo>
                  <a:pt x="347" y="31"/>
                </a:lnTo>
                <a:lnTo>
                  <a:pt x="347" y="31"/>
                </a:lnTo>
                <a:lnTo>
                  <a:pt x="348" y="29"/>
                </a:lnTo>
                <a:lnTo>
                  <a:pt x="348" y="28"/>
                </a:lnTo>
                <a:lnTo>
                  <a:pt x="348" y="26"/>
                </a:lnTo>
                <a:lnTo>
                  <a:pt x="345" y="22"/>
                </a:lnTo>
                <a:lnTo>
                  <a:pt x="345" y="20"/>
                </a:lnTo>
                <a:lnTo>
                  <a:pt x="345" y="20"/>
                </a:lnTo>
                <a:lnTo>
                  <a:pt x="345" y="20"/>
                </a:lnTo>
                <a:lnTo>
                  <a:pt x="350" y="18"/>
                </a:lnTo>
                <a:lnTo>
                  <a:pt x="354" y="20"/>
                </a:lnTo>
                <a:lnTo>
                  <a:pt x="358" y="22"/>
                </a:lnTo>
                <a:lnTo>
                  <a:pt x="360" y="26"/>
                </a:lnTo>
                <a:lnTo>
                  <a:pt x="369" y="41"/>
                </a:lnTo>
                <a:lnTo>
                  <a:pt x="376" y="48"/>
                </a:lnTo>
                <a:lnTo>
                  <a:pt x="387" y="57"/>
                </a:lnTo>
                <a:lnTo>
                  <a:pt x="387" y="57"/>
                </a:lnTo>
                <a:lnTo>
                  <a:pt x="387" y="59"/>
                </a:lnTo>
                <a:lnTo>
                  <a:pt x="387" y="61"/>
                </a:lnTo>
                <a:lnTo>
                  <a:pt x="386" y="67"/>
                </a:lnTo>
                <a:lnTo>
                  <a:pt x="382" y="72"/>
                </a:lnTo>
                <a:lnTo>
                  <a:pt x="382" y="74"/>
                </a:lnTo>
                <a:lnTo>
                  <a:pt x="382" y="76"/>
                </a:lnTo>
                <a:lnTo>
                  <a:pt x="382" y="76"/>
                </a:lnTo>
                <a:lnTo>
                  <a:pt x="384" y="78"/>
                </a:lnTo>
                <a:lnTo>
                  <a:pt x="387" y="78"/>
                </a:lnTo>
                <a:lnTo>
                  <a:pt x="395" y="76"/>
                </a:lnTo>
                <a:lnTo>
                  <a:pt x="406" y="70"/>
                </a:lnTo>
                <a:lnTo>
                  <a:pt x="406" y="70"/>
                </a:lnTo>
                <a:lnTo>
                  <a:pt x="415" y="74"/>
                </a:lnTo>
                <a:lnTo>
                  <a:pt x="425" y="80"/>
                </a:lnTo>
                <a:lnTo>
                  <a:pt x="430" y="85"/>
                </a:lnTo>
                <a:lnTo>
                  <a:pt x="430" y="87"/>
                </a:lnTo>
                <a:lnTo>
                  <a:pt x="428" y="91"/>
                </a:lnTo>
                <a:lnTo>
                  <a:pt x="428" y="91"/>
                </a:lnTo>
                <a:lnTo>
                  <a:pt x="425" y="93"/>
                </a:lnTo>
                <a:lnTo>
                  <a:pt x="423" y="94"/>
                </a:lnTo>
                <a:lnTo>
                  <a:pt x="423" y="94"/>
                </a:lnTo>
                <a:lnTo>
                  <a:pt x="423" y="94"/>
                </a:lnTo>
                <a:lnTo>
                  <a:pt x="443" y="94"/>
                </a:lnTo>
                <a:lnTo>
                  <a:pt x="454" y="96"/>
                </a:lnTo>
                <a:lnTo>
                  <a:pt x="458" y="98"/>
                </a:lnTo>
                <a:lnTo>
                  <a:pt x="462" y="100"/>
                </a:lnTo>
                <a:lnTo>
                  <a:pt x="462" y="100"/>
                </a:lnTo>
                <a:lnTo>
                  <a:pt x="465" y="105"/>
                </a:lnTo>
                <a:lnTo>
                  <a:pt x="467" y="111"/>
                </a:lnTo>
                <a:lnTo>
                  <a:pt x="471" y="126"/>
                </a:lnTo>
                <a:lnTo>
                  <a:pt x="473" y="139"/>
                </a:lnTo>
                <a:lnTo>
                  <a:pt x="475" y="144"/>
                </a:lnTo>
                <a:lnTo>
                  <a:pt x="475" y="146"/>
                </a:lnTo>
                <a:lnTo>
                  <a:pt x="475" y="146"/>
                </a:lnTo>
                <a:lnTo>
                  <a:pt x="478" y="148"/>
                </a:lnTo>
                <a:lnTo>
                  <a:pt x="480" y="146"/>
                </a:lnTo>
                <a:lnTo>
                  <a:pt x="484" y="143"/>
                </a:lnTo>
                <a:lnTo>
                  <a:pt x="484" y="143"/>
                </a:lnTo>
                <a:lnTo>
                  <a:pt x="484" y="139"/>
                </a:lnTo>
                <a:lnTo>
                  <a:pt x="482" y="135"/>
                </a:lnTo>
                <a:lnTo>
                  <a:pt x="480" y="130"/>
                </a:lnTo>
                <a:lnTo>
                  <a:pt x="480" y="130"/>
                </a:lnTo>
                <a:lnTo>
                  <a:pt x="488" y="124"/>
                </a:lnTo>
                <a:lnTo>
                  <a:pt x="493" y="124"/>
                </a:lnTo>
                <a:lnTo>
                  <a:pt x="495" y="128"/>
                </a:lnTo>
                <a:lnTo>
                  <a:pt x="497" y="131"/>
                </a:lnTo>
                <a:lnTo>
                  <a:pt x="499" y="141"/>
                </a:lnTo>
                <a:lnTo>
                  <a:pt x="499" y="146"/>
                </a:lnTo>
                <a:lnTo>
                  <a:pt x="499" y="146"/>
                </a:lnTo>
                <a:lnTo>
                  <a:pt x="502" y="148"/>
                </a:lnTo>
                <a:lnTo>
                  <a:pt x="508" y="148"/>
                </a:lnTo>
                <a:lnTo>
                  <a:pt x="517" y="146"/>
                </a:lnTo>
                <a:lnTo>
                  <a:pt x="521" y="146"/>
                </a:lnTo>
                <a:lnTo>
                  <a:pt x="525" y="146"/>
                </a:lnTo>
                <a:lnTo>
                  <a:pt x="528" y="148"/>
                </a:lnTo>
                <a:lnTo>
                  <a:pt x="532" y="154"/>
                </a:lnTo>
                <a:lnTo>
                  <a:pt x="532" y="154"/>
                </a:lnTo>
                <a:lnTo>
                  <a:pt x="532" y="154"/>
                </a:lnTo>
                <a:lnTo>
                  <a:pt x="532" y="156"/>
                </a:lnTo>
                <a:lnTo>
                  <a:pt x="532" y="157"/>
                </a:lnTo>
                <a:lnTo>
                  <a:pt x="528" y="157"/>
                </a:lnTo>
                <a:lnTo>
                  <a:pt x="517" y="157"/>
                </a:lnTo>
                <a:lnTo>
                  <a:pt x="517" y="157"/>
                </a:lnTo>
                <a:lnTo>
                  <a:pt x="510" y="159"/>
                </a:lnTo>
                <a:lnTo>
                  <a:pt x="502" y="161"/>
                </a:lnTo>
                <a:lnTo>
                  <a:pt x="502" y="161"/>
                </a:lnTo>
                <a:lnTo>
                  <a:pt x="499" y="161"/>
                </a:lnTo>
                <a:lnTo>
                  <a:pt x="504" y="161"/>
                </a:lnTo>
                <a:lnTo>
                  <a:pt x="513" y="163"/>
                </a:lnTo>
                <a:lnTo>
                  <a:pt x="523" y="165"/>
                </a:lnTo>
                <a:lnTo>
                  <a:pt x="523" y="165"/>
                </a:lnTo>
                <a:lnTo>
                  <a:pt x="523" y="165"/>
                </a:lnTo>
                <a:lnTo>
                  <a:pt x="517" y="169"/>
                </a:lnTo>
                <a:lnTo>
                  <a:pt x="513" y="172"/>
                </a:lnTo>
                <a:lnTo>
                  <a:pt x="513" y="172"/>
                </a:lnTo>
                <a:lnTo>
                  <a:pt x="517" y="172"/>
                </a:lnTo>
                <a:lnTo>
                  <a:pt x="523" y="172"/>
                </a:lnTo>
                <a:lnTo>
                  <a:pt x="534" y="170"/>
                </a:lnTo>
                <a:lnTo>
                  <a:pt x="534" y="170"/>
                </a:lnTo>
                <a:lnTo>
                  <a:pt x="536" y="172"/>
                </a:lnTo>
                <a:lnTo>
                  <a:pt x="536" y="174"/>
                </a:lnTo>
                <a:lnTo>
                  <a:pt x="534" y="180"/>
                </a:lnTo>
                <a:lnTo>
                  <a:pt x="534" y="185"/>
                </a:lnTo>
                <a:lnTo>
                  <a:pt x="534" y="189"/>
                </a:lnTo>
                <a:lnTo>
                  <a:pt x="534" y="189"/>
                </a:lnTo>
                <a:lnTo>
                  <a:pt x="534" y="189"/>
                </a:lnTo>
                <a:lnTo>
                  <a:pt x="538" y="191"/>
                </a:lnTo>
                <a:lnTo>
                  <a:pt x="539" y="193"/>
                </a:lnTo>
                <a:lnTo>
                  <a:pt x="539" y="193"/>
                </a:lnTo>
                <a:lnTo>
                  <a:pt x="539" y="193"/>
                </a:lnTo>
                <a:lnTo>
                  <a:pt x="538" y="198"/>
                </a:lnTo>
                <a:lnTo>
                  <a:pt x="532" y="202"/>
                </a:lnTo>
                <a:lnTo>
                  <a:pt x="521" y="206"/>
                </a:lnTo>
                <a:lnTo>
                  <a:pt x="512" y="211"/>
                </a:lnTo>
                <a:lnTo>
                  <a:pt x="508" y="215"/>
                </a:lnTo>
                <a:lnTo>
                  <a:pt x="506" y="220"/>
                </a:lnTo>
                <a:lnTo>
                  <a:pt x="506" y="220"/>
                </a:lnTo>
                <a:lnTo>
                  <a:pt x="508" y="222"/>
                </a:lnTo>
                <a:lnTo>
                  <a:pt x="512" y="224"/>
                </a:lnTo>
                <a:lnTo>
                  <a:pt x="521" y="224"/>
                </a:lnTo>
                <a:lnTo>
                  <a:pt x="528" y="226"/>
                </a:lnTo>
                <a:lnTo>
                  <a:pt x="530" y="226"/>
                </a:lnTo>
                <a:lnTo>
                  <a:pt x="530" y="228"/>
                </a:lnTo>
                <a:lnTo>
                  <a:pt x="530" y="228"/>
                </a:lnTo>
                <a:lnTo>
                  <a:pt x="525" y="235"/>
                </a:lnTo>
                <a:lnTo>
                  <a:pt x="519" y="239"/>
                </a:lnTo>
                <a:lnTo>
                  <a:pt x="512" y="243"/>
                </a:lnTo>
                <a:lnTo>
                  <a:pt x="508" y="243"/>
                </a:lnTo>
                <a:lnTo>
                  <a:pt x="502" y="241"/>
                </a:lnTo>
                <a:lnTo>
                  <a:pt x="497" y="239"/>
                </a:lnTo>
                <a:lnTo>
                  <a:pt x="488" y="232"/>
                </a:lnTo>
                <a:lnTo>
                  <a:pt x="478" y="224"/>
                </a:lnTo>
                <a:lnTo>
                  <a:pt x="471" y="217"/>
                </a:lnTo>
                <a:lnTo>
                  <a:pt x="467" y="215"/>
                </a:lnTo>
                <a:lnTo>
                  <a:pt x="463" y="215"/>
                </a:lnTo>
                <a:lnTo>
                  <a:pt x="460" y="217"/>
                </a:lnTo>
                <a:lnTo>
                  <a:pt x="458" y="219"/>
                </a:lnTo>
                <a:lnTo>
                  <a:pt x="458" y="219"/>
                </a:lnTo>
                <a:lnTo>
                  <a:pt x="463" y="222"/>
                </a:lnTo>
                <a:lnTo>
                  <a:pt x="471" y="226"/>
                </a:lnTo>
                <a:lnTo>
                  <a:pt x="471" y="226"/>
                </a:lnTo>
                <a:lnTo>
                  <a:pt x="478" y="239"/>
                </a:lnTo>
                <a:lnTo>
                  <a:pt x="484" y="246"/>
                </a:lnTo>
                <a:lnTo>
                  <a:pt x="491" y="250"/>
                </a:lnTo>
                <a:lnTo>
                  <a:pt x="499" y="252"/>
                </a:lnTo>
                <a:lnTo>
                  <a:pt x="510" y="252"/>
                </a:lnTo>
                <a:lnTo>
                  <a:pt x="515" y="254"/>
                </a:lnTo>
                <a:lnTo>
                  <a:pt x="519" y="258"/>
                </a:lnTo>
                <a:lnTo>
                  <a:pt x="519" y="258"/>
                </a:lnTo>
                <a:lnTo>
                  <a:pt x="521" y="259"/>
                </a:lnTo>
                <a:lnTo>
                  <a:pt x="519" y="263"/>
                </a:lnTo>
                <a:lnTo>
                  <a:pt x="513" y="269"/>
                </a:lnTo>
                <a:lnTo>
                  <a:pt x="508" y="274"/>
                </a:lnTo>
                <a:lnTo>
                  <a:pt x="506" y="276"/>
                </a:lnTo>
                <a:lnTo>
                  <a:pt x="506" y="278"/>
                </a:lnTo>
                <a:lnTo>
                  <a:pt x="506" y="278"/>
                </a:lnTo>
                <a:lnTo>
                  <a:pt x="510" y="278"/>
                </a:lnTo>
                <a:lnTo>
                  <a:pt x="513" y="276"/>
                </a:lnTo>
                <a:lnTo>
                  <a:pt x="525" y="269"/>
                </a:lnTo>
                <a:lnTo>
                  <a:pt x="528" y="267"/>
                </a:lnTo>
                <a:lnTo>
                  <a:pt x="534" y="267"/>
                </a:lnTo>
                <a:lnTo>
                  <a:pt x="536" y="270"/>
                </a:lnTo>
                <a:lnTo>
                  <a:pt x="538" y="280"/>
                </a:lnTo>
                <a:lnTo>
                  <a:pt x="538" y="280"/>
                </a:lnTo>
                <a:lnTo>
                  <a:pt x="536" y="287"/>
                </a:lnTo>
                <a:lnTo>
                  <a:pt x="530" y="293"/>
                </a:lnTo>
                <a:lnTo>
                  <a:pt x="517" y="304"/>
                </a:lnTo>
                <a:lnTo>
                  <a:pt x="517" y="304"/>
                </a:lnTo>
                <a:lnTo>
                  <a:pt x="508" y="311"/>
                </a:lnTo>
                <a:lnTo>
                  <a:pt x="508" y="311"/>
                </a:lnTo>
                <a:lnTo>
                  <a:pt x="510" y="311"/>
                </a:lnTo>
                <a:lnTo>
                  <a:pt x="513" y="311"/>
                </a:lnTo>
                <a:lnTo>
                  <a:pt x="523" y="306"/>
                </a:lnTo>
                <a:lnTo>
                  <a:pt x="532" y="300"/>
                </a:lnTo>
                <a:lnTo>
                  <a:pt x="536" y="300"/>
                </a:lnTo>
                <a:lnTo>
                  <a:pt x="539" y="300"/>
                </a:lnTo>
                <a:lnTo>
                  <a:pt x="539" y="300"/>
                </a:lnTo>
                <a:lnTo>
                  <a:pt x="547" y="306"/>
                </a:lnTo>
                <a:lnTo>
                  <a:pt x="551" y="313"/>
                </a:lnTo>
                <a:lnTo>
                  <a:pt x="554" y="322"/>
                </a:lnTo>
                <a:lnTo>
                  <a:pt x="556" y="334"/>
                </a:lnTo>
                <a:lnTo>
                  <a:pt x="558" y="354"/>
                </a:lnTo>
                <a:lnTo>
                  <a:pt x="560" y="363"/>
                </a:lnTo>
                <a:lnTo>
                  <a:pt x="565" y="372"/>
                </a:lnTo>
                <a:lnTo>
                  <a:pt x="565" y="372"/>
                </a:lnTo>
                <a:lnTo>
                  <a:pt x="567" y="376"/>
                </a:lnTo>
                <a:lnTo>
                  <a:pt x="569" y="382"/>
                </a:lnTo>
                <a:lnTo>
                  <a:pt x="569" y="385"/>
                </a:lnTo>
                <a:lnTo>
                  <a:pt x="569" y="389"/>
                </a:lnTo>
                <a:lnTo>
                  <a:pt x="569" y="389"/>
                </a:lnTo>
                <a:lnTo>
                  <a:pt x="571" y="389"/>
                </a:lnTo>
                <a:lnTo>
                  <a:pt x="573" y="389"/>
                </a:lnTo>
                <a:lnTo>
                  <a:pt x="575" y="382"/>
                </a:lnTo>
                <a:lnTo>
                  <a:pt x="573" y="372"/>
                </a:lnTo>
                <a:lnTo>
                  <a:pt x="573" y="367"/>
                </a:lnTo>
                <a:lnTo>
                  <a:pt x="573" y="367"/>
                </a:lnTo>
                <a:lnTo>
                  <a:pt x="569" y="363"/>
                </a:lnTo>
                <a:lnTo>
                  <a:pt x="569" y="359"/>
                </a:lnTo>
                <a:lnTo>
                  <a:pt x="571" y="354"/>
                </a:lnTo>
                <a:lnTo>
                  <a:pt x="573" y="346"/>
                </a:lnTo>
                <a:lnTo>
                  <a:pt x="575" y="339"/>
                </a:lnTo>
                <a:lnTo>
                  <a:pt x="575" y="339"/>
                </a:lnTo>
                <a:lnTo>
                  <a:pt x="571" y="322"/>
                </a:lnTo>
                <a:lnTo>
                  <a:pt x="569" y="313"/>
                </a:lnTo>
                <a:lnTo>
                  <a:pt x="569" y="309"/>
                </a:lnTo>
                <a:lnTo>
                  <a:pt x="571" y="308"/>
                </a:lnTo>
                <a:lnTo>
                  <a:pt x="571" y="308"/>
                </a:lnTo>
                <a:lnTo>
                  <a:pt x="575" y="308"/>
                </a:lnTo>
                <a:lnTo>
                  <a:pt x="578" y="311"/>
                </a:lnTo>
                <a:lnTo>
                  <a:pt x="586" y="324"/>
                </a:lnTo>
                <a:lnTo>
                  <a:pt x="595" y="337"/>
                </a:lnTo>
                <a:lnTo>
                  <a:pt x="599" y="339"/>
                </a:lnTo>
                <a:lnTo>
                  <a:pt x="601" y="339"/>
                </a:lnTo>
                <a:lnTo>
                  <a:pt x="601" y="339"/>
                </a:lnTo>
                <a:lnTo>
                  <a:pt x="601" y="339"/>
                </a:lnTo>
                <a:lnTo>
                  <a:pt x="601" y="335"/>
                </a:lnTo>
                <a:lnTo>
                  <a:pt x="601" y="335"/>
                </a:lnTo>
                <a:lnTo>
                  <a:pt x="597" y="330"/>
                </a:lnTo>
                <a:lnTo>
                  <a:pt x="595" y="322"/>
                </a:lnTo>
                <a:lnTo>
                  <a:pt x="591" y="308"/>
                </a:lnTo>
                <a:lnTo>
                  <a:pt x="593" y="291"/>
                </a:lnTo>
                <a:lnTo>
                  <a:pt x="597" y="274"/>
                </a:lnTo>
                <a:lnTo>
                  <a:pt x="604" y="261"/>
                </a:lnTo>
                <a:lnTo>
                  <a:pt x="614" y="248"/>
                </a:lnTo>
                <a:lnTo>
                  <a:pt x="619" y="245"/>
                </a:lnTo>
                <a:lnTo>
                  <a:pt x="627" y="243"/>
                </a:lnTo>
                <a:lnTo>
                  <a:pt x="632" y="241"/>
                </a:lnTo>
                <a:lnTo>
                  <a:pt x="640" y="241"/>
                </a:lnTo>
                <a:lnTo>
                  <a:pt x="640" y="241"/>
                </a:lnTo>
                <a:lnTo>
                  <a:pt x="645" y="243"/>
                </a:lnTo>
                <a:lnTo>
                  <a:pt x="647" y="246"/>
                </a:lnTo>
                <a:lnTo>
                  <a:pt x="647" y="254"/>
                </a:lnTo>
                <a:lnTo>
                  <a:pt x="647" y="261"/>
                </a:lnTo>
                <a:lnTo>
                  <a:pt x="643" y="274"/>
                </a:lnTo>
                <a:lnTo>
                  <a:pt x="643" y="280"/>
                </a:lnTo>
                <a:lnTo>
                  <a:pt x="645" y="283"/>
                </a:lnTo>
                <a:lnTo>
                  <a:pt x="645" y="283"/>
                </a:lnTo>
                <a:lnTo>
                  <a:pt x="649" y="282"/>
                </a:lnTo>
                <a:lnTo>
                  <a:pt x="653" y="278"/>
                </a:lnTo>
                <a:lnTo>
                  <a:pt x="656" y="276"/>
                </a:lnTo>
                <a:lnTo>
                  <a:pt x="656" y="276"/>
                </a:lnTo>
                <a:lnTo>
                  <a:pt x="656" y="276"/>
                </a:lnTo>
                <a:lnTo>
                  <a:pt x="656" y="276"/>
                </a:lnTo>
                <a:lnTo>
                  <a:pt x="658" y="283"/>
                </a:lnTo>
                <a:lnTo>
                  <a:pt x="662" y="293"/>
                </a:lnTo>
                <a:lnTo>
                  <a:pt x="665" y="296"/>
                </a:lnTo>
                <a:lnTo>
                  <a:pt x="669" y="298"/>
                </a:lnTo>
                <a:lnTo>
                  <a:pt x="673" y="298"/>
                </a:lnTo>
                <a:lnTo>
                  <a:pt x="677" y="296"/>
                </a:lnTo>
                <a:lnTo>
                  <a:pt x="677" y="296"/>
                </a:lnTo>
                <a:lnTo>
                  <a:pt x="680" y="291"/>
                </a:lnTo>
                <a:lnTo>
                  <a:pt x="680" y="287"/>
                </a:lnTo>
                <a:lnTo>
                  <a:pt x="677" y="283"/>
                </a:lnTo>
                <a:lnTo>
                  <a:pt x="673" y="280"/>
                </a:lnTo>
                <a:lnTo>
                  <a:pt x="669" y="278"/>
                </a:lnTo>
                <a:lnTo>
                  <a:pt x="669" y="274"/>
                </a:lnTo>
                <a:lnTo>
                  <a:pt x="673" y="270"/>
                </a:lnTo>
                <a:lnTo>
                  <a:pt x="682" y="269"/>
                </a:lnTo>
                <a:lnTo>
                  <a:pt x="682" y="269"/>
                </a:lnTo>
                <a:lnTo>
                  <a:pt x="684" y="269"/>
                </a:lnTo>
                <a:lnTo>
                  <a:pt x="684" y="270"/>
                </a:lnTo>
                <a:lnTo>
                  <a:pt x="686" y="276"/>
                </a:lnTo>
                <a:lnTo>
                  <a:pt x="688" y="283"/>
                </a:lnTo>
                <a:lnTo>
                  <a:pt x="690" y="283"/>
                </a:lnTo>
                <a:lnTo>
                  <a:pt x="690" y="283"/>
                </a:lnTo>
                <a:lnTo>
                  <a:pt x="690" y="283"/>
                </a:lnTo>
                <a:lnTo>
                  <a:pt x="697" y="272"/>
                </a:lnTo>
                <a:lnTo>
                  <a:pt x="701" y="261"/>
                </a:lnTo>
                <a:lnTo>
                  <a:pt x="704" y="250"/>
                </a:lnTo>
                <a:lnTo>
                  <a:pt x="704" y="241"/>
                </a:lnTo>
                <a:lnTo>
                  <a:pt x="704" y="232"/>
                </a:lnTo>
                <a:lnTo>
                  <a:pt x="704" y="222"/>
                </a:lnTo>
                <a:lnTo>
                  <a:pt x="699" y="206"/>
                </a:lnTo>
                <a:lnTo>
                  <a:pt x="691" y="187"/>
                </a:lnTo>
                <a:lnTo>
                  <a:pt x="684" y="170"/>
                </a:lnTo>
                <a:lnTo>
                  <a:pt x="680" y="150"/>
                </a:lnTo>
                <a:lnTo>
                  <a:pt x="680" y="141"/>
                </a:lnTo>
                <a:lnTo>
                  <a:pt x="680" y="130"/>
                </a:lnTo>
                <a:lnTo>
                  <a:pt x="680" y="130"/>
                </a:lnTo>
                <a:lnTo>
                  <a:pt x="684" y="126"/>
                </a:lnTo>
                <a:lnTo>
                  <a:pt x="688" y="124"/>
                </a:lnTo>
                <a:lnTo>
                  <a:pt x="704" y="122"/>
                </a:lnTo>
                <a:lnTo>
                  <a:pt x="721" y="120"/>
                </a:lnTo>
                <a:lnTo>
                  <a:pt x="734" y="117"/>
                </a:lnTo>
                <a:lnTo>
                  <a:pt x="734" y="117"/>
                </a:lnTo>
                <a:lnTo>
                  <a:pt x="738" y="118"/>
                </a:lnTo>
                <a:lnTo>
                  <a:pt x="741" y="122"/>
                </a:lnTo>
                <a:lnTo>
                  <a:pt x="751" y="143"/>
                </a:lnTo>
                <a:lnTo>
                  <a:pt x="751" y="143"/>
                </a:lnTo>
                <a:lnTo>
                  <a:pt x="751" y="143"/>
                </a:lnTo>
                <a:lnTo>
                  <a:pt x="758" y="156"/>
                </a:lnTo>
                <a:lnTo>
                  <a:pt x="764" y="165"/>
                </a:lnTo>
                <a:lnTo>
                  <a:pt x="771" y="172"/>
                </a:lnTo>
                <a:lnTo>
                  <a:pt x="779" y="178"/>
                </a:lnTo>
                <a:lnTo>
                  <a:pt x="792" y="183"/>
                </a:lnTo>
                <a:lnTo>
                  <a:pt x="797" y="187"/>
                </a:lnTo>
                <a:lnTo>
                  <a:pt x="801" y="193"/>
                </a:lnTo>
                <a:lnTo>
                  <a:pt x="801" y="193"/>
                </a:lnTo>
                <a:lnTo>
                  <a:pt x="805" y="200"/>
                </a:lnTo>
                <a:lnTo>
                  <a:pt x="806" y="207"/>
                </a:lnTo>
                <a:lnTo>
                  <a:pt x="806" y="217"/>
                </a:lnTo>
                <a:lnTo>
                  <a:pt x="810" y="224"/>
                </a:lnTo>
                <a:lnTo>
                  <a:pt x="810" y="224"/>
                </a:lnTo>
                <a:lnTo>
                  <a:pt x="812" y="224"/>
                </a:lnTo>
                <a:lnTo>
                  <a:pt x="812" y="224"/>
                </a:lnTo>
                <a:lnTo>
                  <a:pt x="816" y="226"/>
                </a:lnTo>
                <a:lnTo>
                  <a:pt x="819" y="226"/>
                </a:lnTo>
                <a:lnTo>
                  <a:pt x="821" y="226"/>
                </a:lnTo>
                <a:lnTo>
                  <a:pt x="823" y="224"/>
                </a:lnTo>
                <a:lnTo>
                  <a:pt x="825" y="220"/>
                </a:lnTo>
                <a:lnTo>
                  <a:pt x="827" y="220"/>
                </a:lnTo>
                <a:lnTo>
                  <a:pt x="829" y="220"/>
                </a:lnTo>
                <a:lnTo>
                  <a:pt x="829" y="220"/>
                </a:lnTo>
                <a:lnTo>
                  <a:pt x="834" y="220"/>
                </a:lnTo>
                <a:lnTo>
                  <a:pt x="836" y="222"/>
                </a:lnTo>
                <a:lnTo>
                  <a:pt x="840" y="226"/>
                </a:lnTo>
                <a:lnTo>
                  <a:pt x="842" y="230"/>
                </a:lnTo>
                <a:lnTo>
                  <a:pt x="845" y="228"/>
                </a:lnTo>
                <a:lnTo>
                  <a:pt x="845" y="228"/>
                </a:lnTo>
                <a:lnTo>
                  <a:pt x="851" y="226"/>
                </a:lnTo>
                <a:lnTo>
                  <a:pt x="853" y="222"/>
                </a:lnTo>
                <a:lnTo>
                  <a:pt x="855" y="217"/>
                </a:lnTo>
                <a:lnTo>
                  <a:pt x="855" y="213"/>
                </a:lnTo>
                <a:lnTo>
                  <a:pt x="853" y="204"/>
                </a:lnTo>
                <a:lnTo>
                  <a:pt x="849" y="194"/>
                </a:lnTo>
                <a:lnTo>
                  <a:pt x="838" y="176"/>
                </a:lnTo>
                <a:lnTo>
                  <a:pt x="832" y="169"/>
                </a:lnTo>
                <a:lnTo>
                  <a:pt x="832" y="165"/>
                </a:lnTo>
                <a:lnTo>
                  <a:pt x="832" y="165"/>
                </a:lnTo>
                <a:lnTo>
                  <a:pt x="832" y="163"/>
                </a:lnTo>
                <a:lnTo>
                  <a:pt x="834" y="161"/>
                </a:lnTo>
                <a:lnTo>
                  <a:pt x="840" y="157"/>
                </a:lnTo>
                <a:lnTo>
                  <a:pt x="845" y="156"/>
                </a:lnTo>
                <a:lnTo>
                  <a:pt x="847" y="154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44"/>
                </a:lnTo>
                <a:lnTo>
                  <a:pt x="847" y="137"/>
                </a:lnTo>
                <a:lnTo>
                  <a:pt x="851" y="133"/>
                </a:lnTo>
                <a:lnTo>
                  <a:pt x="853" y="130"/>
                </a:lnTo>
                <a:lnTo>
                  <a:pt x="858" y="128"/>
                </a:lnTo>
                <a:lnTo>
                  <a:pt x="862" y="126"/>
                </a:lnTo>
                <a:lnTo>
                  <a:pt x="873" y="126"/>
                </a:lnTo>
                <a:lnTo>
                  <a:pt x="884" y="128"/>
                </a:lnTo>
                <a:lnTo>
                  <a:pt x="895" y="131"/>
                </a:lnTo>
                <a:lnTo>
                  <a:pt x="903" y="133"/>
                </a:lnTo>
                <a:lnTo>
                  <a:pt x="906" y="133"/>
                </a:lnTo>
                <a:lnTo>
                  <a:pt x="906" y="133"/>
                </a:lnTo>
                <a:lnTo>
                  <a:pt x="908" y="131"/>
                </a:lnTo>
                <a:lnTo>
                  <a:pt x="910" y="130"/>
                </a:lnTo>
                <a:lnTo>
                  <a:pt x="906" y="122"/>
                </a:lnTo>
                <a:lnTo>
                  <a:pt x="903" y="117"/>
                </a:lnTo>
                <a:lnTo>
                  <a:pt x="903" y="113"/>
                </a:lnTo>
                <a:lnTo>
                  <a:pt x="903" y="109"/>
                </a:lnTo>
                <a:lnTo>
                  <a:pt x="903" y="109"/>
                </a:lnTo>
                <a:lnTo>
                  <a:pt x="905" y="107"/>
                </a:lnTo>
                <a:lnTo>
                  <a:pt x="908" y="104"/>
                </a:lnTo>
                <a:lnTo>
                  <a:pt x="918" y="102"/>
                </a:lnTo>
                <a:lnTo>
                  <a:pt x="918" y="102"/>
                </a:lnTo>
                <a:lnTo>
                  <a:pt x="918" y="102"/>
                </a:lnTo>
                <a:lnTo>
                  <a:pt x="919" y="100"/>
                </a:lnTo>
                <a:lnTo>
                  <a:pt x="921" y="102"/>
                </a:lnTo>
                <a:lnTo>
                  <a:pt x="925" y="105"/>
                </a:lnTo>
                <a:lnTo>
                  <a:pt x="929" y="111"/>
                </a:lnTo>
                <a:lnTo>
                  <a:pt x="931" y="111"/>
                </a:lnTo>
                <a:lnTo>
                  <a:pt x="932" y="111"/>
                </a:lnTo>
                <a:lnTo>
                  <a:pt x="932" y="111"/>
                </a:lnTo>
                <a:lnTo>
                  <a:pt x="936" y="109"/>
                </a:lnTo>
                <a:lnTo>
                  <a:pt x="938" y="105"/>
                </a:lnTo>
                <a:lnTo>
                  <a:pt x="938" y="100"/>
                </a:lnTo>
                <a:lnTo>
                  <a:pt x="940" y="98"/>
                </a:lnTo>
                <a:lnTo>
                  <a:pt x="940" y="96"/>
                </a:lnTo>
                <a:lnTo>
                  <a:pt x="944" y="96"/>
                </a:lnTo>
                <a:lnTo>
                  <a:pt x="949" y="98"/>
                </a:lnTo>
                <a:lnTo>
                  <a:pt x="949" y="98"/>
                </a:lnTo>
                <a:lnTo>
                  <a:pt x="953" y="100"/>
                </a:lnTo>
                <a:lnTo>
                  <a:pt x="953" y="102"/>
                </a:lnTo>
                <a:lnTo>
                  <a:pt x="953" y="102"/>
                </a:lnTo>
                <a:lnTo>
                  <a:pt x="949" y="107"/>
                </a:lnTo>
                <a:lnTo>
                  <a:pt x="949" y="111"/>
                </a:lnTo>
                <a:lnTo>
                  <a:pt x="949" y="113"/>
                </a:lnTo>
                <a:lnTo>
                  <a:pt x="951" y="113"/>
                </a:lnTo>
                <a:lnTo>
                  <a:pt x="957" y="109"/>
                </a:lnTo>
                <a:lnTo>
                  <a:pt x="957" y="109"/>
                </a:lnTo>
                <a:lnTo>
                  <a:pt x="960" y="105"/>
                </a:lnTo>
                <a:lnTo>
                  <a:pt x="964" y="105"/>
                </a:lnTo>
                <a:lnTo>
                  <a:pt x="964" y="105"/>
                </a:lnTo>
                <a:lnTo>
                  <a:pt x="971" y="105"/>
                </a:lnTo>
                <a:lnTo>
                  <a:pt x="975" y="107"/>
                </a:lnTo>
                <a:lnTo>
                  <a:pt x="977" y="111"/>
                </a:lnTo>
                <a:lnTo>
                  <a:pt x="977" y="117"/>
                </a:lnTo>
                <a:lnTo>
                  <a:pt x="973" y="124"/>
                </a:lnTo>
                <a:lnTo>
                  <a:pt x="973" y="128"/>
                </a:lnTo>
                <a:lnTo>
                  <a:pt x="973" y="128"/>
                </a:lnTo>
                <a:lnTo>
                  <a:pt x="975" y="131"/>
                </a:lnTo>
                <a:lnTo>
                  <a:pt x="981" y="131"/>
                </a:lnTo>
                <a:lnTo>
                  <a:pt x="988" y="133"/>
                </a:lnTo>
                <a:lnTo>
                  <a:pt x="992" y="135"/>
                </a:lnTo>
                <a:lnTo>
                  <a:pt x="994" y="139"/>
                </a:lnTo>
                <a:lnTo>
                  <a:pt x="994" y="146"/>
                </a:lnTo>
                <a:lnTo>
                  <a:pt x="994" y="156"/>
                </a:lnTo>
                <a:lnTo>
                  <a:pt x="994" y="156"/>
                </a:lnTo>
                <a:lnTo>
                  <a:pt x="992" y="159"/>
                </a:lnTo>
                <a:lnTo>
                  <a:pt x="994" y="161"/>
                </a:lnTo>
                <a:lnTo>
                  <a:pt x="994" y="161"/>
                </a:lnTo>
                <a:lnTo>
                  <a:pt x="1001" y="167"/>
                </a:lnTo>
                <a:lnTo>
                  <a:pt x="1007" y="170"/>
                </a:lnTo>
                <a:lnTo>
                  <a:pt x="1021" y="176"/>
                </a:lnTo>
                <a:lnTo>
                  <a:pt x="1034" y="181"/>
                </a:lnTo>
                <a:lnTo>
                  <a:pt x="1042" y="185"/>
                </a:lnTo>
                <a:lnTo>
                  <a:pt x="1047" y="193"/>
                </a:lnTo>
                <a:lnTo>
                  <a:pt x="1047" y="193"/>
                </a:lnTo>
                <a:lnTo>
                  <a:pt x="1051" y="198"/>
                </a:lnTo>
                <a:lnTo>
                  <a:pt x="1053" y="206"/>
                </a:lnTo>
                <a:lnTo>
                  <a:pt x="1055" y="226"/>
                </a:lnTo>
                <a:lnTo>
                  <a:pt x="1057" y="235"/>
                </a:lnTo>
                <a:lnTo>
                  <a:pt x="1060" y="243"/>
                </a:lnTo>
                <a:lnTo>
                  <a:pt x="1064" y="250"/>
                </a:lnTo>
                <a:lnTo>
                  <a:pt x="1070" y="254"/>
                </a:lnTo>
                <a:lnTo>
                  <a:pt x="1070" y="254"/>
                </a:lnTo>
                <a:lnTo>
                  <a:pt x="1071" y="254"/>
                </a:lnTo>
                <a:lnTo>
                  <a:pt x="1073" y="252"/>
                </a:lnTo>
                <a:lnTo>
                  <a:pt x="1073" y="246"/>
                </a:lnTo>
                <a:lnTo>
                  <a:pt x="1070" y="235"/>
                </a:lnTo>
                <a:lnTo>
                  <a:pt x="1070" y="235"/>
                </a:lnTo>
                <a:lnTo>
                  <a:pt x="1066" y="228"/>
                </a:lnTo>
                <a:lnTo>
                  <a:pt x="1064" y="219"/>
                </a:lnTo>
                <a:lnTo>
                  <a:pt x="1062" y="202"/>
                </a:lnTo>
                <a:lnTo>
                  <a:pt x="1062" y="194"/>
                </a:lnTo>
                <a:lnTo>
                  <a:pt x="1060" y="185"/>
                </a:lnTo>
                <a:lnTo>
                  <a:pt x="1055" y="176"/>
                </a:lnTo>
                <a:lnTo>
                  <a:pt x="1045" y="163"/>
                </a:lnTo>
                <a:lnTo>
                  <a:pt x="1045" y="163"/>
                </a:lnTo>
                <a:lnTo>
                  <a:pt x="1040" y="157"/>
                </a:lnTo>
                <a:lnTo>
                  <a:pt x="1034" y="152"/>
                </a:lnTo>
                <a:lnTo>
                  <a:pt x="1034" y="152"/>
                </a:lnTo>
                <a:lnTo>
                  <a:pt x="1034" y="152"/>
                </a:lnTo>
                <a:lnTo>
                  <a:pt x="1029" y="143"/>
                </a:lnTo>
                <a:lnTo>
                  <a:pt x="1025" y="135"/>
                </a:lnTo>
                <a:lnTo>
                  <a:pt x="1023" y="128"/>
                </a:lnTo>
                <a:lnTo>
                  <a:pt x="1023" y="122"/>
                </a:lnTo>
                <a:lnTo>
                  <a:pt x="1027" y="117"/>
                </a:lnTo>
                <a:lnTo>
                  <a:pt x="1029" y="113"/>
                </a:lnTo>
                <a:lnTo>
                  <a:pt x="1034" y="109"/>
                </a:lnTo>
                <a:lnTo>
                  <a:pt x="1040" y="107"/>
                </a:lnTo>
                <a:lnTo>
                  <a:pt x="1053" y="105"/>
                </a:lnTo>
                <a:lnTo>
                  <a:pt x="1070" y="105"/>
                </a:lnTo>
                <a:lnTo>
                  <a:pt x="1084" y="107"/>
                </a:lnTo>
                <a:lnTo>
                  <a:pt x="1096" y="111"/>
                </a:lnTo>
                <a:lnTo>
                  <a:pt x="1096" y="111"/>
                </a:lnTo>
                <a:lnTo>
                  <a:pt x="1103" y="115"/>
                </a:lnTo>
                <a:lnTo>
                  <a:pt x="1109" y="118"/>
                </a:lnTo>
                <a:lnTo>
                  <a:pt x="1121" y="131"/>
                </a:lnTo>
                <a:lnTo>
                  <a:pt x="1142" y="156"/>
                </a:lnTo>
                <a:lnTo>
                  <a:pt x="1142" y="156"/>
                </a:lnTo>
                <a:lnTo>
                  <a:pt x="1151" y="169"/>
                </a:lnTo>
                <a:lnTo>
                  <a:pt x="1157" y="178"/>
                </a:lnTo>
                <a:lnTo>
                  <a:pt x="1157" y="178"/>
                </a:lnTo>
                <a:lnTo>
                  <a:pt x="1159" y="167"/>
                </a:lnTo>
                <a:lnTo>
                  <a:pt x="1157" y="161"/>
                </a:lnTo>
                <a:lnTo>
                  <a:pt x="1157" y="159"/>
                </a:lnTo>
                <a:lnTo>
                  <a:pt x="1155" y="157"/>
                </a:lnTo>
                <a:lnTo>
                  <a:pt x="1155" y="157"/>
                </a:lnTo>
                <a:lnTo>
                  <a:pt x="1151" y="157"/>
                </a:lnTo>
                <a:lnTo>
                  <a:pt x="1149" y="156"/>
                </a:lnTo>
                <a:lnTo>
                  <a:pt x="1149" y="154"/>
                </a:lnTo>
                <a:lnTo>
                  <a:pt x="1149" y="154"/>
                </a:lnTo>
                <a:lnTo>
                  <a:pt x="1151" y="152"/>
                </a:lnTo>
                <a:lnTo>
                  <a:pt x="1155" y="152"/>
                </a:lnTo>
                <a:lnTo>
                  <a:pt x="1155" y="152"/>
                </a:lnTo>
                <a:lnTo>
                  <a:pt x="1162" y="152"/>
                </a:lnTo>
                <a:lnTo>
                  <a:pt x="1168" y="152"/>
                </a:lnTo>
                <a:lnTo>
                  <a:pt x="1173" y="156"/>
                </a:lnTo>
                <a:lnTo>
                  <a:pt x="1177" y="161"/>
                </a:lnTo>
                <a:lnTo>
                  <a:pt x="1177" y="161"/>
                </a:lnTo>
                <a:lnTo>
                  <a:pt x="1177" y="163"/>
                </a:lnTo>
                <a:lnTo>
                  <a:pt x="1177" y="165"/>
                </a:lnTo>
                <a:lnTo>
                  <a:pt x="1179" y="165"/>
                </a:lnTo>
                <a:lnTo>
                  <a:pt x="1179" y="165"/>
                </a:lnTo>
                <a:lnTo>
                  <a:pt x="1185" y="157"/>
                </a:lnTo>
                <a:lnTo>
                  <a:pt x="1188" y="146"/>
                </a:lnTo>
                <a:lnTo>
                  <a:pt x="1196" y="122"/>
                </a:lnTo>
                <a:lnTo>
                  <a:pt x="1199" y="111"/>
                </a:lnTo>
                <a:lnTo>
                  <a:pt x="1205" y="102"/>
                </a:lnTo>
                <a:lnTo>
                  <a:pt x="1212" y="94"/>
                </a:lnTo>
                <a:lnTo>
                  <a:pt x="1218" y="93"/>
                </a:lnTo>
                <a:lnTo>
                  <a:pt x="1223" y="93"/>
                </a:lnTo>
                <a:lnTo>
                  <a:pt x="1223" y="93"/>
                </a:lnTo>
                <a:lnTo>
                  <a:pt x="1236" y="93"/>
                </a:lnTo>
                <a:lnTo>
                  <a:pt x="1242" y="93"/>
                </a:lnTo>
                <a:lnTo>
                  <a:pt x="1246" y="96"/>
                </a:lnTo>
                <a:lnTo>
                  <a:pt x="1249" y="100"/>
                </a:lnTo>
                <a:lnTo>
                  <a:pt x="1251" y="107"/>
                </a:lnTo>
                <a:lnTo>
                  <a:pt x="1255" y="113"/>
                </a:lnTo>
                <a:lnTo>
                  <a:pt x="1257" y="115"/>
                </a:lnTo>
                <a:lnTo>
                  <a:pt x="1261" y="117"/>
                </a:lnTo>
                <a:lnTo>
                  <a:pt x="1274" y="117"/>
                </a:lnTo>
                <a:lnTo>
                  <a:pt x="1292" y="115"/>
                </a:lnTo>
                <a:lnTo>
                  <a:pt x="1292" y="115"/>
                </a:lnTo>
                <a:lnTo>
                  <a:pt x="1296" y="117"/>
                </a:lnTo>
                <a:lnTo>
                  <a:pt x="1303" y="122"/>
                </a:lnTo>
                <a:lnTo>
                  <a:pt x="1309" y="126"/>
                </a:lnTo>
                <a:lnTo>
                  <a:pt x="1312" y="128"/>
                </a:lnTo>
                <a:lnTo>
                  <a:pt x="1314" y="126"/>
                </a:lnTo>
                <a:lnTo>
                  <a:pt x="1314" y="126"/>
                </a:lnTo>
                <a:lnTo>
                  <a:pt x="1312" y="122"/>
                </a:lnTo>
                <a:lnTo>
                  <a:pt x="1311" y="118"/>
                </a:lnTo>
                <a:lnTo>
                  <a:pt x="1311" y="118"/>
                </a:lnTo>
                <a:lnTo>
                  <a:pt x="1305" y="113"/>
                </a:lnTo>
                <a:lnTo>
                  <a:pt x="1303" y="111"/>
                </a:lnTo>
                <a:lnTo>
                  <a:pt x="1305" y="109"/>
                </a:lnTo>
                <a:lnTo>
                  <a:pt x="1309" y="104"/>
                </a:lnTo>
                <a:lnTo>
                  <a:pt x="1318" y="100"/>
                </a:lnTo>
                <a:lnTo>
                  <a:pt x="1318" y="100"/>
                </a:lnTo>
                <a:lnTo>
                  <a:pt x="1322" y="98"/>
                </a:lnTo>
                <a:lnTo>
                  <a:pt x="1327" y="100"/>
                </a:lnTo>
                <a:lnTo>
                  <a:pt x="1331" y="104"/>
                </a:lnTo>
                <a:lnTo>
                  <a:pt x="1335" y="109"/>
                </a:lnTo>
                <a:lnTo>
                  <a:pt x="1335" y="109"/>
                </a:lnTo>
                <a:lnTo>
                  <a:pt x="1337" y="109"/>
                </a:lnTo>
                <a:lnTo>
                  <a:pt x="1335" y="104"/>
                </a:lnTo>
                <a:lnTo>
                  <a:pt x="1335" y="96"/>
                </a:lnTo>
                <a:lnTo>
                  <a:pt x="1337" y="91"/>
                </a:lnTo>
                <a:lnTo>
                  <a:pt x="1340" y="87"/>
                </a:lnTo>
                <a:lnTo>
                  <a:pt x="1340" y="87"/>
                </a:lnTo>
                <a:lnTo>
                  <a:pt x="1342" y="81"/>
                </a:lnTo>
                <a:lnTo>
                  <a:pt x="1344" y="74"/>
                </a:lnTo>
                <a:lnTo>
                  <a:pt x="1344" y="74"/>
                </a:lnTo>
                <a:lnTo>
                  <a:pt x="1342" y="67"/>
                </a:lnTo>
                <a:lnTo>
                  <a:pt x="1338" y="59"/>
                </a:lnTo>
                <a:lnTo>
                  <a:pt x="1329" y="44"/>
                </a:lnTo>
                <a:lnTo>
                  <a:pt x="1320" y="29"/>
                </a:lnTo>
                <a:lnTo>
                  <a:pt x="1316" y="22"/>
                </a:lnTo>
                <a:lnTo>
                  <a:pt x="1316" y="16"/>
                </a:lnTo>
                <a:lnTo>
                  <a:pt x="1316" y="16"/>
                </a:lnTo>
                <a:lnTo>
                  <a:pt x="1320" y="11"/>
                </a:lnTo>
                <a:lnTo>
                  <a:pt x="1325" y="9"/>
                </a:lnTo>
                <a:lnTo>
                  <a:pt x="1333" y="7"/>
                </a:lnTo>
                <a:lnTo>
                  <a:pt x="1340" y="9"/>
                </a:lnTo>
                <a:lnTo>
                  <a:pt x="1355" y="15"/>
                </a:lnTo>
                <a:lnTo>
                  <a:pt x="1362" y="16"/>
                </a:lnTo>
                <a:lnTo>
                  <a:pt x="1362" y="16"/>
                </a:lnTo>
                <a:lnTo>
                  <a:pt x="1374" y="11"/>
                </a:lnTo>
                <a:lnTo>
                  <a:pt x="1392" y="4"/>
                </a:lnTo>
                <a:lnTo>
                  <a:pt x="1403" y="0"/>
                </a:lnTo>
                <a:lnTo>
                  <a:pt x="1414" y="0"/>
                </a:lnTo>
                <a:lnTo>
                  <a:pt x="1418" y="2"/>
                </a:lnTo>
                <a:lnTo>
                  <a:pt x="1424" y="5"/>
                </a:lnTo>
                <a:lnTo>
                  <a:pt x="1427" y="9"/>
                </a:lnTo>
                <a:lnTo>
                  <a:pt x="1429" y="15"/>
                </a:lnTo>
                <a:lnTo>
                  <a:pt x="1429" y="15"/>
                </a:lnTo>
                <a:lnTo>
                  <a:pt x="1431" y="18"/>
                </a:lnTo>
                <a:lnTo>
                  <a:pt x="1431" y="22"/>
                </a:lnTo>
                <a:lnTo>
                  <a:pt x="1429" y="29"/>
                </a:lnTo>
                <a:lnTo>
                  <a:pt x="1429" y="31"/>
                </a:lnTo>
                <a:lnTo>
                  <a:pt x="1431" y="35"/>
                </a:lnTo>
                <a:lnTo>
                  <a:pt x="1437" y="37"/>
                </a:lnTo>
                <a:lnTo>
                  <a:pt x="1448" y="37"/>
                </a:lnTo>
                <a:lnTo>
                  <a:pt x="1448" y="37"/>
                </a:lnTo>
                <a:lnTo>
                  <a:pt x="1459" y="39"/>
                </a:lnTo>
                <a:lnTo>
                  <a:pt x="1463" y="41"/>
                </a:lnTo>
                <a:lnTo>
                  <a:pt x="1463" y="44"/>
                </a:lnTo>
                <a:lnTo>
                  <a:pt x="1463" y="44"/>
                </a:lnTo>
                <a:lnTo>
                  <a:pt x="1461" y="59"/>
                </a:lnTo>
                <a:lnTo>
                  <a:pt x="1457" y="70"/>
                </a:lnTo>
                <a:lnTo>
                  <a:pt x="1455" y="76"/>
                </a:lnTo>
                <a:lnTo>
                  <a:pt x="1455" y="81"/>
                </a:lnTo>
                <a:lnTo>
                  <a:pt x="1459" y="85"/>
                </a:lnTo>
                <a:lnTo>
                  <a:pt x="1463" y="89"/>
                </a:lnTo>
                <a:lnTo>
                  <a:pt x="1463" y="89"/>
                </a:lnTo>
                <a:lnTo>
                  <a:pt x="1468" y="89"/>
                </a:lnTo>
                <a:lnTo>
                  <a:pt x="1474" y="89"/>
                </a:lnTo>
                <a:lnTo>
                  <a:pt x="1479" y="87"/>
                </a:lnTo>
                <a:lnTo>
                  <a:pt x="1483" y="87"/>
                </a:lnTo>
                <a:lnTo>
                  <a:pt x="1483" y="87"/>
                </a:lnTo>
                <a:lnTo>
                  <a:pt x="1489" y="91"/>
                </a:lnTo>
                <a:lnTo>
                  <a:pt x="1494" y="96"/>
                </a:lnTo>
                <a:lnTo>
                  <a:pt x="1502" y="102"/>
                </a:lnTo>
                <a:lnTo>
                  <a:pt x="1509" y="107"/>
                </a:lnTo>
                <a:lnTo>
                  <a:pt x="1509" y="107"/>
                </a:lnTo>
                <a:lnTo>
                  <a:pt x="1516" y="109"/>
                </a:lnTo>
                <a:lnTo>
                  <a:pt x="1520" y="109"/>
                </a:lnTo>
                <a:lnTo>
                  <a:pt x="1522" y="104"/>
                </a:lnTo>
                <a:lnTo>
                  <a:pt x="1520" y="98"/>
                </a:lnTo>
                <a:lnTo>
                  <a:pt x="1520" y="87"/>
                </a:lnTo>
                <a:lnTo>
                  <a:pt x="1520" y="81"/>
                </a:lnTo>
                <a:lnTo>
                  <a:pt x="1524" y="78"/>
                </a:lnTo>
                <a:lnTo>
                  <a:pt x="1524" y="78"/>
                </a:lnTo>
                <a:lnTo>
                  <a:pt x="1542" y="72"/>
                </a:lnTo>
                <a:lnTo>
                  <a:pt x="1555" y="68"/>
                </a:lnTo>
                <a:lnTo>
                  <a:pt x="1566" y="63"/>
                </a:lnTo>
                <a:lnTo>
                  <a:pt x="1581" y="50"/>
                </a:lnTo>
                <a:lnTo>
                  <a:pt x="1581" y="50"/>
                </a:lnTo>
                <a:lnTo>
                  <a:pt x="1585" y="48"/>
                </a:lnTo>
                <a:lnTo>
                  <a:pt x="1594" y="46"/>
                </a:lnTo>
                <a:lnTo>
                  <a:pt x="1616" y="44"/>
                </a:lnTo>
                <a:lnTo>
                  <a:pt x="1639" y="42"/>
                </a:lnTo>
                <a:lnTo>
                  <a:pt x="1646" y="42"/>
                </a:lnTo>
                <a:lnTo>
                  <a:pt x="1650" y="44"/>
                </a:lnTo>
                <a:lnTo>
                  <a:pt x="1650" y="44"/>
                </a:lnTo>
                <a:lnTo>
                  <a:pt x="1644" y="46"/>
                </a:lnTo>
                <a:lnTo>
                  <a:pt x="1631" y="52"/>
                </a:lnTo>
                <a:lnTo>
                  <a:pt x="1609" y="61"/>
                </a:lnTo>
                <a:lnTo>
                  <a:pt x="1609" y="61"/>
                </a:lnTo>
                <a:lnTo>
                  <a:pt x="1590" y="68"/>
                </a:lnTo>
                <a:lnTo>
                  <a:pt x="1579" y="72"/>
                </a:lnTo>
                <a:lnTo>
                  <a:pt x="1576" y="76"/>
                </a:lnTo>
                <a:lnTo>
                  <a:pt x="1576" y="76"/>
                </a:lnTo>
                <a:lnTo>
                  <a:pt x="1576" y="76"/>
                </a:lnTo>
                <a:lnTo>
                  <a:pt x="1579" y="80"/>
                </a:lnTo>
                <a:lnTo>
                  <a:pt x="1583" y="83"/>
                </a:lnTo>
                <a:lnTo>
                  <a:pt x="1587" y="87"/>
                </a:lnTo>
                <a:lnTo>
                  <a:pt x="1589" y="91"/>
                </a:lnTo>
                <a:lnTo>
                  <a:pt x="1589" y="91"/>
                </a:lnTo>
                <a:lnTo>
                  <a:pt x="1589" y="96"/>
                </a:lnTo>
                <a:lnTo>
                  <a:pt x="1585" y="100"/>
                </a:lnTo>
                <a:lnTo>
                  <a:pt x="1585" y="100"/>
                </a:lnTo>
                <a:lnTo>
                  <a:pt x="1578" y="105"/>
                </a:lnTo>
                <a:lnTo>
                  <a:pt x="1565" y="111"/>
                </a:lnTo>
                <a:lnTo>
                  <a:pt x="1552" y="117"/>
                </a:lnTo>
                <a:lnTo>
                  <a:pt x="1550" y="120"/>
                </a:lnTo>
                <a:lnTo>
                  <a:pt x="1548" y="122"/>
                </a:lnTo>
                <a:lnTo>
                  <a:pt x="1548" y="122"/>
                </a:lnTo>
                <a:lnTo>
                  <a:pt x="1553" y="128"/>
                </a:lnTo>
                <a:lnTo>
                  <a:pt x="1557" y="131"/>
                </a:lnTo>
                <a:lnTo>
                  <a:pt x="1570" y="137"/>
                </a:lnTo>
                <a:lnTo>
                  <a:pt x="1583" y="139"/>
                </a:lnTo>
                <a:lnTo>
                  <a:pt x="1596" y="139"/>
                </a:lnTo>
                <a:lnTo>
                  <a:pt x="1620" y="137"/>
                </a:lnTo>
                <a:lnTo>
                  <a:pt x="1628" y="137"/>
                </a:lnTo>
                <a:lnTo>
                  <a:pt x="1633" y="141"/>
                </a:lnTo>
                <a:lnTo>
                  <a:pt x="1633" y="141"/>
                </a:lnTo>
                <a:lnTo>
                  <a:pt x="1639" y="148"/>
                </a:lnTo>
                <a:lnTo>
                  <a:pt x="1641" y="154"/>
                </a:lnTo>
                <a:lnTo>
                  <a:pt x="1642" y="161"/>
                </a:lnTo>
                <a:lnTo>
                  <a:pt x="1642" y="167"/>
                </a:lnTo>
                <a:lnTo>
                  <a:pt x="1641" y="170"/>
                </a:lnTo>
                <a:lnTo>
                  <a:pt x="1639" y="176"/>
                </a:lnTo>
                <a:lnTo>
                  <a:pt x="1633" y="183"/>
                </a:lnTo>
                <a:lnTo>
                  <a:pt x="1615" y="198"/>
                </a:lnTo>
                <a:lnTo>
                  <a:pt x="1607" y="206"/>
                </a:lnTo>
                <a:lnTo>
                  <a:pt x="1600" y="215"/>
                </a:lnTo>
                <a:lnTo>
                  <a:pt x="1600" y="215"/>
                </a:lnTo>
                <a:lnTo>
                  <a:pt x="1600" y="217"/>
                </a:lnTo>
                <a:lnTo>
                  <a:pt x="1602" y="217"/>
                </a:lnTo>
                <a:lnTo>
                  <a:pt x="1605" y="215"/>
                </a:lnTo>
                <a:lnTo>
                  <a:pt x="1611" y="213"/>
                </a:lnTo>
                <a:lnTo>
                  <a:pt x="1613" y="213"/>
                </a:lnTo>
                <a:lnTo>
                  <a:pt x="1613" y="215"/>
                </a:lnTo>
                <a:lnTo>
                  <a:pt x="1613" y="215"/>
                </a:lnTo>
                <a:lnTo>
                  <a:pt x="1613" y="219"/>
                </a:lnTo>
                <a:lnTo>
                  <a:pt x="1609" y="220"/>
                </a:lnTo>
                <a:lnTo>
                  <a:pt x="1607" y="224"/>
                </a:lnTo>
                <a:lnTo>
                  <a:pt x="1607" y="228"/>
                </a:lnTo>
                <a:lnTo>
                  <a:pt x="1607" y="228"/>
                </a:lnTo>
                <a:lnTo>
                  <a:pt x="1609" y="230"/>
                </a:lnTo>
                <a:lnTo>
                  <a:pt x="1611" y="230"/>
                </a:lnTo>
                <a:lnTo>
                  <a:pt x="1620" y="230"/>
                </a:lnTo>
                <a:lnTo>
                  <a:pt x="1646" y="220"/>
                </a:lnTo>
                <a:lnTo>
                  <a:pt x="1672" y="213"/>
                </a:lnTo>
                <a:lnTo>
                  <a:pt x="1681" y="211"/>
                </a:lnTo>
                <a:lnTo>
                  <a:pt x="1685" y="211"/>
                </a:lnTo>
                <a:lnTo>
                  <a:pt x="1687" y="213"/>
                </a:lnTo>
                <a:lnTo>
                  <a:pt x="1687" y="213"/>
                </a:lnTo>
                <a:lnTo>
                  <a:pt x="1687" y="215"/>
                </a:lnTo>
                <a:lnTo>
                  <a:pt x="1687" y="219"/>
                </a:lnTo>
                <a:lnTo>
                  <a:pt x="1683" y="222"/>
                </a:lnTo>
                <a:lnTo>
                  <a:pt x="1679" y="228"/>
                </a:lnTo>
                <a:lnTo>
                  <a:pt x="1678" y="230"/>
                </a:lnTo>
                <a:lnTo>
                  <a:pt x="1678" y="233"/>
                </a:lnTo>
                <a:lnTo>
                  <a:pt x="1678" y="233"/>
                </a:lnTo>
                <a:lnTo>
                  <a:pt x="1678" y="235"/>
                </a:lnTo>
                <a:lnTo>
                  <a:pt x="1681" y="237"/>
                </a:lnTo>
                <a:lnTo>
                  <a:pt x="1689" y="241"/>
                </a:lnTo>
                <a:lnTo>
                  <a:pt x="1694" y="243"/>
                </a:lnTo>
                <a:lnTo>
                  <a:pt x="1694" y="243"/>
                </a:lnTo>
                <a:lnTo>
                  <a:pt x="1694" y="245"/>
                </a:lnTo>
                <a:lnTo>
                  <a:pt x="1694" y="245"/>
                </a:lnTo>
                <a:lnTo>
                  <a:pt x="1685" y="250"/>
                </a:lnTo>
                <a:lnTo>
                  <a:pt x="1676" y="258"/>
                </a:lnTo>
                <a:lnTo>
                  <a:pt x="1676" y="258"/>
                </a:lnTo>
                <a:lnTo>
                  <a:pt x="1666" y="270"/>
                </a:lnTo>
                <a:lnTo>
                  <a:pt x="1655" y="282"/>
                </a:lnTo>
                <a:lnTo>
                  <a:pt x="1655" y="282"/>
                </a:lnTo>
                <a:lnTo>
                  <a:pt x="1650" y="291"/>
                </a:lnTo>
                <a:lnTo>
                  <a:pt x="1648" y="295"/>
                </a:lnTo>
                <a:lnTo>
                  <a:pt x="1648" y="295"/>
                </a:lnTo>
                <a:lnTo>
                  <a:pt x="1650" y="295"/>
                </a:lnTo>
                <a:lnTo>
                  <a:pt x="1650" y="295"/>
                </a:lnTo>
                <a:lnTo>
                  <a:pt x="1655" y="293"/>
                </a:lnTo>
                <a:lnTo>
                  <a:pt x="1661" y="289"/>
                </a:lnTo>
                <a:lnTo>
                  <a:pt x="1672" y="278"/>
                </a:lnTo>
                <a:lnTo>
                  <a:pt x="1685" y="265"/>
                </a:lnTo>
                <a:lnTo>
                  <a:pt x="1694" y="256"/>
                </a:lnTo>
                <a:lnTo>
                  <a:pt x="1694" y="256"/>
                </a:lnTo>
                <a:lnTo>
                  <a:pt x="1698" y="254"/>
                </a:lnTo>
                <a:lnTo>
                  <a:pt x="1700" y="254"/>
                </a:lnTo>
                <a:lnTo>
                  <a:pt x="1704" y="256"/>
                </a:lnTo>
                <a:lnTo>
                  <a:pt x="1704" y="256"/>
                </a:lnTo>
                <a:lnTo>
                  <a:pt x="1707" y="258"/>
                </a:lnTo>
                <a:lnTo>
                  <a:pt x="1707" y="256"/>
                </a:lnTo>
                <a:lnTo>
                  <a:pt x="1705" y="252"/>
                </a:lnTo>
                <a:lnTo>
                  <a:pt x="1705" y="252"/>
                </a:lnTo>
                <a:lnTo>
                  <a:pt x="1707" y="250"/>
                </a:lnTo>
                <a:lnTo>
                  <a:pt x="1709" y="252"/>
                </a:lnTo>
                <a:lnTo>
                  <a:pt x="1717" y="256"/>
                </a:lnTo>
                <a:lnTo>
                  <a:pt x="1717" y="256"/>
                </a:lnTo>
                <a:lnTo>
                  <a:pt x="1730" y="263"/>
                </a:lnTo>
                <a:lnTo>
                  <a:pt x="1737" y="265"/>
                </a:lnTo>
                <a:lnTo>
                  <a:pt x="1744" y="267"/>
                </a:lnTo>
                <a:lnTo>
                  <a:pt x="1744" y="267"/>
                </a:lnTo>
                <a:lnTo>
                  <a:pt x="1755" y="265"/>
                </a:lnTo>
                <a:lnTo>
                  <a:pt x="1761" y="267"/>
                </a:lnTo>
                <a:lnTo>
                  <a:pt x="1765" y="269"/>
                </a:lnTo>
                <a:lnTo>
                  <a:pt x="1767" y="272"/>
                </a:lnTo>
                <a:lnTo>
                  <a:pt x="1768" y="282"/>
                </a:lnTo>
                <a:lnTo>
                  <a:pt x="1770" y="285"/>
                </a:lnTo>
                <a:lnTo>
                  <a:pt x="1776" y="287"/>
                </a:lnTo>
                <a:lnTo>
                  <a:pt x="1776" y="287"/>
                </a:lnTo>
                <a:lnTo>
                  <a:pt x="1783" y="285"/>
                </a:lnTo>
                <a:lnTo>
                  <a:pt x="1793" y="283"/>
                </a:lnTo>
                <a:lnTo>
                  <a:pt x="1798" y="282"/>
                </a:lnTo>
                <a:lnTo>
                  <a:pt x="1804" y="283"/>
                </a:lnTo>
                <a:lnTo>
                  <a:pt x="1806" y="287"/>
                </a:lnTo>
                <a:lnTo>
                  <a:pt x="1807" y="293"/>
                </a:lnTo>
                <a:lnTo>
                  <a:pt x="1807" y="293"/>
                </a:lnTo>
                <a:lnTo>
                  <a:pt x="1806" y="304"/>
                </a:lnTo>
                <a:lnTo>
                  <a:pt x="1802" y="311"/>
                </a:lnTo>
                <a:lnTo>
                  <a:pt x="1796" y="319"/>
                </a:lnTo>
                <a:lnTo>
                  <a:pt x="1791" y="324"/>
                </a:lnTo>
                <a:lnTo>
                  <a:pt x="1780" y="332"/>
                </a:lnTo>
                <a:lnTo>
                  <a:pt x="1778" y="334"/>
                </a:lnTo>
                <a:lnTo>
                  <a:pt x="1778" y="334"/>
                </a:lnTo>
                <a:lnTo>
                  <a:pt x="1778" y="334"/>
                </a:lnTo>
                <a:lnTo>
                  <a:pt x="1785" y="337"/>
                </a:lnTo>
                <a:lnTo>
                  <a:pt x="1787" y="339"/>
                </a:lnTo>
                <a:lnTo>
                  <a:pt x="1785" y="343"/>
                </a:lnTo>
                <a:lnTo>
                  <a:pt x="1785" y="343"/>
                </a:lnTo>
                <a:lnTo>
                  <a:pt x="1776" y="345"/>
                </a:lnTo>
                <a:lnTo>
                  <a:pt x="1761" y="348"/>
                </a:lnTo>
                <a:lnTo>
                  <a:pt x="1748" y="354"/>
                </a:lnTo>
                <a:lnTo>
                  <a:pt x="1742" y="356"/>
                </a:lnTo>
                <a:lnTo>
                  <a:pt x="1742" y="359"/>
                </a:lnTo>
                <a:lnTo>
                  <a:pt x="1742" y="359"/>
                </a:lnTo>
                <a:lnTo>
                  <a:pt x="1744" y="359"/>
                </a:lnTo>
                <a:lnTo>
                  <a:pt x="1748" y="358"/>
                </a:lnTo>
                <a:lnTo>
                  <a:pt x="1754" y="356"/>
                </a:lnTo>
                <a:lnTo>
                  <a:pt x="1754" y="356"/>
                </a:lnTo>
                <a:lnTo>
                  <a:pt x="1767" y="354"/>
                </a:lnTo>
                <a:lnTo>
                  <a:pt x="1780" y="352"/>
                </a:lnTo>
                <a:lnTo>
                  <a:pt x="1793" y="350"/>
                </a:lnTo>
                <a:lnTo>
                  <a:pt x="1798" y="352"/>
                </a:lnTo>
                <a:lnTo>
                  <a:pt x="1804" y="354"/>
                </a:lnTo>
                <a:lnTo>
                  <a:pt x="1804" y="354"/>
                </a:lnTo>
                <a:lnTo>
                  <a:pt x="1811" y="356"/>
                </a:lnTo>
                <a:lnTo>
                  <a:pt x="1813" y="359"/>
                </a:lnTo>
                <a:lnTo>
                  <a:pt x="1815" y="361"/>
                </a:lnTo>
                <a:lnTo>
                  <a:pt x="1815" y="361"/>
                </a:lnTo>
                <a:lnTo>
                  <a:pt x="1813" y="365"/>
                </a:lnTo>
                <a:lnTo>
                  <a:pt x="1809" y="369"/>
                </a:lnTo>
                <a:lnTo>
                  <a:pt x="1806" y="372"/>
                </a:lnTo>
                <a:lnTo>
                  <a:pt x="1802" y="374"/>
                </a:lnTo>
                <a:lnTo>
                  <a:pt x="1791" y="374"/>
                </a:lnTo>
                <a:lnTo>
                  <a:pt x="1778" y="374"/>
                </a:lnTo>
                <a:lnTo>
                  <a:pt x="1754" y="374"/>
                </a:lnTo>
                <a:lnTo>
                  <a:pt x="1742" y="376"/>
                </a:lnTo>
                <a:lnTo>
                  <a:pt x="1739" y="378"/>
                </a:lnTo>
                <a:lnTo>
                  <a:pt x="1737" y="380"/>
                </a:lnTo>
                <a:lnTo>
                  <a:pt x="1737" y="380"/>
                </a:lnTo>
                <a:lnTo>
                  <a:pt x="1737" y="382"/>
                </a:lnTo>
                <a:lnTo>
                  <a:pt x="1739" y="382"/>
                </a:lnTo>
                <a:lnTo>
                  <a:pt x="1744" y="382"/>
                </a:lnTo>
                <a:lnTo>
                  <a:pt x="1754" y="382"/>
                </a:lnTo>
                <a:lnTo>
                  <a:pt x="1754" y="382"/>
                </a:lnTo>
                <a:lnTo>
                  <a:pt x="1781" y="382"/>
                </a:lnTo>
                <a:lnTo>
                  <a:pt x="1798" y="382"/>
                </a:lnTo>
                <a:lnTo>
                  <a:pt x="1806" y="384"/>
                </a:lnTo>
                <a:lnTo>
                  <a:pt x="1806" y="384"/>
                </a:lnTo>
                <a:lnTo>
                  <a:pt x="1806" y="387"/>
                </a:lnTo>
                <a:lnTo>
                  <a:pt x="1804" y="389"/>
                </a:lnTo>
                <a:lnTo>
                  <a:pt x="1794" y="391"/>
                </a:lnTo>
                <a:lnTo>
                  <a:pt x="1787" y="393"/>
                </a:lnTo>
                <a:lnTo>
                  <a:pt x="1785" y="395"/>
                </a:lnTo>
                <a:lnTo>
                  <a:pt x="1785" y="397"/>
                </a:lnTo>
                <a:lnTo>
                  <a:pt x="1785" y="397"/>
                </a:lnTo>
                <a:lnTo>
                  <a:pt x="1789" y="398"/>
                </a:lnTo>
                <a:lnTo>
                  <a:pt x="1793" y="400"/>
                </a:lnTo>
                <a:lnTo>
                  <a:pt x="1800" y="400"/>
                </a:lnTo>
                <a:lnTo>
                  <a:pt x="1807" y="398"/>
                </a:lnTo>
                <a:lnTo>
                  <a:pt x="1815" y="397"/>
                </a:lnTo>
                <a:lnTo>
                  <a:pt x="1820" y="395"/>
                </a:lnTo>
                <a:lnTo>
                  <a:pt x="1824" y="397"/>
                </a:lnTo>
                <a:lnTo>
                  <a:pt x="1826" y="402"/>
                </a:lnTo>
                <a:lnTo>
                  <a:pt x="1826" y="413"/>
                </a:lnTo>
                <a:lnTo>
                  <a:pt x="1826" y="413"/>
                </a:lnTo>
                <a:lnTo>
                  <a:pt x="1824" y="419"/>
                </a:lnTo>
                <a:lnTo>
                  <a:pt x="1818" y="423"/>
                </a:lnTo>
                <a:lnTo>
                  <a:pt x="1809" y="424"/>
                </a:lnTo>
                <a:lnTo>
                  <a:pt x="1809" y="424"/>
                </a:lnTo>
                <a:lnTo>
                  <a:pt x="1806" y="428"/>
                </a:lnTo>
                <a:lnTo>
                  <a:pt x="1806" y="432"/>
                </a:lnTo>
                <a:lnTo>
                  <a:pt x="1806" y="435"/>
                </a:lnTo>
                <a:lnTo>
                  <a:pt x="1804" y="437"/>
                </a:lnTo>
                <a:lnTo>
                  <a:pt x="1804" y="437"/>
                </a:lnTo>
                <a:lnTo>
                  <a:pt x="1794" y="441"/>
                </a:lnTo>
                <a:lnTo>
                  <a:pt x="1785" y="439"/>
                </a:lnTo>
                <a:lnTo>
                  <a:pt x="1778" y="435"/>
                </a:lnTo>
                <a:lnTo>
                  <a:pt x="1770" y="430"/>
                </a:lnTo>
                <a:lnTo>
                  <a:pt x="1755" y="419"/>
                </a:lnTo>
                <a:lnTo>
                  <a:pt x="1746" y="415"/>
                </a:lnTo>
                <a:lnTo>
                  <a:pt x="1739" y="413"/>
                </a:lnTo>
                <a:lnTo>
                  <a:pt x="1739" y="413"/>
                </a:lnTo>
                <a:lnTo>
                  <a:pt x="1737" y="413"/>
                </a:lnTo>
                <a:lnTo>
                  <a:pt x="1737" y="415"/>
                </a:lnTo>
                <a:lnTo>
                  <a:pt x="1741" y="417"/>
                </a:lnTo>
                <a:lnTo>
                  <a:pt x="1741" y="417"/>
                </a:lnTo>
                <a:lnTo>
                  <a:pt x="1744" y="421"/>
                </a:lnTo>
                <a:lnTo>
                  <a:pt x="1742" y="423"/>
                </a:lnTo>
                <a:lnTo>
                  <a:pt x="1733" y="423"/>
                </a:lnTo>
                <a:lnTo>
                  <a:pt x="1733" y="423"/>
                </a:lnTo>
                <a:lnTo>
                  <a:pt x="1717" y="423"/>
                </a:lnTo>
                <a:lnTo>
                  <a:pt x="1717" y="423"/>
                </a:lnTo>
                <a:lnTo>
                  <a:pt x="1709" y="424"/>
                </a:lnTo>
                <a:lnTo>
                  <a:pt x="1705" y="426"/>
                </a:lnTo>
                <a:lnTo>
                  <a:pt x="1704" y="426"/>
                </a:lnTo>
                <a:lnTo>
                  <a:pt x="1704" y="426"/>
                </a:lnTo>
                <a:lnTo>
                  <a:pt x="1705" y="428"/>
                </a:lnTo>
                <a:lnTo>
                  <a:pt x="1711" y="430"/>
                </a:lnTo>
                <a:lnTo>
                  <a:pt x="1718" y="430"/>
                </a:lnTo>
                <a:lnTo>
                  <a:pt x="1718" y="430"/>
                </a:lnTo>
                <a:lnTo>
                  <a:pt x="1735" y="432"/>
                </a:lnTo>
                <a:lnTo>
                  <a:pt x="1759" y="437"/>
                </a:lnTo>
                <a:lnTo>
                  <a:pt x="1772" y="441"/>
                </a:lnTo>
                <a:lnTo>
                  <a:pt x="1781" y="445"/>
                </a:lnTo>
                <a:lnTo>
                  <a:pt x="1789" y="450"/>
                </a:lnTo>
                <a:lnTo>
                  <a:pt x="1791" y="454"/>
                </a:lnTo>
                <a:lnTo>
                  <a:pt x="1793" y="456"/>
                </a:lnTo>
                <a:lnTo>
                  <a:pt x="1793" y="456"/>
                </a:lnTo>
                <a:lnTo>
                  <a:pt x="1793" y="458"/>
                </a:lnTo>
                <a:lnTo>
                  <a:pt x="1791" y="458"/>
                </a:lnTo>
                <a:lnTo>
                  <a:pt x="1785" y="460"/>
                </a:lnTo>
                <a:lnTo>
                  <a:pt x="1765" y="458"/>
                </a:lnTo>
                <a:lnTo>
                  <a:pt x="1746" y="454"/>
                </a:lnTo>
                <a:lnTo>
                  <a:pt x="1735" y="454"/>
                </a:lnTo>
                <a:lnTo>
                  <a:pt x="1735" y="454"/>
                </a:lnTo>
                <a:lnTo>
                  <a:pt x="1733" y="454"/>
                </a:lnTo>
                <a:lnTo>
                  <a:pt x="1735" y="456"/>
                </a:lnTo>
                <a:lnTo>
                  <a:pt x="1739" y="458"/>
                </a:lnTo>
                <a:lnTo>
                  <a:pt x="1746" y="461"/>
                </a:lnTo>
                <a:lnTo>
                  <a:pt x="1746" y="461"/>
                </a:lnTo>
                <a:lnTo>
                  <a:pt x="1765" y="463"/>
                </a:lnTo>
                <a:lnTo>
                  <a:pt x="1774" y="465"/>
                </a:lnTo>
                <a:lnTo>
                  <a:pt x="1778" y="469"/>
                </a:lnTo>
                <a:lnTo>
                  <a:pt x="1781" y="473"/>
                </a:lnTo>
                <a:lnTo>
                  <a:pt x="1781" y="473"/>
                </a:lnTo>
                <a:lnTo>
                  <a:pt x="1781" y="478"/>
                </a:lnTo>
                <a:lnTo>
                  <a:pt x="1780" y="480"/>
                </a:lnTo>
                <a:lnTo>
                  <a:pt x="1774" y="482"/>
                </a:lnTo>
                <a:lnTo>
                  <a:pt x="1768" y="482"/>
                </a:lnTo>
                <a:lnTo>
                  <a:pt x="1755" y="480"/>
                </a:lnTo>
                <a:lnTo>
                  <a:pt x="1750" y="480"/>
                </a:lnTo>
                <a:lnTo>
                  <a:pt x="1750" y="480"/>
                </a:lnTo>
                <a:lnTo>
                  <a:pt x="1750" y="482"/>
                </a:lnTo>
                <a:lnTo>
                  <a:pt x="1752" y="482"/>
                </a:lnTo>
                <a:lnTo>
                  <a:pt x="1759" y="486"/>
                </a:lnTo>
                <a:lnTo>
                  <a:pt x="1767" y="487"/>
                </a:lnTo>
                <a:lnTo>
                  <a:pt x="1770" y="489"/>
                </a:lnTo>
                <a:lnTo>
                  <a:pt x="1770" y="491"/>
                </a:lnTo>
                <a:lnTo>
                  <a:pt x="1770" y="491"/>
                </a:lnTo>
                <a:lnTo>
                  <a:pt x="1767" y="493"/>
                </a:lnTo>
                <a:lnTo>
                  <a:pt x="1767" y="493"/>
                </a:lnTo>
                <a:lnTo>
                  <a:pt x="1761" y="491"/>
                </a:lnTo>
                <a:lnTo>
                  <a:pt x="1755" y="493"/>
                </a:lnTo>
                <a:lnTo>
                  <a:pt x="1742" y="500"/>
                </a:lnTo>
                <a:lnTo>
                  <a:pt x="1728" y="510"/>
                </a:lnTo>
                <a:lnTo>
                  <a:pt x="1718" y="515"/>
                </a:lnTo>
                <a:lnTo>
                  <a:pt x="1707" y="521"/>
                </a:lnTo>
                <a:lnTo>
                  <a:pt x="1707" y="521"/>
                </a:lnTo>
                <a:lnTo>
                  <a:pt x="1704" y="521"/>
                </a:lnTo>
                <a:lnTo>
                  <a:pt x="1704" y="521"/>
                </a:lnTo>
                <a:lnTo>
                  <a:pt x="1694" y="517"/>
                </a:lnTo>
                <a:lnTo>
                  <a:pt x="1689" y="511"/>
                </a:lnTo>
                <a:lnTo>
                  <a:pt x="1678" y="499"/>
                </a:lnTo>
                <a:lnTo>
                  <a:pt x="1678" y="499"/>
                </a:lnTo>
                <a:lnTo>
                  <a:pt x="1674" y="495"/>
                </a:lnTo>
                <a:lnTo>
                  <a:pt x="1665" y="491"/>
                </a:lnTo>
                <a:lnTo>
                  <a:pt x="1659" y="491"/>
                </a:lnTo>
                <a:lnTo>
                  <a:pt x="1657" y="491"/>
                </a:lnTo>
                <a:lnTo>
                  <a:pt x="1657" y="491"/>
                </a:lnTo>
                <a:lnTo>
                  <a:pt x="1657" y="491"/>
                </a:lnTo>
                <a:lnTo>
                  <a:pt x="1679" y="511"/>
                </a:lnTo>
                <a:lnTo>
                  <a:pt x="1692" y="524"/>
                </a:lnTo>
                <a:lnTo>
                  <a:pt x="1696" y="530"/>
                </a:lnTo>
                <a:lnTo>
                  <a:pt x="1698" y="534"/>
                </a:lnTo>
                <a:lnTo>
                  <a:pt x="1698" y="534"/>
                </a:lnTo>
                <a:lnTo>
                  <a:pt x="1696" y="536"/>
                </a:lnTo>
                <a:lnTo>
                  <a:pt x="1692" y="536"/>
                </a:lnTo>
                <a:lnTo>
                  <a:pt x="1683" y="534"/>
                </a:lnTo>
                <a:lnTo>
                  <a:pt x="1672" y="530"/>
                </a:lnTo>
                <a:lnTo>
                  <a:pt x="1666" y="528"/>
                </a:lnTo>
                <a:lnTo>
                  <a:pt x="1663" y="530"/>
                </a:lnTo>
                <a:lnTo>
                  <a:pt x="1663" y="530"/>
                </a:lnTo>
                <a:lnTo>
                  <a:pt x="1663" y="532"/>
                </a:lnTo>
                <a:lnTo>
                  <a:pt x="1663" y="534"/>
                </a:lnTo>
                <a:lnTo>
                  <a:pt x="1663" y="534"/>
                </a:lnTo>
                <a:lnTo>
                  <a:pt x="1672" y="543"/>
                </a:lnTo>
                <a:lnTo>
                  <a:pt x="1672" y="547"/>
                </a:lnTo>
                <a:lnTo>
                  <a:pt x="1672" y="549"/>
                </a:lnTo>
                <a:lnTo>
                  <a:pt x="1670" y="549"/>
                </a:lnTo>
                <a:lnTo>
                  <a:pt x="1665" y="547"/>
                </a:lnTo>
                <a:lnTo>
                  <a:pt x="1665" y="547"/>
                </a:lnTo>
                <a:lnTo>
                  <a:pt x="1659" y="547"/>
                </a:lnTo>
                <a:lnTo>
                  <a:pt x="1652" y="549"/>
                </a:lnTo>
                <a:lnTo>
                  <a:pt x="1648" y="549"/>
                </a:lnTo>
                <a:lnTo>
                  <a:pt x="1646" y="550"/>
                </a:lnTo>
                <a:lnTo>
                  <a:pt x="1646" y="554"/>
                </a:lnTo>
                <a:lnTo>
                  <a:pt x="1648" y="556"/>
                </a:lnTo>
                <a:lnTo>
                  <a:pt x="1648" y="556"/>
                </a:lnTo>
                <a:lnTo>
                  <a:pt x="1657" y="562"/>
                </a:lnTo>
                <a:lnTo>
                  <a:pt x="1661" y="562"/>
                </a:lnTo>
                <a:lnTo>
                  <a:pt x="1665" y="562"/>
                </a:lnTo>
                <a:lnTo>
                  <a:pt x="1672" y="556"/>
                </a:lnTo>
                <a:lnTo>
                  <a:pt x="1681" y="550"/>
                </a:lnTo>
                <a:lnTo>
                  <a:pt x="1681" y="550"/>
                </a:lnTo>
                <a:lnTo>
                  <a:pt x="1683" y="550"/>
                </a:lnTo>
                <a:lnTo>
                  <a:pt x="1685" y="550"/>
                </a:lnTo>
                <a:lnTo>
                  <a:pt x="1685" y="550"/>
                </a:lnTo>
                <a:lnTo>
                  <a:pt x="1685" y="550"/>
                </a:lnTo>
                <a:lnTo>
                  <a:pt x="1683" y="554"/>
                </a:lnTo>
                <a:lnTo>
                  <a:pt x="1679" y="560"/>
                </a:lnTo>
                <a:lnTo>
                  <a:pt x="1670" y="567"/>
                </a:lnTo>
                <a:lnTo>
                  <a:pt x="1670" y="567"/>
                </a:lnTo>
                <a:close/>
                <a:moveTo>
                  <a:pt x="1390" y="287"/>
                </a:moveTo>
                <a:lnTo>
                  <a:pt x="1390" y="287"/>
                </a:lnTo>
                <a:lnTo>
                  <a:pt x="1392" y="282"/>
                </a:lnTo>
                <a:lnTo>
                  <a:pt x="1392" y="276"/>
                </a:lnTo>
                <a:lnTo>
                  <a:pt x="1390" y="270"/>
                </a:lnTo>
                <a:lnTo>
                  <a:pt x="1388" y="265"/>
                </a:lnTo>
                <a:lnTo>
                  <a:pt x="1381" y="256"/>
                </a:lnTo>
                <a:lnTo>
                  <a:pt x="1372" y="248"/>
                </a:lnTo>
                <a:lnTo>
                  <a:pt x="1372" y="248"/>
                </a:lnTo>
                <a:lnTo>
                  <a:pt x="1372" y="248"/>
                </a:lnTo>
                <a:lnTo>
                  <a:pt x="1366" y="243"/>
                </a:lnTo>
                <a:lnTo>
                  <a:pt x="1362" y="237"/>
                </a:lnTo>
                <a:lnTo>
                  <a:pt x="1359" y="224"/>
                </a:lnTo>
                <a:lnTo>
                  <a:pt x="1355" y="213"/>
                </a:lnTo>
                <a:lnTo>
                  <a:pt x="1353" y="209"/>
                </a:lnTo>
                <a:lnTo>
                  <a:pt x="1350" y="206"/>
                </a:lnTo>
                <a:lnTo>
                  <a:pt x="1350" y="206"/>
                </a:lnTo>
                <a:lnTo>
                  <a:pt x="1348" y="206"/>
                </a:lnTo>
                <a:lnTo>
                  <a:pt x="1348" y="207"/>
                </a:lnTo>
                <a:lnTo>
                  <a:pt x="1348" y="213"/>
                </a:lnTo>
                <a:lnTo>
                  <a:pt x="1350" y="220"/>
                </a:lnTo>
                <a:lnTo>
                  <a:pt x="1350" y="220"/>
                </a:lnTo>
                <a:lnTo>
                  <a:pt x="1348" y="230"/>
                </a:lnTo>
                <a:lnTo>
                  <a:pt x="1346" y="235"/>
                </a:lnTo>
                <a:lnTo>
                  <a:pt x="1348" y="239"/>
                </a:lnTo>
                <a:lnTo>
                  <a:pt x="1348" y="239"/>
                </a:lnTo>
                <a:lnTo>
                  <a:pt x="1350" y="245"/>
                </a:lnTo>
                <a:lnTo>
                  <a:pt x="1355" y="248"/>
                </a:lnTo>
                <a:lnTo>
                  <a:pt x="1366" y="256"/>
                </a:lnTo>
                <a:lnTo>
                  <a:pt x="1377" y="263"/>
                </a:lnTo>
                <a:lnTo>
                  <a:pt x="1385" y="269"/>
                </a:lnTo>
                <a:lnTo>
                  <a:pt x="1385" y="269"/>
                </a:lnTo>
                <a:lnTo>
                  <a:pt x="1385" y="272"/>
                </a:lnTo>
                <a:lnTo>
                  <a:pt x="1385" y="280"/>
                </a:lnTo>
                <a:lnTo>
                  <a:pt x="1385" y="287"/>
                </a:lnTo>
                <a:lnTo>
                  <a:pt x="1387" y="291"/>
                </a:lnTo>
                <a:lnTo>
                  <a:pt x="1388" y="293"/>
                </a:lnTo>
                <a:lnTo>
                  <a:pt x="1388" y="293"/>
                </a:lnTo>
                <a:lnTo>
                  <a:pt x="1390" y="293"/>
                </a:lnTo>
                <a:lnTo>
                  <a:pt x="1390" y="293"/>
                </a:lnTo>
                <a:lnTo>
                  <a:pt x="1390" y="287"/>
                </a:lnTo>
                <a:lnTo>
                  <a:pt x="1390" y="287"/>
                </a:lnTo>
                <a:close/>
                <a:moveTo>
                  <a:pt x="1678" y="334"/>
                </a:moveTo>
                <a:lnTo>
                  <a:pt x="1678" y="334"/>
                </a:lnTo>
                <a:lnTo>
                  <a:pt x="1678" y="334"/>
                </a:lnTo>
                <a:lnTo>
                  <a:pt x="1676" y="335"/>
                </a:lnTo>
                <a:lnTo>
                  <a:pt x="1676" y="337"/>
                </a:lnTo>
                <a:lnTo>
                  <a:pt x="1674" y="346"/>
                </a:lnTo>
                <a:lnTo>
                  <a:pt x="1672" y="354"/>
                </a:lnTo>
                <a:lnTo>
                  <a:pt x="1670" y="358"/>
                </a:lnTo>
                <a:lnTo>
                  <a:pt x="1668" y="361"/>
                </a:lnTo>
                <a:lnTo>
                  <a:pt x="1668" y="361"/>
                </a:lnTo>
                <a:lnTo>
                  <a:pt x="1661" y="365"/>
                </a:lnTo>
                <a:lnTo>
                  <a:pt x="1654" y="371"/>
                </a:lnTo>
                <a:lnTo>
                  <a:pt x="1642" y="382"/>
                </a:lnTo>
                <a:lnTo>
                  <a:pt x="1642" y="382"/>
                </a:lnTo>
                <a:lnTo>
                  <a:pt x="1618" y="397"/>
                </a:lnTo>
                <a:lnTo>
                  <a:pt x="1618" y="397"/>
                </a:lnTo>
                <a:lnTo>
                  <a:pt x="1611" y="404"/>
                </a:lnTo>
                <a:lnTo>
                  <a:pt x="1611" y="406"/>
                </a:lnTo>
                <a:lnTo>
                  <a:pt x="1613" y="404"/>
                </a:lnTo>
                <a:lnTo>
                  <a:pt x="1624" y="400"/>
                </a:lnTo>
                <a:lnTo>
                  <a:pt x="1639" y="391"/>
                </a:lnTo>
                <a:lnTo>
                  <a:pt x="1655" y="378"/>
                </a:lnTo>
                <a:lnTo>
                  <a:pt x="1670" y="363"/>
                </a:lnTo>
                <a:lnTo>
                  <a:pt x="1674" y="356"/>
                </a:lnTo>
                <a:lnTo>
                  <a:pt x="1678" y="348"/>
                </a:lnTo>
                <a:lnTo>
                  <a:pt x="1679" y="341"/>
                </a:lnTo>
                <a:lnTo>
                  <a:pt x="1678" y="334"/>
                </a:lnTo>
                <a:lnTo>
                  <a:pt x="1678" y="334"/>
                </a:lnTo>
                <a:close/>
              </a:path>
            </a:pathLst>
          </a:custGeom>
          <a:solidFill>
            <a:schemeClr val="accent3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Denmark Text"/>
          <p:cNvSpPr txBox="1"/>
          <p:nvPr/>
        </p:nvSpPr>
        <p:spPr>
          <a:xfrm>
            <a:off x="6951757" y="6300514"/>
            <a:ext cx="5021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006EB6"/>
                </a:solidFill>
              </a:rPr>
              <a:t>Denmark</a:t>
            </a:r>
          </a:p>
        </p:txBody>
      </p:sp>
      <p:sp>
        <p:nvSpPr>
          <p:cNvPr id="17" name="Finland Text"/>
          <p:cNvSpPr txBox="1"/>
          <p:nvPr/>
        </p:nvSpPr>
        <p:spPr>
          <a:xfrm>
            <a:off x="9395451" y="1490970"/>
            <a:ext cx="4041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rgbClr val="006EB6"/>
                </a:solidFill>
              </a:rPr>
              <a:t>Finland</a:t>
            </a:r>
          </a:p>
        </p:txBody>
      </p:sp>
      <p:sp>
        <p:nvSpPr>
          <p:cNvPr id="18" name="Sweden Text"/>
          <p:cNvSpPr txBox="1"/>
          <p:nvPr/>
        </p:nvSpPr>
        <p:spPr>
          <a:xfrm>
            <a:off x="7923002" y="4135144"/>
            <a:ext cx="43737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006EB6"/>
                </a:solidFill>
              </a:rPr>
              <a:t>Sweden</a:t>
            </a:r>
          </a:p>
        </p:txBody>
      </p:sp>
      <p:sp>
        <p:nvSpPr>
          <p:cNvPr id="19" name="Norway Text"/>
          <p:cNvSpPr txBox="1"/>
          <p:nvPr/>
        </p:nvSpPr>
        <p:spPr>
          <a:xfrm>
            <a:off x="6835114" y="4395685"/>
            <a:ext cx="42863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006EB6"/>
                </a:solidFill>
              </a:rPr>
              <a:t>Norway</a:t>
            </a:r>
          </a:p>
        </p:txBody>
      </p:sp>
      <p:sp>
        <p:nvSpPr>
          <p:cNvPr id="20" name="Iceland Text"/>
          <p:cNvSpPr txBox="1"/>
          <p:nvPr/>
        </p:nvSpPr>
        <p:spPr>
          <a:xfrm>
            <a:off x="2541418" y="4563309"/>
            <a:ext cx="39189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rgbClr val="006EB6"/>
                </a:solidFill>
              </a:rPr>
              <a:t>Iceland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9137721" y="6964656"/>
            <a:ext cx="2355779" cy="1767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>
          <a:xfrm>
            <a:off x="3395663" y="6356350"/>
            <a:ext cx="5400675" cy="2225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950" kern="1200">
                <a:solidFill>
                  <a:srgbClr val="006EB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>
              <a:noFill/>
            </a:endParaRPr>
          </a:p>
        </p:txBody>
      </p:sp>
      <p:grpSp>
        <p:nvGrpSpPr>
          <p:cNvPr id="23" name="Greenland"/>
          <p:cNvGrpSpPr/>
          <p:nvPr/>
        </p:nvGrpSpPr>
        <p:grpSpPr>
          <a:xfrm>
            <a:off x="-585190" y="-350005"/>
            <a:ext cx="3236080" cy="4498713"/>
            <a:chOff x="-585190" y="-350005"/>
            <a:chExt cx="3236080" cy="4498713"/>
          </a:xfrm>
        </p:grpSpPr>
        <p:sp>
          <p:nvSpPr>
            <p:cNvPr id="190" name="Freeform 10"/>
            <p:cNvSpPr>
              <a:spLocks/>
            </p:cNvSpPr>
            <p:nvPr/>
          </p:nvSpPr>
          <p:spPr bwMode="auto">
            <a:xfrm rot="1181657">
              <a:off x="1599678" y="2376697"/>
              <a:ext cx="289129" cy="250343"/>
            </a:xfrm>
            <a:custGeom>
              <a:avLst/>
              <a:gdLst>
                <a:gd name="T0" fmla="*/ 72 w 82"/>
                <a:gd name="T1" fmla="*/ 10 h 71"/>
                <a:gd name="T2" fmla="*/ 82 w 82"/>
                <a:gd name="T3" fmla="*/ 35 h 71"/>
                <a:gd name="T4" fmla="*/ 67 w 82"/>
                <a:gd name="T5" fmla="*/ 45 h 71"/>
                <a:gd name="T6" fmla="*/ 62 w 82"/>
                <a:gd name="T7" fmla="*/ 61 h 71"/>
                <a:gd name="T8" fmla="*/ 46 w 82"/>
                <a:gd name="T9" fmla="*/ 50 h 71"/>
                <a:gd name="T10" fmla="*/ 16 w 82"/>
                <a:gd name="T11" fmla="*/ 71 h 71"/>
                <a:gd name="T12" fmla="*/ 0 w 82"/>
                <a:gd name="T13" fmla="*/ 71 h 71"/>
                <a:gd name="T14" fmla="*/ 5 w 82"/>
                <a:gd name="T15" fmla="*/ 25 h 71"/>
                <a:gd name="T16" fmla="*/ 16 w 82"/>
                <a:gd name="T17" fmla="*/ 30 h 71"/>
                <a:gd name="T18" fmla="*/ 36 w 82"/>
                <a:gd name="T19" fmla="*/ 25 h 71"/>
                <a:gd name="T20" fmla="*/ 57 w 82"/>
                <a:gd name="T21" fmla="*/ 0 h 71"/>
                <a:gd name="T22" fmla="*/ 72 w 82"/>
                <a:gd name="T23" fmla="*/ 1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71">
                  <a:moveTo>
                    <a:pt x="72" y="10"/>
                  </a:moveTo>
                  <a:lnTo>
                    <a:pt x="82" y="35"/>
                  </a:lnTo>
                  <a:lnTo>
                    <a:pt x="67" y="45"/>
                  </a:lnTo>
                  <a:lnTo>
                    <a:pt x="62" y="61"/>
                  </a:lnTo>
                  <a:lnTo>
                    <a:pt x="46" y="50"/>
                  </a:lnTo>
                  <a:lnTo>
                    <a:pt x="16" y="71"/>
                  </a:lnTo>
                  <a:lnTo>
                    <a:pt x="0" y="71"/>
                  </a:lnTo>
                  <a:lnTo>
                    <a:pt x="5" y="25"/>
                  </a:lnTo>
                  <a:lnTo>
                    <a:pt x="16" y="30"/>
                  </a:lnTo>
                  <a:lnTo>
                    <a:pt x="36" y="25"/>
                  </a:lnTo>
                  <a:lnTo>
                    <a:pt x="57" y="0"/>
                  </a:lnTo>
                  <a:lnTo>
                    <a:pt x="72" y="10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3" name="Freeform 13"/>
            <p:cNvSpPr>
              <a:spLocks/>
            </p:cNvSpPr>
            <p:nvPr/>
          </p:nvSpPr>
          <p:spPr bwMode="auto">
            <a:xfrm rot="1181657">
              <a:off x="2488696" y="844945"/>
              <a:ext cx="162194" cy="141039"/>
            </a:xfrm>
            <a:custGeom>
              <a:avLst/>
              <a:gdLst>
                <a:gd name="T0" fmla="*/ 15 w 46"/>
                <a:gd name="T1" fmla="*/ 0 h 40"/>
                <a:gd name="T2" fmla="*/ 30 w 46"/>
                <a:gd name="T3" fmla="*/ 20 h 40"/>
                <a:gd name="T4" fmla="*/ 46 w 46"/>
                <a:gd name="T5" fmla="*/ 25 h 40"/>
                <a:gd name="T6" fmla="*/ 41 w 46"/>
                <a:gd name="T7" fmla="*/ 35 h 40"/>
                <a:gd name="T8" fmla="*/ 10 w 46"/>
                <a:gd name="T9" fmla="*/ 40 h 40"/>
                <a:gd name="T10" fmla="*/ 0 w 46"/>
                <a:gd name="T11" fmla="*/ 15 h 40"/>
                <a:gd name="T12" fmla="*/ 15 w 46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40">
                  <a:moveTo>
                    <a:pt x="15" y="0"/>
                  </a:moveTo>
                  <a:lnTo>
                    <a:pt x="30" y="20"/>
                  </a:lnTo>
                  <a:lnTo>
                    <a:pt x="46" y="25"/>
                  </a:lnTo>
                  <a:lnTo>
                    <a:pt x="41" y="35"/>
                  </a:lnTo>
                  <a:lnTo>
                    <a:pt x="10" y="40"/>
                  </a:lnTo>
                  <a:lnTo>
                    <a:pt x="0" y="15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4" name="Freeform 14"/>
            <p:cNvSpPr>
              <a:spLocks/>
            </p:cNvSpPr>
            <p:nvPr/>
          </p:nvSpPr>
          <p:spPr bwMode="auto">
            <a:xfrm rot="1181657">
              <a:off x="2389766" y="439986"/>
              <a:ext cx="126935" cy="197454"/>
            </a:xfrm>
            <a:custGeom>
              <a:avLst/>
              <a:gdLst>
                <a:gd name="T0" fmla="*/ 36 w 36"/>
                <a:gd name="T1" fmla="*/ 56 h 56"/>
                <a:gd name="T2" fmla="*/ 0 w 36"/>
                <a:gd name="T3" fmla="*/ 0 h 56"/>
                <a:gd name="T4" fmla="*/ 11 w 36"/>
                <a:gd name="T5" fmla="*/ 5 h 56"/>
                <a:gd name="T6" fmla="*/ 36 w 36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56">
                  <a:moveTo>
                    <a:pt x="36" y="56"/>
                  </a:moveTo>
                  <a:lnTo>
                    <a:pt x="0" y="0"/>
                  </a:lnTo>
                  <a:lnTo>
                    <a:pt x="11" y="5"/>
                  </a:lnTo>
                  <a:lnTo>
                    <a:pt x="36" y="56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noFill/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6" name="Freeform 16"/>
            <p:cNvSpPr>
              <a:spLocks/>
            </p:cNvSpPr>
            <p:nvPr/>
          </p:nvSpPr>
          <p:spPr bwMode="auto">
            <a:xfrm rot="1181657">
              <a:off x="2483496" y="854"/>
              <a:ext cx="35260" cy="88149"/>
            </a:xfrm>
            <a:custGeom>
              <a:avLst/>
              <a:gdLst>
                <a:gd name="T0" fmla="*/ 5 w 10"/>
                <a:gd name="T1" fmla="*/ 25 h 25"/>
                <a:gd name="T2" fmla="*/ 0 w 10"/>
                <a:gd name="T3" fmla="*/ 0 h 25"/>
                <a:gd name="T4" fmla="*/ 10 w 10"/>
                <a:gd name="T5" fmla="*/ 15 h 25"/>
                <a:gd name="T6" fmla="*/ 5 w 10"/>
                <a:gd name="T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5">
                  <a:moveTo>
                    <a:pt x="5" y="25"/>
                  </a:moveTo>
                  <a:lnTo>
                    <a:pt x="0" y="0"/>
                  </a:lnTo>
                  <a:lnTo>
                    <a:pt x="10" y="15"/>
                  </a:lnTo>
                  <a:lnTo>
                    <a:pt x="5" y="25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noFill/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auto">
            <a:xfrm rot="1181657">
              <a:off x="-585190" y="-350005"/>
              <a:ext cx="3047209" cy="4498713"/>
            </a:xfrm>
            <a:custGeom>
              <a:avLst/>
              <a:gdLst>
                <a:gd name="connsiteX0" fmla="*/ 0 w 3047209"/>
                <a:gd name="connsiteY0" fmla="*/ 777356 h 4498713"/>
                <a:gd name="connsiteX1" fmla="*/ 2171754 w 3047209"/>
                <a:gd name="connsiteY1" fmla="*/ 0 h 4498713"/>
                <a:gd name="connsiteX2" fmla="*/ 2186636 w 3047209"/>
                <a:gd name="connsiteY2" fmla="*/ 122046 h 4498713"/>
                <a:gd name="connsiteX3" fmla="*/ 2225117 w 3047209"/>
                <a:gd name="connsiteY3" fmla="*/ 157031 h 4498713"/>
                <a:gd name="connsiteX4" fmla="*/ 2242608 w 3047209"/>
                <a:gd name="connsiteY4" fmla="*/ 48577 h 4498713"/>
                <a:gd name="connsiteX5" fmla="*/ 2330065 w 3047209"/>
                <a:gd name="connsiteY5" fmla="*/ 66069 h 4498713"/>
                <a:gd name="connsiteX6" fmla="*/ 2386037 w 3047209"/>
                <a:gd name="connsiteY6" fmla="*/ 122046 h 4498713"/>
                <a:gd name="connsiteX7" fmla="*/ 2312574 w 3047209"/>
                <a:gd name="connsiteY7" fmla="*/ 101055 h 4498713"/>
                <a:gd name="connsiteX8" fmla="*/ 2277591 w 3047209"/>
                <a:gd name="connsiteY8" fmla="*/ 139539 h 4498713"/>
                <a:gd name="connsiteX9" fmla="*/ 2312574 w 3047209"/>
                <a:gd name="connsiteY9" fmla="*/ 192017 h 4498713"/>
                <a:gd name="connsiteX10" fmla="*/ 2421020 w 3047209"/>
                <a:gd name="connsiteY10" fmla="*/ 227002 h 4498713"/>
                <a:gd name="connsiteX11" fmla="*/ 2473494 w 3047209"/>
                <a:gd name="connsiteY11" fmla="*/ 192016 h 4498713"/>
                <a:gd name="connsiteX12" fmla="*/ 2529466 w 3047209"/>
                <a:gd name="connsiteY12" fmla="*/ 261987 h 4498713"/>
                <a:gd name="connsiteX13" fmla="*/ 2546957 w 3047209"/>
                <a:gd name="connsiteY13" fmla="*/ 352949 h 4498713"/>
                <a:gd name="connsiteX14" fmla="*/ 2386037 w 3047209"/>
                <a:gd name="connsiteY14" fmla="*/ 352949 h 4498713"/>
                <a:gd name="connsiteX15" fmla="*/ 2330065 w 3047209"/>
                <a:gd name="connsiteY15" fmla="*/ 457905 h 4498713"/>
                <a:gd name="connsiteX16" fmla="*/ 2260100 w 3047209"/>
                <a:gd name="connsiteY16" fmla="*/ 440413 h 4498713"/>
                <a:gd name="connsiteX17" fmla="*/ 2242608 w 3047209"/>
                <a:gd name="connsiteY17" fmla="*/ 475398 h 4498713"/>
                <a:gd name="connsiteX18" fmla="*/ 2312574 w 3047209"/>
                <a:gd name="connsiteY18" fmla="*/ 510383 h 4498713"/>
                <a:gd name="connsiteX19" fmla="*/ 2386037 w 3047209"/>
                <a:gd name="connsiteY19" fmla="*/ 601345 h 4498713"/>
                <a:gd name="connsiteX20" fmla="*/ 2421020 w 3047209"/>
                <a:gd name="connsiteY20" fmla="*/ 566360 h 4498713"/>
                <a:gd name="connsiteX21" fmla="*/ 2456002 w 3047209"/>
                <a:gd name="connsiteY21" fmla="*/ 583852 h 4498713"/>
                <a:gd name="connsiteX22" fmla="*/ 2490985 w 3047209"/>
                <a:gd name="connsiteY22" fmla="*/ 566360 h 4498713"/>
                <a:gd name="connsiteX23" fmla="*/ 2529466 w 3047209"/>
                <a:gd name="connsiteY23" fmla="*/ 636331 h 4498713"/>
                <a:gd name="connsiteX24" fmla="*/ 2599431 w 3047209"/>
                <a:gd name="connsiteY24" fmla="*/ 688809 h 4498713"/>
                <a:gd name="connsiteX25" fmla="*/ 2669397 w 3047209"/>
                <a:gd name="connsiteY25" fmla="*/ 832248 h 4498713"/>
                <a:gd name="connsiteX26" fmla="*/ 2669397 w 3047209"/>
                <a:gd name="connsiteY26" fmla="*/ 902219 h 4498713"/>
                <a:gd name="connsiteX27" fmla="*/ 2581940 w 3047209"/>
                <a:gd name="connsiteY27" fmla="*/ 867234 h 4498713"/>
                <a:gd name="connsiteX28" fmla="*/ 2564449 w 3047209"/>
                <a:gd name="connsiteY28" fmla="*/ 937205 h 4498713"/>
                <a:gd name="connsiteX29" fmla="*/ 2508476 w 3047209"/>
                <a:gd name="connsiteY29" fmla="*/ 993181 h 4498713"/>
                <a:gd name="connsiteX30" fmla="*/ 2456002 w 3047209"/>
                <a:gd name="connsiteY30" fmla="*/ 993181 h 4498713"/>
                <a:gd name="connsiteX31" fmla="*/ 2529466 w 3047209"/>
                <a:gd name="connsiteY31" fmla="*/ 1010674 h 4498713"/>
                <a:gd name="connsiteX32" fmla="*/ 2564449 w 3047209"/>
                <a:gd name="connsiteY32" fmla="*/ 958196 h 4498713"/>
                <a:gd name="connsiteX33" fmla="*/ 2634414 w 3047209"/>
                <a:gd name="connsiteY33" fmla="*/ 1098137 h 4498713"/>
                <a:gd name="connsiteX34" fmla="*/ 2616923 w 3047209"/>
                <a:gd name="connsiteY34" fmla="*/ 975689 h 4498713"/>
                <a:gd name="connsiteX35" fmla="*/ 2651905 w 3047209"/>
                <a:gd name="connsiteY35" fmla="*/ 958196 h 4498713"/>
                <a:gd name="connsiteX36" fmla="*/ 2795334 w 3047209"/>
                <a:gd name="connsiteY36" fmla="*/ 1098137 h 4498713"/>
                <a:gd name="connsiteX37" fmla="*/ 2795334 w 3047209"/>
                <a:gd name="connsiteY37" fmla="*/ 1171606 h 4498713"/>
                <a:gd name="connsiteX38" fmla="*/ 2725369 w 3047209"/>
                <a:gd name="connsiteY38" fmla="*/ 1189099 h 4498713"/>
                <a:gd name="connsiteX39" fmla="*/ 2742860 w 3047209"/>
                <a:gd name="connsiteY39" fmla="*/ 1224084 h 4498713"/>
                <a:gd name="connsiteX40" fmla="*/ 2669397 w 3047209"/>
                <a:gd name="connsiteY40" fmla="*/ 1276562 h 4498713"/>
                <a:gd name="connsiteX41" fmla="*/ 2581940 w 3047209"/>
                <a:gd name="connsiteY41" fmla="*/ 1259070 h 4498713"/>
                <a:gd name="connsiteX42" fmla="*/ 2546957 w 3047209"/>
                <a:gd name="connsiteY42" fmla="*/ 1154114 h 4498713"/>
                <a:gd name="connsiteX43" fmla="*/ 2564449 w 3047209"/>
                <a:gd name="connsiteY43" fmla="*/ 1329040 h 4498713"/>
                <a:gd name="connsiteX44" fmla="*/ 2599431 w 3047209"/>
                <a:gd name="connsiteY44" fmla="*/ 1346533 h 4498713"/>
                <a:gd name="connsiteX45" fmla="*/ 2760351 w 3047209"/>
                <a:gd name="connsiteY45" fmla="*/ 1329040 h 4498713"/>
                <a:gd name="connsiteX46" fmla="*/ 2795334 w 3047209"/>
                <a:gd name="connsiteY46" fmla="*/ 1472480 h 4498713"/>
                <a:gd name="connsiteX47" fmla="*/ 2725369 w 3047209"/>
                <a:gd name="connsiteY47" fmla="*/ 1489973 h 4498713"/>
                <a:gd name="connsiteX48" fmla="*/ 2669397 w 3047209"/>
                <a:gd name="connsiteY48" fmla="*/ 1580935 h 4498713"/>
                <a:gd name="connsiteX49" fmla="*/ 2490985 w 3047209"/>
                <a:gd name="connsiteY49" fmla="*/ 1542451 h 4498713"/>
                <a:gd name="connsiteX50" fmla="*/ 2438511 w 3047209"/>
                <a:gd name="connsiteY50" fmla="*/ 1472480 h 4498713"/>
                <a:gd name="connsiteX51" fmla="*/ 2421020 w 3047209"/>
                <a:gd name="connsiteY51" fmla="*/ 1542451 h 4498713"/>
                <a:gd name="connsiteX52" fmla="*/ 2295082 w 3047209"/>
                <a:gd name="connsiteY52" fmla="*/ 1489973 h 4498713"/>
                <a:gd name="connsiteX53" fmla="*/ 2403528 w 3047209"/>
                <a:gd name="connsiteY53" fmla="*/ 1580935 h 4498713"/>
                <a:gd name="connsiteX54" fmla="*/ 2312574 w 3047209"/>
                <a:gd name="connsiteY54" fmla="*/ 1703384 h 4498713"/>
                <a:gd name="connsiteX55" fmla="*/ 2169145 w 3047209"/>
                <a:gd name="connsiteY55" fmla="*/ 1668398 h 4498713"/>
                <a:gd name="connsiteX56" fmla="*/ 2260100 w 3047209"/>
                <a:gd name="connsiteY56" fmla="*/ 1703384 h 4498713"/>
                <a:gd name="connsiteX57" fmla="*/ 2260100 w 3047209"/>
                <a:gd name="connsiteY57" fmla="*/ 1738369 h 4498713"/>
                <a:gd name="connsiteX58" fmla="*/ 2260098 w 3047209"/>
                <a:gd name="connsiteY58" fmla="*/ 1738370 h 4498713"/>
                <a:gd name="connsiteX59" fmla="*/ 2207626 w 3047209"/>
                <a:gd name="connsiteY59" fmla="*/ 1755862 h 4498713"/>
                <a:gd name="connsiteX60" fmla="*/ 2207626 w 3047209"/>
                <a:gd name="connsiteY60" fmla="*/ 1760571 h 4498713"/>
                <a:gd name="connsiteX61" fmla="*/ 2169145 w 3047209"/>
                <a:gd name="connsiteY61" fmla="*/ 1776853 h 4498713"/>
                <a:gd name="connsiteX62" fmla="*/ 2207626 w 3047209"/>
                <a:gd name="connsiteY62" fmla="*/ 1794345 h 4498713"/>
                <a:gd name="connsiteX63" fmla="*/ 2207626 w 3047209"/>
                <a:gd name="connsiteY63" fmla="*/ 1760571 h 4498713"/>
                <a:gd name="connsiteX64" fmla="*/ 2260098 w 3047209"/>
                <a:gd name="connsiteY64" fmla="*/ 1738370 h 4498713"/>
                <a:gd name="connsiteX65" fmla="*/ 2312574 w 3047209"/>
                <a:gd name="connsiteY65" fmla="*/ 1720876 h 4498713"/>
                <a:gd name="connsiteX66" fmla="*/ 2368546 w 3047209"/>
                <a:gd name="connsiteY66" fmla="*/ 1668398 h 4498713"/>
                <a:gd name="connsiteX67" fmla="*/ 2368546 w 3047209"/>
                <a:gd name="connsiteY67" fmla="*/ 1633413 h 4498713"/>
                <a:gd name="connsiteX68" fmla="*/ 2438511 w 3047209"/>
                <a:gd name="connsiteY68" fmla="*/ 1598428 h 4498713"/>
                <a:gd name="connsiteX69" fmla="*/ 2725369 w 3047209"/>
                <a:gd name="connsiteY69" fmla="*/ 1685891 h 4498713"/>
                <a:gd name="connsiteX70" fmla="*/ 2795334 w 3047209"/>
                <a:gd name="connsiteY70" fmla="*/ 1951780 h 4498713"/>
                <a:gd name="connsiteX71" fmla="*/ 2616923 w 3047209"/>
                <a:gd name="connsiteY71" fmla="*/ 1916794 h 4498713"/>
                <a:gd name="connsiteX72" fmla="*/ 2456002 w 3047209"/>
                <a:gd name="connsiteY72" fmla="*/ 1720876 h 4498713"/>
                <a:gd name="connsiteX73" fmla="*/ 2295082 w 3047209"/>
                <a:gd name="connsiteY73" fmla="*/ 1881809 h 4498713"/>
                <a:gd name="connsiteX74" fmla="*/ 2330065 w 3047209"/>
                <a:gd name="connsiteY74" fmla="*/ 1899302 h 4498713"/>
                <a:gd name="connsiteX75" fmla="*/ 2456002 w 3047209"/>
                <a:gd name="connsiteY75" fmla="*/ 1776853 h 4498713"/>
                <a:gd name="connsiteX76" fmla="*/ 2508476 w 3047209"/>
                <a:gd name="connsiteY76" fmla="*/ 1881809 h 4498713"/>
                <a:gd name="connsiteX77" fmla="*/ 2473494 w 3047209"/>
                <a:gd name="connsiteY77" fmla="*/ 1951780 h 4498713"/>
                <a:gd name="connsiteX78" fmla="*/ 2490985 w 3047209"/>
                <a:gd name="connsiteY78" fmla="*/ 1969272 h 4498713"/>
                <a:gd name="connsiteX79" fmla="*/ 2529466 w 3047209"/>
                <a:gd name="connsiteY79" fmla="*/ 1916794 h 4498713"/>
                <a:gd name="connsiteX80" fmla="*/ 2546957 w 3047209"/>
                <a:gd name="connsiteY80" fmla="*/ 1951780 h 4498713"/>
                <a:gd name="connsiteX81" fmla="*/ 2795334 w 3047209"/>
                <a:gd name="connsiteY81" fmla="*/ 2025249 h 4498713"/>
                <a:gd name="connsiteX82" fmla="*/ 2812826 w 3047209"/>
                <a:gd name="connsiteY82" fmla="*/ 2077727 h 4498713"/>
                <a:gd name="connsiteX83" fmla="*/ 2868798 w 3047209"/>
                <a:gd name="connsiteY83" fmla="*/ 2060234 h 4498713"/>
                <a:gd name="connsiteX84" fmla="*/ 2830317 w 3047209"/>
                <a:gd name="connsiteY84" fmla="*/ 2165190 h 4498713"/>
                <a:gd name="connsiteX85" fmla="*/ 2868798 w 3047209"/>
                <a:gd name="connsiteY85" fmla="*/ 2238659 h 4498713"/>
                <a:gd name="connsiteX86" fmla="*/ 2868798 w 3047209"/>
                <a:gd name="connsiteY86" fmla="*/ 2165190 h 4498713"/>
                <a:gd name="connsiteX87" fmla="*/ 2921272 w 3047209"/>
                <a:gd name="connsiteY87" fmla="*/ 2147698 h 4498713"/>
                <a:gd name="connsiteX88" fmla="*/ 3047209 w 3047209"/>
                <a:gd name="connsiteY88" fmla="*/ 2469563 h 4498713"/>
                <a:gd name="connsiteX89" fmla="*/ 2956254 w 3047209"/>
                <a:gd name="connsiteY89" fmla="*/ 2487055 h 4498713"/>
                <a:gd name="connsiteX90" fmla="*/ 2903780 w 3047209"/>
                <a:gd name="connsiteY90" fmla="*/ 2361108 h 4498713"/>
                <a:gd name="connsiteX91" fmla="*/ 2938763 w 3047209"/>
                <a:gd name="connsiteY91" fmla="*/ 2504548 h 4498713"/>
                <a:gd name="connsiteX92" fmla="*/ 2903780 w 3047209"/>
                <a:gd name="connsiteY92" fmla="*/ 2522041 h 4498713"/>
                <a:gd name="connsiteX93" fmla="*/ 2795334 w 3047209"/>
                <a:gd name="connsiteY93" fmla="*/ 2504548 h 4498713"/>
                <a:gd name="connsiteX94" fmla="*/ 2707877 w 3047209"/>
                <a:gd name="connsiteY94" fmla="*/ 2417085 h 4498713"/>
                <a:gd name="connsiteX95" fmla="*/ 2707877 w 3047209"/>
                <a:gd name="connsiteY95" fmla="*/ 2361108 h 4498713"/>
                <a:gd name="connsiteX96" fmla="*/ 2651905 w 3047209"/>
                <a:gd name="connsiteY96" fmla="*/ 2326123 h 4498713"/>
                <a:gd name="connsiteX97" fmla="*/ 2473494 w 3047209"/>
                <a:gd name="connsiteY97" fmla="*/ 2238659 h 4498713"/>
                <a:gd name="connsiteX98" fmla="*/ 2347556 w 3047209"/>
                <a:gd name="connsiteY98" fmla="*/ 2256152 h 4498713"/>
                <a:gd name="connsiteX99" fmla="*/ 2347556 w 3047209"/>
                <a:gd name="connsiteY99" fmla="*/ 2291137 h 4498713"/>
                <a:gd name="connsiteX100" fmla="*/ 2490985 w 3047209"/>
                <a:gd name="connsiteY100" fmla="*/ 2273645 h 4498713"/>
                <a:gd name="connsiteX101" fmla="*/ 2529466 w 3047209"/>
                <a:gd name="connsiteY101" fmla="*/ 2361108 h 4498713"/>
                <a:gd name="connsiteX102" fmla="*/ 2456002 w 3047209"/>
                <a:gd name="connsiteY102" fmla="*/ 2469563 h 4498713"/>
                <a:gd name="connsiteX103" fmla="*/ 2260100 w 3047209"/>
                <a:gd name="connsiteY103" fmla="*/ 2504548 h 4498713"/>
                <a:gd name="connsiteX104" fmla="*/ 2312574 w 3047209"/>
                <a:gd name="connsiteY104" fmla="*/ 2522041 h 4498713"/>
                <a:gd name="connsiteX105" fmla="*/ 2312574 w 3047209"/>
                <a:gd name="connsiteY105" fmla="*/ 2613003 h 4498713"/>
                <a:gd name="connsiteX106" fmla="*/ 2225117 w 3047209"/>
                <a:gd name="connsiteY106" fmla="*/ 2700466 h 4498713"/>
                <a:gd name="connsiteX107" fmla="*/ 2403528 w 3047209"/>
                <a:gd name="connsiteY107" fmla="*/ 2682974 h 4498713"/>
                <a:gd name="connsiteX108" fmla="*/ 2490985 w 3047209"/>
                <a:gd name="connsiteY108" fmla="*/ 2630495 h 4498713"/>
                <a:gd name="connsiteX109" fmla="*/ 2508476 w 3047209"/>
                <a:gd name="connsiteY109" fmla="*/ 2665481 h 4498713"/>
                <a:gd name="connsiteX110" fmla="*/ 2456002 w 3047209"/>
                <a:gd name="connsiteY110" fmla="*/ 2700466 h 4498713"/>
                <a:gd name="connsiteX111" fmla="*/ 2421020 w 3047209"/>
                <a:gd name="connsiteY111" fmla="*/ 2805422 h 4498713"/>
                <a:gd name="connsiteX112" fmla="*/ 2456002 w 3047209"/>
                <a:gd name="connsiteY112" fmla="*/ 2805422 h 4498713"/>
                <a:gd name="connsiteX113" fmla="*/ 2473494 w 3047209"/>
                <a:gd name="connsiteY113" fmla="*/ 2735452 h 4498713"/>
                <a:gd name="connsiteX114" fmla="*/ 2634414 w 3047209"/>
                <a:gd name="connsiteY114" fmla="*/ 2630495 h 4498713"/>
                <a:gd name="connsiteX115" fmla="*/ 2851306 w 3047209"/>
                <a:gd name="connsiteY115" fmla="*/ 2647988 h 4498713"/>
                <a:gd name="connsiteX116" fmla="*/ 3012227 w 3047209"/>
                <a:gd name="connsiteY116" fmla="*/ 2592012 h 4498713"/>
                <a:gd name="connsiteX117" fmla="*/ 3029718 w 3047209"/>
                <a:gd name="connsiteY117" fmla="*/ 2613003 h 4498713"/>
                <a:gd name="connsiteX118" fmla="*/ 2938763 w 3047209"/>
                <a:gd name="connsiteY118" fmla="*/ 2700466 h 4498713"/>
                <a:gd name="connsiteX119" fmla="*/ 2956254 w 3047209"/>
                <a:gd name="connsiteY119" fmla="*/ 2735452 h 4498713"/>
                <a:gd name="connsiteX120" fmla="*/ 2868798 w 3047209"/>
                <a:gd name="connsiteY120" fmla="*/ 2787930 h 4498713"/>
                <a:gd name="connsiteX121" fmla="*/ 2903780 w 3047209"/>
                <a:gd name="connsiteY121" fmla="*/ 2826413 h 4498713"/>
                <a:gd name="connsiteX122" fmla="*/ 2830317 w 3047209"/>
                <a:gd name="connsiteY122" fmla="*/ 2843906 h 4498713"/>
                <a:gd name="connsiteX123" fmla="*/ 2868798 w 3047209"/>
                <a:gd name="connsiteY123" fmla="*/ 2878891 h 4498713"/>
                <a:gd name="connsiteX124" fmla="*/ 2760351 w 3047209"/>
                <a:gd name="connsiteY124" fmla="*/ 2983848 h 4498713"/>
                <a:gd name="connsiteX125" fmla="*/ 2795334 w 3047209"/>
                <a:gd name="connsiteY125" fmla="*/ 3018833 h 4498713"/>
                <a:gd name="connsiteX126" fmla="*/ 2669397 w 3047209"/>
                <a:gd name="connsiteY126" fmla="*/ 3214751 h 4498713"/>
                <a:gd name="connsiteX127" fmla="*/ 2368546 w 3047209"/>
                <a:gd name="connsiteY127" fmla="*/ 3428161 h 4498713"/>
                <a:gd name="connsiteX128" fmla="*/ 2277591 w 3047209"/>
                <a:gd name="connsiteY128" fmla="*/ 3428161 h 4498713"/>
                <a:gd name="connsiteX129" fmla="*/ 2242608 w 3047209"/>
                <a:gd name="connsiteY129" fmla="*/ 3484138 h 4498713"/>
                <a:gd name="connsiteX130" fmla="*/ 2186636 w 3047209"/>
                <a:gd name="connsiteY130" fmla="*/ 3484138 h 4498713"/>
                <a:gd name="connsiteX131" fmla="*/ 2207626 w 3047209"/>
                <a:gd name="connsiteY131" fmla="*/ 3519123 h 4498713"/>
                <a:gd name="connsiteX132" fmla="*/ 2151654 w 3047209"/>
                <a:gd name="connsiteY132" fmla="*/ 3554109 h 4498713"/>
                <a:gd name="connsiteX133" fmla="*/ 1973242 w 3047209"/>
                <a:gd name="connsiteY133" fmla="*/ 3449153 h 4498713"/>
                <a:gd name="connsiteX134" fmla="*/ 2008225 w 3047209"/>
                <a:gd name="connsiteY134" fmla="*/ 3624079 h 4498713"/>
                <a:gd name="connsiteX135" fmla="*/ 1903277 w 3047209"/>
                <a:gd name="connsiteY135" fmla="*/ 3732534 h 4498713"/>
                <a:gd name="connsiteX136" fmla="*/ 1812322 w 3047209"/>
                <a:gd name="connsiteY136" fmla="*/ 4106877 h 4498713"/>
                <a:gd name="connsiteX137" fmla="*/ 1794830 w 3047209"/>
                <a:gd name="connsiteY137" fmla="*/ 4089385 h 4498713"/>
                <a:gd name="connsiteX138" fmla="*/ 1777339 w 3047209"/>
                <a:gd name="connsiteY138" fmla="*/ 4106877 h 4498713"/>
                <a:gd name="connsiteX139" fmla="*/ 1777339 w 3047209"/>
                <a:gd name="connsiteY139" fmla="*/ 4159355 h 4498713"/>
                <a:gd name="connsiteX140" fmla="*/ 1686384 w 3047209"/>
                <a:gd name="connsiteY140" fmla="*/ 4246819 h 4498713"/>
                <a:gd name="connsiteX141" fmla="*/ 1598928 w 3047209"/>
                <a:gd name="connsiteY141" fmla="*/ 4176848 h 4498713"/>
                <a:gd name="connsiteX142" fmla="*/ 1633910 w 3047209"/>
                <a:gd name="connsiteY142" fmla="*/ 4302795 h 4498713"/>
                <a:gd name="connsiteX143" fmla="*/ 1581436 w 3047209"/>
                <a:gd name="connsiteY143" fmla="*/ 4337781 h 4498713"/>
                <a:gd name="connsiteX144" fmla="*/ 1563945 w 3047209"/>
                <a:gd name="connsiteY144" fmla="*/ 4390259 h 4498713"/>
                <a:gd name="connsiteX145" fmla="*/ 1525464 w 3047209"/>
                <a:gd name="connsiteY145" fmla="*/ 4337781 h 4498713"/>
                <a:gd name="connsiteX146" fmla="*/ 1490481 w 3047209"/>
                <a:gd name="connsiteY146" fmla="*/ 4425244 h 4498713"/>
                <a:gd name="connsiteX147" fmla="*/ 1455499 w 3047209"/>
                <a:gd name="connsiteY147" fmla="*/ 4390259 h 4498713"/>
                <a:gd name="connsiteX148" fmla="*/ 1403025 w 3047209"/>
                <a:gd name="connsiteY148" fmla="*/ 4481221 h 4498713"/>
                <a:gd name="connsiteX149" fmla="*/ 1364544 w 3047209"/>
                <a:gd name="connsiteY149" fmla="*/ 4498713 h 4498713"/>
                <a:gd name="connsiteX150" fmla="*/ 1329561 w 3047209"/>
                <a:gd name="connsiteY150" fmla="*/ 4481221 h 4498713"/>
                <a:gd name="connsiteX151" fmla="*/ 1403025 w 3047209"/>
                <a:gd name="connsiteY151" fmla="*/ 4246819 h 4498713"/>
                <a:gd name="connsiteX152" fmla="*/ 1277087 w 3047209"/>
                <a:gd name="connsiteY152" fmla="*/ 4229326 h 4498713"/>
                <a:gd name="connsiteX153" fmla="*/ 1347052 w 3047209"/>
                <a:gd name="connsiteY153" fmla="*/ 4264311 h 4498713"/>
                <a:gd name="connsiteX154" fmla="*/ 1294578 w 3047209"/>
                <a:gd name="connsiteY154" fmla="*/ 4390259 h 4498713"/>
                <a:gd name="connsiteX155" fmla="*/ 1292768 w 3047209"/>
                <a:gd name="connsiteY155" fmla="*/ 4389052 h 4498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</a:cxnLst>
              <a:rect l="l" t="t" r="r" b="b"/>
              <a:pathLst>
                <a:path w="3047209" h="4498713">
                  <a:moveTo>
                    <a:pt x="0" y="777356"/>
                  </a:moveTo>
                  <a:lnTo>
                    <a:pt x="2171754" y="0"/>
                  </a:lnTo>
                  <a:lnTo>
                    <a:pt x="2186636" y="122046"/>
                  </a:lnTo>
                  <a:lnTo>
                    <a:pt x="2225117" y="157031"/>
                  </a:lnTo>
                  <a:lnTo>
                    <a:pt x="2242608" y="48577"/>
                  </a:lnTo>
                  <a:lnTo>
                    <a:pt x="2330065" y="66069"/>
                  </a:lnTo>
                  <a:lnTo>
                    <a:pt x="2386037" y="122046"/>
                  </a:lnTo>
                  <a:lnTo>
                    <a:pt x="2312574" y="101055"/>
                  </a:lnTo>
                  <a:lnTo>
                    <a:pt x="2277591" y="139539"/>
                  </a:lnTo>
                  <a:lnTo>
                    <a:pt x="2312574" y="192017"/>
                  </a:lnTo>
                  <a:lnTo>
                    <a:pt x="2421020" y="227002"/>
                  </a:lnTo>
                  <a:lnTo>
                    <a:pt x="2473494" y="192016"/>
                  </a:lnTo>
                  <a:lnTo>
                    <a:pt x="2529466" y="261987"/>
                  </a:lnTo>
                  <a:lnTo>
                    <a:pt x="2546957" y="352949"/>
                  </a:lnTo>
                  <a:lnTo>
                    <a:pt x="2386037" y="352949"/>
                  </a:lnTo>
                  <a:lnTo>
                    <a:pt x="2330065" y="457905"/>
                  </a:lnTo>
                  <a:lnTo>
                    <a:pt x="2260100" y="440413"/>
                  </a:lnTo>
                  <a:lnTo>
                    <a:pt x="2242608" y="475398"/>
                  </a:lnTo>
                  <a:lnTo>
                    <a:pt x="2312574" y="510383"/>
                  </a:lnTo>
                  <a:lnTo>
                    <a:pt x="2386037" y="601345"/>
                  </a:lnTo>
                  <a:lnTo>
                    <a:pt x="2421020" y="566360"/>
                  </a:lnTo>
                  <a:lnTo>
                    <a:pt x="2456002" y="583852"/>
                  </a:lnTo>
                  <a:lnTo>
                    <a:pt x="2490985" y="566360"/>
                  </a:lnTo>
                  <a:lnTo>
                    <a:pt x="2529466" y="636331"/>
                  </a:lnTo>
                  <a:lnTo>
                    <a:pt x="2599431" y="688809"/>
                  </a:lnTo>
                  <a:lnTo>
                    <a:pt x="2669397" y="832248"/>
                  </a:lnTo>
                  <a:lnTo>
                    <a:pt x="2669397" y="902219"/>
                  </a:lnTo>
                  <a:lnTo>
                    <a:pt x="2581940" y="867234"/>
                  </a:lnTo>
                  <a:lnTo>
                    <a:pt x="2564449" y="937205"/>
                  </a:lnTo>
                  <a:lnTo>
                    <a:pt x="2508476" y="993181"/>
                  </a:lnTo>
                  <a:lnTo>
                    <a:pt x="2456002" y="993181"/>
                  </a:lnTo>
                  <a:lnTo>
                    <a:pt x="2529466" y="1010674"/>
                  </a:lnTo>
                  <a:lnTo>
                    <a:pt x="2564449" y="958196"/>
                  </a:lnTo>
                  <a:lnTo>
                    <a:pt x="2634414" y="1098137"/>
                  </a:lnTo>
                  <a:lnTo>
                    <a:pt x="2616923" y="975689"/>
                  </a:lnTo>
                  <a:lnTo>
                    <a:pt x="2651905" y="958196"/>
                  </a:lnTo>
                  <a:lnTo>
                    <a:pt x="2795334" y="1098137"/>
                  </a:lnTo>
                  <a:lnTo>
                    <a:pt x="2795334" y="1171606"/>
                  </a:lnTo>
                  <a:lnTo>
                    <a:pt x="2725369" y="1189099"/>
                  </a:lnTo>
                  <a:lnTo>
                    <a:pt x="2742860" y="1224084"/>
                  </a:lnTo>
                  <a:lnTo>
                    <a:pt x="2669397" y="1276562"/>
                  </a:lnTo>
                  <a:lnTo>
                    <a:pt x="2581940" y="1259070"/>
                  </a:lnTo>
                  <a:lnTo>
                    <a:pt x="2546957" y="1154114"/>
                  </a:lnTo>
                  <a:lnTo>
                    <a:pt x="2564449" y="1329040"/>
                  </a:lnTo>
                  <a:lnTo>
                    <a:pt x="2599431" y="1346533"/>
                  </a:lnTo>
                  <a:lnTo>
                    <a:pt x="2760351" y="1329040"/>
                  </a:lnTo>
                  <a:lnTo>
                    <a:pt x="2795334" y="1472480"/>
                  </a:lnTo>
                  <a:lnTo>
                    <a:pt x="2725369" y="1489973"/>
                  </a:lnTo>
                  <a:lnTo>
                    <a:pt x="2669397" y="1580935"/>
                  </a:lnTo>
                  <a:lnTo>
                    <a:pt x="2490985" y="1542451"/>
                  </a:lnTo>
                  <a:lnTo>
                    <a:pt x="2438511" y="1472480"/>
                  </a:lnTo>
                  <a:lnTo>
                    <a:pt x="2421020" y="1542451"/>
                  </a:lnTo>
                  <a:lnTo>
                    <a:pt x="2295082" y="1489973"/>
                  </a:lnTo>
                  <a:lnTo>
                    <a:pt x="2403528" y="1580935"/>
                  </a:lnTo>
                  <a:lnTo>
                    <a:pt x="2312574" y="1703384"/>
                  </a:lnTo>
                  <a:lnTo>
                    <a:pt x="2169145" y="1668398"/>
                  </a:lnTo>
                  <a:lnTo>
                    <a:pt x="2260100" y="1703384"/>
                  </a:lnTo>
                  <a:lnTo>
                    <a:pt x="2260100" y="1738369"/>
                  </a:lnTo>
                  <a:lnTo>
                    <a:pt x="2260098" y="1738370"/>
                  </a:lnTo>
                  <a:lnTo>
                    <a:pt x="2207626" y="1755862"/>
                  </a:lnTo>
                  <a:lnTo>
                    <a:pt x="2207626" y="1760571"/>
                  </a:lnTo>
                  <a:lnTo>
                    <a:pt x="2169145" y="1776853"/>
                  </a:lnTo>
                  <a:lnTo>
                    <a:pt x="2207626" y="1794345"/>
                  </a:lnTo>
                  <a:lnTo>
                    <a:pt x="2207626" y="1760571"/>
                  </a:lnTo>
                  <a:lnTo>
                    <a:pt x="2260098" y="1738370"/>
                  </a:lnTo>
                  <a:lnTo>
                    <a:pt x="2312574" y="1720876"/>
                  </a:lnTo>
                  <a:lnTo>
                    <a:pt x="2368546" y="1668398"/>
                  </a:lnTo>
                  <a:lnTo>
                    <a:pt x="2368546" y="1633413"/>
                  </a:lnTo>
                  <a:lnTo>
                    <a:pt x="2438511" y="1598428"/>
                  </a:lnTo>
                  <a:lnTo>
                    <a:pt x="2725369" y="1685891"/>
                  </a:lnTo>
                  <a:lnTo>
                    <a:pt x="2795334" y="1951780"/>
                  </a:lnTo>
                  <a:lnTo>
                    <a:pt x="2616923" y="1916794"/>
                  </a:lnTo>
                  <a:lnTo>
                    <a:pt x="2456002" y="1720876"/>
                  </a:lnTo>
                  <a:lnTo>
                    <a:pt x="2295082" y="1881809"/>
                  </a:lnTo>
                  <a:lnTo>
                    <a:pt x="2330065" y="1899302"/>
                  </a:lnTo>
                  <a:lnTo>
                    <a:pt x="2456002" y="1776853"/>
                  </a:lnTo>
                  <a:lnTo>
                    <a:pt x="2508476" y="1881809"/>
                  </a:lnTo>
                  <a:lnTo>
                    <a:pt x="2473494" y="1951780"/>
                  </a:lnTo>
                  <a:lnTo>
                    <a:pt x="2490985" y="1969272"/>
                  </a:lnTo>
                  <a:lnTo>
                    <a:pt x="2529466" y="1916794"/>
                  </a:lnTo>
                  <a:lnTo>
                    <a:pt x="2546957" y="1951780"/>
                  </a:lnTo>
                  <a:lnTo>
                    <a:pt x="2795334" y="2025249"/>
                  </a:lnTo>
                  <a:lnTo>
                    <a:pt x="2812826" y="2077727"/>
                  </a:lnTo>
                  <a:lnTo>
                    <a:pt x="2868798" y="2060234"/>
                  </a:lnTo>
                  <a:lnTo>
                    <a:pt x="2830317" y="2165190"/>
                  </a:lnTo>
                  <a:lnTo>
                    <a:pt x="2868798" y="2238659"/>
                  </a:lnTo>
                  <a:lnTo>
                    <a:pt x="2868798" y="2165190"/>
                  </a:lnTo>
                  <a:lnTo>
                    <a:pt x="2921272" y="2147698"/>
                  </a:lnTo>
                  <a:lnTo>
                    <a:pt x="3047209" y="2469563"/>
                  </a:lnTo>
                  <a:lnTo>
                    <a:pt x="2956254" y="2487055"/>
                  </a:lnTo>
                  <a:lnTo>
                    <a:pt x="2903780" y="2361108"/>
                  </a:lnTo>
                  <a:lnTo>
                    <a:pt x="2938763" y="2504548"/>
                  </a:lnTo>
                  <a:lnTo>
                    <a:pt x="2903780" y="2522041"/>
                  </a:lnTo>
                  <a:lnTo>
                    <a:pt x="2795334" y="2504548"/>
                  </a:lnTo>
                  <a:lnTo>
                    <a:pt x="2707877" y="2417085"/>
                  </a:lnTo>
                  <a:lnTo>
                    <a:pt x="2707877" y="2361108"/>
                  </a:lnTo>
                  <a:lnTo>
                    <a:pt x="2651905" y="2326123"/>
                  </a:lnTo>
                  <a:lnTo>
                    <a:pt x="2473494" y="2238659"/>
                  </a:lnTo>
                  <a:lnTo>
                    <a:pt x="2347556" y="2256152"/>
                  </a:lnTo>
                  <a:lnTo>
                    <a:pt x="2347556" y="2291137"/>
                  </a:lnTo>
                  <a:lnTo>
                    <a:pt x="2490985" y="2273645"/>
                  </a:lnTo>
                  <a:lnTo>
                    <a:pt x="2529466" y="2361108"/>
                  </a:lnTo>
                  <a:lnTo>
                    <a:pt x="2456002" y="2469563"/>
                  </a:lnTo>
                  <a:lnTo>
                    <a:pt x="2260100" y="2504548"/>
                  </a:lnTo>
                  <a:lnTo>
                    <a:pt x="2312574" y="2522041"/>
                  </a:lnTo>
                  <a:lnTo>
                    <a:pt x="2312574" y="2613003"/>
                  </a:lnTo>
                  <a:lnTo>
                    <a:pt x="2225117" y="2700466"/>
                  </a:lnTo>
                  <a:lnTo>
                    <a:pt x="2403528" y="2682974"/>
                  </a:lnTo>
                  <a:lnTo>
                    <a:pt x="2490985" y="2630495"/>
                  </a:lnTo>
                  <a:lnTo>
                    <a:pt x="2508476" y="2665481"/>
                  </a:lnTo>
                  <a:lnTo>
                    <a:pt x="2456002" y="2700466"/>
                  </a:lnTo>
                  <a:lnTo>
                    <a:pt x="2421020" y="2805422"/>
                  </a:lnTo>
                  <a:lnTo>
                    <a:pt x="2456002" y="2805422"/>
                  </a:lnTo>
                  <a:lnTo>
                    <a:pt x="2473494" y="2735452"/>
                  </a:lnTo>
                  <a:lnTo>
                    <a:pt x="2634414" y="2630495"/>
                  </a:lnTo>
                  <a:lnTo>
                    <a:pt x="2851306" y="2647988"/>
                  </a:lnTo>
                  <a:lnTo>
                    <a:pt x="3012227" y="2592012"/>
                  </a:lnTo>
                  <a:lnTo>
                    <a:pt x="3029718" y="2613003"/>
                  </a:lnTo>
                  <a:lnTo>
                    <a:pt x="2938763" y="2700466"/>
                  </a:lnTo>
                  <a:lnTo>
                    <a:pt x="2956254" y="2735452"/>
                  </a:lnTo>
                  <a:lnTo>
                    <a:pt x="2868798" y="2787930"/>
                  </a:lnTo>
                  <a:lnTo>
                    <a:pt x="2903780" y="2826413"/>
                  </a:lnTo>
                  <a:lnTo>
                    <a:pt x="2830317" y="2843906"/>
                  </a:lnTo>
                  <a:lnTo>
                    <a:pt x="2868798" y="2878891"/>
                  </a:lnTo>
                  <a:lnTo>
                    <a:pt x="2760351" y="2983848"/>
                  </a:lnTo>
                  <a:lnTo>
                    <a:pt x="2795334" y="3018833"/>
                  </a:lnTo>
                  <a:lnTo>
                    <a:pt x="2669397" y="3214751"/>
                  </a:lnTo>
                  <a:lnTo>
                    <a:pt x="2368546" y="3428161"/>
                  </a:lnTo>
                  <a:lnTo>
                    <a:pt x="2277591" y="3428161"/>
                  </a:lnTo>
                  <a:lnTo>
                    <a:pt x="2242608" y="3484138"/>
                  </a:lnTo>
                  <a:lnTo>
                    <a:pt x="2186636" y="3484138"/>
                  </a:lnTo>
                  <a:lnTo>
                    <a:pt x="2207626" y="3519123"/>
                  </a:lnTo>
                  <a:lnTo>
                    <a:pt x="2151654" y="3554109"/>
                  </a:lnTo>
                  <a:lnTo>
                    <a:pt x="1973242" y="3449153"/>
                  </a:lnTo>
                  <a:lnTo>
                    <a:pt x="2008225" y="3624079"/>
                  </a:lnTo>
                  <a:lnTo>
                    <a:pt x="1903277" y="3732534"/>
                  </a:lnTo>
                  <a:lnTo>
                    <a:pt x="1812322" y="4106877"/>
                  </a:lnTo>
                  <a:lnTo>
                    <a:pt x="1794830" y="4089385"/>
                  </a:lnTo>
                  <a:lnTo>
                    <a:pt x="1777339" y="4106877"/>
                  </a:lnTo>
                  <a:lnTo>
                    <a:pt x="1777339" y="4159355"/>
                  </a:lnTo>
                  <a:lnTo>
                    <a:pt x="1686384" y="4246819"/>
                  </a:lnTo>
                  <a:lnTo>
                    <a:pt x="1598928" y="4176848"/>
                  </a:lnTo>
                  <a:lnTo>
                    <a:pt x="1633910" y="4302795"/>
                  </a:lnTo>
                  <a:lnTo>
                    <a:pt x="1581436" y="4337781"/>
                  </a:lnTo>
                  <a:lnTo>
                    <a:pt x="1563945" y="4390259"/>
                  </a:lnTo>
                  <a:lnTo>
                    <a:pt x="1525464" y="4337781"/>
                  </a:lnTo>
                  <a:lnTo>
                    <a:pt x="1490481" y="4425244"/>
                  </a:lnTo>
                  <a:lnTo>
                    <a:pt x="1455499" y="4390259"/>
                  </a:lnTo>
                  <a:lnTo>
                    <a:pt x="1403025" y="4481221"/>
                  </a:lnTo>
                  <a:lnTo>
                    <a:pt x="1364544" y="4498713"/>
                  </a:lnTo>
                  <a:lnTo>
                    <a:pt x="1329561" y="4481221"/>
                  </a:lnTo>
                  <a:lnTo>
                    <a:pt x="1403025" y="4246819"/>
                  </a:lnTo>
                  <a:lnTo>
                    <a:pt x="1277087" y="4229326"/>
                  </a:lnTo>
                  <a:lnTo>
                    <a:pt x="1347052" y="4264311"/>
                  </a:lnTo>
                  <a:lnTo>
                    <a:pt x="1294578" y="4390259"/>
                  </a:lnTo>
                  <a:lnTo>
                    <a:pt x="1292768" y="4389052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</p:grpSp>
      <p:sp>
        <p:nvSpPr>
          <p:cNvPr id="203" name="Greenland Text"/>
          <p:cNvSpPr txBox="1"/>
          <p:nvPr/>
        </p:nvSpPr>
        <p:spPr>
          <a:xfrm>
            <a:off x="983302" y="2023002"/>
            <a:ext cx="58264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rgbClr val="006EB6"/>
                </a:solidFill>
              </a:rPr>
              <a:t>Greenland</a:t>
            </a:r>
          </a:p>
        </p:txBody>
      </p:sp>
      <p:grpSp>
        <p:nvGrpSpPr>
          <p:cNvPr id="205" name="Faeroe Island"/>
          <p:cNvGrpSpPr>
            <a:grpSpLocks noChangeAspect="1"/>
          </p:cNvGrpSpPr>
          <p:nvPr/>
        </p:nvGrpSpPr>
        <p:grpSpPr bwMode="auto">
          <a:xfrm>
            <a:off x="4222342" y="5112343"/>
            <a:ext cx="453102" cy="666518"/>
            <a:chOff x="4167" y="3001"/>
            <a:chExt cx="138" cy="203"/>
          </a:xfrm>
          <a:solidFill>
            <a:schemeClr val="accent3"/>
          </a:solidFill>
        </p:grpSpPr>
        <p:sp>
          <p:nvSpPr>
            <p:cNvPr id="207" name="Freeform 5"/>
            <p:cNvSpPr>
              <a:spLocks/>
            </p:cNvSpPr>
            <p:nvPr/>
          </p:nvSpPr>
          <p:spPr bwMode="auto">
            <a:xfrm>
              <a:off x="4217" y="3156"/>
              <a:ext cx="28" cy="48"/>
            </a:xfrm>
            <a:custGeom>
              <a:avLst/>
              <a:gdLst>
                <a:gd name="T0" fmla="*/ 25 w 28"/>
                <a:gd name="T1" fmla="*/ 41 h 48"/>
                <a:gd name="T2" fmla="*/ 28 w 28"/>
                <a:gd name="T3" fmla="*/ 48 h 48"/>
                <a:gd name="T4" fmla="*/ 23 w 28"/>
                <a:gd name="T5" fmla="*/ 46 h 48"/>
                <a:gd name="T6" fmla="*/ 15 w 28"/>
                <a:gd name="T7" fmla="*/ 39 h 48"/>
                <a:gd name="T8" fmla="*/ 3 w 28"/>
                <a:gd name="T9" fmla="*/ 22 h 48"/>
                <a:gd name="T10" fmla="*/ 0 w 28"/>
                <a:gd name="T11" fmla="*/ 7 h 48"/>
                <a:gd name="T12" fmla="*/ 0 w 28"/>
                <a:gd name="T13" fmla="*/ 0 h 48"/>
                <a:gd name="T14" fmla="*/ 3 w 28"/>
                <a:gd name="T15" fmla="*/ 0 h 48"/>
                <a:gd name="T16" fmla="*/ 5 w 28"/>
                <a:gd name="T17" fmla="*/ 7 h 48"/>
                <a:gd name="T18" fmla="*/ 20 w 28"/>
                <a:gd name="T19" fmla="*/ 12 h 48"/>
                <a:gd name="T20" fmla="*/ 23 w 28"/>
                <a:gd name="T21" fmla="*/ 14 h 48"/>
                <a:gd name="T22" fmla="*/ 23 w 28"/>
                <a:gd name="T23" fmla="*/ 22 h 48"/>
                <a:gd name="T24" fmla="*/ 25 w 28"/>
                <a:gd name="T25" fmla="*/ 29 h 48"/>
                <a:gd name="T26" fmla="*/ 25 w 28"/>
                <a:gd name="T27" fmla="*/ 4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48">
                  <a:moveTo>
                    <a:pt x="25" y="41"/>
                  </a:moveTo>
                  <a:lnTo>
                    <a:pt x="28" y="48"/>
                  </a:lnTo>
                  <a:lnTo>
                    <a:pt x="23" y="46"/>
                  </a:lnTo>
                  <a:lnTo>
                    <a:pt x="15" y="39"/>
                  </a:lnTo>
                  <a:lnTo>
                    <a:pt x="3" y="22"/>
                  </a:lnTo>
                  <a:lnTo>
                    <a:pt x="0" y="7"/>
                  </a:lnTo>
                  <a:lnTo>
                    <a:pt x="0" y="0"/>
                  </a:lnTo>
                  <a:lnTo>
                    <a:pt x="3" y="0"/>
                  </a:lnTo>
                  <a:lnTo>
                    <a:pt x="5" y="7"/>
                  </a:lnTo>
                  <a:lnTo>
                    <a:pt x="20" y="12"/>
                  </a:lnTo>
                  <a:lnTo>
                    <a:pt x="23" y="14"/>
                  </a:lnTo>
                  <a:lnTo>
                    <a:pt x="23" y="22"/>
                  </a:lnTo>
                  <a:lnTo>
                    <a:pt x="25" y="29"/>
                  </a:lnTo>
                  <a:lnTo>
                    <a:pt x="25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8" name="Freeform 6"/>
            <p:cNvSpPr>
              <a:spLocks/>
            </p:cNvSpPr>
            <p:nvPr/>
          </p:nvSpPr>
          <p:spPr bwMode="auto">
            <a:xfrm>
              <a:off x="4230" y="3097"/>
              <a:ext cx="35" cy="32"/>
            </a:xfrm>
            <a:custGeom>
              <a:avLst/>
              <a:gdLst>
                <a:gd name="T0" fmla="*/ 32 w 35"/>
                <a:gd name="T1" fmla="*/ 22 h 32"/>
                <a:gd name="T2" fmla="*/ 30 w 35"/>
                <a:gd name="T3" fmla="*/ 32 h 32"/>
                <a:gd name="T4" fmla="*/ 25 w 35"/>
                <a:gd name="T5" fmla="*/ 32 h 32"/>
                <a:gd name="T6" fmla="*/ 15 w 35"/>
                <a:gd name="T7" fmla="*/ 19 h 32"/>
                <a:gd name="T8" fmla="*/ 5 w 35"/>
                <a:gd name="T9" fmla="*/ 15 h 32"/>
                <a:gd name="T10" fmla="*/ 2 w 35"/>
                <a:gd name="T11" fmla="*/ 10 h 32"/>
                <a:gd name="T12" fmla="*/ 0 w 35"/>
                <a:gd name="T13" fmla="*/ 2 h 32"/>
                <a:gd name="T14" fmla="*/ 7 w 35"/>
                <a:gd name="T15" fmla="*/ 0 h 32"/>
                <a:gd name="T16" fmla="*/ 12 w 35"/>
                <a:gd name="T17" fmla="*/ 2 h 32"/>
                <a:gd name="T18" fmla="*/ 30 w 35"/>
                <a:gd name="T19" fmla="*/ 12 h 32"/>
                <a:gd name="T20" fmla="*/ 35 w 35"/>
                <a:gd name="T21" fmla="*/ 17 h 32"/>
                <a:gd name="T22" fmla="*/ 32 w 35"/>
                <a:gd name="T2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32">
                  <a:moveTo>
                    <a:pt x="32" y="22"/>
                  </a:moveTo>
                  <a:lnTo>
                    <a:pt x="30" y="32"/>
                  </a:lnTo>
                  <a:lnTo>
                    <a:pt x="25" y="32"/>
                  </a:lnTo>
                  <a:lnTo>
                    <a:pt x="15" y="19"/>
                  </a:lnTo>
                  <a:lnTo>
                    <a:pt x="5" y="15"/>
                  </a:lnTo>
                  <a:lnTo>
                    <a:pt x="2" y="10"/>
                  </a:lnTo>
                  <a:lnTo>
                    <a:pt x="0" y="2"/>
                  </a:lnTo>
                  <a:lnTo>
                    <a:pt x="7" y="0"/>
                  </a:lnTo>
                  <a:lnTo>
                    <a:pt x="12" y="2"/>
                  </a:lnTo>
                  <a:lnTo>
                    <a:pt x="30" y="12"/>
                  </a:lnTo>
                  <a:lnTo>
                    <a:pt x="35" y="17"/>
                  </a:lnTo>
                  <a:lnTo>
                    <a:pt x="32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9" name="Freeform 7"/>
            <p:cNvSpPr>
              <a:spLocks/>
            </p:cNvSpPr>
            <p:nvPr/>
          </p:nvSpPr>
          <p:spPr bwMode="auto">
            <a:xfrm>
              <a:off x="4167" y="3045"/>
              <a:ext cx="45" cy="22"/>
            </a:xfrm>
            <a:custGeom>
              <a:avLst/>
              <a:gdLst>
                <a:gd name="T0" fmla="*/ 33 w 45"/>
                <a:gd name="T1" fmla="*/ 3 h 22"/>
                <a:gd name="T2" fmla="*/ 43 w 45"/>
                <a:gd name="T3" fmla="*/ 10 h 22"/>
                <a:gd name="T4" fmla="*/ 45 w 45"/>
                <a:gd name="T5" fmla="*/ 18 h 22"/>
                <a:gd name="T6" fmla="*/ 38 w 45"/>
                <a:gd name="T7" fmla="*/ 22 h 22"/>
                <a:gd name="T8" fmla="*/ 30 w 45"/>
                <a:gd name="T9" fmla="*/ 22 h 22"/>
                <a:gd name="T10" fmla="*/ 20 w 45"/>
                <a:gd name="T11" fmla="*/ 22 h 22"/>
                <a:gd name="T12" fmla="*/ 3 w 45"/>
                <a:gd name="T13" fmla="*/ 15 h 22"/>
                <a:gd name="T14" fmla="*/ 0 w 45"/>
                <a:gd name="T15" fmla="*/ 0 h 22"/>
                <a:gd name="T16" fmla="*/ 10 w 45"/>
                <a:gd name="T17" fmla="*/ 3 h 22"/>
                <a:gd name="T18" fmla="*/ 25 w 45"/>
                <a:gd name="T19" fmla="*/ 0 h 22"/>
                <a:gd name="T20" fmla="*/ 33 w 45"/>
                <a:gd name="T21" fmla="*/ 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">
                  <a:moveTo>
                    <a:pt x="33" y="3"/>
                  </a:moveTo>
                  <a:lnTo>
                    <a:pt x="43" y="10"/>
                  </a:lnTo>
                  <a:lnTo>
                    <a:pt x="45" y="18"/>
                  </a:lnTo>
                  <a:lnTo>
                    <a:pt x="38" y="22"/>
                  </a:lnTo>
                  <a:lnTo>
                    <a:pt x="30" y="22"/>
                  </a:lnTo>
                  <a:lnTo>
                    <a:pt x="20" y="22"/>
                  </a:lnTo>
                  <a:lnTo>
                    <a:pt x="3" y="15"/>
                  </a:lnTo>
                  <a:lnTo>
                    <a:pt x="0" y="0"/>
                  </a:lnTo>
                  <a:lnTo>
                    <a:pt x="10" y="3"/>
                  </a:lnTo>
                  <a:lnTo>
                    <a:pt x="25" y="0"/>
                  </a:lnTo>
                  <a:lnTo>
                    <a:pt x="3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0" name="Freeform 8"/>
            <p:cNvSpPr>
              <a:spLocks/>
            </p:cNvSpPr>
            <p:nvPr/>
          </p:nvSpPr>
          <p:spPr bwMode="auto">
            <a:xfrm>
              <a:off x="4205" y="3009"/>
              <a:ext cx="70" cy="78"/>
            </a:xfrm>
            <a:custGeom>
              <a:avLst/>
              <a:gdLst>
                <a:gd name="T0" fmla="*/ 70 w 70"/>
                <a:gd name="T1" fmla="*/ 19 h 78"/>
                <a:gd name="T2" fmla="*/ 62 w 70"/>
                <a:gd name="T3" fmla="*/ 49 h 78"/>
                <a:gd name="T4" fmla="*/ 57 w 70"/>
                <a:gd name="T5" fmla="*/ 49 h 78"/>
                <a:gd name="T6" fmla="*/ 47 w 70"/>
                <a:gd name="T7" fmla="*/ 41 h 78"/>
                <a:gd name="T8" fmla="*/ 42 w 70"/>
                <a:gd name="T9" fmla="*/ 39 h 78"/>
                <a:gd name="T10" fmla="*/ 40 w 70"/>
                <a:gd name="T11" fmla="*/ 44 h 78"/>
                <a:gd name="T12" fmla="*/ 37 w 70"/>
                <a:gd name="T13" fmla="*/ 49 h 78"/>
                <a:gd name="T14" fmla="*/ 42 w 70"/>
                <a:gd name="T15" fmla="*/ 51 h 78"/>
                <a:gd name="T16" fmla="*/ 50 w 70"/>
                <a:gd name="T17" fmla="*/ 71 h 78"/>
                <a:gd name="T18" fmla="*/ 50 w 70"/>
                <a:gd name="T19" fmla="*/ 76 h 78"/>
                <a:gd name="T20" fmla="*/ 50 w 70"/>
                <a:gd name="T21" fmla="*/ 78 h 78"/>
                <a:gd name="T22" fmla="*/ 37 w 70"/>
                <a:gd name="T23" fmla="*/ 73 h 78"/>
                <a:gd name="T24" fmla="*/ 15 w 70"/>
                <a:gd name="T25" fmla="*/ 49 h 78"/>
                <a:gd name="T26" fmla="*/ 0 w 70"/>
                <a:gd name="T27" fmla="*/ 7 h 78"/>
                <a:gd name="T28" fmla="*/ 30 w 70"/>
                <a:gd name="T29" fmla="*/ 0 h 78"/>
                <a:gd name="T30" fmla="*/ 47 w 70"/>
                <a:gd name="T31" fmla="*/ 12 h 78"/>
                <a:gd name="T32" fmla="*/ 70 w 70"/>
                <a:gd name="T33" fmla="*/ 1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0" h="78">
                  <a:moveTo>
                    <a:pt x="70" y="19"/>
                  </a:moveTo>
                  <a:lnTo>
                    <a:pt x="62" y="49"/>
                  </a:lnTo>
                  <a:lnTo>
                    <a:pt x="57" y="49"/>
                  </a:lnTo>
                  <a:lnTo>
                    <a:pt x="47" y="41"/>
                  </a:lnTo>
                  <a:lnTo>
                    <a:pt x="42" y="39"/>
                  </a:lnTo>
                  <a:lnTo>
                    <a:pt x="40" y="44"/>
                  </a:lnTo>
                  <a:lnTo>
                    <a:pt x="37" y="49"/>
                  </a:lnTo>
                  <a:lnTo>
                    <a:pt x="42" y="51"/>
                  </a:lnTo>
                  <a:lnTo>
                    <a:pt x="50" y="71"/>
                  </a:lnTo>
                  <a:lnTo>
                    <a:pt x="50" y="76"/>
                  </a:lnTo>
                  <a:lnTo>
                    <a:pt x="50" y="78"/>
                  </a:lnTo>
                  <a:lnTo>
                    <a:pt x="37" y="73"/>
                  </a:lnTo>
                  <a:lnTo>
                    <a:pt x="15" y="49"/>
                  </a:lnTo>
                  <a:lnTo>
                    <a:pt x="0" y="7"/>
                  </a:lnTo>
                  <a:lnTo>
                    <a:pt x="30" y="0"/>
                  </a:lnTo>
                  <a:lnTo>
                    <a:pt x="47" y="12"/>
                  </a:lnTo>
                  <a:lnTo>
                    <a:pt x="70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1" name="Freeform 9"/>
            <p:cNvSpPr>
              <a:spLocks/>
            </p:cNvSpPr>
            <p:nvPr/>
          </p:nvSpPr>
          <p:spPr bwMode="auto">
            <a:xfrm>
              <a:off x="4285" y="3001"/>
              <a:ext cx="20" cy="37"/>
            </a:xfrm>
            <a:custGeom>
              <a:avLst/>
              <a:gdLst>
                <a:gd name="T0" fmla="*/ 20 w 20"/>
                <a:gd name="T1" fmla="*/ 22 h 37"/>
                <a:gd name="T2" fmla="*/ 12 w 20"/>
                <a:gd name="T3" fmla="*/ 37 h 37"/>
                <a:gd name="T4" fmla="*/ 2 w 20"/>
                <a:gd name="T5" fmla="*/ 35 h 37"/>
                <a:gd name="T6" fmla="*/ 0 w 20"/>
                <a:gd name="T7" fmla="*/ 32 h 37"/>
                <a:gd name="T8" fmla="*/ 0 w 20"/>
                <a:gd name="T9" fmla="*/ 30 h 37"/>
                <a:gd name="T10" fmla="*/ 2 w 20"/>
                <a:gd name="T11" fmla="*/ 18 h 37"/>
                <a:gd name="T12" fmla="*/ 2 w 20"/>
                <a:gd name="T13" fmla="*/ 0 h 37"/>
                <a:gd name="T14" fmla="*/ 12 w 20"/>
                <a:gd name="T15" fmla="*/ 15 h 37"/>
                <a:gd name="T16" fmla="*/ 20 w 20"/>
                <a:gd name="T17" fmla="*/ 2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37">
                  <a:moveTo>
                    <a:pt x="20" y="22"/>
                  </a:moveTo>
                  <a:lnTo>
                    <a:pt x="12" y="37"/>
                  </a:lnTo>
                  <a:lnTo>
                    <a:pt x="2" y="35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2" y="18"/>
                  </a:lnTo>
                  <a:lnTo>
                    <a:pt x="2" y="0"/>
                  </a:lnTo>
                  <a:lnTo>
                    <a:pt x="12" y="15"/>
                  </a:lnTo>
                  <a:lnTo>
                    <a:pt x="20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12" name="Faroe Island Text"/>
          <p:cNvSpPr txBox="1"/>
          <p:nvPr/>
        </p:nvSpPr>
        <p:spPr>
          <a:xfrm>
            <a:off x="4501296" y="5273137"/>
            <a:ext cx="558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900" b="1" dirty="0">
                <a:solidFill>
                  <a:srgbClr val="006EB6"/>
                </a:solidFill>
              </a:rPr>
              <a:t>Faroe </a:t>
            </a:r>
            <a:br>
              <a:rPr lang="en-GB" sz="900" b="1" dirty="0">
                <a:solidFill>
                  <a:srgbClr val="006EB6"/>
                </a:solidFill>
              </a:rPr>
            </a:br>
            <a:r>
              <a:rPr lang="en-GB" sz="900" b="1" dirty="0">
                <a:solidFill>
                  <a:srgbClr val="006EB6"/>
                </a:solidFill>
              </a:rPr>
              <a:t>Islands</a:t>
            </a:r>
          </a:p>
        </p:txBody>
      </p:sp>
      <p:sp>
        <p:nvSpPr>
          <p:cNvPr id="48" name="Åland Islands Text"/>
          <p:cNvSpPr txBox="1"/>
          <p:nvPr/>
        </p:nvSpPr>
        <p:spPr>
          <a:xfrm>
            <a:off x="8775837" y="3882597"/>
            <a:ext cx="558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900" b="1" noProof="1">
                <a:solidFill>
                  <a:srgbClr val="006EB6"/>
                </a:solidFill>
              </a:rPr>
              <a:t>Åland Islands</a:t>
            </a:r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17277302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eece"/>
          <p:cNvGrpSpPr/>
          <p:nvPr/>
        </p:nvGrpSpPr>
        <p:grpSpPr>
          <a:xfrm>
            <a:off x="10557401" y="5599113"/>
            <a:ext cx="1063625" cy="1130300"/>
            <a:chOff x="10578421" y="5599113"/>
            <a:chExt cx="1063625" cy="1130300"/>
          </a:xfrm>
          <a:solidFill>
            <a:schemeClr val="accent3"/>
          </a:solidFill>
        </p:grpSpPr>
        <p:sp>
          <p:nvSpPr>
            <p:cNvPr id="8" name="Freeform 54"/>
            <p:cNvSpPr>
              <a:spLocks/>
            </p:cNvSpPr>
            <p:nvPr/>
          </p:nvSpPr>
          <p:spPr bwMode="auto">
            <a:xfrm>
              <a:off x="10578421" y="5599113"/>
              <a:ext cx="1063625" cy="863600"/>
            </a:xfrm>
            <a:custGeom>
              <a:avLst/>
              <a:gdLst>
                <a:gd name="T0" fmla="*/ 348 w 371"/>
                <a:gd name="T1" fmla="*/ 82 h 301"/>
                <a:gd name="T2" fmla="*/ 328 w 371"/>
                <a:gd name="T3" fmla="*/ 66 h 301"/>
                <a:gd name="T4" fmla="*/ 287 w 371"/>
                <a:gd name="T5" fmla="*/ 66 h 301"/>
                <a:gd name="T6" fmla="*/ 246 w 371"/>
                <a:gd name="T7" fmla="*/ 74 h 301"/>
                <a:gd name="T8" fmla="*/ 214 w 371"/>
                <a:gd name="T9" fmla="*/ 94 h 301"/>
                <a:gd name="T10" fmla="*/ 221 w 371"/>
                <a:gd name="T11" fmla="*/ 122 h 301"/>
                <a:gd name="T12" fmla="*/ 209 w 371"/>
                <a:gd name="T13" fmla="*/ 133 h 301"/>
                <a:gd name="T14" fmla="*/ 188 w 371"/>
                <a:gd name="T15" fmla="*/ 138 h 301"/>
                <a:gd name="T16" fmla="*/ 158 w 371"/>
                <a:gd name="T17" fmla="*/ 122 h 301"/>
                <a:gd name="T18" fmla="*/ 146 w 371"/>
                <a:gd name="T19" fmla="*/ 122 h 301"/>
                <a:gd name="T20" fmla="*/ 146 w 371"/>
                <a:gd name="T21" fmla="*/ 149 h 301"/>
                <a:gd name="T22" fmla="*/ 178 w 371"/>
                <a:gd name="T23" fmla="*/ 193 h 301"/>
                <a:gd name="T24" fmla="*/ 225 w 371"/>
                <a:gd name="T25" fmla="*/ 214 h 301"/>
                <a:gd name="T26" fmla="*/ 259 w 371"/>
                <a:gd name="T27" fmla="*/ 224 h 301"/>
                <a:gd name="T28" fmla="*/ 271 w 371"/>
                <a:gd name="T29" fmla="*/ 245 h 301"/>
                <a:gd name="T30" fmla="*/ 295 w 371"/>
                <a:gd name="T31" fmla="*/ 261 h 301"/>
                <a:gd name="T32" fmla="*/ 263 w 371"/>
                <a:gd name="T33" fmla="*/ 249 h 301"/>
                <a:gd name="T34" fmla="*/ 234 w 371"/>
                <a:gd name="T35" fmla="*/ 243 h 301"/>
                <a:gd name="T36" fmla="*/ 197 w 371"/>
                <a:gd name="T37" fmla="*/ 219 h 301"/>
                <a:gd name="T38" fmla="*/ 187 w 371"/>
                <a:gd name="T39" fmla="*/ 239 h 301"/>
                <a:gd name="T40" fmla="*/ 209 w 371"/>
                <a:gd name="T41" fmla="*/ 238 h 301"/>
                <a:gd name="T42" fmla="*/ 226 w 371"/>
                <a:gd name="T43" fmla="*/ 249 h 301"/>
                <a:gd name="T44" fmla="*/ 256 w 371"/>
                <a:gd name="T45" fmla="*/ 258 h 301"/>
                <a:gd name="T46" fmla="*/ 267 w 371"/>
                <a:gd name="T47" fmla="*/ 291 h 301"/>
                <a:gd name="T48" fmla="*/ 237 w 371"/>
                <a:gd name="T49" fmla="*/ 283 h 301"/>
                <a:gd name="T50" fmla="*/ 209 w 371"/>
                <a:gd name="T51" fmla="*/ 289 h 301"/>
                <a:gd name="T52" fmla="*/ 201 w 371"/>
                <a:gd name="T53" fmla="*/ 294 h 301"/>
                <a:gd name="T54" fmla="*/ 208 w 371"/>
                <a:gd name="T55" fmla="*/ 278 h 301"/>
                <a:gd name="T56" fmla="*/ 184 w 371"/>
                <a:gd name="T57" fmla="*/ 271 h 301"/>
                <a:gd name="T58" fmla="*/ 160 w 371"/>
                <a:gd name="T59" fmla="*/ 269 h 301"/>
                <a:gd name="T60" fmla="*/ 115 w 371"/>
                <a:gd name="T61" fmla="*/ 275 h 301"/>
                <a:gd name="T62" fmla="*/ 83 w 371"/>
                <a:gd name="T63" fmla="*/ 280 h 301"/>
                <a:gd name="T64" fmla="*/ 63 w 371"/>
                <a:gd name="T65" fmla="*/ 252 h 301"/>
                <a:gd name="T66" fmla="*/ 55 w 371"/>
                <a:gd name="T67" fmla="*/ 237 h 301"/>
                <a:gd name="T68" fmla="*/ 18 w 371"/>
                <a:gd name="T69" fmla="*/ 201 h 301"/>
                <a:gd name="T70" fmla="*/ 6 w 371"/>
                <a:gd name="T71" fmla="*/ 195 h 301"/>
                <a:gd name="T72" fmla="*/ 14 w 371"/>
                <a:gd name="T73" fmla="*/ 171 h 301"/>
                <a:gd name="T74" fmla="*/ 35 w 371"/>
                <a:gd name="T75" fmla="*/ 122 h 301"/>
                <a:gd name="T76" fmla="*/ 56 w 371"/>
                <a:gd name="T77" fmla="*/ 105 h 301"/>
                <a:gd name="T78" fmla="*/ 92 w 371"/>
                <a:gd name="T79" fmla="*/ 81 h 301"/>
                <a:gd name="T80" fmla="*/ 119 w 371"/>
                <a:gd name="T81" fmla="*/ 66 h 301"/>
                <a:gd name="T82" fmla="*/ 241 w 371"/>
                <a:gd name="T83" fmla="*/ 32 h 301"/>
                <a:gd name="T84" fmla="*/ 269 w 371"/>
                <a:gd name="T85" fmla="*/ 37 h 301"/>
                <a:gd name="T86" fmla="*/ 333 w 371"/>
                <a:gd name="T87" fmla="*/ 32 h 301"/>
                <a:gd name="T88" fmla="*/ 339 w 371"/>
                <a:gd name="T89" fmla="*/ 0 h 301"/>
                <a:gd name="T90" fmla="*/ 350 w 371"/>
                <a:gd name="T91" fmla="*/ 32 h 301"/>
                <a:gd name="T92" fmla="*/ 366 w 371"/>
                <a:gd name="T93" fmla="*/ 76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71" h="301">
                  <a:moveTo>
                    <a:pt x="366" y="76"/>
                  </a:moveTo>
                  <a:cubicBezTo>
                    <a:pt x="348" y="82"/>
                    <a:pt x="348" y="82"/>
                    <a:pt x="348" y="82"/>
                  </a:cubicBezTo>
                  <a:cubicBezTo>
                    <a:pt x="339" y="72"/>
                    <a:pt x="339" y="72"/>
                    <a:pt x="339" y="72"/>
                  </a:cubicBezTo>
                  <a:cubicBezTo>
                    <a:pt x="328" y="66"/>
                    <a:pt x="328" y="66"/>
                    <a:pt x="328" y="66"/>
                  </a:cubicBezTo>
                  <a:cubicBezTo>
                    <a:pt x="309" y="72"/>
                    <a:pt x="309" y="72"/>
                    <a:pt x="309" y="72"/>
                  </a:cubicBezTo>
                  <a:cubicBezTo>
                    <a:pt x="287" y="66"/>
                    <a:pt x="287" y="66"/>
                    <a:pt x="287" y="66"/>
                  </a:cubicBezTo>
                  <a:cubicBezTo>
                    <a:pt x="263" y="82"/>
                    <a:pt x="263" y="82"/>
                    <a:pt x="263" y="82"/>
                  </a:cubicBezTo>
                  <a:cubicBezTo>
                    <a:pt x="246" y="74"/>
                    <a:pt x="246" y="74"/>
                    <a:pt x="246" y="74"/>
                  </a:cubicBezTo>
                  <a:cubicBezTo>
                    <a:pt x="232" y="91"/>
                    <a:pt x="232" y="91"/>
                    <a:pt x="232" y="91"/>
                  </a:cubicBezTo>
                  <a:cubicBezTo>
                    <a:pt x="214" y="94"/>
                    <a:pt x="214" y="94"/>
                    <a:pt x="214" y="94"/>
                  </a:cubicBezTo>
                  <a:cubicBezTo>
                    <a:pt x="214" y="109"/>
                    <a:pt x="214" y="109"/>
                    <a:pt x="214" y="109"/>
                  </a:cubicBezTo>
                  <a:cubicBezTo>
                    <a:pt x="221" y="122"/>
                    <a:pt x="221" y="122"/>
                    <a:pt x="221" y="122"/>
                  </a:cubicBezTo>
                  <a:cubicBezTo>
                    <a:pt x="212" y="122"/>
                    <a:pt x="212" y="122"/>
                    <a:pt x="212" y="122"/>
                  </a:cubicBezTo>
                  <a:cubicBezTo>
                    <a:pt x="209" y="133"/>
                    <a:pt x="209" y="133"/>
                    <a:pt x="209" y="133"/>
                  </a:cubicBezTo>
                  <a:cubicBezTo>
                    <a:pt x="199" y="133"/>
                    <a:pt x="199" y="133"/>
                    <a:pt x="199" y="133"/>
                  </a:cubicBezTo>
                  <a:cubicBezTo>
                    <a:pt x="188" y="138"/>
                    <a:pt x="188" y="138"/>
                    <a:pt x="188" y="138"/>
                  </a:cubicBezTo>
                  <a:cubicBezTo>
                    <a:pt x="167" y="128"/>
                    <a:pt x="167" y="128"/>
                    <a:pt x="167" y="128"/>
                  </a:cubicBezTo>
                  <a:cubicBezTo>
                    <a:pt x="158" y="122"/>
                    <a:pt x="158" y="122"/>
                    <a:pt x="158" y="122"/>
                  </a:cubicBezTo>
                  <a:cubicBezTo>
                    <a:pt x="162" y="112"/>
                    <a:pt x="162" y="112"/>
                    <a:pt x="162" y="112"/>
                  </a:cubicBezTo>
                  <a:cubicBezTo>
                    <a:pt x="146" y="122"/>
                    <a:pt x="146" y="122"/>
                    <a:pt x="146" y="122"/>
                  </a:cubicBezTo>
                  <a:cubicBezTo>
                    <a:pt x="152" y="140"/>
                    <a:pt x="152" y="140"/>
                    <a:pt x="152" y="140"/>
                  </a:cubicBezTo>
                  <a:cubicBezTo>
                    <a:pt x="146" y="149"/>
                    <a:pt x="146" y="149"/>
                    <a:pt x="146" y="149"/>
                  </a:cubicBezTo>
                  <a:cubicBezTo>
                    <a:pt x="173" y="176"/>
                    <a:pt x="173" y="176"/>
                    <a:pt x="173" y="176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201" y="204"/>
                    <a:pt x="201" y="204"/>
                    <a:pt x="201" y="204"/>
                  </a:cubicBezTo>
                  <a:cubicBezTo>
                    <a:pt x="225" y="214"/>
                    <a:pt x="225" y="214"/>
                    <a:pt x="225" y="214"/>
                  </a:cubicBezTo>
                  <a:cubicBezTo>
                    <a:pt x="242" y="224"/>
                    <a:pt x="242" y="224"/>
                    <a:pt x="242" y="224"/>
                  </a:cubicBezTo>
                  <a:cubicBezTo>
                    <a:pt x="259" y="224"/>
                    <a:pt x="259" y="224"/>
                    <a:pt x="259" y="224"/>
                  </a:cubicBezTo>
                  <a:cubicBezTo>
                    <a:pt x="269" y="226"/>
                    <a:pt x="269" y="226"/>
                    <a:pt x="269" y="226"/>
                  </a:cubicBezTo>
                  <a:cubicBezTo>
                    <a:pt x="271" y="245"/>
                    <a:pt x="271" y="245"/>
                    <a:pt x="271" y="245"/>
                  </a:cubicBezTo>
                  <a:cubicBezTo>
                    <a:pt x="294" y="250"/>
                    <a:pt x="294" y="250"/>
                    <a:pt x="294" y="250"/>
                  </a:cubicBezTo>
                  <a:cubicBezTo>
                    <a:pt x="295" y="261"/>
                    <a:pt x="295" y="261"/>
                    <a:pt x="295" y="261"/>
                  </a:cubicBezTo>
                  <a:cubicBezTo>
                    <a:pt x="278" y="266"/>
                    <a:pt x="278" y="266"/>
                    <a:pt x="278" y="266"/>
                  </a:cubicBezTo>
                  <a:cubicBezTo>
                    <a:pt x="263" y="249"/>
                    <a:pt x="263" y="249"/>
                    <a:pt x="263" y="249"/>
                  </a:cubicBezTo>
                  <a:cubicBezTo>
                    <a:pt x="259" y="240"/>
                    <a:pt x="259" y="240"/>
                    <a:pt x="259" y="240"/>
                  </a:cubicBezTo>
                  <a:cubicBezTo>
                    <a:pt x="234" y="243"/>
                    <a:pt x="234" y="243"/>
                    <a:pt x="234" y="243"/>
                  </a:cubicBezTo>
                  <a:cubicBezTo>
                    <a:pt x="225" y="231"/>
                    <a:pt x="225" y="231"/>
                    <a:pt x="225" y="231"/>
                  </a:cubicBezTo>
                  <a:cubicBezTo>
                    <a:pt x="197" y="219"/>
                    <a:pt x="197" y="219"/>
                    <a:pt x="197" y="219"/>
                  </a:cubicBezTo>
                  <a:cubicBezTo>
                    <a:pt x="171" y="230"/>
                    <a:pt x="171" y="230"/>
                    <a:pt x="171" y="230"/>
                  </a:cubicBezTo>
                  <a:cubicBezTo>
                    <a:pt x="187" y="239"/>
                    <a:pt x="187" y="239"/>
                    <a:pt x="187" y="239"/>
                  </a:cubicBezTo>
                  <a:cubicBezTo>
                    <a:pt x="203" y="245"/>
                    <a:pt x="203" y="245"/>
                    <a:pt x="203" y="245"/>
                  </a:cubicBezTo>
                  <a:cubicBezTo>
                    <a:pt x="203" y="245"/>
                    <a:pt x="208" y="237"/>
                    <a:pt x="209" y="238"/>
                  </a:cubicBezTo>
                  <a:cubicBezTo>
                    <a:pt x="210" y="240"/>
                    <a:pt x="217" y="247"/>
                    <a:pt x="217" y="247"/>
                  </a:cubicBezTo>
                  <a:cubicBezTo>
                    <a:pt x="226" y="249"/>
                    <a:pt x="226" y="249"/>
                    <a:pt x="226" y="249"/>
                  </a:cubicBezTo>
                  <a:cubicBezTo>
                    <a:pt x="229" y="256"/>
                    <a:pt x="229" y="256"/>
                    <a:pt x="229" y="256"/>
                  </a:cubicBezTo>
                  <a:cubicBezTo>
                    <a:pt x="256" y="258"/>
                    <a:pt x="256" y="258"/>
                    <a:pt x="256" y="258"/>
                  </a:cubicBezTo>
                  <a:cubicBezTo>
                    <a:pt x="256" y="271"/>
                    <a:pt x="256" y="271"/>
                    <a:pt x="256" y="271"/>
                  </a:cubicBezTo>
                  <a:cubicBezTo>
                    <a:pt x="267" y="291"/>
                    <a:pt x="267" y="291"/>
                    <a:pt x="267" y="291"/>
                  </a:cubicBezTo>
                  <a:cubicBezTo>
                    <a:pt x="260" y="301"/>
                    <a:pt x="260" y="301"/>
                    <a:pt x="260" y="301"/>
                  </a:cubicBezTo>
                  <a:cubicBezTo>
                    <a:pt x="237" y="283"/>
                    <a:pt x="237" y="283"/>
                    <a:pt x="237" y="283"/>
                  </a:cubicBezTo>
                  <a:cubicBezTo>
                    <a:pt x="227" y="278"/>
                    <a:pt x="227" y="278"/>
                    <a:pt x="227" y="278"/>
                  </a:cubicBezTo>
                  <a:cubicBezTo>
                    <a:pt x="209" y="289"/>
                    <a:pt x="209" y="289"/>
                    <a:pt x="209" y="289"/>
                  </a:cubicBezTo>
                  <a:cubicBezTo>
                    <a:pt x="201" y="288"/>
                    <a:pt x="201" y="288"/>
                    <a:pt x="201" y="288"/>
                  </a:cubicBezTo>
                  <a:cubicBezTo>
                    <a:pt x="201" y="294"/>
                    <a:pt x="201" y="294"/>
                    <a:pt x="201" y="294"/>
                  </a:cubicBezTo>
                  <a:cubicBezTo>
                    <a:pt x="194" y="279"/>
                    <a:pt x="194" y="279"/>
                    <a:pt x="194" y="279"/>
                  </a:cubicBezTo>
                  <a:cubicBezTo>
                    <a:pt x="208" y="278"/>
                    <a:pt x="208" y="278"/>
                    <a:pt x="208" y="278"/>
                  </a:cubicBezTo>
                  <a:cubicBezTo>
                    <a:pt x="209" y="269"/>
                    <a:pt x="209" y="269"/>
                    <a:pt x="209" y="269"/>
                  </a:cubicBezTo>
                  <a:cubicBezTo>
                    <a:pt x="184" y="271"/>
                    <a:pt x="184" y="271"/>
                    <a:pt x="184" y="271"/>
                  </a:cubicBezTo>
                  <a:cubicBezTo>
                    <a:pt x="173" y="260"/>
                    <a:pt x="173" y="260"/>
                    <a:pt x="173" y="260"/>
                  </a:cubicBezTo>
                  <a:cubicBezTo>
                    <a:pt x="160" y="269"/>
                    <a:pt x="160" y="269"/>
                    <a:pt x="160" y="269"/>
                  </a:cubicBezTo>
                  <a:cubicBezTo>
                    <a:pt x="128" y="266"/>
                    <a:pt x="128" y="266"/>
                    <a:pt x="128" y="266"/>
                  </a:cubicBezTo>
                  <a:cubicBezTo>
                    <a:pt x="115" y="275"/>
                    <a:pt x="115" y="275"/>
                    <a:pt x="115" y="275"/>
                  </a:cubicBezTo>
                  <a:cubicBezTo>
                    <a:pt x="94" y="273"/>
                    <a:pt x="94" y="273"/>
                    <a:pt x="94" y="273"/>
                  </a:cubicBezTo>
                  <a:cubicBezTo>
                    <a:pt x="83" y="280"/>
                    <a:pt x="83" y="280"/>
                    <a:pt x="83" y="280"/>
                  </a:cubicBezTo>
                  <a:cubicBezTo>
                    <a:pt x="76" y="264"/>
                    <a:pt x="76" y="264"/>
                    <a:pt x="76" y="264"/>
                  </a:cubicBezTo>
                  <a:cubicBezTo>
                    <a:pt x="63" y="252"/>
                    <a:pt x="63" y="252"/>
                    <a:pt x="63" y="252"/>
                  </a:cubicBezTo>
                  <a:cubicBezTo>
                    <a:pt x="55" y="247"/>
                    <a:pt x="55" y="247"/>
                    <a:pt x="55" y="247"/>
                  </a:cubicBezTo>
                  <a:cubicBezTo>
                    <a:pt x="55" y="237"/>
                    <a:pt x="55" y="237"/>
                    <a:pt x="55" y="237"/>
                  </a:cubicBezTo>
                  <a:cubicBezTo>
                    <a:pt x="18" y="212"/>
                    <a:pt x="18" y="212"/>
                    <a:pt x="18" y="212"/>
                  </a:cubicBezTo>
                  <a:cubicBezTo>
                    <a:pt x="18" y="201"/>
                    <a:pt x="18" y="201"/>
                    <a:pt x="18" y="20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6" y="195"/>
                    <a:pt x="6" y="195"/>
                    <a:pt x="6" y="195"/>
                  </a:cubicBezTo>
                  <a:cubicBezTo>
                    <a:pt x="21" y="187"/>
                    <a:pt x="21" y="187"/>
                    <a:pt x="21" y="187"/>
                  </a:cubicBezTo>
                  <a:cubicBezTo>
                    <a:pt x="14" y="171"/>
                    <a:pt x="14" y="171"/>
                    <a:pt x="14" y="171"/>
                  </a:cubicBezTo>
                  <a:cubicBezTo>
                    <a:pt x="37" y="163"/>
                    <a:pt x="37" y="163"/>
                    <a:pt x="37" y="163"/>
                  </a:cubicBezTo>
                  <a:cubicBezTo>
                    <a:pt x="35" y="122"/>
                    <a:pt x="35" y="122"/>
                    <a:pt x="35" y="122"/>
                  </a:cubicBezTo>
                  <a:cubicBezTo>
                    <a:pt x="45" y="112"/>
                    <a:pt x="45" y="112"/>
                    <a:pt x="45" y="112"/>
                  </a:cubicBezTo>
                  <a:cubicBezTo>
                    <a:pt x="56" y="105"/>
                    <a:pt x="56" y="105"/>
                    <a:pt x="56" y="105"/>
                  </a:cubicBezTo>
                  <a:cubicBezTo>
                    <a:pt x="92" y="90"/>
                    <a:pt x="92" y="90"/>
                    <a:pt x="92" y="90"/>
                  </a:cubicBezTo>
                  <a:cubicBezTo>
                    <a:pt x="92" y="81"/>
                    <a:pt x="92" y="81"/>
                    <a:pt x="92" y="81"/>
                  </a:cubicBezTo>
                  <a:cubicBezTo>
                    <a:pt x="108" y="77"/>
                    <a:pt x="108" y="77"/>
                    <a:pt x="108" y="77"/>
                  </a:cubicBezTo>
                  <a:cubicBezTo>
                    <a:pt x="119" y="66"/>
                    <a:pt x="119" y="66"/>
                    <a:pt x="119" y="66"/>
                  </a:cubicBezTo>
                  <a:cubicBezTo>
                    <a:pt x="143" y="66"/>
                    <a:pt x="143" y="66"/>
                    <a:pt x="143" y="66"/>
                  </a:cubicBezTo>
                  <a:cubicBezTo>
                    <a:pt x="241" y="32"/>
                    <a:pt x="241" y="32"/>
                    <a:pt x="241" y="32"/>
                  </a:cubicBezTo>
                  <a:cubicBezTo>
                    <a:pt x="251" y="42"/>
                    <a:pt x="251" y="42"/>
                    <a:pt x="251" y="42"/>
                  </a:cubicBezTo>
                  <a:cubicBezTo>
                    <a:pt x="269" y="37"/>
                    <a:pt x="269" y="37"/>
                    <a:pt x="269" y="37"/>
                  </a:cubicBezTo>
                  <a:cubicBezTo>
                    <a:pt x="287" y="47"/>
                    <a:pt x="287" y="47"/>
                    <a:pt x="287" y="47"/>
                  </a:cubicBezTo>
                  <a:cubicBezTo>
                    <a:pt x="333" y="32"/>
                    <a:pt x="333" y="32"/>
                    <a:pt x="333" y="32"/>
                  </a:cubicBezTo>
                  <a:cubicBezTo>
                    <a:pt x="327" y="10"/>
                    <a:pt x="327" y="10"/>
                    <a:pt x="327" y="10"/>
                  </a:cubicBezTo>
                  <a:cubicBezTo>
                    <a:pt x="339" y="0"/>
                    <a:pt x="339" y="0"/>
                    <a:pt x="339" y="0"/>
                  </a:cubicBezTo>
                  <a:cubicBezTo>
                    <a:pt x="371" y="16"/>
                    <a:pt x="371" y="16"/>
                    <a:pt x="371" y="16"/>
                  </a:cubicBezTo>
                  <a:cubicBezTo>
                    <a:pt x="350" y="32"/>
                    <a:pt x="350" y="32"/>
                    <a:pt x="350" y="32"/>
                  </a:cubicBezTo>
                  <a:cubicBezTo>
                    <a:pt x="342" y="66"/>
                    <a:pt x="342" y="66"/>
                    <a:pt x="342" y="66"/>
                  </a:cubicBezTo>
                  <a:lnTo>
                    <a:pt x="366" y="7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55"/>
            <p:cNvSpPr>
              <a:spLocks/>
            </p:cNvSpPr>
            <p:nvPr/>
          </p:nvSpPr>
          <p:spPr bwMode="auto">
            <a:xfrm>
              <a:off x="10837183" y="6388100"/>
              <a:ext cx="409575" cy="341313"/>
            </a:xfrm>
            <a:custGeom>
              <a:avLst/>
              <a:gdLst>
                <a:gd name="T0" fmla="*/ 103 w 143"/>
                <a:gd name="T1" fmla="*/ 21 h 119"/>
                <a:gd name="T2" fmla="*/ 113 w 143"/>
                <a:gd name="T3" fmla="*/ 21 h 119"/>
                <a:gd name="T4" fmla="*/ 120 w 143"/>
                <a:gd name="T5" fmla="*/ 21 h 119"/>
                <a:gd name="T6" fmla="*/ 126 w 143"/>
                <a:gd name="T7" fmla="*/ 36 h 119"/>
                <a:gd name="T8" fmla="*/ 143 w 143"/>
                <a:gd name="T9" fmla="*/ 36 h 119"/>
                <a:gd name="T10" fmla="*/ 143 w 143"/>
                <a:gd name="T11" fmla="*/ 52 h 119"/>
                <a:gd name="T12" fmla="*/ 123 w 143"/>
                <a:gd name="T13" fmla="*/ 48 h 119"/>
                <a:gd name="T14" fmla="*/ 109 w 143"/>
                <a:gd name="T15" fmla="*/ 42 h 119"/>
                <a:gd name="T16" fmla="*/ 95 w 143"/>
                <a:gd name="T17" fmla="*/ 43 h 119"/>
                <a:gd name="T18" fmla="*/ 104 w 143"/>
                <a:gd name="T19" fmla="*/ 55 h 119"/>
                <a:gd name="T20" fmla="*/ 127 w 143"/>
                <a:gd name="T21" fmla="*/ 80 h 119"/>
                <a:gd name="T22" fmla="*/ 131 w 143"/>
                <a:gd name="T23" fmla="*/ 102 h 119"/>
                <a:gd name="T24" fmla="*/ 116 w 143"/>
                <a:gd name="T25" fmla="*/ 99 h 119"/>
                <a:gd name="T26" fmla="*/ 101 w 143"/>
                <a:gd name="T27" fmla="*/ 93 h 119"/>
                <a:gd name="T28" fmla="*/ 99 w 143"/>
                <a:gd name="T29" fmla="*/ 106 h 119"/>
                <a:gd name="T30" fmla="*/ 100 w 143"/>
                <a:gd name="T31" fmla="*/ 119 h 119"/>
                <a:gd name="T32" fmla="*/ 86 w 143"/>
                <a:gd name="T33" fmla="*/ 119 h 119"/>
                <a:gd name="T34" fmla="*/ 86 w 143"/>
                <a:gd name="T35" fmla="*/ 103 h 119"/>
                <a:gd name="T36" fmla="*/ 73 w 143"/>
                <a:gd name="T37" fmla="*/ 83 h 119"/>
                <a:gd name="T38" fmla="*/ 62 w 143"/>
                <a:gd name="T39" fmla="*/ 84 h 119"/>
                <a:gd name="T40" fmla="*/ 62 w 143"/>
                <a:gd name="T41" fmla="*/ 106 h 119"/>
                <a:gd name="T42" fmla="*/ 48 w 143"/>
                <a:gd name="T43" fmla="*/ 109 h 119"/>
                <a:gd name="T44" fmla="*/ 41 w 143"/>
                <a:gd name="T45" fmla="*/ 93 h 119"/>
                <a:gd name="T46" fmla="*/ 29 w 143"/>
                <a:gd name="T47" fmla="*/ 80 h 119"/>
                <a:gd name="T48" fmla="*/ 38 w 143"/>
                <a:gd name="T49" fmla="*/ 67 h 119"/>
                <a:gd name="T50" fmla="*/ 19 w 143"/>
                <a:gd name="T51" fmla="*/ 46 h 119"/>
                <a:gd name="T52" fmla="*/ 0 w 143"/>
                <a:gd name="T53" fmla="*/ 33 h 119"/>
                <a:gd name="T54" fmla="*/ 12 w 143"/>
                <a:gd name="T55" fmla="*/ 15 h 119"/>
                <a:gd name="T56" fmla="*/ 29 w 143"/>
                <a:gd name="T57" fmla="*/ 8 h 119"/>
                <a:gd name="T58" fmla="*/ 39 w 143"/>
                <a:gd name="T59" fmla="*/ 0 h 119"/>
                <a:gd name="T60" fmla="*/ 74 w 143"/>
                <a:gd name="T61" fmla="*/ 5 h 119"/>
                <a:gd name="T62" fmla="*/ 89 w 143"/>
                <a:gd name="T63" fmla="*/ 6 h 119"/>
                <a:gd name="T64" fmla="*/ 101 w 143"/>
                <a:gd name="T65" fmla="*/ 16 h 119"/>
                <a:gd name="T66" fmla="*/ 103 w 143"/>
                <a:gd name="T67" fmla="*/ 21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3" h="119">
                  <a:moveTo>
                    <a:pt x="103" y="21"/>
                  </a:moveTo>
                  <a:cubicBezTo>
                    <a:pt x="113" y="21"/>
                    <a:pt x="113" y="21"/>
                    <a:pt x="113" y="21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43" y="36"/>
                    <a:pt x="143" y="36"/>
                    <a:pt x="143" y="36"/>
                  </a:cubicBezTo>
                  <a:cubicBezTo>
                    <a:pt x="143" y="52"/>
                    <a:pt x="143" y="52"/>
                    <a:pt x="143" y="52"/>
                  </a:cubicBezTo>
                  <a:cubicBezTo>
                    <a:pt x="123" y="48"/>
                    <a:pt x="123" y="48"/>
                    <a:pt x="123" y="48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95" y="43"/>
                    <a:pt x="95" y="43"/>
                    <a:pt x="95" y="43"/>
                  </a:cubicBezTo>
                  <a:cubicBezTo>
                    <a:pt x="104" y="55"/>
                    <a:pt x="104" y="55"/>
                    <a:pt x="104" y="55"/>
                  </a:cubicBezTo>
                  <a:cubicBezTo>
                    <a:pt x="127" y="80"/>
                    <a:pt x="127" y="80"/>
                    <a:pt x="127" y="80"/>
                  </a:cubicBezTo>
                  <a:cubicBezTo>
                    <a:pt x="131" y="102"/>
                    <a:pt x="131" y="102"/>
                    <a:pt x="131" y="102"/>
                  </a:cubicBezTo>
                  <a:cubicBezTo>
                    <a:pt x="116" y="99"/>
                    <a:pt x="116" y="99"/>
                    <a:pt x="116" y="99"/>
                  </a:cubicBezTo>
                  <a:cubicBezTo>
                    <a:pt x="101" y="93"/>
                    <a:pt x="101" y="93"/>
                    <a:pt x="101" y="93"/>
                  </a:cubicBezTo>
                  <a:cubicBezTo>
                    <a:pt x="99" y="106"/>
                    <a:pt x="99" y="106"/>
                    <a:pt x="99" y="106"/>
                  </a:cubicBezTo>
                  <a:cubicBezTo>
                    <a:pt x="99" y="106"/>
                    <a:pt x="102" y="119"/>
                    <a:pt x="100" y="119"/>
                  </a:cubicBezTo>
                  <a:cubicBezTo>
                    <a:pt x="98" y="119"/>
                    <a:pt x="86" y="119"/>
                    <a:pt x="86" y="119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73" y="83"/>
                    <a:pt x="73" y="83"/>
                    <a:pt x="73" y="83"/>
                  </a:cubicBezTo>
                  <a:cubicBezTo>
                    <a:pt x="62" y="84"/>
                    <a:pt x="62" y="84"/>
                    <a:pt x="62" y="84"/>
                  </a:cubicBezTo>
                  <a:cubicBezTo>
                    <a:pt x="62" y="106"/>
                    <a:pt x="62" y="106"/>
                    <a:pt x="62" y="106"/>
                  </a:cubicBezTo>
                  <a:cubicBezTo>
                    <a:pt x="62" y="106"/>
                    <a:pt x="49" y="112"/>
                    <a:pt x="48" y="109"/>
                  </a:cubicBezTo>
                  <a:cubicBezTo>
                    <a:pt x="47" y="106"/>
                    <a:pt x="41" y="93"/>
                    <a:pt x="41" y="93"/>
                  </a:cubicBezTo>
                  <a:cubicBezTo>
                    <a:pt x="29" y="80"/>
                    <a:pt x="29" y="80"/>
                    <a:pt x="29" y="80"/>
                  </a:cubicBezTo>
                  <a:cubicBezTo>
                    <a:pt x="29" y="80"/>
                    <a:pt x="38" y="68"/>
                    <a:pt x="38" y="67"/>
                  </a:cubicBezTo>
                  <a:cubicBezTo>
                    <a:pt x="37" y="65"/>
                    <a:pt x="19" y="46"/>
                    <a:pt x="19" y="46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74" y="5"/>
                    <a:pt x="74" y="5"/>
                    <a:pt x="74" y="5"/>
                  </a:cubicBezTo>
                  <a:cubicBezTo>
                    <a:pt x="89" y="6"/>
                    <a:pt x="89" y="6"/>
                    <a:pt x="89" y="6"/>
                  </a:cubicBezTo>
                  <a:cubicBezTo>
                    <a:pt x="101" y="16"/>
                    <a:pt x="101" y="16"/>
                    <a:pt x="101" y="16"/>
                  </a:cubicBezTo>
                  <a:lnTo>
                    <a:pt x="103" y="21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0" name="Bulgaria"/>
          <p:cNvSpPr>
            <a:spLocks/>
          </p:cNvSpPr>
          <p:nvPr/>
        </p:nvSpPr>
        <p:spPr bwMode="auto">
          <a:xfrm>
            <a:off x="10827276" y="5108575"/>
            <a:ext cx="971550" cy="679450"/>
          </a:xfrm>
          <a:custGeom>
            <a:avLst/>
            <a:gdLst>
              <a:gd name="T0" fmla="*/ 612 w 612"/>
              <a:gd name="T1" fmla="*/ 72 h 428"/>
              <a:gd name="T2" fmla="*/ 572 w 612"/>
              <a:gd name="T3" fmla="*/ 72 h 428"/>
              <a:gd name="T4" fmla="*/ 560 w 612"/>
              <a:gd name="T5" fmla="*/ 101 h 428"/>
              <a:gd name="T6" fmla="*/ 576 w 612"/>
              <a:gd name="T7" fmla="*/ 157 h 428"/>
              <a:gd name="T8" fmla="*/ 535 w 612"/>
              <a:gd name="T9" fmla="*/ 197 h 428"/>
              <a:gd name="T10" fmla="*/ 565 w 612"/>
              <a:gd name="T11" fmla="*/ 215 h 428"/>
              <a:gd name="T12" fmla="*/ 600 w 612"/>
              <a:gd name="T13" fmla="*/ 238 h 428"/>
              <a:gd name="T14" fmla="*/ 565 w 612"/>
              <a:gd name="T15" fmla="*/ 262 h 428"/>
              <a:gd name="T16" fmla="*/ 535 w 612"/>
              <a:gd name="T17" fmla="*/ 247 h 428"/>
              <a:gd name="T18" fmla="*/ 462 w 612"/>
              <a:gd name="T19" fmla="*/ 276 h 428"/>
              <a:gd name="T20" fmla="*/ 442 w 612"/>
              <a:gd name="T21" fmla="*/ 309 h 428"/>
              <a:gd name="T22" fmla="*/ 421 w 612"/>
              <a:gd name="T23" fmla="*/ 327 h 428"/>
              <a:gd name="T24" fmla="*/ 432 w 612"/>
              <a:gd name="T25" fmla="*/ 367 h 428"/>
              <a:gd name="T26" fmla="*/ 374 w 612"/>
              <a:gd name="T27" fmla="*/ 385 h 428"/>
              <a:gd name="T28" fmla="*/ 348 w 612"/>
              <a:gd name="T29" fmla="*/ 394 h 428"/>
              <a:gd name="T30" fmla="*/ 316 w 612"/>
              <a:gd name="T31" fmla="*/ 376 h 428"/>
              <a:gd name="T32" fmla="*/ 283 w 612"/>
              <a:gd name="T33" fmla="*/ 385 h 428"/>
              <a:gd name="T34" fmla="*/ 265 w 612"/>
              <a:gd name="T35" fmla="*/ 367 h 428"/>
              <a:gd name="T36" fmla="*/ 164 w 612"/>
              <a:gd name="T37" fmla="*/ 406 h 428"/>
              <a:gd name="T38" fmla="*/ 88 w 612"/>
              <a:gd name="T39" fmla="*/ 428 h 428"/>
              <a:gd name="T40" fmla="*/ 105 w 612"/>
              <a:gd name="T41" fmla="*/ 383 h 428"/>
              <a:gd name="T42" fmla="*/ 88 w 612"/>
              <a:gd name="T43" fmla="*/ 339 h 428"/>
              <a:gd name="T44" fmla="*/ 23 w 612"/>
              <a:gd name="T45" fmla="*/ 316 h 428"/>
              <a:gd name="T46" fmla="*/ 41 w 612"/>
              <a:gd name="T47" fmla="*/ 287 h 428"/>
              <a:gd name="T48" fmla="*/ 23 w 612"/>
              <a:gd name="T49" fmla="*/ 251 h 428"/>
              <a:gd name="T50" fmla="*/ 74 w 612"/>
              <a:gd name="T51" fmla="*/ 195 h 428"/>
              <a:gd name="T52" fmla="*/ 0 w 612"/>
              <a:gd name="T53" fmla="*/ 153 h 428"/>
              <a:gd name="T54" fmla="*/ 0 w 612"/>
              <a:gd name="T55" fmla="*/ 106 h 428"/>
              <a:gd name="T56" fmla="*/ 36 w 612"/>
              <a:gd name="T57" fmla="*/ 85 h 428"/>
              <a:gd name="T58" fmla="*/ 40 w 612"/>
              <a:gd name="T59" fmla="*/ 112 h 428"/>
              <a:gd name="T60" fmla="*/ 72 w 612"/>
              <a:gd name="T61" fmla="*/ 123 h 428"/>
              <a:gd name="T62" fmla="*/ 108 w 612"/>
              <a:gd name="T63" fmla="*/ 103 h 428"/>
              <a:gd name="T64" fmla="*/ 188 w 612"/>
              <a:gd name="T65" fmla="*/ 115 h 428"/>
              <a:gd name="T66" fmla="*/ 206 w 612"/>
              <a:gd name="T67" fmla="*/ 99 h 428"/>
              <a:gd name="T68" fmla="*/ 309 w 612"/>
              <a:gd name="T69" fmla="*/ 99 h 428"/>
              <a:gd name="T70" fmla="*/ 354 w 612"/>
              <a:gd name="T71" fmla="*/ 41 h 428"/>
              <a:gd name="T72" fmla="*/ 451 w 612"/>
              <a:gd name="T73" fmla="*/ 0 h 428"/>
              <a:gd name="T74" fmla="*/ 489 w 612"/>
              <a:gd name="T75" fmla="*/ 5 h 428"/>
              <a:gd name="T76" fmla="*/ 520 w 612"/>
              <a:gd name="T77" fmla="*/ 14 h 428"/>
              <a:gd name="T78" fmla="*/ 531 w 612"/>
              <a:gd name="T79" fmla="*/ 5 h 428"/>
              <a:gd name="T80" fmla="*/ 556 w 612"/>
              <a:gd name="T81" fmla="*/ 20 h 428"/>
              <a:gd name="T82" fmla="*/ 607 w 612"/>
              <a:gd name="T83" fmla="*/ 20 h 428"/>
              <a:gd name="T84" fmla="*/ 612 w 612"/>
              <a:gd name="T85" fmla="*/ 72 h 4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612" h="428">
                <a:moveTo>
                  <a:pt x="612" y="72"/>
                </a:moveTo>
                <a:lnTo>
                  <a:pt x="572" y="72"/>
                </a:lnTo>
                <a:lnTo>
                  <a:pt x="560" y="101"/>
                </a:lnTo>
                <a:lnTo>
                  <a:pt x="576" y="157"/>
                </a:lnTo>
                <a:lnTo>
                  <a:pt x="535" y="197"/>
                </a:lnTo>
                <a:lnTo>
                  <a:pt x="565" y="215"/>
                </a:lnTo>
                <a:lnTo>
                  <a:pt x="600" y="238"/>
                </a:lnTo>
                <a:lnTo>
                  <a:pt x="565" y="262"/>
                </a:lnTo>
                <a:lnTo>
                  <a:pt x="535" y="247"/>
                </a:lnTo>
                <a:lnTo>
                  <a:pt x="462" y="276"/>
                </a:lnTo>
                <a:lnTo>
                  <a:pt x="442" y="309"/>
                </a:lnTo>
                <a:lnTo>
                  <a:pt x="421" y="327"/>
                </a:lnTo>
                <a:lnTo>
                  <a:pt x="432" y="367"/>
                </a:lnTo>
                <a:lnTo>
                  <a:pt x="374" y="385"/>
                </a:lnTo>
                <a:lnTo>
                  <a:pt x="348" y="394"/>
                </a:lnTo>
                <a:lnTo>
                  <a:pt x="316" y="376"/>
                </a:lnTo>
                <a:lnTo>
                  <a:pt x="283" y="385"/>
                </a:lnTo>
                <a:lnTo>
                  <a:pt x="265" y="367"/>
                </a:lnTo>
                <a:lnTo>
                  <a:pt x="164" y="406"/>
                </a:lnTo>
                <a:lnTo>
                  <a:pt x="88" y="428"/>
                </a:lnTo>
                <a:lnTo>
                  <a:pt x="105" y="383"/>
                </a:lnTo>
                <a:lnTo>
                  <a:pt x="88" y="339"/>
                </a:lnTo>
                <a:lnTo>
                  <a:pt x="23" y="316"/>
                </a:lnTo>
                <a:lnTo>
                  <a:pt x="41" y="287"/>
                </a:lnTo>
                <a:lnTo>
                  <a:pt x="23" y="251"/>
                </a:lnTo>
                <a:lnTo>
                  <a:pt x="74" y="195"/>
                </a:lnTo>
                <a:lnTo>
                  <a:pt x="0" y="153"/>
                </a:lnTo>
                <a:lnTo>
                  <a:pt x="0" y="106"/>
                </a:lnTo>
                <a:lnTo>
                  <a:pt x="36" y="85"/>
                </a:lnTo>
                <a:lnTo>
                  <a:pt x="40" y="112"/>
                </a:lnTo>
                <a:lnTo>
                  <a:pt x="72" y="123"/>
                </a:lnTo>
                <a:lnTo>
                  <a:pt x="108" y="103"/>
                </a:lnTo>
                <a:lnTo>
                  <a:pt x="188" y="115"/>
                </a:lnTo>
                <a:lnTo>
                  <a:pt x="206" y="99"/>
                </a:lnTo>
                <a:lnTo>
                  <a:pt x="309" y="99"/>
                </a:lnTo>
                <a:lnTo>
                  <a:pt x="354" y="41"/>
                </a:lnTo>
                <a:lnTo>
                  <a:pt x="451" y="0"/>
                </a:lnTo>
                <a:lnTo>
                  <a:pt x="489" y="5"/>
                </a:lnTo>
                <a:lnTo>
                  <a:pt x="520" y="14"/>
                </a:lnTo>
                <a:lnTo>
                  <a:pt x="531" y="5"/>
                </a:lnTo>
                <a:lnTo>
                  <a:pt x="556" y="20"/>
                </a:lnTo>
                <a:lnTo>
                  <a:pt x="607" y="20"/>
                </a:lnTo>
                <a:lnTo>
                  <a:pt x="612" y="72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Macedonia"/>
          <p:cNvSpPr>
            <a:spLocks/>
          </p:cNvSpPr>
          <p:nvPr/>
        </p:nvSpPr>
        <p:spPr bwMode="auto">
          <a:xfrm>
            <a:off x="10574863" y="5589588"/>
            <a:ext cx="419100" cy="330200"/>
          </a:xfrm>
          <a:custGeom>
            <a:avLst/>
            <a:gdLst>
              <a:gd name="T0" fmla="*/ 159 w 264"/>
              <a:gd name="T1" fmla="*/ 0 h 208"/>
              <a:gd name="T2" fmla="*/ 182 w 264"/>
              <a:gd name="T3" fmla="*/ 13 h 208"/>
              <a:gd name="T4" fmla="*/ 247 w 264"/>
              <a:gd name="T5" fmla="*/ 36 h 208"/>
              <a:gd name="T6" fmla="*/ 264 w 264"/>
              <a:gd name="T7" fmla="*/ 80 h 208"/>
              <a:gd name="T8" fmla="*/ 247 w 264"/>
              <a:gd name="T9" fmla="*/ 125 h 208"/>
              <a:gd name="T10" fmla="*/ 204 w 264"/>
              <a:gd name="T11" fmla="*/ 125 h 208"/>
              <a:gd name="T12" fmla="*/ 184 w 264"/>
              <a:gd name="T13" fmla="*/ 145 h 208"/>
              <a:gd name="T14" fmla="*/ 155 w 264"/>
              <a:gd name="T15" fmla="*/ 152 h 208"/>
              <a:gd name="T16" fmla="*/ 155 w 264"/>
              <a:gd name="T17" fmla="*/ 172 h 208"/>
              <a:gd name="T18" fmla="*/ 90 w 264"/>
              <a:gd name="T19" fmla="*/ 195 h 208"/>
              <a:gd name="T20" fmla="*/ 70 w 264"/>
              <a:gd name="T21" fmla="*/ 208 h 208"/>
              <a:gd name="T22" fmla="*/ 63 w 264"/>
              <a:gd name="T23" fmla="*/ 192 h 208"/>
              <a:gd name="T24" fmla="*/ 43 w 264"/>
              <a:gd name="T25" fmla="*/ 195 h 208"/>
              <a:gd name="T26" fmla="*/ 12 w 264"/>
              <a:gd name="T27" fmla="*/ 154 h 208"/>
              <a:gd name="T28" fmla="*/ 12 w 264"/>
              <a:gd name="T29" fmla="*/ 129 h 208"/>
              <a:gd name="T30" fmla="*/ 0 w 264"/>
              <a:gd name="T31" fmla="*/ 96 h 208"/>
              <a:gd name="T32" fmla="*/ 0 w 264"/>
              <a:gd name="T33" fmla="*/ 36 h 208"/>
              <a:gd name="T34" fmla="*/ 63 w 264"/>
              <a:gd name="T35" fmla="*/ 42 h 208"/>
              <a:gd name="T36" fmla="*/ 97 w 264"/>
              <a:gd name="T37" fmla="*/ 20 h 208"/>
              <a:gd name="T38" fmla="*/ 132 w 264"/>
              <a:gd name="T39" fmla="*/ 17 h 208"/>
              <a:gd name="T40" fmla="*/ 159 w 264"/>
              <a:gd name="T41" fmla="*/ 0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64" h="208">
                <a:moveTo>
                  <a:pt x="159" y="0"/>
                </a:moveTo>
                <a:lnTo>
                  <a:pt x="182" y="13"/>
                </a:lnTo>
                <a:lnTo>
                  <a:pt x="247" y="36"/>
                </a:lnTo>
                <a:lnTo>
                  <a:pt x="264" y="80"/>
                </a:lnTo>
                <a:lnTo>
                  <a:pt x="247" y="125"/>
                </a:lnTo>
                <a:lnTo>
                  <a:pt x="204" y="125"/>
                </a:lnTo>
                <a:lnTo>
                  <a:pt x="184" y="145"/>
                </a:lnTo>
                <a:lnTo>
                  <a:pt x="155" y="152"/>
                </a:lnTo>
                <a:lnTo>
                  <a:pt x="155" y="172"/>
                </a:lnTo>
                <a:lnTo>
                  <a:pt x="90" y="195"/>
                </a:lnTo>
                <a:lnTo>
                  <a:pt x="70" y="208"/>
                </a:lnTo>
                <a:lnTo>
                  <a:pt x="63" y="192"/>
                </a:lnTo>
                <a:lnTo>
                  <a:pt x="43" y="195"/>
                </a:lnTo>
                <a:lnTo>
                  <a:pt x="12" y="154"/>
                </a:lnTo>
                <a:lnTo>
                  <a:pt x="12" y="129"/>
                </a:lnTo>
                <a:lnTo>
                  <a:pt x="0" y="96"/>
                </a:lnTo>
                <a:lnTo>
                  <a:pt x="0" y="36"/>
                </a:lnTo>
                <a:lnTo>
                  <a:pt x="63" y="42"/>
                </a:lnTo>
                <a:lnTo>
                  <a:pt x="97" y="20"/>
                </a:lnTo>
                <a:lnTo>
                  <a:pt x="132" y="17"/>
                </a:lnTo>
                <a:lnTo>
                  <a:pt x="159" y="0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Albania"/>
          <p:cNvSpPr>
            <a:spLocks/>
          </p:cNvSpPr>
          <p:nvPr/>
        </p:nvSpPr>
        <p:spPr bwMode="auto">
          <a:xfrm>
            <a:off x="10376426" y="5602288"/>
            <a:ext cx="309563" cy="561975"/>
          </a:xfrm>
          <a:custGeom>
            <a:avLst/>
            <a:gdLst>
              <a:gd name="T0" fmla="*/ 2 w 195"/>
              <a:gd name="T1" fmla="*/ 85 h 354"/>
              <a:gd name="T2" fmla="*/ 11 w 195"/>
              <a:gd name="T3" fmla="*/ 85 h 354"/>
              <a:gd name="T4" fmla="*/ 29 w 195"/>
              <a:gd name="T5" fmla="*/ 59 h 354"/>
              <a:gd name="T6" fmla="*/ 33 w 195"/>
              <a:gd name="T7" fmla="*/ 25 h 354"/>
              <a:gd name="T8" fmla="*/ 47 w 195"/>
              <a:gd name="T9" fmla="*/ 0 h 354"/>
              <a:gd name="T10" fmla="*/ 65 w 195"/>
              <a:gd name="T11" fmla="*/ 14 h 354"/>
              <a:gd name="T12" fmla="*/ 78 w 195"/>
              <a:gd name="T13" fmla="*/ 1 h 354"/>
              <a:gd name="T14" fmla="*/ 114 w 195"/>
              <a:gd name="T15" fmla="*/ 27 h 354"/>
              <a:gd name="T16" fmla="*/ 125 w 195"/>
              <a:gd name="T17" fmla="*/ 28 h 354"/>
              <a:gd name="T18" fmla="*/ 125 w 195"/>
              <a:gd name="T19" fmla="*/ 88 h 354"/>
              <a:gd name="T20" fmla="*/ 137 w 195"/>
              <a:gd name="T21" fmla="*/ 121 h 354"/>
              <a:gd name="T22" fmla="*/ 137 w 195"/>
              <a:gd name="T23" fmla="*/ 146 h 354"/>
              <a:gd name="T24" fmla="*/ 168 w 195"/>
              <a:gd name="T25" fmla="*/ 187 h 354"/>
              <a:gd name="T26" fmla="*/ 188 w 195"/>
              <a:gd name="T27" fmla="*/ 184 h 354"/>
              <a:gd name="T28" fmla="*/ 195 w 195"/>
              <a:gd name="T29" fmla="*/ 200 h 354"/>
              <a:gd name="T30" fmla="*/ 177 w 195"/>
              <a:gd name="T31" fmla="*/ 218 h 354"/>
              <a:gd name="T32" fmla="*/ 181 w 195"/>
              <a:gd name="T33" fmla="*/ 292 h 354"/>
              <a:gd name="T34" fmla="*/ 139 w 195"/>
              <a:gd name="T35" fmla="*/ 307 h 354"/>
              <a:gd name="T36" fmla="*/ 152 w 195"/>
              <a:gd name="T37" fmla="*/ 336 h 354"/>
              <a:gd name="T38" fmla="*/ 121 w 195"/>
              <a:gd name="T39" fmla="*/ 354 h 354"/>
              <a:gd name="T40" fmla="*/ 105 w 195"/>
              <a:gd name="T41" fmla="*/ 325 h 354"/>
              <a:gd name="T42" fmla="*/ 89 w 195"/>
              <a:gd name="T43" fmla="*/ 301 h 354"/>
              <a:gd name="T44" fmla="*/ 29 w 195"/>
              <a:gd name="T45" fmla="*/ 283 h 354"/>
              <a:gd name="T46" fmla="*/ 36 w 195"/>
              <a:gd name="T47" fmla="*/ 249 h 354"/>
              <a:gd name="T48" fmla="*/ 42 w 195"/>
              <a:gd name="T49" fmla="*/ 200 h 354"/>
              <a:gd name="T50" fmla="*/ 33 w 195"/>
              <a:gd name="T51" fmla="*/ 177 h 354"/>
              <a:gd name="T52" fmla="*/ 40 w 195"/>
              <a:gd name="T53" fmla="*/ 171 h 354"/>
              <a:gd name="T54" fmla="*/ 22 w 195"/>
              <a:gd name="T55" fmla="*/ 144 h 354"/>
              <a:gd name="T56" fmla="*/ 42 w 195"/>
              <a:gd name="T57" fmla="*/ 117 h 354"/>
              <a:gd name="T58" fmla="*/ 34 w 195"/>
              <a:gd name="T59" fmla="*/ 95 h 354"/>
              <a:gd name="T60" fmla="*/ 18 w 195"/>
              <a:gd name="T61" fmla="*/ 95 h 354"/>
              <a:gd name="T62" fmla="*/ 0 w 195"/>
              <a:gd name="T63" fmla="*/ 95 h 354"/>
              <a:gd name="T64" fmla="*/ 2 w 195"/>
              <a:gd name="T65" fmla="*/ 85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95" h="354">
                <a:moveTo>
                  <a:pt x="2" y="85"/>
                </a:moveTo>
                <a:lnTo>
                  <a:pt x="11" y="85"/>
                </a:lnTo>
                <a:lnTo>
                  <a:pt x="29" y="59"/>
                </a:lnTo>
                <a:lnTo>
                  <a:pt x="33" y="25"/>
                </a:lnTo>
                <a:lnTo>
                  <a:pt x="47" y="0"/>
                </a:lnTo>
                <a:lnTo>
                  <a:pt x="65" y="14"/>
                </a:lnTo>
                <a:lnTo>
                  <a:pt x="78" y="1"/>
                </a:lnTo>
                <a:lnTo>
                  <a:pt x="114" y="27"/>
                </a:lnTo>
                <a:lnTo>
                  <a:pt x="125" y="28"/>
                </a:lnTo>
                <a:lnTo>
                  <a:pt x="125" y="88"/>
                </a:lnTo>
                <a:lnTo>
                  <a:pt x="137" y="121"/>
                </a:lnTo>
                <a:lnTo>
                  <a:pt x="137" y="146"/>
                </a:lnTo>
                <a:lnTo>
                  <a:pt x="168" y="187"/>
                </a:lnTo>
                <a:lnTo>
                  <a:pt x="188" y="184"/>
                </a:lnTo>
                <a:lnTo>
                  <a:pt x="195" y="200"/>
                </a:lnTo>
                <a:lnTo>
                  <a:pt x="177" y="218"/>
                </a:lnTo>
                <a:lnTo>
                  <a:pt x="181" y="292"/>
                </a:lnTo>
                <a:lnTo>
                  <a:pt x="139" y="307"/>
                </a:lnTo>
                <a:lnTo>
                  <a:pt x="152" y="336"/>
                </a:lnTo>
                <a:lnTo>
                  <a:pt x="121" y="354"/>
                </a:lnTo>
                <a:lnTo>
                  <a:pt x="105" y="325"/>
                </a:lnTo>
                <a:lnTo>
                  <a:pt x="89" y="301"/>
                </a:lnTo>
                <a:lnTo>
                  <a:pt x="29" y="283"/>
                </a:lnTo>
                <a:lnTo>
                  <a:pt x="36" y="249"/>
                </a:lnTo>
                <a:lnTo>
                  <a:pt x="42" y="200"/>
                </a:lnTo>
                <a:lnTo>
                  <a:pt x="33" y="177"/>
                </a:lnTo>
                <a:lnTo>
                  <a:pt x="40" y="171"/>
                </a:lnTo>
                <a:lnTo>
                  <a:pt x="22" y="144"/>
                </a:lnTo>
                <a:lnTo>
                  <a:pt x="42" y="117"/>
                </a:lnTo>
                <a:lnTo>
                  <a:pt x="34" y="95"/>
                </a:lnTo>
                <a:lnTo>
                  <a:pt x="18" y="95"/>
                </a:lnTo>
                <a:lnTo>
                  <a:pt x="0" y="95"/>
                </a:lnTo>
                <a:lnTo>
                  <a:pt x="2" y="85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3" name="Romania"/>
          <p:cNvSpPr>
            <a:spLocks/>
          </p:cNvSpPr>
          <p:nvPr/>
        </p:nvSpPr>
        <p:spPr bwMode="auto">
          <a:xfrm>
            <a:off x="10428813" y="4348163"/>
            <a:ext cx="1450975" cy="955675"/>
          </a:xfrm>
          <a:custGeom>
            <a:avLst/>
            <a:gdLst>
              <a:gd name="T0" fmla="*/ 335 w 506"/>
              <a:gd name="T1" fmla="*/ 34 h 333"/>
              <a:gd name="T2" fmla="*/ 404 w 506"/>
              <a:gd name="T3" fmla="*/ 136 h 333"/>
              <a:gd name="T4" fmla="*/ 440 w 506"/>
              <a:gd name="T5" fmla="*/ 170 h 333"/>
              <a:gd name="T6" fmla="*/ 473 w 506"/>
              <a:gd name="T7" fmla="*/ 156 h 333"/>
              <a:gd name="T8" fmla="*/ 506 w 506"/>
              <a:gd name="T9" fmla="*/ 163 h 333"/>
              <a:gd name="T10" fmla="*/ 482 w 506"/>
              <a:gd name="T11" fmla="*/ 204 h 333"/>
              <a:gd name="T12" fmla="*/ 467 w 506"/>
              <a:gd name="T13" fmla="*/ 200 h 333"/>
              <a:gd name="T14" fmla="*/ 473 w 506"/>
              <a:gd name="T15" fmla="*/ 220 h 333"/>
              <a:gd name="T16" fmla="*/ 471 w 506"/>
              <a:gd name="T17" fmla="*/ 264 h 333"/>
              <a:gd name="T18" fmla="*/ 447 w 506"/>
              <a:gd name="T19" fmla="*/ 276 h 333"/>
              <a:gd name="T20" fmla="*/ 427 w 506"/>
              <a:gd name="T21" fmla="*/ 273 h 333"/>
              <a:gd name="T22" fmla="*/ 389 w 506"/>
              <a:gd name="T23" fmla="*/ 265 h 333"/>
              <a:gd name="T24" fmla="*/ 310 w 506"/>
              <a:gd name="T25" fmla="*/ 320 h 333"/>
              <a:gd name="T26" fmla="*/ 243 w 506"/>
              <a:gd name="T27" fmla="*/ 329 h 333"/>
              <a:gd name="T28" fmla="*/ 179 w 506"/>
              <a:gd name="T29" fmla="*/ 333 h 333"/>
              <a:gd name="T30" fmla="*/ 157 w 506"/>
              <a:gd name="T31" fmla="*/ 300 h 333"/>
              <a:gd name="T32" fmla="*/ 153 w 506"/>
              <a:gd name="T33" fmla="*/ 284 h 333"/>
              <a:gd name="T34" fmla="*/ 139 w 506"/>
              <a:gd name="T35" fmla="*/ 288 h 333"/>
              <a:gd name="T36" fmla="*/ 105 w 506"/>
              <a:gd name="T37" fmla="*/ 283 h 333"/>
              <a:gd name="T38" fmla="*/ 75 w 506"/>
              <a:gd name="T39" fmla="*/ 254 h 333"/>
              <a:gd name="T40" fmla="*/ 37 w 506"/>
              <a:gd name="T41" fmla="*/ 220 h 333"/>
              <a:gd name="T42" fmla="*/ 18 w 506"/>
              <a:gd name="T43" fmla="*/ 187 h 333"/>
              <a:gd name="T44" fmla="*/ 52 w 506"/>
              <a:gd name="T45" fmla="*/ 152 h 333"/>
              <a:gd name="T46" fmla="*/ 67 w 506"/>
              <a:gd name="T47" fmla="*/ 111 h 333"/>
              <a:gd name="T48" fmla="*/ 83 w 506"/>
              <a:gd name="T49" fmla="*/ 76 h 333"/>
              <a:gd name="T50" fmla="*/ 108 w 506"/>
              <a:gd name="T51" fmla="*/ 62 h 333"/>
              <a:gd name="T52" fmla="*/ 108 w 506"/>
              <a:gd name="T53" fmla="*/ 48 h 333"/>
              <a:gd name="T54" fmla="*/ 129 w 506"/>
              <a:gd name="T55" fmla="*/ 43 h 333"/>
              <a:gd name="T56" fmla="*/ 205 w 506"/>
              <a:gd name="T57" fmla="*/ 40 h 333"/>
              <a:gd name="T58" fmla="*/ 234 w 506"/>
              <a:gd name="T59" fmla="*/ 36 h 333"/>
              <a:gd name="T60" fmla="*/ 281 w 506"/>
              <a:gd name="T61" fmla="*/ 13 h 333"/>
              <a:gd name="T62" fmla="*/ 312 w 506"/>
              <a:gd name="T63" fmla="*/ 1 h 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06" h="333">
                <a:moveTo>
                  <a:pt x="315" y="0"/>
                </a:moveTo>
                <a:cubicBezTo>
                  <a:pt x="335" y="34"/>
                  <a:pt x="335" y="34"/>
                  <a:pt x="335" y="34"/>
                </a:cubicBezTo>
                <a:cubicBezTo>
                  <a:pt x="406" y="93"/>
                  <a:pt x="406" y="93"/>
                  <a:pt x="406" y="93"/>
                </a:cubicBezTo>
                <a:cubicBezTo>
                  <a:pt x="404" y="136"/>
                  <a:pt x="404" y="136"/>
                  <a:pt x="404" y="136"/>
                </a:cubicBezTo>
                <a:cubicBezTo>
                  <a:pt x="425" y="163"/>
                  <a:pt x="425" y="163"/>
                  <a:pt x="425" y="163"/>
                </a:cubicBezTo>
                <a:cubicBezTo>
                  <a:pt x="440" y="170"/>
                  <a:pt x="440" y="170"/>
                  <a:pt x="440" y="170"/>
                </a:cubicBezTo>
                <a:cubicBezTo>
                  <a:pt x="458" y="165"/>
                  <a:pt x="458" y="165"/>
                  <a:pt x="458" y="165"/>
                </a:cubicBezTo>
                <a:cubicBezTo>
                  <a:pt x="473" y="156"/>
                  <a:pt x="473" y="156"/>
                  <a:pt x="473" y="156"/>
                </a:cubicBezTo>
                <a:cubicBezTo>
                  <a:pt x="485" y="152"/>
                  <a:pt x="485" y="152"/>
                  <a:pt x="485" y="152"/>
                </a:cubicBezTo>
                <a:cubicBezTo>
                  <a:pt x="506" y="163"/>
                  <a:pt x="506" y="163"/>
                  <a:pt x="506" y="163"/>
                </a:cubicBezTo>
                <a:cubicBezTo>
                  <a:pt x="506" y="187"/>
                  <a:pt x="506" y="187"/>
                  <a:pt x="506" y="187"/>
                </a:cubicBezTo>
                <a:cubicBezTo>
                  <a:pt x="482" y="204"/>
                  <a:pt x="482" y="204"/>
                  <a:pt x="482" y="204"/>
                </a:cubicBezTo>
                <a:cubicBezTo>
                  <a:pt x="475" y="192"/>
                  <a:pt x="475" y="192"/>
                  <a:pt x="475" y="192"/>
                </a:cubicBezTo>
                <a:cubicBezTo>
                  <a:pt x="467" y="200"/>
                  <a:pt x="467" y="200"/>
                  <a:pt x="467" y="200"/>
                </a:cubicBezTo>
                <a:cubicBezTo>
                  <a:pt x="471" y="204"/>
                  <a:pt x="471" y="204"/>
                  <a:pt x="471" y="204"/>
                </a:cubicBezTo>
                <a:cubicBezTo>
                  <a:pt x="473" y="220"/>
                  <a:pt x="473" y="220"/>
                  <a:pt x="473" y="220"/>
                </a:cubicBezTo>
                <a:cubicBezTo>
                  <a:pt x="464" y="236"/>
                  <a:pt x="464" y="236"/>
                  <a:pt x="464" y="236"/>
                </a:cubicBezTo>
                <a:cubicBezTo>
                  <a:pt x="471" y="264"/>
                  <a:pt x="471" y="264"/>
                  <a:pt x="471" y="264"/>
                </a:cubicBezTo>
                <a:cubicBezTo>
                  <a:pt x="475" y="276"/>
                  <a:pt x="475" y="276"/>
                  <a:pt x="475" y="276"/>
                </a:cubicBezTo>
                <a:cubicBezTo>
                  <a:pt x="447" y="276"/>
                  <a:pt x="447" y="276"/>
                  <a:pt x="447" y="276"/>
                </a:cubicBezTo>
                <a:cubicBezTo>
                  <a:pt x="433" y="268"/>
                  <a:pt x="433" y="268"/>
                  <a:pt x="433" y="268"/>
                </a:cubicBezTo>
                <a:cubicBezTo>
                  <a:pt x="427" y="273"/>
                  <a:pt x="427" y="273"/>
                  <a:pt x="427" y="273"/>
                </a:cubicBezTo>
                <a:cubicBezTo>
                  <a:pt x="410" y="268"/>
                  <a:pt x="410" y="268"/>
                  <a:pt x="410" y="268"/>
                </a:cubicBezTo>
                <a:cubicBezTo>
                  <a:pt x="389" y="265"/>
                  <a:pt x="389" y="265"/>
                  <a:pt x="389" y="265"/>
                </a:cubicBezTo>
                <a:cubicBezTo>
                  <a:pt x="335" y="288"/>
                  <a:pt x="335" y="288"/>
                  <a:pt x="335" y="288"/>
                </a:cubicBezTo>
                <a:cubicBezTo>
                  <a:pt x="310" y="320"/>
                  <a:pt x="310" y="320"/>
                  <a:pt x="310" y="320"/>
                </a:cubicBezTo>
                <a:cubicBezTo>
                  <a:pt x="253" y="320"/>
                  <a:pt x="253" y="320"/>
                  <a:pt x="253" y="320"/>
                </a:cubicBezTo>
                <a:cubicBezTo>
                  <a:pt x="243" y="329"/>
                  <a:pt x="243" y="329"/>
                  <a:pt x="243" y="329"/>
                </a:cubicBezTo>
                <a:cubicBezTo>
                  <a:pt x="199" y="322"/>
                  <a:pt x="199" y="322"/>
                  <a:pt x="199" y="322"/>
                </a:cubicBezTo>
                <a:cubicBezTo>
                  <a:pt x="179" y="333"/>
                  <a:pt x="179" y="333"/>
                  <a:pt x="179" y="333"/>
                </a:cubicBezTo>
                <a:cubicBezTo>
                  <a:pt x="179" y="333"/>
                  <a:pt x="161" y="330"/>
                  <a:pt x="161" y="327"/>
                </a:cubicBezTo>
                <a:cubicBezTo>
                  <a:pt x="162" y="324"/>
                  <a:pt x="157" y="300"/>
                  <a:pt x="157" y="300"/>
                </a:cubicBezTo>
                <a:cubicBezTo>
                  <a:pt x="149" y="294"/>
                  <a:pt x="149" y="294"/>
                  <a:pt x="149" y="294"/>
                </a:cubicBezTo>
                <a:cubicBezTo>
                  <a:pt x="153" y="284"/>
                  <a:pt x="153" y="284"/>
                  <a:pt x="153" y="284"/>
                </a:cubicBezTo>
                <a:cubicBezTo>
                  <a:pt x="139" y="275"/>
                  <a:pt x="139" y="275"/>
                  <a:pt x="139" y="275"/>
                </a:cubicBezTo>
                <a:cubicBezTo>
                  <a:pt x="139" y="288"/>
                  <a:pt x="139" y="288"/>
                  <a:pt x="139" y="288"/>
                </a:cubicBezTo>
                <a:cubicBezTo>
                  <a:pt x="127" y="298"/>
                  <a:pt x="127" y="298"/>
                  <a:pt x="127" y="298"/>
                </a:cubicBezTo>
                <a:cubicBezTo>
                  <a:pt x="105" y="283"/>
                  <a:pt x="105" y="283"/>
                  <a:pt x="105" y="283"/>
                </a:cubicBezTo>
                <a:cubicBezTo>
                  <a:pt x="87" y="281"/>
                  <a:pt x="87" y="281"/>
                  <a:pt x="87" y="281"/>
                </a:cubicBezTo>
                <a:cubicBezTo>
                  <a:pt x="75" y="254"/>
                  <a:pt x="75" y="254"/>
                  <a:pt x="75" y="254"/>
                </a:cubicBezTo>
                <a:cubicBezTo>
                  <a:pt x="37" y="244"/>
                  <a:pt x="37" y="244"/>
                  <a:pt x="37" y="244"/>
                </a:cubicBezTo>
                <a:cubicBezTo>
                  <a:pt x="37" y="220"/>
                  <a:pt x="37" y="220"/>
                  <a:pt x="37" y="220"/>
                </a:cubicBezTo>
                <a:cubicBezTo>
                  <a:pt x="0" y="199"/>
                  <a:pt x="0" y="199"/>
                  <a:pt x="0" y="199"/>
                </a:cubicBezTo>
                <a:cubicBezTo>
                  <a:pt x="18" y="187"/>
                  <a:pt x="18" y="187"/>
                  <a:pt x="18" y="187"/>
                </a:cubicBezTo>
                <a:cubicBezTo>
                  <a:pt x="38" y="182"/>
                  <a:pt x="38" y="182"/>
                  <a:pt x="38" y="182"/>
                </a:cubicBezTo>
                <a:cubicBezTo>
                  <a:pt x="52" y="152"/>
                  <a:pt x="52" y="152"/>
                  <a:pt x="52" y="152"/>
                </a:cubicBezTo>
                <a:cubicBezTo>
                  <a:pt x="54" y="135"/>
                  <a:pt x="54" y="135"/>
                  <a:pt x="54" y="135"/>
                </a:cubicBezTo>
                <a:cubicBezTo>
                  <a:pt x="67" y="111"/>
                  <a:pt x="67" y="111"/>
                  <a:pt x="67" y="111"/>
                </a:cubicBezTo>
                <a:cubicBezTo>
                  <a:pt x="69" y="92"/>
                  <a:pt x="69" y="92"/>
                  <a:pt x="69" y="92"/>
                </a:cubicBezTo>
                <a:cubicBezTo>
                  <a:pt x="83" y="76"/>
                  <a:pt x="83" y="76"/>
                  <a:pt x="83" y="76"/>
                </a:cubicBezTo>
                <a:cubicBezTo>
                  <a:pt x="103" y="74"/>
                  <a:pt x="103" y="74"/>
                  <a:pt x="103" y="74"/>
                </a:cubicBezTo>
                <a:cubicBezTo>
                  <a:pt x="108" y="62"/>
                  <a:pt x="108" y="62"/>
                  <a:pt x="108" y="62"/>
                </a:cubicBezTo>
                <a:cubicBezTo>
                  <a:pt x="105" y="54"/>
                  <a:pt x="105" y="54"/>
                  <a:pt x="105" y="54"/>
                </a:cubicBezTo>
                <a:cubicBezTo>
                  <a:pt x="108" y="48"/>
                  <a:pt x="108" y="48"/>
                  <a:pt x="108" y="48"/>
                </a:cubicBezTo>
                <a:cubicBezTo>
                  <a:pt x="115" y="56"/>
                  <a:pt x="115" y="56"/>
                  <a:pt x="115" y="56"/>
                </a:cubicBezTo>
                <a:cubicBezTo>
                  <a:pt x="129" y="43"/>
                  <a:pt x="129" y="43"/>
                  <a:pt x="129" y="43"/>
                </a:cubicBezTo>
                <a:cubicBezTo>
                  <a:pt x="175" y="46"/>
                  <a:pt x="175" y="46"/>
                  <a:pt x="175" y="46"/>
                </a:cubicBezTo>
                <a:cubicBezTo>
                  <a:pt x="205" y="40"/>
                  <a:pt x="205" y="40"/>
                  <a:pt x="205" y="40"/>
                </a:cubicBezTo>
                <a:cubicBezTo>
                  <a:pt x="225" y="54"/>
                  <a:pt x="225" y="54"/>
                  <a:pt x="225" y="54"/>
                </a:cubicBezTo>
                <a:cubicBezTo>
                  <a:pt x="234" y="36"/>
                  <a:pt x="234" y="36"/>
                  <a:pt x="234" y="36"/>
                </a:cubicBezTo>
                <a:cubicBezTo>
                  <a:pt x="273" y="27"/>
                  <a:pt x="273" y="27"/>
                  <a:pt x="273" y="27"/>
                </a:cubicBezTo>
                <a:cubicBezTo>
                  <a:pt x="281" y="13"/>
                  <a:pt x="281" y="13"/>
                  <a:pt x="281" y="13"/>
                </a:cubicBezTo>
                <a:cubicBezTo>
                  <a:pt x="286" y="7"/>
                  <a:pt x="286" y="7"/>
                  <a:pt x="286" y="7"/>
                </a:cubicBezTo>
                <a:cubicBezTo>
                  <a:pt x="312" y="1"/>
                  <a:pt x="312" y="1"/>
                  <a:pt x="312" y="1"/>
                </a:cubicBezTo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4" name="Serbia"/>
          <p:cNvSpPr>
            <a:spLocks/>
          </p:cNvSpPr>
          <p:nvPr/>
        </p:nvSpPr>
        <p:spPr bwMode="auto">
          <a:xfrm>
            <a:off x="10208151" y="4919663"/>
            <a:ext cx="736600" cy="739775"/>
          </a:xfrm>
          <a:custGeom>
            <a:avLst/>
            <a:gdLst>
              <a:gd name="T0" fmla="*/ 413 w 464"/>
              <a:gd name="T1" fmla="*/ 435 h 466"/>
              <a:gd name="T2" fmla="*/ 390 w 464"/>
              <a:gd name="T3" fmla="*/ 422 h 466"/>
              <a:gd name="T4" fmla="*/ 359 w 464"/>
              <a:gd name="T5" fmla="*/ 440 h 466"/>
              <a:gd name="T6" fmla="*/ 328 w 464"/>
              <a:gd name="T7" fmla="*/ 440 h 466"/>
              <a:gd name="T8" fmla="*/ 294 w 464"/>
              <a:gd name="T9" fmla="*/ 466 h 466"/>
              <a:gd name="T10" fmla="*/ 222 w 464"/>
              <a:gd name="T11" fmla="*/ 457 h 466"/>
              <a:gd name="T12" fmla="*/ 184 w 464"/>
              <a:gd name="T13" fmla="*/ 430 h 466"/>
              <a:gd name="T14" fmla="*/ 184 w 464"/>
              <a:gd name="T15" fmla="*/ 406 h 466"/>
              <a:gd name="T16" fmla="*/ 200 w 464"/>
              <a:gd name="T17" fmla="*/ 393 h 466"/>
              <a:gd name="T18" fmla="*/ 191 w 464"/>
              <a:gd name="T19" fmla="*/ 366 h 466"/>
              <a:gd name="T20" fmla="*/ 162 w 464"/>
              <a:gd name="T21" fmla="*/ 357 h 466"/>
              <a:gd name="T22" fmla="*/ 150 w 464"/>
              <a:gd name="T23" fmla="*/ 325 h 466"/>
              <a:gd name="T24" fmla="*/ 106 w 464"/>
              <a:gd name="T25" fmla="*/ 312 h 466"/>
              <a:gd name="T26" fmla="*/ 77 w 464"/>
              <a:gd name="T27" fmla="*/ 271 h 466"/>
              <a:gd name="T28" fmla="*/ 108 w 464"/>
              <a:gd name="T29" fmla="*/ 271 h 466"/>
              <a:gd name="T30" fmla="*/ 94 w 464"/>
              <a:gd name="T31" fmla="*/ 245 h 466"/>
              <a:gd name="T32" fmla="*/ 57 w 464"/>
              <a:gd name="T33" fmla="*/ 231 h 466"/>
              <a:gd name="T34" fmla="*/ 74 w 464"/>
              <a:gd name="T35" fmla="*/ 162 h 466"/>
              <a:gd name="T36" fmla="*/ 66 w 464"/>
              <a:gd name="T37" fmla="*/ 150 h 466"/>
              <a:gd name="T38" fmla="*/ 25 w 464"/>
              <a:gd name="T39" fmla="*/ 166 h 466"/>
              <a:gd name="T40" fmla="*/ 10 w 464"/>
              <a:gd name="T41" fmla="*/ 159 h 466"/>
              <a:gd name="T42" fmla="*/ 45 w 464"/>
              <a:gd name="T43" fmla="*/ 141 h 466"/>
              <a:gd name="T44" fmla="*/ 45 w 464"/>
              <a:gd name="T45" fmla="*/ 99 h 466"/>
              <a:gd name="T46" fmla="*/ 12 w 464"/>
              <a:gd name="T47" fmla="*/ 75 h 466"/>
              <a:gd name="T48" fmla="*/ 12 w 464"/>
              <a:gd name="T49" fmla="*/ 52 h 466"/>
              <a:gd name="T50" fmla="*/ 0 w 464"/>
              <a:gd name="T51" fmla="*/ 41 h 466"/>
              <a:gd name="T52" fmla="*/ 28 w 464"/>
              <a:gd name="T53" fmla="*/ 36 h 466"/>
              <a:gd name="T54" fmla="*/ 75 w 464"/>
              <a:gd name="T55" fmla="*/ 0 h 466"/>
              <a:gd name="T56" fmla="*/ 139 w 464"/>
              <a:gd name="T57" fmla="*/ 0 h 466"/>
              <a:gd name="T58" fmla="*/ 206 w 464"/>
              <a:gd name="T59" fmla="*/ 38 h 466"/>
              <a:gd name="T60" fmla="*/ 206 w 464"/>
              <a:gd name="T61" fmla="*/ 81 h 466"/>
              <a:gd name="T62" fmla="*/ 274 w 464"/>
              <a:gd name="T63" fmla="*/ 99 h 466"/>
              <a:gd name="T64" fmla="*/ 296 w 464"/>
              <a:gd name="T65" fmla="*/ 148 h 466"/>
              <a:gd name="T66" fmla="*/ 328 w 464"/>
              <a:gd name="T67" fmla="*/ 151 h 466"/>
              <a:gd name="T68" fmla="*/ 368 w 464"/>
              <a:gd name="T69" fmla="*/ 177 h 466"/>
              <a:gd name="T70" fmla="*/ 390 w 464"/>
              <a:gd name="T71" fmla="*/ 160 h 466"/>
              <a:gd name="T72" fmla="*/ 390 w 464"/>
              <a:gd name="T73" fmla="*/ 137 h 466"/>
              <a:gd name="T74" fmla="*/ 415 w 464"/>
              <a:gd name="T75" fmla="*/ 153 h 466"/>
              <a:gd name="T76" fmla="*/ 408 w 464"/>
              <a:gd name="T77" fmla="*/ 169 h 466"/>
              <a:gd name="T78" fmla="*/ 422 w 464"/>
              <a:gd name="T79" fmla="*/ 180 h 466"/>
              <a:gd name="T80" fmla="*/ 426 w 464"/>
              <a:gd name="T81" fmla="*/ 202 h 466"/>
              <a:gd name="T82" fmla="*/ 390 w 464"/>
              <a:gd name="T83" fmla="*/ 225 h 466"/>
              <a:gd name="T84" fmla="*/ 390 w 464"/>
              <a:gd name="T85" fmla="*/ 272 h 466"/>
              <a:gd name="T86" fmla="*/ 464 w 464"/>
              <a:gd name="T87" fmla="*/ 314 h 466"/>
              <a:gd name="T88" fmla="*/ 413 w 464"/>
              <a:gd name="T89" fmla="*/ 368 h 466"/>
              <a:gd name="T90" fmla="*/ 431 w 464"/>
              <a:gd name="T91" fmla="*/ 406 h 466"/>
              <a:gd name="T92" fmla="*/ 413 w 464"/>
              <a:gd name="T93" fmla="*/ 435 h 4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64" h="466">
                <a:moveTo>
                  <a:pt x="413" y="435"/>
                </a:moveTo>
                <a:lnTo>
                  <a:pt x="390" y="422"/>
                </a:lnTo>
                <a:lnTo>
                  <a:pt x="359" y="440"/>
                </a:lnTo>
                <a:lnTo>
                  <a:pt x="328" y="440"/>
                </a:lnTo>
                <a:lnTo>
                  <a:pt x="294" y="466"/>
                </a:lnTo>
                <a:lnTo>
                  <a:pt x="222" y="457"/>
                </a:lnTo>
                <a:lnTo>
                  <a:pt x="184" y="430"/>
                </a:lnTo>
                <a:lnTo>
                  <a:pt x="184" y="406"/>
                </a:lnTo>
                <a:lnTo>
                  <a:pt x="200" y="393"/>
                </a:lnTo>
                <a:lnTo>
                  <a:pt x="191" y="366"/>
                </a:lnTo>
                <a:lnTo>
                  <a:pt x="162" y="357"/>
                </a:lnTo>
                <a:lnTo>
                  <a:pt x="150" y="325"/>
                </a:lnTo>
                <a:lnTo>
                  <a:pt x="106" y="312"/>
                </a:lnTo>
                <a:lnTo>
                  <a:pt x="77" y="271"/>
                </a:lnTo>
                <a:lnTo>
                  <a:pt x="108" y="271"/>
                </a:lnTo>
                <a:lnTo>
                  <a:pt x="94" y="245"/>
                </a:lnTo>
                <a:lnTo>
                  <a:pt x="57" y="231"/>
                </a:lnTo>
                <a:lnTo>
                  <a:pt x="74" y="162"/>
                </a:lnTo>
                <a:lnTo>
                  <a:pt x="66" y="150"/>
                </a:lnTo>
                <a:lnTo>
                  <a:pt x="25" y="166"/>
                </a:lnTo>
                <a:lnTo>
                  <a:pt x="10" y="159"/>
                </a:lnTo>
                <a:lnTo>
                  <a:pt x="45" y="141"/>
                </a:lnTo>
                <a:lnTo>
                  <a:pt x="45" y="99"/>
                </a:lnTo>
                <a:lnTo>
                  <a:pt x="12" y="75"/>
                </a:lnTo>
                <a:lnTo>
                  <a:pt x="12" y="52"/>
                </a:lnTo>
                <a:lnTo>
                  <a:pt x="0" y="41"/>
                </a:lnTo>
                <a:lnTo>
                  <a:pt x="28" y="36"/>
                </a:lnTo>
                <a:lnTo>
                  <a:pt x="75" y="0"/>
                </a:lnTo>
                <a:lnTo>
                  <a:pt x="139" y="0"/>
                </a:lnTo>
                <a:lnTo>
                  <a:pt x="206" y="38"/>
                </a:lnTo>
                <a:lnTo>
                  <a:pt x="206" y="81"/>
                </a:lnTo>
                <a:lnTo>
                  <a:pt x="274" y="99"/>
                </a:lnTo>
                <a:lnTo>
                  <a:pt x="296" y="148"/>
                </a:lnTo>
                <a:lnTo>
                  <a:pt x="328" y="151"/>
                </a:lnTo>
                <a:lnTo>
                  <a:pt x="368" y="177"/>
                </a:lnTo>
                <a:lnTo>
                  <a:pt x="390" y="160"/>
                </a:lnTo>
                <a:lnTo>
                  <a:pt x="390" y="137"/>
                </a:lnTo>
                <a:lnTo>
                  <a:pt x="415" y="153"/>
                </a:lnTo>
                <a:lnTo>
                  <a:pt x="408" y="169"/>
                </a:lnTo>
                <a:lnTo>
                  <a:pt x="422" y="180"/>
                </a:lnTo>
                <a:lnTo>
                  <a:pt x="426" y="202"/>
                </a:lnTo>
                <a:lnTo>
                  <a:pt x="390" y="225"/>
                </a:lnTo>
                <a:lnTo>
                  <a:pt x="390" y="272"/>
                </a:lnTo>
                <a:lnTo>
                  <a:pt x="464" y="314"/>
                </a:lnTo>
                <a:lnTo>
                  <a:pt x="413" y="368"/>
                </a:lnTo>
                <a:lnTo>
                  <a:pt x="431" y="406"/>
                </a:lnTo>
                <a:lnTo>
                  <a:pt x="413" y="435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5" name="Bosnia &amp; Herzegovina"/>
          <p:cNvSpPr>
            <a:spLocks/>
          </p:cNvSpPr>
          <p:nvPr/>
        </p:nvSpPr>
        <p:spPr bwMode="auto">
          <a:xfrm>
            <a:off x="9754126" y="5127625"/>
            <a:ext cx="628650" cy="519113"/>
          </a:xfrm>
          <a:custGeom>
            <a:avLst/>
            <a:gdLst>
              <a:gd name="T0" fmla="*/ 396 w 396"/>
              <a:gd name="T1" fmla="*/ 140 h 327"/>
              <a:gd name="T2" fmla="*/ 381 w 396"/>
              <a:gd name="T3" fmla="*/ 116 h 327"/>
              <a:gd name="T4" fmla="*/ 345 w 396"/>
              <a:gd name="T5" fmla="*/ 100 h 327"/>
              <a:gd name="T6" fmla="*/ 361 w 396"/>
              <a:gd name="T7" fmla="*/ 31 h 327"/>
              <a:gd name="T8" fmla="*/ 352 w 396"/>
              <a:gd name="T9" fmla="*/ 20 h 327"/>
              <a:gd name="T10" fmla="*/ 313 w 396"/>
              <a:gd name="T11" fmla="*/ 35 h 327"/>
              <a:gd name="T12" fmla="*/ 298 w 396"/>
              <a:gd name="T13" fmla="*/ 28 h 327"/>
              <a:gd name="T14" fmla="*/ 282 w 396"/>
              <a:gd name="T15" fmla="*/ 10 h 327"/>
              <a:gd name="T16" fmla="*/ 248 w 396"/>
              <a:gd name="T17" fmla="*/ 0 h 327"/>
              <a:gd name="T18" fmla="*/ 224 w 396"/>
              <a:gd name="T19" fmla="*/ 10 h 327"/>
              <a:gd name="T20" fmla="*/ 202 w 396"/>
              <a:gd name="T21" fmla="*/ 29 h 327"/>
              <a:gd name="T22" fmla="*/ 179 w 396"/>
              <a:gd name="T23" fmla="*/ 10 h 327"/>
              <a:gd name="T24" fmla="*/ 161 w 396"/>
              <a:gd name="T25" fmla="*/ 10 h 327"/>
              <a:gd name="T26" fmla="*/ 145 w 396"/>
              <a:gd name="T27" fmla="*/ 19 h 327"/>
              <a:gd name="T28" fmla="*/ 118 w 396"/>
              <a:gd name="T29" fmla="*/ 0 h 327"/>
              <a:gd name="T30" fmla="*/ 109 w 396"/>
              <a:gd name="T31" fmla="*/ 17 h 327"/>
              <a:gd name="T32" fmla="*/ 81 w 396"/>
              <a:gd name="T33" fmla="*/ 10 h 327"/>
              <a:gd name="T34" fmla="*/ 51 w 396"/>
              <a:gd name="T35" fmla="*/ 40 h 327"/>
              <a:gd name="T36" fmla="*/ 24 w 396"/>
              <a:gd name="T37" fmla="*/ 20 h 327"/>
              <a:gd name="T38" fmla="*/ 11 w 396"/>
              <a:gd name="T39" fmla="*/ 33 h 327"/>
              <a:gd name="T40" fmla="*/ 13 w 396"/>
              <a:gd name="T41" fmla="*/ 66 h 327"/>
              <a:gd name="T42" fmla="*/ 11 w 396"/>
              <a:gd name="T43" fmla="*/ 75 h 327"/>
              <a:gd name="T44" fmla="*/ 11 w 396"/>
              <a:gd name="T45" fmla="*/ 75 h 327"/>
              <a:gd name="T46" fmla="*/ 11 w 396"/>
              <a:gd name="T47" fmla="*/ 75 h 327"/>
              <a:gd name="T48" fmla="*/ 0 w 396"/>
              <a:gd name="T49" fmla="*/ 141 h 327"/>
              <a:gd name="T50" fmla="*/ 0 w 396"/>
              <a:gd name="T51" fmla="*/ 143 h 327"/>
              <a:gd name="T52" fmla="*/ 49 w 396"/>
              <a:gd name="T53" fmla="*/ 167 h 327"/>
              <a:gd name="T54" fmla="*/ 213 w 396"/>
              <a:gd name="T55" fmla="*/ 266 h 327"/>
              <a:gd name="T56" fmla="*/ 215 w 396"/>
              <a:gd name="T57" fmla="*/ 268 h 327"/>
              <a:gd name="T58" fmla="*/ 224 w 396"/>
              <a:gd name="T59" fmla="*/ 288 h 327"/>
              <a:gd name="T60" fmla="*/ 255 w 396"/>
              <a:gd name="T61" fmla="*/ 297 h 327"/>
              <a:gd name="T62" fmla="*/ 302 w 396"/>
              <a:gd name="T63" fmla="*/ 327 h 327"/>
              <a:gd name="T64" fmla="*/ 307 w 396"/>
              <a:gd name="T65" fmla="*/ 304 h 327"/>
              <a:gd name="T66" fmla="*/ 300 w 396"/>
              <a:gd name="T67" fmla="*/ 281 h 327"/>
              <a:gd name="T68" fmla="*/ 322 w 396"/>
              <a:gd name="T69" fmla="*/ 262 h 327"/>
              <a:gd name="T70" fmla="*/ 316 w 396"/>
              <a:gd name="T71" fmla="*/ 239 h 327"/>
              <a:gd name="T72" fmla="*/ 333 w 396"/>
              <a:gd name="T73" fmla="*/ 215 h 327"/>
              <a:gd name="T74" fmla="*/ 385 w 396"/>
              <a:gd name="T75" fmla="*/ 212 h 327"/>
              <a:gd name="T76" fmla="*/ 394 w 396"/>
              <a:gd name="T77" fmla="*/ 181 h 327"/>
              <a:gd name="T78" fmla="*/ 365 w 396"/>
              <a:gd name="T79" fmla="*/ 140 h 327"/>
              <a:gd name="T80" fmla="*/ 396 w 396"/>
              <a:gd name="T81" fmla="*/ 140 h 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96" h="327">
                <a:moveTo>
                  <a:pt x="396" y="140"/>
                </a:moveTo>
                <a:lnTo>
                  <a:pt x="381" y="116"/>
                </a:lnTo>
                <a:lnTo>
                  <a:pt x="345" y="100"/>
                </a:lnTo>
                <a:lnTo>
                  <a:pt x="361" y="31"/>
                </a:lnTo>
                <a:lnTo>
                  <a:pt x="352" y="20"/>
                </a:lnTo>
                <a:lnTo>
                  <a:pt x="313" y="35"/>
                </a:lnTo>
                <a:lnTo>
                  <a:pt x="298" y="28"/>
                </a:lnTo>
                <a:lnTo>
                  <a:pt x="282" y="10"/>
                </a:lnTo>
                <a:lnTo>
                  <a:pt x="248" y="0"/>
                </a:lnTo>
                <a:lnTo>
                  <a:pt x="224" y="10"/>
                </a:lnTo>
                <a:lnTo>
                  <a:pt x="202" y="29"/>
                </a:lnTo>
                <a:lnTo>
                  <a:pt x="179" y="10"/>
                </a:lnTo>
                <a:lnTo>
                  <a:pt x="161" y="10"/>
                </a:lnTo>
                <a:lnTo>
                  <a:pt x="145" y="19"/>
                </a:lnTo>
                <a:lnTo>
                  <a:pt x="118" y="0"/>
                </a:lnTo>
                <a:lnTo>
                  <a:pt x="109" y="17"/>
                </a:lnTo>
                <a:lnTo>
                  <a:pt x="81" y="10"/>
                </a:lnTo>
                <a:lnTo>
                  <a:pt x="51" y="40"/>
                </a:lnTo>
                <a:lnTo>
                  <a:pt x="24" y="20"/>
                </a:lnTo>
                <a:lnTo>
                  <a:pt x="11" y="33"/>
                </a:lnTo>
                <a:lnTo>
                  <a:pt x="13" y="66"/>
                </a:lnTo>
                <a:lnTo>
                  <a:pt x="11" y="75"/>
                </a:lnTo>
                <a:lnTo>
                  <a:pt x="11" y="75"/>
                </a:lnTo>
                <a:lnTo>
                  <a:pt x="11" y="75"/>
                </a:lnTo>
                <a:lnTo>
                  <a:pt x="0" y="141"/>
                </a:lnTo>
                <a:lnTo>
                  <a:pt x="0" y="143"/>
                </a:lnTo>
                <a:lnTo>
                  <a:pt x="49" y="167"/>
                </a:lnTo>
                <a:lnTo>
                  <a:pt x="213" y="266"/>
                </a:lnTo>
                <a:lnTo>
                  <a:pt x="215" y="268"/>
                </a:lnTo>
                <a:lnTo>
                  <a:pt x="224" y="288"/>
                </a:lnTo>
                <a:lnTo>
                  <a:pt x="255" y="297"/>
                </a:lnTo>
                <a:lnTo>
                  <a:pt x="302" y="327"/>
                </a:lnTo>
                <a:lnTo>
                  <a:pt x="307" y="304"/>
                </a:lnTo>
                <a:lnTo>
                  <a:pt x="300" y="281"/>
                </a:lnTo>
                <a:lnTo>
                  <a:pt x="322" y="262"/>
                </a:lnTo>
                <a:lnTo>
                  <a:pt x="316" y="239"/>
                </a:lnTo>
                <a:lnTo>
                  <a:pt x="333" y="215"/>
                </a:lnTo>
                <a:lnTo>
                  <a:pt x="385" y="212"/>
                </a:lnTo>
                <a:lnTo>
                  <a:pt x="394" y="181"/>
                </a:lnTo>
                <a:lnTo>
                  <a:pt x="365" y="140"/>
                </a:lnTo>
                <a:lnTo>
                  <a:pt x="396" y="140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Turkey"/>
          <p:cNvSpPr>
            <a:spLocks/>
          </p:cNvSpPr>
          <p:nvPr/>
        </p:nvSpPr>
        <p:spPr bwMode="auto">
          <a:xfrm>
            <a:off x="11528951" y="5486400"/>
            <a:ext cx="671513" cy="923925"/>
          </a:xfrm>
          <a:custGeom>
            <a:avLst/>
            <a:gdLst>
              <a:gd name="T0" fmla="*/ 234 w 234"/>
              <a:gd name="T1" fmla="*/ 3 h 322"/>
              <a:gd name="T2" fmla="*/ 234 w 234"/>
              <a:gd name="T3" fmla="*/ 311 h 322"/>
              <a:gd name="T4" fmla="*/ 223 w 234"/>
              <a:gd name="T5" fmla="*/ 311 h 322"/>
              <a:gd name="T6" fmla="*/ 209 w 234"/>
              <a:gd name="T7" fmla="*/ 322 h 322"/>
              <a:gd name="T8" fmla="*/ 201 w 234"/>
              <a:gd name="T9" fmla="*/ 307 h 322"/>
              <a:gd name="T10" fmla="*/ 189 w 234"/>
              <a:gd name="T11" fmla="*/ 322 h 322"/>
              <a:gd name="T12" fmla="*/ 173 w 234"/>
              <a:gd name="T13" fmla="*/ 322 h 322"/>
              <a:gd name="T14" fmla="*/ 181 w 234"/>
              <a:gd name="T15" fmla="*/ 298 h 322"/>
              <a:gd name="T16" fmla="*/ 133 w 234"/>
              <a:gd name="T17" fmla="*/ 317 h 322"/>
              <a:gd name="T18" fmla="*/ 122 w 234"/>
              <a:gd name="T19" fmla="*/ 310 h 322"/>
              <a:gd name="T20" fmla="*/ 141 w 234"/>
              <a:gd name="T21" fmla="*/ 303 h 322"/>
              <a:gd name="T22" fmla="*/ 130 w 234"/>
              <a:gd name="T23" fmla="*/ 288 h 322"/>
              <a:gd name="T24" fmla="*/ 115 w 234"/>
              <a:gd name="T25" fmla="*/ 293 h 322"/>
              <a:gd name="T26" fmla="*/ 108 w 234"/>
              <a:gd name="T27" fmla="*/ 253 h 322"/>
              <a:gd name="T28" fmla="*/ 87 w 234"/>
              <a:gd name="T29" fmla="*/ 251 h 322"/>
              <a:gd name="T30" fmla="*/ 49 w 234"/>
              <a:gd name="T31" fmla="*/ 250 h 322"/>
              <a:gd name="T32" fmla="*/ 43 w 234"/>
              <a:gd name="T33" fmla="*/ 218 h 322"/>
              <a:gd name="T34" fmla="*/ 65 w 234"/>
              <a:gd name="T35" fmla="*/ 240 h 322"/>
              <a:gd name="T36" fmla="*/ 87 w 234"/>
              <a:gd name="T37" fmla="*/ 223 h 322"/>
              <a:gd name="T38" fmla="*/ 68 w 234"/>
              <a:gd name="T39" fmla="*/ 212 h 322"/>
              <a:gd name="T40" fmla="*/ 87 w 234"/>
              <a:gd name="T41" fmla="*/ 197 h 322"/>
              <a:gd name="T42" fmla="*/ 54 w 234"/>
              <a:gd name="T43" fmla="*/ 176 h 322"/>
              <a:gd name="T44" fmla="*/ 66 w 234"/>
              <a:gd name="T45" fmla="*/ 156 h 322"/>
              <a:gd name="T46" fmla="*/ 22 w 234"/>
              <a:gd name="T47" fmla="*/ 174 h 322"/>
              <a:gd name="T48" fmla="*/ 22 w 234"/>
              <a:gd name="T49" fmla="*/ 138 h 322"/>
              <a:gd name="T50" fmla="*/ 32 w 234"/>
              <a:gd name="T51" fmla="*/ 117 h 322"/>
              <a:gd name="T52" fmla="*/ 3 w 234"/>
              <a:gd name="T53" fmla="*/ 105 h 322"/>
              <a:gd name="T54" fmla="*/ 11 w 234"/>
              <a:gd name="T55" fmla="*/ 71 h 322"/>
              <a:gd name="T56" fmla="*/ 32 w 234"/>
              <a:gd name="T57" fmla="*/ 55 h 322"/>
              <a:gd name="T58" fmla="*/ 0 w 234"/>
              <a:gd name="T59" fmla="*/ 39 h 322"/>
              <a:gd name="T60" fmla="*/ 11 w 234"/>
              <a:gd name="T61" fmla="*/ 21 h 322"/>
              <a:gd name="T62" fmla="*/ 51 w 234"/>
              <a:gd name="T63" fmla="*/ 5 h 322"/>
              <a:gd name="T64" fmla="*/ 68 w 234"/>
              <a:gd name="T65" fmla="*/ 13 h 322"/>
              <a:gd name="T66" fmla="*/ 87 w 234"/>
              <a:gd name="T67" fmla="*/ 0 h 322"/>
              <a:gd name="T68" fmla="*/ 102 w 234"/>
              <a:gd name="T69" fmla="*/ 17 h 322"/>
              <a:gd name="T70" fmla="*/ 94 w 234"/>
              <a:gd name="T71" fmla="*/ 30 h 322"/>
              <a:gd name="T72" fmla="*/ 150 w 234"/>
              <a:gd name="T73" fmla="*/ 40 h 322"/>
              <a:gd name="T74" fmla="*/ 160 w 234"/>
              <a:gd name="T75" fmla="*/ 50 h 322"/>
              <a:gd name="T76" fmla="*/ 151 w 234"/>
              <a:gd name="T77" fmla="*/ 62 h 322"/>
              <a:gd name="T78" fmla="*/ 136 w 234"/>
              <a:gd name="T79" fmla="*/ 61 h 322"/>
              <a:gd name="T80" fmla="*/ 111 w 234"/>
              <a:gd name="T81" fmla="*/ 71 h 322"/>
              <a:gd name="T82" fmla="*/ 87 w 234"/>
              <a:gd name="T83" fmla="*/ 71 h 322"/>
              <a:gd name="T84" fmla="*/ 78 w 234"/>
              <a:gd name="T85" fmla="*/ 90 h 322"/>
              <a:gd name="T86" fmla="*/ 82 w 234"/>
              <a:gd name="T87" fmla="*/ 105 h 322"/>
              <a:gd name="T88" fmla="*/ 94 w 234"/>
              <a:gd name="T89" fmla="*/ 96 h 322"/>
              <a:gd name="T90" fmla="*/ 106 w 234"/>
              <a:gd name="T91" fmla="*/ 90 h 322"/>
              <a:gd name="T92" fmla="*/ 117 w 234"/>
              <a:gd name="T93" fmla="*/ 90 h 322"/>
              <a:gd name="T94" fmla="*/ 156 w 234"/>
              <a:gd name="T95" fmla="*/ 80 h 322"/>
              <a:gd name="T96" fmla="*/ 185 w 234"/>
              <a:gd name="T97" fmla="*/ 77 h 322"/>
              <a:gd name="T98" fmla="*/ 171 w 234"/>
              <a:gd name="T99" fmla="*/ 71 h 322"/>
              <a:gd name="T100" fmla="*/ 156 w 234"/>
              <a:gd name="T101" fmla="*/ 71 h 322"/>
              <a:gd name="T102" fmla="*/ 172 w 234"/>
              <a:gd name="T103" fmla="*/ 54 h 322"/>
              <a:gd name="T104" fmla="*/ 196 w 234"/>
              <a:gd name="T105" fmla="*/ 46 h 322"/>
              <a:gd name="T106" fmla="*/ 184 w 234"/>
              <a:gd name="T107" fmla="*/ 40 h 322"/>
              <a:gd name="T108" fmla="*/ 161 w 234"/>
              <a:gd name="T109" fmla="*/ 33 h 322"/>
              <a:gd name="T110" fmla="*/ 169 w 234"/>
              <a:gd name="T111" fmla="*/ 17 h 322"/>
              <a:gd name="T112" fmla="*/ 212 w 234"/>
              <a:gd name="T113" fmla="*/ 10 h 322"/>
              <a:gd name="T114" fmla="*/ 234 w 234"/>
              <a:gd name="T115" fmla="*/ 3 h 3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34" h="322">
                <a:moveTo>
                  <a:pt x="234" y="3"/>
                </a:moveTo>
                <a:cubicBezTo>
                  <a:pt x="234" y="311"/>
                  <a:pt x="234" y="311"/>
                  <a:pt x="234" y="311"/>
                </a:cubicBezTo>
                <a:cubicBezTo>
                  <a:pt x="223" y="311"/>
                  <a:pt x="223" y="311"/>
                  <a:pt x="223" y="311"/>
                </a:cubicBezTo>
                <a:cubicBezTo>
                  <a:pt x="209" y="322"/>
                  <a:pt x="209" y="322"/>
                  <a:pt x="209" y="322"/>
                </a:cubicBezTo>
                <a:cubicBezTo>
                  <a:pt x="201" y="307"/>
                  <a:pt x="201" y="307"/>
                  <a:pt x="201" y="307"/>
                </a:cubicBezTo>
                <a:cubicBezTo>
                  <a:pt x="189" y="322"/>
                  <a:pt x="189" y="322"/>
                  <a:pt x="189" y="322"/>
                </a:cubicBezTo>
                <a:cubicBezTo>
                  <a:pt x="173" y="322"/>
                  <a:pt x="173" y="322"/>
                  <a:pt x="173" y="322"/>
                </a:cubicBezTo>
                <a:cubicBezTo>
                  <a:pt x="181" y="298"/>
                  <a:pt x="181" y="298"/>
                  <a:pt x="181" y="298"/>
                </a:cubicBezTo>
                <a:cubicBezTo>
                  <a:pt x="133" y="317"/>
                  <a:pt x="133" y="317"/>
                  <a:pt x="133" y="317"/>
                </a:cubicBezTo>
                <a:cubicBezTo>
                  <a:pt x="122" y="310"/>
                  <a:pt x="122" y="310"/>
                  <a:pt x="122" y="310"/>
                </a:cubicBezTo>
                <a:cubicBezTo>
                  <a:pt x="141" y="303"/>
                  <a:pt x="141" y="303"/>
                  <a:pt x="141" y="303"/>
                </a:cubicBezTo>
                <a:cubicBezTo>
                  <a:pt x="130" y="288"/>
                  <a:pt x="130" y="288"/>
                  <a:pt x="130" y="288"/>
                </a:cubicBezTo>
                <a:cubicBezTo>
                  <a:pt x="115" y="293"/>
                  <a:pt x="115" y="293"/>
                  <a:pt x="115" y="293"/>
                </a:cubicBezTo>
                <a:cubicBezTo>
                  <a:pt x="108" y="253"/>
                  <a:pt x="108" y="253"/>
                  <a:pt x="108" y="253"/>
                </a:cubicBezTo>
                <a:cubicBezTo>
                  <a:pt x="87" y="251"/>
                  <a:pt x="87" y="251"/>
                  <a:pt x="87" y="251"/>
                </a:cubicBezTo>
                <a:cubicBezTo>
                  <a:pt x="49" y="250"/>
                  <a:pt x="49" y="250"/>
                  <a:pt x="49" y="250"/>
                </a:cubicBezTo>
                <a:cubicBezTo>
                  <a:pt x="43" y="218"/>
                  <a:pt x="43" y="218"/>
                  <a:pt x="43" y="218"/>
                </a:cubicBezTo>
                <a:cubicBezTo>
                  <a:pt x="65" y="240"/>
                  <a:pt x="65" y="240"/>
                  <a:pt x="65" y="240"/>
                </a:cubicBezTo>
                <a:cubicBezTo>
                  <a:pt x="87" y="223"/>
                  <a:pt x="87" y="223"/>
                  <a:pt x="87" y="223"/>
                </a:cubicBezTo>
                <a:cubicBezTo>
                  <a:pt x="87" y="223"/>
                  <a:pt x="67" y="217"/>
                  <a:pt x="68" y="212"/>
                </a:cubicBezTo>
                <a:cubicBezTo>
                  <a:pt x="69" y="207"/>
                  <a:pt x="90" y="201"/>
                  <a:pt x="87" y="197"/>
                </a:cubicBezTo>
                <a:cubicBezTo>
                  <a:pt x="84" y="193"/>
                  <a:pt x="54" y="180"/>
                  <a:pt x="54" y="176"/>
                </a:cubicBezTo>
                <a:cubicBezTo>
                  <a:pt x="54" y="172"/>
                  <a:pt x="66" y="156"/>
                  <a:pt x="66" y="156"/>
                </a:cubicBezTo>
                <a:cubicBezTo>
                  <a:pt x="22" y="174"/>
                  <a:pt x="22" y="174"/>
                  <a:pt x="22" y="174"/>
                </a:cubicBezTo>
                <a:cubicBezTo>
                  <a:pt x="22" y="138"/>
                  <a:pt x="22" y="138"/>
                  <a:pt x="22" y="138"/>
                </a:cubicBezTo>
                <a:cubicBezTo>
                  <a:pt x="32" y="117"/>
                  <a:pt x="32" y="117"/>
                  <a:pt x="32" y="117"/>
                </a:cubicBezTo>
                <a:cubicBezTo>
                  <a:pt x="3" y="105"/>
                  <a:pt x="3" y="105"/>
                  <a:pt x="3" y="105"/>
                </a:cubicBezTo>
                <a:cubicBezTo>
                  <a:pt x="11" y="71"/>
                  <a:pt x="11" y="71"/>
                  <a:pt x="11" y="71"/>
                </a:cubicBezTo>
                <a:cubicBezTo>
                  <a:pt x="32" y="55"/>
                  <a:pt x="32" y="55"/>
                  <a:pt x="32" y="55"/>
                </a:cubicBezTo>
                <a:cubicBezTo>
                  <a:pt x="0" y="39"/>
                  <a:pt x="0" y="39"/>
                  <a:pt x="0" y="39"/>
                </a:cubicBezTo>
                <a:cubicBezTo>
                  <a:pt x="11" y="21"/>
                  <a:pt x="11" y="21"/>
                  <a:pt x="11" y="21"/>
                </a:cubicBezTo>
                <a:cubicBezTo>
                  <a:pt x="51" y="5"/>
                  <a:pt x="51" y="5"/>
                  <a:pt x="51" y="5"/>
                </a:cubicBezTo>
                <a:cubicBezTo>
                  <a:pt x="68" y="13"/>
                  <a:pt x="68" y="13"/>
                  <a:pt x="68" y="13"/>
                </a:cubicBezTo>
                <a:cubicBezTo>
                  <a:pt x="87" y="0"/>
                  <a:pt x="87" y="0"/>
                  <a:pt x="87" y="0"/>
                </a:cubicBezTo>
                <a:cubicBezTo>
                  <a:pt x="102" y="17"/>
                  <a:pt x="102" y="17"/>
                  <a:pt x="102" y="17"/>
                </a:cubicBezTo>
                <a:cubicBezTo>
                  <a:pt x="94" y="30"/>
                  <a:pt x="94" y="30"/>
                  <a:pt x="94" y="30"/>
                </a:cubicBezTo>
                <a:cubicBezTo>
                  <a:pt x="150" y="40"/>
                  <a:pt x="150" y="40"/>
                  <a:pt x="150" y="40"/>
                </a:cubicBezTo>
                <a:cubicBezTo>
                  <a:pt x="160" y="50"/>
                  <a:pt x="160" y="50"/>
                  <a:pt x="160" y="50"/>
                </a:cubicBezTo>
                <a:cubicBezTo>
                  <a:pt x="151" y="62"/>
                  <a:pt x="151" y="62"/>
                  <a:pt x="151" y="62"/>
                </a:cubicBezTo>
                <a:cubicBezTo>
                  <a:pt x="136" y="61"/>
                  <a:pt x="136" y="61"/>
                  <a:pt x="136" y="61"/>
                </a:cubicBezTo>
                <a:cubicBezTo>
                  <a:pt x="111" y="71"/>
                  <a:pt x="111" y="71"/>
                  <a:pt x="111" y="71"/>
                </a:cubicBezTo>
                <a:cubicBezTo>
                  <a:pt x="87" y="71"/>
                  <a:pt x="87" y="71"/>
                  <a:pt x="87" y="71"/>
                </a:cubicBezTo>
                <a:cubicBezTo>
                  <a:pt x="78" y="90"/>
                  <a:pt x="78" y="90"/>
                  <a:pt x="78" y="90"/>
                </a:cubicBezTo>
                <a:cubicBezTo>
                  <a:pt x="82" y="105"/>
                  <a:pt x="82" y="105"/>
                  <a:pt x="82" y="105"/>
                </a:cubicBezTo>
                <a:cubicBezTo>
                  <a:pt x="94" y="96"/>
                  <a:pt x="94" y="96"/>
                  <a:pt x="94" y="96"/>
                </a:cubicBezTo>
                <a:cubicBezTo>
                  <a:pt x="106" y="90"/>
                  <a:pt x="106" y="90"/>
                  <a:pt x="106" y="90"/>
                </a:cubicBezTo>
                <a:cubicBezTo>
                  <a:pt x="117" y="90"/>
                  <a:pt x="117" y="90"/>
                  <a:pt x="117" y="90"/>
                </a:cubicBezTo>
                <a:cubicBezTo>
                  <a:pt x="156" y="80"/>
                  <a:pt x="156" y="80"/>
                  <a:pt x="156" y="80"/>
                </a:cubicBezTo>
                <a:cubicBezTo>
                  <a:pt x="185" y="77"/>
                  <a:pt x="185" y="77"/>
                  <a:pt x="185" y="77"/>
                </a:cubicBezTo>
                <a:cubicBezTo>
                  <a:pt x="171" y="71"/>
                  <a:pt x="171" y="71"/>
                  <a:pt x="171" y="71"/>
                </a:cubicBezTo>
                <a:cubicBezTo>
                  <a:pt x="156" y="71"/>
                  <a:pt x="156" y="71"/>
                  <a:pt x="156" y="71"/>
                </a:cubicBezTo>
                <a:cubicBezTo>
                  <a:pt x="172" y="54"/>
                  <a:pt x="172" y="54"/>
                  <a:pt x="172" y="54"/>
                </a:cubicBezTo>
                <a:cubicBezTo>
                  <a:pt x="196" y="46"/>
                  <a:pt x="196" y="46"/>
                  <a:pt x="196" y="46"/>
                </a:cubicBezTo>
                <a:cubicBezTo>
                  <a:pt x="184" y="40"/>
                  <a:pt x="184" y="40"/>
                  <a:pt x="184" y="40"/>
                </a:cubicBezTo>
                <a:cubicBezTo>
                  <a:pt x="161" y="33"/>
                  <a:pt x="161" y="33"/>
                  <a:pt x="161" y="33"/>
                </a:cubicBezTo>
                <a:cubicBezTo>
                  <a:pt x="169" y="17"/>
                  <a:pt x="169" y="17"/>
                  <a:pt x="169" y="17"/>
                </a:cubicBezTo>
                <a:cubicBezTo>
                  <a:pt x="212" y="10"/>
                  <a:pt x="212" y="10"/>
                  <a:pt x="212" y="10"/>
                </a:cubicBezTo>
                <a:lnTo>
                  <a:pt x="234" y="3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Czech Republic"/>
          <p:cNvSpPr>
            <a:spLocks/>
          </p:cNvSpPr>
          <p:nvPr/>
        </p:nvSpPr>
        <p:spPr bwMode="auto">
          <a:xfrm>
            <a:off x="9171513" y="4046538"/>
            <a:ext cx="963613" cy="479425"/>
          </a:xfrm>
          <a:custGeom>
            <a:avLst/>
            <a:gdLst>
              <a:gd name="T0" fmla="*/ 190 w 607"/>
              <a:gd name="T1" fmla="*/ 6 h 302"/>
              <a:gd name="T2" fmla="*/ 208 w 607"/>
              <a:gd name="T3" fmla="*/ 0 h 302"/>
              <a:gd name="T4" fmla="*/ 230 w 607"/>
              <a:gd name="T5" fmla="*/ 24 h 302"/>
              <a:gd name="T6" fmla="*/ 255 w 607"/>
              <a:gd name="T7" fmla="*/ 24 h 302"/>
              <a:gd name="T8" fmla="*/ 255 w 607"/>
              <a:gd name="T9" fmla="*/ 6 h 302"/>
              <a:gd name="T10" fmla="*/ 284 w 607"/>
              <a:gd name="T11" fmla="*/ 22 h 302"/>
              <a:gd name="T12" fmla="*/ 317 w 607"/>
              <a:gd name="T13" fmla="*/ 33 h 302"/>
              <a:gd name="T14" fmla="*/ 344 w 607"/>
              <a:gd name="T15" fmla="*/ 42 h 302"/>
              <a:gd name="T16" fmla="*/ 380 w 607"/>
              <a:gd name="T17" fmla="*/ 49 h 302"/>
              <a:gd name="T18" fmla="*/ 358 w 607"/>
              <a:gd name="T19" fmla="*/ 64 h 302"/>
              <a:gd name="T20" fmla="*/ 383 w 607"/>
              <a:gd name="T21" fmla="*/ 78 h 302"/>
              <a:gd name="T22" fmla="*/ 400 w 607"/>
              <a:gd name="T23" fmla="*/ 103 h 302"/>
              <a:gd name="T24" fmla="*/ 412 w 607"/>
              <a:gd name="T25" fmla="*/ 102 h 302"/>
              <a:gd name="T26" fmla="*/ 432 w 607"/>
              <a:gd name="T27" fmla="*/ 80 h 302"/>
              <a:gd name="T28" fmla="*/ 418 w 607"/>
              <a:gd name="T29" fmla="*/ 60 h 302"/>
              <a:gd name="T30" fmla="*/ 461 w 607"/>
              <a:gd name="T31" fmla="*/ 71 h 302"/>
              <a:gd name="T32" fmla="*/ 501 w 607"/>
              <a:gd name="T33" fmla="*/ 71 h 302"/>
              <a:gd name="T34" fmla="*/ 490 w 607"/>
              <a:gd name="T35" fmla="*/ 89 h 302"/>
              <a:gd name="T36" fmla="*/ 510 w 607"/>
              <a:gd name="T37" fmla="*/ 109 h 302"/>
              <a:gd name="T38" fmla="*/ 579 w 607"/>
              <a:gd name="T39" fmla="*/ 109 h 302"/>
              <a:gd name="T40" fmla="*/ 580 w 607"/>
              <a:gd name="T41" fmla="*/ 134 h 302"/>
              <a:gd name="T42" fmla="*/ 606 w 607"/>
              <a:gd name="T43" fmla="*/ 136 h 302"/>
              <a:gd name="T44" fmla="*/ 607 w 607"/>
              <a:gd name="T45" fmla="*/ 156 h 302"/>
              <a:gd name="T46" fmla="*/ 571 w 607"/>
              <a:gd name="T47" fmla="*/ 174 h 302"/>
              <a:gd name="T48" fmla="*/ 533 w 607"/>
              <a:gd name="T49" fmla="*/ 226 h 302"/>
              <a:gd name="T50" fmla="*/ 499 w 607"/>
              <a:gd name="T51" fmla="*/ 253 h 302"/>
              <a:gd name="T52" fmla="*/ 445 w 607"/>
              <a:gd name="T53" fmla="*/ 270 h 302"/>
              <a:gd name="T54" fmla="*/ 420 w 607"/>
              <a:gd name="T55" fmla="*/ 257 h 302"/>
              <a:gd name="T56" fmla="*/ 362 w 607"/>
              <a:gd name="T57" fmla="*/ 270 h 302"/>
              <a:gd name="T58" fmla="*/ 315 w 607"/>
              <a:gd name="T59" fmla="*/ 251 h 302"/>
              <a:gd name="T60" fmla="*/ 293 w 607"/>
              <a:gd name="T61" fmla="*/ 255 h 302"/>
              <a:gd name="T62" fmla="*/ 275 w 607"/>
              <a:gd name="T63" fmla="*/ 239 h 302"/>
              <a:gd name="T64" fmla="*/ 246 w 607"/>
              <a:gd name="T65" fmla="*/ 302 h 302"/>
              <a:gd name="T66" fmla="*/ 241 w 607"/>
              <a:gd name="T67" fmla="*/ 302 h 302"/>
              <a:gd name="T68" fmla="*/ 188 w 607"/>
              <a:gd name="T69" fmla="*/ 302 h 302"/>
              <a:gd name="T70" fmla="*/ 167 w 607"/>
              <a:gd name="T71" fmla="*/ 284 h 302"/>
              <a:gd name="T72" fmla="*/ 140 w 607"/>
              <a:gd name="T73" fmla="*/ 257 h 302"/>
              <a:gd name="T74" fmla="*/ 100 w 607"/>
              <a:gd name="T75" fmla="*/ 244 h 302"/>
              <a:gd name="T76" fmla="*/ 87 w 607"/>
              <a:gd name="T77" fmla="*/ 223 h 302"/>
              <a:gd name="T78" fmla="*/ 58 w 607"/>
              <a:gd name="T79" fmla="*/ 212 h 302"/>
              <a:gd name="T80" fmla="*/ 31 w 607"/>
              <a:gd name="T81" fmla="*/ 168 h 302"/>
              <a:gd name="T82" fmla="*/ 38 w 607"/>
              <a:gd name="T83" fmla="*/ 147 h 302"/>
              <a:gd name="T84" fmla="*/ 0 w 607"/>
              <a:gd name="T85" fmla="*/ 105 h 302"/>
              <a:gd name="T86" fmla="*/ 22 w 607"/>
              <a:gd name="T87" fmla="*/ 114 h 302"/>
              <a:gd name="T88" fmla="*/ 53 w 607"/>
              <a:gd name="T89" fmla="*/ 87 h 302"/>
              <a:gd name="T90" fmla="*/ 69 w 607"/>
              <a:gd name="T91" fmla="*/ 87 h 302"/>
              <a:gd name="T92" fmla="*/ 76 w 607"/>
              <a:gd name="T93" fmla="*/ 71 h 302"/>
              <a:gd name="T94" fmla="*/ 109 w 607"/>
              <a:gd name="T95" fmla="*/ 71 h 302"/>
              <a:gd name="T96" fmla="*/ 192 w 607"/>
              <a:gd name="T97" fmla="*/ 24 h 302"/>
              <a:gd name="T98" fmla="*/ 190 w 607"/>
              <a:gd name="T99" fmla="*/ 6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607" h="302">
                <a:moveTo>
                  <a:pt x="190" y="6"/>
                </a:moveTo>
                <a:lnTo>
                  <a:pt x="208" y="0"/>
                </a:lnTo>
                <a:lnTo>
                  <a:pt x="230" y="24"/>
                </a:lnTo>
                <a:lnTo>
                  <a:pt x="255" y="24"/>
                </a:lnTo>
                <a:lnTo>
                  <a:pt x="255" y="6"/>
                </a:lnTo>
                <a:lnTo>
                  <a:pt x="284" y="22"/>
                </a:lnTo>
                <a:lnTo>
                  <a:pt x="317" y="33"/>
                </a:lnTo>
                <a:lnTo>
                  <a:pt x="344" y="42"/>
                </a:lnTo>
                <a:lnTo>
                  <a:pt x="380" y="49"/>
                </a:lnTo>
                <a:lnTo>
                  <a:pt x="358" y="64"/>
                </a:lnTo>
                <a:lnTo>
                  <a:pt x="383" y="78"/>
                </a:lnTo>
                <a:lnTo>
                  <a:pt x="400" y="103"/>
                </a:lnTo>
                <a:lnTo>
                  <a:pt x="412" y="102"/>
                </a:lnTo>
                <a:lnTo>
                  <a:pt x="432" y="80"/>
                </a:lnTo>
                <a:lnTo>
                  <a:pt x="418" y="60"/>
                </a:lnTo>
                <a:lnTo>
                  <a:pt x="461" y="71"/>
                </a:lnTo>
                <a:lnTo>
                  <a:pt x="501" y="71"/>
                </a:lnTo>
                <a:lnTo>
                  <a:pt x="490" y="89"/>
                </a:lnTo>
                <a:lnTo>
                  <a:pt x="510" y="109"/>
                </a:lnTo>
                <a:lnTo>
                  <a:pt x="579" y="109"/>
                </a:lnTo>
                <a:lnTo>
                  <a:pt x="580" y="134"/>
                </a:lnTo>
                <a:lnTo>
                  <a:pt x="606" y="136"/>
                </a:lnTo>
                <a:lnTo>
                  <a:pt x="607" y="156"/>
                </a:lnTo>
                <a:lnTo>
                  <a:pt x="571" y="174"/>
                </a:lnTo>
                <a:lnTo>
                  <a:pt x="533" y="226"/>
                </a:lnTo>
                <a:lnTo>
                  <a:pt x="499" y="253"/>
                </a:lnTo>
                <a:lnTo>
                  <a:pt x="445" y="270"/>
                </a:lnTo>
                <a:lnTo>
                  <a:pt x="420" y="257"/>
                </a:lnTo>
                <a:lnTo>
                  <a:pt x="362" y="270"/>
                </a:lnTo>
                <a:lnTo>
                  <a:pt x="315" y="251"/>
                </a:lnTo>
                <a:lnTo>
                  <a:pt x="293" y="255"/>
                </a:lnTo>
                <a:lnTo>
                  <a:pt x="275" y="239"/>
                </a:lnTo>
                <a:lnTo>
                  <a:pt x="246" y="302"/>
                </a:lnTo>
                <a:lnTo>
                  <a:pt x="241" y="302"/>
                </a:lnTo>
                <a:lnTo>
                  <a:pt x="188" y="302"/>
                </a:lnTo>
                <a:lnTo>
                  <a:pt x="167" y="284"/>
                </a:lnTo>
                <a:lnTo>
                  <a:pt x="140" y="257"/>
                </a:lnTo>
                <a:lnTo>
                  <a:pt x="100" y="244"/>
                </a:lnTo>
                <a:lnTo>
                  <a:pt x="87" y="223"/>
                </a:lnTo>
                <a:lnTo>
                  <a:pt x="58" y="212"/>
                </a:lnTo>
                <a:lnTo>
                  <a:pt x="31" y="168"/>
                </a:lnTo>
                <a:lnTo>
                  <a:pt x="38" y="147"/>
                </a:lnTo>
                <a:lnTo>
                  <a:pt x="0" y="105"/>
                </a:lnTo>
                <a:lnTo>
                  <a:pt x="22" y="114"/>
                </a:lnTo>
                <a:lnTo>
                  <a:pt x="53" y="87"/>
                </a:lnTo>
                <a:lnTo>
                  <a:pt x="69" y="87"/>
                </a:lnTo>
                <a:lnTo>
                  <a:pt x="76" y="71"/>
                </a:lnTo>
                <a:lnTo>
                  <a:pt x="109" y="71"/>
                </a:lnTo>
                <a:lnTo>
                  <a:pt x="192" y="24"/>
                </a:lnTo>
                <a:lnTo>
                  <a:pt x="190" y="6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8" name="Slovakia"/>
          <p:cNvSpPr>
            <a:spLocks/>
          </p:cNvSpPr>
          <p:nvPr/>
        </p:nvSpPr>
        <p:spPr bwMode="auto">
          <a:xfrm>
            <a:off x="9868426" y="4256088"/>
            <a:ext cx="860425" cy="398463"/>
          </a:xfrm>
          <a:custGeom>
            <a:avLst/>
            <a:gdLst>
              <a:gd name="T0" fmla="*/ 168 w 542"/>
              <a:gd name="T1" fmla="*/ 24 h 251"/>
              <a:gd name="T2" fmla="*/ 192 w 542"/>
              <a:gd name="T3" fmla="*/ 45 h 251"/>
              <a:gd name="T4" fmla="*/ 217 w 542"/>
              <a:gd name="T5" fmla="*/ 7 h 251"/>
              <a:gd name="T6" fmla="*/ 252 w 542"/>
              <a:gd name="T7" fmla="*/ 29 h 251"/>
              <a:gd name="T8" fmla="*/ 255 w 542"/>
              <a:gd name="T9" fmla="*/ 51 h 251"/>
              <a:gd name="T10" fmla="*/ 280 w 542"/>
              <a:gd name="T11" fmla="*/ 51 h 251"/>
              <a:gd name="T12" fmla="*/ 298 w 542"/>
              <a:gd name="T13" fmla="*/ 18 h 251"/>
              <a:gd name="T14" fmla="*/ 335 w 542"/>
              <a:gd name="T15" fmla="*/ 15 h 251"/>
              <a:gd name="T16" fmla="*/ 356 w 542"/>
              <a:gd name="T17" fmla="*/ 38 h 251"/>
              <a:gd name="T18" fmla="*/ 365 w 542"/>
              <a:gd name="T19" fmla="*/ 7 h 251"/>
              <a:gd name="T20" fmla="*/ 398 w 542"/>
              <a:gd name="T21" fmla="*/ 0 h 251"/>
              <a:gd name="T22" fmla="*/ 450 w 542"/>
              <a:gd name="T23" fmla="*/ 9 h 251"/>
              <a:gd name="T24" fmla="*/ 454 w 542"/>
              <a:gd name="T25" fmla="*/ 26 h 251"/>
              <a:gd name="T26" fmla="*/ 497 w 542"/>
              <a:gd name="T27" fmla="*/ 38 h 251"/>
              <a:gd name="T28" fmla="*/ 499 w 542"/>
              <a:gd name="T29" fmla="*/ 71 h 251"/>
              <a:gd name="T30" fmla="*/ 488 w 542"/>
              <a:gd name="T31" fmla="*/ 107 h 251"/>
              <a:gd name="T32" fmla="*/ 542 w 542"/>
              <a:gd name="T33" fmla="*/ 138 h 251"/>
              <a:gd name="T34" fmla="*/ 530 w 542"/>
              <a:gd name="T35" fmla="*/ 152 h 251"/>
              <a:gd name="T36" fmla="*/ 506 w 542"/>
              <a:gd name="T37" fmla="*/ 148 h 251"/>
              <a:gd name="T38" fmla="*/ 485 w 542"/>
              <a:gd name="T39" fmla="*/ 139 h 251"/>
              <a:gd name="T40" fmla="*/ 472 w 542"/>
              <a:gd name="T41" fmla="*/ 121 h 251"/>
              <a:gd name="T42" fmla="*/ 434 w 542"/>
              <a:gd name="T43" fmla="*/ 141 h 251"/>
              <a:gd name="T44" fmla="*/ 356 w 542"/>
              <a:gd name="T45" fmla="*/ 125 h 251"/>
              <a:gd name="T46" fmla="*/ 318 w 542"/>
              <a:gd name="T47" fmla="*/ 152 h 251"/>
              <a:gd name="T48" fmla="*/ 302 w 542"/>
              <a:gd name="T49" fmla="*/ 170 h 251"/>
              <a:gd name="T50" fmla="*/ 282 w 542"/>
              <a:gd name="T51" fmla="*/ 186 h 251"/>
              <a:gd name="T52" fmla="*/ 242 w 542"/>
              <a:gd name="T53" fmla="*/ 170 h 251"/>
              <a:gd name="T54" fmla="*/ 230 w 542"/>
              <a:gd name="T55" fmla="*/ 197 h 251"/>
              <a:gd name="T56" fmla="*/ 183 w 542"/>
              <a:gd name="T57" fmla="*/ 199 h 251"/>
              <a:gd name="T58" fmla="*/ 172 w 542"/>
              <a:gd name="T59" fmla="*/ 221 h 251"/>
              <a:gd name="T60" fmla="*/ 185 w 542"/>
              <a:gd name="T61" fmla="*/ 235 h 251"/>
              <a:gd name="T62" fmla="*/ 129 w 542"/>
              <a:gd name="T63" fmla="*/ 248 h 251"/>
              <a:gd name="T64" fmla="*/ 82 w 542"/>
              <a:gd name="T65" fmla="*/ 251 h 251"/>
              <a:gd name="T66" fmla="*/ 49 w 542"/>
              <a:gd name="T67" fmla="*/ 213 h 251"/>
              <a:gd name="T68" fmla="*/ 29 w 542"/>
              <a:gd name="T69" fmla="*/ 208 h 251"/>
              <a:gd name="T70" fmla="*/ 0 w 542"/>
              <a:gd name="T71" fmla="*/ 185 h 251"/>
              <a:gd name="T72" fmla="*/ 6 w 542"/>
              <a:gd name="T73" fmla="*/ 138 h 251"/>
              <a:gd name="T74" fmla="*/ 60 w 542"/>
              <a:gd name="T75" fmla="*/ 121 h 251"/>
              <a:gd name="T76" fmla="*/ 94 w 542"/>
              <a:gd name="T77" fmla="*/ 94 h 251"/>
              <a:gd name="T78" fmla="*/ 132 w 542"/>
              <a:gd name="T79" fmla="*/ 42 h 251"/>
              <a:gd name="T80" fmla="*/ 168 w 542"/>
              <a:gd name="T81" fmla="*/ 24 h 2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42" h="251">
                <a:moveTo>
                  <a:pt x="168" y="24"/>
                </a:moveTo>
                <a:lnTo>
                  <a:pt x="192" y="45"/>
                </a:lnTo>
                <a:lnTo>
                  <a:pt x="217" y="7"/>
                </a:lnTo>
                <a:lnTo>
                  <a:pt x="252" y="29"/>
                </a:lnTo>
                <a:lnTo>
                  <a:pt x="255" y="51"/>
                </a:lnTo>
                <a:lnTo>
                  <a:pt x="280" y="51"/>
                </a:lnTo>
                <a:lnTo>
                  <a:pt x="298" y="18"/>
                </a:lnTo>
                <a:lnTo>
                  <a:pt x="335" y="15"/>
                </a:lnTo>
                <a:lnTo>
                  <a:pt x="356" y="38"/>
                </a:lnTo>
                <a:lnTo>
                  <a:pt x="365" y="7"/>
                </a:lnTo>
                <a:lnTo>
                  <a:pt x="398" y="0"/>
                </a:lnTo>
                <a:lnTo>
                  <a:pt x="450" y="9"/>
                </a:lnTo>
                <a:lnTo>
                  <a:pt x="454" y="26"/>
                </a:lnTo>
                <a:lnTo>
                  <a:pt x="497" y="38"/>
                </a:lnTo>
                <a:lnTo>
                  <a:pt x="499" y="71"/>
                </a:lnTo>
                <a:lnTo>
                  <a:pt x="488" y="107"/>
                </a:lnTo>
                <a:lnTo>
                  <a:pt x="542" y="138"/>
                </a:lnTo>
                <a:lnTo>
                  <a:pt x="530" y="152"/>
                </a:lnTo>
                <a:lnTo>
                  <a:pt x="506" y="148"/>
                </a:lnTo>
                <a:lnTo>
                  <a:pt x="485" y="139"/>
                </a:lnTo>
                <a:lnTo>
                  <a:pt x="472" y="121"/>
                </a:lnTo>
                <a:lnTo>
                  <a:pt x="434" y="141"/>
                </a:lnTo>
                <a:lnTo>
                  <a:pt x="356" y="125"/>
                </a:lnTo>
                <a:lnTo>
                  <a:pt x="318" y="152"/>
                </a:lnTo>
                <a:lnTo>
                  <a:pt x="302" y="170"/>
                </a:lnTo>
                <a:lnTo>
                  <a:pt x="282" y="186"/>
                </a:lnTo>
                <a:lnTo>
                  <a:pt x="242" y="170"/>
                </a:lnTo>
                <a:lnTo>
                  <a:pt x="230" y="197"/>
                </a:lnTo>
                <a:lnTo>
                  <a:pt x="183" y="199"/>
                </a:lnTo>
                <a:lnTo>
                  <a:pt x="172" y="221"/>
                </a:lnTo>
                <a:lnTo>
                  <a:pt x="185" y="235"/>
                </a:lnTo>
                <a:lnTo>
                  <a:pt x="129" y="248"/>
                </a:lnTo>
                <a:lnTo>
                  <a:pt x="82" y="251"/>
                </a:lnTo>
                <a:lnTo>
                  <a:pt x="49" y="213"/>
                </a:lnTo>
                <a:lnTo>
                  <a:pt x="29" y="208"/>
                </a:lnTo>
                <a:lnTo>
                  <a:pt x="0" y="185"/>
                </a:lnTo>
                <a:lnTo>
                  <a:pt x="6" y="138"/>
                </a:lnTo>
                <a:lnTo>
                  <a:pt x="60" y="121"/>
                </a:lnTo>
                <a:lnTo>
                  <a:pt x="94" y="94"/>
                </a:lnTo>
                <a:lnTo>
                  <a:pt x="132" y="42"/>
                </a:lnTo>
                <a:lnTo>
                  <a:pt x="168" y="24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9" name="Hungary"/>
          <p:cNvSpPr>
            <a:spLocks/>
          </p:cNvSpPr>
          <p:nvPr/>
        </p:nvSpPr>
        <p:spPr bwMode="auto">
          <a:xfrm>
            <a:off x="9782701" y="4437063"/>
            <a:ext cx="955675" cy="587375"/>
          </a:xfrm>
          <a:custGeom>
            <a:avLst/>
            <a:gdLst>
              <a:gd name="T0" fmla="*/ 83 w 602"/>
              <a:gd name="T1" fmla="*/ 94 h 370"/>
              <a:gd name="T2" fmla="*/ 103 w 602"/>
              <a:gd name="T3" fmla="*/ 99 h 370"/>
              <a:gd name="T4" fmla="*/ 136 w 602"/>
              <a:gd name="T5" fmla="*/ 137 h 370"/>
              <a:gd name="T6" fmla="*/ 183 w 602"/>
              <a:gd name="T7" fmla="*/ 134 h 370"/>
              <a:gd name="T8" fmla="*/ 239 w 602"/>
              <a:gd name="T9" fmla="*/ 121 h 370"/>
              <a:gd name="T10" fmla="*/ 226 w 602"/>
              <a:gd name="T11" fmla="*/ 107 h 370"/>
              <a:gd name="T12" fmla="*/ 237 w 602"/>
              <a:gd name="T13" fmla="*/ 85 h 370"/>
              <a:gd name="T14" fmla="*/ 284 w 602"/>
              <a:gd name="T15" fmla="*/ 83 h 370"/>
              <a:gd name="T16" fmla="*/ 296 w 602"/>
              <a:gd name="T17" fmla="*/ 56 h 370"/>
              <a:gd name="T18" fmla="*/ 336 w 602"/>
              <a:gd name="T19" fmla="*/ 72 h 370"/>
              <a:gd name="T20" fmla="*/ 356 w 602"/>
              <a:gd name="T21" fmla="*/ 56 h 370"/>
              <a:gd name="T22" fmla="*/ 372 w 602"/>
              <a:gd name="T23" fmla="*/ 38 h 370"/>
              <a:gd name="T24" fmla="*/ 410 w 602"/>
              <a:gd name="T25" fmla="*/ 11 h 370"/>
              <a:gd name="T26" fmla="*/ 488 w 602"/>
              <a:gd name="T27" fmla="*/ 27 h 370"/>
              <a:gd name="T28" fmla="*/ 526 w 602"/>
              <a:gd name="T29" fmla="*/ 7 h 370"/>
              <a:gd name="T30" fmla="*/ 539 w 602"/>
              <a:gd name="T31" fmla="*/ 25 h 370"/>
              <a:gd name="T32" fmla="*/ 555 w 602"/>
              <a:gd name="T33" fmla="*/ 0 h 370"/>
              <a:gd name="T34" fmla="*/ 577 w 602"/>
              <a:gd name="T35" fmla="*/ 13 h 370"/>
              <a:gd name="T36" fmla="*/ 596 w 602"/>
              <a:gd name="T37" fmla="*/ 24 h 370"/>
              <a:gd name="T38" fmla="*/ 602 w 602"/>
              <a:gd name="T39" fmla="*/ 31 h 370"/>
              <a:gd name="T40" fmla="*/ 596 w 602"/>
              <a:gd name="T41" fmla="*/ 42 h 370"/>
              <a:gd name="T42" fmla="*/ 602 w 602"/>
              <a:gd name="T43" fmla="*/ 60 h 370"/>
              <a:gd name="T44" fmla="*/ 593 w 602"/>
              <a:gd name="T45" fmla="*/ 78 h 370"/>
              <a:gd name="T46" fmla="*/ 557 w 602"/>
              <a:gd name="T47" fmla="*/ 81 h 370"/>
              <a:gd name="T48" fmla="*/ 531 w 602"/>
              <a:gd name="T49" fmla="*/ 110 h 370"/>
              <a:gd name="T50" fmla="*/ 528 w 602"/>
              <a:gd name="T51" fmla="*/ 145 h 370"/>
              <a:gd name="T52" fmla="*/ 504 w 602"/>
              <a:gd name="T53" fmla="*/ 188 h 370"/>
              <a:gd name="T54" fmla="*/ 501 w 602"/>
              <a:gd name="T55" fmla="*/ 226 h 370"/>
              <a:gd name="T56" fmla="*/ 475 w 602"/>
              <a:gd name="T57" fmla="*/ 273 h 370"/>
              <a:gd name="T58" fmla="*/ 439 w 602"/>
              <a:gd name="T59" fmla="*/ 282 h 370"/>
              <a:gd name="T60" fmla="*/ 407 w 602"/>
              <a:gd name="T61" fmla="*/ 304 h 370"/>
              <a:gd name="T62" fmla="*/ 342 w 602"/>
              <a:gd name="T63" fmla="*/ 304 h 370"/>
              <a:gd name="T64" fmla="*/ 302 w 602"/>
              <a:gd name="T65" fmla="*/ 340 h 370"/>
              <a:gd name="T66" fmla="*/ 268 w 602"/>
              <a:gd name="T67" fmla="*/ 347 h 370"/>
              <a:gd name="T68" fmla="*/ 233 w 602"/>
              <a:gd name="T69" fmla="*/ 370 h 370"/>
              <a:gd name="T70" fmla="*/ 172 w 602"/>
              <a:gd name="T71" fmla="*/ 367 h 370"/>
              <a:gd name="T72" fmla="*/ 148 w 602"/>
              <a:gd name="T73" fmla="*/ 354 h 370"/>
              <a:gd name="T74" fmla="*/ 119 w 602"/>
              <a:gd name="T75" fmla="*/ 363 h 370"/>
              <a:gd name="T76" fmla="*/ 0 w 602"/>
              <a:gd name="T77" fmla="*/ 269 h 370"/>
              <a:gd name="T78" fmla="*/ 38 w 602"/>
              <a:gd name="T79" fmla="*/ 226 h 370"/>
              <a:gd name="T80" fmla="*/ 18 w 602"/>
              <a:gd name="T81" fmla="*/ 206 h 370"/>
              <a:gd name="T82" fmla="*/ 31 w 602"/>
              <a:gd name="T83" fmla="*/ 177 h 370"/>
              <a:gd name="T84" fmla="*/ 16 w 602"/>
              <a:gd name="T85" fmla="*/ 152 h 370"/>
              <a:gd name="T86" fmla="*/ 83 w 602"/>
              <a:gd name="T87" fmla="*/ 148 h 370"/>
              <a:gd name="T88" fmla="*/ 83 w 602"/>
              <a:gd name="T89" fmla="*/ 94 h 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602" h="370">
                <a:moveTo>
                  <a:pt x="83" y="94"/>
                </a:moveTo>
                <a:lnTo>
                  <a:pt x="103" y="99"/>
                </a:lnTo>
                <a:lnTo>
                  <a:pt x="136" y="137"/>
                </a:lnTo>
                <a:lnTo>
                  <a:pt x="183" y="134"/>
                </a:lnTo>
                <a:lnTo>
                  <a:pt x="239" y="121"/>
                </a:lnTo>
                <a:lnTo>
                  <a:pt x="226" y="107"/>
                </a:lnTo>
                <a:lnTo>
                  <a:pt x="237" y="85"/>
                </a:lnTo>
                <a:lnTo>
                  <a:pt x="284" y="83"/>
                </a:lnTo>
                <a:lnTo>
                  <a:pt x="296" y="56"/>
                </a:lnTo>
                <a:lnTo>
                  <a:pt x="336" y="72"/>
                </a:lnTo>
                <a:lnTo>
                  <a:pt x="356" y="56"/>
                </a:lnTo>
                <a:lnTo>
                  <a:pt x="372" y="38"/>
                </a:lnTo>
                <a:lnTo>
                  <a:pt x="410" y="11"/>
                </a:lnTo>
                <a:lnTo>
                  <a:pt x="488" y="27"/>
                </a:lnTo>
                <a:lnTo>
                  <a:pt x="526" y="7"/>
                </a:lnTo>
                <a:lnTo>
                  <a:pt x="539" y="25"/>
                </a:lnTo>
                <a:lnTo>
                  <a:pt x="555" y="0"/>
                </a:lnTo>
                <a:lnTo>
                  <a:pt x="577" y="13"/>
                </a:lnTo>
                <a:lnTo>
                  <a:pt x="596" y="24"/>
                </a:lnTo>
                <a:lnTo>
                  <a:pt x="602" y="31"/>
                </a:lnTo>
                <a:lnTo>
                  <a:pt x="596" y="42"/>
                </a:lnTo>
                <a:lnTo>
                  <a:pt x="602" y="60"/>
                </a:lnTo>
                <a:lnTo>
                  <a:pt x="593" y="78"/>
                </a:lnTo>
                <a:lnTo>
                  <a:pt x="557" y="81"/>
                </a:lnTo>
                <a:lnTo>
                  <a:pt x="531" y="110"/>
                </a:lnTo>
                <a:lnTo>
                  <a:pt x="528" y="145"/>
                </a:lnTo>
                <a:lnTo>
                  <a:pt x="504" y="188"/>
                </a:lnTo>
                <a:lnTo>
                  <a:pt x="501" y="226"/>
                </a:lnTo>
                <a:lnTo>
                  <a:pt x="475" y="273"/>
                </a:lnTo>
                <a:lnTo>
                  <a:pt x="439" y="282"/>
                </a:lnTo>
                <a:lnTo>
                  <a:pt x="407" y="304"/>
                </a:lnTo>
                <a:lnTo>
                  <a:pt x="342" y="304"/>
                </a:lnTo>
                <a:lnTo>
                  <a:pt x="302" y="340"/>
                </a:lnTo>
                <a:lnTo>
                  <a:pt x="268" y="347"/>
                </a:lnTo>
                <a:lnTo>
                  <a:pt x="233" y="370"/>
                </a:lnTo>
                <a:lnTo>
                  <a:pt x="172" y="367"/>
                </a:lnTo>
                <a:lnTo>
                  <a:pt x="148" y="354"/>
                </a:lnTo>
                <a:lnTo>
                  <a:pt x="119" y="363"/>
                </a:lnTo>
                <a:lnTo>
                  <a:pt x="0" y="269"/>
                </a:lnTo>
                <a:lnTo>
                  <a:pt x="38" y="226"/>
                </a:lnTo>
                <a:lnTo>
                  <a:pt x="18" y="206"/>
                </a:lnTo>
                <a:lnTo>
                  <a:pt x="31" y="177"/>
                </a:lnTo>
                <a:lnTo>
                  <a:pt x="16" y="152"/>
                </a:lnTo>
                <a:lnTo>
                  <a:pt x="83" y="148"/>
                </a:lnTo>
                <a:lnTo>
                  <a:pt x="83" y="94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0" name="Belarus"/>
          <p:cNvSpPr>
            <a:spLocks/>
          </p:cNvSpPr>
          <p:nvPr/>
        </p:nvSpPr>
        <p:spPr bwMode="auto">
          <a:xfrm>
            <a:off x="10609788" y="2808288"/>
            <a:ext cx="1169988" cy="984250"/>
          </a:xfrm>
          <a:custGeom>
            <a:avLst/>
            <a:gdLst>
              <a:gd name="T0" fmla="*/ 379 w 408"/>
              <a:gd name="T1" fmla="*/ 226 h 343"/>
              <a:gd name="T2" fmla="*/ 361 w 408"/>
              <a:gd name="T3" fmla="*/ 230 h 343"/>
              <a:gd name="T4" fmla="*/ 352 w 408"/>
              <a:gd name="T5" fmla="*/ 274 h 343"/>
              <a:gd name="T6" fmla="*/ 362 w 408"/>
              <a:gd name="T7" fmla="*/ 296 h 343"/>
              <a:gd name="T8" fmla="*/ 342 w 408"/>
              <a:gd name="T9" fmla="*/ 282 h 343"/>
              <a:gd name="T10" fmla="*/ 324 w 408"/>
              <a:gd name="T11" fmla="*/ 291 h 343"/>
              <a:gd name="T12" fmla="*/ 287 w 408"/>
              <a:gd name="T13" fmla="*/ 288 h 343"/>
              <a:gd name="T14" fmla="*/ 265 w 408"/>
              <a:gd name="T15" fmla="*/ 294 h 343"/>
              <a:gd name="T16" fmla="*/ 208 w 408"/>
              <a:gd name="T17" fmla="*/ 309 h 343"/>
              <a:gd name="T18" fmla="*/ 151 w 408"/>
              <a:gd name="T19" fmla="*/ 303 h 343"/>
              <a:gd name="T20" fmla="*/ 119 w 408"/>
              <a:gd name="T21" fmla="*/ 304 h 343"/>
              <a:gd name="T22" fmla="*/ 82 w 408"/>
              <a:gd name="T23" fmla="*/ 315 h 343"/>
              <a:gd name="T24" fmla="*/ 55 w 408"/>
              <a:gd name="T25" fmla="*/ 338 h 343"/>
              <a:gd name="T26" fmla="*/ 33 w 408"/>
              <a:gd name="T27" fmla="*/ 318 h 343"/>
              <a:gd name="T28" fmla="*/ 6 w 408"/>
              <a:gd name="T29" fmla="*/ 312 h 343"/>
              <a:gd name="T30" fmla="*/ 12 w 408"/>
              <a:gd name="T31" fmla="*/ 260 h 343"/>
              <a:gd name="T32" fmla="*/ 1 w 408"/>
              <a:gd name="T33" fmla="*/ 209 h 343"/>
              <a:gd name="T34" fmla="*/ 24 w 408"/>
              <a:gd name="T35" fmla="*/ 186 h 343"/>
              <a:gd name="T36" fmla="*/ 54 w 408"/>
              <a:gd name="T37" fmla="*/ 174 h 343"/>
              <a:gd name="T38" fmla="*/ 71 w 408"/>
              <a:gd name="T39" fmla="*/ 157 h 343"/>
              <a:gd name="T40" fmla="*/ 92 w 408"/>
              <a:gd name="T41" fmla="*/ 164 h 343"/>
              <a:gd name="T42" fmla="*/ 86 w 408"/>
              <a:gd name="T43" fmla="*/ 107 h 343"/>
              <a:gd name="T44" fmla="*/ 96 w 408"/>
              <a:gd name="T45" fmla="*/ 89 h 343"/>
              <a:gd name="T46" fmla="*/ 115 w 408"/>
              <a:gd name="T47" fmla="*/ 74 h 343"/>
              <a:gd name="T48" fmla="*/ 103 w 408"/>
              <a:gd name="T49" fmla="*/ 52 h 343"/>
              <a:gd name="T50" fmla="*/ 127 w 408"/>
              <a:gd name="T51" fmla="*/ 40 h 343"/>
              <a:gd name="T52" fmla="*/ 143 w 408"/>
              <a:gd name="T53" fmla="*/ 19 h 343"/>
              <a:gd name="T54" fmla="*/ 177 w 408"/>
              <a:gd name="T55" fmla="*/ 0 h 343"/>
              <a:gd name="T56" fmla="*/ 218 w 408"/>
              <a:gd name="T57" fmla="*/ 24 h 343"/>
              <a:gd name="T58" fmla="*/ 282 w 408"/>
              <a:gd name="T59" fmla="*/ 13 h 343"/>
              <a:gd name="T60" fmla="*/ 290 w 408"/>
              <a:gd name="T61" fmla="*/ 61 h 343"/>
              <a:gd name="T62" fmla="*/ 314 w 408"/>
              <a:gd name="T63" fmla="*/ 76 h 343"/>
              <a:gd name="T64" fmla="*/ 358 w 408"/>
              <a:gd name="T65" fmla="*/ 97 h 343"/>
              <a:gd name="T66" fmla="*/ 387 w 408"/>
              <a:gd name="T67" fmla="*/ 109 h 343"/>
              <a:gd name="T68" fmla="*/ 401 w 408"/>
              <a:gd name="T69" fmla="*/ 161 h 343"/>
              <a:gd name="T70" fmla="*/ 353 w 408"/>
              <a:gd name="T71" fmla="*/ 169 h 343"/>
              <a:gd name="T72" fmla="*/ 375 w 408"/>
              <a:gd name="T73" fmla="*/ 200 h 343"/>
              <a:gd name="T74" fmla="*/ 393 w 408"/>
              <a:gd name="T75" fmla="*/ 226 h 3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08" h="343">
                <a:moveTo>
                  <a:pt x="393" y="226"/>
                </a:moveTo>
                <a:cubicBezTo>
                  <a:pt x="379" y="226"/>
                  <a:pt x="379" y="226"/>
                  <a:pt x="379" y="226"/>
                </a:cubicBezTo>
                <a:cubicBezTo>
                  <a:pt x="374" y="234"/>
                  <a:pt x="374" y="234"/>
                  <a:pt x="374" y="234"/>
                </a:cubicBezTo>
                <a:cubicBezTo>
                  <a:pt x="361" y="230"/>
                  <a:pt x="361" y="230"/>
                  <a:pt x="361" y="230"/>
                </a:cubicBezTo>
                <a:cubicBezTo>
                  <a:pt x="356" y="250"/>
                  <a:pt x="356" y="250"/>
                  <a:pt x="356" y="250"/>
                </a:cubicBezTo>
                <a:cubicBezTo>
                  <a:pt x="352" y="274"/>
                  <a:pt x="352" y="274"/>
                  <a:pt x="352" y="274"/>
                </a:cubicBezTo>
                <a:cubicBezTo>
                  <a:pt x="365" y="287"/>
                  <a:pt x="365" y="287"/>
                  <a:pt x="365" y="287"/>
                </a:cubicBezTo>
                <a:cubicBezTo>
                  <a:pt x="362" y="296"/>
                  <a:pt x="362" y="296"/>
                  <a:pt x="362" y="296"/>
                </a:cubicBezTo>
                <a:cubicBezTo>
                  <a:pt x="352" y="296"/>
                  <a:pt x="352" y="296"/>
                  <a:pt x="352" y="296"/>
                </a:cubicBezTo>
                <a:cubicBezTo>
                  <a:pt x="342" y="282"/>
                  <a:pt x="342" y="282"/>
                  <a:pt x="342" y="282"/>
                </a:cubicBezTo>
                <a:cubicBezTo>
                  <a:pt x="328" y="281"/>
                  <a:pt x="328" y="281"/>
                  <a:pt x="328" y="281"/>
                </a:cubicBezTo>
                <a:cubicBezTo>
                  <a:pt x="324" y="291"/>
                  <a:pt x="324" y="291"/>
                  <a:pt x="324" y="291"/>
                </a:cubicBezTo>
                <a:cubicBezTo>
                  <a:pt x="305" y="300"/>
                  <a:pt x="305" y="300"/>
                  <a:pt x="305" y="300"/>
                </a:cubicBezTo>
                <a:cubicBezTo>
                  <a:pt x="287" y="288"/>
                  <a:pt x="287" y="288"/>
                  <a:pt x="287" y="288"/>
                </a:cubicBezTo>
                <a:cubicBezTo>
                  <a:pt x="278" y="303"/>
                  <a:pt x="278" y="303"/>
                  <a:pt x="278" y="303"/>
                </a:cubicBezTo>
                <a:cubicBezTo>
                  <a:pt x="265" y="294"/>
                  <a:pt x="265" y="294"/>
                  <a:pt x="265" y="294"/>
                </a:cubicBezTo>
                <a:cubicBezTo>
                  <a:pt x="250" y="303"/>
                  <a:pt x="250" y="303"/>
                  <a:pt x="250" y="303"/>
                </a:cubicBezTo>
                <a:cubicBezTo>
                  <a:pt x="208" y="309"/>
                  <a:pt x="208" y="309"/>
                  <a:pt x="208" y="309"/>
                </a:cubicBezTo>
                <a:cubicBezTo>
                  <a:pt x="208" y="309"/>
                  <a:pt x="204" y="296"/>
                  <a:pt x="195" y="296"/>
                </a:cubicBezTo>
                <a:cubicBezTo>
                  <a:pt x="187" y="297"/>
                  <a:pt x="151" y="303"/>
                  <a:pt x="151" y="303"/>
                </a:cubicBezTo>
                <a:cubicBezTo>
                  <a:pt x="144" y="292"/>
                  <a:pt x="144" y="292"/>
                  <a:pt x="144" y="292"/>
                </a:cubicBezTo>
                <a:cubicBezTo>
                  <a:pt x="119" y="304"/>
                  <a:pt x="119" y="304"/>
                  <a:pt x="119" y="304"/>
                </a:cubicBezTo>
                <a:cubicBezTo>
                  <a:pt x="95" y="303"/>
                  <a:pt x="95" y="303"/>
                  <a:pt x="95" y="303"/>
                </a:cubicBezTo>
                <a:cubicBezTo>
                  <a:pt x="82" y="315"/>
                  <a:pt x="82" y="315"/>
                  <a:pt x="82" y="315"/>
                </a:cubicBezTo>
                <a:cubicBezTo>
                  <a:pt x="70" y="315"/>
                  <a:pt x="70" y="315"/>
                  <a:pt x="70" y="315"/>
                </a:cubicBezTo>
                <a:cubicBezTo>
                  <a:pt x="55" y="338"/>
                  <a:pt x="55" y="338"/>
                  <a:pt x="55" y="338"/>
                </a:cubicBezTo>
                <a:cubicBezTo>
                  <a:pt x="28" y="343"/>
                  <a:pt x="28" y="343"/>
                  <a:pt x="28" y="343"/>
                </a:cubicBezTo>
                <a:cubicBezTo>
                  <a:pt x="33" y="318"/>
                  <a:pt x="33" y="318"/>
                  <a:pt x="33" y="318"/>
                </a:cubicBezTo>
                <a:cubicBezTo>
                  <a:pt x="19" y="307"/>
                  <a:pt x="19" y="307"/>
                  <a:pt x="19" y="307"/>
                </a:cubicBezTo>
                <a:cubicBezTo>
                  <a:pt x="6" y="312"/>
                  <a:pt x="6" y="312"/>
                  <a:pt x="6" y="312"/>
                </a:cubicBezTo>
                <a:cubicBezTo>
                  <a:pt x="1" y="303"/>
                  <a:pt x="1" y="303"/>
                  <a:pt x="1" y="303"/>
                </a:cubicBezTo>
                <a:cubicBezTo>
                  <a:pt x="12" y="260"/>
                  <a:pt x="12" y="260"/>
                  <a:pt x="12" y="260"/>
                </a:cubicBezTo>
                <a:cubicBezTo>
                  <a:pt x="18" y="238"/>
                  <a:pt x="18" y="238"/>
                  <a:pt x="18" y="238"/>
                </a:cubicBezTo>
                <a:cubicBezTo>
                  <a:pt x="1" y="209"/>
                  <a:pt x="1" y="209"/>
                  <a:pt x="1" y="209"/>
                </a:cubicBezTo>
                <a:cubicBezTo>
                  <a:pt x="0" y="200"/>
                  <a:pt x="0" y="200"/>
                  <a:pt x="0" y="200"/>
                </a:cubicBezTo>
                <a:cubicBezTo>
                  <a:pt x="24" y="186"/>
                  <a:pt x="24" y="186"/>
                  <a:pt x="24" y="186"/>
                </a:cubicBezTo>
                <a:cubicBezTo>
                  <a:pt x="38" y="194"/>
                  <a:pt x="38" y="194"/>
                  <a:pt x="38" y="194"/>
                </a:cubicBezTo>
                <a:cubicBezTo>
                  <a:pt x="54" y="174"/>
                  <a:pt x="54" y="174"/>
                  <a:pt x="54" y="174"/>
                </a:cubicBezTo>
                <a:cubicBezTo>
                  <a:pt x="71" y="164"/>
                  <a:pt x="71" y="164"/>
                  <a:pt x="71" y="164"/>
                </a:cubicBezTo>
                <a:cubicBezTo>
                  <a:pt x="71" y="157"/>
                  <a:pt x="71" y="157"/>
                  <a:pt x="71" y="157"/>
                </a:cubicBezTo>
                <a:cubicBezTo>
                  <a:pt x="83" y="157"/>
                  <a:pt x="83" y="157"/>
                  <a:pt x="83" y="157"/>
                </a:cubicBezTo>
                <a:cubicBezTo>
                  <a:pt x="92" y="164"/>
                  <a:pt x="92" y="164"/>
                  <a:pt x="92" y="164"/>
                </a:cubicBezTo>
                <a:cubicBezTo>
                  <a:pt x="76" y="119"/>
                  <a:pt x="76" y="119"/>
                  <a:pt x="76" y="119"/>
                </a:cubicBezTo>
                <a:cubicBezTo>
                  <a:pt x="86" y="107"/>
                  <a:pt x="86" y="107"/>
                  <a:pt x="86" y="107"/>
                </a:cubicBezTo>
                <a:cubicBezTo>
                  <a:pt x="96" y="107"/>
                  <a:pt x="96" y="107"/>
                  <a:pt x="96" y="107"/>
                </a:cubicBezTo>
                <a:cubicBezTo>
                  <a:pt x="96" y="89"/>
                  <a:pt x="96" y="89"/>
                  <a:pt x="96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5" y="74"/>
                  <a:pt x="115" y="74"/>
                  <a:pt x="115" y="74"/>
                </a:cubicBezTo>
                <a:cubicBezTo>
                  <a:pt x="103" y="68"/>
                  <a:pt x="103" y="68"/>
                  <a:pt x="103" y="68"/>
                </a:cubicBezTo>
                <a:cubicBezTo>
                  <a:pt x="103" y="52"/>
                  <a:pt x="103" y="52"/>
                  <a:pt x="103" y="52"/>
                </a:cubicBezTo>
                <a:cubicBezTo>
                  <a:pt x="113" y="45"/>
                  <a:pt x="113" y="45"/>
                  <a:pt x="113" y="45"/>
                </a:cubicBezTo>
                <a:cubicBezTo>
                  <a:pt x="127" y="40"/>
                  <a:pt x="127" y="40"/>
                  <a:pt x="127" y="40"/>
                </a:cubicBezTo>
                <a:cubicBezTo>
                  <a:pt x="139" y="40"/>
                  <a:pt x="139" y="40"/>
                  <a:pt x="139" y="40"/>
                </a:cubicBezTo>
                <a:cubicBezTo>
                  <a:pt x="143" y="19"/>
                  <a:pt x="143" y="19"/>
                  <a:pt x="143" y="19"/>
                </a:cubicBezTo>
                <a:cubicBezTo>
                  <a:pt x="159" y="3"/>
                  <a:pt x="159" y="3"/>
                  <a:pt x="159" y="3"/>
                </a:cubicBezTo>
                <a:cubicBezTo>
                  <a:pt x="177" y="0"/>
                  <a:pt x="177" y="0"/>
                  <a:pt x="177" y="0"/>
                </a:cubicBezTo>
                <a:cubicBezTo>
                  <a:pt x="209" y="0"/>
                  <a:pt x="209" y="0"/>
                  <a:pt x="209" y="0"/>
                </a:cubicBezTo>
                <a:cubicBezTo>
                  <a:pt x="218" y="24"/>
                  <a:pt x="218" y="24"/>
                  <a:pt x="218" y="24"/>
                </a:cubicBezTo>
                <a:cubicBezTo>
                  <a:pt x="245" y="0"/>
                  <a:pt x="245" y="0"/>
                  <a:pt x="245" y="0"/>
                </a:cubicBezTo>
                <a:cubicBezTo>
                  <a:pt x="282" y="13"/>
                  <a:pt x="282" y="13"/>
                  <a:pt x="282" y="13"/>
                </a:cubicBezTo>
                <a:cubicBezTo>
                  <a:pt x="290" y="39"/>
                  <a:pt x="290" y="39"/>
                  <a:pt x="290" y="39"/>
                </a:cubicBezTo>
                <a:cubicBezTo>
                  <a:pt x="290" y="61"/>
                  <a:pt x="290" y="61"/>
                  <a:pt x="290" y="61"/>
                </a:cubicBezTo>
                <a:cubicBezTo>
                  <a:pt x="307" y="63"/>
                  <a:pt x="307" y="63"/>
                  <a:pt x="307" y="63"/>
                </a:cubicBezTo>
                <a:cubicBezTo>
                  <a:pt x="314" y="76"/>
                  <a:pt x="314" y="76"/>
                  <a:pt x="314" y="76"/>
                </a:cubicBezTo>
                <a:cubicBezTo>
                  <a:pt x="334" y="92"/>
                  <a:pt x="334" y="92"/>
                  <a:pt x="334" y="92"/>
                </a:cubicBezTo>
                <a:cubicBezTo>
                  <a:pt x="358" y="97"/>
                  <a:pt x="358" y="97"/>
                  <a:pt x="358" y="97"/>
                </a:cubicBezTo>
                <a:cubicBezTo>
                  <a:pt x="359" y="113"/>
                  <a:pt x="359" y="113"/>
                  <a:pt x="359" y="113"/>
                </a:cubicBezTo>
                <a:cubicBezTo>
                  <a:pt x="387" y="109"/>
                  <a:pt x="387" y="109"/>
                  <a:pt x="387" y="109"/>
                </a:cubicBezTo>
                <a:cubicBezTo>
                  <a:pt x="408" y="130"/>
                  <a:pt x="408" y="130"/>
                  <a:pt x="408" y="130"/>
                </a:cubicBezTo>
                <a:cubicBezTo>
                  <a:pt x="401" y="161"/>
                  <a:pt x="401" y="161"/>
                  <a:pt x="401" y="161"/>
                </a:cubicBezTo>
                <a:cubicBezTo>
                  <a:pt x="358" y="159"/>
                  <a:pt x="358" y="159"/>
                  <a:pt x="358" y="159"/>
                </a:cubicBezTo>
                <a:cubicBezTo>
                  <a:pt x="353" y="169"/>
                  <a:pt x="353" y="169"/>
                  <a:pt x="353" y="169"/>
                </a:cubicBezTo>
                <a:cubicBezTo>
                  <a:pt x="372" y="180"/>
                  <a:pt x="372" y="180"/>
                  <a:pt x="372" y="180"/>
                </a:cubicBezTo>
                <a:cubicBezTo>
                  <a:pt x="375" y="200"/>
                  <a:pt x="375" y="200"/>
                  <a:pt x="375" y="200"/>
                </a:cubicBezTo>
                <a:cubicBezTo>
                  <a:pt x="393" y="226"/>
                  <a:pt x="393" y="226"/>
                  <a:pt x="393" y="226"/>
                </a:cubicBezTo>
                <a:cubicBezTo>
                  <a:pt x="393" y="226"/>
                  <a:pt x="393" y="226"/>
                  <a:pt x="393" y="226"/>
                </a:cubicBezTo>
                <a:cubicBezTo>
                  <a:pt x="393" y="226"/>
                  <a:pt x="393" y="226"/>
                  <a:pt x="393" y="226"/>
                </a:cubicBezTo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1" name="Poland"/>
          <p:cNvSpPr>
            <a:spLocks/>
          </p:cNvSpPr>
          <p:nvPr/>
        </p:nvSpPr>
        <p:spPr bwMode="auto">
          <a:xfrm>
            <a:off x="9419163" y="3278188"/>
            <a:ext cx="1408113" cy="1058863"/>
          </a:xfrm>
          <a:custGeom>
            <a:avLst/>
            <a:gdLst>
              <a:gd name="T0" fmla="*/ 1 w 491"/>
              <a:gd name="T1" fmla="*/ 76 h 369"/>
              <a:gd name="T2" fmla="*/ 39 w 491"/>
              <a:gd name="T3" fmla="*/ 62 h 369"/>
              <a:gd name="T4" fmla="*/ 48 w 491"/>
              <a:gd name="T5" fmla="*/ 59 h 369"/>
              <a:gd name="T6" fmla="*/ 97 w 491"/>
              <a:gd name="T7" fmla="*/ 31 h 369"/>
              <a:gd name="T8" fmla="*/ 111 w 491"/>
              <a:gd name="T9" fmla="*/ 27 h 369"/>
              <a:gd name="T10" fmla="*/ 180 w 491"/>
              <a:gd name="T11" fmla="*/ 0 h 369"/>
              <a:gd name="T12" fmla="*/ 185 w 491"/>
              <a:gd name="T13" fmla="*/ 24 h 369"/>
              <a:gd name="T14" fmla="*/ 234 w 491"/>
              <a:gd name="T15" fmla="*/ 16 h 369"/>
              <a:gd name="T16" fmla="*/ 355 w 491"/>
              <a:gd name="T17" fmla="*/ 16 h 369"/>
              <a:gd name="T18" fmla="*/ 396 w 491"/>
              <a:gd name="T19" fmla="*/ 16 h 369"/>
              <a:gd name="T20" fmla="*/ 416 w 491"/>
              <a:gd name="T21" fmla="*/ 45 h 369"/>
              <a:gd name="T22" fmla="*/ 427 w 491"/>
              <a:gd name="T23" fmla="*/ 96 h 369"/>
              <a:gd name="T24" fmla="*/ 416 w 491"/>
              <a:gd name="T25" fmla="*/ 139 h 369"/>
              <a:gd name="T26" fmla="*/ 434 w 491"/>
              <a:gd name="T27" fmla="*/ 143 h 369"/>
              <a:gd name="T28" fmla="*/ 443 w 491"/>
              <a:gd name="T29" fmla="*/ 179 h 369"/>
              <a:gd name="T30" fmla="*/ 456 w 491"/>
              <a:gd name="T31" fmla="*/ 209 h 369"/>
              <a:gd name="T32" fmla="*/ 477 w 491"/>
              <a:gd name="T33" fmla="*/ 233 h 369"/>
              <a:gd name="T34" fmla="*/ 489 w 491"/>
              <a:gd name="T35" fmla="*/ 254 h 369"/>
              <a:gd name="T36" fmla="*/ 438 w 491"/>
              <a:gd name="T37" fmla="*/ 317 h 369"/>
              <a:gd name="T38" fmla="*/ 445 w 491"/>
              <a:gd name="T39" fmla="*/ 351 h 369"/>
              <a:gd name="T40" fmla="*/ 432 w 491"/>
              <a:gd name="T41" fmla="*/ 362 h 369"/>
              <a:gd name="T42" fmla="*/ 406 w 491"/>
              <a:gd name="T43" fmla="*/ 346 h 369"/>
              <a:gd name="T44" fmla="*/ 359 w 491"/>
              <a:gd name="T45" fmla="*/ 345 h 369"/>
              <a:gd name="T46" fmla="*/ 342 w 491"/>
              <a:gd name="T47" fmla="*/ 349 h 369"/>
              <a:gd name="T48" fmla="*/ 312 w 491"/>
              <a:gd name="T49" fmla="*/ 369 h 369"/>
              <a:gd name="T50" fmla="*/ 296 w 491"/>
              <a:gd name="T51" fmla="*/ 357 h 369"/>
              <a:gd name="T52" fmla="*/ 263 w 491"/>
              <a:gd name="T53" fmla="*/ 366 h 369"/>
              <a:gd name="T54" fmla="*/ 249 w 491"/>
              <a:gd name="T55" fmla="*/ 343 h 369"/>
              <a:gd name="T56" fmla="*/ 234 w 491"/>
              <a:gd name="T57" fmla="*/ 328 h 369"/>
              <a:gd name="T58" fmla="*/ 190 w 491"/>
              <a:gd name="T59" fmla="*/ 322 h 369"/>
              <a:gd name="T60" fmla="*/ 191 w 491"/>
              <a:gd name="T61" fmla="*/ 307 h 369"/>
              <a:gd name="T62" fmla="*/ 145 w 491"/>
              <a:gd name="T63" fmla="*/ 301 h 369"/>
              <a:gd name="T64" fmla="*/ 146 w 491"/>
              <a:gd name="T65" fmla="*/ 320 h 369"/>
              <a:gd name="T66" fmla="*/ 135 w 491"/>
              <a:gd name="T67" fmla="*/ 325 h 369"/>
              <a:gd name="T68" fmla="*/ 112 w 491"/>
              <a:gd name="T69" fmla="*/ 303 h 369"/>
              <a:gd name="T70" fmla="*/ 104 w 491"/>
              <a:gd name="T71" fmla="*/ 291 h 369"/>
              <a:gd name="T72" fmla="*/ 55 w 491"/>
              <a:gd name="T73" fmla="*/ 271 h 369"/>
              <a:gd name="T74" fmla="*/ 34 w 491"/>
              <a:gd name="T75" fmla="*/ 233 h 369"/>
              <a:gd name="T76" fmla="*/ 32 w 491"/>
              <a:gd name="T77" fmla="*/ 202 h 369"/>
              <a:gd name="T78" fmla="*/ 21 w 491"/>
              <a:gd name="T79" fmla="*/ 162 h 369"/>
              <a:gd name="T80" fmla="*/ 17 w 491"/>
              <a:gd name="T81" fmla="*/ 125 h 3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491" h="369">
                <a:moveTo>
                  <a:pt x="1" y="92"/>
                </a:moveTo>
                <a:cubicBezTo>
                  <a:pt x="1" y="76"/>
                  <a:pt x="1" y="76"/>
                  <a:pt x="1" y="76"/>
                </a:cubicBezTo>
                <a:cubicBezTo>
                  <a:pt x="10" y="76"/>
                  <a:pt x="10" y="76"/>
                  <a:pt x="10" y="76"/>
                </a:cubicBezTo>
                <a:cubicBezTo>
                  <a:pt x="39" y="62"/>
                  <a:pt x="39" y="62"/>
                  <a:pt x="39" y="62"/>
                </a:cubicBezTo>
                <a:cubicBezTo>
                  <a:pt x="44" y="66"/>
                  <a:pt x="44" y="66"/>
                  <a:pt x="44" y="66"/>
                </a:cubicBezTo>
                <a:cubicBezTo>
                  <a:pt x="48" y="59"/>
                  <a:pt x="48" y="59"/>
                  <a:pt x="48" y="59"/>
                </a:cubicBezTo>
                <a:cubicBezTo>
                  <a:pt x="86" y="49"/>
                  <a:pt x="86" y="49"/>
                  <a:pt x="86" y="49"/>
                </a:cubicBezTo>
                <a:cubicBezTo>
                  <a:pt x="97" y="31"/>
                  <a:pt x="97" y="31"/>
                  <a:pt x="97" y="31"/>
                </a:cubicBezTo>
                <a:cubicBezTo>
                  <a:pt x="106" y="22"/>
                  <a:pt x="106" y="22"/>
                  <a:pt x="106" y="22"/>
                </a:cubicBezTo>
                <a:cubicBezTo>
                  <a:pt x="111" y="27"/>
                  <a:pt x="111" y="27"/>
                  <a:pt x="111" y="27"/>
                </a:cubicBezTo>
                <a:cubicBezTo>
                  <a:pt x="155" y="0"/>
                  <a:pt x="155" y="0"/>
                  <a:pt x="155" y="0"/>
                </a:cubicBezTo>
                <a:cubicBezTo>
                  <a:pt x="180" y="0"/>
                  <a:pt x="180" y="0"/>
                  <a:pt x="180" y="0"/>
                </a:cubicBezTo>
                <a:cubicBezTo>
                  <a:pt x="185" y="12"/>
                  <a:pt x="185" y="12"/>
                  <a:pt x="185" y="12"/>
                </a:cubicBezTo>
                <a:cubicBezTo>
                  <a:pt x="185" y="24"/>
                  <a:pt x="185" y="24"/>
                  <a:pt x="185" y="24"/>
                </a:cubicBezTo>
                <a:cubicBezTo>
                  <a:pt x="206" y="33"/>
                  <a:pt x="206" y="33"/>
                  <a:pt x="206" y="33"/>
                </a:cubicBezTo>
                <a:cubicBezTo>
                  <a:pt x="234" y="16"/>
                  <a:pt x="234" y="16"/>
                  <a:pt x="234" y="16"/>
                </a:cubicBezTo>
                <a:cubicBezTo>
                  <a:pt x="300" y="19"/>
                  <a:pt x="300" y="19"/>
                  <a:pt x="300" y="19"/>
                </a:cubicBezTo>
                <a:cubicBezTo>
                  <a:pt x="355" y="16"/>
                  <a:pt x="355" y="16"/>
                  <a:pt x="355" y="16"/>
                </a:cubicBezTo>
                <a:cubicBezTo>
                  <a:pt x="374" y="4"/>
                  <a:pt x="374" y="4"/>
                  <a:pt x="374" y="4"/>
                </a:cubicBezTo>
                <a:cubicBezTo>
                  <a:pt x="396" y="16"/>
                  <a:pt x="396" y="16"/>
                  <a:pt x="396" y="16"/>
                </a:cubicBezTo>
                <a:cubicBezTo>
                  <a:pt x="413" y="21"/>
                  <a:pt x="413" y="21"/>
                  <a:pt x="413" y="21"/>
                </a:cubicBezTo>
                <a:cubicBezTo>
                  <a:pt x="416" y="45"/>
                  <a:pt x="416" y="45"/>
                  <a:pt x="416" y="45"/>
                </a:cubicBezTo>
                <a:cubicBezTo>
                  <a:pt x="437" y="81"/>
                  <a:pt x="437" y="81"/>
                  <a:pt x="437" y="81"/>
                </a:cubicBezTo>
                <a:cubicBezTo>
                  <a:pt x="427" y="96"/>
                  <a:pt x="427" y="96"/>
                  <a:pt x="427" y="96"/>
                </a:cubicBezTo>
                <a:cubicBezTo>
                  <a:pt x="427" y="97"/>
                  <a:pt x="427" y="97"/>
                  <a:pt x="427" y="97"/>
                </a:cubicBezTo>
                <a:cubicBezTo>
                  <a:pt x="416" y="139"/>
                  <a:pt x="416" y="139"/>
                  <a:pt x="416" y="139"/>
                </a:cubicBezTo>
                <a:cubicBezTo>
                  <a:pt x="421" y="148"/>
                  <a:pt x="421" y="148"/>
                  <a:pt x="421" y="148"/>
                </a:cubicBezTo>
                <a:cubicBezTo>
                  <a:pt x="434" y="143"/>
                  <a:pt x="434" y="143"/>
                  <a:pt x="434" y="143"/>
                </a:cubicBezTo>
                <a:cubicBezTo>
                  <a:pt x="448" y="154"/>
                  <a:pt x="448" y="154"/>
                  <a:pt x="448" y="154"/>
                </a:cubicBezTo>
                <a:cubicBezTo>
                  <a:pt x="443" y="179"/>
                  <a:pt x="443" y="179"/>
                  <a:pt x="443" y="179"/>
                </a:cubicBezTo>
                <a:cubicBezTo>
                  <a:pt x="456" y="195"/>
                  <a:pt x="456" y="195"/>
                  <a:pt x="456" y="195"/>
                </a:cubicBezTo>
                <a:cubicBezTo>
                  <a:pt x="456" y="209"/>
                  <a:pt x="456" y="209"/>
                  <a:pt x="456" y="209"/>
                </a:cubicBezTo>
                <a:cubicBezTo>
                  <a:pt x="486" y="223"/>
                  <a:pt x="486" y="223"/>
                  <a:pt x="486" y="223"/>
                </a:cubicBezTo>
                <a:cubicBezTo>
                  <a:pt x="477" y="233"/>
                  <a:pt x="477" y="233"/>
                  <a:pt x="477" y="233"/>
                </a:cubicBezTo>
                <a:cubicBezTo>
                  <a:pt x="491" y="247"/>
                  <a:pt x="491" y="247"/>
                  <a:pt x="491" y="247"/>
                </a:cubicBezTo>
                <a:cubicBezTo>
                  <a:pt x="489" y="254"/>
                  <a:pt x="489" y="254"/>
                  <a:pt x="489" y="254"/>
                </a:cubicBezTo>
                <a:cubicBezTo>
                  <a:pt x="474" y="264"/>
                  <a:pt x="474" y="264"/>
                  <a:pt x="474" y="264"/>
                </a:cubicBezTo>
                <a:cubicBezTo>
                  <a:pt x="438" y="317"/>
                  <a:pt x="438" y="317"/>
                  <a:pt x="438" y="317"/>
                </a:cubicBezTo>
                <a:cubicBezTo>
                  <a:pt x="434" y="332"/>
                  <a:pt x="434" y="332"/>
                  <a:pt x="434" y="332"/>
                </a:cubicBezTo>
                <a:cubicBezTo>
                  <a:pt x="445" y="351"/>
                  <a:pt x="445" y="351"/>
                  <a:pt x="445" y="351"/>
                </a:cubicBezTo>
                <a:cubicBezTo>
                  <a:pt x="451" y="357"/>
                  <a:pt x="451" y="357"/>
                  <a:pt x="451" y="357"/>
                </a:cubicBezTo>
                <a:cubicBezTo>
                  <a:pt x="432" y="362"/>
                  <a:pt x="432" y="362"/>
                  <a:pt x="432" y="362"/>
                </a:cubicBezTo>
                <a:cubicBezTo>
                  <a:pt x="408" y="355"/>
                  <a:pt x="408" y="355"/>
                  <a:pt x="408" y="355"/>
                </a:cubicBezTo>
                <a:cubicBezTo>
                  <a:pt x="406" y="346"/>
                  <a:pt x="406" y="346"/>
                  <a:pt x="406" y="346"/>
                </a:cubicBezTo>
                <a:cubicBezTo>
                  <a:pt x="377" y="341"/>
                  <a:pt x="377" y="341"/>
                  <a:pt x="377" y="341"/>
                </a:cubicBezTo>
                <a:cubicBezTo>
                  <a:pt x="359" y="345"/>
                  <a:pt x="359" y="345"/>
                  <a:pt x="359" y="345"/>
                </a:cubicBezTo>
                <a:cubicBezTo>
                  <a:pt x="354" y="362"/>
                  <a:pt x="354" y="362"/>
                  <a:pt x="354" y="362"/>
                </a:cubicBezTo>
                <a:cubicBezTo>
                  <a:pt x="342" y="349"/>
                  <a:pt x="342" y="349"/>
                  <a:pt x="342" y="349"/>
                </a:cubicBezTo>
                <a:cubicBezTo>
                  <a:pt x="322" y="351"/>
                  <a:pt x="322" y="351"/>
                  <a:pt x="322" y="351"/>
                </a:cubicBezTo>
                <a:cubicBezTo>
                  <a:pt x="312" y="369"/>
                  <a:pt x="312" y="369"/>
                  <a:pt x="312" y="369"/>
                </a:cubicBezTo>
                <a:cubicBezTo>
                  <a:pt x="298" y="369"/>
                  <a:pt x="298" y="369"/>
                  <a:pt x="298" y="369"/>
                </a:cubicBezTo>
                <a:cubicBezTo>
                  <a:pt x="296" y="357"/>
                  <a:pt x="296" y="357"/>
                  <a:pt x="296" y="357"/>
                </a:cubicBezTo>
                <a:cubicBezTo>
                  <a:pt x="277" y="345"/>
                  <a:pt x="277" y="345"/>
                  <a:pt x="277" y="345"/>
                </a:cubicBezTo>
                <a:cubicBezTo>
                  <a:pt x="263" y="366"/>
                  <a:pt x="263" y="366"/>
                  <a:pt x="263" y="366"/>
                </a:cubicBezTo>
                <a:cubicBezTo>
                  <a:pt x="250" y="354"/>
                  <a:pt x="250" y="354"/>
                  <a:pt x="250" y="354"/>
                </a:cubicBezTo>
                <a:cubicBezTo>
                  <a:pt x="249" y="343"/>
                  <a:pt x="249" y="343"/>
                  <a:pt x="249" y="343"/>
                </a:cubicBezTo>
                <a:cubicBezTo>
                  <a:pt x="235" y="342"/>
                  <a:pt x="235" y="342"/>
                  <a:pt x="235" y="342"/>
                </a:cubicBezTo>
                <a:cubicBezTo>
                  <a:pt x="234" y="328"/>
                  <a:pt x="234" y="328"/>
                  <a:pt x="234" y="328"/>
                </a:cubicBezTo>
                <a:cubicBezTo>
                  <a:pt x="196" y="328"/>
                  <a:pt x="196" y="328"/>
                  <a:pt x="196" y="328"/>
                </a:cubicBezTo>
                <a:cubicBezTo>
                  <a:pt x="190" y="322"/>
                  <a:pt x="190" y="322"/>
                  <a:pt x="190" y="322"/>
                </a:cubicBezTo>
                <a:cubicBezTo>
                  <a:pt x="185" y="317"/>
                  <a:pt x="185" y="317"/>
                  <a:pt x="185" y="317"/>
                </a:cubicBezTo>
                <a:cubicBezTo>
                  <a:pt x="191" y="307"/>
                  <a:pt x="191" y="307"/>
                  <a:pt x="191" y="307"/>
                </a:cubicBezTo>
                <a:cubicBezTo>
                  <a:pt x="169" y="307"/>
                  <a:pt x="169" y="307"/>
                  <a:pt x="169" y="307"/>
                </a:cubicBezTo>
                <a:cubicBezTo>
                  <a:pt x="145" y="301"/>
                  <a:pt x="145" y="301"/>
                  <a:pt x="145" y="301"/>
                </a:cubicBezTo>
                <a:cubicBezTo>
                  <a:pt x="153" y="312"/>
                  <a:pt x="153" y="312"/>
                  <a:pt x="153" y="312"/>
                </a:cubicBezTo>
                <a:cubicBezTo>
                  <a:pt x="146" y="320"/>
                  <a:pt x="146" y="320"/>
                  <a:pt x="146" y="320"/>
                </a:cubicBezTo>
                <a:cubicBezTo>
                  <a:pt x="141" y="324"/>
                  <a:pt x="141" y="324"/>
                  <a:pt x="141" y="324"/>
                </a:cubicBezTo>
                <a:cubicBezTo>
                  <a:pt x="135" y="325"/>
                  <a:pt x="135" y="325"/>
                  <a:pt x="135" y="325"/>
                </a:cubicBezTo>
                <a:cubicBezTo>
                  <a:pt x="126" y="311"/>
                  <a:pt x="126" y="311"/>
                  <a:pt x="126" y="311"/>
                </a:cubicBezTo>
                <a:cubicBezTo>
                  <a:pt x="112" y="303"/>
                  <a:pt x="112" y="303"/>
                  <a:pt x="112" y="303"/>
                </a:cubicBezTo>
                <a:cubicBezTo>
                  <a:pt x="124" y="295"/>
                  <a:pt x="124" y="295"/>
                  <a:pt x="124" y="295"/>
                </a:cubicBezTo>
                <a:cubicBezTo>
                  <a:pt x="104" y="291"/>
                  <a:pt x="104" y="291"/>
                  <a:pt x="104" y="291"/>
                </a:cubicBezTo>
                <a:cubicBezTo>
                  <a:pt x="71" y="280"/>
                  <a:pt x="71" y="280"/>
                  <a:pt x="71" y="280"/>
                </a:cubicBezTo>
                <a:cubicBezTo>
                  <a:pt x="55" y="271"/>
                  <a:pt x="55" y="271"/>
                  <a:pt x="55" y="271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34" y="233"/>
                  <a:pt x="34" y="233"/>
                  <a:pt x="34" y="233"/>
                </a:cubicBezTo>
                <a:cubicBezTo>
                  <a:pt x="28" y="221"/>
                  <a:pt x="28" y="221"/>
                  <a:pt x="28" y="221"/>
                </a:cubicBezTo>
                <a:cubicBezTo>
                  <a:pt x="32" y="202"/>
                  <a:pt x="32" y="202"/>
                  <a:pt x="32" y="202"/>
                </a:cubicBezTo>
                <a:cubicBezTo>
                  <a:pt x="17" y="180"/>
                  <a:pt x="17" y="180"/>
                  <a:pt x="17" y="180"/>
                </a:cubicBezTo>
                <a:cubicBezTo>
                  <a:pt x="21" y="162"/>
                  <a:pt x="21" y="162"/>
                  <a:pt x="21" y="162"/>
                </a:cubicBezTo>
                <a:cubicBezTo>
                  <a:pt x="0" y="145"/>
                  <a:pt x="0" y="145"/>
                  <a:pt x="0" y="145"/>
                </a:cubicBezTo>
                <a:cubicBezTo>
                  <a:pt x="17" y="125"/>
                  <a:pt x="17" y="125"/>
                  <a:pt x="17" y="125"/>
                </a:cubicBezTo>
                <a:lnTo>
                  <a:pt x="1" y="92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2" name="Ukraine"/>
          <p:cNvSpPr>
            <a:spLocks/>
          </p:cNvSpPr>
          <p:nvPr/>
        </p:nvSpPr>
        <p:spPr bwMode="auto">
          <a:xfrm>
            <a:off x="10643126" y="3352800"/>
            <a:ext cx="1557338" cy="1489075"/>
          </a:xfrm>
          <a:custGeom>
            <a:avLst/>
            <a:gdLst>
              <a:gd name="T0" fmla="*/ 60 w 981"/>
              <a:gd name="T1" fmla="*/ 237 h 938"/>
              <a:gd name="T2" fmla="*/ 128 w 981"/>
              <a:gd name="T3" fmla="*/ 175 h 938"/>
              <a:gd name="T4" fmla="*/ 193 w 981"/>
              <a:gd name="T5" fmla="*/ 177 h 938"/>
              <a:gd name="T6" fmla="*/ 278 w 981"/>
              <a:gd name="T7" fmla="*/ 166 h 938"/>
              <a:gd name="T8" fmla="*/ 347 w 981"/>
              <a:gd name="T9" fmla="*/ 172 h 938"/>
              <a:gd name="T10" fmla="*/ 430 w 981"/>
              <a:gd name="T11" fmla="*/ 204 h 938"/>
              <a:gd name="T12" fmla="*/ 481 w 981"/>
              <a:gd name="T13" fmla="*/ 204 h 938"/>
              <a:gd name="T14" fmla="*/ 530 w 981"/>
              <a:gd name="T15" fmla="*/ 199 h 938"/>
              <a:gd name="T16" fmla="*/ 571 w 981"/>
              <a:gd name="T17" fmla="*/ 165 h 938"/>
              <a:gd name="T18" fmla="*/ 614 w 981"/>
              <a:gd name="T19" fmla="*/ 192 h 938"/>
              <a:gd name="T20" fmla="*/ 638 w 981"/>
              <a:gd name="T21" fmla="*/ 175 h 938"/>
              <a:gd name="T22" fmla="*/ 622 w 981"/>
              <a:gd name="T23" fmla="*/ 109 h 938"/>
              <a:gd name="T24" fmla="*/ 654 w 981"/>
              <a:gd name="T25" fmla="*/ 80 h 938"/>
              <a:gd name="T26" fmla="*/ 705 w 981"/>
              <a:gd name="T27" fmla="*/ 65 h 938"/>
              <a:gd name="T28" fmla="*/ 734 w 981"/>
              <a:gd name="T29" fmla="*/ 34 h 938"/>
              <a:gd name="T30" fmla="*/ 853 w 981"/>
              <a:gd name="T31" fmla="*/ 0 h 938"/>
              <a:gd name="T32" fmla="*/ 929 w 981"/>
              <a:gd name="T33" fmla="*/ 38 h 938"/>
              <a:gd name="T34" fmla="*/ 938 w 981"/>
              <a:gd name="T35" fmla="*/ 109 h 938"/>
              <a:gd name="T36" fmla="*/ 981 w 981"/>
              <a:gd name="T37" fmla="*/ 743 h 938"/>
              <a:gd name="T38" fmla="*/ 947 w 981"/>
              <a:gd name="T39" fmla="*/ 717 h 938"/>
              <a:gd name="T40" fmla="*/ 871 w 981"/>
              <a:gd name="T41" fmla="*/ 716 h 938"/>
              <a:gd name="T42" fmla="*/ 826 w 981"/>
              <a:gd name="T43" fmla="*/ 800 h 938"/>
              <a:gd name="T44" fmla="*/ 773 w 981"/>
              <a:gd name="T45" fmla="*/ 887 h 938"/>
              <a:gd name="T46" fmla="*/ 741 w 981"/>
              <a:gd name="T47" fmla="*/ 902 h 938"/>
              <a:gd name="T48" fmla="*/ 660 w 981"/>
              <a:gd name="T49" fmla="*/ 938 h 938"/>
              <a:gd name="T50" fmla="*/ 661 w 981"/>
              <a:gd name="T51" fmla="*/ 878 h 938"/>
              <a:gd name="T52" fmla="*/ 665 w 981"/>
              <a:gd name="T53" fmla="*/ 795 h 938"/>
              <a:gd name="T54" fmla="*/ 775 w 981"/>
              <a:gd name="T55" fmla="*/ 779 h 938"/>
              <a:gd name="T56" fmla="*/ 723 w 981"/>
              <a:gd name="T57" fmla="*/ 707 h 938"/>
              <a:gd name="T58" fmla="*/ 665 w 981"/>
              <a:gd name="T59" fmla="*/ 676 h 938"/>
              <a:gd name="T60" fmla="*/ 640 w 981"/>
              <a:gd name="T61" fmla="*/ 611 h 938"/>
              <a:gd name="T62" fmla="*/ 522 w 981"/>
              <a:gd name="T63" fmla="*/ 593 h 938"/>
              <a:gd name="T64" fmla="*/ 454 w 981"/>
              <a:gd name="T65" fmla="*/ 602 h 938"/>
              <a:gd name="T66" fmla="*/ 374 w 981"/>
              <a:gd name="T67" fmla="*/ 649 h 938"/>
              <a:gd name="T68" fmla="*/ 287 w 981"/>
              <a:gd name="T69" fmla="*/ 692 h 938"/>
              <a:gd name="T70" fmla="*/ 235 w 981"/>
              <a:gd name="T71" fmla="*/ 699 h 938"/>
              <a:gd name="T72" fmla="*/ 98 w 981"/>
              <a:gd name="T73" fmla="*/ 705 h 938"/>
              <a:gd name="T74" fmla="*/ 54 w 981"/>
              <a:gd name="T75" fmla="*/ 707 h 938"/>
              <a:gd name="T76" fmla="*/ 11 w 981"/>
              <a:gd name="T77" fmla="*/ 640 h 938"/>
              <a:gd name="T78" fmla="*/ 44 w 981"/>
              <a:gd name="T79" fmla="*/ 598 h 938"/>
              <a:gd name="T80" fmla="*/ 13 w 981"/>
              <a:gd name="T81" fmla="*/ 553 h 938"/>
              <a:gd name="T82" fmla="*/ 85 w 981"/>
              <a:gd name="T83" fmla="*/ 430 h 938"/>
              <a:gd name="T84" fmla="*/ 116 w 981"/>
              <a:gd name="T85" fmla="*/ 399 h 938"/>
              <a:gd name="T86" fmla="*/ 107 w 981"/>
              <a:gd name="T87" fmla="*/ 356 h 938"/>
              <a:gd name="T88" fmla="*/ 53 w 981"/>
              <a:gd name="T89" fmla="*/ 305 h 9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981" h="938">
                <a:moveTo>
                  <a:pt x="29" y="277"/>
                </a:moveTo>
                <a:lnTo>
                  <a:pt x="60" y="237"/>
                </a:lnTo>
                <a:lnTo>
                  <a:pt x="109" y="190"/>
                </a:lnTo>
                <a:lnTo>
                  <a:pt x="128" y="175"/>
                </a:lnTo>
                <a:lnTo>
                  <a:pt x="150" y="175"/>
                </a:lnTo>
                <a:lnTo>
                  <a:pt x="193" y="177"/>
                </a:lnTo>
                <a:lnTo>
                  <a:pt x="239" y="155"/>
                </a:lnTo>
                <a:lnTo>
                  <a:pt x="278" y="166"/>
                </a:lnTo>
                <a:lnTo>
                  <a:pt x="334" y="177"/>
                </a:lnTo>
                <a:lnTo>
                  <a:pt x="347" y="172"/>
                </a:lnTo>
                <a:lnTo>
                  <a:pt x="354" y="186"/>
                </a:lnTo>
                <a:lnTo>
                  <a:pt x="430" y="204"/>
                </a:lnTo>
                <a:lnTo>
                  <a:pt x="457" y="188"/>
                </a:lnTo>
                <a:lnTo>
                  <a:pt x="481" y="204"/>
                </a:lnTo>
                <a:lnTo>
                  <a:pt x="497" y="177"/>
                </a:lnTo>
                <a:lnTo>
                  <a:pt x="530" y="199"/>
                </a:lnTo>
                <a:lnTo>
                  <a:pt x="564" y="183"/>
                </a:lnTo>
                <a:lnTo>
                  <a:pt x="571" y="165"/>
                </a:lnTo>
                <a:lnTo>
                  <a:pt x="596" y="166"/>
                </a:lnTo>
                <a:lnTo>
                  <a:pt x="614" y="192"/>
                </a:lnTo>
                <a:lnTo>
                  <a:pt x="632" y="192"/>
                </a:lnTo>
                <a:lnTo>
                  <a:pt x="638" y="175"/>
                </a:lnTo>
                <a:lnTo>
                  <a:pt x="614" y="152"/>
                </a:lnTo>
                <a:lnTo>
                  <a:pt x="622" y="109"/>
                </a:lnTo>
                <a:lnTo>
                  <a:pt x="631" y="72"/>
                </a:lnTo>
                <a:lnTo>
                  <a:pt x="654" y="80"/>
                </a:lnTo>
                <a:lnTo>
                  <a:pt x="663" y="65"/>
                </a:lnTo>
                <a:lnTo>
                  <a:pt x="705" y="65"/>
                </a:lnTo>
                <a:lnTo>
                  <a:pt x="732" y="67"/>
                </a:lnTo>
                <a:lnTo>
                  <a:pt x="734" y="34"/>
                </a:lnTo>
                <a:lnTo>
                  <a:pt x="804" y="4"/>
                </a:lnTo>
                <a:lnTo>
                  <a:pt x="853" y="0"/>
                </a:lnTo>
                <a:lnTo>
                  <a:pt x="866" y="0"/>
                </a:lnTo>
                <a:lnTo>
                  <a:pt x="929" y="38"/>
                </a:lnTo>
                <a:lnTo>
                  <a:pt x="898" y="67"/>
                </a:lnTo>
                <a:lnTo>
                  <a:pt x="938" y="109"/>
                </a:lnTo>
                <a:lnTo>
                  <a:pt x="981" y="98"/>
                </a:lnTo>
                <a:lnTo>
                  <a:pt x="981" y="743"/>
                </a:lnTo>
                <a:lnTo>
                  <a:pt x="943" y="743"/>
                </a:lnTo>
                <a:lnTo>
                  <a:pt x="947" y="717"/>
                </a:lnTo>
                <a:lnTo>
                  <a:pt x="905" y="703"/>
                </a:lnTo>
                <a:lnTo>
                  <a:pt x="871" y="716"/>
                </a:lnTo>
                <a:lnTo>
                  <a:pt x="833" y="732"/>
                </a:lnTo>
                <a:lnTo>
                  <a:pt x="826" y="800"/>
                </a:lnTo>
                <a:lnTo>
                  <a:pt x="779" y="858"/>
                </a:lnTo>
                <a:lnTo>
                  <a:pt x="773" y="887"/>
                </a:lnTo>
                <a:lnTo>
                  <a:pt x="779" y="922"/>
                </a:lnTo>
                <a:lnTo>
                  <a:pt x="741" y="902"/>
                </a:lnTo>
                <a:lnTo>
                  <a:pt x="705" y="922"/>
                </a:lnTo>
                <a:lnTo>
                  <a:pt x="660" y="938"/>
                </a:lnTo>
                <a:lnTo>
                  <a:pt x="658" y="909"/>
                </a:lnTo>
                <a:lnTo>
                  <a:pt x="661" y="878"/>
                </a:lnTo>
                <a:lnTo>
                  <a:pt x="688" y="822"/>
                </a:lnTo>
                <a:lnTo>
                  <a:pt x="665" y="795"/>
                </a:lnTo>
                <a:lnTo>
                  <a:pt x="725" y="788"/>
                </a:lnTo>
                <a:lnTo>
                  <a:pt x="775" y="779"/>
                </a:lnTo>
                <a:lnTo>
                  <a:pt x="764" y="748"/>
                </a:lnTo>
                <a:lnTo>
                  <a:pt x="723" y="707"/>
                </a:lnTo>
                <a:lnTo>
                  <a:pt x="690" y="667"/>
                </a:lnTo>
                <a:lnTo>
                  <a:pt x="665" y="676"/>
                </a:lnTo>
                <a:lnTo>
                  <a:pt x="647" y="660"/>
                </a:lnTo>
                <a:lnTo>
                  <a:pt x="640" y="611"/>
                </a:lnTo>
                <a:lnTo>
                  <a:pt x="573" y="595"/>
                </a:lnTo>
                <a:lnTo>
                  <a:pt x="522" y="593"/>
                </a:lnTo>
                <a:lnTo>
                  <a:pt x="483" y="576"/>
                </a:lnTo>
                <a:lnTo>
                  <a:pt x="454" y="602"/>
                </a:lnTo>
                <a:lnTo>
                  <a:pt x="405" y="613"/>
                </a:lnTo>
                <a:lnTo>
                  <a:pt x="374" y="649"/>
                </a:lnTo>
                <a:lnTo>
                  <a:pt x="358" y="676"/>
                </a:lnTo>
                <a:lnTo>
                  <a:pt x="287" y="692"/>
                </a:lnTo>
                <a:lnTo>
                  <a:pt x="271" y="725"/>
                </a:lnTo>
                <a:lnTo>
                  <a:pt x="235" y="699"/>
                </a:lnTo>
                <a:lnTo>
                  <a:pt x="181" y="710"/>
                </a:lnTo>
                <a:lnTo>
                  <a:pt x="98" y="705"/>
                </a:lnTo>
                <a:lnTo>
                  <a:pt x="72" y="728"/>
                </a:lnTo>
                <a:lnTo>
                  <a:pt x="54" y="707"/>
                </a:lnTo>
                <a:lnTo>
                  <a:pt x="0" y="676"/>
                </a:lnTo>
                <a:lnTo>
                  <a:pt x="11" y="640"/>
                </a:lnTo>
                <a:lnTo>
                  <a:pt x="9" y="607"/>
                </a:lnTo>
                <a:lnTo>
                  <a:pt x="44" y="598"/>
                </a:lnTo>
                <a:lnTo>
                  <a:pt x="33" y="587"/>
                </a:lnTo>
                <a:lnTo>
                  <a:pt x="13" y="553"/>
                </a:lnTo>
                <a:lnTo>
                  <a:pt x="20" y="526"/>
                </a:lnTo>
                <a:lnTo>
                  <a:pt x="85" y="430"/>
                </a:lnTo>
                <a:lnTo>
                  <a:pt x="112" y="412"/>
                </a:lnTo>
                <a:lnTo>
                  <a:pt x="116" y="399"/>
                </a:lnTo>
                <a:lnTo>
                  <a:pt x="91" y="374"/>
                </a:lnTo>
                <a:lnTo>
                  <a:pt x="107" y="356"/>
                </a:lnTo>
                <a:lnTo>
                  <a:pt x="53" y="331"/>
                </a:lnTo>
                <a:lnTo>
                  <a:pt x="53" y="305"/>
                </a:lnTo>
                <a:lnTo>
                  <a:pt x="29" y="277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3" name="Moldova"/>
          <p:cNvSpPr>
            <a:spLocks/>
          </p:cNvSpPr>
          <p:nvPr/>
        </p:nvSpPr>
        <p:spPr bwMode="auto">
          <a:xfrm>
            <a:off x="11247963" y="4267200"/>
            <a:ext cx="625475" cy="568325"/>
          </a:xfrm>
          <a:custGeom>
            <a:avLst/>
            <a:gdLst>
              <a:gd name="T0" fmla="*/ 13 w 218"/>
              <a:gd name="T1" fmla="*/ 20 h 198"/>
              <a:gd name="T2" fmla="*/ 40 w 218"/>
              <a:gd name="T3" fmla="*/ 14 h 198"/>
              <a:gd name="T4" fmla="*/ 56 w 218"/>
              <a:gd name="T5" fmla="*/ 0 h 198"/>
              <a:gd name="T6" fmla="*/ 78 w 218"/>
              <a:gd name="T7" fmla="*/ 9 h 198"/>
              <a:gd name="T8" fmla="*/ 106 w 218"/>
              <a:gd name="T9" fmla="*/ 10 h 198"/>
              <a:gd name="T10" fmla="*/ 143 w 218"/>
              <a:gd name="T11" fmla="*/ 19 h 198"/>
              <a:gd name="T12" fmla="*/ 150 w 218"/>
              <a:gd name="T13" fmla="*/ 48 h 198"/>
              <a:gd name="T14" fmla="*/ 152 w 218"/>
              <a:gd name="T15" fmla="*/ 50 h 198"/>
              <a:gd name="T16" fmla="*/ 171 w 218"/>
              <a:gd name="T17" fmla="*/ 50 h 198"/>
              <a:gd name="T18" fmla="*/ 207 w 218"/>
              <a:gd name="T19" fmla="*/ 90 h 198"/>
              <a:gd name="T20" fmla="*/ 212 w 218"/>
              <a:gd name="T21" fmla="*/ 95 h 198"/>
              <a:gd name="T22" fmla="*/ 218 w 218"/>
              <a:gd name="T23" fmla="*/ 112 h 198"/>
              <a:gd name="T24" fmla="*/ 187 w 218"/>
              <a:gd name="T25" fmla="*/ 123 h 198"/>
              <a:gd name="T26" fmla="*/ 157 w 218"/>
              <a:gd name="T27" fmla="*/ 121 h 198"/>
              <a:gd name="T28" fmla="*/ 170 w 218"/>
              <a:gd name="T29" fmla="*/ 136 h 198"/>
              <a:gd name="T30" fmla="*/ 155 w 218"/>
              <a:gd name="T31" fmla="*/ 167 h 198"/>
              <a:gd name="T32" fmla="*/ 153 w 218"/>
              <a:gd name="T33" fmla="*/ 184 h 198"/>
              <a:gd name="T34" fmla="*/ 154 w 218"/>
              <a:gd name="T35" fmla="*/ 198 h 198"/>
              <a:gd name="T36" fmla="*/ 139 w 218"/>
              <a:gd name="T37" fmla="*/ 191 h 198"/>
              <a:gd name="T38" fmla="*/ 118 w 218"/>
              <a:gd name="T39" fmla="*/ 164 h 198"/>
              <a:gd name="T40" fmla="*/ 120 w 218"/>
              <a:gd name="T41" fmla="*/ 121 h 198"/>
              <a:gd name="T42" fmla="*/ 76 w 218"/>
              <a:gd name="T43" fmla="*/ 85 h 198"/>
              <a:gd name="T44" fmla="*/ 49 w 218"/>
              <a:gd name="T45" fmla="*/ 63 h 198"/>
              <a:gd name="T46" fmla="*/ 29 w 218"/>
              <a:gd name="T47" fmla="*/ 28 h 198"/>
              <a:gd name="T48" fmla="*/ 0 w 218"/>
              <a:gd name="T49" fmla="*/ 35 h 198"/>
              <a:gd name="T50" fmla="*/ 13 w 218"/>
              <a:gd name="T51" fmla="*/ 20 h 1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218" h="198">
                <a:moveTo>
                  <a:pt x="13" y="20"/>
                </a:moveTo>
                <a:cubicBezTo>
                  <a:pt x="40" y="14"/>
                  <a:pt x="40" y="14"/>
                  <a:pt x="40" y="14"/>
                </a:cubicBezTo>
                <a:cubicBezTo>
                  <a:pt x="56" y="0"/>
                  <a:pt x="56" y="0"/>
                  <a:pt x="56" y="0"/>
                </a:cubicBezTo>
                <a:cubicBezTo>
                  <a:pt x="78" y="9"/>
                  <a:pt x="78" y="9"/>
                  <a:pt x="78" y="9"/>
                </a:cubicBezTo>
                <a:cubicBezTo>
                  <a:pt x="106" y="10"/>
                  <a:pt x="106" y="10"/>
                  <a:pt x="106" y="10"/>
                </a:cubicBezTo>
                <a:cubicBezTo>
                  <a:pt x="143" y="19"/>
                  <a:pt x="143" y="19"/>
                  <a:pt x="143" y="19"/>
                </a:cubicBezTo>
                <a:cubicBezTo>
                  <a:pt x="150" y="48"/>
                  <a:pt x="150" y="48"/>
                  <a:pt x="150" y="48"/>
                </a:cubicBezTo>
                <a:cubicBezTo>
                  <a:pt x="152" y="50"/>
                  <a:pt x="152" y="50"/>
                  <a:pt x="152" y="50"/>
                </a:cubicBezTo>
                <a:cubicBezTo>
                  <a:pt x="171" y="50"/>
                  <a:pt x="171" y="50"/>
                  <a:pt x="171" y="50"/>
                </a:cubicBezTo>
                <a:cubicBezTo>
                  <a:pt x="207" y="90"/>
                  <a:pt x="207" y="90"/>
                  <a:pt x="207" y="90"/>
                </a:cubicBezTo>
                <a:cubicBezTo>
                  <a:pt x="212" y="95"/>
                  <a:pt x="212" y="95"/>
                  <a:pt x="212" y="95"/>
                </a:cubicBezTo>
                <a:cubicBezTo>
                  <a:pt x="218" y="112"/>
                  <a:pt x="218" y="112"/>
                  <a:pt x="218" y="112"/>
                </a:cubicBezTo>
                <a:cubicBezTo>
                  <a:pt x="187" y="123"/>
                  <a:pt x="187" y="123"/>
                  <a:pt x="187" y="123"/>
                </a:cubicBezTo>
                <a:cubicBezTo>
                  <a:pt x="157" y="121"/>
                  <a:pt x="157" y="121"/>
                  <a:pt x="157" y="121"/>
                </a:cubicBezTo>
                <a:cubicBezTo>
                  <a:pt x="170" y="136"/>
                  <a:pt x="170" y="136"/>
                  <a:pt x="170" y="136"/>
                </a:cubicBezTo>
                <a:cubicBezTo>
                  <a:pt x="155" y="167"/>
                  <a:pt x="155" y="167"/>
                  <a:pt x="155" y="167"/>
                </a:cubicBezTo>
                <a:cubicBezTo>
                  <a:pt x="153" y="184"/>
                  <a:pt x="153" y="184"/>
                  <a:pt x="153" y="184"/>
                </a:cubicBezTo>
                <a:cubicBezTo>
                  <a:pt x="154" y="198"/>
                  <a:pt x="154" y="198"/>
                  <a:pt x="154" y="198"/>
                </a:cubicBezTo>
                <a:cubicBezTo>
                  <a:pt x="139" y="191"/>
                  <a:pt x="139" y="191"/>
                  <a:pt x="139" y="191"/>
                </a:cubicBezTo>
                <a:cubicBezTo>
                  <a:pt x="118" y="164"/>
                  <a:pt x="118" y="164"/>
                  <a:pt x="118" y="164"/>
                </a:cubicBezTo>
                <a:cubicBezTo>
                  <a:pt x="120" y="121"/>
                  <a:pt x="120" y="121"/>
                  <a:pt x="120" y="121"/>
                </a:cubicBezTo>
                <a:cubicBezTo>
                  <a:pt x="76" y="85"/>
                  <a:pt x="76" y="85"/>
                  <a:pt x="76" y="85"/>
                </a:cubicBezTo>
                <a:cubicBezTo>
                  <a:pt x="76" y="85"/>
                  <a:pt x="49" y="67"/>
                  <a:pt x="49" y="63"/>
                </a:cubicBezTo>
                <a:cubicBezTo>
                  <a:pt x="48" y="59"/>
                  <a:pt x="29" y="28"/>
                  <a:pt x="29" y="28"/>
                </a:cubicBezTo>
                <a:cubicBezTo>
                  <a:pt x="0" y="35"/>
                  <a:pt x="0" y="35"/>
                  <a:pt x="0" y="35"/>
                </a:cubicBezTo>
                <a:lnTo>
                  <a:pt x="13" y="20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4" name="Austria"/>
          <p:cNvSpPr>
            <a:spLocks/>
          </p:cNvSpPr>
          <p:nvPr/>
        </p:nvSpPr>
        <p:spPr bwMode="auto">
          <a:xfrm>
            <a:off x="8801626" y="4425950"/>
            <a:ext cx="1112838" cy="508000"/>
          </a:xfrm>
          <a:custGeom>
            <a:avLst/>
            <a:gdLst>
              <a:gd name="T0" fmla="*/ 400 w 701"/>
              <a:gd name="T1" fmla="*/ 45 h 320"/>
              <a:gd name="T2" fmla="*/ 421 w 701"/>
              <a:gd name="T3" fmla="*/ 63 h 320"/>
              <a:gd name="T4" fmla="*/ 447 w 701"/>
              <a:gd name="T5" fmla="*/ 63 h 320"/>
              <a:gd name="T6" fmla="*/ 479 w 701"/>
              <a:gd name="T7" fmla="*/ 63 h 320"/>
              <a:gd name="T8" fmla="*/ 508 w 701"/>
              <a:gd name="T9" fmla="*/ 0 h 320"/>
              <a:gd name="T10" fmla="*/ 526 w 701"/>
              <a:gd name="T11" fmla="*/ 16 h 320"/>
              <a:gd name="T12" fmla="*/ 548 w 701"/>
              <a:gd name="T13" fmla="*/ 12 h 320"/>
              <a:gd name="T14" fmla="*/ 595 w 701"/>
              <a:gd name="T15" fmla="*/ 31 h 320"/>
              <a:gd name="T16" fmla="*/ 653 w 701"/>
              <a:gd name="T17" fmla="*/ 18 h 320"/>
              <a:gd name="T18" fmla="*/ 678 w 701"/>
              <a:gd name="T19" fmla="*/ 31 h 320"/>
              <a:gd name="T20" fmla="*/ 672 w 701"/>
              <a:gd name="T21" fmla="*/ 78 h 320"/>
              <a:gd name="T22" fmla="*/ 701 w 701"/>
              <a:gd name="T23" fmla="*/ 101 h 320"/>
              <a:gd name="T24" fmla="*/ 701 w 701"/>
              <a:gd name="T25" fmla="*/ 155 h 320"/>
              <a:gd name="T26" fmla="*/ 634 w 701"/>
              <a:gd name="T27" fmla="*/ 159 h 320"/>
              <a:gd name="T28" fmla="*/ 649 w 701"/>
              <a:gd name="T29" fmla="*/ 184 h 320"/>
              <a:gd name="T30" fmla="*/ 636 w 701"/>
              <a:gd name="T31" fmla="*/ 213 h 320"/>
              <a:gd name="T32" fmla="*/ 654 w 701"/>
              <a:gd name="T33" fmla="*/ 233 h 320"/>
              <a:gd name="T34" fmla="*/ 618 w 701"/>
              <a:gd name="T35" fmla="*/ 278 h 320"/>
              <a:gd name="T36" fmla="*/ 564 w 701"/>
              <a:gd name="T37" fmla="*/ 296 h 320"/>
              <a:gd name="T38" fmla="*/ 517 w 701"/>
              <a:gd name="T39" fmla="*/ 282 h 320"/>
              <a:gd name="T40" fmla="*/ 488 w 701"/>
              <a:gd name="T41" fmla="*/ 320 h 320"/>
              <a:gd name="T42" fmla="*/ 410 w 701"/>
              <a:gd name="T43" fmla="*/ 314 h 320"/>
              <a:gd name="T44" fmla="*/ 326 w 701"/>
              <a:gd name="T45" fmla="*/ 302 h 320"/>
              <a:gd name="T46" fmla="*/ 264 w 701"/>
              <a:gd name="T47" fmla="*/ 289 h 320"/>
              <a:gd name="T48" fmla="*/ 259 w 701"/>
              <a:gd name="T49" fmla="*/ 246 h 320"/>
              <a:gd name="T50" fmla="*/ 235 w 701"/>
              <a:gd name="T51" fmla="*/ 262 h 320"/>
              <a:gd name="T52" fmla="*/ 159 w 701"/>
              <a:gd name="T53" fmla="*/ 264 h 320"/>
              <a:gd name="T54" fmla="*/ 150 w 701"/>
              <a:gd name="T55" fmla="*/ 291 h 320"/>
              <a:gd name="T56" fmla="*/ 125 w 701"/>
              <a:gd name="T57" fmla="*/ 282 h 320"/>
              <a:gd name="T58" fmla="*/ 112 w 701"/>
              <a:gd name="T59" fmla="*/ 260 h 320"/>
              <a:gd name="T60" fmla="*/ 94 w 701"/>
              <a:gd name="T61" fmla="*/ 283 h 320"/>
              <a:gd name="T62" fmla="*/ 47 w 701"/>
              <a:gd name="T63" fmla="*/ 282 h 320"/>
              <a:gd name="T64" fmla="*/ 24 w 701"/>
              <a:gd name="T65" fmla="*/ 269 h 320"/>
              <a:gd name="T66" fmla="*/ 0 w 701"/>
              <a:gd name="T67" fmla="*/ 247 h 320"/>
              <a:gd name="T68" fmla="*/ 20 w 701"/>
              <a:gd name="T69" fmla="*/ 222 h 320"/>
              <a:gd name="T70" fmla="*/ 11 w 701"/>
              <a:gd name="T71" fmla="*/ 202 h 320"/>
              <a:gd name="T72" fmla="*/ 51 w 701"/>
              <a:gd name="T73" fmla="*/ 199 h 320"/>
              <a:gd name="T74" fmla="*/ 73 w 701"/>
              <a:gd name="T75" fmla="*/ 233 h 320"/>
              <a:gd name="T76" fmla="*/ 102 w 701"/>
              <a:gd name="T77" fmla="*/ 195 h 320"/>
              <a:gd name="T78" fmla="*/ 129 w 701"/>
              <a:gd name="T79" fmla="*/ 199 h 320"/>
              <a:gd name="T80" fmla="*/ 152 w 701"/>
              <a:gd name="T81" fmla="*/ 220 h 320"/>
              <a:gd name="T82" fmla="*/ 217 w 701"/>
              <a:gd name="T83" fmla="*/ 186 h 320"/>
              <a:gd name="T84" fmla="*/ 259 w 701"/>
              <a:gd name="T85" fmla="*/ 168 h 320"/>
              <a:gd name="T86" fmla="*/ 317 w 701"/>
              <a:gd name="T87" fmla="*/ 202 h 320"/>
              <a:gd name="T88" fmla="*/ 318 w 701"/>
              <a:gd name="T89" fmla="*/ 181 h 320"/>
              <a:gd name="T90" fmla="*/ 329 w 701"/>
              <a:gd name="T91" fmla="*/ 153 h 320"/>
              <a:gd name="T92" fmla="*/ 307 w 701"/>
              <a:gd name="T93" fmla="*/ 128 h 320"/>
              <a:gd name="T94" fmla="*/ 356 w 701"/>
              <a:gd name="T95" fmla="*/ 97 h 320"/>
              <a:gd name="T96" fmla="*/ 360 w 701"/>
              <a:gd name="T97" fmla="*/ 81 h 320"/>
              <a:gd name="T98" fmla="*/ 400 w 701"/>
              <a:gd name="T99" fmla="*/ 70 h 320"/>
              <a:gd name="T100" fmla="*/ 400 w 701"/>
              <a:gd name="T101" fmla="*/ 45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701" h="320">
                <a:moveTo>
                  <a:pt x="400" y="45"/>
                </a:moveTo>
                <a:lnTo>
                  <a:pt x="421" y="63"/>
                </a:lnTo>
                <a:lnTo>
                  <a:pt x="447" y="63"/>
                </a:lnTo>
                <a:lnTo>
                  <a:pt x="479" y="63"/>
                </a:lnTo>
                <a:lnTo>
                  <a:pt x="508" y="0"/>
                </a:lnTo>
                <a:lnTo>
                  <a:pt x="526" y="16"/>
                </a:lnTo>
                <a:lnTo>
                  <a:pt x="548" y="12"/>
                </a:lnTo>
                <a:lnTo>
                  <a:pt x="595" y="31"/>
                </a:lnTo>
                <a:lnTo>
                  <a:pt x="653" y="18"/>
                </a:lnTo>
                <a:lnTo>
                  <a:pt x="678" y="31"/>
                </a:lnTo>
                <a:lnTo>
                  <a:pt x="672" y="78"/>
                </a:lnTo>
                <a:lnTo>
                  <a:pt x="701" y="101"/>
                </a:lnTo>
                <a:lnTo>
                  <a:pt x="701" y="155"/>
                </a:lnTo>
                <a:lnTo>
                  <a:pt x="634" y="159"/>
                </a:lnTo>
                <a:lnTo>
                  <a:pt x="649" y="184"/>
                </a:lnTo>
                <a:lnTo>
                  <a:pt x="636" y="213"/>
                </a:lnTo>
                <a:lnTo>
                  <a:pt x="654" y="233"/>
                </a:lnTo>
                <a:lnTo>
                  <a:pt x="618" y="278"/>
                </a:lnTo>
                <a:lnTo>
                  <a:pt x="564" y="296"/>
                </a:lnTo>
                <a:lnTo>
                  <a:pt x="517" y="282"/>
                </a:lnTo>
                <a:lnTo>
                  <a:pt x="488" y="320"/>
                </a:lnTo>
                <a:lnTo>
                  <a:pt x="410" y="314"/>
                </a:lnTo>
                <a:lnTo>
                  <a:pt x="326" y="302"/>
                </a:lnTo>
                <a:lnTo>
                  <a:pt x="264" y="289"/>
                </a:lnTo>
                <a:lnTo>
                  <a:pt x="259" y="246"/>
                </a:lnTo>
                <a:lnTo>
                  <a:pt x="235" y="262"/>
                </a:lnTo>
                <a:lnTo>
                  <a:pt x="159" y="264"/>
                </a:lnTo>
                <a:lnTo>
                  <a:pt x="150" y="291"/>
                </a:lnTo>
                <a:lnTo>
                  <a:pt x="125" y="282"/>
                </a:lnTo>
                <a:lnTo>
                  <a:pt x="112" y="260"/>
                </a:lnTo>
                <a:lnTo>
                  <a:pt x="94" y="283"/>
                </a:lnTo>
                <a:lnTo>
                  <a:pt x="47" y="282"/>
                </a:lnTo>
                <a:lnTo>
                  <a:pt x="24" y="269"/>
                </a:lnTo>
                <a:lnTo>
                  <a:pt x="0" y="247"/>
                </a:lnTo>
                <a:lnTo>
                  <a:pt x="20" y="222"/>
                </a:lnTo>
                <a:lnTo>
                  <a:pt x="11" y="202"/>
                </a:lnTo>
                <a:lnTo>
                  <a:pt x="51" y="199"/>
                </a:lnTo>
                <a:lnTo>
                  <a:pt x="73" y="233"/>
                </a:lnTo>
                <a:lnTo>
                  <a:pt x="102" y="195"/>
                </a:lnTo>
                <a:lnTo>
                  <a:pt x="129" y="199"/>
                </a:lnTo>
                <a:lnTo>
                  <a:pt x="152" y="220"/>
                </a:lnTo>
                <a:lnTo>
                  <a:pt x="217" y="186"/>
                </a:lnTo>
                <a:lnTo>
                  <a:pt x="259" y="168"/>
                </a:lnTo>
                <a:lnTo>
                  <a:pt x="317" y="202"/>
                </a:lnTo>
                <a:lnTo>
                  <a:pt x="318" y="181"/>
                </a:lnTo>
                <a:lnTo>
                  <a:pt x="329" y="153"/>
                </a:lnTo>
                <a:lnTo>
                  <a:pt x="307" y="128"/>
                </a:lnTo>
                <a:lnTo>
                  <a:pt x="356" y="97"/>
                </a:lnTo>
                <a:lnTo>
                  <a:pt x="360" y="81"/>
                </a:lnTo>
                <a:lnTo>
                  <a:pt x="400" y="70"/>
                </a:lnTo>
                <a:lnTo>
                  <a:pt x="400" y="45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25" name="Italy"/>
          <p:cNvGrpSpPr/>
          <p:nvPr/>
        </p:nvGrpSpPr>
        <p:grpSpPr>
          <a:xfrm>
            <a:off x="8377763" y="4816475"/>
            <a:ext cx="1935163" cy="2041526"/>
            <a:chOff x="8398783" y="4816475"/>
            <a:chExt cx="1935163" cy="2041526"/>
          </a:xfrm>
          <a:solidFill>
            <a:schemeClr val="accent3"/>
          </a:solidFill>
        </p:grpSpPr>
        <p:sp>
          <p:nvSpPr>
            <p:cNvPr id="26" name="Italy"/>
            <p:cNvSpPr>
              <a:spLocks/>
            </p:cNvSpPr>
            <p:nvPr/>
          </p:nvSpPr>
          <p:spPr bwMode="auto">
            <a:xfrm>
              <a:off x="8398783" y="4816475"/>
              <a:ext cx="1935163" cy="1749425"/>
            </a:xfrm>
            <a:custGeom>
              <a:avLst/>
              <a:gdLst>
                <a:gd name="T0" fmla="*/ 121 w 1219"/>
                <a:gd name="T1" fmla="*/ 410 h 1102"/>
                <a:gd name="T2" fmla="*/ 94 w 1219"/>
                <a:gd name="T3" fmla="*/ 348 h 1102"/>
                <a:gd name="T4" fmla="*/ 25 w 1219"/>
                <a:gd name="T5" fmla="*/ 278 h 1102"/>
                <a:gd name="T6" fmla="*/ 42 w 1219"/>
                <a:gd name="T7" fmla="*/ 196 h 1102"/>
                <a:gd name="T8" fmla="*/ 25 w 1219"/>
                <a:gd name="T9" fmla="*/ 151 h 1102"/>
                <a:gd name="T10" fmla="*/ 163 w 1219"/>
                <a:gd name="T11" fmla="*/ 92 h 1102"/>
                <a:gd name="T12" fmla="*/ 208 w 1219"/>
                <a:gd name="T13" fmla="*/ 122 h 1102"/>
                <a:gd name="T14" fmla="*/ 229 w 1219"/>
                <a:gd name="T15" fmla="*/ 164 h 1102"/>
                <a:gd name="T16" fmla="*/ 224 w 1219"/>
                <a:gd name="T17" fmla="*/ 137 h 1102"/>
                <a:gd name="T18" fmla="*/ 253 w 1219"/>
                <a:gd name="T19" fmla="*/ 83 h 1102"/>
                <a:gd name="T20" fmla="*/ 280 w 1219"/>
                <a:gd name="T21" fmla="*/ 108 h 1102"/>
                <a:gd name="T22" fmla="*/ 331 w 1219"/>
                <a:gd name="T23" fmla="*/ 124 h 1102"/>
                <a:gd name="T24" fmla="*/ 325 w 1219"/>
                <a:gd name="T25" fmla="*/ 74 h 1102"/>
                <a:gd name="T26" fmla="*/ 369 w 1219"/>
                <a:gd name="T27" fmla="*/ 83 h 1102"/>
                <a:gd name="T28" fmla="*/ 392 w 1219"/>
                <a:gd name="T29" fmla="*/ 36 h 1102"/>
                <a:gd name="T30" fmla="*/ 426 w 1219"/>
                <a:gd name="T31" fmla="*/ 18 h 1102"/>
                <a:gd name="T32" fmla="*/ 526 w 1219"/>
                <a:gd name="T33" fmla="*/ 0 h 1102"/>
                <a:gd name="T34" fmla="*/ 593 w 1219"/>
                <a:gd name="T35" fmla="*/ 56 h 1102"/>
                <a:gd name="T36" fmla="*/ 638 w 1219"/>
                <a:gd name="T37" fmla="*/ 92 h 1102"/>
                <a:gd name="T38" fmla="*/ 656 w 1219"/>
                <a:gd name="T39" fmla="*/ 133 h 1102"/>
                <a:gd name="T40" fmla="*/ 679 w 1219"/>
                <a:gd name="T41" fmla="*/ 195 h 1102"/>
                <a:gd name="T42" fmla="*/ 650 w 1219"/>
                <a:gd name="T43" fmla="*/ 171 h 1102"/>
                <a:gd name="T44" fmla="*/ 612 w 1219"/>
                <a:gd name="T45" fmla="*/ 186 h 1102"/>
                <a:gd name="T46" fmla="*/ 535 w 1219"/>
                <a:gd name="T47" fmla="*/ 206 h 1102"/>
                <a:gd name="T48" fmla="*/ 565 w 1219"/>
                <a:gd name="T49" fmla="*/ 290 h 1102"/>
                <a:gd name="T50" fmla="*/ 556 w 1219"/>
                <a:gd name="T51" fmla="*/ 355 h 1102"/>
                <a:gd name="T52" fmla="*/ 679 w 1219"/>
                <a:gd name="T53" fmla="*/ 421 h 1102"/>
                <a:gd name="T54" fmla="*/ 784 w 1219"/>
                <a:gd name="T55" fmla="*/ 589 h 1102"/>
                <a:gd name="T56" fmla="*/ 822 w 1219"/>
                <a:gd name="T57" fmla="*/ 617 h 1102"/>
                <a:gd name="T58" fmla="*/ 927 w 1219"/>
                <a:gd name="T59" fmla="*/ 617 h 1102"/>
                <a:gd name="T60" fmla="*/ 952 w 1219"/>
                <a:gd name="T61" fmla="*/ 612 h 1102"/>
                <a:gd name="T62" fmla="*/ 927 w 1219"/>
                <a:gd name="T63" fmla="*/ 661 h 1102"/>
                <a:gd name="T64" fmla="*/ 1004 w 1219"/>
                <a:gd name="T65" fmla="*/ 697 h 1102"/>
                <a:gd name="T66" fmla="*/ 1073 w 1219"/>
                <a:gd name="T67" fmla="*/ 711 h 1102"/>
                <a:gd name="T68" fmla="*/ 1158 w 1219"/>
                <a:gd name="T69" fmla="*/ 746 h 1102"/>
                <a:gd name="T70" fmla="*/ 1207 w 1219"/>
                <a:gd name="T71" fmla="*/ 784 h 1102"/>
                <a:gd name="T72" fmla="*/ 1203 w 1219"/>
                <a:gd name="T73" fmla="*/ 851 h 1102"/>
                <a:gd name="T74" fmla="*/ 1162 w 1219"/>
                <a:gd name="T75" fmla="*/ 800 h 1102"/>
                <a:gd name="T76" fmla="*/ 1089 w 1219"/>
                <a:gd name="T77" fmla="*/ 791 h 1102"/>
                <a:gd name="T78" fmla="*/ 1019 w 1219"/>
                <a:gd name="T79" fmla="*/ 831 h 1102"/>
                <a:gd name="T80" fmla="*/ 1008 w 1219"/>
                <a:gd name="T81" fmla="*/ 869 h 1102"/>
                <a:gd name="T82" fmla="*/ 1039 w 1219"/>
                <a:gd name="T83" fmla="*/ 879 h 1102"/>
                <a:gd name="T84" fmla="*/ 1084 w 1219"/>
                <a:gd name="T85" fmla="*/ 930 h 1102"/>
                <a:gd name="T86" fmla="*/ 1089 w 1219"/>
                <a:gd name="T87" fmla="*/ 963 h 1102"/>
                <a:gd name="T88" fmla="*/ 1028 w 1219"/>
                <a:gd name="T89" fmla="*/ 1024 h 1102"/>
                <a:gd name="T90" fmla="*/ 981 w 1219"/>
                <a:gd name="T91" fmla="*/ 1102 h 1102"/>
                <a:gd name="T92" fmla="*/ 925 w 1219"/>
                <a:gd name="T93" fmla="*/ 1062 h 1102"/>
                <a:gd name="T94" fmla="*/ 950 w 1219"/>
                <a:gd name="T95" fmla="*/ 999 h 1102"/>
                <a:gd name="T96" fmla="*/ 968 w 1219"/>
                <a:gd name="T97" fmla="*/ 950 h 1102"/>
                <a:gd name="T98" fmla="*/ 927 w 1219"/>
                <a:gd name="T99" fmla="*/ 845 h 1102"/>
                <a:gd name="T100" fmla="*/ 844 w 1219"/>
                <a:gd name="T101" fmla="*/ 822 h 1102"/>
                <a:gd name="T102" fmla="*/ 780 w 1219"/>
                <a:gd name="T103" fmla="*/ 787 h 1102"/>
                <a:gd name="T104" fmla="*/ 739 w 1219"/>
                <a:gd name="T105" fmla="*/ 766 h 1102"/>
                <a:gd name="T106" fmla="*/ 676 w 1219"/>
                <a:gd name="T107" fmla="*/ 711 h 1102"/>
                <a:gd name="T108" fmla="*/ 618 w 1219"/>
                <a:gd name="T109" fmla="*/ 693 h 1102"/>
                <a:gd name="T110" fmla="*/ 538 w 1219"/>
                <a:gd name="T111" fmla="*/ 646 h 1102"/>
                <a:gd name="T112" fmla="*/ 495 w 1219"/>
                <a:gd name="T113" fmla="*/ 607 h 1102"/>
                <a:gd name="T114" fmla="*/ 430 w 1219"/>
                <a:gd name="T115" fmla="*/ 581 h 1102"/>
                <a:gd name="T116" fmla="*/ 361 w 1219"/>
                <a:gd name="T117" fmla="*/ 505 h 1102"/>
                <a:gd name="T118" fmla="*/ 349 w 1219"/>
                <a:gd name="T119" fmla="*/ 430 h 1102"/>
                <a:gd name="T120" fmla="*/ 298 w 1219"/>
                <a:gd name="T121" fmla="*/ 383 h 1102"/>
                <a:gd name="T122" fmla="*/ 240 w 1219"/>
                <a:gd name="T123" fmla="*/ 352 h 1102"/>
                <a:gd name="T124" fmla="*/ 159 w 1219"/>
                <a:gd name="T125" fmla="*/ 352 h 1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19" h="1102">
                  <a:moveTo>
                    <a:pt x="141" y="377"/>
                  </a:moveTo>
                  <a:lnTo>
                    <a:pt x="121" y="410"/>
                  </a:lnTo>
                  <a:lnTo>
                    <a:pt x="70" y="410"/>
                  </a:lnTo>
                  <a:lnTo>
                    <a:pt x="94" y="348"/>
                  </a:lnTo>
                  <a:lnTo>
                    <a:pt x="14" y="336"/>
                  </a:lnTo>
                  <a:lnTo>
                    <a:pt x="25" y="278"/>
                  </a:lnTo>
                  <a:lnTo>
                    <a:pt x="0" y="242"/>
                  </a:lnTo>
                  <a:lnTo>
                    <a:pt x="42" y="196"/>
                  </a:lnTo>
                  <a:lnTo>
                    <a:pt x="2" y="162"/>
                  </a:lnTo>
                  <a:lnTo>
                    <a:pt x="25" y="151"/>
                  </a:lnTo>
                  <a:lnTo>
                    <a:pt x="126" y="148"/>
                  </a:lnTo>
                  <a:lnTo>
                    <a:pt x="163" y="92"/>
                  </a:lnTo>
                  <a:lnTo>
                    <a:pt x="181" y="117"/>
                  </a:lnTo>
                  <a:lnTo>
                    <a:pt x="208" y="122"/>
                  </a:lnTo>
                  <a:lnTo>
                    <a:pt x="208" y="153"/>
                  </a:lnTo>
                  <a:lnTo>
                    <a:pt x="229" y="164"/>
                  </a:lnTo>
                  <a:lnTo>
                    <a:pt x="244" y="153"/>
                  </a:lnTo>
                  <a:lnTo>
                    <a:pt x="224" y="137"/>
                  </a:lnTo>
                  <a:lnTo>
                    <a:pt x="253" y="110"/>
                  </a:lnTo>
                  <a:lnTo>
                    <a:pt x="253" y="83"/>
                  </a:lnTo>
                  <a:lnTo>
                    <a:pt x="262" y="74"/>
                  </a:lnTo>
                  <a:lnTo>
                    <a:pt x="280" y="108"/>
                  </a:lnTo>
                  <a:lnTo>
                    <a:pt x="311" y="95"/>
                  </a:lnTo>
                  <a:lnTo>
                    <a:pt x="331" y="124"/>
                  </a:lnTo>
                  <a:lnTo>
                    <a:pt x="343" y="108"/>
                  </a:lnTo>
                  <a:lnTo>
                    <a:pt x="325" y="74"/>
                  </a:lnTo>
                  <a:lnTo>
                    <a:pt x="343" y="63"/>
                  </a:lnTo>
                  <a:lnTo>
                    <a:pt x="369" y="83"/>
                  </a:lnTo>
                  <a:lnTo>
                    <a:pt x="372" y="50"/>
                  </a:lnTo>
                  <a:lnTo>
                    <a:pt x="392" y="36"/>
                  </a:lnTo>
                  <a:lnTo>
                    <a:pt x="417" y="45"/>
                  </a:lnTo>
                  <a:lnTo>
                    <a:pt x="426" y="18"/>
                  </a:lnTo>
                  <a:lnTo>
                    <a:pt x="502" y="16"/>
                  </a:lnTo>
                  <a:lnTo>
                    <a:pt x="526" y="0"/>
                  </a:lnTo>
                  <a:lnTo>
                    <a:pt x="531" y="43"/>
                  </a:lnTo>
                  <a:lnTo>
                    <a:pt x="593" y="56"/>
                  </a:lnTo>
                  <a:lnTo>
                    <a:pt x="685" y="68"/>
                  </a:lnTo>
                  <a:lnTo>
                    <a:pt x="638" y="92"/>
                  </a:lnTo>
                  <a:lnTo>
                    <a:pt x="672" y="110"/>
                  </a:lnTo>
                  <a:lnTo>
                    <a:pt x="656" y="133"/>
                  </a:lnTo>
                  <a:lnTo>
                    <a:pt x="699" y="171"/>
                  </a:lnTo>
                  <a:lnTo>
                    <a:pt x="679" y="195"/>
                  </a:lnTo>
                  <a:lnTo>
                    <a:pt x="668" y="159"/>
                  </a:lnTo>
                  <a:lnTo>
                    <a:pt x="650" y="171"/>
                  </a:lnTo>
                  <a:lnTo>
                    <a:pt x="618" y="160"/>
                  </a:lnTo>
                  <a:lnTo>
                    <a:pt x="612" y="186"/>
                  </a:lnTo>
                  <a:lnTo>
                    <a:pt x="567" y="213"/>
                  </a:lnTo>
                  <a:lnTo>
                    <a:pt x="535" y="206"/>
                  </a:lnTo>
                  <a:lnTo>
                    <a:pt x="564" y="269"/>
                  </a:lnTo>
                  <a:lnTo>
                    <a:pt x="565" y="290"/>
                  </a:lnTo>
                  <a:lnTo>
                    <a:pt x="540" y="305"/>
                  </a:lnTo>
                  <a:lnTo>
                    <a:pt x="556" y="355"/>
                  </a:lnTo>
                  <a:lnTo>
                    <a:pt x="656" y="421"/>
                  </a:lnTo>
                  <a:lnTo>
                    <a:pt x="679" y="421"/>
                  </a:lnTo>
                  <a:lnTo>
                    <a:pt x="735" y="542"/>
                  </a:lnTo>
                  <a:lnTo>
                    <a:pt x="784" y="589"/>
                  </a:lnTo>
                  <a:lnTo>
                    <a:pt x="797" y="589"/>
                  </a:lnTo>
                  <a:lnTo>
                    <a:pt x="822" y="617"/>
                  </a:lnTo>
                  <a:lnTo>
                    <a:pt x="896" y="617"/>
                  </a:lnTo>
                  <a:lnTo>
                    <a:pt x="927" y="617"/>
                  </a:lnTo>
                  <a:lnTo>
                    <a:pt x="934" y="607"/>
                  </a:lnTo>
                  <a:lnTo>
                    <a:pt x="952" y="612"/>
                  </a:lnTo>
                  <a:lnTo>
                    <a:pt x="952" y="630"/>
                  </a:lnTo>
                  <a:lnTo>
                    <a:pt x="927" y="661"/>
                  </a:lnTo>
                  <a:lnTo>
                    <a:pt x="952" y="679"/>
                  </a:lnTo>
                  <a:lnTo>
                    <a:pt x="1004" y="697"/>
                  </a:lnTo>
                  <a:lnTo>
                    <a:pt x="1039" y="704"/>
                  </a:lnTo>
                  <a:lnTo>
                    <a:pt x="1073" y="711"/>
                  </a:lnTo>
                  <a:lnTo>
                    <a:pt x="1100" y="733"/>
                  </a:lnTo>
                  <a:lnTo>
                    <a:pt x="1158" y="746"/>
                  </a:lnTo>
                  <a:lnTo>
                    <a:pt x="1167" y="767"/>
                  </a:lnTo>
                  <a:lnTo>
                    <a:pt x="1207" y="784"/>
                  </a:lnTo>
                  <a:lnTo>
                    <a:pt x="1219" y="809"/>
                  </a:lnTo>
                  <a:lnTo>
                    <a:pt x="1203" y="851"/>
                  </a:lnTo>
                  <a:lnTo>
                    <a:pt x="1169" y="834"/>
                  </a:lnTo>
                  <a:lnTo>
                    <a:pt x="1162" y="800"/>
                  </a:lnTo>
                  <a:lnTo>
                    <a:pt x="1144" y="787"/>
                  </a:lnTo>
                  <a:lnTo>
                    <a:pt x="1089" y="791"/>
                  </a:lnTo>
                  <a:lnTo>
                    <a:pt x="1059" y="773"/>
                  </a:lnTo>
                  <a:lnTo>
                    <a:pt x="1019" y="831"/>
                  </a:lnTo>
                  <a:lnTo>
                    <a:pt x="1023" y="851"/>
                  </a:lnTo>
                  <a:lnTo>
                    <a:pt x="1008" y="869"/>
                  </a:lnTo>
                  <a:lnTo>
                    <a:pt x="1010" y="879"/>
                  </a:lnTo>
                  <a:lnTo>
                    <a:pt x="1039" y="879"/>
                  </a:lnTo>
                  <a:lnTo>
                    <a:pt x="1084" y="903"/>
                  </a:lnTo>
                  <a:lnTo>
                    <a:pt x="1084" y="930"/>
                  </a:lnTo>
                  <a:lnTo>
                    <a:pt x="1098" y="939"/>
                  </a:lnTo>
                  <a:lnTo>
                    <a:pt x="1089" y="963"/>
                  </a:lnTo>
                  <a:lnTo>
                    <a:pt x="1026" y="990"/>
                  </a:lnTo>
                  <a:lnTo>
                    <a:pt x="1028" y="1024"/>
                  </a:lnTo>
                  <a:lnTo>
                    <a:pt x="1004" y="1055"/>
                  </a:lnTo>
                  <a:lnTo>
                    <a:pt x="981" y="1102"/>
                  </a:lnTo>
                  <a:lnTo>
                    <a:pt x="950" y="1102"/>
                  </a:lnTo>
                  <a:lnTo>
                    <a:pt x="925" y="1062"/>
                  </a:lnTo>
                  <a:lnTo>
                    <a:pt x="954" y="1038"/>
                  </a:lnTo>
                  <a:lnTo>
                    <a:pt x="950" y="999"/>
                  </a:lnTo>
                  <a:lnTo>
                    <a:pt x="997" y="984"/>
                  </a:lnTo>
                  <a:lnTo>
                    <a:pt x="968" y="950"/>
                  </a:lnTo>
                  <a:lnTo>
                    <a:pt x="939" y="883"/>
                  </a:lnTo>
                  <a:lnTo>
                    <a:pt x="927" y="845"/>
                  </a:lnTo>
                  <a:lnTo>
                    <a:pt x="874" y="849"/>
                  </a:lnTo>
                  <a:lnTo>
                    <a:pt x="844" y="822"/>
                  </a:lnTo>
                  <a:lnTo>
                    <a:pt x="826" y="776"/>
                  </a:lnTo>
                  <a:lnTo>
                    <a:pt x="780" y="787"/>
                  </a:lnTo>
                  <a:lnTo>
                    <a:pt x="780" y="760"/>
                  </a:lnTo>
                  <a:lnTo>
                    <a:pt x="739" y="766"/>
                  </a:lnTo>
                  <a:lnTo>
                    <a:pt x="706" y="706"/>
                  </a:lnTo>
                  <a:lnTo>
                    <a:pt x="676" y="711"/>
                  </a:lnTo>
                  <a:lnTo>
                    <a:pt x="634" y="715"/>
                  </a:lnTo>
                  <a:lnTo>
                    <a:pt x="618" y="693"/>
                  </a:lnTo>
                  <a:lnTo>
                    <a:pt x="593" y="693"/>
                  </a:lnTo>
                  <a:lnTo>
                    <a:pt x="538" y="646"/>
                  </a:lnTo>
                  <a:lnTo>
                    <a:pt x="515" y="610"/>
                  </a:lnTo>
                  <a:lnTo>
                    <a:pt x="495" y="607"/>
                  </a:lnTo>
                  <a:lnTo>
                    <a:pt x="470" y="583"/>
                  </a:lnTo>
                  <a:lnTo>
                    <a:pt x="430" y="581"/>
                  </a:lnTo>
                  <a:lnTo>
                    <a:pt x="435" y="560"/>
                  </a:lnTo>
                  <a:lnTo>
                    <a:pt x="361" y="505"/>
                  </a:lnTo>
                  <a:lnTo>
                    <a:pt x="370" y="473"/>
                  </a:lnTo>
                  <a:lnTo>
                    <a:pt x="349" y="430"/>
                  </a:lnTo>
                  <a:lnTo>
                    <a:pt x="349" y="390"/>
                  </a:lnTo>
                  <a:lnTo>
                    <a:pt x="298" y="383"/>
                  </a:lnTo>
                  <a:lnTo>
                    <a:pt x="255" y="346"/>
                  </a:lnTo>
                  <a:lnTo>
                    <a:pt x="240" y="352"/>
                  </a:lnTo>
                  <a:lnTo>
                    <a:pt x="210" y="332"/>
                  </a:lnTo>
                  <a:lnTo>
                    <a:pt x="159" y="352"/>
                  </a:lnTo>
                  <a:lnTo>
                    <a:pt x="141" y="37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Italy"/>
            <p:cNvSpPr>
              <a:spLocks/>
            </p:cNvSpPr>
            <p:nvPr/>
          </p:nvSpPr>
          <p:spPr bwMode="auto">
            <a:xfrm>
              <a:off x="8740096" y="5691188"/>
              <a:ext cx="157163" cy="355600"/>
            </a:xfrm>
            <a:custGeom>
              <a:avLst/>
              <a:gdLst>
                <a:gd name="T0" fmla="*/ 42 w 99"/>
                <a:gd name="T1" fmla="*/ 50 h 224"/>
                <a:gd name="T2" fmla="*/ 52 w 99"/>
                <a:gd name="T3" fmla="*/ 18 h 224"/>
                <a:gd name="T4" fmla="*/ 63 w 99"/>
                <a:gd name="T5" fmla="*/ 0 h 224"/>
                <a:gd name="T6" fmla="*/ 63 w 99"/>
                <a:gd name="T7" fmla="*/ 50 h 224"/>
                <a:gd name="T8" fmla="*/ 99 w 99"/>
                <a:gd name="T9" fmla="*/ 103 h 224"/>
                <a:gd name="T10" fmla="*/ 85 w 99"/>
                <a:gd name="T11" fmla="*/ 144 h 224"/>
                <a:gd name="T12" fmla="*/ 99 w 99"/>
                <a:gd name="T13" fmla="*/ 164 h 224"/>
                <a:gd name="T14" fmla="*/ 85 w 99"/>
                <a:gd name="T15" fmla="*/ 224 h 224"/>
                <a:gd name="T16" fmla="*/ 52 w 99"/>
                <a:gd name="T17" fmla="*/ 193 h 224"/>
                <a:gd name="T18" fmla="*/ 42 w 99"/>
                <a:gd name="T19" fmla="*/ 169 h 224"/>
                <a:gd name="T20" fmla="*/ 14 w 99"/>
                <a:gd name="T21" fmla="*/ 162 h 224"/>
                <a:gd name="T22" fmla="*/ 14 w 99"/>
                <a:gd name="T23" fmla="*/ 121 h 224"/>
                <a:gd name="T24" fmla="*/ 0 w 99"/>
                <a:gd name="T25" fmla="*/ 95 h 224"/>
                <a:gd name="T26" fmla="*/ 23 w 99"/>
                <a:gd name="T27" fmla="*/ 61 h 224"/>
                <a:gd name="T28" fmla="*/ 42 w 99"/>
                <a:gd name="T29" fmla="*/ 5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224">
                  <a:moveTo>
                    <a:pt x="42" y="50"/>
                  </a:moveTo>
                  <a:lnTo>
                    <a:pt x="52" y="18"/>
                  </a:lnTo>
                  <a:lnTo>
                    <a:pt x="63" y="0"/>
                  </a:lnTo>
                  <a:lnTo>
                    <a:pt x="63" y="50"/>
                  </a:lnTo>
                  <a:lnTo>
                    <a:pt x="99" y="103"/>
                  </a:lnTo>
                  <a:lnTo>
                    <a:pt x="85" y="144"/>
                  </a:lnTo>
                  <a:lnTo>
                    <a:pt x="99" y="164"/>
                  </a:lnTo>
                  <a:lnTo>
                    <a:pt x="85" y="224"/>
                  </a:lnTo>
                  <a:lnTo>
                    <a:pt x="52" y="193"/>
                  </a:lnTo>
                  <a:lnTo>
                    <a:pt x="42" y="169"/>
                  </a:lnTo>
                  <a:lnTo>
                    <a:pt x="14" y="162"/>
                  </a:lnTo>
                  <a:lnTo>
                    <a:pt x="14" y="121"/>
                  </a:lnTo>
                  <a:lnTo>
                    <a:pt x="0" y="95"/>
                  </a:lnTo>
                  <a:lnTo>
                    <a:pt x="23" y="61"/>
                  </a:lnTo>
                  <a:lnTo>
                    <a:pt x="42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Italy"/>
            <p:cNvSpPr>
              <a:spLocks/>
            </p:cNvSpPr>
            <p:nvPr/>
          </p:nvSpPr>
          <p:spPr bwMode="auto">
            <a:xfrm>
              <a:off x="8757558" y="6069013"/>
              <a:ext cx="295275" cy="533400"/>
            </a:xfrm>
            <a:custGeom>
              <a:avLst/>
              <a:gdLst>
                <a:gd name="T0" fmla="*/ 0 w 186"/>
                <a:gd name="T1" fmla="*/ 60 h 336"/>
                <a:gd name="T2" fmla="*/ 31 w 186"/>
                <a:gd name="T3" fmla="*/ 69 h 336"/>
                <a:gd name="T4" fmla="*/ 63 w 186"/>
                <a:gd name="T5" fmla="*/ 36 h 336"/>
                <a:gd name="T6" fmla="*/ 78 w 186"/>
                <a:gd name="T7" fmla="*/ 9 h 336"/>
                <a:gd name="T8" fmla="*/ 105 w 186"/>
                <a:gd name="T9" fmla="*/ 0 h 336"/>
                <a:gd name="T10" fmla="*/ 115 w 186"/>
                <a:gd name="T11" fmla="*/ 34 h 336"/>
                <a:gd name="T12" fmla="*/ 159 w 186"/>
                <a:gd name="T13" fmla="*/ 98 h 336"/>
                <a:gd name="T14" fmla="*/ 144 w 186"/>
                <a:gd name="T15" fmla="*/ 123 h 336"/>
                <a:gd name="T16" fmla="*/ 159 w 186"/>
                <a:gd name="T17" fmla="*/ 145 h 336"/>
                <a:gd name="T18" fmla="*/ 186 w 186"/>
                <a:gd name="T19" fmla="*/ 248 h 336"/>
                <a:gd name="T20" fmla="*/ 186 w 186"/>
                <a:gd name="T21" fmla="*/ 282 h 336"/>
                <a:gd name="T22" fmla="*/ 152 w 186"/>
                <a:gd name="T23" fmla="*/ 282 h 336"/>
                <a:gd name="T24" fmla="*/ 132 w 186"/>
                <a:gd name="T25" fmla="*/ 282 h 336"/>
                <a:gd name="T26" fmla="*/ 137 w 186"/>
                <a:gd name="T27" fmla="*/ 313 h 336"/>
                <a:gd name="T28" fmla="*/ 115 w 186"/>
                <a:gd name="T29" fmla="*/ 336 h 336"/>
                <a:gd name="T30" fmla="*/ 78 w 186"/>
                <a:gd name="T31" fmla="*/ 295 h 336"/>
                <a:gd name="T32" fmla="*/ 78 w 186"/>
                <a:gd name="T33" fmla="*/ 201 h 336"/>
                <a:gd name="T34" fmla="*/ 49 w 186"/>
                <a:gd name="T35" fmla="*/ 168 h 336"/>
                <a:gd name="T36" fmla="*/ 41 w 186"/>
                <a:gd name="T37" fmla="*/ 132 h 336"/>
                <a:gd name="T38" fmla="*/ 14 w 186"/>
                <a:gd name="T39" fmla="*/ 110 h 336"/>
                <a:gd name="T40" fmla="*/ 0 w 186"/>
                <a:gd name="T41" fmla="*/ 6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6" h="336">
                  <a:moveTo>
                    <a:pt x="0" y="60"/>
                  </a:moveTo>
                  <a:lnTo>
                    <a:pt x="31" y="69"/>
                  </a:lnTo>
                  <a:lnTo>
                    <a:pt x="63" y="36"/>
                  </a:lnTo>
                  <a:lnTo>
                    <a:pt x="78" y="9"/>
                  </a:lnTo>
                  <a:lnTo>
                    <a:pt x="105" y="0"/>
                  </a:lnTo>
                  <a:lnTo>
                    <a:pt x="115" y="34"/>
                  </a:lnTo>
                  <a:lnTo>
                    <a:pt x="159" y="98"/>
                  </a:lnTo>
                  <a:lnTo>
                    <a:pt x="144" y="123"/>
                  </a:lnTo>
                  <a:lnTo>
                    <a:pt x="159" y="145"/>
                  </a:lnTo>
                  <a:lnTo>
                    <a:pt x="186" y="248"/>
                  </a:lnTo>
                  <a:lnTo>
                    <a:pt x="186" y="282"/>
                  </a:lnTo>
                  <a:lnTo>
                    <a:pt x="152" y="282"/>
                  </a:lnTo>
                  <a:lnTo>
                    <a:pt x="132" y="282"/>
                  </a:lnTo>
                  <a:lnTo>
                    <a:pt x="137" y="313"/>
                  </a:lnTo>
                  <a:lnTo>
                    <a:pt x="115" y="336"/>
                  </a:lnTo>
                  <a:lnTo>
                    <a:pt x="78" y="295"/>
                  </a:lnTo>
                  <a:lnTo>
                    <a:pt x="78" y="201"/>
                  </a:lnTo>
                  <a:lnTo>
                    <a:pt x="49" y="168"/>
                  </a:lnTo>
                  <a:lnTo>
                    <a:pt x="41" y="132"/>
                  </a:lnTo>
                  <a:lnTo>
                    <a:pt x="14" y="110"/>
                  </a:lnTo>
                  <a:lnTo>
                    <a:pt x="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Italy"/>
            <p:cNvSpPr>
              <a:spLocks/>
            </p:cNvSpPr>
            <p:nvPr/>
          </p:nvSpPr>
          <p:spPr bwMode="auto">
            <a:xfrm>
              <a:off x="9462408" y="6516688"/>
              <a:ext cx="439738" cy="341313"/>
            </a:xfrm>
            <a:custGeom>
              <a:avLst/>
              <a:gdLst>
                <a:gd name="T0" fmla="*/ 215 w 277"/>
                <a:gd name="T1" fmla="*/ 36 h 215"/>
                <a:gd name="T2" fmla="*/ 248 w 277"/>
                <a:gd name="T3" fmla="*/ 0 h 215"/>
                <a:gd name="T4" fmla="*/ 253 w 277"/>
                <a:gd name="T5" fmla="*/ 31 h 215"/>
                <a:gd name="T6" fmla="*/ 235 w 277"/>
                <a:gd name="T7" fmla="*/ 74 h 215"/>
                <a:gd name="T8" fmla="*/ 248 w 277"/>
                <a:gd name="T9" fmla="*/ 123 h 215"/>
                <a:gd name="T10" fmla="*/ 277 w 277"/>
                <a:gd name="T11" fmla="*/ 159 h 215"/>
                <a:gd name="T12" fmla="*/ 266 w 277"/>
                <a:gd name="T13" fmla="*/ 191 h 215"/>
                <a:gd name="T14" fmla="*/ 277 w 277"/>
                <a:gd name="T15" fmla="*/ 215 h 215"/>
                <a:gd name="T16" fmla="*/ 246 w 277"/>
                <a:gd name="T17" fmla="*/ 215 h 215"/>
                <a:gd name="T18" fmla="*/ 221 w 277"/>
                <a:gd name="T19" fmla="*/ 215 h 215"/>
                <a:gd name="T20" fmla="*/ 179 w 277"/>
                <a:gd name="T21" fmla="*/ 182 h 215"/>
                <a:gd name="T22" fmla="*/ 159 w 277"/>
                <a:gd name="T23" fmla="*/ 199 h 215"/>
                <a:gd name="T24" fmla="*/ 103 w 277"/>
                <a:gd name="T25" fmla="*/ 182 h 215"/>
                <a:gd name="T26" fmla="*/ 63 w 277"/>
                <a:gd name="T27" fmla="*/ 157 h 215"/>
                <a:gd name="T28" fmla="*/ 31 w 277"/>
                <a:gd name="T29" fmla="*/ 166 h 215"/>
                <a:gd name="T30" fmla="*/ 0 w 277"/>
                <a:gd name="T31" fmla="*/ 134 h 215"/>
                <a:gd name="T32" fmla="*/ 0 w 277"/>
                <a:gd name="T33" fmla="*/ 96 h 215"/>
                <a:gd name="T34" fmla="*/ 6 w 277"/>
                <a:gd name="T35" fmla="*/ 85 h 215"/>
                <a:gd name="T36" fmla="*/ 29 w 277"/>
                <a:gd name="T37" fmla="*/ 97 h 215"/>
                <a:gd name="T38" fmla="*/ 45 w 277"/>
                <a:gd name="T39" fmla="*/ 87 h 215"/>
                <a:gd name="T40" fmla="*/ 38 w 277"/>
                <a:gd name="T41" fmla="*/ 67 h 215"/>
                <a:gd name="T42" fmla="*/ 47 w 277"/>
                <a:gd name="T43" fmla="*/ 63 h 215"/>
                <a:gd name="T44" fmla="*/ 103 w 277"/>
                <a:gd name="T45" fmla="*/ 85 h 215"/>
                <a:gd name="T46" fmla="*/ 121 w 277"/>
                <a:gd name="T47" fmla="*/ 63 h 215"/>
                <a:gd name="T48" fmla="*/ 148 w 277"/>
                <a:gd name="T49" fmla="*/ 67 h 215"/>
                <a:gd name="T50" fmla="*/ 177 w 277"/>
                <a:gd name="T51" fmla="*/ 47 h 215"/>
                <a:gd name="T52" fmla="*/ 192 w 277"/>
                <a:gd name="T53" fmla="*/ 25 h 215"/>
                <a:gd name="T54" fmla="*/ 215 w 277"/>
                <a:gd name="T55" fmla="*/ 36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77" h="215">
                  <a:moveTo>
                    <a:pt x="215" y="36"/>
                  </a:moveTo>
                  <a:lnTo>
                    <a:pt x="248" y="0"/>
                  </a:lnTo>
                  <a:lnTo>
                    <a:pt x="253" y="31"/>
                  </a:lnTo>
                  <a:lnTo>
                    <a:pt x="235" y="74"/>
                  </a:lnTo>
                  <a:lnTo>
                    <a:pt x="248" y="123"/>
                  </a:lnTo>
                  <a:lnTo>
                    <a:pt x="277" y="159"/>
                  </a:lnTo>
                  <a:lnTo>
                    <a:pt x="266" y="191"/>
                  </a:lnTo>
                  <a:lnTo>
                    <a:pt x="277" y="215"/>
                  </a:lnTo>
                  <a:lnTo>
                    <a:pt x="246" y="215"/>
                  </a:lnTo>
                  <a:lnTo>
                    <a:pt x="221" y="215"/>
                  </a:lnTo>
                  <a:lnTo>
                    <a:pt x="179" y="182"/>
                  </a:lnTo>
                  <a:lnTo>
                    <a:pt x="159" y="199"/>
                  </a:lnTo>
                  <a:lnTo>
                    <a:pt x="103" y="182"/>
                  </a:lnTo>
                  <a:lnTo>
                    <a:pt x="63" y="157"/>
                  </a:lnTo>
                  <a:lnTo>
                    <a:pt x="31" y="166"/>
                  </a:lnTo>
                  <a:lnTo>
                    <a:pt x="0" y="134"/>
                  </a:lnTo>
                  <a:lnTo>
                    <a:pt x="0" y="96"/>
                  </a:lnTo>
                  <a:lnTo>
                    <a:pt x="6" y="85"/>
                  </a:lnTo>
                  <a:lnTo>
                    <a:pt x="29" y="97"/>
                  </a:lnTo>
                  <a:lnTo>
                    <a:pt x="45" y="87"/>
                  </a:lnTo>
                  <a:lnTo>
                    <a:pt x="38" y="67"/>
                  </a:lnTo>
                  <a:lnTo>
                    <a:pt x="47" y="63"/>
                  </a:lnTo>
                  <a:lnTo>
                    <a:pt x="103" y="85"/>
                  </a:lnTo>
                  <a:lnTo>
                    <a:pt x="121" y="63"/>
                  </a:lnTo>
                  <a:lnTo>
                    <a:pt x="148" y="67"/>
                  </a:lnTo>
                  <a:lnTo>
                    <a:pt x="177" y="47"/>
                  </a:lnTo>
                  <a:lnTo>
                    <a:pt x="192" y="25"/>
                  </a:lnTo>
                  <a:lnTo>
                    <a:pt x="215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0" name="Lithuania"/>
          <p:cNvSpPr>
            <a:spLocks/>
          </p:cNvSpPr>
          <p:nvPr/>
        </p:nvSpPr>
        <p:spPr bwMode="auto">
          <a:xfrm>
            <a:off x="10219263" y="2862263"/>
            <a:ext cx="730250" cy="519113"/>
          </a:xfrm>
          <a:custGeom>
            <a:avLst/>
            <a:gdLst>
              <a:gd name="T0" fmla="*/ 137 w 460"/>
              <a:gd name="T1" fmla="*/ 197 h 327"/>
              <a:gd name="T2" fmla="*/ 170 w 460"/>
              <a:gd name="T3" fmla="*/ 213 h 327"/>
              <a:gd name="T4" fmla="*/ 162 w 460"/>
              <a:gd name="T5" fmla="*/ 235 h 327"/>
              <a:gd name="T6" fmla="*/ 171 w 460"/>
              <a:gd name="T7" fmla="*/ 269 h 327"/>
              <a:gd name="T8" fmla="*/ 211 w 460"/>
              <a:gd name="T9" fmla="*/ 291 h 327"/>
              <a:gd name="T10" fmla="*/ 242 w 460"/>
              <a:gd name="T11" fmla="*/ 300 h 327"/>
              <a:gd name="T12" fmla="*/ 246 w 460"/>
              <a:gd name="T13" fmla="*/ 327 h 327"/>
              <a:gd name="T14" fmla="*/ 289 w 460"/>
              <a:gd name="T15" fmla="*/ 302 h 327"/>
              <a:gd name="T16" fmla="*/ 314 w 460"/>
              <a:gd name="T17" fmla="*/ 316 h 327"/>
              <a:gd name="T18" fmla="*/ 343 w 460"/>
              <a:gd name="T19" fmla="*/ 280 h 327"/>
              <a:gd name="T20" fmla="*/ 374 w 460"/>
              <a:gd name="T21" fmla="*/ 262 h 327"/>
              <a:gd name="T22" fmla="*/ 374 w 460"/>
              <a:gd name="T23" fmla="*/ 249 h 327"/>
              <a:gd name="T24" fmla="*/ 395 w 460"/>
              <a:gd name="T25" fmla="*/ 249 h 327"/>
              <a:gd name="T26" fmla="*/ 412 w 460"/>
              <a:gd name="T27" fmla="*/ 262 h 327"/>
              <a:gd name="T28" fmla="*/ 383 w 460"/>
              <a:gd name="T29" fmla="*/ 181 h 327"/>
              <a:gd name="T30" fmla="*/ 401 w 460"/>
              <a:gd name="T31" fmla="*/ 159 h 327"/>
              <a:gd name="T32" fmla="*/ 419 w 460"/>
              <a:gd name="T33" fmla="*/ 159 h 327"/>
              <a:gd name="T34" fmla="*/ 419 w 460"/>
              <a:gd name="T35" fmla="*/ 127 h 327"/>
              <a:gd name="T36" fmla="*/ 460 w 460"/>
              <a:gd name="T37" fmla="*/ 127 h 327"/>
              <a:gd name="T38" fmla="*/ 453 w 460"/>
              <a:gd name="T39" fmla="*/ 100 h 327"/>
              <a:gd name="T40" fmla="*/ 432 w 460"/>
              <a:gd name="T41" fmla="*/ 89 h 327"/>
              <a:gd name="T42" fmla="*/ 432 w 460"/>
              <a:gd name="T43" fmla="*/ 60 h 327"/>
              <a:gd name="T44" fmla="*/ 417 w 460"/>
              <a:gd name="T45" fmla="*/ 60 h 327"/>
              <a:gd name="T46" fmla="*/ 352 w 460"/>
              <a:gd name="T47" fmla="*/ 27 h 327"/>
              <a:gd name="T48" fmla="*/ 300 w 460"/>
              <a:gd name="T49" fmla="*/ 27 h 327"/>
              <a:gd name="T50" fmla="*/ 285 w 460"/>
              <a:gd name="T51" fmla="*/ 0 h 327"/>
              <a:gd name="T52" fmla="*/ 255 w 460"/>
              <a:gd name="T53" fmla="*/ 31 h 327"/>
              <a:gd name="T54" fmla="*/ 184 w 460"/>
              <a:gd name="T55" fmla="*/ 31 h 327"/>
              <a:gd name="T56" fmla="*/ 159 w 460"/>
              <a:gd name="T57" fmla="*/ 22 h 327"/>
              <a:gd name="T58" fmla="*/ 155 w 460"/>
              <a:gd name="T59" fmla="*/ 49 h 327"/>
              <a:gd name="T60" fmla="*/ 137 w 460"/>
              <a:gd name="T61" fmla="*/ 33 h 327"/>
              <a:gd name="T62" fmla="*/ 123 w 460"/>
              <a:gd name="T63" fmla="*/ 45 h 327"/>
              <a:gd name="T64" fmla="*/ 67 w 460"/>
              <a:gd name="T65" fmla="*/ 34 h 327"/>
              <a:gd name="T66" fmla="*/ 14 w 460"/>
              <a:gd name="T67" fmla="*/ 69 h 327"/>
              <a:gd name="T68" fmla="*/ 0 w 460"/>
              <a:gd name="T69" fmla="*/ 96 h 327"/>
              <a:gd name="T70" fmla="*/ 0 w 460"/>
              <a:gd name="T71" fmla="*/ 119 h 327"/>
              <a:gd name="T72" fmla="*/ 18 w 460"/>
              <a:gd name="T73" fmla="*/ 141 h 327"/>
              <a:gd name="T74" fmla="*/ 23 w 460"/>
              <a:gd name="T75" fmla="*/ 181 h 327"/>
              <a:gd name="T76" fmla="*/ 58 w 460"/>
              <a:gd name="T77" fmla="*/ 193 h 327"/>
              <a:gd name="T78" fmla="*/ 108 w 460"/>
              <a:gd name="T79" fmla="*/ 206 h 327"/>
              <a:gd name="T80" fmla="*/ 137 w 460"/>
              <a:gd name="T81" fmla="*/ 197 h 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460" h="327">
                <a:moveTo>
                  <a:pt x="137" y="197"/>
                </a:moveTo>
                <a:lnTo>
                  <a:pt x="170" y="213"/>
                </a:lnTo>
                <a:lnTo>
                  <a:pt x="162" y="235"/>
                </a:lnTo>
                <a:lnTo>
                  <a:pt x="171" y="269"/>
                </a:lnTo>
                <a:lnTo>
                  <a:pt x="211" y="291"/>
                </a:lnTo>
                <a:lnTo>
                  <a:pt x="242" y="300"/>
                </a:lnTo>
                <a:lnTo>
                  <a:pt x="246" y="327"/>
                </a:lnTo>
                <a:lnTo>
                  <a:pt x="289" y="302"/>
                </a:lnTo>
                <a:lnTo>
                  <a:pt x="314" y="316"/>
                </a:lnTo>
                <a:lnTo>
                  <a:pt x="343" y="280"/>
                </a:lnTo>
                <a:lnTo>
                  <a:pt x="374" y="262"/>
                </a:lnTo>
                <a:lnTo>
                  <a:pt x="374" y="249"/>
                </a:lnTo>
                <a:lnTo>
                  <a:pt x="395" y="249"/>
                </a:lnTo>
                <a:lnTo>
                  <a:pt x="412" y="262"/>
                </a:lnTo>
                <a:lnTo>
                  <a:pt x="383" y="181"/>
                </a:lnTo>
                <a:lnTo>
                  <a:pt x="401" y="159"/>
                </a:lnTo>
                <a:lnTo>
                  <a:pt x="419" y="159"/>
                </a:lnTo>
                <a:lnTo>
                  <a:pt x="419" y="127"/>
                </a:lnTo>
                <a:lnTo>
                  <a:pt x="460" y="127"/>
                </a:lnTo>
                <a:lnTo>
                  <a:pt x="453" y="100"/>
                </a:lnTo>
                <a:lnTo>
                  <a:pt x="432" y="89"/>
                </a:lnTo>
                <a:lnTo>
                  <a:pt x="432" y="60"/>
                </a:lnTo>
                <a:lnTo>
                  <a:pt x="417" y="60"/>
                </a:lnTo>
                <a:lnTo>
                  <a:pt x="352" y="27"/>
                </a:lnTo>
                <a:lnTo>
                  <a:pt x="300" y="27"/>
                </a:lnTo>
                <a:lnTo>
                  <a:pt x="285" y="0"/>
                </a:lnTo>
                <a:lnTo>
                  <a:pt x="255" y="31"/>
                </a:lnTo>
                <a:lnTo>
                  <a:pt x="184" y="31"/>
                </a:lnTo>
                <a:lnTo>
                  <a:pt x="159" y="22"/>
                </a:lnTo>
                <a:lnTo>
                  <a:pt x="155" y="49"/>
                </a:lnTo>
                <a:lnTo>
                  <a:pt x="137" y="33"/>
                </a:lnTo>
                <a:lnTo>
                  <a:pt x="123" y="45"/>
                </a:lnTo>
                <a:lnTo>
                  <a:pt x="67" y="34"/>
                </a:lnTo>
                <a:lnTo>
                  <a:pt x="14" y="69"/>
                </a:lnTo>
                <a:lnTo>
                  <a:pt x="0" y="96"/>
                </a:lnTo>
                <a:lnTo>
                  <a:pt x="0" y="119"/>
                </a:lnTo>
                <a:lnTo>
                  <a:pt x="18" y="141"/>
                </a:lnTo>
                <a:lnTo>
                  <a:pt x="23" y="181"/>
                </a:lnTo>
                <a:lnTo>
                  <a:pt x="58" y="193"/>
                </a:lnTo>
                <a:lnTo>
                  <a:pt x="108" y="206"/>
                </a:lnTo>
                <a:lnTo>
                  <a:pt x="137" y="197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1" name="Latvia"/>
          <p:cNvSpPr>
            <a:spLocks/>
          </p:cNvSpPr>
          <p:nvPr/>
        </p:nvSpPr>
        <p:spPr bwMode="auto">
          <a:xfrm>
            <a:off x="10193863" y="2546350"/>
            <a:ext cx="871538" cy="479425"/>
          </a:xfrm>
          <a:custGeom>
            <a:avLst/>
            <a:gdLst>
              <a:gd name="T0" fmla="*/ 213 w 549"/>
              <a:gd name="T1" fmla="*/ 42 h 302"/>
              <a:gd name="T2" fmla="*/ 272 w 549"/>
              <a:gd name="T3" fmla="*/ 0 h 302"/>
              <a:gd name="T4" fmla="*/ 319 w 549"/>
              <a:gd name="T5" fmla="*/ 20 h 302"/>
              <a:gd name="T6" fmla="*/ 354 w 549"/>
              <a:gd name="T7" fmla="*/ 42 h 302"/>
              <a:gd name="T8" fmla="*/ 379 w 549"/>
              <a:gd name="T9" fmla="*/ 55 h 302"/>
              <a:gd name="T10" fmla="*/ 399 w 549"/>
              <a:gd name="T11" fmla="*/ 28 h 302"/>
              <a:gd name="T12" fmla="*/ 431 w 549"/>
              <a:gd name="T13" fmla="*/ 28 h 302"/>
              <a:gd name="T14" fmla="*/ 495 w 549"/>
              <a:gd name="T15" fmla="*/ 58 h 302"/>
              <a:gd name="T16" fmla="*/ 476 w 549"/>
              <a:gd name="T17" fmla="*/ 82 h 302"/>
              <a:gd name="T18" fmla="*/ 491 w 549"/>
              <a:gd name="T19" fmla="*/ 112 h 302"/>
              <a:gd name="T20" fmla="*/ 504 w 549"/>
              <a:gd name="T21" fmla="*/ 112 h 302"/>
              <a:gd name="T22" fmla="*/ 516 w 549"/>
              <a:gd name="T23" fmla="*/ 129 h 302"/>
              <a:gd name="T24" fmla="*/ 549 w 549"/>
              <a:gd name="T25" fmla="*/ 152 h 302"/>
              <a:gd name="T26" fmla="*/ 549 w 549"/>
              <a:gd name="T27" fmla="*/ 174 h 302"/>
              <a:gd name="T28" fmla="*/ 520 w 549"/>
              <a:gd name="T29" fmla="*/ 199 h 302"/>
              <a:gd name="T30" fmla="*/ 513 w 549"/>
              <a:gd name="T31" fmla="*/ 237 h 302"/>
              <a:gd name="T32" fmla="*/ 491 w 549"/>
              <a:gd name="T33" fmla="*/ 237 h 302"/>
              <a:gd name="T34" fmla="*/ 462 w 549"/>
              <a:gd name="T35" fmla="*/ 252 h 302"/>
              <a:gd name="T36" fmla="*/ 448 w 549"/>
              <a:gd name="T37" fmla="*/ 259 h 302"/>
              <a:gd name="T38" fmla="*/ 433 w 549"/>
              <a:gd name="T39" fmla="*/ 259 h 302"/>
              <a:gd name="T40" fmla="*/ 368 w 549"/>
              <a:gd name="T41" fmla="*/ 226 h 302"/>
              <a:gd name="T42" fmla="*/ 316 w 549"/>
              <a:gd name="T43" fmla="*/ 226 h 302"/>
              <a:gd name="T44" fmla="*/ 301 w 549"/>
              <a:gd name="T45" fmla="*/ 199 h 302"/>
              <a:gd name="T46" fmla="*/ 271 w 549"/>
              <a:gd name="T47" fmla="*/ 230 h 302"/>
              <a:gd name="T48" fmla="*/ 200 w 549"/>
              <a:gd name="T49" fmla="*/ 230 h 302"/>
              <a:gd name="T50" fmla="*/ 175 w 549"/>
              <a:gd name="T51" fmla="*/ 221 h 302"/>
              <a:gd name="T52" fmla="*/ 171 w 549"/>
              <a:gd name="T53" fmla="*/ 248 h 302"/>
              <a:gd name="T54" fmla="*/ 153 w 549"/>
              <a:gd name="T55" fmla="*/ 232 h 302"/>
              <a:gd name="T56" fmla="*/ 139 w 549"/>
              <a:gd name="T57" fmla="*/ 244 h 302"/>
              <a:gd name="T58" fmla="*/ 83 w 549"/>
              <a:gd name="T59" fmla="*/ 233 h 302"/>
              <a:gd name="T60" fmla="*/ 30 w 549"/>
              <a:gd name="T61" fmla="*/ 268 h 302"/>
              <a:gd name="T62" fmla="*/ 16 w 549"/>
              <a:gd name="T63" fmla="*/ 302 h 302"/>
              <a:gd name="T64" fmla="*/ 9 w 549"/>
              <a:gd name="T65" fmla="*/ 261 h 302"/>
              <a:gd name="T66" fmla="*/ 0 w 549"/>
              <a:gd name="T67" fmla="*/ 192 h 302"/>
              <a:gd name="T68" fmla="*/ 16 w 549"/>
              <a:gd name="T69" fmla="*/ 174 h 302"/>
              <a:gd name="T70" fmla="*/ 16 w 549"/>
              <a:gd name="T71" fmla="*/ 131 h 302"/>
              <a:gd name="T72" fmla="*/ 36 w 549"/>
              <a:gd name="T73" fmla="*/ 102 h 302"/>
              <a:gd name="T74" fmla="*/ 68 w 549"/>
              <a:gd name="T75" fmla="*/ 87 h 302"/>
              <a:gd name="T76" fmla="*/ 101 w 549"/>
              <a:gd name="T77" fmla="*/ 69 h 302"/>
              <a:gd name="T78" fmla="*/ 103 w 549"/>
              <a:gd name="T79" fmla="*/ 96 h 302"/>
              <a:gd name="T80" fmla="*/ 139 w 549"/>
              <a:gd name="T81" fmla="*/ 114 h 302"/>
              <a:gd name="T82" fmla="*/ 160 w 549"/>
              <a:gd name="T83" fmla="*/ 152 h 302"/>
              <a:gd name="T84" fmla="*/ 206 w 549"/>
              <a:gd name="T85" fmla="*/ 152 h 302"/>
              <a:gd name="T86" fmla="*/ 238 w 549"/>
              <a:gd name="T87" fmla="*/ 131 h 302"/>
              <a:gd name="T88" fmla="*/ 231 w 549"/>
              <a:gd name="T89" fmla="*/ 102 h 302"/>
              <a:gd name="T90" fmla="*/ 215 w 549"/>
              <a:gd name="T91" fmla="*/ 67 h 302"/>
              <a:gd name="T92" fmla="*/ 213 w 549"/>
              <a:gd name="T93" fmla="*/ 42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49" h="302">
                <a:moveTo>
                  <a:pt x="213" y="42"/>
                </a:moveTo>
                <a:lnTo>
                  <a:pt x="272" y="0"/>
                </a:lnTo>
                <a:lnTo>
                  <a:pt x="319" y="20"/>
                </a:lnTo>
                <a:lnTo>
                  <a:pt x="354" y="42"/>
                </a:lnTo>
                <a:lnTo>
                  <a:pt x="379" y="55"/>
                </a:lnTo>
                <a:lnTo>
                  <a:pt x="399" y="28"/>
                </a:lnTo>
                <a:lnTo>
                  <a:pt x="431" y="28"/>
                </a:lnTo>
                <a:lnTo>
                  <a:pt x="495" y="58"/>
                </a:lnTo>
                <a:lnTo>
                  <a:pt x="476" y="82"/>
                </a:lnTo>
                <a:lnTo>
                  <a:pt x="491" y="112"/>
                </a:lnTo>
                <a:lnTo>
                  <a:pt x="504" y="112"/>
                </a:lnTo>
                <a:lnTo>
                  <a:pt x="516" y="129"/>
                </a:lnTo>
                <a:lnTo>
                  <a:pt x="549" y="152"/>
                </a:lnTo>
                <a:lnTo>
                  <a:pt x="549" y="174"/>
                </a:lnTo>
                <a:lnTo>
                  <a:pt x="520" y="199"/>
                </a:lnTo>
                <a:lnTo>
                  <a:pt x="513" y="237"/>
                </a:lnTo>
                <a:lnTo>
                  <a:pt x="491" y="237"/>
                </a:lnTo>
                <a:lnTo>
                  <a:pt x="462" y="252"/>
                </a:lnTo>
                <a:lnTo>
                  <a:pt x="448" y="259"/>
                </a:lnTo>
                <a:lnTo>
                  <a:pt x="433" y="259"/>
                </a:lnTo>
                <a:lnTo>
                  <a:pt x="368" y="226"/>
                </a:lnTo>
                <a:lnTo>
                  <a:pt x="316" y="226"/>
                </a:lnTo>
                <a:lnTo>
                  <a:pt x="301" y="199"/>
                </a:lnTo>
                <a:lnTo>
                  <a:pt x="271" y="230"/>
                </a:lnTo>
                <a:lnTo>
                  <a:pt x="200" y="230"/>
                </a:lnTo>
                <a:lnTo>
                  <a:pt x="175" y="221"/>
                </a:lnTo>
                <a:lnTo>
                  <a:pt x="171" y="248"/>
                </a:lnTo>
                <a:lnTo>
                  <a:pt x="153" y="232"/>
                </a:lnTo>
                <a:lnTo>
                  <a:pt x="139" y="244"/>
                </a:lnTo>
                <a:lnTo>
                  <a:pt x="83" y="233"/>
                </a:lnTo>
                <a:lnTo>
                  <a:pt x="30" y="268"/>
                </a:lnTo>
                <a:lnTo>
                  <a:pt x="16" y="302"/>
                </a:lnTo>
                <a:lnTo>
                  <a:pt x="9" y="261"/>
                </a:lnTo>
                <a:lnTo>
                  <a:pt x="0" y="192"/>
                </a:lnTo>
                <a:lnTo>
                  <a:pt x="16" y="174"/>
                </a:lnTo>
                <a:lnTo>
                  <a:pt x="16" y="131"/>
                </a:lnTo>
                <a:lnTo>
                  <a:pt x="36" y="102"/>
                </a:lnTo>
                <a:lnTo>
                  <a:pt x="68" y="87"/>
                </a:lnTo>
                <a:lnTo>
                  <a:pt x="101" y="69"/>
                </a:lnTo>
                <a:lnTo>
                  <a:pt x="103" y="96"/>
                </a:lnTo>
                <a:lnTo>
                  <a:pt x="139" y="114"/>
                </a:lnTo>
                <a:lnTo>
                  <a:pt x="160" y="152"/>
                </a:lnTo>
                <a:lnTo>
                  <a:pt x="206" y="152"/>
                </a:lnTo>
                <a:lnTo>
                  <a:pt x="238" y="131"/>
                </a:lnTo>
                <a:lnTo>
                  <a:pt x="231" y="102"/>
                </a:lnTo>
                <a:lnTo>
                  <a:pt x="215" y="67"/>
                </a:lnTo>
                <a:lnTo>
                  <a:pt x="213" y="42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32" name="Estonia"/>
          <p:cNvGrpSpPr/>
          <p:nvPr/>
        </p:nvGrpSpPr>
        <p:grpSpPr>
          <a:xfrm>
            <a:off x="10233551" y="2214246"/>
            <a:ext cx="675007" cy="427038"/>
            <a:chOff x="10254571" y="2214246"/>
            <a:chExt cx="675007" cy="427038"/>
          </a:xfrm>
          <a:solidFill>
            <a:schemeClr val="accent3"/>
          </a:solidFill>
        </p:grpSpPr>
        <p:sp>
          <p:nvSpPr>
            <p:cNvPr id="33" name="Freeform 105"/>
            <p:cNvSpPr>
              <a:spLocks/>
            </p:cNvSpPr>
            <p:nvPr/>
          </p:nvSpPr>
          <p:spPr bwMode="auto">
            <a:xfrm>
              <a:off x="10254571" y="2406650"/>
              <a:ext cx="88900" cy="71438"/>
            </a:xfrm>
            <a:custGeom>
              <a:avLst/>
              <a:gdLst>
                <a:gd name="T0" fmla="*/ 32 w 56"/>
                <a:gd name="T1" fmla="*/ 45 h 45"/>
                <a:gd name="T2" fmla="*/ 20 w 56"/>
                <a:gd name="T3" fmla="*/ 34 h 45"/>
                <a:gd name="T4" fmla="*/ 0 w 56"/>
                <a:gd name="T5" fmla="*/ 23 h 45"/>
                <a:gd name="T6" fmla="*/ 32 w 56"/>
                <a:gd name="T7" fmla="*/ 14 h 45"/>
                <a:gd name="T8" fmla="*/ 32 w 56"/>
                <a:gd name="T9" fmla="*/ 0 h 45"/>
                <a:gd name="T10" fmla="*/ 56 w 56"/>
                <a:gd name="T11" fmla="*/ 9 h 45"/>
                <a:gd name="T12" fmla="*/ 56 w 56"/>
                <a:gd name="T13" fmla="*/ 27 h 45"/>
                <a:gd name="T14" fmla="*/ 56 w 56"/>
                <a:gd name="T15" fmla="*/ 45 h 45"/>
                <a:gd name="T16" fmla="*/ 32 w 56"/>
                <a:gd name="T1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45">
                  <a:moveTo>
                    <a:pt x="32" y="45"/>
                  </a:moveTo>
                  <a:lnTo>
                    <a:pt x="20" y="34"/>
                  </a:lnTo>
                  <a:lnTo>
                    <a:pt x="0" y="23"/>
                  </a:lnTo>
                  <a:lnTo>
                    <a:pt x="32" y="14"/>
                  </a:lnTo>
                  <a:lnTo>
                    <a:pt x="32" y="0"/>
                  </a:lnTo>
                  <a:lnTo>
                    <a:pt x="56" y="9"/>
                  </a:lnTo>
                  <a:lnTo>
                    <a:pt x="56" y="27"/>
                  </a:lnTo>
                  <a:lnTo>
                    <a:pt x="56" y="45"/>
                  </a:lnTo>
                  <a:lnTo>
                    <a:pt x="32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106"/>
            <p:cNvSpPr>
              <a:spLocks/>
            </p:cNvSpPr>
            <p:nvPr/>
          </p:nvSpPr>
          <p:spPr bwMode="auto">
            <a:xfrm>
              <a:off x="10300608" y="2478088"/>
              <a:ext cx="92075" cy="138113"/>
            </a:xfrm>
            <a:custGeom>
              <a:avLst/>
              <a:gdLst>
                <a:gd name="T0" fmla="*/ 5 w 58"/>
                <a:gd name="T1" fmla="*/ 13 h 87"/>
                <a:gd name="T2" fmla="*/ 38 w 58"/>
                <a:gd name="T3" fmla="*/ 0 h 87"/>
                <a:gd name="T4" fmla="*/ 58 w 58"/>
                <a:gd name="T5" fmla="*/ 18 h 87"/>
                <a:gd name="T6" fmla="*/ 52 w 58"/>
                <a:gd name="T7" fmla="*/ 43 h 87"/>
                <a:gd name="T8" fmla="*/ 32 w 58"/>
                <a:gd name="T9" fmla="*/ 58 h 87"/>
                <a:gd name="T10" fmla="*/ 12 w 58"/>
                <a:gd name="T11" fmla="*/ 71 h 87"/>
                <a:gd name="T12" fmla="*/ 5 w 58"/>
                <a:gd name="T13" fmla="*/ 85 h 87"/>
                <a:gd name="T14" fmla="*/ 0 w 58"/>
                <a:gd name="T15" fmla="*/ 87 h 87"/>
                <a:gd name="T16" fmla="*/ 5 w 58"/>
                <a:gd name="T17" fmla="*/ 13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87">
                  <a:moveTo>
                    <a:pt x="5" y="13"/>
                  </a:moveTo>
                  <a:lnTo>
                    <a:pt x="38" y="0"/>
                  </a:lnTo>
                  <a:lnTo>
                    <a:pt x="58" y="18"/>
                  </a:lnTo>
                  <a:lnTo>
                    <a:pt x="52" y="43"/>
                  </a:lnTo>
                  <a:lnTo>
                    <a:pt x="32" y="58"/>
                  </a:lnTo>
                  <a:lnTo>
                    <a:pt x="12" y="71"/>
                  </a:lnTo>
                  <a:lnTo>
                    <a:pt x="5" y="85"/>
                  </a:lnTo>
                  <a:lnTo>
                    <a:pt x="0" y="87"/>
                  </a:lnTo>
                  <a:lnTo>
                    <a:pt x="5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43"/>
            <p:cNvSpPr>
              <a:spLocks/>
            </p:cNvSpPr>
            <p:nvPr/>
          </p:nvSpPr>
          <p:spPr bwMode="auto">
            <a:xfrm>
              <a:off x="10394590" y="2214246"/>
              <a:ext cx="534988" cy="427038"/>
            </a:xfrm>
            <a:custGeom>
              <a:avLst/>
              <a:gdLst>
                <a:gd name="T0" fmla="*/ 301 w 337"/>
                <a:gd name="T1" fmla="*/ 157 h 269"/>
                <a:gd name="T2" fmla="*/ 326 w 337"/>
                <a:gd name="T3" fmla="*/ 168 h 269"/>
                <a:gd name="T4" fmla="*/ 337 w 337"/>
                <a:gd name="T5" fmla="*/ 193 h 269"/>
                <a:gd name="T6" fmla="*/ 326 w 337"/>
                <a:gd name="T7" fmla="*/ 208 h 269"/>
                <a:gd name="T8" fmla="*/ 326 w 337"/>
                <a:gd name="T9" fmla="*/ 229 h 269"/>
                <a:gd name="T10" fmla="*/ 337 w 337"/>
                <a:gd name="T11" fmla="*/ 249 h 269"/>
                <a:gd name="T12" fmla="*/ 320 w 337"/>
                <a:gd name="T13" fmla="*/ 242 h 269"/>
                <a:gd name="T14" fmla="*/ 288 w 337"/>
                <a:gd name="T15" fmla="*/ 242 h 269"/>
                <a:gd name="T16" fmla="*/ 268 w 337"/>
                <a:gd name="T17" fmla="*/ 269 h 269"/>
                <a:gd name="T18" fmla="*/ 243 w 337"/>
                <a:gd name="T19" fmla="*/ 257 h 269"/>
                <a:gd name="T20" fmla="*/ 208 w 337"/>
                <a:gd name="T21" fmla="*/ 235 h 269"/>
                <a:gd name="T22" fmla="*/ 160 w 337"/>
                <a:gd name="T23" fmla="*/ 215 h 269"/>
                <a:gd name="T24" fmla="*/ 100 w 337"/>
                <a:gd name="T25" fmla="*/ 257 h 269"/>
                <a:gd name="T26" fmla="*/ 100 w 337"/>
                <a:gd name="T27" fmla="*/ 239 h 269"/>
                <a:gd name="T28" fmla="*/ 107 w 337"/>
                <a:gd name="T29" fmla="*/ 228 h 269"/>
                <a:gd name="T30" fmla="*/ 109 w 337"/>
                <a:gd name="T31" fmla="*/ 195 h 269"/>
                <a:gd name="T32" fmla="*/ 91 w 337"/>
                <a:gd name="T33" fmla="*/ 183 h 269"/>
                <a:gd name="T34" fmla="*/ 80 w 337"/>
                <a:gd name="T35" fmla="*/ 213 h 269"/>
                <a:gd name="T36" fmla="*/ 62 w 337"/>
                <a:gd name="T37" fmla="*/ 202 h 269"/>
                <a:gd name="T38" fmla="*/ 44 w 337"/>
                <a:gd name="T39" fmla="*/ 208 h 269"/>
                <a:gd name="T40" fmla="*/ 38 w 337"/>
                <a:gd name="T41" fmla="*/ 193 h 269"/>
                <a:gd name="T42" fmla="*/ 44 w 337"/>
                <a:gd name="T43" fmla="*/ 177 h 269"/>
                <a:gd name="T44" fmla="*/ 11 w 337"/>
                <a:gd name="T45" fmla="*/ 157 h 269"/>
                <a:gd name="T46" fmla="*/ 17 w 337"/>
                <a:gd name="T47" fmla="*/ 137 h 269"/>
                <a:gd name="T48" fmla="*/ 0 w 337"/>
                <a:gd name="T49" fmla="*/ 110 h 269"/>
                <a:gd name="T50" fmla="*/ 11 w 337"/>
                <a:gd name="T51" fmla="*/ 90 h 269"/>
                <a:gd name="T52" fmla="*/ 44 w 337"/>
                <a:gd name="T53" fmla="*/ 90 h 269"/>
                <a:gd name="T54" fmla="*/ 40 w 337"/>
                <a:gd name="T55" fmla="*/ 72 h 269"/>
                <a:gd name="T56" fmla="*/ 76 w 337"/>
                <a:gd name="T57" fmla="*/ 52 h 269"/>
                <a:gd name="T58" fmla="*/ 93 w 337"/>
                <a:gd name="T59" fmla="*/ 40 h 269"/>
                <a:gd name="T60" fmla="*/ 103 w 337"/>
                <a:gd name="T61" fmla="*/ 49 h 269"/>
                <a:gd name="T62" fmla="*/ 134 w 337"/>
                <a:gd name="T63" fmla="*/ 40 h 269"/>
                <a:gd name="T64" fmla="*/ 141 w 337"/>
                <a:gd name="T65" fmla="*/ 22 h 269"/>
                <a:gd name="T66" fmla="*/ 163 w 337"/>
                <a:gd name="T67" fmla="*/ 14 h 269"/>
                <a:gd name="T68" fmla="*/ 174 w 337"/>
                <a:gd name="T69" fmla="*/ 22 h 269"/>
                <a:gd name="T70" fmla="*/ 268 w 337"/>
                <a:gd name="T71" fmla="*/ 25 h 269"/>
                <a:gd name="T72" fmla="*/ 288 w 337"/>
                <a:gd name="T73" fmla="*/ 14 h 269"/>
                <a:gd name="T74" fmla="*/ 306 w 337"/>
                <a:gd name="T75" fmla="*/ 0 h 269"/>
                <a:gd name="T76" fmla="*/ 311 w 337"/>
                <a:gd name="T77" fmla="*/ 13 h 269"/>
                <a:gd name="T78" fmla="*/ 293 w 337"/>
                <a:gd name="T79" fmla="*/ 34 h 269"/>
                <a:gd name="T80" fmla="*/ 297 w 337"/>
                <a:gd name="T81" fmla="*/ 60 h 269"/>
                <a:gd name="T82" fmla="*/ 277 w 337"/>
                <a:gd name="T83" fmla="*/ 83 h 269"/>
                <a:gd name="T84" fmla="*/ 288 w 337"/>
                <a:gd name="T85" fmla="*/ 117 h 269"/>
                <a:gd name="T86" fmla="*/ 308 w 337"/>
                <a:gd name="T87" fmla="*/ 123 h 269"/>
                <a:gd name="T88" fmla="*/ 301 w 337"/>
                <a:gd name="T89" fmla="*/ 157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37" h="269">
                  <a:moveTo>
                    <a:pt x="301" y="157"/>
                  </a:moveTo>
                  <a:lnTo>
                    <a:pt x="326" y="168"/>
                  </a:lnTo>
                  <a:lnTo>
                    <a:pt x="337" y="193"/>
                  </a:lnTo>
                  <a:lnTo>
                    <a:pt x="326" y="208"/>
                  </a:lnTo>
                  <a:lnTo>
                    <a:pt x="326" y="229"/>
                  </a:lnTo>
                  <a:lnTo>
                    <a:pt x="337" y="249"/>
                  </a:lnTo>
                  <a:lnTo>
                    <a:pt x="320" y="242"/>
                  </a:lnTo>
                  <a:lnTo>
                    <a:pt x="288" y="242"/>
                  </a:lnTo>
                  <a:lnTo>
                    <a:pt x="268" y="269"/>
                  </a:lnTo>
                  <a:lnTo>
                    <a:pt x="243" y="257"/>
                  </a:lnTo>
                  <a:lnTo>
                    <a:pt x="208" y="235"/>
                  </a:lnTo>
                  <a:lnTo>
                    <a:pt x="160" y="215"/>
                  </a:lnTo>
                  <a:lnTo>
                    <a:pt x="100" y="257"/>
                  </a:lnTo>
                  <a:lnTo>
                    <a:pt x="100" y="239"/>
                  </a:lnTo>
                  <a:lnTo>
                    <a:pt x="107" y="228"/>
                  </a:lnTo>
                  <a:lnTo>
                    <a:pt x="109" y="195"/>
                  </a:lnTo>
                  <a:lnTo>
                    <a:pt x="91" y="183"/>
                  </a:lnTo>
                  <a:lnTo>
                    <a:pt x="80" y="213"/>
                  </a:lnTo>
                  <a:lnTo>
                    <a:pt x="62" y="202"/>
                  </a:lnTo>
                  <a:lnTo>
                    <a:pt x="44" y="208"/>
                  </a:lnTo>
                  <a:lnTo>
                    <a:pt x="38" y="193"/>
                  </a:lnTo>
                  <a:lnTo>
                    <a:pt x="44" y="177"/>
                  </a:lnTo>
                  <a:lnTo>
                    <a:pt x="11" y="157"/>
                  </a:lnTo>
                  <a:lnTo>
                    <a:pt x="17" y="137"/>
                  </a:lnTo>
                  <a:lnTo>
                    <a:pt x="0" y="110"/>
                  </a:lnTo>
                  <a:lnTo>
                    <a:pt x="11" y="90"/>
                  </a:lnTo>
                  <a:lnTo>
                    <a:pt x="44" y="90"/>
                  </a:lnTo>
                  <a:lnTo>
                    <a:pt x="40" y="72"/>
                  </a:lnTo>
                  <a:lnTo>
                    <a:pt x="76" y="52"/>
                  </a:lnTo>
                  <a:lnTo>
                    <a:pt x="93" y="40"/>
                  </a:lnTo>
                  <a:lnTo>
                    <a:pt x="103" y="49"/>
                  </a:lnTo>
                  <a:lnTo>
                    <a:pt x="134" y="40"/>
                  </a:lnTo>
                  <a:lnTo>
                    <a:pt x="141" y="22"/>
                  </a:lnTo>
                  <a:lnTo>
                    <a:pt x="163" y="14"/>
                  </a:lnTo>
                  <a:lnTo>
                    <a:pt x="174" y="22"/>
                  </a:lnTo>
                  <a:lnTo>
                    <a:pt x="268" y="25"/>
                  </a:lnTo>
                  <a:lnTo>
                    <a:pt x="288" y="14"/>
                  </a:lnTo>
                  <a:lnTo>
                    <a:pt x="306" y="0"/>
                  </a:lnTo>
                  <a:lnTo>
                    <a:pt x="311" y="13"/>
                  </a:lnTo>
                  <a:lnTo>
                    <a:pt x="293" y="34"/>
                  </a:lnTo>
                  <a:lnTo>
                    <a:pt x="297" y="60"/>
                  </a:lnTo>
                  <a:lnTo>
                    <a:pt x="277" y="83"/>
                  </a:lnTo>
                  <a:lnTo>
                    <a:pt x="288" y="117"/>
                  </a:lnTo>
                  <a:lnTo>
                    <a:pt x="308" y="123"/>
                  </a:lnTo>
                  <a:lnTo>
                    <a:pt x="301" y="15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6" name="Kosovo"/>
          <p:cNvGrpSpPr/>
          <p:nvPr/>
        </p:nvGrpSpPr>
        <p:grpSpPr>
          <a:xfrm>
            <a:off x="10522476" y="5503863"/>
            <a:ext cx="169863" cy="155857"/>
            <a:chOff x="10543496" y="5503863"/>
            <a:chExt cx="169863" cy="155857"/>
          </a:xfrm>
          <a:solidFill>
            <a:schemeClr val="bg1"/>
          </a:solidFill>
        </p:grpSpPr>
        <p:sp>
          <p:nvSpPr>
            <p:cNvPr id="37" name="Freeform 110"/>
            <p:cNvSpPr>
              <a:spLocks/>
            </p:cNvSpPr>
            <p:nvPr/>
          </p:nvSpPr>
          <p:spPr bwMode="auto">
            <a:xfrm>
              <a:off x="10692721" y="5623720"/>
              <a:ext cx="14288" cy="36000"/>
            </a:xfrm>
            <a:custGeom>
              <a:avLst/>
              <a:gdLst>
                <a:gd name="T0" fmla="*/ 7 w 9"/>
                <a:gd name="T1" fmla="*/ 11 h 11"/>
                <a:gd name="T2" fmla="*/ 0 w 9"/>
                <a:gd name="T3" fmla="*/ 11 h 11"/>
                <a:gd name="T4" fmla="*/ 2 w 9"/>
                <a:gd name="T5" fmla="*/ 0 h 11"/>
                <a:gd name="T6" fmla="*/ 9 w 9"/>
                <a:gd name="T7" fmla="*/ 0 h 11"/>
                <a:gd name="T8" fmla="*/ 7 w 9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7" y="11"/>
                  </a:moveTo>
                  <a:lnTo>
                    <a:pt x="0" y="11"/>
                  </a:lnTo>
                  <a:lnTo>
                    <a:pt x="2" y="0"/>
                  </a:lnTo>
                  <a:lnTo>
                    <a:pt x="9" y="0"/>
                  </a:lnTo>
                  <a:lnTo>
                    <a:pt x="7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Freeform 111"/>
            <p:cNvSpPr>
              <a:spLocks/>
            </p:cNvSpPr>
            <p:nvPr/>
          </p:nvSpPr>
          <p:spPr bwMode="auto">
            <a:xfrm>
              <a:off x="10689546" y="5573713"/>
              <a:ext cx="23813" cy="33338"/>
            </a:xfrm>
            <a:custGeom>
              <a:avLst/>
              <a:gdLst>
                <a:gd name="T0" fmla="*/ 13 w 15"/>
                <a:gd name="T1" fmla="*/ 21 h 21"/>
                <a:gd name="T2" fmla="*/ 6 w 15"/>
                <a:gd name="T3" fmla="*/ 21 h 21"/>
                <a:gd name="T4" fmla="*/ 8 w 15"/>
                <a:gd name="T5" fmla="*/ 12 h 21"/>
                <a:gd name="T6" fmla="*/ 0 w 15"/>
                <a:gd name="T7" fmla="*/ 5 h 21"/>
                <a:gd name="T8" fmla="*/ 6 w 15"/>
                <a:gd name="T9" fmla="*/ 0 h 21"/>
                <a:gd name="T10" fmla="*/ 15 w 15"/>
                <a:gd name="T11" fmla="*/ 9 h 21"/>
                <a:gd name="T12" fmla="*/ 13 w 15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21">
                  <a:moveTo>
                    <a:pt x="13" y="21"/>
                  </a:moveTo>
                  <a:lnTo>
                    <a:pt x="6" y="21"/>
                  </a:lnTo>
                  <a:lnTo>
                    <a:pt x="8" y="12"/>
                  </a:lnTo>
                  <a:lnTo>
                    <a:pt x="0" y="5"/>
                  </a:lnTo>
                  <a:lnTo>
                    <a:pt x="6" y="0"/>
                  </a:lnTo>
                  <a:lnTo>
                    <a:pt x="15" y="9"/>
                  </a:lnTo>
                  <a:lnTo>
                    <a:pt x="13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112"/>
            <p:cNvSpPr>
              <a:spLocks/>
            </p:cNvSpPr>
            <p:nvPr/>
          </p:nvSpPr>
          <p:spPr bwMode="auto">
            <a:xfrm>
              <a:off x="10656208" y="5535613"/>
              <a:ext cx="25400" cy="28575"/>
            </a:xfrm>
            <a:custGeom>
              <a:avLst/>
              <a:gdLst>
                <a:gd name="T0" fmla="*/ 11 w 16"/>
                <a:gd name="T1" fmla="*/ 18 h 18"/>
                <a:gd name="T2" fmla="*/ 0 w 16"/>
                <a:gd name="T3" fmla="*/ 5 h 18"/>
                <a:gd name="T4" fmla="*/ 5 w 16"/>
                <a:gd name="T5" fmla="*/ 0 h 18"/>
                <a:gd name="T6" fmla="*/ 16 w 16"/>
                <a:gd name="T7" fmla="*/ 13 h 18"/>
                <a:gd name="T8" fmla="*/ 11 w 16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8">
                  <a:moveTo>
                    <a:pt x="11" y="18"/>
                  </a:moveTo>
                  <a:lnTo>
                    <a:pt x="0" y="5"/>
                  </a:lnTo>
                  <a:lnTo>
                    <a:pt x="5" y="0"/>
                  </a:lnTo>
                  <a:lnTo>
                    <a:pt x="16" y="13"/>
                  </a:lnTo>
                  <a:lnTo>
                    <a:pt x="1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113"/>
            <p:cNvSpPr>
              <a:spLocks/>
            </p:cNvSpPr>
            <p:nvPr/>
          </p:nvSpPr>
          <p:spPr bwMode="auto">
            <a:xfrm>
              <a:off x="10613346" y="5503863"/>
              <a:ext cx="33338" cy="23813"/>
            </a:xfrm>
            <a:custGeom>
              <a:avLst/>
              <a:gdLst>
                <a:gd name="T0" fmla="*/ 16 w 21"/>
                <a:gd name="T1" fmla="*/ 15 h 15"/>
                <a:gd name="T2" fmla="*/ 11 w 21"/>
                <a:gd name="T3" fmla="*/ 7 h 15"/>
                <a:gd name="T4" fmla="*/ 1 w 21"/>
                <a:gd name="T5" fmla="*/ 11 h 15"/>
                <a:gd name="T6" fmla="*/ 0 w 21"/>
                <a:gd name="T7" fmla="*/ 4 h 15"/>
                <a:gd name="T8" fmla="*/ 11 w 21"/>
                <a:gd name="T9" fmla="*/ 0 h 15"/>
                <a:gd name="T10" fmla="*/ 21 w 21"/>
                <a:gd name="T11" fmla="*/ 9 h 15"/>
                <a:gd name="T12" fmla="*/ 16 w 21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15">
                  <a:moveTo>
                    <a:pt x="16" y="15"/>
                  </a:moveTo>
                  <a:lnTo>
                    <a:pt x="11" y="7"/>
                  </a:lnTo>
                  <a:lnTo>
                    <a:pt x="1" y="11"/>
                  </a:lnTo>
                  <a:lnTo>
                    <a:pt x="0" y="4"/>
                  </a:lnTo>
                  <a:lnTo>
                    <a:pt x="11" y="0"/>
                  </a:lnTo>
                  <a:lnTo>
                    <a:pt x="21" y="9"/>
                  </a:lnTo>
                  <a:lnTo>
                    <a:pt x="16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114"/>
            <p:cNvSpPr>
              <a:spLocks/>
            </p:cNvSpPr>
            <p:nvPr/>
          </p:nvSpPr>
          <p:spPr bwMode="auto">
            <a:xfrm>
              <a:off x="10578421" y="5518150"/>
              <a:ext cx="20638" cy="17463"/>
            </a:xfrm>
            <a:custGeom>
              <a:avLst/>
              <a:gdLst>
                <a:gd name="T0" fmla="*/ 2 w 13"/>
                <a:gd name="T1" fmla="*/ 11 h 11"/>
                <a:gd name="T2" fmla="*/ 0 w 13"/>
                <a:gd name="T3" fmla="*/ 4 h 11"/>
                <a:gd name="T4" fmla="*/ 11 w 13"/>
                <a:gd name="T5" fmla="*/ 0 h 11"/>
                <a:gd name="T6" fmla="*/ 13 w 13"/>
                <a:gd name="T7" fmla="*/ 7 h 11"/>
                <a:gd name="T8" fmla="*/ 2 w 13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1">
                  <a:moveTo>
                    <a:pt x="2" y="11"/>
                  </a:moveTo>
                  <a:lnTo>
                    <a:pt x="0" y="4"/>
                  </a:lnTo>
                  <a:lnTo>
                    <a:pt x="11" y="0"/>
                  </a:lnTo>
                  <a:lnTo>
                    <a:pt x="13" y="7"/>
                  </a:lnTo>
                  <a:lnTo>
                    <a:pt x="2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115"/>
            <p:cNvSpPr>
              <a:spLocks/>
            </p:cNvSpPr>
            <p:nvPr/>
          </p:nvSpPr>
          <p:spPr bwMode="auto">
            <a:xfrm>
              <a:off x="10543496" y="5532438"/>
              <a:ext cx="20638" cy="17463"/>
            </a:xfrm>
            <a:custGeom>
              <a:avLst/>
              <a:gdLst>
                <a:gd name="T0" fmla="*/ 4 w 13"/>
                <a:gd name="T1" fmla="*/ 11 h 11"/>
                <a:gd name="T2" fmla="*/ 0 w 13"/>
                <a:gd name="T3" fmla="*/ 4 h 11"/>
                <a:gd name="T4" fmla="*/ 11 w 13"/>
                <a:gd name="T5" fmla="*/ 0 h 11"/>
                <a:gd name="T6" fmla="*/ 13 w 13"/>
                <a:gd name="T7" fmla="*/ 7 h 11"/>
                <a:gd name="T8" fmla="*/ 4 w 13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1">
                  <a:moveTo>
                    <a:pt x="4" y="11"/>
                  </a:moveTo>
                  <a:lnTo>
                    <a:pt x="0" y="4"/>
                  </a:lnTo>
                  <a:lnTo>
                    <a:pt x="11" y="0"/>
                  </a:lnTo>
                  <a:lnTo>
                    <a:pt x="13" y="7"/>
                  </a:lnTo>
                  <a:lnTo>
                    <a:pt x="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3" name="Montenegro"/>
          <p:cNvSpPr>
            <a:spLocks/>
          </p:cNvSpPr>
          <p:nvPr/>
        </p:nvSpPr>
        <p:spPr bwMode="auto">
          <a:xfrm>
            <a:off x="10230376" y="5414963"/>
            <a:ext cx="295275" cy="322263"/>
          </a:xfrm>
          <a:custGeom>
            <a:avLst/>
            <a:gdLst>
              <a:gd name="T0" fmla="*/ 92 w 186"/>
              <a:gd name="T1" fmla="*/ 0 h 203"/>
              <a:gd name="T2" fmla="*/ 136 w 186"/>
              <a:gd name="T3" fmla="*/ 15 h 203"/>
              <a:gd name="T4" fmla="*/ 148 w 186"/>
              <a:gd name="T5" fmla="*/ 45 h 203"/>
              <a:gd name="T6" fmla="*/ 177 w 186"/>
              <a:gd name="T7" fmla="*/ 56 h 203"/>
              <a:gd name="T8" fmla="*/ 186 w 186"/>
              <a:gd name="T9" fmla="*/ 81 h 203"/>
              <a:gd name="T10" fmla="*/ 170 w 186"/>
              <a:gd name="T11" fmla="*/ 96 h 203"/>
              <a:gd name="T12" fmla="*/ 170 w 186"/>
              <a:gd name="T13" fmla="*/ 119 h 203"/>
              <a:gd name="T14" fmla="*/ 157 w 186"/>
              <a:gd name="T15" fmla="*/ 132 h 203"/>
              <a:gd name="T16" fmla="*/ 139 w 186"/>
              <a:gd name="T17" fmla="*/ 118 h 203"/>
              <a:gd name="T18" fmla="*/ 125 w 186"/>
              <a:gd name="T19" fmla="*/ 143 h 203"/>
              <a:gd name="T20" fmla="*/ 121 w 186"/>
              <a:gd name="T21" fmla="*/ 177 h 203"/>
              <a:gd name="T22" fmla="*/ 103 w 186"/>
              <a:gd name="T23" fmla="*/ 203 h 203"/>
              <a:gd name="T24" fmla="*/ 78 w 186"/>
              <a:gd name="T25" fmla="*/ 197 h 203"/>
              <a:gd name="T26" fmla="*/ 60 w 186"/>
              <a:gd name="T27" fmla="*/ 174 h 203"/>
              <a:gd name="T28" fmla="*/ 47 w 186"/>
              <a:gd name="T29" fmla="*/ 159 h 203"/>
              <a:gd name="T30" fmla="*/ 31 w 186"/>
              <a:gd name="T31" fmla="*/ 183 h 203"/>
              <a:gd name="T32" fmla="*/ 9 w 186"/>
              <a:gd name="T33" fmla="*/ 152 h 203"/>
              <a:gd name="T34" fmla="*/ 0 w 186"/>
              <a:gd name="T35" fmla="*/ 146 h 203"/>
              <a:gd name="T36" fmla="*/ 7 w 186"/>
              <a:gd name="T37" fmla="*/ 123 h 203"/>
              <a:gd name="T38" fmla="*/ 0 w 186"/>
              <a:gd name="T39" fmla="*/ 100 h 203"/>
              <a:gd name="T40" fmla="*/ 20 w 186"/>
              <a:gd name="T41" fmla="*/ 81 h 203"/>
              <a:gd name="T42" fmla="*/ 14 w 186"/>
              <a:gd name="T43" fmla="*/ 58 h 203"/>
              <a:gd name="T44" fmla="*/ 31 w 186"/>
              <a:gd name="T45" fmla="*/ 34 h 203"/>
              <a:gd name="T46" fmla="*/ 85 w 186"/>
              <a:gd name="T47" fmla="*/ 31 h 203"/>
              <a:gd name="T48" fmla="*/ 92 w 186"/>
              <a:gd name="T49" fmla="*/ 0 h 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86" h="203">
                <a:moveTo>
                  <a:pt x="92" y="0"/>
                </a:moveTo>
                <a:lnTo>
                  <a:pt x="136" y="15"/>
                </a:lnTo>
                <a:lnTo>
                  <a:pt x="148" y="45"/>
                </a:lnTo>
                <a:lnTo>
                  <a:pt x="177" y="56"/>
                </a:lnTo>
                <a:lnTo>
                  <a:pt x="186" y="81"/>
                </a:lnTo>
                <a:lnTo>
                  <a:pt x="170" y="96"/>
                </a:lnTo>
                <a:lnTo>
                  <a:pt x="170" y="119"/>
                </a:lnTo>
                <a:lnTo>
                  <a:pt x="157" y="132"/>
                </a:lnTo>
                <a:lnTo>
                  <a:pt x="139" y="118"/>
                </a:lnTo>
                <a:lnTo>
                  <a:pt x="125" y="143"/>
                </a:lnTo>
                <a:lnTo>
                  <a:pt x="121" y="177"/>
                </a:lnTo>
                <a:lnTo>
                  <a:pt x="103" y="203"/>
                </a:lnTo>
                <a:lnTo>
                  <a:pt x="78" y="197"/>
                </a:lnTo>
                <a:lnTo>
                  <a:pt x="60" y="174"/>
                </a:lnTo>
                <a:lnTo>
                  <a:pt x="47" y="159"/>
                </a:lnTo>
                <a:lnTo>
                  <a:pt x="31" y="183"/>
                </a:lnTo>
                <a:lnTo>
                  <a:pt x="9" y="152"/>
                </a:lnTo>
                <a:lnTo>
                  <a:pt x="0" y="146"/>
                </a:lnTo>
                <a:lnTo>
                  <a:pt x="7" y="123"/>
                </a:lnTo>
                <a:lnTo>
                  <a:pt x="0" y="100"/>
                </a:lnTo>
                <a:lnTo>
                  <a:pt x="20" y="81"/>
                </a:lnTo>
                <a:lnTo>
                  <a:pt x="14" y="58"/>
                </a:lnTo>
                <a:lnTo>
                  <a:pt x="31" y="34"/>
                </a:lnTo>
                <a:lnTo>
                  <a:pt x="85" y="31"/>
                </a:lnTo>
                <a:lnTo>
                  <a:pt x="92" y="0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4" name="Croatia"/>
          <p:cNvSpPr>
            <a:spLocks/>
          </p:cNvSpPr>
          <p:nvPr/>
        </p:nvSpPr>
        <p:spPr bwMode="auto">
          <a:xfrm>
            <a:off x="9408051" y="4910138"/>
            <a:ext cx="871538" cy="642938"/>
          </a:xfrm>
          <a:custGeom>
            <a:avLst/>
            <a:gdLst>
              <a:gd name="T0" fmla="*/ 286 w 304"/>
              <a:gd name="T1" fmla="*/ 30 h 224"/>
              <a:gd name="T2" fmla="*/ 257 w 304"/>
              <a:gd name="T3" fmla="*/ 40 h 224"/>
              <a:gd name="T4" fmla="*/ 213 w 304"/>
              <a:gd name="T5" fmla="*/ 31 h 224"/>
              <a:gd name="T6" fmla="*/ 152 w 304"/>
              <a:gd name="T7" fmla="*/ 0 h 224"/>
              <a:gd name="T8" fmla="*/ 134 w 304"/>
              <a:gd name="T9" fmla="*/ 31 h 224"/>
              <a:gd name="T10" fmla="*/ 109 w 304"/>
              <a:gd name="T11" fmla="*/ 58 h 224"/>
              <a:gd name="T12" fmla="*/ 100 w 304"/>
              <a:gd name="T13" fmla="*/ 59 h 224"/>
              <a:gd name="T14" fmla="*/ 42 w 304"/>
              <a:gd name="T15" fmla="*/ 69 h 224"/>
              <a:gd name="T16" fmla="*/ 19 w 304"/>
              <a:gd name="T17" fmla="*/ 75 h 224"/>
              <a:gd name="T18" fmla="*/ 0 w 304"/>
              <a:gd name="T19" fmla="*/ 83 h 224"/>
              <a:gd name="T20" fmla="*/ 7 w 304"/>
              <a:gd name="T21" fmla="*/ 109 h 224"/>
              <a:gd name="T22" fmla="*/ 31 w 304"/>
              <a:gd name="T23" fmla="*/ 112 h 224"/>
              <a:gd name="T24" fmla="*/ 44 w 304"/>
              <a:gd name="T25" fmla="*/ 95 h 224"/>
              <a:gd name="T26" fmla="*/ 54 w 304"/>
              <a:gd name="T27" fmla="*/ 86 h 224"/>
              <a:gd name="T28" fmla="*/ 77 w 304"/>
              <a:gd name="T29" fmla="*/ 104 h 224"/>
              <a:gd name="T30" fmla="*/ 84 w 304"/>
              <a:gd name="T31" fmla="*/ 145 h 224"/>
              <a:gd name="T32" fmla="*/ 98 w 304"/>
              <a:gd name="T33" fmla="*/ 161 h 224"/>
              <a:gd name="T34" fmla="*/ 143 w 304"/>
              <a:gd name="T35" fmla="*/ 188 h 224"/>
              <a:gd name="T36" fmla="*/ 167 w 304"/>
              <a:gd name="T37" fmla="*/ 191 h 224"/>
              <a:gd name="T38" fmla="*/ 191 w 304"/>
              <a:gd name="T39" fmla="*/ 199 h 224"/>
              <a:gd name="T40" fmla="*/ 199 w 304"/>
              <a:gd name="T41" fmla="*/ 212 h 224"/>
              <a:gd name="T42" fmla="*/ 239 w 304"/>
              <a:gd name="T43" fmla="*/ 223 h 224"/>
              <a:gd name="T44" fmla="*/ 239 w 304"/>
              <a:gd name="T45" fmla="*/ 223 h 224"/>
              <a:gd name="T46" fmla="*/ 143 w 304"/>
              <a:gd name="T47" fmla="*/ 160 h 224"/>
              <a:gd name="T48" fmla="*/ 130 w 304"/>
              <a:gd name="T49" fmla="*/ 147 h 224"/>
              <a:gd name="T50" fmla="*/ 133 w 304"/>
              <a:gd name="T51" fmla="*/ 125 h 224"/>
              <a:gd name="T52" fmla="*/ 126 w 304"/>
              <a:gd name="T53" fmla="*/ 94 h 224"/>
              <a:gd name="T54" fmla="*/ 149 w 304"/>
              <a:gd name="T55" fmla="*/ 98 h 224"/>
              <a:gd name="T56" fmla="*/ 180 w 304"/>
              <a:gd name="T57" fmla="*/ 85 h 224"/>
              <a:gd name="T58" fmla="*/ 200 w 304"/>
              <a:gd name="T59" fmla="*/ 86 h 224"/>
              <a:gd name="T60" fmla="*/ 219 w 304"/>
              <a:gd name="T61" fmla="*/ 81 h 224"/>
              <a:gd name="T62" fmla="*/ 245 w 304"/>
              <a:gd name="T63" fmla="*/ 81 h 224"/>
              <a:gd name="T64" fmla="*/ 276 w 304"/>
              <a:gd name="T65" fmla="*/ 81 h 224"/>
              <a:gd name="T66" fmla="*/ 304 w 304"/>
              <a:gd name="T67" fmla="*/ 81 h 224"/>
              <a:gd name="T68" fmla="*/ 286 w 304"/>
              <a:gd name="T69" fmla="*/ 46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04" h="224">
                <a:moveTo>
                  <a:pt x="286" y="46"/>
                </a:moveTo>
                <a:cubicBezTo>
                  <a:pt x="286" y="30"/>
                  <a:pt x="286" y="30"/>
                  <a:pt x="286" y="30"/>
                </a:cubicBezTo>
                <a:cubicBezTo>
                  <a:pt x="279" y="27"/>
                  <a:pt x="279" y="27"/>
                  <a:pt x="279" y="27"/>
                </a:cubicBezTo>
                <a:cubicBezTo>
                  <a:pt x="257" y="40"/>
                  <a:pt x="257" y="40"/>
                  <a:pt x="257" y="40"/>
                </a:cubicBezTo>
                <a:cubicBezTo>
                  <a:pt x="226" y="38"/>
                  <a:pt x="226" y="38"/>
                  <a:pt x="226" y="38"/>
                </a:cubicBezTo>
                <a:cubicBezTo>
                  <a:pt x="213" y="31"/>
                  <a:pt x="213" y="31"/>
                  <a:pt x="213" y="31"/>
                </a:cubicBezTo>
                <a:cubicBezTo>
                  <a:pt x="197" y="36"/>
                  <a:pt x="197" y="36"/>
                  <a:pt x="197" y="36"/>
                </a:cubicBezTo>
                <a:cubicBezTo>
                  <a:pt x="152" y="0"/>
                  <a:pt x="152" y="0"/>
                  <a:pt x="152" y="0"/>
                </a:cubicBezTo>
                <a:cubicBezTo>
                  <a:pt x="149" y="3"/>
                  <a:pt x="149" y="3"/>
                  <a:pt x="149" y="3"/>
                </a:cubicBezTo>
                <a:cubicBezTo>
                  <a:pt x="134" y="31"/>
                  <a:pt x="134" y="31"/>
                  <a:pt x="134" y="31"/>
                </a:cubicBezTo>
                <a:cubicBezTo>
                  <a:pt x="109" y="36"/>
                  <a:pt x="109" y="36"/>
                  <a:pt x="109" y="36"/>
                </a:cubicBezTo>
                <a:cubicBezTo>
                  <a:pt x="109" y="58"/>
                  <a:pt x="109" y="58"/>
                  <a:pt x="109" y="58"/>
                </a:cubicBezTo>
                <a:cubicBezTo>
                  <a:pt x="104" y="62"/>
                  <a:pt x="104" y="62"/>
                  <a:pt x="104" y="62"/>
                </a:cubicBezTo>
                <a:cubicBezTo>
                  <a:pt x="100" y="59"/>
                  <a:pt x="100" y="59"/>
                  <a:pt x="100" y="59"/>
                </a:cubicBezTo>
                <a:cubicBezTo>
                  <a:pt x="63" y="59"/>
                  <a:pt x="63" y="59"/>
                  <a:pt x="63" y="59"/>
                </a:cubicBezTo>
                <a:cubicBezTo>
                  <a:pt x="42" y="69"/>
                  <a:pt x="42" y="69"/>
                  <a:pt x="42" y="69"/>
                </a:cubicBezTo>
                <a:cubicBezTo>
                  <a:pt x="29" y="62"/>
                  <a:pt x="29" y="62"/>
                  <a:pt x="29" y="62"/>
                </a:cubicBezTo>
                <a:cubicBezTo>
                  <a:pt x="19" y="75"/>
                  <a:pt x="19" y="75"/>
                  <a:pt x="19" y="75"/>
                </a:cubicBezTo>
                <a:cubicBezTo>
                  <a:pt x="4" y="76"/>
                  <a:pt x="4" y="76"/>
                  <a:pt x="4" y="76"/>
                </a:cubicBezTo>
                <a:cubicBezTo>
                  <a:pt x="0" y="83"/>
                  <a:pt x="0" y="83"/>
                  <a:pt x="0" y="83"/>
                </a:cubicBezTo>
                <a:cubicBezTo>
                  <a:pt x="6" y="93"/>
                  <a:pt x="6" y="93"/>
                  <a:pt x="6" y="93"/>
                </a:cubicBezTo>
                <a:cubicBezTo>
                  <a:pt x="7" y="109"/>
                  <a:pt x="7" y="109"/>
                  <a:pt x="7" y="109"/>
                </a:cubicBezTo>
                <a:cubicBezTo>
                  <a:pt x="23" y="137"/>
                  <a:pt x="23" y="137"/>
                  <a:pt x="23" y="137"/>
                </a:cubicBezTo>
                <a:cubicBezTo>
                  <a:pt x="31" y="112"/>
                  <a:pt x="31" y="112"/>
                  <a:pt x="31" y="112"/>
                </a:cubicBezTo>
                <a:cubicBezTo>
                  <a:pt x="43" y="112"/>
                  <a:pt x="43" y="112"/>
                  <a:pt x="43" y="112"/>
                </a:cubicBezTo>
                <a:cubicBezTo>
                  <a:pt x="44" y="95"/>
                  <a:pt x="44" y="95"/>
                  <a:pt x="44" y="95"/>
                </a:cubicBezTo>
                <a:cubicBezTo>
                  <a:pt x="45" y="86"/>
                  <a:pt x="45" y="86"/>
                  <a:pt x="45" y="86"/>
                </a:cubicBezTo>
                <a:cubicBezTo>
                  <a:pt x="54" y="86"/>
                  <a:pt x="54" y="86"/>
                  <a:pt x="54" y="86"/>
                </a:cubicBezTo>
                <a:cubicBezTo>
                  <a:pt x="64" y="98"/>
                  <a:pt x="64" y="98"/>
                  <a:pt x="64" y="98"/>
                </a:cubicBezTo>
                <a:cubicBezTo>
                  <a:pt x="77" y="104"/>
                  <a:pt x="77" y="104"/>
                  <a:pt x="77" y="104"/>
                </a:cubicBezTo>
                <a:cubicBezTo>
                  <a:pt x="80" y="131"/>
                  <a:pt x="80" y="131"/>
                  <a:pt x="80" y="131"/>
                </a:cubicBezTo>
                <a:cubicBezTo>
                  <a:pt x="84" y="145"/>
                  <a:pt x="84" y="145"/>
                  <a:pt x="84" y="145"/>
                </a:cubicBezTo>
                <a:cubicBezTo>
                  <a:pt x="96" y="151"/>
                  <a:pt x="96" y="151"/>
                  <a:pt x="96" y="151"/>
                </a:cubicBezTo>
                <a:cubicBezTo>
                  <a:pt x="98" y="161"/>
                  <a:pt x="98" y="161"/>
                  <a:pt x="98" y="161"/>
                </a:cubicBezTo>
                <a:cubicBezTo>
                  <a:pt x="136" y="184"/>
                  <a:pt x="136" y="184"/>
                  <a:pt x="136" y="184"/>
                </a:cubicBezTo>
                <a:cubicBezTo>
                  <a:pt x="143" y="188"/>
                  <a:pt x="143" y="188"/>
                  <a:pt x="143" y="188"/>
                </a:cubicBezTo>
                <a:cubicBezTo>
                  <a:pt x="147" y="201"/>
                  <a:pt x="147" y="201"/>
                  <a:pt x="147" y="201"/>
                </a:cubicBezTo>
                <a:cubicBezTo>
                  <a:pt x="167" y="191"/>
                  <a:pt x="167" y="191"/>
                  <a:pt x="167" y="191"/>
                </a:cubicBezTo>
                <a:cubicBezTo>
                  <a:pt x="173" y="201"/>
                  <a:pt x="173" y="201"/>
                  <a:pt x="173" y="201"/>
                </a:cubicBezTo>
                <a:cubicBezTo>
                  <a:pt x="191" y="199"/>
                  <a:pt x="191" y="199"/>
                  <a:pt x="191" y="199"/>
                </a:cubicBezTo>
                <a:cubicBezTo>
                  <a:pt x="196" y="202"/>
                  <a:pt x="196" y="202"/>
                  <a:pt x="196" y="202"/>
                </a:cubicBezTo>
                <a:cubicBezTo>
                  <a:pt x="199" y="212"/>
                  <a:pt x="199" y="212"/>
                  <a:pt x="199" y="212"/>
                </a:cubicBezTo>
                <a:cubicBezTo>
                  <a:pt x="225" y="222"/>
                  <a:pt x="225" y="222"/>
                  <a:pt x="225" y="222"/>
                </a:cubicBezTo>
                <a:cubicBezTo>
                  <a:pt x="239" y="223"/>
                  <a:pt x="239" y="223"/>
                  <a:pt x="239" y="223"/>
                </a:cubicBezTo>
                <a:cubicBezTo>
                  <a:pt x="239" y="224"/>
                  <a:pt x="239" y="224"/>
                  <a:pt x="239" y="224"/>
                </a:cubicBezTo>
                <a:cubicBezTo>
                  <a:pt x="239" y="223"/>
                  <a:pt x="239" y="223"/>
                  <a:pt x="239" y="223"/>
                </a:cubicBezTo>
                <a:cubicBezTo>
                  <a:pt x="181" y="187"/>
                  <a:pt x="181" y="187"/>
                  <a:pt x="181" y="187"/>
                </a:cubicBezTo>
                <a:cubicBezTo>
                  <a:pt x="143" y="160"/>
                  <a:pt x="143" y="160"/>
                  <a:pt x="143" y="160"/>
                </a:cubicBezTo>
                <a:cubicBezTo>
                  <a:pt x="134" y="156"/>
                  <a:pt x="134" y="156"/>
                  <a:pt x="134" y="156"/>
                </a:cubicBezTo>
                <a:cubicBezTo>
                  <a:pt x="130" y="147"/>
                  <a:pt x="130" y="147"/>
                  <a:pt x="130" y="147"/>
                </a:cubicBezTo>
                <a:cubicBezTo>
                  <a:pt x="130" y="135"/>
                  <a:pt x="130" y="135"/>
                  <a:pt x="130" y="135"/>
                </a:cubicBezTo>
                <a:cubicBezTo>
                  <a:pt x="133" y="125"/>
                  <a:pt x="133" y="125"/>
                  <a:pt x="133" y="125"/>
                </a:cubicBezTo>
                <a:cubicBezTo>
                  <a:pt x="133" y="113"/>
                  <a:pt x="133" y="113"/>
                  <a:pt x="133" y="113"/>
                </a:cubicBezTo>
                <a:cubicBezTo>
                  <a:pt x="126" y="94"/>
                  <a:pt x="126" y="94"/>
                  <a:pt x="126" y="94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49" y="98"/>
                  <a:pt x="149" y="98"/>
                  <a:pt x="149" y="98"/>
                </a:cubicBezTo>
                <a:cubicBezTo>
                  <a:pt x="165" y="81"/>
                  <a:pt x="165" y="81"/>
                  <a:pt x="165" y="81"/>
                </a:cubicBezTo>
                <a:cubicBezTo>
                  <a:pt x="180" y="85"/>
                  <a:pt x="180" y="85"/>
                  <a:pt x="180" y="85"/>
                </a:cubicBezTo>
                <a:cubicBezTo>
                  <a:pt x="185" y="76"/>
                  <a:pt x="185" y="76"/>
                  <a:pt x="185" y="76"/>
                </a:cubicBezTo>
                <a:cubicBezTo>
                  <a:pt x="200" y="86"/>
                  <a:pt x="200" y="86"/>
                  <a:pt x="200" y="86"/>
                </a:cubicBezTo>
                <a:cubicBezTo>
                  <a:pt x="209" y="81"/>
                  <a:pt x="209" y="81"/>
                  <a:pt x="209" y="81"/>
                </a:cubicBezTo>
                <a:cubicBezTo>
                  <a:pt x="219" y="81"/>
                  <a:pt x="219" y="81"/>
                  <a:pt x="219" y="81"/>
                </a:cubicBezTo>
                <a:cubicBezTo>
                  <a:pt x="233" y="92"/>
                  <a:pt x="233" y="92"/>
                  <a:pt x="233" y="92"/>
                </a:cubicBezTo>
                <a:cubicBezTo>
                  <a:pt x="245" y="81"/>
                  <a:pt x="245" y="81"/>
                  <a:pt x="245" y="81"/>
                </a:cubicBezTo>
                <a:cubicBezTo>
                  <a:pt x="257" y="76"/>
                  <a:pt x="257" y="76"/>
                  <a:pt x="257" y="76"/>
                </a:cubicBezTo>
                <a:cubicBezTo>
                  <a:pt x="276" y="81"/>
                  <a:pt x="276" y="81"/>
                  <a:pt x="276" y="81"/>
                </a:cubicBezTo>
                <a:cubicBezTo>
                  <a:pt x="276" y="81"/>
                  <a:pt x="285" y="89"/>
                  <a:pt x="285" y="91"/>
                </a:cubicBezTo>
                <a:cubicBezTo>
                  <a:pt x="288" y="89"/>
                  <a:pt x="304" y="81"/>
                  <a:pt x="304" y="81"/>
                </a:cubicBezTo>
                <a:cubicBezTo>
                  <a:pt x="304" y="58"/>
                  <a:pt x="304" y="58"/>
                  <a:pt x="304" y="58"/>
                </a:cubicBezTo>
                <a:lnTo>
                  <a:pt x="286" y="46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5" name="Slovenia"/>
          <p:cNvSpPr>
            <a:spLocks/>
          </p:cNvSpPr>
          <p:nvPr/>
        </p:nvSpPr>
        <p:spPr bwMode="auto">
          <a:xfrm>
            <a:off x="9390588" y="4864100"/>
            <a:ext cx="452438" cy="252413"/>
          </a:xfrm>
          <a:custGeom>
            <a:avLst/>
            <a:gdLst>
              <a:gd name="T0" fmla="*/ 207 w 285"/>
              <a:gd name="T1" fmla="*/ 94 h 159"/>
              <a:gd name="T2" fmla="*/ 253 w 285"/>
              <a:gd name="T3" fmla="*/ 85 h 159"/>
              <a:gd name="T4" fmla="*/ 280 w 285"/>
              <a:gd name="T5" fmla="*/ 35 h 159"/>
              <a:gd name="T6" fmla="*/ 285 w 285"/>
              <a:gd name="T7" fmla="*/ 29 h 159"/>
              <a:gd name="T8" fmla="*/ 247 w 285"/>
              <a:gd name="T9" fmla="*/ 0 h 159"/>
              <a:gd name="T10" fmla="*/ 193 w 285"/>
              <a:gd name="T11" fmla="*/ 20 h 159"/>
              <a:gd name="T12" fmla="*/ 146 w 285"/>
              <a:gd name="T13" fmla="*/ 6 h 159"/>
              <a:gd name="T14" fmla="*/ 117 w 285"/>
              <a:gd name="T15" fmla="*/ 44 h 159"/>
              <a:gd name="T16" fmla="*/ 47 w 285"/>
              <a:gd name="T17" fmla="*/ 38 h 159"/>
              <a:gd name="T18" fmla="*/ 0 w 285"/>
              <a:gd name="T19" fmla="*/ 62 h 159"/>
              <a:gd name="T20" fmla="*/ 34 w 285"/>
              <a:gd name="T21" fmla="*/ 80 h 159"/>
              <a:gd name="T22" fmla="*/ 18 w 285"/>
              <a:gd name="T23" fmla="*/ 103 h 159"/>
              <a:gd name="T24" fmla="*/ 61 w 285"/>
              <a:gd name="T25" fmla="*/ 141 h 159"/>
              <a:gd name="T26" fmla="*/ 85 w 285"/>
              <a:gd name="T27" fmla="*/ 154 h 159"/>
              <a:gd name="T28" fmla="*/ 126 w 285"/>
              <a:gd name="T29" fmla="*/ 145 h 159"/>
              <a:gd name="T30" fmla="*/ 175 w 285"/>
              <a:gd name="T31" fmla="*/ 159 h 159"/>
              <a:gd name="T32" fmla="*/ 207 w 285"/>
              <a:gd name="T33" fmla="*/ 134 h 159"/>
              <a:gd name="T34" fmla="*/ 207 w 285"/>
              <a:gd name="T35" fmla="*/ 94 h 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85" h="159">
                <a:moveTo>
                  <a:pt x="207" y="94"/>
                </a:moveTo>
                <a:lnTo>
                  <a:pt x="253" y="85"/>
                </a:lnTo>
                <a:lnTo>
                  <a:pt x="280" y="35"/>
                </a:lnTo>
                <a:lnTo>
                  <a:pt x="285" y="29"/>
                </a:lnTo>
                <a:lnTo>
                  <a:pt x="247" y="0"/>
                </a:lnTo>
                <a:lnTo>
                  <a:pt x="193" y="20"/>
                </a:lnTo>
                <a:lnTo>
                  <a:pt x="146" y="6"/>
                </a:lnTo>
                <a:lnTo>
                  <a:pt x="117" y="44"/>
                </a:lnTo>
                <a:lnTo>
                  <a:pt x="47" y="38"/>
                </a:lnTo>
                <a:lnTo>
                  <a:pt x="0" y="62"/>
                </a:lnTo>
                <a:lnTo>
                  <a:pt x="34" y="80"/>
                </a:lnTo>
                <a:lnTo>
                  <a:pt x="18" y="103"/>
                </a:lnTo>
                <a:lnTo>
                  <a:pt x="61" y="141"/>
                </a:lnTo>
                <a:lnTo>
                  <a:pt x="85" y="154"/>
                </a:lnTo>
                <a:lnTo>
                  <a:pt x="126" y="145"/>
                </a:lnTo>
                <a:lnTo>
                  <a:pt x="175" y="159"/>
                </a:lnTo>
                <a:lnTo>
                  <a:pt x="207" y="134"/>
                </a:lnTo>
                <a:lnTo>
                  <a:pt x="207" y="94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6" name="Switzerland"/>
          <p:cNvSpPr>
            <a:spLocks/>
          </p:cNvSpPr>
          <p:nvPr/>
        </p:nvSpPr>
        <p:spPr bwMode="auto">
          <a:xfrm>
            <a:off x="8285688" y="4695825"/>
            <a:ext cx="714375" cy="381000"/>
          </a:xfrm>
          <a:custGeom>
            <a:avLst/>
            <a:gdLst>
              <a:gd name="T0" fmla="*/ 137 w 249"/>
              <a:gd name="T1" fmla="*/ 0 h 133"/>
              <a:gd name="T2" fmla="*/ 151 w 249"/>
              <a:gd name="T3" fmla="*/ 9 h 133"/>
              <a:gd name="T4" fmla="*/ 171 w 249"/>
              <a:gd name="T5" fmla="*/ 8 h 133"/>
              <a:gd name="T6" fmla="*/ 186 w 249"/>
              <a:gd name="T7" fmla="*/ 18 h 133"/>
              <a:gd name="T8" fmla="*/ 191 w 249"/>
              <a:gd name="T9" fmla="*/ 29 h 133"/>
              <a:gd name="T10" fmla="*/ 180 w 249"/>
              <a:gd name="T11" fmla="*/ 43 h 133"/>
              <a:gd name="T12" fmla="*/ 193 w 249"/>
              <a:gd name="T13" fmla="*/ 55 h 133"/>
              <a:gd name="T14" fmla="*/ 206 w 249"/>
              <a:gd name="T15" fmla="*/ 62 h 133"/>
              <a:gd name="T16" fmla="*/ 232 w 249"/>
              <a:gd name="T17" fmla="*/ 63 h 133"/>
              <a:gd name="T18" fmla="*/ 242 w 249"/>
              <a:gd name="T19" fmla="*/ 50 h 133"/>
              <a:gd name="T20" fmla="*/ 249 w 249"/>
              <a:gd name="T21" fmla="*/ 62 h 133"/>
              <a:gd name="T22" fmla="*/ 238 w 249"/>
              <a:gd name="T23" fmla="*/ 70 h 133"/>
              <a:gd name="T24" fmla="*/ 236 w 249"/>
              <a:gd name="T25" fmla="*/ 88 h 133"/>
              <a:gd name="T26" fmla="*/ 222 w 249"/>
              <a:gd name="T27" fmla="*/ 77 h 133"/>
              <a:gd name="T28" fmla="*/ 212 w 249"/>
              <a:gd name="T29" fmla="*/ 83 h 133"/>
              <a:gd name="T30" fmla="*/ 222 w 249"/>
              <a:gd name="T31" fmla="*/ 102 h 133"/>
              <a:gd name="T32" fmla="*/ 215 w 249"/>
              <a:gd name="T33" fmla="*/ 111 h 133"/>
              <a:gd name="T34" fmla="*/ 204 w 249"/>
              <a:gd name="T35" fmla="*/ 95 h 133"/>
              <a:gd name="T36" fmla="*/ 187 w 249"/>
              <a:gd name="T37" fmla="*/ 102 h 133"/>
              <a:gd name="T38" fmla="*/ 177 w 249"/>
              <a:gd name="T39" fmla="*/ 83 h 133"/>
              <a:gd name="T40" fmla="*/ 172 w 249"/>
              <a:gd name="T41" fmla="*/ 88 h 133"/>
              <a:gd name="T42" fmla="*/ 172 w 249"/>
              <a:gd name="T43" fmla="*/ 103 h 133"/>
              <a:gd name="T44" fmla="*/ 156 w 249"/>
              <a:gd name="T45" fmla="*/ 118 h 133"/>
              <a:gd name="T46" fmla="*/ 167 w 249"/>
              <a:gd name="T47" fmla="*/ 127 h 133"/>
              <a:gd name="T48" fmla="*/ 159 w 249"/>
              <a:gd name="T49" fmla="*/ 133 h 133"/>
              <a:gd name="T50" fmla="*/ 147 w 249"/>
              <a:gd name="T51" fmla="*/ 127 h 133"/>
              <a:gd name="T52" fmla="*/ 147 w 249"/>
              <a:gd name="T53" fmla="*/ 110 h 133"/>
              <a:gd name="T54" fmla="*/ 132 w 249"/>
              <a:gd name="T55" fmla="*/ 107 h 133"/>
              <a:gd name="T56" fmla="*/ 122 w 249"/>
              <a:gd name="T57" fmla="*/ 93 h 133"/>
              <a:gd name="T58" fmla="*/ 102 w 249"/>
              <a:gd name="T59" fmla="*/ 124 h 133"/>
              <a:gd name="T60" fmla="*/ 46 w 249"/>
              <a:gd name="T61" fmla="*/ 126 h 133"/>
              <a:gd name="T62" fmla="*/ 39 w 249"/>
              <a:gd name="T63" fmla="*/ 85 h 133"/>
              <a:gd name="T64" fmla="*/ 11 w 249"/>
              <a:gd name="T65" fmla="*/ 89 h 133"/>
              <a:gd name="T66" fmla="*/ 0 w 249"/>
              <a:gd name="T67" fmla="*/ 102 h 133"/>
              <a:gd name="T68" fmla="*/ 2 w 249"/>
              <a:gd name="T69" fmla="*/ 81 h 133"/>
              <a:gd name="T70" fmla="*/ 28 w 249"/>
              <a:gd name="T71" fmla="*/ 50 h 133"/>
              <a:gd name="T72" fmla="*/ 86 w 249"/>
              <a:gd name="T73" fmla="*/ 13 h 133"/>
              <a:gd name="T74" fmla="*/ 106 w 249"/>
              <a:gd name="T75" fmla="*/ 14 h 133"/>
              <a:gd name="T76" fmla="*/ 133 w 249"/>
              <a:gd name="T77" fmla="*/ 17 h 133"/>
              <a:gd name="T78" fmla="*/ 137 w 249"/>
              <a:gd name="T79" fmla="*/ 0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49" h="133">
                <a:moveTo>
                  <a:pt x="137" y="0"/>
                </a:moveTo>
                <a:cubicBezTo>
                  <a:pt x="151" y="9"/>
                  <a:pt x="151" y="9"/>
                  <a:pt x="151" y="9"/>
                </a:cubicBezTo>
                <a:cubicBezTo>
                  <a:pt x="171" y="8"/>
                  <a:pt x="171" y="8"/>
                  <a:pt x="171" y="8"/>
                </a:cubicBezTo>
                <a:cubicBezTo>
                  <a:pt x="186" y="18"/>
                  <a:pt x="186" y="18"/>
                  <a:pt x="186" y="18"/>
                </a:cubicBezTo>
                <a:cubicBezTo>
                  <a:pt x="191" y="29"/>
                  <a:pt x="191" y="29"/>
                  <a:pt x="191" y="29"/>
                </a:cubicBezTo>
                <a:cubicBezTo>
                  <a:pt x="180" y="43"/>
                  <a:pt x="180" y="43"/>
                  <a:pt x="180" y="43"/>
                </a:cubicBezTo>
                <a:cubicBezTo>
                  <a:pt x="193" y="55"/>
                  <a:pt x="193" y="55"/>
                  <a:pt x="193" y="55"/>
                </a:cubicBezTo>
                <a:cubicBezTo>
                  <a:pt x="206" y="62"/>
                  <a:pt x="206" y="62"/>
                  <a:pt x="206" y="62"/>
                </a:cubicBezTo>
                <a:cubicBezTo>
                  <a:pt x="232" y="63"/>
                  <a:pt x="232" y="63"/>
                  <a:pt x="232" y="63"/>
                </a:cubicBezTo>
                <a:cubicBezTo>
                  <a:pt x="242" y="50"/>
                  <a:pt x="242" y="50"/>
                  <a:pt x="242" y="50"/>
                </a:cubicBezTo>
                <a:cubicBezTo>
                  <a:pt x="249" y="62"/>
                  <a:pt x="249" y="62"/>
                  <a:pt x="249" y="62"/>
                </a:cubicBezTo>
                <a:cubicBezTo>
                  <a:pt x="238" y="70"/>
                  <a:pt x="238" y="70"/>
                  <a:pt x="238" y="70"/>
                </a:cubicBezTo>
                <a:cubicBezTo>
                  <a:pt x="236" y="88"/>
                  <a:pt x="236" y="88"/>
                  <a:pt x="236" y="88"/>
                </a:cubicBezTo>
                <a:cubicBezTo>
                  <a:pt x="222" y="77"/>
                  <a:pt x="222" y="77"/>
                  <a:pt x="222" y="77"/>
                </a:cubicBezTo>
                <a:cubicBezTo>
                  <a:pt x="212" y="83"/>
                  <a:pt x="212" y="83"/>
                  <a:pt x="212" y="83"/>
                </a:cubicBezTo>
                <a:cubicBezTo>
                  <a:pt x="222" y="102"/>
                  <a:pt x="222" y="102"/>
                  <a:pt x="222" y="102"/>
                </a:cubicBezTo>
                <a:cubicBezTo>
                  <a:pt x="215" y="111"/>
                  <a:pt x="215" y="111"/>
                  <a:pt x="215" y="111"/>
                </a:cubicBezTo>
                <a:cubicBezTo>
                  <a:pt x="204" y="95"/>
                  <a:pt x="204" y="95"/>
                  <a:pt x="204" y="95"/>
                </a:cubicBezTo>
                <a:cubicBezTo>
                  <a:pt x="187" y="102"/>
                  <a:pt x="187" y="102"/>
                  <a:pt x="187" y="102"/>
                </a:cubicBezTo>
                <a:cubicBezTo>
                  <a:pt x="177" y="83"/>
                  <a:pt x="177" y="83"/>
                  <a:pt x="177" y="83"/>
                </a:cubicBezTo>
                <a:cubicBezTo>
                  <a:pt x="172" y="88"/>
                  <a:pt x="172" y="88"/>
                  <a:pt x="172" y="88"/>
                </a:cubicBezTo>
                <a:cubicBezTo>
                  <a:pt x="172" y="103"/>
                  <a:pt x="172" y="103"/>
                  <a:pt x="172" y="103"/>
                </a:cubicBezTo>
                <a:cubicBezTo>
                  <a:pt x="156" y="118"/>
                  <a:pt x="156" y="118"/>
                  <a:pt x="156" y="118"/>
                </a:cubicBezTo>
                <a:cubicBezTo>
                  <a:pt x="167" y="127"/>
                  <a:pt x="167" y="127"/>
                  <a:pt x="167" y="127"/>
                </a:cubicBezTo>
                <a:cubicBezTo>
                  <a:pt x="159" y="133"/>
                  <a:pt x="159" y="133"/>
                  <a:pt x="159" y="133"/>
                </a:cubicBezTo>
                <a:cubicBezTo>
                  <a:pt x="147" y="127"/>
                  <a:pt x="147" y="127"/>
                  <a:pt x="147" y="127"/>
                </a:cubicBezTo>
                <a:cubicBezTo>
                  <a:pt x="147" y="110"/>
                  <a:pt x="147" y="110"/>
                  <a:pt x="147" y="110"/>
                </a:cubicBezTo>
                <a:cubicBezTo>
                  <a:pt x="132" y="107"/>
                  <a:pt x="132" y="107"/>
                  <a:pt x="132" y="107"/>
                </a:cubicBezTo>
                <a:cubicBezTo>
                  <a:pt x="122" y="93"/>
                  <a:pt x="122" y="93"/>
                  <a:pt x="122" y="93"/>
                </a:cubicBezTo>
                <a:cubicBezTo>
                  <a:pt x="102" y="124"/>
                  <a:pt x="102" y="124"/>
                  <a:pt x="102" y="124"/>
                </a:cubicBezTo>
                <a:cubicBezTo>
                  <a:pt x="102" y="124"/>
                  <a:pt x="45" y="126"/>
                  <a:pt x="46" y="126"/>
                </a:cubicBezTo>
                <a:cubicBezTo>
                  <a:pt x="48" y="126"/>
                  <a:pt x="39" y="85"/>
                  <a:pt x="39" y="85"/>
                </a:cubicBezTo>
                <a:cubicBezTo>
                  <a:pt x="11" y="89"/>
                  <a:pt x="11" y="89"/>
                  <a:pt x="11" y="89"/>
                </a:cubicBezTo>
                <a:cubicBezTo>
                  <a:pt x="0" y="102"/>
                  <a:pt x="0" y="102"/>
                  <a:pt x="0" y="102"/>
                </a:cubicBezTo>
                <a:cubicBezTo>
                  <a:pt x="2" y="81"/>
                  <a:pt x="2" y="81"/>
                  <a:pt x="2" y="81"/>
                </a:cubicBezTo>
                <a:cubicBezTo>
                  <a:pt x="28" y="50"/>
                  <a:pt x="28" y="50"/>
                  <a:pt x="28" y="50"/>
                </a:cubicBezTo>
                <a:cubicBezTo>
                  <a:pt x="86" y="13"/>
                  <a:pt x="86" y="13"/>
                  <a:pt x="86" y="13"/>
                </a:cubicBezTo>
                <a:cubicBezTo>
                  <a:pt x="106" y="14"/>
                  <a:pt x="106" y="14"/>
                  <a:pt x="106" y="14"/>
                </a:cubicBezTo>
                <a:cubicBezTo>
                  <a:pt x="133" y="17"/>
                  <a:pt x="133" y="17"/>
                  <a:pt x="133" y="17"/>
                </a:cubicBezTo>
                <a:lnTo>
                  <a:pt x="137" y="0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7" name="ANDORRA"/>
          <p:cNvSpPr>
            <a:spLocks noChangeArrowheads="1"/>
          </p:cNvSpPr>
          <p:nvPr/>
        </p:nvSpPr>
        <p:spPr bwMode="auto">
          <a:xfrm>
            <a:off x="7425263" y="5492750"/>
            <a:ext cx="244475" cy="2460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8" name="Portugal"/>
          <p:cNvSpPr>
            <a:spLocks/>
          </p:cNvSpPr>
          <p:nvPr/>
        </p:nvSpPr>
        <p:spPr bwMode="auto">
          <a:xfrm>
            <a:off x="5561538" y="5446713"/>
            <a:ext cx="693738" cy="989013"/>
          </a:xfrm>
          <a:custGeom>
            <a:avLst/>
            <a:gdLst>
              <a:gd name="T0" fmla="*/ 159 w 437"/>
              <a:gd name="T1" fmla="*/ 107 h 623"/>
              <a:gd name="T2" fmla="*/ 159 w 437"/>
              <a:gd name="T3" fmla="*/ 61 h 623"/>
              <a:gd name="T4" fmla="*/ 148 w 437"/>
              <a:gd name="T5" fmla="*/ 34 h 623"/>
              <a:gd name="T6" fmla="*/ 179 w 437"/>
              <a:gd name="T7" fmla="*/ 0 h 623"/>
              <a:gd name="T8" fmla="*/ 229 w 437"/>
              <a:gd name="T9" fmla="*/ 0 h 623"/>
              <a:gd name="T10" fmla="*/ 260 w 437"/>
              <a:gd name="T11" fmla="*/ 14 h 623"/>
              <a:gd name="T12" fmla="*/ 242 w 437"/>
              <a:gd name="T13" fmla="*/ 40 h 623"/>
              <a:gd name="T14" fmla="*/ 280 w 437"/>
              <a:gd name="T15" fmla="*/ 38 h 623"/>
              <a:gd name="T16" fmla="*/ 331 w 437"/>
              <a:gd name="T17" fmla="*/ 58 h 623"/>
              <a:gd name="T18" fmla="*/ 341 w 437"/>
              <a:gd name="T19" fmla="*/ 43 h 623"/>
              <a:gd name="T20" fmla="*/ 401 w 437"/>
              <a:gd name="T21" fmla="*/ 51 h 623"/>
              <a:gd name="T22" fmla="*/ 396 w 437"/>
              <a:gd name="T23" fmla="*/ 96 h 623"/>
              <a:gd name="T24" fmla="*/ 437 w 437"/>
              <a:gd name="T25" fmla="*/ 94 h 623"/>
              <a:gd name="T26" fmla="*/ 437 w 437"/>
              <a:gd name="T27" fmla="*/ 126 h 623"/>
              <a:gd name="T28" fmla="*/ 340 w 437"/>
              <a:gd name="T29" fmla="*/ 154 h 623"/>
              <a:gd name="T30" fmla="*/ 347 w 437"/>
              <a:gd name="T31" fmla="*/ 179 h 623"/>
              <a:gd name="T32" fmla="*/ 332 w 437"/>
              <a:gd name="T33" fmla="*/ 246 h 623"/>
              <a:gd name="T34" fmla="*/ 314 w 437"/>
              <a:gd name="T35" fmla="*/ 239 h 623"/>
              <a:gd name="T36" fmla="*/ 311 w 437"/>
              <a:gd name="T37" fmla="*/ 273 h 623"/>
              <a:gd name="T38" fmla="*/ 294 w 437"/>
              <a:gd name="T39" fmla="*/ 318 h 623"/>
              <a:gd name="T40" fmla="*/ 238 w 437"/>
              <a:gd name="T41" fmla="*/ 314 h 623"/>
              <a:gd name="T42" fmla="*/ 278 w 437"/>
              <a:gd name="T43" fmla="*/ 378 h 623"/>
              <a:gd name="T44" fmla="*/ 276 w 437"/>
              <a:gd name="T45" fmla="*/ 405 h 623"/>
              <a:gd name="T46" fmla="*/ 226 w 437"/>
              <a:gd name="T47" fmla="*/ 454 h 623"/>
              <a:gd name="T48" fmla="*/ 273 w 437"/>
              <a:gd name="T49" fmla="*/ 506 h 623"/>
              <a:gd name="T50" fmla="*/ 219 w 437"/>
              <a:gd name="T51" fmla="*/ 506 h 623"/>
              <a:gd name="T52" fmla="*/ 179 w 437"/>
              <a:gd name="T53" fmla="*/ 556 h 623"/>
              <a:gd name="T54" fmla="*/ 188 w 437"/>
              <a:gd name="T55" fmla="*/ 600 h 623"/>
              <a:gd name="T56" fmla="*/ 121 w 437"/>
              <a:gd name="T57" fmla="*/ 623 h 623"/>
              <a:gd name="T58" fmla="*/ 58 w 437"/>
              <a:gd name="T59" fmla="*/ 584 h 623"/>
              <a:gd name="T60" fmla="*/ 0 w 437"/>
              <a:gd name="T61" fmla="*/ 593 h 623"/>
              <a:gd name="T62" fmla="*/ 29 w 437"/>
              <a:gd name="T63" fmla="*/ 544 h 623"/>
              <a:gd name="T64" fmla="*/ 47 w 437"/>
              <a:gd name="T65" fmla="*/ 504 h 623"/>
              <a:gd name="T66" fmla="*/ 34 w 437"/>
              <a:gd name="T67" fmla="*/ 470 h 623"/>
              <a:gd name="T68" fmla="*/ 60 w 437"/>
              <a:gd name="T69" fmla="*/ 450 h 623"/>
              <a:gd name="T70" fmla="*/ 56 w 437"/>
              <a:gd name="T71" fmla="*/ 417 h 623"/>
              <a:gd name="T72" fmla="*/ 16 w 437"/>
              <a:gd name="T73" fmla="*/ 419 h 623"/>
              <a:gd name="T74" fmla="*/ 0 w 437"/>
              <a:gd name="T75" fmla="*/ 369 h 623"/>
              <a:gd name="T76" fmla="*/ 25 w 437"/>
              <a:gd name="T77" fmla="*/ 329 h 623"/>
              <a:gd name="T78" fmla="*/ 27 w 437"/>
              <a:gd name="T79" fmla="*/ 296 h 623"/>
              <a:gd name="T80" fmla="*/ 60 w 437"/>
              <a:gd name="T81" fmla="*/ 296 h 623"/>
              <a:gd name="T82" fmla="*/ 101 w 437"/>
              <a:gd name="T83" fmla="*/ 248 h 623"/>
              <a:gd name="T84" fmla="*/ 110 w 437"/>
              <a:gd name="T85" fmla="*/ 199 h 623"/>
              <a:gd name="T86" fmla="*/ 166 w 437"/>
              <a:gd name="T87" fmla="*/ 143 h 623"/>
              <a:gd name="T88" fmla="*/ 159 w 437"/>
              <a:gd name="T89" fmla="*/ 107 h 6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437" h="623">
                <a:moveTo>
                  <a:pt x="159" y="107"/>
                </a:moveTo>
                <a:lnTo>
                  <a:pt x="159" y="61"/>
                </a:lnTo>
                <a:lnTo>
                  <a:pt x="148" y="34"/>
                </a:lnTo>
                <a:lnTo>
                  <a:pt x="179" y="0"/>
                </a:lnTo>
                <a:lnTo>
                  <a:pt x="229" y="0"/>
                </a:lnTo>
                <a:lnTo>
                  <a:pt x="260" y="14"/>
                </a:lnTo>
                <a:lnTo>
                  <a:pt x="242" y="40"/>
                </a:lnTo>
                <a:lnTo>
                  <a:pt x="280" y="38"/>
                </a:lnTo>
                <a:lnTo>
                  <a:pt x="331" y="58"/>
                </a:lnTo>
                <a:lnTo>
                  <a:pt x="341" y="43"/>
                </a:lnTo>
                <a:lnTo>
                  <a:pt x="401" y="51"/>
                </a:lnTo>
                <a:lnTo>
                  <a:pt x="396" y="96"/>
                </a:lnTo>
                <a:lnTo>
                  <a:pt x="437" y="94"/>
                </a:lnTo>
                <a:lnTo>
                  <a:pt x="437" y="126"/>
                </a:lnTo>
                <a:lnTo>
                  <a:pt x="340" y="154"/>
                </a:lnTo>
                <a:lnTo>
                  <a:pt x="347" y="179"/>
                </a:lnTo>
                <a:lnTo>
                  <a:pt x="332" y="246"/>
                </a:lnTo>
                <a:lnTo>
                  <a:pt x="314" y="239"/>
                </a:lnTo>
                <a:lnTo>
                  <a:pt x="311" y="273"/>
                </a:lnTo>
                <a:lnTo>
                  <a:pt x="294" y="318"/>
                </a:lnTo>
                <a:lnTo>
                  <a:pt x="238" y="314"/>
                </a:lnTo>
                <a:lnTo>
                  <a:pt x="278" y="378"/>
                </a:lnTo>
                <a:lnTo>
                  <a:pt x="276" y="405"/>
                </a:lnTo>
                <a:lnTo>
                  <a:pt x="226" y="454"/>
                </a:lnTo>
                <a:lnTo>
                  <a:pt x="273" y="506"/>
                </a:lnTo>
                <a:lnTo>
                  <a:pt x="219" y="506"/>
                </a:lnTo>
                <a:lnTo>
                  <a:pt x="179" y="556"/>
                </a:lnTo>
                <a:lnTo>
                  <a:pt x="188" y="600"/>
                </a:lnTo>
                <a:lnTo>
                  <a:pt x="121" y="623"/>
                </a:lnTo>
                <a:lnTo>
                  <a:pt x="58" y="584"/>
                </a:lnTo>
                <a:lnTo>
                  <a:pt x="0" y="593"/>
                </a:lnTo>
                <a:lnTo>
                  <a:pt x="29" y="544"/>
                </a:lnTo>
                <a:lnTo>
                  <a:pt x="47" y="504"/>
                </a:lnTo>
                <a:lnTo>
                  <a:pt x="34" y="470"/>
                </a:lnTo>
                <a:lnTo>
                  <a:pt x="60" y="450"/>
                </a:lnTo>
                <a:lnTo>
                  <a:pt x="56" y="417"/>
                </a:lnTo>
                <a:lnTo>
                  <a:pt x="16" y="419"/>
                </a:lnTo>
                <a:lnTo>
                  <a:pt x="0" y="369"/>
                </a:lnTo>
                <a:lnTo>
                  <a:pt x="25" y="329"/>
                </a:lnTo>
                <a:lnTo>
                  <a:pt x="27" y="296"/>
                </a:lnTo>
                <a:lnTo>
                  <a:pt x="60" y="296"/>
                </a:lnTo>
                <a:lnTo>
                  <a:pt x="101" y="248"/>
                </a:lnTo>
                <a:lnTo>
                  <a:pt x="110" y="199"/>
                </a:lnTo>
                <a:lnTo>
                  <a:pt x="166" y="143"/>
                </a:lnTo>
                <a:lnTo>
                  <a:pt x="159" y="107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9" name="Spain"/>
          <p:cNvSpPr>
            <a:spLocks/>
          </p:cNvSpPr>
          <p:nvPr/>
        </p:nvSpPr>
        <p:spPr bwMode="auto">
          <a:xfrm>
            <a:off x="5825063" y="5143500"/>
            <a:ext cx="1965325" cy="1547813"/>
          </a:xfrm>
          <a:custGeom>
            <a:avLst/>
            <a:gdLst>
              <a:gd name="T0" fmla="*/ 638 w 1238"/>
              <a:gd name="T1" fmla="*/ 133 h 975"/>
              <a:gd name="T2" fmla="*/ 710 w 1238"/>
              <a:gd name="T3" fmla="*/ 169 h 975"/>
              <a:gd name="T4" fmla="*/ 779 w 1238"/>
              <a:gd name="T5" fmla="*/ 178 h 975"/>
              <a:gd name="T6" fmla="*/ 842 w 1238"/>
              <a:gd name="T7" fmla="*/ 224 h 975"/>
              <a:gd name="T8" fmla="*/ 914 w 1238"/>
              <a:gd name="T9" fmla="*/ 269 h 975"/>
              <a:gd name="T10" fmla="*/ 999 w 1238"/>
              <a:gd name="T11" fmla="*/ 256 h 975"/>
              <a:gd name="T12" fmla="*/ 1061 w 1238"/>
              <a:gd name="T13" fmla="*/ 298 h 975"/>
              <a:gd name="T14" fmla="*/ 1095 w 1238"/>
              <a:gd name="T15" fmla="*/ 316 h 975"/>
              <a:gd name="T16" fmla="*/ 1173 w 1238"/>
              <a:gd name="T17" fmla="*/ 345 h 975"/>
              <a:gd name="T18" fmla="*/ 1227 w 1238"/>
              <a:gd name="T19" fmla="*/ 397 h 975"/>
              <a:gd name="T20" fmla="*/ 1100 w 1238"/>
              <a:gd name="T21" fmla="*/ 469 h 975"/>
              <a:gd name="T22" fmla="*/ 958 w 1238"/>
              <a:gd name="T23" fmla="*/ 500 h 975"/>
              <a:gd name="T24" fmla="*/ 934 w 1238"/>
              <a:gd name="T25" fmla="*/ 532 h 975"/>
              <a:gd name="T26" fmla="*/ 826 w 1238"/>
              <a:gd name="T27" fmla="*/ 713 h 975"/>
              <a:gd name="T28" fmla="*/ 860 w 1238"/>
              <a:gd name="T29" fmla="*/ 753 h 975"/>
              <a:gd name="T30" fmla="*/ 763 w 1238"/>
              <a:gd name="T31" fmla="*/ 829 h 975"/>
              <a:gd name="T32" fmla="*/ 748 w 1238"/>
              <a:gd name="T33" fmla="*/ 869 h 975"/>
              <a:gd name="T34" fmla="*/ 703 w 1238"/>
              <a:gd name="T35" fmla="*/ 860 h 975"/>
              <a:gd name="T36" fmla="*/ 593 w 1238"/>
              <a:gd name="T37" fmla="*/ 943 h 975"/>
              <a:gd name="T38" fmla="*/ 562 w 1238"/>
              <a:gd name="T39" fmla="*/ 934 h 975"/>
              <a:gd name="T40" fmla="*/ 481 w 1238"/>
              <a:gd name="T41" fmla="*/ 926 h 975"/>
              <a:gd name="T42" fmla="*/ 338 w 1238"/>
              <a:gd name="T43" fmla="*/ 908 h 975"/>
              <a:gd name="T44" fmla="*/ 239 w 1238"/>
              <a:gd name="T45" fmla="*/ 925 h 975"/>
              <a:gd name="T46" fmla="*/ 165 w 1238"/>
              <a:gd name="T47" fmla="*/ 975 h 975"/>
              <a:gd name="T48" fmla="*/ 116 w 1238"/>
              <a:gd name="T49" fmla="*/ 908 h 975"/>
              <a:gd name="T50" fmla="*/ 116 w 1238"/>
              <a:gd name="T51" fmla="*/ 838 h 975"/>
              <a:gd name="T52" fmla="*/ 22 w 1238"/>
              <a:gd name="T53" fmla="*/ 791 h 975"/>
              <a:gd name="T54" fmla="*/ 53 w 1238"/>
              <a:gd name="T55" fmla="*/ 697 h 975"/>
              <a:gd name="T56" fmla="*/ 60 w 1238"/>
              <a:gd name="T57" fmla="*/ 645 h 975"/>
              <a:gd name="T58" fmla="*/ 112 w 1238"/>
              <a:gd name="T59" fmla="*/ 569 h 975"/>
              <a:gd name="T60" fmla="*/ 128 w 1238"/>
              <a:gd name="T61" fmla="*/ 509 h 975"/>
              <a:gd name="T62" fmla="*/ 148 w 1238"/>
              <a:gd name="T63" fmla="*/ 430 h 975"/>
              <a:gd name="T64" fmla="*/ 181 w 1238"/>
              <a:gd name="T65" fmla="*/ 370 h 975"/>
              <a:gd name="T66" fmla="*/ 271 w 1238"/>
              <a:gd name="T67" fmla="*/ 317 h 975"/>
              <a:gd name="T68" fmla="*/ 230 w 1238"/>
              <a:gd name="T69" fmla="*/ 287 h 975"/>
              <a:gd name="T70" fmla="*/ 175 w 1238"/>
              <a:gd name="T71" fmla="*/ 234 h 975"/>
              <a:gd name="T72" fmla="*/ 114 w 1238"/>
              <a:gd name="T73" fmla="*/ 229 h 975"/>
              <a:gd name="T74" fmla="*/ 94 w 1238"/>
              <a:gd name="T75" fmla="*/ 205 h 975"/>
              <a:gd name="T76" fmla="*/ 13 w 1238"/>
              <a:gd name="T77" fmla="*/ 191 h 975"/>
              <a:gd name="T78" fmla="*/ 54 w 1238"/>
              <a:gd name="T79" fmla="*/ 108 h 975"/>
              <a:gd name="T80" fmla="*/ 13 w 1238"/>
              <a:gd name="T81" fmla="*/ 110 h 975"/>
              <a:gd name="T82" fmla="*/ 27 w 1238"/>
              <a:gd name="T83" fmla="*/ 45 h 975"/>
              <a:gd name="T84" fmla="*/ 157 w 1238"/>
              <a:gd name="T85" fmla="*/ 0 h 975"/>
              <a:gd name="T86" fmla="*/ 190 w 1238"/>
              <a:gd name="T87" fmla="*/ 10 h 975"/>
              <a:gd name="T88" fmla="*/ 268 w 1238"/>
              <a:gd name="T89" fmla="*/ 56 h 975"/>
              <a:gd name="T90" fmla="*/ 356 w 1238"/>
              <a:gd name="T91" fmla="*/ 57 h 975"/>
              <a:gd name="T92" fmla="*/ 477 w 1238"/>
              <a:gd name="T93" fmla="*/ 121 h 975"/>
              <a:gd name="T94" fmla="*/ 542 w 1238"/>
              <a:gd name="T95" fmla="*/ 113 h 975"/>
              <a:gd name="T96" fmla="*/ 609 w 1238"/>
              <a:gd name="T97" fmla="*/ 157 h 9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238" h="975">
                <a:moveTo>
                  <a:pt x="609" y="157"/>
                </a:moveTo>
                <a:lnTo>
                  <a:pt x="638" y="133"/>
                </a:lnTo>
                <a:lnTo>
                  <a:pt x="672" y="157"/>
                </a:lnTo>
                <a:lnTo>
                  <a:pt x="710" y="169"/>
                </a:lnTo>
                <a:lnTo>
                  <a:pt x="763" y="162"/>
                </a:lnTo>
                <a:lnTo>
                  <a:pt x="779" y="178"/>
                </a:lnTo>
                <a:lnTo>
                  <a:pt x="779" y="204"/>
                </a:lnTo>
                <a:lnTo>
                  <a:pt x="842" y="224"/>
                </a:lnTo>
                <a:lnTo>
                  <a:pt x="898" y="252"/>
                </a:lnTo>
                <a:lnTo>
                  <a:pt x="914" y="269"/>
                </a:lnTo>
                <a:lnTo>
                  <a:pt x="990" y="278"/>
                </a:lnTo>
                <a:lnTo>
                  <a:pt x="999" y="256"/>
                </a:lnTo>
                <a:lnTo>
                  <a:pt x="1046" y="281"/>
                </a:lnTo>
                <a:lnTo>
                  <a:pt x="1061" y="298"/>
                </a:lnTo>
                <a:lnTo>
                  <a:pt x="1061" y="316"/>
                </a:lnTo>
                <a:lnTo>
                  <a:pt x="1095" y="316"/>
                </a:lnTo>
                <a:lnTo>
                  <a:pt x="1109" y="327"/>
                </a:lnTo>
                <a:lnTo>
                  <a:pt x="1173" y="345"/>
                </a:lnTo>
                <a:lnTo>
                  <a:pt x="1238" y="345"/>
                </a:lnTo>
                <a:lnTo>
                  <a:pt x="1227" y="397"/>
                </a:lnTo>
                <a:lnTo>
                  <a:pt x="1129" y="444"/>
                </a:lnTo>
                <a:lnTo>
                  <a:pt x="1100" y="469"/>
                </a:lnTo>
                <a:lnTo>
                  <a:pt x="1001" y="478"/>
                </a:lnTo>
                <a:lnTo>
                  <a:pt x="958" y="500"/>
                </a:lnTo>
                <a:lnTo>
                  <a:pt x="967" y="523"/>
                </a:lnTo>
                <a:lnTo>
                  <a:pt x="934" y="532"/>
                </a:lnTo>
                <a:lnTo>
                  <a:pt x="837" y="637"/>
                </a:lnTo>
                <a:lnTo>
                  <a:pt x="826" y="713"/>
                </a:lnTo>
                <a:lnTo>
                  <a:pt x="867" y="735"/>
                </a:lnTo>
                <a:lnTo>
                  <a:pt x="860" y="753"/>
                </a:lnTo>
                <a:lnTo>
                  <a:pt x="786" y="782"/>
                </a:lnTo>
                <a:lnTo>
                  <a:pt x="763" y="829"/>
                </a:lnTo>
                <a:lnTo>
                  <a:pt x="739" y="840"/>
                </a:lnTo>
                <a:lnTo>
                  <a:pt x="748" y="869"/>
                </a:lnTo>
                <a:lnTo>
                  <a:pt x="732" y="878"/>
                </a:lnTo>
                <a:lnTo>
                  <a:pt x="703" y="860"/>
                </a:lnTo>
                <a:lnTo>
                  <a:pt x="631" y="896"/>
                </a:lnTo>
                <a:lnTo>
                  <a:pt x="593" y="943"/>
                </a:lnTo>
                <a:lnTo>
                  <a:pt x="584" y="964"/>
                </a:lnTo>
                <a:lnTo>
                  <a:pt x="562" y="934"/>
                </a:lnTo>
                <a:lnTo>
                  <a:pt x="517" y="944"/>
                </a:lnTo>
                <a:lnTo>
                  <a:pt x="481" y="926"/>
                </a:lnTo>
                <a:lnTo>
                  <a:pt x="448" y="934"/>
                </a:lnTo>
                <a:lnTo>
                  <a:pt x="338" y="908"/>
                </a:lnTo>
                <a:lnTo>
                  <a:pt x="295" y="941"/>
                </a:lnTo>
                <a:lnTo>
                  <a:pt x="239" y="925"/>
                </a:lnTo>
                <a:lnTo>
                  <a:pt x="202" y="964"/>
                </a:lnTo>
                <a:lnTo>
                  <a:pt x="165" y="975"/>
                </a:lnTo>
                <a:lnTo>
                  <a:pt x="143" y="941"/>
                </a:lnTo>
                <a:lnTo>
                  <a:pt x="116" y="908"/>
                </a:lnTo>
                <a:lnTo>
                  <a:pt x="116" y="869"/>
                </a:lnTo>
                <a:lnTo>
                  <a:pt x="116" y="838"/>
                </a:lnTo>
                <a:lnTo>
                  <a:pt x="76" y="814"/>
                </a:lnTo>
                <a:lnTo>
                  <a:pt x="22" y="791"/>
                </a:lnTo>
                <a:lnTo>
                  <a:pt x="13" y="747"/>
                </a:lnTo>
                <a:lnTo>
                  <a:pt x="53" y="697"/>
                </a:lnTo>
                <a:lnTo>
                  <a:pt x="107" y="697"/>
                </a:lnTo>
                <a:lnTo>
                  <a:pt x="60" y="645"/>
                </a:lnTo>
                <a:lnTo>
                  <a:pt x="110" y="596"/>
                </a:lnTo>
                <a:lnTo>
                  <a:pt x="112" y="569"/>
                </a:lnTo>
                <a:lnTo>
                  <a:pt x="72" y="505"/>
                </a:lnTo>
                <a:lnTo>
                  <a:pt x="128" y="509"/>
                </a:lnTo>
                <a:lnTo>
                  <a:pt x="145" y="464"/>
                </a:lnTo>
                <a:lnTo>
                  <a:pt x="148" y="430"/>
                </a:lnTo>
                <a:lnTo>
                  <a:pt x="166" y="437"/>
                </a:lnTo>
                <a:lnTo>
                  <a:pt x="181" y="370"/>
                </a:lnTo>
                <a:lnTo>
                  <a:pt x="174" y="345"/>
                </a:lnTo>
                <a:lnTo>
                  <a:pt x="271" y="317"/>
                </a:lnTo>
                <a:lnTo>
                  <a:pt x="271" y="285"/>
                </a:lnTo>
                <a:lnTo>
                  <a:pt x="230" y="287"/>
                </a:lnTo>
                <a:lnTo>
                  <a:pt x="235" y="242"/>
                </a:lnTo>
                <a:lnTo>
                  <a:pt x="175" y="234"/>
                </a:lnTo>
                <a:lnTo>
                  <a:pt x="165" y="249"/>
                </a:lnTo>
                <a:lnTo>
                  <a:pt x="114" y="229"/>
                </a:lnTo>
                <a:lnTo>
                  <a:pt x="76" y="231"/>
                </a:lnTo>
                <a:lnTo>
                  <a:pt x="94" y="205"/>
                </a:lnTo>
                <a:lnTo>
                  <a:pt x="63" y="191"/>
                </a:lnTo>
                <a:lnTo>
                  <a:pt x="13" y="191"/>
                </a:lnTo>
                <a:lnTo>
                  <a:pt x="29" y="140"/>
                </a:lnTo>
                <a:lnTo>
                  <a:pt x="54" y="108"/>
                </a:lnTo>
                <a:lnTo>
                  <a:pt x="53" y="88"/>
                </a:lnTo>
                <a:lnTo>
                  <a:pt x="13" y="110"/>
                </a:lnTo>
                <a:lnTo>
                  <a:pt x="0" y="63"/>
                </a:lnTo>
                <a:lnTo>
                  <a:pt x="27" y="45"/>
                </a:lnTo>
                <a:lnTo>
                  <a:pt x="103" y="32"/>
                </a:lnTo>
                <a:lnTo>
                  <a:pt x="157" y="0"/>
                </a:lnTo>
                <a:lnTo>
                  <a:pt x="170" y="21"/>
                </a:lnTo>
                <a:lnTo>
                  <a:pt x="190" y="10"/>
                </a:lnTo>
                <a:lnTo>
                  <a:pt x="224" y="43"/>
                </a:lnTo>
                <a:lnTo>
                  <a:pt x="268" y="56"/>
                </a:lnTo>
                <a:lnTo>
                  <a:pt x="325" y="63"/>
                </a:lnTo>
                <a:lnTo>
                  <a:pt x="356" y="57"/>
                </a:lnTo>
                <a:lnTo>
                  <a:pt x="381" y="81"/>
                </a:lnTo>
                <a:lnTo>
                  <a:pt x="477" y="121"/>
                </a:lnTo>
                <a:lnTo>
                  <a:pt x="537" y="128"/>
                </a:lnTo>
                <a:lnTo>
                  <a:pt x="542" y="113"/>
                </a:lnTo>
                <a:lnTo>
                  <a:pt x="584" y="119"/>
                </a:lnTo>
                <a:lnTo>
                  <a:pt x="609" y="157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0" name="France"/>
          <p:cNvSpPr>
            <a:spLocks/>
          </p:cNvSpPr>
          <p:nvPr/>
        </p:nvSpPr>
        <p:spPr bwMode="auto">
          <a:xfrm>
            <a:off x="6752163" y="4013200"/>
            <a:ext cx="1889125" cy="1677988"/>
          </a:xfrm>
          <a:custGeom>
            <a:avLst/>
            <a:gdLst>
              <a:gd name="T0" fmla="*/ 246 w 659"/>
              <a:gd name="T1" fmla="*/ 109 h 585"/>
              <a:gd name="T2" fmla="*/ 336 w 659"/>
              <a:gd name="T3" fmla="*/ 64 h 585"/>
              <a:gd name="T4" fmla="*/ 386 w 659"/>
              <a:gd name="T5" fmla="*/ 0 h 585"/>
              <a:gd name="T6" fmla="*/ 454 w 659"/>
              <a:gd name="T7" fmla="*/ 54 h 585"/>
              <a:gd name="T8" fmla="*/ 490 w 659"/>
              <a:gd name="T9" fmla="*/ 73 h 585"/>
              <a:gd name="T10" fmla="*/ 551 w 659"/>
              <a:gd name="T11" fmla="*/ 120 h 585"/>
              <a:gd name="T12" fmla="*/ 594 w 659"/>
              <a:gd name="T13" fmla="*/ 150 h 585"/>
              <a:gd name="T14" fmla="*/ 628 w 659"/>
              <a:gd name="T15" fmla="*/ 200 h 585"/>
              <a:gd name="T16" fmla="*/ 563 w 659"/>
              <a:gd name="T17" fmla="*/ 288 h 585"/>
              <a:gd name="T18" fmla="*/ 535 w 659"/>
              <a:gd name="T19" fmla="*/ 340 h 585"/>
              <a:gd name="T20" fmla="*/ 575 w 659"/>
              <a:gd name="T21" fmla="*/ 323 h 585"/>
              <a:gd name="T22" fmla="*/ 568 w 659"/>
              <a:gd name="T23" fmla="*/ 370 h 585"/>
              <a:gd name="T24" fmla="*/ 567 w 659"/>
              <a:gd name="T25" fmla="*/ 414 h 585"/>
              <a:gd name="T26" fmla="*/ 575 w 659"/>
              <a:gd name="T27" fmla="*/ 466 h 585"/>
              <a:gd name="T28" fmla="*/ 606 w 659"/>
              <a:gd name="T29" fmla="*/ 507 h 585"/>
              <a:gd name="T30" fmla="*/ 488 w 659"/>
              <a:gd name="T31" fmla="*/ 536 h 585"/>
              <a:gd name="T32" fmla="*/ 450 w 659"/>
              <a:gd name="T33" fmla="*/ 528 h 585"/>
              <a:gd name="T34" fmla="*/ 362 w 659"/>
              <a:gd name="T35" fmla="*/ 529 h 585"/>
              <a:gd name="T36" fmla="*/ 362 w 659"/>
              <a:gd name="T37" fmla="*/ 585 h 585"/>
              <a:gd name="T38" fmla="*/ 291 w 659"/>
              <a:gd name="T39" fmla="*/ 575 h 585"/>
              <a:gd name="T40" fmla="*/ 264 w 659"/>
              <a:gd name="T41" fmla="*/ 559 h 585"/>
              <a:gd name="T42" fmla="*/ 230 w 659"/>
              <a:gd name="T43" fmla="*/ 536 h 585"/>
              <a:gd name="T44" fmla="*/ 183 w 659"/>
              <a:gd name="T45" fmla="*/ 543 h 585"/>
              <a:gd name="T46" fmla="*/ 143 w 659"/>
              <a:gd name="T47" fmla="*/ 518 h 585"/>
              <a:gd name="T48" fmla="*/ 108 w 659"/>
              <a:gd name="T49" fmla="*/ 493 h 585"/>
              <a:gd name="T50" fmla="*/ 121 w 659"/>
              <a:gd name="T51" fmla="*/ 463 h 585"/>
              <a:gd name="T52" fmla="*/ 151 w 659"/>
              <a:gd name="T53" fmla="*/ 351 h 585"/>
              <a:gd name="T54" fmla="*/ 155 w 659"/>
              <a:gd name="T55" fmla="*/ 337 h 585"/>
              <a:gd name="T56" fmla="*/ 159 w 659"/>
              <a:gd name="T57" fmla="*/ 296 h 585"/>
              <a:gd name="T58" fmla="*/ 126 w 659"/>
              <a:gd name="T59" fmla="*/ 266 h 585"/>
              <a:gd name="T60" fmla="*/ 122 w 659"/>
              <a:gd name="T61" fmla="*/ 242 h 585"/>
              <a:gd name="T62" fmla="*/ 113 w 659"/>
              <a:gd name="T63" fmla="*/ 207 h 585"/>
              <a:gd name="T64" fmla="*/ 45 w 659"/>
              <a:gd name="T65" fmla="*/ 177 h 585"/>
              <a:gd name="T66" fmla="*/ 0 w 659"/>
              <a:gd name="T67" fmla="*/ 156 h 585"/>
              <a:gd name="T68" fmla="*/ 5 w 659"/>
              <a:gd name="T69" fmla="*/ 132 h 585"/>
              <a:gd name="T70" fmla="*/ 43 w 659"/>
              <a:gd name="T71" fmla="*/ 111 h 585"/>
              <a:gd name="T72" fmla="*/ 85 w 659"/>
              <a:gd name="T73" fmla="*/ 110 h 585"/>
              <a:gd name="T74" fmla="*/ 123 w 659"/>
              <a:gd name="T75" fmla="*/ 126 h 585"/>
              <a:gd name="T76" fmla="*/ 172 w 659"/>
              <a:gd name="T77" fmla="*/ 143 h 585"/>
              <a:gd name="T78" fmla="*/ 174 w 659"/>
              <a:gd name="T79" fmla="*/ 100 h 585"/>
              <a:gd name="T80" fmla="*/ 163 w 659"/>
              <a:gd name="T81" fmla="*/ 65 h 585"/>
              <a:gd name="T82" fmla="*/ 188 w 659"/>
              <a:gd name="T83" fmla="*/ 94 h 5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659" h="585">
                <a:moveTo>
                  <a:pt x="201" y="92"/>
                </a:moveTo>
                <a:cubicBezTo>
                  <a:pt x="246" y="109"/>
                  <a:pt x="246" y="109"/>
                  <a:pt x="246" y="109"/>
                </a:cubicBezTo>
                <a:cubicBezTo>
                  <a:pt x="262" y="80"/>
                  <a:pt x="262" y="80"/>
                  <a:pt x="262" y="80"/>
                </a:cubicBezTo>
                <a:cubicBezTo>
                  <a:pt x="336" y="64"/>
                  <a:pt x="336" y="64"/>
                  <a:pt x="336" y="64"/>
                </a:cubicBezTo>
                <a:cubicBezTo>
                  <a:pt x="339" y="6"/>
                  <a:pt x="339" y="6"/>
                  <a:pt x="339" y="6"/>
                </a:cubicBezTo>
                <a:cubicBezTo>
                  <a:pt x="386" y="0"/>
                  <a:pt x="386" y="0"/>
                  <a:pt x="386" y="0"/>
                </a:cubicBezTo>
                <a:cubicBezTo>
                  <a:pt x="408" y="29"/>
                  <a:pt x="408" y="29"/>
                  <a:pt x="408" y="29"/>
                </a:cubicBezTo>
                <a:cubicBezTo>
                  <a:pt x="454" y="54"/>
                  <a:pt x="454" y="54"/>
                  <a:pt x="454" y="54"/>
                </a:cubicBezTo>
                <a:cubicBezTo>
                  <a:pt x="464" y="82"/>
                  <a:pt x="464" y="82"/>
                  <a:pt x="464" y="82"/>
                </a:cubicBezTo>
                <a:cubicBezTo>
                  <a:pt x="490" y="73"/>
                  <a:pt x="490" y="73"/>
                  <a:pt x="490" y="73"/>
                </a:cubicBezTo>
                <a:cubicBezTo>
                  <a:pt x="522" y="120"/>
                  <a:pt x="522" y="120"/>
                  <a:pt x="522" y="120"/>
                </a:cubicBezTo>
                <a:cubicBezTo>
                  <a:pt x="551" y="120"/>
                  <a:pt x="551" y="120"/>
                  <a:pt x="551" y="120"/>
                </a:cubicBezTo>
                <a:cubicBezTo>
                  <a:pt x="571" y="122"/>
                  <a:pt x="571" y="122"/>
                  <a:pt x="571" y="122"/>
                </a:cubicBezTo>
                <a:cubicBezTo>
                  <a:pt x="594" y="150"/>
                  <a:pt x="594" y="150"/>
                  <a:pt x="594" y="150"/>
                </a:cubicBezTo>
                <a:cubicBezTo>
                  <a:pt x="659" y="153"/>
                  <a:pt x="659" y="153"/>
                  <a:pt x="659" y="153"/>
                </a:cubicBezTo>
                <a:cubicBezTo>
                  <a:pt x="628" y="200"/>
                  <a:pt x="628" y="200"/>
                  <a:pt x="628" y="200"/>
                </a:cubicBezTo>
                <a:cubicBezTo>
                  <a:pt x="621" y="251"/>
                  <a:pt x="621" y="251"/>
                  <a:pt x="621" y="251"/>
                </a:cubicBezTo>
                <a:cubicBezTo>
                  <a:pt x="563" y="288"/>
                  <a:pt x="563" y="288"/>
                  <a:pt x="563" y="288"/>
                </a:cubicBezTo>
                <a:cubicBezTo>
                  <a:pt x="537" y="319"/>
                  <a:pt x="537" y="319"/>
                  <a:pt x="537" y="319"/>
                </a:cubicBezTo>
                <a:cubicBezTo>
                  <a:pt x="535" y="340"/>
                  <a:pt x="535" y="340"/>
                  <a:pt x="535" y="340"/>
                </a:cubicBezTo>
                <a:cubicBezTo>
                  <a:pt x="549" y="324"/>
                  <a:pt x="549" y="324"/>
                  <a:pt x="549" y="324"/>
                </a:cubicBezTo>
                <a:cubicBezTo>
                  <a:pt x="575" y="323"/>
                  <a:pt x="575" y="323"/>
                  <a:pt x="575" y="323"/>
                </a:cubicBezTo>
                <a:cubicBezTo>
                  <a:pt x="583" y="364"/>
                  <a:pt x="583" y="364"/>
                  <a:pt x="583" y="364"/>
                </a:cubicBezTo>
                <a:cubicBezTo>
                  <a:pt x="568" y="370"/>
                  <a:pt x="568" y="370"/>
                  <a:pt x="568" y="370"/>
                </a:cubicBezTo>
                <a:cubicBezTo>
                  <a:pt x="590" y="389"/>
                  <a:pt x="590" y="389"/>
                  <a:pt x="590" y="389"/>
                </a:cubicBezTo>
                <a:cubicBezTo>
                  <a:pt x="567" y="414"/>
                  <a:pt x="567" y="414"/>
                  <a:pt x="567" y="414"/>
                </a:cubicBezTo>
                <a:cubicBezTo>
                  <a:pt x="581" y="434"/>
                  <a:pt x="581" y="434"/>
                  <a:pt x="581" y="434"/>
                </a:cubicBezTo>
                <a:cubicBezTo>
                  <a:pt x="575" y="466"/>
                  <a:pt x="575" y="466"/>
                  <a:pt x="575" y="466"/>
                </a:cubicBezTo>
                <a:cubicBezTo>
                  <a:pt x="619" y="473"/>
                  <a:pt x="619" y="473"/>
                  <a:pt x="619" y="473"/>
                </a:cubicBezTo>
                <a:cubicBezTo>
                  <a:pt x="606" y="507"/>
                  <a:pt x="606" y="507"/>
                  <a:pt x="606" y="507"/>
                </a:cubicBezTo>
                <a:cubicBezTo>
                  <a:pt x="540" y="547"/>
                  <a:pt x="540" y="547"/>
                  <a:pt x="540" y="547"/>
                </a:cubicBezTo>
                <a:cubicBezTo>
                  <a:pt x="488" y="536"/>
                  <a:pt x="488" y="536"/>
                  <a:pt x="488" y="536"/>
                </a:cubicBezTo>
                <a:cubicBezTo>
                  <a:pt x="472" y="511"/>
                  <a:pt x="472" y="511"/>
                  <a:pt x="472" y="511"/>
                </a:cubicBezTo>
                <a:cubicBezTo>
                  <a:pt x="472" y="511"/>
                  <a:pt x="454" y="528"/>
                  <a:pt x="450" y="528"/>
                </a:cubicBezTo>
                <a:cubicBezTo>
                  <a:pt x="445" y="528"/>
                  <a:pt x="411" y="509"/>
                  <a:pt x="411" y="509"/>
                </a:cubicBezTo>
                <a:cubicBezTo>
                  <a:pt x="362" y="529"/>
                  <a:pt x="362" y="529"/>
                  <a:pt x="362" y="529"/>
                </a:cubicBezTo>
                <a:cubicBezTo>
                  <a:pt x="356" y="556"/>
                  <a:pt x="356" y="556"/>
                  <a:pt x="356" y="556"/>
                </a:cubicBezTo>
                <a:cubicBezTo>
                  <a:pt x="362" y="585"/>
                  <a:pt x="362" y="585"/>
                  <a:pt x="362" y="585"/>
                </a:cubicBezTo>
                <a:cubicBezTo>
                  <a:pt x="326" y="585"/>
                  <a:pt x="326" y="585"/>
                  <a:pt x="326" y="585"/>
                </a:cubicBezTo>
                <a:cubicBezTo>
                  <a:pt x="291" y="575"/>
                  <a:pt x="291" y="575"/>
                  <a:pt x="291" y="575"/>
                </a:cubicBezTo>
                <a:cubicBezTo>
                  <a:pt x="278" y="556"/>
                  <a:pt x="278" y="556"/>
                  <a:pt x="278" y="556"/>
                </a:cubicBezTo>
                <a:cubicBezTo>
                  <a:pt x="264" y="559"/>
                  <a:pt x="264" y="559"/>
                  <a:pt x="264" y="559"/>
                </a:cubicBezTo>
                <a:cubicBezTo>
                  <a:pt x="256" y="550"/>
                  <a:pt x="256" y="550"/>
                  <a:pt x="256" y="550"/>
                </a:cubicBezTo>
                <a:cubicBezTo>
                  <a:pt x="230" y="536"/>
                  <a:pt x="230" y="536"/>
                  <a:pt x="230" y="536"/>
                </a:cubicBezTo>
                <a:cubicBezTo>
                  <a:pt x="225" y="548"/>
                  <a:pt x="225" y="548"/>
                  <a:pt x="225" y="548"/>
                </a:cubicBezTo>
                <a:cubicBezTo>
                  <a:pt x="183" y="543"/>
                  <a:pt x="183" y="543"/>
                  <a:pt x="183" y="543"/>
                </a:cubicBezTo>
                <a:cubicBezTo>
                  <a:pt x="174" y="534"/>
                  <a:pt x="174" y="534"/>
                  <a:pt x="174" y="534"/>
                </a:cubicBezTo>
                <a:cubicBezTo>
                  <a:pt x="143" y="518"/>
                  <a:pt x="143" y="518"/>
                  <a:pt x="143" y="518"/>
                </a:cubicBezTo>
                <a:cubicBezTo>
                  <a:pt x="108" y="507"/>
                  <a:pt x="108" y="507"/>
                  <a:pt x="108" y="507"/>
                </a:cubicBezTo>
                <a:cubicBezTo>
                  <a:pt x="108" y="493"/>
                  <a:pt x="108" y="493"/>
                  <a:pt x="108" y="493"/>
                </a:cubicBezTo>
                <a:cubicBezTo>
                  <a:pt x="99" y="484"/>
                  <a:pt x="99" y="484"/>
                  <a:pt x="99" y="484"/>
                </a:cubicBezTo>
                <a:cubicBezTo>
                  <a:pt x="121" y="463"/>
                  <a:pt x="121" y="463"/>
                  <a:pt x="121" y="463"/>
                </a:cubicBezTo>
                <a:cubicBezTo>
                  <a:pt x="131" y="397"/>
                  <a:pt x="131" y="397"/>
                  <a:pt x="131" y="397"/>
                </a:cubicBezTo>
                <a:cubicBezTo>
                  <a:pt x="151" y="351"/>
                  <a:pt x="151" y="351"/>
                  <a:pt x="151" y="351"/>
                </a:cubicBezTo>
                <a:cubicBezTo>
                  <a:pt x="171" y="371"/>
                  <a:pt x="171" y="371"/>
                  <a:pt x="171" y="371"/>
                </a:cubicBezTo>
                <a:cubicBezTo>
                  <a:pt x="155" y="337"/>
                  <a:pt x="155" y="337"/>
                  <a:pt x="155" y="337"/>
                </a:cubicBezTo>
                <a:cubicBezTo>
                  <a:pt x="159" y="318"/>
                  <a:pt x="159" y="318"/>
                  <a:pt x="159" y="318"/>
                </a:cubicBezTo>
                <a:cubicBezTo>
                  <a:pt x="159" y="296"/>
                  <a:pt x="159" y="296"/>
                  <a:pt x="159" y="296"/>
                </a:cubicBezTo>
                <a:cubicBezTo>
                  <a:pt x="128" y="285"/>
                  <a:pt x="128" y="285"/>
                  <a:pt x="128" y="285"/>
                </a:cubicBezTo>
                <a:cubicBezTo>
                  <a:pt x="126" y="266"/>
                  <a:pt x="126" y="266"/>
                  <a:pt x="126" y="266"/>
                </a:cubicBezTo>
                <a:cubicBezTo>
                  <a:pt x="117" y="254"/>
                  <a:pt x="117" y="254"/>
                  <a:pt x="117" y="254"/>
                </a:cubicBezTo>
                <a:cubicBezTo>
                  <a:pt x="122" y="242"/>
                  <a:pt x="122" y="242"/>
                  <a:pt x="122" y="242"/>
                </a:cubicBezTo>
                <a:cubicBezTo>
                  <a:pt x="103" y="225"/>
                  <a:pt x="103" y="225"/>
                  <a:pt x="103" y="225"/>
                </a:cubicBezTo>
                <a:cubicBezTo>
                  <a:pt x="113" y="207"/>
                  <a:pt x="113" y="207"/>
                  <a:pt x="113" y="207"/>
                </a:cubicBezTo>
                <a:cubicBezTo>
                  <a:pt x="72" y="192"/>
                  <a:pt x="72" y="192"/>
                  <a:pt x="72" y="192"/>
                </a:cubicBezTo>
                <a:cubicBezTo>
                  <a:pt x="45" y="177"/>
                  <a:pt x="45" y="177"/>
                  <a:pt x="45" y="177"/>
                </a:cubicBezTo>
                <a:cubicBezTo>
                  <a:pt x="13" y="175"/>
                  <a:pt x="13" y="175"/>
                  <a:pt x="13" y="175"/>
                </a:cubicBezTo>
                <a:cubicBezTo>
                  <a:pt x="0" y="156"/>
                  <a:pt x="0" y="156"/>
                  <a:pt x="0" y="156"/>
                </a:cubicBezTo>
                <a:cubicBezTo>
                  <a:pt x="26" y="138"/>
                  <a:pt x="26" y="138"/>
                  <a:pt x="26" y="138"/>
                </a:cubicBezTo>
                <a:cubicBezTo>
                  <a:pt x="5" y="132"/>
                  <a:pt x="5" y="132"/>
                  <a:pt x="5" y="132"/>
                </a:cubicBezTo>
                <a:cubicBezTo>
                  <a:pt x="12" y="115"/>
                  <a:pt x="12" y="115"/>
                  <a:pt x="12" y="115"/>
                </a:cubicBezTo>
                <a:cubicBezTo>
                  <a:pt x="43" y="111"/>
                  <a:pt x="43" y="111"/>
                  <a:pt x="43" y="111"/>
                </a:cubicBezTo>
                <a:cubicBezTo>
                  <a:pt x="65" y="122"/>
                  <a:pt x="65" y="122"/>
                  <a:pt x="65" y="122"/>
                </a:cubicBezTo>
                <a:cubicBezTo>
                  <a:pt x="85" y="110"/>
                  <a:pt x="85" y="110"/>
                  <a:pt x="85" y="110"/>
                </a:cubicBezTo>
                <a:cubicBezTo>
                  <a:pt x="108" y="132"/>
                  <a:pt x="108" y="132"/>
                  <a:pt x="108" y="132"/>
                </a:cubicBezTo>
                <a:cubicBezTo>
                  <a:pt x="123" y="126"/>
                  <a:pt x="123" y="126"/>
                  <a:pt x="123" y="126"/>
                </a:cubicBezTo>
                <a:cubicBezTo>
                  <a:pt x="140" y="143"/>
                  <a:pt x="140" y="143"/>
                  <a:pt x="140" y="143"/>
                </a:cubicBezTo>
                <a:cubicBezTo>
                  <a:pt x="172" y="143"/>
                  <a:pt x="172" y="143"/>
                  <a:pt x="172" y="143"/>
                </a:cubicBezTo>
                <a:cubicBezTo>
                  <a:pt x="159" y="128"/>
                  <a:pt x="159" y="128"/>
                  <a:pt x="159" y="128"/>
                </a:cubicBezTo>
                <a:cubicBezTo>
                  <a:pt x="174" y="100"/>
                  <a:pt x="174" y="100"/>
                  <a:pt x="174" y="100"/>
                </a:cubicBezTo>
                <a:cubicBezTo>
                  <a:pt x="159" y="79"/>
                  <a:pt x="159" y="79"/>
                  <a:pt x="159" y="79"/>
                </a:cubicBezTo>
                <a:cubicBezTo>
                  <a:pt x="163" y="65"/>
                  <a:pt x="163" y="65"/>
                  <a:pt x="163" y="65"/>
                </a:cubicBezTo>
                <a:cubicBezTo>
                  <a:pt x="191" y="71"/>
                  <a:pt x="191" y="71"/>
                  <a:pt x="191" y="71"/>
                </a:cubicBezTo>
                <a:cubicBezTo>
                  <a:pt x="188" y="94"/>
                  <a:pt x="188" y="94"/>
                  <a:pt x="188" y="94"/>
                </a:cubicBezTo>
                <a:lnTo>
                  <a:pt x="201" y="92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1" name="Belgium"/>
          <p:cNvSpPr>
            <a:spLocks/>
          </p:cNvSpPr>
          <p:nvPr/>
        </p:nvSpPr>
        <p:spPr bwMode="auto">
          <a:xfrm>
            <a:off x="7858651" y="3957638"/>
            <a:ext cx="533400" cy="398463"/>
          </a:xfrm>
          <a:custGeom>
            <a:avLst/>
            <a:gdLst>
              <a:gd name="T0" fmla="*/ 0 w 336"/>
              <a:gd name="T1" fmla="*/ 35 h 251"/>
              <a:gd name="T2" fmla="*/ 34 w 336"/>
              <a:gd name="T3" fmla="*/ 17 h 251"/>
              <a:gd name="T4" fmla="*/ 85 w 336"/>
              <a:gd name="T5" fmla="*/ 8 h 251"/>
              <a:gd name="T6" fmla="*/ 105 w 336"/>
              <a:gd name="T7" fmla="*/ 20 h 251"/>
              <a:gd name="T8" fmla="*/ 130 w 336"/>
              <a:gd name="T9" fmla="*/ 8 h 251"/>
              <a:gd name="T10" fmla="*/ 150 w 336"/>
              <a:gd name="T11" fmla="*/ 35 h 251"/>
              <a:gd name="T12" fmla="*/ 161 w 336"/>
              <a:gd name="T13" fmla="*/ 8 h 251"/>
              <a:gd name="T14" fmla="*/ 188 w 336"/>
              <a:gd name="T15" fmla="*/ 20 h 251"/>
              <a:gd name="T16" fmla="*/ 195 w 336"/>
              <a:gd name="T17" fmla="*/ 0 h 251"/>
              <a:gd name="T18" fmla="*/ 215 w 336"/>
              <a:gd name="T19" fmla="*/ 11 h 251"/>
              <a:gd name="T20" fmla="*/ 242 w 336"/>
              <a:gd name="T21" fmla="*/ 35 h 251"/>
              <a:gd name="T22" fmla="*/ 276 w 336"/>
              <a:gd name="T23" fmla="*/ 40 h 251"/>
              <a:gd name="T24" fmla="*/ 271 w 336"/>
              <a:gd name="T25" fmla="*/ 69 h 251"/>
              <a:gd name="T26" fmla="*/ 276 w 336"/>
              <a:gd name="T27" fmla="*/ 105 h 251"/>
              <a:gd name="T28" fmla="*/ 311 w 336"/>
              <a:gd name="T29" fmla="*/ 105 h 251"/>
              <a:gd name="T30" fmla="*/ 331 w 336"/>
              <a:gd name="T31" fmla="*/ 125 h 251"/>
              <a:gd name="T32" fmla="*/ 336 w 336"/>
              <a:gd name="T33" fmla="*/ 138 h 251"/>
              <a:gd name="T34" fmla="*/ 289 w 336"/>
              <a:gd name="T35" fmla="*/ 163 h 251"/>
              <a:gd name="T36" fmla="*/ 271 w 336"/>
              <a:gd name="T37" fmla="*/ 190 h 251"/>
              <a:gd name="T38" fmla="*/ 296 w 336"/>
              <a:gd name="T39" fmla="*/ 251 h 251"/>
              <a:gd name="T40" fmla="*/ 246 w 336"/>
              <a:gd name="T41" fmla="*/ 251 h 251"/>
              <a:gd name="T42" fmla="*/ 188 w 336"/>
              <a:gd name="T43" fmla="*/ 167 h 251"/>
              <a:gd name="T44" fmla="*/ 141 w 336"/>
              <a:gd name="T45" fmla="*/ 183 h 251"/>
              <a:gd name="T46" fmla="*/ 123 w 336"/>
              <a:gd name="T47" fmla="*/ 132 h 251"/>
              <a:gd name="T48" fmla="*/ 40 w 336"/>
              <a:gd name="T49" fmla="*/ 87 h 251"/>
              <a:gd name="T50" fmla="*/ 0 w 336"/>
              <a:gd name="T51" fmla="*/ 35 h 2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36" h="251">
                <a:moveTo>
                  <a:pt x="0" y="35"/>
                </a:moveTo>
                <a:lnTo>
                  <a:pt x="34" y="17"/>
                </a:lnTo>
                <a:lnTo>
                  <a:pt x="85" y="8"/>
                </a:lnTo>
                <a:lnTo>
                  <a:pt x="105" y="20"/>
                </a:lnTo>
                <a:lnTo>
                  <a:pt x="130" y="8"/>
                </a:lnTo>
                <a:lnTo>
                  <a:pt x="150" y="35"/>
                </a:lnTo>
                <a:lnTo>
                  <a:pt x="161" y="8"/>
                </a:lnTo>
                <a:lnTo>
                  <a:pt x="188" y="20"/>
                </a:lnTo>
                <a:lnTo>
                  <a:pt x="195" y="0"/>
                </a:lnTo>
                <a:lnTo>
                  <a:pt x="215" y="11"/>
                </a:lnTo>
                <a:lnTo>
                  <a:pt x="242" y="35"/>
                </a:lnTo>
                <a:lnTo>
                  <a:pt x="276" y="40"/>
                </a:lnTo>
                <a:lnTo>
                  <a:pt x="271" y="69"/>
                </a:lnTo>
                <a:lnTo>
                  <a:pt x="276" y="105"/>
                </a:lnTo>
                <a:lnTo>
                  <a:pt x="311" y="105"/>
                </a:lnTo>
                <a:lnTo>
                  <a:pt x="331" y="125"/>
                </a:lnTo>
                <a:lnTo>
                  <a:pt x="336" y="138"/>
                </a:lnTo>
                <a:lnTo>
                  <a:pt x="289" y="163"/>
                </a:lnTo>
                <a:lnTo>
                  <a:pt x="271" y="190"/>
                </a:lnTo>
                <a:lnTo>
                  <a:pt x="296" y="251"/>
                </a:lnTo>
                <a:lnTo>
                  <a:pt x="246" y="251"/>
                </a:lnTo>
                <a:lnTo>
                  <a:pt x="188" y="167"/>
                </a:lnTo>
                <a:lnTo>
                  <a:pt x="141" y="183"/>
                </a:lnTo>
                <a:lnTo>
                  <a:pt x="123" y="132"/>
                </a:lnTo>
                <a:lnTo>
                  <a:pt x="40" y="87"/>
                </a:lnTo>
                <a:lnTo>
                  <a:pt x="0" y="35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2" name="Netherlands"/>
          <p:cNvSpPr>
            <a:spLocks/>
          </p:cNvSpPr>
          <p:nvPr/>
        </p:nvSpPr>
        <p:spPr bwMode="auto">
          <a:xfrm>
            <a:off x="8022163" y="3593344"/>
            <a:ext cx="514800" cy="533400"/>
          </a:xfrm>
          <a:custGeom>
            <a:avLst/>
            <a:gdLst>
              <a:gd name="T0" fmla="*/ 43 w 325"/>
              <a:gd name="T1" fmla="*/ 262 h 336"/>
              <a:gd name="T2" fmla="*/ 45 w 325"/>
              <a:gd name="T3" fmla="*/ 231 h 336"/>
              <a:gd name="T4" fmla="*/ 0 w 325"/>
              <a:gd name="T5" fmla="*/ 195 h 336"/>
              <a:gd name="T6" fmla="*/ 33 w 325"/>
              <a:gd name="T7" fmla="*/ 188 h 336"/>
              <a:gd name="T8" fmla="*/ 36 w 325"/>
              <a:gd name="T9" fmla="*/ 163 h 336"/>
              <a:gd name="T10" fmla="*/ 51 w 325"/>
              <a:gd name="T11" fmla="*/ 163 h 336"/>
              <a:gd name="T12" fmla="*/ 58 w 325"/>
              <a:gd name="T13" fmla="*/ 148 h 336"/>
              <a:gd name="T14" fmla="*/ 74 w 325"/>
              <a:gd name="T15" fmla="*/ 148 h 336"/>
              <a:gd name="T16" fmla="*/ 99 w 325"/>
              <a:gd name="T17" fmla="*/ 101 h 336"/>
              <a:gd name="T18" fmla="*/ 94 w 325"/>
              <a:gd name="T19" fmla="*/ 63 h 336"/>
              <a:gd name="T20" fmla="*/ 105 w 325"/>
              <a:gd name="T21" fmla="*/ 49 h 336"/>
              <a:gd name="T22" fmla="*/ 132 w 325"/>
              <a:gd name="T23" fmla="*/ 58 h 336"/>
              <a:gd name="T24" fmla="*/ 155 w 325"/>
              <a:gd name="T25" fmla="*/ 78 h 336"/>
              <a:gd name="T26" fmla="*/ 132 w 325"/>
              <a:gd name="T27" fmla="*/ 121 h 336"/>
              <a:gd name="T28" fmla="*/ 190 w 325"/>
              <a:gd name="T29" fmla="*/ 105 h 336"/>
              <a:gd name="T30" fmla="*/ 190 w 325"/>
              <a:gd name="T31" fmla="*/ 65 h 336"/>
              <a:gd name="T32" fmla="*/ 170 w 325"/>
              <a:gd name="T33" fmla="*/ 63 h 336"/>
              <a:gd name="T34" fmla="*/ 163 w 325"/>
              <a:gd name="T35" fmla="*/ 34 h 336"/>
              <a:gd name="T36" fmla="*/ 220 w 325"/>
              <a:gd name="T37" fmla="*/ 0 h 336"/>
              <a:gd name="T38" fmla="*/ 285 w 325"/>
              <a:gd name="T39" fmla="*/ 0 h 336"/>
              <a:gd name="T40" fmla="*/ 311 w 325"/>
              <a:gd name="T41" fmla="*/ 29 h 336"/>
              <a:gd name="T42" fmla="*/ 325 w 325"/>
              <a:gd name="T43" fmla="*/ 29 h 336"/>
              <a:gd name="T44" fmla="*/ 294 w 325"/>
              <a:gd name="T45" fmla="*/ 99 h 336"/>
              <a:gd name="T46" fmla="*/ 275 w 325"/>
              <a:gd name="T47" fmla="*/ 107 h 336"/>
              <a:gd name="T48" fmla="*/ 293 w 325"/>
              <a:gd name="T49" fmla="*/ 134 h 336"/>
              <a:gd name="T50" fmla="*/ 285 w 325"/>
              <a:gd name="T51" fmla="*/ 166 h 336"/>
              <a:gd name="T52" fmla="*/ 269 w 325"/>
              <a:gd name="T53" fmla="*/ 164 h 336"/>
              <a:gd name="T54" fmla="*/ 278 w 325"/>
              <a:gd name="T55" fmla="*/ 192 h 336"/>
              <a:gd name="T56" fmla="*/ 206 w 325"/>
              <a:gd name="T57" fmla="*/ 193 h 336"/>
              <a:gd name="T58" fmla="*/ 224 w 325"/>
              <a:gd name="T59" fmla="*/ 244 h 336"/>
              <a:gd name="T60" fmla="*/ 213 w 325"/>
              <a:gd name="T61" fmla="*/ 275 h 336"/>
              <a:gd name="T62" fmla="*/ 217 w 325"/>
              <a:gd name="T63" fmla="*/ 293 h 336"/>
              <a:gd name="T64" fmla="*/ 199 w 325"/>
              <a:gd name="T65" fmla="*/ 304 h 336"/>
              <a:gd name="T66" fmla="*/ 208 w 325"/>
              <a:gd name="T67" fmla="*/ 336 h 336"/>
              <a:gd name="T68" fmla="*/ 173 w 325"/>
              <a:gd name="T69" fmla="*/ 336 h 336"/>
              <a:gd name="T70" fmla="*/ 168 w 325"/>
              <a:gd name="T71" fmla="*/ 300 h 336"/>
              <a:gd name="T72" fmla="*/ 173 w 325"/>
              <a:gd name="T73" fmla="*/ 271 h 336"/>
              <a:gd name="T74" fmla="*/ 139 w 325"/>
              <a:gd name="T75" fmla="*/ 266 h 336"/>
              <a:gd name="T76" fmla="*/ 114 w 325"/>
              <a:gd name="T77" fmla="*/ 242 h 336"/>
              <a:gd name="T78" fmla="*/ 92 w 325"/>
              <a:gd name="T79" fmla="*/ 231 h 336"/>
              <a:gd name="T80" fmla="*/ 85 w 325"/>
              <a:gd name="T81" fmla="*/ 251 h 336"/>
              <a:gd name="T82" fmla="*/ 60 w 325"/>
              <a:gd name="T83" fmla="*/ 240 h 336"/>
              <a:gd name="T84" fmla="*/ 47 w 325"/>
              <a:gd name="T85" fmla="*/ 266 h 336"/>
              <a:gd name="T86" fmla="*/ 43 w 325"/>
              <a:gd name="T87" fmla="*/ 262 h 3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325" h="336">
                <a:moveTo>
                  <a:pt x="43" y="262"/>
                </a:moveTo>
                <a:lnTo>
                  <a:pt x="45" y="231"/>
                </a:lnTo>
                <a:lnTo>
                  <a:pt x="0" y="195"/>
                </a:lnTo>
                <a:lnTo>
                  <a:pt x="33" y="188"/>
                </a:lnTo>
                <a:lnTo>
                  <a:pt x="36" y="163"/>
                </a:lnTo>
                <a:lnTo>
                  <a:pt x="51" y="163"/>
                </a:lnTo>
                <a:lnTo>
                  <a:pt x="58" y="148"/>
                </a:lnTo>
                <a:lnTo>
                  <a:pt x="74" y="148"/>
                </a:lnTo>
                <a:lnTo>
                  <a:pt x="99" y="101"/>
                </a:lnTo>
                <a:lnTo>
                  <a:pt x="94" y="63"/>
                </a:lnTo>
                <a:lnTo>
                  <a:pt x="105" y="49"/>
                </a:lnTo>
                <a:lnTo>
                  <a:pt x="132" y="58"/>
                </a:lnTo>
                <a:lnTo>
                  <a:pt x="155" y="78"/>
                </a:lnTo>
                <a:lnTo>
                  <a:pt x="132" y="121"/>
                </a:lnTo>
                <a:lnTo>
                  <a:pt x="190" y="105"/>
                </a:lnTo>
                <a:lnTo>
                  <a:pt x="190" y="65"/>
                </a:lnTo>
                <a:lnTo>
                  <a:pt x="170" y="63"/>
                </a:lnTo>
                <a:lnTo>
                  <a:pt x="163" y="34"/>
                </a:lnTo>
                <a:lnTo>
                  <a:pt x="220" y="0"/>
                </a:lnTo>
                <a:lnTo>
                  <a:pt x="285" y="0"/>
                </a:lnTo>
                <a:lnTo>
                  <a:pt x="311" y="29"/>
                </a:lnTo>
                <a:lnTo>
                  <a:pt x="325" y="29"/>
                </a:lnTo>
                <a:lnTo>
                  <a:pt x="294" y="99"/>
                </a:lnTo>
                <a:lnTo>
                  <a:pt x="275" y="107"/>
                </a:lnTo>
                <a:lnTo>
                  <a:pt x="293" y="134"/>
                </a:lnTo>
                <a:lnTo>
                  <a:pt x="285" y="166"/>
                </a:lnTo>
                <a:lnTo>
                  <a:pt x="269" y="164"/>
                </a:lnTo>
                <a:lnTo>
                  <a:pt x="278" y="192"/>
                </a:lnTo>
                <a:lnTo>
                  <a:pt x="206" y="193"/>
                </a:lnTo>
                <a:lnTo>
                  <a:pt x="224" y="244"/>
                </a:lnTo>
                <a:lnTo>
                  <a:pt x="213" y="275"/>
                </a:lnTo>
                <a:lnTo>
                  <a:pt x="217" y="293"/>
                </a:lnTo>
                <a:lnTo>
                  <a:pt x="199" y="304"/>
                </a:lnTo>
                <a:lnTo>
                  <a:pt x="208" y="336"/>
                </a:lnTo>
                <a:lnTo>
                  <a:pt x="173" y="336"/>
                </a:lnTo>
                <a:lnTo>
                  <a:pt x="168" y="300"/>
                </a:lnTo>
                <a:lnTo>
                  <a:pt x="173" y="271"/>
                </a:lnTo>
                <a:lnTo>
                  <a:pt x="139" y="266"/>
                </a:lnTo>
                <a:lnTo>
                  <a:pt x="114" y="242"/>
                </a:lnTo>
                <a:lnTo>
                  <a:pt x="92" y="231"/>
                </a:lnTo>
                <a:lnTo>
                  <a:pt x="85" y="251"/>
                </a:lnTo>
                <a:lnTo>
                  <a:pt x="60" y="240"/>
                </a:lnTo>
                <a:lnTo>
                  <a:pt x="47" y="266"/>
                </a:lnTo>
                <a:lnTo>
                  <a:pt x="43" y="262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3" name="Germany"/>
          <p:cNvSpPr>
            <a:spLocks/>
          </p:cNvSpPr>
          <p:nvPr/>
        </p:nvSpPr>
        <p:spPr bwMode="auto">
          <a:xfrm>
            <a:off x="8288863" y="3324225"/>
            <a:ext cx="1287463" cy="1471613"/>
          </a:xfrm>
          <a:custGeom>
            <a:avLst/>
            <a:gdLst>
              <a:gd name="T0" fmla="*/ 157 w 811"/>
              <a:gd name="T1" fmla="*/ 145 h 927"/>
              <a:gd name="T2" fmla="*/ 237 w 811"/>
              <a:gd name="T3" fmla="*/ 190 h 927"/>
              <a:gd name="T4" fmla="*/ 260 w 811"/>
              <a:gd name="T5" fmla="*/ 136 h 927"/>
              <a:gd name="T6" fmla="*/ 284 w 811"/>
              <a:gd name="T7" fmla="*/ 132 h 927"/>
              <a:gd name="T8" fmla="*/ 293 w 811"/>
              <a:gd name="T9" fmla="*/ 123 h 927"/>
              <a:gd name="T10" fmla="*/ 260 w 811"/>
              <a:gd name="T11" fmla="*/ 74 h 927"/>
              <a:gd name="T12" fmla="*/ 262 w 811"/>
              <a:gd name="T13" fmla="*/ 16 h 927"/>
              <a:gd name="T14" fmla="*/ 340 w 811"/>
              <a:gd name="T15" fmla="*/ 16 h 927"/>
              <a:gd name="T16" fmla="*/ 378 w 811"/>
              <a:gd name="T17" fmla="*/ 58 h 927"/>
              <a:gd name="T18" fmla="*/ 423 w 811"/>
              <a:gd name="T19" fmla="*/ 71 h 927"/>
              <a:gd name="T20" fmla="*/ 457 w 811"/>
              <a:gd name="T21" fmla="*/ 63 h 927"/>
              <a:gd name="T22" fmla="*/ 466 w 811"/>
              <a:gd name="T23" fmla="*/ 92 h 927"/>
              <a:gd name="T24" fmla="*/ 472 w 811"/>
              <a:gd name="T25" fmla="*/ 110 h 927"/>
              <a:gd name="T26" fmla="*/ 517 w 811"/>
              <a:gd name="T27" fmla="*/ 90 h 927"/>
              <a:gd name="T28" fmla="*/ 578 w 811"/>
              <a:gd name="T29" fmla="*/ 56 h 927"/>
              <a:gd name="T30" fmla="*/ 627 w 811"/>
              <a:gd name="T31" fmla="*/ 42 h 927"/>
              <a:gd name="T32" fmla="*/ 656 w 811"/>
              <a:gd name="T33" fmla="*/ 36 h 927"/>
              <a:gd name="T34" fmla="*/ 676 w 811"/>
              <a:gd name="T35" fmla="*/ 65 h 927"/>
              <a:gd name="T36" fmla="*/ 649 w 811"/>
              <a:gd name="T37" fmla="*/ 83 h 927"/>
              <a:gd name="T38" fmla="*/ 686 w 811"/>
              <a:gd name="T39" fmla="*/ 98 h 927"/>
              <a:gd name="T40" fmla="*/ 714 w 811"/>
              <a:gd name="T41" fmla="*/ 137 h 927"/>
              <a:gd name="T42" fmla="*/ 712 w 811"/>
              <a:gd name="T43" fmla="*/ 233 h 927"/>
              <a:gd name="T44" fmla="*/ 742 w 811"/>
              <a:gd name="T45" fmla="*/ 296 h 927"/>
              <a:gd name="T46" fmla="*/ 762 w 811"/>
              <a:gd name="T47" fmla="*/ 370 h 927"/>
              <a:gd name="T48" fmla="*/ 800 w 811"/>
              <a:gd name="T49" fmla="*/ 419 h 927"/>
              <a:gd name="T50" fmla="*/ 811 w 811"/>
              <a:gd name="T51" fmla="*/ 479 h 927"/>
              <a:gd name="T52" fmla="*/ 764 w 811"/>
              <a:gd name="T53" fmla="*/ 455 h 927"/>
              <a:gd name="T54" fmla="*/ 748 w 811"/>
              <a:gd name="T55" fmla="*/ 479 h 927"/>
              <a:gd name="T56" fmla="*/ 632 w 811"/>
              <a:gd name="T57" fmla="*/ 526 h 927"/>
              <a:gd name="T58" fmla="*/ 609 w 811"/>
              <a:gd name="T59" fmla="*/ 542 h 927"/>
              <a:gd name="T60" fmla="*/ 556 w 811"/>
              <a:gd name="T61" fmla="*/ 560 h 927"/>
              <a:gd name="T62" fmla="*/ 587 w 811"/>
              <a:gd name="T63" fmla="*/ 623 h 927"/>
              <a:gd name="T64" fmla="*/ 643 w 811"/>
              <a:gd name="T65" fmla="*/ 678 h 927"/>
              <a:gd name="T66" fmla="*/ 696 w 811"/>
              <a:gd name="T67" fmla="*/ 712 h 927"/>
              <a:gd name="T68" fmla="*/ 723 w 811"/>
              <a:gd name="T69" fmla="*/ 764 h 927"/>
              <a:gd name="T70" fmla="*/ 679 w 811"/>
              <a:gd name="T71" fmla="*/ 791 h 927"/>
              <a:gd name="T72" fmla="*/ 652 w 811"/>
              <a:gd name="T73" fmla="*/ 847 h 927"/>
              <a:gd name="T74" fmla="*/ 640 w 811"/>
              <a:gd name="T75" fmla="*/ 896 h 927"/>
              <a:gd name="T76" fmla="*/ 540 w 811"/>
              <a:gd name="T77" fmla="*/ 880 h 927"/>
              <a:gd name="T78" fmla="*/ 452 w 811"/>
              <a:gd name="T79" fmla="*/ 893 h 927"/>
              <a:gd name="T80" fmla="*/ 396 w 811"/>
              <a:gd name="T81" fmla="*/ 927 h 927"/>
              <a:gd name="T82" fmla="*/ 334 w 811"/>
              <a:gd name="T83" fmla="*/ 896 h 927"/>
              <a:gd name="T84" fmla="*/ 271 w 811"/>
              <a:gd name="T85" fmla="*/ 880 h 927"/>
              <a:gd name="T86" fmla="*/ 238 w 811"/>
              <a:gd name="T87" fmla="*/ 894 h 927"/>
              <a:gd name="T88" fmla="*/ 150 w 811"/>
              <a:gd name="T89" fmla="*/ 887 h 927"/>
              <a:gd name="T90" fmla="*/ 222 w 811"/>
              <a:gd name="T91" fmla="*/ 710 h 927"/>
              <a:gd name="T92" fmla="*/ 63 w 811"/>
              <a:gd name="T93" fmla="*/ 654 h 927"/>
              <a:gd name="T94" fmla="*/ 0 w 811"/>
              <a:gd name="T95" fmla="*/ 589 h 927"/>
              <a:gd name="T96" fmla="*/ 65 w 811"/>
              <a:gd name="T97" fmla="*/ 537 h 927"/>
              <a:gd name="T98" fmla="*/ 40 w 811"/>
              <a:gd name="T99" fmla="*/ 504 h 927"/>
              <a:gd name="T100" fmla="*/ 49 w 811"/>
              <a:gd name="T101" fmla="*/ 461 h 927"/>
              <a:gd name="T102" fmla="*/ 56 w 811"/>
              <a:gd name="T103" fmla="*/ 412 h 927"/>
              <a:gd name="T104" fmla="*/ 110 w 811"/>
              <a:gd name="T105" fmla="*/ 360 h 927"/>
              <a:gd name="T106" fmla="*/ 117 w 811"/>
              <a:gd name="T107" fmla="*/ 334 h 927"/>
              <a:gd name="T108" fmla="*/ 107 w 811"/>
              <a:gd name="T109" fmla="*/ 275 h 927"/>
              <a:gd name="T110" fmla="*/ 157 w 811"/>
              <a:gd name="T111" fmla="*/ 197 h 927"/>
              <a:gd name="T112" fmla="*/ 128 w 811"/>
              <a:gd name="T113" fmla="*/ 181 h 9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811" h="927">
                <a:moveTo>
                  <a:pt x="128" y="181"/>
                </a:moveTo>
                <a:lnTo>
                  <a:pt x="157" y="145"/>
                </a:lnTo>
                <a:lnTo>
                  <a:pt x="222" y="145"/>
                </a:lnTo>
                <a:lnTo>
                  <a:pt x="237" y="190"/>
                </a:lnTo>
                <a:lnTo>
                  <a:pt x="260" y="197"/>
                </a:lnTo>
                <a:lnTo>
                  <a:pt x="260" y="136"/>
                </a:lnTo>
                <a:lnTo>
                  <a:pt x="273" y="123"/>
                </a:lnTo>
                <a:lnTo>
                  <a:pt x="284" y="132"/>
                </a:lnTo>
                <a:lnTo>
                  <a:pt x="318" y="136"/>
                </a:lnTo>
                <a:lnTo>
                  <a:pt x="293" y="123"/>
                </a:lnTo>
                <a:lnTo>
                  <a:pt x="296" y="83"/>
                </a:lnTo>
                <a:lnTo>
                  <a:pt x="260" y="74"/>
                </a:lnTo>
                <a:lnTo>
                  <a:pt x="298" y="58"/>
                </a:lnTo>
                <a:lnTo>
                  <a:pt x="262" y="16"/>
                </a:lnTo>
                <a:lnTo>
                  <a:pt x="267" y="0"/>
                </a:lnTo>
                <a:lnTo>
                  <a:pt x="340" y="16"/>
                </a:lnTo>
                <a:lnTo>
                  <a:pt x="381" y="22"/>
                </a:lnTo>
                <a:lnTo>
                  <a:pt x="378" y="58"/>
                </a:lnTo>
                <a:lnTo>
                  <a:pt x="392" y="72"/>
                </a:lnTo>
                <a:lnTo>
                  <a:pt x="423" y="71"/>
                </a:lnTo>
                <a:lnTo>
                  <a:pt x="437" y="74"/>
                </a:lnTo>
                <a:lnTo>
                  <a:pt x="457" y="63"/>
                </a:lnTo>
                <a:lnTo>
                  <a:pt x="472" y="67"/>
                </a:lnTo>
                <a:lnTo>
                  <a:pt x="466" y="92"/>
                </a:lnTo>
                <a:lnTo>
                  <a:pt x="444" y="119"/>
                </a:lnTo>
                <a:lnTo>
                  <a:pt x="472" y="110"/>
                </a:lnTo>
                <a:lnTo>
                  <a:pt x="482" y="123"/>
                </a:lnTo>
                <a:lnTo>
                  <a:pt x="517" y="90"/>
                </a:lnTo>
                <a:lnTo>
                  <a:pt x="555" y="98"/>
                </a:lnTo>
                <a:lnTo>
                  <a:pt x="578" y="56"/>
                </a:lnTo>
                <a:lnTo>
                  <a:pt x="612" y="60"/>
                </a:lnTo>
                <a:lnTo>
                  <a:pt x="627" y="42"/>
                </a:lnTo>
                <a:lnTo>
                  <a:pt x="643" y="22"/>
                </a:lnTo>
                <a:lnTo>
                  <a:pt x="656" y="36"/>
                </a:lnTo>
                <a:lnTo>
                  <a:pt x="663" y="43"/>
                </a:lnTo>
                <a:lnTo>
                  <a:pt x="676" y="65"/>
                </a:lnTo>
                <a:lnTo>
                  <a:pt x="667" y="78"/>
                </a:lnTo>
                <a:lnTo>
                  <a:pt x="649" y="83"/>
                </a:lnTo>
                <a:lnTo>
                  <a:pt x="650" y="98"/>
                </a:lnTo>
                <a:lnTo>
                  <a:pt x="686" y="98"/>
                </a:lnTo>
                <a:lnTo>
                  <a:pt x="686" y="130"/>
                </a:lnTo>
                <a:lnTo>
                  <a:pt x="714" y="137"/>
                </a:lnTo>
                <a:lnTo>
                  <a:pt x="742" y="197"/>
                </a:lnTo>
                <a:lnTo>
                  <a:pt x="712" y="233"/>
                </a:lnTo>
                <a:lnTo>
                  <a:pt x="750" y="264"/>
                </a:lnTo>
                <a:lnTo>
                  <a:pt x="742" y="296"/>
                </a:lnTo>
                <a:lnTo>
                  <a:pt x="770" y="336"/>
                </a:lnTo>
                <a:lnTo>
                  <a:pt x="762" y="370"/>
                </a:lnTo>
                <a:lnTo>
                  <a:pt x="773" y="392"/>
                </a:lnTo>
                <a:lnTo>
                  <a:pt x="800" y="419"/>
                </a:lnTo>
                <a:lnTo>
                  <a:pt x="811" y="461"/>
                </a:lnTo>
                <a:lnTo>
                  <a:pt x="811" y="479"/>
                </a:lnTo>
                <a:lnTo>
                  <a:pt x="786" y="479"/>
                </a:lnTo>
                <a:lnTo>
                  <a:pt x="764" y="455"/>
                </a:lnTo>
                <a:lnTo>
                  <a:pt x="746" y="461"/>
                </a:lnTo>
                <a:lnTo>
                  <a:pt x="748" y="479"/>
                </a:lnTo>
                <a:lnTo>
                  <a:pt x="665" y="526"/>
                </a:lnTo>
                <a:lnTo>
                  <a:pt x="632" y="526"/>
                </a:lnTo>
                <a:lnTo>
                  <a:pt x="627" y="542"/>
                </a:lnTo>
                <a:lnTo>
                  <a:pt x="609" y="542"/>
                </a:lnTo>
                <a:lnTo>
                  <a:pt x="578" y="569"/>
                </a:lnTo>
                <a:lnTo>
                  <a:pt x="556" y="560"/>
                </a:lnTo>
                <a:lnTo>
                  <a:pt x="594" y="602"/>
                </a:lnTo>
                <a:lnTo>
                  <a:pt x="587" y="623"/>
                </a:lnTo>
                <a:lnTo>
                  <a:pt x="614" y="667"/>
                </a:lnTo>
                <a:lnTo>
                  <a:pt x="643" y="678"/>
                </a:lnTo>
                <a:lnTo>
                  <a:pt x="656" y="699"/>
                </a:lnTo>
                <a:lnTo>
                  <a:pt x="696" y="712"/>
                </a:lnTo>
                <a:lnTo>
                  <a:pt x="723" y="739"/>
                </a:lnTo>
                <a:lnTo>
                  <a:pt x="723" y="764"/>
                </a:lnTo>
                <a:lnTo>
                  <a:pt x="683" y="775"/>
                </a:lnTo>
                <a:lnTo>
                  <a:pt x="679" y="791"/>
                </a:lnTo>
                <a:lnTo>
                  <a:pt x="630" y="822"/>
                </a:lnTo>
                <a:lnTo>
                  <a:pt x="652" y="847"/>
                </a:lnTo>
                <a:lnTo>
                  <a:pt x="641" y="875"/>
                </a:lnTo>
                <a:lnTo>
                  <a:pt x="640" y="896"/>
                </a:lnTo>
                <a:lnTo>
                  <a:pt x="582" y="862"/>
                </a:lnTo>
                <a:lnTo>
                  <a:pt x="540" y="880"/>
                </a:lnTo>
                <a:lnTo>
                  <a:pt x="475" y="914"/>
                </a:lnTo>
                <a:lnTo>
                  <a:pt x="452" y="893"/>
                </a:lnTo>
                <a:lnTo>
                  <a:pt x="425" y="889"/>
                </a:lnTo>
                <a:lnTo>
                  <a:pt x="396" y="927"/>
                </a:lnTo>
                <a:lnTo>
                  <a:pt x="374" y="893"/>
                </a:lnTo>
                <a:lnTo>
                  <a:pt x="334" y="896"/>
                </a:lnTo>
                <a:lnTo>
                  <a:pt x="307" y="878"/>
                </a:lnTo>
                <a:lnTo>
                  <a:pt x="271" y="880"/>
                </a:lnTo>
                <a:lnTo>
                  <a:pt x="246" y="864"/>
                </a:lnTo>
                <a:lnTo>
                  <a:pt x="238" y="894"/>
                </a:lnTo>
                <a:lnTo>
                  <a:pt x="190" y="889"/>
                </a:lnTo>
                <a:lnTo>
                  <a:pt x="150" y="887"/>
                </a:lnTo>
                <a:lnTo>
                  <a:pt x="168" y="793"/>
                </a:lnTo>
                <a:lnTo>
                  <a:pt x="222" y="710"/>
                </a:lnTo>
                <a:lnTo>
                  <a:pt x="107" y="706"/>
                </a:lnTo>
                <a:lnTo>
                  <a:pt x="63" y="654"/>
                </a:lnTo>
                <a:lnTo>
                  <a:pt x="25" y="650"/>
                </a:lnTo>
                <a:lnTo>
                  <a:pt x="0" y="589"/>
                </a:lnTo>
                <a:lnTo>
                  <a:pt x="18" y="562"/>
                </a:lnTo>
                <a:lnTo>
                  <a:pt x="65" y="537"/>
                </a:lnTo>
                <a:lnTo>
                  <a:pt x="60" y="524"/>
                </a:lnTo>
                <a:lnTo>
                  <a:pt x="40" y="504"/>
                </a:lnTo>
                <a:lnTo>
                  <a:pt x="31" y="472"/>
                </a:lnTo>
                <a:lnTo>
                  <a:pt x="49" y="461"/>
                </a:lnTo>
                <a:lnTo>
                  <a:pt x="45" y="443"/>
                </a:lnTo>
                <a:lnTo>
                  <a:pt x="56" y="412"/>
                </a:lnTo>
                <a:lnTo>
                  <a:pt x="38" y="361"/>
                </a:lnTo>
                <a:lnTo>
                  <a:pt x="110" y="360"/>
                </a:lnTo>
                <a:lnTo>
                  <a:pt x="101" y="332"/>
                </a:lnTo>
                <a:lnTo>
                  <a:pt x="117" y="334"/>
                </a:lnTo>
                <a:lnTo>
                  <a:pt x="125" y="302"/>
                </a:lnTo>
                <a:lnTo>
                  <a:pt x="107" y="275"/>
                </a:lnTo>
                <a:lnTo>
                  <a:pt x="126" y="267"/>
                </a:lnTo>
                <a:lnTo>
                  <a:pt x="157" y="197"/>
                </a:lnTo>
                <a:lnTo>
                  <a:pt x="143" y="197"/>
                </a:lnTo>
                <a:lnTo>
                  <a:pt x="128" y="181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4" name="Luxembourg"/>
          <p:cNvSpPr>
            <a:spLocks/>
          </p:cNvSpPr>
          <p:nvPr/>
        </p:nvSpPr>
        <p:spPr bwMode="auto">
          <a:xfrm>
            <a:off x="8288863" y="4259263"/>
            <a:ext cx="100013" cy="103188"/>
          </a:xfrm>
          <a:custGeom>
            <a:avLst/>
            <a:gdLst>
              <a:gd name="T0" fmla="*/ 23 w 63"/>
              <a:gd name="T1" fmla="*/ 7 h 65"/>
              <a:gd name="T2" fmla="*/ 0 w 63"/>
              <a:gd name="T3" fmla="*/ 0 h 65"/>
              <a:gd name="T4" fmla="*/ 25 w 63"/>
              <a:gd name="T5" fmla="*/ 61 h 65"/>
              <a:gd name="T6" fmla="*/ 63 w 63"/>
              <a:gd name="T7" fmla="*/ 65 h 65"/>
              <a:gd name="T8" fmla="*/ 54 w 63"/>
              <a:gd name="T9" fmla="*/ 33 h 65"/>
              <a:gd name="T10" fmla="*/ 23 w 63"/>
              <a:gd name="T11" fmla="*/ 7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3" h="65">
                <a:moveTo>
                  <a:pt x="23" y="7"/>
                </a:moveTo>
                <a:lnTo>
                  <a:pt x="0" y="0"/>
                </a:lnTo>
                <a:lnTo>
                  <a:pt x="25" y="61"/>
                </a:lnTo>
                <a:lnTo>
                  <a:pt x="63" y="65"/>
                </a:lnTo>
                <a:lnTo>
                  <a:pt x="54" y="33"/>
                </a:lnTo>
                <a:lnTo>
                  <a:pt x="23" y="7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55" name="Ireland"/>
          <p:cNvGrpSpPr/>
          <p:nvPr/>
        </p:nvGrpSpPr>
        <p:grpSpPr>
          <a:xfrm>
            <a:off x="6183838" y="3011488"/>
            <a:ext cx="760413" cy="677863"/>
            <a:chOff x="6204858" y="3011488"/>
            <a:chExt cx="760413" cy="677863"/>
          </a:xfrm>
          <a:solidFill>
            <a:schemeClr val="accent3"/>
          </a:solidFill>
        </p:grpSpPr>
        <p:sp>
          <p:nvSpPr>
            <p:cNvPr id="56" name="Ireland"/>
            <p:cNvSpPr>
              <a:spLocks/>
            </p:cNvSpPr>
            <p:nvPr/>
          </p:nvSpPr>
          <p:spPr bwMode="auto">
            <a:xfrm>
              <a:off x="6204858" y="3011488"/>
              <a:ext cx="630238" cy="677863"/>
            </a:xfrm>
            <a:custGeom>
              <a:avLst/>
              <a:gdLst>
                <a:gd name="T0" fmla="*/ 347 w 397"/>
                <a:gd name="T1" fmla="*/ 155 h 427"/>
                <a:gd name="T2" fmla="*/ 322 w 397"/>
                <a:gd name="T3" fmla="*/ 174 h 427"/>
                <a:gd name="T4" fmla="*/ 276 w 397"/>
                <a:gd name="T5" fmla="*/ 145 h 427"/>
                <a:gd name="T6" fmla="*/ 287 w 397"/>
                <a:gd name="T7" fmla="*/ 101 h 427"/>
                <a:gd name="T8" fmla="*/ 329 w 397"/>
                <a:gd name="T9" fmla="*/ 85 h 427"/>
                <a:gd name="T10" fmla="*/ 338 w 397"/>
                <a:gd name="T11" fmla="*/ 78 h 427"/>
                <a:gd name="T12" fmla="*/ 354 w 397"/>
                <a:gd name="T13" fmla="*/ 33 h 427"/>
                <a:gd name="T14" fmla="*/ 341 w 397"/>
                <a:gd name="T15" fmla="*/ 18 h 427"/>
                <a:gd name="T16" fmla="*/ 303 w 397"/>
                <a:gd name="T17" fmla="*/ 0 h 427"/>
                <a:gd name="T18" fmla="*/ 262 w 397"/>
                <a:gd name="T19" fmla="*/ 18 h 427"/>
                <a:gd name="T20" fmla="*/ 262 w 397"/>
                <a:gd name="T21" fmla="*/ 45 h 427"/>
                <a:gd name="T22" fmla="*/ 229 w 397"/>
                <a:gd name="T23" fmla="*/ 45 h 427"/>
                <a:gd name="T24" fmla="*/ 231 w 397"/>
                <a:gd name="T25" fmla="*/ 62 h 427"/>
                <a:gd name="T26" fmla="*/ 262 w 397"/>
                <a:gd name="T27" fmla="*/ 80 h 427"/>
                <a:gd name="T28" fmla="*/ 224 w 397"/>
                <a:gd name="T29" fmla="*/ 101 h 427"/>
                <a:gd name="T30" fmla="*/ 199 w 397"/>
                <a:gd name="T31" fmla="*/ 103 h 427"/>
                <a:gd name="T32" fmla="*/ 163 w 397"/>
                <a:gd name="T33" fmla="*/ 76 h 427"/>
                <a:gd name="T34" fmla="*/ 107 w 397"/>
                <a:gd name="T35" fmla="*/ 87 h 427"/>
                <a:gd name="T36" fmla="*/ 137 w 397"/>
                <a:gd name="T37" fmla="*/ 134 h 427"/>
                <a:gd name="T38" fmla="*/ 79 w 397"/>
                <a:gd name="T39" fmla="*/ 155 h 427"/>
                <a:gd name="T40" fmla="*/ 72 w 397"/>
                <a:gd name="T41" fmla="*/ 172 h 427"/>
                <a:gd name="T42" fmla="*/ 116 w 397"/>
                <a:gd name="T43" fmla="*/ 181 h 427"/>
                <a:gd name="T44" fmla="*/ 117 w 397"/>
                <a:gd name="T45" fmla="*/ 208 h 427"/>
                <a:gd name="T46" fmla="*/ 168 w 397"/>
                <a:gd name="T47" fmla="*/ 213 h 427"/>
                <a:gd name="T48" fmla="*/ 137 w 397"/>
                <a:gd name="T49" fmla="*/ 228 h 427"/>
                <a:gd name="T50" fmla="*/ 117 w 397"/>
                <a:gd name="T51" fmla="*/ 242 h 427"/>
                <a:gd name="T52" fmla="*/ 99 w 397"/>
                <a:gd name="T53" fmla="*/ 266 h 427"/>
                <a:gd name="T54" fmla="*/ 94 w 397"/>
                <a:gd name="T55" fmla="*/ 293 h 427"/>
                <a:gd name="T56" fmla="*/ 54 w 397"/>
                <a:gd name="T57" fmla="*/ 298 h 427"/>
                <a:gd name="T58" fmla="*/ 51 w 397"/>
                <a:gd name="T59" fmla="*/ 309 h 427"/>
                <a:gd name="T60" fmla="*/ 16 w 397"/>
                <a:gd name="T61" fmla="*/ 318 h 427"/>
                <a:gd name="T62" fmla="*/ 36 w 397"/>
                <a:gd name="T63" fmla="*/ 342 h 427"/>
                <a:gd name="T64" fmla="*/ 0 w 397"/>
                <a:gd name="T65" fmla="*/ 354 h 427"/>
                <a:gd name="T66" fmla="*/ 23 w 397"/>
                <a:gd name="T67" fmla="*/ 380 h 427"/>
                <a:gd name="T68" fmla="*/ 38 w 397"/>
                <a:gd name="T69" fmla="*/ 396 h 427"/>
                <a:gd name="T70" fmla="*/ 32 w 397"/>
                <a:gd name="T71" fmla="*/ 427 h 427"/>
                <a:gd name="T72" fmla="*/ 78 w 397"/>
                <a:gd name="T73" fmla="*/ 417 h 427"/>
                <a:gd name="T74" fmla="*/ 145 w 397"/>
                <a:gd name="T75" fmla="*/ 417 h 427"/>
                <a:gd name="T76" fmla="*/ 168 w 397"/>
                <a:gd name="T77" fmla="*/ 396 h 427"/>
                <a:gd name="T78" fmla="*/ 179 w 397"/>
                <a:gd name="T79" fmla="*/ 410 h 427"/>
                <a:gd name="T80" fmla="*/ 226 w 397"/>
                <a:gd name="T81" fmla="*/ 392 h 427"/>
                <a:gd name="T82" fmla="*/ 258 w 397"/>
                <a:gd name="T83" fmla="*/ 385 h 427"/>
                <a:gd name="T84" fmla="*/ 305 w 397"/>
                <a:gd name="T85" fmla="*/ 385 h 427"/>
                <a:gd name="T86" fmla="*/ 336 w 397"/>
                <a:gd name="T87" fmla="*/ 385 h 427"/>
                <a:gd name="T88" fmla="*/ 354 w 397"/>
                <a:gd name="T89" fmla="*/ 347 h 427"/>
                <a:gd name="T90" fmla="*/ 392 w 397"/>
                <a:gd name="T91" fmla="*/ 298 h 427"/>
                <a:gd name="T92" fmla="*/ 383 w 397"/>
                <a:gd name="T93" fmla="*/ 271 h 427"/>
                <a:gd name="T94" fmla="*/ 394 w 397"/>
                <a:gd name="T95" fmla="*/ 190 h 427"/>
                <a:gd name="T96" fmla="*/ 397 w 397"/>
                <a:gd name="T97" fmla="*/ 186 h 427"/>
                <a:gd name="T98" fmla="*/ 387 w 397"/>
                <a:gd name="T99" fmla="*/ 161 h 427"/>
                <a:gd name="T100" fmla="*/ 347 w 397"/>
                <a:gd name="T101" fmla="*/ 155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97" h="427">
                  <a:moveTo>
                    <a:pt x="347" y="155"/>
                  </a:moveTo>
                  <a:lnTo>
                    <a:pt x="322" y="174"/>
                  </a:lnTo>
                  <a:lnTo>
                    <a:pt x="276" y="145"/>
                  </a:lnTo>
                  <a:lnTo>
                    <a:pt x="287" y="101"/>
                  </a:lnTo>
                  <a:lnTo>
                    <a:pt x="329" y="85"/>
                  </a:lnTo>
                  <a:lnTo>
                    <a:pt x="338" y="78"/>
                  </a:lnTo>
                  <a:lnTo>
                    <a:pt x="354" y="33"/>
                  </a:lnTo>
                  <a:lnTo>
                    <a:pt x="341" y="18"/>
                  </a:lnTo>
                  <a:lnTo>
                    <a:pt x="303" y="0"/>
                  </a:lnTo>
                  <a:lnTo>
                    <a:pt x="262" y="18"/>
                  </a:lnTo>
                  <a:lnTo>
                    <a:pt x="262" y="45"/>
                  </a:lnTo>
                  <a:lnTo>
                    <a:pt x="229" y="45"/>
                  </a:lnTo>
                  <a:lnTo>
                    <a:pt x="231" y="62"/>
                  </a:lnTo>
                  <a:lnTo>
                    <a:pt x="262" y="80"/>
                  </a:lnTo>
                  <a:lnTo>
                    <a:pt x="224" y="101"/>
                  </a:lnTo>
                  <a:lnTo>
                    <a:pt x="199" y="103"/>
                  </a:lnTo>
                  <a:lnTo>
                    <a:pt x="163" y="76"/>
                  </a:lnTo>
                  <a:lnTo>
                    <a:pt x="107" y="87"/>
                  </a:lnTo>
                  <a:lnTo>
                    <a:pt x="137" y="134"/>
                  </a:lnTo>
                  <a:lnTo>
                    <a:pt x="79" y="155"/>
                  </a:lnTo>
                  <a:lnTo>
                    <a:pt x="72" y="172"/>
                  </a:lnTo>
                  <a:lnTo>
                    <a:pt x="116" y="181"/>
                  </a:lnTo>
                  <a:lnTo>
                    <a:pt x="117" y="208"/>
                  </a:lnTo>
                  <a:lnTo>
                    <a:pt x="168" y="213"/>
                  </a:lnTo>
                  <a:lnTo>
                    <a:pt x="137" y="228"/>
                  </a:lnTo>
                  <a:lnTo>
                    <a:pt x="117" y="242"/>
                  </a:lnTo>
                  <a:lnTo>
                    <a:pt x="99" y="266"/>
                  </a:lnTo>
                  <a:lnTo>
                    <a:pt x="94" y="293"/>
                  </a:lnTo>
                  <a:lnTo>
                    <a:pt x="54" y="298"/>
                  </a:lnTo>
                  <a:lnTo>
                    <a:pt x="51" y="309"/>
                  </a:lnTo>
                  <a:lnTo>
                    <a:pt x="16" y="318"/>
                  </a:lnTo>
                  <a:lnTo>
                    <a:pt x="36" y="342"/>
                  </a:lnTo>
                  <a:lnTo>
                    <a:pt x="0" y="354"/>
                  </a:lnTo>
                  <a:lnTo>
                    <a:pt x="23" y="380"/>
                  </a:lnTo>
                  <a:lnTo>
                    <a:pt x="38" y="396"/>
                  </a:lnTo>
                  <a:lnTo>
                    <a:pt x="32" y="427"/>
                  </a:lnTo>
                  <a:lnTo>
                    <a:pt x="78" y="417"/>
                  </a:lnTo>
                  <a:lnTo>
                    <a:pt x="145" y="417"/>
                  </a:lnTo>
                  <a:lnTo>
                    <a:pt x="168" y="396"/>
                  </a:lnTo>
                  <a:lnTo>
                    <a:pt x="179" y="410"/>
                  </a:lnTo>
                  <a:lnTo>
                    <a:pt x="226" y="392"/>
                  </a:lnTo>
                  <a:lnTo>
                    <a:pt x="258" y="385"/>
                  </a:lnTo>
                  <a:lnTo>
                    <a:pt x="305" y="385"/>
                  </a:lnTo>
                  <a:lnTo>
                    <a:pt x="336" y="385"/>
                  </a:lnTo>
                  <a:lnTo>
                    <a:pt x="354" y="347"/>
                  </a:lnTo>
                  <a:lnTo>
                    <a:pt x="392" y="298"/>
                  </a:lnTo>
                  <a:lnTo>
                    <a:pt x="383" y="271"/>
                  </a:lnTo>
                  <a:lnTo>
                    <a:pt x="394" y="190"/>
                  </a:lnTo>
                  <a:lnTo>
                    <a:pt x="397" y="186"/>
                  </a:lnTo>
                  <a:lnTo>
                    <a:pt x="387" y="161"/>
                  </a:lnTo>
                  <a:lnTo>
                    <a:pt x="347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Ireland"/>
            <p:cNvSpPr>
              <a:spLocks/>
            </p:cNvSpPr>
            <p:nvPr/>
          </p:nvSpPr>
          <p:spPr bwMode="auto">
            <a:xfrm>
              <a:off x="6643008" y="3049588"/>
              <a:ext cx="322263" cy="257175"/>
            </a:xfrm>
            <a:custGeom>
              <a:avLst/>
              <a:gdLst>
                <a:gd name="T0" fmla="*/ 203 w 203"/>
                <a:gd name="T1" fmla="*/ 122 h 162"/>
                <a:gd name="T2" fmla="*/ 194 w 203"/>
                <a:gd name="T3" fmla="*/ 66 h 162"/>
                <a:gd name="T4" fmla="*/ 177 w 203"/>
                <a:gd name="T5" fmla="*/ 57 h 162"/>
                <a:gd name="T6" fmla="*/ 177 w 203"/>
                <a:gd name="T7" fmla="*/ 12 h 162"/>
                <a:gd name="T8" fmla="*/ 150 w 203"/>
                <a:gd name="T9" fmla="*/ 0 h 162"/>
                <a:gd name="T10" fmla="*/ 130 w 203"/>
                <a:gd name="T11" fmla="*/ 7 h 162"/>
                <a:gd name="T12" fmla="*/ 109 w 203"/>
                <a:gd name="T13" fmla="*/ 0 h 162"/>
                <a:gd name="T14" fmla="*/ 82 w 203"/>
                <a:gd name="T15" fmla="*/ 12 h 162"/>
                <a:gd name="T16" fmla="*/ 78 w 203"/>
                <a:gd name="T17" fmla="*/ 9 h 162"/>
                <a:gd name="T18" fmla="*/ 62 w 203"/>
                <a:gd name="T19" fmla="*/ 54 h 162"/>
                <a:gd name="T20" fmla="*/ 53 w 203"/>
                <a:gd name="T21" fmla="*/ 61 h 162"/>
                <a:gd name="T22" fmla="*/ 11 w 203"/>
                <a:gd name="T23" fmla="*/ 77 h 162"/>
                <a:gd name="T24" fmla="*/ 0 w 203"/>
                <a:gd name="T25" fmla="*/ 121 h 162"/>
                <a:gd name="T26" fmla="*/ 46 w 203"/>
                <a:gd name="T27" fmla="*/ 150 h 162"/>
                <a:gd name="T28" fmla="*/ 71 w 203"/>
                <a:gd name="T29" fmla="*/ 131 h 162"/>
                <a:gd name="T30" fmla="*/ 111 w 203"/>
                <a:gd name="T31" fmla="*/ 137 h 162"/>
                <a:gd name="T32" fmla="*/ 121 w 203"/>
                <a:gd name="T33" fmla="*/ 162 h 162"/>
                <a:gd name="T34" fmla="*/ 154 w 203"/>
                <a:gd name="T35" fmla="*/ 131 h 162"/>
                <a:gd name="T36" fmla="*/ 203 w 203"/>
                <a:gd name="T37" fmla="*/ 12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162">
                  <a:moveTo>
                    <a:pt x="203" y="122"/>
                  </a:moveTo>
                  <a:lnTo>
                    <a:pt x="194" y="66"/>
                  </a:lnTo>
                  <a:lnTo>
                    <a:pt x="177" y="57"/>
                  </a:lnTo>
                  <a:lnTo>
                    <a:pt x="177" y="12"/>
                  </a:lnTo>
                  <a:lnTo>
                    <a:pt x="150" y="0"/>
                  </a:lnTo>
                  <a:lnTo>
                    <a:pt x="130" y="7"/>
                  </a:lnTo>
                  <a:lnTo>
                    <a:pt x="109" y="0"/>
                  </a:lnTo>
                  <a:lnTo>
                    <a:pt x="82" y="12"/>
                  </a:lnTo>
                  <a:lnTo>
                    <a:pt x="78" y="9"/>
                  </a:lnTo>
                  <a:lnTo>
                    <a:pt x="62" y="54"/>
                  </a:lnTo>
                  <a:lnTo>
                    <a:pt x="53" y="61"/>
                  </a:lnTo>
                  <a:lnTo>
                    <a:pt x="11" y="77"/>
                  </a:lnTo>
                  <a:lnTo>
                    <a:pt x="0" y="121"/>
                  </a:lnTo>
                  <a:lnTo>
                    <a:pt x="46" y="150"/>
                  </a:lnTo>
                  <a:lnTo>
                    <a:pt x="71" y="131"/>
                  </a:lnTo>
                  <a:lnTo>
                    <a:pt x="111" y="137"/>
                  </a:lnTo>
                  <a:lnTo>
                    <a:pt x="121" y="162"/>
                  </a:lnTo>
                  <a:lnTo>
                    <a:pt x="154" y="131"/>
                  </a:lnTo>
                  <a:lnTo>
                    <a:pt x="203" y="12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8" name="UK"/>
          <p:cNvGrpSpPr/>
          <p:nvPr/>
        </p:nvGrpSpPr>
        <p:grpSpPr>
          <a:xfrm>
            <a:off x="6717238" y="2435225"/>
            <a:ext cx="1087438" cy="1638301"/>
            <a:chOff x="6738258" y="2435225"/>
            <a:chExt cx="1087438" cy="1638301"/>
          </a:xfrm>
          <a:solidFill>
            <a:schemeClr val="accent3"/>
          </a:solidFill>
        </p:grpSpPr>
        <p:sp>
          <p:nvSpPr>
            <p:cNvPr id="59" name="UK"/>
            <p:cNvSpPr>
              <a:spLocks/>
            </p:cNvSpPr>
            <p:nvPr/>
          </p:nvSpPr>
          <p:spPr bwMode="auto">
            <a:xfrm>
              <a:off x="6933521" y="2435225"/>
              <a:ext cx="174625" cy="128588"/>
            </a:xfrm>
            <a:custGeom>
              <a:avLst/>
              <a:gdLst>
                <a:gd name="T0" fmla="*/ 41 w 110"/>
                <a:gd name="T1" fmla="*/ 29 h 81"/>
                <a:gd name="T2" fmla="*/ 58 w 110"/>
                <a:gd name="T3" fmla="*/ 5 h 81"/>
                <a:gd name="T4" fmla="*/ 110 w 110"/>
                <a:gd name="T5" fmla="*/ 0 h 81"/>
                <a:gd name="T6" fmla="*/ 76 w 110"/>
                <a:gd name="T7" fmla="*/ 67 h 81"/>
                <a:gd name="T8" fmla="*/ 49 w 110"/>
                <a:gd name="T9" fmla="*/ 58 h 81"/>
                <a:gd name="T10" fmla="*/ 14 w 110"/>
                <a:gd name="T11" fmla="*/ 81 h 81"/>
                <a:gd name="T12" fmla="*/ 0 w 110"/>
                <a:gd name="T13" fmla="*/ 69 h 81"/>
                <a:gd name="T14" fmla="*/ 9 w 110"/>
                <a:gd name="T15" fmla="*/ 40 h 81"/>
                <a:gd name="T16" fmla="*/ 20 w 110"/>
                <a:gd name="T17" fmla="*/ 23 h 81"/>
                <a:gd name="T18" fmla="*/ 41 w 110"/>
                <a:gd name="T19" fmla="*/ 29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" h="81">
                  <a:moveTo>
                    <a:pt x="41" y="29"/>
                  </a:moveTo>
                  <a:lnTo>
                    <a:pt x="58" y="5"/>
                  </a:lnTo>
                  <a:lnTo>
                    <a:pt x="110" y="0"/>
                  </a:lnTo>
                  <a:lnTo>
                    <a:pt x="76" y="67"/>
                  </a:lnTo>
                  <a:lnTo>
                    <a:pt x="49" y="58"/>
                  </a:lnTo>
                  <a:lnTo>
                    <a:pt x="14" y="81"/>
                  </a:lnTo>
                  <a:lnTo>
                    <a:pt x="0" y="69"/>
                  </a:lnTo>
                  <a:lnTo>
                    <a:pt x="9" y="40"/>
                  </a:lnTo>
                  <a:lnTo>
                    <a:pt x="20" y="23"/>
                  </a:lnTo>
                  <a:lnTo>
                    <a:pt x="41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UK"/>
            <p:cNvSpPr>
              <a:spLocks/>
            </p:cNvSpPr>
            <p:nvPr/>
          </p:nvSpPr>
          <p:spPr bwMode="auto">
            <a:xfrm>
              <a:off x="6738258" y="2443163"/>
              <a:ext cx="1087438" cy="1630363"/>
            </a:xfrm>
            <a:custGeom>
              <a:avLst/>
              <a:gdLst>
                <a:gd name="T0" fmla="*/ 349 w 685"/>
                <a:gd name="T1" fmla="*/ 27 h 1027"/>
                <a:gd name="T2" fmla="*/ 417 w 685"/>
                <a:gd name="T3" fmla="*/ 73 h 1027"/>
                <a:gd name="T4" fmla="*/ 394 w 685"/>
                <a:gd name="T5" fmla="*/ 134 h 1027"/>
                <a:gd name="T6" fmla="*/ 502 w 685"/>
                <a:gd name="T7" fmla="*/ 161 h 1027"/>
                <a:gd name="T8" fmla="*/ 406 w 685"/>
                <a:gd name="T9" fmla="*/ 286 h 1027"/>
                <a:gd name="T10" fmla="*/ 406 w 685"/>
                <a:gd name="T11" fmla="*/ 309 h 1027"/>
                <a:gd name="T12" fmla="*/ 363 w 685"/>
                <a:gd name="T13" fmla="*/ 344 h 1027"/>
                <a:gd name="T14" fmla="*/ 448 w 685"/>
                <a:gd name="T15" fmla="*/ 367 h 1027"/>
                <a:gd name="T16" fmla="*/ 482 w 685"/>
                <a:gd name="T17" fmla="*/ 521 h 1027"/>
                <a:gd name="T18" fmla="*/ 546 w 685"/>
                <a:gd name="T19" fmla="*/ 622 h 1027"/>
                <a:gd name="T20" fmla="*/ 549 w 685"/>
                <a:gd name="T21" fmla="*/ 745 h 1027"/>
                <a:gd name="T22" fmla="*/ 593 w 685"/>
                <a:gd name="T23" fmla="*/ 745 h 1027"/>
                <a:gd name="T24" fmla="*/ 685 w 685"/>
                <a:gd name="T25" fmla="*/ 792 h 1027"/>
                <a:gd name="T26" fmla="*/ 567 w 685"/>
                <a:gd name="T27" fmla="*/ 920 h 1027"/>
                <a:gd name="T28" fmla="*/ 636 w 685"/>
                <a:gd name="T29" fmla="*/ 943 h 1027"/>
                <a:gd name="T30" fmla="*/ 486 w 685"/>
                <a:gd name="T31" fmla="*/ 992 h 1027"/>
                <a:gd name="T32" fmla="*/ 383 w 685"/>
                <a:gd name="T33" fmla="*/ 976 h 1027"/>
                <a:gd name="T34" fmla="*/ 233 w 685"/>
                <a:gd name="T35" fmla="*/ 969 h 1027"/>
                <a:gd name="T36" fmla="*/ 179 w 685"/>
                <a:gd name="T37" fmla="*/ 1027 h 1027"/>
                <a:gd name="T38" fmla="*/ 40 w 685"/>
                <a:gd name="T39" fmla="*/ 1027 h 1027"/>
                <a:gd name="T40" fmla="*/ 0 w 685"/>
                <a:gd name="T41" fmla="*/ 992 h 1027"/>
                <a:gd name="T42" fmla="*/ 170 w 685"/>
                <a:gd name="T43" fmla="*/ 898 h 1027"/>
                <a:gd name="T44" fmla="*/ 240 w 685"/>
                <a:gd name="T45" fmla="*/ 922 h 1027"/>
                <a:gd name="T46" fmla="*/ 318 w 685"/>
                <a:gd name="T47" fmla="*/ 862 h 1027"/>
                <a:gd name="T48" fmla="*/ 204 w 685"/>
                <a:gd name="T49" fmla="*/ 871 h 1027"/>
                <a:gd name="T50" fmla="*/ 168 w 685"/>
                <a:gd name="T51" fmla="*/ 855 h 1027"/>
                <a:gd name="T52" fmla="*/ 110 w 685"/>
                <a:gd name="T53" fmla="*/ 842 h 1027"/>
                <a:gd name="T54" fmla="*/ 161 w 685"/>
                <a:gd name="T55" fmla="*/ 781 h 1027"/>
                <a:gd name="T56" fmla="*/ 202 w 685"/>
                <a:gd name="T57" fmla="*/ 694 h 1027"/>
                <a:gd name="T58" fmla="*/ 168 w 685"/>
                <a:gd name="T59" fmla="*/ 683 h 1027"/>
                <a:gd name="T60" fmla="*/ 302 w 685"/>
                <a:gd name="T61" fmla="*/ 651 h 1027"/>
                <a:gd name="T62" fmla="*/ 320 w 685"/>
                <a:gd name="T63" fmla="*/ 568 h 1027"/>
                <a:gd name="T64" fmla="*/ 316 w 685"/>
                <a:gd name="T65" fmla="*/ 476 h 1027"/>
                <a:gd name="T66" fmla="*/ 302 w 685"/>
                <a:gd name="T67" fmla="*/ 467 h 1027"/>
                <a:gd name="T68" fmla="*/ 233 w 685"/>
                <a:gd name="T69" fmla="*/ 450 h 1027"/>
                <a:gd name="T70" fmla="*/ 190 w 685"/>
                <a:gd name="T71" fmla="*/ 443 h 1027"/>
                <a:gd name="T72" fmla="*/ 224 w 685"/>
                <a:gd name="T73" fmla="*/ 344 h 1027"/>
                <a:gd name="T74" fmla="*/ 195 w 685"/>
                <a:gd name="T75" fmla="*/ 302 h 1027"/>
                <a:gd name="T76" fmla="*/ 161 w 685"/>
                <a:gd name="T77" fmla="*/ 389 h 1027"/>
                <a:gd name="T78" fmla="*/ 181 w 685"/>
                <a:gd name="T79" fmla="*/ 313 h 1027"/>
                <a:gd name="T80" fmla="*/ 202 w 685"/>
                <a:gd name="T81" fmla="*/ 241 h 1027"/>
                <a:gd name="T82" fmla="*/ 145 w 685"/>
                <a:gd name="T83" fmla="*/ 264 h 1027"/>
                <a:gd name="T84" fmla="*/ 222 w 685"/>
                <a:gd name="T85" fmla="*/ 183 h 1027"/>
                <a:gd name="T86" fmla="*/ 217 w 685"/>
                <a:gd name="T87" fmla="*/ 85 h 1027"/>
                <a:gd name="T88" fmla="*/ 304 w 685"/>
                <a:gd name="T89" fmla="*/ 0 h 10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85" h="1027">
                  <a:moveTo>
                    <a:pt x="304" y="0"/>
                  </a:moveTo>
                  <a:lnTo>
                    <a:pt x="349" y="27"/>
                  </a:lnTo>
                  <a:lnTo>
                    <a:pt x="446" y="27"/>
                  </a:lnTo>
                  <a:lnTo>
                    <a:pt x="417" y="73"/>
                  </a:lnTo>
                  <a:lnTo>
                    <a:pt x="320" y="134"/>
                  </a:lnTo>
                  <a:lnTo>
                    <a:pt x="394" y="134"/>
                  </a:lnTo>
                  <a:lnTo>
                    <a:pt x="428" y="149"/>
                  </a:lnTo>
                  <a:lnTo>
                    <a:pt x="502" y="161"/>
                  </a:lnTo>
                  <a:lnTo>
                    <a:pt x="509" y="181"/>
                  </a:lnTo>
                  <a:lnTo>
                    <a:pt x="406" y="286"/>
                  </a:lnTo>
                  <a:lnTo>
                    <a:pt x="379" y="297"/>
                  </a:lnTo>
                  <a:lnTo>
                    <a:pt x="406" y="309"/>
                  </a:lnTo>
                  <a:lnTo>
                    <a:pt x="350" y="329"/>
                  </a:lnTo>
                  <a:lnTo>
                    <a:pt x="363" y="344"/>
                  </a:lnTo>
                  <a:lnTo>
                    <a:pt x="385" y="344"/>
                  </a:lnTo>
                  <a:lnTo>
                    <a:pt x="448" y="367"/>
                  </a:lnTo>
                  <a:lnTo>
                    <a:pt x="464" y="411"/>
                  </a:lnTo>
                  <a:lnTo>
                    <a:pt x="482" y="521"/>
                  </a:lnTo>
                  <a:lnTo>
                    <a:pt x="556" y="588"/>
                  </a:lnTo>
                  <a:lnTo>
                    <a:pt x="546" y="622"/>
                  </a:lnTo>
                  <a:lnTo>
                    <a:pt x="578" y="710"/>
                  </a:lnTo>
                  <a:lnTo>
                    <a:pt x="549" y="745"/>
                  </a:lnTo>
                  <a:lnTo>
                    <a:pt x="569" y="765"/>
                  </a:lnTo>
                  <a:lnTo>
                    <a:pt x="593" y="745"/>
                  </a:lnTo>
                  <a:lnTo>
                    <a:pt x="656" y="759"/>
                  </a:lnTo>
                  <a:lnTo>
                    <a:pt x="685" y="792"/>
                  </a:lnTo>
                  <a:lnTo>
                    <a:pt x="658" y="862"/>
                  </a:lnTo>
                  <a:lnTo>
                    <a:pt x="567" y="920"/>
                  </a:lnTo>
                  <a:lnTo>
                    <a:pt x="600" y="943"/>
                  </a:lnTo>
                  <a:lnTo>
                    <a:pt x="636" y="943"/>
                  </a:lnTo>
                  <a:lnTo>
                    <a:pt x="524" y="1014"/>
                  </a:lnTo>
                  <a:lnTo>
                    <a:pt x="486" y="992"/>
                  </a:lnTo>
                  <a:lnTo>
                    <a:pt x="423" y="992"/>
                  </a:lnTo>
                  <a:lnTo>
                    <a:pt x="383" y="976"/>
                  </a:lnTo>
                  <a:lnTo>
                    <a:pt x="291" y="1000"/>
                  </a:lnTo>
                  <a:lnTo>
                    <a:pt x="233" y="969"/>
                  </a:lnTo>
                  <a:lnTo>
                    <a:pt x="211" y="969"/>
                  </a:lnTo>
                  <a:lnTo>
                    <a:pt x="179" y="1027"/>
                  </a:lnTo>
                  <a:lnTo>
                    <a:pt x="92" y="992"/>
                  </a:lnTo>
                  <a:lnTo>
                    <a:pt x="40" y="1027"/>
                  </a:lnTo>
                  <a:lnTo>
                    <a:pt x="20" y="1007"/>
                  </a:lnTo>
                  <a:lnTo>
                    <a:pt x="0" y="992"/>
                  </a:lnTo>
                  <a:lnTo>
                    <a:pt x="49" y="987"/>
                  </a:lnTo>
                  <a:lnTo>
                    <a:pt x="170" y="898"/>
                  </a:lnTo>
                  <a:lnTo>
                    <a:pt x="202" y="906"/>
                  </a:lnTo>
                  <a:lnTo>
                    <a:pt x="240" y="922"/>
                  </a:lnTo>
                  <a:lnTo>
                    <a:pt x="267" y="895"/>
                  </a:lnTo>
                  <a:lnTo>
                    <a:pt x="318" y="862"/>
                  </a:lnTo>
                  <a:lnTo>
                    <a:pt x="233" y="893"/>
                  </a:lnTo>
                  <a:lnTo>
                    <a:pt x="204" y="871"/>
                  </a:lnTo>
                  <a:lnTo>
                    <a:pt x="201" y="853"/>
                  </a:lnTo>
                  <a:lnTo>
                    <a:pt x="168" y="855"/>
                  </a:lnTo>
                  <a:lnTo>
                    <a:pt x="157" y="828"/>
                  </a:lnTo>
                  <a:lnTo>
                    <a:pt x="110" y="842"/>
                  </a:lnTo>
                  <a:lnTo>
                    <a:pt x="79" y="792"/>
                  </a:lnTo>
                  <a:lnTo>
                    <a:pt x="161" y="781"/>
                  </a:lnTo>
                  <a:lnTo>
                    <a:pt x="213" y="743"/>
                  </a:lnTo>
                  <a:lnTo>
                    <a:pt x="202" y="694"/>
                  </a:lnTo>
                  <a:lnTo>
                    <a:pt x="168" y="709"/>
                  </a:lnTo>
                  <a:lnTo>
                    <a:pt x="168" y="683"/>
                  </a:lnTo>
                  <a:lnTo>
                    <a:pt x="226" y="645"/>
                  </a:lnTo>
                  <a:lnTo>
                    <a:pt x="302" y="651"/>
                  </a:lnTo>
                  <a:lnTo>
                    <a:pt x="341" y="579"/>
                  </a:lnTo>
                  <a:lnTo>
                    <a:pt x="320" y="568"/>
                  </a:lnTo>
                  <a:lnTo>
                    <a:pt x="293" y="513"/>
                  </a:lnTo>
                  <a:lnTo>
                    <a:pt x="316" y="476"/>
                  </a:lnTo>
                  <a:lnTo>
                    <a:pt x="352" y="467"/>
                  </a:lnTo>
                  <a:lnTo>
                    <a:pt x="302" y="467"/>
                  </a:lnTo>
                  <a:lnTo>
                    <a:pt x="258" y="474"/>
                  </a:lnTo>
                  <a:lnTo>
                    <a:pt x="233" y="450"/>
                  </a:lnTo>
                  <a:lnTo>
                    <a:pt x="233" y="479"/>
                  </a:lnTo>
                  <a:lnTo>
                    <a:pt x="190" y="443"/>
                  </a:lnTo>
                  <a:lnTo>
                    <a:pt x="238" y="373"/>
                  </a:lnTo>
                  <a:lnTo>
                    <a:pt x="224" y="344"/>
                  </a:lnTo>
                  <a:lnTo>
                    <a:pt x="247" y="297"/>
                  </a:lnTo>
                  <a:lnTo>
                    <a:pt x="195" y="302"/>
                  </a:lnTo>
                  <a:lnTo>
                    <a:pt x="199" y="336"/>
                  </a:lnTo>
                  <a:lnTo>
                    <a:pt x="161" y="389"/>
                  </a:lnTo>
                  <a:lnTo>
                    <a:pt x="146" y="376"/>
                  </a:lnTo>
                  <a:lnTo>
                    <a:pt x="181" y="313"/>
                  </a:lnTo>
                  <a:lnTo>
                    <a:pt x="195" y="264"/>
                  </a:lnTo>
                  <a:lnTo>
                    <a:pt x="202" y="241"/>
                  </a:lnTo>
                  <a:lnTo>
                    <a:pt x="172" y="268"/>
                  </a:lnTo>
                  <a:lnTo>
                    <a:pt x="145" y="264"/>
                  </a:lnTo>
                  <a:lnTo>
                    <a:pt x="191" y="185"/>
                  </a:lnTo>
                  <a:lnTo>
                    <a:pt x="222" y="183"/>
                  </a:lnTo>
                  <a:lnTo>
                    <a:pt x="233" y="134"/>
                  </a:lnTo>
                  <a:lnTo>
                    <a:pt x="217" y="85"/>
                  </a:lnTo>
                  <a:lnTo>
                    <a:pt x="280" y="55"/>
                  </a:lnTo>
                  <a:lnTo>
                    <a:pt x="30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61" name="Denmark"/>
          <p:cNvGrpSpPr/>
          <p:nvPr/>
        </p:nvGrpSpPr>
        <p:grpSpPr>
          <a:xfrm>
            <a:off x="8684151" y="2782888"/>
            <a:ext cx="525463" cy="598488"/>
            <a:chOff x="8705171" y="2782888"/>
            <a:chExt cx="525463" cy="598488"/>
          </a:xfrm>
          <a:solidFill>
            <a:schemeClr val="accent4"/>
          </a:solidFill>
        </p:grpSpPr>
        <p:sp>
          <p:nvSpPr>
            <p:cNvPr id="62" name="Denmark"/>
            <p:cNvSpPr>
              <a:spLocks/>
            </p:cNvSpPr>
            <p:nvPr/>
          </p:nvSpPr>
          <p:spPr bwMode="auto">
            <a:xfrm>
              <a:off x="8705171" y="2782888"/>
              <a:ext cx="347663" cy="576263"/>
            </a:xfrm>
            <a:custGeom>
              <a:avLst/>
              <a:gdLst>
                <a:gd name="T0" fmla="*/ 42 w 219"/>
                <a:gd name="T1" fmla="*/ 312 h 363"/>
                <a:gd name="T2" fmla="*/ 42 w 219"/>
                <a:gd name="T3" fmla="*/ 287 h 363"/>
                <a:gd name="T4" fmla="*/ 0 w 219"/>
                <a:gd name="T5" fmla="*/ 272 h 363"/>
                <a:gd name="T6" fmla="*/ 6 w 219"/>
                <a:gd name="T7" fmla="*/ 238 h 363"/>
                <a:gd name="T8" fmla="*/ 20 w 219"/>
                <a:gd name="T9" fmla="*/ 234 h 363"/>
                <a:gd name="T10" fmla="*/ 20 w 219"/>
                <a:gd name="T11" fmla="*/ 209 h 363"/>
                <a:gd name="T12" fmla="*/ 8 w 219"/>
                <a:gd name="T13" fmla="*/ 202 h 363"/>
                <a:gd name="T14" fmla="*/ 8 w 219"/>
                <a:gd name="T15" fmla="*/ 137 h 363"/>
                <a:gd name="T16" fmla="*/ 20 w 219"/>
                <a:gd name="T17" fmla="*/ 122 h 363"/>
                <a:gd name="T18" fmla="*/ 27 w 219"/>
                <a:gd name="T19" fmla="*/ 122 h 363"/>
                <a:gd name="T20" fmla="*/ 20 w 219"/>
                <a:gd name="T21" fmla="*/ 95 h 363"/>
                <a:gd name="T22" fmla="*/ 53 w 219"/>
                <a:gd name="T23" fmla="*/ 72 h 363"/>
                <a:gd name="T24" fmla="*/ 92 w 219"/>
                <a:gd name="T25" fmla="*/ 72 h 363"/>
                <a:gd name="T26" fmla="*/ 118 w 219"/>
                <a:gd name="T27" fmla="*/ 59 h 363"/>
                <a:gd name="T28" fmla="*/ 136 w 219"/>
                <a:gd name="T29" fmla="*/ 25 h 363"/>
                <a:gd name="T30" fmla="*/ 170 w 219"/>
                <a:gd name="T31" fmla="*/ 16 h 363"/>
                <a:gd name="T32" fmla="*/ 186 w 219"/>
                <a:gd name="T33" fmla="*/ 0 h 363"/>
                <a:gd name="T34" fmla="*/ 194 w 219"/>
                <a:gd name="T35" fmla="*/ 3 h 363"/>
                <a:gd name="T36" fmla="*/ 190 w 219"/>
                <a:gd name="T37" fmla="*/ 16 h 363"/>
                <a:gd name="T38" fmla="*/ 177 w 219"/>
                <a:gd name="T39" fmla="*/ 21 h 363"/>
                <a:gd name="T40" fmla="*/ 190 w 219"/>
                <a:gd name="T41" fmla="*/ 39 h 363"/>
                <a:gd name="T42" fmla="*/ 194 w 219"/>
                <a:gd name="T43" fmla="*/ 63 h 363"/>
                <a:gd name="T44" fmla="*/ 183 w 219"/>
                <a:gd name="T45" fmla="*/ 77 h 363"/>
                <a:gd name="T46" fmla="*/ 168 w 219"/>
                <a:gd name="T47" fmla="*/ 94 h 363"/>
                <a:gd name="T48" fmla="*/ 163 w 219"/>
                <a:gd name="T49" fmla="*/ 113 h 363"/>
                <a:gd name="T50" fmla="*/ 168 w 219"/>
                <a:gd name="T51" fmla="*/ 124 h 363"/>
                <a:gd name="T52" fmla="*/ 168 w 219"/>
                <a:gd name="T53" fmla="*/ 139 h 363"/>
                <a:gd name="T54" fmla="*/ 177 w 219"/>
                <a:gd name="T55" fmla="*/ 148 h 363"/>
                <a:gd name="T56" fmla="*/ 199 w 219"/>
                <a:gd name="T57" fmla="*/ 148 h 363"/>
                <a:gd name="T58" fmla="*/ 213 w 219"/>
                <a:gd name="T59" fmla="*/ 148 h 363"/>
                <a:gd name="T60" fmla="*/ 219 w 219"/>
                <a:gd name="T61" fmla="*/ 173 h 363"/>
                <a:gd name="T62" fmla="*/ 197 w 219"/>
                <a:gd name="T63" fmla="*/ 198 h 363"/>
                <a:gd name="T64" fmla="*/ 177 w 219"/>
                <a:gd name="T65" fmla="*/ 204 h 363"/>
                <a:gd name="T66" fmla="*/ 177 w 219"/>
                <a:gd name="T67" fmla="*/ 187 h 363"/>
                <a:gd name="T68" fmla="*/ 161 w 219"/>
                <a:gd name="T69" fmla="*/ 189 h 363"/>
                <a:gd name="T70" fmla="*/ 163 w 219"/>
                <a:gd name="T71" fmla="*/ 220 h 363"/>
                <a:gd name="T72" fmla="*/ 159 w 219"/>
                <a:gd name="T73" fmla="*/ 240 h 363"/>
                <a:gd name="T74" fmla="*/ 141 w 219"/>
                <a:gd name="T75" fmla="*/ 249 h 363"/>
                <a:gd name="T76" fmla="*/ 127 w 219"/>
                <a:gd name="T77" fmla="*/ 247 h 363"/>
                <a:gd name="T78" fmla="*/ 129 w 219"/>
                <a:gd name="T79" fmla="*/ 265 h 363"/>
                <a:gd name="T80" fmla="*/ 111 w 219"/>
                <a:gd name="T81" fmla="*/ 276 h 363"/>
                <a:gd name="T82" fmla="*/ 118 w 219"/>
                <a:gd name="T83" fmla="*/ 299 h 363"/>
                <a:gd name="T84" fmla="*/ 121 w 219"/>
                <a:gd name="T85" fmla="*/ 321 h 363"/>
                <a:gd name="T86" fmla="*/ 103 w 219"/>
                <a:gd name="T87" fmla="*/ 325 h 363"/>
                <a:gd name="T88" fmla="*/ 123 w 219"/>
                <a:gd name="T89" fmla="*/ 341 h 363"/>
                <a:gd name="T90" fmla="*/ 132 w 219"/>
                <a:gd name="T91" fmla="*/ 363 h 363"/>
                <a:gd name="T92" fmla="*/ 96 w 219"/>
                <a:gd name="T93" fmla="*/ 359 h 363"/>
                <a:gd name="T94" fmla="*/ 27 w 219"/>
                <a:gd name="T95" fmla="*/ 343 h 363"/>
                <a:gd name="T96" fmla="*/ 40 w 219"/>
                <a:gd name="T97" fmla="*/ 328 h 363"/>
                <a:gd name="T98" fmla="*/ 42 w 219"/>
                <a:gd name="T99" fmla="*/ 312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19" h="363">
                  <a:moveTo>
                    <a:pt x="42" y="312"/>
                  </a:moveTo>
                  <a:lnTo>
                    <a:pt x="42" y="287"/>
                  </a:lnTo>
                  <a:lnTo>
                    <a:pt x="0" y="272"/>
                  </a:lnTo>
                  <a:lnTo>
                    <a:pt x="6" y="238"/>
                  </a:lnTo>
                  <a:lnTo>
                    <a:pt x="20" y="234"/>
                  </a:lnTo>
                  <a:lnTo>
                    <a:pt x="20" y="209"/>
                  </a:lnTo>
                  <a:lnTo>
                    <a:pt x="8" y="202"/>
                  </a:lnTo>
                  <a:lnTo>
                    <a:pt x="8" y="137"/>
                  </a:lnTo>
                  <a:lnTo>
                    <a:pt x="20" y="122"/>
                  </a:lnTo>
                  <a:lnTo>
                    <a:pt x="27" y="122"/>
                  </a:lnTo>
                  <a:lnTo>
                    <a:pt x="20" y="95"/>
                  </a:lnTo>
                  <a:lnTo>
                    <a:pt x="53" y="72"/>
                  </a:lnTo>
                  <a:lnTo>
                    <a:pt x="92" y="72"/>
                  </a:lnTo>
                  <a:lnTo>
                    <a:pt x="118" y="59"/>
                  </a:lnTo>
                  <a:lnTo>
                    <a:pt x="136" y="25"/>
                  </a:lnTo>
                  <a:lnTo>
                    <a:pt x="170" y="16"/>
                  </a:lnTo>
                  <a:lnTo>
                    <a:pt x="186" y="0"/>
                  </a:lnTo>
                  <a:lnTo>
                    <a:pt x="194" y="3"/>
                  </a:lnTo>
                  <a:lnTo>
                    <a:pt x="190" y="16"/>
                  </a:lnTo>
                  <a:lnTo>
                    <a:pt x="177" y="21"/>
                  </a:lnTo>
                  <a:lnTo>
                    <a:pt x="190" y="39"/>
                  </a:lnTo>
                  <a:lnTo>
                    <a:pt x="194" y="63"/>
                  </a:lnTo>
                  <a:lnTo>
                    <a:pt x="183" y="77"/>
                  </a:lnTo>
                  <a:lnTo>
                    <a:pt x="168" y="94"/>
                  </a:lnTo>
                  <a:lnTo>
                    <a:pt x="163" y="113"/>
                  </a:lnTo>
                  <a:lnTo>
                    <a:pt x="168" y="124"/>
                  </a:lnTo>
                  <a:lnTo>
                    <a:pt x="168" y="139"/>
                  </a:lnTo>
                  <a:lnTo>
                    <a:pt x="177" y="148"/>
                  </a:lnTo>
                  <a:lnTo>
                    <a:pt x="199" y="148"/>
                  </a:lnTo>
                  <a:lnTo>
                    <a:pt x="213" y="148"/>
                  </a:lnTo>
                  <a:lnTo>
                    <a:pt x="219" y="173"/>
                  </a:lnTo>
                  <a:lnTo>
                    <a:pt x="197" y="198"/>
                  </a:lnTo>
                  <a:lnTo>
                    <a:pt x="177" y="204"/>
                  </a:lnTo>
                  <a:lnTo>
                    <a:pt x="177" y="187"/>
                  </a:lnTo>
                  <a:lnTo>
                    <a:pt x="161" y="189"/>
                  </a:lnTo>
                  <a:lnTo>
                    <a:pt x="163" y="220"/>
                  </a:lnTo>
                  <a:lnTo>
                    <a:pt x="159" y="240"/>
                  </a:lnTo>
                  <a:lnTo>
                    <a:pt x="141" y="249"/>
                  </a:lnTo>
                  <a:lnTo>
                    <a:pt x="127" y="247"/>
                  </a:lnTo>
                  <a:lnTo>
                    <a:pt x="129" y="265"/>
                  </a:lnTo>
                  <a:lnTo>
                    <a:pt x="111" y="276"/>
                  </a:lnTo>
                  <a:lnTo>
                    <a:pt x="118" y="299"/>
                  </a:lnTo>
                  <a:lnTo>
                    <a:pt x="121" y="321"/>
                  </a:lnTo>
                  <a:lnTo>
                    <a:pt x="103" y="325"/>
                  </a:lnTo>
                  <a:lnTo>
                    <a:pt x="123" y="341"/>
                  </a:lnTo>
                  <a:lnTo>
                    <a:pt x="132" y="363"/>
                  </a:lnTo>
                  <a:lnTo>
                    <a:pt x="96" y="359"/>
                  </a:lnTo>
                  <a:lnTo>
                    <a:pt x="27" y="343"/>
                  </a:lnTo>
                  <a:lnTo>
                    <a:pt x="40" y="328"/>
                  </a:lnTo>
                  <a:lnTo>
                    <a:pt x="42" y="3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Denmark"/>
            <p:cNvSpPr>
              <a:spLocks/>
            </p:cNvSpPr>
            <p:nvPr/>
          </p:nvSpPr>
          <p:spPr bwMode="auto">
            <a:xfrm>
              <a:off x="8875033" y="3181350"/>
              <a:ext cx="134938" cy="131763"/>
            </a:xfrm>
            <a:custGeom>
              <a:avLst/>
              <a:gdLst>
                <a:gd name="T0" fmla="*/ 7 w 85"/>
                <a:gd name="T1" fmla="*/ 20 h 83"/>
                <a:gd name="T2" fmla="*/ 23 w 85"/>
                <a:gd name="T3" fmla="*/ 20 h 83"/>
                <a:gd name="T4" fmla="*/ 32 w 85"/>
                <a:gd name="T5" fmla="*/ 7 h 83"/>
                <a:gd name="T6" fmla="*/ 49 w 85"/>
                <a:gd name="T7" fmla="*/ 0 h 83"/>
                <a:gd name="T8" fmla="*/ 54 w 85"/>
                <a:gd name="T9" fmla="*/ 9 h 83"/>
                <a:gd name="T10" fmla="*/ 74 w 85"/>
                <a:gd name="T11" fmla="*/ 14 h 83"/>
                <a:gd name="T12" fmla="*/ 74 w 85"/>
                <a:gd name="T13" fmla="*/ 36 h 83"/>
                <a:gd name="T14" fmla="*/ 85 w 85"/>
                <a:gd name="T15" fmla="*/ 43 h 83"/>
                <a:gd name="T16" fmla="*/ 85 w 85"/>
                <a:gd name="T17" fmla="*/ 65 h 83"/>
                <a:gd name="T18" fmla="*/ 74 w 85"/>
                <a:gd name="T19" fmla="*/ 77 h 83"/>
                <a:gd name="T20" fmla="*/ 47 w 85"/>
                <a:gd name="T21" fmla="*/ 83 h 83"/>
                <a:gd name="T22" fmla="*/ 23 w 85"/>
                <a:gd name="T23" fmla="*/ 67 h 83"/>
                <a:gd name="T24" fmla="*/ 14 w 85"/>
                <a:gd name="T25" fmla="*/ 41 h 83"/>
                <a:gd name="T26" fmla="*/ 0 w 85"/>
                <a:gd name="T27" fmla="*/ 23 h 83"/>
                <a:gd name="T28" fmla="*/ 7 w 85"/>
                <a:gd name="T29" fmla="*/ 2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" h="83">
                  <a:moveTo>
                    <a:pt x="7" y="20"/>
                  </a:moveTo>
                  <a:lnTo>
                    <a:pt x="23" y="20"/>
                  </a:lnTo>
                  <a:lnTo>
                    <a:pt x="32" y="7"/>
                  </a:lnTo>
                  <a:lnTo>
                    <a:pt x="49" y="0"/>
                  </a:lnTo>
                  <a:lnTo>
                    <a:pt x="54" y="9"/>
                  </a:lnTo>
                  <a:lnTo>
                    <a:pt x="74" y="14"/>
                  </a:lnTo>
                  <a:lnTo>
                    <a:pt x="74" y="36"/>
                  </a:lnTo>
                  <a:lnTo>
                    <a:pt x="85" y="43"/>
                  </a:lnTo>
                  <a:lnTo>
                    <a:pt x="85" y="65"/>
                  </a:lnTo>
                  <a:lnTo>
                    <a:pt x="74" y="77"/>
                  </a:lnTo>
                  <a:lnTo>
                    <a:pt x="47" y="83"/>
                  </a:lnTo>
                  <a:lnTo>
                    <a:pt x="23" y="67"/>
                  </a:lnTo>
                  <a:lnTo>
                    <a:pt x="14" y="41"/>
                  </a:lnTo>
                  <a:lnTo>
                    <a:pt x="0" y="23"/>
                  </a:lnTo>
                  <a:lnTo>
                    <a:pt x="7" y="2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Denmark"/>
            <p:cNvSpPr>
              <a:spLocks/>
            </p:cNvSpPr>
            <p:nvPr/>
          </p:nvSpPr>
          <p:spPr bwMode="auto">
            <a:xfrm>
              <a:off x="9009971" y="3068638"/>
              <a:ext cx="220663" cy="312738"/>
            </a:xfrm>
            <a:custGeom>
              <a:avLst/>
              <a:gdLst>
                <a:gd name="T0" fmla="*/ 0 w 139"/>
                <a:gd name="T1" fmla="*/ 58 h 197"/>
                <a:gd name="T2" fmla="*/ 43 w 139"/>
                <a:gd name="T3" fmla="*/ 51 h 197"/>
                <a:gd name="T4" fmla="*/ 50 w 139"/>
                <a:gd name="T5" fmla="*/ 40 h 197"/>
                <a:gd name="T6" fmla="*/ 79 w 139"/>
                <a:gd name="T7" fmla="*/ 33 h 197"/>
                <a:gd name="T8" fmla="*/ 83 w 139"/>
                <a:gd name="T9" fmla="*/ 0 h 197"/>
                <a:gd name="T10" fmla="*/ 112 w 139"/>
                <a:gd name="T11" fmla="*/ 7 h 197"/>
                <a:gd name="T12" fmla="*/ 126 w 139"/>
                <a:gd name="T13" fmla="*/ 24 h 197"/>
                <a:gd name="T14" fmla="*/ 126 w 139"/>
                <a:gd name="T15" fmla="*/ 45 h 197"/>
                <a:gd name="T16" fmla="*/ 139 w 139"/>
                <a:gd name="T17" fmla="*/ 54 h 197"/>
                <a:gd name="T18" fmla="*/ 139 w 139"/>
                <a:gd name="T19" fmla="*/ 71 h 197"/>
                <a:gd name="T20" fmla="*/ 119 w 139"/>
                <a:gd name="T21" fmla="*/ 80 h 197"/>
                <a:gd name="T22" fmla="*/ 112 w 139"/>
                <a:gd name="T23" fmla="*/ 96 h 197"/>
                <a:gd name="T24" fmla="*/ 126 w 139"/>
                <a:gd name="T25" fmla="*/ 107 h 197"/>
                <a:gd name="T26" fmla="*/ 126 w 139"/>
                <a:gd name="T27" fmla="*/ 119 h 197"/>
                <a:gd name="T28" fmla="*/ 99 w 139"/>
                <a:gd name="T29" fmla="*/ 119 h 197"/>
                <a:gd name="T30" fmla="*/ 108 w 139"/>
                <a:gd name="T31" fmla="*/ 141 h 197"/>
                <a:gd name="T32" fmla="*/ 81 w 139"/>
                <a:gd name="T33" fmla="*/ 141 h 197"/>
                <a:gd name="T34" fmla="*/ 87 w 139"/>
                <a:gd name="T35" fmla="*/ 154 h 197"/>
                <a:gd name="T36" fmla="*/ 105 w 139"/>
                <a:gd name="T37" fmla="*/ 154 h 197"/>
                <a:gd name="T38" fmla="*/ 97 w 139"/>
                <a:gd name="T39" fmla="*/ 166 h 197"/>
                <a:gd name="T40" fmla="*/ 88 w 139"/>
                <a:gd name="T41" fmla="*/ 186 h 197"/>
                <a:gd name="T42" fmla="*/ 70 w 139"/>
                <a:gd name="T43" fmla="*/ 186 h 197"/>
                <a:gd name="T44" fmla="*/ 52 w 139"/>
                <a:gd name="T45" fmla="*/ 197 h 197"/>
                <a:gd name="T46" fmla="*/ 36 w 139"/>
                <a:gd name="T47" fmla="*/ 181 h 197"/>
                <a:gd name="T48" fmla="*/ 18 w 139"/>
                <a:gd name="T49" fmla="*/ 161 h 197"/>
                <a:gd name="T50" fmla="*/ 29 w 139"/>
                <a:gd name="T51" fmla="*/ 148 h 197"/>
                <a:gd name="T52" fmla="*/ 50 w 139"/>
                <a:gd name="T53" fmla="*/ 154 h 197"/>
                <a:gd name="T54" fmla="*/ 61 w 139"/>
                <a:gd name="T55" fmla="*/ 166 h 197"/>
                <a:gd name="T56" fmla="*/ 70 w 139"/>
                <a:gd name="T57" fmla="*/ 154 h 197"/>
                <a:gd name="T58" fmla="*/ 77 w 139"/>
                <a:gd name="T59" fmla="*/ 132 h 197"/>
                <a:gd name="T60" fmla="*/ 76 w 139"/>
                <a:gd name="T61" fmla="*/ 119 h 197"/>
                <a:gd name="T62" fmla="*/ 38 w 139"/>
                <a:gd name="T63" fmla="*/ 125 h 197"/>
                <a:gd name="T64" fmla="*/ 25 w 139"/>
                <a:gd name="T65" fmla="*/ 107 h 197"/>
                <a:gd name="T66" fmla="*/ 34 w 139"/>
                <a:gd name="T67" fmla="*/ 91 h 197"/>
                <a:gd name="T68" fmla="*/ 36 w 139"/>
                <a:gd name="T69" fmla="*/ 74 h 197"/>
                <a:gd name="T70" fmla="*/ 0 w 139"/>
                <a:gd name="T71" fmla="*/ 58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39" h="197">
                  <a:moveTo>
                    <a:pt x="0" y="58"/>
                  </a:moveTo>
                  <a:lnTo>
                    <a:pt x="43" y="51"/>
                  </a:lnTo>
                  <a:lnTo>
                    <a:pt x="50" y="40"/>
                  </a:lnTo>
                  <a:lnTo>
                    <a:pt x="79" y="33"/>
                  </a:lnTo>
                  <a:lnTo>
                    <a:pt x="83" y="0"/>
                  </a:lnTo>
                  <a:lnTo>
                    <a:pt x="112" y="7"/>
                  </a:lnTo>
                  <a:lnTo>
                    <a:pt x="126" y="24"/>
                  </a:lnTo>
                  <a:lnTo>
                    <a:pt x="126" y="45"/>
                  </a:lnTo>
                  <a:lnTo>
                    <a:pt x="139" y="54"/>
                  </a:lnTo>
                  <a:lnTo>
                    <a:pt x="139" y="71"/>
                  </a:lnTo>
                  <a:lnTo>
                    <a:pt x="119" y="80"/>
                  </a:lnTo>
                  <a:lnTo>
                    <a:pt x="112" y="96"/>
                  </a:lnTo>
                  <a:lnTo>
                    <a:pt x="126" y="107"/>
                  </a:lnTo>
                  <a:lnTo>
                    <a:pt x="126" y="119"/>
                  </a:lnTo>
                  <a:lnTo>
                    <a:pt x="99" y="119"/>
                  </a:lnTo>
                  <a:lnTo>
                    <a:pt x="108" y="141"/>
                  </a:lnTo>
                  <a:lnTo>
                    <a:pt x="81" y="141"/>
                  </a:lnTo>
                  <a:lnTo>
                    <a:pt x="87" y="154"/>
                  </a:lnTo>
                  <a:lnTo>
                    <a:pt x="105" y="154"/>
                  </a:lnTo>
                  <a:lnTo>
                    <a:pt x="97" y="166"/>
                  </a:lnTo>
                  <a:lnTo>
                    <a:pt x="88" y="186"/>
                  </a:lnTo>
                  <a:lnTo>
                    <a:pt x="70" y="186"/>
                  </a:lnTo>
                  <a:lnTo>
                    <a:pt x="52" y="197"/>
                  </a:lnTo>
                  <a:lnTo>
                    <a:pt x="36" y="181"/>
                  </a:lnTo>
                  <a:lnTo>
                    <a:pt x="18" y="161"/>
                  </a:lnTo>
                  <a:lnTo>
                    <a:pt x="29" y="148"/>
                  </a:lnTo>
                  <a:lnTo>
                    <a:pt x="50" y="154"/>
                  </a:lnTo>
                  <a:lnTo>
                    <a:pt x="61" y="166"/>
                  </a:lnTo>
                  <a:lnTo>
                    <a:pt x="70" y="154"/>
                  </a:lnTo>
                  <a:lnTo>
                    <a:pt x="77" y="132"/>
                  </a:lnTo>
                  <a:lnTo>
                    <a:pt x="76" y="119"/>
                  </a:lnTo>
                  <a:lnTo>
                    <a:pt x="38" y="125"/>
                  </a:lnTo>
                  <a:lnTo>
                    <a:pt x="25" y="107"/>
                  </a:lnTo>
                  <a:lnTo>
                    <a:pt x="34" y="91"/>
                  </a:lnTo>
                  <a:lnTo>
                    <a:pt x="36" y="74"/>
                  </a:lnTo>
                  <a:lnTo>
                    <a:pt x="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5" name="Norway"/>
          <p:cNvSpPr>
            <a:spLocks/>
          </p:cNvSpPr>
          <p:nvPr/>
        </p:nvSpPr>
        <p:spPr bwMode="auto">
          <a:xfrm>
            <a:off x="8349188" y="85725"/>
            <a:ext cx="2322513" cy="2652713"/>
          </a:xfrm>
          <a:custGeom>
            <a:avLst/>
            <a:gdLst>
              <a:gd name="T0" fmla="*/ 780 w 810"/>
              <a:gd name="T1" fmla="*/ 57 h 925"/>
              <a:gd name="T2" fmla="*/ 738 w 810"/>
              <a:gd name="T3" fmla="*/ 48 h 925"/>
              <a:gd name="T4" fmla="*/ 702 w 810"/>
              <a:gd name="T5" fmla="*/ 47 h 925"/>
              <a:gd name="T6" fmla="*/ 682 w 810"/>
              <a:gd name="T7" fmla="*/ 0 h 925"/>
              <a:gd name="T8" fmla="*/ 649 w 810"/>
              <a:gd name="T9" fmla="*/ 6 h 925"/>
              <a:gd name="T10" fmla="*/ 643 w 810"/>
              <a:gd name="T11" fmla="*/ 6 h 925"/>
              <a:gd name="T12" fmla="*/ 616 w 810"/>
              <a:gd name="T13" fmla="*/ 13 h 925"/>
              <a:gd name="T14" fmla="*/ 593 w 810"/>
              <a:gd name="T15" fmla="*/ 14 h 925"/>
              <a:gd name="T16" fmla="*/ 570 w 810"/>
              <a:gd name="T17" fmla="*/ 74 h 925"/>
              <a:gd name="T18" fmla="*/ 584 w 810"/>
              <a:gd name="T19" fmla="*/ 0 h 925"/>
              <a:gd name="T20" fmla="*/ 550 w 810"/>
              <a:gd name="T21" fmla="*/ 43 h 925"/>
              <a:gd name="T22" fmla="*/ 515 w 810"/>
              <a:gd name="T23" fmla="*/ 57 h 925"/>
              <a:gd name="T24" fmla="*/ 518 w 810"/>
              <a:gd name="T25" fmla="*/ 86 h 925"/>
              <a:gd name="T26" fmla="*/ 480 w 810"/>
              <a:gd name="T27" fmla="*/ 90 h 925"/>
              <a:gd name="T28" fmla="*/ 439 w 810"/>
              <a:gd name="T29" fmla="*/ 99 h 925"/>
              <a:gd name="T30" fmla="*/ 402 w 810"/>
              <a:gd name="T31" fmla="*/ 132 h 925"/>
              <a:gd name="T32" fmla="*/ 396 w 810"/>
              <a:gd name="T33" fmla="*/ 177 h 925"/>
              <a:gd name="T34" fmla="*/ 337 w 810"/>
              <a:gd name="T35" fmla="*/ 189 h 925"/>
              <a:gd name="T36" fmla="*/ 339 w 810"/>
              <a:gd name="T37" fmla="*/ 214 h 925"/>
              <a:gd name="T38" fmla="*/ 334 w 810"/>
              <a:gd name="T39" fmla="*/ 256 h 925"/>
              <a:gd name="T40" fmla="*/ 309 w 810"/>
              <a:gd name="T41" fmla="*/ 314 h 925"/>
              <a:gd name="T42" fmla="*/ 276 w 810"/>
              <a:gd name="T43" fmla="*/ 355 h 925"/>
              <a:gd name="T44" fmla="*/ 275 w 810"/>
              <a:gd name="T45" fmla="*/ 447 h 925"/>
              <a:gd name="T46" fmla="*/ 217 w 810"/>
              <a:gd name="T47" fmla="*/ 478 h 925"/>
              <a:gd name="T48" fmla="*/ 139 w 810"/>
              <a:gd name="T49" fmla="*/ 562 h 925"/>
              <a:gd name="T50" fmla="*/ 88 w 810"/>
              <a:gd name="T51" fmla="*/ 582 h 925"/>
              <a:gd name="T52" fmla="*/ 61 w 810"/>
              <a:gd name="T53" fmla="*/ 613 h 925"/>
              <a:gd name="T54" fmla="*/ 19 w 810"/>
              <a:gd name="T55" fmla="*/ 637 h 925"/>
              <a:gd name="T56" fmla="*/ 8 w 810"/>
              <a:gd name="T57" fmla="*/ 709 h 925"/>
              <a:gd name="T58" fmla="*/ 7 w 810"/>
              <a:gd name="T59" fmla="*/ 756 h 925"/>
              <a:gd name="T60" fmla="*/ 34 w 810"/>
              <a:gd name="T61" fmla="*/ 769 h 925"/>
              <a:gd name="T62" fmla="*/ 29 w 810"/>
              <a:gd name="T63" fmla="*/ 802 h 925"/>
              <a:gd name="T64" fmla="*/ 18 w 810"/>
              <a:gd name="T65" fmla="*/ 834 h 925"/>
              <a:gd name="T66" fmla="*/ 44 w 810"/>
              <a:gd name="T67" fmla="*/ 834 h 925"/>
              <a:gd name="T68" fmla="*/ 16 w 810"/>
              <a:gd name="T69" fmla="*/ 884 h 925"/>
              <a:gd name="T70" fmla="*/ 74 w 810"/>
              <a:gd name="T71" fmla="*/ 925 h 925"/>
              <a:gd name="T72" fmla="*/ 142 w 810"/>
              <a:gd name="T73" fmla="*/ 878 h 925"/>
              <a:gd name="T74" fmla="*/ 183 w 810"/>
              <a:gd name="T75" fmla="*/ 864 h 925"/>
              <a:gd name="T76" fmla="*/ 210 w 810"/>
              <a:gd name="T77" fmla="*/ 797 h 925"/>
              <a:gd name="T78" fmla="*/ 240 w 810"/>
              <a:gd name="T79" fmla="*/ 850 h 925"/>
              <a:gd name="T80" fmla="*/ 259 w 810"/>
              <a:gd name="T81" fmla="*/ 795 h 925"/>
              <a:gd name="T82" fmla="*/ 279 w 810"/>
              <a:gd name="T83" fmla="*/ 720 h 925"/>
              <a:gd name="T84" fmla="*/ 253 w 810"/>
              <a:gd name="T85" fmla="*/ 614 h 925"/>
              <a:gd name="T86" fmla="*/ 275 w 810"/>
              <a:gd name="T87" fmla="*/ 522 h 925"/>
              <a:gd name="T88" fmla="*/ 307 w 810"/>
              <a:gd name="T89" fmla="*/ 480 h 925"/>
              <a:gd name="T90" fmla="*/ 354 w 810"/>
              <a:gd name="T91" fmla="*/ 355 h 925"/>
              <a:gd name="T92" fmla="*/ 373 w 810"/>
              <a:gd name="T93" fmla="*/ 281 h 925"/>
              <a:gd name="T94" fmla="*/ 447 w 810"/>
              <a:gd name="T95" fmla="*/ 209 h 925"/>
              <a:gd name="T96" fmla="*/ 472 w 810"/>
              <a:gd name="T97" fmla="*/ 175 h 925"/>
              <a:gd name="T98" fmla="*/ 513 w 810"/>
              <a:gd name="T99" fmla="*/ 155 h 925"/>
              <a:gd name="T100" fmla="*/ 602 w 810"/>
              <a:gd name="T101" fmla="*/ 190 h 925"/>
              <a:gd name="T102" fmla="*/ 723 w 810"/>
              <a:gd name="T103" fmla="*/ 171 h 925"/>
              <a:gd name="T104" fmla="*/ 784 w 810"/>
              <a:gd name="T105" fmla="*/ 106 h 925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9055 w 10000"/>
              <a:gd name="connsiteY207" fmla="*/ 1767 h 10000"/>
              <a:gd name="connsiteX208" fmla="*/ 9444 w 10000"/>
              <a:gd name="connsiteY208" fmla="*/ 1492 h 10000"/>
              <a:gd name="connsiteX209" fmla="*/ 9284 w 10000"/>
              <a:gd name="connsiteY209" fmla="*/ 1362 h 10000"/>
              <a:gd name="connsiteX210" fmla="*/ 9346 w 10000"/>
              <a:gd name="connsiteY210" fmla="*/ 1351 h 10000"/>
              <a:gd name="connsiteX211" fmla="*/ 9679 w 10000"/>
              <a:gd name="connsiteY211" fmla="*/ 1146 h 10000"/>
              <a:gd name="connsiteX212" fmla="*/ 9938 w 10000"/>
              <a:gd name="connsiteY212" fmla="*/ 1178 h 10000"/>
              <a:gd name="connsiteX213" fmla="*/ 10000 w 10000"/>
              <a:gd name="connsiteY213" fmla="*/ 865 h 10000"/>
              <a:gd name="connsiteX214" fmla="*/ 9914 w 10000"/>
              <a:gd name="connsiteY214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9055 w 10000"/>
              <a:gd name="connsiteY207" fmla="*/ 1767 h 10000"/>
              <a:gd name="connsiteX208" fmla="*/ 9444 w 10000"/>
              <a:gd name="connsiteY208" fmla="*/ 1492 h 10000"/>
              <a:gd name="connsiteX209" fmla="*/ 9284 w 10000"/>
              <a:gd name="connsiteY209" fmla="*/ 1362 h 10000"/>
              <a:gd name="connsiteX210" fmla="*/ 9346 w 10000"/>
              <a:gd name="connsiteY210" fmla="*/ 1351 h 10000"/>
              <a:gd name="connsiteX211" fmla="*/ 9679 w 10000"/>
              <a:gd name="connsiteY211" fmla="*/ 1146 h 10000"/>
              <a:gd name="connsiteX212" fmla="*/ 9938 w 10000"/>
              <a:gd name="connsiteY212" fmla="*/ 1178 h 10000"/>
              <a:gd name="connsiteX213" fmla="*/ 10000 w 10000"/>
              <a:gd name="connsiteY213" fmla="*/ 865 h 10000"/>
              <a:gd name="connsiteX214" fmla="*/ 9914 w 10000"/>
              <a:gd name="connsiteY214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9172 w 10000"/>
              <a:gd name="connsiteY207" fmla="*/ 1685 h 10000"/>
              <a:gd name="connsiteX208" fmla="*/ 9444 w 10000"/>
              <a:gd name="connsiteY208" fmla="*/ 1492 h 10000"/>
              <a:gd name="connsiteX209" fmla="*/ 9284 w 10000"/>
              <a:gd name="connsiteY209" fmla="*/ 1362 h 10000"/>
              <a:gd name="connsiteX210" fmla="*/ 9346 w 10000"/>
              <a:gd name="connsiteY210" fmla="*/ 1351 h 10000"/>
              <a:gd name="connsiteX211" fmla="*/ 9679 w 10000"/>
              <a:gd name="connsiteY211" fmla="*/ 1146 h 10000"/>
              <a:gd name="connsiteX212" fmla="*/ 9938 w 10000"/>
              <a:gd name="connsiteY212" fmla="*/ 1178 h 10000"/>
              <a:gd name="connsiteX213" fmla="*/ 10000 w 10000"/>
              <a:gd name="connsiteY213" fmla="*/ 865 h 10000"/>
              <a:gd name="connsiteX214" fmla="*/ 9914 w 10000"/>
              <a:gd name="connsiteY214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8948 w 10000"/>
              <a:gd name="connsiteY207" fmla="*/ 1825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997 w 10000"/>
              <a:gd name="connsiteY206" fmla="*/ 1965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9304 w 10000"/>
              <a:gd name="connsiteY205" fmla="*/ 2139 h 10000"/>
              <a:gd name="connsiteX206" fmla="*/ 8997 w 10000"/>
              <a:gd name="connsiteY206" fmla="*/ 1965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9304 w 10000"/>
              <a:gd name="connsiteY205" fmla="*/ 2139 h 10000"/>
              <a:gd name="connsiteX206" fmla="*/ 9102 w 10000"/>
              <a:gd name="connsiteY206" fmla="*/ 1975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9304 w 10000"/>
              <a:gd name="connsiteY205" fmla="*/ 2139 h 10000"/>
              <a:gd name="connsiteX206" fmla="*/ 9067 w 10000"/>
              <a:gd name="connsiteY206" fmla="*/ 1975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</a:cxnLst>
            <a:rect l="l" t="t" r="r" b="b"/>
            <a:pathLst>
              <a:path w="10000" h="10000">
                <a:moveTo>
                  <a:pt x="9914" y="627"/>
                </a:moveTo>
                <a:cubicBezTo>
                  <a:pt x="9914" y="573"/>
                  <a:pt x="9753" y="692"/>
                  <a:pt x="9753" y="692"/>
                </a:cubicBezTo>
                <a:cubicBezTo>
                  <a:pt x="9737" y="685"/>
                  <a:pt x="9720" y="677"/>
                  <a:pt x="9704" y="670"/>
                </a:cubicBezTo>
                <a:cubicBezTo>
                  <a:pt x="9704" y="670"/>
                  <a:pt x="9605" y="627"/>
                  <a:pt x="9630" y="616"/>
                </a:cubicBezTo>
                <a:cubicBezTo>
                  <a:pt x="9654" y="605"/>
                  <a:pt x="9543" y="562"/>
                  <a:pt x="9543" y="562"/>
                </a:cubicBezTo>
                <a:lnTo>
                  <a:pt x="9296" y="616"/>
                </a:lnTo>
                <a:lnTo>
                  <a:pt x="9173" y="703"/>
                </a:lnTo>
                <a:cubicBezTo>
                  <a:pt x="9152" y="642"/>
                  <a:pt x="9132" y="580"/>
                  <a:pt x="9111" y="519"/>
                </a:cubicBezTo>
                <a:lnTo>
                  <a:pt x="8728" y="573"/>
                </a:lnTo>
                <a:lnTo>
                  <a:pt x="8420" y="616"/>
                </a:lnTo>
                <a:lnTo>
                  <a:pt x="8235" y="541"/>
                </a:lnTo>
                <a:lnTo>
                  <a:pt x="8667" y="508"/>
                </a:lnTo>
                <a:lnTo>
                  <a:pt x="8765" y="389"/>
                </a:lnTo>
                <a:lnTo>
                  <a:pt x="8901" y="259"/>
                </a:lnTo>
                <a:lnTo>
                  <a:pt x="8704" y="184"/>
                </a:lnTo>
                <a:lnTo>
                  <a:pt x="8420" y="0"/>
                </a:lnTo>
                <a:cubicBezTo>
                  <a:pt x="8445" y="32"/>
                  <a:pt x="8469" y="65"/>
                  <a:pt x="8494" y="97"/>
                </a:cubicBezTo>
                <a:lnTo>
                  <a:pt x="8309" y="205"/>
                </a:lnTo>
                <a:lnTo>
                  <a:pt x="8210" y="43"/>
                </a:lnTo>
                <a:lnTo>
                  <a:pt x="8012" y="65"/>
                </a:lnTo>
                <a:lnTo>
                  <a:pt x="8012" y="281"/>
                </a:lnTo>
                <a:cubicBezTo>
                  <a:pt x="7987" y="306"/>
                  <a:pt x="7963" y="332"/>
                  <a:pt x="7938" y="357"/>
                </a:cubicBezTo>
                <a:cubicBezTo>
                  <a:pt x="7918" y="321"/>
                  <a:pt x="7897" y="285"/>
                  <a:pt x="7877" y="249"/>
                </a:cubicBezTo>
                <a:cubicBezTo>
                  <a:pt x="7897" y="188"/>
                  <a:pt x="7918" y="126"/>
                  <a:pt x="7938" y="65"/>
                </a:cubicBezTo>
                <a:lnTo>
                  <a:pt x="7827" y="0"/>
                </a:lnTo>
                <a:lnTo>
                  <a:pt x="7654" y="0"/>
                </a:lnTo>
                <a:lnTo>
                  <a:pt x="7556" y="86"/>
                </a:lnTo>
                <a:lnTo>
                  <a:pt x="7605" y="141"/>
                </a:lnTo>
                <a:lnTo>
                  <a:pt x="7605" y="368"/>
                </a:lnTo>
                <a:cubicBezTo>
                  <a:pt x="7589" y="411"/>
                  <a:pt x="7572" y="454"/>
                  <a:pt x="7556" y="497"/>
                </a:cubicBezTo>
                <a:cubicBezTo>
                  <a:pt x="7511" y="439"/>
                  <a:pt x="7465" y="382"/>
                  <a:pt x="7420" y="324"/>
                </a:cubicBezTo>
                <a:cubicBezTo>
                  <a:pt x="7387" y="266"/>
                  <a:pt x="7354" y="209"/>
                  <a:pt x="7321" y="151"/>
                </a:cubicBezTo>
                <a:lnTo>
                  <a:pt x="7210" y="422"/>
                </a:lnTo>
                <a:lnTo>
                  <a:pt x="7210" y="627"/>
                </a:lnTo>
                <a:lnTo>
                  <a:pt x="7210" y="703"/>
                </a:lnTo>
                <a:lnTo>
                  <a:pt x="7037" y="800"/>
                </a:lnTo>
                <a:cubicBezTo>
                  <a:pt x="7041" y="742"/>
                  <a:pt x="7045" y="685"/>
                  <a:pt x="7049" y="627"/>
                </a:cubicBezTo>
                <a:lnTo>
                  <a:pt x="7049" y="551"/>
                </a:lnTo>
                <a:lnTo>
                  <a:pt x="7160" y="205"/>
                </a:lnTo>
                <a:cubicBezTo>
                  <a:pt x="7177" y="137"/>
                  <a:pt x="7193" y="68"/>
                  <a:pt x="7210" y="0"/>
                </a:cubicBezTo>
                <a:lnTo>
                  <a:pt x="6975" y="43"/>
                </a:lnTo>
                <a:lnTo>
                  <a:pt x="6975" y="184"/>
                </a:lnTo>
                <a:lnTo>
                  <a:pt x="6790" y="292"/>
                </a:lnTo>
                <a:lnTo>
                  <a:pt x="6790" y="465"/>
                </a:lnTo>
                <a:cubicBezTo>
                  <a:pt x="6745" y="487"/>
                  <a:pt x="6699" y="508"/>
                  <a:pt x="6654" y="530"/>
                </a:cubicBezTo>
                <a:lnTo>
                  <a:pt x="6420" y="465"/>
                </a:lnTo>
                <a:lnTo>
                  <a:pt x="6160" y="573"/>
                </a:lnTo>
                <a:lnTo>
                  <a:pt x="6358" y="616"/>
                </a:lnTo>
                <a:cubicBezTo>
                  <a:pt x="6370" y="638"/>
                  <a:pt x="6383" y="659"/>
                  <a:pt x="6395" y="681"/>
                </a:cubicBezTo>
                <a:cubicBezTo>
                  <a:pt x="6428" y="731"/>
                  <a:pt x="6461" y="782"/>
                  <a:pt x="6494" y="832"/>
                </a:cubicBezTo>
                <a:lnTo>
                  <a:pt x="6494" y="973"/>
                </a:lnTo>
                <a:cubicBezTo>
                  <a:pt x="6461" y="959"/>
                  <a:pt x="6428" y="944"/>
                  <a:pt x="6395" y="930"/>
                </a:cubicBezTo>
                <a:lnTo>
                  <a:pt x="6296" y="876"/>
                </a:lnTo>
                <a:lnTo>
                  <a:pt x="6111" y="800"/>
                </a:lnTo>
                <a:lnTo>
                  <a:pt x="5926" y="800"/>
                </a:lnTo>
                <a:lnTo>
                  <a:pt x="5926" y="973"/>
                </a:lnTo>
                <a:lnTo>
                  <a:pt x="5827" y="1135"/>
                </a:lnTo>
                <a:lnTo>
                  <a:pt x="5617" y="1200"/>
                </a:lnTo>
                <a:lnTo>
                  <a:pt x="5481" y="1222"/>
                </a:lnTo>
                <a:cubicBezTo>
                  <a:pt x="5461" y="1171"/>
                  <a:pt x="5440" y="1121"/>
                  <a:pt x="5420" y="1070"/>
                </a:cubicBezTo>
                <a:lnTo>
                  <a:pt x="5235" y="1232"/>
                </a:lnTo>
                <a:cubicBezTo>
                  <a:pt x="5247" y="1286"/>
                  <a:pt x="5260" y="1341"/>
                  <a:pt x="5272" y="1395"/>
                </a:cubicBezTo>
                <a:lnTo>
                  <a:pt x="5074" y="1589"/>
                </a:lnTo>
                <a:lnTo>
                  <a:pt x="4963" y="1427"/>
                </a:lnTo>
                <a:lnTo>
                  <a:pt x="4617" y="1784"/>
                </a:lnTo>
                <a:cubicBezTo>
                  <a:pt x="4650" y="1827"/>
                  <a:pt x="4683" y="1871"/>
                  <a:pt x="4716" y="1914"/>
                </a:cubicBezTo>
                <a:cubicBezTo>
                  <a:pt x="4774" y="1860"/>
                  <a:pt x="4831" y="1805"/>
                  <a:pt x="4889" y="1751"/>
                </a:cubicBezTo>
                <a:lnTo>
                  <a:pt x="4889" y="1914"/>
                </a:lnTo>
                <a:lnTo>
                  <a:pt x="4765" y="2173"/>
                </a:lnTo>
                <a:lnTo>
                  <a:pt x="4506" y="2000"/>
                </a:lnTo>
                <a:lnTo>
                  <a:pt x="4296" y="1914"/>
                </a:lnTo>
                <a:lnTo>
                  <a:pt x="4160" y="2043"/>
                </a:lnTo>
                <a:lnTo>
                  <a:pt x="3901" y="2205"/>
                </a:lnTo>
                <a:lnTo>
                  <a:pt x="4037" y="2205"/>
                </a:lnTo>
                <a:cubicBezTo>
                  <a:pt x="4045" y="2281"/>
                  <a:pt x="4054" y="2356"/>
                  <a:pt x="4062" y="2432"/>
                </a:cubicBezTo>
                <a:lnTo>
                  <a:pt x="4185" y="2314"/>
                </a:lnTo>
                <a:lnTo>
                  <a:pt x="4469" y="2314"/>
                </a:lnTo>
                <a:cubicBezTo>
                  <a:pt x="4444" y="2379"/>
                  <a:pt x="4420" y="2443"/>
                  <a:pt x="4395" y="2508"/>
                </a:cubicBezTo>
                <a:lnTo>
                  <a:pt x="4395" y="2670"/>
                </a:lnTo>
                <a:lnTo>
                  <a:pt x="4123" y="2768"/>
                </a:lnTo>
                <a:cubicBezTo>
                  <a:pt x="4090" y="2847"/>
                  <a:pt x="4058" y="2926"/>
                  <a:pt x="4025" y="3005"/>
                </a:cubicBezTo>
                <a:lnTo>
                  <a:pt x="3926" y="3254"/>
                </a:lnTo>
                <a:cubicBezTo>
                  <a:pt x="3942" y="3301"/>
                  <a:pt x="3959" y="3348"/>
                  <a:pt x="3975" y="3395"/>
                </a:cubicBezTo>
                <a:lnTo>
                  <a:pt x="3815" y="3395"/>
                </a:lnTo>
                <a:lnTo>
                  <a:pt x="3654" y="3449"/>
                </a:lnTo>
                <a:cubicBezTo>
                  <a:pt x="3671" y="3514"/>
                  <a:pt x="3687" y="3578"/>
                  <a:pt x="3704" y="3643"/>
                </a:cubicBezTo>
                <a:lnTo>
                  <a:pt x="3543" y="3643"/>
                </a:lnTo>
                <a:cubicBezTo>
                  <a:pt x="3498" y="3708"/>
                  <a:pt x="3452" y="3773"/>
                  <a:pt x="3407" y="3838"/>
                </a:cubicBezTo>
                <a:lnTo>
                  <a:pt x="3494" y="4195"/>
                </a:lnTo>
                <a:lnTo>
                  <a:pt x="3272" y="4400"/>
                </a:lnTo>
                <a:lnTo>
                  <a:pt x="3111" y="4714"/>
                </a:lnTo>
                <a:lnTo>
                  <a:pt x="3395" y="4832"/>
                </a:lnTo>
                <a:lnTo>
                  <a:pt x="2914" y="4897"/>
                </a:lnTo>
                <a:cubicBezTo>
                  <a:pt x="2893" y="4969"/>
                  <a:pt x="2873" y="5042"/>
                  <a:pt x="2852" y="5114"/>
                </a:cubicBezTo>
                <a:cubicBezTo>
                  <a:pt x="2868" y="5190"/>
                  <a:pt x="2885" y="5265"/>
                  <a:pt x="2901" y="5341"/>
                </a:cubicBezTo>
                <a:lnTo>
                  <a:pt x="2679" y="5168"/>
                </a:lnTo>
                <a:cubicBezTo>
                  <a:pt x="2650" y="5229"/>
                  <a:pt x="2622" y="5290"/>
                  <a:pt x="2593" y="5351"/>
                </a:cubicBezTo>
                <a:lnTo>
                  <a:pt x="2185" y="5741"/>
                </a:lnTo>
                <a:lnTo>
                  <a:pt x="2012" y="6032"/>
                </a:lnTo>
                <a:lnTo>
                  <a:pt x="1716" y="6076"/>
                </a:lnTo>
                <a:cubicBezTo>
                  <a:pt x="1749" y="6126"/>
                  <a:pt x="1782" y="6177"/>
                  <a:pt x="1815" y="6227"/>
                </a:cubicBezTo>
                <a:lnTo>
                  <a:pt x="1654" y="6292"/>
                </a:lnTo>
                <a:lnTo>
                  <a:pt x="1247" y="6368"/>
                </a:lnTo>
                <a:lnTo>
                  <a:pt x="1086" y="6292"/>
                </a:lnTo>
                <a:lnTo>
                  <a:pt x="975" y="6357"/>
                </a:lnTo>
                <a:lnTo>
                  <a:pt x="1086" y="6497"/>
                </a:lnTo>
                <a:lnTo>
                  <a:pt x="901" y="6573"/>
                </a:lnTo>
                <a:lnTo>
                  <a:pt x="753" y="6627"/>
                </a:lnTo>
                <a:lnTo>
                  <a:pt x="926" y="6768"/>
                </a:lnTo>
                <a:lnTo>
                  <a:pt x="580" y="6768"/>
                </a:lnTo>
                <a:lnTo>
                  <a:pt x="420" y="6886"/>
                </a:lnTo>
                <a:lnTo>
                  <a:pt x="235" y="6886"/>
                </a:lnTo>
                <a:lnTo>
                  <a:pt x="49" y="7211"/>
                </a:lnTo>
                <a:lnTo>
                  <a:pt x="160" y="7416"/>
                </a:lnTo>
                <a:lnTo>
                  <a:pt x="0" y="7416"/>
                </a:lnTo>
                <a:lnTo>
                  <a:pt x="99" y="7665"/>
                </a:lnTo>
                <a:cubicBezTo>
                  <a:pt x="66" y="7730"/>
                  <a:pt x="33" y="7794"/>
                  <a:pt x="0" y="7859"/>
                </a:cubicBezTo>
                <a:cubicBezTo>
                  <a:pt x="16" y="7924"/>
                  <a:pt x="33" y="7989"/>
                  <a:pt x="49" y="8054"/>
                </a:cubicBezTo>
                <a:lnTo>
                  <a:pt x="333" y="8173"/>
                </a:lnTo>
                <a:lnTo>
                  <a:pt x="86" y="8173"/>
                </a:lnTo>
                <a:lnTo>
                  <a:pt x="86" y="8314"/>
                </a:lnTo>
                <a:lnTo>
                  <a:pt x="222" y="8357"/>
                </a:lnTo>
                <a:cubicBezTo>
                  <a:pt x="243" y="8382"/>
                  <a:pt x="263" y="8407"/>
                  <a:pt x="284" y="8432"/>
                </a:cubicBezTo>
                <a:lnTo>
                  <a:pt x="420" y="8314"/>
                </a:lnTo>
                <a:cubicBezTo>
                  <a:pt x="449" y="8339"/>
                  <a:pt x="477" y="8364"/>
                  <a:pt x="506" y="8389"/>
                </a:cubicBezTo>
                <a:cubicBezTo>
                  <a:pt x="490" y="8411"/>
                  <a:pt x="473" y="8432"/>
                  <a:pt x="457" y="8454"/>
                </a:cubicBezTo>
                <a:lnTo>
                  <a:pt x="272" y="8616"/>
                </a:lnTo>
                <a:lnTo>
                  <a:pt x="358" y="8670"/>
                </a:lnTo>
                <a:lnTo>
                  <a:pt x="173" y="8735"/>
                </a:lnTo>
                <a:lnTo>
                  <a:pt x="49" y="8822"/>
                </a:lnTo>
                <a:lnTo>
                  <a:pt x="136" y="8930"/>
                </a:lnTo>
                <a:lnTo>
                  <a:pt x="222" y="9016"/>
                </a:lnTo>
                <a:lnTo>
                  <a:pt x="333" y="8832"/>
                </a:lnTo>
                <a:lnTo>
                  <a:pt x="444" y="8854"/>
                </a:lnTo>
                <a:cubicBezTo>
                  <a:pt x="428" y="8886"/>
                  <a:pt x="411" y="8919"/>
                  <a:pt x="395" y="8951"/>
                </a:cubicBezTo>
                <a:lnTo>
                  <a:pt x="543" y="9016"/>
                </a:lnTo>
                <a:lnTo>
                  <a:pt x="469" y="9016"/>
                </a:lnTo>
                <a:lnTo>
                  <a:pt x="272" y="9189"/>
                </a:lnTo>
                <a:lnTo>
                  <a:pt x="86" y="9308"/>
                </a:lnTo>
                <a:cubicBezTo>
                  <a:pt x="123" y="9391"/>
                  <a:pt x="161" y="9474"/>
                  <a:pt x="198" y="9557"/>
                </a:cubicBezTo>
                <a:lnTo>
                  <a:pt x="519" y="9805"/>
                </a:lnTo>
                <a:lnTo>
                  <a:pt x="753" y="9751"/>
                </a:lnTo>
                <a:lnTo>
                  <a:pt x="630" y="9892"/>
                </a:lnTo>
                <a:lnTo>
                  <a:pt x="914" y="10000"/>
                </a:lnTo>
                <a:lnTo>
                  <a:pt x="1383" y="9924"/>
                </a:lnTo>
                <a:cubicBezTo>
                  <a:pt x="1403" y="9884"/>
                  <a:pt x="1424" y="9845"/>
                  <a:pt x="1444" y="9805"/>
                </a:cubicBezTo>
                <a:lnTo>
                  <a:pt x="1568" y="9859"/>
                </a:lnTo>
                <a:cubicBezTo>
                  <a:pt x="1630" y="9737"/>
                  <a:pt x="1691" y="9614"/>
                  <a:pt x="1753" y="9492"/>
                </a:cubicBezTo>
                <a:lnTo>
                  <a:pt x="1889" y="9535"/>
                </a:lnTo>
                <a:lnTo>
                  <a:pt x="2049" y="9276"/>
                </a:lnTo>
                <a:cubicBezTo>
                  <a:pt x="2066" y="9247"/>
                  <a:pt x="2082" y="9218"/>
                  <a:pt x="2099" y="9189"/>
                </a:cubicBezTo>
                <a:cubicBezTo>
                  <a:pt x="2152" y="9240"/>
                  <a:pt x="2206" y="9290"/>
                  <a:pt x="2259" y="9341"/>
                </a:cubicBezTo>
                <a:lnTo>
                  <a:pt x="2444" y="9189"/>
                </a:lnTo>
                <a:cubicBezTo>
                  <a:pt x="2465" y="9110"/>
                  <a:pt x="2485" y="9030"/>
                  <a:pt x="2506" y="8951"/>
                </a:cubicBezTo>
                <a:cubicBezTo>
                  <a:pt x="2485" y="8879"/>
                  <a:pt x="2465" y="8807"/>
                  <a:pt x="2444" y="8735"/>
                </a:cubicBezTo>
                <a:lnTo>
                  <a:pt x="2593" y="8616"/>
                </a:lnTo>
                <a:lnTo>
                  <a:pt x="2593" y="8897"/>
                </a:lnTo>
                <a:lnTo>
                  <a:pt x="2716" y="9092"/>
                </a:lnTo>
                <a:lnTo>
                  <a:pt x="2852" y="9092"/>
                </a:lnTo>
                <a:lnTo>
                  <a:pt x="2963" y="9189"/>
                </a:lnTo>
                <a:lnTo>
                  <a:pt x="2852" y="9276"/>
                </a:lnTo>
                <a:lnTo>
                  <a:pt x="3099" y="9276"/>
                </a:lnTo>
                <a:lnTo>
                  <a:pt x="3099" y="8800"/>
                </a:lnTo>
                <a:cubicBezTo>
                  <a:pt x="3132" y="8732"/>
                  <a:pt x="3165" y="8663"/>
                  <a:pt x="3198" y="8595"/>
                </a:cubicBezTo>
                <a:lnTo>
                  <a:pt x="3506" y="8465"/>
                </a:lnTo>
                <a:cubicBezTo>
                  <a:pt x="3485" y="8324"/>
                  <a:pt x="3465" y="8184"/>
                  <a:pt x="3444" y="8043"/>
                </a:cubicBezTo>
                <a:lnTo>
                  <a:pt x="3284" y="7784"/>
                </a:lnTo>
                <a:lnTo>
                  <a:pt x="3444" y="7784"/>
                </a:lnTo>
                <a:cubicBezTo>
                  <a:pt x="3489" y="7672"/>
                  <a:pt x="3535" y="7561"/>
                  <a:pt x="3580" y="7449"/>
                </a:cubicBezTo>
                <a:lnTo>
                  <a:pt x="3272" y="7297"/>
                </a:lnTo>
                <a:cubicBezTo>
                  <a:pt x="3288" y="7146"/>
                  <a:pt x="3305" y="6994"/>
                  <a:pt x="3321" y="6843"/>
                </a:cubicBezTo>
                <a:lnTo>
                  <a:pt x="3123" y="6638"/>
                </a:lnTo>
                <a:cubicBezTo>
                  <a:pt x="3173" y="6541"/>
                  <a:pt x="3222" y="6443"/>
                  <a:pt x="3272" y="6346"/>
                </a:cubicBezTo>
                <a:cubicBezTo>
                  <a:pt x="3218" y="6296"/>
                  <a:pt x="3165" y="6245"/>
                  <a:pt x="3111" y="6195"/>
                </a:cubicBezTo>
                <a:cubicBezTo>
                  <a:pt x="3127" y="6108"/>
                  <a:pt x="3144" y="6022"/>
                  <a:pt x="3160" y="5935"/>
                </a:cubicBezTo>
                <a:lnTo>
                  <a:pt x="3395" y="5643"/>
                </a:lnTo>
                <a:lnTo>
                  <a:pt x="3568" y="5568"/>
                </a:lnTo>
                <a:lnTo>
                  <a:pt x="3852" y="5557"/>
                </a:lnTo>
                <a:cubicBezTo>
                  <a:pt x="3901" y="5481"/>
                  <a:pt x="3951" y="5406"/>
                  <a:pt x="4000" y="5330"/>
                </a:cubicBezTo>
                <a:lnTo>
                  <a:pt x="3790" y="5189"/>
                </a:lnTo>
                <a:lnTo>
                  <a:pt x="4000" y="4638"/>
                </a:lnTo>
                <a:lnTo>
                  <a:pt x="4000" y="4000"/>
                </a:lnTo>
                <a:lnTo>
                  <a:pt x="4296" y="4000"/>
                </a:lnTo>
                <a:cubicBezTo>
                  <a:pt x="4321" y="3946"/>
                  <a:pt x="4345" y="3892"/>
                  <a:pt x="4370" y="3838"/>
                </a:cubicBezTo>
                <a:lnTo>
                  <a:pt x="4247" y="3773"/>
                </a:lnTo>
                <a:lnTo>
                  <a:pt x="4704" y="3276"/>
                </a:lnTo>
                <a:lnTo>
                  <a:pt x="4444" y="3038"/>
                </a:lnTo>
                <a:lnTo>
                  <a:pt x="4605" y="3038"/>
                </a:lnTo>
                <a:cubicBezTo>
                  <a:pt x="4638" y="2908"/>
                  <a:pt x="4671" y="2779"/>
                  <a:pt x="4704" y="2649"/>
                </a:cubicBezTo>
                <a:lnTo>
                  <a:pt x="5037" y="2649"/>
                </a:lnTo>
                <a:lnTo>
                  <a:pt x="5037" y="2259"/>
                </a:lnTo>
                <a:lnTo>
                  <a:pt x="5519" y="2259"/>
                </a:lnTo>
                <a:cubicBezTo>
                  <a:pt x="5548" y="2277"/>
                  <a:pt x="5576" y="2296"/>
                  <a:pt x="5605" y="2314"/>
                </a:cubicBezTo>
                <a:lnTo>
                  <a:pt x="5753" y="2259"/>
                </a:lnTo>
                <a:lnTo>
                  <a:pt x="5753" y="2108"/>
                </a:lnTo>
                <a:cubicBezTo>
                  <a:pt x="5778" y="2036"/>
                  <a:pt x="5802" y="1964"/>
                  <a:pt x="5827" y="1892"/>
                </a:cubicBezTo>
                <a:lnTo>
                  <a:pt x="5605" y="1751"/>
                </a:lnTo>
                <a:lnTo>
                  <a:pt x="6037" y="1838"/>
                </a:lnTo>
                <a:lnTo>
                  <a:pt x="6185" y="1654"/>
                </a:lnTo>
                <a:lnTo>
                  <a:pt x="6333" y="1676"/>
                </a:lnTo>
                <a:lnTo>
                  <a:pt x="6333" y="1676"/>
                </a:lnTo>
                <a:lnTo>
                  <a:pt x="6333" y="1676"/>
                </a:lnTo>
                <a:lnTo>
                  <a:pt x="7148" y="2119"/>
                </a:lnTo>
                <a:lnTo>
                  <a:pt x="7432" y="2054"/>
                </a:lnTo>
                <a:lnTo>
                  <a:pt x="7889" y="2065"/>
                </a:lnTo>
                <a:cubicBezTo>
                  <a:pt x="8201" y="2079"/>
                  <a:pt x="9108" y="2154"/>
                  <a:pt x="9304" y="2139"/>
                </a:cubicBezTo>
                <a:cubicBezTo>
                  <a:pt x="9500" y="2124"/>
                  <a:pt x="9087" y="2038"/>
                  <a:pt x="9067" y="1975"/>
                </a:cubicBezTo>
                <a:cubicBezTo>
                  <a:pt x="9047" y="1912"/>
                  <a:pt x="9108" y="1804"/>
                  <a:pt x="9182" y="1764"/>
                </a:cubicBezTo>
                <a:cubicBezTo>
                  <a:pt x="9256" y="1724"/>
                  <a:pt x="9128" y="1730"/>
                  <a:pt x="9172" y="1685"/>
                </a:cubicBezTo>
                <a:cubicBezTo>
                  <a:pt x="9216" y="1640"/>
                  <a:pt x="9425" y="1546"/>
                  <a:pt x="9444" y="1492"/>
                </a:cubicBezTo>
                <a:cubicBezTo>
                  <a:pt x="9463" y="1438"/>
                  <a:pt x="9284" y="1362"/>
                  <a:pt x="9284" y="1362"/>
                </a:cubicBezTo>
                <a:cubicBezTo>
                  <a:pt x="9305" y="1358"/>
                  <a:pt x="9325" y="1355"/>
                  <a:pt x="9346" y="1351"/>
                </a:cubicBezTo>
                <a:lnTo>
                  <a:pt x="9679" y="1146"/>
                </a:lnTo>
                <a:lnTo>
                  <a:pt x="9938" y="1178"/>
                </a:lnTo>
                <a:cubicBezTo>
                  <a:pt x="9959" y="1074"/>
                  <a:pt x="9979" y="969"/>
                  <a:pt x="10000" y="865"/>
                </a:cubicBezTo>
                <a:cubicBezTo>
                  <a:pt x="10000" y="865"/>
                  <a:pt x="9914" y="692"/>
                  <a:pt x="9914" y="627"/>
                </a:cubicBez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6" name="Finland"/>
          <p:cNvSpPr>
            <a:spLocks/>
          </p:cNvSpPr>
          <p:nvPr/>
        </p:nvSpPr>
        <p:spPr bwMode="auto">
          <a:xfrm>
            <a:off x="9746188" y="273050"/>
            <a:ext cx="1227138" cy="1990725"/>
          </a:xfrm>
          <a:custGeom>
            <a:avLst/>
            <a:gdLst>
              <a:gd name="T0" fmla="*/ 181 w 428"/>
              <a:gd name="T1" fmla="*/ 0 h 694"/>
              <a:gd name="T2" fmla="*/ 158 w 428"/>
              <a:gd name="T3" fmla="*/ 16 h 694"/>
              <a:gd name="T4" fmla="*/ 148 w 428"/>
              <a:gd name="T5" fmla="*/ 102 h 694"/>
              <a:gd name="T6" fmla="*/ 91 w 428"/>
              <a:gd name="T7" fmla="*/ 102 h 694"/>
              <a:gd name="T8" fmla="*/ 26 w 428"/>
              <a:gd name="T9" fmla="*/ 90 h 694"/>
              <a:gd name="T10" fmla="*/ 14 w 428"/>
              <a:gd name="T11" fmla="*/ 88 h 694"/>
              <a:gd name="T12" fmla="*/ 26 w 428"/>
              <a:gd name="T13" fmla="*/ 126 h 694"/>
              <a:gd name="T14" fmla="*/ 65 w 428"/>
              <a:gd name="T15" fmla="*/ 137 h 694"/>
              <a:gd name="T16" fmla="*/ 84 w 428"/>
              <a:gd name="T17" fmla="*/ 159 h 694"/>
              <a:gd name="T18" fmla="*/ 102 w 428"/>
              <a:gd name="T19" fmla="*/ 191 h 694"/>
              <a:gd name="T20" fmla="*/ 116 w 428"/>
              <a:gd name="T21" fmla="*/ 231 h 694"/>
              <a:gd name="T22" fmla="*/ 137 w 428"/>
              <a:gd name="T23" fmla="*/ 290 h 694"/>
              <a:gd name="T24" fmla="*/ 180 w 428"/>
              <a:gd name="T25" fmla="*/ 316 h 694"/>
              <a:gd name="T26" fmla="*/ 201 w 428"/>
              <a:gd name="T27" fmla="*/ 341 h 694"/>
              <a:gd name="T28" fmla="*/ 171 w 428"/>
              <a:gd name="T29" fmla="*/ 361 h 694"/>
              <a:gd name="T30" fmla="*/ 151 w 428"/>
              <a:gd name="T31" fmla="*/ 419 h 694"/>
              <a:gd name="T32" fmla="*/ 131 w 428"/>
              <a:gd name="T33" fmla="*/ 440 h 694"/>
              <a:gd name="T34" fmla="*/ 116 w 428"/>
              <a:gd name="T35" fmla="*/ 479 h 694"/>
              <a:gd name="T36" fmla="*/ 95 w 428"/>
              <a:gd name="T37" fmla="*/ 494 h 694"/>
              <a:gd name="T38" fmla="*/ 99 w 428"/>
              <a:gd name="T39" fmla="*/ 542 h 694"/>
              <a:gd name="T40" fmla="*/ 119 w 428"/>
              <a:gd name="T41" fmla="*/ 590 h 694"/>
              <a:gd name="T42" fmla="*/ 122 w 428"/>
              <a:gd name="T43" fmla="*/ 618 h 694"/>
              <a:gd name="T44" fmla="*/ 124 w 428"/>
              <a:gd name="T45" fmla="*/ 644 h 694"/>
              <a:gd name="T46" fmla="*/ 136 w 428"/>
              <a:gd name="T47" fmla="*/ 660 h 694"/>
              <a:gd name="T48" fmla="*/ 171 w 428"/>
              <a:gd name="T49" fmla="*/ 673 h 694"/>
              <a:gd name="T50" fmla="*/ 190 w 428"/>
              <a:gd name="T51" fmla="*/ 686 h 694"/>
              <a:gd name="T52" fmla="*/ 218 w 428"/>
              <a:gd name="T53" fmla="*/ 694 h 694"/>
              <a:gd name="T54" fmla="*/ 262 w 428"/>
              <a:gd name="T55" fmla="*/ 666 h 694"/>
              <a:gd name="T56" fmla="*/ 293 w 428"/>
              <a:gd name="T57" fmla="*/ 635 h 694"/>
              <a:gd name="T58" fmla="*/ 335 w 428"/>
              <a:gd name="T59" fmla="*/ 623 h 694"/>
              <a:gd name="T60" fmla="*/ 397 w 428"/>
              <a:gd name="T61" fmla="*/ 551 h 694"/>
              <a:gd name="T62" fmla="*/ 428 w 428"/>
              <a:gd name="T63" fmla="*/ 448 h 694"/>
              <a:gd name="T64" fmla="*/ 367 w 428"/>
              <a:gd name="T65" fmla="*/ 391 h 694"/>
              <a:gd name="T66" fmla="*/ 367 w 428"/>
              <a:gd name="T67" fmla="*/ 344 h 694"/>
              <a:gd name="T68" fmla="*/ 345 w 428"/>
              <a:gd name="T69" fmla="*/ 338 h 694"/>
              <a:gd name="T70" fmla="*/ 332 w 428"/>
              <a:gd name="T71" fmla="*/ 323 h 694"/>
              <a:gd name="T72" fmla="*/ 327 w 428"/>
              <a:gd name="T73" fmla="*/ 301 h 694"/>
              <a:gd name="T74" fmla="*/ 311 w 428"/>
              <a:gd name="T75" fmla="*/ 272 h 694"/>
              <a:gd name="T76" fmla="*/ 275 w 428"/>
              <a:gd name="T77" fmla="*/ 207 h 694"/>
              <a:gd name="T78" fmla="*/ 275 w 428"/>
              <a:gd name="T79" fmla="*/ 147 h 694"/>
              <a:gd name="T80" fmla="*/ 252 w 428"/>
              <a:gd name="T81" fmla="*/ 126 h 694"/>
              <a:gd name="T82" fmla="*/ 223 w 428"/>
              <a:gd name="T83" fmla="*/ 114 h 694"/>
              <a:gd name="T84" fmla="*/ 218 w 428"/>
              <a:gd name="T85" fmla="*/ 75 h 694"/>
              <a:gd name="T86" fmla="*/ 201 w 428"/>
              <a:gd name="T87" fmla="*/ 67 h 694"/>
              <a:gd name="T88" fmla="*/ 215 w 428"/>
              <a:gd name="T89" fmla="*/ 36 h 694"/>
              <a:gd name="T90" fmla="*/ 199 w 428"/>
              <a:gd name="T91" fmla="*/ 12 h 694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4696 w 10000"/>
              <a:gd name="connsiteY87" fmla="*/ 965 h 10000"/>
              <a:gd name="connsiteX88" fmla="*/ 5023 w 10000"/>
              <a:gd name="connsiteY88" fmla="*/ 850 h 10000"/>
              <a:gd name="connsiteX89" fmla="*/ 5023 w 10000"/>
              <a:gd name="connsiteY89" fmla="*/ 519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4696 w 10000"/>
              <a:gd name="connsiteY87" fmla="*/ 965 h 10000"/>
              <a:gd name="connsiteX88" fmla="*/ 5023 w 10000"/>
              <a:gd name="connsiteY88" fmla="*/ 850 h 10000"/>
              <a:gd name="connsiteX89" fmla="*/ 5279 w 10000"/>
              <a:gd name="connsiteY89" fmla="*/ 558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4696 w 10000"/>
              <a:gd name="connsiteY87" fmla="*/ 965 h 10000"/>
              <a:gd name="connsiteX88" fmla="*/ 5386 w 10000"/>
              <a:gd name="connsiteY88" fmla="*/ 811 h 10000"/>
              <a:gd name="connsiteX89" fmla="*/ 5279 w 10000"/>
              <a:gd name="connsiteY89" fmla="*/ 558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811 h 10000"/>
              <a:gd name="connsiteX89" fmla="*/ 5279 w 10000"/>
              <a:gd name="connsiteY89" fmla="*/ 558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745 h 10000"/>
              <a:gd name="connsiteX89" fmla="*/ 5279 w 10000"/>
              <a:gd name="connsiteY89" fmla="*/ 558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745 h 10000"/>
              <a:gd name="connsiteX89" fmla="*/ 5300 w 10000"/>
              <a:gd name="connsiteY89" fmla="*/ 519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745 h 10000"/>
              <a:gd name="connsiteX89" fmla="*/ 5300 w 10000"/>
              <a:gd name="connsiteY89" fmla="*/ 519 h 10000"/>
              <a:gd name="connsiteX90" fmla="*/ 5193 w 10000"/>
              <a:gd name="connsiteY90" fmla="*/ 347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745 h 10000"/>
              <a:gd name="connsiteX89" fmla="*/ 5300 w 10000"/>
              <a:gd name="connsiteY89" fmla="*/ 519 h 10000"/>
              <a:gd name="connsiteX90" fmla="*/ 5193 w 10000"/>
              <a:gd name="connsiteY90" fmla="*/ 347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4860 w 10000"/>
              <a:gd name="connsiteY85" fmla="*/ 1081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479 w 10000"/>
              <a:gd name="connsiteY85" fmla="*/ 1213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5694 w 10000"/>
              <a:gd name="connsiteY84" fmla="*/ 1290 h 10000"/>
              <a:gd name="connsiteX85" fmla="*/ 5479 w 10000"/>
              <a:gd name="connsiteY85" fmla="*/ 1213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680 w 10000"/>
              <a:gd name="connsiteY83" fmla="*/ 1617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765 w 10000"/>
              <a:gd name="connsiteY83" fmla="*/ 1459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765 w 10000"/>
              <a:gd name="connsiteY83" fmla="*/ 1459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744 w 10000"/>
              <a:gd name="connsiteY83" fmla="*/ 1551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659 w 10000"/>
              <a:gd name="connsiteY83" fmla="*/ 1498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659 w 10000"/>
              <a:gd name="connsiteY83" fmla="*/ 1498 h 10000"/>
              <a:gd name="connsiteX84" fmla="*/ 5673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659 w 10000"/>
              <a:gd name="connsiteY83" fmla="*/ 1498 h 10000"/>
              <a:gd name="connsiteX84" fmla="*/ 5673 w 10000"/>
              <a:gd name="connsiteY84" fmla="*/ 1290 h 10000"/>
              <a:gd name="connsiteX85" fmla="*/ 5564 w 10000"/>
              <a:gd name="connsiteY85" fmla="*/ 1200 h 10000"/>
              <a:gd name="connsiteX86" fmla="*/ 5507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</a:cxnLst>
            <a:rect l="l" t="t" r="r" b="b"/>
            <a:pathLst>
              <a:path w="10000" h="10000">
                <a:moveTo>
                  <a:pt x="4650" y="173"/>
                </a:moveTo>
                <a:lnTo>
                  <a:pt x="4229" y="0"/>
                </a:lnTo>
                <a:cubicBezTo>
                  <a:pt x="4167" y="58"/>
                  <a:pt x="4104" y="115"/>
                  <a:pt x="4042" y="173"/>
                </a:cubicBezTo>
                <a:lnTo>
                  <a:pt x="3692" y="231"/>
                </a:lnTo>
                <a:lnTo>
                  <a:pt x="3435" y="720"/>
                </a:lnTo>
                <a:cubicBezTo>
                  <a:pt x="3443" y="970"/>
                  <a:pt x="3450" y="1220"/>
                  <a:pt x="3458" y="1470"/>
                </a:cubicBezTo>
                <a:lnTo>
                  <a:pt x="2687" y="1801"/>
                </a:lnTo>
                <a:lnTo>
                  <a:pt x="2126" y="1470"/>
                </a:lnTo>
                <a:lnTo>
                  <a:pt x="1636" y="1657"/>
                </a:lnTo>
                <a:lnTo>
                  <a:pt x="607" y="1297"/>
                </a:lnTo>
                <a:lnTo>
                  <a:pt x="607" y="1297"/>
                </a:lnTo>
                <a:lnTo>
                  <a:pt x="327" y="1268"/>
                </a:lnTo>
                <a:lnTo>
                  <a:pt x="0" y="1542"/>
                </a:lnTo>
                <a:lnTo>
                  <a:pt x="607" y="1816"/>
                </a:lnTo>
                <a:lnTo>
                  <a:pt x="724" y="1830"/>
                </a:lnTo>
                <a:lnTo>
                  <a:pt x="1519" y="1974"/>
                </a:lnTo>
                <a:lnTo>
                  <a:pt x="1636" y="2046"/>
                </a:lnTo>
                <a:lnTo>
                  <a:pt x="1963" y="2291"/>
                </a:lnTo>
                <a:cubicBezTo>
                  <a:pt x="2017" y="2445"/>
                  <a:pt x="2072" y="2598"/>
                  <a:pt x="2126" y="2752"/>
                </a:cubicBezTo>
                <a:lnTo>
                  <a:pt x="2383" y="2752"/>
                </a:lnTo>
                <a:lnTo>
                  <a:pt x="2383" y="3012"/>
                </a:lnTo>
                <a:lnTo>
                  <a:pt x="2710" y="3329"/>
                </a:lnTo>
                <a:lnTo>
                  <a:pt x="2617" y="3689"/>
                </a:lnTo>
                <a:lnTo>
                  <a:pt x="3201" y="4179"/>
                </a:lnTo>
                <a:lnTo>
                  <a:pt x="3645" y="4395"/>
                </a:lnTo>
                <a:lnTo>
                  <a:pt x="4206" y="4553"/>
                </a:lnTo>
                <a:cubicBezTo>
                  <a:pt x="4253" y="4649"/>
                  <a:pt x="4299" y="4745"/>
                  <a:pt x="4346" y="4841"/>
                </a:cubicBezTo>
                <a:lnTo>
                  <a:pt x="4696" y="4914"/>
                </a:lnTo>
                <a:lnTo>
                  <a:pt x="4346" y="5029"/>
                </a:lnTo>
                <a:lnTo>
                  <a:pt x="3995" y="5202"/>
                </a:lnTo>
                <a:lnTo>
                  <a:pt x="3645" y="5692"/>
                </a:lnTo>
                <a:lnTo>
                  <a:pt x="3528" y="6037"/>
                </a:lnTo>
                <a:lnTo>
                  <a:pt x="3178" y="6182"/>
                </a:lnTo>
                <a:lnTo>
                  <a:pt x="3061" y="6340"/>
                </a:lnTo>
                <a:lnTo>
                  <a:pt x="2687" y="6427"/>
                </a:lnTo>
                <a:cubicBezTo>
                  <a:pt x="2695" y="6585"/>
                  <a:pt x="2702" y="6744"/>
                  <a:pt x="2710" y="6902"/>
                </a:cubicBezTo>
                <a:lnTo>
                  <a:pt x="2173" y="6902"/>
                </a:lnTo>
                <a:cubicBezTo>
                  <a:pt x="2189" y="6974"/>
                  <a:pt x="2204" y="7046"/>
                  <a:pt x="2220" y="7118"/>
                </a:cubicBezTo>
                <a:lnTo>
                  <a:pt x="1963" y="7507"/>
                </a:lnTo>
                <a:lnTo>
                  <a:pt x="2313" y="7810"/>
                </a:lnTo>
                <a:lnTo>
                  <a:pt x="2313" y="8141"/>
                </a:lnTo>
                <a:lnTo>
                  <a:pt x="2780" y="8501"/>
                </a:lnTo>
                <a:lnTo>
                  <a:pt x="2570" y="8602"/>
                </a:lnTo>
                <a:lnTo>
                  <a:pt x="2850" y="8905"/>
                </a:lnTo>
                <a:lnTo>
                  <a:pt x="2570" y="9063"/>
                </a:lnTo>
                <a:lnTo>
                  <a:pt x="2897" y="9280"/>
                </a:lnTo>
                <a:lnTo>
                  <a:pt x="2897" y="9582"/>
                </a:lnTo>
                <a:lnTo>
                  <a:pt x="3178" y="9510"/>
                </a:lnTo>
                <a:lnTo>
                  <a:pt x="3645" y="9553"/>
                </a:lnTo>
                <a:lnTo>
                  <a:pt x="3995" y="9697"/>
                </a:lnTo>
                <a:lnTo>
                  <a:pt x="4346" y="9669"/>
                </a:lnTo>
                <a:lnTo>
                  <a:pt x="4439" y="9885"/>
                </a:lnTo>
                <a:lnTo>
                  <a:pt x="4720" y="9914"/>
                </a:lnTo>
                <a:lnTo>
                  <a:pt x="5093" y="10000"/>
                </a:lnTo>
                <a:lnTo>
                  <a:pt x="5444" y="9755"/>
                </a:lnTo>
                <a:lnTo>
                  <a:pt x="6121" y="9597"/>
                </a:lnTo>
                <a:lnTo>
                  <a:pt x="6846" y="9337"/>
                </a:lnTo>
                <a:lnTo>
                  <a:pt x="6846" y="9150"/>
                </a:lnTo>
                <a:lnTo>
                  <a:pt x="7407" y="9207"/>
                </a:lnTo>
                <a:lnTo>
                  <a:pt x="7827" y="8977"/>
                </a:lnTo>
                <a:lnTo>
                  <a:pt x="8248" y="8977"/>
                </a:lnTo>
                <a:lnTo>
                  <a:pt x="9276" y="7939"/>
                </a:lnTo>
                <a:lnTo>
                  <a:pt x="10000" y="6787"/>
                </a:lnTo>
                <a:lnTo>
                  <a:pt x="10000" y="6455"/>
                </a:lnTo>
                <a:lnTo>
                  <a:pt x="10000" y="6066"/>
                </a:lnTo>
                <a:lnTo>
                  <a:pt x="8575" y="5634"/>
                </a:lnTo>
                <a:lnTo>
                  <a:pt x="8785" y="5216"/>
                </a:lnTo>
                <a:lnTo>
                  <a:pt x="8575" y="4957"/>
                </a:lnTo>
                <a:lnTo>
                  <a:pt x="8271" y="5029"/>
                </a:lnTo>
                <a:lnTo>
                  <a:pt x="8061" y="4870"/>
                </a:lnTo>
                <a:cubicBezTo>
                  <a:pt x="8053" y="4784"/>
                  <a:pt x="8045" y="4697"/>
                  <a:pt x="8037" y="4611"/>
                </a:cubicBezTo>
                <a:lnTo>
                  <a:pt x="7757" y="4654"/>
                </a:lnTo>
                <a:lnTo>
                  <a:pt x="7523" y="4539"/>
                </a:lnTo>
                <a:lnTo>
                  <a:pt x="7640" y="4337"/>
                </a:lnTo>
                <a:lnTo>
                  <a:pt x="7266" y="4251"/>
                </a:lnTo>
                <a:lnTo>
                  <a:pt x="7266" y="3919"/>
                </a:lnTo>
                <a:lnTo>
                  <a:pt x="7593" y="3732"/>
                </a:lnTo>
                <a:lnTo>
                  <a:pt x="6425" y="2983"/>
                </a:lnTo>
                <a:lnTo>
                  <a:pt x="6145" y="2839"/>
                </a:lnTo>
                <a:lnTo>
                  <a:pt x="6425" y="2118"/>
                </a:lnTo>
                <a:lnTo>
                  <a:pt x="6285" y="1873"/>
                </a:lnTo>
                <a:cubicBezTo>
                  <a:pt x="6153" y="1854"/>
                  <a:pt x="6035" y="1845"/>
                  <a:pt x="5888" y="1816"/>
                </a:cubicBezTo>
                <a:cubicBezTo>
                  <a:pt x="5741" y="1787"/>
                  <a:pt x="5438" y="1750"/>
                  <a:pt x="5400" y="1697"/>
                </a:cubicBezTo>
                <a:cubicBezTo>
                  <a:pt x="5362" y="1644"/>
                  <a:pt x="5614" y="1566"/>
                  <a:pt x="5659" y="1498"/>
                </a:cubicBezTo>
                <a:cubicBezTo>
                  <a:pt x="5704" y="1430"/>
                  <a:pt x="5689" y="1340"/>
                  <a:pt x="5673" y="1290"/>
                </a:cubicBezTo>
                <a:cubicBezTo>
                  <a:pt x="5657" y="1240"/>
                  <a:pt x="5592" y="1278"/>
                  <a:pt x="5564" y="1200"/>
                </a:cubicBezTo>
                <a:cubicBezTo>
                  <a:pt x="5536" y="1122"/>
                  <a:pt x="5537" y="896"/>
                  <a:pt x="5507" y="820"/>
                </a:cubicBezTo>
                <a:cubicBezTo>
                  <a:pt x="5477" y="744"/>
                  <a:pt x="5420" y="795"/>
                  <a:pt x="5386" y="745"/>
                </a:cubicBezTo>
                <a:cubicBezTo>
                  <a:pt x="5352" y="695"/>
                  <a:pt x="5300" y="519"/>
                  <a:pt x="5300" y="519"/>
                </a:cubicBezTo>
                <a:cubicBezTo>
                  <a:pt x="5293" y="453"/>
                  <a:pt x="5200" y="413"/>
                  <a:pt x="5193" y="347"/>
                </a:cubicBezTo>
                <a:lnTo>
                  <a:pt x="4650" y="173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67" name="Sweden"/>
          <p:cNvGrpSpPr/>
          <p:nvPr/>
        </p:nvGrpSpPr>
        <p:grpSpPr>
          <a:xfrm>
            <a:off x="9011176" y="550863"/>
            <a:ext cx="1127125" cy="2687638"/>
            <a:chOff x="9032196" y="550863"/>
            <a:chExt cx="1127125" cy="2687638"/>
          </a:xfrm>
          <a:solidFill>
            <a:schemeClr val="accent3"/>
          </a:solidFill>
        </p:grpSpPr>
        <p:sp>
          <p:nvSpPr>
            <p:cNvPr id="68" name="Sweden"/>
            <p:cNvSpPr>
              <a:spLocks/>
            </p:cNvSpPr>
            <p:nvPr/>
          </p:nvSpPr>
          <p:spPr bwMode="auto">
            <a:xfrm>
              <a:off x="9032196" y="550863"/>
              <a:ext cx="1127125" cy="2687638"/>
            </a:xfrm>
            <a:custGeom>
              <a:avLst/>
              <a:gdLst>
                <a:gd name="T0" fmla="*/ 36 w 710"/>
                <a:gd name="T1" fmla="*/ 1178 h 1693"/>
                <a:gd name="T2" fmla="*/ 87 w 710"/>
                <a:gd name="T3" fmla="*/ 1051 h 1693"/>
                <a:gd name="T4" fmla="*/ 107 w 710"/>
                <a:gd name="T5" fmla="*/ 952 h 1693"/>
                <a:gd name="T6" fmla="*/ 40 w 710"/>
                <a:gd name="T7" fmla="*/ 817 h 1693"/>
                <a:gd name="T8" fmla="*/ 45 w 710"/>
                <a:gd name="T9" fmla="*/ 699 h 1693"/>
                <a:gd name="T10" fmla="*/ 147 w 710"/>
                <a:gd name="T11" fmla="*/ 636 h 1693"/>
                <a:gd name="T12" fmla="*/ 168 w 710"/>
                <a:gd name="T13" fmla="*/ 482 h 1693"/>
                <a:gd name="T14" fmla="*/ 222 w 710"/>
                <a:gd name="T15" fmla="*/ 349 h 1693"/>
                <a:gd name="T16" fmla="*/ 233 w 710"/>
                <a:gd name="T17" fmla="*/ 215 h 1693"/>
                <a:gd name="T18" fmla="*/ 289 w 710"/>
                <a:gd name="T19" fmla="*/ 150 h 1693"/>
                <a:gd name="T20" fmla="*/ 390 w 710"/>
                <a:gd name="T21" fmla="*/ 85 h 1693"/>
                <a:gd name="T22" fmla="*/ 425 w 710"/>
                <a:gd name="T23" fmla="*/ 60 h 1693"/>
                <a:gd name="T24" fmla="*/ 466 w 710"/>
                <a:gd name="T25" fmla="*/ 14 h 1693"/>
                <a:gd name="T26" fmla="*/ 614 w 710"/>
                <a:gd name="T27" fmla="*/ 107 h 1693"/>
                <a:gd name="T28" fmla="*/ 647 w 710"/>
                <a:gd name="T29" fmla="*/ 197 h 1693"/>
                <a:gd name="T30" fmla="*/ 710 w 710"/>
                <a:gd name="T31" fmla="*/ 343 h 1693"/>
                <a:gd name="T32" fmla="*/ 652 w 710"/>
                <a:gd name="T33" fmla="*/ 388 h 1693"/>
                <a:gd name="T34" fmla="*/ 562 w 710"/>
                <a:gd name="T35" fmla="*/ 443 h 1693"/>
                <a:gd name="T36" fmla="*/ 604 w 710"/>
                <a:gd name="T37" fmla="*/ 537 h 1693"/>
                <a:gd name="T38" fmla="*/ 490 w 710"/>
                <a:gd name="T39" fmla="*/ 683 h 1693"/>
                <a:gd name="T40" fmla="*/ 441 w 710"/>
                <a:gd name="T41" fmla="*/ 744 h 1693"/>
                <a:gd name="T42" fmla="*/ 385 w 710"/>
                <a:gd name="T43" fmla="*/ 817 h 1693"/>
                <a:gd name="T44" fmla="*/ 376 w 710"/>
                <a:gd name="T45" fmla="*/ 903 h 1693"/>
                <a:gd name="T46" fmla="*/ 407 w 710"/>
                <a:gd name="T47" fmla="*/ 1012 h 1693"/>
                <a:gd name="T48" fmla="*/ 490 w 710"/>
                <a:gd name="T49" fmla="*/ 1060 h 1693"/>
                <a:gd name="T50" fmla="*/ 539 w 710"/>
                <a:gd name="T51" fmla="*/ 1107 h 1693"/>
                <a:gd name="T52" fmla="*/ 454 w 710"/>
                <a:gd name="T53" fmla="*/ 1156 h 1693"/>
                <a:gd name="T54" fmla="*/ 439 w 710"/>
                <a:gd name="T55" fmla="*/ 1169 h 1693"/>
                <a:gd name="T56" fmla="*/ 347 w 710"/>
                <a:gd name="T57" fmla="*/ 1187 h 1693"/>
                <a:gd name="T58" fmla="*/ 446 w 710"/>
                <a:gd name="T59" fmla="*/ 1241 h 1693"/>
                <a:gd name="T60" fmla="*/ 409 w 710"/>
                <a:gd name="T61" fmla="*/ 1312 h 1693"/>
                <a:gd name="T62" fmla="*/ 407 w 710"/>
                <a:gd name="T63" fmla="*/ 1398 h 1693"/>
                <a:gd name="T64" fmla="*/ 383 w 710"/>
                <a:gd name="T65" fmla="*/ 1523 h 1693"/>
                <a:gd name="T66" fmla="*/ 282 w 710"/>
                <a:gd name="T67" fmla="*/ 1583 h 1693"/>
                <a:gd name="T68" fmla="*/ 244 w 710"/>
                <a:gd name="T69" fmla="*/ 1626 h 1693"/>
                <a:gd name="T70" fmla="*/ 213 w 710"/>
                <a:gd name="T71" fmla="*/ 1680 h 1693"/>
                <a:gd name="T72" fmla="*/ 147 w 710"/>
                <a:gd name="T73" fmla="*/ 1659 h 1693"/>
                <a:gd name="T74" fmla="*/ 109 w 710"/>
                <a:gd name="T75" fmla="*/ 1588 h 1693"/>
                <a:gd name="T76" fmla="*/ 141 w 710"/>
                <a:gd name="T77" fmla="*/ 1537 h 1693"/>
                <a:gd name="T78" fmla="*/ 54 w 710"/>
                <a:gd name="T79" fmla="*/ 1456 h 1693"/>
                <a:gd name="T80" fmla="*/ 51 w 710"/>
                <a:gd name="T81" fmla="*/ 1348 h 1693"/>
                <a:gd name="T82" fmla="*/ 0 w 710"/>
                <a:gd name="T83" fmla="*/ 1330 h 1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10" h="1693">
                  <a:moveTo>
                    <a:pt x="0" y="1257"/>
                  </a:moveTo>
                  <a:lnTo>
                    <a:pt x="36" y="1257"/>
                  </a:lnTo>
                  <a:lnTo>
                    <a:pt x="36" y="1178"/>
                  </a:lnTo>
                  <a:lnTo>
                    <a:pt x="51" y="1144"/>
                  </a:lnTo>
                  <a:lnTo>
                    <a:pt x="96" y="1122"/>
                  </a:lnTo>
                  <a:lnTo>
                    <a:pt x="87" y="1051"/>
                  </a:lnTo>
                  <a:lnTo>
                    <a:pt x="63" y="1008"/>
                  </a:lnTo>
                  <a:lnTo>
                    <a:pt x="87" y="1008"/>
                  </a:lnTo>
                  <a:lnTo>
                    <a:pt x="107" y="952"/>
                  </a:lnTo>
                  <a:lnTo>
                    <a:pt x="62" y="927"/>
                  </a:lnTo>
                  <a:lnTo>
                    <a:pt x="69" y="851"/>
                  </a:lnTo>
                  <a:lnTo>
                    <a:pt x="40" y="817"/>
                  </a:lnTo>
                  <a:lnTo>
                    <a:pt x="62" y="768"/>
                  </a:lnTo>
                  <a:lnTo>
                    <a:pt x="38" y="743"/>
                  </a:lnTo>
                  <a:lnTo>
                    <a:pt x="45" y="699"/>
                  </a:lnTo>
                  <a:lnTo>
                    <a:pt x="74" y="654"/>
                  </a:lnTo>
                  <a:lnTo>
                    <a:pt x="107" y="636"/>
                  </a:lnTo>
                  <a:lnTo>
                    <a:pt x="147" y="636"/>
                  </a:lnTo>
                  <a:lnTo>
                    <a:pt x="168" y="598"/>
                  </a:lnTo>
                  <a:lnTo>
                    <a:pt x="138" y="574"/>
                  </a:lnTo>
                  <a:lnTo>
                    <a:pt x="168" y="482"/>
                  </a:lnTo>
                  <a:lnTo>
                    <a:pt x="168" y="376"/>
                  </a:lnTo>
                  <a:lnTo>
                    <a:pt x="212" y="376"/>
                  </a:lnTo>
                  <a:lnTo>
                    <a:pt x="222" y="349"/>
                  </a:lnTo>
                  <a:lnTo>
                    <a:pt x="204" y="338"/>
                  </a:lnTo>
                  <a:lnTo>
                    <a:pt x="271" y="255"/>
                  </a:lnTo>
                  <a:lnTo>
                    <a:pt x="233" y="215"/>
                  </a:lnTo>
                  <a:lnTo>
                    <a:pt x="257" y="215"/>
                  </a:lnTo>
                  <a:lnTo>
                    <a:pt x="271" y="150"/>
                  </a:lnTo>
                  <a:lnTo>
                    <a:pt x="289" y="150"/>
                  </a:lnTo>
                  <a:lnTo>
                    <a:pt x="320" y="150"/>
                  </a:lnTo>
                  <a:lnTo>
                    <a:pt x="320" y="85"/>
                  </a:lnTo>
                  <a:lnTo>
                    <a:pt x="390" y="85"/>
                  </a:lnTo>
                  <a:lnTo>
                    <a:pt x="403" y="94"/>
                  </a:lnTo>
                  <a:lnTo>
                    <a:pt x="425" y="85"/>
                  </a:lnTo>
                  <a:lnTo>
                    <a:pt x="425" y="60"/>
                  </a:lnTo>
                  <a:lnTo>
                    <a:pt x="436" y="23"/>
                  </a:lnTo>
                  <a:lnTo>
                    <a:pt x="403" y="0"/>
                  </a:lnTo>
                  <a:lnTo>
                    <a:pt x="466" y="14"/>
                  </a:lnTo>
                  <a:lnTo>
                    <a:pt x="510" y="47"/>
                  </a:lnTo>
                  <a:lnTo>
                    <a:pt x="580" y="67"/>
                  </a:lnTo>
                  <a:lnTo>
                    <a:pt x="614" y="107"/>
                  </a:lnTo>
                  <a:lnTo>
                    <a:pt x="627" y="164"/>
                  </a:lnTo>
                  <a:lnTo>
                    <a:pt x="647" y="164"/>
                  </a:lnTo>
                  <a:lnTo>
                    <a:pt x="647" y="197"/>
                  </a:lnTo>
                  <a:lnTo>
                    <a:pt x="674" y="237"/>
                  </a:lnTo>
                  <a:lnTo>
                    <a:pt x="667" y="285"/>
                  </a:lnTo>
                  <a:lnTo>
                    <a:pt x="710" y="343"/>
                  </a:lnTo>
                  <a:lnTo>
                    <a:pt x="710" y="363"/>
                  </a:lnTo>
                  <a:lnTo>
                    <a:pt x="656" y="370"/>
                  </a:lnTo>
                  <a:lnTo>
                    <a:pt x="652" y="388"/>
                  </a:lnTo>
                  <a:lnTo>
                    <a:pt x="620" y="372"/>
                  </a:lnTo>
                  <a:lnTo>
                    <a:pt x="589" y="426"/>
                  </a:lnTo>
                  <a:lnTo>
                    <a:pt x="562" y="443"/>
                  </a:lnTo>
                  <a:lnTo>
                    <a:pt x="580" y="462"/>
                  </a:lnTo>
                  <a:lnTo>
                    <a:pt x="564" y="508"/>
                  </a:lnTo>
                  <a:lnTo>
                    <a:pt x="604" y="537"/>
                  </a:lnTo>
                  <a:lnTo>
                    <a:pt x="564" y="602"/>
                  </a:lnTo>
                  <a:lnTo>
                    <a:pt x="562" y="638"/>
                  </a:lnTo>
                  <a:lnTo>
                    <a:pt x="490" y="683"/>
                  </a:lnTo>
                  <a:lnTo>
                    <a:pt x="477" y="712"/>
                  </a:lnTo>
                  <a:lnTo>
                    <a:pt x="454" y="714"/>
                  </a:lnTo>
                  <a:lnTo>
                    <a:pt x="441" y="744"/>
                  </a:lnTo>
                  <a:lnTo>
                    <a:pt x="414" y="773"/>
                  </a:lnTo>
                  <a:lnTo>
                    <a:pt x="416" y="791"/>
                  </a:lnTo>
                  <a:lnTo>
                    <a:pt x="385" y="817"/>
                  </a:lnTo>
                  <a:lnTo>
                    <a:pt x="400" y="851"/>
                  </a:lnTo>
                  <a:lnTo>
                    <a:pt x="412" y="902"/>
                  </a:lnTo>
                  <a:lnTo>
                    <a:pt x="376" y="903"/>
                  </a:lnTo>
                  <a:lnTo>
                    <a:pt x="387" y="932"/>
                  </a:lnTo>
                  <a:lnTo>
                    <a:pt x="381" y="970"/>
                  </a:lnTo>
                  <a:lnTo>
                    <a:pt x="407" y="1012"/>
                  </a:lnTo>
                  <a:lnTo>
                    <a:pt x="405" y="1032"/>
                  </a:lnTo>
                  <a:lnTo>
                    <a:pt x="450" y="1032"/>
                  </a:lnTo>
                  <a:lnTo>
                    <a:pt x="490" y="1060"/>
                  </a:lnTo>
                  <a:lnTo>
                    <a:pt x="497" y="1088"/>
                  </a:lnTo>
                  <a:lnTo>
                    <a:pt x="517" y="1082"/>
                  </a:lnTo>
                  <a:lnTo>
                    <a:pt x="539" y="1107"/>
                  </a:lnTo>
                  <a:lnTo>
                    <a:pt x="517" y="1135"/>
                  </a:lnTo>
                  <a:lnTo>
                    <a:pt x="484" y="1169"/>
                  </a:lnTo>
                  <a:lnTo>
                    <a:pt x="454" y="1156"/>
                  </a:lnTo>
                  <a:lnTo>
                    <a:pt x="456" y="1133"/>
                  </a:lnTo>
                  <a:lnTo>
                    <a:pt x="430" y="1129"/>
                  </a:lnTo>
                  <a:lnTo>
                    <a:pt x="439" y="1169"/>
                  </a:lnTo>
                  <a:lnTo>
                    <a:pt x="409" y="1162"/>
                  </a:lnTo>
                  <a:lnTo>
                    <a:pt x="356" y="1162"/>
                  </a:lnTo>
                  <a:lnTo>
                    <a:pt x="347" y="1187"/>
                  </a:lnTo>
                  <a:lnTo>
                    <a:pt x="418" y="1192"/>
                  </a:lnTo>
                  <a:lnTo>
                    <a:pt x="456" y="1192"/>
                  </a:lnTo>
                  <a:lnTo>
                    <a:pt x="446" y="1241"/>
                  </a:lnTo>
                  <a:lnTo>
                    <a:pt x="421" y="1263"/>
                  </a:lnTo>
                  <a:lnTo>
                    <a:pt x="394" y="1275"/>
                  </a:lnTo>
                  <a:lnTo>
                    <a:pt x="409" y="1312"/>
                  </a:lnTo>
                  <a:lnTo>
                    <a:pt x="409" y="1346"/>
                  </a:lnTo>
                  <a:lnTo>
                    <a:pt x="394" y="1368"/>
                  </a:lnTo>
                  <a:lnTo>
                    <a:pt x="407" y="1398"/>
                  </a:lnTo>
                  <a:lnTo>
                    <a:pt x="394" y="1434"/>
                  </a:lnTo>
                  <a:lnTo>
                    <a:pt x="400" y="1480"/>
                  </a:lnTo>
                  <a:lnTo>
                    <a:pt x="383" y="1523"/>
                  </a:lnTo>
                  <a:lnTo>
                    <a:pt x="372" y="1574"/>
                  </a:lnTo>
                  <a:lnTo>
                    <a:pt x="336" y="1574"/>
                  </a:lnTo>
                  <a:lnTo>
                    <a:pt x="282" y="1583"/>
                  </a:lnTo>
                  <a:lnTo>
                    <a:pt x="273" y="1603"/>
                  </a:lnTo>
                  <a:lnTo>
                    <a:pt x="242" y="1603"/>
                  </a:lnTo>
                  <a:lnTo>
                    <a:pt x="244" y="1626"/>
                  </a:lnTo>
                  <a:lnTo>
                    <a:pt x="257" y="1662"/>
                  </a:lnTo>
                  <a:lnTo>
                    <a:pt x="257" y="1680"/>
                  </a:lnTo>
                  <a:lnTo>
                    <a:pt x="213" y="1680"/>
                  </a:lnTo>
                  <a:lnTo>
                    <a:pt x="179" y="1693"/>
                  </a:lnTo>
                  <a:lnTo>
                    <a:pt x="147" y="1680"/>
                  </a:lnTo>
                  <a:lnTo>
                    <a:pt x="147" y="1659"/>
                  </a:lnTo>
                  <a:lnTo>
                    <a:pt x="148" y="1646"/>
                  </a:lnTo>
                  <a:lnTo>
                    <a:pt x="121" y="1612"/>
                  </a:lnTo>
                  <a:lnTo>
                    <a:pt x="109" y="1588"/>
                  </a:lnTo>
                  <a:lnTo>
                    <a:pt x="121" y="1574"/>
                  </a:lnTo>
                  <a:lnTo>
                    <a:pt x="119" y="1559"/>
                  </a:lnTo>
                  <a:lnTo>
                    <a:pt x="141" y="1537"/>
                  </a:lnTo>
                  <a:lnTo>
                    <a:pt x="94" y="1512"/>
                  </a:lnTo>
                  <a:lnTo>
                    <a:pt x="87" y="1481"/>
                  </a:lnTo>
                  <a:lnTo>
                    <a:pt x="54" y="1456"/>
                  </a:lnTo>
                  <a:lnTo>
                    <a:pt x="62" y="1409"/>
                  </a:lnTo>
                  <a:lnTo>
                    <a:pt x="44" y="1398"/>
                  </a:lnTo>
                  <a:lnTo>
                    <a:pt x="51" y="1348"/>
                  </a:lnTo>
                  <a:lnTo>
                    <a:pt x="42" y="1322"/>
                  </a:lnTo>
                  <a:lnTo>
                    <a:pt x="29" y="1351"/>
                  </a:lnTo>
                  <a:lnTo>
                    <a:pt x="0" y="1330"/>
                  </a:lnTo>
                  <a:lnTo>
                    <a:pt x="0" y="1299"/>
                  </a:lnTo>
                  <a:lnTo>
                    <a:pt x="0" y="125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Sweden"/>
            <p:cNvSpPr>
              <a:spLocks/>
            </p:cNvSpPr>
            <p:nvPr/>
          </p:nvSpPr>
          <p:spPr bwMode="auto">
            <a:xfrm>
              <a:off x="9864046" y="2687638"/>
              <a:ext cx="103188" cy="188913"/>
            </a:xfrm>
            <a:custGeom>
              <a:avLst/>
              <a:gdLst>
                <a:gd name="T0" fmla="*/ 0 w 65"/>
                <a:gd name="T1" fmla="*/ 43 h 119"/>
                <a:gd name="T2" fmla="*/ 38 w 65"/>
                <a:gd name="T3" fmla="*/ 0 h 119"/>
                <a:gd name="T4" fmla="*/ 65 w 65"/>
                <a:gd name="T5" fmla="*/ 7 h 119"/>
                <a:gd name="T6" fmla="*/ 49 w 65"/>
                <a:gd name="T7" fmla="*/ 49 h 119"/>
                <a:gd name="T8" fmla="*/ 62 w 65"/>
                <a:gd name="T9" fmla="*/ 58 h 119"/>
                <a:gd name="T10" fmla="*/ 20 w 65"/>
                <a:gd name="T11" fmla="*/ 119 h 119"/>
                <a:gd name="T12" fmla="*/ 7 w 65"/>
                <a:gd name="T13" fmla="*/ 116 h 119"/>
                <a:gd name="T14" fmla="*/ 0 w 65"/>
                <a:gd name="T15" fmla="*/ 72 h 119"/>
                <a:gd name="T16" fmla="*/ 0 w 65"/>
                <a:gd name="T17" fmla="*/ 43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" h="119">
                  <a:moveTo>
                    <a:pt x="0" y="43"/>
                  </a:moveTo>
                  <a:lnTo>
                    <a:pt x="38" y="0"/>
                  </a:lnTo>
                  <a:lnTo>
                    <a:pt x="65" y="7"/>
                  </a:lnTo>
                  <a:lnTo>
                    <a:pt x="49" y="49"/>
                  </a:lnTo>
                  <a:lnTo>
                    <a:pt x="62" y="58"/>
                  </a:lnTo>
                  <a:lnTo>
                    <a:pt x="20" y="119"/>
                  </a:lnTo>
                  <a:lnTo>
                    <a:pt x="7" y="116"/>
                  </a:lnTo>
                  <a:lnTo>
                    <a:pt x="0" y="72"/>
                  </a:lnTo>
                  <a:lnTo>
                    <a:pt x="0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Sweden"/>
            <p:cNvSpPr>
              <a:spLocks/>
            </p:cNvSpPr>
            <p:nvPr/>
          </p:nvSpPr>
          <p:spPr bwMode="auto">
            <a:xfrm>
              <a:off x="9721171" y="2808288"/>
              <a:ext cx="28575" cy="74613"/>
            </a:xfrm>
            <a:custGeom>
              <a:avLst/>
              <a:gdLst>
                <a:gd name="T0" fmla="*/ 2 w 18"/>
                <a:gd name="T1" fmla="*/ 41 h 47"/>
                <a:gd name="T2" fmla="*/ 0 w 18"/>
                <a:gd name="T3" fmla="*/ 11 h 47"/>
                <a:gd name="T4" fmla="*/ 12 w 18"/>
                <a:gd name="T5" fmla="*/ 0 h 47"/>
                <a:gd name="T6" fmla="*/ 18 w 18"/>
                <a:gd name="T7" fmla="*/ 16 h 47"/>
                <a:gd name="T8" fmla="*/ 11 w 18"/>
                <a:gd name="T9" fmla="*/ 47 h 47"/>
                <a:gd name="T10" fmla="*/ 2 w 18"/>
                <a:gd name="T11" fmla="*/ 4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47">
                  <a:moveTo>
                    <a:pt x="2" y="41"/>
                  </a:moveTo>
                  <a:lnTo>
                    <a:pt x="0" y="11"/>
                  </a:lnTo>
                  <a:lnTo>
                    <a:pt x="12" y="0"/>
                  </a:lnTo>
                  <a:lnTo>
                    <a:pt x="18" y="16"/>
                  </a:lnTo>
                  <a:lnTo>
                    <a:pt x="11" y="47"/>
                  </a:lnTo>
                  <a:lnTo>
                    <a:pt x="2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Sweden"/>
            <p:cNvSpPr>
              <a:spLocks/>
            </p:cNvSpPr>
            <p:nvPr/>
          </p:nvSpPr>
          <p:spPr bwMode="auto">
            <a:xfrm>
              <a:off x="9675133" y="2882900"/>
              <a:ext cx="49213" cy="163513"/>
            </a:xfrm>
            <a:custGeom>
              <a:avLst/>
              <a:gdLst>
                <a:gd name="T0" fmla="*/ 22 w 31"/>
                <a:gd name="T1" fmla="*/ 9 h 103"/>
                <a:gd name="T2" fmla="*/ 22 w 31"/>
                <a:gd name="T3" fmla="*/ 0 h 103"/>
                <a:gd name="T4" fmla="*/ 31 w 31"/>
                <a:gd name="T5" fmla="*/ 11 h 103"/>
                <a:gd name="T6" fmla="*/ 22 w 31"/>
                <a:gd name="T7" fmla="*/ 32 h 103"/>
                <a:gd name="T8" fmla="*/ 20 w 31"/>
                <a:gd name="T9" fmla="*/ 47 h 103"/>
                <a:gd name="T10" fmla="*/ 22 w 31"/>
                <a:gd name="T11" fmla="*/ 83 h 103"/>
                <a:gd name="T12" fmla="*/ 9 w 31"/>
                <a:gd name="T13" fmla="*/ 103 h 103"/>
                <a:gd name="T14" fmla="*/ 0 w 31"/>
                <a:gd name="T15" fmla="*/ 81 h 103"/>
                <a:gd name="T16" fmla="*/ 0 w 31"/>
                <a:gd name="T17" fmla="*/ 50 h 103"/>
                <a:gd name="T18" fmla="*/ 7 w 31"/>
                <a:gd name="T19" fmla="*/ 29 h 103"/>
                <a:gd name="T20" fmla="*/ 22 w 31"/>
                <a:gd name="T21" fmla="*/ 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103">
                  <a:moveTo>
                    <a:pt x="22" y="9"/>
                  </a:moveTo>
                  <a:lnTo>
                    <a:pt x="22" y="0"/>
                  </a:lnTo>
                  <a:lnTo>
                    <a:pt x="31" y="11"/>
                  </a:lnTo>
                  <a:lnTo>
                    <a:pt x="22" y="32"/>
                  </a:lnTo>
                  <a:lnTo>
                    <a:pt x="20" y="47"/>
                  </a:lnTo>
                  <a:lnTo>
                    <a:pt x="22" y="83"/>
                  </a:lnTo>
                  <a:lnTo>
                    <a:pt x="9" y="103"/>
                  </a:lnTo>
                  <a:lnTo>
                    <a:pt x="0" y="81"/>
                  </a:lnTo>
                  <a:lnTo>
                    <a:pt x="0" y="50"/>
                  </a:lnTo>
                  <a:lnTo>
                    <a:pt x="7" y="29"/>
                  </a:lnTo>
                  <a:lnTo>
                    <a:pt x="2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Sweden"/>
            <p:cNvSpPr>
              <a:spLocks/>
            </p:cNvSpPr>
            <p:nvPr/>
          </p:nvSpPr>
          <p:spPr bwMode="auto">
            <a:xfrm>
              <a:off x="9770383" y="2446338"/>
              <a:ext cx="57150" cy="84138"/>
            </a:xfrm>
            <a:custGeom>
              <a:avLst/>
              <a:gdLst>
                <a:gd name="T0" fmla="*/ 7 w 20"/>
                <a:gd name="T1" fmla="*/ 2 h 29"/>
                <a:gd name="T2" fmla="*/ 15 w 20"/>
                <a:gd name="T3" fmla="*/ 0 h 29"/>
                <a:gd name="T4" fmla="*/ 20 w 20"/>
                <a:gd name="T5" fmla="*/ 7 h 29"/>
                <a:gd name="T6" fmla="*/ 14 w 20"/>
                <a:gd name="T7" fmla="*/ 14 h 29"/>
                <a:gd name="T8" fmla="*/ 10 w 20"/>
                <a:gd name="T9" fmla="*/ 17 h 29"/>
                <a:gd name="T10" fmla="*/ 10 w 20"/>
                <a:gd name="T11" fmla="*/ 29 h 29"/>
                <a:gd name="T12" fmla="*/ 3 w 20"/>
                <a:gd name="T13" fmla="*/ 19 h 29"/>
                <a:gd name="T14" fmla="*/ 0 w 20"/>
                <a:gd name="T15" fmla="*/ 11 h 29"/>
                <a:gd name="T16" fmla="*/ 4 w 20"/>
                <a:gd name="T17" fmla="*/ 2 h 29"/>
                <a:gd name="T18" fmla="*/ 7 w 20"/>
                <a:gd name="T19" fmla="*/ 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9">
                  <a:moveTo>
                    <a:pt x="7" y="2"/>
                  </a:moveTo>
                  <a:cubicBezTo>
                    <a:pt x="7" y="2"/>
                    <a:pt x="14" y="0"/>
                    <a:pt x="15" y="0"/>
                  </a:cubicBezTo>
                  <a:cubicBezTo>
                    <a:pt x="15" y="1"/>
                    <a:pt x="20" y="7"/>
                    <a:pt x="20" y="7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4"/>
                    <a:pt x="11" y="17"/>
                    <a:pt x="10" y="17"/>
                  </a:cubicBezTo>
                  <a:cubicBezTo>
                    <a:pt x="10" y="18"/>
                    <a:pt x="10" y="29"/>
                    <a:pt x="10" y="2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4" y="2"/>
                    <a:pt x="4" y="2"/>
                    <a:pt x="4" y="2"/>
                  </a:cubicBezTo>
                  <a:lnTo>
                    <a:pt x="7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Sweden"/>
            <p:cNvSpPr>
              <a:spLocks/>
            </p:cNvSpPr>
            <p:nvPr/>
          </p:nvSpPr>
          <p:spPr bwMode="auto">
            <a:xfrm>
              <a:off x="9818008" y="2424113"/>
              <a:ext cx="23813" cy="31750"/>
            </a:xfrm>
            <a:custGeom>
              <a:avLst/>
              <a:gdLst>
                <a:gd name="T0" fmla="*/ 0 w 8"/>
                <a:gd name="T1" fmla="*/ 4 h 11"/>
                <a:gd name="T2" fmla="*/ 8 w 8"/>
                <a:gd name="T3" fmla="*/ 11 h 11"/>
                <a:gd name="T4" fmla="*/ 8 w 8"/>
                <a:gd name="T5" fmla="*/ 3 h 11"/>
                <a:gd name="T6" fmla="*/ 0 w 8"/>
                <a:gd name="T7" fmla="*/ 0 h 11"/>
                <a:gd name="T8" fmla="*/ 0 w 8"/>
                <a:gd name="T9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1">
                  <a:moveTo>
                    <a:pt x="0" y="4"/>
                  </a:moveTo>
                  <a:cubicBezTo>
                    <a:pt x="0" y="5"/>
                    <a:pt x="8" y="11"/>
                    <a:pt x="8" y="1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4" name="Text"/>
          <p:cNvGrpSpPr/>
          <p:nvPr/>
        </p:nvGrpSpPr>
        <p:grpSpPr>
          <a:xfrm>
            <a:off x="5628283" y="1603376"/>
            <a:ext cx="6390770" cy="4647174"/>
            <a:chOff x="5649303" y="1603376"/>
            <a:chExt cx="6390770" cy="4647174"/>
          </a:xfrm>
        </p:grpSpPr>
        <p:sp>
          <p:nvSpPr>
            <p:cNvPr id="75" name="Turkey Text"/>
            <p:cNvSpPr txBox="1"/>
            <p:nvPr/>
          </p:nvSpPr>
          <p:spPr>
            <a:xfrm>
              <a:off x="11788401" y="5884075"/>
              <a:ext cx="25167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rgbClr val="006EB6"/>
                  </a:solidFill>
                </a:rPr>
                <a:t>Turkey</a:t>
              </a:r>
            </a:p>
          </p:txBody>
        </p:sp>
        <p:sp>
          <p:nvSpPr>
            <p:cNvPr id="76" name="Bulgaria Text"/>
            <p:cNvSpPr txBox="1"/>
            <p:nvPr/>
          </p:nvSpPr>
          <p:spPr>
            <a:xfrm>
              <a:off x="11175320" y="5448201"/>
              <a:ext cx="29976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rgbClr val="006EB6"/>
                  </a:solidFill>
                </a:rPr>
                <a:t>Bulgaria</a:t>
              </a:r>
            </a:p>
          </p:txBody>
        </p:sp>
        <p:sp>
          <p:nvSpPr>
            <p:cNvPr id="77" name="Romania Text"/>
            <p:cNvSpPr txBox="1"/>
            <p:nvPr/>
          </p:nvSpPr>
          <p:spPr>
            <a:xfrm>
              <a:off x="10945205" y="4841670"/>
              <a:ext cx="323807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rgbClr val="006EB6"/>
                  </a:solidFill>
                </a:rPr>
                <a:t>Romania</a:t>
              </a:r>
            </a:p>
          </p:txBody>
        </p:sp>
        <p:sp>
          <p:nvSpPr>
            <p:cNvPr id="78" name="Moldova Text"/>
            <p:cNvSpPr txBox="1"/>
            <p:nvPr/>
          </p:nvSpPr>
          <p:spPr>
            <a:xfrm>
              <a:off x="11502482" y="4447743"/>
              <a:ext cx="314189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rgbClr val="006EB6"/>
                  </a:solidFill>
                </a:rPr>
                <a:t>Moldova</a:t>
              </a:r>
            </a:p>
          </p:txBody>
        </p:sp>
        <p:sp>
          <p:nvSpPr>
            <p:cNvPr id="79" name="Ukraine Text"/>
            <p:cNvSpPr txBox="1"/>
            <p:nvPr/>
          </p:nvSpPr>
          <p:spPr>
            <a:xfrm>
              <a:off x="11358314" y="3914529"/>
              <a:ext cx="28373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rgbClr val="006EB6"/>
                  </a:solidFill>
                </a:rPr>
                <a:t>Ukraine</a:t>
              </a:r>
            </a:p>
          </p:txBody>
        </p:sp>
        <p:sp>
          <p:nvSpPr>
            <p:cNvPr id="80" name="Belarus Text"/>
            <p:cNvSpPr txBox="1"/>
            <p:nvPr/>
          </p:nvSpPr>
          <p:spPr>
            <a:xfrm>
              <a:off x="11128766" y="3253935"/>
              <a:ext cx="26770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rgbClr val="006EB6"/>
                  </a:solidFill>
                </a:rPr>
                <a:t>Belarus</a:t>
              </a:r>
            </a:p>
          </p:txBody>
        </p:sp>
        <p:sp>
          <p:nvSpPr>
            <p:cNvPr id="81" name="Lithuania Text"/>
            <p:cNvSpPr txBox="1"/>
            <p:nvPr/>
          </p:nvSpPr>
          <p:spPr>
            <a:xfrm>
              <a:off x="10446517" y="3045434"/>
              <a:ext cx="343043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rgbClr val="006EB6"/>
                  </a:solidFill>
                </a:rPr>
                <a:t>Lithuania</a:t>
              </a:r>
            </a:p>
          </p:txBody>
        </p:sp>
        <p:sp>
          <p:nvSpPr>
            <p:cNvPr id="82" name="Latvia Text"/>
            <p:cNvSpPr txBox="1"/>
            <p:nvPr/>
          </p:nvSpPr>
          <p:spPr>
            <a:xfrm>
              <a:off x="10625856" y="2723156"/>
              <a:ext cx="22602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rgbClr val="006EB6"/>
                  </a:solidFill>
                </a:rPr>
                <a:t>Latvia</a:t>
              </a:r>
            </a:p>
          </p:txBody>
        </p:sp>
        <p:sp>
          <p:nvSpPr>
            <p:cNvPr id="83" name="Estonia Text"/>
            <p:cNvSpPr txBox="1"/>
            <p:nvPr/>
          </p:nvSpPr>
          <p:spPr>
            <a:xfrm>
              <a:off x="10520330" y="2368611"/>
              <a:ext cx="272510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rgbClr val="006EB6"/>
                  </a:solidFill>
                </a:rPr>
                <a:t>Estonia</a:t>
              </a:r>
            </a:p>
          </p:txBody>
        </p:sp>
        <p:sp>
          <p:nvSpPr>
            <p:cNvPr id="84" name="Russia Text"/>
            <p:cNvSpPr txBox="1"/>
            <p:nvPr/>
          </p:nvSpPr>
          <p:spPr>
            <a:xfrm>
              <a:off x="11333686" y="1740823"/>
              <a:ext cx="232436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rgbClr val="006EB6"/>
                  </a:solidFill>
                </a:rPr>
                <a:t>Russia</a:t>
              </a:r>
            </a:p>
          </p:txBody>
        </p:sp>
        <p:sp>
          <p:nvSpPr>
            <p:cNvPr id="85" name="Greece Text"/>
            <p:cNvSpPr txBox="1"/>
            <p:nvPr/>
          </p:nvSpPr>
          <p:spPr>
            <a:xfrm>
              <a:off x="10750982" y="6160525"/>
              <a:ext cx="25167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rgbClr val="006EB6"/>
                  </a:solidFill>
                </a:rPr>
                <a:t>Greece</a:t>
              </a:r>
            </a:p>
          </p:txBody>
        </p:sp>
        <p:sp>
          <p:nvSpPr>
            <p:cNvPr id="86" name="Albania Text"/>
            <p:cNvSpPr txBox="1"/>
            <p:nvPr/>
          </p:nvSpPr>
          <p:spPr>
            <a:xfrm>
              <a:off x="10488488" y="5896499"/>
              <a:ext cx="275717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rgbClr val="006EB6"/>
                  </a:solidFill>
                </a:rPr>
                <a:t>Albania</a:t>
              </a:r>
            </a:p>
          </p:txBody>
        </p:sp>
        <p:sp>
          <p:nvSpPr>
            <p:cNvPr id="87" name="Makedonia Text"/>
            <p:cNvSpPr txBox="1"/>
            <p:nvPr/>
          </p:nvSpPr>
          <p:spPr>
            <a:xfrm>
              <a:off x="10600786" y="5673747"/>
              <a:ext cx="39594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rgbClr val="006EB6"/>
                  </a:solidFill>
                </a:rPr>
                <a:t>Macedonia</a:t>
              </a:r>
            </a:p>
          </p:txBody>
        </p:sp>
        <p:sp>
          <p:nvSpPr>
            <p:cNvPr id="88" name="Kosovo Text"/>
            <p:cNvSpPr txBox="1"/>
            <p:nvPr/>
          </p:nvSpPr>
          <p:spPr>
            <a:xfrm>
              <a:off x="10680608" y="5486132"/>
              <a:ext cx="269304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rgbClr val="006EB6"/>
                  </a:solidFill>
                </a:rPr>
                <a:t>Kosovo</a:t>
              </a:r>
            </a:p>
          </p:txBody>
        </p:sp>
        <p:sp>
          <p:nvSpPr>
            <p:cNvPr id="89" name="Montenegro Text"/>
            <p:cNvSpPr txBox="1"/>
            <p:nvPr/>
          </p:nvSpPr>
          <p:spPr>
            <a:xfrm>
              <a:off x="10271548" y="5481130"/>
              <a:ext cx="264496" cy="1800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rgbClr val="006EB6"/>
                  </a:solidFill>
                </a:rPr>
                <a:t>Monte-</a:t>
              </a:r>
              <a:br>
                <a:rPr lang="en-GB" sz="650" b="1" noProof="1">
                  <a:solidFill>
                    <a:srgbClr val="006EB6"/>
                  </a:solidFill>
                </a:rPr>
              </a:br>
              <a:r>
                <a:rPr lang="en-GB" sz="650" b="1" noProof="1">
                  <a:solidFill>
                    <a:srgbClr val="006EB6"/>
                  </a:solidFill>
                </a:rPr>
                <a:t>negro</a:t>
              </a:r>
            </a:p>
          </p:txBody>
        </p:sp>
        <p:sp>
          <p:nvSpPr>
            <p:cNvPr id="90" name="Serbia Text"/>
            <p:cNvSpPr txBox="1"/>
            <p:nvPr/>
          </p:nvSpPr>
          <p:spPr>
            <a:xfrm>
              <a:off x="10421442" y="5199562"/>
              <a:ext cx="23083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rgbClr val="006EB6"/>
                  </a:solidFill>
                </a:rPr>
                <a:t>Serbia</a:t>
              </a:r>
            </a:p>
          </p:txBody>
        </p:sp>
        <p:sp>
          <p:nvSpPr>
            <p:cNvPr id="91" name="Bosnia &amp; Herzegovina Text"/>
            <p:cNvSpPr txBox="1"/>
            <p:nvPr/>
          </p:nvSpPr>
          <p:spPr>
            <a:xfrm>
              <a:off x="9856795" y="5205454"/>
              <a:ext cx="472206" cy="1800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rgbClr val="006EB6"/>
                  </a:solidFill>
                </a:rPr>
                <a:t>Bosnia &amp; </a:t>
              </a:r>
              <a:br>
                <a:rPr lang="en-GB" sz="650" b="1" noProof="1">
                  <a:solidFill>
                    <a:srgbClr val="006EB6"/>
                  </a:solidFill>
                </a:rPr>
              </a:br>
              <a:r>
                <a:rPr lang="en-GB" sz="650" b="1" noProof="1">
                  <a:solidFill>
                    <a:srgbClr val="006EB6"/>
                  </a:solidFill>
                </a:rPr>
                <a:t>Herzegovina</a:t>
              </a:r>
            </a:p>
          </p:txBody>
        </p:sp>
        <p:sp>
          <p:nvSpPr>
            <p:cNvPr id="92" name="Croatia Text"/>
            <p:cNvSpPr txBox="1"/>
            <p:nvPr/>
          </p:nvSpPr>
          <p:spPr>
            <a:xfrm>
              <a:off x="9589725" y="5090075"/>
              <a:ext cx="26289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rgbClr val="006EB6"/>
                  </a:solidFill>
                </a:rPr>
                <a:t>Croatia</a:t>
              </a:r>
            </a:p>
          </p:txBody>
        </p:sp>
        <p:sp>
          <p:nvSpPr>
            <p:cNvPr id="93" name="Slovenia Text"/>
            <p:cNvSpPr txBox="1"/>
            <p:nvPr/>
          </p:nvSpPr>
          <p:spPr>
            <a:xfrm>
              <a:off x="9465688" y="4946695"/>
              <a:ext cx="310983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rgbClr val="006EB6"/>
                  </a:solidFill>
                </a:rPr>
                <a:t>Slovenia</a:t>
              </a:r>
            </a:p>
          </p:txBody>
        </p:sp>
        <p:sp>
          <p:nvSpPr>
            <p:cNvPr id="94" name="Hungary Text"/>
            <p:cNvSpPr txBox="1"/>
            <p:nvPr/>
          </p:nvSpPr>
          <p:spPr>
            <a:xfrm>
              <a:off x="10110459" y="4708613"/>
              <a:ext cx="310983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rgbClr val="006EB6"/>
                  </a:solidFill>
                </a:rPr>
                <a:t>Hungary</a:t>
              </a:r>
            </a:p>
          </p:txBody>
        </p:sp>
        <p:sp>
          <p:nvSpPr>
            <p:cNvPr id="95" name="Italy Text"/>
            <p:cNvSpPr txBox="1"/>
            <p:nvPr/>
          </p:nvSpPr>
          <p:spPr>
            <a:xfrm>
              <a:off x="9235159" y="5623720"/>
              <a:ext cx="16190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rgbClr val="006EB6"/>
                  </a:solidFill>
                </a:rPr>
                <a:t>Italy</a:t>
              </a:r>
            </a:p>
          </p:txBody>
        </p:sp>
        <p:sp>
          <p:nvSpPr>
            <p:cNvPr id="96" name="Austria Text"/>
            <p:cNvSpPr txBox="1"/>
            <p:nvPr/>
          </p:nvSpPr>
          <p:spPr>
            <a:xfrm>
              <a:off x="9453547" y="4650986"/>
              <a:ext cx="259686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rgbClr val="006EB6"/>
                  </a:solidFill>
                </a:rPr>
                <a:t>Austria</a:t>
              </a:r>
            </a:p>
          </p:txBody>
        </p:sp>
        <p:sp>
          <p:nvSpPr>
            <p:cNvPr id="97" name="Switzerland Text"/>
            <p:cNvSpPr txBox="1"/>
            <p:nvPr/>
          </p:nvSpPr>
          <p:spPr>
            <a:xfrm>
              <a:off x="8437475" y="4841670"/>
              <a:ext cx="431208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rgbClr val="006EB6"/>
                  </a:solidFill>
                </a:rPr>
                <a:t>Switzerland</a:t>
              </a:r>
            </a:p>
          </p:txBody>
        </p:sp>
        <p:sp>
          <p:nvSpPr>
            <p:cNvPr id="98" name="Portugal Text"/>
            <p:cNvSpPr txBox="1"/>
            <p:nvPr/>
          </p:nvSpPr>
          <p:spPr>
            <a:xfrm>
              <a:off x="5649303" y="5994326"/>
              <a:ext cx="312586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a-DK" sz="650" b="1" dirty="0">
                  <a:solidFill>
                    <a:srgbClr val="006EB6"/>
                  </a:solidFill>
                </a:rPr>
                <a:t>Portugal</a:t>
              </a:r>
            </a:p>
          </p:txBody>
        </p:sp>
        <p:sp>
          <p:nvSpPr>
            <p:cNvPr id="99" name="Spain Text"/>
            <p:cNvSpPr txBox="1"/>
            <p:nvPr/>
          </p:nvSpPr>
          <p:spPr>
            <a:xfrm>
              <a:off x="6556415" y="5930886"/>
              <a:ext cx="20518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a-DK" sz="650" b="1" dirty="0">
                  <a:solidFill>
                    <a:srgbClr val="006EB6"/>
                  </a:solidFill>
                </a:rPr>
                <a:t>Spain</a:t>
              </a:r>
            </a:p>
          </p:txBody>
        </p:sp>
        <p:sp>
          <p:nvSpPr>
            <p:cNvPr id="100" name="Andorra Text"/>
            <p:cNvSpPr txBox="1"/>
            <p:nvPr/>
          </p:nvSpPr>
          <p:spPr>
            <a:xfrm>
              <a:off x="7509710" y="5481130"/>
              <a:ext cx="294953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rgbClr val="006EB6"/>
                  </a:solidFill>
                </a:rPr>
                <a:t>Andorra</a:t>
              </a:r>
            </a:p>
          </p:txBody>
        </p:sp>
        <p:sp>
          <p:nvSpPr>
            <p:cNvPr id="101" name="France Text"/>
            <p:cNvSpPr txBox="1"/>
            <p:nvPr/>
          </p:nvSpPr>
          <p:spPr>
            <a:xfrm>
              <a:off x="7671332" y="4791656"/>
              <a:ext cx="24205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rgbClr val="006EB6"/>
                  </a:solidFill>
                </a:rPr>
                <a:t>France</a:t>
              </a:r>
            </a:p>
          </p:txBody>
        </p:sp>
        <p:sp>
          <p:nvSpPr>
            <p:cNvPr id="102" name="Slovakia Text"/>
            <p:cNvSpPr txBox="1"/>
            <p:nvPr/>
          </p:nvSpPr>
          <p:spPr>
            <a:xfrm>
              <a:off x="10072207" y="4420326"/>
              <a:ext cx="307777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rgbClr val="006EB6"/>
                  </a:solidFill>
                </a:rPr>
                <a:t>Slovakia</a:t>
              </a:r>
            </a:p>
          </p:txBody>
        </p:sp>
        <p:sp>
          <p:nvSpPr>
            <p:cNvPr id="103" name="Czech Republic Text"/>
            <p:cNvSpPr txBox="1"/>
            <p:nvPr/>
          </p:nvSpPr>
          <p:spPr>
            <a:xfrm>
              <a:off x="9402630" y="4256088"/>
              <a:ext cx="543418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rgbClr val="006EB6"/>
                  </a:solidFill>
                </a:rPr>
                <a:t>Czech Republic</a:t>
              </a:r>
            </a:p>
          </p:txBody>
        </p:sp>
        <p:sp>
          <p:nvSpPr>
            <p:cNvPr id="104" name="Luxembourg Text"/>
            <p:cNvSpPr txBox="1"/>
            <p:nvPr/>
          </p:nvSpPr>
          <p:spPr>
            <a:xfrm>
              <a:off x="8400256" y="4250198"/>
              <a:ext cx="46006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rgbClr val="006EB6"/>
                  </a:solidFill>
                </a:rPr>
                <a:t>Luxembourg</a:t>
              </a:r>
            </a:p>
          </p:txBody>
        </p:sp>
        <p:sp>
          <p:nvSpPr>
            <p:cNvPr id="105" name="Belgium Text"/>
            <p:cNvSpPr txBox="1"/>
            <p:nvPr/>
          </p:nvSpPr>
          <p:spPr>
            <a:xfrm>
              <a:off x="7998085" y="4038430"/>
              <a:ext cx="298159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rgbClr val="006EB6"/>
                  </a:solidFill>
                </a:rPr>
                <a:t>Belgium</a:t>
              </a:r>
            </a:p>
          </p:txBody>
        </p:sp>
        <p:sp>
          <p:nvSpPr>
            <p:cNvPr id="106" name="Ireland Text"/>
            <p:cNvSpPr txBox="1"/>
            <p:nvPr/>
          </p:nvSpPr>
          <p:spPr>
            <a:xfrm>
              <a:off x="6461451" y="3411767"/>
              <a:ext cx="25167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rgbClr val="006EB6"/>
                  </a:solidFill>
                </a:rPr>
                <a:t>Ireland</a:t>
              </a:r>
            </a:p>
          </p:txBody>
        </p:sp>
        <p:sp>
          <p:nvSpPr>
            <p:cNvPr id="107" name="UK Text"/>
            <p:cNvSpPr txBox="1"/>
            <p:nvPr/>
          </p:nvSpPr>
          <p:spPr>
            <a:xfrm>
              <a:off x="7279376" y="3565018"/>
              <a:ext cx="123432" cy="1000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650" b="1" dirty="0">
                  <a:solidFill>
                    <a:srgbClr val="006EB6"/>
                  </a:solidFill>
                </a:rPr>
                <a:t>UK</a:t>
              </a:r>
            </a:p>
          </p:txBody>
        </p:sp>
        <p:sp>
          <p:nvSpPr>
            <p:cNvPr id="108" name="Netherlands Text"/>
            <p:cNvSpPr txBox="1"/>
            <p:nvPr/>
          </p:nvSpPr>
          <p:spPr>
            <a:xfrm>
              <a:off x="8172704" y="3773074"/>
              <a:ext cx="282129" cy="1800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rgbClr val="006EB6"/>
                  </a:solidFill>
                </a:rPr>
                <a:t>Nether-</a:t>
              </a:r>
              <a:br>
                <a:rPr lang="en-GB" sz="650" b="1" noProof="1">
                  <a:solidFill>
                    <a:srgbClr val="006EB6"/>
                  </a:solidFill>
                </a:rPr>
              </a:br>
              <a:r>
                <a:rPr lang="en-GB" sz="650" b="1" noProof="1">
                  <a:solidFill>
                    <a:srgbClr val="006EB6"/>
                  </a:solidFill>
                </a:rPr>
                <a:t>lands</a:t>
              </a:r>
            </a:p>
          </p:txBody>
        </p:sp>
        <p:sp>
          <p:nvSpPr>
            <p:cNvPr id="109" name="Poland Text"/>
            <p:cNvSpPr txBox="1"/>
            <p:nvPr/>
          </p:nvSpPr>
          <p:spPr>
            <a:xfrm>
              <a:off x="10071860" y="3731412"/>
              <a:ext cx="25327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rgbClr val="006EB6"/>
                  </a:solidFill>
                </a:rPr>
                <a:t>Poland</a:t>
              </a:r>
            </a:p>
          </p:txBody>
        </p:sp>
        <p:sp>
          <p:nvSpPr>
            <p:cNvPr id="110" name="Germany Text"/>
            <p:cNvSpPr txBox="1"/>
            <p:nvPr/>
          </p:nvSpPr>
          <p:spPr>
            <a:xfrm>
              <a:off x="8698771" y="3931659"/>
              <a:ext cx="33182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rgbClr val="006EB6"/>
                  </a:solidFill>
                </a:rPr>
                <a:t>Germany</a:t>
              </a:r>
            </a:p>
          </p:txBody>
        </p:sp>
        <p:sp>
          <p:nvSpPr>
            <p:cNvPr id="111" name="Denmark Text"/>
            <p:cNvSpPr txBox="1"/>
            <p:nvPr/>
          </p:nvSpPr>
          <p:spPr>
            <a:xfrm>
              <a:off x="8385174" y="2999574"/>
              <a:ext cx="333425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rgbClr val="006EB6"/>
                  </a:solidFill>
                </a:rPr>
                <a:t>Denmark</a:t>
              </a:r>
            </a:p>
          </p:txBody>
        </p:sp>
        <p:sp>
          <p:nvSpPr>
            <p:cNvPr id="112" name="Finland Text"/>
            <p:cNvSpPr txBox="1"/>
            <p:nvPr/>
          </p:nvSpPr>
          <p:spPr>
            <a:xfrm>
              <a:off x="10402193" y="1603376"/>
              <a:ext cx="26770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a-DK" sz="650" b="1" dirty="0">
                  <a:solidFill>
                    <a:srgbClr val="006EB6"/>
                  </a:solidFill>
                </a:rPr>
                <a:t>Finland</a:t>
              </a:r>
            </a:p>
          </p:txBody>
        </p:sp>
        <p:sp>
          <p:nvSpPr>
            <p:cNvPr id="113" name="Sweden Text"/>
            <p:cNvSpPr txBox="1"/>
            <p:nvPr/>
          </p:nvSpPr>
          <p:spPr>
            <a:xfrm>
              <a:off x="9326093" y="1818976"/>
              <a:ext cx="29014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rgbClr val="006EB6"/>
                  </a:solidFill>
                </a:rPr>
                <a:t>Sweden</a:t>
              </a:r>
            </a:p>
          </p:txBody>
        </p:sp>
        <p:sp>
          <p:nvSpPr>
            <p:cNvPr id="114" name="Norway Text"/>
            <p:cNvSpPr txBox="1"/>
            <p:nvPr/>
          </p:nvSpPr>
          <p:spPr>
            <a:xfrm>
              <a:off x="8623671" y="2089135"/>
              <a:ext cx="285335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rgbClr val="006EB6"/>
                  </a:solidFill>
                </a:rPr>
                <a:t>Norway</a:t>
              </a:r>
            </a:p>
          </p:txBody>
        </p:sp>
      </p:grpSp>
      <p:grpSp>
        <p:nvGrpSpPr>
          <p:cNvPr id="115" name="Russia"/>
          <p:cNvGrpSpPr/>
          <p:nvPr/>
        </p:nvGrpSpPr>
        <p:grpSpPr>
          <a:xfrm>
            <a:off x="10116076" y="-3175"/>
            <a:ext cx="2084387" cy="3536950"/>
            <a:chOff x="10137096" y="-3175"/>
            <a:chExt cx="2084387" cy="3536950"/>
          </a:xfrm>
          <a:solidFill>
            <a:schemeClr val="accent3"/>
          </a:solidFill>
        </p:grpSpPr>
        <p:sp>
          <p:nvSpPr>
            <p:cNvPr id="116" name="Russia"/>
            <p:cNvSpPr>
              <a:spLocks/>
            </p:cNvSpPr>
            <p:nvPr/>
          </p:nvSpPr>
          <p:spPr bwMode="auto">
            <a:xfrm>
              <a:off x="10137096" y="3149600"/>
              <a:ext cx="374650" cy="182563"/>
            </a:xfrm>
            <a:custGeom>
              <a:avLst/>
              <a:gdLst>
                <a:gd name="T0" fmla="*/ 88 w 236"/>
                <a:gd name="T1" fmla="*/ 0 h 115"/>
                <a:gd name="T2" fmla="*/ 173 w 236"/>
                <a:gd name="T3" fmla="*/ 25 h 115"/>
                <a:gd name="T4" fmla="*/ 202 w 236"/>
                <a:gd name="T5" fmla="*/ 16 h 115"/>
                <a:gd name="T6" fmla="*/ 235 w 236"/>
                <a:gd name="T7" fmla="*/ 32 h 115"/>
                <a:gd name="T8" fmla="*/ 227 w 236"/>
                <a:gd name="T9" fmla="*/ 54 h 115"/>
                <a:gd name="T10" fmla="*/ 236 w 236"/>
                <a:gd name="T11" fmla="*/ 88 h 115"/>
                <a:gd name="T12" fmla="*/ 202 w 236"/>
                <a:gd name="T13" fmla="*/ 110 h 115"/>
                <a:gd name="T14" fmla="*/ 103 w 236"/>
                <a:gd name="T15" fmla="*/ 115 h 115"/>
                <a:gd name="T16" fmla="*/ 0 w 236"/>
                <a:gd name="T17" fmla="*/ 110 h 115"/>
                <a:gd name="T18" fmla="*/ 12 w 236"/>
                <a:gd name="T19" fmla="*/ 96 h 115"/>
                <a:gd name="T20" fmla="*/ 3 w 236"/>
                <a:gd name="T21" fmla="*/ 68 h 115"/>
                <a:gd name="T22" fmla="*/ 65 w 236"/>
                <a:gd name="T23" fmla="*/ 49 h 115"/>
                <a:gd name="T24" fmla="*/ 88 w 236"/>
                <a:gd name="T2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6" h="115">
                  <a:moveTo>
                    <a:pt x="88" y="0"/>
                  </a:moveTo>
                  <a:lnTo>
                    <a:pt x="173" y="25"/>
                  </a:lnTo>
                  <a:lnTo>
                    <a:pt x="202" y="16"/>
                  </a:lnTo>
                  <a:lnTo>
                    <a:pt x="235" y="32"/>
                  </a:lnTo>
                  <a:lnTo>
                    <a:pt x="227" y="54"/>
                  </a:lnTo>
                  <a:lnTo>
                    <a:pt x="236" y="88"/>
                  </a:lnTo>
                  <a:lnTo>
                    <a:pt x="202" y="110"/>
                  </a:lnTo>
                  <a:lnTo>
                    <a:pt x="103" y="115"/>
                  </a:lnTo>
                  <a:lnTo>
                    <a:pt x="0" y="110"/>
                  </a:lnTo>
                  <a:lnTo>
                    <a:pt x="12" y="96"/>
                  </a:lnTo>
                  <a:lnTo>
                    <a:pt x="3" y="68"/>
                  </a:lnTo>
                  <a:lnTo>
                    <a:pt x="65" y="49"/>
                  </a:lnTo>
                  <a:lnTo>
                    <a:pt x="88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" name="Russia"/>
            <p:cNvSpPr>
              <a:spLocks/>
            </p:cNvSpPr>
            <p:nvPr/>
          </p:nvSpPr>
          <p:spPr bwMode="auto">
            <a:xfrm>
              <a:off x="10461263" y="-3175"/>
              <a:ext cx="1760220" cy="3536950"/>
            </a:xfrm>
            <a:custGeom>
              <a:avLst/>
              <a:gdLst>
                <a:gd name="T0" fmla="*/ 517 w 638"/>
                <a:gd name="T1" fmla="*/ 44 h 1233"/>
                <a:gd name="T2" fmla="*/ 493 w 638"/>
                <a:gd name="T3" fmla="*/ 99 h 1233"/>
                <a:gd name="T4" fmla="*/ 478 w 638"/>
                <a:gd name="T5" fmla="*/ 49 h 1233"/>
                <a:gd name="T6" fmla="*/ 419 w 638"/>
                <a:gd name="T7" fmla="*/ 23 h 1233"/>
                <a:gd name="T8" fmla="*/ 406 w 638"/>
                <a:gd name="T9" fmla="*/ 59 h 1233"/>
                <a:gd name="T10" fmla="*/ 436 w 638"/>
                <a:gd name="T11" fmla="*/ 121 h 1233"/>
                <a:gd name="T12" fmla="*/ 477 w 638"/>
                <a:gd name="T13" fmla="*/ 143 h 1233"/>
                <a:gd name="T14" fmla="*/ 458 w 638"/>
                <a:gd name="T15" fmla="*/ 178 h 1233"/>
                <a:gd name="T16" fmla="*/ 406 w 638"/>
                <a:gd name="T17" fmla="*/ 225 h 1233"/>
                <a:gd name="T18" fmla="*/ 419 w 638"/>
                <a:gd name="T19" fmla="*/ 296 h 1233"/>
                <a:gd name="T20" fmla="*/ 405 w 638"/>
                <a:gd name="T21" fmla="*/ 333 h 1233"/>
                <a:gd name="T22" fmla="*/ 328 w 638"/>
                <a:gd name="T23" fmla="*/ 320 h 1233"/>
                <a:gd name="T24" fmla="*/ 318 w 638"/>
                <a:gd name="T25" fmla="*/ 348 h 1233"/>
                <a:gd name="T26" fmla="*/ 390 w 638"/>
                <a:gd name="T27" fmla="*/ 384 h 1233"/>
                <a:gd name="T28" fmla="*/ 322 w 638"/>
                <a:gd name="T29" fmla="*/ 403 h 1233"/>
                <a:gd name="T30" fmla="*/ 289 w 638"/>
                <a:gd name="T31" fmla="*/ 403 h 1233"/>
                <a:gd name="T32" fmla="*/ 247 w 638"/>
                <a:gd name="T33" fmla="*/ 353 h 1233"/>
                <a:gd name="T34" fmla="*/ 242 w 638"/>
                <a:gd name="T35" fmla="*/ 325 h 1233"/>
                <a:gd name="T36" fmla="*/ 187 w 638"/>
                <a:gd name="T37" fmla="*/ 288 h 1233"/>
                <a:gd name="T38" fmla="*/ 134 w 638"/>
                <a:gd name="T39" fmla="*/ 261 h 1233"/>
                <a:gd name="T40" fmla="*/ 148 w 638"/>
                <a:gd name="T41" fmla="*/ 247 h 1233"/>
                <a:gd name="T42" fmla="*/ 205 w 638"/>
                <a:gd name="T43" fmla="*/ 261 h 1233"/>
                <a:gd name="T44" fmla="*/ 276 w 638"/>
                <a:gd name="T45" fmla="*/ 261 h 1233"/>
                <a:gd name="T46" fmla="*/ 377 w 638"/>
                <a:gd name="T47" fmla="*/ 171 h 1233"/>
                <a:gd name="T48" fmla="*/ 300 w 638"/>
                <a:gd name="T49" fmla="*/ 121 h 1233"/>
                <a:gd name="T50" fmla="*/ 217 w 638"/>
                <a:gd name="T51" fmla="*/ 99 h 1233"/>
                <a:gd name="T52" fmla="*/ 111 w 638"/>
                <a:gd name="T53" fmla="*/ 97 h 1233"/>
                <a:gd name="T54" fmla="*/ 100 w 638"/>
                <a:gd name="T55" fmla="*/ 112 h 1233"/>
                <a:gd name="T56" fmla="*/ 89 w 638"/>
                <a:gd name="T57" fmla="*/ 135 h 1233"/>
                <a:gd name="T58" fmla="*/ 19 w 638"/>
                <a:gd name="T59" fmla="*/ 156 h 1233"/>
                <a:gd name="T60" fmla="*/ 0 w 638"/>
                <a:gd name="T61" fmla="*/ 207 h 1233"/>
                <a:gd name="T62" fmla="*/ 24 w 638"/>
                <a:gd name="T63" fmla="*/ 213 h 1233"/>
                <a:gd name="T64" fmla="*/ 57 w 638"/>
                <a:gd name="T65" fmla="*/ 243 h 1233"/>
                <a:gd name="T66" fmla="*/ 107 w 638"/>
                <a:gd name="T67" fmla="*/ 355 h 1233"/>
                <a:gd name="T68" fmla="*/ 107 w 638"/>
                <a:gd name="T69" fmla="*/ 397 h 1233"/>
                <a:gd name="T70" fmla="*/ 125 w 638"/>
                <a:gd name="T71" fmla="*/ 415 h 1233"/>
                <a:gd name="T72" fmla="*/ 148 w 638"/>
                <a:gd name="T73" fmla="*/ 441 h 1233"/>
                <a:gd name="T74" fmla="*/ 209 w 638"/>
                <a:gd name="T75" fmla="*/ 517 h 1233"/>
                <a:gd name="T76" fmla="*/ 146 w 638"/>
                <a:gd name="T77" fmla="*/ 700 h 1233"/>
                <a:gd name="T78" fmla="*/ 187 w 638"/>
                <a:gd name="T79" fmla="*/ 720 h 1233"/>
                <a:gd name="T80" fmla="*/ 242 w 638"/>
                <a:gd name="T81" fmla="*/ 739 h 1233"/>
                <a:gd name="T82" fmla="*/ 163 w 638"/>
                <a:gd name="T83" fmla="*/ 761 h 1233"/>
                <a:gd name="T84" fmla="*/ 162 w 638"/>
                <a:gd name="T85" fmla="*/ 791 h 1233"/>
                <a:gd name="T86" fmla="*/ 159 w 638"/>
                <a:gd name="T87" fmla="*/ 837 h 1233"/>
                <a:gd name="T88" fmla="*/ 180 w 638"/>
                <a:gd name="T89" fmla="*/ 865 h 1233"/>
                <a:gd name="T90" fmla="*/ 180 w 638"/>
                <a:gd name="T91" fmla="*/ 900 h 1233"/>
                <a:gd name="T92" fmla="*/ 202 w 638"/>
                <a:gd name="T93" fmla="*/ 934 h 1233"/>
                <a:gd name="T94" fmla="*/ 224 w 638"/>
                <a:gd name="T95" fmla="*/ 963 h 1233"/>
                <a:gd name="T96" fmla="*/ 260 w 638"/>
                <a:gd name="T97" fmla="*/ 983 h 1233"/>
                <a:gd name="T98" fmla="*/ 328 w 638"/>
                <a:gd name="T99" fmla="*/ 983 h 1233"/>
                <a:gd name="T100" fmla="*/ 373 w 638"/>
                <a:gd name="T101" fmla="*/ 1044 h 1233"/>
                <a:gd name="T102" fmla="*/ 417 w 638"/>
                <a:gd name="T103" fmla="*/ 1074 h 1233"/>
                <a:gd name="T104" fmla="*/ 470 w 638"/>
                <a:gd name="T105" fmla="*/ 1092 h 1233"/>
                <a:gd name="T106" fmla="*/ 441 w 638"/>
                <a:gd name="T107" fmla="*/ 1139 h 1233"/>
                <a:gd name="T108" fmla="*/ 458 w 638"/>
                <a:gd name="T109" fmla="*/ 1183 h 1233"/>
                <a:gd name="T110" fmla="*/ 501 w 638"/>
                <a:gd name="T111" fmla="*/ 1191 h 1233"/>
                <a:gd name="T112" fmla="*/ 609 w 638"/>
                <a:gd name="T113" fmla="*/ 1191 h 1233"/>
                <a:gd name="T114" fmla="*/ 638 w 638"/>
                <a:gd name="T115" fmla="*/ 1227 h 1233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67 w 10000"/>
                <a:gd name="connsiteY84" fmla="*/ 916 h 10000"/>
                <a:gd name="connsiteX85" fmla="*/ 1538 w 10000"/>
                <a:gd name="connsiteY85" fmla="*/ 746 h 10000"/>
                <a:gd name="connsiteX86" fmla="*/ 1395 w 10000"/>
                <a:gd name="connsiteY86" fmla="*/ 1095 h 10000"/>
                <a:gd name="connsiteX87" fmla="*/ 940 w 10000"/>
                <a:gd name="connsiteY87" fmla="*/ 1054 h 10000"/>
                <a:gd name="connsiteX88" fmla="*/ 737 w 10000"/>
                <a:gd name="connsiteY88" fmla="*/ 1273 h 10000"/>
                <a:gd name="connsiteX89" fmla="*/ 298 w 10000"/>
                <a:gd name="connsiteY89" fmla="*/ 1265 h 10000"/>
                <a:gd name="connsiteX90" fmla="*/ 361 w 10000"/>
                <a:gd name="connsiteY90" fmla="*/ 1419 h 10000"/>
                <a:gd name="connsiteX91" fmla="*/ 219 w 10000"/>
                <a:gd name="connsiteY91" fmla="*/ 1525 h 10000"/>
                <a:gd name="connsiteX92" fmla="*/ 0 w 10000"/>
                <a:gd name="connsiteY92" fmla="*/ 1679 h 10000"/>
                <a:gd name="connsiteX93" fmla="*/ 31 w 10000"/>
                <a:gd name="connsiteY93" fmla="*/ 1687 h 10000"/>
                <a:gd name="connsiteX94" fmla="*/ 31 w 10000"/>
                <a:gd name="connsiteY94" fmla="*/ 1695 h 10000"/>
                <a:gd name="connsiteX95" fmla="*/ 376 w 10000"/>
                <a:gd name="connsiteY95" fmla="*/ 1727 h 10000"/>
                <a:gd name="connsiteX96" fmla="*/ 517 w 10000"/>
                <a:gd name="connsiteY96" fmla="*/ 1800 h 10000"/>
                <a:gd name="connsiteX97" fmla="*/ 799 w 10000"/>
                <a:gd name="connsiteY97" fmla="*/ 1833 h 10000"/>
                <a:gd name="connsiteX98" fmla="*/ 893 w 10000"/>
                <a:gd name="connsiteY98" fmla="*/ 1971 h 10000"/>
                <a:gd name="connsiteX99" fmla="*/ 690 w 10000"/>
                <a:gd name="connsiteY99" fmla="*/ 2376 h 10000"/>
                <a:gd name="connsiteX100" fmla="*/ 893 w 10000"/>
                <a:gd name="connsiteY100" fmla="*/ 2457 h 10000"/>
                <a:gd name="connsiteX101" fmla="*/ 1677 w 10000"/>
                <a:gd name="connsiteY101" fmla="*/ 2879 h 10000"/>
                <a:gd name="connsiteX102" fmla="*/ 1458 w 10000"/>
                <a:gd name="connsiteY102" fmla="*/ 2976 h 10000"/>
                <a:gd name="connsiteX103" fmla="*/ 1458 w 10000"/>
                <a:gd name="connsiteY103" fmla="*/ 3179 h 10000"/>
                <a:gd name="connsiteX104" fmla="*/ 1677 w 10000"/>
                <a:gd name="connsiteY104" fmla="*/ 3220 h 10000"/>
                <a:gd name="connsiteX105" fmla="*/ 1614 w 10000"/>
                <a:gd name="connsiteY105" fmla="*/ 3333 h 10000"/>
                <a:gd name="connsiteX106" fmla="*/ 1787 w 10000"/>
                <a:gd name="connsiteY106" fmla="*/ 3398 h 10000"/>
                <a:gd name="connsiteX107" fmla="*/ 1959 w 10000"/>
                <a:gd name="connsiteY107" fmla="*/ 3366 h 10000"/>
                <a:gd name="connsiteX108" fmla="*/ 1991 w 10000"/>
                <a:gd name="connsiteY108" fmla="*/ 3528 h 10000"/>
                <a:gd name="connsiteX109" fmla="*/ 2132 w 10000"/>
                <a:gd name="connsiteY109" fmla="*/ 3609 h 10000"/>
                <a:gd name="connsiteX110" fmla="*/ 2320 w 10000"/>
                <a:gd name="connsiteY110" fmla="*/ 3577 h 10000"/>
                <a:gd name="connsiteX111" fmla="*/ 2461 w 10000"/>
                <a:gd name="connsiteY111" fmla="*/ 3715 h 10000"/>
                <a:gd name="connsiteX112" fmla="*/ 2335 w 10000"/>
                <a:gd name="connsiteY112" fmla="*/ 3950 h 10000"/>
                <a:gd name="connsiteX113" fmla="*/ 3276 w 10000"/>
                <a:gd name="connsiteY113" fmla="*/ 4193 h 10000"/>
                <a:gd name="connsiteX114" fmla="*/ 3292 w 10000"/>
                <a:gd name="connsiteY114" fmla="*/ 4599 h 10000"/>
                <a:gd name="connsiteX115" fmla="*/ 2806 w 10000"/>
                <a:gd name="connsiteY115" fmla="*/ 5239 h 10000"/>
                <a:gd name="connsiteX116" fmla="*/ 2288 w 10000"/>
                <a:gd name="connsiteY116" fmla="*/ 5677 h 10000"/>
                <a:gd name="connsiteX117" fmla="*/ 2555 w 10000"/>
                <a:gd name="connsiteY117" fmla="*/ 5612 h 10000"/>
                <a:gd name="connsiteX118" fmla="*/ 2618 w 10000"/>
                <a:gd name="connsiteY118" fmla="*/ 5766 h 10000"/>
                <a:gd name="connsiteX119" fmla="*/ 2931 w 10000"/>
                <a:gd name="connsiteY119" fmla="*/ 5839 h 10000"/>
                <a:gd name="connsiteX120" fmla="*/ 3370 w 10000"/>
                <a:gd name="connsiteY120" fmla="*/ 5775 h 10000"/>
                <a:gd name="connsiteX121" fmla="*/ 3793 w 10000"/>
                <a:gd name="connsiteY121" fmla="*/ 5864 h 10000"/>
                <a:gd name="connsiteX122" fmla="*/ 3793 w 10000"/>
                <a:gd name="connsiteY122" fmla="*/ 5994 h 10000"/>
                <a:gd name="connsiteX123" fmla="*/ 3056 w 10000"/>
                <a:gd name="connsiteY123" fmla="*/ 5969 h 10000"/>
                <a:gd name="connsiteX124" fmla="*/ 2931 w 10000"/>
                <a:gd name="connsiteY124" fmla="*/ 6091 h 10000"/>
                <a:gd name="connsiteX125" fmla="*/ 2555 w 10000"/>
                <a:gd name="connsiteY125" fmla="*/ 6172 h 10000"/>
                <a:gd name="connsiteX126" fmla="*/ 2633 w 10000"/>
                <a:gd name="connsiteY126" fmla="*/ 6269 h 10000"/>
                <a:gd name="connsiteX127" fmla="*/ 2712 w 10000"/>
                <a:gd name="connsiteY127" fmla="*/ 6326 h 10000"/>
                <a:gd name="connsiteX128" fmla="*/ 2539 w 10000"/>
                <a:gd name="connsiteY128" fmla="*/ 6415 h 10000"/>
                <a:gd name="connsiteX129" fmla="*/ 2586 w 10000"/>
                <a:gd name="connsiteY129" fmla="*/ 6537 h 10000"/>
                <a:gd name="connsiteX130" fmla="*/ 2398 w 10000"/>
                <a:gd name="connsiteY130" fmla="*/ 6642 h 10000"/>
                <a:gd name="connsiteX131" fmla="*/ 2492 w 10000"/>
                <a:gd name="connsiteY131" fmla="*/ 6788 h 10000"/>
                <a:gd name="connsiteX132" fmla="*/ 2680 w 10000"/>
                <a:gd name="connsiteY132" fmla="*/ 6821 h 10000"/>
                <a:gd name="connsiteX133" fmla="*/ 2602 w 10000"/>
                <a:gd name="connsiteY133" fmla="*/ 6983 h 10000"/>
                <a:gd name="connsiteX134" fmla="*/ 2821 w 10000"/>
                <a:gd name="connsiteY134" fmla="*/ 7015 h 10000"/>
                <a:gd name="connsiteX135" fmla="*/ 2931 w 10000"/>
                <a:gd name="connsiteY135" fmla="*/ 7145 h 10000"/>
                <a:gd name="connsiteX136" fmla="*/ 2806 w 10000"/>
                <a:gd name="connsiteY136" fmla="*/ 7202 h 10000"/>
                <a:gd name="connsiteX137" fmla="*/ 2821 w 10000"/>
                <a:gd name="connsiteY137" fmla="*/ 7299 h 10000"/>
                <a:gd name="connsiteX138" fmla="*/ 2931 w 10000"/>
                <a:gd name="connsiteY138" fmla="*/ 7388 h 10000"/>
                <a:gd name="connsiteX139" fmla="*/ 3292 w 10000"/>
                <a:gd name="connsiteY139" fmla="*/ 7486 h 10000"/>
                <a:gd name="connsiteX140" fmla="*/ 3166 w 10000"/>
                <a:gd name="connsiteY140" fmla="*/ 7575 h 10000"/>
                <a:gd name="connsiteX141" fmla="*/ 3292 w 10000"/>
                <a:gd name="connsiteY141" fmla="*/ 7737 h 10000"/>
                <a:gd name="connsiteX142" fmla="*/ 3417 w 10000"/>
                <a:gd name="connsiteY142" fmla="*/ 7737 h 10000"/>
                <a:gd name="connsiteX143" fmla="*/ 3511 w 10000"/>
                <a:gd name="connsiteY143" fmla="*/ 7810 h 10000"/>
                <a:gd name="connsiteX144" fmla="*/ 3793 w 10000"/>
                <a:gd name="connsiteY144" fmla="*/ 7908 h 10000"/>
                <a:gd name="connsiteX145" fmla="*/ 3793 w 10000"/>
                <a:gd name="connsiteY145" fmla="*/ 7997 h 10000"/>
                <a:gd name="connsiteX146" fmla="*/ 4075 w 10000"/>
                <a:gd name="connsiteY146" fmla="*/ 7972 h 10000"/>
                <a:gd name="connsiteX147" fmla="*/ 4577 w 10000"/>
                <a:gd name="connsiteY147" fmla="*/ 7972 h 10000"/>
                <a:gd name="connsiteX148" fmla="*/ 4718 w 10000"/>
                <a:gd name="connsiteY148" fmla="*/ 8167 h 10000"/>
                <a:gd name="connsiteX149" fmla="*/ 5141 w 10000"/>
                <a:gd name="connsiteY149" fmla="*/ 7972 h 10000"/>
                <a:gd name="connsiteX150" fmla="*/ 5721 w 10000"/>
                <a:gd name="connsiteY150" fmla="*/ 8078 h 10000"/>
                <a:gd name="connsiteX151" fmla="*/ 5846 w 10000"/>
                <a:gd name="connsiteY151" fmla="*/ 8289 h 10000"/>
                <a:gd name="connsiteX152" fmla="*/ 5846 w 10000"/>
                <a:gd name="connsiteY152" fmla="*/ 8467 h 10000"/>
                <a:gd name="connsiteX153" fmla="*/ 6113 w 10000"/>
                <a:gd name="connsiteY153" fmla="*/ 8483 h 10000"/>
                <a:gd name="connsiteX154" fmla="*/ 6223 w 10000"/>
                <a:gd name="connsiteY154" fmla="*/ 8581 h 10000"/>
                <a:gd name="connsiteX155" fmla="*/ 6536 w 10000"/>
                <a:gd name="connsiteY155" fmla="*/ 8710 h 10000"/>
                <a:gd name="connsiteX156" fmla="*/ 6912 w 10000"/>
                <a:gd name="connsiteY156" fmla="*/ 8759 h 10000"/>
                <a:gd name="connsiteX157" fmla="*/ 6928 w 10000"/>
                <a:gd name="connsiteY157" fmla="*/ 8889 h 10000"/>
                <a:gd name="connsiteX158" fmla="*/ 7367 w 10000"/>
                <a:gd name="connsiteY158" fmla="*/ 8856 h 10000"/>
                <a:gd name="connsiteX159" fmla="*/ 7696 w 10000"/>
                <a:gd name="connsiteY159" fmla="*/ 9027 h 10000"/>
                <a:gd name="connsiteX160" fmla="*/ 7586 w 10000"/>
                <a:gd name="connsiteY160" fmla="*/ 9238 h 10000"/>
                <a:gd name="connsiteX161" fmla="*/ 6912 w 10000"/>
                <a:gd name="connsiteY161" fmla="*/ 9238 h 10000"/>
                <a:gd name="connsiteX162" fmla="*/ 6803 w 10000"/>
                <a:gd name="connsiteY162" fmla="*/ 9343 h 10000"/>
                <a:gd name="connsiteX163" fmla="*/ 7132 w 10000"/>
                <a:gd name="connsiteY163" fmla="*/ 9424 h 10000"/>
                <a:gd name="connsiteX164" fmla="*/ 7179 w 10000"/>
                <a:gd name="connsiteY164" fmla="*/ 9594 h 10000"/>
                <a:gd name="connsiteX165" fmla="*/ 7461 w 10000"/>
                <a:gd name="connsiteY165" fmla="*/ 9805 h 10000"/>
                <a:gd name="connsiteX166" fmla="*/ 7837 w 10000"/>
                <a:gd name="connsiteY166" fmla="*/ 9813 h 10000"/>
                <a:gd name="connsiteX167" fmla="*/ 7853 w 10000"/>
                <a:gd name="connsiteY167" fmla="*/ 9659 h 10000"/>
                <a:gd name="connsiteX168" fmla="*/ 8464 w 10000"/>
                <a:gd name="connsiteY168" fmla="*/ 9521 h 10000"/>
                <a:gd name="connsiteX169" fmla="*/ 9060 w 10000"/>
                <a:gd name="connsiteY169" fmla="*/ 9521 h 10000"/>
                <a:gd name="connsiteX170" fmla="*/ 9545 w 10000"/>
                <a:gd name="connsiteY170" fmla="*/ 9659 h 10000"/>
                <a:gd name="connsiteX171" fmla="*/ 9279 w 10000"/>
                <a:gd name="connsiteY171" fmla="*/ 9789 h 10000"/>
                <a:gd name="connsiteX172" fmla="*/ 9624 w 10000"/>
                <a:gd name="connsiteY172" fmla="*/ 10000 h 10000"/>
                <a:gd name="connsiteX173" fmla="*/ 10000 w 10000"/>
                <a:gd name="connsiteY173" fmla="*/ 9951 h 10000"/>
                <a:gd name="connsiteX174" fmla="*/ 10000 w 10000"/>
                <a:gd name="connsiteY174" fmla="*/ 0 h 10000"/>
                <a:gd name="connsiteX175" fmla="*/ 8433 w 10000"/>
                <a:gd name="connsiteY175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67 w 10000"/>
                <a:gd name="connsiteY84" fmla="*/ 916 h 10000"/>
                <a:gd name="connsiteX85" fmla="*/ 1538 w 10000"/>
                <a:gd name="connsiteY85" fmla="*/ 746 h 10000"/>
                <a:gd name="connsiteX86" fmla="*/ 1295 w 10000"/>
                <a:gd name="connsiteY86" fmla="*/ 865 h 10000"/>
                <a:gd name="connsiteX87" fmla="*/ 940 w 10000"/>
                <a:gd name="connsiteY87" fmla="*/ 1054 h 10000"/>
                <a:gd name="connsiteX88" fmla="*/ 737 w 10000"/>
                <a:gd name="connsiteY88" fmla="*/ 1273 h 10000"/>
                <a:gd name="connsiteX89" fmla="*/ 298 w 10000"/>
                <a:gd name="connsiteY89" fmla="*/ 1265 h 10000"/>
                <a:gd name="connsiteX90" fmla="*/ 361 w 10000"/>
                <a:gd name="connsiteY90" fmla="*/ 1419 h 10000"/>
                <a:gd name="connsiteX91" fmla="*/ 219 w 10000"/>
                <a:gd name="connsiteY91" fmla="*/ 1525 h 10000"/>
                <a:gd name="connsiteX92" fmla="*/ 0 w 10000"/>
                <a:gd name="connsiteY92" fmla="*/ 1679 h 10000"/>
                <a:gd name="connsiteX93" fmla="*/ 31 w 10000"/>
                <a:gd name="connsiteY93" fmla="*/ 1687 h 10000"/>
                <a:gd name="connsiteX94" fmla="*/ 31 w 10000"/>
                <a:gd name="connsiteY94" fmla="*/ 1695 h 10000"/>
                <a:gd name="connsiteX95" fmla="*/ 376 w 10000"/>
                <a:gd name="connsiteY95" fmla="*/ 1727 h 10000"/>
                <a:gd name="connsiteX96" fmla="*/ 517 w 10000"/>
                <a:gd name="connsiteY96" fmla="*/ 1800 h 10000"/>
                <a:gd name="connsiteX97" fmla="*/ 799 w 10000"/>
                <a:gd name="connsiteY97" fmla="*/ 1833 h 10000"/>
                <a:gd name="connsiteX98" fmla="*/ 893 w 10000"/>
                <a:gd name="connsiteY98" fmla="*/ 1971 h 10000"/>
                <a:gd name="connsiteX99" fmla="*/ 690 w 10000"/>
                <a:gd name="connsiteY99" fmla="*/ 2376 h 10000"/>
                <a:gd name="connsiteX100" fmla="*/ 893 w 10000"/>
                <a:gd name="connsiteY100" fmla="*/ 2457 h 10000"/>
                <a:gd name="connsiteX101" fmla="*/ 1677 w 10000"/>
                <a:gd name="connsiteY101" fmla="*/ 2879 h 10000"/>
                <a:gd name="connsiteX102" fmla="*/ 1458 w 10000"/>
                <a:gd name="connsiteY102" fmla="*/ 2976 h 10000"/>
                <a:gd name="connsiteX103" fmla="*/ 1458 w 10000"/>
                <a:gd name="connsiteY103" fmla="*/ 3179 h 10000"/>
                <a:gd name="connsiteX104" fmla="*/ 1677 w 10000"/>
                <a:gd name="connsiteY104" fmla="*/ 3220 h 10000"/>
                <a:gd name="connsiteX105" fmla="*/ 1614 w 10000"/>
                <a:gd name="connsiteY105" fmla="*/ 3333 h 10000"/>
                <a:gd name="connsiteX106" fmla="*/ 1787 w 10000"/>
                <a:gd name="connsiteY106" fmla="*/ 3398 h 10000"/>
                <a:gd name="connsiteX107" fmla="*/ 1959 w 10000"/>
                <a:gd name="connsiteY107" fmla="*/ 3366 h 10000"/>
                <a:gd name="connsiteX108" fmla="*/ 1991 w 10000"/>
                <a:gd name="connsiteY108" fmla="*/ 3528 h 10000"/>
                <a:gd name="connsiteX109" fmla="*/ 2132 w 10000"/>
                <a:gd name="connsiteY109" fmla="*/ 3609 h 10000"/>
                <a:gd name="connsiteX110" fmla="*/ 2320 w 10000"/>
                <a:gd name="connsiteY110" fmla="*/ 3577 h 10000"/>
                <a:gd name="connsiteX111" fmla="*/ 2461 w 10000"/>
                <a:gd name="connsiteY111" fmla="*/ 3715 h 10000"/>
                <a:gd name="connsiteX112" fmla="*/ 2335 w 10000"/>
                <a:gd name="connsiteY112" fmla="*/ 3950 h 10000"/>
                <a:gd name="connsiteX113" fmla="*/ 3276 w 10000"/>
                <a:gd name="connsiteY113" fmla="*/ 4193 h 10000"/>
                <a:gd name="connsiteX114" fmla="*/ 3292 w 10000"/>
                <a:gd name="connsiteY114" fmla="*/ 4599 h 10000"/>
                <a:gd name="connsiteX115" fmla="*/ 2806 w 10000"/>
                <a:gd name="connsiteY115" fmla="*/ 5239 h 10000"/>
                <a:gd name="connsiteX116" fmla="*/ 2288 w 10000"/>
                <a:gd name="connsiteY116" fmla="*/ 5677 h 10000"/>
                <a:gd name="connsiteX117" fmla="*/ 2555 w 10000"/>
                <a:gd name="connsiteY117" fmla="*/ 5612 h 10000"/>
                <a:gd name="connsiteX118" fmla="*/ 2618 w 10000"/>
                <a:gd name="connsiteY118" fmla="*/ 5766 h 10000"/>
                <a:gd name="connsiteX119" fmla="*/ 2931 w 10000"/>
                <a:gd name="connsiteY119" fmla="*/ 5839 h 10000"/>
                <a:gd name="connsiteX120" fmla="*/ 3370 w 10000"/>
                <a:gd name="connsiteY120" fmla="*/ 5775 h 10000"/>
                <a:gd name="connsiteX121" fmla="*/ 3793 w 10000"/>
                <a:gd name="connsiteY121" fmla="*/ 5864 h 10000"/>
                <a:gd name="connsiteX122" fmla="*/ 3793 w 10000"/>
                <a:gd name="connsiteY122" fmla="*/ 5994 h 10000"/>
                <a:gd name="connsiteX123" fmla="*/ 3056 w 10000"/>
                <a:gd name="connsiteY123" fmla="*/ 5969 h 10000"/>
                <a:gd name="connsiteX124" fmla="*/ 2931 w 10000"/>
                <a:gd name="connsiteY124" fmla="*/ 6091 h 10000"/>
                <a:gd name="connsiteX125" fmla="*/ 2555 w 10000"/>
                <a:gd name="connsiteY125" fmla="*/ 6172 h 10000"/>
                <a:gd name="connsiteX126" fmla="*/ 2633 w 10000"/>
                <a:gd name="connsiteY126" fmla="*/ 6269 h 10000"/>
                <a:gd name="connsiteX127" fmla="*/ 2712 w 10000"/>
                <a:gd name="connsiteY127" fmla="*/ 6326 h 10000"/>
                <a:gd name="connsiteX128" fmla="*/ 2539 w 10000"/>
                <a:gd name="connsiteY128" fmla="*/ 6415 h 10000"/>
                <a:gd name="connsiteX129" fmla="*/ 2586 w 10000"/>
                <a:gd name="connsiteY129" fmla="*/ 6537 h 10000"/>
                <a:gd name="connsiteX130" fmla="*/ 2398 w 10000"/>
                <a:gd name="connsiteY130" fmla="*/ 6642 h 10000"/>
                <a:gd name="connsiteX131" fmla="*/ 2492 w 10000"/>
                <a:gd name="connsiteY131" fmla="*/ 6788 h 10000"/>
                <a:gd name="connsiteX132" fmla="*/ 2680 w 10000"/>
                <a:gd name="connsiteY132" fmla="*/ 6821 h 10000"/>
                <a:gd name="connsiteX133" fmla="*/ 2602 w 10000"/>
                <a:gd name="connsiteY133" fmla="*/ 6983 h 10000"/>
                <a:gd name="connsiteX134" fmla="*/ 2821 w 10000"/>
                <a:gd name="connsiteY134" fmla="*/ 7015 h 10000"/>
                <a:gd name="connsiteX135" fmla="*/ 2931 w 10000"/>
                <a:gd name="connsiteY135" fmla="*/ 7145 h 10000"/>
                <a:gd name="connsiteX136" fmla="*/ 2806 w 10000"/>
                <a:gd name="connsiteY136" fmla="*/ 7202 h 10000"/>
                <a:gd name="connsiteX137" fmla="*/ 2821 w 10000"/>
                <a:gd name="connsiteY137" fmla="*/ 7299 h 10000"/>
                <a:gd name="connsiteX138" fmla="*/ 2931 w 10000"/>
                <a:gd name="connsiteY138" fmla="*/ 7388 h 10000"/>
                <a:gd name="connsiteX139" fmla="*/ 3292 w 10000"/>
                <a:gd name="connsiteY139" fmla="*/ 7486 h 10000"/>
                <a:gd name="connsiteX140" fmla="*/ 3166 w 10000"/>
                <a:gd name="connsiteY140" fmla="*/ 7575 h 10000"/>
                <a:gd name="connsiteX141" fmla="*/ 3292 w 10000"/>
                <a:gd name="connsiteY141" fmla="*/ 7737 h 10000"/>
                <a:gd name="connsiteX142" fmla="*/ 3417 w 10000"/>
                <a:gd name="connsiteY142" fmla="*/ 7737 h 10000"/>
                <a:gd name="connsiteX143" fmla="*/ 3511 w 10000"/>
                <a:gd name="connsiteY143" fmla="*/ 7810 h 10000"/>
                <a:gd name="connsiteX144" fmla="*/ 3793 w 10000"/>
                <a:gd name="connsiteY144" fmla="*/ 7908 h 10000"/>
                <a:gd name="connsiteX145" fmla="*/ 3793 w 10000"/>
                <a:gd name="connsiteY145" fmla="*/ 7997 h 10000"/>
                <a:gd name="connsiteX146" fmla="*/ 4075 w 10000"/>
                <a:gd name="connsiteY146" fmla="*/ 7972 h 10000"/>
                <a:gd name="connsiteX147" fmla="*/ 4577 w 10000"/>
                <a:gd name="connsiteY147" fmla="*/ 7972 h 10000"/>
                <a:gd name="connsiteX148" fmla="*/ 4718 w 10000"/>
                <a:gd name="connsiteY148" fmla="*/ 8167 h 10000"/>
                <a:gd name="connsiteX149" fmla="*/ 5141 w 10000"/>
                <a:gd name="connsiteY149" fmla="*/ 7972 h 10000"/>
                <a:gd name="connsiteX150" fmla="*/ 5721 w 10000"/>
                <a:gd name="connsiteY150" fmla="*/ 8078 h 10000"/>
                <a:gd name="connsiteX151" fmla="*/ 5846 w 10000"/>
                <a:gd name="connsiteY151" fmla="*/ 8289 h 10000"/>
                <a:gd name="connsiteX152" fmla="*/ 5846 w 10000"/>
                <a:gd name="connsiteY152" fmla="*/ 8467 h 10000"/>
                <a:gd name="connsiteX153" fmla="*/ 6113 w 10000"/>
                <a:gd name="connsiteY153" fmla="*/ 8483 h 10000"/>
                <a:gd name="connsiteX154" fmla="*/ 6223 w 10000"/>
                <a:gd name="connsiteY154" fmla="*/ 8581 h 10000"/>
                <a:gd name="connsiteX155" fmla="*/ 6536 w 10000"/>
                <a:gd name="connsiteY155" fmla="*/ 8710 h 10000"/>
                <a:gd name="connsiteX156" fmla="*/ 6912 w 10000"/>
                <a:gd name="connsiteY156" fmla="*/ 8759 h 10000"/>
                <a:gd name="connsiteX157" fmla="*/ 6928 w 10000"/>
                <a:gd name="connsiteY157" fmla="*/ 8889 h 10000"/>
                <a:gd name="connsiteX158" fmla="*/ 7367 w 10000"/>
                <a:gd name="connsiteY158" fmla="*/ 8856 h 10000"/>
                <a:gd name="connsiteX159" fmla="*/ 7696 w 10000"/>
                <a:gd name="connsiteY159" fmla="*/ 9027 h 10000"/>
                <a:gd name="connsiteX160" fmla="*/ 7586 w 10000"/>
                <a:gd name="connsiteY160" fmla="*/ 9238 h 10000"/>
                <a:gd name="connsiteX161" fmla="*/ 6912 w 10000"/>
                <a:gd name="connsiteY161" fmla="*/ 9238 h 10000"/>
                <a:gd name="connsiteX162" fmla="*/ 6803 w 10000"/>
                <a:gd name="connsiteY162" fmla="*/ 9343 h 10000"/>
                <a:gd name="connsiteX163" fmla="*/ 7132 w 10000"/>
                <a:gd name="connsiteY163" fmla="*/ 9424 h 10000"/>
                <a:gd name="connsiteX164" fmla="*/ 7179 w 10000"/>
                <a:gd name="connsiteY164" fmla="*/ 9594 h 10000"/>
                <a:gd name="connsiteX165" fmla="*/ 7461 w 10000"/>
                <a:gd name="connsiteY165" fmla="*/ 9805 h 10000"/>
                <a:gd name="connsiteX166" fmla="*/ 7837 w 10000"/>
                <a:gd name="connsiteY166" fmla="*/ 9813 h 10000"/>
                <a:gd name="connsiteX167" fmla="*/ 7853 w 10000"/>
                <a:gd name="connsiteY167" fmla="*/ 9659 h 10000"/>
                <a:gd name="connsiteX168" fmla="*/ 8464 w 10000"/>
                <a:gd name="connsiteY168" fmla="*/ 9521 h 10000"/>
                <a:gd name="connsiteX169" fmla="*/ 9060 w 10000"/>
                <a:gd name="connsiteY169" fmla="*/ 9521 h 10000"/>
                <a:gd name="connsiteX170" fmla="*/ 9545 w 10000"/>
                <a:gd name="connsiteY170" fmla="*/ 9659 h 10000"/>
                <a:gd name="connsiteX171" fmla="*/ 9279 w 10000"/>
                <a:gd name="connsiteY171" fmla="*/ 9789 h 10000"/>
                <a:gd name="connsiteX172" fmla="*/ 9624 w 10000"/>
                <a:gd name="connsiteY172" fmla="*/ 10000 h 10000"/>
                <a:gd name="connsiteX173" fmla="*/ 10000 w 10000"/>
                <a:gd name="connsiteY173" fmla="*/ 9951 h 10000"/>
                <a:gd name="connsiteX174" fmla="*/ 10000 w 10000"/>
                <a:gd name="connsiteY174" fmla="*/ 0 h 10000"/>
                <a:gd name="connsiteX175" fmla="*/ 8433 w 10000"/>
                <a:gd name="connsiteY175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67 w 10000"/>
                <a:gd name="connsiteY84" fmla="*/ 916 h 10000"/>
                <a:gd name="connsiteX85" fmla="*/ 1524 w 10000"/>
                <a:gd name="connsiteY85" fmla="*/ 709 h 10000"/>
                <a:gd name="connsiteX86" fmla="*/ 1295 w 10000"/>
                <a:gd name="connsiteY86" fmla="*/ 865 h 10000"/>
                <a:gd name="connsiteX87" fmla="*/ 940 w 10000"/>
                <a:gd name="connsiteY87" fmla="*/ 1054 h 10000"/>
                <a:gd name="connsiteX88" fmla="*/ 737 w 10000"/>
                <a:gd name="connsiteY88" fmla="*/ 1273 h 10000"/>
                <a:gd name="connsiteX89" fmla="*/ 298 w 10000"/>
                <a:gd name="connsiteY89" fmla="*/ 1265 h 10000"/>
                <a:gd name="connsiteX90" fmla="*/ 361 w 10000"/>
                <a:gd name="connsiteY90" fmla="*/ 1419 h 10000"/>
                <a:gd name="connsiteX91" fmla="*/ 219 w 10000"/>
                <a:gd name="connsiteY91" fmla="*/ 1525 h 10000"/>
                <a:gd name="connsiteX92" fmla="*/ 0 w 10000"/>
                <a:gd name="connsiteY92" fmla="*/ 1679 h 10000"/>
                <a:gd name="connsiteX93" fmla="*/ 31 w 10000"/>
                <a:gd name="connsiteY93" fmla="*/ 1687 h 10000"/>
                <a:gd name="connsiteX94" fmla="*/ 31 w 10000"/>
                <a:gd name="connsiteY94" fmla="*/ 1695 h 10000"/>
                <a:gd name="connsiteX95" fmla="*/ 376 w 10000"/>
                <a:gd name="connsiteY95" fmla="*/ 1727 h 10000"/>
                <a:gd name="connsiteX96" fmla="*/ 517 w 10000"/>
                <a:gd name="connsiteY96" fmla="*/ 1800 h 10000"/>
                <a:gd name="connsiteX97" fmla="*/ 799 w 10000"/>
                <a:gd name="connsiteY97" fmla="*/ 1833 h 10000"/>
                <a:gd name="connsiteX98" fmla="*/ 893 w 10000"/>
                <a:gd name="connsiteY98" fmla="*/ 1971 h 10000"/>
                <a:gd name="connsiteX99" fmla="*/ 690 w 10000"/>
                <a:gd name="connsiteY99" fmla="*/ 2376 h 10000"/>
                <a:gd name="connsiteX100" fmla="*/ 893 w 10000"/>
                <a:gd name="connsiteY100" fmla="*/ 2457 h 10000"/>
                <a:gd name="connsiteX101" fmla="*/ 1677 w 10000"/>
                <a:gd name="connsiteY101" fmla="*/ 2879 h 10000"/>
                <a:gd name="connsiteX102" fmla="*/ 1458 w 10000"/>
                <a:gd name="connsiteY102" fmla="*/ 2976 h 10000"/>
                <a:gd name="connsiteX103" fmla="*/ 1458 w 10000"/>
                <a:gd name="connsiteY103" fmla="*/ 3179 h 10000"/>
                <a:gd name="connsiteX104" fmla="*/ 1677 w 10000"/>
                <a:gd name="connsiteY104" fmla="*/ 3220 h 10000"/>
                <a:gd name="connsiteX105" fmla="*/ 1614 w 10000"/>
                <a:gd name="connsiteY105" fmla="*/ 3333 h 10000"/>
                <a:gd name="connsiteX106" fmla="*/ 1787 w 10000"/>
                <a:gd name="connsiteY106" fmla="*/ 3398 h 10000"/>
                <a:gd name="connsiteX107" fmla="*/ 1959 w 10000"/>
                <a:gd name="connsiteY107" fmla="*/ 3366 h 10000"/>
                <a:gd name="connsiteX108" fmla="*/ 1991 w 10000"/>
                <a:gd name="connsiteY108" fmla="*/ 3528 h 10000"/>
                <a:gd name="connsiteX109" fmla="*/ 2132 w 10000"/>
                <a:gd name="connsiteY109" fmla="*/ 3609 h 10000"/>
                <a:gd name="connsiteX110" fmla="*/ 2320 w 10000"/>
                <a:gd name="connsiteY110" fmla="*/ 3577 h 10000"/>
                <a:gd name="connsiteX111" fmla="*/ 2461 w 10000"/>
                <a:gd name="connsiteY111" fmla="*/ 3715 h 10000"/>
                <a:gd name="connsiteX112" fmla="*/ 2335 w 10000"/>
                <a:gd name="connsiteY112" fmla="*/ 3950 h 10000"/>
                <a:gd name="connsiteX113" fmla="*/ 3276 w 10000"/>
                <a:gd name="connsiteY113" fmla="*/ 4193 h 10000"/>
                <a:gd name="connsiteX114" fmla="*/ 3292 w 10000"/>
                <a:gd name="connsiteY114" fmla="*/ 4599 h 10000"/>
                <a:gd name="connsiteX115" fmla="*/ 2806 w 10000"/>
                <a:gd name="connsiteY115" fmla="*/ 5239 h 10000"/>
                <a:gd name="connsiteX116" fmla="*/ 2288 w 10000"/>
                <a:gd name="connsiteY116" fmla="*/ 5677 h 10000"/>
                <a:gd name="connsiteX117" fmla="*/ 2555 w 10000"/>
                <a:gd name="connsiteY117" fmla="*/ 5612 h 10000"/>
                <a:gd name="connsiteX118" fmla="*/ 2618 w 10000"/>
                <a:gd name="connsiteY118" fmla="*/ 5766 h 10000"/>
                <a:gd name="connsiteX119" fmla="*/ 2931 w 10000"/>
                <a:gd name="connsiteY119" fmla="*/ 5839 h 10000"/>
                <a:gd name="connsiteX120" fmla="*/ 3370 w 10000"/>
                <a:gd name="connsiteY120" fmla="*/ 5775 h 10000"/>
                <a:gd name="connsiteX121" fmla="*/ 3793 w 10000"/>
                <a:gd name="connsiteY121" fmla="*/ 5864 h 10000"/>
                <a:gd name="connsiteX122" fmla="*/ 3793 w 10000"/>
                <a:gd name="connsiteY122" fmla="*/ 5994 h 10000"/>
                <a:gd name="connsiteX123" fmla="*/ 3056 w 10000"/>
                <a:gd name="connsiteY123" fmla="*/ 5969 h 10000"/>
                <a:gd name="connsiteX124" fmla="*/ 2931 w 10000"/>
                <a:gd name="connsiteY124" fmla="*/ 6091 h 10000"/>
                <a:gd name="connsiteX125" fmla="*/ 2555 w 10000"/>
                <a:gd name="connsiteY125" fmla="*/ 6172 h 10000"/>
                <a:gd name="connsiteX126" fmla="*/ 2633 w 10000"/>
                <a:gd name="connsiteY126" fmla="*/ 6269 h 10000"/>
                <a:gd name="connsiteX127" fmla="*/ 2712 w 10000"/>
                <a:gd name="connsiteY127" fmla="*/ 6326 h 10000"/>
                <a:gd name="connsiteX128" fmla="*/ 2539 w 10000"/>
                <a:gd name="connsiteY128" fmla="*/ 6415 h 10000"/>
                <a:gd name="connsiteX129" fmla="*/ 2586 w 10000"/>
                <a:gd name="connsiteY129" fmla="*/ 6537 h 10000"/>
                <a:gd name="connsiteX130" fmla="*/ 2398 w 10000"/>
                <a:gd name="connsiteY130" fmla="*/ 6642 h 10000"/>
                <a:gd name="connsiteX131" fmla="*/ 2492 w 10000"/>
                <a:gd name="connsiteY131" fmla="*/ 6788 h 10000"/>
                <a:gd name="connsiteX132" fmla="*/ 2680 w 10000"/>
                <a:gd name="connsiteY132" fmla="*/ 6821 h 10000"/>
                <a:gd name="connsiteX133" fmla="*/ 2602 w 10000"/>
                <a:gd name="connsiteY133" fmla="*/ 6983 h 10000"/>
                <a:gd name="connsiteX134" fmla="*/ 2821 w 10000"/>
                <a:gd name="connsiteY134" fmla="*/ 7015 h 10000"/>
                <a:gd name="connsiteX135" fmla="*/ 2931 w 10000"/>
                <a:gd name="connsiteY135" fmla="*/ 7145 h 10000"/>
                <a:gd name="connsiteX136" fmla="*/ 2806 w 10000"/>
                <a:gd name="connsiteY136" fmla="*/ 7202 h 10000"/>
                <a:gd name="connsiteX137" fmla="*/ 2821 w 10000"/>
                <a:gd name="connsiteY137" fmla="*/ 7299 h 10000"/>
                <a:gd name="connsiteX138" fmla="*/ 2931 w 10000"/>
                <a:gd name="connsiteY138" fmla="*/ 7388 h 10000"/>
                <a:gd name="connsiteX139" fmla="*/ 3292 w 10000"/>
                <a:gd name="connsiteY139" fmla="*/ 7486 h 10000"/>
                <a:gd name="connsiteX140" fmla="*/ 3166 w 10000"/>
                <a:gd name="connsiteY140" fmla="*/ 7575 h 10000"/>
                <a:gd name="connsiteX141" fmla="*/ 3292 w 10000"/>
                <a:gd name="connsiteY141" fmla="*/ 7737 h 10000"/>
                <a:gd name="connsiteX142" fmla="*/ 3417 w 10000"/>
                <a:gd name="connsiteY142" fmla="*/ 7737 h 10000"/>
                <a:gd name="connsiteX143" fmla="*/ 3511 w 10000"/>
                <a:gd name="connsiteY143" fmla="*/ 7810 h 10000"/>
                <a:gd name="connsiteX144" fmla="*/ 3793 w 10000"/>
                <a:gd name="connsiteY144" fmla="*/ 7908 h 10000"/>
                <a:gd name="connsiteX145" fmla="*/ 3793 w 10000"/>
                <a:gd name="connsiteY145" fmla="*/ 7997 h 10000"/>
                <a:gd name="connsiteX146" fmla="*/ 4075 w 10000"/>
                <a:gd name="connsiteY146" fmla="*/ 7972 h 10000"/>
                <a:gd name="connsiteX147" fmla="*/ 4577 w 10000"/>
                <a:gd name="connsiteY147" fmla="*/ 7972 h 10000"/>
                <a:gd name="connsiteX148" fmla="*/ 4718 w 10000"/>
                <a:gd name="connsiteY148" fmla="*/ 8167 h 10000"/>
                <a:gd name="connsiteX149" fmla="*/ 5141 w 10000"/>
                <a:gd name="connsiteY149" fmla="*/ 7972 h 10000"/>
                <a:gd name="connsiteX150" fmla="*/ 5721 w 10000"/>
                <a:gd name="connsiteY150" fmla="*/ 8078 h 10000"/>
                <a:gd name="connsiteX151" fmla="*/ 5846 w 10000"/>
                <a:gd name="connsiteY151" fmla="*/ 8289 h 10000"/>
                <a:gd name="connsiteX152" fmla="*/ 5846 w 10000"/>
                <a:gd name="connsiteY152" fmla="*/ 8467 h 10000"/>
                <a:gd name="connsiteX153" fmla="*/ 6113 w 10000"/>
                <a:gd name="connsiteY153" fmla="*/ 8483 h 10000"/>
                <a:gd name="connsiteX154" fmla="*/ 6223 w 10000"/>
                <a:gd name="connsiteY154" fmla="*/ 8581 h 10000"/>
                <a:gd name="connsiteX155" fmla="*/ 6536 w 10000"/>
                <a:gd name="connsiteY155" fmla="*/ 8710 h 10000"/>
                <a:gd name="connsiteX156" fmla="*/ 6912 w 10000"/>
                <a:gd name="connsiteY156" fmla="*/ 8759 h 10000"/>
                <a:gd name="connsiteX157" fmla="*/ 6928 w 10000"/>
                <a:gd name="connsiteY157" fmla="*/ 8889 h 10000"/>
                <a:gd name="connsiteX158" fmla="*/ 7367 w 10000"/>
                <a:gd name="connsiteY158" fmla="*/ 8856 h 10000"/>
                <a:gd name="connsiteX159" fmla="*/ 7696 w 10000"/>
                <a:gd name="connsiteY159" fmla="*/ 9027 h 10000"/>
                <a:gd name="connsiteX160" fmla="*/ 7586 w 10000"/>
                <a:gd name="connsiteY160" fmla="*/ 9238 h 10000"/>
                <a:gd name="connsiteX161" fmla="*/ 6912 w 10000"/>
                <a:gd name="connsiteY161" fmla="*/ 9238 h 10000"/>
                <a:gd name="connsiteX162" fmla="*/ 6803 w 10000"/>
                <a:gd name="connsiteY162" fmla="*/ 9343 h 10000"/>
                <a:gd name="connsiteX163" fmla="*/ 7132 w 10000"/>
                <a:gd name="connsiteY163" fmla="*/ 9424 h 10000"/>
                <a:gd name="connsiteX164" fmla="*/ 7179 w 10000"/>
                <a:gd name="connsiteY164" fmla="*/ 9594 h 10000"/>
                <a:gd name="connsiteX165" fmla="*/ 7461 w 10000"/>
                <a:gd name="connsiteY165" fmla="*/ 9805 h 10000"/>
                <a:gd name="connsiteX166" fmla="*/ 7837 w 10000"/>
                <a:gd name="connsiteY166" fmla="*/ 9813 h 10000"/>
                <a:gd name="connsiteX167" fmla="*/ 7853 w 10000"/>
                <a:gd name="connsiteY167" fmla="*/ 9659 h 10000"/>
                <a:gd name="connsiteX168" fmla="*/ 8464 w 10000"/>
                <a:gd name="connsiteY168" fmla="*/ 9521 h 10000"/>
                <a:gd name="connsiteX169" fmla="*/ 9060 w 10000"/>
                <a:gd name="connsiteY169" fmla="*/ 9521 h 10000"/>
                <a:gd name="connsiteX170" fmla="*/ 9545 w 10000"/>
                <a:gd name="connsiteY170" fmla="*/ 9659 h 10000"/>
                <a:gd name="connsiteX171" fmla="*/ 9279 w 10000"/>
                <a:gd name="connsiteY171" fmla="*/ 9789 h 10000"/>
                <a:gd name="connsiteX172" fmla="*/ 9624 w 10000"/>
                <a:gd name="connsiteY172" fmla="*/ 10000 h 10000"/>
                <a:gd name="connsiteX173" fmla="*/ 10000 w 10000"/>
                <a:gd name="connsiteY173" fmla="*/ 9951 h 10000"/>
                <a:gd name="connsiteX174" fmla="*/ 10000 w 10000"/>
                <a:gd name="connsiteY174" fmla="*/ 0 h 10000"/>
                <a:gd name="connsiteX175" fmla="*/ 8433 w 10000"/>
                <a:gd name="connsiteY175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67 w 10000"/>
                <a:gd name="connsiteY84" fmla="*/ 916 h 10000"/>
                <a:gd name="connsiteX85" fmla="*/ 1524 w 10000"/>
                <a:gd name="connsiteY85" fmla="*/ 709 h 10000"/>
                <a:gd name="connsiteX86" fmla="*/ 1295 w 10000"/>
                <a:gd name="connsiteY86" fmla="*/ 865 h 10000"/>
                <a:gd name="connsiteX87" fmla="*/ 940 w 10000"/>
                <a:gd name="connsiteY87" fmla="*/ 1054 h 10000"/>
                <a:gd name="connsiteX88" fmla="*/ 737 w 10000"/>
                <a:gd name="connsiteY88" fmla="*/ 1273 h 10000"/>
                <a:gd name="connsiteX89" fmla="*/ 298 w 10000"/>
                <a:gd name="connsiteY89" fmla="*/ 1265 h 10000"/>
                <a:gd name="connsiteX90" fmla="*/ 361 w 10000"/>
                <a:gd name="connsiteY90" fmla="*/ 1419 h 10000"/>
                <a:gd name="connsiteX91" fmla="*/ 219 w 10000"/>
                <a:gd name="connsiteY91" fmla="*/ 1525 h 10000"/>
                <a:gd name="connsiteX92" fmla="*/ 0 w 10000"/>
                <a:gd name="connsiteY92" fmla="*/ 1679 h 10000"/>
                <a:gd name="connsiteX93" fmla="*/ 31 w 10000"/>
                <a:gd name="connsiteY93" fmla="*/ 1687 h 10000"/>
                <a:gd name="connsiteX94" fmla="*/ 31 w 10000"/>
                <a:gd name="connsiteY94" fmla="*/ 1695 h 10000"/>
                <a:gd name="connsiteX95" fmla="*/ 376 w 10000"/>
                <a:gd name="connsiteY95" fmla="*/ 1727 h 10000"/>
                <a:gd name="connsiteX96" fmla="*/ 517 w 10000"/>
                <a:gd name="connsiteY96" fmla="*/ 1800 h 10000"/>
                <a:gd name="connsiteX97" fmla="*/ 799 w 10000"/>
                <a:gd name="connsiteY97" fmla="*/ 1833 h 10000"/>
                <a:gd name="connsiteX98" fmla="*/ 893 w 10000"/>
                <a:gd name="connsiteY98" fmla="*/ 1971 h 10000"/>
                <a:gd name="connsiteX99" fmla="*/ 690 w 10000"/>
                <a:gd name="connsiteY99" fmla="*/ 2376 h 10000"/>
                <a:gd name="connsiteX100" fmla="*/ 893 w 10000"/>
                <a:gd name="connsiteY100" fmla="*/ 2457 h 10000"/>
                <a:gd name="connsiteX101" fmla="*/ 1677 w 10000"/>
                <a:gd name="connsiteY101" fmla="*/ 2879 h 10000"/>
                <a:gd name="connsiteX102" fmla="*/ 1458 w 10000"/>
                <a:gd name="connsiteY102" fmla="*/ 2976 h 10000"/>
                <a:gd name="connsiteX103" fmla="*/ 1458 w 10000"/>
                <a:gd name="connsiteY103" fmla="*/ 3179 h 10000"/>
                <a:gd name="connsiteX104" fmla="*/ 1677 w 10000"/>
                <a:gd name="connsiteY104" fmla="*/ 3220 h 10000"/>
                <a:gd name="connsiteX105" fmla="*/ 1614 w 10000"/>
                <a:gd name="connsiteY105" fmla="*/ 3333 h 10000"/>
                <a:gd name="connsiteX106" fmla="*/ 1787 w 10000"/>
                <a:gd name="connsiteY106" fmla="*/ 3398 h 10000"/>
                <a:gd name="connsiteX107" fmla="*/ 1959 w 10000"/>
                <a:gd name="connsiteY107" fmla="*/ 3366 h 10000"/>
                <a:gd name="connsiteX108" fmla="*/ 1991 w 10000"/>
                <a:gd name="connsiteY108" fmla="*/ 3528 h 10000"/>
                <a:gd name="connsiteX109" fmla="*/ 2132 w 10000"/>
                <a:gd name="connsiteY109" fmla="*/ 3609 h 10000"/>
                <a:gd name="connsiteX110" fmla="*/ 2320 w 10000"/>
                <a:gd name="connsiteY110" fmla="*/ 3577 h 10000"/>
                <a:gd name="connsiteX111" fmla="*/ 2461 w 10000"/>
                <a:gd name="connsiteY111" fmla="*/ 3715 h 10000"/>
                <a:gd name="connsiteX112" fmla="*/ 2335 w 10000"/>
                <a:gd name="connsiteY112" fmla="*/ 3950 h 10000"/>
                <a:gd name="connsiteX113" fmla="*/ 3276 w 10000"/>
                <a:gd name="connsiteY113" fmla="*/ 4193 h 10000"/>
                <a:gd name="connsiteX114" fmla="*/ 3292 w 10000"/>
                <a:gd name="connsiteY114" fmla="*/ 4599 h 10000"/>
                <a:gd name="connsiteX115" fmla="*/ 2806 w 10000"/>
                <a:gd name="connsiteY115" fmla="*/ 5239 h 10000"/>
                <a:gd name="connsiteX116" fmla="*/ 2288 w 10000"/>
                <a:gd name="connsiteY116" fmla="*/ 5677 h 10000"/>
                <a:gd name="connsiteX117" fmla="*/ 2555 w 10000"/>
                <a:gd name="connsiteY117" fmla="*/ 5612 h 10000"/>
                <a:gd name="connsiteX118" fmla="*/ 2618 w 10000"/>
                <a:gd name="connsiteY118" fmla="*/ 5766 h 10000"/>
                <a:gd name="connsiteX119" fmla="*/ 2931 w 10000"/>
                <a:gd name="connsiteY119" fmla="*/ 5839 h 10000"/>
                <a:gd name="connsiteX120" fmla="*/ 3370 w 10000"/>
                <a:gd name="connsiteY120" fmla="*/ 5775 h 10000"/>
                <a:gd name="connsiteX121" fmla="*/ 3793 w 10000"/>
                <a:gd name="connsiteY121" fmla="*/ 5864 h 10000"/>
                <a:gd name="connsiteX122" fmla="*/ 3793 w 10000"/>
                <a:gd name="connsiteY122" fmla="*/ 5994 h 10000"/>
                <a:gd name="connsiteX123" fmla="*/ 3056 w 10000"/>
                <a:gd name="connsiteY123" fmla="*/ 5969 h 10000"/>
                <a:gd name="connsiteX124" fmla="*/ 2931 w 10000"/>
                <a:gd name="connsiteY124" fmla="*/ 6091 h 10000"/>
                <a:gd name="connsiteX125" fmla="*/ 2555 w 10000"/>
                <a:gd name="connsiteY125" fmla="*/ 6172 h 10000"/>
                <a:gd name="connsiteX126" fmla="*/ 2633 w 10000"/>
                <a:gd name="connsiteY126" fmla="*/ 6269 h 10000"/>
                <a:gd name="connsiteX127" fmla="*/ 2712 w 10000"/>
                <a:gd name="connsiteY127" fmla="*/ 6326 h 10000"/>
                <a:gd name="connsiteX128" fmla="*/ 2539 w 10000"/>
                <a:gd name="connsiteY128" fmla="*/ 6415 h 10000"/>
                <a:gd name="connsiteX129" fmla="*/ 2586 w 10000"/>
                <a:gd name="connsiteY129" fmla="*/ 6537 h 10000"/>
                <a:gd name="connsiteX130" fmla="*/ 2398 w 10000"/>
                <a:gd name="connsiteY130" fmla="*/ 6642 h 10000"/>
                <a:gd name="connsiteX131" fmla="*/ 2492 w 10000"/>
                <a:gd name="connsiteY131" fmla="*/ 6788 h 10000"/>
                <a:gd name="connsiteX132" fmla="*/ 2680 w 10000"/>
                <a:gd name="connsiteY132" fmla="*/ 6821 h 10000"/>
                <a:gd name="connsiteX133" fmla="*/ 2602 w 10000"/>
                <a:gd name="connsiteY133" fmla="*/ 6983 h 10000"/>
                <a:gd name="connsiteX134" fmla="*/ 2821 w 10000"/>
                <a:gd name="connsiteY134" fmla="*/ 7015 h 10000"/>
                <a:gd name="connsiteX135" fmla="*/ 2931 w 10000"/>
                <a:gd name="connsiteY135" fmla="*/ 7145 h 10000"/>
                <a:gd name="connsiteX136" fmla="*/ 2806 w 10000"/>
                <a:gd name="connsiteY136" fmla="*/ 7202 h 10000"/>
                <a:gd name="connsiteX137" fmla="*/ 2821 w 10000"/>
                <a:gd name="connsiteY137" fmla="*/ 7299 h 10000"/>
                <a:gd name="connsiteX138" fmla="*/ 2931 w 10000"/>
                <a:gd name="connsiteY138" fmla="*/ 7388 h 10000"/>
                <a:gd name="connsiteX139" fmla="*/ 3292 w 10000"/>
                <a:gd name="connsiteY139" fmla="*/ 7486 h 10000"/>
                <a:gd name="connsiteX140" fmla="*/ 3166 w 10000"/>
                <a:gd name="connsiteY140" fmla="*/ 7575 h 10000"/>
                <a:gd name="connsiteX141" fmla="*/ 3292 w 10000"/>
                <a:gd name="connsiteY141" fmla="*/ 7737 h 10000"/>
                <a:gd name="connsiteX142" fmla="*/ 3417 w 10000"/>
                <a:gd name="connsiteY142" fmla="*/ 7737 h 10000"/>
                <a:gd name="connsiteX143" fmla="*/ 3511 w 10000"/>
                <a:gd name="connsiteY143" fmla="*/ 7810 h 10000"/>
                <a:gd name="connsiteX144" fmla="*/ 3793 w 10000"/>
                <a:gd name="connsiteY144" fmla="*/ 7908 h 10000"/>
                <a:gd name="connsiteX145" fmla="*/ 3793 w 10000"/>
                <a:gd name="connsiteY145" fmla="*/ 7997 h 10000"/>
                <a:gd name="connsiteX146" fmla="*/ 4075 w 10000"/>
                <a:gd name="connsiteY146" fmla="*/ 7972 h 10000"/>
                <a:gd name="connsiteX147" fmla="*/ 4577 w 10000"/>
                <a:gd name="connsiteY147" fmla="*/ 7972 h 10000"/>
                <a:gd name="connsiteX148" fmla="*/ 4718 w 10000"/>
                <a:gd name="connsiteY148" fmla="*/ 8167 h 10000"/>
                <a:gd name="connsiteX149" fmla="*/ 5141 w 10000"/>
                <a:gd name="connsiteY149" fmla="*/ 7972 h 10000"/>
                <a:gd name="connsiteX150" fmla="*/ 5721 w 10000"/>
                <a:gd name="connsiteY150" fmla="*/ 8078 h 10000"/>
                <a:gd name="connsiteX151" fmla="*/ 5846 w 10000"/>
                <a:gd name="connsiteY151" fmla="*/ 8289 h 10000"/>
                <a:gd name="connsiteX152" fmla="*/ 5846 w 10000"/>
                <a:gd name="connsiteY152" fmla="*/ 8467 h 10000"/>
                <a:gd name="connsiteX153" fmla="*/ 6113 w 10000"/>
                <a:gd name="connsiteY153" fmla="*/ 8483 h 10000"/>
                <a:gd name="connsiteX154" fmla="*/ 6223 w 10000"/>
                <a:gd name="connsiteY154" fmla="*/ 8581 h 10000"/>
                <a:gd name="connsiteX155" fmla="*/ 6536 w 10000"/>
                <a:gd name="connsiteY155" fmla="*/ 8710 h 10000"/>
                <a:gd name="connsiteX156" fmla="*/ 6912 w 10000"/>
                <a:gd name="connsiteY156" fmla="*/ 8759 h 10000"/>
                <a:gd name="connsiteX157" fmla="*/ 6928 w 10000"/>
                <a:gd name="connsiteY157" fmla="*/ 8889 h 10000"/>
                <a:gd name="connsiteX158" fmla="*/ 7367 w 10000"/>
                <a:gd name="connsiteY158" fmla="*/ 8856 h 10000"/>
                <a:gd name="connsiteX159" fmla="*/ 7696 w 10000"/>
                <a:gd name="connsiteY159" fmla="*/ 9027 h 10000"/>
                <a:gd name="connsiteX160" fmla="*/ 7586 w 10000"/>
                <a:gd name="connsiteY160" fmla="*/ 9238 h 10000"/>
                <a:gd name="connsiteX161" fmla="*/ 6912 w 10000"/>
                <a:gd name="connsiteY161" fmla="*/ 9238 h 10000"/>
                <a:gd name="connsiteX162" fmla="*/ 6803 w 10000"/>
                <a:gd name="connsiteY162" fmla="*/ 9343 h 10000"/>
                <a:gd name="connsiteX163" fmla="*/ 7132 w 10000"/>
                <a:gd name="connsiteY163" fmla="*/ 9424 h 10000"/>
                <a:gd name="connsiteX164" fmla="*/ 7179 w 10000"/>
                <a:gd name="connsiteY164" fmla="*/ 9594 h 10000"/>
                <a:gd name="connsiteX165" fmla="*/ 7461 w 10000"/>
                <a:gd name="connsiteY165" fmla="*/ 9805 h 10000"/>
                <a:gd name="connsiteX166" fmla="*/ 7837 w 10000"/>
                <a:gd name="connsiteY166" fmla="*/ 9813 h 10000"/>
                <a:gd name="connsiteX167" fmla="*/ 7853 w 10000"/>
                <a:gd name="connsiteY167" fmla="*/ 9659 h 10000"/>
                <a:gd name="connsiteX168" fmla="*/ 8464 w 10000"/>
                <a:gd name="connsiteY168" fmla="*/ 9521 h 10000"/>
                <a:gd name="connsiteX169" fmla="*/ 9060 w 10000"/>
                <a:gd name="connsiteY169" fmla="*/ 9521 h 10000"/>
                <a:gd name="connsiteX170" fmla="*/ 9545 w 10000"/>
                <a:gd name="connsiteY170" fmla="*/ 9659 h 10000"/>
                <a:gd name="connsiteX171" fmla="*/ 9279 w 10000"/>
                <a:gd name="connsiteY171" fmla="*/ 9789 h 10000"/>
                <a:gd name="connsiteX172" fmla="*/ 9624 w 10000"/>
                <a:gd name="connsiteY172" fmla="*/ 10000 h 10000"/>
                <a:gd name="connsiteX173" fmla="*/ 10000 w 10000"/>
                <a:gd name="connsiteY173" fmla="*/ 9951 h 10000"/>
                <a:gd name="connsiteX174" fmla="*/ 10000 w 10000"/>
                <a:gd name="connsiteY174" fmla="*/ 0 h 10000"/>
                <a:gd name="connsiteX175" fmla="*/ 8433 w 10000"/>
                <a:gd name="connsiteY175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24 w 10000"/>
                <a:gd name="connsiteY84" fmla="*/ 709 h 10000"/>
                <a:gd name="connsiteX85" fmla="*/ 1295 w 10000"/>
                <a:gd name="connsiteY85" fmla="*/ 865 h 10000"/>
                <a:gd name="connsiteX86" fmla="*/ 940 w 10000"/>
                <a:gd name="connsiteY86" fmla="*/ 1054 h 10000"/>
                <a:gd name="connsiteX87" fmla="*/ 737 w 10000"/>
                <a:gd name="connsiteY87" fmla="*/ 1273 h 10000"/>
                <a:gd name="connsiteX88" fmla="*/ 298 w 10000"/>
                <a:gd name="connsiteY88" fmla="*/ 1265 h 10000"/>
                <a:gd name="connsiteX89" fmla="*/ 361 w 10000"/>
                <a:gd name="connsiteY89" fmla="*/ 1419 h 10000"/>
                <a:gd name="connsiteX90" fmla="*/ 219 w 10000"/>
                <a:gd name="connsiteY90" fmla="*/ 1525 h 10000"/>
                <a:gd name="connsiteX91" fmla="*/ 0 w 10000"/>
                <a:gd name="connsiteY91" fmla="*/ 1679 h 10000"/>
                <a:gd name="connsiteX92" fmla="*/ 31 w 10000"/>
                <a:gd name="connsiteY92" fmla="*/ 1687 h 10000"/>
                <a:gd name="connsiteX93" fmla="*/ 31 w 10000"/>
                <a:gd name="connsiteY93" fmla="*/ 1695 h 10000"/>
                <a:gd name="connsiteX94" fmla="*/ 376 w 10000"/>
                <a:gd name="connsiteY94" fmla="*/ 1727 h 10000"/>
                <a:gd name="connsiteX95" fmla="*/ 517 w 10000"/>
                <a:gd name="connsiteY95" fmla="*/ 1800 h 10000"/>
                <a:gd name="connsiteX96" fmla="*/ 799 w 10000"/>
                <a:gd name="connsiteY96" fmla="*/ 1833 h 10000"/>
                <a:gd name="connsiteX97" fmla="*/ 893 w 10000"/>
                <a:gd name="connsiteY97" fmla="*/ 1971 h 10000"/>
                <a:gd name="connsiteX98" fmla="*/ 690 w 10000"/>
                <a:gd name="connsiteY98" fmla="*/ 2376 h 10000"/>
                <a:gd name="connsiteX99" fmla="*/ 893 w 10000"/>
                <a:gd name="connsiteY99" fmla="*/ 2457 h 10000"/>
                <a:gd name="connsiteX100" fmla="*/ 1677 w 10000"/>
                <a:gd name="connsiteY100" fmla="*/ 2879 h 10000"/>
                <a:gd name="connsiteX101" fmla="*/ 1458 w 10000"/>
                <a:gd name="connsiteY101" fmla="*/ 2976 h 10000"/>
                <a:gd name="connsiteX102" fmla="*/ 1458 w 10000"/>
                <a:gd name="connsiteY102" fmla="*/ 3179 h 10000"/>
                <a:gd name="connsiteX103" fmla="*/ 1677 w 10000"/>
                <a:gd name="connsiteY103" fmla="*/ 3220 h 10000"/>
                <a:gd name="connsiteX104" fmla="*/ 1614 w 10000"/>
                <a:gd name="connsiteY104" fmla="*/ 3333 h 10000"/>
                <a:gd name="connsiteX105" fmla="*/ 1787 w 10000"/>
                <a:gd name="connsiteY105" fmla="*/ 3398 h 10000"/>
                <a:gd name="connsiteX106" fmla="*/ 1959 w 10000"/>
                <a:gd name="connsiteY106" fmla="*/ 3366 h 10000"/>
                <a:gd name="connsiteX107" fmla="*/ 1991 w 10000"/>
                <a:gd name="connsiteY107" fmla="*/ 3528 h 10000"/>
                <a:gd name="connsiteX108" fmla="*/ 2132 w 10000"/>
                <a:gd name="connsiteY108" fmla="*/ 3609 h 10000"/>
                <a:gd name="connsiteX109" fmla="*/ 2320 w 10000"/>
                <a:gd name="connsiteY109" fmla="*/ 3577 h 10000"/>
                <a:gd name="connsiteX110" fmla="*/ 2461 w 10000"/>
                <a:gd name="connsiteY110" fmla="*/ 3715 h 10000"/>
                <a:gd name="connsiteX111" fmla="*/ 2335 w 10000"/>
                <a:gd name="connsiteY111" fmla="*/ 3950 h 10000"/>
                <a:gd name="connsiteX112" fmla="*/ 3276 w 10000"/>
                <a:gd name="connsiteY112" fmla="*/ 4193 h 10000"/>
                <a:gd name="connsiteX113" fmla="*/ 3292 w 10000"/>
                <a:gd name="connsiteY113" fmla="*/ 4599 h 10000"/>
                <a:gd name="connsiteX114" fmla="*/ 2806 w 10000"/>
                <a:gd name="connsiteY114" fmla="*/ 5239 h 10000"/>
                <a:gd name="connsiteX115" fmla="*/ 2288 w 10000"/>
                <a:gd name="connsiteY115" fmla="*/ 5677 h 10000"/>
                <a:gd name="connsiteX116" fmla="*/ 2555 w 10000"/>
                <a:gd name="connsiteY116" fmla="*/ 5612 h 10000"/>
                <a:gd name="connsiteX117" fmla="*/ 2618 w 10000"/>
                <a:gd name="connsiteY117" fmla="*/ 5766 h 10000"/>
                <a:gd name="connsiteX118" fmla="*/ 2931 w 10000"/>
                <a:gd name="connsiteY118" fmla="*/ 5839 h 10000"/>
                <a:gd name="connsiteX119" fmla="*/ 3370 w 10000"/>
                <a:gd name="connsiteY119" fmla="*/ 5775 h 10000"/>
                <a:gd name="connsiteX120" fmla="*/ 3793 w 10000"/>
                <a:gd name="connsiteY120" fmla="*/ 5864 h 10000"/>
                <a:gd name="connsiteX121" fmla="*/ 3793 w 10000"/>
                <a:gd name="connsiteY121" fmla="*/ 5994 h 10000"/>
                <a:gd name="connsiteX122" fmla="*/ 3056 w 10000"/>
                <a:gd name="connsiteY122" fmla="*/ 5969 h 10000"/>
                <a:gd name="connsiteX123" fmla="*/ 2931 w 10000"/>
                <a:gd name="connsiteY123" fmla="*/ 6091 h 10000"/>
                <a:gd name="connsiteX124" fmla="*/ 2555 w 10000"/>
                <a:gd name="connsiteY124" fmla="*/ 6172 h 10000"/>
                <a:gd name="connsiteX125" fmla="*/ 2633 w 10000"/>
                <a:gd name="connsiteY125" fmla="*/ 6269 h 10000"/>
                <a:gd name="connsiteX126" fmla="*/ 2712 w 10000"/>
                <a:gd name="connsiteY126" fmla="*/ 6326 h 10000"/>
                <a:gd name="connsiteX127" fmla="*/ 2539 w 10000"/>
                <a:gd name="connsiteY127" fmla="*/ 6415 h 10000"/>
                <a:gd name="connsiteX128" fmla="*/ 2586 w 10000"/>
                <a:gd name="connsiteY128" fmla="*/ 6537 h 10000"/>
                <a:gd name="connsiteX129" fmla="*/ 2398 w 10000"/>
                <a:gd name="connsiteY129" fmla="*/ 6642 h 10000"/>
                <a:gd name="connsiteX130" fmla="*/ 2492 w 10000"/>
                <a:gd name="connsiteY130" fmla="*/ 6788 h 10000"/>
                <a:gd name="connsiteX131" fmla="*/ 2680 w 10000"/>
                <a:gd name="connsiteY131" fmla="*/ 6821 h 10000"/>
                <a:gd name="connsiteX132" fmla="*/ 2602 w 10000"/>
                <a:gd name="connsiteY132" fmla="*/ 6983 h 10000"/>
                <a:gd name="connsiteX133" fmla="*/ 2821 w 10000"/>
                <a:gd name="connsiteY133" fmla="*/ 7015 h 10000"/>
                <a:gd name="connsiteX134" fmla="*/ 2931 w 10000"/>
                <a:gd name="connsiteY134" fmla="*/ 7145 h 10000"/>
                <a:gd name="connsiteX135" fmla="*/ 2806 w 10000"/>
                <a:gd name="connsiteY135" fmla="*/ 7202 h 10000"/>
                <a:gd name="connsiteX136" fmla="*/ 2821 w 10000"/>
                <a:gd name="connsiteY136" fmla="*/ 7299 h 10000"/>
                <a:gd name="connsiteX137" fmla="*/ 2931 w 10000"/>
                <a:gd name="connsiteY137" fmla="*/ 7388 h 10000"/>
                <a:gd name="connsiteX138" fmla="*/ 3292 w 10000"/>
                <a:gd name="connsiteY138" fmla="*/ 7486 h 10000"/>
                <a:gd name="connsiteX139" fmla="*/ 3166 w 10000"/>
                <a:gd name="connsiteY139" fmla="*/ 7575 h 10000"/>
                <a:gd name="connsiteX140" fmla="*/ 3292 w 10000"/>
                <a:gd name="connsiteY140" fmla="*/ 7737 h 10000"/>
                <a:gd name="connsiteX141" fmla="*/ 3417 w 10000"/>
                <a:gd name="connsiteY141" fmla="*/ 7737 h 10000"/>
                <a:gd name="connsiteX142" fmla="*/ 3511 w 10000"/>
                <a:gd name="connsiteY142" fmla="*/ 7810 h 10000"/>
                <a:gd name="connsiteX143" fmla="*/ 3793 w 10000"/>
                <a:gd name="connsiteY143" fmla="*/ 7908 h 10000"/>
                <a:gd name="connsiteX144" fmla="*/ 3793 w 10000"/>
                <a:gd name="connsiteY144" fmla="*/ 7997 h 10000"/>
                <a:gd name="connsiteX145" fmla="*/ 4075 w 10000"/>
                <a:gd name="connsiteY145" fmla="*/ 7972 h 10000"/>
                <a:gd name="connsiteX146" fmla="*/ 4577 w 10000"/>
                <a:gd name="connsiteY146" fmla="*/ 7972 h 10000"/>
                <a:gd name="connsiteX147" fmla="*/ 4718 w 10000"/>
                <a:gd name="connsiteY147" fmla="*/ 8167 h 10000"/>
                <a:gd name="connsiteX148" fmla="*/ 5141 w 10000"/>
                <a:gd name="connsiteY148" fmla="*/ 7972 h 10000"/>
                <a:gd name="connsiteX149" fmla="*/ 5721 w 10000"/>
                <a:gd name="connsiteY149" fmla="*/ 8078 h 10000"/>
                <a:gd name="connsiteX150" fmla="*/ 5846 w 10000"/>
                <a:gd name="connsiteY150" fmla="*/ 8289 h 10000"/>
                <a:gd name="connsiteX151" fmla="*/ 5846 w 10000"/>
                <a:gd name="connsiteY151" fmla="*/ 8467 h 10000"/>
                <a:gd name="connsiteX152" fmla="*/ 6113 w 10000"/>
                <a:gd name="connsiteY152" fmla="*/ 8483 h 10000"/>
                <a:gd name="connsiteX153" fmla="*/ 6223 w 10000"/>
                <a:gd name="connsiteY153" fmla="*/ 8581 h 10000"/>
                <a:gd name="connsiteX154" fmla="*/ 6536 w 10000"/>
                <a:gd name="connsiteY154" fmla="*/ 8710 h 10000"/>
                <a:gd name="connsiteX155" fmla="*/ 6912 w 10000"/>
                <a:gd name="connsiteY155" fmla="*/ 8759 h 10000"/>
                <a:gd name="connsiteX156" fmla="*/ 6928 w 10000"/>
                <a:gd name="connsiteY156" fmla="*/ 8889 h 10000"/>
                <a:gd name="connsiteX157" fmla="*/ 7367 w 10000"/>
                <a:gd name="connsiteY157" fmla="*/ 8856 h 10000"/>
                <a:gd name="connsiteX158" fmla="*/ 7696 w 10000"/>
                <a:gd name="connsiteY158" fmla="*/ 9027 h 10000"/>
                <a:gd name="connsiteX159" fmla="*/ 7586 w 10000"/>
                <a:gd name="connsiteY159" fmla="*/ 9238 h 10000"/>
                <a:gd name="connsiteX160" fmla="*/ 6912 w 10000"/>
                <a:gd name="connsiteY160" fmla="*/ 9238 h 10000"/>
                <a:gd name="connsiteX161" fmla="*/ 6803 w 10000"/>
                <a:gd name="connsiteY161" fmla="*/ 9343 h 10000"/>
                <a:gd name="connsiteX162" fmla="*/ 7132 w 10000"/>
                <a:gd name="connsiteY162" fmla="*/ 9424 h 10000"/>
                <a:gd name="connsiteX163" fmla="*/ 7179 w 10000"/>
                <a:gd name="connsiteY163" fmla="*/ 9594 h 10000"/>
                <a:gd name="connsiteX164" fmla="*/ 7461 w 10000"/>
                <a:gd name="connsiteY164" fmla="*/ 9805 h 10000"/>
                <a:gd name="connsiteX165" fmla="*/ 7837 w 10000"/>
                <a:gd name="connsiteY165" fmla="*/ 9813 h 10000"/>
                <a:gd name="connsiteX166" fmla="*/ 7853 w 10000"/>
                <a:gd name="connsiteY166" fmla="*/ 9659 h 10000"/>
                <a:gd name="connsiteX167" fmla="*/ 8464 w 10000"/>
                <a:gd name="connsiteY167" fmla="*/ 9521 h 10000"/>
                <a:gd name="connsiteX168" fmla="*/ 9060 w 10000"/>
                <a:gd name="connsiteY168" fmla="*/ 9521 h 10000"/>
                <a:gd name="connsiteX169" fmla="*/ 9545 w 10000"/>
                <a:gd name="connsiteY169" fmla="*/ 9659 h 10000"/>
                <a:gd name="connsiteX170" fmla="*/ 9279 w 10000"/>
                <a:gd name="connsiteY170" fmla="*/ 9789 h 10000"/>
                <a:gd name="connsiteX171" fmla="*/ 9624 w 10000"/>
                <a:gd name="connsiteY171" fmla="*/ 10000 h 10000"/>
                <a:gd name="connsiteX172" fmla="*/ 10000 w 10000"/>
                <a:gd name="connsiteY172" fmla="*/ 9951 h 10000"/>
                <a:gd name="connsiteX173" fmla="*/ 10000 w 10000"/>
                <a:gd name="connsiteY173" fmla="*/ 0 h 10000"/>
                <a:gd name="connsiteX174" fmla="*/ 8433 w 10000"/>
                <a:gd name="connsiteY174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24 w 10000"/>
                <a:gd name="connsiteY83" fmla="*/ 709 h 10000"/>
                <a:gd name="connsiteX84" fmla="*/ 1295 w 10000"/>
                <a:gd name="connsiteY84" fmla="*/ 865 h 10000"/>
                <a:gd name="connsiteX85" fmla="*/ 940 w 10000"/>
                <a:gd name="connsiteY85" fmla="*/ 1054 h 10000"/>
                <a:gd name="connsiteX86" fmla="*/ 737 w 10000"/>
                <a:gd name="connsiteY86" fmla="*/ 1273 h 10000"/>
                <a:gd name="connsiteX87" fmla="*/ 298 w 10000"/>
                <a:gd name="connsiteY87" fmla="*/ 1265 h 10000"/>
                <a:gd name="connsiteX88" fmla="*/ 361 w 10000"/>
                <a:gd name="connsiteY88" fmla="*/ 1419 h 10000"/>
                <a:gd name="connsiteX89" fmla="*/ 219 w 10000"/>
                <a:gd name="connsiteY89" fmla="*/ 1525 h 10000"/>
                <a:gd name="connsiteX90" fmla="*/ 0 w 10000"/>
                <a:gd name="connsiteY90" fmla="*/ 1679 h 10000"/>
                <a:gd name="connsiteX91" fmla="*/ 31 w 10000"/>
                <a:gd name="connsiteY91" fmla="*/ 1687 h 10000"/>
                <a:gd name="connsiteX92" fmla="*/ 31 w 10000"/>
                <a:gd name="connsiteY92" fmla="*/ 1695 h 10000"/>
                <a:gd name="connsiteX93" fmla="*/ 376 w 10000"/>
                <a:gd name="connsiteY93" fmla="*/ 1727 h 10000"/>
                <a:gd name="connsiteX94" fmla="*/ 517 w 10000"/>
                <a:gd name="connsiteY94" fmla="*/ 1800 h 10000"/>
                <a:gd name="connsiteX95" fmla="*/ 799 w 10000"/>
                <a:gd name="connsiteY95" fmla="*/ 1833 h 10000"/>
                <a:gd name="connsiteX96" fmla="*/ 893 w 10000"/>
                <a:gd name="connsiteY96" fmla="*/ 1971 h 10000"/>
                <a:gd name="connsiteX97" fmla="*/ 690 w 10000"/>
                <a:gd name="connsiteY97" fmla="*/ 2376 h 10000"/>
                <a:gd name="connsiteX98" fmla="*/ 893 w 10000"/>
                <a:gd name="connsiteY98" fmla="*/ 2457 h 10000"/>
                <a:gd name="connsiteX99" fmla="*/ 1677 w 10000"/>
                <a:gd name="connsiteY99" fmla="*/ 2879 h 10000"/>
                <a:gd name="connsiteX100" fmla="*/ 1458 w 10000"/>
                <a:gd name="connsiteY100" fmla="*/ 2976 h 10000"/>
                <a:gd name="connsiteX101" fmla="*/ 1458 w 10000"/>
                <a:gd name="connsiteY101" fmla="*/ 3179 h 10000"/>
                <a:gd name="connsiteX102" fmla="*/ 1677 w 10000"/>
                <a:gd name="connsiteY102" fmla="*/ 3220 h 10000"/>
                <a:gd name="connsiteX103" fmla="*/ 1614 w 10000"/>
                <a:gd name="connsiteY103" fmla="*/ 3333 h 10000"/>
                <a:gd name="connsiteX104" fmla="*/ 1787 w 10000"/>
                <a:gd name="connsiteY104" fmla="*/ 3398 h 10000"/>
                <a:gd name="connsiteX105" fmla="*/ 1959 w 10000"/>
                <a:gd name="connsiteY105" fmla="*/ 3366 h 10000"/>
                <a:gd name="connsiteX106" fmla="*/ 1991 w 10000"/>
                <a:gd name="connsiteY106" fmla="*/ 3528 h 10000"/>
                <a:gd name="connsiteX107" fmla="*/ 2132 w 10000"/>
                <a:gd name="connsiteY107" fmla="*/ 3609 h 10000"/>
                <a:gd name="connsiteX108" fmla="*/ 2320 w 10000"/>
                <a:gd name="connsiteY108" fmla="*/ 3577 h 10000"/>
                <a:gd name="connsiteX109" fmla="*/ 2461 w 10000"/>
                <a:gd name="connsiteY109" fmla="*/ 3715 h 10000"/>
                <a:gd name="connsiteX110" fmla="*/ 2335 w 10000"/>
                <a:gd name="connsiteY110" fmla="*/ 3950 h 10000"/>
                <a:gd name="connsiteX111" fmla="*/ 3276 w 10000"/>
                <a:gd name="connsiteY111" fmla="*/ 4193 h 10000"/>
                <a:gd name="connsiteX112" fmla="*/ 3292 w 10000"/>
                <a:gd name="connsiteY112" fmla="*/ 4599 h 10000"/>
                <a:gd name="connsiteX113" fmla="*/ 2806 w 10000"/>
                <a:gd name="connsiteY113" fmla="*/ 5239 h 10000"/>
                <a:gd name="connsiteX114" fmla="*/ 2288 w 10000"/>
                <a:gd name="connsiteY114" fmla="*/ 5677 h 10000"/>
                <a:gd name="connsiteX115" fmla="*/ 2555 w 10000"/>
                <a:gd name="connsiteY115" fmla="*/ 5612 h 10000"/>
                <a:gd name="connsiteX116" fmla="*/ 2618 w 10000"/>
                <a:gd name="connsiteY116" fmla="*/ 5766 h 10000"/>
                <a:gd name="connsiteX117" fmla="*/ 2931 w 10000"/>
                <a:gd name="connsiteY117" fmla="*/ 5839 h 10000"/>
                <a:gd name="connsiteX118" fmla="*/ 3370 w 10000"/>
                <a:gd name="connsiteY118" fmla="*/ 5775 h 10000"/>
                <a:gd name="connsiteX119" fmla="*/ 3793 w 10000"/>
                <a:gd name="connsiteY119" fmla="*/ 5864 h 10000"/>
                <a:gd name="connsiteX120" fmla="*/ 3793 w 10000"/>
                <a:gd name="connsiteY120" fmla="*/ 5994 h 10000"/>
                <a:gd name="connsiteX121" fmla="*/ 3056 w 10000"/>
                <a:gd name="connsiteY121" fmla="*/ 5969 h 10000"/>
                <a:gd name="connsiteX122" fmla="*/ 2931 w 10000"/>
                <a:gd name="connsiteY122" fmla="*/ 6091 h 10000"/>
                <a:gd name="connsiteX123" fmla="*/ 2555 w 10000"/>
                <a:gd name="connsiteY123" fmla="*/ 6172 h 10000"/>
                <a:gd name="connsiteX124" fmla="*/ 2633 w 10000"/>
                <a:gd name="connsiteY124" fmla="*/ 6269 h 10000"/>
                <a:gd name="connsiteX125" fmla="*/ 2712 w 10000"/>
                <a:gd name="connsiteY125" fmla="*/ 6326 h 10000"/>
                <a:gd name="connsiteX126" fmla="*/ 2539 w 10000"/>
                <a:gd name="connsiteY126" fmla="*/ 6415 h 10000"/>
                <a:gd name="connsiteX127" fmla="*/ 2586 w 10000"/>
                <a:gd name="connsiteY127" fmla="*/ 6537 h 10000"/>
                <a:gd name="connsiteX128" fmla="*/ 2398 w 10000"/>
                <a:gd name="connsiteY128" fmla="*/ 6642 h 10000"/>
                <a:gd name="connsiteX129" fmla="*/ 2492 w 10000"/>
                <a:gd name="connsiteY129" fmla="*/ 6788 h 10000"/>
                <a:gd name="connsiteX130" fmla="*/ 2680 w 10000"/>
                <a:gd name="connsiteY130" fmla="*/ 6821 h 10000"/>
                <a:gd name="connsiteX131" fmla="*/ 2602 w 10000"/>
                <a:gd name="connsiteY131" fmla="*/ 6983 h 10000"/>
                <a:gd name="connsiteX132" fmla="*/ 2821 w 10000"/>
                <a:gd name="connsiteY132" fmla="*/ 7015 h 10000"/>
                <a:gd name="connsiteX133" fmla="*/ 2931 w 10000"/>
                <a:gd name="connsiteY133" fmla="*/ 7145 h 10000"/>
                <a:gd name="connsiteX134" fmla="*/ 2806 w 10000"/>
                <a:gd name="connsiteY134" fmla="*/ 7202 h 10000"/>
                <a:gd name="connsiteX135" fmla="*/ 2821 w 10000"/>
                <a:gd name="connsiteY135" fmla="*/ 7299 h 10000"/>
                <a:gd name="connsiteX136" fmla="*/ 2931 w 10000"/>
                <a:gd name="connsiteY136" fmla="*/ 7388 h 10000"/>
                <a:gd name="connsiteX137" fmla="*/ 3292 w 10000"/>
                <a:gd name="connsiteY137" fmla="*/ 7486 h 10000"/>
                <a:gd name="connsiteX138" fmla="*/ 3166 w 10000"/>
                <a:gd name="connsiteY138" fmla="*/ 7575 h 10000"/>
                <a:gd name="connsiteX139" fmla="*/ 3292 w 10000"/>
                <a:gd name="connsiteY139" fmla="*/ 7737 h 10000"/>
                <a:gd name="connsiteX140" fmla="*/ 3417 w 10000"/>
                <a:gd name="connsiteY140" fmla="*/ 7737 h 10000"/>
                <a:gd name="connsiteX141" fmla="*/ 3511 w 10000"/>
                <a:gd name="connsiteY141" fmla="*/ 7810 h 10000"/>
                <a:gd name="connsiteX142" fmla="*/ 3793 w 10000"/>
                <a:gd name="connsiteY142" fmla="*/ 7908 h 10000"/>
                <a:gd name="connsiteX143" fmla="*/ 3793 w 10000"/>
                <a:gd name="connsiteY143" fmla="*/ 7997 h 10000"/>
                <a:gd name="connsiteX144" fmla="*/ 4075 w 10000"/>
                <a:gd name="connsiteY144" fmla="*/ 7972 h 10000"/>
                <a:gd name="connsiteX145" fmla="*/ 4577 w 10000"/>
                <a:gd name="connsiteY145" fmla="*/ 7972 h 10000"/>
                <a:gd name="connsiteX146" fmla="*/ 4718 w 10000"/>
                <a:gd name="connsiteY146" fmla="*/ 8167 h 10000"/>
                <a:gd name="connsiteX147" fmla="*/ 5141 w 10000"/>
                <a:gd name="connsiteY147" fmla="*/ 7972 h 10000"/>
                <a:gd name="connsiteX148" fmla="*/ 5721 w 10000"/>
                <a:gd name="connsiteY148" fmla="*/ 8078 h 10000"/>
                <a:gd name="connsiteX149" fmla="*/ 5846 w 10000"/>
                <a:gd name="connsiteY149" fmla="*/ 8289 h 10000"/>
                <a:gd name="connsiteX150" fmla="*/ 5846 w 10000"/>
                <a:gd name="connsiteY150" fmla="*/ 8467 h 10000"/>
                <a:gd name="connsiteX151" fmla="*/ 6113 w 10000"/>
                <a:gd name="connsiteY151" fmla="*/ 8483 h 10000"/>
                <a:gd name="connsiteX152" fmla="*/ 6223 w 10000"/>
                <a:gd name="connsiteY152" fmla="*/ 8581 h 10000"/>
                <a:gd name="connsiteX153" fmla="*/ 6536 w 10000"/>
                <a:gd name="connsiteY153" fmla="*/ 8710 h 10000"/>
                <a:gd name="connsiteX154" fmla="*/ 6912 w 10000"/>
                <a:gd name="connsiteY154" fmla="*/ 8759 h 10000"/>
                <a:gd name="connsiteX155" fmla="*/ 6928 w 10000"/>
                <a:gd name="connsiteY155" fmla="*/ 8889 h 10000"/>
                <a:gd name="connsiteX156" fmla="*/ 7367 w 10000"/>
                <a:gd name="connsiteY156" fmla="*/ 8856 h 10000"/>
                <a:gd name="connsiteX157" fmla="*/ 7696 w 10000"/>
                <a:gd name="connsiteY157" fmla="*/ 9027 h 10000"/>
                <a:gd name="connsiteX158" fmla="*/ 7586 w 10000"/>
                <a:gd name="connsiteY158" fmla="*/ 9238 h 10000"/>
                <a:gd name="connsiteX159" fmla="*/ 6912 w 10000"/>
                <a:gd name="connsiteY159" fmla="*/ 9238 h 10000"/>
                <a:gd name="connsiteX160" fmla="*/ 6803 w 10000"/>
                <a:gd name="connsiteY160" fmla="*/ 9343 h 10000"/>
                <a:gd name="connsiteX161" fmla="*/ 7132 w 10000"/>
                <a:gd name="connsiteY161" fmla="*/ 9424 h 10000"/>
                <a:gd name="connsiteX162" fmla="*/ 7179 w 10000"/>
                <a:gd name="connsiteY162" fmla="*/ 9594 h 10000"/>
                <a:gd name="connsiteX163" fmla="*/ 7461 w 10000"/>
                <a:gd name="connsiteY163" fmla="*/ 9805 h 10000"/>
                <a:gd name="connsiteX164" fmla="*/ 7837 w 10000"/>
                <a:gd name="connsiteY164" fmla="*/ 9813 h 10000"/>
                <a:gd name="connsiteX165" fmla="*/ 7853 w 10000"/>
                <a:gd name="connsiteY165" fmla="*/ 9659 h 10000"/>
                <a:gd name="connsiteX166" fmla="*/ 8464 w 10000"/>
                <a:gd name="connsiteY166" fmla="*/ 9521 h 10000"/>
                <a:gd name="connsiteX167" fmla="*/ 9060 w 10000"/>
                <a:gd name="connsiteY167" fmla="*/ 9521 h 10000"/>
                <a:gd name="connsiteX168" fmla="*/ 9545 w 10000"/>
                <a:gd name="connsiteY168" fmla="*/ 9659 h 10000"/>
                <a:gd name="connsiteX169" fmla="*/ 9279 w 10000"/>
                <a:gd name="connsiteY169" fmla="*/ 9789 h 10000"/>
                <a:gd name="connsiteX170" fmla="*/ 9624 w 10000"/>
                <a:gd name="connsiteY170" fmla="*/ 10000 h 10000"/>
                <a:gd name="connsiteX171" fmla="*/ 10000 w 10000"/>
                <a:gd name="connsiteY171" fmla="*/ 9951 h 10000"/>
                <a:gd name="connsiteX172" fmla="*/ 10000 w 10000"/>
                <a:gd name="connsiteY172" fmla="*/ 0 h 10000"/>
                <a:gd name="connsiteX173" fmla="*/ 8433 w 10000"/>
                <a:gd name="connsiteY173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865 h 10000"/>
                <a:gd name="connsiteX84" fmla="*/ 940 w 10000"/>
                <a:gd name="connsiteY84" fmla="*/ 1054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940 w 10000"/>
                <a:gd name="connsiteY84" fmla="*/ 1054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940 w 10000"/>
                <a:gd name="connsiteY84" fmla="*/ 1054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680 w 10000"/>
                <a:gd name="connsiteY85" fmla="*/ 10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52 w 10000"/>
                <a:gd name="connsiteY85" fmla="*/ 932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52 w 10000"/>
                <a:gd name="connsiteY85" fmla="*/ 932 h 10000"/>
                <a:gd name="connsiteX86" fmla="*/ 585 w 10000"/>
                <a:gd name="connsiteY86" fmla="*/ 1169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52 w 10000"/>
                <a:gd name="connsiteY85" fmla="*/ 932 h 10000"/>
                <a:gd name="connsiteX86" fmla="*/ 571 w 10000"/>
                <a:gd name="connsiteY86" fmla="*/ 1154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38 w 10000"/>
                <a:gd name="connsiteY85" fmla="*/ 910 h 10000"/>
                <a:gd name="connsiteX86" fmla="*/ 571 w 10000"/>
                <a:gd name="connsiteY86" fmla="*/ 1154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38 w 10000"/>
                <a:gd name="connsiteY85" fmla="*/ 910 h 10000"/>
                <a:gd name="connsiteX86" fmla="*/ 571 w 10000"/>
                <a:gd name="connsiteY86" fmla="*/ 1154 h 10000"/>
                <a:gd name="connsiteX87" fmla="*/ 519 w 10000"/>
                <a:gd name="connsiteY87" fmla="*/ 138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67 w 10034"/>
                <a:gd name="connsiteY0" fmla="*/ 0 h 10000"/>
                <a:gd name="connsiteX1" fmla="*/ 8467 w 10034"/>
                <a:gd name="connsiteY1" fmla="*/ 97 h 10000"/>
                <a:gd name="connsiteX2" fmla="*/ 8137 w 10034"/>
                <a:gd name="connsiteY2" fmla="*/ 357 h 10000"/>
                <a:gd name="connsiteX3" fmla="*/ 8467 w 10034"/>
                <a:gd name="connsiteY3" fmla="*/ 697 h 10000"/>
                <a:gd name="connsiteX4" fmla="*/ 7855 w 10034"/>
                <a:gd name="connsiteY4" fmla="*/ 981 h 10000"/>
                <a:gd name="connsiteX5" fmla="*/ 7761 w 10034"/>
                <a:gd name="connsiteY5" fmla="*/ 803 h 10000"/>
                <a:gd name="connsiteX6" fmla="*/ 7228 w 10034"/>
                <a:gd name="connsiteY6" fmla="*/ 803 h 10000"/>
                <a:gd name="connsiteX7" fmla="*/ 7072 w 10034"/>
                <a:gd name="connsiteY7" fmla="*/ 584 h 10000"/>
                <a:gd name="connsiteX8" fmla="*/ 7526 w 10034"/>
                <a:gd name="connsiteY8" fmla="*/ 397 h 10000"/>
                <a:gd name="connsiteX9" fmla="*/ 7087 w 10034"/>
                <a:gd name="connsiteY9" fmla="*/ 276 h 10000"/>
                <a:gd name="connsiteX10" fmla="*/ 6915 w 10034"/>
                <a:gd name="connsiteY10" fmla="*/ 187 h 10000"/>
                <a:gd name="connsiteX11" fmla="*/ 6601 w 10034"/>
                <a:gd name="connsiteY11" fmla="*/ 187 h 10000"/>
                <a:gd name="connsiteX12" fmla="*/ 6304 w 10034"/>
                <a:gd name="connsiteY12" fmla="*/ 341 h 10000"/>
                <a:gd name="connsiteX13" fmla="*/ 5833 w 10034"/>
                <a:gd name="connsiteY13" fmla="*/ 397 h 10000"/>
                <a:gd name="connsiteX14" fmla="*/ 6398 w 10034"/>
                <a:gd name="connsiteY14" fmla="*/ 479 h 10000"/>
                <a:gd name="connsiteX15" fmla="*/ 6617 w 10034"/>
                <a:gd name="connsiteY15" fmla="*/ 738 h 10000"/>
                <a:gd name="connsiteX16" fmla="*/ 6711 w 10034"/>
                <a:gd name="connsiteY16" fmla="*/ 981 h 10000"/>
                <a:gd name="connsiteX17" fmla="*/ 6868 w 10034"/>
                <a:gd name="connsiteY17" fmla="*/ 981 h 10000"/>
                <a:gd name="connsiteX18" fmla="*/ 7275 w 10034"/>
                <a:gd name="connsiteY18" fmla="*/ 981 h 10000"/>
                <a:gd name="connsiteX19" fmla="*/ 7307 w 10034"/>
                <a:gd name="connsiteY19" fmla="*/ 1103 h 10000"/>
                <a:gd name="connsiteX20" fmla="*/ 7510 w 10034"/>
                <a:gd name="connsiteY20" fmla="*/ 1160 h 10000"/>
                <a:gd name="connsiteX21" fmla="*/ 7526 w 10034"/>
                <a:gd name="connsiteY21" fmla="*/ 1371 h 10000"/>
                <a:gd name="connsiteX22" fmla="*/ 7683 w 10034"/>
                <a:gd name="connsiteY22" fmla="*/ 1590 h 10000"/>
                <a:gd name="connsiteX23" fmla="*/ 7213 w 10034"/>
                <a:gd name="connsiteY23" fmla="*/ 1444 h 10000"/>
                <a:gd name="connsiteX24" fmla="*/ 6884 w 10034"/>
                <a:gd name="connsiteY24" fmla="*/ 1484 h 10000"/>
                <a:gd name="connsiteX25" fmla="*/ 6601 w 10034"/>
                <a:gd name="connsiteY25" fmla="*/ 1484 h 10000"/>
                <a:gd name="connsiteX26" fmla="*/ 6398 w 10034"/>
                <a:gd name="connsiteY26" fmla="*/ 1825 h 10000"/>
                <a:gd name="connsiteX27" fmla="*/ 6272 w 10034"/>
                <a:gd name="connsiteY27" fmla="*/ 2028 h 10000"/>
                <a:gd name="connsiteX28" fmla="*/ 6210 w 10034"/>
                <a:gd name="connsiteY28" fmla="*/ 2271 h 10000"/>
                <a:gd name="connsiteX29" fmla="*/ 6601 w 10034"/>
                <a:gd name="connsiteY29" fmla="*/ 2401 h 10000"/>
                <a:gd name="connsiteX30" fmla="*/ 6978 w 10034"/>
                <a:gd name="connsiteY30" fmla="*/ 2595 h 10000"/>
                <a:gd name="connsiteX31" fmla="*/ 6570 w 10034"/>
                <a:gd name="connsiteY31" fmla="*/ 2798 h 10000"/>
                <a:gd name="connsiteX32" fmla="*/ 6382 w 10034"/>
                <a:gd name="connsiteY32" fmla="*/ 2701 h 10000"/>
                <a:gd name="connsiteX33" fmla="*/ 6147 w 10034"/>
                <a:gd name="connsiteY33" fmla="*/ 2660 h 10000"/>
                <a:gd name="connsiteX34" fmla="*/ 5661 w 10034"/>
                <a:gd name="connsiteY34" fmla="*/ 2749 h 10000"/>
                <a:gd name="connsiteX35" fmla="*/ 5175 w 10034"/>
                <a:gd name="connsiteY35" fmla="*/ 2595 h 10000"/>
                <a:gd name="connsiteX36" fmla="*/ 4924 w 10034"/>
                <a:gd name="connsiteY36" fmla="*/ 2603 h 10000"/>
                <a:gd name="connsiteX37" fmla="*/ 5065 w 10034"/>
                <a:gd name="connsiteY37" fmla="*/ 2733 h 10000"/>
                <a:gd name="connsiteX38" fmla="*/ 5018 w 10034"/>
                <a:gd name="connsiteY38" fmla="*/ 2822 h 10000"/>
                <a:gd name="connsiteX39" fmla="*/ 5520 w 10034"/>
                <a:gd name="connsiteY39" fmla="*/ 3025 h 10000"/>
                <a:gd name="connsiteX40" fmla="*/ 5786 w 10034"/>
                <a:gd name="connsiteY40" fmla="*/ 2928 h 10000"/>
                <a:gd name="connsiteX41" fmla="*/ 6147 w 10034"/>
                <a:gd name="connsiteY41" fmla="*/ 3114 h 10000"/>
                <a:gd name="connsiteX42" fmla="*/ 5943 w 10034"/>
                <a:gd name="connsiteY42" fmla="*/ 3317 h 10000"/>
                <a:gd name="connsiteX43" fmla="*/ 5645 w 10034"/>
                <a:gd name="connsiteY43" fmla="*/ 3317 h 10000"/>
                <a:gd name="connsiteX44" fmla="*/ 5081 w 10034"/>
                <a:gd name="connsiteY44" fmla="*/ 3268 h 10000"/>
                <a:gd name="connsiteX45" fmla="*/ 5034 w 10034"/>
                <a:gd name="connsiteY45" fmla="*/ 3139 h 10000"/>
                <a:gd name="connsiteX46" fmla="*/ 4736 w 10034"/>
                <a:gd name="connsiteY46" fmla="*/ 3147 h 10000"/>
                <a:gd name="connsiteX47" fmla="*/ 4564 w 10034"/>
                <a:gd name="connsiteY47" fmla="*/ 3268 h 10000"/>
                <a:gd name="connsiteX48" fmla="*/ 4266 w 10034"/>
                <a:gd name="connsiteY48" fmla="*/ 3187 h 10000"/>
                <a:gd name="connsiteX49" fmla="*/ 4329 w 10034"/>
                <a:gd name="connsiteY49" fmla="*/ 3017 h 10000"/>
                <a:gd name="connsiteX50" fmla="*/ 3905 w 10034"/>
                <a:gd name="connsiteY50" fmla="*/ 2863 h 10000"/>
                <a:gd name="connsiteX51" fmla="*/ 3827 w 10034"/>
                <a:gd name="connsiteY51" fmla="*/ 2863 h 10000"/>
                <a:gd name="connsiteX52" fmla="*/ 3670 w 10034"/>
                <a:gd name="connsiteY52" fmla="*/ 2741 h 10000"/>
                <a:gd name="connsiteX53" fmla="*/ 3827 w 10034"/>
                <a:gd name="connsiteY53" fmla="*/ 2636 h 10000"/>
                <a:gd name="connsiteX54" fmla="*/ 3561 w 10034"/>
                <a:gd name="connsiteY54" fmla="*/ 2433 h 10000"/>
                <a:gd name="connsiteX55" fmla="*/ 3231 w 10034"/>
                <a:gd name="connsiteY55" fmla="*/ 2384 h 10000"/>
                <a:gd name="connsiteX56" fmla="*/ 2965 w 10034"/>
                <a:gd name="connsiteY56" fmla="*/ 2336 h 10000"/>
                <a:gd name="connsiteX57" fmla="*/ 2855 w 10034"/>
                <a:gd name="connsiteY57" fmla="*/ 2247 h 10000"/>
                <a:gd name="connsiteX58" fmla="*/ 2275 w 10034"/>
                <a:gd name="connsiteY58" fmla="*/ 2190 h 10000"/>
                <a:gd name="connsiteX59" fmla="*/ 2134 w 10034"/>
                <a:gd name="connsiteY59" fmla="*/ 2117 h 10000"/>
                <a:gd name="connsiteX60" fmla="*/ 1884 w 10034"/>
                <a:gd name="connsiteY60" fmla="*/ 2060 h 10000"/>
                <a:gd name="connsiteX61" fmla="*/ 2040 w 10034"/>
                <a:gd name="connsiteY61" fmla="*/ 1979 h 10000"/>
                <a:gd name="connsiteX62" fmla="*/ 2354 w 10034"/>
                <a:gd name="connsiteY62" fmla="*/ 2003 h 10000"/>
                <a:gd name="connsiteX63" fmla="*/ 2510 w 10034"/>
                <a:gd name="connsiteY63" fmla="*/ 2117 h 10000"/>
                <a:gd name="connsiteX64" fmla="*/ 2777 w 10034"/>
                <a:gd name="connsiteY64" fmla="*/ 2117 h 10000"/>
                <a:gd name="connsiteX65" fmla="*/ 3247 w 10034"/>
                <a:gd name="connsiteY65" fmla="*/ 2117 h 10000"/>
                <a:gd name="connsiteX66" fmla="*/ 3420 w 10034"/>
                <a:gd name="connsiteY66" fmla="*/ 2068 h 10000"/>
                <a:gd name="connsiteX67" fmla="*/ 3827 w 10034"/>
                <a:gd name="connsiteY67" fmla="*/ 2117 h 10000"/>
                <a:gd name="connsiteX68" fmla="*/ 4360 w 10034"/>
                <a:gd name="connsiteY68" fmla="*/ 2117 h 10000"/>
                <a:gd name="connsiteX69" fmla="*/ 5144 w 10034"/>
                <a:gd name="connsiteY69" fmla="*/ 2084 h 10000"/>
                <a:gd name="connsiteX70" fmla="*/ 5943 w 10034"/>
                <a:gd name="connsiteY70" fmla="*/ 1784 h 10000"/>
                <a:gd name="connsiteX71" fmla="*/ 5943 w 10034"/>
                <a:gd name="connsiteY71" fmla="*/ 1387 h 10000"/>
                <a:gd name="connsiteX72" fmla="*/ 5630 w 10034"/>
                <a:gd name="connsiteY72" fmla="*/ 1176 h 10000"/>
                <a:gd name="connsiteX73" fmla="*/ 5285 w 10034"/>
                <a:gd name="connsiteY73" fmla="*/ 1030 h 10000"/>
                <a:gd name="connsiteX74" fmla="*/ 4736 w 10034"/>
                <a:gd name="connsiteY74" fmla="*/ 981 h 10000"/>
                <a:gd name="connsiteX75" fmla="*/ 4344 w 10034"/>
                <a:gd name="connsiteY75" fmla="*/ 981 h 10000"/>
                <a:gd name="connsiteX76" fmla="*/ 3952 w 10034"/>
                <a:gd name="connsiteY76" fmla="*/ 981 h 10000"/>
                <a:gd name="connsiteX77" fmla="*/ 3435 w 10034"/>
                <a:gd name="connsiteY77" fmla="*/ 803 h 10000"/>
                <a:gd name="connsiteX78" fmla="*/ 2777 w 10034"/>
                <a:gd name="connsiteY78" fmla="*/ 738 h 10000"/>
                <a:gd name="connsiteX79" fmla="*/ 2338 w 10034"/>
                <a:gd name="connsiteY79" fmla="*/ 762 h 10000"/>
                <a:gd name="connsiteX80" fmla="*/ 1774 w 10034"/>
                <a:gd name="connsiteY80" fmla="*/ 787 h 10000"/>
                <a:gd name="connsiteX81" fmla="*/ 1664 w 10034"/>
                <a:gd name="connsiteY81" fmla="*/ 860 h 10000"/>
                <a:gd name="connsiteX82" fmla="*/ 1558 w 10034"/>
                <a:gd name="connsiteY82" fmla="*/ 709 h 10000"/>
                <a:gd name="connsiteX83" fmla="*/ 1329 w 10034"/>
                <a:gd name="connsiteY83" fmla="*/ 784 h 10000"/>
                <a:gd name="connsiteX84" fmla="*/ 1089 w 10034"/>
                <a:gd name="connsiteY84" fmla="*/ 706 h 10000"/>
                <a:gd name="connsiteX85" fmla="*/ 972 w 10034"/>
                <a:gd name="connsiteY85" fmla="*/ 910 h 10000"/>
                <a:gd name="connsiteX86" fmla="*/ 605 w 10034"/>
                <a:gd name="connsiteY86" fmla="*/ 1154 h 10000"/>
                <a:gd name="connsiteX87" fmla="*/ 553 w 10034"/>
                <a:gd name="connsiteY87" fmla="*/ 1389 h 10000"/>
                <a:gd name="connsiteX88" fmla="*/ 597 w 10034"/>
                <a:gd name="connsiteY88" fmla="*/ 1540 h 10000"/>
                <a:gd name="connsiteX89" fmla="*/ 34 w 10034"/>
                <a:gd name="connsiteY89" fmla="*/ 1679 h 10000"/>
                <a:gd name="connsiteX90" fmla="*/ 65 w 10034"/>
                <a:gd name="connsiteY90" fmla="*/ 1687 h 10000"/>
                <a:gd name="connsiteX91" fmla="*/ 65 w 10034"/>
                <a:gd name="connsiteY91" fmla="*/ 1695 h 10000"/>
                <a:gd name="connsiteX92" fmla="*/ 410 w 10034"/>
                <a:gd name="connsiteY92" fmla="*/ 1727 h 10000"/>
                <a:gd name="connsiteX93" fmla="*/ 551 w 10034"/>
                <a:gd name="connsiteY93" fmla="*/ 1800 h 10000"/>
                <a:gd name="connsiteX94" fmla="*/ 833 w 10034"/>
                <a:gd name="connsiteY94" fmla="*/ 1833 h 10000"/>
                <a:gd name="connsiteX95" fmla="*/ 927 w 10034"/>
                <a:gd name="connsiteY95" fmla="*/ 1971 h 10000"/>
                <a:gd name="connsiteX96" fmla="*/ 724 w 10034"/>
                <a:gd name="connsiteY96" fmla="*/ 2376 h 10000"/>
                <a:gd name="connsiteX97" fmla="*/ 927 w 10034"/>
                <a:gd name="connsiteY97" fmla="*/ 2457 h 10000"/>
                <a:gd name="connsiteX98" fmla="*/ 1711 w 10034"/>
                <a:gd name="connsiteY98" fmla="*/ 2879 h 10000"/>
                <a:gd name="connsiteX99" fmla="*/ 1492 w 10034"/>
                <a:gd name="connsiteY99" fmla="*/ 2976 h 10000"/>
                <a:gd name="connsiteX100" fmla="*/ 1492 w 10034"/>
                <a:gd name="connsiteY100" fmla="*/ 3179 h 10000"/>
                <a:gd name="connsiteX101" fmla="*/ 1711 w 10034"/>
                <a:gd name="connsiteY101" fmla="*/ 3220 h 10000"/>
                <a:gd name="connsiteX102" fmla="*/ 1648 w 10034"/>
                <a:gd name="connsiteY102" fmla="*/ 3333 h 10000"/>
                <a:gd name="connsiteX103" fmla="*/ 1821 w 10034"/>
                <a:gd name="connsiteY103" fmla="*/ 3398 h 10000"/>
                <a:gd name="connsiteX104" fmla="*/ 1993 w 10034"/>
                <a:gd name="connsiteY104" fmla="*/ 3366 h 10000"/>
                <a:gd name="connsiteX105" fmla="*/ 2025 w 10034"/>
                <a:gd name="connsiteY105" fmla="*/ 3528 h 10000"/>
                <a:gd name="connsiteX106" fmla="*/ 2166 w 10034"/>
                <a:gd name="connsiteY106" fmla="*/ 3609 h 10000"/>
                <a:gd name="connsiteX107" fmla="*/ 2354 w 10034"/>
                <a:gd name="connsiteY107" fmla="*/ 3577 h 10000"/>
                <a:gd name="connsiteX108" fmla="*/ 2495 w 10034"/>
                <a:gd name="connsiteY108" fmla="*/ 3715 h 10000"/>
                <a:gd name="connsiteX109" fmla="*/ 2369 w 10034"/>
                <a:gd name="connsiteY109" fmla="*/ 3950 h 10000"/>
                <a:gd name="connsiteX110" fmla="*/ 3310 w 10034"/>
                <a:gd name="connsiteY110" fmla="*/ 4193 h 10000"/>
                <a:gd name="connsiteX111" fmla="*/ 3326 w 10034"/>
                <a:gd name="connsiteY111" fmla="*/ 4599 h 10000"/>
                <a:gd name="connsiteX112" fmla="*/ 2840 w 10034"/>
                <a:gd name="connsiteY112" fmla="*/ 5239 h 10000"/>
                <a:gd name="connsiteX113" fmla="*/ 2322 w 10034"/>
                <a:gd name="connsiteY113" fmla="*/ 5677 h 10000"/>
                <a:gd name="connsiteX114" fmla="*/ 2589 w 10034"/>
                <a:gd name="connsiteY114" fmla="*/ 5612 h 10000"/>
                <a:gd name="connsiteX115" fmla="*/ 2652 w 10034"/>
                <a:gd name="connsiteY115" fmla="*/ 5766 h 10000"/>
                <a:gd name="connsiteX116" fmla="*/ 2965 w 10034"/>
                <a:gd name="connsiteY116" fmla="*/ 5839 h 10000"/>
                <a:gd name="connsiteX117" fmla="*/ 3404 w 10034"/>
                <a:gd name="connsiteY117" fmla="*/ 5775 h 10000"/>
                <a:gd name="connsiteX118" fmla="*/ 3827 w 10034"/>
                <a:gd name="connsiteY118" fmla="*/ 5864 h 10000"/>
                <a:gd name="connsiteX119" fmla="*/ 3827 w 10034"/>
                <a:gd name="connsiteY119" fmla="*/ 5994 h 10000"/>
                <a:gd name="connsiteX120" fmla="*/ 3090 w 10034"/>
                <a:gd name="connsiteY120" fmla="*/ 5969 h 10000"/>
                <a:gd name="connsiteX121" fmla="*/ 2965 w 10034"/>
                <a:gd name="connsiteY121" fmla="*/ 6091 h 10000"/>
                <a:gd name="connsiteX122" fmla="*/ 2589 w 10034"/>
                <a:gd name="connsiteY122" fmla="*/ 6172 h 10000"/>
                <a:gd name="connsiteX123" fmla="*/ 2667 w 10034"/>
                <a:gd name="connsiteY123" fmla="*/ 6269 h 10000"/>
                <a:gd name="connsiteX124" fmla="*/ 2746 w 10034"/>
                <a:gd name="connsiteY124" fmla="*/ 6326 h 10000"/>
                <a:gd name="connsiteX125" fmla="*/ 2573 w 10034"/>
                <a:gd name="connsiteY125" fmla="*/ 6415 h 10000"/>
                <a:gd name="connsiteX126" fmla="*/ 2620 w 10034"/>
                <a:gd name="connsiteY126" fmla="*/ 6537 h 10000"/>
                <a:gd name="connsiteX127" fmla="*/ 2432 w 10034"/>
                <a:gd name="connsiteY127" fmla="*/ 6642 h 10000"/>
                <a:gd name="connsiteX128" fmla="*/ 2526 w 10034"/>
                <a:gd name="connsiteY128" fmla="*/ 6788 h 10000"/>
                <a:gd name="connsiteX129" fmla="*/ 2714 w 10034"/>
                <a:gd name="connsiteY129" fmla="*/ 6821 h 10000"/>
                <a:gd name="connsiteX130" fmla="*/ 2636 w 10034"/>
                <a:gd name="connsiteY130" fmla="*/ 6983 h 10000"/>
                <a:gd name="connsiteX131" fmla="*/ 2855 w 10034"/>
                <a:gd name="connsiteY131" fmla="*/ 7015 h 10000"/>
                <a:gd name="connsiteX132" fmla="*/ 2965 w 10034"/>
                <a:gd name="connsiteY132" fmla="*/ 7145 h 10000"/>
                <a:gd name="connsiteX133" fmla="*/ 2840 w 10034"/>
                <a:gd name="connsiteY133" fmla="*/ 7202 h 10000"/>
                <a:gd name="connsiteX134" fmla="*/ 2855 w 10034"/>
                <a:gd name="connsiteY134" fmla="*/ 7299 h 10000"/>
                <a:gd name="connsiteX135" fmla="*/ 2965 w 10034"/>
                <a:gd name="connsiteY135" fmla="*/ 7388 h 10000"/>
                <a:gd name="connsiteX136" fmla="*/ 3326 w 10034"/>
                <a:gd name="connsiteY136" fmla="*/ 7486 h 10000"/>
                <a:gd name="connsiteX137" fmla="*/ 3200 w 10034"/>
                <a:gd name="connsiteY137" fmla="*/ 7575 h 10000"/>
                <a:gd name="connsiteX138" fmla="*/ 3326 w 10034"/>
                <a:gd name="connsiteY138" fmla="*/ 7737 h 10000"/>
                <a:gd name="connsiteX139" fmla="*/ 3451 w 10034"/>
                <a:gd name="connsiteY139" fmla="*/ 7737 h 10000"/>
                <a:gd name="connsiteX140" fmla="*/ 3545 w 10034"/>
                <a:gd name="connsiteY140" fmla="*/ 7810 h 10000"/>
                <a:gd name="connsiteX141" fmla="*/ 3827 w 10034"/>
                <a:gd name="connsiteY141" fmla="*/ 7908 h 10000"/>
                <a:gd name="connsiteX142" fmla="*/ 3827 w 10034"/>
                <a:gd name="connsiteY142" fmla="*/ 7997 h 10000"/>
                <a:gd name="connsiteX143" fmla="*/ 4109 w 10034"/>
                <a:gd name="connsiteY143" fmla="*/ 7972 h 10000"/>
                <a:gd name="connsiteX144" fmla="*/ 4611 w 10034"/>
                <a:gd name="connsiteY144" fmla="*/ 7972 h 10000"/>
                <a:gd name="connsiteX145" fmla="*/ 4752 w 10034"/>
                <a:gd name="connsiteY145" fmla="*/ 8167 h 10000"/>
                <a:gd name="connsiteX146" fmla="*/ 5175 w 10034"/>
                <a:gd name="connsiteY146" fmla="*/ 7972 h 10000"/>
                <a:gd name="connsiteX147" fmla="*/ 5755 w 10034"/>
                <a:gd name="connsiteY147" fmla="*/ 8078 h 10000"/>
                <a:gd name="connsiteX148" fmla="*/ 5880 w 10034"/>
                <a:gd name="connsiteY148" fmla="*/ 8289 h 10000"/>
                <a:gd name="connsiteX149" fmla="*/ 5880 w 10034"/>
                <a:gd name="connsiteY149" fmla="*/ 8467 h 10000"/>
                <a:gd name="connsiteX150" fmla="*/ 6147 w 10034"/>
                <a:gd name="connsiteY150" fmla="*/ 8483 h 10000"/>
                <a:gd name="connsiteX151" fmla="*/ 6257 w 10034"/>
                <a:gd name="connsiteY151" fmla="*/ 8581 h 10000"/>
                <a:gd name="connsiteX152" fmla="*/ 6570 w 10034"/>
                <a:gd name="connsiteY152" fmla="*/ 8710 h 10000"/>
                <a:gd name="connsiteX153" fmla="*/ 6946 w 10034"/>
                <a:gd name="connsiteY153" fmla="*/ 8759 h 10000"/>
                <a:gd name="connsiteX154" fmla="*/ 6962 w 10034"/>
                <a:gd name="connsiteY154" fmla="*/ 8889 h 10000"/>
                <a:gd name="connsiteX155" fmla="*/ 7401 w 10034"/>
                <a:gd name="connsiteY155" fmla="*/ 8856 h 10000"/>
                <a:gd name="connsiteX156" fmla="*/ 7730 w 10034"/>
                <a:gd name="connsiteY156" fmla="*/ 9027 h 10000"/>
                <a:gd name="connsiteX157" fmla="*/ 7620 w 10034"/>
                <a:gd name="connsiteY157" fmla="*/ 9238 h 10000"/>
                <a:gd name="connsiteX158" fmla="*/ 6946 w 10034"/>
                <a:gd name="connsiteY158" fmla="*/ 9238 h 10000"/>
                <a:gd name="connsiteX159" fmla="*/ 6837 w 10034"/>
                <a:gd name="connsiteY159" fmla="*/ 9343 h 10000"/>
                <a:gd name="connsiteX160" fmla="*/ 7166 w 10034"/>
                <a:gd name="connsiteY160" fmla="*/ 9424 h 10000"/>
                <a:gd name="connsiteX161" fmla="*/ 7213 w 10034"/>
                <a:gd name="connsiteY161" fmla="*/ 9594 h 10000"/>
                <a:gd name="connsiteX162" fmla="*/ 7495 w 10034"/>
                <a:gd name="connsiteY162" fmla="*/ 9805 h 10000"/>
                <a:gd name="connsiteX163" fmla="*/ 7871 w 10034"/>
                <a:gd name="connsiteY163" fmla="*/ 9813 h 10000"/>
                <a:gd name="connsiteX164" fmla="*/ 7887 w 10034"/>
                <a:gd name="connsiteY164" fmla="*/ 9659 h 10000"/>
                <a:gd name="connsiteX165" fmla="*/ 8498 w 10034"/>
                <a:gd name="connsiteY165" fmla="*/ 9521 h 10000"/>
                <a:gd name="connsiteX166" fmla="*/ 9094 w 10034"/>
                <a:gd name="connsiteY166" fmla="*/ 9521 h 10000"/>
                <a:gd name="connsiteX167" fmla="*/ 9579 w 10034"/>
                <a:gd name="connsiteY167" fmla="*/ 9659 h 10000"/>
                <a:gd name="connsiteX168" fmla="*/ 9313 w 10034"/>
                <a:gd name="connsiteY168" fmla="*/ 9789 h 10000"/>
                <a:gd name="connsiteX169" fmla="*/ 9658 w 10034"/>
                <a:gd name="connsiteY169" fmla="*/ 10000 h 10000"/>
                <a:gd name="connsiteX170" fmla="*/ 10034 w 10034"/>
                <a:gd name="connsiteY170" fmla="*/ 9951 h 10000"/>
                <a:gd name="connsiteX171" fmla="*/ 10034 w 10034"/>
                <a:gd name="connsiteY171" fmla="*/ 0 h 10000"/>
                <a:gd name="connsiteX172" fmla="*/ 8467 w 10034"/>
                <a:gd name="connsiteY172" fmla="*/ 0 h 10000"/>
                <a:gd name="connsiteX0" fmla="*/ 8482 w 10049"/>
                <a:gd name="connsiteY0" fmla="*/ 0 h 10000"/>
                <a:gd name="connsiteX1" fmla="*/ 8482 w 10049"/>
                <a:gd name="connsiteY1" fmla="*/ 97 h 10000"/>
                <a:gd name="connsiteX2" fmla="*/ 8152 w 10049"/>
                <a:gd name="connsiteY2" fmla="*/ 357 h 10000"/>
                <a:gd name="connsiteX3" fmla="*/ 8482 w 10049"/>
                <a:gd name="connsiteY3" fmla="*/ 697 h 10000"/>
                <a:gd name="connsiteX4" fmla="*/ 7870 w 10049"/>
                <a:gd name="connsiteY4" fmla="*/ 981 h 10000"/>
                <a:gd name="connsiteX5" fmla="*/ 7776 w 10049"/>
                <a:gd name="connsiteY5" fmla="*/ 803 h 10000"/>
                <a:gd name="connsiteX6" fmla="*/ 7243 w 10049"/>
                <a:gd name="connsiteY6" fmla="*/ 803 h 10000"/>
                <a:gd name="connsiteX7" fmla="*/ 7087 w 10049"/>
                <a:gd name="connsiteY7" fmla="*/ 584 h 10000"/>
                <a:gd name="connsiteX8" fmla="*/ 7541 w 10049"/>
                <a:gd name="connsiteY8" fmla="*/ 397 h 10000"/>
                <a:gd name="connsiteX9" fmla="*/ 7102 w 10049"/>
                <a:gd name="connsiteY9" fmla="*/ 276 h 10000"/>
                <a:gd name="connsiteX10" fmla="*/ 6930 w 10049"/>
                <a:gd name="connsiteY10" fmla="*/ 187 h 10000"/>
                <a:gd name="connsiteX11" fmla="*/ 6616 w 10049"/>
                <a:gd name="connsiteY11" fmla="*/ 187 h 10000"/>
                <a:gd name="connsiteX12" fmla="*/ 6319 w 10049"/>
                <a:gd name="connsiteY12" fmla="*/ 341 h 10000"/>
                <a:gd name="connsiteX13" fmla="*/ 5848 w 10049"/>
                <a:gd name="connsiteY13" fmla="*/ 397 h 10000"/>
                <a:gd name="connsiteX14" fmla="*/ 6413 w 10049"/>
                <a:gd name="connsiteY14" fmla="*/ 479 h 10000"/>
                <a:gd name="connsiteX15" fmla="*/ 6632 w 10049"/>
                <a:gd name="connsiteY15" fmla="*/ 738 h 10000"/>
                <a:gd name="connsiteX16" fmla="*/ 6726 w 10049"/>
                <a:gd name="connsiteY16" fmla="*/ 981 h 10000"/>
                <a:gd name="connsiteX17" fmla="*/ 6883 w 10049"/>
                <a:gd name="connsiteY17" fmla="*/ 981 h 10000"/>
                <a:gd name="connsiteX18" fmla="*/ 7290 w 10049"/>
                <a:gd name="connsiteY18" fmla="*/ 981 h 10000"/>
                <a:gd name="connsiteX19" fmla="*/ 7322 w 10049"/>
                <a:gd name="connsiteY19" fmla="*/ 1103 h 10000"/>
                <a:gd name="connsiteX20" fmla="*/ 7525 w 10049"/>
                <a:gd name="connsiteY20" fmla="*/ 1160 h 10000"/>
                <a:gd name="connsiteX21" fmla="*/ 7541 w 10049"/>
                <a:gd name="connsiteY21" fmla="*/ 1371 h 10000"/>
                <a:gd name="connsiteX22" fmla="*/ 7698 w 10049"/>
                <a:gd name="connsiteY22" fmla="*/ 1590 h 10000"/>
                <a:gd name="connsiteX23" fmla="*/ 7228 w 10049"/>
                <a:gd name="connsiteY23" fmla="*/ 1444 h 10000"/>
                <a:gd name="connsiteX24" fmla="*/ 6899 w 10049"/>
                <a:gd name="connsiteY24" fmla="*/ 1484 h 10000"/>
                <a:gd name="connsiteX25" fmla="*/ 6616 w 10049"/>
                <a:gd name="connsiteY25" fmla="*/ 1484 h 10000"/>
                <a:gd name="connsiteX26" fmla="*/ 6413 w 10049"/>
                <a:gd name="connsiteY26" fmla="*/ 1825 h 10000"/>
                <a:gd name="connsiteX27" fmla="*/ 6287 w 10049"/>
                <a:gd name="connsiteY27" fmla="*/ 2028 h 10000"/>
                <a:gd name="connsiteX28" fmla="*/ 6225 w 10049"/>
                <a:gd name="connsiteY28" fmla="*/ 2271 h 10000"/>
                <a:gd name="connsiteX29" fmla="*/ 6616 w 10049"/>
                <a:gd name="connsiteY29" fmla="*/ 2401 h 10000"/>
                <a:gd name="connsiteX30" fmla="*/ 6993 w 10049"/>
                <a:gd name="connsiteY30" fmla="*/ 2595 h 10000"/>
                <a:gd name="connsiteX31" fmla="*/ 6585 w 10049"/>
                <a:gd name="connsiteY31" fmla="*/ 2798 h 10000"/>
                <a:gd name="connsiteX32" fmla="*/ 6397 w 10049"/>
                <a:gd name="connsiteY32" fmla="*/ 2701 h 10000"/>
                <a:gd name="connsiteX33" fmla="*/ 6162 w 10049"/>
                <a:gd name="connsiteY33" fmla="*/ 2660 h 10000"/>
                <a:gd name="connsiteX34" fmla="*/ 5676 w 10049"/>
                <a:gd name="connsiteY34" fmla="*/ 2749 h 10000"/>
                <a:gd name="connsiteX35" fmla="*/ 5190 w 10049"/>
                <a:gd name="connsiteY35" fmla="*/ 2595 h 10000"/>
                <a:gd name="connsiteX36" fmla="*/ 4939 w 10049"/>
                <a:gd name="connsiteY36" fmla="*/ 2603 h 10000"/>
                <a:gd name="connsiteX37" fmla="*/ 5080 w 10049"/>
                <a:gd name="connsiteY37" fmla="*/ 2733 h 10000"/>
                <a:gd name="connsiteX38" fmla="*/ 5033 w 10049"/>
                <a:gd name="connsiteY38" fmla="*/ 2822 h 10000"/>
                <a:gd name="connsiteX39" fmla="*/ 5535 w 10049"/>
                <a:gd name="connsiteY39" fmla="*/ 3025 h 10000"/>
                <a:gd name="connsiteX40" fmla="*/ 5801 w 10049"/>
                <a:gd name="connsiteY40" fmla="*/ 2928 h 10000"/>
                <a:gd name="connsiteX41" fmla="*/ 6162 w 10049"/>
                <a:gd name="connsiteY41" fmla="*/ 3114 h 10000"/>
                <a:gd name="connsiteX42" fmla="*/ 5958 w 10049"/>
                <a:gd name="connsiteY42" fmla="*/ 3317 h 10000"/>
                <a:gd name="connsiteX43" fmla="*/ 5660 w 10049"/>
                <a:gd name="connsiteY43" fmla="*/ 3317 h 10000"/>
                <a:gd name="connsiteX44" fmla="*/ 5096 w 10049"/>
                <a:gd name="connsiteY44" fmla="*/ 3268 h 10000"/>
                <a:gd name="connsiteX45" fmla="*/ 5049 w 10049"/>
                <a:gd name="connsiteY45" fmla="*/ 3139 h 10000"/>
                <a:gd name="connsiteX46" fmla="*/ 4751 w 10049"/>
                <a:gd name="connsiteY46" fmla="*/ 3147 h 10000"/>
                <a:gd name="connsiteX47" fmla="*/ 4579 w 10049"/>
                <a:gd name="connsiteY47" fmla="*/ 3268 h 10000"/>
                <a:gd name="connsiteX48" fmla="*/ 4281 w 10049"/>
                <a:gd name="connsiteY48" fmla="*/ 3187 h 10000"/>
                <a:gd name="connsiteX49" fmla="*/ 4344 w 10049"/>
                <a:gd name="connsiteY49" fmla="*/ 3017 h 10000"/>
                <a:gd name="connsiteX50" fmla="*/ 3920 w 10049"/>
                <a:gd name="connsiteY50" fmla="*/ 2863 h 10000"/>
                <a:gd name="connsiteX51" fmla="*/ 3842 w 10049"/>
                <a:gd name="connsiteY51" fmla="*/ 2863 h 10000"/>
                <a:gd name="connsiteX52" fmla="*/ 3685 w 10049"/>
                <a:gd name="connsiteY52" fmla="*/ 2741 h 10000"/>
                <a:gd name="connsiteX53" fmla="*/ 3842 w 10049"/>
                <a:gd name="connsiteY53" fmla="*/ 2636 h 10000"/>
                <a:gd name="connsiteX54" fmla="*/ 3576 w 10049"/>
                <a:gd name="connsiteY54" fmla="*/ 2433 h 10000"/>
                <a:gd name="connsiteX55" fmla="*/ 3246 w 10049"/>
                <a:gd name="connsiteY55" fmla="*/ 2384 h 10000"/>
                <a:gd name="connsiteX56" fmla="*/ 2980 w 10049"/>
                <a:gd name="connsiteY56" fmla="*/ 2336 h 10000"/>
                <a:gd name="connsiteX57" fmla="*/ 2870 w 10049"/>
                <a:gd name="connsiteY57" fmla="*/ 2247 h 10000"/>
                <a:gd name="connsiteX58" fmla="*/ 2290 w 10049"/>
                <a:gd name="connsiteY58" fmla="*/ 2190 h 10000"/>
                <a:gd name="connsiteX59" fmla="*/ 2149 w 10049"/>
                <a:gd name="connsiteY59" fmla="*/ 2117 h 10000"/>
                <a:gd name="connsiteX60" fmla="*/ 1899 w 10049"/>
                <a:gd name="connsiteY60" fmla="*/ 2060 h 10000"/>
                <a:gd name="connsiteX61" fmla="*/ 2055 w 10049"/>
                <a:gd name="connsiteY61" fmla="*/ 1979 h 10000"/>
                <a:gd name="connsiteX62" fmla="*/ 2369 w 10049"/>
                <a:gd name="connsiteY62" fmla="*/ 2003 h 10000"/>
                <a:gd name="connsiteX63" fmla="*/ 2525 w 10049"/>
                <a:gd name="connsiteY63" fmla="*/ 2117 h 10000"/>
                <a:gd name="connsiteX64" fmla="*/ 2792 w 10049"/>
                <a:gd name="connsiteY64" fmla="*/ 2117 h 10000"/>
                <a:gd name="connsiteX65" fmla="*/ 3262 w 10049"/>
                <a:gd name="connsiteY65" fmla="*/ 2117 h 10000"/>
                <a:gd name="connsiteX66" fmla="*/ 3435 w 10049"/>
                <a:gd name="connsiteY66" fmla="*/ 2068 h 10000"/>
                <a:gd name="connsiteX67" fmla="*/ 3842 w 10049"/>
                <a:gd name="connsiteY67" fmla="*/ 2117 h 10000"/>
                <a:gd name="connsiteX68" fmla="*/ 4375 w 10049"/>
                <a:gd name="connsiteY68" fmla="*/ 2117 h 10000"/>
                <a:gd name="connsiteX69" fmla="*/ 5159 w 10049"/>
                <a:gd name="connsiteY69" fmla="*/ 2084 h 10000"/>
                <a:gd name="connsiteX70" fmla="*/ 5958 w 10049"/>
                <a:gd name="connsiteY70" fmla="*/ 1784 h 10000"/>
                <a:gd name="connsiteX71" fmla="*/ 5958 w 10049"/>
                <a:gd name="connsiteY71" fmla="*/ 1387 h 10000"/>
                <a:gd name="connsiteX72" fmla="*/ 5645 w 10049"/>
                <a:gd name="connsiteY72" fmla="*/ 1176 h 10000"/>
                <a:gd name="connsiteX73" fmla="*/ 5300 w 10049"/>
                <a:gd name="connsiteY73" fmla="*/ 1030 h 10000"/>
                <a:gd name="connsiteX74" fmla="*/ 4751 w 10049"/>
                <a:gd name="connsiteY74" fmla="*/ 981 h 10000"/>
                <a:gd name="connsiteX75" fmla="*/ 4359 w 10049"/>
                <a:gd name="connsiteY75" fmla="*/ 981 h 10000"/>
                <a:gd name="connsiteX76" fmla="*/ 3967 w 10049"/>
                <a:gd name="connsiteY76" fmla="*/ 981 h 10000"/>
                <a:gd name="connsiteX77" fmla="*/ 3450 w 10049"/>
                <a:gd name="connsiteY77" fmla="*/ 803 h 10000"/>
                <a:gd name="connsiteX78" fmla="*/ 2792 w 10049"/>
                <a:gd name="connsiteY78" fmla="*/ 738 h 10000"/>
                <a:gd name="connsiteX79" fmla="*/ 2353 w 10049"/>
                <a:gd name="connsiteY79" fmla="*/ 762 h 10000"/>
                <a:gd name="connsiteX80" fmla="*/ 1789 w 10049"/>
                <a:gd name="connsiteY80" fmla="*/ 787 h 10000"/>
                <a:gd name="connsiteX81" fmla="*/ 1679 w 10049"/>
                <a:gd name="connsiteY81" fmla="*/ 860 h 10000"/>
                <a:gd name="connsiteX82" fmla="*/ 1573 w 10049"/>
                <a:gd name="connsiteY82" fmla="*/ 709 h 10000"/>
                <a:gd name="connsiteX83" fmla="*/ 1344 w 10049"/>
                <a:gd name="connsiteY83" fmla="*/ 784 h 10000"/>
                <a:gd name="connsiteX84" fmla="*/ 1104 w 10049"/>
                <a:gd name="connsiteY84" fmla="*/ 706 h 10000"/>
                <a:gd name="connsiteX85" fmla="*/ 987 w 10049"/>
                <a:gd name="connsiteY85" fmla="*/ 910 h 10000"/>
                <a:gd name="connsiteX86" fmla="*/ 620 w 10049"/>
                <a:gd name="connsiteY86" fmla="*/ 1154 h 10000"/>
                <a:gd name="connsiteX87" fmla="*/ 568 w 10049"/>
                <a:gd name="connsiteY87" fmla="*/ 1389 h 10000"/>
                <a:gd name="connsiteX88" fmla="*/ 612 w 10049"/>
                <a:gd name="connsiteY88" fmla="*/ 1540 h 10000"/>
                <a:gd name="connsiteX89" fmla="*/ 49 w 10049"/>
                <a:gd name="connsiteY89" fmla="*/ 1679 h 10000"/>
                <a:gd name="connsiteX90" fmla="*/ 80 w 10049"/>
                <a:gd name="connsiteY90" fmla="*/ 1687 h 10000"/>
                <a:gd name="connsiteX91" fmla="*/ 510 w 10049"/>
                <a:gd name="connsiteY91" fmla="*/ 1628 h 10000"/>
                <a:gd name="connsiteX92" fmla="*/ 425 w 10049"/>
                <a:gd name="connsiteY92" fmla="*/ 1727 h 10000"/>
                <a:gd name="connsiteX93" fmla="*/ 566 w 10049"/>
                <a:gd name="connsiteY93" fmla="*/ 1800 h 10000"/>
                <a:gd name="connsiteX94" fmla="*/ 848 w 10049"/>
                <a:gd name="connsiteY94" fmla="*/ 1833 h 10000"/>
                <a:gd name="connsiteX95" fmla="*/ 942 w 10049"/>
                <a:gd name="connsiteY95" fmla="*/ 1971 h 10000"/>
                <a:gd name="connsiteX96" fmla="*/ 739 w 10049"/>
                <a:gd name="connsiteY96" fmla="*/ 2376 h 10000"/>
                <a:gd name="connsiteX97" fmla="*/ 942 w 10049"/>
                <a:gd name="connsiteY97" fmla="*/ 2457 h 10000"/>
                <a:gd name="connsiteX98" fmla="*/ 1726 w 10049"/>
                <a:gd name="connsiteY98" fmla="*/ 2879 h 10000"/>
                <a:gd name="connsiteX99" fmla="*/ 1507 w 10049"/>
                <a:gd name="connsiteY99" fmla="*/ 2976 h 10000"/>
                <a:gd name="connsiteX100" fmla="*/ 1507 w 10049"/>
                <a:gd name="connsiteY100" fmla="*/ 3179 h 10000"/>
                <a:gd name="connsiteX101" fmla="*/ 1726 w 10049"/>
                <a:gd name="connsiteY101" fmla="*/ 3220 h 10000"/>
                <a:gd name="connsiteX102" fmla="*/ 1663 w 10049"/>
                <a:gd name="connsiteY102" fmla="*/ 3333 h 10000"/>
                <a:gd name="connsiteX103" fmla="*/ 1836 w 10049"/>
                <a:gd name="connsiteY103" fmla="*/ 3398 h 10000"/>
                <a:gd name="connsiteX104" fmla="*/ 2008 w 10049"/>
                <a:gd name="connsiteY104" fmla="*/ 3366 h 10000"/>
                <a:gd name="connsiteX105" fmla="*/ 2040 w 10049"/>
                <a:gd name="connsiteY105" fmla="*/ 3528 h 10000"/>
                <a:gd name="connsiteX106" fmla="*/ 2181 w 10049"/>
                <a:gd name="connsiteY106" fmla="*/ 3609 h 10000"/>
                <a:gd name="connsiteX107" fmla="*/ 2369 w 10049"/>
                <a:gd name="connsiteY107" fmla="*/ 3577 h 10000"/>
                <a:gd name="connsiteX108" fmla="*/ 2510 w 10049"/>
                <a:gd name="connsiteY108" fmla="*/ 3715 h 10000"/>
                <a:gd name="connsiteX109" fmla="*/ 2384 w 10049"/>
                <a:gd name="connsiteY109" fmla="*/ 3950 h 10000"/>
                <a:gd name="connsiteX110" fmla="*/ 3325 w 10049"/>
                <a:gd name="connsiteY110" fmla="*/ 4193 h 10000"/>
                <a:gd name="connsiteX111" fmla="*/ 3341 w 10049"/>
                <a:gd name="connsiteY111" fmla="*/ 4599 h 10000"/>
                <a:gd name="connsiteX112" fmla="*/ 2855 w 10049"/>
                <a:gd name="connsiteY112" fmla="*/ 5239 h 10000"/>
                <a:gd name="connsiteX113" fmla="*/ 2337 w 10049"/>
                <a:gd name="connsiteY113" fmla="*/ 5677 h 10000"/>
                <a:gd name="connsiteX114" fmla="*/ 2604 w 10049"/>
                <a:gd name="connsiteY114" fmla="*/ 5612 h 10000"/>
                <a:gd name="connsiteX115" fmla="*/ 2667 w 10049"/>
                <a:gd name="connsiteY115" fmla="*/ 5766 h 10000"/>
                <a:gd name="connsiteX116" fmla="*/ 2980 w 10049"/>
                <a:gd name="connsiteY116" fmla="*/ 5839 h 10000"/>
                <a:gd name="connsiteX117" fmla="*/ 3419 w 10049"/>
                <a:gd name="connsiteY117" fmla="*/ 5775 h 10000"/>
                <a:gd name="connsiteX118" fmla="*/ 3842 w 10049"/>
                <a:gd name="connsiteY118" fmla="*/ 5864 h 10000"/>
                <a:gd name="connsiteX119" fmla="*/ 3842 w 10049"/>
                <a:gd name="connsiteY119" fmla="*/ 5994 h 10000"/>
                <a:gd name="connsiteX120" fmla="*/ 3105 w 10049"/>
                <a:gd name="connsiteY120" fmla="*/ 5969 h 10000"/>
                <a:gd name="connsiteX121" fmla="*/ 2980 w 10049"/>
                <a:gd name="connsiteY121" fmla="*/ 6091 h 10000"/>
                <a:gd name="connsiteX122" fmla="*/ 2604 w 10049"/>
                <a:gd name="connsiteY122" fmla="*/ 6172 h 10000"/>
                <a:gd name="connsiteX123" fmla="*/ 2682 w 10049"/>
                <a:gd name="connsiteY123" fmla="*/ 6269 h 10000"/>
                <a:gd name="connsiteX124" fmla="*/ 2761 w 10049"/>
                <a:gd name="connsiteY124" fmla="*/ 6326 h 10000"/>
                <a:gd name="connsiteX125" fmla="*/ 2588 w 10049"/>
                <a:gd name="connsiteY125" fmla="*/ 6415 h 10000"/>
                <a:gd name="connsiteX126" fmla="*/ 2635 w 10049"/>
                <a:gd name="connsiteY126" fmla="*/ 6537 h 10000"/>
                <a:gd name="connsiteX127" fmla="*/ 2447 w 10049"/>
                <a:gd name="connsiteY127" fmla="*/ 6642 h 10000"/>
                <a:gd name="connsiteX128" fmla="*/ 2541 w 10049"/>
                <a:gd name="connsiteY128" fmla="*/ 6788 h 10000"/>
                <a:gd name="connsiteX129" fmla="*/ 2729 w 10049"/>
                <a:gd name="connsiteY129" fmla="*/ 6821 h 10000"/>
                <a:gd name="connsiteX130" fmla="*/ 2651 w 10049"/>
                <a:gd name="connsiteY130" fmla="*/ 6983 h 10000"/>
                <a:gd name="connsiteX131" fmla="*/ 2870 w 10049"/>
                <a:gd name="connsiteY131" fmla="*/ 7015 h 10000"/>
                <a:gd name="connsiteX132" fmla="*/ 2980 w 10049"/>
                <a:gd name="connsiteY132" fmla="*/ 7145 h 10000"/>
                <a:gd name="connsiteX133" fmla="*/ 2855 w 10049"/>
                <a:gd name="connsiteY133" fmla="*/ 7202 h 10000"/>
                <a:gd name="connsiteX134" fmla="*/ 2870 w 10049"/>
                <a:gd name="connsiteY134" fmla="*/ 7299 h 10000"/>
                <a:gd name="connsiteX135" fmla="*/ 2980 w 10049"/>
                <a:gd name="connsiteY135" fmla="*/ 7388 h 10000"/>
                <a:gd name="connsiteX136" fmla="*/ 3341 w 10049"/>
                <a:gd name="connsiteY136" fmla="*/ 7486 h 10000"/>
                <a:gd name="connsiteX137" fmla="*/ 3215 w 10049"/>
                <a:gd name="connsiteY137" fmla="*/ 7575 h 10000"/>
                <a:gd name="connsiteX138" fmla="*/ 3341 w 10049"/>
                <a:gd name="connsiteY138" fmla="*/ 7737 h 10000"/>
                <a:gd name="connsiteX139" fmla="*/ 3466 w 10049"/>
                <a:gd name="connsiteY139" fmla="*/ 7737 h 10000"/>
                <a:gd name="connsiteX140" fmla="*/ 3560 w 10049"/>
                <a:gd name="connsiteY140" fmla="*/ 7810 h 10000"/>
                <a:gd name="connsiteX141" fmla="*/ 3842 w 10049"/>
                <a:gd name="connsiteY141" fmla="*/ 7908 h 10000"/>
                <a:gd name="connsiteX142" fmla="*/ 3842 w 10049"/>
                <a:gd name="connsiteY142" fmla="*/ 7997 h 10000"/>
                <a:gd name="connsiteX143" fmla="*/ 4124 w 10049"/>
                <a:gd name="connsiteY143" fmla="*/ 7972 h 10000"/>
                <a:gd name="connsiteX144" fmla="*/ 4626 w 10049"/>
                <a:gd name="connsiteY144" fmla="*/ 7972 h 10000"/>
                <a:gd name="connsiteX145" fmla="*/ 4767 w 10049"/>
                <a:gd name="connsiteY145" fmla="*/ 8167 h 10000"/>
                <a:gd name="connsiteX146" fmla="*/ 5190 w 10049"/>
                <a:gd name="connsiteY146" fmla="*/ 7972 h 10000"/>
                <a:gd name="connsiteX147" fmla="*/ 5770 w 10049"/>
                <a:gd name="connsiteY147" fmla="*/ 8078 h 10000"/>
                <a:gd name="connsiteX148" fmla="*/ 5895 w 10049"/>
                <a:gd name="connsiteY148" fmla="*/ 8289 h 10000"/>
                <a:gd name="connsiteX149" fmla="*/ 5895 w 10049"/>
                <a:gd name="connsiteY149" fmla="*/ 8467 h 10000"/>
                <a:gd name="connsiteX150" fmla="*/ 6162 w 10049"/>
                <a:gd name="connsiteY150" fmla="*/ 8483 h 10000"/>
                <a:gd name="connsiteX151" fmla="*/ 6272 w 10049"/>
                <a:gd name="connsiteY151" fmla="*/ 8581 h 10000"/>
                <a:gd name="connsiteX152" fmla="*/ 6585 w 10049"/>
                <a:gd name="connsiteY152" fmla="*/ 8710 h 10000"/>
                <a:gd name="connsiteX153" fmla="*/ 6961 w 10049"/>
                <a:gd name="connsiteY153" fmla="*/ 8759 h 10000"/>
                <a:gd name="connsiteX154" fmla="*/ 6977 w 10049"/>
                <a:gd name="connsiteY154" fmla="*/ 8889 h 10000"/>
                <a:gd name="connsiteX155" fmla="*/ 7416 w 10049"/>
                <a:gd name="connsiteY155" fmla="*/ 8856 h 10000"/>
                <a:gd name="connsiteX156" fmla="*/ 7745 w 10049"/>
                <a:gd name="connsiteY156" fmla="*/ 9027 h 10000"/>
                <a:gd name="connsiteX157" fmla="*/ 7635 w 10049"/>
                <a:gd name="connsiteY157" fmla="*/ 9238 h 10000"/>
                <a:gd name="connsiteX158" fmla="*/ 6961 w 10049"/>
                <a:gd name="connsiteY158" fmla="*/ 9238 h 10000"/>
                <a:gd name="connsiteX159" fmla="*/ 6852 w 10049"/>
                <a:gd name="connsiteY159" fmla="*/ 9343 h 10000"/>
                <a:gd name="connsiteX160" fmla="*/ 7181 w 10049"/>
                <a:gd name="connsiteY160" fmla="*/ 9424 h 10000"/>
                <a:gd name="connsiteX161" fmla="*/ 7228 w 10049"/>
                <a:gd name="connsiteY161" fmla="*/ 9594 h 10000"/>
                <a:gd name="connsiteX162" fmla="*/ 7510 w 10049"/>
                <a:gd name="connsiteY162" fmla="*/ 9805 h 10000"/>
                <a:gd name="connsiteX163" fmla="*/ 7886 w 10049"/>
                <a:gd name="connsiteY163" fmla="*/ 9813 h 10000"/>
                <a:gd name="connsiteX164" fmla="*/ 7902 w 10049"/>
                <a:gd name="connsiteY164" fmla="*/ 9659 h 10000"/>
                <a:gd name="connsiteX165" fmla="*/ 8513 w 10049"/>
                <a:gd name="connsiteY165" fmla="*/ 9521 h 10000"/>
                <a:gd name="connsiteX166" fmla="*/ 9109 w 10049"/>
                <a:gd name="connsiteY166" fmla="*/ 9521 h 10000"/>
                <a:gd name="connsiteX167" fmla="*/ 9594 w 10049"/>
                <a:gd name="connsiteY167" fmla="*/ 9659 h 10000"/>
                <a:gd name="connsiteX168" fmla="*/ 9328 w 10049"/>
                <a:gd name="connsiteY168" fmla="*/ 9789 h 10000"/>
                <a:gd name="connsiteX169" fmla="*/ 9673 w 10049"/>
                <a:gd name="connsiteY169" fmla="*/ 10000 h 10000"/>
                <a:gd name="connsiteX170" fmla="*/ 10049 w 10049"/>
                <a:gd name="connsiteY170" fmla="*/ 9951 h 10000"/>
                <a:gd name="connsiteX171" fmla="*/ 10049 w 10049"/>
                <a:gd name="connsiteY171" fmla="*/ 0 h 10000"/>
                <a:gd name="connsiteX172" fmla="*/ 8482 w 10049"/>
                <a:gd name="connsiteY172" fmla="*/ 0 h 10000"/>
                <a:gd name="connsiteX0" fmla="*/ 8482 w 10049"/>
                <a:gd name="connsiteY0" fmla="*/ 0 h 10000"/>
                <a:gd name="connsiteX1" fmla="*/ 8482 w 10049"/>
                <a:gd name="connsiteY1" fmla="*/ 97 h 10000"/>
                <a:gd name="connsiteX2" fmla="*/ 8152 w 10049"/>
                <a:gd name="connsiteY2" fmla="*/ 357 h 10000"/>
                <a:gd name="connsiteX3" fmla="*/ 8482 w 10049"/>
                <a:gd name="connsiteY3" fmla="*/ 697 h 10000"/>
                <a:gd name="connsiteX4" fmla="*/ 7870 w 10049"/>
                <a:gd name="connsiteY4" fmla="*/ 981 h 10000"/>
                <a:gd name="connsiteX5" fmla="*/ 7776 w 10049"/>
                <a:gd name="connsiteY5" fmla="*/ 803 h 10000"/>
                <a:gd name="connsiteX6" fmla="*/ 7243 w 10049"/>
                <a:gd name="connsiteY6" fmla="*/ 803 h 10000"/>
                <a:gd name="connsiteX7" fmla="*/ 7087 w 10049"/>
                <a:gd name="connsiteY7" fmla="*/ 584 h 10000"/>
                <a:gd name="connsiteX8" fmla="*/ 7541 w 10049"/>
                <a:gd name="connsiteY8" fmla="*/ 397 h 10000"/>
                <a:gd name="connsiteX9" fmla="*/ 7102 w 10049"/>
                <a:gd name="connsiteY9" fmla="*/ 276 h 10000"/>
                <a:gd name="connsiteX10" fmla="*/ 6930 w 10049"/>
                <a:gd name="connsiteY10" fmla="*/ 187 h 10000"/>
                <a:gd name="connsiteX11" fmla="*/ 6616 w 10049"/>
                <a:gd name="connsiteY11" fmla="*/ 187 h 10000"/>
                <a:gd name="connsiteX12" fmla="*/ 6319 w 10049"/>
                <a:gd name="connsiteY12" fmla="*/ 341 h 10000"/>
                <a:gd name="connsiteX13" fmla="*/ 5848 w 10049"/>
                <a:gd name="connsiteY13" fmla="*/ 397 h 10000"/>
                <a:gd name="connsiteX14" fmla="*/ 6413 w 10049"/>
                <a:gd name="connsiteY14" fmla="*/ 479 h 10000"/>
                <a:gd name="connsiteX15" fmla="*/ 6632 w 10049"/>
                <a:gd name="connsiteY15" fmla="*/ 738 h 10000"/>
                <a:gd name="connsiteX16" fmla="*/ 6726 w 10049"/>
                <a:gd name="connsiteY16" fmla="*/ 981 h 10000"/>
                <a:gd name="connsiteX17" fmla="*/ 6883 w 10049"/>
                <a:gd name="connsiteY17" fmla="*/ 981 h 10000"/>
                <a:gd name="connsiteX18" fmla="*/ 7290 w 10049"/>
                <a:gd name="connsiteY18" fmla="*/ 981 h 10000"/>
                <a:gd name="connsiteX19" fmla="*/ 7322 w 10049"/>
                <a:gd name="connsiteY19" fmla="*/ 1103 h 10000"/>
                <a:gd name="connsiteX20" fmla="*/ 7525 w 10049"/>
                <a:gd name="connsiteY20" fmla="*/ 1160 h 10000"/>
                <a:gd name="connsiteX21" fmla="*/ 7541 w 10049"/>
                <a:gd name="connsiteY21" fmla="*/ 1371 h 10000"/>
                <a:gd name="connsiteX22" fmla="*/ 7698 w 10049"/>
                <a:gd name="connsiteY22" fmla="*/ 1590 h 10000"/>
                <a:gd name="connsiteX23" fmla="*/ 7228 w 10049"/>
                <a:gd name="connsiteY23" fmla="*/ 1444 h 10000"/>
                <a:gd name="connsiteX24" fmla="*/ 6899 w 10049"/>
                <a:gd name="connsiteY24" fmla="*/ 1484 h 10000"/>
                <a:gd name="connsiteX25" fmla="*/ 6616 w 10049"/>
                <a:gd name="connsiteY25" fmla="*/ 1484 h 10000"/>
                <a:gd name="connsiteX26" fmla="*/ 6413 w 10049"/>
                <a:gd name="connsiteY26" fmla="*/ 1825 h 10000"/>
                <a:gd name="connsiteX27" fmla="*/ 6287 w 10049"/>
                <a:gd name="connsiteY27" fmla="*/ 2028 h 10000"/>
                <a:gd name="connsiteX28" fmla="*/ 6225 w 10049"/>
                <a:gd name="connsiteY28" fmla="*/ 2271 h 10000"/>
                <a:gd name="connsiteX29" fmla="*/ 6616 w 10049"/>
                <a:gd name="connsiteY29" fmla="*/ 2401 h 10000"/>
                <a:gd name="connsiteX30" fmla="*/ 6993 w 10049"/>
                <a:gd name="connsiteY30" fmla="*/ 2595 h 10000"/>
                <a:gd name="connsiteX31" fmla="*/ 6585 w 10049"/>
                <a:gd name="connsiteY31" fmla="*/ 2798 h 10000"/>
                <a:gd name="connsiteX32" fmla="*/ 6397 w 10049"/>
                <a:gd name="connsiteY32" fmla="*/ 2701 h 10000"/>
                <a:gd name="connsiteX33" fmla="*/ 6162 w 10049"/>
                <a:gd name="connsiteY33" fmla="*/ 2660 h 10000"/>
                <a:gd name="connsiteX34" fmla="*/ 5676 w 10049"/>
                <a:gd name="connsiteY34" fmla="*/ 2749 h 10000"/>
                <a:gd name="connsiteX35" fmla="*/ 5190 w 10049"/>
                <a:gd name="connsiteY35" fmla="*/ 2595 h 10000"/>
                <a:gd name="connsiteX36" fmla="*/ 4939 w 10049"/>
                <a:gd name="connsiteY36" fmla="*/ 2603 h 10000"/>
                <a:gd name="connsiteX37" fmla="*/ 5080 w 10049"/>
                <a:gd name="connsiteY37" fmla="*/ 2733 h 10000"/>
                <a:gd name="connsiteX38" fmla="*/ 5033 w 10049"/>
                <a:gd name="connsiteY38" fmla="*/ 2822 h 10000"/>
                <a:gd name="connsiteX39" fmla="*/ 5535 w 10049"/>
                <a:gd name="connsiteY39" fmla="*/ 3025 h 10000"/>
                <a:gd name="connsiteX40" fmla="*/ 5801 w 10049"/>
                <a:gd name="connsiteY40" fmla="*/ 2928 h 10000"/>
                <a:gd name="connsiteX41" fmla="*/ 6162 w 10049"/>
                <a:gd name="connsiteY41" fmla="*/ 3114 h 10000"/>
                <a:gd name="connsiteX42" fmla="*/ 5958 w 10049"/>
                <a:gd name="connsiteY42" fmla="*/ 3317 h 10000"/>
                <a:gd name="connsiteX43" fmla="*/ 5660 w 10049"/>
                <a:gd name="connsiteY43" fmla="*/ 3317 h 10000"/>
                <a:gd name="connsiteX44" fmla="*/ 5096 w 10049"/>
                <a:gd name="connsiteY44" fmla="*/ 3268 h 10000"/>
                <a:gd name="connsiteX45" fmla="*/ 5049 w 10049"/>
                <a:gd name="connsiteY45" fmla="*/ 3139 h 10000"/>
                <a:gd name="connsiteX46" fmla="*/ 4751 w 10049"/>
                <a:gd name="connsiteY46" fmla="*/ 3147 h 10000"/>
                <a:gd name="connsiteX47" fmla="*/ 4579 w 10049"/>
                <a:gd name="connsiteY47" fmla="*/ 3268 h 10000"/>
                <a:gd name="connsiteX48" fmla="*/ 4281 w 10049"/>
                <a:gd name="connsiteY48" fmla="*/ 3187 h 10000"/>
                <a:gd name="connsiteX49" fmla="*/ 4344 w 10049"/>
                <a:gd name="connsiteY49" fmla="*/ 3017 h 10000"/>
                <a:gd name="connsiteX50" fmla="*/ 3920 w 10049"/>
                <a:gd name="connsiteY50" fmla="*/ 2863 h 10000"/>
                <a:gd name="connsiteX51" fmla="*/ 3842 w 10049"/>
                <a:gd name="connsiteY51" fmla="*/ 2863 h 10000"/>
                <a:gd name="connsiteX52" fmla="*/ 3685 w 10049"/>
                <a:gd name="connsiteY52" fmla="*/ 2741 h 10000"/>
                <a:gd name="connsiteX53" fmla="*/ 3842 w 10049"/>
                <a:gd name="connsiteY53" fmla="*/ 2636 h 10000"/>
                <a:gd name="connsiteX54" fmla="*/ 3576 w 10049"/>
                <a:gd name="connsiteY54" fmla="*/ 2433 h 10000"/>
                <a:gd name="connsiteX55" fmla="*/ 3246 w 10049"/>
                <a:gd name="connsiteY55" fmla="*/ 2384 h 10000"/>
                <a:gd name="connsiteX56" fmla="*/ 2980 w 10049"/>
                <a:gd name="connsiteY56" fmla="*/ 2336 h 10000"/>
                <a:gd name="connsiteX57" fmla="*/ 2870 w 10049"/>
                <a:gd name="connsiteY57" fmla="*/ 2247 h 10000"/>
                <a:gd name="connsiteX58" fmla="*/ 2290 w 10049"/>
                <a:gd name="connsiteY58" fmla="*/ 2190 h 10000"/>
                <a:gd name="connsiteX59" fmla="*/ 2149 w 10049"/>
                <a:gd name="connsiteY59" fmla="*/ 2117 h 10000"/>
                <a:gd name="connsiteX60" fmla="*/ 1899 w 10049"/>
                <a:gd name="connsiteY60" fmla="*/ 2060 h 10000"/>
                <a:gd name="connsiteX61" fmla="*/ 2055 w 10049"/>
                <a:gd name="connsiteY61" fmla="*/ 1979 h 10000"/>
                <a:gd name="connsiteX62" fmla="*/ 2369 w 10049"/>
                <a:gd name="connsiteY62" fmla="*/ 2003 h 10000"/>
                <a:gd name="connsiteX63" fmla="*/ 2525 w 10049"/>
                <a:gd name="connsiteY63" fmla="*/ 2117 h 10000"/>
                <a:gd name="connsiteX64" fmla="*/ 2792 w 10049"/>
                <a:gd name="connsiteY64" fmla="*/ 2117 h 10000"/>
                <a:gd name="connsiteX65" fmla="*/ 3262 w 10049"/>
                <a:gd name="connsiteY65" fmla="*/ 2117 h 10000"/>
                <a:gd name="connsiteX66" fmla="*/ 3435 w 10049"/>
                <a:gd name="connsiteY66" fmla="*/ 2068 h 10000"/>
                <a:gd name="connsiteX67" fmla="*/ 3842 w 10049"/>
                <a:gd name="connsiteY67" fmla="*/ 2117 h 10000"/>
                <a:gd name="connsiteX68" fmla="*/ 4375 w 10049"/>
                <a:gd name="connsiteY68" fmla="*/ 2117 h 10000"/>
                <a:gd name="connsiteX69" fmla="*/ 5159 w 10049"/>
                <a:gd name="connsiteY69" fmla="*/ 2084 h 10000"/>
                <a:gd name="connsiteX70" fmla="*/ 5958 w 10049"/>
                <a:gd name="connsiteY70" fmla="*/ 1784 h 10000"/>
                <a:gd name="connsiteX71" fmla="*/ 5958 w 10049"/>
                <a:gd name="connsiteY71" fmla="*/ 1387 h 10000"/>
                <a:gd name="connsiteX72" fmla="*/ 5645 w 10049"/>
                <a:gd name="connsiteY72" fmla="*/ 1176 h 10000"/>
                <a:gd name="connsiteX73" fmla="*/ 5300 w 10049"/>
                <a:gd name="connsiteY73" fmla="*/ 1030 h 10000"/>
                <a:gd name="connsiteX74" fmla="*/ 4751 w 10049"/>
                <a:gd name="connsiteY74" fmla="*/ 981 h 10000"/>
                <a:gd name="connsiteX75" fmla="*/ 4359 w 10049"/>
                <a:gd name="connsiteY75" fmla="*/ 981 h 10000"/>
                <a:gd name="connsiteX76" fmla="*/ 3967 w 10049"/>
                <a:gd name="connsiteY76" fmla="*/ 981 h 10000"/>
                <a:gd name="connsiteX77" fmla="*/ 3450 w 10049"/>
                <a:gd name="connsiteY77" fmla="*/ 803 h 10000"/>
                <a:gd name="connsiteX78" fmla="*/ 2792 w 10049"/>
                <a:gd name="connsiteY78" fmla="*/ 738 h 10000"/>
                <a:gd name="connsiteX79" fmla="*/ 2353 w 10049"/>
                <a:gd name="connsiteY79" fmla="*/ 762 h 10000"/>
                <a:gd name="connsiteX80" fmla="*/ 1789 w 10049"/>
                <a:gd name="connsiteY80" fmla="*/ 787 h 10000"/>
                <a:gd name="connsiteX81" fmla="*/ 1679 w 10049"/>
                <a:gd name="connsiteY81" fmla="*/ 860 h 10000"/>
                <a:gd name="connsiteX82" fmla="*/ 1573 w 10049"/>
                <a:gd name="connsiteY82" fmla="*/ 709 h 10000"/>
                <a:gd name="connsiteX83" fmla="*/ 1344 w 10049"/>
                <a:gd name="connsiteY83" fmla="*/ 784 h 10000"/>
                <a:gd name="connsiteX84" fmla="*/ 1104 w 10049"/>
                <a:gd name="connsiteY84" fmla="*/ 706 h 10000"/>
                <a:gd name="connsiteX85" fmla="*/ 987 w 10049"/>
                <a:gd name="connsiteY85" fmla="*/ 910 h 10000"/>
                <a:gd name="connsiteX86" fmla="*/ 620 w 10049"/>
                <a:gd name="connsiteY86" fmla="*/ 1154 h 10000"/>
                <a:gd name="connsiteX87" fmla="*/ 568 w 10049"/>
                <a:gd name="connsiteY87" fmla="*/ 1389 h 10000"/>
                <a:gd name="connsiteX88" fmla="*/ 612 w 10049"/>
                <a:gd name="connsiteY88" fmla="*/ 1540 h 10000"/>
                <a:gd name="connsiteX89" fmla="*/ 49 w 10049"/>
                <a:gd name="connsiteY89" fmla="*/ 1679 h 10000"/>
                <a:gd name="connsiteX90" fmla="*/ 80 w 10049"/>
                <a:gd name="connsiteY90" fmla="*/ 1687 h 10000"/>
                <a:gd name="connsiteX91" fmla="*/ 510 w 10049"/>
                <a:gd name="connsiteY91" fmla="*/ 1628 h 10000"/>
                <a:gd name="connsiteX92" fmla="*/ 425 w 10049"/>
                <a:gd name="connsiteY92" fmla="*/ 1727 h 10000"/>
                <a:gd name="connsiteX93" fmla="*/ 566 w 10049"/>
                <a:gd name="connsiteY93" fmla="*/ 1800 h 10000"/>
                <a:gd name="connsiteX94" fmla="*/ 848 w 10049"/>
                <a:gd name="connsiteY94" fmla="*/ 1833 h 10000"/>
                <a:gd name="connsiteX95" fmla="*/ 942 w 10049"/>
                <a:gd name="connsiteY95" fmla="*/ 1971 h 10000"/>
                <a:gd name="connsiteX96" fmla="*/ 739 w 10049"/>
                <a:gd name="connsiteY96" fmla="*/ 2376 h 10000"/>
                <a:gd name="connsiteX97" fmla="*/ 942 w 10049"/>
                <a:gd name="connsiteY97" fmla="*/ 2457 h 10000"/>
                <a:gd name="connsiteX98" fmla="*/ 1726 w 10049"/>
                <a:gd name="connsiteY98" fmla="*/ 2879 h 10000"/>
                <a:gd name="connsiteX99" fmla="*/ 1507 w 10049"/>
                <a:gd name="connsiteY99" fmla="*/ 2976 h 10000"/>
                <a:gd name="connsiteX100" fmla="*/ 1507 w 10049"/>
                <a:gd name="connsiteY100" fmla="*/ 3179 h 10000"/>
                <a:gd name="connsiteX101" fmla="*/ 1726 w 10049"/>
                <a:gd name="connsiteY101" fmla="*/ 3220 h 10000"/>
                <a:gd name="connsiteX102" fmla="*/ 1663 w 10049"/>
                <a:gd name="connsiteY102" fmla="*/ 3333 h 10000"/>
                <a:gd name="connsiteX103" fmla="*/ 1836 w 10049"/>
                <a:gd name="connsiteY103" fmla="*/ 3398 h 10000"/>
                <a:gd name="connsiteX104" fmla="*/ 2008 w 10049"/>
                <a:gd name="connsiteY104" fmla="*/ 3366 h 10000"/>
                <a:gd name="connsiteX105" fmla="*/ 2040 w 10049"/>
                <a:gd name="connsiteY105" fmla="*/ 3528 h 10000"/>
                <a:gd name="connsiteX106" fmla="*/ 2181 w 10049"/>
                <a:gd name="connsiteY106" fmla="*/ 3609 h 10000"/>
                <a:gd name="connsiteX107" fmla="*/ 2369 w 10049"/>
                <a:gd name="connsiteY107" fmla="*/ 3577 h 10000"/>
                <a:gd name="connsiteX108" fmla="*/ 2510 w 10049"/>
                <a:gd name="connsiteY108" fmla="*/ 3715 h 10000"/>
                <a:gd name="connsiteX109" fmla="*/ 2384 w 10049"/>
                <a:gd name="connsiteY109" fmla="*/ 3950 h 10000"/>
                <a:gd name="connsiteX110" fmla="*/ 3325 w 10049"/>
                <a:gd name="connsiteY110" fmla="*/ 4193 h 10000"/>
                <a:gd name="connsiteX111" fmla="*/ 3341 w 10049"/>
                <a:gd name="connsiteY111" fmla="*/ 4599 h 10000"/>
                <a:gd name="connsiteX112" fmla="*/ 2855 w 10049"/>
                <a:gd name="connsiteY112" fmla="*/ 5239 h 10000"/>
                <a:gd name="connsiteX113" fmla="*/ 2337 w 10049"/>
                <a:gd name="connsiteY113" fmla="*/ 5677 h 10000"/>
                <a:gd name="connsiteX114" fmla="*/ 2604 w 10049"/>
                <a:gd name="connsiteY114" fmla="*/ 5612 h 10000"/>
                <a:gd name="connsiteX115" fmla="*/ 2667 w 10049"/>
                <a:gd name="connsiteY115" fmla="*/ 5766 h 10000"/>
                <a:gd name="connsiteX116" fmla="*/ 2980 w 10049"/>
                <a:gd name="connsiteY116" fmla="*/ 5839 h 10000"/>
                <a:gd name="connsiteX117" fmla="*/ 3419 w 10049"/>
                <a:gd name="connsiteY117" fmla="*/ 5775 h 10000"/>
                <a:gd name="connsiteX118" fmla="*/ 3842 w 10049"/>
                <a:gd name="connsiteY118" fmla="*/ 5864 h 10000"/>
                <a:gd name="connsiteX119" fmla="*/ 3842 w 10049"/>
                <a:gd name="connsiteY119" fmla="*/ 5994 h 10000"/>
                <a:gd name="connsiteX120" fmla="*/ 3105 w 10049"/>
                <a:gd name="connsiteY120" fmla="*/ 5969 h 10000"/>
                <a:gd name="connsiteX121" fmla="*/ 2980 w 10049"/>
                <a:gd name="connsiteY121" fmla="*/ 6091 h 10000"/>
                <a:gd name="connsiteX122" fmla="*/ 2604 w 10049"/>
                <a:gd name="connsiteY122" fmla="*/ 6172 h 10000"/>
                <a:gd name="connsiteX123" fmla="*/ 2682 w 10049"/>
                <a:gd name="connsiteY123" fmla="*/ 6269 h 10000"/>
                <a:gd name="connsiteX124" fmla="*/ 2761 w 10049"/>
                <a:gd name="connsiteY124" fmla="*/ 6326 h 10000"/>
                <a:gd name="connsiteX125" fmla="*/ 2588 w 10049"/>
                <a:gd name="connsiteY125" fmla="*/ 6415 h 10000"/>
                <a:gd name="connsiteX126" fmla="*/ 2635 w 10049"/>
                <a:gd name="connsiteY126" fmla="*/ 6537 h 10000"/>
                <a:gd name="connsiteX127" fmla="*/ 2447 w 10049"/>
                <a:gd name="connsiteY127" fmla="*/ 6642 h 10000"/>
                <a:gd name="connsiteX128" fmla="*/ 2541 w 10049"/>
                <a:gd name="connsiteY128" fmla="*/ 6788 h 10000"/>
                <a:gd name="connsiteX129" fmla="*/ 2729 w 10049"/>
                <a:gd name="connsiteY129" fmla="*/ 6821 h 10000"/>
                <a:gd name="connsiteX130" fmla="*/ 2651 w 10049"/>
                <a:gd name="connsiteY130" fmla="*/ 6983 h 10000"/>
                <a:gd name="connsiteX131" fmla="*/ 2870 w 10049"/>
                <a:gd name="connsiteY131" fmla="*/ 7015 h 10000"/>
                <a:gd name="connsiteX132" fmla="*/ 2980 w 10049"/>
                <a:gd name="connsiteY132" fmla="*/ 7145 h 10000"/>
                <a:gd name="connsiteX133" fmla="*/ 2855 w 10049"/>
                <a:gd name="connsiteY133" fmla="*/ 7202 h 10000"/>
                <a:gd name="connsiteX134" fmla="*/ 2870 w 10049"/>
                <a:gd name="connsiteY134" fmla="*/ 7299 h 10000"/>
                <a:gd name="connsiteX135" fmla="*/ 2980 w 10049"/>
                <a:gd name="connsiteY135" fmla="*/ 7388 h 10000"/>
                <a:gd name="connsiteX136" fmla="*/ 3341 w 10049"/>
                <a:gd name="connsiteY136" fmla="*/ 7486 h 10000"/>
                <a:gd name="connsiteX137" fmla="*/ 3215 w 10049"/>
                <a:gd name="connsiteY137" fmla="*/ 7575 h 10000"/>
                <a:gd name="connsiteX138" fmla="*/ 3341 w 10049"/>
                <a:gd name="connsiteY138" fmla="*/ 7737 h 10000"/>
                <a:gd name="connsiteX139" fmla="*/ 3466 w 10049"/>
                <a:gd name="connsiteY139" fmla="*/ 7737 h 10000"/>
                <a:gd name="connsiteX140" fmla="*/ 3560 w 10049"/>
                <a:gd name="connsiteY140" fmla="*/ 7810 h 10000"/>
                <a:gd name="connsiteX141" fmla="*/ 3842 w 10049"/>
                <a:gd name="connsiteY141" fmla="*/ 7908 h 10000"/>
                <a:gd name="connsiteX142" fmla="*/ 3842 w 10049"/>
                <a:gd name="connsiteY142" fmla="*/ 7997 h 10000"/>
                <a:gd name="connsiteX143" fmla="*/ 4124 w 10049"/>
                <a:gd name="connsiteY143" fmla="*/ 7972 h 10000"/>
                <a:gd name="connsiteX144" fmla="*/ 4626 w 10049"/>
                <a:gd name="connsiteY144" fmla="*/ 7972 h 10000"/>
                <a:gd name="connsiteX145" fmla="*/ 4767 w 10049"/>
                <a:gd name="connsiteY145" fmla="*/ 8167 h 10000"/>
                <a:gd name="connsiteX146" fmla="*/ 5190 w 10049"/>
                <a:gd name="connsiteY146" fmla="*/ 7972 h 10000"/>
                <a:gd name="connsiteX147" fmla="*/ 5770 w 10049"/>
                <a:gd name="connsiteY147" fmla="*/ 8078 h 10000"/>
                <a:gd name="connsiteX148" fmla="*/ 5895 w 10049"/>
                <a:gd name="connsiteY148" fmla="*/ 8289 h 10000"/>
                <a:gd name="connsiteX149" fmla="*/ 5895 w 10049"/>
                <a:gd name="connsiteY149" fmla="*/ 8467 h 10000"/>
                <a:gd name="connsiteX150" fmla="*/ 6162 w 10049"/>
                <a:gd name="connsiteY150" fmla="*/ 8483 h 10000"/>
                <a:gd name="connsiteX151" fmla="*/ 6272 w 10049"/>
                <a:gd name="connsiteY151" fmla="*/ 8581 h 10000"/>
                <a:gd name="connsiteX152" fmla="*/ 6585 w 10049"/>
                <a:gd name="connsiteY152" fmla="*/ 8710 h 10000"/>
                <a:gd name="connsiteX153" fmla="*/ 6961 w 10049"/>
                <a:gd name="connsiteY153" fmla="*/ 8759 h 10000"/>
                <a:gd name="connsiteX154" fmla="*/ 6977 w 10049"/>
                <a:gd name="connsiteY154" fmla="*/ 8889 h 10000"/>
                <a:gd name="connsiteX155" fmla="*/ 7416 w 10049"/>
                <a:gd name="connsiteY155" fmla="*/ 8856 h 10000"/>
                <a:gd name="connsiteX156" fmla="*/ 7745 w 10049"/>
                <a:gd name="connsiteY156" fmla="*/ 9027 h 10000"/>
                <a:gd name="connsiteX157" fmla="*/ 7635 w 10049"/>
                <a:gd name="connsiteY157" fmla="*/ 9238 h 10000"/>
                <a:gd name="connsiteX158" fmla="*/ 6961 w 10049"/>
                <a:gd name="connsiteY158" fmla="*/ 9238 h 10000"/>
                <a:gd name="connsiteX159" fmla="*/ 6852 w 10049"/>
                <a:gd name="connsiteY159" fmla="*/ 9343 h 10000"/>
                <a:gd name="connsiteX160" fmla="*/ 7181 w 10049"/>
                <a:gd name="connsiteY160" fmla="*/ 9424 h 10000"/>
                <a:gd name="connsiteX161" fmla="*/ 7228 w 10049"/>
                <a:gd name="connsiteY161" fmla="*/ 9594 h 10000"/>
                <a:gd name="connsiteX162" fmla="*/ 7510 w 10049"/>
                <a:gd name="connsiteY162" fmla="*/ 9805 h 10000"/>
                <a:gd name="connsiteX163" fmla="*/ 7886 w 10049"/>
                <a:gd name="connsiteY163" fmla="*/ 9813 h 10000"/>
                <a:gd name="connsiteX164" fmla="*/ 7902 w 10049"/>
                <a:gd name="connsiteY164" fmla="*/ 9659 h 10000"/>
                <a:gd name="connsiteX165" fmla="*/ 8513 w 10049"/>
                <a:gd name="connsiteY165" fmla="*/ 9521 h 10000"/>
                <a:gd name="connsiteX166" fmla="*/ 9109 w 10049"/>
                <a:gd name="connsiteY166" fmla="*/ 9521 h 10000"/>
                <a:gd name="connsiteX167" fmla="*/ 9594 w 10049"/>
                <a:gd name="connsiteY167" fmla="*/ 9659 h 10000"/>
                <a:gd name="connsiteX168" fmla="*/ 9328 w 10049"/>
                <a:gd name="connsiteY168" fmla="*/ 9789 h 10000"/>
                <a:gd name="connsiteX169" fmla="*/ 9673 w 10049"/>
                <a:gd name="connsiteY169" fmla="*/ 10000 h 10000"/>
                <a:gd name="connsiteX170" fmla="*/ 10049 w 10049"/>
                <a:gd name="connsiteY170" fmla="*/ 9951 h 10000"/>
                <a:gd name="connsiteX171" fmla="*/ 10049 w 10049"/>
                <a:gd name="connsiteY171" fmla="*/ 0 h 10000"/>
                <a:gd name="connsiteX172" fmla="*/ 8482 w 10049"/>
                <a:gd name="connsiteY172" fmla="*/ 0 h 10000"/>
                <a:gd name="connsiteX0" fmla="*/ 8434 w 10001"/>
                <a:gd name="connsiteY0" fmla="*/ 0 h 10000"/>
                <a:gd name="connsiteX1" fmla="*/ 8434 w 10001"/>
                <a:gd name="connsiteY1" fmla="*/ 97 h 10000"/>
                <a:gd name="connsiteX2" fmla="*/ 8104 w 10001"/>
                <a:gd name="connsiteY2" fmla="*/ 357 h 10000"/>
                <a:gd name="connsiteX3" fmla="*/ 8434 w 10001"/>
                <a:gd name="connsiteY3" fmla="*/ 697 h 10000"/>
                <a:gd name="connsiteX4" fmla="*/ 7822 w 10001"/>
                <a:gd name="connsiteY4" fmla="*/ 981 h 10000"/>
                <a:gd name="connsiteX5" fmla="*/ 7728 w 10001"/>
                <a:gd name="connsiteY5" fmla="*/ 803 h 10000"/>
                <a:gd name="connsiteX6" fmla="*/ 7195 w 10001"/>
                <a:gd name="connsiteY6" fmla="*/ 803 h 10000"/>
                <a:gd name="connsiteX7" fmla="*/ 7039 w 10001"/>
                <a:gd name="connsiteY7" fmla="*/ 584 h 10000"/>
                <a:gd name="connsiteX8" fmla="*/ 7493 w 10001"/>
                <a:gd name="connsiteY8" fmla="*/ 397 h 10000"/>
                <a:gd name="connsiteX9" fmla="*/ 7054 w 10001"/>
                <a:gd name="connsiteY9" fmla="*/ 276 h 10000"/>
                <a:gd name="connsiteX10" fmla="*/ 6882 w 10001"/>
                <a:gd name="connsiteY10" fmla="*/ 187 h 10000"/>
                <a:gd name="connsiteX11" fmla="*/ 6568 w 10001"/>
                <a:gd name="connsiteY11" fmla="*/ 187 h 10000"/>
                <a:gd name="connsiteX12" fmla="*/ 6271 w 10001"/>
                <a:gd name="connsiteY12" fmla="*/ 341 h 10000"/>
                <a:gd name="connsiteX13" fmla="*/ 5800 w 10001"/>
                <a:gd name="connsiteY13" fmla="*/ 397 h 10000"/>
                <a:gd name="connsiteX14" fmla="*/ 6365 w 10001"/>
                <a:gd name="connsiteY14" fmla="*/ 479 h 10000"/>
                <a:gd name="connsiteX15" fmla="*/ 6584 w 10001"/>
                <a:gd name="connsiteY15" fmla="*/ 738 h 10000"/>
                <a:gd name="connsiteX16" fmla="*/ 6678 w 10001"/>
                <a:gd name="connsiteY16" fmla="*/ 981 h 10000"/>
                <a:gd name="connsiteX17" fmla="*/ 6835 w 10001"/>
                <a:gd name="connsiteY17" fmla="*/ 981 h 10000"/>
                <a:gd name="connsiteX18" fmla="*/ 7242 w 10001"/>
                <a:gd name="connsiteY18" fmla="*/ 981 h 10000"/>
                <a:gd name="connsiteX19" fmla="*/ 7274 w 10001"/>
                <a:gd name="connsiteY19" fmla="*/ 1103 h 10000"/>
                <a:gd name="connsiteX20" fmla="*/ 7477 w 10001"/>
                <a:gd name="connsiteY20" fmla="*/ 1160 h 10000"/>
                <a:gd name="connsiteX21" fmla="*/ 7493 w 10001"/>
                <a:gd name="connsiteY21" fmla="*/ 1371 h 10000"/>
                <a:gd name="connsiteX22" fmla="*/ 7650 w 10001"/>
                <a:gd name="connsiteY22" fmla="*/ 1590 h 10000"/>
                <a:gd name="connsiteX23" fmla="*/ 7180 w 10001"/>
                <a:gd name="connsiteY23" fmla="*/ 1444 h 10000"/>
                <a:gd name="connsiteX24" fmla="*/ 6851 w 10001"/>
                <a:gd name="connsiteY24" fmla="*/ 1484 h 10000"/>
                <a:gd name="connsiteX25" fmla="*/ 6568 w 10001"/>
                <a:gd name="connsiteY25" fmla="*/ 1484 h 10000"/>
                <a:gd name="connsiteX26" fmla="*/ 6365 w 10001"/>
                <a:gd name="connsiteY26" fmla="*/ 1825 h 10000"/>
                <a:gd name="connsiteX27" fmla="*/ 6239 w 10001"/>
                <a:gd name="connsiteY27" fmla="*/ 2028 h 10000"/>
                <a:gd name="connsiteX28" fmla="*/ 6177 w 10001"/>
                <a:gd name="connsiteY28" fmla="*/ 2271 h 10000"/>
                <a:gd name="connsiteX29" fmla="*/ 6568 w 10001"/>
                <a:gd name="connsiteY29" fmla="*/ 2401 h 10000"/>
                <a:gd name="connsiteX30" fmla="*/ 6945 w 10001"/>
                <a:gd name="connsiteY30" fmla="*/ 2595 h 10000"/>
                <a:gd name="connsiteX31" fmla="*/ 6537 w 10001"/>
                <a:gd name="connsiteY31" fmla="*/ 2798 h 10000"/>
                <a:gd name="connsiteX32" fmla="*/ 6349 w 10001"/>
                <a:gd name="connsiteY32" fmla="*/ 2701 h 10000"/>
                <a:gd name="connsiteX33" fmla="*/ 6114 w 10001"/>
                <a:gd name="connsiteY33" fmla="*/ 2660 h 10000"/>
                <a:gd name="connsiteX34" fmla="*/ 5628 w 10001"/>
                <a:gd name="connsiteY34" fmla="*/ 2749 h 10000"/>
                <a:gd name="connsiteX35" fmla="*/ 5142 w 10001"/>
                <a:gd name="connsiteY35" fmla="*/ 2595 h 10000"/>
                <a:gd name="connsiteX36" fmla="*/ 4891 w 10001"/>
                <a:gd name="connsiteY36" fmla="*/ 2603 h 10000"/>
                <a:gd name="connsiteX37" fmla="*/ 5032 w 10001"/>
                <a:gd name="connsiteY37" fmla="*/ 2733 h 10000"/>
                <a:gd name="connsiteX38" fmla="*/ 4985 w 10001"/>
                <a:gd name="connsiteY38" fmla="*/ 2822 h 10000"/>
                <a:gd name="connsiteX39" fmla="*/ 5487 w 10001"/>
                <a:gd name="connsiteY39" fmla="*/ 3025 h 10000"/>
                <a:gd name="connsiteX40" fmla="*/ 5753 w 10001"/>
                <a:gd name="connsiteY40" fmla="*/ 2928 h 10000"/>
                <a:gd name="connsiteX41" fmla="*/ 6114 w 10001"/>
                <a:gd name="connsiteY41" fmla="*/ 3114 h 10000"/>
                <a:gd name="connsiteX42" fmla="*/ 5910 w 10001"/>
                <a:gd name="connsiteY42" fmla="*/ 3317 h 10000"/>
                <a:gd name="connsiteX43" fmla="*/ 5612 w 10001"/>
                <a:gd name="connsiteY43" fmla="*/ 3317 h 10000"/>
                <a:gd name="connsiteX44" fmla="*/ 5048 w 10001"/>
                <a:gd name="connsiteY44" fmla="*/ 3268 h 10000"/>
                <a:gd name="connsiteX45" fmla="*/ 5001 w 10001"/>
                <a:gd name="connsiteY45" fmla="*/ 3139 h 10000"/>
                <a:gd name="connsiteX46" fmla="*/ 4703 w 10001"/>
                <a:gd name="connsiteY46" fmla="*/ 3147 h 10000"/>
                <a:gd name="connsiteX47" fmla="*/ 4531 w 10001"/>
                <a:gd name="connsiteY47" fmla="*/ 3268 h 10000"/>
                <a:gd name="connsiteX48" fmla="*/ 4233 w 10001"/>
                <a:gd name="connsiteY48" fmla="*/ 3187 h 10000"/>
                <a:gd name="connsiteX49" fmla="*/ 4296 w 10001"/>
                <a:gd name="connsiteY49" fmla="*/ 3017 h 10000"/>
                <a:gd name="connsiteX50" fmla="*/ 3872 w 10001"/>
                <a:gd name="connsiteY50" fmla="*/ 2863 h 10000"/>
                <a:gd name="connsiteX51" fmla="*/ 3794 w 10001"/>
                <a:gd name="connsiteY51" fmla="*/ 2863 h 10000"/>
                <a:gd name="connsiteX52" fmla="*/ 3637 w 10001"/>
                <a:gd name="connsiteY52" fmla="*/ 2741 h 10000"/>
                <a:gd name="connsiteX53" fmla="*/ 3794 w 10001"/>
                <a:gd name="connsiteY53" fmla="*/ 2636 h 10000"/>
                <a:gd name="connsiteX54" fmla="*/ 3528 w 10001"/>
                <a:gd name="connsiteY54" fmla="*/ 2433 h 10000"/>
                <a:gd name="connsiteX55" fmla="*/ 3198 w 10001"/>
                <a:gd name="connsiteY55" fmla="*/ 2384 h 10000"/>
                <a:gd name="connsiteX56" fmla="*/ 2932 w 10001"/>
                <a:gd name="connsiteY56" fmla="*/ 2336 h 10000"/>
                <a:gd name="connsiteX57" fmla="*/ 2822 w 10001"/>
                <a:gd name="connsiteY57" fmla="*/ 2247 h 10000"/>
                <a:gd name="connsiteX58" fmla="*/ 2242 w 10001"/>
                <a:gd name="connsiteY58" fmla="*/ 2190 h 10000"/>
                <a:gd name="connsiteX59" fmla="*/ 2101 w 10001"/>
                <a:gd name="connsiteY59" fmla="*/ 2117 h 10000"/>
                <a:gd name="connsiteX60" fmla="*/ 1851 w 10001"/>
                <a:gd name="connsiteY60" fmla="*/ 2060 h 10000"/>
                <a:gd name="connsiteX61" fmla="*/ 2007 w 10001"/>
                <a:gd name="connsiteY61" fmla="*/ 1979 h 10000"/>
                <a:gd name="connsiteX62" fmla="*/ 2321 w 10001"/>
                <a:gd name="connsiteY62" fmla="*/ 2003 h 10000"/>
                <a:gd name="connsiteX63" fmla="*/ 2477 w 10001"/>
                <a:gd name="connsiteY63" fmla="*/ 2117 h 10000"/>
                <a:gd name="connsiteX64" fmla="*/ 2744 w 10001"/>
                <a:gd name="connsiteY64" fmla="*/ 2117 h 10000"/>
                <a:gd name="connsiteX65" fmla="*/ 3214 w 10001"/>
                <a:gd name="connsiteY65" fmla="*/ 2117 h 10000"/>
                <a:gd name="connsiteX66" fmla="*/ 3387 w 10001"/>
                <a:gd name="connsiteY66" fmla="*/ 2068 h 10000"/>
                <a:gd name="connsiteX67" fmla="*/ 3794 w 10001"/>
                <a:gd name="connsiteY67" fmla="*/ 2117 h 10000"/>
                <a:gd name="connsiteX68" fmla="*/ 4327 w 10001"/>
                <a:gd name="connsiteY68" fmla="*/ 2117 h 10000"/>
                <a:gd name="connsiteX69" fmla="*/ 5111 w 10001"/>
                <a:gd name="connsiteY69" fmla="*/ 2084 h 10000"/>
                <a:gd name="connsiteX70" fmla="*/ 5910 w 10001"/>
                <a:gd name="connsiteY70" fmla="*/ 1784 h 10000"/>
                <a:gd name="connsiteX71" fmla="*/ 5910 w 10001"/>
                <a:gd name="connsiteY71" fmla="*/ 1387 h 10000"/>
                <a:gd name="connsiteX72" fmla="*/ 5597 w 10001"/>
                <a:gd name="connsiteY72" fmla="*/ 1176 h 10000"/>
                <a:gd name="connsiteX73" fmla="*/ 5252 w 10001"/>
                <a:gd name="connsiteY73" fmla="*/ 1030 h 10000"/>
                <a:gd name="connsiteX74" fmla="*/ 4703 w 10001"/>
                <a:gd name="connsiteY74" fmla="*/ 981 h 10000"/>
                <a:gd name="connsiteX75" fmla="*/ 4311 w 10001"/>
                <a:gd name="connsiteY75" fmla="*/ 981 h 10000"/>
                <a:gd name="connsiteX76" fmla="*/ 3919 w 10001"/>
                <a:gd name="connsiteY76" fmla="*/ 981 h 10000"/>
                <a:gd name="connsiteX77" fmla="*/ 3402 w 10001"/>
                <a:gd name="connsiteY77" fmla="*/ 803 h 10000"/>
                <a:gd name="connsiteX78" fmla="*/ 2744 w 10001"/>
                <a:gd name="connsiteY78" fmla="*/ 738 h 10000"/>
                <a:gd name="connsiteX79" fmla="*/ 2305 w 10001"/>
                <a:gd name="connsiteY79" fmla="*/ 762 h 10000"/>
                <a:gd name="connsiteX80" fmla="*/ 1741 w 10001"/>
                <a:gd name="connsiteY80" fmla="*/ 787 h 10000"/>
                <a:gd name="connsiteX81" fmla="*/ 1631 w 10001"/>
                <a:gd name="connsiteY81" fmla="*/ 860 h 10000"/>
                <a:gd name="connsiteX82" fmla="*/ 1525 w 10001"/>
                <a:gd name="connsiteY82" fmla="*/ 709 h 10000"/>
                <a:gd name="connsiteX83" fmla="*/ 1296 w 10001"/>
                <a:gd name="connsiteY83" fmla="*/ 784 h 10000"/>
                <a:gd name="connsiteX84" fmla="*/ 1056 w 10001"/>
                <a:gd name="connsiteY84" fmla="*/ 706 h 10000"/>
                <a:gd name="connsiteX85" fmla="*/ 939 w 10001"/>
                <a:gd name="connsiteY85" fmla="*/ 910 h 10000"/>
                <a:gd name="connsiteX86" fmla="*/ 572 w 10001"/>
                <a:gd name="connsiteY86" fmla="*/ 1154 h 10000"/>
                <a:gd name="connsiteX87" fmla="*/ 520 w 10001"/>
                <a:gd name="connsiteY87" fmla="*/ 1389 h 10000"/>
                <a:gd name="connsiteX88" fmla="*/ 564 w 10001"/>
                <a:gd name="connsiteY88" fmla="*/ 1540 h 10000"/>
                <a:gd name="connsiteX89" fmla="*/ 1 w 10001"/>
                <a:gd name="connsiteY89" fmla="*/ 1679 h 10000"/>
                <a:gd name="connsiteX90" fmla="*/ 462 w 10001"/>
                <a:gd name="connsiteY90" fmla="*/ 1628 h 10000"/>
                <a:gd name="connsiteX91" fmla="*/ 377 w 10001"/>
                <a:gd name="connsiteY91" fmla="*/ 1727 h 10000"/>
                <a:gd name="connsiteX92" fmla="*/ 518 w 10001"/>
                <a:gd name="connsiteY92" fmla="*/ 1800 h 10000"/>
                <a:gd name="connsiteX93" fmla="*/ 800 w 10001"/>
                <a:gd name="connsiteY93" fmla="*/ 1833 h 10000"/>
                <a:gd name="connsiteX94" fmla="*/ 894 w 10001"/>
                <a:gd name="connsiteY94" fmla="*/ 1971 h 10000"/>
                <a:gd name="connsiteX95" fmla="*/ 691 w 10001"/>
                <a:gd name="connsiteY95" fmla="*/ 2376 h 10000"/>
                <a:gd name="connsiteX96" fmla="*/ 894 w 10001"/>
                <a:gd name="connsiteY96" fmla="*/ 2457 h 10000"/>
                <a:gd name="connsiteX97" fmla="*/ 1678 w 10001"/>
                <a:gd name="connsiteY97" fmla="*/ 2879 h 10000"/>
                <a:gd name="connsiteX98" fmla="*/ 1459 w 10001"/>
                <a:gd name="connsiteY98" fmla="*/ 2976 h 10000"/>
                <a:gd name="connsiteX99" fmla="*/ 1459 w 10001"/>
                <a:gd name="connsiteY99" fmla="*/ 3179 h 10000"/>
                <a:gd name="connsiteX100" fmla="*/ 1678 w 10001"/>
                <a:gd name="connsiteY100" fmla="*/ 3220 h 10000"/>
                <a:gd name="connsiteX101" fmla="*/ 1615 w 10001"/>
                <a:gd name="connsiteY101" fmla="*/ 3333 h 10000"/>
                <a:gd name="connsiteX102" fmla="*/ 1788 w 10001"/>
                <a:gd name="connsiteY102" fmla="*/ 3398 h 10000"/>
                <a:gd name="connsiteX103" fmla="*/ 1960 w 10001"/>
                <a:gd name="connsiteY103" fmla="*/ 3366 h 10000"/>
                <a:gd name="connsiteX104" fmla="*/ 1992 w 10001"/>
                <a:gd name="connsiteY104" fmla="*/ 3528 h 10000"/>
                <a:gd name="connsiteX105" fmla="*/ 2133 w 10001"/>
                <a:gd name="connsiteY105" fmla="*/ 3609 h 10000"/>
                <a:gd name="connsiteX106" fmla="*/ 2321 w 10001"/>
                <a:gd name="connsiteY106" fmla="*/ 3577 h 10000"/>
                <a:gd name="connsiteX107" fmla="*/ 2462 w 10001"/>
                <a:gd name="connsiteY107" fmla="*/ 3715 h 10000"/>
                <a:gd name="connsiteX108" fmla="*/ 2336 w 10001"/>
                <a:gd name="connsiteY108" fmla="*/ 3950 h 10000"/>
                <a:gd name="connsiteX109" fmla="*/ 3277 w 10001"/>
                <a:gd name="connsiteY109" fmla="*/ 4193 h 10000"/>
                <a:gd name="connsiteX110" fmla="*/ 3293 w 10001"/>
                <a:gd name="connsiteY110" fmla="*/ 4599 h 10000"/>
                <a:gd name="connsiteX111" fmla="*/ 2807 w 10001"/>
                <a:gd name="connsiteY111" fmla="*/ 5239 h 10000"/>
                <a:gd name="connsiteX112" fmla="*/ 2289 w 10001"/>
                <a:gd name="connsiteY112" fmla="*/ 5677 h 10000"/>
                <a:gd name="connsiteX113" fmla="*/ 2556 w 10001"/>
                <a:gd name="connsiteY113" fmla="*/ 5612 h 10000"/>
                <a:gd name="connsiteX114" fmla="*/ 2619 w 10001"/>
                <a:gd name="connsiteY114" fmla="*/ 5766 h 10000"/>
                <a:gd name="connsiteX115" fmla="*/ 2932 w 10001"/>
                <a:gd name="connsiteY115" fmla="*/ 5839 h 10000"/>
                <a:gd name="connsiteX116" fmla="*/ 3371 w 10001"/>
                <a:gd name="connsiteY116" fmla="*/ 5775 h 10000"/>
                <a:gd name="connsiteX117" fmla="*/ 3794 w 10001"/>
                <a:gd name="connsiteY117" fmla="*/ 5864 h 10000"/>
                <a:gd name="connsiteX118" fmla="*/ 3794 w 10001"/>
                <a:gd name="connsiteY118" fmla="*/ 5994 h 10000"/>
                <a:gd name="connsiteX119" fmla="*/ 3057 w 10001"/>
                <a:gd name="connsiteY119" fmla="*/ 5969 h 10000"/>
                <a:gd name="connsiteX120" fmla="*/ 2932 w 10001"/>
                <a:gd name="connsiteY120" fmla="*/ 6091 h 10000"/>
                <a:gd name="connsiteX121" fmla="*/ 2556 w 10001"/>
                <a:gd name="connsiteY121" fmla="*/ 6172 h 10000"/>
                <a:gd name="connsiteX122" fmla="*/ 2634 w 10001"/>
                <a:gd name="connsiteY122" fmla="*/ 6269 h 10000"/>
                <a:gd name="connsiteX123" fmla="*/ 2713 w 10001"/>
                <a:gd name="connsiteY123" fmla="*/ 6326 h 10000"/>
                <a:gd name="connsiteX124" fmla="*/ 2540 w 10001"/>
                <a:gd name="connsiteY124" fmla="*/ 6415 h 10000"/>
                <a:gd name="connsiteX125" fmla="*/ 2587 w 10001"/>
                <a:gd name="connsiteY125" fmla="*/ 6537 h 10000"/>
                <a:gd name="connsiteX126" fmla="*/ 2399 w 10001"/>
                <a:gd name="connsiteY126" fmla="*/ 6642 h 10000"/>
                <a:gd name="connsiteX127" fmla="*/ 2493 w 10001"/>
                <a:gd name="connsiteY127" fmla="*/ 6788 h 10000"/>
                <a:gd name="connsiteX128" fmla="*/ 2681 w 10001"/>
                <a:gd name="connsiteY128" fmla="*/ 6821 h 10000"/>
                <a:gd name="connsiteX129" fmla="*/ 2603 w 10001"/>
                <a:gd name="connsiteY129" fmla="*/ 6983 h 10000"/>
                <a:gd name="connsiteX130" fmla="*/ 2822 w 10001"/>
                <a:gd name="connsiteY130" fmla="*/ 7015 h 10000"/>
                <a:gd name="connsiteX131" fmla="*/ 2932 w 10001"/>
                <a:gd name="connsiteY131" fmla="*/ 7145 h 10000"/>
                <a:gd name="connsiteX132" fmla="*/ 2807 w 10001"/>
                <a:gd name="connsiteY132" fmla="*/ 7202 h 10000"/>
                <a:gd name="connsiteX133" fmla="*/ 2822 w 10001"/>
                <a:gd name="connsiteY133" fmla="*/ 7299 h 10000"/>
                <a:gd name="connsiteX134" fmla="*/ 2932 w 10001"/>
                <a:gd name="connsiteY134" fmla="*/ 7388 h 10000"/>
                <a:gd name="connsiteX135" fmla="*/ 3293 w 10001"/>
                <a:gd name="connsiteY135" fmla="*/ 7486 h 10000"/>
                <a:gd name="connsiteX136" fmla="*/ 3167 w 10001"/>
                <a:gd name="connsiteY136" fmla="*/ 7575 h 10000"/>
                <a:gd name="connsiteX137" fmla="*/ 3293 w 10001"/>
                <a:gd name="connsiteY137" fmla="*/ 7737 h 10000"/>
                <a:gd name="connsiteX138" fmla="*/ 3418 w 10001"/>
                <a:gd name="connsiteY138" fmla="*/ 7737 h 10000"/>
                <a:gd name="connsiteX139" fmla="*/ 3512 w 10001"/>
                <a:gd name="connsiteY139" fmla="*/ 7810 h 10000"/>
                <a:gd name="connsiteX140" fmla="*/ 3794 w 10001"/>
                <a:gd name="connsiteY140" fmla="*/ 7908 h 10000"/>
                <a:gd name="connsiteX141" fmla="*/ 3794 w 10001"/>
                <a:gd name="connsiteY141" fmla="*/ 7997 h 10000"/>
                <a:gd name="connsiteX142" fmla="*/ 4076 w 10001"/>
                <a:gd name="connsiteY142" fmla="*/ 7972 h 10000"/>
                <a:gd name="connsiteX143" fmla="*/ 4578 w 10001"/>
                <a:gd name="connsiteY143" fmla="*/ 7972 h 10000"/>
                <a:gd name="connsiteX144" fmla="*/ 4719 w 10001"/>
                <a:gd name="connsiteY144" fmla="*/ 8167 h 10000"/>
                <a:gd name="connsiteX145" fmla="*/ 5142 w 10001"/>
                <a:gd name="connsiteY145" fmla="*/ 7972 h 10000"/>
                <a:gd name="connsiteX146" fmla="*/ 5722 w 10001"/>
                <a:gd name="connsiteY146" fmla="*/ 8078 h 10000"/>
                <a:gd name="connsiteX147" fmla="*/ 5847 w 10001"/>
                <a:gd name="connsiteY147" fmla="*/ 8289 h 10000"/>
                <a:gd name="connsiteX148" fmla="*/ 5847 w 10001"/>
                <a:gd name="connsiteY148" fmla="*/ 8467 h 10000"/>
                <a:gd name="connsiteX149" fmla="*/ 6114 w 10001"/>
                <a:gd name="connsiteY149" fmla="*/ 8483 h 10000"/>
                <a:gd name="connsiteX150" fmla="*/ 6224 w 10001"/>
                <a:gd name="connsiteY150" fmla="*/ 8581 h 10000"/>
                <a:gd name="connsiteX151" fmla="*/ 6537 w 10001"/>
                <a:gd name="connsiteY151" fmla="*/ 8710 h 10000"/>
                <a:gd name="connsiteX152" fmla="*/ 6913 w 10001"/>
                <a:gd name="connsiteY152" fmla="*/ 8759 h 10000"/>
                <a:gd name="connsiteX153" fmla="*/ 6929 w 10001"/>
                <a:gd name="connsiteY153" fmla="*/ 8889 h 10000"/>
                <a:gd name="connsiteX154" fmla="*/ 7368 w 10001"/>
                <a:gd name="connsiteY154" fmla="*/ 8856 h 10000"/>
                <a:gd name="connsiteX155" fmla="*/ 7697 w 10001"/>
                <a:gd name="connsiteY155" fmla="*/ 9027 h 10000"/>
                <a:gd name="connsiteX156" fmla="*/ 7587 w 10001"/>
                <a:gd name="connsiteY156" fmla="*/ 9238 h 10000"/>
                <a:gd name="connsiteX157" fmla="*/ 6913 w 10001"/>
                <a:gd name="connsiteY157" fmla="*/ 9238 h 10000"/>
                <a:gd name="connsiteX158" fmla="*/ 6804 w 10001"/>
                <a:gd name="connsiteY158" fmla="*/ 9343 h 10000"/>
                <a:gd name="connsiteX159" fmla="*/ 7133 w 10001"/>
                <a:gd name="connsiteY159" fmla="*/ 9424 h 10000"/>
                <a:gd name="connsiteX160" fmla="*/ 7180 w 10001"/>
                <a:gd name="connsiteY160" fmla="*/ 9594 h 10000"/>
                <a:gd name="connsiteX161" fmla="*/ 7462 w 10001"/>
                <a:gd name="connsiteY161" fmla="*/ 9805 h 10000"/>
                <a:gd name="connsiteX162" fmla="*/ 7838 w 10001"/>
                <a:gd name="connsiteY162" fmla="*/ 9813 h 10000"/>
                <a:gd name="connsiteX163" fmla="*/ 7854 w 10001"/>
                <a:gd name="connsiteY163" fmla="*/ 9659 h 10000"/>
                <a:gd name="connsiteX164" fmla="*/ 8465 w 10001"/>
                <a:gd name="connsiteY164" fmla="*/ 9521 h 10000"/>
                <a:gd name="connsiteX165" fmla="*/ 9061 w 10001"/>
                <a:gd name="connsiteY165" fmla="*/ 9521 h 10000"/>
                <a:gd name="connsiteX166" fmla="*/ 9546 w 10001"/>
                <a:gd name="connsiteY166" fmla="*/ 9659 h 10000"/>
                <a:gd name="connsiteX167" fmla="*/ 9280 w 10001"/>
                <a:gd name="connsiteY167" fmla="*/ 9789 h 10000"/>
                <a:gd name="connsiteX168" fmla="*/ 9625 w 10001"/>
                <a:gd name="connsiteY168" fmla="*/ 10000 h 10000"/>
                <a:gd name="connsiteX169" fmla="*/ 10001 w 10001"/>
                <a:gd name="connsiteY169" fmla="*/ 9951 h 10000"/>
                <a:gd name="connsiteX170" fmla="*/ 10001 w 10001"/>
                <a:gd name="connsiteY170" fmla="*/ 0 h 10000"/>
                <a:gd name="connsiteX171" fmla="*/ 8434 w 10001"/>
                <a:gd name="connsiteY171" fmla="*/ 0 h 10000"/>
                <a:gd name="connsiteX0" fmla="*/ 8434 w 10001"/>
                <a:gd name="connsiteY0" fmla="*/ 0 h 10000"/>
                <a:gd name="connsiteX1" fmla="*/ 8434 w 10001"/>
                <a:gd name="connsiteY1" fmla="*/ 97 h 10000"/>
                <a:gd name="connsiteX2" fmla="*/ 8104 w 10001"/>
                <a:gd name="connsiteY2" fmla="*/ 357 h 10000"/>
                <a:gd name="connsiteX3" fmla="*/ 8434 w 10001"/>
                <a:gd name="connsiteY3" fmla="*/ 697 h 10000"/>
                <a:gd name="connsiteX4" fmla="*/ 7822 w 10001"/>
                <a:gd name="connsiteY4" fmla="*/ 981 h 10000"/>
                <a:gd name="connsiteX5" fmla="*/ 7728 w 10001"/>
                <a:gd name="connsiteY5" fmla="*/ 803 h 10000"/>
                <a:gd name="connsiteX6" fmla="*/ 7195 w 10001"/>
                <a:gd name="connsiteY6" fmla="*/ 803 h 10000"/>
                <a:gd name="connsiteX7" fmla="*/ 7039 w 10001"/>
                <a:gd name="connsiteY7" fmla="*/ 584 h 10000"/>
                <a:gd name="connsiteX8" fmla="*/ 7493 w 10001"/>
                <a:gd name="connsiteY8" fmla="*/ 397 h 10000"/>
                <a:gd name="connsiteX9" fmla="*/ 7054 w 10001"/>
                <a:gd name="connsiteY9" fmla="*/ 276 h 10000"/>
                <a:gd name="connsiteX10" fmla="*/ 6882 w 10001"/>
                <a:gd name="connsiteY10" fmla="*/ 187 h 10000"/>
                <a:gd name="connsiteX11" fmla="*/ 6568 w 10001"/>
                <a:gd name="connsiteY11" fmla="*/ 187 h 10000"/>
                <a:gd name="connsiteX12" fmla="*/ 6271 w 10001"/>
                <a:gd name="connsiteY12" fmla="*/ 341 h 10000"/>
                <a:gd name="connsiteX13" fmla="*/ 5800 w 10001"/>
                <a:gd name="connsiteY13" fmla="*/ 397 h 10000"/>
                <a:gd name="connsiteX14" fmla="*/ 6365 w 10001"/>
                <a:gd name="connsiteY14" fmla="*/ 479 h 10000"/>
                <a:gd name="connsiteX15" fmla="*/ 6584 w 10001"/>
                <a:gd name="connsiteY15" fmla="*/ 738 h 10000"/>
                <a:gd name="connsiteX16" fmla="*/ 6678 w 10001"/>
                <a:gd name="connsiteY16" fmla="*/ 981 h 10000"/>
                <a:gd name="connsiteX17" fmla="*/ 6835 w 10001"/>
                <a:gd name="connsiteY17" fmla="*/ 981 h 10000"/>
                <a:gd name="connsiteX18" fmla="*/ 7242 w 10001"/>
                <a:gd name="connsiteY18" fmla="*/ 981 h 10000"/>
                <a:gd name="connsiteX19" fmla="*/ 7274 w 10001"/>
                <a:gd name="connsiteY19" fmla="*/ 1103 h 10000"/>
                <a:gd name="connsiteX20" fmla="*/ 7477 w 10001"/>
                <a:gd name="connsiteY20" fmla="*/ 1160 h 10000"/>
                <a:gd name="connsiteX21" fmla="*/ 7493 w 10001"/>
                <a:gd name="connsiteY21" fmla="*/ 1371 h 10000"/>
                <a:gd name="connsiteX22" fmla="*/ 7650 w 10001"/>
                <a:gd name="connsiteY22" fmla="*/ 1590 h 10000"/>
                <a:gd name="connsiteX23" fmla="*/ 7180 w 10001"/>
                <a:gd name="connsiteY23" fmla="*/ 1444 h 10000"/>
                <a:gd name="connsiteX24" fmla="*/ 6851 w 10001"/>
                <a:gd name="connsiteY24" fmla="*/ 1484 h 10000"/>
                <a:gd name="connsiteX25" fmla="*/ 6568 w 10001"/>
                <a:gd name="connsiteY25" fmla="*/ 1484 h 10000"/>
                <a:gd name="connsiteX26" fmla="*/ 6365 w 10001"/>
                <a:gd name="connsiteY26" fmla="*/ 1825 h 10000"/>
                <a:gd name="connsiteX27" fmla="*/ 6239 w 10001"/>
                <a:gd name="connsiteY27" fmla="*/ 2028 h 10000"/>
                <a:gd name="connsiteX28" fmla="*/ 6177 w 10001"/>
                <a:gd name="connsiteY28" fmla="*/ 2271 h 10000"/>
                <a:gd name="connsiteX29" fmla="*/ 6568 w 10001"/>
                <a:gd name="connsiteY29" fmla="*/ 2401 h 10000"/>
                <a:gd name="connsiteX30" fmla="*/ 6945 w 10001"/>
                <a:gd name="connsiteY30" fmla="*/ 2595 h 10000"/>
                <a:gd name="connsiteX31" fmla="*/ 6537 w 10001"/>
                <a:gd name="connsiteY31" fmla="*/ 2798 h 10000"/>
                <a:gd name="connsiteX32" fmla="*/ 6349 w 10001"/>
                <a:gd name="connsiteY32" fmla="*/ 2701 h 10000"/>
                <a:gd name="connsiteX33" fmla="*/ 6114 w 10001"/>
                <a:gd name="connsiteY33" fmla="*/ 2660 h 10000"/>
                <a:gd name="connsiteX34" fmla="*/ 5628 w 10001"/>
                <a:gd name="connsiteY34" fmla="*/ 2749 h 10000"/>
                <a:gd name="connsiteX35" fmla="*/ 5142 w 10001"/>
                <a:gd name="connsiteY35" fmla="*/ 2595 h 10000"/>
                <a:gd name="connsiteX36" fmla="*/ 4891 w 10001"/>
                <a:gd name="connsiteY36" fmla="*/ 2603 h 10000"/>
                <a:gd name="connsiteX37" fmla="*/ 5032 w 10001"/>
                <a:gd name="connsiteY37" fmla="*/ 2733 h 10000"/>
                <a:gd name="connsiteX38" fmla="*/ 4985 w 10001"/>
                <a:gd name="connsiteY38" fmla="*/ 2822 h 10000"/>
                <a:gd name="connsiteX39" fmla="*/ 5487 w 10001"/>
                <a:gd name="connsiteY39" fmla="*/ 3025 h 10000"/>
                <a:gd name="connsiteX40" fmla="*/ 5753 w 10001"/>
                <a:gd name="connsiteY40" fmla="*/ 2928 h 10000"/>
                <a:gd name="connsiteX41" fmla="*/ 6114 w 10001"/>
                <a:gd name="connsiteY41" fmla="*/ 3114 h 10000"/>
                <a:gd name="connsiteX42" fmla="*/ 5910 w 10001"/>
                <a:gd name="connsiteY42" fmla="*/ 3317 h 10000"/>
                <a:gd name="connsiteX43" fmla="*/ 5612 w 10001"/>
                <a:gd name="connsiteY43" fmla="*/ 3317 h 10000"/>
                <a:gd name="connsiteX44" fmla="*/ 5048 w 10001"/>
                <a:gd name="connsiteY44" fmla="*/ 3268 h 10000"/>
                <a:gd name="connsiteX45" fmla="*/ 5001 w 10001"/>
                <a:gd name="connsiteY45" fmla="*/ 3139 h 10000"/>
                <a:gd name="connsiteX46" fmla="*/ 4703 w 10001"/>
                <a:gd name="connsiteY46" fmla="*/ 3147 h 10000"/>
                <a:gd name="connsiteX47" fmla="*/ 4531 w 10001"/>
                <a:gd name="connsiteY47" fmla="*/ 3268 h 10000"/>
                <a:gd name="connsiteX48" fmla="*/ 4233 w 10001"/>
                <a:gd name="connsiteY48" fmla="*/ 3187 h 10000"/>
                <a:gd name="connsiteX49" fmla="*/ 4296 w 10001"/>
                <a:gd name="connsiteY49" fmla="*/ 3017 h 10000"/>
                <a:gd name="connsiteX50" fmla="*/ 3872 w 10001"/>
                <a:gd name="connsiteY50" fmla="*/ 2863 h 10000"/>
                <a:gd name="connsiteX51" fmla="*/ 3794 w 10001"/>
                <a:gd name="connsiteY51" fmla="*/ 2863 h 10000"/>
                <a:gd name="connsiteX52" fmla="*/ 3637 w 10001"/>
                <a:gd name="connsiteY52" fmla="*/ 2741 h 10000"/>
                <a:gd name="connsiteX53" fmla="*/ 3794 w 10001"/>
                <a:gd name="connsiteY53" fmla="*/ 2636 h 10000"/>
                <a:gd name="connsiteX54" fmla="*/ 3528 w 10001"/>
                <a:gd name="connsiteY54" fmla="*/ 2433 h 10000"/>
                <a:gd name="connsiteX55" fmla="*/ 3198 w 10001"/>
                <a:gd name="connsiteY55" fmla="*/ 2384 h 10000"/>
                <a:gd name="connsiteX56" fmla="*/ 2932 w 10001"/>
                <a:gd name="connsiteY56" fmla="*/ 2336 h 10000"/>
                <a:gd name="connsiteX57" fmla="*/ 2822 w 10001"/>
                <a:gd name="connsiteY57" fmla="*/ 2247 h 10000"/>
                <a:gd name="connsiteX58" fmla="*/ 2242 w 10001"/>
                <a:gd name="connsiteY58" fmla="*/ 2190 h 10000"/>
                <a:gd name="connsiteX59" fmla="*/ 2101 w 10001"/>
                <a:gd name="connsiteY59" fmla="*/ 2117 h 10000"/>
                <a:gd name="connsiteX60" fmla="*/ 1851 w 10001"/>
                <a:gd name="connsiteY60" fmla="*/ 2060 h 10000"/>
                <a:gd name="connsiteX61" fmla="*/ 2007 w 10001"/>
                <a:gd name="connsiteY61" fmla="*/ 1979 h 10000"/>
                <a:gd name="connsiteX62" fmla="*/ 2321 w 10001"/>
                <a:gd name="connsiteY62" fmla="*/ 2003 h 10000"/>
                <a:gd name="connsiteX63" fmla="*/ 2477 w 10001"/>
                <a:gd name="connsiteY63" fmla="*/ 2117 h 10000"/>
                <a:gd name="connsiteX64" fmla="*/ 2744 w 10001"/>
                <a:gd name="connsiteY64" fmla="*/ 2117 h 10000"/>
                <a:gd name="connsiteX65" fmla="*/ 3214 w 10001"/>
                <a:gd name="connsiteY65" fmla="*/ 2117 h 10000"/>
                <a:gd name="connsiteX66" fmla="*/ 3387 w 10001"/>
                <a:gd name="connsiteY66" fmla="*/ 2068 h 10000"/>
                <a:gd name="connsiteX67" fmla="*/ 3794 w 10001"/>
                <a:gd name="connsiteY67" fmla="*/ 2117 h 10000"/>
                <a:gd name="connsiteX68" fmla="*/ 4327 w 10001"/>
                <a:gd name="connsiteY68" fmla="*/ 2117 h 10000"/>
                <a:gd name="connsiteX69" fmla="*/ 5111 w 10001"/>
                <a:gd name="connsiteY69" fmla="*/ 2084 h 10000"/>
                <a:gd name="connsiteX70" fmla="*/ 5910 w 10001"/>
                <a:gd name="connsiteY70" fmla="*/ 1784 h 10000"/>
                <a:gd name="connsiteX71" fmla="*/ 5910 w 10001"/>
                <a:gd name="connsiteY71" fmla="*/ 1387 h 10000"/>
                <a:gd name="connsiteX72" fmla="*/ 5597 w 10001"/>
                <a:gd name="connsiteY72" fmla="*/ 1176 h 10000"/>
                <a:gd name="connsiteX73" fmla="*/ 5252 w 10001"/>
                <a:gd name="connsiteY73" fmla="*/ 1030 h 10000"/>
                <a:gd name="connsiteX74" fmla="*/ 4703 w 10001"/>
                <a:gd name="connsiteY74" fmla="*/ 981 h 10000"/>
                <a:gd name="connsiteX75" fmla="*/ 4311 w 10001"/>
                <a:gd name="connsiteY75" fmla="*/ 981 h 10000"/>
                <a:gd name="connsiteX76" fmla="*/ 3919 w 10001"/>
                <a:gd name="connsiteY76" fmla="*/ 981 h 10000"/>
                <a:gd name="connsiteX77" fmla="*/ 3402 w 10001"/>
                <a:gd name="connsiteY77" fmla="*/ 803 h 10000"/>
                <a:gd name="connsiteX78" fmla="*/ 2744 w 10001"/>
                <a:gd name="connsiteY78" fmla="*/ 738 h 10000"/>
                <a:gd name="connsiteX79" fmla="*/ 2305 w 10001"/>
                <a:gd name="connsiteY79" fmla="*/ 762 h 10000"/>
                <a:gd name="connsiteX80" fmla="*/ 1741 w 10001"/>
                <a:gd name="connsiteY80" fmla="*/ 787 h 10000"/>
                <a:gd name="connsiteX81" fmla="*/ 1631 w 10001"/>
                <a:gd name="connsiteY81" fmla="*/ 860 h 10000"/>
                <a:gd name="connsiteX82" fmla="*/ 1525 w 10001"/>
                <a:gd name="connsiteY82" fmla="*/ 709 h 10000"/>
                <a:gd name="connsiteX83" fmla="*/ 1296 w 10001"/>
                <a:gd name="connsiteY83" fmla="*/ 784 h 10000"/>
                <a:gd name="connsiteX84" fmla="*/ 1056 w 10001"/>
                <a:gd name="connsiteY84" fmla="*/ 706 h 10000"/>
                <a:gd name="connsiteX85" fmla="*/ 939 w 10001"/>
                <a:gd name="connsiteY85" fmla="*/ 910 h 10000"/>
                <a:gd name="connsiteX86" fmla="*/ 572 w 10001"/>
                <a:gd name="connsiteY86" fmla="*/ 1154 h 10000"/>
                <a:gd name="connsiteX87" fmla="*/ 520 w 10001"/>
                <a:gd name="connsiteY87" fmla="*/ 1389 h 10000"/>
                <a:gd name="connsiteX88" fmla="*/ 564 w 10001"/>
                <a:gd name="connsiteY88" fmla="*/ 1540 h 10000"/>
                <a:gd name="connsiteX89" fmla="*/ 1 w 10001"/>
                <a:gd name="connsiteY89" fmla="*/ 1679 h 10000"/>
                <a:gd name="connsiteX90" fmla="*/ 462 w 10001"/>
                <a:gd name="connsiteY90" fmla="*/ 1628 h 10000"/>
                <a:gd name="connsiteX91" fmla="*/ 377 w 10001"/>
                <a:gd name="connsiteY91" fmla="*/ 1727 h 10000"/>
                <a:gd name="connsiteX92" fmla="*/ 518 w 10001"/>
                <a:gd name="connsiteY92" fmla="*/ 1800 h 10000"/>
                <a:gd name="connsiteX93" fmla="*/ 800 w 10001"/>
                <a:gd name="connsiteY93" fmla="*/ 1833 h 10000"/>
                <a:gd name="connsiteX94" fmla="*/ 894 w 10001"/>
                <a:gd name="connsiteY94" fmla="*/ 1971 h 10000"/>
                <a:gd name="connsiteX95" fmla="*/ 691 w 10001"/>
                <a:gd name="connsiteY95" fmla="*/ 2376 h 10000"/>
                <a:gd name="connsiteX96" fmla="*/ 894 w 10001"/>
                <a:gd name="connsiteY96" fmla="*/ 2457 h 10000"/>
                <a:gd name="connsiteX97" fmla="*/ 1678 w 10001"/>
                <a:gd name="connsiteY97" fmla="*/ 2879 h 10000"/>
                <a:gd name="connsiteX98" fmla="*/ 1459 w 10001"/>
                <a:gd name="connsiteY98" fmla="*/ 2976 h 10000"/>
                <a:gd name="connsiteX99" fmla="*/ 1459 w 10001"/>
                <a:gd name="connsiteY99" fmla="*/ 3179 h 10000"/>
                <a:gd name="connsiteX100" fmla="*/ 1678 w 10001"/>
                <a:gd name="connsiteY100" fmla="*/ 3220 h 10000"/>
                <a:gd name="connsiteX101" fmla="*/ 1615 w 10001"/>
                <a:gd name="connsiteY101" fmla="*/ 3333 h 10000"/>
                <a:gd name="connsiteX102" fmla="*/ 1788 w 10001"/>
                <a:gd name="connsiteY102" fmla="*/ 3398 h 10000"/>
                <a:gd name="connsiteX103" fmla="*/ 1960 w 10001"/>
                <a:gd name="connsiteY103" fmla="*/ 3366 h 10000"/>
                <a:gd name="connsiteX104" fmla="*/ 1992 w 10001"/>
                <a:gd name="connsiteY104" fmla="*/ 3528 h 10000"/>
                <a:gd name="connsiteX105" fmla="*/ 2133 w 10001"/>
                <a:gd name="connsiteY105" fmla="*/ 3609 h 10000"/>
                <a:gd name="connsiteX106" fmla="*/ 2321 w 10001"/>
                <a:gd name="connsiteY106" fmla="*/ 3577 h 10000"/>
                <a:gd name="connsiteX107" fmla="*/ 2462 w 10001"/>
                <a:gd name="connsiteY107" fmla="*/ 3715 h 10000"/>
                <a:gd name="connsiteX108" fmla="*/ 2336 w 10001"/>
                <a:gd name="connsiteY108" fmla="*/ 3950 h 10000"/>
                <a:gd name="connsiteX109" fmla="*/ 3277 w 10001"/>
                <a:gd name="connsiteY109" fmla="*/ 4193 h 10000"/>
                <a:gd name="connsiteX110" fmla="*/ 3293 w 10001"/>
                <a:gd name="connsiteY110" fmla="*/ 4599 h 10000"/>
                <a:gd name="connsiteX111" fmla="*/ 2807 w 10001"/>
                <a:gd name="connsiteY111" fmla="*/ 5239 h 10000"/>
                <a:gd name="connsiteX112" fmla="*/ 2289 w 10001"/>
                <a:gd name="connsiteY112" fmla="*/ 5677 h 10000"/>
                <a:gd name="connsiteX113" fmla="*/ 2556 w 10001"/>
                <a:gd name="connsiteY113" fmla="*/ 5612 h 10000"/>
                <a:gd name="connsiteX114" fmla="*/ 2619 w 10001"/>
                <a:gd name="connsiteY114" fmla="*/ 5766 h 10000"/>
                <a:gd name="connsiteX115" fmla="*/ 2932 w 10001"/>
                <a:gd name="connsiteY115" fmla="*/ 5839 h 10000"/>
                <a:gd name="connsiteX116" fmla="*/ 3371 w 10001"/>
                <a:gd name="connsiteY116" fmla="*/ 5775 h 10000"/>
                <a:gd name="connsiteX117" fmla="*/ 3794 w 10001"/>
                <a:gd name="connsiteY117" fmla="*/ 5864 h 10000"/>
                <a:gd name="connsiteX118" fmla="*/ 3794 w 10001"/>
                <a:gd name="connsiteY118" fmla="*/ 5994 h 10000"/>
                <a:gd name="connsiteX119" fmla="*/ 3057 w 10001"/>
                <a:gd name="connsiteY119" fmla="*/ 5969 h 10000"/>
                <a:gd name="connsiteX120" fmla="*/ 2932 w 10001"/>
                <a:gd name="connsiteY120" fmla="*/ 6091 h 10000"/>
                <a:gd name="connsiteX121" fmla="*/ 2556 w 10001"/>
                <a:gd name="connsiteY121" fmla="*/ 6172 h 10000"/>
                <a:gd name="connsiteX122" fmla="*/ 2634 w 10001"/>
                <a:gd name="connsiteY122" fmla="*/ 6269 h 10000"/>
                <a:gd name="connsiteX123" fmla="*/ 2713 w 10001"/>
                <a:gd name="connsiteY123" fmla="*/ 6326 h 10000"/>
                <a:gd name="connsiteX124" fmla="*/ 2540 w 10001"/>
                <a:gd name="connsiteY124" fmla="*/ 6415 h 10000"/>
                <a:gd name="connsiteX125" fmla="*/ 2587 w 10001"/>
                <a:gd name="connsiteY125" fmla="*/ 6537 h 10000"/>
                <a:gd name="connsiteX126" fmla="*/ 2399 w 10001"/>
                <a:gd name="connsiteY126" fmla="*/ 6642 h 10000"/>
                <a:gd name="connsiteX127" fmla="*/ 2493 w 10001"/>
                <a:gd name="connsiteY127" fmla="*/ 6788 h 10000"/>
                <a:gd name="connsiteX128" fmla="*/ 2681 w 10001"/>
                <a:gd name="connsiteY128" fmla="*/ 6821 h 10000"/>
                <a:gd name="connsiteX129" fmla="*/ 2603 w 10001"/>
                <a:gd name="connsiteY129" fmla="*/ 6983 h 10000"/>
                <a:gd name="connsiteX130" fmla="*/ 2822 w 10001"/>
                <a:gd name="connsiteY130" fmla="*/ 7015 h 10000"/>
                <a:gd name="connsiteX131" fmla="*/ 2932 w 10001"/>
                <a:gd name="connsiteY131" fmla="*/ 7145 h 10000"/>
                <a:gd name="connsiteX132" fmla="*/ 2807 w 10001"/>
                <a:gd name="connsiteY132" fmla="*/ 7202 h 10000"/>
                <a:gd name="connsiteX133" fmla="*/ 2822 w 10001"/>
                <a:gd name="connsiteY133" fmla="*/ 7299 h 10000"/>
                <a:gd name="connsiteX134" fmla="*/ 2932 w 10001"/>
                <a:gd name="connsiteY134" fmla="*/ 7388 h 10000"/>
                <a:gd name="connsiteX135" fmla="*/ 3293 w 10001"/>
                <a:gd name="connsiteY135" fmla="*/ 7486 h 10000"/>
                <a:gd name="connsiteX136" fmla="*/ 3167 w 10001"/>
                <a:gd name="connsiteY136" fmla="*/ 7575 h 10000"/>
                <a:gd name="connsiteX137" fmla="*/ 3293 w 10001"/>
                <a:gd name="connsiteY137" fmla="*/ 7737 h 10000"/>
                <a:gd name="connsiteX138" fmla="*/ 3418 w 10001"/>
                <a:gd name="connsiteY138" fmla="*/ 7737 h 10000"/>
                <a:gd name="connsiteX139" fmla="*/ 3512 w 10001"/>
                <a:gd name="connsiteY139" fmla="*/ 7810 h 10000"/>
                <a:gd name="connsiteX140" fmla="*/ 3794 w 10001"/>
                <a:gd name="connsiteY140" fmla="*/ 7908 h 10000"/>
                <a:gd name="connsiteX141" fmla="*/ 3794 w 10001"/>
                <a:gd name="connsiteY141" fmla="*/ 7997 h 10000"/>
                <a:gd name="connsiteX142" fmla="*/ 4076 w 10001"/>
                <a:gd name="connsiteY142" fmla="*/ 7972 h 10000"/>
                <a:gd name="connsiteX143" fmla="*/ 4578 w 10001"/>
                <a:gd name="connsiteY143" fmla="*/ 7972 h 10000"/>
                <a:gd name="connsiteX144" fmla="*/ 4719 w 10001"/>
                <a:gd name="connsiteY144" fmla="*/ 8167 h 10000"/>
                <a:gd name="connsiteX145" fmla="*/ 5142 w 10001"/>
                <a:gd name="connsiteY145" fmla="*/ 7972 h 10000"/>
                <a:gd name="connsiteX146" fmla="*/ 5722 w 10001"/>
                <a:gd name="connsiteY146" fmla="*/ 8078 h 10000"/>
                <a:gd name="connsiteX147" fmla="*/ 5847 w 10001"/>
                <a:gd name="connsiteY147" fmla="*/ 8289 h 10000"/>
                <a:gd name="connsiteX148" fmla="*/ 5847 w 10001"/>
                <a:gd name="connsiteY148" fmla="*/ 8467 h 10000"/>
                <a:gd name="connsiteX149" fmla="*/ 6114 w 10001"/>
                <a:gd name="connsiteY149" fmla="*/ 8483 h 10000"/>
                <a:gd name="connsiteX150" fmla="*/ 6224 w 10001"/>
                <a:gd name="connsiteY150" fmla="*/ 8581 h 10000"/>
                <a:gd name="connsiteX151" fmla="*/ 6537 w 10001"/>
                <a:gd name="connsiteY151" fmla="*/ 8710 h 10000"/>
                <a:gd name="connsiteX152" fmla="*/ 6913 w 10001"/>
                <a:gd name="connsiteY152" fmla="*/ 8759 h 10000"/>
                <a:gd name="connsiteX153" fmla="*/ 6929 w 10001"/>
                <a:gd name="connsiteY153" fmla="*/ 8889 h 10000"/>
                <a:gd name="connsiteX154" fmla="*/ 7368 w 10001"/>
                <a:gd name="connsiteY154" fmla="*/ 8856 h 10000"/>
                <a:gd name="connsiteX155" fmla="*/ 7697 w 10001"/>
                <a:gd name="connsiteY155" fmla="*/ 9027 h 10000"/>
                <a:gd name="connsiteX156" fmla="*/ 7587 w 10001"/>
                <a:gd name="connsiteY156" fmla="*/ 9238 h 10000"/>
                <a:gd name="connsiteX157" fmla="*/ 6913 w 10001"/>
                <a:gd name="connsiteY157" fmla="*/ 9238 h 10000"/>
                <a:gd name="connsiteX158" fmla="*/ 6804 w 10001"/>
                <a:gd name="connsiteY158" fmla="*/ 9343 h 10000"/>
                <a:gd name="connsiteX159" fmla="*/ 7133 w 10001"/>
                <a:gd name="connsiteY159" fmla="*/ 9424 h 10000"/>
                <a:gd name="connsiteX160" fmla="*/ 7180 w 10001"/>
                <a:gd name="connsiteY160" fmla="*/ 9594 h 10000"/>
                <a:gd name="connsiteX161" fmla="*/ 7462 w 10001"/>
                <a:gd name="connsiteY161" fmla="*/ 9805 h 10000"/>
                <a:gd name="connsiteX162" fmla="*/ 7838 w 10001"/>
                <a:gd name="connsiteY162" fmla="*/ 9813 h 10000"/>
                <a:gd name="connsiteX163" fmla="*/ 7854 w 10001"/>
                <a:gd name="connsiteY163" fmla="*/ 9659 h 10000"/>
                <a:gd name="connsiteX164" fmla="*/ 8465 w 10001"/>
                <a:gd name="connsiteY164" fmla="*/ 9521 h 10000"/>
                <a:gd name="connsiteX165" fmla="*/ 9061 w 10001"/>
                <a:gd name="connsiteY165" fmla="*/ 9521 h 10000"/>
                <a:gd name="connsiteX166" fmla="*/ 9546 w 10001"/>
                <a:gd name="connsiteY166" fmla="*/ 9659 h 10000"/>
                <a:gd name="connsiteX167" fmla="*/ 9280 w 10001"/>
                <a:gd name="connsiteY167" fmla="*/ 9789 h 10000"/>
                <a:gd name="connsiteX168" fmla="*/ 9625 w 10001"/>
                <a:gd name="connsiteY168" fmla="*/ 10000 h 10000"/>
                <a:gd name="connsiteX169" fmla="*/ 10001 w 10001"/>
                <a:gd name="connsiteY169" fmla="*/ 9951 h 10000"/>
                <a:gd name="connsiteX170" fmla="*/ 10001 w 10001"/>
                <a:gd name="connsiteY170" fmla="*/ 0 h 10000"/>
                <a:gd name="connsiteX171" fmla="*/ 8434 w 10001"/>
                <a:gd name="connsiteY171" fmla="*/ 0 h 10000"/>
                <a:gd name="connsiteX0" fmla="*/ 8058 w 9625"/>
                <a:gd name="connsiteY0" fmla="*/ 0 h 10000"/>
                <a:gd name="connsiteX1" fmla="*/ 8058 w 9625"/>
                <a:gd name="connsiteY1" fmla="*/ 97 h 10000"/>
                <a:gd name="connsiteX2" fmla="*/ 7728 w 9625"/>
                <a:gd name="connsiteY2" fmla="*/ 357 h 10000"/>
                <a:gd name="connsiteX3" fmla="*/ 8058 w 9625"/>
                <a:gd name="connsiteY3" fmla="*/ 697 h 10000"/>
                <a:gd name="connsiteX4" fmla="*/ 7446 w 9625"/>
                <a:gd name="connsiteY4" fmla="*/ 981 h 10000"/>
                <a:gd name="connsiteX5" fmla="*/ 7352 w 9625"/>
                <a:gd name="connsiteY5" fmla="*/ 803 h 10000"/>
                <a:gd name="connsiteX6" fmla="*/ 6819 w 9625"/>
                <a:gd name="connsiteY6" fmla="*/ 803 h 10000"/>
                <a:gd name="connsiteX7" fmla="*/ 6663 w 9625"/>
                <a:gd name="connsiteY7" fmla="*/ 584 h 10000"/>
                <a:gd name="connsiteX8" fmla="*/ 7117 w 9625"/>
                <a:gd name="connsiteY8" fmla="*/ 397 h 10000"/>
                <a:gd name="connsiteX9" fmla="*/ 6678 w 9625"/>
                <a:gd name="connsiteY9" fmla="*/ 276 h 10000"/>
                <a:gd name="connsiteX10" fmla="*/ 6506 w 9625"/>
                <a:gd name="connsiteY10" fmla="*/ 187 h 10000"/>
                <a:gd name="connsiteX11" fmla="*/ 6192 w 9625"/>
                <a:gd name="connsiteY11" fmla="*/ 187 h 10000"/>
                <a:gd name="connsiteX12" fmla="*/ 5895 w 9625"/>
                <a:gd name="connsiteY12" fmla="*/ 341 h 10000"/>
                <a:gd name="connsiteX13" fmla="*/ 5424 w 9625"/>
                <a:gd name="connsiteY13" fmla="*/ 397 h 10000"/>
                <a:gd name="connsiteX14" fmla="*/ 5989 w 9625"/>
                <a:gd name="connsiteY14" fmla="*/ 479 h 10000"/>
                <a:gd name="connsiteX15" fmla="*/ 6208 w 9625"/>
                <a:gd name="connsiteY15" fmla="*/ 738 h 10000"/>
                <a:gd name="connsiteX16" fmla="*/ 6302 w 9625"/>
                <a:gd name="connsiteY16" fmla="*/ 981 h 10000"/>
                <a:gd name="connsiteX17" fmla="*/ 6459 w 9625"/>
                <a:gd name="connsiteY17" fmla="*/ 981 h 10000"/>
                <a:gd name="connsiteX18" fmla="*/ 6866 w 9625"/>
                <a:gd name="connsiteY18" fmla="*/ 981 h 10000"/>
                <a:gd name="connsiteX19" fmla="*/ 6898 w 9625"/>
                <a:gd name="connsiteY19" fmla="*/ 1103 h 10000"/>
                <a:gd name="connsiteX20" fmla="*/ 7101 w 9625"/>
                <a:gd name="connsiteY20" fmla="*/ 1160 h 10000"/>
                <a:gd name="connsiteX21" fmla="*/ 7117 w 9625"/>
                <a:gd name="connsiteY21" fmla="*/ 1371 h 10000"/>
                <a:gd name="connsiteX22" fmla="*/ 7274 w 9625"/>
                <a:gd name="connsiteY22" fmla="*/ 1590 h 10000"/>
                <a:gd name="connsiteX23" fmla="*/ 6804 w 9625"/>
                <a:gd name="connsiteY23" fmla="*/ 1444 h 10000"/>
                <a:gd name="connsiteX24" fmla="*/ 6475 w 9625"/>
                <a:gd name="connsiteY24" fmla="*/ 1484 h 10000"/>
                <a:gd name="connsiteX25" fmla="*/ 6192 w 9625"/>
                <a:gd name="connsiteY25" fmla="*/ 1484 h 10000"/>
                <a:gd name="connsiteX26" fmla="*/ 5989 w 9625"/>
                <a:gd name="connsiteY26" fmla="*/ 1825 h 10000"/>
                <a:gd name="connsiteX27" fmla="*/ 5863 w 9625"/>
                <a:gd name="connsiteY27" fmla="*/ 2028 h 10000"/>
                <a:gd name="connsiteX28" fmla="*/ 5801 w 9625"/>
                <a:gd name="connsiteY28" fmla="*/ 2271 h 10000"/>
                <a:gd name="connsiteX29" fmla="*/ 6192 w 9625"/>
                <a:gd name="connsiteY29" fmla="*/ 2401 h 10000"/>
                <a:gd name="connsiteX30" fmla="*/ 6569 w 9625"/>
                <a:gd name="connsiteY30" fmla="*/ 2595 h 10000"/>
                <a:gd name="connsiteX31" fmla="*/ 6161 w 9625"/>
                <a:gd name="connsiteY31" fmla="*/ 2798 h 10000"/>
                <a:gd name="connsiteX32" fmla="*/ 5973 w 9625"/>
                <a:gd name="connsiteY32" fmla="*/ 2701 h 10000"/>
                <a:gd name="connsiteX33" fmla="*/ 5738 w 9625"/>
                <a:gd name="connsiteY33" fmla="*/ 2660 h 10000"/>
                <a:gd name="connsiteX34" fmla="*/ 5252 w 9625"/>
                <a:gd name="connsiteY34" fmla="*/ 2749 h 10000"/>
                <a:gd name="connsiteX35" fmla="*/ 4766 w 9625"/>
                <a:gd name="connsiteY35" fmla="*/ 2595 h 10000"/>
                <a:gd name="connsiteX36" fmla="*/ 4515 w 9625"/>
                <a:gd name="connsiteY36" fmla="*/ 2603 h 10000"/>
                <a:gd name="connsiteX37" fmla="*/ 4656 w 9625"/>
                <a:gd name="connsiteY37" fmla="*/ 2733 h 10000"/>
                <a:gd name="connsiteX38" fmla="*/ 4609 w 9625"/>
                <a:gd name="connsiteY38" fmla="*/ 2822 h 10000"/>
                <a:gd name="connsiteX39" fmla="*/ 5111 w 9625"/>
                <a:gd name="connsiteY39" fmla="*/ 3025 h 10000"/>
                <a:gd name="connsiteX40" fmla="*/ 5377 w 9625"/>
                <a:gd name="connsiteY40" fmla="*/ 2928 h 10000"/>
                <a:gd name="connsiteX41" fmla="*/ 5738 w 9625"/>
                <a:gd name="connsiteY41" fmla="*/ 3114 h 10000"/>
                <a:gd name="connsiteX42" fmla="*/ 5534 w 9625"/>
                <a:gd name="connsiteY42" fmla="*/ 3317 h 10000"/>
                <a:gd name="connsiteX43" fmla="*/ 5236 w 9625"/>
                <a:gd name="connsiteY43" fmla="*/ 3317 h 10000"/>
                <a:gd name="connsiteX44" fmla="*/ 4672 w 9625"/>
                <a:gd name="connsiteY44" fmla="*/ 3268 h 10000"/>
                <a:gd name="connsiteX45" fmla="*/ 4625 w 9625"/>
                <a:gd name="connsiteY45" fmla="*/ 3139 h 10000"/>
                <a:gd name="connsiteX46" fmla="*/ 4327 w 9625"/>
                <a:gd name="connsiteY46" fmla="*/ 3147 h 10000"/>
                <a:gd name="connsiteX47" fmla="*/ 4155 w 9625"/>
                <a:gd name="connsiteY47" fmla="*/ 3268 h 10000"/>
                <a:gd name="connsiteX48" fmla="*/ 3857 w 9625"/>
                <a:gd name="connsiteY48" fmla="*/ 3187 h 10000"/>
                <a:gd name="connsiteX49" fmla="*/ 3920 w 9625"/>
                <a:gd name="connsiteY49" fmla="*/ 3017 h 10000"/>
                <a:gd name="connsiteX50" fmla="*/ 3496 w 9625"/>
                <a:gd name="connsiteY50" fmla="*/ 2863 h 10000"/>
                <a:gd name="connsiteX51" fmla="*/ 3418 w 9625"/>
                <a:gd name="connsiteY51" fmla="*/ 2863 h 10000"/>
                <a:gd name="connsiteX52" fmla="*/ 3261 w 9625"/>
                <a:gd name="connsiteY52" fmla="*/ 2741 h 10000"/>
                <a:gd name="connsiteX53" fmla="*/ 3418 w 9625"/>
                <a:gd name="connsiteY53" fmla="*/ 2636 h 10000"/>
                <a:gd name="connsiteX54" fmla="*/ 3152 w 9625"/>
                <a:gd name="connsiteY54" fmla="*/ 2433 h 10000"/>
                <a:gd name="connsiteX55" fmla="*/ 2822 w 9625"/>
                <a:gd name="connsiteY55" fmla="*/ 2384 h 10000"/>
                <a:gd name="connsiteX56" fmla="*/ 2556 w 9625"/>
                <a:gd name="connsiteY56" fmla="*/ 2336 h 10000"/>
                <a:gd name="connsiteX57" fmla="*/ 2446 w 9625"/>
                <a:gd name="connsiteY57" fmla="*/ 2247 h 10000"/>
                <a:gd name="connsiteX58" fmla="*/ 1866 w 9625"/>
                <a:gd name="connsiteY58" fmla="*/ 2190 h 10000"/>
                <a:gd name="connsiteX59" fmla="*/ 1725 w 9625"/>
                <a:gd name="connsiteY59" fmla="*/ 2117 h 10000"/>
                <a:gd name="connsiteX60" fmla="*/ 1475 w 9625"/>
                <a:gd name="connsiteY60" fmla="*/ 2060 h 10000"/>
                <a:gd name="connsiteX61" fmla="*/ 1631 w 9625"/>
                <a:gd name="connsiteY61" fmla="*/ 1979 h 10000"/>
                <a:gd name="connsiteX62" fmla="*/ 1945 w 9625"/>
                <a:gd name="connsiteY62" fmla="*/ 2003 h 10000"/>
                <a:gd name="connsiteX63" fmla="*/ 2101 w 9625"/>
                <a:gd name="connsiteY63" fmla="*/ 2117 h 10000"/>
                <a:gd name="connsiteX64" fmla="*/ 2368 w 9625"/>
                <a:gd name="connsiteY64" fmla="*/ 2117 h 10000"/>
                <a:gd name="connsiteX65" fmla="*/ 2838 w 9625"/>
                <a:gd name="connsiteY65" fmla="*/ 2117 h 10000"/>
                <a:gd name="connsiteX66" fmla="*/ 3011 w 9625"/>
                <a:gd name="connsiteY66" fmla="*/ 2068 h 10000"/>
                <a:gd name="connsiteX67" fmla="*/ 3418 w 9625"/>
                <a:gd name="connsiteY67" fmla="*/ 2117 h 10000"/>
                <a:gd name="connsiteX68" fmla="*/ 3951 w 9625"/>
                <a:gd name="connsiteY68" fmla="*/ 2117 h 10000"/>
                <a:gd name="connsiteX69" fmla="*/ 4735 w 9625"/>
                <a:gd name="connsiteY69" fmla="*/ 2084 h 10000"/>
                <a:gd name="connsiteX70" fmla="*/ 5534 w 9625"/>
                <a:gd name="connsiteY70" fmla="*/ 1784 h 10000"/>
                <a:gd name="connsiteX71" fmla="*/ 5534 w 9625"/>
                <a:gd name="connsiteY71" fmla="*/ 1387 h 10000"/>
                <a:gd name="connsiteX72" fmla="*/ 5221 w 9625"/>
                <a:gd name="connsiteY72" fmla="*/ 1176 h 10000"/>
                <a:gd name="connsiteX73" fmla="*/ 4876 w 9625"/>
                <a:gd name="connsiteY73" fmla="*/ 1030 h 10000"/>
                <a:gd name="connsiteX74" fmla="*/ 4327 w 9625"/>
                <a:gd name="connsiteY74" fmla="*/ 981 h 10000"/>
                <a:gd name="connsiteX75" fmla="*/ 3935 w 9625"/>
                <a:gd name="connsiteY75" fmla="*/ 981 h 10000"/>
                <a:gd name="connsiteX76" fmla="*/ 3543 w 9625"/>
                <a:gd name="connsiteY76" fmla="*/ 981 h 10000"/>
                <a:gd name="connsiteX77" fmla="*/ 3026 w 9625"/>
                <a:gd name="connsiteY77" fmla="*/ 803 h 10000"/>
                <a:gd name="connsiteX78" fmla="*/ 2368 w 9625"/>
                <a:gd name="connsiteY78" fmla="*/ 738 h 10000"/>
                <a:gd name="connsiteX79" fmla="*/ 1929 w 9625"/>
                <a:gd name="connsiteY79" fmla="*/ 762 h 10000"/>
                <a:gd name="connsiteX80" fmla="*/ 1365 w 9625"/>
                <a:gd name="connsiteY80" fmla="*/ 787 h 10000"/>
                <a:gd name="connsiteX81" fmla="*/ 1255 w 9625"/>
                <a:gd name="connsiteY81" fmla="*/ 860 h 10000"/>
                <a:gd name="connsiteX82" fmla="*/ 1149 w 9625"/>
                <a:gd name="connsiteY82" fmla="*/ 709 h 10000"/>
                <a:gd name="connsiteX83" fmla="*/ 920 w 9625"/>
                <a:gd name="connsiteY83" fmla="*/ 784 h 10000"/>
                <a:gd name="connsiteX84" fmla="*/ 680 w 9625"/>
                <a:gd name="connsiteY84" fmla="*/ 706 h 10000"/>
                <a:gd name="connsiteX85" fmla="*/ 563 w 9625"/>
                <a:gd name="connsiteY85" fmla="*/ 910 h 10000"/>
                <a:gd name="connsiteX86" fmla="*/ 196 w 9625"/>
                <a:gd name="connsiteY86" fmla="*/ 1154 h 10000"/>
                <a:gd name="connsiteX87" fmla="*/ 144 w 9625"/>
                <a:gd name="connsiteY87" fmla="*/ 1389 h 10000"/>
                <a:gd name="connsiteX88" fmla="*/ 188 w 9625"/>
                <a:gd name="connsiteY88" fmla="*/ 1540 h 10000"/>
                <a:gd name="connsiteX89" fmla="*/ 86 w 9625"/>
                <a:gd name="connsiteY89" fmla="*/ 1628 h 10000"/>
                <a:gd name="connsiteX90" fmla="*/ 1 w 9625"/>
                <a:gd name="connsiteY90" fmla="*/ 1727 h 10000"/>
                <a:gd name="connsiteX91" fmla="*/ 142 w 9625"/>
                <a:gd name="connsiteY91" fmla="*/ 1800 h 10000"/>
                <a:gd name="connsiteX92" fmla="*/ 424 w 9625"/>
                <a:gd name="connsiteY92" fmla="*/ 1833 h 10000"/>
                <a:gd name="connsiteX93" fmla="*/ 518 w 9625"/>
                <a:gd name="connsiteY93" fmla="*/ 1971 h 10000"/>
                <a:gd name="connsiteX94" fmla="*/ 315 w 9625"/>
                <a:gd name="connsiteY94" fmla="*/ 2376 h 10000"/>
                <a:gd name="connsiteX95" fmla="*/ 518 w 9625"/>
                <a:gd name="connsiteY95" fmla="*/ 2457 h 10000"/>
                <a:gd name="connsiteX96" fmla="*/ 1302 w 9625"/>
                <a:gd name="connsiteY96" fmla="*/ 2879 h 10000"/>
                <a:gd name="connsiteX97" fmla="*/ 1083 w 9625"/>
                <a:gd name="connsiteY97" fmla="*/ 2976 h 10000"/>
                <a:gd name="connsiteX98" fmla="*/ 1083 w 9625"/>
                <a:gd name="connsiteY98" fmla="*/ 3179 h 10000"/>
                <a:gd name="connsiteX99" fmla="*/ 1302 w 9625"/>
                <a:gd name="connsiteY99" fmla="*/ 3220 h 10000"/>
                <a:gd name="connsiteX100" fmla="*/ 1239 w 9625"/>
                <a:gd name="connsiteY100" fmla="*/ 3333 h 10000"/>
                <a:gd name="connsiteX101" fmla="*/ 1412 w 9625"/>
                <a:gd name="connsiteY101" fmla="*/ 3398 h 10000"/>
                <a:gd name="connsiteX102" fmla="*/ 1584 w 9625"/>
                <a:gd name="connsiteY102" fmla="*/ 3366 h 10000"/>
                <a:gd name="connsiteX103" fmla="*/ 1616 w 9625"/>
                <a:gd name="connsiteY103" fmla="*/ 3528 h 10000"/>
                <a:gd name="connsiteX104" fmla="*/ 1757 w 9625"/>
                <a:gd name="connsiteY104" fmla="*/ 3609 h 10000"/>
                <a:gd name="connsiteX105" fmla="*/ 1945 w 9625"/>
                <a:gd name="connsiteY105" fmla="*/ 3577 h 10000"/>
                <a:gd name="connsiteX106" fmla="*/ 2086 w 9625"/>
                <a:gd name="connsiteY106" fmla="*/ 3715 h 10000"/>
                <a:gd name="connsiteX107" fmla="*/ 1960 w 9625"/>
                <a:gd name="connsiteY107" fmla="*/ 3950 h 10000"/>
                <a:gd name="connsiteX108" fmla="*/ 2901 w 9625"/>
                <a:gd name="connsiteY108" fmla="*/ 4193 h 10000"/>
                <a:gd name="connsiteX109" fmla="*/ 2917 w 9625"/>
                <a:gd name="connsiteY109" fmla="*/ 4599 h 10000"/>
                <a:gd name="connsiteX110" fmla="*/ 2431 w 9625"/>
                <a:gd name="connsiteY110" fmla="*/ 5239 h 10000"/>
                <a:gd name="connsiteX111" fmla="*/ 1913 w 9625"/>
                <a:gd name="connsiteY111" fmla="*/ 5677 h 10000"/>
                <a:gd name="connsiteX112" fmla="*/ 2180 w 9625"/>
                <a:gd name="connsiteY112" fmla="*/ 5612 h 10000"/>
                <a:gd name="connsiteX113" fmla="*/ 2243 w 9625"/>
                <a:gd name="connsiteY113" fmla="*/ 5766 h 10000"/>
                <a:gd name="connsiteX114" fmla="*/ 2556 w 9625"/>
                <a:gd name="connsiteY114" fmla="*/ 5839 h 10000"/>
                <a:gd name="connsiteX115" fmla="*/ 2995 w 9625"/>
                <a:gd name="connsiteY115" fmla="*/ 5775 h 10000"/>
                <a:gd name="connsiteX116" fmla="*/ 3418 w 9625"/>
                <a:gd name="connsiteY116" fmla="*/ 5864 h 10000"/>
                <a:gd name="connsiteX117" fmla="*/ 3418 w 9625"/>
                <a:gd name="connsiteY117" fmla="*/ 5994 h 10000"/>
                <a:gd name="connsiteX118" fmla="*/ 2681 w 9625"/>
                <a:gd name="connsiteY118" fmla="*/ 5969 h 10000"/>
                <a:gd name="connsiteX119" fmla="*/ 2556 w 9625"/>
                <a:gd name="connsiteY119" fmla="*/ 6091 h 10000"/>
                <a:gd name="connsiteX120" fmla="*/ 2180 w 9625"/>
                <a:gd name="connsiteY120" fmla="*/ 6172 h 10000"/>
                <a:gd name="connsiteX121" fmla="*/ 2258 w 9625"/>
                <a:gd name="connsiteY121" fmla="*/ 6269 h 10000"/>
                <a:gd name="connsiteX122" fmla="*/ 2337 w 9625"/>
                <a:gd name="connsiteY122" fmla="*/ 6326 h 10000"/>
                <a:gd name="connsiteX123" fmla="*/ 2164 w 9625"/>
                <a:gd name="connsiteY123" fmla="*/ 6415 h 10000"/>
                <a:gd name="connsiteX124" fmla="*/ 2211 w 9625"/>
                <a:gd name="connsiteY124" fmla="*/ 6537 h 10000"/>
                <a:gd name="connsiteX125" fmla="*/ 2023 w 9625"/>
                <a:gd name="connsiteY125" fmla="*/ 6642 h 10000"/>
                <a:gd name="connsiteX126" fmla="*/ 2117 w 9625"/>
                <a:gd name="connsiteY126" fmla="*/ 6788 h 10000"/>
                <a:gd name="connsiteX127" fmla="*/ 2305 w 9625"/>
                <a:gd name="connsiteY127" fmla="*/ 6821 h 10000"/>
                <a:gd name="connsiteX128" fmla="*/ 2227 w 9625"/>
                <a:gd name="connsiteY128" fmla="*/ 6983 h 10000"/>
                <a:gd name="connsiteX129" fmla="*/ 2446 w 9625"/>
                <a:gd name="connsiteY129" fmla="*/ 7015 h 10000"/>
                <a:gd name="connsiteX130" fmla="*/ 2556 w 9625"/>
                <a:gd name="connsiteY130" fmla="*/ 7145 h 10000"/>
                <a:gd name="connsiteX131" fmla="*/ 2431 w 9625"/>
                <a:gd name="connsiteY131" fmla="*/ 7202 h 10000"/>
                <a:gd name="connsiteX132" fmla="*/ 2446 w 9625"/>
                <a:gd name="connsiteY132" fmla="*/ 7299 h 10000"/>
                <a:gd name="connsiteX133" fmla="*/ 2556 w 9625"/>
                <a:gd name="connsiteY133" fmla="*/ 7388 h 10000"/>
                <a:gd name="connsiteX134" fmla="*/ 2917 w 9625"/>
                <a:gd name="connsiteY134" fmla="*/ 7486 h 10000"/>
                <a:gd name="connsiteX135" fmla="*/ 2791 w 9625"/>
                <a:gd name="connsiteY135" fmla="*/ 7575 h 10000"/>
                <a:gd name="connsiteX136" fmla="*/ 2917 w 9625"/>
                <a:gd name="connsiteY136" fmla="*/ 7737 h 10000"/>
                <a:gd name="connsiteX137" fmla="*/ 3042 w 9625"/>
                <a:gd name="connsiteY137" fmla="*/ 7737 h 10000"/>
                <a:gd name="connsiteX138" fmla="*/ 3136 w 9625"/>
                <a:gd name="connsiteY138" fmla="*/ 7810 h 10000"/>
                <a:gd name="connsiteX139" fmla="*/ 3418 w 9625"/>
                <a:gd name="connsiteY139" fmla="*/ 7908 h 10000"/>
                <a:gd name="connsiteX140" fmla="*/ 3418 w 9625"/>
                <a:gd name="connsiteY140" fmla="*/ 7997 h 10000"/>
                <a:gd name="connsiteX141" fmla="*/ 3700 w 9625"/>
                <a:gd name="connsiteY141" fmla="*/ 7972 h 10000"/>
                <a:gd name="connsiteX142" fmla="*/ 4202 w 9625"/>
                <a:gd name="connsiteY142" fmla="*/ 7972 h 10000"/>
                <a:gd name="connsiteX143" fmla="*/ 4343 w 9625"/>
                <a:gd name="connsiteY143" fmla="*/ 8167 h 10000"/>
                <a:gd name="connsiteX144" fmla="*/ 4766 w 9625"/>
                <a:gd name="connsiteY144" fmla="*/ 7972 h 10000"/>
                <a:gd name="connsiteX145" fmla="*/ 5346 w 9625"/>
                <a:gd name="connsiteY145" fmla="*/ 8078 h 10000"/>
                <a:gd name="connsiteX146" fmla="*/ 5471 w 9625"/>
                <a:gd name="connsiteY146" fmla="*/ 8289 h 10000"/>
                <a:gd name="connsiteX147" fmla="*/ 5471 w 9625"/>
                <a:gd name="connsiteY147" fmla="*/ 8467 h 10000"/>
                <a:gd name="connsiteX148" fmla="*/ 5738 w 9625"/>
                <a:gd name="connsiteY148" fmla="*/ 8483 h 10000"/>
                <a:gd name="connsiteX149" fmla="*/ 5848 w 9625"/>
                <a:gd name="connsiteY149" fmla="*/ 8581 h 10000"/>
                <a:gd name="connsiteX150" fmla="*/ 6161 w 9625"/>
                <a:gd name="connsiteY150" fmla="*/ 8710 h 10000"/>
                <a:gd name="connsiteX151" fmla="*/ 6537 w 9625"/>
                <a:gd name="connsiteY151" fmla="*/ 8759 h 10000"/>
                <a:gd name="connsiteX152" fmla="*/ 6553 w 9625"/>
                <a:gd name="connsiteY152" fmla="*/ 8889 h 10000"/>
                <a:gd name="connsiteX153" fmla="*/ 6992 w 9625"/>
                <a:gd name="connsiteY153" fmla="*/ 8856 h 10000"/>
                <a:gd name="connsiteX154" fmla="*/ 7321 w 9625"/>
                <a:gd name="connsiteY154" fmla="*/ 9027 h 10000"/>
                <a:gd name="connsiteX155" fmla="*/ 7211 w 9625"/>
                <a:gd name="connsiteY155" fmla="*/ 9238 h 10000"/>
                <a:gd name="connsiteX156" fmla="*/ 6537 w 9625"/>
                <a:gd name="connsiteY156" fmla="*/ 9238 h 10000"/>
                <a:gd name="connsiteX157" fmla="*/ 6428 w 9625"/>
                <a:gd name="connsiteY157" fmla="*/ 9343 h 10000"/>
                <a:gd name="connsiteX158" fmla="*/ 6757 w 9625"/>
                <a:gd name="connsiteY158" fmla="*/ 9424 h 10000"/>
                <a:gd name="connsiteX159" fmla="*/ 6804 w 9625"/>
                <a:gd name="connsiteY159" fmla="*/ 9594 h 10000"/>
                <a:gd name="connsiteX160" fmla="*/ 7086 w 9625"/>
                <a:gd name="connsiteY160" fmla="*/ 9805 h 10000"/>
                <a:gd name="connsiteX161" fmla="*/ 7462 w 9625"/>
                <a:gd name="connsiteY161" fmla="*/ 9813 h 10000"/>
                <a:gd name="connsiteX162" fmla="*/ 7478 w 9625"/>
                <a:gd name="connsiteY162" fmla="*/ 9659 h 10000"/>
                <a:gd name="connsiteX163" fmla="*/ 8089 w 9625"/>
                <a:gd name="connsiteY163" fmla="*/ 9521 h 10000"/>
                <a:gd name="connsiteX164" fmla="*/ 8685 w 9625"/>
                <a:gd name="connsiteY164" fmla="*/ 9521 h 10000"/>
                <a:gd name="connsiteX165" fmla="*/ 9170 w 9625"/>
                <a:gd name="connsiteY165" fmla="*/ 9659 h 10000"/>
                <a:gd name="connsiteX166" fmla="*/ 8904 w 9625"/>
                <a:gd name="connsiteY166" fmla="*/ 9789 h 10000"/>
                <a:gd name="connsiteX167" fmla="*/ 9249 w 9625"/>
                <a:gd name="connsiteY167" fmla="*/ 10000 h 10000"/>
                <a:gd name="connsiteX168" fmla="*/ 9625 w 9625"/>
                <a:gd name="connsiteY168" fmla="*/ 9951 h 10000"/>
                <a:gd name="connsiteX169" fmla="*/ 9625 w 9625"/>
                <a:gd name="connsiteY169" fmla="*/ 0 h 10000"/>
                <a:gd name="connsiteX170" fmla="*/ 8058 w 9625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99 w 10000"/>
                <a:gd name="connsiteY83" fmla="*/ 770 h 10000"/>
                <a:gd name="connsiteX84" fmla="*/ 706 w 10000"/>
                <a:gd name="connsiteY84" fmla="*/ 706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99 w 10000"/>
                <a:gd name="connsiteY83" fmla="*/ 770 h 10000"/>
                <a:gd name="connsiteX84" fmla="*/ 706 w 10000"/>
                <a:gd name="connsiteY84" fmla="*/ 692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56 w 10000"/>
                <a:gd name="connsiteY83" fmla="*/ 770 h 10000"/>
                <a:gd name="connsiteX84" fmla="*/ 706 w 10000"/>
                <a:gd name="connsiteY84" fmla="*/ 692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56 w 10000"/>
                <a:gd name="connsiteY83" fmla="*/ 770 h 10000"/>
                <a:gd name="connsiteX84" fmla="*/ 720 w 10000"/>
                <a:gd name="connsiteY84" fmla="*/ 678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42 w 10000"/>
                <a:gd name="connsiteY83" fmla="*/ 763 h 10000"/>
                <a:gd name="connsiteX84" fmla="*/ 720 w 10000"/>
                <a:gd name="connsiteY84" fmla="*/ 678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</a:cxnLst>
              <a:rect l="l" t="t" r="r" b="b"/>
              <a:pathLst>
                <a:path w="10000" h="10000">
                  <a:moveTo>
                    <a:pt x="8372" y="0"/>
                  </a:moveTo>
                  <a:lnTo>
                    <a:pt x="8372" y="97"/>
                  </a:lnTo>
                  <a:lnTo>
                    <a:pt x="8029" y="357"/>
                  </a:lnTo>
                  <a:lnTo>
                    <a:pt x="8372" y="697"/>
                  </a:lnTo>
                  <a:lnTo>
                    <a:pt x="7736" y="981"/>
                  </a:lnTo>
                  <a:cubicBezTo>
                    <a:pt x="7703" y="922"/>
                    <a:pt x="7671" y="862"/>
                    <a:pt x="7638" y="803"/>
                  </a:cubicBezTo>
                  <a:lnTo>
                    <a:pt x="7085" y="803"/>
                  </a:lnTo>
                  <a:lnTo>
                    <a:pt x="6923" y="584"/>
                  </a:lnTo>
                  <a:lnTo>
                    <a:pt x="7394" y="397"/>
                  </a:lnTo>
                  <a:lnTo>
                    <a:pt x="6938" y="276"/>
                  </a:lnTo>
                  <a:lnTo>
                    <a:pt x="6759" y="187"/>
                  </a:lnTo>
                  <a:lnTo>
                    <a:pt x="6433" y="187"/>
                  </a:lnTo>
                  <a:lnTo>
                    <a:pt x="6125" y="341"/>
                  </a:lnTo>
                  <a:lnTo>
                    <a:pt x="5635" y="397"/>
                  </a:lnTo>
                  <a:lnTo>
                    <a:pt x="6222" y="479"/>
                  </a:lnTo>
                  <a:lnTo>
                    <a:pt x="6450" y="738"/>
                  </a:lnTo>
                  <a:cubicBezTo>
                    <a:pt x="6482" y="819"/>
                    <a:pt x="6515" y="900"/>
                    <a:pt x="6548" y="981"/>
                  </a:cubicBezTo>
                  <a:lnTo>
                    <a:pt x="6711" y="981"/>
                  </a:lnTo>
                  <a:lnTo>
                    <a:pt x="7134" y="981"/>
                  </a:lnTo>
                  <a:cubicBezTo>
                    <a:pt x="7145" y="1022"/>
                    <a:pt x="7155" y="1062"/>
                    <a:pt x="7167" y="1103"/>
                  </a:cubicBezTo>
                  <a:lnTo>
                    <a:pt x="7378" y="1160"/>
                  </a:lnTo>
                  <a:cubicBezTo>
                    <a:pt x="7383" y="1230"/>
                    <a:pt x="7389" y="1301"/>
                    <a:pt x="7394" y="1371"/>
                  </a:cubicBezTo>
                  <a:lnTo>
                    <a:pt x="7557" y="1590"/>
                  </a:lnTo>
                  <a:lnTo>
                    <a:pt x="7069" y="1444"/>
                  </a:lnTo>
                  <a:lnTo>
                    <a:pt x="6727" y="1484"/>
                  </a:lnTo>
                  <a:lnTo>
                    <a:pt x="6433" y="1484"/>
                  </a:lnTo>
                  <a:cubicBezTo>
                    <a:pt x="6363" y="1598"/>
                    <a:pt x="6292" y="1711"/>
                    <a:pt x="6222" y="1825"/>
                  </a:cubicBezTo>
                  <a:lnTo>
                    <a:pt x="6091" y="2028"/>
                  </a:lnTo>
                  <a:cubicBezTo>
                    <a:pt x="6070" y="2109"/>
                    <a:pt x="6049" y="2190"/>
                    <a:pt x="6027" y="2271"/>
                  </a:cubicBezTo>
                  <a:lnTo>
                    <a:pt x="6433" y="2401"/>
                  </a:lnTo>
                  <a:lnTo>
                    <a:pt x="6825" y="2595"/>
                  </a:lnTo>
                  <a:lnTo>
                    <a:pt x="6401" y="2798"/>
                  </a:lnTo>
                  <a:lnTo>
                    <a:pt x="6206" y="2701"/>
                  </a:lnTo>
                  <a:lnTo>
                    <a:pt x="5962" y="2660"/>
                  </a:lnTo>
                  <a:lnTo>
                    <a:pt x="5457" y="2749"/>
                  </a:lnTo>
                  <a:lnTo>
                    <a:pt x="4952" y="2595"/>
                  </a:lnTo>
                  <a:lnTo>
                    <a:pt x="4691" y="2603"/>
                  </a:lnTo>
                  <a:cubicBezTo>
                    <a:pt x="4740" y="2646"/>
                    <a:pt x="4788" y="2690"/>
                    <a:pt x="4837" y="2733"/>
                  </a:cubicBezTo>
                  <a:cubicBezTo>
                    <a:pt x="4821" y="2763"/>
                    <a:pt x="4805" y="2792"/>
                    <a:pt x="4789" y="2822"/>
                  </a:cubicBezTo>
                  <a:lnTo>
                    <a:pt x="5310" y="3025"/>
                  </a:lnTo>
                  <a:lnTo>
                    <a:pt x="5586" y="2928"/>
                  </a:lnTo>
                  <a:lnTo>
                    <a:pt x="5962" y="3114"/>
                  </a:lnTo>
                  <a:lnTo>
                    <a:pt x="5750" y="3317"/>
                  </a:lnTo>
                  <a:lnTo>
                    <a:pt x="5440" y="3317"/>
                  </a:lnTo>
                  <a:lnTo>
                    <a:pt x="4854" y="3268"/>
                  </a:lnTo>
                  <a:cubicBezTo>
                    <a:pt x="4837" y="3225"/>
                    <a:pt x="4822" y="3182"/>
                    <a:pt x="4805" y="3139"/>
                  </a:cubicBezTo>
                  <a:lnTo>
                    <a:pt x="4496" y="3147"/>
                  </a:lnTo>
                  <a:lnTo>
                    <a:pt x="4317" y="3268"/>
                  </a:lnTo>
                  <a:lnTo>
                    <a:pt x="4007" y="3187"/>
                  </a:lnTo>
                  <a:cubicBezTo>
                    <a:pt x="4029" y="3130"/>
                    <a:pt x="4051" y="3074"/>
                    <a:pt x="4073" y="3017"/>
                  </a:cubicBezTo>
                  <a:lnTo>
                    <a:pt x="3632" y="2863"/>
                  </a:lnTo>
                  <a:lnTo>
                    <a:pt x="3551" y="2863"/>
                  </a:lnTo>
                  <a:cubicBezTo>
                    <a:pt x="3497" y="2822"/>
                    <a:pt x="3442" y="2782"/>
                    <a:pt x="3388" y="2741"/>
                  </a:cubicBezTo>
                  <a:lnTo>
                    <a:pt x="3551" y="2636"/>
                  </a:lnTo>
                  <a:lnTo>
                    <a:pt x="3275" y="2433"/>
                  </a:lnTo>
                  <a:lnTo>
                    <a:pt x="2932" y="2384"/>
                  </a:lnTo>
                  <a:lnTo>
                    <a:pt x="2656" y="2336"/>
                  </a:lnTo>
                  <a:cubicBezTo>
                    <a:pt x="2618" y="2306"/>
                    <a:pt x="2579" y="2277"/>
                    <a:pt x="2541" y="2247"/>
                  </a:cubicBezTo>
                  <a:lnTo>
                    <a:pt x="1939" y="2190"/>
                  </a:lnTo>
                  <a:lnTo>
                    <a:pt x="1792" y="2117"/>
                  </a:lnTo>
                  <a:lnTo>
                    <a:pt x="1532" y="2060"/>
                  </a:lnTo>
                  <a:lnTo>
                    <a:pt x="1695" y="1979"/>
                  </a:lnTo>
                  <a:lnTo>
                    <a:pt x="2021" y="2003"/>
                  </a:lnTo>
                  <a:lnTo>
                    <a:pt x="2183" y="2117"/>
                  </a:lnTo>
                  <a:lnTo>
                    <a:pt x="2460" y="2117"/>
                  </a:lnTo>
                  <a:lnTo>
                    <a:pt x="2949" y="2117"/>
                  </a:lnTo>
                  <a:lnTo>
                    <a:pt x="3128" y="2068"/>
                  </a:lnTo>
                  <a:lnTo>
                    <a:pt x="3551" y="2117"/>
                  </a:lnTo>
                  <a:lnTo>
                    <a:pt x="4105" y="2117"/>
                  </a:lnTo>
                  <a:cubicBezTo>
                    <a:pt x="4137" y="2117"/>
                    <a:pt x="4919" y="2084"/>
                    <a:pt x="4919" y="2084"/>
                  </a:cubicBezTo>
                  <a:lnTo>
                    <a:pt x="5750" y="1784"/>
                  </a:lnTo>
                  <a:lnTo>
                    <a:pt x="5750" y="1387"/>
                  </a:lnTo>
                  <a:lnTo>
                    <a:pt x="5424" y="1176"/>
                  </a:lnTo>
                  <a:lnTo>
                    <a:pt x="5066" y="1030"/>
                  </a:lnTo>
                  <a:lnTo>
                    <a:pt x="4496" y="981"/>
                  </a:lnTo>
                  <a:lnTo>
                    <a:pt x="4088" y="981"/>
                  </a:lnTo>
                  <a:lnTo>
                    <a:pt x="3681" y="981"/>
                  </a:lnTo>
                  <a:lnTo>
                    <a:pt x="3144" y="803"/>
                  </a:lnTo>
                  <a:lnTo>
                    <a:pt x="2460" y="738"/>
                  </a:lnTo>
                  <a:lnTo>
                    <a:pt x="2004" y="762"/>
                  </a:lnTo>
                  <a:lnTo>
                    <a:pt x="1418" y="787"/>
                  </a:lnTo>
                  <a:lnTo>
                    <a:pt x="1304" y="860"/>
                  </a:lnTo>
                  <a:cubicBezTo>
                    <a:pt x="1266" y="847"/>
                    <a:pt x="1254" y="725"/>
                    <a:pt x="1194" y="709"/>
                  </a:cubicBezTo>
                  <a:cubicBezTo>
                    <a:pt x="1134" y="693"/>
                    <a:pt x="1021" y="768"/>
                    <a:pt x="942" y="763"/>
                  </a:cubicBezTo>
                  <a:cubicBezTo>
                    <a:pt x="863" y="758"/>
                    <a:pt x="780" y="654"/>
                    <a:pt x="720" y="678"/>
                  </a:cubicBezTo>
                  <a:cubicBezTo>
                    <a:pt x="661" y="703"/>
                    <a:pt x="671" y="831"/>
                    <a:pt x="585" y="910"/>
                  </a:cubicBezTo>
                  <a:cubicBezTo>
                    <a:pt x="499" y="989"/>
                    <a:pt x="276" y="1074"/>
                    <a:pt x="204" y="1154"/>
                  </a:cubicBezTo>
                  <a:cubicBezTo>
                    <a:pt x="131" y="1234"/>
                    <a:pt x="151" y="1325"/>
                    <a:pt x="150" y="1389"/>
                  </a:cubicBezTo>
                  <a:cubicBezTo>
                    <a:pt x="149" y="1453"/>
                    <a:pt x="206" y="1500"/>
                    <a:pt x="195" y="1540"/>
                  </a:cubicBezTo>
                  <a:cubicBezTo>
                    <a:pt x="185" y="1580"/>
                    <a:pt x="122" y="1597"/>
                    <a:pt x="89" y="1628"/>
                  </a:cubicBezTo>
                  <a:cubicBezTo>
                    <a:pt x="57" y="1659"/>
                    <a:pt x="-8" y="1699"/>
                    <a:pt x="1" y="1727"/>
                  </a:cubicBezTo>
                  <a:cubicBezTo>
                    <a:pt x="10" y="1755"/>
                    <a:pt x="99" y="1776"/>
                    <a:pt x="148" y="1800"/>
                  </a:cubicBezTo>
                  <a:lnTo>
                    <a:pt x="441" y="1833"/>
                  </a:lnTo>
                  <a:cubicBezTo>
                    <a:pt x="473" y="1879"/>
                    <a:pt x="506" y="1925"/>
                    <a:pt x="538" y="1971"/>
                  </a:cubicBezTo>
                  <a:lnTo>
                    <a:pt x="327" y="2376"/>
                  </a:lnTo>
                  <a:lnTo>
                    <a:pt x="538" y="2457"/>
                  </a:lnTo>
                  <a:lnTo>
                    <a:pt x="1353" y="2879"/>
                  </a:lnTo>
                  <a:lnTo>
                    <a:pt x="1125" y="2976"/>
                  </a:lnTo>
                  <a:lnTo>
                    <a:pt x="1125" y="3179"/>
                  </a:lnTo>
                  <a:lnTo>
                    <a:pt x="1353" y="3220"/>
                  </a:lnTo>
                  <a:cubicBezTo>
                    <a:pt x="1331" y="3258"/>
                    <a:pt x="1309" y="3295"/>
                    <a:pt x="1287" y="3333"/>
                  </a:cubicBezTo>
                  <a:lnTo>
                    <a:pt x="1467" y="3398"/>
                  </a:lnTo>
                  <a:lnTo>
                    <a:pt x="1646" y="3366"/>
                  </a:lnTo>
                  <a:lnTo>
                    <a:pt x="1679" y="3528"/>
                  </a:lnTo>
                  <a:lnTo>
                    <a:pt x="1825" y="3609"/>
                  </a:lnTo>
                  <a:lnTo>
                    <a:pt x="2021" y="3577"/>
                  </a:lnTo>
                  <a:lnTo>
                    <a:pt x="2167" y="3715"/>
                  </a:lnTo>
                  <a:cubicBezTo>
                    <a:pt x="2123" y="3793"/>
                    <a:pt x="2080" y="3872"/>
                    <a:pt x="2036" y="3950"/>
                  </a:cubicBezTo>
                  <a:lnTo>
                    <a:pt x="3014" y="4193"/>
                  </a:lnTo>
                  <a:cubicBezTo>
                    <a:pt x="3019" y="4328"/>
                    <a:pt x="3025" y="4464"/>
                    <a:pt x="3031" y="4599"/>
                  </a:cubicBezTo>
                  <a:lnTo>
                    <a:pt x="2526" y="5239"/>
                  </a:lnTo>
                  <a:lnTo>
                    <a:pt x="1988" y="5677"/>
                  </a:lnTo>
                  <a:lnTo>
                    <a:pt x="2265" y="5612"/>
                  </a:lnTo>
                  <a:cubicBezTo>
                    <a:pt x="2287" y="5663"/>
                    <a:pt x="2309" y="5715"/>
                    <a:pt x="2330" y="5766"/>
                  </a:cubicBezTo>
                  <a:lnTo>
                    <a:pt x="2656" y="5839"/>
                  </a:lnTo>
                  <a:lnTo>
                    <a:pt x="3112" y="5775"/>
                  </a:lnTo>
                  <a:cubicBezTo>
                    <a:pt x="3112" y="5775"/>
                    <a:pt x="3519" y="5864"/>
                    <a:pt x="3551" y="5864"/>
                  </a:cubicBezTo>
                  <a:cubicBezTo>
                    <a:pt x="3568" y="5872"/>
                    <a:pt x="3551" y="5994"/>
                    <a:pt x="3551" y="5994"/>
                  </a:cubicBezTo>
                  <a:lnTo>
                    <a:pt x="2785" y="5969"/>
                  </a:lnTo>
                  <a:lnTo>
                    <a:pt x="2656" y="6091"/>
                  </a:lnTo>
                  <a:lnTo>
                    <a:pt x="2265" y="6172"/>
                  </a:lnTo>
                  <a:cubicBezTo>
                    <a:pt x="2292" y="6204"/>
                    <a:pt x="2319" y="6237"/>
                    <a:pt x="2346" y="6269"/>
                  </a:cubicBezTo>
                  <a:lnTo>
                    <a:pt x="2428" y="6326"/>
                  </a:lnTo>
                  <a:lnTo>
                    <a:pt x="2248" y="6415"/>
                  </a:lnTo>
                  <a:cubicBezTo>
                    <a:pt x="2265" y="6456"/>
                    <a:pt x="2281" y="6496"/>
                    <a:pt x="2297" y="6537"/>
                  </a:cubicBezTo>
                  <a:lnTo>
                    <a:pt x="2102" y="6642"/>
                  </a:lnTo>
                  <a:cubicBezTo>
                    <a:pt x="2134" y="6691"/>
                    <a:pt x="2167" y="6739"/>
                    <a:pt x="2199" y="6788"/>
                  </a:cubicBezTo>
                  <a:lnTo>
                    <a:pt x="2395" y="6821"/>
                  </a:lnTo>
                  <a:lnTo>
                    <a:pt x="2314" y="6983"/>
                  </a:lnTo>
                  <a:lnTo>
                    <a:pt x="2541" y="7015"/>
                  </a:lnTo>
                  <a:cubicBezTo>
                    <a:pt x="2580" y="7058"/>
                    <a:pt x="2617" y="7102"/>
                    <a:pt x="2656" y="7145"/>
                  </a:cubicBezTo>
                  <a:lnTo>
                    <a:pt x="2526" y="7202"/>
                  </a:lnTo>
                  <a:cubicBezTo>
                    <a:pt x="2531" y="7234"/>
                    <a:pt x="2536" y="7267"/>
                    <a:pt x="2541" y="7299"/>
                  </a:cubicBezTo>
                  <a:cubicBezTo>
                    <a:pt x="2579" y="7329"/>
                    <a:pt x="2618" y="7358"/>
                    <a:pt x="2656" y="7388"/>
                  </a:cubicBezTo>
                  <a:lnTo>
                    <a:pt x="3031" y="7486"/>
                  </a:lnTo>
                  <a:lnTo>
                    <a:pt x="2900" y="7575"/>
                  </a:lnTo>
                  <a:lnTo>
                    <a:pt x="3031" y="7737"/>
                  </a:lnTo>
                  <a:lnTo>
                    <a:pt x="3161" y="7737"/>
                  </a:lnTo>
                  <a:lnTo>
                    <a:pt x="3258" y="7810"/>
                  </a:lnTo>
                  <a:lnTo>
                    <a:pt x="3551" y="7908"/>
                  </a:lnTo>
                  <a:lnTo>
                    <a:pt x="3551" y="7997"/>
                  </a:lnTo>
                  <a:lnTo>
                    <a:pt x="3844" y="7972"/>
                  </a:lnTo>
                  <a:lnTo>
                    <a:pt x="4366" y="7972"/>
                  </a:lnTo>
                  <a:lnTo>
                    <a:pt x="4512" y="8167"/>
                  </a:lnTo>
                  <a:lnTo>
                    <a:pt x="4952" y="7972"/>
                  </a:lnTo>
                  <a:lnTo>
                    <a:pt x="5554" y="8078"/>
                  </a:lnTo>
                  <a:cubicBezTo>
                    <a:pt x="5598" y="8148"/>
                    <a:pt x="5641" y="8219"/>
                    <a:pt x="5684" y="8289"/>
                  </a:cubicBezTo>
                  <a:lnTo>
                    <a:pt x="5684" y="8467"/>
                  </a:lnTo>
                  <a:cubicBezTo>
                    <a:pt x="5684" y="8491"/>
                    <a:pt x="5962" y="8483"/>
                    <a:pt x="5962" y="8483"/>
                  </a:cubicBezTo>
                  <a:lnTo>
                    <a:pt x="6076" y="8581"/>
                  </a:lnTo>
                  <a:lnTo>
                    <a:pt x="6401" y="8710"/>
                  </a:lnTo>
                  <a:lnTo>
                    <a:pt x="6792" y="8759"/>
                  </a:lnTo>
                  <a:cubicBezTo>
                    <a:pt x="6797" y="8802"/>
                    <a:pt x="6803" y="8846"/>
                    <a:pt x="6808" y="8889"/>
                  </a:cubicBezTo>
                  <a:lnTo>
                    <a:pt x="7264" y="8856"/>
                  </a:lnTo>
                  <a:lnTo>
                    <a:pt x="7606" y="9027"/>
                  </a:lnTo>
                  <a:lnTo>
                    <a:pt x="7492" y="9238"/>
                  </a:lnTo>
                  <a:lnTo>
                    <a:pt x="6792" y="9238"/>
                  </a:lnTo>
                  <a:lnTo>
                    <a:pt x="6678" y="9343"/>
                  </a:lnTo>
                  <a:lnTo>
                    <a:pt x="7020" y="9424"/>
                  </a:lnTo>
                  <a:cubicBezTo>
                    <a:pt x="7037" y="9481"/>
                    <a:pt x="7052" y="9537"/>
                    <a:pt x="7069" y="9594"/>
                  </a:cubicBezTo>
                  <a:lnTo>
                    <a:pt x="7362" y="9805"/>
                  </a:lnTo>
                  <a:lnTo>
                    <a:pt x="7753" y="9813"/>
                  </a:lnTo>
                  <a:cubicBezTo>
                    <a:pt x="7758" y="9762"/>
                    <a:pt x="7764" y="9710"/>
                    <a:pt x="7769" y="9659"/>
                  </a:cubicBezTo>
                  <a:lnTo>
                    <a:pt x="8404" y="9521"/>
                  </a:lnTo>
                  <a:cubicBezTo>
                    <a:pt x="8404" y="9521"/>
                    <a:pt x="8941" y="9497"/>
                    <a:pt x="9023" y="9521"/>
                  </a:cubicBezTo>
                  <a:cubicBezTo>
                    <a:pt x="9104" y="9554"/>
                    <a:pt x="9527" y="9659"/>
                    <a:pt x="9527" y="9659"/>
                  </a:cubicBezTo>
                  <a:lnTo>
                    <a:pt x="9251" y="9789"/>
                  </a:lnTo>
                  <a:lnTo>
                    <a:pt x="9609" y="10000"/>
                  </a:lnTo>
                  <a:lnTo>
                    <a:pt x="10000" y="9951"/>
                  </a:lnTo>
                  <a:lnTo>
                    <a:pt x="10000" y="0"/>
                  </a:lnTo>
                  <a:lnTo>
                    <a:pt x="837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9137721" y="6964656"/>
            <a:ext cx="2355779" cy="1767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14705945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693684" y="550407"/>
            <a:ext cx="11280710" cy="6030276"/>
            <a:chOff x="376238" y="1816693"/>
            <a:chExt cx="8281393" cy="4426945"/>
          </a:xfrm>
          <a:solidFill>
            <a:schemeClr val="accent3"/>
          </a:solidFill>
        </p:grpSpPr>
        <p:sp>
          <p:nvSpPr>
            <p:cNvPr id="4" name="Freeform 217"/>
            <p:cNvSpPr>
              <a:spLocks noEditPoints="1"/>
            </p:cNvSpPr>
            <p:nvPr>
              <p:custDataLst>
                <p:tags r:id="rId197"/>
              </p:custDataLst>
            </p:nvPr>
          </p:nvSpPr>
          <p:spPr bwMode="gray">
            <a:xfrm>
              <a:off x="4816496" y="1901993"/>
              <a:ext cx="3841135" cy="1521623"/>
            </a:xfrm>
            <a:custGeom>
              <a:avLst/>
              <a:gdLst/>
              <a:ahLst/>
              <a:cxnLst>
                <a:cxn ang="0">
                  <a:pos x="2516" y="430"/>
                </a:cxn>
                <a:cxn ang="0">
                  <a:pos x="1988" y="308"/>
                </a:cxn>
                <a:cxn ang="0">
                  <a:pos x="1640" y="284"/>
                </a:cxn>
                <a:cxn ang="0">
                  <a:pos x="1402" y="186"/>
                </a:cxn>
                <a:cxn ang="0">
                  <a:pos x="934" y="250"/>
                </a:cxn>
                <a:cxn ang="0">
                  <a:pos x="822" y="336"/>
                </a:cxn>
                <a:cxn ang="0">
                  <a:pos x="724" y="312"/>
                </a:cxn>
                <a:cxn ang="0">
                  <a:pos x="382" y="424"/>
                </a:cxn>
                <a:cxn ang="0">
                  <a:pos x="238" y="446"/>
                </a:cxn>
                <a:cxn ang="0">
                  <a:pos x="180" y="528"/>
                </a:cxn>
                <a:cxn ang="0">
                  <a:pos x="272" y="830"/>
                </a:cxn>
                <a:cxn ang="0">
                  <a:pos x="418" y="888"/>
                </a:cxn>
                <a:cxn ang="0">
                  <a:pos x="702" y="730"/>
                </a:cxn>
                <a:cxn ang="0">
                  <a:pos x="1112" y="818"/>
                </a:cxn>
                <a:cxn ang="0">
                  <a:pos x="1628" y="830"/>
                </a:cxn>
                <a:cxn ang="0">
                  <a:pos x="1844" y="800"/>
                </a:cxn>
                <a:cxn ang="0">
                  <a:pos x="1988" y="614"/>
                </a:cxn>
                <a:cxn ang="0">
                  <a:pos x="2104" y="650"/>
                </a:cxn>
                <a:cxn ang="0">
                  <a:pos x="2198" y="604"/>
                </a:cxn>
                <a:cxn ang="0">
                  <a:pos x="2470" y="470"/>
                </a:cxn>
                <a:cxn ang="0">
                  <a:pos x="2412" y="312"/>
                </a:cxn>
                <a:cxn ang="0">
                  <a:pos x="1570" y="266"/>
                </a:cxn>
                <a:cxn ang="0">
                  <a:pos x="1664" y="290"/>
                </a:cxn>
                <a:cxn ang="0">
                  <a:pos x="0" y="736"/>
                </a:cxn>
                <a:cxn ang="0">
                  <a:pos x="1078" y="18"/>
                </a:cxn>
                <a:cxn ang="0">
                  <a:pos x="580" y="28"/>
                </a:cxn>
                <a:cxn ang="0">
                  <a:pos x="574" y="40"/>
                </a:cxn>
                <a:cxn ang="0">
                  <a:pos x="452" y="52"/>
                </a:cxn>
                <a:cxn ang="0">
                  <a:pos x="1154" y="156"/>
                </a:cxn>
                <a:cxn ang="0">
                  <a:pos x="1624" y="254"/>
                </a:cxn>
                <a:cxn ang="0">
                  <a:pos x="1624" y="290"/>
                </a:cxn>
                <a:cxn ang="0">
                  <a:pos x="306" y="488"/>
                </a:cxn>
                <a:cxn ang="0">
                  <a:pos x="574" y="18"/>
                </a:cxn>
                <a:cxn ang="0">
                  <a:pos x="1142" y="22"/>
                </a:cxn>
                <a:cxn ang="0">
                  <a:pos x="568" y="40"/>
                </a:cxn>
                <a:cxn ang="0">
                  <a:pos x="440" y="46"/>
                </a:cxn>
                <a:cxn ang="0">
                  <a:pos x="422" y="28"/>
                </a:cxn>
                <a:cxn ang="0">
                  <a:pos x="1112" y="70"/>
                </a:cxn>
                <a:cxn ang="0">
                  <a:pos x="1160" y="92"/>
                </a:cxn>
                <a:cxn ang="0">
                  <a:pos x="1096" y="76"/>
                </a:cxn>
                <a:cxn ang="0">
                  <a:pos x="1282" y="86"/>
                </a:cxn>
                <a:cxn ang="0">
                  <a:pos x="1166" y="144"/>
                </a:cxn>
                <a:cxn ang="0">
                  <a:pos x="718" y="180"/>
                </a:cxn>
                <a:cxn ang="0">
                  <a:pos x="574" y="238"/>
                </a:cxn>
                <a:cxn ang="0">
                  <a:pos x="550" y="220"/>
                </a:cxn>
                <a:cxn ang="0">
                  <a:pos x="1182" y="156"/>
                </a:cxn>
                <a:cxn ang="0">
                  <a:pos x="1166" y="180"/>
                </a:cxn>
                <a:cxn ang="0">
                  <a:pos x="1820" y="186"/>
                </a:cxn>
                <a:cxn ang="0">
                  <a:pos x="1860" y="214"/>
                </a:cxn>
                <a:cxn ang="0">
                  <a:pos x="1982" y="202"/>
                </a:cxn>
                <a:cxn ang="0">
                  <a:pos x="910" y="220"/>
                </a:cxn>
                <a:cxn ang="0">
                  <a:pos x="950" y="232"/>
                </a:cxn>
                <a:cxn ang="0">
                  <a:pos x="1634" y="250"/>
                </a:cxn>
                <a:cxn ang="0">
                  <a:pos x="510" y="266"/>
                </a:cxn>
                <a:cxn ang="0">
                  <a:pos x="562" y="330"/>
                </a:cxn>
                <a:cxn ang="0">
                  <a:pos x="880" y="284"/>
                </a:cxn>
                <a:cxn ang="0">
                  <a:pos x="2266" y="360"/>
                </a:cxn>
                <a:cxn ang="0">
                  <a:pos x="434" y="372"/>
                </a:cxn>
                <a:cxn ang="0">
                  <a:pos x="2186" y="638"/>
                </a:cxn>
                <a:cxn ang="0">
                  <a:pos x="1856" y="858"/>
                </a:cxn>
                <a:cxn ang="0">
                  <a:pos x="1878" y="818"/>
                </a:cxn>
                <a:cxn ang="0">
                  <a:pos x="2046" y="852"/>
                </a:cxn>
                <a:cxn ang="0">
                  <a:pos x="1908" y="968"/>
                </a:cxn>
              </a:cxnLst>
              <a:rect l="0" t="0" r="r" b="b"/>
              <a:pathLst>
                <a:path w="2590" h="1026">
                  <a:moveTo>
                    <a:pt x="812" y="760"/>
                  </a:moveTo>
                  <a:lnTo>
                    <a:pt x="818" y="760"/>
                  </a:lnTo>
                  <a:lnTo>
                    <a:pt x="822" y="754"/>
                  </a:lnTo>
                  <a:lnTo>
                    <a:pt x="812" y="754"/>
                  </a:lnTo>
                  <a:lnTo>
                    <a:pt x="812" y="760"/>
                  </a:lnTo>
                  <a:close/>
                  <a:moveTo>
                    <a:pt x="1802" y="748"/>
                  </a:moveTo>
                  <a:lnTo>
                    <a:pt x="1798" y="754"/>
                  </a:lnTo>
                  <a:lnTo>
                    <a:pt x="1802" y="754"/>
                  </a:lnTo>
                  <a:lnTo>
                    <a:pt x="1802" y="748"/>
                  </a:lnTo>
                  <a:close/>
                  <a:moveTo>
                    <a:pt x="260" y="940"/>
                  </a:moveTo>
                  <a:lnTo>
                    <a:pt x="260" y="946"/>
                  </a:lnTo>
                  <a:lnTo>
                    <a:pt x="266" y="946"/>
                  </a:lnTo>
                  <a:lnTo>
                    <a:pt x="266" y="940"/>
                  </a:lnTo>
                  <a:lnTo>
                    <a:pt x="260" y="940"/>
                  </a:lnTo>
                  <a:close/>
                  <a:moveTo>
                    <a:pt x="132" y="586"/>
                  </a:moveTo>
                  <a:lnTo>
                    <a:pt x="128" y="586"/>
                  </a:lnTo>
                  <a:lnTo>
                    <a:pt x="128" y="592"/>
                  </a:lnTo>
                  <a:lnTo>
                    <a:pt x="132" y="592"/>
                  </a:lnTo>
                  <a:lnTo>
                    <a:pt x="132" y="586"/>
                  </a:lnTo>
                  <a:close/>
                  <a:moveTo>
                    <a:pt x="528" y="830"/>
                  </a:moveTo>
                  <a:lnTo>
                    <a:pt x="532" y="824"/>
                  </a:lnTo>
                  <a:lnTo>
                    <a:pt x="528" y="824"/>
                  </a:lnTo>
                  <a:lnTo>
                    <a:pt x="528" y="830"/>
                  </a:lnTo>
                  <a:close/>
                  <a:moveTo>
                    <a:pt x="1664" y="296"/>
                  </a:moveTo>
                  <a:lnTo>
                    <a:pt x="1658" y="296"/>
                  </a:lnTo>
                  <a:lnTo>
                    <a:pt x="1658" y="302"/>
                  </a:lnTo>
                  <a:lnTo>
                    <a:pt x="1664" y="302"/>
                  </a:lnTo>
                  <a:lnTo>
                    <a:pt x="1664" y="296"/>
                  </a:lnTo>
                  <a:close/>
                  <a:moveTo>
                    <a:pt x="190" y="348"/>
                  </a:moveTo>
                  <a:lnTo>
                    <a:pt x="186" y="348"/>
                  </a:lnTo>
                  <a:lnTo>
                    <a:pt x="186" y="354"/>
                  </a:lnTo>
                  <a:lnTo>
                    <a:pt x="190" y="354"/>
                  </a:lnTo>
                  <a:lnTo>
                    <a:pt x="190" y="348"/>
                  </a:lnTo>
                  <a:close/>
                  <a:moveTo>
                    <a:pt x="2122" y="580"/>
                  </a:moveTo>
                  <a:lnTo>
                    <a:pt x="2122" y="586"/>
                  </a:lnTo>
                  <a:lnTo>
                    <a:pt x="2128" y="586"/>
                  </a:lnTo>
                  <a:lnTo>
                    <a:pt x="2128" y="580"/>
                  </a:lnTo>
                  <a:lnTo>
                    <a:pt x="2122" y="580"/>
                  </a:lnTo>
                  <a:close/>
                  <a:moveTo>
                    <a:pt x="1792" y="748"/>
                  </a:moveTo>
                  <a:lnTo>
                    <a:pt x="1780" y="748"/>
                  </a:lnTo>
                  <a:lnTo>
                    <a:pt x="1780" y="754"/>
                  </a:lnTo>
                  <a:lnTo>
                    <a:pt x="1792" y="754"/>
                  </a:lnTo>
                  <a:lnTo>
                    <a:pt x="1792" y="748"/>
                  </a:lnTo>
                  <a:close/>
                  <a:moveTo>
                    <a:pt x="638" y="760"/>
                  </a:moveTo>
                  <a:lnTo>
                    <a:pt x="638" y="754"/>
                  </a:lnTo>
                  <a:lnTo>
                    <a:pt x="632" y="754"/>
                  </a:lnTo>
                  <a:lnTo>
                    <a:pt x="632" y="760"/>
                  </a:lnTo>
                  <a:lnTo>
                    <a:pt x="638" y="760"/>
                  </a:lnTo>
                  <a:close/>
                  <a:moveTo>
                    <a:pt x="1002" y="232"/>
                  </a:moveTo>
                  <a:lnTo>
                    <a:pt x="1008" y="232"/>
                  </a:lnTo>
                  <a:lnTo>
                    <a:pt x="1008" y="226"/>
                  </a:lnTo>
                  <a:lnTo>
                    <a:pt x="1002" y="226"/>
                  </a:lnTo>
                  <a:lnTo>
                    <a:pt x="1002" y="232"/>
                  </a:lnTo>
                  <a:close/>
                  <a:moveTo>
                    <a:pt x="360" y="382"/>
                  </a:moveTo>
                  <a:lnTo>
                    <a:pt x="360" y="388"/>
                  </a:lnTo>
                  <a:lnTo>
                    <a:pt x="364" y="388"/>
                  </a:lnTo>
                  <a:lnTo>
                    <a:pt x="364" y="382"/>
                  </a:lnTo>
                  <a:lnTo>
                    <a:pt x="360" y="382"/>
                  </a:lnTo>
                  <a:close/>
                  <a:moveTo>
                    <a:pt x="1008" y="214"/>
                  </a:moveTo>
                  <a:lnTo>
                    <a:pt x="1008" y="220"/>
                  </a:lnTo>
                  <a:lnTo>
                    <a:pt x="1014" y="220"/>
                  </a:lnTo>
                  <a:lnTo>
                    <a:pt x="1014" y="214"/>
                  </a:lnTo>
                  <a:lnTo>
                    <a:pt x="1008" y="214"/>
                  </a:lnTo>
                  <a:close/>
                  <a:moveTo>
                    <a:pt x="2504" y="418"/>
                  </a:moveTo>
                  <a:lnTo>
                    <a:pt x="2504" y="424"/>
                  </a:lnTo>
                  <a:lnTo>
                    <a:pt x="2510" y="424"/>
                  </a:lnTo>
                  <a:lnTo>
                    <a:pt x="2504" y="418"/>
                  </a:lnTo>
                  <a:close/>
                  <a:moveTo>
                    <a:pt x="2568" y="440"/>
                  </a:moveTo>
                  <a:lnTo>
                    <a:pt x="2562" y="440"/>
                  </a:lnTo>
                  <a:lnTo>
                    <a:pt x="2562" y="434"/>
                  </a:lnTo>
                  <a:lnTo>
                    <a:pt x="2550" y="434"/>
                  </a:lnTo>
                  <a:lnTo>
                    <a:pt x="2550" y="430"/>
                  </a:lnTo>
                  <a:lnTo>
                    <a:pt x="2546" y="430"/>
                  </a:lnTo>
                  <a:lnTo>
                    <a:pt x="2540" y="434"/>
                  </a:lnTo>
                  <a:lnTo>
                    <a:pt x="2528" y="434"/>
                  </a:lnTo>
                  <a:lnTo>
                    <a:pt x="2528" y="424"/>
                  </a:lnTo>
                  <a:lnTo>
                    <a:pt x="2510" y="424"/>
                  </a:lnTo>
                  <a:lnTo>
                    <a:pt x="2510" y="430"/>
                  </a:lnTo>
                  <a:lnTo>
                    <a:pt x="2516" y="430"/>
                  </a:lnTo>
                  <a:lnTo>
                    <a:pt x="2522" y="434"/>
                  </a:lnTo>
                  <a:lnTo>
                    <a:pt x="2516" y="434"/>
                  </a:lnTo>
                  <a:lnTo>
                    <a:pt x="2516" y="446"/>
                  </a:lnTo>
                  <a:lnTo>
                    <a:pt x="2510" y="446"/>
                  </a:lnTo>
                  <a:lnTo>
                    <a:pt x="2510" y="440"/>
                  </a:lnTo>
                  <a:lnTo>
                    <a:pt x="2504" y="440"/>
                  </a:lnTo>
                  <a:lnTo>
                    <a:pt x="2504" y="434"/>
                  </a:lnTo>
                  <a:lnTo>
                    <a:pt x="2510" y="434"/>
                  </a:lnTo>
                  <a:lnTo>
                    <a:pt x="2510" y="430"/>
                  </a:lnTo>
                  <a:lnTo>
                    <a:pt x="2504" y="430"/>
                  </a:lnTo>
                  <a:lnTo>
                    <a:pt x="2504" y="424"/>
                  </a:lnTo>
                  <a:lnTo>
                    <a:pt x="2498" y="424"/>
                  </a:lnTo>
                  <a:lnTo>
                    <a:pt x="2498" y="412"/>
                  </a:lnTo>
                  <a:lnTo>
                    <a:pt x="2488" y="406"/>
                  </a:lnTo>
                  <a:lnTo>
                    <a:pt x="2482" y="406"/>
                  </a:lnTo>
                  <a:lnTo>
                    <a:pt x="2482" y="400"/>
                  </a:lnTo>
                  <a:lnTo>
                    <a:pt x="2470" y="400"/>
                  </a:lnTo>
                  <a:lnTo>
                    <a:pt x="2470" y="394"/>
                  </a:lnTo>
                  <a:lnTo>
                    <a:pt x="2458" y="394"/>
                  </a:lnTo>
                  <a:lnTo>
                    <a:pt x="2458" y="388"/>
                  </a:lnTo>
                  <a:lnTo>
                    <a:pt x="2446" y="388"/>
                  </a:lnTo>
                  <a:lnTo>
                    <a:pt x="2446" y="382"/>
                  </a:lnTo>
                  <a:lnTo>
                    <a:pt x="2434" y="382"/>
                  </a:lnTo>
                  <a:lnTo>
                    <a:pt x="2434" y="376"/>
                  </a:lnTo>
                  <a:lnTo>
                    <a:pt x="2430" y="376"/>
                  </a:lnTo>
                  <a:lnTo>
                    <a:pt x="2424" y="372"/>
                  </a:lnTo>
                  <a:lnTo>
                    <a:pt x="2418" y="372"/>
                  </a:lnTo>
                  <a:lnTo>
                    <a:pt x="2412" y="366"/>
                  </a:lnTo>
                  <a:lnTo>
                    <a:pt x="2412" y="372"/>
                  </a:lnTo>
                  <a:lnTo>
                    <a:pt x="2406" y="372"/>
                  </a:lnTo>
                  <a:lnTo>
                    <a:pt x="2406" y="366"/>
                  </a:lnTo>
                  <a:lnTo>
                    <a:pt x="2400" y="366"/>
                  </a:lnTo>
                  <a:lnTo>
                    <a:pt x="2394" y="360"/>
                  </a:lnTo>
                  <a:lnTo>
                    <a:pt x="2372" y="360"/>
                  </a:lnTo>
                  <a:lnTo>
                    <a:pt x="2372" y="354"/>
                  </a:lnTo>
                  <a:lnTo>
                    <a:pt x="2330" y="354"/>
                  </a:lnTo>
                  <a:lnTo>
                    <a:pt x="2330" y="348"/>
                  </a:lnTo>
                  <a:lnTo>
                    <a:pt x="2324" y="348"/>
                  </a:lnTo>
                  <a:lnTo>
                    <a:pt x="2324" y="354"/>
                  </a:lnTo>
                  <a:lnTo>
                    <a:pt x="2318" y="354"/>
                  </a:lnTo>
                  <a:lnTo>
                    <a:pt x="2318" y="348"/>
                  </a:lnTo>
                  <a:lnTo>
                    <a:pt x="2296" y="348"/>
                  </a:lnTo>
                  <a:lnTo>
                    <a:pt x="2296" y="342"/>
                  </a:lnTo>
                  <a:lnTo>
                    <a:pt x="2284" y="342"/>
                  </a:lnTo>
                  <a:lnTo>
                    <a:pt x="2284" y="360"/>
                  </a:lnTo>
                  <a:lnTo>
                    <a:pt x="2290" y="360"/>
                  </a:lnTo>
                  <a:lnTo>
                    <a:pt x="2290" y="376"/>
                  </a:lnTo>
                  <a:lnTo>
                    <a:pt x="2284" y="376"/>
                  </a:lnTo>
                  <a:lnTo>
                    <a:pt x="2284" y="382"/>
                  </a:lnTo>
                  <a:lnTo>
                    <a:pt x="2266" y="382"/>
                  </a:lnTo>
                  <a:lnTo>
                    <a:pt x="2266" y="372"/>
                  </a:lnTo>
                  <a:lnTo>
                    <a:pt x="2250" y="372"/>
                  </a:lnTo>
                  <a:lnTo>
                    <a:pt x="2250" y="360"/>
                  </a:lnTo>
                  <a:lnTo>
                    <a:pt x="2150" y="360"/>
                  </a:lnTo>
                  <a:lnTo>
                    <a:pt x="2150" y="382"/>
                  </a:lnTo>
                  <a:lnTo>
                    <a:pt x="2146" y="382"/>
                  </a:lnTo>
                  <a:lnTo>
                    <a:pt x="2146" y="388"/>
                  </a:lnTo>
                  <a:lnTo>
                    <a:pt x="2140" y="388"/>
                  </a:lnTo>
                  <a:lnTo>
                    <a:pt x="2146" y="382"/>
                  </a:lnTo>
                  <a:lnTo>
                    <a:pt x="2146" y="372"/>
                  </a:lnTo>
                  <a:lnTo>
                    <a:pt x="2140" y="372"/>
                  </a:lnTo>
                  <a:lnTo>
                    <a:pt x="2140" y="360"/>
                  </a:lnTo>
                  <a:lnTo>
                    <a:pt x="2128" y="360"/>
                  </a:lnTo>
                  <a:lnTo>
                    <a:pt x="2122" y="354"/>
                  </a:lnTo>
                  <a:lnTo>
                    <a:pt x="2122" y="348"/>
                  </a:lnTo>
                  <a:lnTo>
                    <a:pt x="2128" y="342"/>
                  </a:lnTo>
                  <a:lnTo>
                    <a:pt x="2128" y="330"/>
                  </a:lnTo>
                  <a:lnTo>
                    <a:pt x="2116" y="330"/>
                  </a:lnTo>
                  <a:lnTo>
                    <a:pt x="2110" y="324"/>
                  </a:lnTo>
                  <a:lnTo>
                    <a:pt x="2104" y="324"/>
                  </a:lnTo>
                  <a:lnTo>
                    <a:pt x="2098" y="318"/>
                  </a:lnTo>
                  <a:lnTo>
                    <a:pt x="2034" y="318"/>
                  </a:lnTo>
                  <a:lnTo>
                    <a:pt x="2034" y="324"/>
                  </a:lnTo>
                  <a:lnTo>
                    <a:pt x="2006" y="324"/>
                  </a:lnTo>
                  <a:lnTo>
                    <a:pt x="2006" y="318"/>
                  </a:lnTo>
                  <a:lnTo>
                    <a:pt x="2000" y="318"/>
                  </a:lnTo>
                  <a:lnTo>
                    <a:pt x="2000" y="312"/>
                  </a:lnTo>
                  <a:lnTo>
                    <a:pt x="1994" y="312"/>
                  </a:lnTo>
                  <a:lnTo>
                    <a:pt x="1988" y="308"/>
                  </a:lnTo>
                  <a:lnTo>
                    <a:pt x="1982" y="312"/>
                  </a:lnTo>
                  <a:lnTo>
                    <a:pt x="1982" y="308"/>
                  </a:lnTo>
                  <a:lnTo>
                    <a:pt x="1966" y="308"/>
                  </a:lnTo>
                  <a:lnTo>
                    <a:pt x="1966" y="302"/>
                  </a:lnTo>
                  <a:lnTo>
                    <a:pt x="1960" y="302"/>
                  </a:lnTo>
                  <a:lnTo>
                    <a:pt x="1960" y="296"/>
                  </a:lnTo>
                  <a:lnTo>
                    <a:pt x="1966" y="296"/>
                  </a:lnTo>
                  <a:lnTo>
                    <a:pt x="1972" y="302"/>
                  </a:lnTo>
                  <a:lnTo>
                    <a:pt x="1972" y="290"/>
                  </a:lnTo>
                  <a:lnTo>
                    <a:pt x="1960" y="290"/>
                  </a:lnTo>
                  <a:lnTo>
                    <a:pt x="1960" y="284"/>
                  </a:lnTo>
                  <a:lnTo>
                    <a:pt x="1930" y="284"/>
                  </a:lnTo>
                  <a:lnTo>
                    <a:pt x="1924" y="290"/>
                  </a:lnTo>
                  <a:lnTo>
                    <a:pt x="1914" y="302"/>
                  </a:lnTo>
                  <a:lnTo>
                    <a:pt x="1908" y="302"/>
                  </a:lnTo>
                  <a:lnTo>
                    <a:pt x="1902" y="308"/>
                  </a:lnTo>
                  <a:lnTo>
                    <a:pt x="1902" y="302"/>
                  </a:lnTo>
                  <a:lnTo>
                    <a:pt x="1896" y="302"/>
                  </a:lnTo>
                  <a:lnTo>
                    <a:pt x="1902" y="296"/>
                  </a:lnTo>
                  <a:lnTo>
                    <a:pt x="1908" y="296"/>
                  </a:lnTo>
                  <a:lnTo>
                    <a:pt x="1908" y="290"/>
                  </a:lnTo>
                  <a:lnTo>
                    <a:pt x="1924" y="290"/>
                  </a:lnTo>
                  <a:lnTo>
                    <a:pt x="1924" y="284"/>
                  </a:lnTo>
                  <a:lnTo>
                    <a:pt x="1918" y="278"/>
                  </a:lnTo>
                  <a:lnTo>
                    <a:pt x="1902" y="278"/>
                  </a:lnTo>
                  <a:lnTo>
                    <a:pt x="1902" y="284"/>
                  </a:lnTo>
                  <a:lnTo>
                    <a:pt x="1896" y="284"/>
                  </a:lnTo>
                  <a:lnTo>
                    <a:pt x="1896" y="290"/>
                  </a:lnTo>
                  <a:lnTo>
                    <a:pt x="1890" y="290"/>
                  </a:lnTo>
                  <a:lnTo>
                    <a:pt x="1884" y="290"/>
                  </a:lnTo>
                  <a:lnTo>
                    <a:pt x="1884" y="284"/>
                  </a:lnTo>
                  <a:lnTo>
                    <a:pt x="1890" y="284"/>
                  </a:lnTo>
                  <a:lnTo>
                    <a:pt x="1890" y="290"/>
                  </a:lnTo>
                  <a:lnTo>
                    <a:pt x="1896" y="284"/>
                  </a:lnTo>
                  <a:lnTo>
                    <a:pt x="1896" y="278"/>
                  </a:lnTo>
                  <a:lnTo>
                    <a:pt x="1884" y="278"/>
                  </a:lnTo>
                  <a:lnTo>
                    <a:pt x="1878" y="272"/>
                  </a:lnTo>
                  <a:lnTo>
                    <a:pt x="1844" y="272"/>
                  </a:lnTo>
                  <a:lnTo>
                    <a:pt x="1844" y="266"/>
                  </a:lnTo>
                  <a:lnTo>
                    <a:pt x="1832" y="266"/>
                  </a:lnTo>
                  <a:lnTo>
                    <a:pt x="1832" y="272"/>
                  </a:lnTo>
                  <a:lnTo>
                    <a:pt x="1838" y="272"/>
                  </a:lnTo>
                  <a:lnTo>
                    <a:pt x="1838" y="278"/>
                  </a:lnTo>
                  <a:lnTo>
                    <a:pt x="1814" y="278"/>
                  </a:lnTo>
                  <a:lnTo>
                    <a:pt x="1808" y="284"/>
                  </a:lnTo>
                  <a:lnTo>
                    <a:pt x="1808" y="290"/>
                  </a:lnTo>
                  <a:lnTo>
                    <a:pt x="1814" y="290"/>
                  </a:lnTo>
                  <a:lnTo>
                    <a:pt x="1820" y="284"/>
                  </a:lnTo>
                  <a:lnTo>
                    <a:pt x="1826" y="290"/>
                  </a:lnTo>
                  <a:lnTo>
                    <a:pt x="1820" y="290"/>
                  </a:lnTo>
                  <a:lnTo>
                    <a:pt x="1820" y="308"/>
                  </a:lnTo>
                  <a:lnTo>
                    <a:pt x="1792" y="308"/>
                  </a:lnTo>
                  <a:lnTo>
                    <a:pt x="1792" y="318"/>
                  </a:lnTo>
                  <a:lnTo>
                    <a:pt x="1786" y="312"/>
                  </a:lnTo>
                  <a:lnTo>
                    <a:pt x="1780" y="308"/>
                  </a:lnTo>
                  <a:lnTo>
                    <a:pt x="1740" y="308"/>
                  </a:lnTo>
                  <a:lnTo>
                    <a:pt x="1740" y="312"/>
                  </a:lnTo>
                  <a:lnTo>
                    <a:pt x="1734" y="308"/>
                  </a:lnTo>
                  <a:lnTo>
                    <a:pt x="1716" y="308"/>
                  </a:lnTo>
                  <a:lnTo>
                    <a:pt x="1716" y="296"/>
                  </a:lnTo>
                  <a:lnTo>
                    <a:pt x="1710" y="296"/>
                  </a:lnTo>
                  <a:lnTo>
                    <a:pt x="1704" y="302"/>
                  </a:lnTo>
                  <a:lnTo>
                    <a:pt x="1704" y="318"/>
                  </a:lnTo>
                  <a:lnTo>
                    <a:pt x="1698" y="318"/>
                  </a:lnTo>
                  <a:lnTo>
                    <a:pt x="1692" y="324"/>
                  </a:lnTo>
                  <a:lnTo>
                    <a:pt x="1686" y="330"/>
                  </a:lnTo>
                  <a:lnTo>
                    <a:pt x="1686" y="324"/>
                  </a:lnTo>
                  <a:lnTo>
                    <a:pt x="1682" y="318"/>
                  </a:lnTo>
                  <a:lnTo>
                    <a:pt x="1682" y="324"/>
                  </a:lnTo>
                  <a:lnTo>
                    <a:pt x="1676" y="324"/>
                  </a:lnTo>
                  <a:lnTo>
                    <a:pt x="1676" y="318"/>
                  </a:lnTo>
                  <a:lnTo>
                    <a:pt x="1664" y="318"/>
                  </a:lnTo>
                  <a:lnTo>
                    <a:pt x="1664" y="308"/>
                  </a:lnTo>
                  <a:lnTo>
                    <a:pt x="1652" y="308"/>
                  </a:lnTo>
                  <a:lnTo>
                    <a:pt x="1652" y="296"/>
                  </a:lnTo>
                  <a:lnTo>
                    <a:pt x="1646" y="296"/>
                  </a:lnTo>
                  <a:lnTo>
                    <a:pt x="1646" y="290"/>
                  </a:lnTo>
                  <a:lnTo>
                    <a:pt x="1640" y="290"/>
                  </a:lnTo>
                  <a:lnTo>
                    <a:pt x="1640" y="284"/>
                  </a:lnTo>
                  <a:lnTo>
                    <a:pt x="1628" y="284"/>
                  </a:lnTo>
                  <a:lnTo>
                    <a:pt x="1628" y="278"/>
                  </a:lnTo>
                  <a:lnTo>
                    <a:pt x="1624" y="278"/>
                  </a:lnTo>
                  <a:lnTo>
                    <a:pt x="1624" y="290"/>
                  </a:lnTo>
                  <a:lnTo>
                    <a:pt x="1618" y="284"/>
                  </a:lnTo>
                  <a:lnTo>
                    <a:pt x="1600" y="284"/>
                  </a:lnTo>
                  <a:lnTo>
                    <a:pt x="1600" y="278"/>
                  </a:lnTo>
                  <a:lnTo>
                    <a:pt x="1588" y="278"/>
                  </a:lnTo>
                  <a:lnTo>
                    <a:pt x="1582" y="272"/>
                  </a:lnTo>
                  <a:lnTo>
                    <a:pt x="1560" y="272"/>
                  </a:lnTo>
                  <a:lnTo>
                    <a:pt x="1560" y="266"/>
                  </a:lnTo>
                  <a:lnTo>
                    <a:pt x="1512" y="266"/>
                  </a:lnTo>
                  <a:lnTo>
                    <a:pt x="1508" y="260"/>
                  </a:lnTo>
                  <a:lnTo>
                    <a:pt x="1502" y="260"/>
                  </a:lnTo>
                  <a:lnTo>
                    <a:pt x="1496" y="254"/>
                  </a:lnTo>
                  <a:lnTo>
                    <a:pt x="1508" y="254"/>
                  </a:lnTo>
                  <a:lnTo>
                    <a:pt x="1502" y="250"/>
                  </a:lnTo>
                  <a:lnTo>
                    <a:pt x="1472" y="250"/>
                  </a:lnTo>
                  <a:lnTo>
                    <a:pt x="1472" y="244"/>
                  </a:lnTo>
                  <a:lnTo>
                    <a:pt x="1444" y="244"/>
                  </a:lnTo>
                  <a:lnTo>
                    <a:pt x="1444" y="250"/>
                  </a:lnTo>
                  <a:lnTo>
                    <a:pt x="1420" y="250"/>
                  </a:lnTo>
                  <a:lnTo>
                    <a:pt x="1420" y="254"/>
                  </a:lnTo>
                  <a:lnTo>
                    <a:pt x="1414" y="254"/>
                  </a:lnTo>
                  <a:lnTo>
                    <a:pt x="1420" y="250"/>
                  </a:lnTo>
                  <a:lnTo>
                    <a:pt x="1420" y="244"/>
                  </a:lnTo>
                  <a:lnTo>
                    <a:pt x="1386" y="244"/>
                  </a:lnTo>
                  <a:lnTo>
                    <a:pt x="1380" y="238"/>
                  </a:lnTo>
                  <a:lnTo>
                    <a:pt x="1368" y="238"/>
                  </a:lnTo>
                  <a:lnTo>
                    <a:pt x="1368" y="244"/>
                  </a:lnTo>
                  <a:lnTo>
                    <a:pt x="1374" y="244"/>
                  </a:lnTo>
                  <a:lnTo>
                    <a:pt x="1374" y="250"/>
                  </a:lnTo>
                  <a:lnTo>
                    <a:pt x="1368" y="250"/>
                  </a:lnTo>
                  <a:lnTo>
                    <a:pt x="1368" y="254"/>
                  </a:lnTo>
                  <a:lnTo>
                    <a:pt x="1340" y="254"/>
                  </a:lnTo>
                  <a:lnTo>
                    <a:pt x="1340" y="260"/>
                  </a:lnTo>
                  <a:lnTo>
                    <a:pt x="1310" y="260"/>
                  </a:lnTo>
                  <a:lnTo>
                    <a:pt x="1310" y="266"/>
                  </a:lnTo>
                  <a:lnTo>
                    <a:pt x="1304" y="266"/>
                  </a:lnTo>
                  <a:lnTo>
                    <a:pt x="1298" y="272"/>
                  </a:lnTo>
                  <a:lnTo>
                    <a:pt x="1292" y="272"/>
                  </a:lnTo>
                  <a:lnTo>
                    <a:pt x="1298" y="266"/>
                  </a:lnTo>
                  <a:lnTo>
                    <a:pt x="1304" y="266"/>
                  </a:lnTo>
                  <a:lnTo>
                    <a:pt x="1304" y="254"/>
                  </a:lnTo>
                  <a:lnTo>
                    <a:pt x="1322" y="254"/>
                  </a:lnTo>
                  <a:lnTo>
                    <a:pt x="1328" y="250"/>
                  </a:lnTo>
                  <a:lnTo>
                    <a:pt x="1334" y="250"/>
                  </a:lnTo>
                  <a:lnTo>
                    <a:pt x="1340" y="244"/>
                  </a:lnTo>
                  <a:lnTo>
                    <a:pt x="1350" y="244"/>
                  </a:lnTo>
                  <a:lnTo>
                    <a:pt x="1350" y="238"/>
                  </a:lnTo>
                  <a:lnTo>
                    <a:pt x="1356" y="238"/>
                  </a:lnTo>
                  <a:lnTo>
                    <a:pt x="1356" y="232"/>
                  </a:lnTo>
                  <a:lnTo>
                    <a:pt x="1368" y="232"/>
                  </a:lnTo>
                  <a:lnTo>
                    <a:pt x="1368" y="226"/>
                  </a:lnTo>
                  <a:lnTo>
                    <a:pt x="1380" y="226"/>
                  </a:lnTo>
                  <a:lnTo>
                    <a:pt x="1380" y="220"/>
                  </a:lnTo>
                  <a:lnTo>
                    <a:pt x="1386" y="220"/>
                  </a:lnTo>
                  <a:lnTo>
                    <a:pt x="1386" y="214"/>
                  </a:lnTo>
                  <a:lnTo>
                    <a:pt x="1402" y="214"/>
                  </a:lnTo>
                  <a:lnTo>
                    <a:pt x="1402" y="208"/>
                  </a:lnTo>
                  <a:lnTo>
                    <a:pt x="1408" y="208"/>
                  </a:lnTo>
                  <a:lnTo>
                    <a:pt x="1414" y="202"/>
                  </a:lnTo>
                  <a:lnTo>
                    <a:pt x="1420" y="202"/>
                  </a:lnTo>
                  <a:lnTo>
                    <a:pt x="1420" y="196"/>
                  </a:lnTo>
                  <a:lnTo>
                    <a:pt x="1426" y="196"/>
                  </a:lnTo>
                  <a:lnTo>
                    <a:pt x="1420" y="192"/>
                  </a:lnTo>
                  <a:lnTo>
                    <a:pt x="1426" y="192"/>
                  </a:lnTo>
                  <a:lnTo>
                    <a:pt x="1426" y="180"/>
                  </a:lnTo>
                  <a:lnTo>
                    <a:pt x="1420" y="180"/>
                  </a:lnTo>
                  <a:lnTo>
                    <a:pt x="1420" y="168"/>
                  </a:lnTo>
                  <a:lnTo>
                    <a:pt x="1414" y="174"/>
                  </a:lnTo>
                  <a:lnTo>
                    <a:pt x="1414" y="180"/>
                  </a:lnTo>
                  <a:lnTo>
                    <a:pt x="1408" y="180"/>
                  </a:lnTo>
                  <a:lnTo>
                    <a:pt x="1408" y="186"/>
                  </a:lnTo>
                  <a:lnTo>
                    <a:pt x="1414" y="186"/>
                  </a:lnTo>
                  <a:lnTo>
                    <a:pt x="1414" y="192"/>
                  </a:lnTo>
                  <a:lnTo>
                    <a:pt x="1408" y="192"/>
                  </a:lnTo>
                  <a:lnTo>
                    <a:pt x="1408" y="186"/>
                  </a:lnTo>
                  <a:lnTo>
                    <a:pt x="1402" y="186"/>
                  </a:lnTo>
                  <a:lnTo>
                    <a:pt x="1402" y="180"/>
                  </a:lnTo>
                  <a:lnTo>
                    <a:pt x="1408" y="180"/>
                  </a:lnTo>
                  <a:lnTo>
                    <a:pt x="1408" y="168"/>
                  </a:lnTo>
                  <a:lnTo>
                    <a:pt x="1402" y="162"/>
                  </a:lnTo>
                  <a:lnTo>
                    <a:pt x="1392" y="162"/>
                  </a:lnTo>
                  <a:lnTo>
                    <a:pt x="1392" y="156"/>
                  </a:lnTo>
                  <a:lnTo>
                    <a:pt x="1340" y="156"/>
                  </a:lnTo>
                  <a:lnTo>
                    <a:pt x="1340" y="162"/>
                  </a:lnTo>
                  <a:lnTo>
                    <a:pt x="1322" y="162"/>
                  </a:lnTo>
                  <a:lnTo>
                    <a:pt x="1322" y="150"/>
                  </a:lnTo>
                  <a:lnTo>
                    <a:pt x="1304" y="150"/>
                  </a:lnTo>
                  <a:lnTo>
                    <a:pt x="1304" y="144"/>
                  </a:lnTo>
                  <a:lnTo>
                    <a:pt x="1292" y="144"/>
                  </a:lnTo>
                  <a:lnTo>
                    <a:pt x="1292" y="138"/>
                  </a:lnTo>
                  <a:lnTo>
                    <a:pt x="1304" y="138"/>
                  </a:lnTo>
                  <a:lnTo>
                    <a:pt x="1304" y="134"/>
                  </a:lnTo>
                  <a:lnTo>
                    <a:pt x="1292" y="134"/>
                  </a:lnTo>
                  <a:lnTo>
                    <a:pt x="1292" y="128"/>
                  </a:lnTo>
                  <a:lnTo>
                    <a:pt x="1264" y="128"/>
                  </a:lnTo>
                  <a:lnTo>
                    <a:pt x="1264" y="134"/>
                  </a:lnTo>
                  <a:lnTo>
                    <a:pt x="1252" y="134"/>
                  </a:lnTo>
                  <a:lnTo>
                    <a:pt x="1252" y="138"/>
                  </a:lnTo>
                  <a:lnTo>
                    <a:pt x="1246" y="138"/>
                  </a:lnTo>
                  <a:lnTo>
                    <a:pt x="1240" y="144"/>
                  </a:lnTo>
                  <a:lnTo>
                    <a:pt x="1234" y="144"/>
                  </a:lnTo>
                  <a:lnTo>
                    <a:pt x="1234" y="150"/>
                  </a:lnTo>
                  <a:lnTo>
                    <a:pt x="1228" y="150"/>
                  </a:lnTo>
                  <a:lnTo>
                    <a:pt x="1228" y="156"/>
                  </a:lnTo>
                  <a:lnTo>
                    <a:pt x="1234" y="156"/>
                  </a:lnTo>
                  <a:lnTo>
                    <a:pt x="1234" y="162"/>
                  </a:lnTo>
                  <a:lnTo>
                    <a:pt x="1200" y="162"/>
                  </a:lnTo>
                  <a:lnTo>
                    <a:pt x="1200" y="168"/>
                  </a:lnTo>
                  <a:lnTo>
                    <a:pt x="1212" y="168"/>
                  </a:lnTo>
                  <a:lnTo>
                    <a:pt x="1212" y="174"/>
                  </a:lnTo>
                  <a:lnTo>
                    <a:pt x="1218" y="174"/>
                  </a:lnTo>
                  <a:lnTo>
                    <a:pt x="1218" y="180"/>
                  </a:lnTo>
                  <a:lnTo>
                    <a:pt x="1212" y="186"/>
                  </a:lnTo>
                  <a:lnTo>
                    <a:pt x="1212" y="174"/>
                  </a:lnTo>
                  <a:lnTo>
                    <a:pt x="1200" y="174"/>
                  </a:lnTo>
                  <a:lnTo>
                    <a:pt x="1200" y="168"/>
                  </a:lnTo>
                  <a:lnTo>
                    <a:pt x="1194" y="174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60" y="180"/>
                  </a:lnTo>
                  <a:lnTo>
                    <a:pt x="1154" y="174"/>
                  </a:lnTo>
                  <a:lnTo>
                    <a:pt x="1136" y="174"/>
                  </a:lnTo>
                  <a:lnTo>
                    <a:pt x="1142" y="180"/>
                  </a:lnTo>
                  <a:lnTo>
                    <a:pt x="1130" y="180"/>
                  </a:lnTo>
                  <a:lnTo>
                    <a:pt x="1124" y="174"/>
                  </a:lnTo>
                  <a:lnTo>
                    <a:pt x="1118" y="174"/>
                  </a:lnTo>
                  <a:lnTo>
                    <a:pt x="1118" y="186"/>
                  </a:lnTo>
                  <a:lnTo>
                    <a:pt x="1090" y="186"/>
                  </a:lnTo>
                  <a:lnTo>
                    <a:pt x="1090" y="192"/>
                  </a:lnTo>
                  <a:lnTo>
                    <a:pt x="1060" y="192"/>
                  </a:lnTo>
                  <a:lnTo>
                    <a:pt x="1054" y="196"/>
                  </a:lnTo>
                  <a:lnTo>
                    <a:pt x="1054" y="192"/>
                  </a:lnTo>
                  <a:lnTo>
                    <a:pt x="1050" y="192"/>
                  </a:lnTo>
                  <a:lnTo>
                    <a:pt x="1050" y="196"/>
                  </a:lnTo>
                  <a:lnTo>
                    <a:pt x="1044" y="196"/>
                  </a:lnTo>
                  <a:lnTo>
                    <a:pt x="1038" y="202"/>
                  </a:lnTo>
                  <a:lnTo>
                    <a:pt x="1032" y="202"/>
                  </a:lnTo>
                  <a:lnTo>
                    <a:pt x="1032" y="208"/>
                  </a:lnTo>
                  <a:lnTo>
                    <a:pt x="1026" y="208"/>
                  </a:lnTo>
                  <a:lnTo>
                    <a:pt x="1026" y="214"/>
                  </a:lnTo>
                  <a:lnTo>
                    <a:pt x="1020" y="214"/>
                  </a:lnTo>
                  <a:lnTo>
                    <a:pt x="1020" y="220"/>
                  </a:lnTo>
                  <a:lnTo>
                    <a:pt x="1014" y="220"/>
                  </a:lnTo>
                  <a:lnTo>
                    <a:pt x="1014" y="226"/>
                  </a:lnTo>
                  <a:lnTo>
                    <a:pt x="1008" y="226"/>
                  </a:lnTo>
                  <a:lnTo>
                    <a:pt x="1014" y="232"/>
                  </a:lnTo>
                  <a:lnTo>
                    <a:pt x="1020" y="226"/>
                  </a:lnTo>
                  <a:lnTo>
                    <a:pt x="1026" y="226"/>
                  </a:lnTo>
                  <a:lnTo>
                    <a:pt x="1020" y="232"/>
                  </a:lnTo>
                  <a:lnTo>
                    <a:pt x="1026" y="232"/>
                  </a:lnTo>
                  <a:lnTo>
                    <a:pt x="1026" y="250"/>
                  </a:lnTo>
                  <a:lnTo>
                    <a:pt x="1014" y="250"/>
                  </a:lnTo>
                  <a:lnTo>
                    <a:pt x="1014" y="244"/>
                  </a:lnTo>
                  <a:lnTo>
                    <a:pt x="938" y="244"/>
                  </a:lnTo>
                  <a:lnTo>
                    <a:pt x="934" y="250"/>
                  </a:lnTo>
                  <a:lnTo>
                    <a:pt x="922" y="250"/>
                  </a:lnTo>
                  <a:lnTo>
                    <a:pt x="922" y="266"/>
                  </a:lnTo>
                  <a:lnTo>
                    <a:pt x="928" y="266"/>
                  </a:lnTo>
                  <a:lnTo>
                    <a:pt x="922" y="272"/>
                  </a:lnTo>
                  <a:lnTo>
                    <a:pt x="922" y="278"/>
                  </a:lnTo>
                  <a:lnTo>
                    <a:pt x="934" y="278"/>
                  </a:lnTo>
                  <a:lnTo>
                    <a:pt x="934" y="284"/>
                  </a:lnTo>
                  <a:lnTo>
                    <a:pt x="944" y="284"/>
                  </a:lnTo>
                  <a:lnTo>
                    <a:pt x="944" y="296"/>
                  </a:lnTo>
                  <a:lnTo>
                    <a:pt x="968" y="296"/>
                  </a:lnTo>
                  <a:lnTo>
                    <a:pt x="968" y="308"/>
                  </a:lnTo>
                  <a:lnTo>
                    <a:pt x="962" y="308"/>
                  </a:lnTo>
                  <a:lnTo>
                    <a:pt x="962" y="318"/>
                  </a:lnTo>
                  <a:lnTo>
                    <a:pt x="968" y="324"/>
                  </a:lnTo>
                  <a:lnTo>
                    <a:pt x="968" y="330"/>
                  </a:lnTo>
                  <a:lnTo>
                    <a:pt x="974" y="330"/>
                  </a:lnTo>
                  <a:lnTo>
                    <a:pt x="974" y="336"/>
                  </a:lnTo>
                  <a:lnTo>
                    <a:pt x="968" y="336"/>
                  </a:lnTo>
                  <a:lnTo>
                    <a:pt x="968" y="342"/>
                  </a:lnTo>
                  <a:lnTo>
                    <a:pt x="956" y="342"/>
                  </a:lnTo>
                  <a:lnTo>
                    <a:pt x="962" y="336"/>
                  </a:lnTo>
                  <a:lnTo>
                    <a:pt x="962" y="318"/>
                  </a:lnTo>
                  <a:lnTo>
                    <a:pt x="956" y="318"/>
                  </a:lnTo>
                  <a:lnTo>
                    <a:pt x="950" y="324"/>
                  </a:lnTo>
                  <a:lnTo>
                    <a:pt x="950" y="330"/>
                  </a:lnTo>
                  <a:lnTo>
                    <a:pt x="944" y="324"/>
                  </a:lnTo>
                  <a:lnTo>
                    <a:pt x="944" y="312"/>
                  </a:lnTo>
                  <a:lnTo>
                    <a:pt x="956" y="312"/>
                  </a:lnTo>
                  <a:lnTo>
                    <a:pt x="956" y="308"/>
                  </a:lnTo>
                  <a:lnTo>
                    <a:pt x="962" y="308"/>
                  </a:lnTo>
                  <a:lnTo>
                    <a:pt x="962" y="302"/>
                  </a:lnTo>
                  <a:lnTo>
                    <a:pt x="934" y="302"/>
                  </a:lnTo>
                  <a:lnTo>
                    <a:pt x="934" y="296"/>
                  </a:lnTo>
                  <a:lnTo>
                    <a:pt x="928" y="296"/>
                  </a:lnTo>
                  <a:lnTo>
                    <a:pt x="928" y="290"/>
                  </a:lnTo>
                  <a:lnTo>
                    <a:pt x="916" y="290"/>
                  </a:lnTo>
                  <a:lnTo>
                    <a:pt x="910" y="284"/>
                  </a:lnTo>
                  <a:lnTo>
                    <a:pt x="904" y="278"/>
                  </a:lnTo>
                  <a:lnTo>
                    <a:pt x="886" y="278"/>
                  </a:lnTo>
                  <a:lnTo>
                    <a:pt x="886" y="284"/>
                  </a:lnTo>
                  <a:lnTo>
                    <a:pt x="880" y="284"/>
                  </a:lnTo>
                  <a:lnTo>
                    <a:pt x="880" y="290"/>
                  </a:lnTo>
                  <a:lnTo>
                    <a:pt x="876" y="290"/>
                  </a:lnTo>
                  <a:lnTo>
                    <a:pt x="876" y="296"/>
                  </a:lnTo>
                  <a:lnTo>
                    <a:pt x="858" y="296"/>
                  </a:lnTo>
                  <a:lnTo>
                    <a:pt x="858" y="308"/>
                  </a:lnTo>
                  <a:lnTo>
                    <a:pt x="870" y="308"/>
                  </a:lnTo>
                  <a:lnTo>
                    <a:pt x="870" y="312"/>
                  </a:lnTo>
                  <a:lnTo>
                    <a:pt x="886" y="312"/>
                  </a:lnTo>
                  <a:lnTo>
                    <a:pt x="886" y="318"/>
                  </a:lnTo>
                  <a:lnTo>
                    <a:pt x="892" y="318"/>
                  </a:lnTo>
                  <a:lnTo>
                    <a:pt x="898" y="324"/>
                  </a:lnTo>
                  <a:lnTo>
                    <a:pt x="886" y="324"/>
                  </a:lnTo>
                  <a:lnTo>
                    <a:pt x="880" y="318"/>
                  </a:lnTo>
                  <a:lnTo>
                    <a:pt x="858" y="318"/>
                  </a:lnTo>
                  <a:lnTo>
                    <a:pt x="852" y="312"/>
                  </a:lnTo>
                  <a:lnTo>
                    <a:pt x="846" y="312"/>
                  </a:lnTo>
                  <a:lnTo>
                    <a:pt x="846" y="302"/>
                  </a:lnTo>
                  <a:lnTo>
                    <a:pt x="840" y="302"/>
                  </a:lnTo>
                  <a:lnTo>
                    <a:pt x="840" y="296"/>
                  </a:lnTo>
                  <a:lnTo>
                    <a:pt x="846" y="296"/>
                  </a:lnTo>
                  <a:lnTo>
                    <a:pt x="846" y="266"/>
                  </a:lnTo>
                  <a:lnTo>
                    <a:pt x="834" y="266"/>
                  </a:lnTo>
                  <a:lnTo>
                    <a:pt x="834" y="272"/>
                  </a:lnTo>
                  <a:lnTo>
                    <a:pt x="840" y="272"/>
                  </a:lnTo>
                  <a:lnTo>
                    <a:pt x="840" y="290"/>
                  </a:lnTo>
                  <a:lnTo>
                    <a:pt x="834" y="290"/>
                  </a:lnTo>
                  <a:lnTo>
                    <a:pt x="834" y="296"/>
                  </a:lnTo>
                  <a:lnTo>
                    <a:pt x="818" y="296"/>
                  </a:lnTo>
                  <a:lnTo>
                    <a:pt x="818" y="308"/>
                  </a:lnTo>
                  <a:lnTo>
                    <a:pt x="812" y="308"/>
                  </a:lnTo>
                  <a:lnTo>
                    <a:pt x="812" y="312"/>
                  </a:lnTo>
                  <a:lnTo>
                    <a:pt x="818" y="312"/>
                  </a:lnTo>
                  <a:lnTo>
                    <a:pt x="818" y="318"/>
                  </a:lnTo>
                  <a:lnTo>
                    <a:pt x="822" y="318"/>
                  </a:lnTo>
                  <a:lnTo>
                    <a:pt x="822" y="330"/>
                  </a:lnTo>
                  <a:lnTo>
                    <a:pt x="828" y="330"/>
                  </a:lnTo>
                  <a:lnTo>
                    <a:pt x="828" y="336"/>
                  </a:lnTo>
                  <a:lnTo>
                    <a:pt x="822" y="336"/>
                  </a:lnTo>
                  <a:lnTo>
                    <a:pt x="822" y="342"/>
                  </a:lnTo>
                  <a:lnTo>
                    <a:pt x="818" y="354"/>
                  </a:lnTo>
                  <a:lnTo>
                    <a:pt x="818" y="360"/>
                  </a:lnTo>
                  <a:lnTo>
                    <a:pt x="822" y="360"/>
                  </a:lnTo>
                  <a:lnTo>
                    <a:pt x="822" y="372"/>
                  </a:lnTo>
                  <a:lnTo>
                    <a:pt x="870" y="372"/>
                  </a:lnTo>
                  <a:lnTo>
                    <a:pt x="870" y="376"/>
                  </a:lnTo>
                  <a:lnTo>
                    <a:pt x="880" y="376"/>
                  </a:lnTo>
                  <a:lnTo>
                    <a:pt x="880" y="394"/>
                  </a:lnTo>
                  <a:lnTo>
                    <a:pt x="876" y="394"/>
                  </a:lnTo>
                  <a:lnTo>
                    <a:pt x="876" y="412"/>
                  </a:lnTo>
                  <a:lnTo>
                    <a:pt x="870" y="412"/>
                  </a:lnTo>
                  <a:lnTo>
                    <a:pt x="870" y="382"/>
                  </a:lnTo>
                  <a:lnTo>
                    <a:pt x="864" y="382"/>
                  </a:lnTo>
                  <a:lnTo>
                    <a:pt x="864" y="376"/>
                  </a:lnTo>
                  <a:lnTo>
                    <a:pt x="846" y="376"/>
                  </a:lnTo>
                  <a:lnTo>
                    <a:pt x="840" y="382"/>
                  </a:lnTo>
                  <a:lnTo>
                    <a:pt x="828" y="382"/>
                  </a:lnTo>
                  <a:lnTo>
                    <a:pt x="828" y="394"/>
                  </a:lnTo>
                  <a:lnTo>
                    <a:pt x="834" y="394"/>
                  </a:lnTo>
                  <a:lnTo>
                    <a:pt x="834" y="412"/>
                  </a:lnTo>
                  <a:lnTo>
                    <a:pt x="828" y="412"/>
                  </a:lnTo>
                  <a:lnTo>
                    <a:pt x="828" y="418"/>
                  </a:lnTo>
                  <a:lnTo>
                    <a:pt x="822" y="418"/>
                  </a:lnTo>
                  <a:lnTo>
                    <a:pt x="822" y="430"/>
                  </a:lnTo>
                  <a:lnTo>
                    <a:pt x="818" y="434"/>
                  </a:lnTo>
                  <a:lnTo>
                    <a:pt x="806" y="434"/>
                  </a:lnTo>
                  <a:lnTo>
                    <a:pt x="806" y="440"/>
                  </a:lnTo>
                  <a:lnTo>
                    <a:pt x="800" y="440"/>
                  </a:lnTo>
                  <a:lnTo>
                    <a:pt x="800" y="446"/>
                  </a:lnTo>
                  <a:lnTo>
                    <a:pt x="760" y="446"/>
                  </a:lnTo>
                  <a:lnTo>
                    <a:pt x="760" y="440"/>
                  </a:lnTo>
                  <a:lnTo>
                    <a:pt x="748" y="440"/>
                  </a:lnTo>
                  <a:lnTo>
                    <a:pt x="748" y="434"/>
                  </a:lnTo>
                  <a:lnTo>
                    <a:pt x="770" y="434"/>
                  </a:lnTo>
                  <a:lnTo>
                    <a:pt x="770" y="440"/>
                  </a:lnTo>
                  <a:lnTo>
                    <a:pt x="782" y="440"/>
                  </a:lnTo>
                  <a:lnTo>
                    <a:pt x="782" y="430"/>
                  </a:lnTo>
                  <a:lnTo>
                    <a:pt x="788" y="434"/>
                  </a:lnTo>
                  <a:lnTo>
                    <a:pt x="788" y="430"/>
                  </a:lnTo>
                  <a:lnTo>
                    <a:pt x="794" y="430"/>
                  </a:lnTo>
                  <a:lnTo>
                    <a:pt x="794" y="424"/>
                  </a:lnTo>
                  <a:lnTo>
                    <a:pt x="800" y="424"/>
                  </a:lnTo>
                  <a:lnTo>
                    <a:pt x="800" y="412"/>
                  </a:lnTo>
                  <a:lnTo>
                    <a:pt x="812" y="412"/>
                  </a:lnTo>
                  <a:lnTo>
                    <a:pt x="812" y="394"/>
                  </a:lnTo>
                  <a:lnTo>
                    <a:pt x="818" y="394"/>
                  </a:lnTo>
                  <a:lnTo>
                    <a:pt x="818" y="382"/>
                  </a:lnTo>
                  <a:lnTo>
                    <a:pt x="806" y="382"/>
                  </a:lnTo>
                  <a:lnTo>
                    <a:pt x="806" y="376"/>
                  </a:lnTo>
                  <a:lnTo>
                    <a:pt x="800" y="376"/>
                  </a:lnTo>
                  <a:lnTo>
                    <a:pt x="800" y="372"/>
                  </a:lnTo>
                  <a:lnTo>
                    <a:pt x="806" y="366"/>
                  </a:lnTo>
                  <a:lnTo>
                    <a:pt x="806" y="354"/>
                  </a:lnTo>
                  <a:lnTo>
                    <a:pt x="800" y="348"/>
                  </a:lnTo>
                  <a:lnTo>
                    <a:pt x="800" y="336"/>
                  </a:lnTo>
                  <a:lnTo>
                    <a:pt x="806" y="336"/>
                  </a:lnTo>
                  <a:lnTo>
                    <a:pt x="806" y="318"/>
                  </a:lnTo>
                  <a:lnTo>
                    <a:pt x="800" y="318"/>
                  </a:lnTo>
                  <a:lnTo>
                    <a:pt x="794" y="312"/>
                  </a:lnTo>
                  <a:lnTo>
                    <a:pt x="794" y="308"/>
                  </a:lnTo>
                  <a:lnTo>
                    <a:pt x="800" y="302"/>
                  </a:lnTo>
                  <a:lnTo>
                    <a:pt x="794" y="302"/>
                  </a:lnTo>
                  <a:lnTo>
                    <a:pt x="794" y="296"/>
                  </a:lnTo>
                  <a:lnTo>
                    <a:pt x="800" y="296"/>
                  </a:lnTo>
                  <a:lnTo>
                    <a:pt x="806" y="290"/>
                  </a:lnTo>
                  <a:lnTo>
                    <a:pt x="806" y="272"/>
                  </a:lnTo>
                  <a:lnTo>
                    <a:pt x="800" y="272"/>
                  </a:lnTo>
                  <a:lnTo>
                    <a:pt x="794" y="266"/>
                  </a:lnTo>
                  <a:lnTo>
                    <a:pt x="754" y="266"/>
                  </a:lnTo>
                  <a:lnTo>
                    <a:pt x="754" y="272"/>
                  </a:lnTo>
                  <a:lnTo>
                    <a:pt x="748" y="272"/>
                  </a:lnTo>
                  <a:lnTo>
                    <a:pt x="748" y="278"/>
                  </a:lnTo>
                  <a:lnTo>
                    <a:pt x="742" y="284"/>
                  </a:lnTo>
                  <a:lnTo>
                    <a:pt x="742" y="296"/>
                  </a:lnTo>
                  <a:lnTo>
                    <a:pt x="736" y="302"/>
                  </a:lnTo>
                  <a:lnTo>
                    <a:pt x="736" y="308"/>
                  </a:lnTo>
                  <a:lnTo>
                    <a:pt x="724" y="308"/>
                  </a:lnTo>
                  <a:lnTo>
                    <a:pt x="724" y="312"/>
                  </a:lnTo>
                  <a:lnTo>
                    <a:pt x="718" y="312"/>
                  </a:lnTo>
                  <a:lnTo>
                    <a:pt x="718" y="318"/>
                  </a:lnTo>
                  <a:lnTo>
                    <a:pt x="712" y="318"/>
                  </a:lnTo>
                  <a:lnTo>
                    <a:pt x="712" y="330"/>
                  </a:lnTo>
                  <a:lnTo>
                    <a:pt x="718" y="324"/>
                  </a:lnTo>
                  <a:lnTo>
                    <a:pt x="718" y="348"/>
                  </a:lnTo>
                  <a:lnTo>
                    <a:pt x="712" y="360"/>
                  </a:lnTo>
                  <a:lnTo>
                    <a:pt x="730" y="360"/>
                  </a:lnTo>
                  <a:lnTo>
                    <a:pt x="730" y="372"/>
                  </a:lnTo>
                  <a:lnTo>
                    <a:pt x="742" y="372"/>
                  </a:lnTo>
                  <a:lnTo>
                    <a:pt x="742" y="376"/>
                  </a:lnTo>
                  <a:lnTo>
                    <a:pt x="748" y="376"/>
                  </a:lnTo>
                  <a:lnTo>
                    <a:pt x="748" y="382"/>
                  </a:lnTo>
                  <a:lnTo>
                    <a:pt x="742" y="382"/>
                  </a:lnTo>
                  <a:lnTo>
                    <a:pt x="742" y="394"/>
                  </a:lnTo>
                  <a:lnTo>
                    <a:pt x="730" y="394"/>
                  </a:lnTo>
                  <a:lnTo>
                    <a:pt x="730" y="388"/>
                  </a:lnTo>
                  <a:lnTo>
                    <a:pt x="724" y="382"/>
                  </a:lnTo>
                  <a:lnTo>
                    <a:pt x="718" y="382"/>
                  </a:lnTo>
                  <a:lnTo>
                    <a:pt x="718" y="376"/>
                  </a:lnTo>
                  <a:lnTo>
                    <a:pt x="706" y="376"/>
                  </a:lnTo>
                  <a:lnTo>
                    <a:pt x="706" y="372"/>
                  </a:lnTo>
                  <a:lnTo>
                    <a:pt x="690" y="372"/>
                  </a:lnTo>
                  <a:lnTo>
                    <a:pt x="684" y="366"/>
                  </a:lnTo>
                  <a:lnTo>
                    <a:pt x="678" y="366"/>
                  </a:lnTo>
                  <a:lnTo>
                    <a:pt x="678" y="360"/>
                  </a:lnTo>
                  <a:lnTo>
                    <a:pt x="638" y="360"/>
                  </a:lnTo>
                  <a:lnTo>
                    <a:pt x="638" y="354"/>
                  </a:lnTo>
                  <a:lnTo>
                    <a:pt x="620" y="354"/>
                  </a:lnTo>
                  <a:lnTo>
                    <a:pt x="620" y="360"/>
                  </a:lnTo>
                  <a:lnTo>
                    <a:pt x="614" y="360"/>
                  </a:lnTo>
                  <a:lnTo>
                    <a:pt x="614" y="366"/>
                  </a:lnTo>
                  <a:lnTo>
                    <a:pt x="620" y="372"/>
                  </a:lnTo>
                  <a:lnTo>
                    <a:pt x="626" y="372"/>
                  </a:lnTo>
                  <a:lnTo>
                    <a:pt x="626" y="382"/>
                  </a:lnTo>
                  <a:lnTo>
                    <a:pt x="608" y="382"/>
                  </a:lnTo>
                  <a:lnTo>
                    <a:pt x="608" y="388"/>
                  </a:lnTo>
                  <a:lnTo>
                    <a:pt x="614" y="388"/>
                  </a:lnTo>
                  <a:lnTo>
                    <a:pt x="608" y="394"/>
                  </a:lnTo>
                  <a:lnTo>
                    <a:pt x="596" y="394"/>
                  </a:lnTo>
                  <a:lnTo>
                    <a:pt x="596" y="382"/>
                  </a:lnTo>
                  <a:lnTo>
                    <a:pt x="602" y="382"/>
                  </a:lnTo>
                  <a:lnTo>
                    <a:pt x="596" y="376"/>
                  </a:lnTo>
                  <a:lnTo>
                    <a:pt x="586" y="376"/>
                  </a:lnTo>
                  <a:lnTo>
                    <a:pt x="586" y="382"/>
                  </a:lnTo>
                  <a:lnTo>
                    <a:pt x="574" y="382"/>
                  </a:lnTo>
                  <a:lnTo>
                    <a:pt x="574" y="388"/>
                  </a:lnTo>
                  <a:lnTo>
                    <a:pt x="562" y="388"/>
                  </a:lnTo>
                  <a:lnTo>
                    <a:pt x="562" y="382"/>
                  </a:lnTo>
                  <a:lnTo>
                    <a:pt x="550" y="382"/>
                  </a:lnTo>
                  <a:lnTo>
                    <a:pt x="544" y="388"/>
                  </a:lnTo>
                  <a:lnTo>
                    <a:pt x="538" y="388"/>
                  </a:lnTo>
                  <a:lnTo>
                    <a:pt x="538" y="394"/>
                  </a:lnTo>
                  <a:lnTo>
                    <a:pt x="522" y="394"/>
                  </a:lnTo>
                  <a:lnTo>
                    <a:pt x="522" y="388"/>
                  </a:lnTo>
                  <a:lnTo>
                    <a:pt x="516" y="388"/>
                  </a:lnTo>
                  <a:lnTo>
                    <a:pt x="516" y="382"/>
                  </a:lnTo>
                  <a:lnTo>
                    <a:pt x="492" y="382"/>
                  </a:lnTo>
                  <a:lnTo>
                    <a:pt x="498" y="388"/>
                  </a:lnTo>
                  <a:lnTo>
                    <a:pt x="498" y="394"/>
                  </a:lnTo>
                  <a:lnTo>
                    <a:pt x="492" y="394"/>
                  </a:lnTo>
                  <a:lnTo>
                    <a:pt x="498" y="388"/>
                  </a:lnTo>
                  <a:lnTo>
                    <a:pt x="486" y="388"/>
                  </a:lnTo>
                  <a:lnTo>
                    <a:pt x="486" y="394"/>
                  </a:lnTo>
                  <a:lnTo>
                    <a:pt x="464" y="394"/>
                  </a:lnTo>
                  <a:lnTo>
                    <a:pt x="464" y="400"/>
                  </a:lnTo>
                  <a:lnTo>
                    <a:pt x="458" y="400"/>
                  </a:lnTo>
                  <a:lnTo>
                    <a:pt x="452" y="406"/>
                  </a:lnTo>
                  <a:lnTo>
                    <a:pt x="440" y="406"/>
                  </a:lnTo>
                  <a:lnTo>
                    <a:pt x="440" y="412"/>
                  </a:lnTo>
                  <a:lnTo>
                    <a:pt x="422" y="412"/>
                  </a:lnTo>
                  <a:lnTo>
                    <a:pt x="428" y="418"/>
                  </a:lnTo>
                  <a:lnTo>
                    <a:pt x="428" y="424"/>
                  </a:lnTo>
                  <a:lnTo>
                    <a:pt x="422" y="424"/>
                  </a:lnTo>
                  <a:lnTo>
                    <a:pt x="422" y="434"/>
                  </a:lnTo>
                  <a:lnTo>
                    <a:pt x="400" y="434"/>
                  </a:lnTo>
                  <a:lnTo>
                    <a:pt x="394" y="430"/>
                  </a:lnTo>
                  <a:lnTo>
                    <a:pt x="394" y="424"/>
                  </a:lnTo>
                  <a:lnTo>
                    <a:pt x="382" y="424"/>
                  </a:lnTo>
                  <a:lnTo>
                    <a:pt x="382" y="418"/>
                  </a:lnTo>
                  <a:lnTo>
                    <a:pt x="388" y="418"/>
                  </a:lnTo>
                  <a:lnTo>
                    <a:pt x="388" y="412"/>
                  </a:lnTo>
                  <a:lnTo>
                    <a:pt x="412" y="412"/>
                  </a:lnTo>
                  <a:lnTo>
                    <a:pt x="412" y="400"/>
                  </a:lnTo>
                  <a:lnTo>
                    <a:pt x="406" y="394"/>
                  </a:lnTo>
                  <a:lnTo>
                    <a:pt x="400" y="394"/>
                  </a:lnTo>
                  <a:lnTo>
                    <a:pt x="400" y="388"/>
                  </a:lnTo>
                  <a:lnTo>
                    <a:pt x="364" y="388"/>
                  </a:lnTo>
                  <a:lnTo>
                    <a:pt x="364" y="394"/>
                  </a:lnTo>
                  <a:lnTo>
                    <a:pt x="370" y="394"/>
                  </a:lnTo>
                  <a:lnTo>
                    <a:pt x="370" y="412"/>
                  </a:lnTo>
                  <a:lnTo>
                    <a:pt x="364" y="418"/>
                  </a:lnTo>
                  <a:lnTo>
                    <a:pt x="364" y="424"/>
                  </a:lnTo>
                  <a:lnTo>
                    <a:pt x="370" y="424"/>
                  </a:lnTo>
                  <a:lnTo>
                    <a:pt x="370" y="430"/>
                  </a:lnTo>
                  <a:lnTo>
                    <a:pt x="376" y="430"/>
                  </a:lnTo>
                  <a:lnTo>
                    <a:pt x="376" y="434"/>
                  </a:lnTo>
                  <a:lnTo>
                    <a:pt x="370" y="440"/>
                  </a:lnTo>
                  <a:lnTo>
                    <a:pt x="370" y="452"/>
                  </a:lnTo>
                  <a:lnTo>
                    <a:pt x="364" y="446"/>
                  </a:lnTo>
                  <a:lnTo>
                    <a:pt x="360" y="452"/>
                  </a:lnTo>
                  <a:lnTo>
                    <a:pt x="360" y="446"/>
                  </a:lnTo>
                  <a:lnTo>
                    <a:pt x="348" y="446"/>
                  </a:lnTo>
                  <a:lnTo>
                    <a:pt x="348" y="440"/>
                  </a:lnTo>
                  <a:lnTo>
                    <a:pt x="342" y="440"/>
                  </a:lnTo>
                  <a:lnTo>
                    <a:pt x="342" y="446"/>
                  </a:lnTo>
                  <a:lnTo>
                    <a:pt x="336" y="446"/>
                  </a:lnTo>
                  <a:lnTo>
                    <a:pt x="330" y="452"/>
                  </a:lnTo>
                  <a:lnTo>
                    <a:pt x="324" y="452"/>
                  </a:lnTo>
                  <a:lnTo>
                    <a:pt x="324" y="458"/>
                  </a:lnTo>
                  <a:lnTo>
                    <a:pt x="318" y="458"/>
                  </a:lnTo>
                  <a:lnTo>
                    <a:pt x="318" y="464"/>
                  </a:lnTo>
                  <a:lnTo>
                    <a:pt x="306" y="464"/>
                  </a:lnTo>
                  <a:lnTo>
                    <a:pt x="306" y="482"/>
                  </a:lnTo>
                  <a:lnTo>
                    <a:pt x="312" y="482"/>
                  </a:lnTo>
                  <a:lnTo>
                    <a:pt x="312" y="488"/>
                  </a:lnTo>
                  <a:lnTo>
                    <a:pt x="318" y="488"/>
                  </a:lnTo>
                  <a:lnTo>
                    <a:pt x="318" y="492"/>
                  </a:lnTo>
                  <a:lnTo>
                    <a:pt x="296" y="492"/>
                  </a:lnTo>
                  <a:lnTo>
                    <a:pt x="296" y="488"/>
                  </a:lnTo>
                  <a:lnTo>
                    <a:pt x="278" y="488"/>
                  </a:lnTo>
                  <a:lnTo>
                    <a:pt x="272" y="482"/>
                  </a:lnTo>
                  <a:lnTo>
                    <a:pt x="272" y="476"/>
                  </a:lnTo>
                  <a:lnTo>
                    <a:pt x="260" y="476"/>
                  </a:lnTo>
                  <a:lnTo>
                    <a:pt x="260" y="482"/>
                  </a:lnTo>
                  <a:lnTo>
                    <a:pt x="254" y="488"/>
                  </a:lnTo>
                  <a:lnTo>
                    <a:pt x="260" y="492"/>
                  </a:lnTo>
                  <a:lnTo>
                    <a:pt x="266" y="498"/>
                  </a:lnTo>
                  <a:lnTo>
                    <a:pt x="278" y="498"/>
                  </a:lnTo>
                  <a:lnTo>
                    <a:pt x="278" y="510"/>
                  </a:lnTo>
                  <a:lnTo>
                    <a:pt x="254" y="510"/>
                  </a:lnTo>
                  <a:lnTo>
                    <a:pt x="254" y="504"/>
                  </a:lnTo>
                  <a:lnTo>
                    <a:pt x="248" y="498"/>
                  </a:lnTo>
                  <a:lnTo>
                    <a:pt x="232" y="498"/>
                  </a:lnTo>
                  <a:lnTo>
                    <a:pt x="232" y="476"/>
                  </a:lnTo>
                  <a:lnTo>
                    <a:pt x="220" y="476"/>
                  </a:lnTo>
                  <a:lnTo>
                    <a:pt x="226" y="470"/>
                  </a:lnTo>
                  <a:lnTo>
                    <a:pt x="232" y="470"/>
                  </a:lnTo>
                  <a:lnTo>
                    <a:pt x="232" y="458"/>
                  </a:lnTo>
                  <a:lnTo>
                    <a:pt x="226" y="452"/>
                  </a:lnTo>
                  <a:lnTo>
                    <a:pt x="220" y="452"/>
                  </a:lnTo>
                  <a:lnTo>
                    <a:pt x="220" y="446"/>
                  </a:lnTo>
                  <a:lnTo>
                    <a:pt x="214" y="446"/>
                  </a:lnTo>
                  <a:lnTo>
                    <a:pt x="214" y="440"/>
                  </a:lnTo>
                  <a:lnTo>
                    <a:pt x="208" y="440"/>
                  </a:lnTo>
                  <a:lnTo>
                    <a:pt x="208" y="446"/>
                  </a:lnTo>
                  <a:lnTo>
                    <a:pt x="202" y="440"/>
                  </a:lnTo>
                  <a:lnTo>
                    <a:pt x="202" y="434"/>
                  </a:lnTo>
                  <a:lnTo>
                    <a:pt x="190" y="434"/>
                  </a:lnTo>
                  <a:lnTo>
                    <a:pt x="190" y="424"/>
                  </a:lnTo>
                  <a:lnTo>
                    <a:pt x="196" y="424"/>
                  </a:lnTo>
                  <a:lnTo>
                    <a:pt x="196" y="430"/>
                  </a:lnTo>
                  <a:lnTo>
                    <a:pt x="202" y="430"/>
                  </a:lnTo>
                  <a:lnTo>
                    <a:pt x="202" y="434"/>
                  </a:lnTo>
                  <a:lnTo>
                    <a:pt x="220" y="434"/>
                  </a:lnTo>
                  <a:lnTo>
                    <a:pt x="220" y="440"/>
                  </a:lnTo>
                  <a:lnTo>
                    <a:pt x="232" y="440"/>
                  </a:lnTo>
                  <a:lnTo>
                    <a:pt x="238" y="446"/>
                  </a:lnTo>
                  <a:lnTo>
                    <a:pt x="272" y="446"/>
                  </a:lnTo>
                  <a:lnTo>
                    <a:pt x="272" y="452"/>
                  </a:lnTo>
                  <a:lnTo>
                    <a:pt x="296" y="452"/>
                  </a:lnTo>
                  <a:lnTo>
                    <a:pt x="302" y="446"/>
                  </a:lnTo>
                  <a:lnTo>
                    <a:pt x="318" y="446"/>
                  </a:lnTo>
                  <a:lnTo>
                    <a:pt x="324" y="440"/>
                  </a:lnTo>
                  <a:lnTo>
                    <a:pt x="324" y="434"/>
                  </a:lnTo>
                  <a:lnTo>
                    <a:pt x="330" y="434"/>
                  </a:lnTo>
                  <a:lnTo>
                    <a:pt x="330" y="424"/>
                  </a:lnTo>
                  <a:lnTo>
                    <a:pt x="324" y="424"/>
                  </a:lnTo>
                  <a:lnTo>
                    <a:pt x="324" y="412"/>
                  </a:lnTo>
                  <a:lnTo>
                    <a:pt x="312" y="412"/>
                  </a:lnTo>
                  <a:lnTo>
                    <a:pt x="312" y="406"/>
                  </a:lnTo>
                  <a:lnTo>
                    <a:pt x="306" y="406"/>
                  </a:lnTo>
                  <a:lnTo>
                    <a:pt x="306" y="400"/>
                  </a:lnTo>
                  <a:lnTo>
                    <a:pt x="302" y="400"/>
                  </a:lnTo>
                  <a:lnTo>
                    <a:pt x="296" y="394"/>
                  </a:lnTo>
                  <a:lnTo>
                    <a:pt x="284" y="394"/>
                  </a:lnTo>
                  <a:lnTo>
                    <a:pt x="278" y="388"/>
                  </a:lnTo>
                  <a:lnTo>
                    <a:pt x="278" y="382"/>
                  </a:lnTo>
                  <a:lnTo>
                    <a:pt x="266" y="382"/>
                  </a:lnTo>
                  <a:lnTo>
                    <a:pt x="260" y="376"/>
                  </a:lnTo>
                  <a:lnTo>
                    <a:pt x="254" y="376"/>
                  </a:lnTo>
                  <a:lnTo>
                    <a:pt x="254" y="372"/>
                  </a:lnTo>
                  <a:lnTo>
                    <a:pt x="220" y="372"/>
                  </a:lnTo>
                  <a:lnTo>
                    <a:pt x="220" y="366"/>
                  </a:lnTo>
                  <a:lnTo>
                    <a:pt x="214" y="366"/>
                  </a:lnTo>
                  <a:lnTo>
                    <a:pt x="214" y="372"/>
                  </a:lnTo>
                  <a:lnTo>
                    <a:pt x="208" y="372"/>
                  </a:lnTo>
                  <a:lnTo>
                    <a:pt x="208" y="366"/>
                  </a:lnTo>
                  <a:lnTo>
                    <a:pt x="202" y="366"/>
                  </a:lnTo>
                  <a:lnTo>
                    <a:pt x="202" y="372"/>
                  </a:lnTo>
                  <a:lnTo>
                    <a:pt x="196" y="372"/>
                  </a:lnTo>
                  <a:lnTo>
                    <a:pt x="202" y="366"/>
                  </a:lnTo>
                  <a:lnTo>
                    <a:pt x="202" y="354"/>
                  </a:lnTo>
                  <a:lnTo>
                    <a:pt x="190" y="354"/>
                  </a:lnTo>
                  <a:lnTo>
                    <a:pt x="190" y="360"/>
                  </a:lnTo>
                  <a:lnTo>
                    <a:pt x="186" y="354"/>
                  </a:lnTo>
                  <a:lnTo>
                    <a:pt x="180" y="354"/>
                  </a:lnTo>
                  <a:lnTo>
                    <a:pt x="180" y="360"/>
                  </a:lnTo>
                  <a:lnTo>
                    <a:pt x="168" y="354"/>
                  </a:lnTo>
                  <a:lnTo>
                    <a:pt x="168" y="360"/>
                  </a:lnTo>
                  <a:lnTo>
                    <a:pt x="156" y="360"/>
                  </a:lnTo>
                  <a:lnTo>
                    <a:pt x="156" y="366"/>
                  </a:lnTo>
                  <a:lnTo>
                    <a:pt x="150" y="366"/>
                  </a:lnTo>
                  <a:lnTo>
                    <a:pt x="144" y="372"/>
                  </a:lnTo>
                  <a:lnTo>
                    <a:pt x="138" y="372"/>
                  </a:lnTo>
                  <a:lnTo>
                    <a:pt x="138" y="376"/>
                  </a:lnTo>
                  <a:lnTo>
                    <a:pt x="132" y="376"/>
                  </a:lnTo>
                  <a:lnTo>
                    <a:pt x="132" y="382"/>
                  </a:lnTo>
                  <a:lnTo>
                    <a:pt x="138" y="382"/>
                  </a:lnTo>
                  <a:lnTo>
                    <a:pt x="132" y="388"/>
                  </a:lnTo>
                  <a:lnTo>
                    <a:pt x="132" y="394"/>
                  </a:lnTo>
                  <a:lnTo>
                    <a:pt x="138" y="394"/>
                  </a:lnTo>
                  <a:lnTo>
                    <a:pt x="144" y="400"/>
                  </a:lnTo>
                  <a:lnTo>
                    <a:pt x="150" y="400"/>
                  </a:lnTo>
                  <a:lnTo>
                    <a:pt x="150" y="406"/>
                  </a:lnTo>
                  <a:lnTo>
                    <a:pt x="156" y="412"/>
                  </a:lnTo>
                  <a:lnTo>
                    <a:pt x="156" y="418"/>
                  </a:lnTo>
                  <a:lnTo>
                    <a:pt x="150" y="424"/>
                  </a:lnTo>
                  <a:lnTo>
                    <a:pt x="144" y="430"/>
                  </a:lnTo>
                  <a:lnTo>
                    <a:pt x="138" y="430"/>
                  </a:lnTo>
                  <a:lnTo>
                    <a:pt x="138" y="434"/>
                  </a:lnTo>
                  <a:lnTo>
                    <a:pt x="144" y="434"/>
                  </a:lnTo>
                  <a:lnTo>
                    <a:pt x="150" y="440"/>
                  </a:lnTo>
                  <a:lnTo>
                    <a:pt x="150" y="446"/>
                  </a:lnTo>
                  <a:lnTo>
                    <a:pt x="156" y="446"/>
                  </a:lnTo>
                  <a:lnTo>
                    <a:pt x="156" y="482"/>
                  </a:lnTo>
                  <a:lnTo>
                    <a:pt x="150" y="482"/>
                  </a:lnTo>
                  <a:lnTo>
                    <a:pt x="150" y="488"/>
                  </a:lnTo>
                  <a:lnTo>
                    <a:pt x="162" y="488"/>
                  </a:lnTo>
                  <a:lnTo>
                    <a:pt x="156" y="492"/>
                  </a:lnTo>
                  <a:lnTo>
                    <a:pt x="156" y="498"/>
                  </a:lnTo>
                  <a:lnTo>
                    <a:pt x="168" y="498"/>
                  </a:lnTo>
                  <a:lnTo>
                    <a:pt x="168" y="510"/>
                  </a:lnTo>
                  <a:lnTo>
                    <a:pt x="156" y="510"/>
                  </a:lnTo>
                  <a:lnTo>
                    <a:pt x="168" y="522"/>
                  </a:lnTo>
                  <a:lnTo>
                    <a:pt x="168" y="528"/>
                  </a:lnTo>
                  <a:lnTo>
                    <a:pt x="180" y="528"/>
                  </a:lnTo>
                  <a:lnTo>
                    <a:pt x="180" y="546"/>
                  </a:lnTo>
                  <a:lnTo>
                    <a:pt x="174" y="550"/>
                  </a:lnTo>
                  <a:lnTo>
                    <a:pt x="168" y="550"/>
                  </a:lnTo>
                  <a:lnTo>
                    <a:pt x="162" y="556"/>
                  </a:lnTo>
                  <a:lnTo>
                    <a:pt x="162" y="562"/>
                  </a:lnTo>
                  <a:lnTo>
                    <a:pt x="156" y="562"/>
                  </a:lnTo>
                  <a:lnTo>
                    <a:pt x="156" y="568"/>
                  </a:lnTo>
                  <a:lnTo>
                    <a:pt x="150" y="574"/>
                  </a:lnTo>
                  <a:lnTo>
                    <a:pt x="138" y="574"/>
                  </a:lnTo>
                  <a:lnTo>
                    <a:pt x="138" y="598"/>
                  </a:lnTo>
                  <a:lnTo>
                    <a:pt x="156" y="598"/>
                  </a:lnTo>
                  <a:lnTo>
                    <a:pt x="156" y="604"/>
                  </a:lnTo>
                  <a:lnTo>
                    <a:pt x="162" y="608"/>
                  </a:lnTo>
                  <a:lnTo>
                    <a:pt x="150" y="608"/>
                  </a:lnTo>
                  <a:lnTo>
                    <a:pt x="144" y="604"/>
                  </a:lnTo>
                  <a:lnTo>
                    <a:pt x="138" y="608"/>
                  </a:lnTo>
                  <a:lnTo>
                    <a:pt x="138" y="614"/>
                  </a:lnTo>
                  <a:lnTo>
                    <a:pt x="132" y="608"/>
                  </a:lnTo>
                  <a:lnTo>
                    <a:pt x="132" y="614"/>
                  </a:lnTo>
                  <a:lnTo>
                    <a:pt x="128" y="614"/>
                  </a:lnTo>
                  <a:lnTo>
                    <a:pt x="128" y="626"/>
                  </a:lnTo>
                  <a:lnTo>
                    <a:pt x="122" y="626"/>
                  </a:lnTo>
                  <a:lnTo>
                    <a:pt x="122" y="632"/>
                  </a:lnTo>
                  <a:lnTo>
                    <a:pt x="116" y="632"/>
                  </a:lnTo>
                  <a:lnTo>
                    <a:pt x="116" y="650"/>
                  </a:lnTo>
                  <a:lnTo>
                    <a:pt x="122" y="650"/>
                  </a:lnTo>
                  <a:lnTo>
                    <a:pt x="122" y="662"/>
                  </a:lnTo>
                  <a:lnTo>
                    <a:pt x="116" y="662"/>
                  </a:lnTo>
                  <a:lnTo>
                    <a:pt x="116" y="666"/>
                  </a:lnTo>
                  <a:lnTo>
                    <a:pt x="122" y="666"/>
                  </a:lnTo>
                  <a:lnTo>
                    <a:pt x="128" y="672"/>
                  </a:lnTo>
                  <a:lnTo>
                    <a:pt x="122" y="678"/>
                  </a:lnTo>
                  <a:lnTo>
                    <a:pt x="128" y="678"/>
                  </a:lnTo>
                  <a:lnTo>
                    <a:pt x="128" y="702"/>
                  </a:lnTo>
                  <a:lnTo>
                    <a:pt x="150" y="702"/>
                  </a:lnTo>
                  <a:lnTo>
                    <a:pt x="144" y="708"/>
                  </a:lnTo>
                  <a:lnTo>
                    <a:pt x="156" y="708"/>
                  </a:lnTo>
                  <a:lnTo>
                    <a:pt x="156" y="702"/>
                  </a:lnTo>
                  <a:lnTo>
                    <a:pt x="162" y="702"/>
                  </a:lnTo>
                  <a:lnTo>
                    <a:pt x="168" y="708"/>
                  </a:lnTo>
                  <a:lnTo>
                    <a:pt x="168" y="720"/>
                  </a:lnTo>
                  <a:lnTo>
                    <a:pt x="174" y="720"/>
                  </a:lnTo>
                  <a:lnTo>
                    <a:pt x="174" y="724"/>
                  </a:lnTo>
                  <a:lnTo>
                    <a:pt x="168" y="724"/>
                  </a:lnTo>
                  <a:lnTo>
                    <a:pt x="168" y="730"/>
                  </a:lnTo>
                  <a:lnTo>
                    <a:pt x="174" y="730"/>
                  </a:lnTo>
                  <a:lnTo>
                    <a:pt x="174" y="736"/>
                  </a:lnTo>
                  <a:lnTo>
                    <a:pt x="180" y="736"/>
                  </a:lnTo>
                  <a:lnTo>
                    <a:pt x="180" y="742"/>
                  </a:lnTo>
                  <a:lnTo>
                    <a:pt x="186" y="742"/>
                  </a:lnTo>
                  <a:lnTo>
                    <a:pt x="186" y="754"/>
                  </a:lnTo>
                  <a:lnTo>
                    <a:pt x="190" y="754"/>
                  </a:lnTo>
                  <a:lnTo>
                    <a:pt x="190" y="760"/>
                  </a:lnTo>
                  <a:lnTo>
                    <a:pt x="196" y="760"/>
                  </a:lnTo>
                  <a:lnTo>
                    <a:pt x="196" y="766"/>
                  </a:lnTo>
                  <a:lnTo>
                    <a:pt x="180" y="766"/>
                  </a:lnTo>
                  <a:lnTo>
                    <a:pt x="180" y="788"/>
                  </a:lnTo>
                  <a:lnTo>
                    <a:pt x="186" y="788"/>
                  </a:lnTo>
                  <a:lnTo>
                    <a:pt x="186" y="794"/>
                  </a:lnTo>
                  <a:lnTo>
                    <a:pt x="190" y="794"/>
                  </a:lnTo>
                  <a:lnTo>
                    <a:pt x="190" y="788"/>
                  </a:lnTo>
                  <a:lnTo>
                    <a:pt x="202" y="788"/>
                  </a:lnTo>
                  <a:lnTo>
                    <a:pt x="202" y="782"/>
                  </a:lnTo>
                  <a:lnTo>
                    <a:pt x="208" y="782"/>
                  </a:lnTo>
                  <a:lnTo>
                    <a:pt x="208" y="788"/>
                  </a:lnTo>
                  <a:lnTo>
                    <a:pt x="214" y="788"/>
                  </a:lnTo>
                  <a:lnTo>
                    <a:pt x="214" y="782"/>
                  </a:lnTo>
                  <a:lnTo>
                    <a:pt x="220" y="788"/>
                  </a:lnTo>
                  <a:lnTo>
                    <a:pt x="220" y="794"/>
                  </a:lnTo>
                  <a:lnTo>
                    <a:pt x="226" y="800"/>
                  </a:lnTo>
                  <a:lnTo>
                    <a:pt x="220" y="800"/>
                  </a:lnTo>
                  <a:lnTo>
                    <a:pt x="220" y="812"/>
                  </a:lnTo>
                  <a:lnTo>
                    <a:pt x="232" y="812"/>
                  </a:lnTo>
                  <a:lnTo>
                    <a:pt x="232" y="818"/>
                  </a:lnTo>
                  <a:lnTo>
                    <a:pt x="244" y="818"/>
                  </a:lnTo>
                  <a:lnTo>
                    <a:pt x="244" y="824"/>
                  </a:lnTo>
                  <a:lnTo>
                    <a:pt x="238" y="824"/>
                  </a:lnTo>
                  <a:lnTo>
                    <a:pt x="238" y="830"/>
                  </a:lnTo>
                  <a:lnTo>
                    <a:pt x="272" y="830"/>
                  </a:lnTo>
                  <a:lnTo>
                    <a:pt x="272" y="836"/>
                  </a:lnTo>
                  <a:lnTo>
                    <a:pt x="278" y="836"/>
                  </a:lnTo>
                  <a:lnTo>
                    <a:pt x="278" y="840"/>
                  </a:lnTo>
                  <a:lnTo>
                    <a:pt x="296" y="840"/>
                  </a:lnTo>
                  <a:lnTo>
                    <a:pt x="296" y="846"/>
                  </a:lnTo>
                  <a:lnTo>
                    <a:pt x="306" y="846"/>
                  </a:lnTo>
                  <a:lnTo>
                    <a:pt x="306" y="888"/>
                  </a:lnTo>
                  <a:lnTo>
                    <a:pt x="290" y="888"/>
                  </a:lnTo>
                  <a:lnTo>
                    <a:pt x="290" y="894"/>
                  </a:lnTo>
                  <a:lnTo>
                    <a:pt x="284" y="894"/>
                  </a:lnTo>
                  <a:lnTo>
                    <a:pt x="284" y="904"/>
                  </a:lnTo>
                  <a:lnTo>
                    <a:pt x="290" y="904"/>
                  </a:lnTo>
                  <a:lnTo>
                    <a:pt x="290" y="898"/>
                  </a:lnTo>
                  <a:lnTo>
                    <a:pt x="296" y="898"/>
                  </a:lnTo>
                  <a:lnTo>
                    <a:pt x="296" y="910"/>
                  </a:lnTo>
                  <a:lnTo>
                    <a:pt x="272" y="910"/>
                  </a:lnTo>
                  <a:lnTo>
                    <a:pt x="278" y="916"/>
                  </a:lnTo>
                  <a:lnTo>
                    <a:pt x="278" y="928"/>
                  </a:lnTo>
                  <a:lnTo>
                    <a:pt x="284" y="922"/>
                  </a:lnTo>
                  <a:lnTo>
                    <a:pt x="284" y="928"/>
                  </a:lnTo>
                  <a:lnTo>
                    <a:pt x="278" y="928"/>
                  </a:lnTo>
                  <a:lnTo>
                    <a:pt x="278" y="934"/>
                  </a:lnTo>
                  <a:lnTo>
                    <a:pt x="272" y="934"/>
                  </a:lnTo>
                  <a:lnTo>
                    <a:pt x="272" y="940"/>
                  </a:lnTo>
                  <a:lnTo>
                    <a:pt x="266" y="940"/>
                  </a:lnTo>
                  <a:lnTo>
                    <a:pt x="272" y="946"/>
                  </a:lnTo>
                  <a:lnTo>
                    <a:pt x="266" y="946"/>
                  </a:lnTo>
                  <a:lnTo>
                    <a:pt x="272" y="952"/>
                  </a:lnTo>
                  <a:lnTo>
                    <a:pt x="272" y="956"/>
                  </a:lnTo>
                  <a:lnTo>
                    <a:pt x="278" y="956"/>
                  </a:lnTo>
                  <a:lnTo>
                    <a:pt x="284" y="962"/>
                  </a:lnTo>
                  <a:lnTo>
                    <a:pt x="290" y="962"/>
                  </a:lnTo>
                  <a:lnTo>
                    <a:pt x="296" y="968"/>
                  </a:lnTo>
                  <a:lnTo>
                    <a:pt x="296" y="974"/>
                  </a:lnTo>
                  <a:lnTo>
                    <a:pt x="302" y="974"/>
                  </a:lnTo>
                  <a:lnTo>
                    <a:pt x="306" y="980"/>
                  </a:lnTo>
                  <a:lnTo>
                    <a:pt x="324" y="980"/>
                  </a:lnTo>
                  <a:lnTo>
                    <a:pt x="324" y="986"/>
                  </a:lnTo>
                  <a:lnTo>
                    <a:pt x="354" y="986"/>
                  </a:lnTo>
                  <a:lnTo>
                    <a:pt x="360" y="992"/>
                  </a:lnTo>
                  <a:lnTo>
                    <a:pt x="360" y="998"/>
                  </a:lnTo>
                  <a:lnTo>
                    <a:pt x="400" y="998"/>
                  </a:lnTo>
                  <a:lnTo>
                    <a:pt x="400" y="1004"/>
                  </a:lnTo>
                  <a:lnTo>
                    <a:pt x="394" y="1004"/>
                  </a:lnTo>
                  <a:lnTo>
                    <a:pt x="394" y="1010"/>
                  </a:lnTo>
                  <a:lnTo>
                    <a:pt x="406" y="1010"/>
                  </a:lnTo>
                  <a:lnTo>
                    <a:pt x="406" y="1014"/>
                  </a:lnTo>
                  <a:lnTo>
                    <a:pt x="412" y="1014"/>
                  </a:lnTo>
                  <a:lnTo>
                    <a:pt x="412" y="1020"/>
                  </a:lnTo>
                  <a:lnTo>
                    <a:pt x="418" y="1020"/>
                  </a:lnTo>
                  <a:lnTo>
                    <a:pt x="418" y="1026"/>
                  </a:lnTo>
                  <a:lnTo>
                    <a:pt x="428" y="1026"/>
                  </a:lnTo>
                  <a:lnTo>
                    <a:pt x="428" y="1020"/>
                  </a:lnTo>
                  <a:lnTo>
                    <a:pt x="440" y="1020"/>
                  </a:lnTo>
                  <a:lnTo>
                    <a:pt x="440" y="1010"/>
                  </a:lnTo>
                  <a:lnTo>
                    <a:pt x="446" y="1010"/>
                  </a:lnTo>
                  <a:lnTo>
                    <a:pt x="452" y="1004"/>
                  </a:lnTo>
                  <a:lnTo>
                    <a:pt x="458" y="998"/>
                  </a:lnTo>
                  <a:lnTo>
                    <a:pt x="452" y="992"/>
                  </a:lnTo>
                  <a:lnTo>
                    <a:pt x="452" y="980"/>
                  </a:lnTo>
                  <a:lnTo>
                    <a:pt x="446" y="974"/>
                  </a:lnTo>
                  <a:lnTo>
                    <a:pt x="446" y="962"/>
                  </a:lnTo>
                  <a:lnTo>
                    <a:pt x="440" y="956"/>
                  </a:lnTo>
                  <a:lnTo>
                    <a:pt x="440" y="946"/>
                  </a:lnTo>
                  <a:lnTo>
                    <a:pt x="446" y="946"/>
                  </a:lnTo>
                  <a:lnTo>
                    <a:pt x="452" y="940"/>
                  </a:lnTo>
                  <a:lnTo>
                    <a:pt x="452" y="934"/>
                  </a:lnTo>
                  <a:lnTo>
                    <a:pt x="464" y="934"/>
                  </a:lnTo>
                  <a:lnTo>
                    <a:pt x="464" y="928"/>
                  </a:lnTo>
                  <a:lnTo>
                    <a:pt x="458" y="928"/>
                  </a:lnTo>
                  <a:lnTo>
                    <a:pt x="446" y="916"/>
                  </a:lnTo>
                  <a:lnTo>
                    <a:pt x="440" y="916"/>
                  </a:lnTo>
                  <a:lnTo>
                    <a:pt x="440" y="910"/>
                  </a:lnTo>
                  <a:lnTo>
                    <a:pt x="446" y="910"/>
                  </a:lnTo>
                  <a:lnTo>
                    <a:pt x="440" y="904"/>
                  </a:lnTo>
                  <a:lnTo>
                    <a:pt x="440" y="898"/>
                  </a:lnTo>
                  <a:lnTo>
                    <a:pt x="434" y="894"/>
                  </a:lnTo>
                  <a:lnTo>
                    <a:pt x="434" y="888"/>
                  </a:lnTo>
                  <a:lnTo>
                    <a:pt x="418" y="888"/>
                  </a:lnTo>
                  <a:lnTo>
                    <a:pt x="418" y="876"/>
                  </a:lnTo>
                  <a:lnTo>
                    <a:pt x="412" y="876"/>
                  </a:lnTo>
                  <a:lnTo>
                    <a:pt x="406" y="870"/>
                  </a:lnTo>
                  <a:lnTo>
                    <a:pt x="412" y="870"/>
                  </a:lnTo>
                  <a:lnTo>
                    <a:pt x="412" y="840"/>
                  </a:lnTo>
                  <a:lnTo>
                    <a:pt x="422" y="840"/>
                  </a:lnTo>
                  <a:lnTo>
                    <a:pt x="422" y="836"/>
                  </a:lnTo>
                  <a:lnTo>
                    <a:pt x="418" y="836"/>
                  </a:lnTo>
                  <a:lnTo>
                    <a:pt x="422" y="830"/>
                  </a:lnTo>
                  <a:lnTo>
                    <a:pt x="428" y="830"/>
                  </a:lnTo>
                  <a:lnTo>
                    <a:pt x="428" y="836"/>
                  </a:lnTo>
                  <a:lnTo>
                    <a:pt x="434" y="836"/>
                  </a:lnTo>
                  <a:lnTo>
                    <a:pt x="434" y="840"/>
                  </a:lnTo>
                  <a:lnTo>
                    <a:pt x="440" y="846"/>
                  </a:lnTo>
                  <a:lnTo>
                    <a:pt x="440" y="840"/>
                  </a:lnTo>
                  <a:lnTo>
                    <a:pt x="446" y="840"/>
                  </a:lnTo>
                  <a:lnTo>
                    <a:pt x="446" y="836"/>
                  </a:lnTo>
                  <a:lnTo>
                    <a:pt x="440" y="836"/>
                  </a:lnTo>
                  <a:lnTo>
                    <a:pt x="440" y="824"/>
                  </a:lnTo>
                  <a:lnTo>
                    <a:pt x="446" y="824"/>
                  </a:lnTo>
                  <a:lnTo>
                    <a:pt x="446" y="818"/>
                  </a:lnTo>
                  <a:lnTo>
                    <a:pt x="452" y="818"/>
                  </a:lnTo>
                  <a:lnTo>
                    <a:pt x="458" y="812"/>
                  </a:lnTo>
                  <a:lnTo>
                    <a:pt x="464" y="812"/>
                  </a:lnTo>
                  <a:lnTo>
                    <a:pt x="464" y="806"/>
                  </a:lnTo>
                  <a:lnTo>
                    <a:pt x="474" y="806"/>
                  </a:lnTo>
                  <a:lnTo>
                    <a:pt x="474" y="800"/>
                  </a:lnTo>
                  <a:lnTo>
                    <a:pt x="480" y="800"/>
                  </a:lnTo>
                  <a:lnTo>
                    <a:pt x="480" y="806"/>
                  </a:lnTo>
                  <a:lnTo>
                    <a:pt x="486" y="806"/>
                  </a:lnTo>
                  <a:lnTo>
                    <a:pt x="486" y="800"/>
                  </a:lnTo>
                  <a:lnTo>
                    <a:pt x="498" y="800"/>
                  </a:lnTo>
                  <a:lnTo>
                    <a:pt x="498" y="806"/>
                  </a:lnTo>
                  <a:lnTo>
                    <a:pt x="510" y="806"/>
                  </a:lnTo>
                  <a:lnTo>
                    <a:pt x="516" y="812"/>
                  </a:lnTo>
                  <a:lnTo>
                    <a:pt x="522" y="812"/>
                  </a:lnTo>
                  <a:lnTo>
                    <a:pt x="522" y="818"/>
                  </a:lnTo>
                  <a:lnTo>
                    <a:pt x="538" y="818"/>
                  </a:lnTo>
                  <a:lnTo>
                    <a:pt x="538" y="824"/>
                  </a:lnTo>
                  <a:lnTo>
                    <a:pt x="544" y="824"/>
                  </a:lnTo>
                  <a:lnTo>
                    <a:pt x="544" y="830"/>
                  </a:lnTo>
                  <a:lnTo>
                    <a:pt x="550" y="824"/>
                  </a:lnTo>
                  <a:lnTo>
                    <a:pt x="550" y="818"/>
                  </a:lnTo>
                  <a:lnTo>
                    <a:pt x="574" y="818"/>
                  </a:lnTo>
                  <a:lnTo>
                    <a:pt x="574" y="812"/>
                  </a:lnTo>
                  <a:lnTo>
                    <a:pt x="580" y="818"/>
                  </a:lnTo>
                  <a:lnTo>
                    <a:pt x="586" y="818"/>
                  </a:lnTo>
                  <a:lnTo>
                    <a:pt x="586" y="812"/>
                  </a:lnTo>
                  <a:lnTo>
                    <a:pt x="590" y="812"/>
                  </a:lnTo>
                  <a:lnTo>
                    <a:pt x="590" y="818"/>
                  </a:lnTo>
                  <a:lnTo>
                    <a:pt x="596" y="824"/>
                  </a:lnTo>
                  <a:lnTo>
                    <a:pt x="602" y="824"/>
                  </a:lnTo>
                  <a:lnTo>
                    <a:pt x="602" y="830"/>
                  </a:lnTo>
                  <a:lnTo>
                    <a:pt x="608" y="830"/>
                  </a:lnTo>
                  <a:lnTo>
                    <a:pt x="608" y="818"/>
                  </a:lnTo>
                  <a:lnTo>
                    <a:pt x="614" y="818"/>
                  </a:lnTo>
                  <a:lnTo>
                    <a:pt x="614" y="824"/>
                  </a:lnTo>
                  <a:lnTo>
                    <a:pt x="626" y="824"/>
                  </a:lnTo>
                  <a:lnTo>
                    <a:pt x="632" y="818"/>
                  </a:lnTo>
                  <a:lnTo>
                    <a:pt x="638" y="812"/>
                  </a:lnTo>
                  <a:lnTo>
                    <a:pt x="638" y="806"/>
                  </a:lnTo>
                  <a:lnTo>
                    <a:pt x="620" y="806"/>
                  </a:lnTo>
                  <a:lnTo>
                    <a:pt x="614" y="800"/>
                  </a:lnTo>
                  <a:lnTo>
                    <a:pt x="614" y="794"/>
                  </a:lnTo>
                  <a:lnTo>
                    <a:pt x="620" y="794"/>
                  </a:lnTo>
                  <a:lnTo>
                    <a:pt x="626" y="788"/>
                  </a:lnTo>
                  <a:lnTo>
                    <a:pt x="626" y="772"/>
                  </a:lnTo>
                  <a:lnTo>
                    <a:pt x="644" y="772"/>
                  </a:lnTo>
                  <a:lnTo>
                    <a:pt x="644" y="766"/>
                  </a:lnTo>
                  <a:lnTo>
                    <a:pt x="626" y="766"/>
                  </a:lnTo>
                  <a:lnTo>
                    <a:pt x="626" y="748"/>
                  </a:lnTo>
                  <a:lnTo>
                    <a:pt x="654" y="748"/>
                  </a:lnTo>
                  <a:lnTo>
                    <a:pt x="654" y="742"/>
                  </a:lnTo>
                  <a:lnTo>
                    <a:pt x="690" y="742"/>
                  </a:lnTo>
                  <a:lnTo>
                    <a:pt x="690" y="730"/>
                  </a:lnTo>
                  <a:lnTo>
                    <a:pt x="696" y="730"/>
                  </a:lnTo>
                  <a:lnTo>
                    <a:pt x="696" y="736"/>
                  </a:lnTo>
                  <a:lnTo>
                    <a:pt x="702" y="736"/>
                  </a:lnTo>
                  <a:lnTo>
                    <a:pt x="702" y="730"/>
                  </a:lnTo>
                  <a:lnTo>
                    <a:pt x="730" y="730"/>
                  </a:lnTo>
                  <a:lnTo>
                    <a:pt x="736" y="724"/>
                  </a:lnTo>
                  <a:lnTo>
                    <a:pt x="736" y="720"/>
                  </a:lnTo>
                  <a:lnTo>
                    <a:pt x="742" y="720"/>
                  </a:lnTo>
                  <a:lnTo>
                    <a:pt x="742" y="714"/>
                  </a:lnTo>
                  <a:lnTo>
                    <a:pt x="748" y="720"/>
                  </a:lnTo>
                  <a:lnTo>
                    <a:pt x="748" y="714"/>
                  </a:lnTo>
                  <a:lnTo>
                    <a:pt x="760" y="714"/>
                  </a:lnTo>
                  <a:lnTo>
                    <a:pt x="760" y="720"/>
                  </a:lnTo>
                  <a:lnTo>
                    <a:pt x="770" y="720"/>
                  </a:lnTo>
                  <a:lnTo>
                    <a:pt x="770" y="714"/>
                  </a:lnTo>
                  <a:lnTo>
                    <a:pt x="776" y="714"/>
                  </a:lnTo>
                  <a:lnTo>
                    <a:pt x="776" y="730"/>
                  </a:lnTo>
                  <a:lnTo>
                    <a:pt x="782" y="730"/>
                  </a:lnTo>
                  <a:lnTo>
                    <a:pt x="782" y="742"/>
                  </a:lnTo>
                  <a:lnTo>
                    <a:pt x="812" y="742"/>
                  </a:lnTo>
                  <a:lnTo>
                    <a:pt x="812" y="748"/>
                  </a:lnTo>
                  <a:lnTo>
                    <a:pt x="822" y="748"/>
                  </a:lnTo>
                  <a:lnTo>
                    <a:pt x="822" y="754"/>
                  </a:lnTo>
                  <a:lnTo>
                    <a:pt x="828" y="754"/>
                  </a:lnTo>
                  <a:lnTo>
                    <a:pt x="828" y="760"/>
                  </a:lnTo>
                  <a:lnTo>
                    <a:pt x="834" y="754"/>
                  </a:lnTo>
                  <a:lnTo>
                    <a:pt x="840" y="754"/>
                  </a:lnTo>
                  <a:lnTo>
                    <a:pt x="846" y="748"/>
                  </a:lnTo>
                  <a:lnTo>
                    <a:pt x="846" y="742"/>
                  </a:lnTo>
                  <a:lnTo>
                    <a:pt x="858" y="742"/>
                  </a:lnTo>
                  <a:lnTo>
                    <a:pt x="858" y="748"/>
                  </a:lnTo>
                  <a:lnTo>
                    <a:pt x="864" y="754"/>
                  </a:lnTo>
                  <a:lnTo>
                    <a:pt x="870" y="754"/>
                  </a:lnTo>
                  <a:lnTo>
                    <a:pt x="876" y="760"/>
                  </a:lnTo>
                  <a:lnTo>
                    <a:pt x="880" y="766"/>
                  </a:lnTo>
                  <a:lnTo>
                    <a:pt x="886" y="778"/>
                  </a:lnTo>
                  <a:lnTo>
                    <a:pt x="892" y="778"/>
                  </a:lnTo>
                  <a:lnTo>
                    <a:pt x="892" y="782"/>
                  </a:lnTo>
                  <a:lnTo>
                    <a:pt x="898" y="782"/>
                  </a:lnTo>
                  <a:lnTo>
                    <a:pt x="898" y="788"/>
                  </a:lnTo>
                  <a:lnTo>
                    <a:pt x="904" y="800"/>
                  </a:lnTo>
                  <a:lnTo>
                    <a:pt x="910" y="806"/>
                  </a:lnTo>
                  <a:lnTo>
                    <a:pt x="910" y="818"/>
                  </a:lnTo>
                  <a:lnTo>
                    <a:pt x="922" y="818"/>
                  </a:lnTo>
                  <a:lnTo>
                    <a:pt x="922" y="806"/>
                  </a:lnTo>
                  <a:lnTo>
                    <a:pt x="928" y="812"/>
                  </a:lnTo>
                  <a:lnTo>
                    <a:pt x="934" y="812"/>
                  </a:lnTo>
                  <a:lnTo>
                    <a:pt x="934" y="824"/>
                  </a:lnTo>
                  <a:lnTo>
                    <a:pt x="938" y="824"/>
                  </a:lnTo>
                  <a:lnTo>
                    <a:pt x="938" y="818"/>
                  </a:lnTo>
                  <a:lnTo>
                    <a:pt x="944" y="818"/>
                  </a:lnTo>
                  <a:lnTo>
                    <a:pt x="944" y="824"/>
                  </a:lnTo>
                  <a:lnTo>
                    <a:pt x="950" y="818"/>
                  </a:lnTo>
                  <a:lnTo>
                    <a:pt x="950" y="824"/>
                  </a:lnTo>
                  <a:lnTo>
                    <a:pt x="956" y="818"/>
                  </a:lnTo>
                  <a:lnTo>
                    <a:pt x="974" y="818"/>
                  </a:lnTo>
                  <a:lnTo>
                    <a:pt x="974" y="824"/>
                  </a:lnTo>
                  <a:lnTo>
                    <a:pt x="980" y="830"/>
                  </a:lnTo>
                  <a:lnTo>
                    <a:pt x="980" y="836"/>
                  </a:lnTo>
                  <a:lnTo>
                    <a:pt x="992" y="836"/>
                  </a:lnTo>
                  <a:lnTo>
                    <a:pt x="992" y="846"/>
                  </a:lnTo>
                  <a:lnTo>
                    <a:pt x="1002" y="846"/>
                  </a:lnTo>
                  <a:lnTo>
                    <a:pt x="1008" y="852"/>
                  </a:lnTo>
                  <a:lnTo>
                    <a:pt x="1008" y="846"/>
                  </a:lnTo>
                  <a:lnTo>
                    <a:pt x="1020" y="846"/>
                  </a:lnTo>
                  <a:lnTo>
                    <a:pt x="1020" y="858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50" y="852"/>
                  </a:lnTo>
                  <a:lnTo>
                    <a:pt x="1050" y="846"/>
                  </a:lnTo>
                  <a:lnTo>
                    <a:pt x="1060" y="846"/>
                  </a:lnTo>
                  <a:lnTo>
                    <a:pt x="1060" y="840"/>
                  </a:lnTo>
                  <a:lnTo>
                    <a:pt x="1066" y="840"/>
                  </a:lnTo>
                  <a:lnTo>
                    <a:pt x="1066" y="836"/>
                  </a:lnTo>
                  <a:lnTo>
                    <a:pt x="1072" y="836"/>
                  </a:lnTo>
                  <a:lnTo>
                    <a:pt x="1072" y="830"/>
                  </a:lnTo>
                  <a:lnTo>
                    <a:pt x="1090" y="830"/>
                  </a:lnTo>
                  <a:lnTo>
                    <a:pt x="1090" y="824"/>
                  </a:lnTo>
                  <a:lnTo>
                    <a:pt x="1102" y="824"/>
                  </a:lnTo>
                  <a:lnTo>
                    <a:pt x="1102" y="818"/>
                  </a:lnTo>
                  <a:lnTo>
                    <a:pt x="1108" y="824"/>
                  </a:lnTo>
                  <a:lnTo>
                    <a:pt x="1108" y="818"/>
                  </a:lnTo>
                  <a:lnTo>
                    <a:pt x="1112" y="818"/>
                  </a:lnTo>
                  <a:lnTo>
                    <a:pt x="1112" y="824"/>
                  </a:lnTo>
                  <a:lnTo>
                    <a:pt x="1130" y="824"/>
                  </a:lnTo>
                  <a:lnTo>
                    <a:pt x="1130" y="836"/>
                  </a:lnTo>
                  <a:lnTo>
                    <a:pt x="1136" y="836"/>
                  </a:lnTo>
                  <a:lnTo>
                    <a:pt x="1136" y="840"/>
                  </a:lnTo>
                  <a:lnTo>
                    <a:pt x="1142" y="836"/>
                  </a:lnTo>
                  <a:lnTo>
                    <a:pt x="1142" y="840"/>
                  </a:lnTo>
                  <a:lnTo>
                    <a:pt x="1170" y="840"/>
                  </a:lnTo>
                  <a:lnTo>
                    <a:pt x="1176" y="846"/>
                  </a:lnTo>
                  <a:lnTo>
                    <a:pt x="1182" y="846"/>
                  </a:lnTo>
                  <a:lnTo>
                    <a:pt x="1182" y="840"/>
                  </a:lnTo>
                  <a:lnTo>
                    <a:pt x="1188" y="840"/>
                  </a:lnTo>
                  <a:lnTo>
                    <a:pt x="1188" y="818"/>
                  </a:lnTo>
                  <a:lnTo>
                    <a:pt x="1182" y="818"/>
                  </a:lnTo>
                  <a:lnTo>
                    <a:pt x="1188" y="812"/>
                  </a:lnTo>
                  <a:lnTo>
                    <a:pt x="1188" y="800"/>
                  </a:lnTo>
                  <a:lnTo>
                    <a:pt x="1200" y="800"/>
                  </a:lnTo>
                  <a:lnTo>
                    <a:pt x="1200" y="794"/>
                  </a:lnTo>
                  <a:lnTo>
                    <a:pt x="1218" y="794"/>
                  </a:lnTo>
                  <a:lnTo>
                    <a:pt x="1218" y="800"/>
                  </a:lnTo>
                  <a:lnTo>
                    <a:pt x="1228" y="800"/>
                  </a:lnTo>
                  <a:lnTo>
                    <a:pt x="1228" y="806"/>
                  </a:lnTo>
                  <a:lnTo>
                    <a:pt x="1252" y="806"/>
                  </a:lnTo>
                  <a:lnTo>
                    <a:pt x="1252" y="830"/>
                  </a:lnTo>
                  <a:lnTo>
                    <a:pt x="1270" y="830"/>
                  </a:lnTo>
                  <a:lnTo>
                    <a:pt x="1270" y="836"/>
                  </a:lnTo>
                  <a:lnTo>
                    <a:pt x="1282" y="836"/>
                  </a:lnTo>
                  <a:lnTo>
                    <a:pt x="1282" y="830"/>
                  </a:lnTo>
                  <a:lnTo>
                    <a:pt x="1322" y="830"/>
                  </a:lnTo>
                  <a:lnTo>
                    <a:pt x="1322" y="836"/>
                  </a:lnTo>
                  <a:lnTo>
                    <a:pt x="1328" y="840"/>
                  </a:lnTo>
                  <a:lnTo>
                    <a:pt x="1340" y="840"/>
                  </a:lnTo>
                  <a:lnTo>
                    <a:pt x="1340" y="846"/>
                  </a:lnTo>
                  <a:lnTo>
                    <a:pt x="1344" y="852"/>
                  </a:lnTo>
                  <a:lnTo>
                    <a:pt x="1356" y="852"/>
                  </a:lnTo>
                  <a:lnTo>
                    <a:pt x="1362" y="858"/>
                  </a:lnTo>
                  <a:lnTo>
                    <a:pt x="1386" y="858"/>
                  </a:lnTo>
                  <a:lnTo>
                    <a:pt x="1386" y="852"/>
                  </a:lnTo>
                  <a:lnTo>
                    <a:pt x="1402" y="852"/>
                  </a:lnTo>
                  <a:lnTo>
                    <a:pt x="1408" y="846"/>
                  </a:lnTo>
                  <a:lnTo>
                    <a:pt x="1420" y="846"/>
                  </a:lnTo>
                  <a:lnTo>
                    <a:pt x="1420" y="840"/>
                  </a:lnTo>
                  <a:lnTo>
                    <a:pt x="1426" y="836"/>
                  </a:lnTo>
                  <a:lnTo>
                    <a:pt x="1432" y="836"/>
                  </a:lnTo>
                  <a:lnTo>
                    <a:pt x="1432" y="830"/>
                  </a:lnTo>
                  <a:lnTo>
                    <a:pt x="1444" y="830"/>
                  </a:lnTo>
                  <a:lnTo>
                    <a:pt x="1444" y="836"/>
                  </a:lnTo>
                  <a:lnTo>
                    <a:pt x="1450" y="836"/>
                  </a:lnTo>
                  <a:lnTo>
                    <a:pt x="1450" y="840"/>
                  </a:lnTo>
                  <a:lnTo>
                    <a:pt x="1472" y="840"/>
                  </a:lnTo>
                  <a:lnTo>
                    <a:pt x="1472" y="846"/>
                  </a:lnTo>
                  <a:lnTo>
                    <a:pt x="1502" y="846"/>
                  </a:lnTo>
                  <a:lnTo>
                    <a:pt x="1502" y="840"/>
                  </a:lnTo>
                  <a:lnTo>
                    <a:pt x="1508" y="840"/>
                  </a:lnTo>
                  <a:lnTo>
                    <a:pt x="1512" y="836"/>
                  </a:lnTo>
                  <a:lnTo>
                    <a:pt x="1512" y="818"/>
                  </a:lnTo>
                  <a:lnTo>
                    <a:pt x="1518" y="812"/>
                  </a:lnTo>
                  <a:lnTo>
                    <a:pt x="1518" y="806"/>
                  </a:lnTo>
                  <a:lnTo>
                    <a:pt x="1524" y="806"/>
                  </a:lnTo>
                  <a:lnTo>
                    <a:pt x="1524" y="794"/>
                  </a:lnTo>
                  <a:lnTo>
                    <a:pt x="1530" y="794"/>
                  </a:lnTo>
                  <a:lnTo>
                    <a:pt x="1530" y="778"/>
                  </a:lnTo>
                  <a:lnTo>
                    <a:pt x="1524" y="778"/>
                  </a:lnTo>
                  <a:lnTo>
                    <a:pt x="1524" y="772"/>
                  </a:lnTo>
                  <a:lnTo>
                    <a:pt x="1530" y="766"/>
                  </a:lnTo>
                  <a:lnTo>
                    <a:pt x="1548" y="766"/>
                  </a:lnTo>
                  <a:lnTo>
                    <a:pt x="1548" y="760"/>
                  </a:lnTo>
                  <a:lnTo>
                    <a:pt x="1582" y="760"/>
                  </a:lnTo>
                  <a:lnTo>
                    <a:pt x="1582" y="766"/>
                  </a:lnTo>
                  <a:lnTo>
                    <a:pt x="1606" y="766"/>
                  </a:lnTo>
                  <a:lnTo>
                    <a:pt x="1606" y="772"/>
                  </a:lnTo>
                  <a:lnTo>
                    <a:pt x="1612" y="778"/>
                  </a:lnTo>
                  <a:lnTo>
                    <a:pt x="1612" y="788"/>
                  </a:lnTo>
                  <a:lnTo>
                    <a:pt x="1618" y="788"/>
                  </a:lnTo>
                  <a:lnTo>
                    <a:pt x="1618" y="800"/>
                  </a:lnTo>
                  <a:lnTo>
                    <a:pt x="1624" y="800"/>
                  </a:lnTo>
                  <a:lnTo>
                    <a:pt x="1624" y="818"/>
                  </a:lnTo>
                  <a:lnTo>
                    <a:pt x="1628" y="818"/>
                  </a:lnTo>
                  <a:lnTo>
                    <a:pt x="1628" y="830"/>
                  </a:lnTo>
                  <a:lnTo>
                    <a:pt x="1634" y="830"/>
                  </a:lnTo>
                  <a:lnTo>
                    <a:pt x="1634" y="846"/>
                  </a:lnTo>
                  <a:lnTo>
                    <a:pt x="1652" y="846"/>
                  </a:lnTo>
                  <a:lnTo>
                    <a:pt x="1652" y="852"/>
                  </a:lnTo>
                  <a:lnTo>
                    <a:pt x="1664" y="852"/>
                  </a:lnTo>
                  <a:lnTo>
                    <a:pt x="1664" y="858"/>
                  </a:lnTo>
                  <a:lnTo>
                    <a:pt x="1670" y="858"/>
                  </a:lnTo>
                  <a:lnTo>
                    <a:pt x="1676" y="864"/>
                  </a:lnTo>
                  <a:lnTo>
                    <a:pt x="1682" y="864"/>
                  </a:lnTo>
                  <a:lnTo>
                    <a:pt x="1682" y="882"/>
                  </a:lnTo>
                  <a:lnTo>
                    <a:pt x="1686" y="882"/>
                  </a:lnTo>
                  <a:lnTo>
                    <a:pt x="1686" y="888"/>
                  </a:lnTo>
                  <a:lnTo>
                    <a:pt x="1692" y="888"/>
                  </a:lnTo>
                  <a:lnTo>
                    <a:pt x="1692" y="894"/>
                  </a:lnTo>
                  <a:lnTo>
                    <a:pt x="1704" y="894"/>
                  </a:lnTo>
                  <a:lnTo>
                    <a:pt x="1704" y="888"/>
                  </a:lnTo>
                  <a:lnTo>
                    <a:pt x="1710" y="888"/>
                  </a:lnTo>
                  <a:lnTo>
                    <a:pt x="1710" y="882"/>
                  </a:lnTo>
                  <a:lnTo>
                    <a:pt x="1728" y="882"/>
                  </a:lnTo>
                  <a:lnTo>
                    <a:pt x="1728" y="876"/>
                  </a:lnTo>
                  <a:lnTo>
                    <a:pt x="1740" y="876"/>
                  </a:lnTo>
                  <a:lnTo>
                    <a:pt x="1740" y="898"/>
                  </a:lnTo>
                  <a:lnTo>
                    <a:pt x="1734" y="898"/>
                  </a:lnTo>
                  <a:lnTo>
                    <a:pt x="1734" y="910"/>
                  </a:lnTo>
                  <a:lnTo>
                    <a:pt x="1728" y="910"/>
                  </a:lnTo>
                  <a:lnTo>
                    <a:pt x="1728" y="934"/>
                  </a:lnTo>
                  <a:lnTo>
                    <a:pt x="1716" y="934"/>
                  </a:lnTo>
                  <a:lnTo>
                    <a:pt x="1716" y="946"/>
                  </a:lnTo>
                  <a:lnTo>
                    <a:pt x="1704" y="946"/>
                  </a:lnTo>
                  <a:lnTo>
                    <a:pt x="1704" y="940"/>
                  </a:lnTo>
                  <a:lnTo>
                    <a:pt x="1698" y="940"/>
                  </a:lnTo>
                  <a:lnTo>
                    <a:pt x="1698" y="946"/>
                  </a:lnTo>
                  <a:lnTo>
                    <a:pt x="1686" y="946"/>
                  </a:lnTo>
                  <a:lnTo>
                    <a:pt x="1686" y="992"/>
                  </a:lnTo>
                  <a:lnTo>
                    <a:pt x="1682" y="992"/>
                  </a:lnTo>
                  <a:lnTo>
                    <a:pt x="1682" y="1004"/>
                  </a:lnTo>
                  <a:lnTo>
                    <a:pt x="1686" y="998"/>
                  </a:lnTo>
                  <a:lnTo>
                    <a:pt x="1692" y="992"/>
                  </a:lnTo>
                  <a:lnTo>
                    <a:pt x="1692" y="986"/>
                  </a:lnTo>
                  <a:lnTo>
                    <a:pt x="1704" y="986"/>
                  </a:lnTo>
                  <a:lnTo>
                    <a:pt x="1704" y="992"/>
                  </a:lnTo>
                  <a:lnTo>
                    <a:pt x="1710" y="992"/>
                  </a:lnTo>
                  <a:lnTo>
                    <a:pt x="1710" y="998"/>
                  </a:lnTo>
                  <a:lnTo>
                    <a:pt x="1716" y="992"/>
                  </a:lnTo>
                  <a:lnTo>
                    <a:pt x="1716" y="998"/>
                  </a:lnTo>
                  <a:lnTo>
                    <a:pt x="1728" y="998"/>
                  </a:lnTo>
                  <a:lnTo>
                    <a:pt x="1728" y="992"/>
                  </a:lnTo>
                  <a:lnTo>
                    <a:pt x="1734" y="992"/>
                  </a:lnTo>
                  <a:lnTo>
                    <a:pt x="1734" y="986"/>
                  </a:lnTo>
                  <a:lnTo>
                    <a:pt x="1744" y="986"/>
                  </a:lnTo>
                  <a:lnTo>
                    <a:pt x="1744" y="980"/>
                  </a:lnTo>
                  <a:lnTo>
                    <a:pt x="1750" y="980"/>
                  </a:lnTo>
                  <a:lnTo>
                    <a:pt x="1750" y="974"/>
                  </a:lnTo>
                  <a:lnTo>
                    <a:pt x="1756" y="974"/>
                  </a:lnTo>
                  <a:lnTo>
                    <a:pt x="1756" y="962"/>
                  </a:lnTo>
                  <a:lnTo>
                    <a:pt x="1768" y="962"/>
                  </a:lnTo>
                  <a:lnTo>
                    <a:pt x="1768" y="946"/>
                  </a:lnTo>
                  <a:lnTo>
                    <a:pt x="1774" y="946"/>
                  </a:lnTo>
                  <a:lnTo>
                    <a:pt x="1780" y="940"/>
                  </a:lnTo>
                  <a:lnTo>
                    <a:pt x="1780" y="934"/>
                  </a:lnTo>
                  <a:lnTo>
                    <a:pt x="1792" y="934"/>
                  </a:lnTo>
                  <a:lnTo>
                    <a:pt x="1792" y="916"/>
                  </a:lnTo>
                  <a:lnTo>
                    <a:pt x="1798" y="916"/>
                  </a:lnTo>
                  <a:lnTo>
                    <a:pt x="1798" y="910"/>
                  </a:lnTo>
                  <a:lnTo>
                    <a:pt x="1802" y="904"/>
                  </a:lnTo>
                  <a:lnTo>
                    <a:pt x="1802" y="898"/>
                  </a:lnTo>
                  <a:lnTo>
                    <a:pt x="1808" y="898"/>
                  </a:lnTo>
                  <a:lnTo>
                    <a:pt x="1808" y="888"/>
                  </a:lnTo>
                  <a:lnTo>
                    <a:pt x="1814" y="888"/>
                  </a:lnTo>
                  <a:lnTo>
                    <a:pt x="1814" y="882"/>
                  </a:lnTo>
                  <a:lnTo>
                    <a:pt x="1820" y="882"/>
                  </a:lnTo>
                  <a:lnTo>
                    <a:pt x="1820" y="876"/>
                  </a:lnTo>
                  <a:lnTo>
                    <a:pt x="1826" y="870"/>
                  </a:lnTo>
                  <a:lnTo>
                    <a:pt x="1826" y="864"/>
                  </a:lnTo>
                  <a:lnTo>
                    <a:pt x="1832" y="864"/>
                  </a:lnTo>
                  <a:lnTo>
                    <a:pt x="1832" y="806"/>
                  </a:lnTo>
                  <a:lnTo>
                    <a:pt x="1838" y="806"/>
                  </a:lnTo>
                  <a:lnTo>
                    <a:pt x="1838" y="800"/>
                  </a:lnTo>
                  <a:lnTo>
                    <a:pt x="1844" y="800"/>
                  </a:lnTo>
                  <a:lnTo>
                    <a:pt x="1844" y="778"/>
                  </a:lnTo>
                  <a:lnTo>
                    <a:pt x="1838" y="772"/>
                  </a:lnTo>
                  <a:lnTo>
                    <a:pt x="1832" y="766"/>
                  </a:lnTo>
                  <a:lnTo>
                    <a:pt x="1838" y="766"/>
                  </a:lnTo>
                  <a:lnTo>
                    <a:pt x="1844" y="772"/>
                  </a:lnTo>
                  <a:lnTo>
                    <a:pt x="1844" y="766"/>
                  </a:lnTo>
                  <a:lnTo>
                    <a:pt x="1838" y="760"/>
                  </a:lnTo>
                  <a:lnTo>
                    <a:pt x="1832" y="760"/>
                  </a:lnTo>
                  <a:lnTo>
                    <a:pt x="1832" y="754"/>
                  </a:lnTo>
                  <a:lnTo>
                    <a:pt x="1826" y="754"/>
                  </a:lnTo>
                  <a:lnTo>
                    <a:pt x="1826" y="742"/>
                  </a:lnTo>
                  <a:lnTo>
                    <a:pt x="1808" y="742"/>
                  </a:lnTo>
                  <a:lnTo>
                    <a:pt x="1808" y="748"/>
                  </a:lnTo>
                  <a:lnTo>
                    <a:pt x="1802" y="754"/>
                  </a:lnTo>
                  <a:lnTo>
                    <a:pt x="1802" y="760"/>
                  </a:lnTo>
                  <a:lnTo>
                    <a:pt x="1798" y="760"/>
                  </a:lnTo>
                  <a:lnTo>
                    <a:pt x="1798" y="754"/>
                  </a:lnTo>
                  <a:lnTo>
                    <a:pt x="1792" y="754"/>
                  </a:lnTo>
                  <a:lnTo>
                    <a:pt x="1792" y="760"/>
                  </a:lnTo>
                  <a:lnTo>
                    <a:pt x="1780" y="760"/>
                  </a:lnTo>
                  <a:lnTo>
                    <a:pt x="1780" y="754"/>
                  </a:lnTo>
                  <a:lnTo>
                    <a:pt x="1774" y="754"/>
                  </a:lnTo>
                  <a:lnTo>
                    <a:pt x="1774" y="730"/>
                  </a:lnTo>
                  <a:lnTo>
                    <a:pt x="1768" y="736"/>
                  </a:lnTo>
                  <a:lnTo>
                    <a:pt x="1768" y="730"/>
                  </a:lnTo>
                  <a:lnTo>
                    <a:pt x="1762" y="736"/>
                  </a:lnTo>
                  <a:lnTo>
                    <a:pt x="1756" y="736"/>
                  </a:lnTo>
                  <a:lnTo>
                    <a:pt x="1756" y="730"/>
                  </a:lnTo>
                  <a:lnTo>
                    <a:pt x="1750" y="730"/>
                  </a:lnTo>
                  <a:lnTo>
                    <a:pt x="1750" y="724"/>
                  </a:lnTo>
                  <a:lnTo>
                    <a:pt x="1756" y="724"/>
                  </a:lnTo>
                  <a:lnTo>
                    <a:pt x="1756" y="720"/>
                  </a:lnTo>
                  <a:lnTo>
                    <a:pt x="1762" y="720"/>
                  </a:lnTo>
                  <a:lnTo>
                    <a:pt x="1762" y="714"/>
                  </a:lnTo>
                  <a:lnTo>
                    <a:pt x="1768" y="714"/>
                  </a:lnTo>
                  <a:lnTo>
                    <a:pt x="1774" y="708"/>
                  </a:lnTo>
                  <a:lnTo>
                    <a:pt x="1780" y="708"/>
                  </a:lnTo>
                  <a:lnTo>
                    <a:pt x="1780" y="702"/>
                  </a:lnTo>
                  <a:lnTo>
                    <a:pt x="1786" y="702"/>
                  </a:lnTo>
                  <a:lnTo>
                    <a:pt x="1792" y="696"/>
                  </a:lnTo>
                  <a:lnTo>
                    <a:pt x="1792" y="690"/>
                  </a:lnTo>
                  <a:lnTo>
                    <a:pt x="1798" y="690"/>
                  </a:lnTo>
                  <a:lnTo>
                    <a:pt x="1798" y="684"/>
                  </a:lnTo>
                  <a:lnTo>
                    <a:pt x="1802" y="678"/>
                  </a:lnTo>
                  <a:lnTo>
                    <a:pt x="1808" y="678"/>
                  </a:lnTo>
                  <a:lnTo>
                    <a:pt x="1808" y="672"/>
                  </a:lnTo>
                  <a:lnTo>
                    <a:pt x="1814" y="672"/>
                  </a:lnTo>
                  <a:lnTo>
                    <a:pt x="1814" y="666"/>
                  </a:lnTo>
                  <a:lnTo>
                    <a:pt x="1820" y="666"/>
                  </a:lnTo>
                  <a:lnTo>
                    <a:pt x="1820" y="662"/>
                  </a:lnTo>
                  <a:lnTo>
                    <a:pt x="1832" y="662"/>
                  </a:lnTo>
                  <a:lnTo>
                    <a:pt x="1832" y="650"/>
                  </a:lnTo>
                  <a:lnTo>
                    <a:pt x="1838" y="644"/>
                  </a:lnTo>
                  <a:lnTo>
                    <a:pt x="1844" y="644"/>
                  </a:lnTo>
                  <a:lnTo>
                    <a:pt x="1844" y="638"/>
                  </a:lnTo>
                  <a:lnTo>
                    <a:pt x="1850" y="638"/>
                  </a:lnTo>
                  <a:lnTo>
                    <a:pt x="1850" y="632"/>
                  </a:lnTo>
                  <a:lnTo>
                    <a:pt x="1856" y="632"/>
                  </a:lnTo>
                  <a:lnTo>
                    <a:pt x="1856" y="626"/>
                  </a:lnTo>
                  <a:lnTo>
                    <a:pt x="1872" y="626"/>
                  </a:lnTo>
                  <a:lnTo>
                    <a:pt x="1872" y="620"/>
                  </a:lnTo>
                  <a:lnTo>
                    <a:pt x="1914" y="620"/>
                  </a:lnTo>
                  <a:lnTo>
                    <a:pt x="1908" y="626"/>
                  </a:lnTo>
                  <a:lnTo>
                    <a:pt x="1918" y="626"/>
                  </a:lnTo>
                  <a:lnTo>
                    <a:pt x="1918" y="620"/>
                  </a:lnTo>
                  <a:lnTo>
                    <a:pt x="1930" y="620"/>
                  </a:lnTo>
                  <a:lnTo>
                    <a:pt x="1930" y="626"/>
                  </a:lnTo>
                  <a:lnTo>
                    <a:pt x="1942" y="626"/>
                  </a:lnTo>
                  <a:lnTo>
                    <a:pt x="1942" y="620"/>
                  </a:lnTo>
                  <a:lnTo>
                    <a:pt x="1948" y="620"/>
                  </a:lnTo>
                  <a:lnTo>
                    <a:pt x="1948" y="626"/>
                  </a:lnTo>
                  <a:lnTo>
                    <a:pt x="1960" y="626"/>
                  </a:lnTo>
                  <a:lnTo>
                    <a:pt x="1960" y="620"/>
                  </a:lnTo>
                  <a:lnTo>
                    <a:pt x="1954" y="620"/>
                  </a:lnTo>
                  <a:lnTo>
                    <a:pt x="1960" y="614"/>
                  </a:lnTo>
                  <a:lnTo>
                    <a:pt x="1982" y="614"/>
                  </a:lnTo>
                  <a:lnTo>
                    <a:pt x="1982" y="620"/>
                  </a:lnTo>
                  <a:lnTo>
                    <a:pt x="1988" y="620"/>
                  </a:lnTo>
                  <a:lnTo>
                    <a:pt x="1988" y="614"/>
                  </a:lnTo>
                  <a:lnTo>
                    <a:pt x="1994" y="614"/>
                  </a:lnTo>
                  <a:lnTo>
                    <a:pt x="1994" y="620"/>
                  </a:lnTo>
                  <a:lnTo>
                    <a:pt x="2000" y="620"/>
                  </a:lnTo>
                  <a:lnTo>
                    <a:pt x="2000" y="626"/>
                  </a:lnTo>
                  <a:lnTo>
                    <a:pt x="1994" y="626"/>
                  </a:lnTo>
                  <a:lnTo>
                    <a:pt x="1994" y="632"/>
                  </a:lnTo>
                  <a:lnTo>
                    <a:pt x="2006" y="632"/>
                  </a:lnTo>
                  <a:lnTo>
                    <a:pt x="2012" y="626"/>
                  </a:lnTo>
                  <a:lnTo>
                    <a:pt x="2012" y="632"/>
                  </a:lnTo>
                  <a:lnTo>
                    <a:pt x="2018" y="632"/>
                  </a:lnTo>
                  <a:lnTo>
                    <a:pt x="2024" y="626"/>
                  </a:lnTo>
                  <a:lnTo>
                    <a:pt x="2052" y="626"/>
                  </a:lnTo>
                  <a:lnTo>
                    <a:pt x="2052" y="620"/>
                  </a:lnTo>
                  <a:lnTo>
                    <a:pt x="2046" y="620"/>
                  </a:lnTo>
                  <a:lnTo>
                    <a:pt x="2046" y="614"/>
                  </a:lnTo>
                  <a:lnTo>
                    <a:pt x="2040" y="614"/>
                  </a:lnTo>
                  <a:lnTo>
                    <a:pt x="2040" y="620"/>
                  </a:lnTo>
                  <a:lnTo>
                    <a:pt x="2034" y="620"/>
                  </a:lnTo>
                  <a:lnTo>
                    <a:pt x="2034" y="608"/>
                  </a:lnTo>
                  <a:lnTo>
                    <a:pt x="2040" y="608"/>
                  </a:lnTo>
                  <a:lnTo>
                    <a:pt x="2040" y="604"/>
                  </a:lnTo>
                  <a:lnTo>
                    <a:pt x="2046" y="604"/>
                  </a:lnTo>
                  <a:lnTo>
                    <a:pt x="2046" y="598"/>
                  </a:lnTo>
                  <a:lnTo>
                    <a:pt x="2052" y="598"/>
                  </a:lnTo>
                  <a:lnTo>
                    <a:pt x="2058" y="592"/>
                  </a:lnTo>
                  <a:lnTo>
                    <a:pt x="2058" y="586"/>
                  </a:lnTo>
                  <a:lnTo>
                    <a:pt x="2064" y="586"/>
                  </a:lnTo>
                  <a:lnTo>
                    <a:pt x="2064" y="580"/>
                  </a:lnTo>
                  <a:lnTo>
                    <a:pt x="2070" y="574"/>
                  </a:lnTo>
                  <a:lnTo>
                    <a:pt x="2076" y="574"/>
                  </a:lnTo>
                  <a:lnTo>
                    <a:pt x="2076" y="568"/>
                  </a:lnTo>
                  <a:lnTo>
                    <a:pt x="2082" y="568"/>
                  </a:lnTo>
                  <a:lnTo>
                    <a:pt x="2082" y="562"/>
                  </a:lnTo>
                  <a:lnTo>
                    <a:pt x="2128" y="562"/>
                  </a:lnTo>
                  <a:lnTo>
                    <a:pt x="2128" y="556"/>
                  </a:lnTo>
                  <a:lnTo>
                    <a:pt x="2134" y="556"/>
                  </a:lnTo>
                  <a:lnTo>
                    <a:pt x="2134" y="562"/>
                  </a:lnTo>
                  <a:lnTo>
                    <a:pt x="2128" y="568"/>
                  </a:lnTo>
                  <a:lnTo>
                    <a:pt x="2128" y="580"/>
                  </a:lnTo>
                  <a:lnTo>
                    <a:pt x="2134" y="580"/>
                  </a:lnTo>
                  <a:lnTo>
                    <a:pt x="2128" y="586"/>
                  </a:lnTo>
                  <a:lnTo>
                    <a:pt x="2140" y="586"/>
                  </a:lnTo>
                  <a:lnTo>
                    <a:pt x="2140" y="580"/>
                  </a:lnTo>
                  <a:lnTo>
                    <a:pt x="2146" y="580"/>
                  </a:lnTo>
                  <a:lnTo>
                    <a:pt x="2150" y="574"/>
                  </a:lnTo>
                  <a:lnTo>
                    <a:pt x="2156" y="574"/>
                  </a:lnTo>
                  <a:lnTo>
                    <a:pt x="2162" y="568"/>
                  </a:lnTo>
                  <a:lnTo>
                    <a:pt x="2174" y="568"/>
                  </a:lnTo>
                  <a:lnTo>
                    <a:pt x="2174" y="562"/>
                  </a:lnTo>
                  <a:lnTo>
                    <a:pt x="2168" y="562"/>
                  </a:lnTo>
                  <a:lnTo>
                    <a:pt x="2174" y="556"/>
                  </a:lnTo>
                  <a:lnTo>
                    <a:pt x="2174" y="546"/>
                  </a:lnTo>
                  <a:lnTo>
                    <a:pt x="2180" y="546"/>
                  </a:lnTo>
                  <a:lnTo>
                    <a:pt x="2180" y="540"/>
                  </a:lnTo>
                  <a:lnTo>
                    <a:pt x="2198" y="540"/>
                  </a:lnTo>
                  <a:lnTo>
                    <a:pt x="2198" y="546"/>
                  </a:lnTo>
                  <a:lnTo>
                    <a:pt x="2192" y="546"/>
                  </a:lnTo>
                  <a:lnTo>
                    <a:pt x="2192" y="562"/>
                  </a:lnTo>
                  <a:lnTo>
                    <a:pt x="2186" y="562"/>
                  </a:lnTo>
                  <a:lnTo>
                    <a:pt x="2180" y="574"/>
                  </a:lnTo>
                  <a:lnTo>
                    <a:pt x="2180" y="586"/>
                  </a:lnTo>
                  <a:lnTo>
                    <a:pt x="2168" y="586"/>
                  </a:lnTo>
                  <a:lnTo>
                    <a:pt x="2162" y="592"/>
                  </a:lnTo>
                  <a:lnTo>
                    <a:pt x="2156" y="592"/>
                  </a:lnTo>
                  <a:lnTo>
                    <a:pt x="2156" y="598"/>
                  </a:lnTo>
                  <a:lnTo>
                    <a:pt x="2150" y="598"/>
                  </a:lnTo>
                  <a:lnTo>
                    <a:pt x="2150" y="604"/>
                  </a:lnTo>
                  <a:lnTo>
                    <a:pt x="2146" y="608"/>
                  </a:lnTo>
                  <a:lnTo>
                    <a:pt x="2140" y="614"/>
                  </a:lnTo>
                  <a:lnTo>
                    <a:pt x="2134" y="614"/>
                  </a:lnTo>
                  <a:lnTo>
                    <a:pt x="2134" y="620"/>
                  </a:lnTo>
                  <a:lnTo>
                    <a:pt x="2128" y="620"/>
                  </a:lnTo>
                  <a:lnTo>
                    <a:pt x="2128" y="626"/>
                  </a:lnTo>
                  <a:lnTo>
                    <a:pt x="2122" y="626"/>
                  </a:lnTo>
                  <a:lnTo>
                    <a:pt x="2122" y="632"/>
                  </a:lnTo>
                  <a:lnTo>
                    <a:pt x="2116" y="638"/>
                  </a:lnTo>
                  <a:lnTo>
                    <a:pt x="2110" y="638"/>
                  </a:lnTo>
                  <a:lnTo>
                    <a:pt x="2110" y="644"/>
                  </a:lnTo>
                  <a:lnTo>
                    <a:pt x="2104" y="650"/>
                  </a:lnTo>
                  <a:lnTo>
                    <a:pt x="2098" y="650"/>
                  </a:lnTo>
                  <a:lnTo>
                    <a:pt x="2098" y="656"/>
                  </a:lnTo>
                  <a:lnTo>
                    <a:pt x="2088" y="656"/>
                  </a:lnTo>
                  <a:lnTo>
                    <a:pt x="2088" y="662"/>
                  </a:lnTo>
                  <a:lnTo>
                    <a:pt x="2082" y="662"/>
                  </a:lnTo>
                  <a:lnTo>
                    <a:pt x="2082" y="656"/>
                  </a:lnTo>
                  <a:lnTo>
                    <a:pt x="2076" y="662"/>
                  </a:lnTo>
                  <a:lnTo>
                    <a:pt x="2076" y="666"/>
                  </a:lnTo>
                  <a:lnTo>
                    <a:pt x="2082" y="666"/>
                  </a:lnTo>
                  <a:lnTo>
                    <a:pt x="2076" y="672"/>
                  </a:lnTo>
                  <a:lnTo>
                    <a:pt x="2076" y="678"/>
                  </a:lnTo>
                  <a:lnTo>
                    <a:pt x="2070" y="678"/>
                  </a:lnTo>
                  <a:lnTo>
                    <a:pt x="2070" y="684"/>
                  </a:lnTo>
                  <a:lnTo>
                    <a:pt x="2064" y="684"/>
                  </a:lnTo>
                  <a:lnTo>
                    <a:pt x="2064" y="690"/>
                  </a:lnTo>
                  <a:lnTo>
                    <a:pt x="2058" y="690"/>
                  </a:lnTo>
                  <a:lnTo>
                    <a:pt x="2058" y="748"/>
                  </a:lnTo>
                  <a:lnTo>
                    <a:pt x="2064" y="748"/>
                  </a:lnTo>
                  <a:lnTo>
                    <a:pt x="2064" y="778"/>
                  </a:lnTo>
                  <a:lnTo>
                    <a:pt x="2070" y="778"/>
                  </a:lnTo>
                  <a:lnTo>
                    <a:pt x="2070" y="782"/>
                  </a:lnTo>
                  <a:lnTo>
                    <a:pt x="2076" y="778"/>
                  </a:lnTo>
                  <a:lnTo>
                    <a:pt x="2076" y="782"/>
                  </a:lnTo>
                  <a:lnTo>
                    <a:pt x="2070" y="782"/>
                  </a:lnTo>
                  <a:lnTo>
                    <a:pt x="2076" y="788"/>
                  </a:lnTo>
                  <a:lnTo>
                    <a:pt x="2076" y="818"/>
                  </a:lnTo>
                  <a:lnTo>
                    <a:pt x="2082" y="812"/>
                  </a:lnTo>
                  <a:lnTo>
                    <a:pt x="2088" y="812"/>
                  </a:lnTo>
                  <a:lnTo>
                    <a:pt x="2088" y="806"/>
                  </a:lnTo>
                  <a:lnTo>
                    <a:pt x="2092" y="806"/>
                  </a:lnTo>
                  <a:lnTo>
                    <a:pt x="2092" y="800"/>
                  </a:lnTo>
                  <a:lnTo>
                    <a:pt x="2098" y="794"/>
                  </a:lnTo>
                  <a:lnTo>
                    <a:pt x="2098" y="788"/>
                  </a:lnTo>
                  <a:lnTo>
                    <a:pt x="2104" y="788"/>
                  </a:lnTo>
                  <a:lnTo>
                    <a:pt x="2104" y="772"/>
                  </a:lnTo>
                  <a:lnTo>
                    <a:pt x="2098" y="772"/>
                  </a:lnTo>
                  <a:lnTo>
                    <a:pt x="2104" y="766"/>
                  </a:lnTo>
                  <a:lnTo>
                    <a:pt x="2104" y="772"/>
                  </a:lnTo>
                  <a:lnTo>
                    <a:pt x="2110" y="772"/>
                  </a:lnTo>
                  <a:lnTo>
                    <a:pt x="2110" y="766"/>
                  </a:lnTo>
                  <a:lnTo>
                    <a:pt x="2128" y="766"/>
                  </a:lnTo>
                  <a:lnTo>
                    <a:pt x="2128" y="742"/>
                  </a:lnTo>
                  <a:lnTo>
                    <a:pt x="2134" y="742"/>
                  </a:lnTo>
                  <a:lnTo>
                    <a:pt x="2134" y="736"/>
                  </a:lnTo>
                  <a:lnTo>
                    <a:pt x="2150" y="736"/>
                  </a:lnTo>
                  <a:lnTo>
                    <a:pt x="2150" y="730"/>
                  </a:lnTo>
                  <a:lnTo>
                    <a:pt x="2156" y="730"/>
                  </a:lnTo>
                  <a:lnTo>
                    <a:pt x="2156" y="724"/>
                  </a:lnTo>
                  <a:lnTo>
                    <a:pt x="2150" y="724"/>
                  </a:lnTo>
                  <a:lnTo>
                    <a:pt x="2150" y="702"/>
                  </a:lnTo>
                  <a:lnTo>
                    <a:pt x="2156" y="702"/>
                  </a:lnTo>
                  <a:lnTo>
                    <a:pt x="2162" y="696"/>
                  </a:lnTo>
                  <a:lnTo>
                    <a:pt x="2168" y="702"/>
                  </a:lnTo>
                  <a:lnTo>
                    <a:pt x="2174" y="702"/>
                  </a:lnTo>
                  <a:lnTo>
                    <a:pt x="2180" y="696"/>
                  </a:lnTo>
                  <a:lnTo>
                    <a:pt x="2180" y="690"/>
                  </a:lnTo>
                  <a:lnTo>
                    <a:pt x="2174" y="690"/>
                  </a:lnTo>
                  <a:lnTo>
                    <a:pt x="2180" y="684"/>
                  </a:lnTo>
                  <a:lnTo>
                    <a:pt x="2168" y="684"/>
                  </a:lnTo>
                  <a:lnTo>
                    <a:pt x="2168" y="666"/>
                  </a:lnTo>
                  <a:lnTo>
                    <a:pt x="2174" y="666"/>
                  </a:lnTo>
                  <a:lnTo>
                    <a:pt x="2180" y="662"/>
                  </a:lnTo>
                  <a:lnTo>
                    <a:pt x="2174" y="656"/>
                  </a:lnTo>
                  <a:lnTo>
                    <a:pt x="2162" y="656"/>
                  </a:lnTo>
                  <a:lnTo>
                    <a:pt x="2162" y="662"/>
                  </a:lnTo>
                  <a:lnTo>
                    <a:pt x="2156" y="656"/>
                  </a:lnTo>
                  <a:lnTo>
                    <a:pt x="2156" y="644"/>
                  </a:lnTo>
                  <a:lnTo>
                    <a:pt x="2162" y="638"/>
                  </a:lnTo>
                  <a:lnTo>
                    <a:pt x="2168" y="638"/>
                  </a:lnTo>
                  <a:lnTo>
                    <a:pt x="2168" y="632"/>
                  </a:lnTo>
                  <a:lnTo>
                    <a:pt x="2174" y="632"/>
                  </a:lnTo>
                  <a:lnTo>
                    <a:pt x="2174" y="626"/>
                  </a:lnTo>
                  <a:lnTo>
                    <a:pt x="2180" y="626"/>
                  </a:lnTo>
                  <a:lnTo>
                    <a:pt x="2180" y="620"/>
                  </a:lnTo>
                  <a:lnTo>
                    <a:pt x="2174" y="620"/>
                  </a:lnTo>
                  <a:lnTo>
                    <a:pt x="2174" y="614"/>
                  </a:lnTo>
                  <a:lnTo>
                    <a:pt x="2180" y="614"/>
                  </a:lnTo>
                  <a:lnTo>
                    <a:pt x="2180" y="604"/>
                  </a:lnTo>
                  <a:lnTo>
                    <a:pt x="2198" y="604"/>
                  </a:lnTo>
                  <a:lnTo>
                    <a:pt x="2198" y="614"/>
                  </a:lnTo>
                  <a:lnTo>
                    <a:pt x="2204" y="608"/>
                  </a:lnTo>
                  <a:lnTo>
                    <a:pt x="2204" y="604"/>
                  </a:lnTo>
                  <a:lnTo>
                    <a:pt x="2208" y="598"/>
                  </a:lnTo>
                  <a:lnTo>
                    <a:pt x="2214" y="598"/>
                  </a:lnTo>
                  <a:lnTo>
                    <a:pt x="2220" y="592"/>
                  </a:lnTo>
                  <a:lnTo>
                    <a:pt x="2220" y="604"/>
                  </a:lnTo>
                  <a:lnTo>
                    <a:pt x="2214" y="604"/>
                  </a:lnTo>
                  <a:lnTo>
                    <a:pt x="2214" y="614"/>
                  </a:lnTo>
                  <a:lnTo>
                    <a:pt x="2220" y="614"/>
                  </a:lnTo>
                  <a:lnTo>
                    <a:pt x="2220" y="608"/>
                  </a:lnTo>
                  <a:lnTo>
                    <a:pt x="2226" y="608"/>
                  </a:lnTo>
                  <a:lnTo>
                    <a:pt x="2226" y="598"/>
                  </a:lnTo>
                  <a:lnTo>
                    <a:pt x="2244" y="598"/>
                  </a:lnTo>
                  <a:lnTo>
                    <a:pt x="2244" y="592"/>
                  </a:lnTo>
                  <a:lnTo>
                    <a:pt x="2266" y="592"/>
                  </a:lnTo>
                  <a:lnTo>
                    <a:pt x="2266" y="598"/>
                  </a:lnTo>
                  <a:lnTo>
                    <a:pt x="2272" y="598"/>
                  </a:lnTo>
                  <a:lnTo>
                    <a:pt x="2278" y="604"/>
                  </a:lnTo>
                  <a:lnTo>
                    <a:pt x="2278" y="608"/>
                  </a:lnTo>
                  <a:lnTo>
                    <a:pt x="2284" y="608"/>
                  </a:lnTo>
                  <a:lnTo>
                    <a:pt x="2284" y="598"/>
                  </a:lnTo>
                  <a:lnTo>
                    <a:pt x="2290" y="598"/>
                  </a:lnTo>
                  <a:lnTo>
                    <a:pt x="2290" y="592"/>
                  </a:lnTo>
                  <a:lnTo>
                    <a:pt x="2296" y="592"/>
                  </a:lnTo>
                  <a:lnTo>
                    <a:pt x="2296" y="586"/>
                  </a:lnTo>
                  <a:lnTo>
                    <a:pt x="2308" y="586"/>
                  </a:lnTo>
                  <a:lnTo>
                    <a:pt x="2308" y="580"/>
                  </a:lnTo>
                  <a:lnTo>
                    <a:pt x="2314" y="580"/>
                  </a:lnTo>
                  <a:lnTo>
                    <a:pt x="2314" y="574"/>
                  </a:lnTo>
                  <a:lnTo>
                    <a:pt x="2318" y="568"/>
                  </a:lnTo>
                  <a:lnTo>
                    <a:pt x="2318" y="574"/>
                  </a:lnTo>
                  <a:lnTo>
                    <a:pt x="2324" y="574"/>
                  </a:lnTo>
                  <a:lnTo>
                    <a:pt x="2330" y="568"/>
                  </a:lnTo>
                  <a:lnTo>
                    <a:pt x="2330" y="562"/>
                  </a:lnTo>
                  <a:lnTo>
                    <a:pt x="2348" y="562"/>
                  </a:lnTo>
                  <a:lnTo>
                    <a:pt x="2348" y="556"/>
                  </a:lnTo>
                  <a:lnTo>
                    <a:pt x="2354" y="556"/>
                  </a:lnTo>
                  <a:lnTo>
                    <a:pt x="2354" y="550"/>
                  </a:lnTo>
                  <a:lnTo>
                    <a:pt x="2372" y="550"/>
                  </a:lnTo>
                  <a:lnTo>
                    <a:pt x="2376" y="546"/>
                  </a:lnTo>
                  <a:lnTo>
                    <a:pt x="2406" y="546"/>
                  </a:lnTo>
                  <a:lnTo>
                    <a:pt x="2406" y="550"/>
                  </a:lnTo>
                  <a:lnTo>
                    <a:pt x="2418" y="550"/>
                  </a:lnTo>
                  <a:lnTo>
                    <a:pt x="2418" y="528"/>
                  </a:lnTo>
                  <a:lnTo>
                    <a:pt x="2412" y="528"/>
                  </a:lnTo>
                  <a:lnTo>
                    <a:pt x="2412" y="522"/>
                  </a:lnTo>
                  <a:lnTo>
                    <a:pt x="2406" y="516"/>
                  </a:lnTo>
                  <a:lnTo>
                    <a:pt x="2406" y="522"/>
                  </a:lnTo>
                  <a:lnTo>
                    <a:pt x="2400" y="516"/>
                  </a:lnTo>
                  <a:lnTo>
                    <a:pt x="2406" y="516"/>
                  </a:lnTo>
                  <a:lnTo>
                    <a:pt x="2406" y="498"/>
                  </a:lnTo>
                  <a:lnTo>
                    <a:pt x="2388" y="498"/>
                  </a:lnTo>
                  <a:lnTo>
                    <a:pt x="2388" y="488"/>
                  </a:lnTo>
                  <a:lnTo>
                    <a:pt x="2382" y="482"/>
                  </a:lnTo>
                  <a:lnTo>
                    <a:pt x="2388" y="482"/>
                  </a:lnTo>
                  <a:lnTo>
                    <a:pt x="2388" y="488"/>
                  </a:lnTo>
                  <a:lnTo>
                    <a:pt x="2406" y="488"/>
                  </a:lnTo>
                  <a:lnTo>
                    <a:pt x="2406" y="492"/>
                  </a:lnTo>
                  <a:lnTo>
                    <a:pt x="2412" y="488"/>
                  </a:lnTo>
                  <a:lnTo>
                    <a:pt x="2424" y="488"/>
                  </a:lnTo>
                  <a:lnTo>
                    <a:pt x="2424" y="482"/>
                  </a:lnTo>
                  <a:lnTo>
                    <a:pt x="2430" y="482"/>
                  </a:lnTo>
                  <a:lnTo>
                    <a:pt x="2430" y="476"/>
                  </a:lnTo>
                  <a:lnTo>
                    <a:pt x="2434" y="476"/>
                  </a:lnTo>
                  <a:lnTo>
                    <a:pt x="2434" y="470"/>
                  </a:lnTo>
                  <a:lnTo>
                    <a:pt x="2440" y="470"/>
                  </a:lnTo>
                  <a:lnTo>
                    <a:pt x="2434" y="464"/>
                  </a:lnTo>
                  <a:lnTo>
                    <a:pt x="2430" y="464"/>
                  </a:lnTo>
                  <a:lnTo>
                    <a:pt x="2430" y="446"/>
                  </a:lnTo>
                  <a:lnTo>
                    <a:pt x="2434" y="452"/>
                  </a:lnTo>
                  <a:lnTo>
                    <a:pt x="2440" y="452"/>
                  </a:lnTo>
                  <a:lnTo>
                    <a:pt x="2440" y="446"/>
                  </a:lnTo>
                  <a:lnTo>
                    <a:pt x="2452" y="446"/>
                  </a:lnTo>
                  <a:lnTo>
                    <a:pt x="2446" y="452"/>
                  </a:lnTo>
                  <a:lnTo>
                    <a:pt x="2446" y="464"/>
                  </a:lnTo>
                  <a:lnTo>
                    <a:pt x="2452" y="464"/>
                  </a:lnTo>
                  <a:lnTo>
                    <a:pt x="2446" y="470"/>
                  </a:lnTo>
                  <a:lnTo>
                    <a:pt x="2470" y="470"/>
                  </a:lnTo>
                  <a:lnTo>
                    <a:pt x="2470" y="464"/>
                  </a:lnTo>
                  <a:lnTo>
                    <a:pt x="2482" y="464"/>
                  </a:lnTo>
                  <a:lnTo>
                    <a:pt x="2482" y="470"/>
                  </a:lnTo>
                  <a:lnTo>
                    <a:pt x="2488" y="470"/>
                  </a:lnTo>
                  <a:lnTo>
                    <a:pt x="2488" y="476"/>
                  </a:lnTo>
                  <a:lnTo>
                    <a:pt x="2492" y="476"/>
                  </a:lnTo>
                  <a:lnTo>
                    <a:pt x="2492" y="488"/>
                  </a:lnTo>
                  <a:lnTo>
                    <a:pt x="2510" y="488"/>
                  </a:lnTo>
                  <a:lnTo>
                    <a:pt x="2516" y="492"/>
                  </a:lnTo>
                  <a:lnTo>
                    <a:pt x="2516" y="498"/>
                  </a:lnTo>
                  <a:lnTo>
                    <a:pt x="2546" y="498"/>
                  </a:lnTo>
                  <a:lnTo>
                    <a:pt x="2546" y="492"/>
                  </a:lnTo>
                  <a:lnTo>
                    <a:pt x="2534" y="492"/>
                  </a:lnTo>
                  <a:lnTo>
                    <a:pt x="2534" y="488"/>
                  </a:lnTo>
                  <a:lnTo>
                    <a:pt x="2546" y="488"/>
                  </a:lnTo>
                  <a:lnTo>
                    <a:pt x="2546" y="470"/>
                  </a:lnTo>
                  <a:lnTo>
                    <a:pt x="2562" y="470"/>
                  </a:lnTo>
                  <a:lnTo>
                    <a:pt x="2562" y="464"/>
                  </a:lnTo>
                  <a:lnTo>
                    <a:pt x="2574" y="464"/>
                  </a:lnTo>
                  <a:lnTo>
                    <a:pt x="2574" y="446"/>
                  </a:lnTo>
                  <a:lnTo>
                    <a:pt x="2568" y="446"/>
                  </a:lnTo>
                  <a:lnTo>
                    <a:pt x="2568" y="440"/>
                  </a:lnTo>
                  <a:close/>
                  <a:moveTo>
                    <a:pt x="864" y="742"/>
                  </a:moveTo>
                  <a:lnTo>
                    <a:pt x="864" y="736"/>
                  </a:lnTo>
                  <a:lnTo>
                    <a:pt x="870" y="742"/>
                  </a:lnTo>
                  <a:lnTo>
                    <a:pt x="864" y="742"/>
                  </a:lnTo>
                  <a:close/>
                  <a:moveTo>
                    <a:pt x="1002" y="254"/>
                  </a:moveTo>
                  <a:lnTo>
                    <a:pt x="1002" y="250"/>
                  </a:lnTo>
                  <a:lnTo>
                    <a:pt x="1008" y="250"/>
                  </a:lnTo>
                  <a:lnTo>
                    <a:pt x="1002" y="254"/>
                  </a:lnTo>
                  <a:close/>
                  <a:moveTo>
                    <a:pt x="1014" y="260"/>
                  </a:moveTo>
                  <a:lnTo>
                    <a:pt x="1008" y="260"/>
                  </a:lnTo>
                  <a:lnTo>
                    <a:pt x="1008" y="254"/>
                  </a:lnTo>
                  <a:lnTo>
                    <a:pt x="1014" y="254"/>
                  </a:lnTo>
                  <a:lnTo>
                    <a:pt x="1014" y="260"/>
                  </a:lnTo>
                  <a:close/>
                  <a:moveTo>
                    <a:pt x="1206" y="192"/>
                  </a:moveTo>
                  <a:lnTo>
                    <a:pt x="1200" y="192"/>
                  </a:lnTo>
                  <a:lnTo>
                    <a:pt x="1206" y="186"/>
                  </a:lnTo>
                  <a:lnTo>
                    <a:pt x="1206" y="192"/>
                  </a:lnTo>
                  <a:close/>
                  <a:moveTo>
                    <a:pt x="1218" y="196"/>
                  </a:moveTo>
                  <a:lnTo>
                    <a:pt x="1212" y="196"/>
                  </a:lnTo>
                  <a:lnTo>
                    <a:pt x="1212" y="192"/>
                  </a:lnTo>
                  <a:lnTo>
                    <a:pt x="1218" y="192"/>
                  </a:lnTo>
                  <a:lnTo>
                    <a:pt x="1218" y="196"/>
                  </a:lnTo>
                  <a:close/>
                  <a:moveTo>
                    <a:pt x="1252" y="168"/>
                  </a:moveTo>
                  <a:lnTo>
                    <a:pt x="1246" y="162"/>
                  </a:lnTo>
                  <a:lnTo>
                    <a:pt x="1252" y="162"/>
                  </a:lnTo>
                  <a:lnTo>
                    <a:pt x="1252" y="168"/>
                  </a:lnTo>
                  <a:close/>
                  <a:moveTo>
                    <a:pt x="1628" y="308"/>
                  </a:moveTo>
                  <a:lnTo>
                    <a:pt x="1624" y="302"/>
                  </a:lnTo>
                  <a:lnTo>
                    <a:pt x="1624" y="296"/>
                  </a:lnTo>
                  <a:lnTo>
                    <a:pt x="1628" y="296"/>
                  </a:lnTo>
                  <a:lnTo>
                    <a:pt x="1628" y="308"/>
                  </a:lnTo>
                  <a:close/>
                  <a:moveTo>
                    <a:pt x="1976" y="318"/>
                  </a:moveTo>
                  <a:lnTo>
                    <a:pt x="1972" y="318"/>
                  </a:lnTo>
                  <a:lnTo>
                    <a:pt x="1976" y="312"/>
                  </a:lnTo>
                  <a:lnTo>
                    <a:pt x="1976" y="318"/>
                  </a:lnTo>
                  <a:close/>
                  <a:moveTo>
                    <a:pt x="2372" y="492"/>
                  </a:moveTo>
                  <a:lnTo>
                    <a:pt x="2366" y="492"/>
                  </a:lnTo>
                  <a:lnTo>
                    <a:pt x="2366" y="482"/>
                  </a:lnTo>
                  <a:lnTo>
                    <a:pt x="2372" y="488"/>
                  </a:lnTo>
                  <a:lnTo>
                    <a:pt x="2372" y="492"/>
                  </a:lnTo>
                  <a:close/>
                  <a:moveTo>
                    <a:pt x="2580" y="446"/>
                  </a:moveTo>
                  <a:lnTo>
                    <a:pt x="2580" y="458"/>
                  </a:lnTo>
                  <a:lnTo>
                    <a:pt x="2586" y="458"/>
                  </a:lnTo>
                  <a:lnTo>
                    <a:pt x="2586" y="452"/>
                  </a:lnTo>
                  <a:lnTo>
                    <a:pt x="2580" y="446"/>
                  </a:lnTo>
                  <a:close/>
                  <a:moveTo>
                    <a:pt x="2470" y="312"/>
                  </a:moveTo>
                  <a:lnTo>
                    <a:pt x="2464" y="318"/>
                  </a:lnTo>
                  <a:lnTo>
                    <a:pt x="2446" y="318"/>
                  </a:lnTo>
                  <a:lnTo>
                    <a:pt x="2440" y="324"/>
                  </a:lnTo>
                  <a:lnTo>
                    <a:pt x="2434" y="324"/>
                  </a:lnTo>
                  <a:lnTo>
                    <a:pt x="2430" y="318"/>
                  </a:lnTo>
                  <a:lnTo>
                    <a:pt x="2424" y="318"/>
                  </a:lnTo>
                  <a:lnTo>
                    <a:pt x="2424" y="324"/>
                  </a:lnTo>
                  <a:lnTo>
                    <a:pt x="2406" y="324"/>
                  </a:lnTo>
                  <a:lnTo>
                    <a:pt x="2406" y="318"/>
                  </a:lnTo>
                  <a:lnTo>
                    <a:pt x="2412" y="318"/>
                  </a:lnTo>
                  <a:lnTo>
                    <a:pt x="2412" y="312"/>
                  </a:lnTo>
                  <a:lnTo>
                    <a:pt x="2418" y="312"/>
                  </a:lnTo>
                  <a:lnTo>
                    <a:pt x="2418" y="308"/>
                  </a:lnTo>
                  <a:lnTo>
                    <a:pt x="2458" y="308"/>
                  </a:lnTo>
                  <a:lnTo>
                    <a:pt x="2458" y="312"/>
                  </a:lnTo>
                  <a:lnTo>
                    <a:pt x="2470" y="312"/>
                  </a:lnTo>
                  <a:close/>
                  <a:moveTo>
                    <a:pt x="1408" y="162"/>
                  </a:moveTo>
                  <a:lnTo>
                    <a:pt x="1402" y="162"/>
                  </a:lnTo>
                  <a:lnTo>
                    <a:pt x="1402" y="162"/>
                  </a:lnTo>
                  <a:lnTo>
                    <a:pt x="1396" y="162"/>
                  </a:lnTo>
                  <a:lnTo>
                    <a:pt x="1402" y="162"/>
                  </a:lnTo>
                  <a:lnTo>
                    <a:pt x="1408" y="162"/>
                  </a:lnTo>
                  <a:lnTo>
                    <a:pt x="1408" y="162"/>
                  </a:lnTo>
                  <a:lnTo>
                    <a:pt x="1408" y="162"/>
                  </a:lnTo>
                  <a:lnTo>
                    <a:pt x="1408" y="162"/>
                  </a:lnTo>
                  <a:lnTo>
                    <a:pt x="1408" y="162"/>
                  </a:lnTo>
                  <a:close/>
                  <a:moveTo>
                    <a:pt x="1570" y="260"/>
                  </a:moveTo>
                  <a:lnTo>
                    <a:pt x="1570" y="254"/>
                  </a:lnTo>
                  <a:lnTo>
                    <a:pt x="1570" y="254"/>
                  </a:lnTo>
                  <a:lnTo>
                    <a:pt x="1570" y="250"/>
                  </a:lnTo>
                  <a:lnTo>
                    <a:pt x="1570" y="244"/>
                  </a:lnTo>
                  <a:lnTo>
                    <a:pt x="1570" y="244"/>
                  </a:lnTo>
                  <a:lnTo>
                    <a:pt x="1570" y="250"/>
                  </a:lnTo>
                  <a:lnTo>
                    <a:pt x="1576" y="250"/>
                  </a:lnTo>
                  <a:lnTo>
                    <a:pt x="1582" y="250"/>
                  </a:lnTo>
                  <a:lnTo>
                    <a:pt x="1576" y="244"/>
                  </a:lnTo>
                  <a:lnTo>
                    <a:pt x="1582" y="244"/>
                  </a:lnTo>
                  <a:lnTo>
                    <a:pt x="1588" y="244"/>
                  </a:lnTo>
                  <a:lnTo>
                    <a:pt x="1588" y="244"/>
                  </a:lnTo>
                  <a:lnTo>
                    <a:pt x="1588" y="244"/>
                  </a:lnTo>
                  <a:lnTo>
                    <a:pt x="1594" y="244"/>
                  </a:lnTo>
                  <a:lnTo>
                    <a:pt x="1594" y="250"/>
                  </a:lnTo>
                  <a:lnTo>
                    <a:pt x="1600" y="244"/>
                  </a:lnTo>
                  <a:lnTo>
                    <a:pt x="1600" y="250"/>
                  </a:lnTo>
                  <a:lnTo>
                    <a:pt x="1600" y="250"/>
                  </a:lnTo>
                  <a:lnTo>
                    <a:pt x="1606" y="250"/>
                  </a:lnTo>
                  <a:lnTo>
                    <a:pt x="1606" y="254"/>
                  </a:lnTo>
                  <a:lnTo>
                    <a:pt x="1600" y="254"/>
                  </a:lnTo>
                  <a:lnTo>
                    <a:pt x="1606" y="254"/>
                  </a:lnTo>
                  <a:lnTo>
                    <a:pt x="1612" y="254"/>
                  </a:lnTo>
                  <a:lnTo>
                    <a:pt x="1612" y="250"/>
                  </a:lnTo>
                  <a:lnTo>
                    <a:pt x="1612" y="250"/>
                  </a:lnTo>
                  <a:lnTo>
                    <a:pt x="1618" y="250"/>
                  </a:lnTo>
                  <a:lnTo>
                    <a:pt x="1612" y="254"/>
                  </a:lnTo>
                  <a:lnTo>
                    <a:pt x="1618" y="254"/>
                  </a:lnTo>
                  <a:lnTo>
                    <a:pt x="1618" y="254"/>
                  </a:lnTo>
                  <a:lnTo>
                    <a:pt x="1618" y="260"/>
                  </a:lnTo>
                  <a:lnTo>
                    <a:pt x="1624" y="260"/>
                  </a:lnTo>
                  <a:lnTo>
                    <a:pt x="1624" y="266"/>
                  </a:lnTo>
                  <a:lnTo>
                    <a:pt x="1618" y="266"/>
                  </a:lnTo>
                  <a:lnTo>
                    <a:pt x="1618" y="266"/>
                  </a:lnTo>
                  <a:lnTo>
                    <a:pt x="1612" y="266"/>
                  </a:lnTo>
                  <a:lnTo>
                    <a:pt x="1618" y="266"/>
                  </a:lnTo>
                  <a:lnTo>
                    <a:pt x="1618" y="272"/>
                  </a:lnTo>
                  <a:lnTo>
                    <a:pt x="1612" y="272"/>
                  </a:lnTo>
                  <a:lnTo>
                    <a:pt x="1612" y="278"/>
                  </a:lnTo>
                  <a:lnTo>
                    <a:pt x="1612" y="278"/>
                  </a:lnTo>
                  <a:lnTo>
                    <a:pt x="1612" y="284"/>
                  </a:lnTo>
                  <a:lnTo>
                    <a:pt x="1612" y="284"/>
                  </a:lnTo>
                  <a:lnTo>
                    <a:pt x="1606" y="284"/>
                  </a:lnTo>
                  <a:lnTo>
                    <a:pt x="1606" y="278"/>
                  </a:lnTo>
                  <a:lnTo>
                    <a:pt x="1600" y="278"/>
                  </a:lnTo>
                  <a:lnTo>
                    <a:pt x="1600" y="278"/>
                  </a:lnTo>
                  <a:lnTo>
                    <a:pt x="1600" y="278"/>
                  </a:lnTo>
                  <a:lnTo>
                    <a:pt x="1594" y="278"/>
                  </a:lnTo>
                  <a:lnTo>
                    <a:pt x="1594" y="272"/>
                  </a:lnTo>
                  <a:lnTo>
                    <a:pt x="1588" y="272"/>
                  </a:lnTo>
                  <a:lnTo>
                    <a:pt x="1588" y="272"/>
                  </a:lnTo>
                  <a:lnTo>
                    <a:pt x="1582" y="272"/>
                  </a:lnTo>
                  <a:lnTo>
                    <a:pt x="1576" y="272"/>
                  </a:lnTo>
                  <a:lnTo>
                    <a:pt x="1570" y="272"/>
                  </a:lnTo>
                  <a:lnTo>
                    <a:pt x="1570" y="266"/>
                  </a:lnTo>
                  <a:lnTo>
                    <a:pt x="1570" y="266"/>
                  </a:lnTo>
                  <a:lnTo>
                    <a:pt x="1566" y="266"/>
                  </a:lnTo>
                  <a:lnTo>
                    <a:pt x="1560" y="266"/>
                  </a:lnTo>
                  <a:lnTo>
                    <a:pt x="1560" y="266"/>
                  </a:lnTo>
                  <a:lnTo>
                    <a:pt x="1560" y="266"/>
                  </a:lnTo>
                  <a:lnTo>
                    <a:pt x="1560" y="266"/>
                  </a:lnTo>
                  <a:lnTo>
                    <a:pt x="1566" y="266"/>
                  </a:lnTo>
                  <a:lnTo>
                    <a:pt x="1570" y="266"/>
                  </a:lnTo>
                  <a:lnTo>
                    <a:pt x="1570" y="266"/>
                  </a:lnTo>
                  <a:lnTo>
                    <a:pt x="1570" y="260"/>
                  </a:lnTo>
                  <a:lnTo>
                    <a:pt x="1570" y="260"/>
                  </a:lnTo>
                  <a:lnTo>
                    <a:pt x="1570" y="260"/>
                  </a:lnTo>
                  <a:close/>
                  <a:moveTo>
                    <a:pt x="1624" y="266"/>
                  </a:moveTo>
                  <a:lnTo>
                    <a:pt x="1624" y="260"/>
                  </a:lnTo>
                  <a:lnTo>
                    <a:pt x="1618" y="254"/>
                  </a:lnTo>
                  <a:lnTo>
                    <a:pt x="1624" y="254"/>
                  </a:lnTo>
                  <a:lnTo>
                    <a:pt x="1624" y="254"/>
                  </a:lnTo>
                  <a:lnTo>
                    <a:pt x="1624" y="250"/>
                  </a:lnTo>
                  <a:lnTo>
                    <a:pt x="1624" y="250"/>
                  </a:lnTo>
                  <a:lnTo>
                    <a:pt x="1624" y="250"/>
                  </a:lnTo>
                  <a:lnTo>
                    <a:pt x="1628" y="250"/>
                  </a:lnTo>
                  <a:lnTo>
                    <a:pt x="1634" y="254"/>
                  </a:lnTo>
                  <a:lnTo>
                    <a:pt x="1640" y="254"/>
                  </a:lnTo>
                  <a:lnTo>
                    <a:pt x="1640" y="254"/>
                  </a:lnTo>
                  <a:lnTo>
                    <a:pt x="1640" y="254"/>
                  </a:lnTo>
                  <a:lnTo>
                    <a:pt x="1646" y="254"/>
                  </a:lnTo>
                  <a:lnTo>
                    <a:pt x="1652" y="254"/>
                  </a:lnTo>
                  <a:lnTo>
                    <a:pt x="1652" y="254"/>
                  </a:lnTo>
                  <a:lnTo>
                    <a:pt x="1652" y="260"/>
                  </a:lnTo>
                  <a:lnTo>
                    <a:pt x="1652" y="266"/>
                  </a:lnTo>
                  <a:lnTo>
                    <a:pt x="1652" y="260"/>
                  </a:lnTo>
                  <a:lnTo>
                    <a:pt x="1658" y="260"/>
                  </a:lnTo>
                  <a:lnTo>
                    <a:pt x="1658" y="266"/>
                  </a:lnTo>
                  <a:lnTo>
                    <a:pt x="1652" y="266"/>
                  </a:lnTo>
                  <a:lnTo>
                    <a:pt x="1652" y="266"/>
                  </a:lnTo>
                  <a:lnTo>
                    <a:pt x="1646" y="266"/>
                  </a:lnTo>
                  <a:lnTo>
                    <a:pt x="1640" y="266"/>
                  </a:lnTo>
                  <a:lnTo>
                    <a:pt x="1640" y="272"/>
                  </a:lnTo>
                  <a:lnTo>
                    <a:pt x="1640" y="272"/>
                  </a:lnTo>
                  <a:lnTo>
                    <a:pt x="1634" y="272"/>
                  </a:lnTo>
                  <a:lnTo>
                    <a:pt x="1628" y="272"/>
                  </a:lnTo>
                  <a:lnTo>
                    <a:pt x="1624" y="278"/>
                  </a:lnTo>
                  <a:lnTo>
                    <a:pt x="1624" y="278"/>
                  </a:lnTo>
                  <a:lnTo>
                    <a:pt x="1618" y="278"/>
                  </a:lnTo>
                  <a:lnTo>
                    <a:pt x="1618" y="278"/>
                  </a:lnTo>
                  <a:lnTo>
                    <a:pt x="1612" y="278"/>
                  </a:lnTo>
                  <a:lnTo>
                    <a:pt x="1612" y="272"/>
                  </a:lnTo>
                  <a:lnTo>
                    <a:pt x="1618" y="272"/>
                  </a:lnTo>
                  <a:lnTo>
                    <a:pt x="1618" y="266"/>
                  </a:lnTo>
                  <a:lnTo>
                    <a:pt x="1612" y="266"/>
                  </a:lnTo>
                  <a:lnTo>
                    <a:pt x="1618" y="266"/>
                  </a:lnTo>
                  <a:lnTo>
                    <a:pt x="1618" y="266"/>
                  </a:lnTo>
                  <a:lnTo>
                    <a:pt x="1624" y="266"/>
                  </a:lnTo>
                  <a:lnTo>
                    <a:pt x="1624" y="266"/>
                  </a:lnTo>
                  <a:close/>
                  <a:moveTo>
                    <a:pt x="1628" y="278"/>
                  </a:moveTo>
                  <a:lnTo>
                    <a:pt x="1628" y="272"/>
                  </a:lnTo>
                  <a:lnTo>
                    <a:pt x="1634" y="272"/>
                  </a:lnTo>
                  <a:lnTo>
                    <a:pt x="1640" y="272"/>
                  </a:lnTo>
                  <a:lnTo>
                    <a:pt x="1640" y="272"/>
                  </a:lnTo>
                  <a:lnTo>
                    <a:pt x="1646" y="272"/>
                  </a:lnTo>
                  <a:lnTo>
                    <a:pt x="1652" y="272"/>
                  </a:lnTo>
                  <a:lnTo>
                    <a:pt x="1652" y="272"/>
                  </a:lnTo>
                  <a:lnTo>
                    <a:pt x="1658" y="272"/>
                  </a:lnTo>
                  <a:lnTo>
                    <a:pt x="1664" y="272"/>
                  </a:lnTo>
                  <a:lnTo>
                    <a:pt x="1658" y="278"/>
                  </a:lnTo>
                  <a:lnTo>
                    <a:pt x="1652" y="272"/>
                  </a:lnTo>
                  <a:lnTo>
                    <a:pt x="1652" y="272"/>
                  </a:lnTo>
                  <a:lnTo>
                    <a:pt x="1646" y="272"/>
                  </a:lnTo>
                  <a:lnTo>
                    <a:pt x="1640" y="278"/>
                  </a:lnTo>
                  <a:lnTo>
                    <a:pt x="1640" y="272"/>
                  </a:lnTo>
                  <a:lnTo>
                    <a:pt x="1634" y="278"/>
                  </a:lnTo>
                  <a:lnTo>
                    <a:pt x="1628" y="278"/>
                  </a:lnTo>
                  <a:lnTo>
                    <a:pt x="1628" y="278"/>
                  </a:lnTo>
                  <a:close/>
                  <a:moveTo>
                    <a:pt x="1624" y="278"/>
                  </a:moveTo>
                  <a:lnTo>
                    <a:pt x="1624" y="278"/>
                  </a:lnTo>
                  <a:lnTo>
                    <a:pt x="1624" y="278"/>
                  </a:lnTo>
                  <a:lnTo>
                    <a:pt x="1628" y="278"/>
                  </a:lnTo>
                  <a:lnTo>
                    <a:pt x="1634" y="278"/>
                  </a:lnTo>
                  <a:lnTo>
                    <a:pt x="1640" y="278"/>
                  </a:lnTo>
                  <a:lnTo>
                    <a:pt x="1640" y="278"/>
                  </a:lnTo>
                  <a:lnTo>
                    <a:pt x="1652" y="278"/>
                  </a:lnTo>
                  <a:lnTo>
                    <a:pt x="1652" y="278"/>
                  </a:lnTo>
                  <a:lnTo>
                    <a:pt x="1658" y="278"/>
                  </a:lnTo>
                  <a:lnTo>
                    <a:pt x="1664" y="278"/>
                  </a:lnTo>
                  <a:lnTo>
                    <a:pt x="1664" y="284"/>
                  </a:lnTo>
                  <a:lnTo>
                    <a:pt x="1664" y="284"/>
                  </a:lnTo>
                  <a:lnTo>
                    <a:pt x="1664" y="290"/>
                  </a:lnTo>
                  <a:lnTo>
                    <a:pt x="1664" y="290"/>
                  </a:lnTo>
                  <a:lnTo>
                    <a:pt x="1658" y="290"/>
                  </a:lnTo>
                  <a:lnTo>
                    <a:pt x="1664" y="290"/>
                  </a:lnTo>
                  <a:lnTo>
                    <a:pt x="1658" y="296"/>
                  </a:lnTo>
                  <a:lnTo>
                    <a:pt x="1652" y="296"/>
                  </a:lnTo>
                  <a:lnTo>
                    <a:pt x="1652" y="296"/>
                  </a:lnTo>
                  <a:lnTo>
                    <a:pt x="1652" y="290"/>
                  </a:lnTo>
                  <a:lnTo>
                    <a:pt x="1646" y="290"/>
                  </a:lnTo>
                  <a:lnTo>
                    <a:pt x="1646" y="284"/>
                  </a:lnTo>
                  <a:lnTo>
                    <a:pt x="1640" y="284"/>
                  </a:lnTo>
                  <a:lnTo>
                    <a:pt x="1640" y="284"/>
                  </a:lnTo>
                  <a:lnTo>
                    <a:pt x="1640" y="278"/>
                  </a:lnTo>
                  <a:lnTo>
                    <a:pt x="1634" y="278"/>
                  </a:lnTo>
                  <a:lnTo>
                    <a:pt x="1628" y="278"/>
                  </a:lnTo>
                  <a:lnTo>
                    <a:pt x="1624" y="278"/>
                  </a:lnTo>
                  <a:lnTo>
                    <a:pt x="1624" y="278"/>
                  </a:lnTo>
                  <a:lnTo>
                    <a:pt x="1624" y="278"/>
                  </a:lnTo>
                  <a:close/>
                  <a:moveTo>
                    <a:pt x="2140" y="324"/>
                  </a:moveTo>
                  <a:lnTo>
                    <a:pt x="2134" y="324"/>
                  </a:lnTo>
                  <a:lnTo>
                    <a:pt x="2140" y="324"/>
                  </a:lnTo>
                  <a:lnTo>
                    <a:pt x="2140" y="324"/>
                  </a:lnTo>
                  <a:close/>
                  <a:moveTo>
                    <a:pt x="602" y="372"/>
                  </a:moveTo>
                  <a:lnTo>
                    <a:pt x="596" y="372"/>
                  </a:lnTo>
                  <a:lnTo>
                    <a:pt x="590" y="372"/>
                  </a:lnTo>
                  <a:lnTo>
                    <a:pt x="590" y="366"/>
                  </a:lnTo>
                  <a:lnTo>
                    <a:pt x="590" y="372"/>
                  </a:lnTo>
                  <a:lnTo>
                    <a:pt x="596" y="372"/>
                  </a:lnTo>
                  <a:lnTo>
                    <a:pt x="602" y="372"/>
                  </a:lnTo>
                  <a:lnTo>
                    <a:pt x="602" y="372"/>
                  </a:lnTo>
                  <a:lnTo>
                    <a:pt x="602" y="372"/>
                  </a:lnTo>
                  <a:close/>
                  <a:moveTo>
                    <a:pt x="16" y="720"/>
                  </a:moveTo>
                  <a:lnTo>
                    <a:pt x="22" y="720"/>
                  </a:lnTo>
                  <a:lnTo>
                    <a:pt x="16" y="720"/>
                  </a:lnTo>
                  <a:lnTo>
                    <a:pt x="16" y="724"/>
                  </a:lnTo>
                  <a:lnTo>
                    <a:pt x="16" y="724"/>
                  </a:lnTo>
                  <a:lnTo>
                    <a:pt x="16" y="730"/>
                  </a:lnTo>
                  <a:lnTo>
                    <a:pt x="16" y="730"/>
                  </a:lnTo>
                  <a:lnTo>
                    <a:pt x="22" y="730"/>
                  </a:lnTo>
                  <a:lnTo>
                    <a:pt x="28" y="730"/>
                  </a:lnTo>
                  <a:lnTo>
                    <a:pt x="28" y="724"/>
                  </a:lnTo>
                  <a:lnTo>
                    <a:pt x="22" y="720"/>
                  </a:lnTo>
                  <a:lnTo>
                    <a:pt x="28" y="720"/>
                  </a:lnTo>
                  <a:lnTo>
                    <a:pt x="28" y="720"/>
                  </a:lnTo>
                  <a:lnTo>
                    <a:pt x="40" y="724"/>
                  </a:lnTo>
                  <a:lnTo>
                    <a:pt x="40" y="724"/>
                  </a:lnTo>
                  <a:lnTo>
                    <a:pt x="46" y="724"/>
                  </a:lnTo>
                  <a:lnTo>
                    <a:pt x="52" y="730"/>
                  </a:lnTo>
                  <a:lnTo>
                    <a:pt x="52" y="730"/>
                  </a:lnTo>
                  <a:lnTo>
                    <a:pt x="46" y="730"/>
                  </a:lnTo>
                  <a:lnTo>
                    <a:pt x="46" y="736"/>
                  </a:lnTo>
                  <a:lnTo>
                    <a:pt x="46" y="742"/>
                  </a:lnTo>
                  <a:lnTo>
                    <a:pt x="40" y="742"/>
                  </a:lnTo>
                  <a:lnTo>
                    <a:pt x="40" y="742"/>
                  </a:lnTo>
                  <a:lnTo>
                    <a:pt x="34" y="742"/>
                  </a:lnTo>
                  <a:lnTo>
                    <a:pt x="28" y="742"/>
                  </a:lnTo>
                  <a:lnTo>
                    <a:pt x="28" y="742"/>
                  </a:lnTo>
                  <a:lnTo>
                    <a:pt x="22" y="742"/>
                  </a:lnTo>
                  <a:lnTo>
                    <a:pt x="16" y="742"/>
                  </a:lnTo>
                  <a:lnTo>
                    <a:pt x="16" y="742"/>
                  </a:lnTo>
                  <a:lnTo>
                    <a:pt x="12" y="742"/>
                  </a:lnTo>
                  <a:lnTo>
                    <a:pt x="6" y="742"/>
                  </a:lnTo>
                  <a:lnTo>
                    <a:pt x="0" y="742"/>
                  </a:lnTo>
                  <a:lnTo>
                    <a:pt x="0" y="736"/>
                  </a:lnTo>
                  <a:lnTo>
                    <a:pt x="6" y="736"/>
                  </a:lnTo>
                  <a:lnTo>
                    <a:pt x="12" y="736"/>
                  </a:lnTo>
                  <a:lnTo>
                    <a:pt x="12" y="730"/>
                  </a:lnTo>
                  <a:lnTo>
                    <a:pt x="6" y="730"/>
                  </a:lnTo>
                  <a:lnTo>
                    <a:pt x="0" y="730"/>
                  </a:lnTo>
                  <a:lnTo>
                    <a:pt x="6" y="730"/>
                  </a:lnTo>
                  <a:lnTo>
                    <a:pt x="6" y="730"/>
                  </a:lnTo>
                  <a:lnTo>
                    <a:pt x="6" y="724"/>
                  </a:lnTo>
                  <a:lnTo>
                    <a:pt x="6" y="730"/>
                  </a:lnTo>
                  <a:lnTo>
                    <a:pt x="12" y="730"/>
                  </a:lnTo>
                  <a:lnTo>
                    <a:pt x="16" y="730"/>
                  </a:lnTo>
                  <a:lnTo>
                    <a:pt x="16" y="724"/>
                  </a:lnTo>
                  <a:lnTo>
                    <a:pt x="16" y="724"/>
                  </a:lnTo>
                  <a:lnTo>
                    <a:pt x="16" y="720"/>
                  </a:lnTo>
                  <a:lnTo>
                    <a:pt x="16" y="720"/>
                  </a:lnTo>
                  <a:close/>
                  <a:moveTo>
                    <a:pt x="0" y="736"/>
                  </a:moveTo>
                  <a:lnTo>
                    <a:pt x="0" y="736"/>
                  </a:lnTo>
                  <a:lnTo>
                    <a:pt x="0" y="736"/>
                  </a:lnTo>
                  <a:lnTo>
                    <a:pt x="0" y="736"/>
                  </a:lnTo>
                  <a:close/>
                  <a:moveTo>
                    <a:pt x="644" y="6"/>
                  </a:moveTo>
                  <a:lnTo>
                    <a:pt x="648" y="6"/>
                  </a:lnTo>
                  <a:lnTo>
                    <a:pt x="654" y="0"/>
                  </a:lnTo>
                  <a:lnTo>
                    <a:pt x="654" y="6"/>
                  </a:lnTo>
                  <a:lnTo>
                    <a:pt x="654" y="6"/>
                  </a:lnTo>
                  <a:lnTo>
                    <a:pt x="654" y="0"/>
                  </a:lnTo>
                  <a:lnTo>
                    <a:pt x="660" y="0"/>
                  </a:lnTo>
                  <a:lnTo>
                    <a:pt x="666" y="0"/>
                  </a:lnTo>
                  <a:lnTo>
                    <a:pt x="666" y="6"/>
                  </a:lnTo>
                  <a:lnTo>
                    <a:pt x="666" y="6"/>
                  </a:lnTo>
                  <a:lnTo>
                    <a:pt x="666" y="12"/>
                  </a:lnTo>
                  <a:lnTo>
                    <a:pt x="660" y="6"/>
                  </a:lnTo>
                  <a:lnTo>
                    <a:pt x="654" y="6"/>
                  </a:lnTo>
                  <a:lnTo>
                    <a:pt x="654" y="6"/>
                  </a:lnTo>
                  <a:lnTo>
                    <a:pt x="648" y="6"/>
                  </a:lnTo>
                  <a:lnTo>
                    <a:pt x="644" y="6"/>
                  </a:lnTo>
                  <a:lnTo>
                    <a:pt x="644" y="6"/>
                  </a:lnTo>
                  <a:close/>
                  <a:moveTo>
                    <a:pt x="586" y="6"/>
                  </a:moveTo>
                  <a:lnTo>
                    <a:pt x="590" y="6"/>
                  </a:lnTo>
                  <a:lnTo>
                    <a:pt x="590" y="6"/>
                  </a:lnTo>
                  <a:lnTo>
                    <a:pt x="590" y="12"/>
                  </a:lnTo>
                  <a:lnTo>
                    <a:pt x="590" y="12"/>
                  </a:lnTo>
                  <a:lnTo>
                    <a:pt x="586" y="12"/>
                  </a:lnTo>
                  <a:lnTo>
                    <a:pt x="586" y="6"/>
                  </a:lnTo>
                  <a:lnTo>
                    <a:pt x="586" y="6"/>
                  </a:lnTo>
                  <a:close/>
                  <a:moveTo>
                    <a:pt x="638" y="6"/>
                  </a:moveTo>
                  <a:lnTo>
                    <a:pt x="644" y="6"/>
                  </a:lnTo>
                  <a:lnTo>
                    <a:pt x="644" y="12"/>
                  </a:lnTo>
                  <a:lnTo>
                    <a:pt x="644" y="12"/>
                  </a:lnTo>
                  <a:lnTo>
                    <a:pt x="638" y="6"/>
                  </a:lnTo>
                  <a:lnTo>
                    <a:pt x="638" y="6"/>
                  </a:lnTo>
                  <a:close/>
                  <a:moveTo>
                    <a:pt x="590" y="12"/>
                  </a:moveTo>
                  <a:lnTo>
                    <a:pt x="590" y="12"/>
                  </a:lnTo>
                  <a:lnTo>
                    <a:pt x="596" y="12"/>
                  </a:lnTo>
                  <a:lnTo>
                    <a:pt x="602" y="12"/>
                  </a:lnTo>
                  <a:lnTo>
                    <a:pt x="602" y="18"/>
                  </a:lnTo>
                  <a:lnTo>
                    <a:pt x="596" y="18"/>
                  </a:lnTo>
                  <a:lnTo>
                    <a:pt x="590" y="18"/>
                  </a:lnTo>
                  <a:lnTo>
                    <a:pt x="590" y="18"/>
                  </a:lnTo>
                  <a:lnTo>
                    <a:pt x="590" y="12"/>
                  </a:lnTo>
                  <a:lnTo>
                    <a:pt x="590" y="12"/>
                  </a:lnTo>
                  <a:close/>
                  <a:moveTo>
                    <a:pt x="528" y="18"/>
                  </a:moveTo>
                  <a:lnTo>
                    <a:pt x="522" y="12"/>
                  </a:lnTo>
                  <a:lnTo>
                    <a:pt x="528" y="12"/>
                  </a:lnTo>
                  <a:lnTo>
                    <a:pt x="528" y="18"/>
                  </a:lnTo>
                  <a:lnTo>
                    <a:pt x="528" y="18"/>
                  </a:lnTo>
                  <a:lnTo>
                    <a:pt x="528" y="18"/>
                  </a:lnTo>
                  <a:lnTo>
                    <a:pt x="528" y="18"/>
                  </a:lnTo>
                  <a:close/>
                  <a:moveTo>
                    <a:pt x="608" y="18"/>
                  </a:moveTo>
                  <a:lnTo>
                    <a:pt x="614" y="18"/>
                  </a:lnTo>
                  <a:lnTo>
                    <a:pt x="614" y="18"/>
                  </a:lnTo>
                  <a:lnTo>
                    <a:pt x="620" y="18"/>
                  </a:lnTo>
                  <a:lnTo>
                    <a:pt x="614" y="18"/>
                  </a:lnTo>
                  <a:lnTo>
                    <a:pt x="614" y="18"/>
                  </a:lnTo>
                  <a:lnTo>
                    <a:pt x="608" y="18"/>
                  </a:lnTo>
                  <a:lnTo>
                    <a:pt x="608" y="18"/>
                  </a:lnTo>
                  <a:close/>
                  <a:moveTo>
                    <a:pt x="568" y="22"/>
                  </a:moveTo>
                  <a:lnTo>
                    <a:pt x="574" y="18"/>
                  </a:lnTo>
                  <a:lnTo>
                    <a:pt x="574" y="18"/>
                  </a:lnTo>
                  <a:lnTo>
                    <a:pt x="580" y="18"/>
                  </a:lnTo>
                  <a:lnTo>
                    <a:pt x="580" y="22"/>
                  </a:lnTo>
                  <a:lnTo>
                    <a:pt x="574" y="22"/>
                  </a:lnTo>
                  <a:lnTo>
                    <a:pt x="574" y="22"/>
                  </a:lnTo>
                  <a:lnTo>
                    <a:pt x="568" y="22"/>
                  </a:lnTo>
                  <a:lnTo>
                    <a:pt x="562" y="22"/>
                  </a:lnTo>
                  <a:lnTo>
                    <a:pt x="568" y="22"/>
                  </a:lnTo>
                  <a:lnTo>
                    <a:pt x="568" y="22"/>
                  </a:lnTo>
                  <a:close/>
                  <a:moveTo>
                    <a:pt x="1078" y="28"/>
                  </a:moveTo>
                  <a:lnTo>
                    <a:pt x="1078" y="28"/>
                  </a:lnTo>
                  <a:lnTo>
                    <a:pt x="1066" y="22"/>
                  </a:lnTo>
                  <a:lnTo>
                    <a:pt x="1060" y="22"/>
                  </a:lnTo>
                  <a:lnTo>
                    <a:pt x="1066" y="22"/>
                  </a:lnTo>
                  <a:lnTo>
                    <a:pt x="1066" y="18"/>
                  </a:lnTo>
                  <a:lnTo>
                    <a:pt x="1072" y="18"/>
                  </a:lnTo>
                  <a:lnTo>
                    <a:pt x="1078" y="18"/>
                  </a:lnTo>
                  <a:lnTo>
                    <a:pt x="1078" y="18"/>
                  </a:lnTo>
                  <a:lnTo>
                    <a:pt x="1084" y="18"/>
                  </a:lnTo>
                  <a:lnTo>
                    <a:pt x="1090" y="22"/>
                  </a:lnTo>
                  <a:lnTo>
                    <a:pt x="1090" y="22"/>
                  </a:lnTo>
                  <a:lnTo>
                    <a:pt x="1090" y="22"/>
                  </a:lnTo>
                  <a:lnTo>
                    <a:pt x="1090" y="28"/>
                  </a:lnTo>
                  <a:lnTo>
                    <a:pt x="1084" y="28"/>
                  </a:lnTo>
                  <a:lnTo>
                    <a:pt x="1078" y="28"/>
                  </a:lnTo>
                  <a:lnTo>
                    <a:pt x="1078" y="28"/>
                  </a:lnTo>
                  <a:close/>
                  <a:moveTo>
                    <a:pt x="596" y="18"/>
                  </a:moveTo>
                  <a:lnTo>
                    <a:pt x="602" y="18"/>
                  </a:lnTo>
                  <a:lnTo>
                    <a:pt x="602" y="18"/>
                  </a:lnTo>
                  <a:lnTo>
                    <a:pt x="602" y="22"/>
                  </a:lnTo>
                  <a:lnTo>
                    <a:pt x="608" y="22"/>
                  </a:lnTo>
                  <a:lnTo>
                    <a:pt x="602" y="22"/>
                  </a:lnTo>
                  <a:lnTo>
                    <a:pt x="596" y="22"/>
                  </a:lnTo>
                  <a:lnTo>
                    <a:pt x="596" y="18"/>
                  </a:lnTo>
                  <a:lnTo>
                    <a:pt x="596" y="18"/>
                  </a:lnTo>
                  <a:close/>
                  <a:moveTo>
                    <a:pt x="464" y="28"/>
                  </a:moveTo>
                  <a:lnTo>
                    <a:pt x="470" y="28"/>
                  </a:lnTo>
                  <a:lnTo>
                    <a:pt x="464" y="28"/>
                  </a:lnTo>
                  <a:lnTo>
                    <a:pt x="464" y="22"/>
                  </a:lnTo>
                  <a:lnTo>
                    <a:pt x="470" y="22"/>
                  </a:lnTo>
                  <a:lnTo>
                    <a:pt x="474" y="22"/>
                  </a:lnTo>
                  <a:lnTo>
                    <a:pt x="474" y="28"/>
                  </a:lnTo>
                  <a:lnTo>
                    <a:pt x="470" y="28"/>
                  </a:lnTo>
                  <a:lnTo>
                    <a:pt x="464" y="28"/>
                  </a:lnTo>
                  <a:lnTo>
                    <a:pt x="464" y="28"/>
                  </a:lnTo>
                  <a:close/>
                  <a:moveTo>
                    <a:pt x="586" y="22"/>
                  </a:moveTo>
                  <a:lnTo>
                    <a:pt x="590" y="22"/>
                  </a:lnTo>
                  <a:lnTo>
                    <a:pt x="590" y="22"/>
                  </a:lnTo>
                  <a:lnTo>
                    <a:pt x="590" y="22"/>
                  </a:lnTo>
                  <a:lnTo>
                    <a:pt x="586" y="22"/>
                  </a:lnTo>
                  <a:lnTo>
                    <a:pt x="586" y="22"/>
                  </a:lnTo>
                  <a:close/>
                  <a:moveTo>
                    <a:pt x="614" y="28"/>
                  </a:moveTo>
                  <a:lnTo>
                    <a:pt x="614" y="28"/>
                  </a:lnTo>
                  <a:lnTo>
                    <a:pt x="620" y="22"/>
                  </a:lnTo>
                  <a:lnTo>
                    <a:pt x="626" y="22"/>
                  </a:lnTo>
                  <a:lnTo>
                    <a:pt x="626" y="22"/>
                  </a:lnTo>
                  <a:lnTo>
                    <a:pt x="632" y="22"/>
                  </a:lnTo>
                  <a:lnTo>
                    <a:pt x="638" y="22"/>
                  </a:lnTo>
                  <a:lnTo>
                    <a:pt x="638" y="28"/>
                  </a:lnTo>
                  <a:lnTo>
                    <a:pt x="632" y="28"/>
                  </a:lnTo>
                  <a:lnTo>
                    <a:pt x="626" y="28"/>
                  </a:lnTo>
                  <a:lnTo>
                    <a:pt x="626" y="28"/>
                  </a:lnTo>
                  <a:lnTo>
                    <a:pt x="620" y="28"/>
                  </a:lnTo>
                  <a:lnTo>
                    <a:pt x="614" y="28"/>
                  </a:lnTo>
                  <a:lnTo>
                    <a:pt x="614" y="28"/>
                  </a:lnTo>
                  <a:lnTo>
                    <a:pt x="614" y="28"/>
                  </a:lnTo>
                  <a:close/>
                  <a:moveTo>
                    <a:pt x="550" y="22"/>
                  </a:moveTo>
                  <a:lnTo>
                    <a:pt x="556" y="22"/>
                  </a:lnTo>
                  <a:lnTo>
                    <a:pt x="562" y="22"/>
                  </a:lnTo>
                  <a:lnTo>
                    <a:pt x="562" y="22"/>
                  </a:lnTo>
                  <a:lnTo>
                    <a:pt x="562" y="28"/>
                  </a:lnTo>
                  <a:lnTo>
                    <a:pt x="568" y="28"/>
                  </a:lnTo>
                  <a:lnTo>
                    <a:pt x="574" y="28"/>
                  </a:lnTo>
                  <a:lnTo>
                    <a:pt x="574" y="28"/>
                  </a:lnTo>
                  <a:lnTo>
                    <a:pt x="580" y="28"/>
                  </a:lnTo>
                  <a:lnTo>
                    <a:pt x="586" y="28"/>
                  </a:lnTo>
                  <a:lnTo>
                    <a:pt x="580" y="28"/>
                  </a:lnTo>
                  <a:lnTo>
                    <a:pt x="574" y="28"/>
                  </a:lnTo>
                  <a:lnTo>
                    <a:pt x="574" y="28"/>
                  </a:lnTo>
                  <a:lnTo>
                    <a:pt x="568" y="28"/>
                  </a:lnTo>
                  <a:lnTo>
                    <a:pt x="562" y="28"/>
                  </a:lnTo>
                  <a:lnTo>
                    <a:pt x="562" y="28"/>
                  </a:lnTo>
                  <a:lnTo>
                    <a:pt x="556" y="28"/>
                  </a:lnTo>
                  <a:lnTo>
                    <a:pt x="550" y="28"/>
                  </a:lnTo>
                  <a:lnTo>
                    <a:pt x="550" y="22"/>
                  </a:lnTo>
                  <a:lnTo>
                    <a:pt x="550" y="22"/>
                  </a:lnTo>
                  <a:close/>
                  <a:moveTo>
                    <a:pt x="580" y="28"/>
                  </a:moveTo>
                  <a:lnTo>
                    <a:pt x="574" y="28"/>
                  </a:lnTo>
                  <a:lnTo>
                    <a:pt x="580" y="22"/>
                  </a:lnTo>
                  <a:lnTo>
                    <a:pt x="586" y="22"/>
                  </a:lnTo>
                  <a:lnTo>
                    <a:pt x="590" y="22"/>
                  </a:lnTo>
                  <a:lnTo>
                    <a:pt x="590" y="28"/>
                  </a:lnTo>
                  <a:lnTo>
                    <a:pt x="590" y="28"/>
                  </a:lnTo>
                  <a:lnTo>
                    <a:pt x="590" y="28"/>
                  </a:lnTo>
                  <a:lnTo>
                    <a:pt x="586" y="28"/>
                  </a:lnTo>
                  <a:lnTo>
                    <a:pt x="586" y="28"/>
                  </a:lnTo>
                  <a:lnTo>
                    <a:pt x="580" y="28"/>
                  </a:lnTo>
                  <a:lnTo>
                    <a:pt x="580" y="28"/>
                  </a:lnTo>
                  <a:close/>
                  <a:moveTo>
                    <a:pt x="904" y="28"/>
                  </a:moveTo>
                  <a:lnTo>
                    <a:pt x="910" y="28"/>
                  </a:lnTo>
                  <a:lnTo>
                    <a:pt x="910" y="28"/>
                  </a:lnTo>
                  <a:lnTo>
                    <a:pt x="910" y="28"/>
                  </a:lnTo>
                  <a:lnTo>
                    <a:pt x="910" y="28"/>
                  </a:lnTo>
                  <a:lnTo>
                    <a:pt x="916" y="28"/>
                  </a:lnTo>
                  <a:lnTo>
                    <a:pt x="922" y="28"/>
                  </a:lnTo>
                  <a:lnTo>
                    <a:pt x="916" y="34"/>
                  </a:lnTo>
                  <a:lnTo>
                    <a:pt x="910" y="34"/>
                  </a:lnTo>
                  <a:lnTo>
                    <a:pt x="904" y="34"/>
                  </a:lnTo>
                  <a:lnTo>
                    <a:pt x="898" y="34"/>
                  </a:lnTo>
                  <a:lnTo>
                    <a:pt x="898" y="28"/>
                  </a:lnTo>
                  <a:lnTo>
                    <a:pt x="904" y="28"/>
                  </a:lnTo>
                  <a:lnTo>
                    <a:pt x="904" y="28"/>
                  </a:lnTo>
                  <a:close/>
                  <a:moveTo>
                    <a:pt x="580" y="34"/>
                  </a:moveTo>
                  <a:lnTo>
                    <a:pt x="580" y="28"/>
                  </a:lnTo>
                  <a:lnTo>
                    <a:pt x="586" y="28"/>
                  </a:lnTo>
                  <a:lnTo>
                    <a:pt x="590" y="28"/>
                  </a:lnTo>
                  <a:lnTo>
                    <a:pt x="590" y="28"/>
                  </a:lnTo>
                  <a:lnTo>
                    <a:pt x="596" y="28"/>
                  </a:lnTo>
                  <a:lnTo>
                    <a:pt x="596" y="34"/>
                  </a:lnTo>
                  <a:lnTo>
                    <a:pt x="590" y="34"/>
                  </a:lnTo>
                  <a:lnTo>
                    <a:pt x="590" y="34"/>
                  </a:lnTo>
                  <a:lnTo>
                    <a:pt x="586" y="34"/>
                  </a:lnTo>
                  <a:lnTo>
                    <a:pt x="580" y="34"/>
                  </a:lnTo>
                  <a:lnTo>
                    <a:pt x="574" y="34"/>
                  </a:lnTo>
                  <a:lnTo>
                    <a:pt x="580" y="34"/>
                  </a:lnTo>
                  <a:lnTo>
                    <a:pt x="580" y="34"/>
                  </a:lnTo>
                  <a:close/>
                  <a:moveTo>
                    <a:pt x="522" y="34"/>
                  </a:moveTo>
                  <a:lnTo>
                    <a:pt x="522" y="28"/>
                  </a:lnTo>
                  <a:lnTo>
                    <a:pt x="528" y="28"/>
                  </a:lnTo>
                  <a:lnTo>
                    <a:pt x="528" y="28"/>
                  </a:lnTo>
                  <a:lnTo>
                    <a:pt x="532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44" y="34"/>
                  </a:lnTo>
                  <a:lnTo>
                    <a:pt x="550" y="34"/>
                  </a:lnTo>
                  <a:lnTo>
                    <a:pt x="544" y="34"/>
                  </a:lnTo>
                  <a:lnTo>
                    <a:pt x="538" y="34"/>
                  </a:lnTo>
                  <a:lnTo>
                    <a:pt x="538" y="34"/>
                  </a:lnTo>
                  <a:lnTo>
                    <a:pt x="532" y="34"/>
                  </a:lnTo>
                  <a:lnTo>
                    <a:pt x="528" y="34"/>
                  </a:lnTo>
                  <a:lnTo>
                    <a:pt x="532" y="34"/>
                  </a:lnTo>
                  <a:lnTo>
                    <a:pt x="528" y="34"/>
                  </a:lnTo>
                  <a:lnTo>
                    <a:pt x="528" y="34"/>
                  </a:lnTo>
                  <a:lnTo>
                    <a:pt x="522" y="34"/>
                  </a:lnTo>
                  <a:lnTo>
                    <a:pt x="522" y="34"/>
                  </a:lnTo>
                  <a:close/>
                  <a:moveTo>
                    <a:pt x="544" y="34"/>
                  </a:moveTo>
                  <a:lnTo>
                    <a:pt x="550" y="34"/>
                  </a:lnTo>
                  <a:lnTo>
                    <a:pt x="556" y="34"/>
                  </a:lnTo>
                  <a:lnTo>
                    <a:pt x="562" y="34"/>
                  </a:lnTo>
                  <a:lnTo>
                    <a:pt x="562" y="40"/>
                  </a:lnTo>
                  <a:lnTo>
                    <a:pt x="562" y="40"/>
                  </a:lnTo>
                  <a:lnTo>
                    <a:pt x="556" y="40"/>
                  </a:lnTo>
                  <a:lnTo>
                    <a:pt x="550" y="40"/>
                  </a:lnTo>
                  <a:lnTo>
                    <a:pt x="550" y="40"/>
                  </a:lnTo>
                  <a:lnTo>
                    <a:pt x="544" y="40"/>
                  </a:lnTo>
                  <a:lnTo>
                    <a:pt x="538" y="40"/>
                  </a:lnTo>
                  <a:lnTo>
                    <a:pt x="538" y="34"/>
                  </a:lnTo>
                  <a:lnTo>
                    <a:pt x="544" y="34"/>
                  </a:lnTo>
                  <a:lnTo>
                    <a:pt x="544" y="34"/>
                  </a:lnTo>
                  <a:close/>
                  <a:moveTo>
                    <a:pt x="510" y="40"/>
                  </a:moveTo>
                  <a:lnTo>
                    <a:pt x="510" y="40"/>
                  </a:lnTo>
                  <a:lnTo>
                    <a:pt x="510" y="40"/>
                  </a:lnTo>
                  <a:lnTo>
                    <a:pt x="510" y="40"/>
                  </a:lnTo>
                  <a:lnTo>
                    <a:pt x="510" y="40"/>
                  </a:lnTo>
                  <a:lnTo>
                    <a:pt x="510" y="40"/>
                  </a:lnTo>
                  <a:close/>
                  <a:moveTo>
                    <a:pt x="590" y="40"/>
                  </a:moveTo>
                  <a:lnTo>
                    <a:pt x="590" y="40"/>
                  </a:lnTo>
                  <a:lnTo>
                    <a:pt x="590" y="40"/>
                  </a:lnTo>
                  <a:lnTo>
                    <a:pt x="590" y="40"/>
                  </a:lnTo>
                  <a:close/>
                  <a:moveTo>
                    <a:pt x="568" y="40"/>
                  </a:moveTo>
                  <a:lnTo>
                    <a:pt x="574" y="40"/>
                  </a:lnTo>
                  <a:lnTo>
                    <a:pt x="574" y="40"/>
                  </a:lnTo>
                  <a:lnTo>
                    <a:pt x="580" y="40"/>
                  </a:lnTo>
                  <a:lnTo>
                    <a:pt x="580" y="40"/>
                  </a:lnTo>
                  <a:lnTo>
                    <a:pt x="574" y="40"/>
                  </a:lnTo>
                  <a:lnTo>
                    <a:pt x="574" y="40"/>
                  </a:lnTo>
                  <a:lnTo>
                    <a:pt x="568" y="40"/>
                  </a:lnTo>
                  <a:lnTo>
                    <a:pt x="568" y="40"/>
                  </a:lnTo>
                  <a:close/>
                  <a:moveTo>
                    <a:pt x="516" y="40"/>
                  </a:moveTo>
                  <a:lnTo>
                    <a:pt x="522" y="40"/>
                  </a:lnTo>
                  <a:lnTo>
                    <a:pt x="516" y="40"/>
                  </a:lnTo>
                  <a:lnTo>
                    <a:pt x="516" y="40"/>
                  </a:lnTo>
                  <a:lnTo>
                    <a:pt x="522" y="40"/>
                  </a:lnTo>
                  <a:lnTo>
                    <a:pt x="528" y="40"/>
                  </a:lnTo>
                  <a:lnTo>
                    <a:pt x="528" y="40"/>
                  </a:lnTo>
                  <a:lnTo>
                    <a:pt x="522" y="40"/>
                  </a:lnTo>
                  <a:lnTo>
                    <a:pt x="528" y="40"/>
                  </a:lnTo>
                  <a:lnTo>
                    <a:pt x="528" y="40"/>
                  </a:lnTo>
                  <a:lnTo>
                    <a:pt x="528" y="46"/>
                  </a:lnTo>
                  <a:lnTo>
                    <a:pt x="522" y="46"/>
                  </a:lnTo>
                  <a:lnTo>
                    <a:pt x="522" y="40"/>
                  </a:lnTo>
                  <a:lnTo>
                    <a:pt x="516" y="40"/>
                  </a:lnTo>
                  <a:lnTo>
                    <a:pt x="516" y="40"/>
                  </a:lnTo>
                  <a:close/>
                  <a:moveTo>
                    <a:pt x="528" y="40"/>
                  </a:moveTo>
                  <a:lnTo>
                    <a:pt x="532" y="40"/>
                  </a:lnTo>
                  <a:lnTo>
                    <a:pt x="538" y="40"/>
                  </a:lnTo>
                  <a:lnTo>
                    <a:pt x="532" y="40"/>
                  </a:lnTo>
                  <a:lnTo>
                    <a:pt x="528" y="40"/>
                  </a:lnTo>
                  <a:lnTo>
                    <a:pt x="528" y="40"/>
                  </a:lnTo>
                  <a:close/>
                  <a:moveTo>
                    <a:pt x="528" y="46"/>
                  </a:moveTo>
                  <a:lnTo>
                    <a:pt x="528" y="40"/>
                  </a:lnTo>
                  <a:lnTo>
                    <a:pt x="532" y="40"/>
                  </a:lnTo>
                  <a:lnTo>
                    <a:pt x="532" y="46"/>
                  </a:lnTo>
                  <a:lnTo>
                    <a:pt x="528" y="46"/>
                  </a:lnTo>
                  <a:lnTo>
                    <a:pt x="528" y="46"/>
                  </a:lnTo>
                  <a:lnTo>
                    <a:pt x="528" y="46"/>
                  </a:lnTo>
                  <a:lnTo>
                    <a:pt x="528" y="46"/>
                  </a:lnTo>
                  <a:close/>
                  <a:moveTo>
                    <a:pt x="538" y="46"/>
                  </a:moveTo>
                  <a:lnTo>
                    <a:pt x="538" y="46"/>
                  </a:lnTo>
                  <a:lnTo>
                    <a:pt x="538" y="46"/>
                  </a:lnTo>
                  <a:lnTo>
                    <a:pt x="538" y="46"/>
                  </a:lnTo>
                  <a:close/>
                  <a:moveTo>
                    <a:pt x="550" y="46"/>
                  </a:moveTo>
                  <a:lnTo>
                    <a:pt x="550" y="46"/>
                  </a:lnTo>
                  <a:lnTo>
                    <a:pt x="556" y="46"/>
                  </a:lnTo>
                  <a:lnTo>
                    <a:pt x="550" y="46"/>
                  </a:lnTo>
                  <a:lnTo>
                    <a:pt x="550" y="46"/>
                  </a:lnTo>
                  <a:lnTo>
                    <a:pt x="550" y="46"/>
                  </a:lnTo>
                  <a:close/>
                  <a:moveTo>
                    <a:pt x="498" y="52"/>
                  </a:moveTo>
                  <a:lnTo>
                    <a:pt x="492" y="52"/>
                  </a:lnTo>
                  <a:lnTo>
                    <a:pt x="498" y="52"/>
                  </a:lnTo>
                  <a:lnTo>
                    <a:pt x="498" y="52"/>
                  </a:lnTo>
                  <a:lnTo>
                    <a:pt x="498" y="46"/>
                  </a:lnTo>
                  <a:lnTo>
                    <a:pt x="504" y="46"/>
                  </a:lnTo>
                  <a:lnTo>
                    <a:pt x="510" y="46"/>
                  </a:lnTo>
                  <a:lnTo>
                    <a:pt x="510" y="46"/>
                  </a:lnTo>
                  <a:lnTo>
                    <a:pt x="510" y="52"/>
                  </a:lnTo>
                  <a:lnTo>
                    <a:pt x="516" y="52"/>
                  </a:lnTo>
                  <a:lnTo>
                    <a:pt x="510" y="52"/>
                  </a:lnTo>
                  <a:lnTo>
                    <a:pt x="510" y="52"/>
                  </a:lnTo>
                  <a:lnTo>
                    <a:pt x="510" y="52"/>
                  </a:lnTo>
                  <a:lnTo>
                    <a:pt x="504" y="52"/>
                  </a:lnTo>
                  <a:lnTo>
                    <a:pt x="498" y="52"/>
                  </a:lnTo>
                  <a:lnTo>
                    <a:pt x="498" y="52"/>
                  </a:lnTo>
                  <a:lnTo>
                    <a:pt x="498" y="52"/>
                  </a:lnTo>
                  <a:lnTo>
                    <a:pt x="498" y="52"/>
                  </a:lnTo>
                  <a:lnTo>
                    <a:pt x="498" y="52"/>
                  </a:lnTo>
                  <a:close/>
                  <a:moveTo>
                    <a:pt x="532" y="52"/>
                  </a:moveTo>
                  <a:lnTo>
                    <a:pt x="538" y="52"/>
                  </a:lnTo>
                  <a:lnTo>
                    <a:pt x="538" y="46"/>
                  </a:lnTo>
                  <a:lnTo>
                    <a:pt x="544" y="52"/>
                  </a:lnTo>
                  <a:lnTo>
                    <a:pt x="538" y="52"/>
                  </a:lnTo>
                  <a:lnTo>
                    <a:pt x="538" y="52"/>
                  </a:lnTo>
                  <a:lnTo>
                    <a:pt x="532" y="52"/>
                  </a:lnTo>
                  <a:lnTo>
                    <a:pt x="532" y="52"/>
                  </a:lnTo>
                  <a:close/>
                  <a:moveTo>
                    <a:pt x="528" y="52"/>
                  </a:moveTo>
                  <a:lnTo>
                    <a:pt x="522" y="52"/>
                  </a:lnTo>
                  <a:lnTo>
                    <a:pt x="528" y="52"/>
                  </a:lnTo>
                  <a:lnTo>
                    <a:pt x="528" y="46"/>
                  </a:lnTo>
                  <a:lnTo>
                    <a:pt x="528" y="52"/>
                  </a:lnTo>
                  <a:lnTo>
                    <a:pt x="528" y="52"/>
                  </a:lnTo>
                  <a:lnTo>
                    <a:pt x="528" y="52"/>
                  </a:lnTo>
                  <a:lnTo>
                    <a:pt x="528" y="52"/>
                  </a:lnTo>
                  <a:close/>
                  <a:moveTo>
                    <a:pt x="458" y="58"/>
                  </a:moveTo>
                  <a:lnTo>
                    <a:pt x="458" y="52"/>
                  </a:lnTo>
                  <a:lnTo>
                    <a:pt x="452" y="52"/>
                  </a:lnTo>
                  <a:lnTo>
                    <a:pt x="458" y="52"/>
                  </a:lnTo>
                  <a:lnTo>
                    <a:pt x="464" y="52"/>
                  </a:lnTo>
                  <a:lnTo>
                    <a:pt x="464" y="52"/>
                  </a:lnTo>
                  <a:lnTo>
                    <a:pt x="464" y="52"/>
                  </a:lnTo>
                  <a:lnTo>
                    <a:pt x="464" y="52"/>
                  </a:lnTo>
                  <a:lnTo>
                    <a:pt x="464" y="58"/>
                  </a:lnTo>
                  <a:lnTo>
                    <a:pt x="458" y="58"/>
                  </a:lnTo>
                  <a:lnTo>
                    <a:pt x="458" y="58"/>
                  </a:lnTo>
                  <a:close/>
                  <a:moveTo>
                    <a:pt x="608" y="52"/>
                  </a:moveTo>
                  <a:lnTo>
                    <a:pt x="608" y="52"/>
                  </a:lnTo>
                  <a:lnTo>
                    <a:pt x="614" y="52"/>
                  </a:lnTo>
                  <a:lnTo>
                    <a:pt x="614" y="52"/>
                  </a:lnTo>
                  <a:lnTo>
                    <a:pt x="614" y="52"/>
                  </a:lnTo>
                  <a:lnTo>
                    <a:pt x="614" y="52"/>
                  </a:lnTo>
                  <a:lnTo>
                    <a:pt x="608" y="52"/>
                  </a:lnTo>
                  <a:lnTo>
                    <a:pt x="608" y="52"/>
                  </a:lnTo>
                  <a:close/>
                  <a:moveTo>
                    <a:pt x="590" y="58"/>
                  </a:moveTo>
                  <a:lnTo>
                    <a:pt x="596" y="58"/>
                  </a:lnTo>
                  <a:lnTo>
                    <a:pt x="596" y="52"/>
                  </a:lnTo>
                  <a:lnTo>
                    <a:pt x="602" y="52"/>
                  </a:lnTo>
                  <a:lnTo>
                    <a:pt x="602" y="52"/>
                  </a:lnTo>
                  <a:lnTo>
                    <a:pt x="608" y="52"/>
                  </a:lnTo>
                  <a:lnTo>
                    <a:pt x="608" y="58"/>
                  </a:lnTo>
                  <a:lnTo>
                    <a:pt x="602" y="58"/>
                  </a:lnTo>
                  <a:lnTo>
                    <a:pt x="602" y="64"/>
                  </a:lnTo>
                  <a:lnTo>
                    <a:pt x="602" y="64"/>
                  </a:lnTo>
                  <a:lnTo>
                    <a:pt x="602" y="58"/>
                  </a:lnTo>
                  <a:lnTo>
                    <a:pt x="596" y="58"/>
                  </a:lnTo>
                  <a:lnTo>
                    <a:pt x="590" y="58"/>
                  </a:lnTo>
                  <a:lnTo>
                    <a:pt x="590" y="58"/>
                  </a:lnTo>
                  <a:close/>
                  <a:moveTo>
                    <a:pt x="464" y="58"/>
                  </a:moveTo>
                  <a:lnTo>
                    <a:pt x="464" y="58"/>
                  </a:lnTo>
                  <a:lnTo>
                    <a:pt x="470" y="58"/>
                  </a:lnTo>
                  <a:lnTo>
                    <a:pt x="474" y="58"/>
                  </a:lnTo>
                  <a:lnTo>
                    <a:pt x="474" y="52"/>
                  </a:lnTo>
                  <a:lnTo>
                    <a:pt x="474" y="52"/>
                  </a:lnTo>
                  <a:lnTo>
                    <a:pt x="474" y="58"/>
                  </a:lnTo>
                  <a:lnTo>
                    <a:pt x="480" y="58"/>
                  </a:lnTo>
                  <a:lnTo>
                    <a:pt x="480" y="64"/>
                  </a:lnTo>
                  <a:lnTo>
                    <a:pt x="474" y="64"/>
                  </a:lnTo>
                  <a:lnTo>
                    <a:pt x="474" y="64"/>
                  </a:lnTo>
                  <a:lnTo>
                    <a:pt x="474" y="58"/>
                  </a:lnTo>
                  <a:lnTo>
                    <a:pt x="470" y="58"/>
                  </a:lnTo>
                  <a:lnTo>
                    <a:pt x="470" y="64"/>
                  </a:lnTo>
                  <a:lnTo>
                    <a:pt x="464" y="58"/>
                  </a:lnTo>
                  <a:lnTo>
                    <a:pt x="464" y="58"/>
                  </a:lnTo>
                  <a:lnTo>
                    <a:pt x="464" y="58"/>
                  </a:lnTo>
                  <a:close/>
                  <a:moveTo>
                    <a:pt x="452" y="58"/>
                  </a:moveTo>
                  <a:lnTo>
                    <a:pt x="452" y="52"/>
                  </a:lnTo>
                  <a:lnTo>
                    <a:pt x="458" y="58"/>
                  </a:lnTo>
                  <a:lnTo>
                    <a:pt x="452" y="58"/>
                  </a:lnTo>
                  <a:lnTo>
                    <a:pt x="452" y="58"/>
                  </a:lnTo>
                  <a:lnTo>
                    <a:pt x="452" y="58"/>
                  </a:lnTo>
                  <a:close/>
                  <a:moveTo>
                    <a:pt x="1130" y="58"/>
                  </a:moveTo>
                  <a:lnTo>
                    <a:pt x="1130" y="58"/>
                  </a:lnTo>
                  <a:lnTo>
                    <a:pt x="1130" y="58"/>
                  </a:lnTo>
                  <a:lnTo>
                    <a:pt x="1124" y="58"/>
                  </a:lnTo>
                  <a:lnTo>
                    <a:pt x="1130" y="58"/>
                  </a:lnTo>
                  <a:lnTo>
                    <a:pt x="1130" y="58"/>
                  </a:lnTo>
                  <a:close/>
                  <a:moveTo>
                    <a:pt x="586" y="64"/>
                  </a:moveTo>
                  <a:lnTo>
                    <a:pt x="590" y="64"/>
                  </a:lnTo>
                  <a:lnTo>
                    <a:pt x="590" y="58"/>
                  </a:lnTo>
                  <a:lnTo>
                    <a:pt x="590" y="58"/>
                  </a:lnTo>
                  <a:lnTo>
                    <a:pt x="590" y="64"/>
                  </a:lnTo>
                  <a:lnTo>
                    <a:pt x="596" y="64"/>
                  </a:lnTo>
                  <a:lnTo>
                    <a:pt x="590" y="64"/>
                  </a:lnTo>
                  <a:lnTo>
                    <a:pt x="590" y="64"/>
                  </a:lnTo>
                  <a:lnTo>
                    <a:pt x="586" y="64"/>
                  </a:lnTo>
                  <a:lnTo>
                    <a:pt x="586" y="64"/>
                  </a:lnTo>
                  <a:close/>
                  <a:moveTo>
                    <a:pt x="1090" y="70"/>
                  </a:moveTo>
                  <a:lnTo>
                    <a:pt x="1090" y="70"/>
                  </a:lnTo>
                  <a:lnTo>
                    <a:pt x="1084" y="64"/>
                  </a:lnTo>
                  <a:lnTo>
                    <a:pt x="1090" y="64"/>
                  </a:lnTo>
                  <a:lnTo>
                    <a:pt x="1090" y="64"/>
                  </a:lnTo>
                  <a:lnTo>
                    <a:pt x="1096" y="70"/>
                  </a:lnTo>
                  <a:lnTo>
                    <a:pt x="1090" y="70"/>
                  </a:lnTo>
                  <a:lnTo>
                    <a:pt x="1090" y="70"/>
                  </a:lnTo>
                  <a:close/>
                  <a:moveTo>
                    <a:pt x="1154" y="156"/>
                  </a:moveTo>
                  <a:lnTo>
                    <a:pt x="1154" y="156"/>
                  </a:lnTo>
                  <a:lnTo>
                    <a:pt x="1154" y="162"/>
                  </a:lnTo>
                  <a:lnTo>
                    <a:pt x="1148" y="162"/>
                  </a:lnTo>
                  <a:lnTo>
                    <a:pt x="1148" y="156"/>
                  </a:lnTo>
                  <a:lnTo>
                    <a:pt x="1154" y="156"/>
                  </a:lnTo>
                  <a:lnTo>
                    <a:pt x="1154" y="156"/>
                  </a:lnTo>
                  <a:close/>
                  <a:moveTo>
                    <a:pt x="608" y="174"/>
                  </a:moveTo>
                  <a:lnTo>
                    <a:pt x="614" y="174"/>
                  </a:lnTo>
                  <a:lnTo>
                    <a:pt x="614" y="174"/>
                  </a:lnTo>
                  <a:lnTo>
                    <a:pt x="620" y="174"/>
                  </a:lnTo>
                  <a:lnTo>
                    <a:pt x="614" y="174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08" y="180"/>
                  </a:lnTo>
                  <a:lnTo>
                    <a:pt x="608" y="174"/>
                  </a:lnTo>
                  <a:lnTo>
                    <a:pt x="608" y="174"/>
                  </a:lnTo>
                  <a:close/>
                  <a:moveTo>
                    <a:pt x="590" y="180"/>
                  </a:moveTo>
                  <a:lnTo>
                    <a:pt x="602" y="180"/>
                  </a:lnTo>
                  <a:lnTo>
                    <a:pt x="602" y="180"/>
                  </a:lnTo>
                  <a:lnTo>
                    <a:pt x="602" y="180"/>
                  </a:lnTo>
                  <a:lnTo>
                    <a:pt x="590" y="180"/>
                  </a:lnTo>
                  <a:lnTo>
                    <a:pt x="590" y="180"/>
                  </a:lnTo>
                  <a:close/>
                  <a:moveTo>
                    <a:pt x="1832" y="192"/>
                  </a:moveTo>
                  <a:lnTo>
                    <a:pt x="1832" y="192"/>
                  </a:lnTo>
                  <a:lnTo>
                    <a:pt x="1832" y="186"/>
                  </a:lnTo>
                  <a:lnTo>
                    <a:pt x="1832" y="192"/>
                  </a:lnTo>
                  <a:lnTo>
                    <a:pt x="1832" y="192"/>
                  </a:lnTo>
                  <a:lnTo>
                    <a:pt x="1832" y="192"/>
                  </a:lnTo>
                  <a:close/>
                  <a:moveTo>
                    <a:pt x="1014" y="214"/>
                  </a:moveTo>
                  <a:lnTo>
                    <a:pt x="1014" y="214"/>
                  </a:lnTo>
                  <a:lnTo>
                    <a:pt x="1014" y="214"/>
                  </a:lnTo>
                  <a:lnTo>
                    <a:pt x="1014" y="214"/>
                  </a:lnTo>
                  <a:lnTo>
                    <a:pt x="1014" y="214"/>
                  </a:lnTo>
                  <a:close/>
                  <a:moveTo>
                    <a:pt x="1002" y="226"/>
                  </a:moveTo>
                  <a:lnTo>
                    <a:pt x="996" y="226"/>
                  </a:lnTo>
                  <a:lnTo>
                    <a:pt x="996" y="220"/>
                  </a:lnTo>
                  <a:lnTo>
                    <a:pt x="1002" y="220"/>
                  </a:lnTo>
                  <a:lnTo>
                    <a:pt x="1008" y="220"/>
                  </a:lnTo>
                  <a:lnTo>
                    <a:pt x="1002" y="220"/>
                  </a:lnTo>
                  <a:lnTo>
                    <a:pt x="1002" y="226"/>
                  </a:lnTo>
                  <a:lnTo>
                    <a:pt x="1002" y="226"/>
                  </a:lnTo>
                  <a:close/>
                  <a:moveTo>
                    <a:pt x="992" y="226"/>
                  </a:moveTo>
                  <a:lnTo>
                    <a:pt x="996" y="226"/>
                  </a:lnTo>
                  <a:lnTo>
                    <a:pt x="996" y="226"/>
                  </a:lnTo>
                  <a:lnTo>
                    <a:pt x="996" y="226"/>
                  </a:lnTo>
                  <a:lnTo>
                    <a:pt x="992" y="226"/>
                  </a:lnTo>
                  <a:lnTo>
                    <a:pt x="992" y="226"/>
                  </a:lnTo>
                  <a:close/>
                  <a:moveTo>
                    <a:pt x="1020" y="250"/>
                  </a:moveTo>
                  <a:lnTo>
                    <a:pt x="1020" y="244"/>
                  </a:lnTo>
                  <a:lnTo>
                    <a:pt x="1026" y="244"/>
                  </a:lnTo>
                  <a:lnTo>
                    <a:pt x="1026" y="244"/>
                  </a:lnTo>
                  <a:lnTo>
                    <a:pt x="1026" y="244"/>
                  </a:lnTo>
                  <a:lnTo>
                    <a:pt x="1020" y="244"/>
                  </a:lnTo>
                  <a:lnTo>
                    <a:pt x="1020" y="250"/>
                  </a:lnTo>
                  <a:lnTo>
                    <a:pt x="1020" y="250"/>
                  </a:lnTo>
                  <a:close/>
                  <a:moveTo>
                    <a:pt x="1020" y="244"/>
                  </a:moveTo>
                  <a:lnTo>
                    <a:pt x="1014" y="250"/>
                  </a:lnTo>
                  <a:lnTo>
                    <a:pt x="1014" y="250"/>
                  </a:lnTo>
                  <a:lnTo>
                    <a:pt x="1014" y="244"/>
                  </a:lnTo>
                  <a:lnTo>
                    <a:pt x="1014" y="244"/>
                  </a:lnTo>
                  <a:lnTo>
                    <a:pt x="1020" y="244"/>
                  </a:lnTo>
                  <a:lnTo>
                    <a:pt x="1020" y="244"/>
                  </a:lnTo>
                  <a:close/>
                  <a:moveTo>
                    <a:pt x="846" y="254"/>
                  </a:moveTo>
                  <a:lnTo>
                    <a:pt x="846" y="250"/>
                  </a:lnTo>
                  <a:lnTo>
                    <a:pt x="852" y="250"/>
                  </a:lnTo>
                  <a:lnTo>
                    <a:pt x="858" y="250"/>
                  </a:lnTo>
                  <a:lnTo>
                    <a:pt x="852" y="254"/>
                  </a:lnTo>
                  <a:lnTo>
                    <a:pt x="846" y="254"/>
                  </a:lnTo>
                  <a:lnTo>
                    <a:pt x="846" y="254"/>
                  </a:lnTo>
                  <a:lnTo>
                    <a:pt x="846" y="254"/>
                  </a:lnTo>
                  <a:close/>
                  <a:moveTo>
                    <a:pt x="858" y="250"/>
                  </a:moveTo>
                  <a:lnTo>
                    <a:pt x="858" y="250"/>
                  </a:lnTo>
                  <a:lnTo>
                    <a:pt x="858" y="254"/>
                  </a:lnTo>
                  <a:lnTo>
                    <a:pt x="864" y="254"/>
                  </a:lnTo>
                  <a:lnTo>
                    <a:pt x="858" y="254"/>
                  </a:lnTo>
                  <a:lnTo>
                    <a:pt x="858" y="250"/>
                  </a:lnTo>
                  <a:lnTo>
                    <a:pt x="858" y="250"/>
                  </a:lnTo>
                  <a:lnTo>
                    <a:pt x="858" y="250"/>
                  </a:lnTo>
                  <a:close/>
                  <a:moveTo>
                    <a:pt x="1618" y="254"/>
                  </a:moveTo>
                  <a:lnTo>
                    <a:pt x="1624" y="254"/>
                  </a:lnTo>
                  <a:lnTo>
                    <a:pt x="1618" y="254"/>
                  </a:lnTo>
                  <a:lnTo>
                    <a:pt x="1618" y="254"/>
                  </a:lnTo>
                  <a:close/>
                  <a:moveTo>
                    <a:pt x="782" y="254"/>
                  </a:moveTo>
                  <a:lnTo>
                    <a:pt x="782" y="254"/>
                  </a:lnTo>
                  <a:lnTo>
                    <a:pt x="782" y="254"/>
                  </a:lnTo>
                  <a:lnTo>
                    <a:pt x="782" y="254"/>
                  </a:lnTo>
                  <a:lnTo>
                    <a:pt x="782" y="254"/>
                  </a:lnTo>
                  <a:lnTo>
                    <a:pt x="782" y="254"/>
                  </a:lnTo>
                  <a:close/>
                  <a:moveTo>
                    <a:pt x="858" y="260"/>
                  </a:moveTo>
                  <a:lnTo>
                    <a:pt x="858" y="260"/>
                  </a:lnTo>
                  <a:lnTo>
                    <a:pt x="864" y="260"/>
                  </a:lnTo>
                  <a:lnTo>
                    <a:pt x="858" y="260"/>
                  </a:lnTo>
                  <a:lnTo>
                    <a:pt x="858" y="260"/>
                  </a:lnTo>
                  <a:lnTo>
                    <a:pt x="858" y="260"/>
                  </a:lnTo>
                  <a:close/>
                  <a:moveTo>
                    <a:pt x="822" y="266"/>
                  </a:moveTo>
                  <a:lnTo>
                    <a:pt x="822" y="260"/>
                  </a:lnTo>
                  <a:lnTo>
                    <a:pt x="828" y="260"/>
                  </a:lnTo>
                  <a:lnTo>
                    <a:pt x="834" y="260"/>
                  </a:lnTo>
                  <a:lnTo>
                    <a:pt x="834" y="260"/>
                  </a:lnTo>
                  <a:lnTo>
                    <a:pt x="834" y="266"/>
                  </a:lnTo>
                  <a:lnTo>
                    <a:pt x="834" y="260"/>
                  </a:lnTo>
                  <a:lnTo>
                    <a:pt x="834" y="266"/>
                  </a:lnTo>
                  <a:lnTo>
                    <a:pt x="834" y="266"/>
                  </a:lnTo>
                  <a:lnTo>
                    <a:pt x="834" y="266"/>
                  </a:lnTo>
                  <a:lnTo>
                    <a:pt x="834" y="266"/>
                  </a:lnTo>
                  <a:lnTo>
                    <a:pt x="834" y="266"/>
                  </a:lnTo>
                  <a:lnTo>
                    <a:pt x="828" y="266"/>
                  </a:lnTo>
                  <a:lnTo>
                    <a:pt x="828" y="266"/>
                  </a:lnTo>
                  <a:lnTo>
                    <a:pt x="822" y="266"/>
                  </a:lnTo>
                  <a:lnTo>
                    <a:pt x="822" y="266"/>
                  </a:lnTo>
                  <a:close/>
                  <a:moveTo>
                    <a:pt x="1548" y="266"/>
                  </a:moveTo>
                  <a:lnTo>
                    <a:pt x="1548" y="266"/>
                  </a:lnTo>
                  <a:lnTo>
                    <a:pt x="1554" y="266"/>
                  </a:lnTo>
                  <a:lnTo>
                    <a:pt x="1554" y="266"/>
                  </a:lnTo>
                  <a:lnTo>
                    <a:pt x="1548" y="266"/>
                  </a:lnTo>
                  <a:lnTo>
                    <a:pt x="1548" y="266"/>
                  </a:lnTo>
                  <a:close/>
                  <a:moveTo>
                    <a:pt x="1652" y="266"/>
                  </a:moveTo>
                  <a:lnTo>
                    <a:pt x="1652" y="266"/>
                  </a:lnTo>
                  <a:lnTo>
                    <a:pt x="1658" y="266"/>
                  </a:lnTo>
                  <a:lnTo>
                    <a:pt x="1658" y="266"/>
                  </a:lnTo>
                  <a:lnTo>
                    <a:pt x="1652" y="266"/>
                  </a:lnTo>
                  <a:lnTo>
                    <a:pt x="1652" y="266"/>
                  </a:lnTo>
                  <a:close/>
                  <a:moveTo>
                    <a:pt x="1554" y="266"/>
                  </a:moveTo>
                  <a:lnTo>
                    <a:pt x="1560" y="266"/>
                  </a:lnTo>
                  <a:lnTo>
                    <a:pt x="1560" y="266"/>
                  </a:lnTo>
                  <a:lnTo>
                    <a:pt x="1566" y="266"/>
                  </a:lnTo>
                  <a:lnTo>
                    <a:pt x="1570" y="266"/>
                  </a:lnTo>
                  <a:lnTo>
                    <a:pt x="1570" y="272"/>
                  </a:lnTo>
                  <a:lnTo>
                    <a:pt x="1570" y="272"/>
                  </a:lnTo>
                  <a:lnTo>
                    <a:pt x="1566" y="266"/>
                  </a:lnTo>
                  <a:lnTo>
                    <a:pt x="1560" y="266"/>
                  </a:lnTo>
                  <a:lnTo>
                    <a:pt x="1554" y="266"/>
                  </a:lnTo>
                  <a:lnTo>
                    <a:pt x="1554" y="266"/>
                  </a:lnTo>
                  <a:lnTo>
                    <a:pt x="1554" y="266"/>
                  </a:lnTo>
                  <a:close/>
                  <a:moveTo>
                    <a:pt x="1658" y="272"/>
                  </a:moveTo>
                  <a:lnTo>
                    <a:pt x="1652" y="272"/>
                  </a:lnTo>
                  <a:lnTo>
                    <a:pt x="1652" y="266"/>
                  </a:lnTo>
                  <a:lnTo>
                    <a:pt x="1646" y="266"/>
                  </a:lnTo>
                  <a:lnTo>
                    <a:pt x="1652" y="266"/>
                  </a:lnTo>
                  <a:lnTo>
                    <a:pt x="1652" y="266"/>
                  </a:lnTo>
                  <a:lnTo>
                    <a:pt x="1658" y="266"/>
                  </a:lnTo>
                  <a:lnTo>
                    <a:pt x="1664" y="266"/>
                  </a:lnTo>
                  <a:lnTo>
                    <a:pt x="1658" y="272"/>
                  </a:lnTo>
                  <a:lnTo>
                    <a:pt x="1658" y="272"/>
                  </a:lnTo>
                  <a:close/>
                  <a:moveTo>
                    <a:pt x="1640" y="278"/>
                  </a:moveTo>
                  <a:lnTo>
                    <a:pt x="1646" y="278"/>
                  </a:lnTo>
                  <a:lnTo>
                    <a:pt x="1646" y="272"/>
                  </a:lnTo>
                  <a:lnTo>
                    <a:pt x="1652" y="272"/>
                  </a:lnTo>
                  <a:lnTo>
                    <a:pt x="1652" y="272"/>
                  </a:lnTo>
                  <a:lnTo>
                    <a:pt x="1652" y="278"/>
                  </a:lnTo>
                  <a:lnTo>
                    <a:pt x="1652" y="278"/>
                  </a:lnTo>
                  <a:lnTo>
                    <a:pt x="1646" y="278"/>
                  </a:lnTo>
                  <a:lnTo>
                    <a:pt x="1640" y="278"/>
                  </a:lnTo>
                  <a:lnTo>
                    <a:pt x="1640" y="278"/>
                  </a:lnTo>
                  <a:close/>
                  <a:moveTo>
                    <a:pt x="1624" y="290"/>
                  </a:moveTo>
                  <a:lnTo>
                    <a:pt x="1624" y="284"/>
                  </a:lnTo>
                  <a:lnTo>
                    <a:pt x="1618" y="284"/>
                  </a:lnTo>
                  <a:lnTo>
                    <a:pt x="1624" y="284"/>
                  </a:lnTo>
                  <a:lnTo>
                    <a:pt x="1624" y="290"/>
                  </a:lnTo>
                  <a:lnTo>
                    <a:pt x="1624" y="290"/>
                  </a:lnTo>
                  <a:close/>
                  <a:moveTo>
                    <a:pt x="1624" y="296"/>
                  </a:moveTo>
                  <a:lnTo>
                    <a:pt x="1628" y="296"/>
                  </a:lnTo>
                  <a:lnTo>
                    <a:pt x="1628" y="296"/>
                  </a:lnTo>
                  <a:lnTo>
                    <a:pt x="1624" y="296"/>
                  </a:lnTo>
                  <a:lnTo>
                    <a:pt x="1624" y="296"/>
                  </a:lnTo>
                  <a:lnTo>
                    <a:pt x="1624" y="296"/>
                  </a:lnTo>
                  <a:close/>
                  <a:moveTo>
                    <a:pt x="950" y="324"/>
                  </a:moveTo>
                  <a:lnTo>
                    <a:pt x="944" y="324"/>
                  </a:lnTo>
                  <a:lnTo>
                    <a:pt x="944" y="318"/>
                  </a:lnTo>
                  <a:lnTo>
                    <a:pt x="950" y="318"/>
                  </a:lnTo>
                  <a:lnTo>
                    <a:pt x="950" y="324"/>
                  </a:lnTo>
                  <a:lnTo>
                    <a:pt x="950" y="324"/>
                  </a:lnTo>
                  <a:close/>
                  <a:moveTo>
                    <a:pt x="962" y="324"/>
                  </a:moveTo>
                  <a:lnTo>
                    <a:pt x="962" y="324"/>
                  </a:lnTo>
                  <a:lnTo>
                    <a:pt x="962" y="318"/>
                  </a:lnTo>
                  <a:lnTo>
                    <a:pt x="962" y="318"/>
                  </a:lnTo>
                  <a:lnTo>
                    <a:pt x="962" y="324"/>
                  </a:lnTo>
                  <a:lnTo>
                    <a:pt x="962" y="324"/>
                  </a:lnTo>
                  <a:close/>
                  <a:moveTo>
                    <a:pt x="962" y="336"/>
                  </a:moveTo>
                  <a:lnTo>
                    <a:pt x="962" y="330"/>
                  </a:lnTo>
                  <a:lnTo>
                    <a:pt x="962" y="330"/>
                  </a:lnTo>
                  <a:lnTo>
                    <a:pt x="962" y="330"/>
                  </a:lnTo>
                  <a:lnTo>
                    <a:pt x="962" y="324"/>
                  </a:lnTo>
                  <a:lnTo>
                    <a:pt x="968" y="330"/>
                  </a:lnTo>
                  <a:lnTo>
                    <a:pt x="962" y="330"/>
                  </a:lnTo>
                  <a:lnTo>
                    <a:pt x="962" y="330"/>
                  </a:lnTo>
                  <a:lnTo>
                    <a:pt x="962" y="336"/>
                  </a:lnTo>
                  <a:lnTo>
                    <a:pt x="962" y="336"/>
                  </a:lnTo>
                  <a:lnTo>
                    <a:pt x="962" y="336"/>
                  </a:lnTo>
                  <a:close/>
                  <a:moveTo>
                    <a:pt x="568" y="336"/>
                  </a:moveTo>
                  <a:lnTo>
                    <a:pt x="562" y="330"/>
                  </a:lnTo>
                  <a:lnTo>
                    <a:pt x="568" y="330"/>
                  </a:lnTo>
                  <a:lnTo>
                    <a:pt x="568" y="336"/>
                  </a:lnTo>
                  <a:lnTo>
                    <a:pt x="568" y="336"/>
                  </a:lnTo>
                  <a:close/>
                  <a:moveTo>
                    <a:pt x="968" y="330"/>
                  </a:moveTo>
                  <a:lnTo>
                    <a:pt x="962" y="330"/>
                  </a:lnTo>
                  <a:lnTo>
                    <a:pt x="968" y="330"/>
                  </a:lnTo>
                  <a:lnTo>
                    <a:pt x="968" y="336"/>
                  </a:lnTo>
                  <a:lnTo>
                    <a:pt x="968" y="330"/>
                  </a:lnTo>
                  <a:lnTo>
                    <a:pt x="968" y="330"/>
                  </a:lnTo>
                  <a:close/>
                  <a:moveTo>
                    <a:pt x="968" y="336"/>
                  </a:moveTo>
                  <a:lnTo>
                    <a:pt x="962" y="336"/>
                  </a:lnTo>
                  <a:lnTo>
                    <a:pt x="968" y="336"/>
                  </a:lnTo>
                  <a:lnTo>
                    <a:pt x="968" y="330"/>
                  </a:lnTo>
                  <a:lnTo>
                    <a:pt x="968" y="336"/>
                  </a:lnTo>
                  <a:lnTo>
                    <a:pt x="968" y="336"/>
                  </a:lnTo>
                  <a:close/>
                  <a:moveTo>
                    <a:pt x="956" y="342"/>
                  </a:moveTo>
                  <a:lnTo>
                    <a:pt x="956" y="342"/>
                  </a:lnTo>
                  <a:lnTo>
                    <a:pt x="962" y="342"/>
                  </a:lnTo>
                  <a:lnTo>
                    <a:pt x="962" y="342"/>
                  </a:lnTo>
                  <a:lnTo>
                    <a:pt x="956" y="342"/>
                  </a:lnTo>
                  <a:lnTo>
                    <a:pt x="956" y="342"/>
                  </a:lnTo>
                  <a:close/>
                  <a:moveTo>
                    <a:pt x="718" y="366"/>
                  </a:moveTo>
                  <a:lnTo>
                    <a:pt x="718" y="366"/>
                  </a:lnTo>
                  <a:lnTo>
                    <a:pt x="718" y="366"/>
                  </a:lnTo>
                  <a:lnTo>
                    <a:pt x="718" y="366"/>
                  </a:lnTo>
                  <a:close/>
                  <a:moveTo>
                    <a:pt x="760" y="440"/>
                  </a:moveTo>
                  <a:lnTo>
                    <a:pt x="760" y="440"/>
                  </a:lnTo>
                  <a:lnTo>
                    <a:pt x="760" y="434"/>
                  </a:lnTo>
                  <a:lnTo>
                    <a:pt x="754" y="434"/>
                  </a:lnTo>
                  <a:lnTo>
                    <a:pt x="748" y="434"/>
                  </a:lnTo>
                  <a:lnTo>
                    <a:pt x="748" y="434"/>
                  </a:lnTo>
                  <a:lnTo>
                    <a:pt x="754" y="434"/>
                  </a:lnTo>
                  <a:lnTo>
                    <a:pt x="760" y="434"/>
                  </a:lnTo>
                  <a:lnTo>
                    <a:pt x="760" y="434"/>
                  </a:lnTo>
                  <a:lnTo>
                    <a:pt x="760" y="434"/>
                  </a:lnTo>
                  <a:lnTo>
                    <a:pt x="764" y="434"/>
                  </a:lnTo>
                  <a:lnTo>
                    <a:pt x="764" y="440"/>
                  </a:lnTo>
                  <a:lnTo>
                    <a:pt x="760" y="446"/>
                  </a:lnTo>
                  <a:lnTo>
                    <a:pt x="760" y="440"/>
                  </a:lnTo>
                  <a:lnTo>
                    <a:pt x="760" y="440"/>
                  </a:lnTo>
                  <a:close/>
                  <a:moveTo>
                    <a:pt x="312" y="488"/>
                  </a:moveTo>
                  <a:lnTo>
                    <a:pt x="318" y="492"/>
                  </a:lnTo>
                  <a:lnTo>
                    <a:pt x="312" y="492"/>
                  </a:lnTo>
                  <a:lnTo>
                    <a:pt x="306" y="492"/>
                  </a:lnTo>
                  <a:lnTo>
                    <a:pt x="306" y="488"/>
                  </a:lnTo>
                  <a:lnTo>
                    <a:pt x="312" y="488"/>
                  </a:lnTo>
                  <a:lnTo>
                    <a:pt x="306" y="488"/>
                  </a:lnTo>
                  <a:lnTo>
                    <a:pt x="312" y="488"/>
                  </a:lnTo>
                  <a:lnTo>
                    <a:pt x="312" y="488"/>
                  </a:lnTo>
                  <a:close/>
                  <a:moveTo>
                    <a:pt x="1982" y="626"/>
                  </a:moveTo>
                  <a:lnTo>
                    <a:pt x="1982" y="626"/>
                  </a:lnTo>
                  <a:lnTo>
                    <a:pt x="1982" y="626"/>
                  </a:lnTo>
                  <a:lnTo>
                    <a:pt x="1982" y="632"/>
                  </a:lnTo>
                  <a:lnTo>
                    <a:pt x="1982" y="626"/>
                  </a:lnTo>
                  <a:lnTo>
                    <a:pt x="1982" y="626"/>
                  </a:lnTo>
                  <a:close/>
                  <a:moveTo>
                    <a:pt x="1774" y="730"/>
                  </a:moveTo>
                  <a:lnTo>
                    <a:pt x="1774" y="724"/>
                  </a:lnTo>
                  <a:lnTo>
                    <a:pt x="1780" y="724"/>
                  </a:lnTo>
                  <a:lnTo>
                    <a:pt x="1780" y="724"/>
                  </a:lnTo>
                  <a:lnTo>
                    <a:pt x="1780" y="730"/>
                  </a:lnTo>
                  <a:lnTo>
                    <a:pt x="1780" y="724"/>
                  </a:lnTo>
                  <a:lnTo>
                    <a:pt x="1774" y="724"/>
                  </a:lnTo>
                  <a:lnTo>
                    <a:pt x="1774" y="730"/>
                  </a:lnTo>
                  <a:lnTo>
                    <a:pt x="1774" y="730"/>
                  </a:lnTo>
                  <a:close/>
                  <a:moveTo>
                    <a:pt x="1786" y="742"/>
                  </a:moveTo>
                  <a:lnTo>
                    <a:pt x="1786" y="736"/>
                  </a:lnTo>
                  <a:lnTo>
                    <a:pt x="1786" y="742"/>
                  </a:lnTo>
                  <a:lnTo>
                    <a:pt x="1786" y="742"/>
                  </a:lnTo>
                  <a:close/>
                  <a:moveTo>
                    <a:pt x="1792" y="742"/>
                  </a:moveTo>
                  <a:lnTo>
                    <a:pt x="1792" y="736"/>
                  </a:lnTo>
                  <a:lnTo>
                    <a:pt x="1792" y="742"/>
                  </a:lnTo>
                  <a:lnTo>
                    <a:pt x="1792" y="742"/>
                  </a:lnTo>
                  <a:close/>
                  <a:moveTo>
                    <a:pt x="1704" y="992"/>
                  </a:moveTo>
                  <a:lnTo>
                    <a:pt x="1698" y="992"/>
                  </a:lnTo>
                  <a:lnTo>
                    <a:pt x="1698" y="986"/>
                  </a:lnTo>
                  <a:lnTo>
                    <a:pt x="1704" y="992"/>
                  </a:lnTo>
                  <a:lnTo>
                    <a:pt x="1704" y="992"/>
                  </a:lnTo>
                  <a:close/>
                  <a:moveTo>
                    <a:pt x="580" y="6"/>
                  </a:moveTo>
                  <a:lnTo>
                    <a:pt x="580" y="0"/>
                  </a:lnTo>
                  <a:lnTo>
                    <a:pt x="586" y="0"/>
                  </a:lnTo>
                  <a:lnTo>
                    <a:pt x="590" y="0"/>
                  </a:lnTo>
                  <a:lnTo>
                    <a:pt x="590" y="0"/>
                  </a:lnTo>
                  <a:lnTo>
                    <a:pt x="596" y="0"/>
                  </a:lnTo>
                  <a:lnTo>
                    <a:pt x="602" y="0"/>
                  </a:lnTo>
                  <a:lnTo>
                    <a:pt x="602" y="0"/>
                  </a:lnTo>
                  <a:lnTo>
                    <a:pt x="602" y="0"/>
                  </a:lnTo>
                  <a:lnTo>
                    <a:pt x="596" y="0"/>
                  </a:lnTo>
                  <a:lnTo>
                    <a:pt x="590" y="0"/>
                  </a:lnTo>
                  <a:lnTo>
                    <a:pt x="590" y="0"/>
                  </a:lnTo>
                  <a:lnTo>
                    <a:pt x="586" y="6"/>
                  </a:lnTo>
                  <a:lnTo>
                    <a:pt x="580" y="6"/>
                  </a:lnTo>
                  <a:lnTo>
                    <a:pt x="580" y="6"/>
                  </a:lnTo>
                  <a:close/>
                  <a:moveTo>
                    <a:pt x="580" y="12"/>
                  </a:moveTo>
                  <a:lnTo>
                    <a:pt x="574" y="12"/>
                  </a:lnTo>
                  <a:lnTo>
                    <a:pt x="574" y="12"/>
                  </a:lnTo>
                  <a:lnTo>
                    <a:pt x="568" y="12"/>
                  </a:lnTo>
                  <a:lnTo>
                    <a:pt x="562" y="12"/>
                  </a:lnTo>
                  <a:lnTo>
                    <a:pt x="562" y="12"/>
                  </a:lnTo>
                  <a:lnTo>
                    <a:pt x="562" y="12"/>
                  </a:lnTo>
                  <a:lnTo>
                    <a:pt x="568" y="12"/>
                  </a:lnTo>
                  <a:lnTo>
                    <a:pt x="574" y="12"/>
                  </a:lnTo>
                  <a:lnTo>
                    <a:pt x="574" y="12"/>
                  </a:lnTo>
                  <a:lnTo>
                    <a:pt x="580" y="12"/>
                  </a:lnTo>
                  <a:lnTo>
                    <a:pt x="586" y="12"/>
                  </a:lnTo>
                  <a:lnTo>
                    <a:pt x="590" y="12"/>
                  </a:lnTo>
                  <a:lnTo>
                    <a:pt x="590" y="12"/>
                  </a:lnTo>
                  <a:lnTo>
                    <a:pt x="586" y="12"/>
                  </a:lnTo>
                  <a:lnTo>
                    <a:pt x="580" y="12"/>
                  </a:lnTo>
                  <a:lnTo>
                    <a:pt x="580" y="12"/>
                  </a:lnTo>
                  <a:close/>
                  <a:moveTo>
                    <a:pt x="544" y="18"/>
                  </a:moveTo>
                  <a:lnTo>
                    <a:pt x="538" y="18"/>
                  </a:lnTo>
                  <a:lnTo>
                    <a:pt x="544" y="18"/>
                  </a:lnTo>
                  <a:lnTo>
                    <a:pt x="550" y="18"/>
                  </a:lnTo>
                  <a:lnTo>
                    <a:pt x="550" y="18"/>
                  </a:lnTo>
                  <a:lnTo>
                    <a:pt x="556" y="18"/>
                  </a:lnTo>
                  <a:lnTo>
                    <a:pt x="562" y="18"/>
                  </a:lnTo>
                  <a:lnTo>
                    <a:pt x="556" y="18"/>
                  </a:lnTo>
                  <a:lnTo>
                    <a:pt x="556" y="12"/>
                  </a:lnTo>
                  <a:lnTo>
                    <a:pt x="562" y="12"/>
                  </a:lnTo>
                  <a:lnTo>
                    <a:pt x="562" y="12"/>
                  </a:lnTo>
                  <a:lnTo>
                    <a:pt x="568" y="12"/>
                  </a:lnTo>
                  <a:lnTo>
                    <a:pt x="574" y="18"/>
                  </a:lnTo>
                  <a:lnTo>
                    <a:pt x="574" y="18"/>
                  </a:lnTo>
                  <a:lnTo>
                    <a:pt x="580" y="18"/>
                  </a:lnTo>
                  <a:lnTo>
                    <a:pt x="574" y="18"/>
                  </a:lnTo>
                  <a:lnTo>
                    <a:pt x="574" y="18"/>
                  </a:lnTo>
                  <a:lnTo>
                    <a:pt x="568" y="18"/>
                  </a:lnTo>
                  <a:lnTo>
                    <a:pt x="562" y="18"/>
                  </a:lnTo>
                  <a:lnTo>
                    <a:pt x="562" y="22"/>
                  </a:lnTo>
                  <a:lnTo>
                    <a:pt x="556" y="22"/>
                  </a:lnTo>
                  <a:lnTo>
                    <a:pt x="556" y="18"/>
                  </a:lnTo>
                  <a:lnTo>
                    <a:pt x="550" y="18"/>
                  </a:lnTo>
                  <a:lnTo>
                    <a:pt x="550" y="22"/>
                  </a:lnTo>
                  <a:lnTo>
                    <a:pt x="550" y="22"/>
                  </a:lnTo>
                  <a:lnTo>
                    <a:pt x="544" y="22"/>
                  </a:lnTo>
                  <a:lnTo>
                    <a:pt x="544" y="18"/>
                  </a:lnTo>
                  <a:lnTo>
                    <a:pt x="544" y="18"/>
                  </a:lnTo>
                  <a:close/>
                  <a:moveTo>
                    <a:pt x="1166" y="52"/>
                  </a:moveTo>
                  <a:lnTo>
                    <a:pt x="1166" y="52"/>
                  </a:lnTo>
                  <a:lnTo>
                    <a:pt x="1160" y="52"/>
                  </a:lnTo>
                  <a:lnTo>
                    <a:pt x="1154" y="52"/>
                  </a:lnTo>
                  <a:lnTo>
                    <a:pt x="1154" y="52"/>
                  </a:lnTo>
                  <a:lnTo>
                    <a:pt x="1148" y="52"/>
                  </a:lnTo>
                  <a:lnTo>
                    <a:pt x="1142" y="52"/>
                  </a:lnTo>
                  <a:lnTo>
                    <a:pt x="1142" y="52"/>
                  </a:lnTo>
                  <a:lnTo>
                    <a:pt x="1136" y="52"/>
                  </a:lnTo>
                  <a:lnTo>
                    <a:pt x="1130" y="52"/>
                  </a:lnTo>
                  <a:lnTo>
                    <a:pt x="1130" y="58"/>
                  </a:lnTo>
                  <a:lnTo>
                    <a:pt x="1130" y="58"/>
                  </a:lnTo>
                  <a:lnTo>
                    <a:pt x="1124" y="58"/>
                  </a:lnTo>
                  <a:lnTo>
                    <a:pt x="1118" y="58"/>
                  </a:lnTo>
                  <a:lnTo>
                    <a:pt x="1112" y="58"/>
                  </a:lnTo>
                  <a:lnTo>
                    <a:pt x="1112" y="58"/>
                  </a:lnTo>
                  <a:lnTo>
                    <a:pt x="1112" y="52"/>
                  </a:lnTo>
                  <a:lnTo>
                    <a:pt x="1108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096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108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108" y="52"/>
                  </a:lnTo>
                  <a:lnTo>
                    <a:pt x="1112" y="52"/>
                  </a:lnTo>
                  <a:lnTo>
                    <a:pt x="1112" y="52"/>
                  </a:lnTo>
                  <a:lnTo>
                    <a:pt x="1112" y="52"/>
                  </a:lnTo>
                  <a:lnTo>
                    <a:pt x="1108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096" y="52"/>
                  </a:lnTo>
                  <a:lnTo>
                    <a:pt x="1090" y="52"/>
                  </a:lnTo>
                  <a:lnTo>
                    <a:pt x="1090" y="52"/>
                  </a:lnTo>
                  <a:lnTo>
                    <a:pt x="1090" y="46"/>
                  </a:lnTo>
                  <a:lnTo>
                    <a:pt x="1090" y="46"/>
                  </a:lnTo>
                  <a:lnTo>
                    <a:pt x="1096" y="46"/>
                  </a:lnTo>
                  <a:lnTo>
                    <a:pt x="1102" y="46"/>
                  </a:lnTo>
                  <a:lnTo>
                    <a:pt x="1102" y="46"/>
                  </a:lnTo>
                  <a:lnTo>
                    <a:pt x="1102" y="46"/>
                  </a:lnTo>
                  <a:lnTo>
                    <a:pt x="1096" y="46"/>
                  </a:lnTo>
                  <a:lnTo>
                    <a:pt x="1096" y="40"/>
                  </a:lnTo>
                  <a:lnTo>
                    <a:pt x="1102" y="40"/>
                  </a:lnTo>
                  <a:lnTo>
                    <a:pt x="1102" y="40"/>
                  </a:lnTo>
                  <a:lnTo>
                    <a:pt x="1108" y="40"/>
                  </a:lnTo>
                  <a:lnTo>
                    <a:pt x="1108" y="40"/>
                  </a:lnTo>
                  <a:lnTo>
                    <a:pt x="1112" y="40"/>
                  </a:lnTo>
                  <a:lnTo>
                    <a:pt x="1112" y="34"/>
                  </a:lnTo>
                  <a:lnTo>
                    <a:pt x="1112" y="34"/>
                  </a:lnTo>
                  <a:lnTo>
                    <a:pt x="1112" y="34"/>
                  </a:lnTo>
                  <a:lnTo>
                    <a:pt x="1108" y="34"/>
                  </a:lnTo>
                  <a:lnTo>
                    <a:pt x="1102" y="34"/>
                  </a:lnTo>
                  <a:lnTo>
                    <a:pt x="1108" y="34"/>
                  </a:lnTo>
                  <a:lnTo>
                    <a:pt x="1108" y="28"/>
                  </a:lnTo>
                  <a:lnTo>
                    <a:pt x="1112" y="28"/>
                  </a:lnTo>
                  <a:lnTo>
                    <a:pt x="1112" y="28"/>
                  </a:lnTo>
                  <a:lnTo>
                    <a:pt x="1112" y="28"/>
                  </a:lnTo>
                  <a:lnTo>
                    <a:pt x="1112" y="28"/>
                  </a:lnTo>
                  <a:lnTo>
                    <a:pt x="1118" y="28"/>
                  </a:lnTo>
                  <a:lnTo>
                    <a:pt x="1124" y="28"/>
                  </a:lnTo>
                  <a:lnTo>
                    <a:pt x="1130" y="28"/>
                  </a:lnTo>
                  <a:lnTo>
                    <a:pt x="1130" y="22"/>
                  </a:lnTo>
                  <a:lnTo>
                    <a:pt x="1130" y="22"/>
                  </a:lnTo>
                  <a:lnTo>
                    <a:pt x="1136" y="22"/>
                  </a:lnTo>
                  <a:lnTo>
                    <a:pt x="1142" y="22"/>
                  </a:lnTo>
                  <a:lnTo>
                    <a:pt x="1142" y="22"/>
                  </a:lnTo>
                  <a:lnTo>
                    <a:pt x="1142" y="18"/>
                  </a:lnTo>
                  <a:lnTo>
                    <a:pt x="1148" y="18"/>
                  </a:lnTo>
                  <a:lnTo>
                    <a:pt x="1154" y="18"/>
                  </a:lnTo>
                  <a:lnTo>
                    <a:pt x="1148" y="18"/>
                  </a:lnTo>
                  <a:lnTo>
                    <a:pt x="1142" y="18"/>
                  </a:lnTo>
                  <a:lnTo>
                    <a:pt x="1148" y="18"/>
                  </a:lnTo>
                  <a:lnTo>
                    <a:pt x="1154" y="18"/>
                  </a:lnTo>
                  <a:lnTo>
                    <a:pt x="1154" y="18"/>
                  </a:lnTo>
                  <a:lnTo>
                    <a:pt x="1160" y="22"/>
                  </a:lnTo>
                  <a:lnTo>
                    <a:pt x="1166" y="28"/>
                  </a:lnTo>
                  <a:lnTo>
                    <a:pt x="1166" y="28"/>
                  </a:lnTo>
                  <a:lnTo>
                    <a:pt x="1166" y="28"/>
                  </a:lnTo>
                  <a:lnTo>
                    <a:pt x="1170" y="28"/>
                  </a:lnTo>
                  <a:lnTo>
                    <a:pt x="1182" y="28"/>
                  </a:lnTo>
                  <a:lnTo>
                    <a:pt x="1182" y="34"/>
                  </a:lnTo>
                  <a:lnTo>
                    <a:pt x="1188" y="34"/>
                  </a:lnTo>
                  <a:lnTo>
                    <a:pt x="1182" y="40"/>
                  </a:lnTo>
                  <a:lnTo>
                    <a:pt x="1182" y="40"/>
                  </a:lnTo>
                  <a:lnTo>
                    <a:pt x="1176" y="40"/>
                  </a:lnTo>
                  <a:lnTo>
                    <a:pt x="1170" y="40"/>
                  </a:lnTo>
                  <a:lnTo>
                    <a:pt x="1170" y="40"/>
                  </a:lnTo>
                  <a:lnTo>
                    <a:pt x="1176" y="40"/>
                  </a:lnTo>
                  <a:lnTo>
                    <a:pt x="1176" y="46"/>
                  </a:lnTo>
                  <a:lnTo>
                    <a:pt x="1182" y="52"/>
                  </a:lnTo>
                  <a:lnTo>
                    <a:pt x="1176" y="52"/>
                  </a:lnTo>
                  <a:lnTo>
                    <a:pt x="1170" y="52"/>
                  </a:lnTo>
                  <a:lnTo>
                    <a:pt x="1166" y="52"/>
                  </a:lnTo>
                  <a:lnTo>
                    <a:pt x="1166" y="52"/>
                  </a:lnTo>
                  <a:close/>
                  <a:moveTo>
                    <a:pt x="648" y="28"/>
                  </a:moveTo>
                  <a:lnTo>
                    <a:pt x="654" y="28"/>
                  </a:lnTo>
                  <a:lnTo>
                    <a:pt x="654" y="28"/>
                  </a:lnTo>
                  <a:lnTo>
                    <a:pt x="660" y="28"/>
                  </a:lnTo>
                  <a:lnTo>
                    <a:pt x="666" y="28"/>
                  </a:lnTo>
                  <a:lnTo>
                    <a:pt x="666" y="28"/>
                  </a:lnTo>
                  <a:lnTo>
                    <a:pt x="672" y="28"/>
                  </a:lnTo>
                  <a:lnTo>
                    <a:pt x="678" y="28"/>
                  </a:lnTo>
                  <a:lnTo>
                    <a:pt x="672" y="28"/>
                  </a:lnTo>
                  <a:lnTo>
                    <a:pt x="672" y="22"/>
                  </a:lnTo>
                  <a:lnTo>
                    <a:pt x="678" y="22"/>
                  </a:lnTo>
                  <a:lnTo>
                    <a:pt x="678" y="22"/>
                  </a:lnTo>
                  <a:lnTo>
                    <a:pt x="684" y="22"/>
                  </a:lnTo>
                  <a:lnTo>
                    <a:pt x="690" y="22"/>
                  </a:lnTo>
                  <a:lnTo>
                    <a:pt x="690" y="22"/>
                  </a:lnTo>
                  <a:lnTo>
                    <a:pt x="690" y="28"/>
                  </a:lnTo>
                  <a:lnTo>
                    <a:pt x="690" y="28"/>
                  </a:lnTo>
                  <a:lnTo>
                    <a:pt x="690" y="34"/>
                  </a:lnTo>
                  <a:lnTo>
                    <a:pt x="684" y="34"/>
                  </a:lnTo>
                  <a:lnTo>
                    <a:pt x="678" y="34"/>
                  </a:lnTo>
                  <a:lnTo>
                    <a:pt x="678" y="34"/>
                  </a:lnTo>
                  <a:lnTo>
                    <a:pt x="672" y="34"/>
                  </a:lnTo>
                  <a:lnTo>
                    <a:pt x="666" y="34"/>
                  </a:lnTo>
                  <a:lnTo>
                    <a:pt x="666" y="34"/>
                  </a:lnTo>
                  <a:lnTo>
                    <a:pt x="666" y="40"/>
                  </a:lnTo>
                  <a:lnTo>
                    <a:pt x="660" y="40"/>
                  </a:lnTo>
                  <a:lnTo>
                    <a:pt x="654" y="40"/>
                  </a:lnTo>
                  <a:lnTo>
                    <a:pt x="654" y="34"/>
                  </a:lnTo>
                  <a:lnTo>
                    <a:pt x="654" y="34"/>
                  </a:lnTo>
                  <a:lnTo>
                    <a:pt x="648" y="34"/>
                  </a:lnTo>
                  <a:lnTo>
                    <a:pt x="648" y="28"/>
                  </a:lnTo>
                  <a:lnTo>
                    <a:pt x="648" y="28"/>
                  </a:lnTo>
                  <a:close/>
                  <a:moveTo>
                    <a:pt x="528" y="28"/>
                  </a:moveTo>
                  <a:lnTo>
                    <a:pt x="528" y="22"/>
                  </a:lnTo>
                  <a:lnTo>
                    <a:pt x="532" y="22"/>
                  </a:lnTo>
                  <a:lnTo>
                    <a:pt x="532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44" y="28"/>
                  </a:lnTo>
                  <a:lnTo>
                    <a:pt x="550" y="28"/>
                  </a:lnTo>
                  <a:lnTo>
                    <a:pt x="550" y="28"/>
                  </a:lnTo>
                  <a:lnTo>
                    <a:pt x="556" y="28"/>
                  </a:lnTo>
                  <a:lnTo>
                    <a:pt x="562" y="28"/>
                  </a:lnTo>
                  <a:lnTo>
                    <a:pt x="562" y="28"/>
                  </a:lnTo>
                  <a:lnTo>
                    <a:pt x="562" y="28"/>
                  </a:lnTo>
                  <a:lnTo>
                    <a:pt x="568" y="28"/>
                  </a:lnTo>
                  <a:lnTo>
                    <a:pt x="574" y="28"/>
                  </a:lnTo>
                  <a:lnTo>
                    <a:pt x="574" y="34"/>
                  </a:lnTo>
                  <a:lnTo>
                    <a:pt x="574" y="34"/>
                  </a:lnTo>
                  <a:lnTo>
                    <a:pt x="568" y="40"/>
                  </a:lnTo>
                  <a:lnTo>
                    <a:pt x="562" y="40"/>
                  </a:lnTo>
                  <a:lnTo>
                    <a:pt x="562" y="34"/>
                  </a:lnTo>
                  <a:lnTo>
                    <a:pt x="562" y="34"/>
                  </a:lnTo>
                  <a:lnTo>
                    <a:pt x="556" y="34"/>
                  </a:lnTo>
                  <a:lnTo>
                    <a:pt x="550" y="34"/>
                  </a:lnTo>
                  <a:lnTo>
                    <a:pt x="550" y="28"/>
                  </a:lnTo>
                  <a:lnTo>
                    <a:pt x="550" y="28"/>
                  </a:lnTo>
                  <a:lnTo>
                    <a:pt x="544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32" y="28"/>
                  </a:lnTo>
                  <a:lnTo>
                    <a:pt x="528" y="28"/>
                  </a:lnTo>
                  <a:lnTo>
                    <a:pt x="528" y="28"/>
                  </a:lnTo>
                  <a:close/>
                  <a:moveTo>
                    <a:pt x="412" y="52"/>
                  </a:moveTo>
                  <a:lnTo>
                    <a:pt x="412" y="46"/>
                  </a:lnTo>
                  <a:lnTo>
                    <a:pt x="418" y="46"/>
                  </a:lnTo>
                  <a:lnTo>
                    <a:pt x="422" y="52"/>
                  </a:lnTo>
                  <a:lnTo>
                    <a:pt x="422" y="52"/>
                  </a:lnTo>
                  <a:lnTo>
                    <a:pt x="428" y="52"/>
                  </a:lnTo>
                  <a:lnTo>
                    <a:pt x="434" y="46"/>
                  </a:lnTo>
                  <a:lnTo>
                    <a:pt x="428" y="46"/>
                  </a:lnTo>
                  <a:lnTo>
                    <a:pt x="422" y="46"/>
                  </a:lnTo>
                  <a:lnTo>
                    <a:pt x="428" y="46"/>
                  </a:lnTo>
                  <a:lnTo>
                    <a:pt x="434" y="46"/>
                  </a:lnTo>
                  <a:lnTo>
                    <a:pt x="434" y="40"/>
                  </a:lnTo>
                  <a:lnTo>
                    <a:pt x="428" y="40"/>
                  </a:lnTo>
                  <a:lnTo>
                    <a:pt x="422" y="40"/>
                  </a:lnTo>
                  <a:lnTo>
                    <a:pt x="422" y="46"/>
                  </a:lnTo>
                  <a:lnTo>
                    <a:pt x="422" y="40"/>
                  </a:lnTo>
                  <a:lnTo>
                    <a:pt x="422" y="40"/>
                  </a:lnTo>
                  <a:lnTo>
                    <a:pt x="428" y="40"/>
                  </a:lnTo>
                  <a:lnTo>
                    <a:pt x="434" y="40"/>
                  </a:lnTo>
                  <a:lnTo>
                    <a:pt x="440" y="40"/>
                  </a:lnTo>
                  <a:lnTo>
                    <a:pt x="440" y="40"/>
                  </a:lnTo>
                  <a:lnTo>
                    <a:pt x="446" y="40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8" y="34"/>
                  </a:lnTo>
                  <a:lnTo>
                    <a:pt x="452" y="34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2" y="34"/>
                  </a:lnTo>
                  <a:lnTo>
                    <a:pt x="446" y="34"/>
                  </a:lnTo>
                  <a:lnTo>
                    <a:pt x="452" y="34"/>
                  </a:lnTo>
                  <a:lnTo>
                    <a:pt x="452" y="34"/>
                  </a:lnTo>
                  <a:lnTo>
                    <a:pt x="452" y="28"/>
                  </a:lnTo>
                  <a:lnTo>
                    <a:pt x="458" y="28"/>
                  </a:lnTo>
                  <a:lnTo>
                    <a:pt x="464" y="28"/>
                  </a:lnTo>
                  <a:lnTo>
                    <a:pt x="464" y="28"/>
                  </a:lnTo>
                  <a:lnTo>
                    <a:pt x="464" y="28"/>
                  </a:lnTo>
                  <a:lnTo>
                    <a:pt x="470" y="28"/>
                  </a:lnTo>
                  <a:lnTo>
                    <a:pt x="474" y="28"/>
                  </a:lnTo>
                  <a:lnTo>
                    <a:pt x="474" y="28"/>
                  </a:lnTo>
                  <a:lnTo>
                    <a:pt x="470" y="34"/>
                  </a:lnTo>
                  <a:lnTo>
                    <a:pt x="464" y="34"/>
                  </a:lnTo>
                  <a:lnTo>
                    <a:pt x="470" y="34"/>
                  </a:lnTo>
                  <a:lnTo>
                    <a:pt x="474" y="34"/>
                  </a:lnTo>
                  <a:lnTo>
                    <a:pt x="474" y="34"/>
                  </a:lnTo>
                  <a:lnTo>
                    <a:pt x="480" y="34"/>
                  </a:lnTo>
                  <a:lnTo>
                    <a:pt x="486" y="34"/>
                  </a:lnTo>
                  <a:lnTo>
                    <a:pt x="486" y="40"/>
                  </a:lnTo>
                  <a:lnTo>
                    <a:pt x="480" y="40"/>
                  </a:lnTo>
                  <a:lnTo>
                    <a:pt x="474" y="40"/>
                  </a:lnTo>
                  <a:lnTo>
                    <a:pt x="474" y="40"/>
                  </a:lnTo>
                  <a:lnTo>
                    <a:pt x="474" y="40"/>
                  </a:lnTo>
                  <a:lnTo>
                    <a:pt x="470" y="40"/>
                  </a:lnTo>
                  <a:lnTo>
                    <a:pt x="464" y="40"/>
                  </a:lnTo>
                  <a:lnTo>
                    <a:pt x="464" y="40"/>
                  </a:lnTo>
                  <a:lnTo>
                    <a:pt x="458" y="40"/>
                  </a:lnTo>
                  <a:lnTo>
                    <a:pt x="458" y="46"/>
                  </a:lnTo>
                  <a:lnTo>
                    <a:pt x="452" y="46"/>
                  </a:lnTo>
                  <a:lnTo>
                    <a:pt x="452" y="46"/>
                  </a:lnTo>
                  <a:lnTo>
                    <a:pt x="446" y="46"/>
                  </a:lnTo>
                  <a:lnTo>
                    <a:pt x="440" y="46"/>
                  </a:lnTo>
                  <a:lnTo>
                    <a:pt x="440" y="52"/>
                  </a:lnTo>
                  <a:lnTo>
                    <a:pt x="446" y="52"/>
                  </a:lnTo>
                  <a:lnTo>
                    <a:pt x="446" y="52"/>
                  </a:lnTo>
                  <a:lnTo>
                    <a:pt x="440" y="52"/>
                  </a:lnTo>
                  <a:lnTo>
                    <a:pt x="440" y="52"/>
                  </a:lnTo>
                  <a:lnTo>
                    <a:pt x="440" y="52"/>
                  </a:lnTo>
                  <a:lnTo>
                    <a:pt x="440" y="52"/>
                  </a:lnTo>
                  <a:lnTo>
                    <a:pt x="434" y="52"/>
                  </a:lnTo>
                  <a:lnTo>
                    <a:pt x="428" y="52"/>
                  </a:lnTo>
                  <a:lnTo>
                    <a:pt x="422" y="52"/>
                  </a:lnTo>
                  <a:lnTo>
                    <a:pt x="422" y="58"/>
                  </a:lnTo>
                  <a:lnTo>
                    <a:pt x="422" y="52"/>
                  </a:lnTo>
                  <a:lnTo>
                    <a:pt x="428" y="52"/>
                  </a:lnTo>
                  <a:lnTo>
                    <a:pt x="428" y="52"/>
                  </a:lnTo>
                  <a:lnTo>
                    <a:pt x="422" y="52"/>
                  </a:lnTo>
                  <a:lnTo>
                    <a:pt x="422" y="52"/>
                  </a:lnTo>
                  <a:lnTo>
                    <a:pt x="418" y="52"/>
                  </a:lnTo>
                  <a:lnTo>
                    <a:pt x="412" y="52"/>
                  </a:lnTo>
                  <a:lnTo>
                    <a:pt x="412" y="52"/>
                  </a:lnTo>
                  <a:lnTo>
                    <a:pt x="412" y="52"/>
                  </a:lnTo>
                  <a:lnTo>
                    <a:pt x="412" y="52"/>
                  </a:lnTo>
                  <a:close/>
                  <a:moveTo>
                    <a:pt x="602" y="40"/>
                  </a:moveTo>
                  <a:lnTo>
                    <a:pt x="602" y="40"/>
                  </a:lnTo>
                  <a:lnTo>
                    <a:pt x="602" y="34"/>
                  </a:lnTo>
                  <a:lnTo>
                    <a:pt x="602" y="34"/>
                  </a:lnTo>
                  <a:lnTo>
                    <a:pt x="608" y="34"/>
                  </a:lnTo>
                  <a:lnTo>
                    <a:pt x="608" y="28"/>
                  </a:lnTo>
                  <a:lnTo>
                    <a:pt x="614" y="28"/>
                  </a:lnTo>
                  <a:lnTo>
                    <a:pt x="614" y="28"/>
                  </a:lnTo>
                  <a:lnTo>
                    <a:pt x="614" y="34"/>
                  </a:lnTo>
                  <a:lnTo>
                    <a:pt x="614" y="34"/>
                  </a:lnTo>
                  <a:lnTo>
                    <a:pt x="614" y="34"/>
                  </a:lnTo>
                  <a:lnTo>
                    <a:pt x="620" y="34"/>
                  </a:lnTo>
                  <a:lnTo>
                    <a:pt x="626" y="34"/>
                  </a:lnTo>
                  <a:lnTo>
                    <a:pt x="626" y="28"/>
                  </a:lnTo>
                  <a:lnTo>
                    <a:pt x="632" y="28"/>
                  </a:lnTo>
                  <a:lnTo>
                    <a:pt x="638" y="28"/>
                  </a:lnTo>
                  <a:lnTo>
                    <a:pt x="644" y="28"/>
                  </a:lnTo>
                  <a:lnTo>
                    <a:pt x="644" y="28"/>
                  </a:lnTo>
                  <a:lnTo>
                    <a:pt x="644" y="34"/>
                  </a:lnTo>
                  <a:lnTo>
                    <a:pt x="644" y="40"/>
                  </a:lnTo>
                  <a:lnTo>
                    <a:pt x="644" y="40"/>
                  </a:lnTo>
                  <a:lnTo>
                    <a:pt x="644" y="40"/>
                  </a:lnTo>
                  <a:lnTo>
                    <a:pt x="644" y="40"/>
                  </a:lnTo>
                  <a:lnTo>
                    <a:pt x="638" y="40"/>
                  </a:lnTo>
                  <a:lnTo>
                    <a:pt x="638" y="40"/>
                  </a:lnTo>
                  <a:lnTo>
                    <a:pt x="632" y="40"/>
                  </a:lnTo>
                  <a:lnTo>
                    <a:pt x="626" y="46"/>
                  </a:lnTo>
                  <a:lnTo>
                    <a:pt x="626" y="46"/>
                  </a:lnTo>
                  <a:lnTo>
                    <a:pt x="620" y="46"/>
                  </a:lnTo>
                  <a:lnTo>
                    <a:pt x="620" y="40"/>
                  </a:lnTo>
                  <a:lnTo>
                    <a:pt x="614" y="40"/>
                  </a:lnTo>
                  <a:lnTo>
                    <a:pt x="614" y="40"/>
                  </a:lnTo>
                  <a:lnTo>
                    <a:pt x="608" y="46"/>
                  </a:lnTo>
                  <a:lnTo>
                    <a:pt x="602" y="46"/>
                  </a:lnTo>
                  <a:lnTo>
                    <a:pt x="602" y="40"/>
                  </a:lnTo>
                  <a:lnTo>
                    <a:pt x="602" y="40"/>
                  </a:lnTo>
                  <a:lnTo>
                    <a:pt x="602" y="40"/>
                  </a:lnTo>
                  <a:close/>
                  <a:moveTo>
                    <a:pt x="400" y="46"/>
                  </a:moveTo>
                  <a:lnTo>
                    <a:pt x="400" y="40"/>
                  </a:lnTo>
                  <a:lnTo>
                    <a:pt x="400" y="40"/>
                  </a:lnTo>
                  <a:lnTo>
                    <a:pt x="394" y="40"/>
                  </a:lnTo>
                  <a:lnTo>
                    <a:pt x="388" y="40"/>
                  </a:lnTo>
                  <a:lnTo>
                    <a:pt x="388" y="40"/>
                  </a:lnTo>
                  <a:lnTo>
                    <a:pt x="388" y="40"/>
                  </a:lnTo>
                  <a:lnTo>
                    <a:pt x="382" y="40"/>
                  </a:lnTo>
                  <a:lnTo>
                    <a:pt x="388" y="40"/>
                  </a:lnTo>
                  <a:lnTo>
                    <a:pt x="388" y="40"/>
                  </a:lnTo>
                  <a:lnTo>
                    <a:pt x="394" y="40"/>
                  </a:lnTo>
                  <a:lnTo>
                    <a:pt x="400" y="40"/>
                  </a:lnTo>
                  <a:lnTo>
                    <a:pt x="400" y="40"/>
                  </a:lnTo>
                  <a:lnTo>
                    <a:pt x="406" y="40"/>
                  </a:lnTo>
                  <a:lnTo>
                    <a:pt x="412" y="34"/>
                  </a:lnTo>
                  <a:lnTo>
                    <a:pt x="406" y="34"/>
                  </a:lnTo>
                  <a:lnTo>
                    <a:pt x="412" y="34"/>
                  </a:lnTo>
                  <a:lnTo>
                    <a:pt x="412" y="34"/>
                  </a:lnTo>
                  <a:lnTo>
                    <a:pt x="418" y="34"/>
                  </a:lnTo>
                  <a:lnTo>
                    <a:pt x="418" y="28"/>
                  </a:lnTo>
                  <a:lnTo>
                    <a:pt x="422" y="28"/>
                  </a:lnTo>
                  <a:lnTo>
                    <a:pt x="422" y="28"/>
                  </a:lnTo>
                  <a:lnTo>
                    <a:pt x="422" y="34"/>
                  </a:lnTo>
                  <a:lnTo>
                    <a:pt x="428" y="34"/>
                  </a:lnTo>
                  <a:lnTo>
                    <a:pt x="434" y="34"/>
                  </a:lnTo>
                  <a:lnTo>
                    <a:pt x="440" y="34"/>
                  </a:lnTo>
                  <a:lnTo>
                    <a:pt x="440" y="34"/>
                  </a:lnTo>
                  <a:lnTo>
                    <a:pt x="440" y="34"/>
                  </a:lnTo>
                  <a:lnTo>
                    <a:pt x="440" y="40"/>
                  </a:lnTo>
                  <a:lnTo>
                    <a:pt x="440" y="40"/>
                  </a:lnTo>
                  <a:lnTo>
                    <a:pt x="434" y="40"/>
                  </a:lnTo>
                  <a:lnTo>
                    <a:pt x="428" y="40"/>
                  </a:lnTo>
                  <a:lnTo>
                    <a:pt x="428" y="34"/>
                  </a:lnTo>
                  <a:lnTo>
                    <a:pt x="422" y="34"/>
                  </a:lnTo>
                  <a:lnTo>
                    <a:pt x="422" y="34"/>
                  </a:lnTo>
                  <a:lnTo>
                    <a:pt x="422" y="40"/>
                  </a:lnTo>
                  <a:lnTo>
                    <a:pt x="418" y="40"/>
                  </a:lnTo>
                  <a:lnTo>
                    <a:pt x="412" y="40"/>
                  </a:lnTo>
                  <a:lnTo>
                    <a:pt x="412" y="40"/>
                  </a:lnTo>
                  <a:lnTo>
                    <a:pt x="406" y="40"/>
                  </a:lnTo>
                  <a:lnTo>
                    <a:pt x="412" y="40"/>
                  </a:lnTo>
                  <a:lnTo>
                    <a:pt x="406" y="40"/>
                  </a:lnTo>
                  <a:lnTo>
                    <a:pt x="400" y="46"/>
                  </a:lnTo>
                  <a:lnTo>
                    <a:pt x="400" y="46"/>
                  </a:lnTo>
                  <a:close/>
                  <a:moveTo>
                    <a:pt x="574" y="52"/>
                  </a:moveTo>
                  <a:lnTo>
                    <a:pt x="574" y="52"/>
                  </a:lnTo>
                  <a:lnTo>
                    <a:pt x="568" y="52"/>
                  </a:lnTo>
                  <a:lnTo>
                    <a:pt x="568" y="46"/>
                  </a:lnTo>
                  <a:lnTo>
                    <a:pt x="568" y="40"/>
                  </a:lnTo>
                  <a:lnTo>
                    <a:pt x="562" y="40"/>
                  </a:lnTo>
                  <a:lnTo>
                    <a:pt x="568" y="40"/>
                  </a:lnTo>
                  <a:lnTo>
                    <a:pt x="574" y="40"/>
                  </a:lnTo>
                  <a:lnTo>
                    <a:pt x="574" y="40"/>
                  </a:lnTo>
                  <a:lnTo>
                    <a:pt x="580" y="40"/>
                  </a:lnTo>
                  <a:lnTo>
                    <a:pt x="590" y="40"/>
                  </a:lnTo>
                  <a:lnTo>
                    <a:pt x="590" y="46"/>
                  </a:lnTo>
                  <a:lnTo>
                    <a:pt x="596" y="46"/>
                  </a:lnTo>
                  <a:lnTo>
                    <a:pt x="602" y="46"/>
                  </a:lnTo>
                  <a:lnTo>
                    <a:pt x="602" y="52"/>
                  </a:lnTo>
                  <a:lnTo>
                    <a:pt x="590" y="46"/>
                  </a:lnTo>
                  <a:lnTo>
                    <a:pt x="590" y="46"/>
                  </a:lnTo>
                  <a:lnTo>
                    <a:pt x="590" y="52"/>
                  </a:lnTo>
                  <a:lnTo>
                    <a:pt x="586" y="52"/>
                  </a:lnTo>
                  <a:lnTo>
                    <a:pt x="580" y="52"/>
                  </a:lnTo>
                  <a:lnTo>
                    <a:pt x="586" y="52"/>
                  </a:lnTo>
                  <a:lnTo>
                    <a:pt x="590" y="52"/>
                  </a:lnTo>
                  <a:lnTo>
                    <a:pt x="590" y="52"/>
                  </a:lnTo>
                  <a:lnTo>
                    <a:pt x="586" y="52"/>
                  </a:lnTo>
                  <a:lnTo>
                    <a:pt x="580" y="52"/>
                  </a:lnTo>
                  <a:lnTo>
                    <a:pt x="580" y="52"/>
                  </a:lnTo>
                  <a:lnTo>
                    <a:pt x="580" y="52"/>
                  </a:lnTo>
                  <a:lnTo>
                    <a:pt x="574" y="52"/>
                  </a:lnTo>
                  <a:lnTo>
                    <a:pt x="574" y="52"/>
                  </a:lnTo>
                  <a:close/>
                  <a:moveTo>
                    <a:pt x="550" y="52"/>
                  </a:moveTo>
                  <a:lnTo>
                    <a:pt x="550" y="52"/>
                  </a:lnTo>
                  <a:lnTo>
                    <a:pt x="550" y="52"/>
                  </a:lnTo>
                  <a:lnTo>
                    <a:pt x="550" y="46"/>
                  </a:lnTo>
                  <a:lnTo>
                    <a:pt x="550" y="46"/>
                  </a:lnTo>
                  <a:lnTo>
                    <a:pt x="556" y="46"/>
                  </a:lnTo>
                  <a:lnTo>
                    <a:pt x="562" y="46"/>
                  </a:lnTo>
                  <a:lnTo>
                    <a:pt x="562" y="46"/>
                  </a:lnTo>
                  <a:lnTo>
                    <a:pt x="568" y="46"/>
                  </a:lnTo>
                  <a:lnTo>
                    <a:pt x="568" y="52"/>
                  </a:lnTo>
                  <a:lnTo>
                    <a:pt x="568" y="52"/>
                  </a:lnTo>
                  <a:lnTo>
                    <a:pt x="562" y="52"/>
                  </a:lnTo>
                  <a:lnTo>
                    <a:pt x="562" y="58"/>
                  </a:lnTo>
                  <a:lnTo>
                    <a:pt x="562" y="58"/>
                  </a:lnTo>
                  <a:lnTo>
                    <a:pt x="562" y="52"/>
                  </a:lnTo>
                  <a:lnTo>
                    <a:pt x="556" y="52"/>
                  </a:lnTo>
                  <a:lnTo>
                    <a:pt x="550" y="52"/>
                  </a:lnTo>
                  <a:lnTo>
                    <a:pt x="550" y="52"/>
                  </a:lnTo>
                  <a:lnTo>
                    <a:pt x="544" y="52"/>
                  </a:lnTo>
                  <a:lnTo>
                    <a:pt x="550" y="52"/>
                  </a:lnTo>
                  <a:lnTo>
                    <a:pt x="550" y="52"/>
                  </a:lnTo>
                  <a:close/>
                  <a:moveTo>
                    <a:pt x="1112" y="76"/>
                  </a:moveTo>
                  <a:lnTo>
                    <a:pt x="1112" y="76"/>
                  </a:lnTo>
                  <a:lnTo>
                    <a:pt x="1112" y="76"/>
                  </a:lnTo>
                  <a:lnTo>
                    <a:pt x="1112" y="76"/>
                  </a:lnTo>
                  <a:lnTo>
                    <a:pt x="1108" y="70"/>
                  </a:lnTo>
                  <a:lnTo>
                    <a:pt x="1112" y="70"/>
                  </a:lnTo>
                  <a:lnTo>
                    <a:pt x="1112" y="76"/>
                  </a:lnTo>
                  <a:lnTo>
                    <a:pt x="1112" y="76"/>
                  </a:lnTo>
                  <a:lnTo>
                    <a:pt x="1118" y="70"/>
                  </a:lnTo>
                  <a:lnTo>
                    <a:pt x="1124" y="70"/>
                  </a:lnTo>
                  <a:lnTo>
                    <a:pt x="1124" y="64"/>
                  </a:lnTo>
                  <a:lnTo>
                    <a:pt x="1130" y="64"/>
                  </a:lnTo>
                  <a:lnTo>
                    <a:pt x="1130" y="64"/>
                  </a:lnTo>
                  <a:lnTo>
                    <a:pt x="1136" y="64"/>
                  </a:lnTo>
                  <a:lnTo>
                    <a:pt x="1136" y="64"/>
                  </a:lnTo>
                  <a:lnTo>
                    <a:pt x="1130" y="64"/>
                  </a:lnTo>
                  <a:lnTo>
                    <a:pt x="1130" y="58"/>
                  </a:lnTo>
                  <a:lnTo>
                    <a:pt x="1136" y="58"/>
                  </a:lnTo>
                  <a:lnTo>
                    <a:pt x="1142" y="58"/>
                  </a:lnTo>
                  <a:lnTo>
                    <a:pt x="1142" y="52"/>
                  </a:lnTo>
                  <a:lnTo>
                    <a:pt x="1142" y="52"/>
                  </a:lnTo>
                  <a:lnTo>
                    <a:pt x="1142" y="58"/>
                  </a:lnTo>
                  <a:lnTo>
                    <a:pt x="1148" y="58"/>
                  </a:lnTo>
                  <a:lnTo>
                    <a:pt x="1148" y="52"/>
                  </a:lnTo>
                  <a:lnTo>
                    <a:pt x="1154" y="52"/>
                  </a:lnTo>
                  <a:lnTo>
                    <a:pt x="1154" y="52"/>
                  </a:lnTo>
                  <a:lnTo>
                    <a:pt x="1160" y="52"/>
                  </a:lnTo>
                  <a:lnTo>
                    <a:pt x="1166" y="52"/>
                  </a:lnTo>
                  <a:lnTo>
                    <a:pt x="1166" y="52"/>
                  </a:lnTo>
                  <a:lnTo>
                    <a:pt x="1170" y="52"/>
                  </a:lnTo>
                  <a:lnTo>
                    <a:pt x="1176" y="52"/>
                  </a:lnTo>
                  <a:lnTo>
                    <a:pt x="1182" y="52"/>
                  </a:lnTo>
                  <a:lnTo>
                    <a:pt x="1182" y="52"/>
                  </a:lnTo>
                  <a:lnTo>
                    <a:pt x="1188" y="58"/>
                  </a:lnTo>
                  <a:lnTo>
                    <a:pt x="1182" y="64"/>
                  </a:lnTo>
                  <a:lnTo>
                    <a:pt x="1182" y="64"/>
                  </a:lnTo>
                  <a:lnTo>
                    <a:pt x="1176" y="64"/>
                  </a:lnTo>
                  <a:lnTo>
                    <a:pt x="1182" y="64"/>
                  </a:lnTo>
                  <a:lnTo>
                    <a:pt x="1182" y="64"/>
                  </a:lnTo>
                  <a:lnTo>
                    <a:pt x="1182" y="64"/>
                  </a:lnTo>
                  <a:lnTo>
                    <a:pt x="1188" y="64"/>
                  </a:lnTo>
                  <a:lnTo>
                    <a:pt x="1188" y="64"/>
                  </a:lnTo>
                  <a:lnTo>
                    <a:pt x="1194" y="64"/>
                  </a:lnTo>
                  <a:lnTo>
                    <a:pt x="1194" y="58"/>
                  </a:lnTo>
                  <a:lnTo>
                    <a:pt x="1200" y="58"/>
                  </a:lnTo>
                  <a:lnTo>
                    <a:pt x="1200" y="58"/>
                  </a:lnTo>
                  <a:lnTo>
                    <a:pt x="1206" y="58"/>
                  </a:lnTo>
                  <a:lnTo>
                    <a:pt x="1212" y="58"/>
                  </a:lnTo>
                  <a:lnTo>
                    <a:pt x="1212" y="64"/>
                  </a:lnTo>
                  <a:lnTo>
                    <a:pt x="1218" y="64"/>
                  </a:lnTo>
                  <a:lnTo>
                    <a:pt x="1218" y="64"/>
                  </a:lnTo>
                  <a:lnTo>
                    <a:pt x="1218" y="64"/>
                  </a:lnTo>
                  <a:lnTo>
                    <a:pt x="1218" y="64"/>
                  </a:lnTo>
                  <a:lnTo>
                    <a:pt x="1218" y="70"/>
                  </a:lnTo>
                  <a:lnTo>
                    <a:pt x="1212" y="70"/>
                  </a:lnTo>
                  <a:lnTo>
                    <a:pt x="1212" y="76"/>
                  </a:lnTo>
                  <a:lnTo>
                    <a:pt x="1212" y="76"/>
                  </a:lnTo>
                  <a:lnTo>
                    <a:pt x="1218" y="76"/>
                  </a:lnTo>
                  <a:lnTo>
                    <a:pt x="1212" y="76"/>
                  </a:lnTo>
                  <a:lnTo>
                    <a:pt x="1212" y="80"/>
                  </a:lnTo>
                  <a:lnTo>
                    <a:pt x="1206" y="80"/>
                  </a:lnTo>
                  <a:lnTo>
                    <a:pt x="1206" y="76"/>
                  </a:lnTo>
                  <a:lnTo>
                    <a:pt x="1200" y="76"/>
                  </a:lnTo>
                  <a:lnTo>
                    <a:pt x="1200" y="80"/>
                  </a:lnTo>
                  <a:lnTo>
                    <a:pt x="1206" y="80"/>
                  </a:lnTo>
                  <a:lnTo>
                    <a:pt x="1212" y="80"/>
                  </a:lnTo>
                  <a:lnTo>
                    <a:pt x="1212" y="86"/>
                  </a:lnTo>
                  <a:lnTo>
                    <a:pt x="1218" y="86"/>
                  </a:lnTo>
                  <a:lnTo>
                    <a:pt x="1218" y="92"/>
                  </a:lnTo>
                  <a:lnTo>
                    <a:pt x="1212" y="92"/>
                  </a:lnTo>
                  <a:lnTo>
                    <a:pt x="1206" y="92"/>
                  </a:lnTo>
                  <a:lnTo>
                    <a:pt x="1200" y="92"/>
                  </a:lnTo>
                  <a:lnTo>
                    <a:pt x="1200" y="92"/>
                  </a:lnTo>
                  <a:lnTo>
                    <a:pt x="1194" y="92"/>
                  </a:lnTo>
                  <a:lnTo>
                    <a:pt x="1194" y="98"/>
                  </a:lnTo>
                  <a:lnTo>
                    <a:pt x="1188" y="92"/>
                  </a:lnTo>
                  <a:lnTo>
                    <a:pt x="1188" y="92"/>
                  </a:lnTo>
                  <a:lnTo>
                    <a:pt x="1182" y="92"/>
                  </a:lnTo>
                  <a:lnTo>
                    <a:pt x="1182" y="92"/>
                  </a:lnTo>
                  <a:lnTo>
                    <a:pt x="1176" y="92"/>
                  </a:lnTo>
                  <a:lnTo>
                    <a:pt x="1170" y="92"/>
                  </a:lnTo>
                  <a:lnTo>
                    <a:pt x="1170" y="92"/>
                  </a:lnTo>
                  <a:lnTo>
                    <a:pt x="1166" y="92"/>
                  </a:lnTo>
                  <a:lnTo>
                    <a:pt x="1166" y="92"/>
                  </a:lnTo>
                  <a:lnTo>
                    <a:pt x="1160" y="92"/>
                  </a:lnTo>
                  <a:lnTo>
                    <a:pt x="1166" y="92"/>
                  </a:lnTo>
                  <a:lnTo>
                    <a:pt x="1160" y="92"/>
                  </a:lnTo>
                  <a:lnTo>
                    <a:pt x="1154" y="92"/>
                  </a:lnTo>
                  <a:lnTo>
                    <a:pt x="1154" y="92"/>
                  </a:lnTo>
                  <a:lnTo>
                    <a:pt x="1154" y="86"/>
                  </a:lnTo>
                  <a:lnTo>
                    <a:pt x="1148" y="86"/>
                  </a:lnTo>
                  <a:lnTo>
                    <a:pt x="1142" y="86"/>
                  </a:lnTo>
                  <a:lnTo>
                    <a:pt x="1142" y="86"/>
                  </a:lnTo>
                  <a:lnTo>
                    <a:pt x="1136" y="86"/>
                  </a:lnTo>
                  <a:lnTo>
                    <a:pt x="1136" y="80"/>
                  </a:lnTo>
                  <a:lnTo>
                    <a:pt x="1130" y="80"/>
                  </a:lnTo>
                  <a:lnTo>
                    <a:pt x="1130" y="76"/>
                  </a:lnTo>
                  <a:lnTo>
                    <a:pt x="1130" y="76"/>
                  </a:lnTo>
                  <a:lnTo>
                    <a:pt x="1130" y="76"/>
                  </a:lnTo>
                  <a:lnTo>
                    <a:pt x="1124" y="76"/>
                  </a:lnTo>
                  <a:lnTo>
                    <a:pt x="1130" y="76"/>
                  </a:lnTo>
                  <a:lnTo>
                    <a:pt x="1124" y="76"/>
                  </a:lnTo>
                  <a:lnTo>
                    <a:pt x="1124" y="70"/>
                  </a:lnTo>
                  <a:lnTo>
                    <a:pt x="1118" y="76"/>
                  </a:lnTo>
                  <a:lnTo>
                    <a:pt x="1112" y="76"/>
                  </a:lnTo>
                  <a:lnTo>
                    <a:pt x="1112" y="76"/>
                  </a:lnTo>
                  <a:close/>
                  <a:moveTo>
                    <a:pt x="1084" y="58"/>
                  </a:moveTo>
                  <a:lnTo>
                    <a:pt x="1078" y="58"/>
                  </a:lnTo>
                  <a:lnTo>
                    <a:pt x="1084" y="58"/>
                  </a:lnTo>
                  <a:lnTo>
                    <a:pt x="1090" y="58"/>
                  </a:lnTo>
                  <a:lnTo>
                    <a:pt x="1090" y="58"/>
                  </a:lnTo>
                  <a:lnTo>
                    <a:pt x="1096" y="58"/>
                  </a:lnTo>
                  <a:lnTo>
                    <a:pt x="1102" y="58"/>
                  </a:lnTo>
                  <a:lnTo>
                    <a:pt x="1102" y="58"/>
                  </a:lnTo>
                  <a:lnTo>
                    <a:pt x="1108" y="58"/>
                  </a:lnTo>
                  <a:lnTo>
                    <a:pt x="1112" y="58"/>
                  </a:lnTo>
                  <a:lnTo>
                    <a:pt x="1112" y="58"/>
                  </a:lnTo>
                  <a:lnTo>
                    <a:pt x="1118" y="58"/>
                  </a:lnTo>
                  <a:lnTo>
                    <a:pt x="1124" y="64"/>
                  </a:lnTo>
                  <a:lnTo>
                    <a:pt x="1118" y="64"/>
                  </a:lnTo>
                  <a:lnTo>
                    <a:pt x="1118" y="64"/>
                  </a:lnTo>
                  <a:lnTo>
                    <a:pt x="1112" y="64"/>
                  </a:lnTo>
                  <a:lnTo>
                    <a:pt x="1112" y="64"/>
                  </a:lnTo>
                  <a:lnTo>
                    <a:pt x="1108" y="64"/>
                  </a:lnTo>
                  <a:lnTo>
                    <a:pt x="1108" y="70"/>
                  </a:lnTo>
                  <a:lnTo>
                    <a:pt x="1102" y="70"/>
                  </a:lnTo>
                  <a:lnTo>
                    <a:pt x="1102" y="70"/>
                  </a:lnTo>
                  <a:lnTo>
                    <a:pt x="1096" y="70"/>
                  </a:lnTo>
                  <a:lnTo>
                    <a:pt x="1096" y="64"/>
                  </a:lnTo>
                  <a:lnTo>
                    <a:pt x="1102" y="64"/>
                  </a:lnTo>
                  <a:lnTo>
                    <a:pt x="1096" y="64"/>
                  </a:lnTo>
                  <a:lnTo>
                    <a:pt x="1090" y="64"/>
                  </a:lnTo>
                  <a:lnTo>
                    <a:pt x="1084" y="64"/>
                  </a:lnTo>
                  <a:lnTo>
                    <a:pt x="1084" y="58"/>
                  </a:lnTo>
                  <a:lnTo>
                    <a:pt x="1084" y="58"/>
                  </a:lnTo>
                  <a:close/>
                  <a:moveTo>
                    <a:pt x="1218" y="70"/>
                  </a:moveTo>
                  <a:lnTo>
                    <a:pt x="1218" y="64"/>
                  </a:lnTo>
                  <a:lnTo>
                    <a:pt x="1218" y="64"/>
                  </a:lnTo>
                  <a:lnTo>
                    <a:pt x="1224" y="70"/>
                  </a:lnTo>
                  <a:lnTo>
                    <a:pt x="1218" y="70"/>
                  </a:lnTo>
                  <a:lnTo>
                    <a:pt x="1218" y="70"/>
                  </a:lnTo>
                  <a:lnTo>
                    <a:pt x="1218" y="70"/>
                  </a:lnTo>
                  <a:close/>
                  <a:moveTo>
                    <a:pt x="864" y="76"/>
                  </a:moveTo>
                  <a:lnTo>
                    <a:pt x="858" y="76"/>
                  </a:lnTo>
                  <a:lnTo>
                    <a:pt x="858" y="70"/>
                  </a:lnTo>
                  <a:lnTo>
                    <a:pt x="858" y="70"/>
                  </a:lnTo>
                  <a:lnTo>
                    <a:pt x="864" y="70"/>
                  </a:lnTo>
                  <a:lnTo>
                    <a:pt x="870" y="70"/>
                  </a:lnTo>
                  <a:lnTo>
                    <a:pt x="870" y="70"/>
                  </a:lnTo>
                  <a:lnTo>
                    <a:pt x="870" y="76"/>
                  </a:lnTo>
                  <a:lnTo>
                    <a:pt x="876" y="76"/>
                  </a:lnTo>
                  <a:lnTo>
                    <a:pt x="880" y="76"/>
                  </a:lnTo>
                  <a:lnTo>
                    <a:pt x="876" y="76"/>
                  </a:lnTo>
                  <a:lnTo>
                    <a:pt x="870" y="76"/>
                  </a:lnTo>
                  <a:lnTo>
                    <a:pt x="870" y="76"/>
                  </a:lnTo>
                  <a:lnTo>
                    <a:pt x="864" y="76"/>
                  </a:lnTo>
                  <a:lnTo>
                    <a:pt x="864" y="76"/>
                  </a:lnTo>
                  <a:close/>
                  <a:moveTo>
                    <a:pt x="1090" y="76"/>
                  </a:moveTo>
                  <a:lnTo>
                    <a:pt x="1096" y="76"/>
                  </a:lnTo>
                  <a:lnTo>
                    <a:pt x="1102" y="76"/>
                  </a:lnTo>
                  <a:lnTo>
                    <a:pt x="1102" y="76"/>
                  </a:lnTo>
                  <a:lnTo>
                    <a:pt x="1102" y="76"/>
                  </a:lnTo>
                  <a:lnTo>
                    <a:pt x="1102" y="76"/>
                  </a:lnTo>
                  <a:lnTo>
                    <a:pt x="1096" y="76"/>
                  </a:lnTo>
                  <a:lnTo>
                    <a:pt x="1090" y="76"/>
                  </a:lnTo>
                  <a:lnTo>
                    <a:pt x="1090" y="76"/>
                  </a:lnTo>
                  <a:close/>
                  <a:moveTo>
                    <a:pt x="1102" y="76"/>
                  </a:moveTo>
                  <a:lnTo>
                    <a:pt x="1108" y="76"/>
                  </a:lnTo>
                  <a:lnTo>
                    <a:pt x="1112" y="76"/>
                  </a:lnTo>
                  <a:lnTo>
                    <a:pt x="1112" y="76"/>
                  </a:lnTo>
                  <a:lnTo>
                    <a:pt x="1108" y="76"/>
                  </a:lnTo>
                  <a:lnTo>
                    <a:pt x="1102" y="76"/>
                  </a:lnTo>
                  <a:lnTo>
                    <a:pt x="1102" y="76"/>
                  </a:lnTo>
                  <a:close/>
                  <a:moveTo>
                    <a:pt x="1292" y="104"/>
                  </a:moveTo>
                  <a:lnTo>
                    <a:pt x="1292" y="104"/>
                  </a:lnTo>
                  <a:lnTo>
                    <a:pt x="1292" y="110"/>
                  </a:lnTo>
                  <a:lnTo>
                    <a:pt x="1286" y="110"/>
                  </a:lnTo>
                  <a:lnTo>
                    <a:pt x="1282" y="110"/>
                  </a:lnTo>
                  <a:lnTo>
                    <a:pt x="1282" y="110"/>
                  </a:lnTo>
                  <a:lnTo>
                    <a:pt x="1276" y="110"/>
                  </a:lnTo>
                  <a:lnTo>
                    <a:pt x="1270" y="110"/>
                  </a:lnTo>
                  <a:lnTo>
                    <a:pt x="1270" y="116"/>
                  </a:lnTo>
                  <a:lnTo>
                    <a:pt x="1264" y="116"/>
                  </a:lnTo>
                  <a:lnTo>
                    <a:pt x="1258" y="116"/>
                  </a:lnTo>
                  <a:lnTo>
                    <a:pt x="1252" y="116"/>
                  </a:lnTo>
                  <a:lnTo>
                    <a:pt x="1252" y="116"/>
                  </a:lnTo>
                  <a:lnTo>
                    <a:pt x="1246" y="116"/>
                  </a:lnTo>
                  <a:lnTo>
                    <a:pt x="1240" y="116"/>
                  </a:lnTo>
                  <a:lnTo>
                    <a:pt x="1240" y="116"/>
                  </a:lnTo>
                  <a:lnTo>
                    <a:pt x="1234" y="116"/>
                  </a:lnTo>
                  <a:lnTo>
                    <a:pt x="1228" y="116"/>
                  </a:lnTo>
                  <a:lnTo>
                    <a:pt x="1228" y="116"/>
                  </a:lnTo>
                  <a:lnTo>
                    <a:pt x="1228" y="116"/>
                  </a:lnTo>
                  <a:lnTo>
                    <a:pt x="1224" y="116"/>
                  </a:lnTo>
                  <a:lnTo>
                    <a:pt x="1218" y="122"/>
                  </a:lnTo>
                  <a:lnTo>
                    <a:pt x="1218" y="122"/>
                  </a:lnTo>
                  <a:lnTo>
                    <a:pt x="1212" y="122"/>
                  </a:lnTo>
                  <a:lnTo>
                    <a:pt x="1206" y="122"/>
                  </a:lnTo>
                  <a:lnTo>
                    <a:pt x="1206" y="116"/>
                  </a:lnTo>
                  <a:lnTo>
                    <a:pt x="1212" y="116"/>
                  </a:lnTo>
                  <a:lnTo>
                    <a:pt x="1218" y="110"/>
                  </a:lnTo>
                  <a:lnTo>
                    <a:pt x="1218" y="110"/>
                  </a:lnTo>
                  <a:lnTo>
                    <a:pt x="1218" y="104"/>
                  </a:lnTo>
                  <a:lnTo>
                    <a:pt x="1218" y="98"/>
                  </a:lnTo>
                  <a:lnTo>
                    <a:pt x="1224" y="98"/>
                  </a:lnTo>
                  <a:lnTo>
                    <a:pt x="1228" y="92"/>
                  </a:lnTo>
                  <a:lnTo>
                    <a:pt x="1228" y="98"/>
                  </a:lnTo>
                  <a:lnTo>
                    <a:pt x="1234" y="98"/>
                  </a:lnTo>
                  <a:lnTo>
                    <a:pt x="1228" y="92"/>
                  </a:lnTo>
                  <a:lnTo>
                    <a:pt x="1228" y="92"/>
                  </a:lnTo>
                  <a:lnTo>
                    <a:pt x="1228" y="92"/>
                  </a:lnTo>
                  <a:lnTo>
                    <a:pt x="1234" y="92"/>
                  </a:lnTo>
                  <a:lnTo>
                    <a:pt x="1240" y="92"/>
                  </a:lnTo>
                  <a:lnTo>
                    <a:pt x="1240" y="92"/>
                  </a:lnTo>
                  <a:lnTo>
                    <a:pt x="1240" y="92"/>
                  </a:lnTo>
                  <a:lnTo>
                    <a:pt x="1234" y="92"/>
                  </a:lnTo>
                  <a:lnTo>
                    <a:pt x="1234" y="86"/>
                  </a:lnTo>
                  <a:lnTo>
                    <a:pt x="1228" y="86"/>
                  </a:lnTo>
                  <a:lnTo>
                    <a:pt x="1234" y="80"/>
                  </a:lnTo>
                  <a:lnTo>
                    <a:pt x="1240" y="80"/>
                  </a:lnTo>
                  <a:lnTo>
                    <a:pt x="1240" y="76"/>
                  </a:lnTo>
                  <a:lnTo>
                    <a:pt x="1240" y="76"/>
                  </a:lnTo>
                  <a:lnTo>
                    <a:pt x="1246" y="76"/>
                  </a:lnTo>
                  <a:lnTo>
                    <a:pt x="1246" y="80"/>
                  </a:lnTo>
                  <a:lnTo>
                    <a:pt x="1252" y="80"/>
                  </a:lnTo>
                  <a:lnTo>
                    <a:pt x="1252" y="76"/>
                  </a:lnTo>
                  <a:lnTo>
                    <a:pt x="1252" y="76"/>
                  </a:lnTo>
                  <a:lnTo>
                    <a:pt x="1252" y="76"/>
                  </a:lnTo>
                  <a:lnTo>
                    <a:pt x="1252" y="76"/>
                  </a:lnTo>
                  <a:lnTo>
                    <a:pt x="1258" y="76"/>
                  </a:lnTo>
                  <a:lnTo>
                    <a:pt x="1264" y="76"/>
                  </a:lnTo>
                  <a:lnTo>
                    <a:pt x="1264" y="80"/>
                  </a:lnTo>
                  <a:lnTo>
                    <a:pt x="1258" y="80"/>
                  </a:lnTo>
                  <a:lnTo>
                    <a:pt x="1258" y="86"/>
                  </a:lnTo>
                  <a:lnTo>
                    <a:pt x="1252" y="92"/>
                  </a:lnTo>
                  <a:lnTo>
                    <a:pt x="1252" y="92"/>
                  </a:lnTo>
                  <a:lnTo>
                    <a:pt x="1258" y="92"/>
                  </a:lnTo>
                  <a:lnTo>
                    <a:pt x="1258" y="92"/>
                  </a:lnTo>
                  <a:lnTo>
                    <a:pt x="1264" y="86"/>
                  </a:lnTo>
                  <a:lnTo>
                    <a:pt x="1270" y="86"/>
                  </a:lnTo>
                  <a:lnTo>
                    <a:pt x="1270" y="86"/>
                  </a:lnTo>
                  <a:lnTo>
                    <a:pt x="1276" y="86"/>
                  </a:lnTo>
                  <a:lnTo>
                    <a:pt x="1282" y="86"/>
                  </a:lnTo>
                  <a:lnTo>
                    <a:pt x="1282" y="92"/>
                  </a:lnTo>
                  <a:lnTo>
                    <a:pt x="1282" y="92"/>
                  </a:lnTo>
                  <a:lnTo>
                    <a:pt x="1286" y="92"/>
                  </a:lnTo>
                  <a:lnTo>
                    <a:pt x="1286" y="92"/>
                  </a:lnTo>
                  <a:lnTo>
                    <a:pt x="1286" y="98"/>
                  </a:lnTo>
                  <a:lnTo>
                    <a:pt x="1286" y="92"/>
                  </a:lnTo>
                  <a:lnTo>
                    <a:pt x="1292" y="92"/>
                  </a:lnTo>
                  <a:lnTo>
                    <a:pt x="1286" y="92"/>
                  </a:lnTo>
                  <a:lnTo>
                    <a:pt x="1292" y="92"/>
                  </a:lnTo>
                  <a:lnTo>
                    <a:pt x="1292" y="92"/>
                  </a:lnTo>
                  <a:lnTo>
                    <a:pt x="1292" y="98"/>
                  </a:lnTo>
                  <a:lnTo>
                    <a:pt x="1298" y="104"/>
                  </a:lnTo>
                  <a:lnTo>
                    <a:pt x="1298" y="104"/>
                  </a:lnTo>
                  <a:lnTo>
                    <a:pt x="1292" y="104"/>
                  </a:lnTo>
                  <a:lnTo>
                    <a:pt x="1292" y="104"/>
                  </a:lnTo>
                  <a:close/>
                  <a:moveTo>
                    <a:pt x="1310" y="116"/>
                  </a:moveTo>
                  <a:lnTo>
                    <a:pt x="1304" y="116"/>
                  </a:lnTo>
                  <a:lnTo>
                    <a:pt x="1304" y="110"/>
                  </a:lnTo>
                  <a:lnTo>
                    <a:pt x="1310" y="110"/>
                  </a:lnTo>
                  <a:lnTo>
                    <a:pt x="1316" y="110"/>
                  </a:lnTo>
                  <a:lnTo>
                    <a:pt x="1322" y="110"/>
                  </a:lnTo>
                  <a:lnTo>
                    <a:pt x="1316" y="110"/>
                  </a:lnTo>
                  <a:lnTo>
                    <a:pt x="1316" y="116"/>
                  </a:lnTo>
                  <a:lnTo>
                    <a:pt x="1310" y="116"/>
                  </a:lnTo>
                  <a:lnTo>
                    <a:pt x="1310" y="116"/>
                  </a:lnTo>
                  <a:close/>
                  <a:moveTo>
                    <a:pt x="1124" y="116"/>
                  </a:moveTo>
                  <a:lnTo>
                    <a:pt x="1118" y="116"/>
                  </a:lnTo>
                  <a:lnTo>
                    <a:pt x="1124" y="116"/>
                  </a:lnTo>
                  <a:lnTo>
                    <a:pt x="1124" y="116"/>
                  </a:lnTo>
                  <a:close/>
                  <a:moveTo>
                    <a:pt x="1334" y="116"/>
                  </a:moveTo>
                  <a:lnTo>
                    <a:pt x="1328" y="116"/>
                  </a:lnTo>
                  <a:lnTo>
                    <a:pt x="1322" y="116"/>
                  </a:lnTo>
                  <a:lnTo>
                    <a:pt x="1322" y="116"/>
                  </a:lnTo>
                  <a:lnTo>
                    <a:pt x="1316" y="116"/>
                  </a:lnTo>
                  <a:lnTo>
                    <a:pt x="1316" y="116"/>
                  </a:lnTo>
                  <a:lnTo>
                    <a:pt x="1322" y="116"/>
                  </a:lnTo>
                  <a:lnTo>
                    <a:pt x="1322" y="116"/>
                  </a:lnTo>
                  <a:lnTo>
                    <a:pt x="1328" y="116"/>
                  </a:lnTo>
                  <a:lnTo>
                    <a:pt x="1334" y="116"/>
                  </a:lnTo>
                  <a:lnTo>
                    <a:pt x="1334" y="116"/>
                  </a:lnTo>
                  <a:lnTo>
                    <a:pt x="1334" y="116"/>
                  </a:lnTo>
                  <a:lnTo>
                    <a:pt x="1334" y="116"/>
                  </a:lnTo>
                  <a:lnTo>
                    <a:pt x="1334" y="116"/>
                  </a:lnTo>
                  <a:close/>
                  <a:moveTo>
                    <a:pt x="1096" y="128"/>
                  </a:moveTo>
                  <a:lnTo>
                    <a:pt x="1090" y="128"/>
                  </a:lnTo>
                  <a:lnTo>
                    <a:pt x="1096" y="128"/>
                  </a:lnTo>
                  <a:lnTo>
                    <a:pt x="1096" y="128"/>
                  </a:lnTo>
                  <a:close/>
                  <a:moveTo>
                    <a:pt x="944" y="134"/>
                  </a:moveTo>
                  <a:lnTo>
                    <a:pt x="950" y="134"/>
                  </a:lnTo>
                  <a:lnTo>
                    <a:pt x="950" y="138"/>
                  </a:lnTo>
                  <a:lnTo>
                    <a:pt x="944" y="134"/>
                  </a:lnTo>
                  <a:lnTo>
                    <a:pt x="944" y="134"/>
                  </a:lnTo>
                  <a:close/>
                  <a:moveTo>
                    <a:pt x="1316" y="138"/>
                  </a:moveTo>
                  <a:lnTo>
                    <a:pt x="1322" y="134"/>
                  </a:lnTo>
                  <a:lnTo>
                    <a:pt x="1322" y="138"/>
                  </a:lnTo>
                  <a:lnTo>
                    <a:pt x="1322" y="138"/>
                  </a:lnTo>
                  <a:lnTo>
                    <a:pt x="1316" y="138"/>
                  </a:lnTo>
                  <a:lnTo>
                    <a:pt x="1316" y="138"/>
                  </a:lnTo>
                  <a:close/>
                  <a:moveTo>
                    <a:pt x="1328" y="138"/>
                  </a:moveTo>
                  <a:lnTo>
                    <a:pt x="1328" y="138"/>
                  </a:lnTo>
                  <a:lnTo>
                    <a:pt x="1334" y="138"/>
                  </a:lnTo>
                  <a:lnTo>
                    <a:pt x="1334" y="138"/>
                  </a:lnTo>
                  <a:lnTo>
                    <a:pt x="1334" y="138"/>
                  </a:lnTo>
                  <a:lnTo>
                    <a:pt x="1334" y="138"/>
                  </a:lnTo>
                  <a:lnTo>
                    <a:pt x="1328" y="138"/>
                  </a:lnTo>
                  <a:lnTo>
                    <a:pt x="1328" y="138"/>
                  </a:lnTo>
                  <a:close/>
                  <a:moveTo>
                    <a:pt x="1050" y="144"/>
                  </a:moveTo>
                  <a:lnTo>
                    <a:pt x="1050" y="138"/>
                  </a:lnTo>
                  <a:lnTo>
                    <a:pt x="1054" y="138"/>
                  </a:lnTo>
                  <a:lnTo>
                    <a:pt x="1060" y="138"/>
                  </a:lnTo>
                  <a:lnTo>
                    <a:pt x="1060" y="144"/>
                  </a:lnTo>
                  <a:lnTo>
                    <a:pt x="1054" y="144"/>
                  </a:lnTo>
                  <a:lnTo>
                    <a:pt x="1050" y="138"/>
                  </a:lnTo>
                  <a:lnTo>
                    <a:pt x="1050" y="144"/>
                  </a:lnTo>
                  <a:lnTo>
                    <a:pt x="1050" y="144"/>
                  </a:lnTo>
                  <a:close/>
                  <a:moveTo>
                    <a:pt x="1166" y="138"/>
                  </a:moveTo>
                  <a:lnTo>
                    <a:pt x="1166" y="144"/>
                  </a:lnTo>
                  <a:lnTo>
                    <a:pt x="1166" y="144"/>
                  </a:lnTo>
                  <a:lnTo>
                    <a:pt x="1166" y="144"/>
                  </a:lnTo>
                  <a:lnTo>
                    <a:pt x="1160" y="150"/>
                  </a:lnTo>
                  <a:lnTo>
                    <a:pt x="1154" y="150"/>
                  </a:lnTo>
                  <a:lnTo>
                    <a:pt x="1154" y="150"/>
                  </a:lnTo>
                  <a:lnTo>
                    <a:pt x="1154" y="150"/>
                  </a:lnTo>
                  <a:lnTo>
                    <a:pt x="1154" y="150"/>
                  </a:lnTo>
                  <a:lnTo>
                    <a:pt x="1148" y="150"/>
                  </a:lnTo>
                  <a:lnTo>
                    <a:pt x="1142" y="150"/>
                  </a:lnTo>
                  <a:lnTo>
                    <a:pt x="1148" y="150"/>
                  </a:lnTo>
                  <a:lnTo>
                    <a:pt x="1154" y="144"/>
                  </a:lnTo>
                  <a:lnTo>
                    <a:pt x="1160" y="144"/>
                  </a:lnTo>
                  <a:lnTo>
                    <a:pt x="1166" y="144"/>
                  </a:lnTo>
                  <a:lnTo>
                    <a:pt x="1166" y="138"/>
                  </a:lnTo>
                  <a:lnTo>
                    <a:pt x="1166" y="138"/>
                  </a:lnTo>
                  <a:close/>
                  <a:moveTo>
                    <a:pt x="1050" y="144"/>
                  </a:moveTo>
                  <a:lnTo>
                    <a:pt x="1050" y="144"/>
                  </a:lnTo>
                  <a:lnTo>
                    <a:pt x="1050" y="144"/>
                  </a:lnTo>
                  <a:lnTo>
                    <a:pt x="1044" y="144"/>
                  </a:lnTo>
                  <a:lnTo>
                    <a:pt x="1050" y="144"/>
                  </a:lnTo>
                  <a:lnTo>
                    <a:pt x="1050" y="150"/>
                  </a:lnTo>
                  <a:lnTo>
                    <a:pt x="1044" y="150"/>
                  </a:lnTo>
                  <a:lnTo>
                    <a:pt x="1044" y="144"/>
                  </a:lnTo>
                  <a:lnTo>
                    <a:pt x="1050" y="144"/>
                  </a:lnTo>
                  <a:lnTo>
                    <a:pt x="1050" y="144"/>
                  </a:lnTo>
                  <a:close/>
                  <a:moveTo>
                    <a:pt x="2076" y="144"/>
                  </a:moveTo>
                  <a:lnTo>
                    <a:pt x="2076" y="144"/>
                  </a:lnTo>
                  <a:lnTo>
                    <a:pt x="2076" y="144"/>
                  </a:lnTo>
                  <a:lnTo>
                    <a:pt x="2076" y="144"/>
                  </a:lnTo>
                  <a:close/>
                  <a:moveTo>
                    <a:pt x="626" y="180"/>
                  </a:moveTo>
                  <a:lnTo>
                    <a:pt x="626" y="180"/>
                  </a:lnTo>
                  <a:lnTo>
                    <a:pt x="626" y="174"/>
                  </a:lnTo>
                  <a:lnTo>
                    <a:pt x="626" y="174"/>
                  </a:lnTo>
                  <a:lnTo>
                    <a:pt x="626" y="168"/>
                  </a:lnTo>
                  <a:lnTo>
                    <a:pt x="632" y="168"/>
                  </a:lnTo>
                  <a:lnTo>
                    <a:pt x="638" y="168"/>
                  </a:lnTo>
                  <a:lnTo>
                    <a:pt x="644" y="168"/>
                  </a:lnTo>
                  <a:lnTo>
                    <a:pt x="644" y="174"/>
                  </a:lnTo>
                  <a:lnTo>
                    <a:pt x="644" y="174"/>
                  </a:lnTo>
                  <a:lnTo>
                    <a:pt x="644" y="168"/>
                  </a:lnTo>
                  <a:lnTo>
                    <a:pt x="648" y="174"/>
                  </a:lnTo>
                  <a:lnTo>
                    <a:pt x="654" y="174"/>
                  </a:lnTo>
                  <a:lnTo>
                    <a:pt x="654" y="168"/>
                  </a:lnTo>
                  <a:lnTo>
                    <a:pt x="654" y="174"/>
                  </a:lnTo>
                  <a:lnTo>
                    <a:pt x="660" y="174"/>
                  </a:lnTo>
                  <a:lnTo>
                    <a:pt x="660" y="168"/>
                  </a:lnTo>
                  <a:lnTo>
                    <a:pt x="666" y="168"/>
                  </a:lnTo>
                  <a:lnTo>
                    <a:pt x="666" y="168"/>
                  </a:lnTo>
                  <a:lnTo>
                    <a:pt x="672" y="168"/>
                  </a:lnTo>
                  <a:lnTo>
                    <a:pt x="678" y="168"/>
                  </a:lnTo>
                  <a:lnTo>
                    <a:pt x="678" y="162"/>
                  </a:lnTo>
                  <a:lnTo>
                    <a:pt x="684" y="162"/>
                  </a:lnTo>
                  <a:lnTo>
                    <a:pt x="690" y="162"/>
                  </a:lnTo>
                  <a:lnTo>
                    <a:pt x="690" y="162"/>
                  </a:lnTo>
                  <a:lnTo>
                    <a:pt x="690" y="162"/>
                  </a:lnTo>
                  <a:lnTo>
                    <a:pt x="696" y="162"/>
                  </a:lnTo>
                  <a:lnTo>
                    <a:pt x="702" y="162"/>
                  </a:lnTo>
                  <a:lnTo>
                    <a:pt x="706" y="162"/>
                  </a:lnTo>
                  <a:lnTo>
                    <a:pt x="702" y="162"/>
                  </a:lnTo>
                  <a:lnTo>
                    <a:pt x="702" y="156"/>
                  </a:lnTo>
                  <a:lnTo>
                    <a:pt x="706" y="156"/>
                  </a:lnTo>
                  <a:lnTo>
                    <a:pt x="706" y="150"/>
                  </a:lnTo>
                  <a:lnTo>
                    <a:pt x="712" y="150"/>
                  </a:lnTo>
                  <a:lnTo>
                    <a:pt x="718" y="150"/>
                  </a:lnTo>
                  <a:lnTo>
                    <a:pt x="718" y="150"/>
                  </a:lnTo>
                  <a:lnTo>
                    <a:pt x="724" y="150"/>
                  </a:lnTo>
                  <a:lnTo>
                    <a:pt x="730" y="150"/>
                  </a:lnTo>
                  <a:lnTo>
                    <a:pt x="730" y="150"/>
                  </a:lnTo>
                  <a:lnTo>
                    <a:pt x="736" y="150"/>
                  </a:lnTo>
                  <a:lnTo>
                    <a:pt x="742" y="150"/>
                  </a:lnTo>
                  <a:lnTo>
                    <a:pt x="742" y="150"/>
                  </a:lnTo>
                  <a:lnTo>
                    <a:pt x="748" y="156"/>
                  </a:lnTo>
                  <a:lnTo>
                    <a:pt x="742" y="156"/>
                  </a:lnTo>
                  <a:lnTo>
                    <a:pt x="742" y="162"/>
                  </a:lnTo>
                  <a:lnTo>
                    <a:pt x="742" y="168"/>
                  </a:lnTo>
                  <a:lnTo>
                    <a:pt x="736" y="168"/>
                  </a:lnTo>
                  <a:lnTo>
                    <a:pt x="730" y="168"/>
                  </a:lnTo>
                  <a:lnTo>
                    <a:pt x="730" y="174"/>
                  </a:lnTo>
                  <a:lnTo>
                    <a:pt x="724" y="174"/>
                  </a:lnTo>
                  <a:lnTo>
                    <a:pt x="718" y="174"/>
                  </a:lnTo>
                  <a:lnTo>
                    <a:pt x="718" y="180"/>
                  </a:lnTo>
                  <a:lnTo>
                    <a:pt x="718" y="180"/>
                  </a:lnTo>
                  <a:lnTo>
                    <a:pt x="712" y="180"/>
                  </a:lnTo>
                  <a:lnTo>
                    <a:pt x="706" y="180"/>
                  </a:lnTo>
                  <a:lnTo>
                    <a:pt x="706" y="180"/>
                  </a:lnTo>
                  <a:lnTo>
                    <a:pt x="702" y="180"/>
                  </a:lnTo>
                  <a:lnTo>
                    <a:pt x="696" y="180"/>
                  </a:lnTo>
                  <a:lnTo>
                    <a:pt x="690" y="180"/>
                  </a:lnTo>
                  <a:lnTo>
                    <a:pt x="690" y="186"/>
                  </a:lnTo>
                  <a:lnTo>
                    <a:pt x="684" y="186"/>
                  </a:lnTo>
                  <a:lnTo>
                    <a:pt x="678" y="186"/>
                  </a:lnTo>
                  <a:lnTo>
                    <a:pt x="678" y="186"/>
                  </a:lnTo>
                  <a:lnTo>
                    <a:pt x="672" y="186"/>
                  </a:lnTo>
                  <a:lnTo>
                    <a:pt x="666" y="192"/>
                  </a:lnTo>
                  <a:lnTo>
                    <a:pt x="666" y="192"/>
                  </a:lnTo>
                  <a:lnTo>
                    <a:pt x="660" y="192"/>
                  </a:lnTo>
                  <a:lnTo>
                    <a:pt x="654" y="192"/>
                  </a:lnTo>
                  <a:lnTo>
                    <a:pt x="654" y="192"/>
                  </a:lnTo>
                  <a:lnTo>
                    <a:pt x="654" y="192"/>
                  </a:lnTo>
                  <a:lnTo>
                    <a:pt x="648" y="192"/>
                  </a:lnTo>
                  <a:lnTo>
                    <a:pt x="644" y="192"/>
                  </a:lnTo>
                  <a:lnTo>
                    <a:pt x="644" y="196"/>
                  </a:lnTo>
                  <a:lnTo>
                    <a:pt x="644" y="192"/>
                  </a:lnTo>
                  <a:lnTo>
                    <a:pt x="644" y="192"/>
                  </a:lnTo>
                  <a:lnTo>
                    <a:pt x="644" y="196"/>
                  </a:lnTo>
                  <a:lnTo>
                    <a:pt x="638" y="196"/>
                  </a:lnTo>
                  <a:lnTo>
                    <a:pt x="638" y="202"/>
                  </a:lnTo>
                  <a:lnTo>
                    <a:pt x="632" y="202"/>
                  </a:lnTo>
                  <a:lnTo>
                    <a:pt x="632" y="196"/>
                  </a:lnTo>
                  <a:lnTo>
                    <a:pt x="632" y="202"/>
                  </a:lnTo>
                  <a:lnTo>
                    <a:pt x="626" y="202"/>
                  </a:lnTo>
                  <a:lnTo>
                    <a:pt x="626" y="202"/>
                  </a:lnTo>
                  <a:lnTo>
                    <a:pt x="626" y="202"/>
                  </a:lnTo>
                  <a:lnTo>
                    <a:pt x="620" y="208"/>
                  </a:lnTo>
                  <a:lnTo>
                    <a:pt x="620" y="202"/>
                  </a:lnTo>
                  <a:lnTo>
                    <a:pt x="614" y="202"/>
                  </a:lnTo>
                  <a:lnTo>
                    <a:pt x="614" y="208"/>
                  </a:lnTo>
                  <a:lnTo>
                    <a:pt x="614" y="208"/>
                  </a:lnTo>
                  <a:lnTo>
                    <a:pt x="608" y="208"/>
                  </a:lnTo>
                  <a:lnTo>
                    <a:pt x="614" y="208"/>
                  </a:lnTo>
                  <a:lnTo>
                    <a:pt x="614" y="208"/>
                  </a:lnTo>
                  <a:lnTo>
                    <a:pt x="620" y="208"/>
                  </a:lnTo>
                  <a:lnTo>
                    <a:pt x="620" y="214"/>
                  </a:lnTo>
                  <a:lnTo>
                    <a:pt x="614" y="214"/>
                  </a:lnTo>
                  <a:lnTo>
                    <a:pt x="614" y="214"/>
                  </a:lnTo>
                  <a:lnTo>
                    <a:pt x="614" y="214"/>
                  </a:lnTo>
                  <a:lnTo>
                    <a:pt x="614" y="214"/>
                  </a:lnTo>
                  <a:lnTo>
                    <a:pt x="614" y="214"/>
                  </a:lnTo>
                  <a:lnTo>
                    <a:pt x="608" y="214"/>
                  </a:lnTo>
                  <a:lnTo>
                    <a:pt x="602" y="214"/>
                  </a:lnTo>
                  <a:lnTo>
                    <a:pt x="602" y="214"/>
                  </a:lnTo>
                  <a:lnTo>
                    <a:pt x="608" y="214"/>
                  </a:lnTo>
                  <a:lnTo>
                    <a:pt x="608" y="220"/>
                  </a:lnTo>
                  <a:lnTo>
                    <a:pt x="602" y="220"/>
                  </a:lnTo>
                  <a:lnTo>
                    <a:pt x="602" y="214"/>
                  </a:lnTo>
                  <a:lnTo>
                    <a:pt x="602" y="214"/>
                  </a:lnTo>
                  <a:lnTo>
                    <a:pt x="602" y="220"/>
                  </a:lnTo>
                  <a:lnTo>
                    <a:pt x="596" y="220"/>
                  </a:lnTo>
                  <a:lnTo>
                    <a:pt x="596" y="226"/>
                  </a:lnTo>
                  <a:lnTo>
                    <a:pt x="590" y="226"/>
                  </a:lnTo>
                  <a:lnTo>
                    <a:pt x="590" y="220"/>
                  </a:lnTo>
                  <a:lnTo>
                    <a:pt x="590" y="220"/>
                  </a:lnTo>
                  <a:lnTo>
                    <a:pt x="586" y="220"/>
                  </a:lnTo>
                  <a:lnTo>
                    <a:pt x="590" y="220"/>
                  </a:lnTo>
                  <a:lnTo>
                    <a:pt x="590" y="226"/>
                  </a:lnTo>
                  <a:lnTo>
                    <a:pt x="590" y="232"/>
                  </a:lnTo>
                  <a:lnTo>
                    <a:pt x="590" y="232"/>
                  </a:lnTo>
                  <a:lnTo>
                    <a:pt x="586" y="232"/>
                  </a:lnTo>
                  <a:lnTo>
                    <a:pt x="586" y="232"/>
                  </a:lnTo>
                  <a:lnTo>
                    <a:pt x="590" y="232"/>
                  </a:lnTo>
                  <a:lnTo>
                    <a:pt x="586" y="232"/>
                  </a:lnTo>
                  <a:lnTo>
                    <a:pt x="586" y="238"/>
                  </a:lnTo>
                  <a:lnTo>
                    <a:pt x="580" y="238"/>
                  </a:lnTo>
                  <a:lnTo>
                    <a:pt x="574" y="238"/>
                  </a:lnTo>
                  <a:lnTo>
                    <a:pt x="574" y="232"/>
                  </a:lnTo>
                  <a:lnTo>
                    <a:pt x="574" y="232"/>
                  </a:lnTo>
                  <a:lnTo>
                    <a:pt x="568" y="232"/>
                  </a:lnTo>
                  <a:lnTo>
                    <a:pt x="574" y="232"/>
                  </a:lnTo>
                  <a:lnTo>
                    <a:pt x="574" y="238"/>
                  </a:lnTo>
                  <a:lnTo>
                    <a:pt x="574" y="238"/>
                  </a:lnTo>
                  <a:lnTo>
                    <a:pt x="580" y="238"/>
                  </a:lnTo>
                  <a:lnTo>
                    <a:pt x="580" y="244"/>
                  </a:lnTo>
                  <a:lnTo>
                    <a:pt x="574" y="244"/>
                  </a:lnTo>
                  <a:lnTo>
                    <a:pt x="574" y="244"/>
                  </a:lnTo>
                  <a:lnTo>
                    <a:pt x="568" y="244"/>
                  </a:lnTo>
                  <a:lnTo>
                    <a:pt x="562" y="244"/>
                  </a:lnTo>
                  <a:lnTo>
                    <a:pt x="562" y="244"/>
                  </a:lnTo>
                  <a:lnTo>
                    <a:pt x="562" y="244"/>
                  </a:lnTo>
                  <a:lnTo>
                    <a:pt x="568" y="244"/>
                  </a:lnTo>
                  <a:lnTo>
                    <a:pt x="574" y="244"/>
                  </a:lnTo>
                  <a:lnTo>
                    <a:pt x="574" y="244"/>
                  </a:lnTo>
                  <a:lnTo>
                    <a:pt x="574" y="244"/>
                  </a:lnTo>
                  <a:lnTo>
                    <a:pt x="574" y="250"/>
                  </a:lnTo>
                  <a:lnTo>
                    <a:pt x="574" y="250"/>
                  </a:lnTo>
                  <a:lnTo>
                    <a:pt x="568" y="250"/>
                  </a:lnTo>
                  <a:lnTo>
                    <a:pt x="562" y="250"/>
                  </a:lnTo>
                  <a:lnTo>
                    <a:pt x="562" y="244"/>
                  </a:lnTo>
                  <a:lnTo>
                    <a:pt x="562" y="244"/>
                  </a:lnTo>
                  <a:lnTo>
                    <a:pt x="562" y="250"/>
                  </a:lnTo>
                  <a:lnTo>
                    <a:pt x="562" y="250"/>
                  </a:lnTo>
                  <a:lnTo>
                    <a:pt x="568" y="250"/>
                  </a:lnTo>
                  <a:lnTo>
                    <a:pt x="568" y="254"/>
                  </a:lnTo>
                  <a:lnTo>
                    <a:pt x="562" y="254"/>
                  </a:lnTo>
                  <a:lnTo>
                    <a:pt x="562" y="254"/>
                  </a:lnTo>
                  <a:lnTo>
                    <a:pt x="562" y="254"/>
                  </a:lnTo>
                  <a:lnTo>
                    <a:pt x="562" y="254"/>
                  </a:lnTo>
                  <a:lnTo>
                    <a:pt x="556" y="254"/>
                  </a:lnTo>
                  <a:lnTo>
                    <a:pt x="550" y="254"/>
                  </a:lnTo>
                  <a:lnTo>
                    <a:pt x="550" y="254"/>
                  </a:lnTo>
                  <a:lnTo>
                    <a:pt x="550" y="254"/>
                  </a:lnTo>
                  <a:lnTo>
                    <a:pt x="550" y="254"/>
                  </a:lnTo>
                  <a:lnTo>
                    <a:pt x="544" y="254"/>
                  </a:lnTo>
                  <a:lnTo>
                    <a:pt x="538" y="254"/>
                  </a:lnTo>
                  <a:lnTo>
                    <a:pt x="538" y="254"/>
                  </a:lnTo>
                  <a:lnTo>
                    <a:pt x="538" y="254"/>
                  </a:lnTo>
                  <a:lnTo>
                    <a:pt x="532" y="254"/>
                  </a:lnTo>
                  <a:lnTo>
                    <a:pt x="528" y="254"/>
                  </a:lnTo>
                  <a:lnTo>
                    <a:pt x="528" y="254"/>
                  </a:lnTo>
                  <a:lnTo>
                    <a:pt x="522" y="254"/>
                  </a:lnTo>
                  <a:lnTo>
                    <a:pt x="528" y="254"/>
                  </a:lnTo>
                  <a:lnTo>
                    <a:pt x="528" y="250"/>
                  </a:lnTo>
                  <a:lnTo>
                    <a:pt x="528" y="250"/>
                  </a:lnTo>
                  <a:lnTo>
                    <a:pt x="532" y="250"/>
                  </a:lnTo>
                  <a:lnTo>
                    <a:pt x="532" y="244"/>
                  </a:lnTo>
                  <a:lnTo>
                    <a:pt x="538" y="244"/>
                  </a:lnTo>
                  <a:lnTo>
                    <a:pt x="532" y="244"/>
                  </a:lnTo>
                  <a:lnTo>
                    <a:pt x="528" y="244"/>
                  </a:lnTo>
                  <a:lnTo>
                    <a:pt x="528" y="250"/>
                  </a:lnTo>
                  <a:lnTo>
                    <a:pt x="522" y="250"/>
                  </a:lnTo>
                  <a:lnTo>
                    <a:pt x="522" y="244"/>
                  </a:lnTo>
                  <a:lnTo>
                    <a:pt x="516" y="244"/>
                  </a:lnTo>
                  <a:lnTo>
                    <a:pt x="516" y="244"/>
                  </a:lnTo>
                  <a:lnTo>
                    <a:pt x="516" y="244"/>
                  </a:lnTo>
                  <a:lnTo>
                    <a:pt x="522" y="244"/>
                  </a:lnTo>
                  <a:lnTo>
                    <a:pt x="522" y="244"/>
                  </a:lnTo>
                  <a:lnTo>
                    <a:pt x="528" y="244"/>
                  </a:lnTo>
                  <a:lnTo>
                    <a:pt x="528" y="238"/>
                  </a:lnTo>
                  <a:lnTo>
                    <a:pt x="528" y="238"/>
                  </a:lnTo>
                  <a:lnTo>
                    <a:pt x="532" y="238"/>
                  </a:lnTo>
                  <a:lnTo>
                    <a:pt x="528" y="238"/>
                  </a:lnTo>
                  <a:lnTo>
                    <a:pt x="532" y="232"/>
                  </a:lnTo>
                  <a:lnTo>
                    <a:pt x="538" y="232"/>
                  </a:lnTo>
                  <a:lnTo>
                    <a:pt x="538" y="232"/>
                  </a:lnTo>
                  <a:lnTo>
                    <a:pt x="544" y="232"/>
                  </a:lnTo>
                  <a:lnTo>
                    <a:pt x="550" y="232"/>
                  </a:lnTo>
                  <a:lnTo>
                    <a:pt x="544" y="232"/>
                  </a:lnTo>
                  <a:lnTo>
                    <a:pt x="544" y="232"/>
                  </a:lnTo>
                  <a:lnTo>
                    <a:pt x="538" y="232"/>
                  </a:lnTo>
                  <a:lnTo>
                    <a:pt x="538" y="232"/>
                  </a:lnTo>
                  <a:lnTo>
                    <a:pt x="538" y="232"/>
                  </a:lnTo>
                  <a:lnTo>
                    <a:pt x="544" y="232"/>
                  </a:lnTo>
                  <a:lnTo>
                    <a:pt x="550" y="232"/>
                  </a:lnTo>
                  <a:lnTo>
                    <a:pt x="544" y="232"/>
                  </a:lnTo>
                  <a:lnTo>
                    <a:pt x="538" y="226"/>
                  </a:lnTo>
                  <a:lnTo>
                    <a:pt x="550" y="226"/>
                  </a:lnTo>
                  <a:lnTo>
                    <a:pt x="550" y="226"/>
                  </a:lnTo>
                  <a:lnTo>
                    <a:pt x="556" y="220"/>
                  </a:lnTo>
                  <a:lnTo>
                    <a:pt x="550" y="220"/>
                  </a:lnTo>
                  <a:lnTo>
                    <a:pt x="550" y="220"/>
                  </a:lnTo>
                  <a:lnTo>
                    <a:pt x="544" y="220"/>
                  </a:lnTo>
                  <a:lnTo>
                    <a:pt x="544" y="214"/>
                  </a:lnTo>
                  <a:lnTo>
                    <a:pt x="550" y="214"/>
                  </a:lnTo>
                  <a:lnTo>
                    <a:pt x="550" y="214"/>
                  </a:lnTo>
                  <a:lnTo>
                    <a:pt x="556" y="214"/>
                  </a:lnTo>
                  <a:lnTo>
                    <a:pt x="562" y="214"/>
                  </a:lnTo>
                  <a:lnTo>
                    <a:pt x="562" y="214"/>
                  </a:lnTo>
                  <a:lnTo>
                    <a:pt x="562" y="214"/>
                  </a:lnTo>
                  <a:lnTo>
                    <a:pt x="556" y="214"/>
                  </a:lnTo>
                  <a:lnTo>
                    <a:pt x="550" y="214"/>
                  </a:lnTo>
                  <a:lnTo>
                    <a:pt x="550" y="214"/>
                  </a:lnTo>
                  <a:lnTo>
                    <a:pt x="556" y="208"/>
                  </a:lnTo>
                  <a:lnTo>
                    <a:pt x="562" y="208"/>
                  </a:lnTo>
                  <a:lnTo>
                    <a:pt x="556" y="208"/>
                  </a:lnTo>
                  <a:lnTo>
                    <a:pt x="556" y="202"/>
                  </a:lnTo>
                  <a:lnTo>
                    <a:pt x="550" y="208"/>
                  </a:lnTo>
                  <a:lnTo>
                    <a:pt x="550" y="208"/>
                  </a:lnTo>
                  <a:lnTo>
                    <a:pt x="550" y="202"/>
                  </a:lnTo>
                  <a:lnTo>
                    <a:pt x="544" y="202"/>
                  </a:lnTo>
                  <a:lnTo>
                    <a:pt x="550" y="202"/>
                  </a:lnTo>
                  <a:lnTo>
                    <a:pt x="550" y="202"/>
                  </a:lnTo>
                  <a:lnTo>
                    <a:pt x="550" y="202"/>
                  </a:lnTo>
                  <a:lnTo>
                    <a:pt x="550" y="202"/>
                  </a:lnTo>
                  <a:lnTo>
                    <a:pt x="556" y="202"/>
                  </a:lnTo>
                  <a:lnTo>
                    <a:pt x="556" y="202"/>
                  </a:lnTo>
                  <a:lnTo>
                    <a:pt x="562" y="202"/>
                  </a:lnTo>
                  <a:lnTo>
                    <a:pt x="562" y="202"/>
                  </a:lnTo>
                  <a:lnTo>
                    <a:pt x="562" y="202"/>
                  </a:lnTo>
                  <a:lnTo>
                    <a:pt x="562" y="202"/>
                  </a:lnTo>
                  <a:lnTo>
                    <a:pt x="562" y="196"/>
                  </a:lnTo>
                  <a:lnTo>
                    <a:pt x="562" y="196"/>
                  </a:lnTo>
                  <a:lnTo>
                    <a:pt x="568" y="196"/>
                  </a:lnTo>
                  <a:lnTo>
                    <a:pt x="574" y="196"/>
                  </a:lnTo>
                  <a:lnTo>
                    <a:pt x="574" y="196"/>
                  </a:lnTo>
                  <a:lnTo>
                    <a:pt x="574" y="192"/>
                  </a:lnTo>
                  <a:lnTo>
                    <a:pt x="574" y="192"/>
                  </a:lnTo>
                  <a:lnTo>
                    <a:pt x="574" y="192"/>
                  </a:lnTo>
                  <a:lnTo>
                    <a:pt x="580" y="192"/>
                  </a:lnTo>
                  <a:lnTo>
                    <a:pt x="586" y="192"/>
                  </a:lnTo>
                  <a:lnTo>
                    <a:pt x="586" y="192"/>
                  </a:lnTo>
                  <a:lnTo>
                    <a:pt x="580" y="192"/>
                  </a:lnTo>
                  <a:lnTo>
                    <a:pt x="586" y="192"/>
                  </a:lnTo>
                  <a:lnTo>
                    <a:pt x="590" y="186"/>
                  </a:lnTo>
                  <a:lnTo>
                    <a:pt x="590" y="186"/>
                  </a:lnTo>
                  <a:lnTo>
                    <a:pt x="590" y="180"/>
                  </a:lnTo>
                  <a:lnTo>
                    <a:pt x="596" y="180"/>
                  </a:lnTo>
                  <a:lnTo>
                    <a:pt x="602" y="180"/>
                  </a:lnTo>
                  <a:lnTo>
                    <a:pt x="602" y="180"/>
                  </a:lnTo>
                  <a:lnTo>
                    <a:pt x="608" y="180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14" y="174"/>
                  </a:lnTo>
                  <a:lnTo>
                    <a:pt x="620" y="174"/>
                  </a:lnTo>
                  <a:lnTo>
                    <a:pt x="626" y="174"/>
                  </a:lnTo>
                  <a:lnTo>
                    <a:pt x="626" y="180"/>
                  </a:lnTo>
                  <a:lnTo>
                    <a:pt x="620" y="180"/>
                  </a:lnTo>
                  <a:lnTo>
                    <a:pt x="614" y="180"/>
                  </a:lnTo>
                  <a:lnTo>
                    <a:pt x="620" y="180"/>
                  </a:lnTo>
                  <a:lnTo>
                    <a:pt x="626" y="180"/>
                  </a:lnTo>
                  <a:lnTo>
                    <a:pt x="626" y="180"/>
                  </a:lnTo>
                  <a:close/>
                  <a:moveTo>
                    <a:pt x="1166" y="150"/>
                  </a:moveTo>
                  <a:lnTo>
                    <a:pt x="1160" y="150"/>
                  </a:lnTo>
                  <a:lnTo>
                    <a:pt x="1154" y="150"/>
                  </a:lnTo>
                  <a:lnTo>
                    <a:pt x="1154" y="150"/>
                  </a:lnTo>
                  <a:lnTo>
                    <a:pt x="1160" y="150"/>
                  </a:lnTo>
                  <a:lnTo>
                    <a:pt x="1166" y="150"/>
                  </a:lnTo>
                  <a:lnTo>
                    <a:pt x="1166" y="150"/>
                  </a:lnTo>
                  <a:close/>
                  <a:moveTo>
                    <a:pt x="1182" y="156"/>
                  </a:moveTo>
                  <a:lnTo>
                    <a:pt x="1182" y="150"/>
                  </a:lnTo>
                  <a:lnTo>
                    <a:pt x="1188" y="150"/>
                  </a:lnTo>
                  <a:lnTo>
                    <a:pt x="1188" y="156"/>
                  </a:lnTo>
                  <a:lnTo>
                    <a:pt x="1182" y="156"/>
                  </a:lnTo>
                  <a:lnTo>
                    <a:pt x="1182" y="156"/>
                  </a:lnTo>
                  <a:close/>
                  <a:moveTo>
                    <a:pt x="1182" y="156"/>
                  </a:moveTo>
                  <a:lnTo>
                    <a:pt x="1176" y="156"/>
                  </a:lnTo>
                  <a:lnTo>
                    <a:pt x="1182" y="156"/>
                  </a:lnTo>
                  <a:lnTo>
                    <a:pt x="1182" y="156"/>
                  </a:lnTo>
                  <a:close/>
                  <a:moveTo>
                    <a:pt x="1948" y="162"/>
                  </a:moveTo>
                  <a:lnTo>
                    <a:pt x="1948" y="156"/>
                  </a:lnTo>
                  <a:lnTo>
                    <a:pt x="1954" y="156"/>
                  </a:lnTo>
                  <a:lnTo>
                    <a:pt x="1960" y="156"/>
                  </a:lnTo>
                  <a:lnTo>
                    <a:pt x="1960" y="156"/>
                  </a:lnTo>
                  <a:lnTo>
                    <a:pt x="1966" y="156"/>
                  </a:lnTo>
                  <a:lnTo>
                    <a:pt x="1960" y="156"/>
                  </a:lnTo>
                  <a:lnTo>
                    <a:pt x="1960" y="162"/>
                  </a:lnTo>
                  <a:lnTo>
                    <a:pt x="1960" y="156"/>
                  </a:lnTo>
                  <a:lnTo>
                    <a:pt x="1960" y="156"/>
                  </a:lnTo>
                  <a:lnTo>
                    <a:pt x="1954" y="156"/>
                  </a:lnTo>
                  <a:lnTo>
                    <a:pt x="1954" y="162"/>
                  </a:lnTo>
                  <a:lnTo>
                    <a:pt x="1948" y="162"/>
                  </a:lnTo>
                  <a:lnTo>
                    <a:pt x="1948" y="162"/>
                  </a:lnTo>
                  <a:close/>
                  <a:moveTo>
                    <a:pt x="1182" y="162"/>
                  </a:moveTo>
                  <a:lnTo>
                    <a:pt x="1176" y="162"/>
                  </a:lnTo>
                  <a:lnTo>
                    <a:pt x="1176" y="156"/>
                  </a:lnTo>
                  <a:lnTo>
                    <a:pt x="1182" y="156"/>
                  </a:lnTo>
                  <a:lnTo>
                    <a:pt x="1182" y="162"/>
                  </a:lnTo>
                  <a:lnTo>
                    <a:pt x="1182" y="162"/>
                  </a:lnTo>
                  <a:close/>
                  <a:moveTo>
                    <a:pt x="1142" y="156"/>
                  </a:moveTo>
                  <a:lnTo>
                    <a:pt x="1148" y="162"/>
                  </a:lnTo>
                  <a:lnTo>
                    <a:pt x="1142" y="162"/>
                  </a:lnTo>
                  <a:lnTo>
                    <a:pt x="1142" y="162"/>
                  </a:lnTo>
                  <a:lnTo>
                    <a:pt x="1142" y="156"/>
                  </a:lnTo>
                  <a:lnTo>
                    <a:pt x="1142" y="156"/>
                  </a:lnTo>
                  <a:lnTo>
                    <a:pt x="1142" y="156"/>
                  </a:lnTo>
                  <a:close/>
                  <a:moveTo>
                    <a:pt x="1166" y="156"/>
                  </a:moveTo>
                  <a:lnTo>
                    <a:pt x="1166" y="162"/>
                  </a:lnTo>
                  <a:lnTo>
                    <a:pt x="1160" y="162"/>
                  </a:lnTo>
                  <a:lnTo>
                    <a:pt x="1154" y="162"/>
                  </a:lnTo>
                  <a:lnTo>
                    <a:pt x="1154" y="156"/>
                  </a:lnTo>
                  <a:lnTo>
                    <a:pt x="1160" y="156"/>
                  </a:lnTo>
                  <a:lnTo>
                    <a:pt x="1166" y="156"/>
                  </a:lnTo>
                  <a:lnTo>
                    <a:pt x="1166" y="156"/>
                  </a:lnTo>
                  <a:close/>
                  <a:moveTo>
                    <a:pt x="1130" y="162"/>
                  </a:moveTo>
                  <a:lnTo>
                    <a:pt x="1130" y="162"/>
                  </a:lnTo>
                  <a:lnTo>
                    <a:pt x="1130" y="162"/>
                  </a:lnTo>
                  <a:lnTo>
                    <a:pt x="1124" y="162"/>
                  </a:lnTo>
                  <a:lnTo>
                    <a:pt x="1130" y="162"/>
                  </a:lnTo>
                  <a:lnTo>
                    <a:pt x="1130" y="162"/>
                  </a:lnTo>
                  <a:close/>
                  <a:moveTo>
                    <a:pt x="1414" y="168"/>
                  </a:moveTo>
                  <a:lnTo>
                    <a:pt x="1414" y="162"/>
                  </a:lnTo>
                  <a:lnTo>
                    <a:pt x="1420" y="162"/>
                  </a:lnTo>
                  <a:lnTo>
                    <a:pt x="1420" y="168"/>
                  </a:lnTo>
                  <a:lnTo>
                    <a:pt x="1420" y="168"/>
                  </a:lnTo>
                  <a:lnTo>
                    <a:pt x="1420" y="168"/>
                  </a:lnTo>
                  <a:lnTo>
                    <a:pt x="1414" y="168"/>
                  </a:lnTo>
                  <a:lnTo>
                    <a:pt x="1414" y="168"/>
                  </a:lnTo>
                  <a:close/>
                  <a:moveTo>
                    <a:pt x="1166" y="174"/>
                  </a:moveTo>
                  <a:lnTo>
                    <a:pt x="1166" y="168"/>
                  </a:lnTo>
                  <a:lnTo>
                    <a:pt x="1170" y="168"/>
                  </a:lnTo>
                  <a:lnTo>
                    <a:pt x="1166" y="168"/>
                  </a:lnTo>
                  <a:lnTo>
                    <a:pt x="1166" y="174"/>
                  </a:lnTo>
                  <a:lnTo>
                    <a:pt x="1170" y="174"/>
                  </a:lnTo>
                  <a:lnTo>
                    <a:pt x="1170" y="168"/>
                  </a:lnTo>
                  <a:lnTo>
                    <a:pt x="1170" y="174"/>
                  </a:lnTo>
                  <a:lnTo>
                    <a:pt x="1166" y="174"/>
                  </a:lnTo>
                  <a:lnTo>
                    <a:pt x="1166" y="174"/>
                  </a:lnTo>
                  <a:close/>
                  <a:moveTo>
                    <a:pt x="1166" y="180"/>
                  </a:moveTo>
                  <a:lnTo>
                    <a:pt x="1160" y="174"/>
                  </a:lnTo>
                  <a:lnTo>
                    <a:pt x="1154" y="174"/>
                  </a:lnTo>
                  <a:lnTo>
                    <a:pt x="1154" y="174"/>
                  </a:lnTo>
                  <a:lnTo>
                    <a:pt x="1148" y="174"/>
                  </a:lnTo>
                  <a:lnTo>
                    <a:pt x="1148" y="168"/>
                  </a:lnTo>
                  <a:lnTo>
                    <a:pt x="1154" y="174"/>
                  </a:lnTo>
                  <a:lnTo>
                    <a:pt x="1154" y="168"/>
                  </a:lnTo>
                  <a:lnTo>
                    <a:pt x="1154" y="168"/>
                  </a:lnTo>
                  <a:lnTo>
                    <a:pt x="1160" y="168"/>
                  </a:lnTo>
                  <a:lnTo>
                    <a:pt x="1166" y="168"/>
                  </a:lnTo>
                  <a:lnTo>
                    <a:pt x="1166" y="168"/>
                  </a:lnTo>
                  <a:lnTo>
                    <a:pt x="1166" y="174"/>
                  </a:lnTo>
                  <a:lnTo>
                    <a:pt x="1166" y="174"/>
                  </a:lnTo>
                  <a:lnTo>
                    <a:pt x="1166" y="168"/>
                  </a:lnTo>
                  <a:lnTo>
                    <a:pt x="1160" y="174"/>
                  </a:lnTo>
                  <a:lnTo>
                    <a:pt x="1166" y="174"/>
                  </a:lnTo>
                  <a:lnTo>
                    <a:pt x="1166" y="180"/>
                  </a:lnTo>
                  <a:lnTo>
                    <a:pt x="1166" y="180"/>
                  </a:lnTo>
                  <a:close/>
                  <a:moveTo>
                    <a:pt x="1142" y="174"/>
                  </a:moveTo>
                  <a:lnTo>
                    <a:pt x="1142" y="168"/>
                  </a:lnTo>
                  <a:lnTo>
                    <a:pt x="1142" y="168"/>
                  </a:lnTo>
                  <a:lnTo>
                    <a:pt x="1142" y="174"/>
                  </a:lnTo>
                  <a:lnTo>
                    <a:pt x="1136" y="174"/>
                  </a:lnTo>
                  <a:lnTo>
                    <a:pt x="1130" y="174"/>
                  </a:lnTo>
                  <a:lnTo>
                    <a:pt x="1136" y="174"/>
                  </a:lnTo>
                  <a:lnTo>
                    <a:pt x="1142" y="174"/>
                  </a:lnTo>
                  <a:lnTo>
                    <a:pt x="1142" y="174"/>
                  </a:lnTo>
                  <a:close/>
                  <a:moveTo>
                    <a:pt x="1860" y="214"/>
                  </a:moveTo>
                  <a:lnTo>
                    <a:pt x="1856" y="214"/>
                  </a:lnTo>
                  <a:lnTo>
                    <a:pt x="1856" y="214"/>
                  </a:lnTo>
                  <a:lnTo>
                    <a:pt x="1856" y="208"/>
                  </a:lnTo>
                  <a:lnTo>
                    <a:pt x="1856" y="208"/>
                  </a:lnTo>
                  <a:lnTo>
                    <a:pt x="1856" y="208"/>
                  </a:lnTo>
                  <a:lnTo>
                    <a:pt x="1850" y="208"/>
                  </a:lnTo>
                  <a:lnTo>
                    <a:pt x="1844" y="208"/>
                  </a:lnTo>
                  <a:lnTo>
                    <a:pt x="1844" y="208"/>
                  </a:lnTo>
                  <a:lnTo>
                    <a:pt x="1838" y="208"/>
                  </a:lnTo>
                  <a:lnTo>
                    <a:pt x="1832" y="214"/>
                  </a:lnTo>
                  <a:lnTo>
                    <a:pt x="1832" y="214"/>
                  </a:lnTo>
                  <a:lnTo>
                    <a:pt x="1826" y="214"/>
                  </a:lnTo>
                  <a:lnTo>
                    <a:pt x="1820" y="208"/>
                  </a:lnTo>
                  <a:lnTo>
                    <a:pt x="1820" y="208"/>
                  </a:lnTo>
                  <a:lnTo>
                    <a:pt x="1814" y="208"/>
                  </a:lnTo>
                  <a:lnTo>
                    <a:pt x="1814" y="214"/>
                  </a:lnTo>
                  <a:lnTo>
                    <a:pt x="1820" y="214"/>
                  </a:lnTo>
                  <a:lnTo>
                    <a:pt x="1814" y="214"/>
                  </a:lnTo>
                  <a:lnTo>
                    <a:pt x="1814" y="214"/>
                  </a:lnTo>
                  <a:lnTo>
                    <a:pt x="1808" y="214"/>
                  </a:lnTo>
                  <a:lnTo>
                    <a:pt x="1808" y="214"/>
                  </a:lnTo>
                  <a:lnTo>
                    <a:pt x="1802" y="214"/>
                  </a:lnTo>
                  <a:lnTo>
                    <a:pt x="1798" y="214"/>
                  </a:lnTo>
                  <a:lnTo>
                    <a:pt x="1798" y="214"/>
                  </a:lnTo>
                  <a:lnTo>
                    <a:pt x="1792" y="214"/>
                  </a:lnTo>
                  <a:lnTo>
                    <a:pt x="1792" y="214"/>
                  </a:lnTo>
                  <a:lnTo>
                    <a:pt x="1792" y="208"/>
                  </a:lnTo>
                  <a:lnTo>
                    <a:pt x="1786" y="208"/>
                  </a:lnTo>
                  <a:lnTo>
                    <a:pt x="1786" y="202"/>
                  </a:lnTo>
                  <a:lnTo>
                    <a:pt x="1780" y="202"/>
                  </a:lnTo>
                  <a:lnTo>
                    <a:pt x="1780" y="202"/>
                  </a:lnTo>
                  <a:lnTo>
                    <a:pt x="1780" y="202"/>
                  </a:lnTo>
                  <a:lnTo>
                    <a:pt x="1774" y="196"/>
                  </a:lnTo>
                  <a:lnTo>
                    <a:pt x="1780" y="196"/>
                  </a:lnTo>
                  <a:lnTo>
                    <a:pt x="1780" y="196"/>
                  </a:lnTo>
                  <a:lnTo>
                    <a:pt x="1786" y="196"/>
                  </a:lnTo>
                  <a:lnTo>
                    <a:pt x="1780" y="196"/>
                  </a:lnTo>
                  <a:lnTo>
                    <a:pt x="1780" y="196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86"/>
                  </a:lnTo>
                  <a:lnTo>
                    <a:pt x="1780" y="186"/>
                  </a:lnTo>
                  <a:lnTo>
                    <a:pt x="1786" y="186"/>
                  </a:lnTo>
                  <a:lnTo>
                    <a:pt x="1792" y="186"/>
                  </a:lnTo>
                  <a:lnTo>
                    <a:pt x="1786" y="186"/>
                  </a:lnTo>
                  <a:lnTo>
                    <a:pt x="1786" y="180"/>
                  </a:lnTo>
                  <a:lnTo>
                    <a:pt x="1780" y="180"/>
                  </a:lnTo>
                  <a:lnTo>
                    <a:pt x="1786" y="180"/>
                  </a:lnTo>
                  <a:lnTo>
                    <a:pt x="1792" y="180"/>
                  </a:lnTo>
                  <a:lnTo>
                    <a:pt x="1792" y="180"/>
                  </a:lnTo>
                  <a:lnTo>
                    <a:pt x="1792" y="174"/>
                  </a:lnTo>
                  <a:lnTo>
                    <a:pt x="1798" y="174"/>
                  </a:lnTo>
                  <a:lnTo>
                    <a:pt x="1798" y="180"/>
                  </a:lnTo>
                  <a:lnTo>
                    <a:pt x="1798" y="174"/>
                  </a:lnTo>
                  <a:lnTo>
                    <a:pt x="1802" y="174"/>
                  </a:lnTo>
                  <a:lnTo>
                    <a:pt x="1808" y="174"/>
                  </a:lnTo>
                  <a:lnTo>
                    <a:pt x="1808" y="174"/>
                  </a:lnTo>
                  <a:lnTo>
                    <a:pt x="1808" y="180"/>
                  </a:lnTo>
                  <a:lnTo>
                    <a:pt x="1814" y="180"/>
                  </a:lnTo>
                  <a:lnTo>
                    <a:pt x="1820" y="180"/>
                  </a:lnTo>
                  <a:lnTo>
                    <a:pt x="1820" y="180"/>
                  </a:lnTo>
                  <a:lnTo>
                    <a:pt x="1820" y="180"/>
                  </a:lnTo>
                  <a:lnTo>
                    <a:pt x="1820" y="186"/>
                  </a:lnTo>
                  <a:lnTo>
                    <a:pt x="1826" y="186"/>
                  </a:lnTo>
                  <a:lnTo>
                    <a:pt x="1832" y="186"/>
                  </a:lnTo>
                  <a:lnTo>
                    <a:pt x="1832" y="192"/>
                  </a:lnTo>
                  <a:lnTo>
                    <a:pt x="1832" y="192"/>
                  </a:lnTo>
                  <a:lnTo>
                    <a:pt x="1838" y="192"/>
                  </a:lnTo>
                  <a:lnTo>
                    <a:pt x="1838" y="186"/>
                  </a:lnTo>
                  <a:lnTo>
                    <a:pt x="1838" y="180"/>
                  </a:lnTo>
                  <a:lnTo>
                    <a:pt x="1838" y="180"/>
                  </a:lnTo>
                  <a:lnTo>
                    <a:pt x="1844" y="180"/>
                  </a:lnTo>
                  <a:lnTo>
                    <a:pt x="1844" y="180"/>
                  </a:lnTo>
                  <a:lnTo>
                    <a:pt x="1844" y="174"/>
                  </a:lnTo>
                  <a:lnTo>
                    <a:pt x="1844" y="174"/>
                  </a:lnTo>
                  <a:lnTo>
                    <a:pt x="1844" y="174"/>
                  </a:lnTo>
                  <a:lnTo>
                    <a:pt x="1850" y="180"/>
                  </a:lnTo>
                  <a:lnTo>
                    <a:pt x="1856" y="180"/>
                  </a:lnTo>
                  <a:lnTo>
                    <a:pt x="1856" y="180"/>
                  </a:lnTo>
                  <a:lnTo>
                    <a:pt x="1860" y="180"/>
                  </a:lnTo>
                  <a:lnTo>
                    <a:pt x="1860" y="186"/>
                  </a:lnTo>
                  <a:lnTo>
                    <a:pt x="1866" y="186"/>
                  </a:lnTo>
                  <a:lnTo>
                    <a:pt x="1872" y="186"/>
                  </a:lnTo>
                  <a:lnTo>
                    <a:pt x="1872" y="186"/>
                  </a:lnTo>
                  <a:lnTo>
                    <a:pt x="1878" y="180"/>
                  </a:lnTo>
                  <a:lnTo>
                    <a:pt x="1884" y="186"/>
                  </a:lnTo>
                  <a:lnTo>
                    <a:pt x="1884" y="186"/>
                  </a:lnTo>
                  <a:lnTo>
                    <a:pt x="1890" y="192"/>
                  </a:lnTo>
                  <a:lnTo>
                    <a:pt x="1896" y="192"/>
                  </a:lnTo>
                  <a:lnTo>
                    <a:pt x="1896" y="192"/>
                  </a:lnTo>
                  <a:lnTo>
                    <a:pt x="1902" y="192"/>
                  </a:lnTo>
                  <a:lnTo>
                    <a:pt x="1902" y="192"/>
                  </a:lnTo>
                  <a:lnTo>
                    <a:pt x="1908" y="192"/>
                  </a:lnTo>
                  <a:lnTo>
                    <a:pt x="1902" y="192"/>
                  </a:lnTo>
                  <a:lnTo>
                    <a:pt x="1896" y="192"/>
                  </a:lnTo>
                  <a:lnTo>
                    <a:pt x="1896" y="192"/>
                  </a:lnTo>
                  <a:lnTo>
                    <a:pt x="1896" y="196"/>
                  </a:lnTo>
                  <a:lnTo>
                    <a:pt x="1896" y="202"/>
                  </a:lnTo>
                  <a:lnTo>
                    <a:pt x="1896" y="202"/>
                  </a:lnTo>
                  <a:lnTo>
                    <a:pt x="1896" y="202"/>
                  </a:lnTo>
                  <a:lnTo>
                    <a:pt x="1896" y="202"/>
                  </a:lnTo>
                  <a:lnTo>
                    <a:pt x="1890" y="202"/>
                  </a:lnTo>
                  <a:lnTo>
                    <a:pt x="1884" y="202"/>
                  </a:lnTo>
                  <a:lnTo>
                    <a:pt x="1884" y="208"/>
                  </a:lnTo>
                  <a:lnTo>
                    <a:pt x="1884" y="208"/>
                  </a:lnTo>
                  <a:lnTo>
                    <a:pt x="1884" y="202"/>
                  </a:lnTo>
                  <a:lnTo>
                    <a:pt x="1878" y="202"/>
                  </a:lnTo>
                  <a:lnTo>
                    <a:pt x="1872" y="202"/>
                  </a:lnTo>
                  <a:lnTo>
                    <a:pt x="1872" y="202"/>
                  </a:lnTo>
                  <a:lnTo>
                    <a:pt x="1866" y="202"/>
                  </a:lnTo>
                  <a:lnTo>
                    <a:pt x="1866" y="202"/>
                  </a:lnTo>
                  <a:lnTo>
                    <a:pt x="1860" y="202"/>
                  </a:lnTo>
                  <a:lnTo>
                    <a:pt x="1860" y="196"/>
                  </a:lnTo>
                  <a:lnTo>
                    <a:pt x="1860" y="192"/>
                  </a:lnTo>
                  <a:lnTo>
                    <a:pt x="1866" y="192"/>
                  </a:lnTo>
                  <a:lnTo>
                    <a:pt x="1872" y="192"/>
                  </a:lnTo>
                  <a:lnTo>
                    <a:pt x="1866" y="192"/>
                  </a:lnTo>
                  <a:lnTo>
                    <a:pt x="1866" y="186"/>
                  </a:lnTo>
                  <a:lnTo>
                    <a:pt x="1860" y="186"/>
                  </a:lnTo>
                  <a:lnTo>
                    <a:pt x="1860" y="192"/>
                  </a:lnTo>
                  <a:lnTo>
                    <a:pt x="1856" y="192"/>
                  </a:lnTo>
                  <a:lnTo>
                    <a:pt x="1856" y="192"/>
                  </a:lnTo>
                  <a:lnTo>
                    <a:pt x="1856" y="192"/>
                  </a:lnTo>
                  <a:lnTo>
                    <a:pt x="1856" y="196"/>
                  </a:lnTo>
                  <a:lnTo>
                    <a:pt x="1856" y="196"/>
                  </a:lnTo>
                  <a:lnTo>
                    <a:pt x="1856" y="202"/>
                  </a:lnTo>
                  <a:lnTo>
                    <a:pt x="1860" y="202"/>
                  </a:lnTo>
                  <a:lnTo>
                    <a:pt x="1866" y="202"/>
                  </a:lnTo>
                  <a:lnTo>
                    <a:pt x="1872" y="202"/>
                  </a:lnTo>
                  <a:lnTo>
                    <a:pt x="1872" y="208"/>
                  </a:lnTo>
                  <a:lnTo>
                    <a:pt x="1878" y="208"/>
                  </a:lnTo>
                  <a:lnTo>
                    <a:pt x="1872" y="214"/>
                  </a:lnTo>
                  <a:lnTo>
                    <a:pt x="1872" y="208"/>
                  </a:lnTo>
                  <a:lnTo>
                    <a:pt x="1872" y="208"/>
                  </a:lnTo>
                  <a:lnTo>
                    <a:pt x="1872" y="214"/>
                  </a:lnTo>
                  <a:lnTo>
                    <a:pt x="1866" y="214"/>
                  </a:lnTo>
                  <a:lnTo>
                    <a:pt x="1866" y="208"/>
                  </a:lnTo>
                  <a:lnTo>
                    <a:pt x="1860" y="208"/>
                  </a:lnTo>
                  <a:lnTo>
                    <a:pt x="1860" y="214"/>
                  </a:lnTo>
                  <a:lnTo>
                    <a:pt x="1866" y="214"/>
                  </a:lnTo>
                  <a:lnTo>
                    <a:pt x="1860" y="214"/>
                  </a:lnTo>
                  <a:lnTo>
                    <a:pt x="1860" y="214"/>
                  </a:lnTo>
                  <a:close/>
                  <a:moveTo>
                    <a:pt x="2012" y="180"/>
                  </a:moveTo>
                  <a:lnTo>
                    <a:pt x="2012" y="174"/>
                  </a:lnTo>
                  <a:lnTo>
                    <a:pt x="2018" y="174"/>
                  </a:lnTo>
                  <a:lnTo>
                    <a:pt x="2018" y="180"/>
                  </a:lnTo>
                  <a:lnTo>
                    <a:pt x="2012" y="180"/>
                  </a:lnTo>
                  <a:lnTo>
                    <a:pt x="2012" y="180"/>
                  </a:lnTo>
                  <a:close/>
                  <a:moveTo>
                    <a:pt x="1838" y="180"/>
                  </a:moveTo>
                  <a:lnTo>
                    <a:pt x="1838" y="174"/>
                  </a:lnTo>
                  <a:lnTo>
                    <a:pt x="1838" y="180"/>
                  </a:lnTo>
                  <a:lnTo>
                    <a:pt x="1838" y="180"/>
                  </a:lnTo>
                  <a:close/>
                  <a:moveTo>
                    <a:pt x="1176" y="180"/>
                  </a:moveTo>
                  <a:lnTo>
                    <a:pt x="1170" y="180"/>
                  </a:lnTo>
                  <a:lnTo>
                    <a:pt x="1170" y="180"/>
                  </a:lnTo>
                  <a:lnTo>
                    <a:pt x="1166" y="180"/>
                  </a:lnTo>
                  <a:lnTo>
                    <a:pt x="1166" y="180"/>
                  </a:lnTo>
                  <a:lnTo>
                    <a:pt x="1176" y="180"/>
                  </a:lnTo>
                  <a:lnTo>
                    <a:pt x="1176" y="180"/>
                  </a:lnTo>
                  <a:close/>
                  <a:moveTo>
                    <a:pt x="962" y="180"/>
                  </a:moveTo>
                  <a:lnTo>
                    <a:pt x="956" y="180"/>
                  </a:lnTo>
                  <a:lnTo>
                    <a:pt x="950" y="180"/>
                  </a:lnTo>
                  <a:lnTo>
                    <a:pt x="944" y="180"/>
                  </a:lnTo>
                  <a:lnTo>
                    <a:pt x="950" y="180"/>
                  </a:lnTo>
                  <a:lnTo>
                    <a:pt x="950" y="180"/>
                  </a:lnTo>
                  <a:lnTo>
                    <a:pt x="956" y="180"/>
                  </a:lnTo>
                  <a:lnTo>
                    <a:pt x="956" y="180"/>
                  </a:lnTo>
                  <a:lnTo>
                    <a:pt x="962" y="180"/>
                  </a:lnTo>
                  <a:lnTo>
                    <a:pt x="962" y="180"/>
                  </a:lnTo>
                  <a:lnTo>
                    <a:pt x="962" y="180"/>
                  </a:lnTo>
                  <a:lnTo>
                    <a:pt x="962" y="180"/>
                  </a:lnTo>
                  <a:close/>
                  <a:moveTo>
                    <a:pt x="938" y="180"/>
                  </a:moveTo>
                  <a:lnTo>
                    <a:pt x="944" y="180"/>
                  </a:lnTo>
                  <a:lnTo>
                    <a:pt x="944" y="180"/>
                  </a:lnTo>
                  <a:lnTo>
                    <a:pt x="944" y="180"/>
                  </a:lnTo>
                  <a:lnTo>
                    <a:pt x="938" y="180"/>
                  </a:lnTo>
                  <a:lnTo>
                    <a:pt x="934" y="180"/>
                  </a:lnTo>
                  <a:lnTo>
                    <a:pt x="938" y="180"/>
                  </a:lnTo>
                  <a:lnTo>
                    <a:pt x="938" y="180"/>
                  </a:lnTo>
                  <a:close/>
                  <a:moveTo>
                    <a:pt x="1756" y="196"/>
                  </a:moveTo>
                  <a:lnTo>
                    <a:pt x="1756" y="192"/>
                  </a:lnTo>
                  <a:lnTo>
                    <a:pt x="1756" y="192"/>
                  </a:lnTo>
                  <a:lnTo>
                    <a:pt x="1756" y="192"/>
                  </a:lnTo>
                  <a:lnTo>
                    <a:pt x="1756" y="192"/>
                  </a:lnTo>
                  <a:lnTo>
                    <a:pt x="1756" y="186"/>
                  </a:lnTo>
                  <a:lnTo>
                    <a:pt x="1756" y="180"/>
                  </a:lnTo>
                  <a:lnTo>
                    <a:pt x="1756" y="186"/>
                  </a:lnTo>
                  <a:lnTo>
                    <a:pt x="1762" y="192"/>
                  </a:lnTo>
                  <a:lnTo>
                    <a:pt x="1768" y="192"/>
                  </a:lnTo>
                  <a:lnTo>
                    <a:pt x="1762" y="192"/>
                  </a:lnTo>
                  <a:lnTo>
                    <a:pt x="1762" y="196"/>
                  </a:lnTo>
                  <a:lnTo>
                    <a:pt x="1756" y="196"/>
                  </a:lnTo>
                  <a:lnTo>
                    <a:pt x="1756" y="196"/>
                  </a:lnTo>
                  <a:lnTo>
                    <a:pt x="1756" y="196"/>
                  </a:lnTo>
                  <a:close/>
                  <a:moveTo>
                    <a:pt x="1918" y="192"/>
                  </a:moveTo>
                  <a:lnTo>
                    <a:pt x="1918" y="192"/>
                  </a:lnTo>
                  <a:lnTo>
                    <a:pt x="1924" y="192"/>
                  </a:lnTo>
                  <a:lnTo>
                    <a:pt x="1918" y="196"/>
                  </a:lnTo>
                  <a:lnTo>
                    <a:pt x="1924" y="196"/>
                  </a:lnTo>
                  <a:lnTo>
                    <a:pt x="1930" y="196"/>
                  </a:lnTo>
                  <a:lnTo>
                    <a:pt x="1930" y="196"/>
                  </a:lnTo>
                  <a:lnTo>
                    <a:pt x="1930" y="196"/>
                  </a:lnTo>
                  <a:lnTo>
                    <a:pt x="1930" y="196"/>
                  </a:lnTo>
                  <a:lnTo>
                    <a:pt x="1936" y="196"/>
                  </a:lnTo>
                  <a:lnTo>
                    <a:pt x="1936" y="192"/>
                  </a:lnTo>
                  <a:lnTo>
                    <a:pt x="1936" y="196"/>
                  </a:lnTo>
                  <a:lnTo>
                    <a:pt x="1942" y="196"/>
                  </a:lnTo>
                  <a:lnTo>
                    <a:pt x="1942" y="196"/>
                  </a:lnTo>
                  <a:lnTo>
                    <a:pt x="1948" y="196"/>
                  </a:lnTo>
                  <a:lnTo>
                    <a:pt x="1954" y="196"/>
                  </a:lnTo>
                  <a:lnTo>
                    <a:pt x="1948" y="196"/>
                  </a:lnTo>
                  <a:lnTo>
                    <a:pt x="1948" y="202"/>
                  </a:lnTo>
                  <a:lnTo>
                    <a:pt x="1954" y="202"/>
                  </a:lnTo>
                  <a:lnTo>
                    <a:pt x="1960" y="202"/>
                  </a:lnTo>
                  <a:lnTo>
                    <a:pt x="1960" y="202"/>
                  </a:lnTo>
                  <a:lnTo>
                    <a:pt x="1966" y="202"/>
                  </a:lnTo>
                  <a:lnTo>
                    <a:pt x="1972" y="202"/>
                  </a:lnTo>
                  <a:lnTo>
                    <a:pt x="1972" y="202"/>
                  </a:lnTo>
                  <a:lnTo>
                    <a:pt x="1976" y="202"/>
                  </a:lnTo>
                  <a:lnTo>
                    <a:pt x="1982" y="202"/>
                  </a:lnTo>
                  <a:lnTo>
                    <a:pt x="1982" y="202"/>
                  </a:lnTo>
                  <a:lnTo>
                    <a:pt x="1988" y="202"/>
                  </a:lnTo>
                  <a:lnTo>
                    <a:pt x="1982" y="202"/>
                  </a:lnTo>
                  <a:lnTo>
                    <a:pt x="1982" y="208"/>
                  </a:lnTo>
                  <a:lnTo>
                    <a:pt x="1982" y="214"/>
                  </a:lnTo>
                  <a:lnTo>
                    <a:pt x="1982" y="214"/>
                  </a:lnTo>
                  <a:lnTo>
                    <a:pt x="1976" y="214"/>
                  </a:lnTo>
                  <a:lnTo>
                    <a:pt x="1972" y="214"/>
                  </a:lnTo>
                  <a:lnTo>
                    <a:pt x="1972" y="214"/>
                  </a:lnTo>
                  <a:lnTo>
                    <a:pt x="1966" y="214"/>
                  </a:lnTo>
                  <a:lnTo>
                    <a:pt x="1960" y="214"/>
                  </a:lnTo>
                  <a:lnTo>
                    <a:pt x="1960" y="214"/>
                  </a:lnTo>
                  <a:lnTo>
                    <a:pt x="1954" y="214"/>
                  </a:lnTo>
                  <a:lnTo>
                    <a:pt x="1948" y="214"/>
                  </a:lnTo>
                  <a:lnTo>
                    <a:pt x="1942" y="214"/>
                  </a:lnTo>
                  <a:lnTo>
                    <a:pt x="1942" y="214"/>
                  </a:lnTo>
                  <a:lnTo>
                    <a:pt x="1942" y="208"/>
                  </a:lnTo>
                  <a:lnTo>
                    <a:pt x="1936" y="208"/>
                  </a:lnTo>
                  <a:lnTo>
                    <a:pt x="1930" y="208"/>
                  </a:lnTo>
                  <a:lnTo>
                    <a:pt x="1930" y="208"/>
                  </a:lnTo>
                  <a:lnTo>
                    <a:pt x="1930" y="202"/>
                  </a:lnTo>
                  <a:lnTo>
                    <a:pt x="1924" y="202"/>
                  </a:lnTo>
                  <a:lnTo>
                    <a:pt x="1918" y="202"/>
                  </a:lnTo>
                  <a:lnTo>
                    <a:pt x="1918" y="202"/>
                  </a:lnTo>
                  <a:lnTo>
                    <a:pt x="1918" y="202"/>
                  </a:lnTo>
                  <a:lnTo>
                    <a:pt x="1914" y="202"/>
                  </a:lnTo>
                  <a:lnTo>
                    <a:pt x="1918" y="202"/>
                  </a:lnTo>
                  <a:lnTo>
                    <a:pt x="1918" y="196"/>
                  </a:lnTo>
                  <a:lnTo>
                    <a:pt x="1918" y="192"/>
                  </a:lnTo>
                  <a:lnTo>
                    <a:pt x="1918" y="192"/>
                  </a:lnTo>
                  <a:lnTo>
                    <a:pt x="1918" y="192"/>
                  </a:lnTo>
                  <a:close/>
                  <a:moveTo>
                    <a:pt x="944" y="192"/>
                  </a:moveTo>
                  <a:lnTo>
                    <a:pt x="944" y="192"/>
                  </a:lnTo>
                  <a:lnTo>
                    <a:pt x="944" y="196"/>
                  </a:lnTo>
                  <a:lnTo>
                    <a:pt x="944" y="196"/>
                  </a:lnTo>
                  <a:lnTo>
                    <a:pt x="944" y="196"/>
                  </a:lnTo>
                  <a:lnTo>
                    <a:pt x="944" y="202"/>
                  </a:lnTo>
                  <a:lnTo>
                    <a:pt x="944" y="196"/>
                  </a:lnTo>
                  <a:lnTo>
                    <a:pt x="938" y="196"/>
                  </a:lnTo>
                  <a:lnTo>
                    <a:pt x="938" y="202"/>
                  </a:lnTo>
                  <a:lnTo>
                    <a:pt x="934" y="196"/>
                  </a:lnTo>
                  <a:lnTo>
                    <a:pt x="938" y="196"/>
                  </a:lnTo>
                  <a:lnTo>
                    <a:pt x="938" y="192"/>
                  </a:lnTo>
                  <a:lnTo>
                    <a:pt x="938" y="196"/>
                  </a:lnTo>
                  <a:lnTo>
                    <a:pt x="944" y="196"/>
                  </a:lnTo>
                  <a:lnTo>
                    <a:pt x="944" y="192"/>
                  </a:lnTo>
                  <a:lnTo>
                    <a:pt x="944" y="192"/>
                  </a:lnTo>
                  <a:lnTo>
                    <a:pt x="944" y="192"/>
                  </a:lnTo>
                  <a:close/>
                  <a:moveTo>
                    <a:pt x="1020" y="208"/>
                  </a:moveTo>
                  <a:lnTo>
                    <a:pt x="1026" y="208"/>
                  </a:lnTo>
                  <a:lnTo>
                    <a:pt x="1020" y="208"/>
                  </a:lnTo>
                  <a:lnTo>
                    <a:pt x="1020" y="214"/>
                  </a:lnTo>
                  <a:lnTo>
                    <a:pt x="1020" y="208"/>
                  </a:lnTo>
                  <a:lnTo>
                    <a:pt x="1014" y="208"/>
                  </a:lnTo>
                  <a:lnTo>
                    <a:pt x="1014" y="214"/>
                  </a:lnTo>
                  <a:lnTo>
                    <a:pt x="1020" y="214"/>
                  </a:lnTo>
                  <a:lnTo>
                    <a:pt x="1014" y="214"/>
                  </a:lnTo>
                  <a:lnTo>
                    <a:pt x="1014" y="214"/>
                  </a:lnTo>
                  <a:lnTo>
                    <a:pt x="1008" y="214"/>
                  </a:lnTo>
                  <a:lnTo>
                    <a:pt x="1008" y="208"/>
                  </a:lnTo>
                  <a:lnTo>
                    <a:pt x="1014" y="208"/>
                  </a:lnTo>
                  <a:lnTo>
                    <a:pt x="1014" y="214"/>
                  </a:lnTo>
                  <a:lnTo>
                    <a:pt x="1014" y="208"/>
                  </a:lnTo>
                  <a:lnTo>
                    <a:pt x="1014" y="208"/>
                  </a:lnTo>
                  <a:lnTo>
                    <a:pt x="1014" y="208"/>
                  </a:lnTo>
                  <a:lnTo>
                    <a:pt x="1020" y="208"/>
                  </a:lnTo>
                  <a:lnTo>
                    <a:pt x="1020" y="208"/>
                  </a:lnTo>
                  <a:close/>
                  <a:moveTo>
                    <a:pt x="996" y="214"/>
                  </a:moveTo>
                  <a:lnTo>
                    <a:pt x="996" y="214"/>
                  </a:lnTo>
                  <a:lnTo>
                    <a:pt x="996" y="214"/>
                  </a:lnTo>
                  <a:lnTo>
                    <a:pt x="996" y="214"/>
                  </a:lnTo>
                  <a:lnTo>
                    <a:pt x="992" y="214"/>
                  </a:lnTo>
                  <a:lnTo>
                    <a:pt x="992" y="214"/>
                  </a:lnTo>
                  <a:lnTo>
                    <a:pt x="996" y="214"/>
                  </a:lnTo>
                  <a:lnTo>
                    <a:pt x="996" y="214"/>
                  </a:lnTo>
                  <a:close/>
                  <a:moveTo>
                    <a:pt x="898" y="220"/>
                  </a:moveTo>
                  <a:lnTo>
                    <a:pt x="904" y="220"/>
                  </a:lnTo>
                  <a:lnTo>
                    <a:pt x="904" y="214"/>
                  </a:lnTo>
                  <a:lnTo>
                    <a:pt x="904" y="220"/>
                  </a:lnTo>
                  <a:lnTo>
                    <a:pt x="910" y="220"/>
                  </a:lnTo>
                  <a:lnTo>
                    <a:pt x="904" y="220"/>
                  </a:lnTo>
                  <a:lnTo>
                    <a:pt x="898" y="220"/>
                  </a:lnTo>
                  <a:lnTo>
                    <a:pt x="898" y="220"/>
                  </a:lnTo>
                  <a:close/>
                  <a:moveTo>
                    <a:pt x="996" y="220"/>
                  </a:moveTo>
                  <a:lnTo>
                    <a:pt x="996" y="226"/>
                  </a:lnTo>
                  <a:lnTo>
                    <a:pt x="992" y="226"/>
                  </a:lnTo>
                  <a:lnTo>
                    <a:pt x="992" y="220"/>
                  </a:lnTo>
                  <a:lnTo>
                    <a:pt x="996" y="220"/>
                  </a:lnTo>
                  <a:lnTo>
                    <a:pt x="996" y="220"/>
                  </a:lnTo>
                  <a:lnTo>
                    <a:pt x="996" y="220"/>
                  </a:lnTo>
                  <a:close/>
                  <a:moveTo>
                    <a:pt x="1408" y="232"/>
                  </a:moveTo>
                  <a:lnTo>
                    <a:pt x="1408" y="232"/>
                  </a:lnTo>
                  <a:lnTo>
                    <a:pt x="1402" y="232"/>
                  </a:lnTo>
                  <a:lnTo>
                    <a:pt x="1396" y="232"/>
                  </a:lnTo>
                  <a:lnTo>
                    <a:pt x="1396" y="232"/>
                  </a:lnTo>
                  <a:lnTo>
                    <a:pt x="1396" y="232"/>
                  </a:lnTo>
                  <a:lnTo>
                    <a:pt x="1392" y="232"/>
                  </a:lnTo>
                  <a:lnTo>
                    <a:pt x="1392" y="226"/>
                  </a:lnTo>
                  <a:lnTo>
                    <a:pt x="1396" y="226"/>
                  </a:lnTo>
                  <a:lnTo>
                    <a:pt x="1396" y="226"/>
                  </a:lnTo>
                  <a:lnTo>
                    <a:pt x="1396" y="220"/>
                  </a:lnTo>
                  <a:lnTo>
                    <a:pt x="1402" y="220"/>
                  </a:lnTo>
                  <a:lnTo>
                    <a:pt x="1408" y="220"/>
                  </a:lnTo>
                  <a:lnTo>
                    <a:pt x="1414" y="220"/>
                  </a:lnTo>
                  <a:lnTo>
                    <a:pt x="1420" y="220"/>
                  </a:lnTo>
                  <a:lnTo>
                    <a:pt x="1420" y="226"/>
                  </a:lnTo>
                  <a:lnTo>
                    <a:pt x="1420" y="232"/>
                  </a:lnTo>
                  <a:lnTo>
                    <a:pt x="1414" y="232"/>
                  </a:lnTo>
                  <a:lnTo>
                    <a:pt x="1414" y="232"/>
                  </a:lnTo>
                  <a:lnTo>
                    <a:pt x="1408" y="232"/>
                  </a:lnTo>
                  <a:lnTo>
                    <a:pt x="1408" y="232"/>
                  </a:lnTo>
                  <a:close/>
                  <a:moveTo>
                    <a:pt x="986" y="220"/>
                  </a:moveTo>
                  <a:lnTo>
                    <a:pt x="986" y="220"/>
                  </a:lnTo>
                  <a:lnTo>
                    <a:pt x="986" y="226"/>
                  </a:lnTo>
                  <a:lnTo>
                    <a:pt x="986" y="226"/>
                  </a:lnTo>
                  <a:lnTo>
                    <a:pt x="986" y="226"/>
                  </a:lnTo>
                  <a:lnTo>
                    <a:pt x="986" y="226"/>
                  </a:lnTo>
                  <a:lnTo>
                    <a:pt x="980" y="226"/>
                  </a:lnTo>
                  <a:lnTo>
                    <a:pt x="986" y="226"/>
                  </a:lnTo>
                  <a:lnTo>
                    <a:pt x="986" y="220"/>
                  </a:lnTo>
                  <a:lnTo>
                    <a:pt x="986" y="220"/>
                  </a:lnTo>
                  <a:close/>
                  <a:moveTo>
                    <a:pt x="1460" y="232"/>
                  </a:moveTo>
                  <a:lnTo>
                    <a:pt x="1460" y="226"/>
                  </a:lnTo>
                  <a:lnTo>
                    <a:pt x="1460" y="226"/>
                  </a:lnTo>
                  <a:lnTo>
                    <a:pt x="1460" y="232"/>
                  </a:lnTo>
                  <a:lnTo>
                    <a:pt x="1460" y="232"/>
                  </a:lnTo>
                  <a:lnTo>
                    <a:pt x="1460" y="232"/>
                  </a:lnTo>
                  <a:close/>
                  <a:moveTo>
                    <a:pt x="1832" y="244"/>
                  </a:moveTo>
                  <a:lnTo>
                    <a:pt x="1832" y="238"/>
                  </a:lnTo>
                  <a:lnTo>
                    <a:pt x="1826" y="238"/>
                  </a:lnTo>
                  <a:lnTo>
                    <a:pt x="1826" y="232"/>
                  </a:lnTo>
                  <a:lnTo>
                    <a:pt x="1826" y="232"/>
                  </a:lnTo>
                  <a:lnTo>
                    <a:pt x="1832" y="232"/>
                  </a:lnTo>
                  <a:lnTo>
                    <a:pt x="1832" y="232"/>
                  </a:lnTo>
                  <a:lnTo>
                    <a:pt x="1838" y="232"/>
                  </a:lnTo>
                  <a:lnTo>
                    <a:pt x="1844" y="232"/>
                  </a:lnTo>
                  <a:lnTo>
                    <a:pt x="1838" y="232"/>
                  </a:lnTo>
                  <a:lnTo>
                    <a:pt x="1838" y="238"/>
                  </a:lnTo>
                  <a:lnTo>
                    <a:pt x="1832" y="238"/>
                  </a:lnTo>
                  <a:lnTo>
                    <a:pt x="1832" y="238"/>
                  </a:lnTo>
                  <a:lnTo>
                    <a:pt x="1832" y="244"/>
                  </a:lnTo>
                  <a:lnTo>
                    <a:pt x="1832" y="244"/>
                  </a:lnTo>
                  <a:close/>
                  <a:moveTo>
                    <a:pt x="1756" y="232"/>
                  </a:moveTo>
                  <a:lnTo>
                    <a:pt x="1756" y="232"/>
                  </a:lnTo>
                  <a:lnTo>
                    <a:pt x="1762" y="232"/>
                  </a:lnTo>
                  <a:lnTo>
                    <a:pt x="1768" y="238"/>
                  </a:lnTo>
                  <a:lnTo>
                    <a:pt x="1768" y="244"/>
                  </a:lnTo>
                  <a:lnTo>
                    <a:pt x="1762" y="244"/>
                  </a:lnTo>
                  <a:lnTo>
                    <a:pt x="1762" y="238"/>
                  </a:lnTo>
                  <a:lnTo>
                    <a:pt x="1756" y="238"/>
                  </a:lnTo>
                  <a:lnTo>
                    <a:pt x="1756" y="232"/>
                  </a:lnTo>
                  <a:lnTo>
                    <a:pt x="1756" y="232"/>
                  </a:lnTo>
                  <a:lnTo>
                    <a:pt x="1756" y="232"/>
                  </a:lnTo>
                  <a:lnTo>
                    <a:pt x="1756" y="232"/>
                  </a:lnTo>
                  <a:close/>
                  <a:moveTo>
                    <a:pt x="950" y="232"/>
                  </a:moveTo>
                  <a:lnTo>
                    <a:pt x="956" y="232"/>
                  </a:lnTo>
                  <a:lnTo>
                    <a:pt x="956" y="238"/>
                  </a:lnTo>
                  <a:lnTo>
                    <a:pt x="950" y="238"/>
                  </a:lnTo>
                  <a:lnTo>
                    <a:pt x="950" y="232"/>
                  </a:lnTo>
                  <a:lnTo>
                    <a:pt x="944" y="232"/>
                  </a:lnTo>
                  <a:lnTo>
                    <a:pt x="950" y="232"/>
                  </a:lnTo>
                  <a:lnTo>
                    <a:pt x="950" y="232"/>
                  </a:lnTo>
                  <a:close/>
                  <a:moveTo>
                    <a:pt x="956" y="232"/>
                  </a:moveTo>
                  <a:lnTo>
                    <a:pt x="962" y="232"/>
                  </a:lnTo>
                  <a:lnTo>
                    <a:pt x="962" y="232"/>
                  </a:lnTo>
                  <a:lnTo>
                    <a:pt x="968" y="232"/>
                  </a:lnTo>
                  <a:lnTo>
                    <a:pt x="962" y="232"/>
                  </a:lnTo>
                  <a:lnTo>
                    <a:pt x="962" y="238"/>
                  </a:lnTo>
                  <a:lnTo>
                    <a:pt x="968" y="238"/>
                  </a:lnTo>
                  <a:lnTo>
                    <a:pt x="962" y="238"/>
                  </a:lnTo>
                  <a:lnTo>
                    <a:pt x="962" y="232"/>
                  </a:lnTo>
                  <a:lnTo>
                    <a:pt x="962" y="232"/>
                  </a:lnTo>
                  <a:lnTo>
                    <a:pt x="956" y="232"/>
                  </a:lnTo>
                  <a:lnTo>
                    <a:pt x="956" y="232"/>
                  </a:lnTo>
                  <a:close/>
                  <a:moveTo>
                    <a:pt x="974" y="238"/>
                  </a:moveTo>
                  <a:lnTo>
                    <a:pt x="980" y="238"/>
                  </a:lnTo>
                  <a:lnTo>
                    <a:pt x="974" y="238"/>
                  </a:lnTo>
                  <a:lnTo>
                    <a:pt x="974" y="238"/>
                  </a:lnTo>
                  <a:lnTo>
                    <a:pt x="974" y="238"/>
                  </a:lnTo>
                  <a:lnTo>
                    <a:pt x="974" y="238"/>
                  </a:lnTo>
                  <a:close/>
                  <a:moveTo>
                    <a:pt x="1588" y="244"/>
                  </a:moveTo>
                  <a:lnTo>
                    <a:pt x="1588" y="238"/>
                  </a:lnTo>
                  <a:lnTo>
                    <a:pt x="1588" y="238"/>
                  </a:lnTo>
                  <a:lnTo>
                    <a:pt x="1588" y="238"/>
                  </a:lnTo>
                  <a:lnTo>
                    <a:pt x="1588" y="244"/>
                  </a:lnTo>
                  <a:lnTo>
                    <a:pt x="1588" y="244"/>
                  </a:lnTo>
                  <a:lnTo>
                    <a:pt x="1588" y="244"/>
                  </a:lnTo>
                  <a:lnTo>
                    <a:pt x="1588" y="244"/>
                  </a:lnTo>
                  <a:close/>
                  <a:moveTo>
                    <a:pt x="1844" y="244"/>
                  </a:moveTo>
                  <a:lnTo>
                    <a:pt x="1844" y="244"/>
                  </a:lnTo>
                  <a:lnTo>
                    <a:pt x="1850" y="244"/>
                  </a:lnTo>
                  <a:lnTo>
                    <a:pt x="1856" y="244"/>
                  </a:lnTo>
                  <a:lnTo>
                    <a:pt x="1856" y="244"/>
                  </a:lnTo>
                  <a:lnTo>
                    <a:pt x="1860" y="244"/>
                  </a:lnTo>
                  <a:lnTo>
                    <a:pt x="1866" y="244"/>
                  </a:lnTo>
                  <a:lnTo>
                    <a:pt x="1872" y="244"/>
                  </a:lnTo>
                  <a:lnTo>
                    <a:pt x="1872" y="250"/>
                  </a:lnTo>
                  <a:lnTo>
                    <a:pt x="1872" y="250"/>
                  </a:lnTo>
                  <a:lnTo>
                    <a:pt x="1872" y="254"/>
                  </a:lnTo>
                  <a:lnTo>
                    <a:pt x="1878" y="254"/>
                  </a:lnTo>
                  <a:lnTo>
                    <a:pt x="1872" y="254"/>
                  </a:lnTo>
                  <a:lnTo>
                    <a:pt x="1872" y="254"/>
                  </a:lnTo>
                  <a:lnTo>
                    <a:pt x="1878" y="254"/>
                  </a:lnTo>
                  <a:lnTo>
                    <a:pt x="1872" y="260"/>
                  </a:lnTo>
                  <a:lnTo>
                    <a:pt x="1872" y="260"/>
                  </a:lnTo>
                  <a:lnTo>
                    <a:pt x="1866" y="254"/>
                  </a:lnTo>
                  <a:lnTo>
                    <a:pt x="1860" y="254"/>
                  </a:lnTo>
                  <a:lnTo>
                    <a:pt x="1856" y="254"/>
                  </a:lnTo>
                  <a:lnTo>
                    <a:pt x="1856" y="254"/>
                  </a:lnTo>
                  <a:lnTo>
                    <a:pt x="1850" y="254"/>
                  </a:lnTo>
                  <a:lnTo>
                    <a:pt x="1844" y="254"/>
                  </a:lnTo>
                  <a:lnTo>
                    <a:pt x="1844" y="254"/>
                  </a:lnTo>
                  <a:lnTo>
                    <a:pt x="1838" y="254"/>
                  </a:lnTo>
                  <a:lnTo>
                    <a:pt x="1832" y="254"/>
                  </a:lnTo>
                  <a:lnTo>
                    <a:pt x="1832" y="254"/>
                  </a:lnTo>
                  <a:lnTo>
                    <a:pt x="1826" y="254"/>
                  </a:lnTo>
                  <a:lnTo>
                    <a:pt x="1820" y="254"/>
                  </a:lnTo>
                  <a:lnTo>
                    <a:pt x="1820" y="254"/>
                  </a:lnTo>
                  <a:lnTo>
                    <a:pt x="1820" y="254"/>
                  </a:lnTo>
                  <a:lnTo>
                    <a:pt x="1826" y="254"/>
                  </a:lnTo>
                  <a:lnTo>
                    <a:pt x="1832" y="254"/>
                  </a:lnTo>
                  <a:lnTo>
                    <a:pt x="1832" y="250"/>
                  </a:lnTo>
                  <a:lnTo>
                    <a:pt x="1832" y="250"/>
                  </a:lnTo>
                  <a:lnTo>
                    <a:pt x="1832" y="244"/>
                  </a:lnTo>
                  <a:lnTo>
                    <a:pt x="1838" y="244"/>
                  </a:lnTo>
                  <a:lnTo>
                    <a:pt x="1844" y="244"/>
                  </a:lnTo>
                  <a:lnTo>
                    <a:pt x="1844" y="244"/>
                  </a:lnTo>
                  <a:close/>
                  <a:moveTo>
                    <a:pt x="1606" y="250"/>
                  </a:moveTo>
                  <a:lnTo>
                    <a:pt x="1612" y="250"/>
                  </a:lnTo>
                  <a:lnTo>
                    <a:pt x="1606" y="250"/>
                  </a:lnTo>
                  <a:lnTo>
                    <a:pt x="1606" y="250"/>
                  </a:lnTo>
                  <a:close/>
                  <a:moveTo>
                    <a:pt x="922" y="254"/>
                  </a:moveTo>
                  <a:lnTo>
                    <a:pt x="916" y="250"/>
                  </a:lnTo>
                  <a:lnTo>
                    <a:pt x="922" y="250"/>
                  </a:lnTo>
                  <a:lnTo>
                    <a:pt x="922" y="254"/>
                  </a:lnTo>
                  <a:lnTo>
                    <a:pt x="922" y="254"/>
                  </a:lnTo>
                  <a:close/>
                  <a:moveTo>
                    <a:pt x="1628" y="250"/>
                  </a:moveTo>
                  <a:lnTo>
                    <a:pt x="1634" y="250"/>
                  </a:lnTo>
                  <a:lnTo>
                    <a:pt x="1640" y="250"/>
                  </a:lnTo>
                  <a:lnTo>
                    <a:pt x="1640" y="254"/>
                  </a:lnTo>
                  <a:lnTo>
                    <a:pt x="1640" y="254"/>
                  </a:lnTo>
                  <a:lnTo>
                    <a:pt x="1634" y="250"/>
                  </a:lnTo>
                  <a:lnTo>
                    <a:pt x="1628" y="250"/>
                  </a:lnTo>
                  <a:lnTo>
                    <a:pt x="1628" y="250"/>
                  </a:lnTo>
                  <a:close/>
                  <a:moveTo>
                    <a:pt x="760" y="266"/>
                  </a:moveTo>
                  <a:lnTo>
                    <a:pt x="760" y="260"/>
                  </a:lnTo>
                  <a:lnTo>
                    <a:pt x="764" y="260"/>
                  </a:lnTo>
                  <a:lnTo>
                    <a:pt x="764" y="254"/>
                  </a:lnTo>
                  <a:lnTo>
                    <a:pt x="764" y="254"/>
                  </a:lnTo>
                  <a:lnTo>
                    <a:pt x="760" y="254"/>
                  </a:lnTo>
                  <a:lnTo>
                    <a:pt x="764" y="254"/>
                  </a:lnTo>
                  <a:lnTo>
                    <a:pt x="770" y="254"/>
                  </a:lnTo>
                  <a:lnTo>
                    <a:pt x="770" y="254"/>
                  </a:lnTo>
                  <a:lnTo>
                    <a:pt x="776" y="250"/>
                  </a:lnTo>
                  <a:lnTo>
                    <a:pt x="782" y="254"/>
                  </a:lnTo>
                  <a:lnTo>
                    <a:pt x="776" y="254"/>
                  </a:lnTo>
                  <a:lnTo>
                    <a:pt x="782" y="254"/>
                  </a:lnTo>
                  <a:lnTo>
                    <a:pt x="782" y="254"/>
                  </a:lnTo>
                  <a:lnTo>
                    <a:pt x="788" y="254"/>
                  </a:lnTo>
                  <a:lnTo>
                    <a:pt x="788" y="260"/>
                  </a:lnTo>
                  <a:lnTo>
                    <a:pt x="782" y="260"/>
                  </a:lnTo>
                  <a:lnTo>
                    <a:pt x="782" y="260"/>
                  </a:lnTo>
                  <a:lnTo>
                    <a:pt x="776" y="260"/>
                  </a:lnTo>
                  <a:lnTo>
                    <a:pt x="770" y="260"/>
                  </a:lnTo>
                  <a:lnTo>
                    <a:pt x="770" y="266"/>
                  </a:lnTo>
                  <a:lnTo>
                    <a:pt x="770" y="266"/>
                  </a:lnTo>
                  <a:lnTo>
                    <a:pt x="764" y="266"/>
                  </a:lnTo>
                  <a:lnTo>
                    <a:pt x="764" y="260"/>
                  </a:lnTo>
                  <a:lnTo>
                    <a:pt x="764" y="266"/>
                  </a:lnTo>
                  <a:lnTo>
                    <a:pt x="760" y="266"/>
                  </a:lnTo>
                  <a:lnTo>
                    <a:pt x="760" y="266"/>
                  </a:lnTo>
                  <a:close/>
                  <a:moveTo>
                    <a:pt x="510" y="312"/>
                  </a:moveTo>
                  <a:lnTo>
                    <a:pt x="516" y="308"/>
                  </a:lnTo>
                  <a:lnTo>
                    <a:pt x="522" y="308"/>
                  </a:lnTo>
                  <a:lnTo>
                    <a:pt x="516" y="308"/>
                  </a:lnTo>
                  <a:lnTo>
                    <a:pt x="510" y="308"/>
                  </a:lnTo>
                  <a:lnTo>
                    <a:pt x="510" y="312"/>
                  </a:lnTo>
                  <a:lnTo>
                    <a:pt x="510" y="308"/>
                  </a:lnTo>
                  <a:lnTo>
                    <a:pt x="510" y="308"/>
                  </a:lnTo>
                  <a:lnTo>
                    <a:pt x="510" y="308"/>
                  </a:lnTo>
                  <a:lnTo>
                    <a:pt x="510" y="308"/>
                  </a:lnTo>
                  <a:lnTo>
                    <a:pt x="504" y="308"/>
                  </a:lnTo>
                  <a:lnTo>
                    <a:pt x="498" y="308"/>
                  </a:lnTo>
                  <a:lnTo>
                    <a:pt x="498" y="308"/>
                  </a:lnTo>
                  <a:lnTo>
                    <a:pt x="498" y="308"/>
                  </a:lnTo>
                  <a:lnTo>
                    <a:pt x="498" y="308"/>
                  </a:lnTo>
                  <a:lnTo>
                    <a:pt x="492" y="308"/>
                  </a:lnTo>
                  <a:lnTo>
                    <a:pt x="492" y="308"/>
                  </a:lnTo>
                  <a:lnTo>
                    <a:pt x="492" y="308"/>
                  </a:lnTo>
                  <a:lnTo>
                    <a:pt x="486" y="308"/>
                  </a:lnTo>
                  <a:lnTo>
                    <a:pt x="486" y="308"/>
                  </a:lnTo>
                  <a:lnTo>
                    <a:pt x="480" y="302"/>
                  </a:lnTo>
                  <a:lnTo>
                    <a:pt x="480" y="296"/>
                  </a:lnTo>
                  <a:lnTo>
                    <a:pt x="480" y="296"/>
                  </a:lnTo>
                  <a:lnTo>
                    <a:pt x="486" y="296"/>
                  </a:lnTo>
                  <a:lnTo>
                    <a:pt x="486" y="290"/>
                  </a:lnTo>
                  <a:lnTo>
                    <a:pt x="486" y="290"/>
                  </a:lnTo>
                  <a:lnTo>
                    <a:pt x="492" y="290"/>
                  </a:lnTo>
                  <a:lnTo>
                    <a:pt x="492" y="296"/>
                  </a:lnTo>
                  <a:lnTo>
                    <a:pt x="498" y="296"/>
                  </a:lnTo>
                  <a:lnTo>
                    <a:pt x="498" y="290"/>
                  </a:lnTo>
                  <a:lnTo>
                    <a:pt x="498" y="284"/>
                  </a:lnTo>
                  <a:lnTo>
                    <a:pt x="498" y="284"/>
                  </a:lnTo>
                  <a:lnTo>
                    <a:pt x="498" y="278"/>
                  </a:lnTo>
                  <a:lnTo>
                    <a:pt x="504" y="278"/>
                  </a:lnTo>
                  <a:lnTo>
                    <a:pt x="504" y="278"/>
                  </a:lnTo>
                  <a:lnTo>
                    <a:pt x="498" y="278"/>
                  </a:lnTo>
                  <a:lnTo>
                    <a:pt x="504" y="272"/>
                  </a:lnTo>
                  <a:lnTo>
                    <a:pt x="504" y="278"/>
                  </a:lnTo>
                  <a:lnTo>
                    <a:pt x="510" y="278"/>
                  </a:lnTo>
                  <a:lnTo>
                    <a:pt x="504" y="272"/>
                  </a:lnTo>
                  <a:lnTo>
                    <a:pt x="498" y="272"/>
                  </a:lnTo>
                  <a:lnTo>
                    <a:pt x="498" y="272"/>
                  </a:lnTo>
                  <a:lnTo>
                    <a:pt x="498" y="266"/>
                  </a:lnTo>
                  <a:lnTo>
                    <a:pt x="504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0"/>
                  </a:lnTo>
                  <a:lnTo>
                    <a:pt x="510" y="254"/>
                  </a:lnTo>
                  <a:lnTo>
                    <a:pt x="516" y="254"/>
                  </a:lnTo>
                  <a:lnTo>
                    <a:pt x="522" y="254"/>
                  </a:lnTo>
                  <a:lnTo>
                    <a:pt x="528" y="254"/>
                  </a:lnTo>
                  <a:lnTo>
                    <a:pt x="528" y="254"/>
                  </a:lnTo>
                  <a:lnTo>
                    <a:pt x="528" y="254"/>
                  </a:lnTo>
                  <a:lnTo>
                    <a:pt x="532" y="254"/>
                  </a:lnTo>
                  <a:lnTo>
                    <a:pt x="538" y="254"/>
                  </a:lnTo>
                  <a:lnTo>
                    <a:pt x="538" y="254"/>
                  </a:lnTo>
                  <a:lnTo>
                    <a:pt x="544" y="254"/>
                  </a:lnTo>
                  <a:lnTo>
                    <a:pt x="550" y="254"/>
                  </a:lnTo>
                  <a:lnTo>
                    <a:pt x="550" y="254"/>
                  </a:lnTo>
                  <a:lnTo>
                    <a:pt x="556" y="254"/>
                  </a:lnTo>
                  <a:lnTo>
                    <a:pt x="556" y="260"/>
                  </a:lnTo>
                  <a:lnTo>
                    <a:pt x="562" y="260"/>
                  </a:lnTo>
                  <a:lnTo>
                    <a:pt x="556" y="260"/>
                  </a:lnTo>
                  <a:lnTo>
                    <a:pt x="550" y="260"/>
                  </a:lnTo>
                  <a:lnTo>
                    <a:pt x="550" y="266"/>
                  </a:lnTo>
                  <a:lnTo>
                    <a:pt x="550" y="266"/>
                  </a:lnTo>
                  <a:lnTo>
                    <a:pt x="556" y="266"/>
                  </a:lnTo>
                  <a:lnTo>
                    <a:pt x="550" y="266"/>
                  </a:lnTo>
                  <a:lnTo>
                    <a:pt x="550" y="266"/>
                  </a:lnTo>
                  <a:lnTo>
                    <a:pt x="544" y="266"/>
                  </a:lnTo>
                  <a:lnTo>
                    <a:pt x="550" y="266"/>
                  </a:lnTo>
                  <a:lnTo>
                    <a:pt x="550" y="266"/>
                  </a:lnTo>
                  <a:lnTo>
                    <a:pt x="550" y="266"/>
                  </a:lnTo>
                  <a:lnTo>
                    <a:pt x="550" y="272"/>
                  </a:lnTo>
                  <a:lnTo>
                    <a:pt x="550" y="272"/>
                  </a:lnTo>
                  <a:lnTo>
                    <a:pt x="550" y="266"/>
                  </a:lnTo>
                  <a:lnTo>
                    <a:pt x="550" y="272"/>
                  </a:lnTo>
                  <a:lnTo>
                    <a:pt x="544" y="272"/>
                  </a:lnTo>
                  <a:lnTo>
                    <a:pt x="544" y="266"/>
                  </a:lnTo>
                  <a:lnTo>
                    <a:pt x="538" y="272"/>
                  </a:lnTo>
                  <a:lnTo>
                    <a:pt x="544" y="272"/>
                  </a:lnTo>
                  <a:lnTo>
                    <a:pt x="550" y="272"/>
                  </a:lnTo>
                  <a:lnTo>
                    <a:pt x="544" y="278"/>
                  </a:lnTo>
                  <a:lnTo>
                    <a:pt x="538" y="278"/>
                  </a:lnTo>
                  <a:lnTo>
                    <a:pt x="544" y="278"/>
                  </a:lnTo>
                  <a:lnTo>
                    <a:pt x="544" y="278"/>
                  </a:lnTo>
                  <a:lnTo>
                    <a:pt x="538" y="278"/>
                  </a:lnTo>
                  <a:lnTo>
                    <a:pt x="538" y="278"/>
                  </a:lnTo>
                  <a:lnTo>
                    <a:pt x="538" y="278"/>
                  </a:lnTo>
                  <a:lnTo>
                    <a:pt x="544" y="278"/>
                  </a:lnTo>
                  <a:lnTo>
                    <a:pt x="538" y="284"/>
                  </a:lnTo>
                  <a:lnTo>
                    <a:pt x="544" y="284"/>
                  </a:lnTo>
                  <a:lnTo>
                    <a:pt x="544" y="290"/>
                  </a:lnTo>
                  <a:lnTo>
                    <a:pt x="538" y="290"/>
                  </a:lnTo>
                  <a:lnTo>
                    <a:pt x="538" y="296"/>
                  </a:lnTo>
                  <a:lnTo>
                    <a:pt x="538" y="296"/>
                  </a:lnTo>
                  <a:lnTo>
                    <a:pt x="544" y="296"/>
                  </a:lnTo>
                  <a:lnTo>
                    <a:pt x="544" y="302"/>
                  </a:lnTo>
                  <a:lnTo>
                    <a:pt x="544" y="308"/>
                  </a:lnTo>
                  <a:lnTo>
                    <a:pt x="550" y="308"/>
                  </a:lnTo>
                  <a:lnTo>
                    <a:pt x="550" y="308"/>
                  </a:lnTo>
                  <a:lnTo>
                    <a:pt x="550" y="312"/>
                  </a:lnTo>
                  <a:lnTo>
                    <a:pt x="550" y="318"/>
                  </a:lnTo>
                  <a:lnTo>
                    <a:pt x="556" y="318"/>
                  </a:lnTo>
                  <a:lnTo>
                    <a:pt x="562" y="318"/>
                  </a:lnTo>
                  <a:lnTo>
                    <a:pt x="562" y="324"/>
                  </a:lnTo>
                  <a:lnTo>
                    <a:pt x="568" y="324"/>
                  </a:lnTo>
                  <a:lnTo>
                    <a:pt x="574" y="324"/>
                  </a:lnTo>
                  <a:lnTo>
                    <a:pt x="574" y="330"/>
                  </a:lnTo>
                  <a:lnTo>
                    <a:pt x="574" y="330"/>
                  </a:lnTo>
                  <a:lnTo>
                    <a:pt x="574" y="330"/>
                  </a:lnTo>
                  <a:lnTo>
                    <a:pt x="568" y="330"/>
                  </a:lnTo>
                  <a:lnTo>
                    <a:pt x="568" y="330"/>
                  </a:lnTo>
                  <a:lnTo>
                    <a:pt x="562" y="330"/>
                  </a:lnTo>
                  <a:lnTo>
                    <a:pt x="562" y="330"/>
                  </a:lnTo>
                  <a:lnTo>
                    <a:pt x="562" y="330"/>
                  </a:lnTo>
                  <a:lnTo>
                    <a:pt x="568" y="330"/>
                  </a:lnTo>
                  <a:lnTo>
                    <a:pt x="574" y="330"/>
                  </a:lnTo>
                  <a:lnTo>
                    <a:pt x="568" y="330"/>
                  </a:lnTo>
                  <a:lnTo>
                    <a:pt x="562" y="330"/>
                  </a:lnTo>
                  <a:lnTo>
                    <a:pt x="562" y="330"/>
                  </a:lnTo>
                  <a:lnTo>
                    <a:pt x="556" y="330"/>
                  </a:lnTo>
                  <a:lnTo>
                    <a:pt x="562" y="330"/>
                  </a:lnTo>
                  <a:lnTo>
                    <a:pt x="556" y="330"/>
                  </a:lnTo>
                  <a:lnTo>
                    <a:pt x="550" y="330"/>
                  </a:lnTo>
                  <a:lnTo>
                    <a:pt x="556" y="330"/>
                  </a:lnTo>
                  <a:lnTo>
                    <a:pt x="556" y="330"/>
                  </a:lnTo>
                  <a:lnTo>
                    <a:pt x="562" y="330"/>
                  </a:lnTo>
                  <a:lnTo>
                    <a:pt x="556" y="330"/>
                  </a:lnTo>
                  <a:lnTo>
                    <a:pt x="562" y="330"/>
                  </a:lnTo>
                  <a:lnTo>
                    <a:pt x="556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44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44" y="330"/>
                  </a:lnTo>
                  <a:lnTo>
                    <a:pt x="538" y="330"/>
                  </a:lnTo>
                  <a:lnTo>
                    <a:pt x="538" y="330"/>
                  </a:lnTo>
                  <a:lnTo>
                    <a:pt x="538" y="330"/>
                  </a:lnTo>
                  <a:lnTo>
                    <a:pt x="532" y="330"/>
                  </a:lnTo>
                  <a:lnTo>
                    <a:pt x="528" y="330"/>
                  </a:lnTo>
                  <a:lnTo>
                    <a:pt x="532" y="330"/>
                  </a:lnTo>
                  <a:lnTo>
                    <a:pt x="528" y="330"/>
                  </a:lnTo>
                  <a:lnTo>
                    <a:pt x="528" y="330"/>
                  </a:lnTo>
                  <a:lnTo>
                    <a:pt x="522" y="330"/>
                  </a:lnTo>
                  <a:lnTo>
                    <a:pt x="516" y="324"/>
                  </a:lnTo>
                  <a:lnTo>
                    <a:pt x="516" y="330"/>
                  </a:lnTo>
                  <a:lnTo>
                    <a:pt x="516" y="324"/>
                  </a:lnTo>
                  <a:lnTo>
                    <a:pt x="510" y="324"/>
                  </a:lnTo>
                  <a:lnTo>
                    <a:pt x="516" y="324"/>
                  </a:lnTo>
                  <a:lnTo>
                    <a:pt x="516" y="318"/>
                  </a:lnTo>
                  <a:lnTo>
                    <a:pt x="510" y="318"/>
                  </a:lnTo>
                  <a:lnTo>
                    <a:pt x="510" y="318"/>
                  </a:lnTo>
                  <a:lnTo>
                    <a:pt x="516" y="318"/>
                  </a:lnTo>
                  <a:lnTo>
                    <a:pt x="522" y="318"/>
                  </a:lnTo>
                  <a:lnTo>
                    <a:pt x="528" y="318"/>
                  </a:lnTo>
                  <a:lnTo>
                    <a:pt x="522" y="318"/>
                  </a:lnTo>
                  <a:lnTo>
                    <a:pt x="516" y="318"/>
                  </a:lnTo>
                  <a:lnTo>
                    <a:pt x="510" y="318"/>
                  </a:lnTo>
                  <a:lnTo>
                    <a:pt x="510" y="312"/>
                  </a:lnTo>
                  <a:lnTo>
                    <a:pt x="510" y="312"/>
                  </a:lnTo>
                  <a:close/>
                  <a:moveTo>
                    <a:pt x="1518" y="266"/>
                  </a:moveTo>
                  <a:lnTo>
                    <a:pt x="1512" y="260"/>
                  </a:lnTo>
                  <a:lnTo>
                    <a:pt x="1518" y="260"/>
                  </a:lnTo>
                  <a:lnTo>
                    <a:pt x="1524" y="260"/>
                  </a:lnTo>
                  <a:lnTo>
                    <a:pt x="1524" y="266"/>
                  </a:lnTo>
                  <a:lnTo>
                    <a:pt x="1518" y="266"/>
                  </a:lnTo>
                  <a:lnTo>
                    <a:pt x="1518" y="266"/>
                  </a:lnTo>
                  <a:close/>
                  <a:moveTo>
                    <a:pt x="898" y="266"/>
                  </a:moveTo>
                  <a:lnTo>
                    <a:pt x="898" y="266"/>
                  </a:lnTo>
                  <a:lnTo>
                    <a:pt x="898" y="266"/>
                  </a:lnTo>
                  <a:lnTo>
                    <a:pt x="898" y="260"/>
                  </a:lnTo>
                  <a:lnTo>
                    <a:pt x="904" y="260"/>
                  </a:lnTo>
                  <a:lnTo>
                    <a:pt x="904" y="266"/>
                  </a:lnTo>
                  <a:lnTo>
                    <a:pt x="910" y="266"/>
                  </a:lnTo>
                  <a:lnTo>
                    <a:pt x="910" y="272"/>
                  </a:lnTo>
                  <a:lnTo>
                    <a:pt x="904" y="272"/>
                  </a:lnTo>
                  <a:lnTo>
                    <a:pt x="898" y="272"/>
                  </a:lnTo>
                  <a:lnTo>
                    <a:pt x="898" y="272"/>
                  </a:lnTo>
                  <a:lnTo>
                    <a:pt x="892" y="266"/>
                  </a:lnTo>
                  <a:lnTo>
                    <a:pt x="898" y="266"/>
                  </a:lnTo>
                  <a:lnTo>
                    <a:pt x="898" y="266"/>
                  </a:lnTo>
                  <a:close/>
                  <a:moveTo>
                    <a:pt x="870" y="284"/>
                  </a:moveTo>
                  <a:lnTo>
                    <a:pt x="870" y="278"/>
                  </a:lnTo>
                  <a:lnTo>
                    <a:pt x="870" y="278"/>
                  </a:lnTo>
                  <a:lnTo>
                    <a:pt x="870" y="278"/>
                  </a:lnTo>
                  <a:lnTo>
                    <a:pt x="876" y="278"/>
                  </a:lnTo>
                  <a:lnTo>
                    <a:pt x="880" y="278"/>
                  </a:lnTo>
                  <a:lnTo>
                    <a:pt x="880" y="278"/>
                  </a:lnTo>
                  <a:lnTo>
                    <a:pt x="886" y="278"/>
                  </a:lnTo>
                  <a:lnTo>
                    <a:pt x="886" y="278"/>
                  </a:lnTo>
                  <a:lnTo>
                    <a:pt x="880" y="278"/>
                  </a:lnTo>
                  <a:lnTo>
                    <a:pt x="880" y="284"/>
                  </a:lnTo>
                  <a:lnTo>
                    <a:pt x="880" y="284"/>
                  </a:lnTo>
                  <a:lnTo>
                    <a:pt x="876" y="284"/>
                  </a:lnTo>
                  <a:lnTo>
                    <a:pt x="870" y="284"/>
                  </a:lnTo>
                  <a:lnTo>
                    <a:pt x="870" y="284"/>
                  </a:lnTo>
                  <a:lnTo>
                    <a:pt x="870" y="284"/>
                  </a:lnTo>
                  <a:close/>
                  <a:moveTo>
                    <a:pt x="1798" y="308"/>
                  </a:moveTo>
                  <a:lnTo>
                    <a:pt x="1798" y="302"/>
                  </a:lnTo>
                  <a:lnTo>
                    <a:pt x="1802" y="302"/>
                  </a:lnTo>
                  <a:lnTo>
                    <a:pt x="1802" y="308"/>
                  </a:lnTo>
                  <a:lnTo>
                    <a:pt x="1798" y="308"/>
                  </a:lnTo>
                  <a:lnTo>
                    <a:pt x="1798" y="308"/>
                  </a:lnTo>
                  <a:close/>
                  <a:moveTo>
                    <a:pt x="1792" y="308"/>
                  </a:moveTo>
                  <a:lnTo>
                    <a:pt x="1792" y="308"/>
                  </a:lnTo>
                  <a:lnTo>
                    <a:pt x="1786" y="308"/>
                  </a:lnTo>
                  <a:lnTo>
                    <a:pt x="1780" y="308"/>
                  </a:lnTo>
                  <a:lnTo>
                    <a:pt x="1780" y="308"/>
                  </a:lnTo>
                  <a:lnTo>
                    <a:pt x="1780" y="308"/>
                  </a:lnTo>
                  <a:lnTo>
                    <a:pt x="1780" y="308"/>
                  </a:lnTo>
                  <a:lnTo>
                    <a:pt x="1786" y="308"/>
                  </a:lnTo>
                  <a:lnTo>
                    <a:pt x="1792" y="308"/>
                  </a:lnTo>
                  <a:lnTo>
                    <a:pt x="1792" y="308"/>
                  </a:lnTo>
                  <a:lnTo>
                    <a:pt x="1792" y="308"/>
                  </a:lnTo>
                  <a:close/>
                  <a:moveTo>
                    <a:pt x="504" y="318"/>
                  </a:moveTo>
                  <a:lnTo>
                    <a:pt x="498" y="318"/>
                  </a:lnTo>
                  <a:lnTo>
                    <a:pt x="498" y="312"/>
                  </a:lnTo>
                  <a:lnTo>
                    <a:pt x="498" y="312"/>
                  </a:lnTo>
                  <a:lnTo>
                    <a:pt x="492" y="312"/>
                  </a:lnTo>
                  <a:lnTo>
                    <a:pt x="498" y="312"/>
                  </a:lnTo>
                  <a:lnTo>
                    <a:pt x="498" y="308"/>
                  </a:lnTo>
                  <a:lnTo>
                    <a:pt x="498" y="308"/>
                  </a:lnTo>
                  <a:lnTo>
                    <a:pt x="504" y="308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8" y="308"/>
                  </a:lnTo>
                  <a:lnTo>
                    <a:pt x="498" y="312"/>
                  </a:lnTo>
                  <a:lnTo>
                    <a:pt x="504" y="312"/>
                  </a:lnTo>
                  <a:lnTo>
                    <a:pt x="510" y="312"/>
                  </a:lnTo>
                  <a:lnTo>
                    <a:pt x="504" y="312"/>
                  </a:lnTo>
                  <a:lnTo>
                    <a:pt x="510" y="312"/>
                  </a:lnTo>
                  <a:lnTo>
                    <a:pt x="510" y="318"/>
                  </a:lnTo>
                  <a:lnTo>
                    <a:pt x="510" y="318"/>
                  </a:lnTo>
                  <a:lnTo>
                    <a:pt x="504" y="318"/>
                  </a:lnTo>
                  <a:lnTo>
                    <a:pt x="504" y="318"/>
                  </a:lnTo>
                  <a:lnTo>
                    <a:pt x="510" y="318"/>
                  </a:lnTo>
                  <a:lnTo>
                    <a:pt x="504" y="318"/>
                  </a:lnTo>
                  <a:lnTo>
                    <a:pt x="504" y="318"/>
                  </a:lnTo>
                  <a:close/>
                  <a:moveTo>
                    <a:pt x="2150" y="330"/>
                  </a:moveTo>
                  <a:lnTo>
                    <a:pt x="2150" y="330"/>
                  </a:lnTo>
                  <a:lnTo>
                    <a:pt x="2150" y="324"/>
                  </a:lnTo>
                  <a:lnTo>
                    <a:pt x="2150" y="324"/>
                  </a:lnTo>
                  <a:lnTo>
                    <a:pt x="2150" y="330"/>
                  </a:lnTo>
                  <a:lnTo>
                    <a:pt x="2150" y="330"/>
                  </a:lnTo>
                  <a:close/>
                  <a:moveTo>
                    <a:pt x="608" y="360"/>
                  </a:moveTo>
                  <a:lnTo>
                    <a:pt x="602" y="360"/>
                  </a:lnTo>
                  <a:lnTo>
                    <a:pt x="602" y="354"/>
                  </a:lnTo>
                  <a:lnTo>
                    <a:pt x="602" y="354"/>
                  </a:lnTo>
                  <a:lnTo>
                    <a:pt x="596" y="354"/>
                  </a:lnTo>
                  <a:lnTo>
                    <a:pt x="596" y="348"/>
                  </a:lnTo>
                  <a:lnTo>
                    <a:pt x="596" y="354"/>
                  </a:lnTo>
                  <a:lnTo>
                    <a:pt x="590" y="348"/>
                  </a:lnTo>
                  <a:lnTo>
                    <a:pt x="590" y="348"/>
                  </a:lnTo>
                  <a:lnTo>
                    <a:pt x="590" y="342"/>
                  </a:lnTo>
                  <a:lnTo>
                    <a:pt x="590" y="342"/>
                  </a:lnTo>
                  <a:lnTo>
                    <a:pt x="590" y="342"/>
                  </a:lnTo>
                  <a:lnTo>
                    <a:pt x="590" y="336"/>
                  </a:lnTo>
                  <a:lnTo>
                    <a:pt x="596" y="336"/>
                  </a:lnTo>
                  <a:lnTo>
                    <a:pt x="602" y="336"/>
                  </a:lnTo>
                  <a:lnTo>
                    <a:pt x="602" y="342"/>
                  </a:lnTo>
                  <a:lnTo>
                    <a:pt x="602" y="342"/>
                  </a:lnTo>
                  <a:lnTo>
                    <a:pt x="602" y="342"/>
                  </a:lnTo>
                  <a:lnTo>
                    <a:pt x="608" y="342"/>
                  </a:lnTo>
                  <a:lnTo>
                    <a:pt x="614" y="348"/>
                  </a:lnTo>
                  <a:lnTo>
                    <a:pt x="614" y="348"/>
                  </a:lnTo>
                  <a:lnTo>
                    <a:pt x="620" y="354"/>
                  </a:lnTo>
                  <a:lnTo>
                    <a:pt x="614" y="360"/>
                  </a:lnTo>
                  <a:lnTo>
                    <a:pt x="614" y="360"/>
                  </a:lnTo>
                  <a:lnTo>
                    <a:pt x="608" y="360"/>
                  </a:lnTo>
                  <a:lnTo>
                    <a:pt x="608" y="360"/>
                  </a:lnTo>
                  <a:close/>
                  <a:moveTo>
                    <a:pt x="2266" y="360"/>
                  </a:moveTo>
                  <a:lnTo>
                    <a:pt x="2266" y="360"/>
                  </a:lnTo>
                  <a:lnTo>
                    <a:pt x="2266" y="360"/>
                  </a:lnTo>
                  <a:lnTo>
                    <a:pt x="2262" y="360"/>
                  </a:lnTo>
                  <a:lnTo>
                    <a:pt x="2256" y="360"/>
                  </a:lnTo>
                  <a:lnTo>
                    <a:pt x="2250" y="360"/>
                  </a:lnTo>
                  <a:lnTo>
                    <a:pt x="2250" y="360"/>
                  </a:lnTo>
                  <a:lnTo>
                    <a:pt x="2244" y="354"/>
                  </a:lnTo>
                  <a:lnTo>
                    <a:pt x="2244" y="348"/>
                  </a:lnTo>
                  <a:lnTo>
                    <a:pt x="2250" y="348"/>
                  </a:lnTo>
                  <a:lnTo>
                    <a:pt x="2250" y="348"/>
                  </a:lnTo>
                  <a:lnTo>
                    <a:pt x="2256" y="348"/>
                  </a:lnTo>
                  <a:lnTo>
                    <a:pt x="2262" y="348"/>
                  </a:lnTo>
                  <a:lnTo>
                    <a:pt x="2262" y="354"/>
                  </a:lnTo>
                  <a:lnTo>
                    <a:pt x="2266" y="354"/>
                  </a:lnTo>
                  <a:lnTo>
                    <a:pt x="2266" y="354"/>
                  </a:lnTo>
                  <a:lnTo>
                    <a:pt x="2266" y="360"/>
                  </a:lnTo>
                  <a:lnTo>
                    <a:pt x="2266" y="360"/>
                  </a:lnTo>
                  <a:close/>
                  <a:moveTo>
                    <a:pt x="2150" y="360"/>
                  </a:moveTo>
                  <a:lnTo>
                    <a:pt x="2150" y="360"/>
                  </a:lnTo>
                  <a:lnTo>
                    <a:pt x="2150" y="360"/>
                  </a:lnTo>
                  <a:lnTo>
                    <a:pt x="2150" y="360"/>
                  </a:lnTo>
                  <a:lnTo>
                    <a:pt x="2150" y="360"/>
                  </a:lnTo>
                  <a:lnTo>
                    <a:pt x="2150" y="360"/>
                  </a:lnTo>
                  <a:close/>
                  <a:moveTo>
                    <a:pt x="2146" y="366"/>
                  </a:moveTo>
                  <a:lnTo>
                    <a:pt x="2150" y="366"/>
                  </a:lnTo>
                  <a:lnTo>
                    <a:pt x="2150" y="360"/>
                  </a:lnTo>
                  <a:lnTo>
                    <a:pt x="2146" y="360"/>
                  </a:lnTo>
                  <a:lnTo>
                    <a:pt x="2150" y="360"/>
                  </a:lnTo>
                  <a:lnTo>
                    <a:pt x="2150" y="360"/>
                  </a:lnTo>
                  <a:lnTo>
                    <a:pt x="2150" y="366"/>
                  </a:lnTo>
                  <a:lnTo>
                    <a:pt x="2146" y="366"/>
                  </a:lnTo>
                  <a:lnTo>
                    <a:pt x="2146" y="366"/>
                  </a:lnTo>
                  <a:close/>
                  <a:moveTo>
                    <a:pt x="718" y="360"/>
                  </a:moveTo>
                  <a:lnTo>
                    <a:pt x="718" y="360"/>
                  </a:lnTo>
                  <a:lnTo>
                    <a:pt x="724" y="360"/>
                  </a:lnTo>
                  <a:lnTo>
                    <a:pt x="718" y="366"/>
                  </a:lnTo>
                  <a:lnTo>
                    <a:pt x="718" y="366"/>
                  </a:lnTo>
                  <a:lnTo>
                    <a:pt x="718" y="360"/>
                  </a:lnTo>
                  <a:lnTo>
                    <a:pt x="718" y="360"/>
                  </a:lnTo>
                  <a:close/>
                  <a:moveTo>
                    <a:pt x="2150" y="376"/>
                  </a:moveTo>
                  <a:lnTo>
                    <a:pt x="2146" y="376"/>
                  </a:lnTo>
                  <a:lnTo>
                    <a:pt x="2146" y="372"/>
                  </a:lnTo>
                  <a:lnTo>
                    <a:pt x="2140" y="372"/>
                  </a:lnTo>
                  <a:lnTo>
                    <a:pt x="2140" y="372"/>
                  </a:lnTo>
                  <a:lnTo>
                    <a:pt x="2146" y="372"/>
                  </a:lnTo>
                  <a:lnTo>
                    <a:pt x="2146" y="366"/>
                  </a:lnTo>
                  <a:lnTo>
                    <a:pt x="2140" y="366"/>
                  </a:lnTo>
                  <a:lnTo>
                    <a:pt x="2146" y="360"/>
                  </a:lnTo>
                  <a:lnTo>
                    <a:pt x="2146" y="366"/>
                  </a:lnTo>
                  <a:lnTo>
                    <a:pt x="2146" y="372"/>
                  </a:lnTo>
                  <a:lnTo>
                    <a:pt x="2146" y="372"/>
                  </a:lnTo>
                  <a:lnTo>
                    <a:pt x="2150" y="372"/>
                  </a:lnTo>
                  <a:lnTo>
                    <a:pt x="2150" y="376"/>
                  </a:lnTo>
                  <a:lnTo>
                    <a:pt x="2150" y="376"/>
                  </a:lnTo>
                  <a:close/>
                  <a:moveTo>
                    <a:pt x="434" y="372"/>
                  </a:moveTo>
                  <a:lnTo>
                    <a:pt x="434" y="372"/>
                  </a:lnTo>
                  <a:lnTo>
                    <a:pt x="440" y="372"/>
                  </a:lnTo>
                  <a:lnTo>
                    <a:pt x="440" y="366"/>
                  </a:lnTo>
                  <a:lnTo>
                    <a:pt x="440" y="366"/>
                  </a:lnTo>
                  <a:lnTo>
                    <a:pt x="440" y="360"/>
                  </a:lnTo>
                  <a:lnTo>
                    <a:pt x="446" y="360"/>
                  </a:lnTo>
                  <a:lnTo>
                    <a:pt x="452" y="360"/>
                  </a:lnTo>
                  <a:lnTo>
                    <a:pt x="452" y="366"/>
                  </a:lnTo>
                  <a:lnTo>
                    <a:pt x="458" y="366"/>
                  </a:lnTo>
                  <a:lnTo>
                    <a:pt x="464" y="372"/>
                  </a:lnTo>
                  <a:lnTo>
                    <a:pt x="464" y="372"/>
                  </a:lnTo>
                  <a:lnTo>
                    <a:pt x="464" y="376"/>
                  </a:lnTo>
                  <a:lnTo>
                    <a:pt x="464" y="372"/>
                  </a:lnTo>
                  <a:lnTo>
                    <a:pt x="464" y="372"/>
                  </a:lnTo>
                  <a:lnTo>
                    <a:pt x="464" y="372"/>
                  </a:lnTo>
                  <a:lnTo>
                    <a:pt x="458" y="376"/>
                  </a:lnTo>
                  <a:lnTo>
                    <a:pt x="458" y="382"/>
                  </a:lnTo>
                  <a:lnTo>
                    <a:pt x="452" y="382"/>
                  </a:lnTo>
                  <a:lnTo>
                    <a:pt x="452" y="382"/>
                  </a:lnTo>
                  <a:lnTo>
                    <a:pt x="446" y="382"/>
                  </a:lnTo>
                  <a:lnTo>
                    <a:pt x="440" y="382"/>
                  </a:lnTo>
                  <a:lnTo>
                    <a:pt x="440" y="382"/>
                  </a:lnTo>
                  <a:lnTo>
                    <a:pt x="434" y="376"/>
                  </a:lnTo>
                  <a:lnTo>
                    <a:pt x="434" y="372"/>
                  </a:lnTo>
                  <a:lnTo>
                    <a:pt x="434" y="372"/>
                  </a:lnTo>
                  <a:close/>
                  <a:moveTo>
                    <a:pt x="220" y="366"/>
                  </a:moveTo>
                  <a:lnTo>
                    <a:pt x="226" y="366"/>
                  </a:lnTo>
                  <a:lnTo>
                    <a:pt x="220" y="366"/>
                  </a:lnTo>
                  <a:lnTo>
                    <a:pt x="220" y="366"/>
                  </a:lnTo>
                  <a:lnTo>
                    <a:pt x="220" y="366"/>
                  </a:lnTo>
                  <a:lnTo>
                    <a:pt x="220" y="366"/>
                  </a:lnTo>
                  <a:close/>
                  <a:moveTo>
                    <a:pt x="702" y="372"/>
                  </a:moveTo>
                  <a:lnTo>
                    <a:pt x="706" y="372"/>
                  </a:lnTo>
                  <a:lnTo>
                    <a:pt x="706" y="372"/>
                  </a:lnTo>
                  <a:lnTo>
                    <a:pt x="706" y="376"/>
                  </a:lnTo>
                  <a:lnTo>
                    <a:pt x="712" y="376"/>
                  </a:lnTo>
                  <a:lnTo>
                    <a:pt x="706" y="376"/>
                  </a:lnTo>
                  <a:lnTo>
                    <a:pt x="706" y="372"/>
                  </a:lnTo>
                  <a:lnTo>
                    <a:pt x="702" y="372"/>
                  </a:lnTo>
                  <a:lnTo>
                    <a:pt x="702" y="372"/>
                  </a:lnTo>
                  <a:close/>
                  <a:moveTo>
                    <a:pt x="568" y="382"/>
                  </a:moveTo>
                  <a:lnTo>
                    <a:pt x="574" y="382"/>
                  </a:lnTo>
                  <a:lnTo>
                    <a:pt x="574" y="382"/>
                  </a:lnTo>
                  <a:lnTo>
                    <a:pt x="580" y="382"/>
                  </a:lnTo>
                  <a:lnTo>
                    <a:pt x="574" y="382"/>
                  </a:lnTo>
                  <a:lnTo>
                    <a:pt x="574" y="382"/>
                  </a:lnTo>
                  <a:lnTo>
                    <a:pt x="574" y="382"/>
                  </a:lnTo>
                  <a:lnTo>
                    <a:pt x="568" y="382"/>
                  </a:lnTo>
                  <a:lnTo>
                    <a:pt x="568" y="382"/>
                  </a:lnTo>
                  <a:lnTo>
                    <a:pt x="568" y="382"/>
                  </a:lnTo>
                  <a:close/>
                  <a:moveTo>
                    <a:pt x="474" y="394"/>
                  </a:moveTo>
                  <a:lnTo>
                    <a:pt x="474" y="388"/>
                  </a:lnTo>
                  <a:lnTo>
                    <a:pt x="474" y="388"/>
                  </a:lnTo>
                  <a:lnTo>
                    <a:pt x="480" y="388"/>
                  </a:lnTo>
                  <a:lnTo>
                    <a:pt x="474" y="388"/>
                  </a:lnTo>
                  <a:lnTo>
                    <a:pt x="474" y="394"/>
                  </a:lnTo>
                  <a:lnTo>
                    <a:pt x="474" y="394"/>
                  </a:lnTo>
                  <a:lnTo>
                    <a:pt x="474" y="394"/>
                  </a:lnTo>
                  <a:close/>
                  <a:moveTo>
                    <a:pt x="348" y="434"/>
                  </a:moveTo>
                  <a:lnTo>
                    <a:pt x="348" y="434"/>
                  </a:lnTo>
                  <a:lnTo>
                    <a:pt x="348" y="434"/>
                  </a:lnTo>
                  <a:lnTo>
                    <a:pt x="348" y="434"/>
                  </a:lnTo>
                  <a:lnTo>
                    <a:pt x="348" y="434"/>
                  </a:lnTo>
                  <a:lnTo>
                    <a:pt x="348" y="434"/>
                  </a:lnTo>
                  <a:close/>
                  <a:moveTo>
                    <a:pt x="244" y="476"/>
                  </a:moveTo>
                  <a:lnTo>
                    <a:pt x="244" y="482"/>
                  </a:lnTo>
                  <a:lnTo>
                    <a:pt x="244" y="482"/>
                  </a:lnTo>
                  <a:lnTo>
                    <a:pt x="244" y="476"/>
                  </a:lnTo>
                  <a:lnTo>
                    <a:pt x="244" y="476"/>
                  </a:lnTo>
                  <a:lnTo>
                    <a:pt x="244" y="476"/>
                  </a:lnTo>
                  <a:close/>
                  <a:moveTo>
                    <a:pt x="2584" y="488"/>
                  </a:moveTo>
                  <a:lnTo>
                    <a:pt x="2584" y="488"/>
                  </a:lnTo>
                  <a:lnTo>
                    <a:pt x="2590" y="488"/>
                  </a:lnTo>
                  <a:lnTo>
                    <a:pt x="2590" y="488"/>
                  </a:lnTo>
                  <a:lnTo>
                    <a:pt x="2590" y="488"/>
                  </a:lnTo>
                  <a:lnTo>
                    <a:pt x="2590" y="488"/>
                  </a:lnTo>
                  <a:lnTo>
                    <a:pt x="2584" y="488"/>
                  </a:lnTo>
                  <a:lnTo>
                    <a:pt x="2584" y="488"/>
                  </a:lnTo>
                  <a:close/>
                  <a:moveTo>
                    <a:pt x="2578" y="488"/>
                  </a:moveTo>
                  <a:lnTo>
                    <a:pt x="2584" y="488"/>
                  </a:lnTo>
                  <a:lnTo>
                    <a:pt x="2584" y="492"/>
                  </a:lnTo>
                  <a:lnTo>
                    <a:pt x="2584" y="488"/>
                  </a:lnTo>
                  <a:lnTo>
                    <a:pt x="2578" y="488"/>
                  </a:lnTo>
                  <a:lnTo>
                    <a:pt x="2578" y="488"/>
                  </a:lnTo>
                  <a:close/>
                  <a:moveTo>
                    <a:pt x="2180" y="638"/>
                  </a:moveTo>
                  <a:lnTo>
                    <a:pt x="2180" y="638"/>
                  </a:lnTo>
                  <a:lnTo>
                    <a:pt x="2180" y="638"/>
                  </a:lnTo>
                  <a:lnTo>
                    <a:pt x="2180" y="632"/>
                  </a:lnTo>
                  <a:lnTo>
                    <a:pt x="2186" y="632"/>
                  </a:lnTo>
                  <a:lnTo>
                    <a:pt x="2186" y="626"/>
                  </a:lnTo>
                  <a:lnTo>
                    <a:pt x="2180" y="626"/>
                  </a:lnTo>
                  <a:lnTo>
                    <a:pt x="2180" y="632"/>
                  </a:lnTo>
                  <a:lnTo>
                    <a:pt x="2180" y="626"/>
                  </a:lnTo>
                  <a:lnTo>
                    <a:pt x="2186" y="626"/>
                  </a:lnTo>
                  <a:lnTo>
                    <a:pt x="2192" y="626"/>
                  </a:lnTo>
                  <a:lnTo>
                    <a:pt x="2192" y="626"/>
                  </a:lnTo>
                  <a:lnTo>
                    <a:pt x="2192" y="626"/>
                  </a:lnTo>
                  <a:lnTo>
                    <a:pt x="2198" y="626"/>
                  </a:lnTo>
                  <a:lnTo>
                    <a:pt x="2198" y="626"/>
                  </a:lnTo>
                  <a:lnTo>
                    <a:pt x="2198" y="632"/>
                  </a:lnTo>
                  <a:lnTo>
                    <a:pt x="2192" y="632"/>
                  </a:lnTo>
                  <a:lnTo>
                    <a:pt x="2192" y="632"/>
                  </a:lnTo>
                  <a:lnTo>
                    <a:pt x="2192" y="638"/>
                  </a:lnTo>
                  <a:lnTo>
                    <a:pt x="2186" y="638"/>
                  </a:lnTo>
                  <a:lnTo>
                    <a:pt x="2180" y="638"/>
                  </a:lnTo>
                  <a:lnTo>
                    <a:pt x="2180" y="644"/>
                  </a:lnTo>
                  <a:lnTo>
                    <a:pt x="2180" y="638"/>
                  </a:lnTo>
                  <a:lnTo>
                    <a:pt x="2180" y="638"/>
                  </a:lnTo>
                  <a:close/>
                  <a:moveTo>
                    <a:pt x="2220" y="714"/>
                  </a:moveTo>
                  <a:lnTo>
                    <a:pt x="2220" y="720"/>
                  </a:lnTo>
                  <a:lnTo>
                    <a:pt x="2220" y="724"/>
                  </a:lnTo>
                  <a:lnTo>
                    <a:pt x="2226" y="730"/>
                  </a:lnTo>
                  <a:lnTo>
                    <a:pt x="2226" y="730"/>
                  </a:lnTo>
                  <a:lnTo>
                    <a:pt x="2226" y="730"/>
                  </a:lnTo>
                  <a:lnTo>
                    <a:pt x="2220" y="730"/>
                  </a:lnTo>
                  <a:lnTo>
                    <a:pt x="2220" y="724"/>
                  </a:lnTo>
                  <a:lnTo>
                    <a:pt x="2214" y="724"/>
                  </a:lnTo>
                  <a:lnTo>
                    <a:pt x="2214" y="720"/>
                  </a:lnTo>
                  <a:lnTo>
                    <a:pt x="2214" y="720"/>
                  </a:lnTo>
                  <a:lnTo>
                    <a:pt x="2214" y="714"/>
                  </a:lnTo>
                  <a:lnTo>
                    <a:pt x="2214" y="714"/>
                  </a:lnTo>
                  <a:lnTo>
                    <a:pt x="2220" y="714"/>
                  </a:lnTo>
                  <a:lnTo>
                    <a:pt x="2220" y="714"/>
                  </a:lnTo>
                  <a:close/>
                  <a:moveTo>
                    <a:pt x="1780" y="730"/>
                  </a:moveTo>
                  <a:lnTo>
                    <a:pt x="1780" y="730"/>
                  </a:lnTo>
                  <a:lnTo>
                    <a:pt x="1780" y="724"/>
                  </a:lnTo>
                  <a:lnTo>
                    <a:pt x="1786" y="724"/>
                  </a:lnTo>
                  <a:lnTo>
                    <a:pt x="1786" y="720"/>
                  </a:lnTo>
                  <a:lnTo>
                    <a:pt x="1792" y="720"/>
                  </a:lnTo>
                  <a:lnTo>
                    <a:pt x="1792" y="724"/>
                  </a:lnTo>
                  <a:lnTo>
                    <a:pt x="1792" y="724"/>
                  </a:lnTo>
                  <a:lnTo>
                    <a:pt x="1792" y="730"/>
                  </a:lnTo>
                  <a:lnTo>
                    <a:pt x="1792" y="730"/>
                  </a:lnTo>
                  <a:lnTo>
                    <a:pt x="1786" y="730"/>
                  </a:lnTo>
                  <a:lnTo>
                    <a:pt x="1786" y="730"/>
                  </a:lnTo>
                  <a:lnTo>
                    <a:pt x="1780" y="730"/>
                  </a:lnTo>
                  <a:lnTo>
                    <a:pt x="1780" y="730"/>
                  </a:lnTo>
                  <a:lnTo>
                    <a:pt x="1780" y="730"/>
                  </a:lnTo>
                  <a:close/>
                  <a:moveTo>
                    <a:pt x="2238" y="730"/>
                  </a:moveTo>
                  <a:lnTo>
                    <a:pt x="2244" y="730"/>
                  </a:lnTo>
                  <a:lnTo>
                    <a:pt x="2244" y="730"/>
                  </a:lnTo>
                  <a:lnTo>
                    <a:pt x="2250" y="736"/>
                  </a:lnTo>
                  <a:lnTo>
                    <a:pt x="2244" y="736"/>
                  </a:lnTo>
                  <a:lnTo>
                    <a:pt x="2244" y="730"/>
                  </a:lnTo>
                  <a:lnTo>
                    <a:pt x="2244" y="730"/>
                  </a:lnTo>
                  <a:lnTo>
                    <a:pt x="2238" y="730"/>
                  </a:lnTo>
                  <a:lnTo>
                    <a:pt x="2238" y="730"/>
                  </a:lnTo>
                  <a:close/>
                  <a:moveTo>
                    <a:pt x="1872" y="928"/>
                  </a:moveTo>
                  <a:lnTo>
                    <a:pt x="1872" y="922"/>
                  </a:lnTo>
                  <a:lnTo>
                    <a:pt x="1872" y="922"/>
                  </a:lnTo>
                  <a:lnTo>
                    <a:pt x="1872" y="916"/>
                  </a:lnTo>
                  <a:lnTo>
                    <a:pt x="1872" y="910"/>
                  </a:lnTo>
                  <a:lnTo>
                    <a:pt x="1872" y="916"/>
                  </a:lnTo>
                  <a:lnTo>
                    <a:pt x="1872" y="910"/>
                  </a:lnTo>
                  <a:lnTo>
                    <a:pt x="1866" y="910"/>
                  </a:lnTo>
                  <a:lnTo>
                    <a:pt x="1860" y="910"/>
                  </a:lnTo>
                  <a:lnTo>
                    <a:pt x="1856" y="916"/>
                  </a:lnTo>
                  <a:lnTo>
                    <a:pt x="1856" y="922"/>
                  </a:lnTo>
                  <a:lnTo>
                    <a:pt x="1856" y="922"/>
                  </a:lnTo>
                  <a:lnTo>
                    <a:pt x="1856" y="928"/>
                  </a:lnTo>
                  <a:lnTo>
                    <a:pt x="1856" y="928"/>
                  </a:lnTo>
                  <a:lnTo>
                    <a:pt x="1856" y="922"/>
                  </a:lnTo>
                  <a:lnTo>
                    <a:pt x="1850" y="922"/>
                  </a:lnTo>
                  <a:lnTo>
                    <a:pt x="1850" y="916"/>
                  </a:lnTo>
                  <a:lnTo>
                    <a:pt x="1850" y="910"/>
                  </a:lnTo>
                  <a:lnTo>
                    <a:pt x="1856" y="910"/>
                  </a:lnTo>
                  <a:lnTo>
                    <a:pt x="1856" y="904"/>
                  </a:lnTo>
                  <a:lnTo>
                    <a:pt x="1856" y="898"/>
                  </a:lnTo>
                  <a:lnTo>
                    <a:pt x="1856" y="898"/>
                  </a:lnTo>
                  <a:lnTo>
                    <a:pt x="1856" y="894"/>
                  </a:lnTo>
                  <a:lnTo>
                    <a:pt x="1856" y="888"/>
                  </a:lnTo>
                  <a:lnTo>
                    <a:pt x="1856" y="882"/>
                  </a:lnTo>
                  <a:lnTo>
                    <a:pt x="1856" y="882"/>
                  </a:lnTo>
                  <a:lnTo>
                    <a:pt x="1856" y="882"/>
                  </a:lnTo>
                  <a:lnTo>
                    <a:pt x="1856" y="882"/>
                  </a:lnTo>
                  <a:lnTo>
                    <a:pt x="1856" y="876"/>
                  </a:lnTo>
                  <a:lnTo>
                    <a:pt x="1856" y="870"/>
                  </a:lnTo>
                  <a:lnTo>
                    <a:pt x="1856" y="870"/>
                  </a:lnTo>
                  <a:lnTo>
                    <a:pt x="1850" y="870"/>
                  </a:lnTo>
                  <a:lnTo>
                    <a:pt x="1850" y="864"/>
                  </a:lnTo>
                  <a:lnTo>
                    <a:pt x="1856" y="864"/>
                  </a:lnTo>
                  <a:lnTo>
                    <a:pt x="1856" y="858"/>
                  </a:lnTo>
                  <a:lnTo>
                    <a:pt x="1856" y="858"/>
                  </a:lnTo>
                  <a:lnTo>
                    <a:pt x="1856" y="852"/>
                  </a:lnTo>
                  <a:lnTo>
                    <a:pt x="1856" y="846"/>
                  </a:lnTo>
                  <a:lnTo>
                    <a:pt x="1856" y="846"/>
                  </a:lnTo>
                  <a:lnTo>
                    <a:pt x="1856" y="840"/>
                  </a:lnTo>
                  <a:lnTo>
                    <a:pt x="1856" y="836"/>
                  </a:lnTo>
                  <a:lnTo>
                    <a:pt x="1856" y="830"/>
                  </a:lnTo>
                  <a:lnTo>
                    <a:pt x="1856" y="830"/>
                  </a:lnTo>
                  <a:lnTo>
                    <a:pt x="1856" y="824"/>
                  </a:lnTo>
                  <a:lnTo>
                    <a:pt x="1856" y="818"/>
                  </a:lnTo>
                  <a:lnTo>
                    <a:pt x="1856" y="818"/>
                  </a:lnTo>
                  <a:lnTo>
                    <a:pt x="1856" y="818"/>
                  </a:lnTo>
                  <a:lnTo>
                    <a:pt x="1856" y="812"/>
                  </a:lnTo>
                  <a:lnTo>
                    <a:pt x="1856" y="806"/>
                  </a:lnTo>
                  <a:lnTo>
                    <a:pt x="1856" y="806"/>
                  </a:lnTo>
                  <a:lnTo>
                    <a:pt x="1850" y="800"/>
                  </a:lnTo>
                  <a:lnTo>
                    <a:pt x="1850" y="794"/>
                  </a:lnTo>
                  <a:lnTo>
                    <a:pt x="1850" y="794"/>
                  </a:lnTo>
                  <a:lnTo>
                    <a:pt x="1850" y="788"/>
                  </a:lnTo>
                  <a:lnTo>
                    <a:pt x="1850" y="782"/>
                  </a:lnTo>
                  <a:lnTo>
                    <a:pt x="1850" y="778"/>
                  </a:lnTo>
                  <a:lnTo>
                    <a:pt x="1850" y="778"/>
                  </a:lnTo>
                  <a:lnTo>
                    <a:pt x="1850" y="772"/>
                  </a:lnTo>
                  <a:lnTo>
                    <a:pt x="1856" y="772"/>
                  </a:lnTo>
                  <a:lnTo>
                    <a:pt x="1856" y="766"/>
                  </a:lnTo>
                  <a:lnTo>
                    <a:pt x="1850" y="766"/>
                  </a:lnTo>
                  <a:lnTo>
                    <a:pt x="1850" y="766"/>
                  </a:lnTo>
                  <a:lnTo>
                    <a:pt x="1856" y="760"/>
                  </a:lnTo>
                  <a:lnTo>
                    <a:pt x="1856" y="760"/>
                  </a:lnTo>
                  <a:lnTo>
                    <a:pt x="1856" y="766"/>
                  </a:lnTo>
                  <a:lnTo>
                    <a:pt x="1860" y="766"/>
                  </a:lnTo>
                  <a:lnTo>
                    <a:pt x="1860" y="760"/>
                  </a:lnTo>
                  <a:lnTo>
                    <a:pt x="1860" y="754"/>
                  </a:lnTo>
                  <a:lnTo>
                    <a:pt x="1866" y="754"/>
                  </a:lnTo>
                  <a:lnTo>
                    <a:pt x="1866" y="754"/>
                  </a:lnTo>
                  <a:lnTo>
                    <a:pt x="1860" y="754"/>
                  </a:lnTo>
                  <a:lnTo>
                    <a:pt x="1860" y="754"/>
                  </a:lnTo>
                  <a:lnTo>
                    <a:pt x="1866" y="754"/>
                  </a:lnTo>
                  <a:lnTo>
                    <a:pt x="1866" y="748"/>
                  </a:lnTo>
                  <a:lnTo>
                    <a:pt x="1860" y="748"/>
                  </a:lnTo>
                  <a:lnTo>
                    <a:pt x="1860" y="742"/>
                  </a:lnTo>
                  <a:lnTo>
                    <a:pt x="1856" y="742"/>
                  </a:lnTo>
                  <a:lnTo>
                    <a:pt x="1860" y="742"/>
                  </a:lnTo>
                  <a:lnTo>
                    <a:pt x="1860" y="742"/>
                  </a:lnTo>
                  <a:lnTo>
                    <a:pt x="1860" y="742"/>
                  </a:lnTo>
                  <a:lnTo>
                    <a:pt x="1866" y="742"/>
                  </a:lnTo>
                  <a:lnTo>
                    <a:pt x="1866" y="742"/>
                  </a:lnTo>
                  <a:lnTo>
                    <a:pt x="1872" y="742"/>
                  </a:lnTo>
                  <a:lnTo>
                    <a:pt x="1872" y="748"/>
                  </a:lnTo>
                  <a:lnTo>
                    <a:pt x="1866" y="748"/>
                  </a:lnTo>
                  <a:lnTo>
                    <a:pt x="1866" y="754"/>
                  </a:lnTo>
                  <a:lnTo>
                    <a:pt x="1866" y="754"/>
                  </a:lnTo>
                  <a:lnTo>
                    <a:pt x="1872" y="754"/>
                  </a:lnTo>
                  <a:lnTo>
                    <a:pt x="1872" y="760"/>
                  </a:lnTo>
                  <a:lnTo>
                    <a:pt x="1872" y="766"/>
                  </a:lnTo>
                  <a:lnTo>
                    <a:pt x="1872" y="760"/>
                  </a:lnTo>
                  <a:lnTo>
                    <a:pt x="1872" y="766"/>
                  </a:lnTo>
                  <a:lnTo>
                    <a:pt x="1872" y="766"/>
                  </a:lnTo>
                  <a:lnTo>
                    <a:pt x="1872" y="766"/>
                  </a:lnTo>
                  <a:lnTo>
                    <a:pt x="1872" y="772"/>
                  </a:lnTo>
                  <a:lnTo>
                    <a:pt x="1872" y="778"/>
                  </a:lnTo>
                  <a:lnTo>
                    <a:pt x="1872" y="778"/>
                  </a:lnTo>
                  <a:lnTo>
                    <a:pt x="1872" y="782"/>
                  </a:lnTo>
                  <a:lnTo>
                    <a:pt x="1872" y="788"/>
                  </a:lnTo>
                  <a:lnTo>
                    <a:pt x="1872" y="782"/>
                  </a:lnTo>
                  <a:lnTo>
                    <a:pt x="1872" y="782"/>
                  </a:lnTo>
                  <a:lnTo>
                    <a:pt x="1872" y="778"/>
                  </a:lnTo>
                  <a:lnTo>
                    <a:pt x="1872" y="782"/>
                  </a:lnTo>
                  <a:lnTo>
                    <a:pt x="1872" y="788"/>
                  </a:lnTo>
                  <a:lnTo>
                    <a:pt x="1872" y="794"/>
                  </a:lnTo>
                  <a:lnTo>
                    <a:pt x="1872" y="794"/>
                  </a:lnTo>
                  <a:lnTo>
                    <a:pt x="1872" y="794"/>
                  </a:lnTo>
                  <a:lnTo>
                    <a:pt x="1872" y="800"/>
                  </a:lnTo>
                  <a:lnTo>
                    <a:pt x="1872" y="806"/>
                  </a:lnTo>
                  <a:lnTo>
                    <a:pt x="1872" y="806"/>
                  </a:lnTo>
                  <a:lnTo>
                    <a:pt x="1872" y="812"/>
                  </a:lnTo>
                  <a:lnTo>
                    <a:pt x="1878" y="806"/>
                  </a:lnTo>
                  <a:lnTo>
                    <a:pt x="1878" y="812"/>
                  </a:lnTo>
                  <a:lnTo>
                    <a:pt x="1878" y="818"/>
                  </a:lnTo>
                  <a:lnTo>
                    <a:pt x="1878" y="818"/>
                  </a:lnTo>
                  <a:lnTo>
                    <a:pt x="1878" y="824"/>
                  </a:lnTo>
                  <a:lnTo>
                    <a:pt x="1878" y="830"/>
                  </a:lnTo>
                  <a:lnTo>
                    <a:pt x="1884" y="830"/>
                  </a:lnTo>
                  <a:lnTo>
                    <a:pt x="1884" y="836"/>
                  </a:lnTo>
                  <a:lnTo>
                    <a:pt x="1884" y="840"/>
                  </a:lnTo>
                  <a:lnTo>
                    <a:pt x="1884" y="846"/>
                  </a:lnTo>
                  <a:lnTo>
                    <a:pt x="1884" y="852"/>
                  </a:lnTo>
                  <a:lnTo>
                    <a:pt x="1890" y="858"/>
                  </a:lnTo>
                  <a:lnTo>
                    <a:pt x="1890" y="858"/>
                  </a:lnTo>
                  <a:lnTo>
                    <a:pt x="1896" y="864"/>
                  </a:lnTo>
                  <a:lnTo>
                    <a:pt x="1896" y="870"/>
                  </a:lnTo>
                  <a:lnTo>
                    <a:pt x="1896" y="864"/>
                  </a:lnTo>
                  <a:lnTo>
                    <a:pt x="1890" y="858"/>
                  </a:lnTo>
                  <a:lnTo>
                    <a:pt x="1884" y="858"/>
                  </a:lnTo>
                  <a:lnTo>
                    <a:pt x="1884" y="858"/>
                  </a:lnTo>
                  <a:lnTo>
                    <a:pt x="1884" y="858"/>
                  </a:lnTo>
                  <a:lnTo>
                    <a:pt x="1878" y="858"/>
                  </a:lnTo>
                  <a:lnTo>
                    <a:pt x="1872" y="852"/>
                  </a:lnTo>
                  <a:lnTo>
                    <a:pt x="1872" y="858"/>
                  </a:lnTo>
                  <a:lnTo>
                    <a:pt x="1878" y="852"/>
                  </a:lnTo>
                  <a:lnTo>
                    <a:pt x="1878" y="858"/>
                  </a:lnTo>
                  <a:lnTo>
                    <a:pt x="1872" y="858"/>
                  </a:lnTo>
                  <a:lnTo>
                    <a:pt x="1872" y="858"/>
                  </a:lnTo>
                  <a:lnTo>
                    <a:pt x="1872" y="858"/>
                  </a:lnTo>
                  <a:lnTo>
                    <a:pt x="1872" y="864"/>
                  </a:lnTo>
                  <a:lnTo>
                    <a:pt x="1866" y="864"/>
                  </a:lnTo>
                  <a:lnTo>
                    <a:pt x="1866" y="870"/>
                  </a:lnTo>
                  <a:lnTo>
                    <a:pt x="1866" y="870"/>
                  </a:lnTo>
                  <a:lnTo>
                    <a:pt x="1860" y="876"/>
                  </a:lnTo>
                  <a:lnTo>
                    <a:pt x="1860" y="882"/>
                  </a:lnTo>
                  <a:lnTo>
                    <a:pt x="1860" y="882"/>
                  </a:lnTo>
                  <a:lnTo>
                    <a:pt x="1860" y="888"/>
                  </a:lnTo>
                  <a:lnTo>
                    <a:pt x="1860" y="894"/>
                  </a:lnTo>
                  <a:lnTo>
                    <a:pt x="1866" y="898"/>
                  </a:lnTo>
                  <a:lnTo>
                    <a:pt x="1872" y="898"/>
                  </a:lnTo>
                  <a:lnTo>
                    <a:pt x="1872" y="910"/>
                  </a:lnTo>
                  <a:lnTo>
                    <a:pt x="1872" y="910"/>
                  </a:lnTo>
                  <a:lnTo>
                    <a:pt x="1872" y="910"/>
                  </a:lnTo>
                  <a:lnTo>
                    <a:pt x="1872" y="910"/>
                  </a:lnTo>
                  <a:lnTo>
                    <a:pt x="1878" y="910"/>
                  </a:lnTo>
                  <a:lnTo>
                    <a:pt x="1878" y="910"/>
                  </a:lnTo>
                  <a:lnTo>
                    <a:pt x="1878" y="916"/>
                  </a:lnTo>
                  <a:lnTo>
                    <a:pt x="1878" y="922"/>
                  </a:lnTo>
                  <a:lnTo>
                    <a:pt x="1878" y="922"/>
                  </a:lnTo>
                  <a:lnTo>
                    <a:pt x="1872" y="922"/>
                  </a:lnTo>
                  <a:lnTo>
                    <a:pt x="1872" y="928"/>
                  </a:lnTo>
                  <a:lnTo>
                    <a:pt x="1872" y="928"/>
                  </a:lnTo>
                  <a:close/>
                  <a:moveTo>
                    <a:pt x="2058" y="818"/>
                  </a:moveTo>
                  <a:lnTo>
                    <a:pt x="2058" y="818"/>
                  </a:lnTo>
                  <a:lnTo>
                    <a:pt x="2058" y="818"/>
                  </a:lnTo>
                  <a:lnTo>
                    <a:pt x="2058" y="818"/>
                  </a:lnTo>
                  <a:lnTo>
                    <a:pt x="2058" y="818"/>
                  </a:lnTo>
                  <a:lnTo>
                    <a:pt x="2058" y="818"/>
                  </a:lnTo>
                  <a:close/>
                  <a:moveTo>
                    <a:pt x="2076" y="824"/>
                  </a:moveTo>
                  <a:lnTo>
                    <a:pt x="2070" y="824"/>
                  </a:lnTo>
                  <a:lnTo>
                    <a:pt x="2070" y="818"/>
                  </a:lnTo>
                  <a:lnTo>
                    <a:pt x="2076" y="818"/>
                  </a:lnTo>
                  <a:lnTo>
                    <a:pt x="2076" y="824"/>
                  </a:lnTo>
                  <a:lnTo>
                    <a:pt x="2076" y="824"/>
                  </a:lnTo>
                  <a:close/>
                  <a:moveTo>
                    <a:pt x="2052" y="836"/>
                  </a:moveTo>
                  <a:lnTo>
                    <a:pt x="2052" y="830"/>
                  </a:lnTo>
                  <a:lnTo>
                    <a:pt x="2058" y="830"/>
                  </a:lnTo>
                  <a:lnTo>
                    <a:pt x="2058" y="830"/>
                  </a:lnTo>
                  <a:lnTo>
                    <a:pt x="2058" y="830"/>
                  </a:lnTo>
                  <a:lnTo>
                    <a:pt x="2058" y="824"/>
                  </a:lnTo>
                  <a:lnTo>
                    <a:pt x="2064" y="824"/>
                  </a:lnTo>
                  <a:lnTo>
                    <a:pt x="2064" y="818"/>
                  </a:lnTo>
                  <a:lnTo>
                    <a:pt x="2064" y="824"/>
                  </a:lnTo>
                  <a:lnTo>
                    <a:pt x="2070" y="830"/>
                  </a:lnTo>
                  <a:lnTo>
                    <a:pt x="2064" y="830"/>
                  </a:lnTo>
                  <a:lnTo>
                    <a:pt x="2058" y="836"/>
                  </a:lnTo>
                  <a:lnTo>
                    <a:pt x="2058" y="836"/>
                  </a:lnTo>
                  <a:lnTo>
                    <a:pt x="2052" y="836"/>
                  </a:lnTo>
                  <a:lnTo>
                    <a:pt x="2052" y="836"/>
                  </a:lnTo>
                  <a:close/>
                  <a:moveTo>
                    <a:pt x="2046" y="858"/>
                  </a:moveTo>
                  <a:lnTo>
                    <a:pt x="2046" y="852"/>
                  </a:lnTo>
                  <a:lnTo>
                    <a:pt x="2046" y="846"/>
                  </a:lnTo>
                  <a:lnTo>
                    <a:pt x="2046" y="846"/>
                  </a:lnTo>
                  <a:lnTo>
                    <a:pt x="2046" y="852"/>
                  </a:lnTo>
                  <a:lnTo>
                    <a:pt x="2046" y="852"/>
                  </a:lnTo>
                  <a:lnTo>
                    <a:pt x="2046" y="858"/>
                  </a:lnTo>
                  <a:lnTo>
                    <a:pt x="2046" y="858"/>
                  </a:lnTo>
                  <a:lnTo>
                    <a:pt x="2046" y="858"/>
                  </a:lnTo>
                  <a:close/>
                  <a:moveTo>
                    <a:pt x="2040" y="858"/>
                  </a:moveTo>
                  <a:lnTo>
                    <a:pt x="2046" y="858"/>
                  </a:lnTo>
                  <a:lnTo>
                    <a:pt x="2046" y="858"/>
                  </a:lnTo>
                  <a:lnTo>
                    <a:pt x="2040" y="858"/>
                  </a:lnTo>
                  <a:lnTo>
                    <a:pt x="2040" y="858"/>
                  </a:lnTo>
                  <a:lnTo>
                    <a:pt x="2040" y="858"/>
                  </a:lnTo>
                  <a:close/>
                  <a:moveTo>
                    <a:pt x="2034" y="870"/>
                  </a:moveTo>
                  <a:lnTo>
                    <a:pt x="2034" y="864"/>
                  </a:lnTo>
                  <a:lnTo>
                    <a:pt x="2034" y="864"/>
                  </a:lnTo>
                  <a:lnTo>
                    <a:pt x="2034" y="870"/>
                  </a:lnTo>
                  <a:lnTo>
                    <a:pt x="2034" y="870"/>
                  </a:lnTo>
                  <a:lnTo>
                    <a:pt x="2034" y="870"/>
                  </a:lnTo>
                  <a:close/>
                  <a:moveTo>
                    <a:pt x="2012" y="904"/>
                  </a:moveTo>
                  <a:lnTo>
                    <a:pt x="2012" y="898"/>
                  </a:lnTo>
                  <a:lnTo>
                    <a:pt x="2012" y="904"/>
                  </a:lnTo>
                  <a:lnTo>
                    <a:pt x="2006" y="904"/>
                  </a:lnTo>
                  <a:lnTo>
                    <a:pt x="2006" y="910"/>
                  </a:lnTo>
                  <a:lnTo>
                    <a:pt x="2000" y="910"/>
                  </a:lnTo>
                  <a:lnTo>
                    <a:pt x="2000" y="910"/>
                  </a:lnTo>
                  <a:lnTo>
                    <a:pt x="2000" y="910"/>
                  </a:lnTo>
                  <a:lnTo>
                    <a:pt x="2006" y="904"/>
                  </a:lnTo>
                  <a:lnTo>
                    <a:pt x="2012" y="898"/>
                  </a:lnTo>
                  <a:lnTo>
                    <a:pt x="2012" y="904"/>
                  </a:lnTo>
                  <a:lnTo>
                    <a:pt x="2012" y="904"/>
                  </a:lnTo>
                  <a:close/>
                  <a:moveTo>
                    <a:pt x="1966" y="934"/>
                  </a:moveTo>
                  <a:lnTo>
                    <a:pt x="1972" y="934"/>
                  </a:lnTo>
                  <a:lnTo>
                    <a:pt x="1972" y="928"/>
                  </a:lnTo>
                  <a:lnTo>
                    <a:pt x="1972" y="928"/>
                  </a:lnTo>
                  <a:lnTo>
                    <a:pt x="1972" y="922"/>
                  </a:lnTo>
                  <a:lnTo>
                    <a:pt x="1976" y="922"/>
                  </a:lnTo>
                  <a:lnTo>
                    <a:pt x="1982" y="922"/>
                  </a:lnTo>
                  <a:lnTo>
                    <a:pt x="1976" y="922"/>
                  </a:lnTo>
                  <a:lnTo>
                    <a:pt x="1976" y="928"/>
                  </a:lnTo>
                  <a:lnTo>
                    <a:pt x="1972" y="934"/>
                  </a:lnTo>
                  <a:lnTo>
                    <a:pt x="1972" y="934"/>
                  </a:lnTo>
                  <a:lnTo>
                    <a:pt x="1972" y="934"/>
                  </a:lnTo>
                  <a:lnTo>
                    <a:pt x="1966" y="934"/>
                  </a:lnTo>
                  <a:lnTo>
                    <a:pt x="1966" y="934"/>
                  </a:lnTo>
                  <a:close/>
                  <a:moveTo>
                    <a:pt x="1924" y="962"/>
                  </a:moveTo>
                  <a:lnTo>
                    <a:pt x="1930" y="956"/>
                  </a:lnTo>
                  <a:lnTo>
                    <a:pt x="1930" y="952"/>
                  </a:lnTo>
                  <a:lnTo>
                    <a:pt x="1930" y="952"/>
                  </a:lnTo>
                  <a:lnTo>
                    <a:pt x="1930" y="946"/>
                  </a:lnTo>
                  <a:lnTo>
                    <a:pt x="1936" y="946"/>
                  </a:lnTo>
                  <a:lnTo>
                    <a:pt x="1936" y="946"/>
                  </a:lnTo>
                  <a:lnTo>
                    <a:pt x="1942" y="946"/>
                  </a:lnTo>
                  <a:lnTo>
                    <a:pt x="1942" y="940"/>
                  </a:lnTo>
                  <a:lnTo>
                    <a:pt x="1942" y="940"/>
                  </a:lnTo>
                  <a:lnTo>
                    <a:pt x="1942" y="946"/>
                  </a:lnTo>
                  <a:lnTo>
                    <a:pt x="1948" y="946"/>
                  </a:lnTo>
                  <a:lnTo>
                    <a:pt x="1948" y="940"/>
                  </a:lnTo>
                  <a:lnTo>
                    <a:pt x="1954" y="940"/>
                  </a:lnTo>
                  <a:lnTo>
                    <a:pt x="1954" y="934"/>
                  </a:lnTo>
                  <a:lnTo>
                    <a:pt x="1960" y="934"/>
                  </a:lnTo>
                  <a:lnTo>
                    <a:pt x="1960" y="940"/>
                  </a:lnTo>
                  <a:lnTo>
                    <a:pt x="1954" y="940"/>
                  </a:lnTo>
                  <a:lnTo>
                    <a:pt x="1954" y="946"/>
                  </a:lnTo>
                  <a:lnTo>
                    <a:pt x="1948" y="946"/>
                  </a:lnTo>
                  <a:lnTo>
                    <a:pt x="1942" y="946"/>
                  </a:lnTo>
                  <a:lnTo>
                    <a:pt x="1942" y="946"/>
                  </a:lnTo>
                  <a:lnTo>
                    <a:pt x="1942" y="946"/>
                  </a:lnTo>
                  <a:lnTo>
                    <a:pt x="1936" y="946"/>
                  </a:lnTo>
                  <a:lnTo>
                    <a:pt x="1936" y="952"/>
                  </a:lnTo>
                  <a:lnTo>
                    <a:pt x="1930" y="956"/>
                  </a:lnTo>
                  <a:lnTo>
                    <a:pt x="1930" y="962"/>
                  </a:lnTo>
                  <a:lnTo>
                    <a:pt x="1930" y="962"/>
                  </a:lnTo>
                  <a:lnTo>
                    <a:pt x="1924" y="962"/>
                  </a:lnTo>
                  <a:lnTo>
                    <a:pt x="1924" y="962"/>
                  </a:lnTo>
                  <a:close/>
                  <a:moveTo>
                    <a:pt x="1918" y="962"/>
                  </a:moveTo>
                  <a:lnTo>
                    <a:pt x="1918" y="962"/>
                  </a:lnTo>
                  <a:lnTo>
                    <a:pt x="1918" y="962"/>
                  </a:lnTo>
                  <a:lnTo>
                    <a:pt x="1918" y="962"/>
                  </a:lnTo>
                  <a:lnTo>
                    <a:pt x="1914" y="962"/>
                  </a:lnTo>
                  <a:lnTo>
                    <a:pt x="1914" y="968"/>
                  </a:lnTo>
                  <a:lnTo>
                    <a:pt x="1908" y="968"/>
                  </a:lnTo>
                  <a:lnTo>
                    <a:pt x="1908" y="974"/>
                  </a:lnTo>
                  <a:lnTo>
                    <a:pt x="1908" y="974"/>
                  </a:lnTo>
                  <a:lnTo>
                    <a:pt x="1908" y="974"/>
                  </a:lnTo>
                  <a:lnTo>
                    <a:pt x="1908" y="974"/>
                  </a:lnTo>
                  <a:lnTo>
                    <a:pt x="1908" y="974"/>
                  </a:lnTo>
                  <a:lnTo>
                    <a:pt x="1908" y="968"/>
                  </a:lnTo>
                  <a:lnTo>
                    <a:pt x="1914" y="962"/>
                  </a:lnTo>
                  <a:lnTo>
                    <a:pt x="1914" y="962"/>
                  </a:lnTo>
                  <a:lnTo>
                    <a:pt x="1918" y="962"/>
                  </a:lnTo>
                  <a:lnTo>
                    <a:pt x="1918" y="962"/>
                  </a:lnTo>
                  <a:close/>
                  <a:moveTo>
                    <a:pt x="1924" y="974"/>
                  </a:moveTo>
                  <a:lnTo>
                    <a:pt x="1924" y="974"/>
                  </a:lnTo>
                  <a:lnTo>
                    <a:pt x="1918" y="974"/>
                  </a:lnTo>
                  <a:lnTo>
                    <a:pt x="1918" y="974"/>
                  </a:lnTo>
                  <a:lnTo>
                    <a:pt x="1924" y="974"/>
                  </a:lnTo>
                  <a:lnTo>
                    <a:pt x="1924" y="97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ru-RU"/>
            </a:p>
          </p:txBody>
        </p:sp>
        <p:sp>
          <p:nvSpPr>
            <p:cNvPr id="5" name="Freeform 441"/>
            <p:cNvSpPr>
              <a:spLocks/>
            </p:cNvSpPr>
            <p:nvPr>
              <p:custDataLst>
                <p:tags r:id="rId198"/>
              </p:custDataLst>
            </p:nvPr>
          </p:nvSpPr>
          <p:spPr bwMode="gray">
            <a:xfrm>
              <a:off x="4904339" y="4278409"/>
              <a:ext cx="283257" cy="232416"/>
            </a:xfrm>
            <a:custGeom>
              <a:avLst/>
              <a:gdLst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385 w 10000"/>
                <a:gd name="connsiteY13" fmla="*/ 6638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2589 w 10000"/>
                <a:gd name="connsiteY12" fmla="*/ 6973 h 10000"/>
                <a:gd name="connsiteX13" fmla="*/ 2385 w 10000"/>
                <a:gd name="connsiteY13" fmla="*/ 6638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165 w 9880"/>
                <a:gd name="connsiteY0" fmla="*/ 1897 h 10000"/>
                <a:gd name="connsiteX1" fmla="*/ 1165 w 9880"/>
                <a:gd name="connsiteY1" fmla="*/ 2412 h 10000"/>
                <a:gd name="connsiteX2" fmla="*/ 1165 w 9880"/>
                <a:gd name="connsiteY2" fmla="*/ 2894 h 10000"/>
                <a:gd name="connsiteX3" fmla="*/ 1165 w 9880"/>
                <a:gd name="connsiteY3" fmla="*/ 3376 h 10000"/>
                <a:gd name="connsiteX4" fmla="*/ 1165 w 9880"/>
                <a:gd name="connsiteY4" fmla="*/ 3826 h 10000"/>
                <a:gd name="connsiteX5" fmla="*/ 523 w 9880"/>
                <a:gd name="connsiteY5" fmla="*/ 3923 h 10000"/>
                <a:gd name="connsiteX6" fmla="*/ 402 w 9880"/>
                <a:gd name="connsiteY6" fmla="*/ 4180 h 10000"/>
                <a:gd name="connsiteX7" fmla="*/ 121 w 9880"/>
                <a:gd name="connsiteY7" fmla="*/ 4502 h 10000"/>
                <a:gd name="connsiteX8" fmla="*/ 121 w 9880"/>
                <a:gd name="connsiteY8" fmla="*/ 4759 h 10000"/>
                <a:gd name="connsiteX9" fmla="*/ 0 w 9880"/>
                <a:gd name="connsiteY9" fmla="*/ 4823 h 10000"/>
                <a:gd name="connsiteX10" fmla="*/ 0 w 9880"/>
                <a:gd name="connsiteY10" fmla="*/ 5048 h 10000"/>
                <a:gd name="connsiteX11" fmla="*/ 2931 w 9880"/>
                <a:gd name="connsiteY11" fmla="*/ 7195 h 10000"/>
                <a:gd name="connsiteX12" fmla="*/ 2469 w 9880"/>
                <a:gd name="connsiteY12" fmla="*/ 6973 h 10000"/>
                <a:gd name="connsiteX13" fmla="*/ 2265 w 9880"/>
                <a:gd name="connsiteY13" fmla="*/ 6638 h 10000"/>
                <a:gd name="connsiteX14" fmla="*/ 1926 w 9880"/>
                <a:gd name="connsiteY14" fmla="*/ 6729 h 10000"/>
                <a:gd name="connsiteX15" fmla="*/ 1834 w 9880"/>
                <a:gd name="connsiteY15" fmla="*/ 6927 h 10000"/>
                <a:gd name="connsiteX16" fmla="*/ 1472 w 9880"/>
                <a:gd name="connsiteY16" fmla="*/ 7011 h 10000"/>
                <a:gd name="connsiteX17" fmla="*/ 1236 w 9880"/>
                <a:gd name="connsiteY17" fmla="*/ 7004 h 10000"/>
                <a:gd name="connsiteX18" fmla="*/ 1108 w 9880"/>
                <a:gd name="connsiteY18" fmla="*/ 7161 h 10000"/>
                <a:gd name="connsiteX19" fmla="*/ 884 w 9880"/>
                <a:gd name="connsiteY19" fmla="*/ 6913 h 10000"/>
                <a:gd name="connsiteX20" fmla="*/ 844 w 9880"/>
                <a:gd name="connsiteY20" fmla="*/ 7363 h 10000"/>
                <a:gd name="connsiteX21" fmla="*/ 924 w 9880"/>
                <a:gd name="connsiteY21" fmla="*/ 7428 h 10000"/>
                <a:gd name="connsiteX22" fmla="*/ 1245 w 9880"/>
                <a:gd name="connsiteY22" fmla="*/ 7460 h 10000"/>
                <a:gd name="connsiteX23" fmla="*/ 1286 w 9880"/>
                <a:gd name="connsiteY23" fmla="*/ 7588 h 10000"/>
                <a:gd name="connsiteX24" fmla="*/ 1647 w 9880"/>
                <a:gd name="connsiteY24" fmla="*/ 7621 h 10000"/>
                <a:gd name="connsiteX25" fmla="*/ 1848 w 9880"/>
                <a:gd name="connsiteY25" fmla="*/ 7749 h 10000"/>
                <a:gd name="connsiteX26" fmla="*/ 1888 w 9880"/>
                <a:gd name="connsiteY26" fmla="*/ 7974 h 10000"/>
                <a:gd name="connsiteX27" fmla="*/ 2531 w 9880"/>
                <a:gd name="connsiteY27" fmla="*/ 8360 h 10000"/>
                <a:gd name="connsiteX28" fmla="*/ 2691 w 9880"/>
                <a:gd name="connsiteY28" fmla="*/ 8746 h 10000"/>
                <a:gd name="connsiteX29" fmla="*/ 3133 w 9880"/>
                <a:gd name="connsiteY29" fmla="*/ 8939 h 10000"/>
                <a:gd name="connsiteX30" fmla="*/ 3294 w 9880"/>
                <a:gd name="connsiteY30" fmla="*/ 9196 h 10000"/>
                <a:gd name="connsiteX31" fmla="*/ 3615 w 9880"/>
                <a:gd name="connsiteY31" fmla="*/ 9518 h 10000"/>
                <a:gd name="connsiteX32" fmla="*/ 3856 w 9880"/>
                <a:gd name="connsiteY32" fmla="*/ 9614 h 10000"/>
                <a:gd name="connsiteX33" fmla="*/ 4017 w 9880"/>
                <a:gd name="connsiteY33" fmla="*/ 9518 h 10000"/>
                <a:gd name="connsiteX34" fmla="*/ 4418 w 9880"/>
                <a:gd name="connsiteY34" fmla="*/ 9550 h 10000"/>
                <a:gd name="connsiteX35" fmla="*/ 4579 w 9880"/>
                <a:gd name="connsiteY35" fmla="*/ 9486 h 10000"/>
                <a:gd name="connsiteX36" fmla="*/ 5302 w 9880"/>
                <a:gd name="connsiteY36" fmla="*/ 9968 h 10000"/>
                <a:gd name="connsiteX37" fmla="*/ 5342 w 9880"/>
                <a:gd name="connsiteY37" fmla="*/ 9968 h 10000"/>
                <a:gd name="connsiteX38" fmla="*/ 5422 w 9880"/>
                <a:gd name="connsiteY38" fmla="*/ 9904 h 10000"/>
                <a:gd name="connsiteX39" fmla="*/ 5944 w 9880"/>
                <a:gd name="connsiteY39" fmla="*/ 9904 h 10000"/>
                <a:gd name="connsiteX40" fmla="*/ 6025 w 9880"/>
                <a:gd name="connsiteY40" fmla="*/ 10000 h 10000"/>
                <a:gd name="connsiteX41" fmla="*/ 6466 w 9880"/>
                <a:gd name="connsiteY41" fmla="*/ 9871 h 10000"/>
                <a:gd name="connsiteX42" fmla="*/ 6868 w 9880"/>
                <a:gd name="connsiteY42" fmla="*/ 9871 h 10000"/>
                <a:gd name="connsiteX43" fmla="*/ 7149 w 9880"/>
                <a:gd name="connsiteY43" fmla="*/ 9743 h 10000"/>
                <a:gd name="connsiteX44" fmla="*/ 7470 w 9880"/>
                <a:gd name="connsiteY44" fmla="*/ 9486 h 10000"/>
                <a:gd name="connsiteX45" fmla="*/ 8314 w 9880"/>
                <a:gd name="connsiteY45" fmla="*/ 9486 h 10000"/>
                <a:gd name="connsiteX46" fmla="*/ 8314 w 9880"/>
                <a:gd name="connsiteY46" fmla="*/ 9132 h 10000"/>
                <a:gd name="connsiteX47" fmla="*/ 7872 w 9880"/>
                <a:gd name="connsiteY47" fmla="*/ 8971 h 10000"/>
                <a:gd name="connsiteX48" fmla="*/ 7631 w 9880"/>
                <a:gd name="connsiteY48" fmla="*/ 8457 h 10000"/>
                <a:gd name="connsiteX49" fmla="*/ 7310 w 9880"/>
                <a:gd name="connsiteY49" fmla="*/ 8264 h 10000"/>
                <a:gd name="connsiteX50" fmla="*/ 7109 w 9880"/>
                <a:gd name="connsiteY50" fmla="*/ 8006 h 10000"/>
                <a:gd name="connsiteX51" fmla="*/ 6587 w 9880"/>
                <a:gd name="connsiteY51" fmla="*/ 7814 h 10000"/>
                <a:gd name="connsiteX52" fmla="*/ 6707 w 9880"/>
                <a:gd name="connsiteY52" fmla="*/ 7749 h 10000"/>
                <a:gd name="connsiteX53" fmla="*/ 6707 w 9880"/>
                <a:gd name="connsiteY53" fmla="*/ 7588 h 10000"/>
                <a:gd name="connsiteX54" fmla="*/ 7069 w 9880"/>
                <a:gd name="connsiteY54" fmla="*/ 7588 h 10000"/>
                <a:gd name="connsiteX55" fmla="*/ 7270 w 9880"/>
                <a:gd name="connsiteY55" fmla="*/ 7460 h 10000"/>
                <a:gd name="connsiteX56" fmla="*/ 7310 w 9880"/>
                <a:gd name="connsiteY56" fmla="*/ 6527 h 10000"/>
                <a:gd name="connsiteX57" fmla="*/ 7350 w 9880"/>
                <a:gd name="connsiteY57" fmla="*/ 6559 h 10000"/>
                <a:gd name="connsiteX58" fmla="*/ 7470 w 9880"/>
                <a:gd name="connsiteY58" fmla="*/ 6367 h 10000"/>
                <a:gd name="connsiteX59" fmla="*/ 7711 w 9880"/>
                <a:gd name="connsiteY59" fmla="*/ 6270 h 10000"/>
                <a:gd name="connsiteX60" fmla="*/ 7832 w 9880"/>
                <a:gd name="connsiteY60" fmla="*/ 5916 h 10000"/>
                <a:gd name="connsiteX61" fmla="*/ 8193 w 9880"/>
                <a:gd name="connsiteY61" fmla="*/ 5498 h 10000"/>
                <a:gd name="connsiteX62" fmla="*/ 8474 w 9880"/>
                <a:gd name="connsiteY62" fmla="*/ 5305 h 10000"/>
                <a:gd name="connsiteX63" fmla="*/ 8675 w 9880"/>
                <a:gd name="connsiteY63" fmla="*/ 4759 h 10000"/>
                <a:gd name="connsiteX64" fmla="*/ 8675 w 9880"/>
                <a:gd name="connsiteY64" fmla="*/ 4630 h 10000"/>
                <a:gd name="connsiteX65" fmla="*/ 8635 w 9880"/>
                <a:gd name="connsiteY65" fmla="*/ 4309 h 10000"/>
                <a:gd name="connsiteX66" fmla="*/ 9037 w 9880"/>
                <a:gd name="connsiteY66" fmla="*/ 3151 h 10000"/>
                <a:gd name="connsiteX67" fmla="*/ 9157 w 9880"/>
                <a:gd name="connsiteY67" fmla="*/ 3151 h 10000"/>
                <a:gd name="connsiteX68" fmla="*/ 9318 w 9880"/>
                <a:gd name="connsiteY68" fmla="*/ 3055 h 10000"/>
                <a:gd name="connsiteX69" fmla="*/ 9800 w 9880"/>
                <a:gd name="connsiteY69" fmla="*/ 2894 h 10000"/>
                <a:gd name="connsiteX70" fmla="*/ 9880 w 9880"/>
                <a:gd name="connsiteY70" fmla="*/ 2637 h 10000"/>
                <a:gd name="connsiteX71" fmla="*/ 9840 w 9880"/>
                <a:gd name="connsiteY71" fmla="*/ 2572 h 10000"/>
                <a:gd name="connsiteX72" fmla="*/ 9679 w 9880"/>
                <a:gd name="connsiteY72" fmla="*/ 2572 h 10000"/>
                <a:gd name="connsiteX73" fmla="*/ 9559 w 9880"/>
                <a:gd name="connsiteY73" fmla="*/ 2412 h 10000"/>
                <a:gd name="connsiteX74" fmla="*/ 9318 w 9880"/>
                <a:gd name="connsiteY74" fmla="*/ 2347 h 10000"/>
                <a:gd name="connsiteX75" fmla="*/ 9197 w 9880"/>
                <a:gd name="connsiteY75" fmla="*/ 2219 h 10000"/>
                <a:gd name="connsiteX76" fmla="*/ 9117 w 9880"/>
                <a:gd name="connsiteY76" fmla="*/ 1736 h 10000"/>
                <a:gd name="connsiteX77" fmla="*/ 9117 w 9880"/>
                <a:gd name="connsiteY77" fmla="*/ 1061 h 10000"/>
                <a:gd name="connsiteX78" fmla="*/ 8916 w 9880"/>
                <a:gd name="connsiteY78" fmla="*/ 836 h 10000"/>
                <a:gd name="connsiteX79" fmla="*/ 8876 w 9880"/>
                <a:gd name="connsiteY79" fmla="*/ 611 h 10000"/>
                <a:gd name="connsiteX80" fmla="*/ 8555 w 9880"/>
                <a:gd name="connsiteY80" fmla="*/ 289 h 10000"/>
                <a:gd name="connsiteX81" fmla="*/ 8274 w 9880"/>
                <a:gd name="connsiteY81" fmla="*/ 161 h 10000"/>
                <a:gd name="connsiteX82" fmla="*/ 8113 w 9880"/>
                <a:gd name="connsiteY82" fmla="*/ 0 h 10000"/>
                <a:gd name="connsiteX83" fmla="*/ 7872 w 9880"/>
                <a:gd name="connsiteY83" fmla="*/ 161 h 10000"/>
                <a:gd name="connsiteX84" fmla="*/ 7711 w 9880"/>
                <a:gd name="connsiteY84" fmla="*/ 129 h 10000"/>
                <a:gd name="connsiteX85" fmla="*/ 7591 w 9880"/>
                <a:gd name="connsiteY85" fmla="*/ 418 h 10000"/>
                <a:gd name="connsiteX86" fmla="*/ 7270 w 9880"/>
                <a:gd name="connsiteY86" fmla="*/ 482 h 10000"/>
                <a:gd name="connsiteX87" fmla="*/ 7189 w 9880"/>
                <a:gd name="connsiteY87" fmla="*/ 707 h 10000"/>
                <a:gd name="connsiteX88" fmla="*/ 6908 w 9880"/>
                <a:gd name="connsiteY88" fmla="*/ 707 h 10000"/>
                <a:gd name="connsiteX89" fmla="*/ 6667 w 9880"/>
                <a:gd name="connsiteY89" fmla="*/ 611 h 10000"/>
                <a:gd name="connsiteX90" fmla="*/ 6145 w 9880"/>
                <a:gd name="connsiteY90" fmla="*/ 611 h 10000"/>
                <a:gd name="connsiteX91" fmla="*/ 5623 w 9880"/>
                <a:gd name="connsiteY91" fmla="*/ 611 h 10000"/>
                <a:gd name="connsiteX92" fmla="*/ 5663 w 9880"/>
                <a:gd name="connsiteY92" fmla="*/ 482 h 10000"/>
                <a:gd name="connsiteX93" fmla="*/ 5583 w 9880"/>
                <a:gd name="connsiteY93" fmla="*/ 482 h 10000"/>
                <a:gd name="connsiteX94" fmla="*/ 5543 w 9880"/>
                <a:gd name="connsiteY94" fmla="*/ 611 h 10000"/>
                <a:gd name="connsiteX95" fmla="*/ 5061 w 9880"/>
                <a:gd name="connsiteY95" fmla="*/ 611 h 10000"/>
                <a:gd name="connsiteX96" fmla="*/ 4579 w 9880"/>
                <a:gd name="connsiteY96" fmla="*/ 611 h 10000"/>
                <a:gd name="connsiteX97" fmla="*/ 4097 w 9880"/>
                <a:gd name="connsiteY97" fmla="*/ 611 h 10000"/>
                <a:gd name="connsiteX98" fmla="*/ 3615 w 9880"/>
                <a:gd name="connsiteY98" fmla="*/ 611 h 10000"/>
                <a:gd name="connsiteX99" fmla="*/ 3173 w 9880"/>
                <a:gd name="connsiteY99" fmla="*/ 611 h 10000"/>
                <a:gd name="connsiteX100" fmla="*/ 2691 w 9880"/>
                <a:gd name="connsiteY100" fmla="*/ 611 h 10000"/>
                <a:gd name="connsiteX101" fmla="*/ 2249 w 9880"/>
                <a:gd name="connsiteY101" fmla="*/ 611 h 10000"/>
                <a:gd name="connsiteX102" fmla="*/ 1768 w 9880"/>
                <a:gd name="connsiteY102" fmla="*/ 611 h 10000"/>
                <a:gd name="connsiteX103" fmla="*/ 1768 w 9880"/>
                <a:gd name="connsiteY103" fmla="*/ 1061 h 10000"/>
                <a:gd name="connsiteX104" fmla="*/ 1768 w 9880"/>
                <a:gd name="connsiteY104" fmla="*/ 1640 h 10000"/>
                <a:gd name="connsiteX105" fmla="*/ 1165 w 9880"/>
                <a:gd name="connsiteY105" fmla="*/ 1640 h 10000"/>
                <a:gd name="connsiteX106" fmla="*/ 1165 w 9880"/>
                <a:gd name="connsiteY106" fmla="*/ 1897 h 10000"/>
                <a:gd name="connsiteX0" fmla="*/ 1179 w 10000"/>
                <a:gd name="connsiteY0" fmla="*/ 1897 h 10000"/>
                <a:gd name="connsiteX1" fmla="*/ 1179 w 10000"/>
                <a:gd name="connsiteY1" fmla="*/ 2412 h 10000"/>
                <a:gd name="connsiteX2" fmla="*/ 1179 w 10000"/>
                <a:gd name="connsiteY2" fmla="*/ 2894 h 10000"/>
                <a:gd name="connsiteX3" fmla="*/ 1179 w 10000"/>
                <a:gd name="connsiteY3" fmla="*/ 3376 h 10000"/>
                <a:gd name="connsiteX4" fmla="*/ 1179 w 10000"/>
                <a:gd name="connsiteY4" fmla="*/ 3826 h 10000"/>
                <a:gd name="connsiteX5" fmla="*/ 529 w 10000"/>
                <a:gd name="connsiteY5" fmla="*/ 3923 h 10000"/>
                <a:gd name="connsiteX6" fmla="*/ 407 w 10000"/>
                <a:gd name="connsiteY6" fmla="*/ 4180 h 10000"/>
                <a:gd name="connsiteX7" fmla="*/ 122 w 10000"/>
                <a:gd name="connsiteY7" fmla="*/ 4502 h 10000"/>
                <a:gd name="connsiteX8" fmla="*/ 122 w 10000"/>
                <a:gd name="connsiteY8" fmla="*/ 4759 h 10000"/>
                <a:gd name="connsiteX9" fmla="*/ 0 w 10000"/>
                <a:gd name="connsiteY9" fmla="*/ 4823 h 10000"/>
                <a:gd name="connsiteX10" fmla="*/ 3155 w 10000"/>
                <a:gd name="connsiteY10" fmla="*/ 7095 h 10000"/>
                <a:gd name="connsiteX11" fmla="*/ 2967 w 10000"/>
                <a:gd name="connsiteY11" fmla="*/ 7195 h 10000"/>
                <a:gd name="connsiteX12" fmla="*/ 2499 w 10000"/>
                <a:gd name="connsiteY12" fmla="*/ 6973 h 10000"/>
                <a:gd name="connsiteX13" fmla="*/ 2293 w 10000"/>
                <a:gd name="connsiteY13" fmla="*/ 6638 h 10000"/>
                <a:gd name="connsiteX14" fmla="*/ 1949 w 10000"/>
                <a:gd name="connsiteY14" fmla="*/ 6729 h 10000"/>
                <a:gd name="connsiteX15" fmla="*/ 1856 w 10000"/>
                <a:gd name="connsiteY15" fmla="*/ 6927 h 10000"/>
                <a:gd name="connsiteX16" fmla="*/ 1490 w 10000"/>
                <a:gd name="connsiteY16" fmla="*/ 7011 h 10000"/>
                <a:gd name="connsiteX17" fmla="*/ 1251 w 10000"/>
                <a:gd name="connsiteY17" fmla="*/ 7004 h 10000"/>
                <a:gd name="connsiteX18" fmla="*/ 1121 w 10000"/>
                <a:gd name="connsiteY18" fmla="*/ 7161 h 10000"/>
                <a:gd name="connsiteX19" fmla="*/ 895 w 10000"/>
                <a:gd name="connsiteY19" fmla="*/ 6913 h 10000"/>
                <a:gd name="connsiteX20" fmla="*/ 854 w 10000"/>
                <a:gd name="connsiteY20" fmla="*/ 7363 h 10000"/>
                <a:gd name="connsiteX21" fmla="*/ 935 w 10000"/>
                <a:gd name="connsiteY21" fmla="*/ 7428 h 10000"/>
                <a:gd name="connsiteX22" fmla="*/ 1260 w 10000"/>
                <a:gd name="connsiteY22" fmla="*/ 7460 h 10000"/>
                <a:gd name="connsiteX23" fmla="*/ 1302 w 10000"/>
                <a:gd name="connsiteY23" fmla="*/ 7588 h 10000"/>
                <a:gd name="connsiteX24" fmla="*/ 1667 w 10000"/>
                <a:gd name="connsiteY24" fmla="*/ 7621 h 10000"/>
                <a:gd name="connsiteX25" fmla="*/ 1870 w 10000"/>
                <a:gd name="connsiteY25" fmla="*/ 7749 h 10000"/>
                <a:gd name="connsiteX26" fmla="*/ 1911 w 10000"/>
                <a:gd name="connsiteY26" fmla="*/ 7974 h 10000"/>
                <a:gd name="connsiteX27" fmla="*/ 2562 w 10000"/>
                <a:gd name="connsiteY27" fmla="*/ 8360 h 10000"/>
                <a:gd name="connsiteX28" fmla="*/ 2724 w 10000"/>
                <a:gd name="connsiteY28" fmla="*/ 8746 h 10000"/>
                <a:gd name="connsiteX29" fmla="*/ 3171 w 10000"/>
                <a:gd name="connsiteY29" fmla="*/ 8939 h 10000"/>
                <a:gd name="connsiteX30" fmla="*/ 3334 w 10000"/>
                <a:gd name="connsiteY30" fmla="*/ 9196 h 10000"/>
                <a:gd name="connsiteX31" fmla="*/ 3659 w 10000"/>
                <a:gd name="connsiteY31" fmla="*/ 9518 h 10000"/>
                <a:gd name="connsiteX32" fmla="*/ 3903 w 10000"/>
                <a:gd name="connsiteY32" fmla="*/ 9614 h 10000"/>
                <a:gd name="connsiteX33" fmla="*/ 4066 w 10000"/>
                <a:gd name="connsiteY33" fmla="*/ 9518 h 10000"/>
                <a:gd name="connsiteX34" fmla="*/ 4472 w 10000"/>
                <a:gd name="connsiteY34" fmla="*/ 9550 h 10000"/>
                <a:gd name="connsiteX35" fmla="*/ 4635 w 10000"/>
                <a:gd name="connsiteY35" fmla="*/ 9486 h 10000"/>
                <a:gd name="connsiteX36" fmla="*/ 5366 w 10000"/>
                <a:gd name="connsiteY36" fmla="*/ 9968 h 10000"/>
                <a:gd name="connsiteX37" fmla="*/ 5407 w 10000"/>
                <a:gd name="connsiteY37" fmla="*/ 9968 h 10000"/>
                <a:gd name="connsiteX38" fmla="*/ 5488 w 10000"/>
                <a:gd name="connsiteY38" fmla="*/ 9904 h 10000"/>
                <a:gd name="connsiteX39" fmla="*/ 6016 w 10000"/>
                <a:gd name="connsiteY39" fmla="*/ 9904 h 10000"/>
                <a:gd name="connsiteX40" fmla="*/ 6098 w 10000"/>
                <a:gd name="connsiteY40" fmla="*/ 10000 h 10000"/>
                <a:gd name="connsiteX41" fmla="*/ 6545 w 10000"/>
                <a:gd name="connsiteY41" fmla="*/ 9871 h 10000"/>
                <a:gd name="connsiteX42" fmla="*/ 6951 w 10000"/>
                <a:gd name="connsiteY42" fmla="*/ 9871 h 10000"/>
                <a:gd name="connsiteX43" fmla="*/ 7236 w 10000"/>
                <a:gd name="connsiteY43" fmla="*/ 9743 h 10000"/>
                <a:gd name="connsiteX44" fmla="*/ 7561 w 10000"/>
                <a:gd name="connsiteY44" fmla="*/ 9486 h 10000"/>
                <a:gd name="connsiteX45" fmla="*/ 8415 w 10000"/>
                <a:gd name="connsiteY45" fmla="*/ 9486 h 10000"/>
                <a:gd name="connsiteX46" fmla="*/ 8415 w 10000"/>
                <a:gd name="connsiteY46" fmla="*/ 9132 h 10000"/>
                <a:gd name="connsiteX47" fmla="*/ 7968 w 10000"/>
                <a:gd name="connsiteY47" fmla="*/ 8971 h 10000"/>
                <a:gd name="connsiteX48" fmla="*/ 7724 w 10000"/>
                <a:gd name="connsiteY48" fmla="*/ 8457 h 10000"/>
                <a:gd name="connsiteX49" fmla="*/ 7399 w 10000"/>
                <a:gd name="connsiteY49" fmla="*/ 8264 h 10000"/>
                <a:gd name="connsiteX50" fmla="*/ 7195 w 10000"/>
                <a:gd name="connsiteY50" fmla="*/ 8006 h 10000"/>
                <a:gd name="connsiteX51" fmla="*/ 6667 w 10000"/>
                <a:gd name="connsiteY51" fmla="*/ 7814 h 10000"/>
                <a:gd name="connsiteX52" fmla="*/ 6788 w 10000"/>
                <a:gd name="connsiteY52" fmla="*/ 7749 h 10000"/>
                <a:gd name="connsiteX53" fmla="*/ 6788 w 10000"/>
                <a:gd name="connsiteY53" fmla="*/ 7588 h 10000"/>
                <a:gd name="connsiteX54" fmla="*/ 7155 w 10000"/>
                <a:gd name="connsiteY54" fmla="*/ 7588 h 10000"/>
                <a:gd name="connsiteX55" fmla="*/ 7358 w 10000"/>
                <a:gd name="connsiteY55" fmla="*/ 7460 h 10000"/>
                <a:gd name="connsiteX56" fmla="*/ 7399 w 10000"/>
                <a:gd name="connsiteY56" fmla="*/ 6527 h 10000"/>
                <a:gd name="connsiteX57" fmla="*/ 7439 w 10000"/>
                <a:gd name="connsiteY57" fmla="*/ 6559 h 10000"/>
                <a:gd name="connsiteX58" fmla="*/ 7561 w 10000"/>
                <a:gd name="connsiteY58" fmla="*/ 6367 h 10000"/>
                <a:gd name="connsiteX59" fmla="*/ 7805 w 10000"/>
                <a:gd name="connsiteY59" fmla="*/ 6270 h 10000"/>
                <a:gd name="connsiteX60" fmla="*/ 7927 w 10000"/>
                <a:gd name="connsiteY60" fmla="*/ 5916 h 10000"/>
                <a:gd name="connsiteX61" fmla="*/ 8293 w 10000"/>
                <a:gd name="connsiteY61" fmla="*/ 5498 h 10000"/>
                <a:gd name="connsiteX62" fmla="*/ 8577 w 10000"/>
                <a:gd name="connsiteY62" fmla="*/ 5305 h 10000"/>
                <a:gd name="connsiteX63" fmla="*/ 8780 w 10000"/>
                <a:gd name="connsiteY63" fmla="*/ 4759 h 10000"/>
                <a:gd name="connsiteX64" fmla="*/ 8780 w 10000"/>
                <a:gd name="connsiteY64" fmla="*/ 4630 h 10000"/>
                <a:gd name="connsiteX65" fmla="*/ 8740 w 10000"/>
                <a:gd name="connsiteY65" fmla="*/ 4309 h 10000"/>
                <a:gd name="connsiteX66" fmla="*/ 9147 w 10000"/>
                <a:gd name="connsiteY66" fmla="*/ 3151 h 10000"/>
                <a:gd name="connsiteX67" fmla="*/ 9268 w 10000"/>
                <a:gd name="connsiteY67" fmla="*/ 3151 h 10000"/>
                <a:gd name="connsiteX68" fmla="*/ 9431 w 10000"/>
                <a:gd name="connsiteY68" fmla="*/ 3055 h 10000"/>
                <a:gd name="connsiteX69" fmla="*/ 9919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7 w 10000"/>
                <a:gd name="connsiteY72" fmla="*/ 2572 h 10000"/>
                <a:gd name="connsiteX73" fmla="*/ 9675 w 10000"/>
                <a:gd name="connsiteY73" fmla="*/ 2412 h 10000"/>
                <a:gd name="connsiteX74" fmla="*/ 9431 w 10000"/>
                <a:gd name="connsiteY74" fmla="*/ 2347 h 10000"/>
                <a:gd name="connsiteX75" fmla="*/ 9309 w 10000"/>
                <a:gd name="connsiteY75" fmla="*/ 2219 h 10000"/>
                <a:gd name="connsiteX76" fmla="*/ 9228 w 10000"/>
                <a:gd name="connsiteY76" fmla="*/ 1736 h 10000"/>
                <a:gd name="connsiteX77" fmla="*/ 9228 w 10000"/>
                <a:gd name="connsiteY77" fmla="*/ 1061 h 10000"/>
                <a:gd name="connsiteX78" fmla="*/ 9024 w 10000"/>
                <a:gd name="connsiteY78" fmla="*/ 836 h 10000"/>
                <a:gd name="connsiteX79" fmla="*/ 8984 w 10000"/>
                <a:gd name="connsiteY79" fmla="*/ 611 h 10000"/>
                <a:gd name="connsiteX80" fmla="*/ 8659 w 10000"/>
                <a:gd name="connsiteY80" fmla="*/ 289 h 10000"/>
                <a:gd name="connsiteX81" fmla="*/ 8374 w 10000"/>
                <a:gd name="connsiteY81" fmla="*/ 161 h 10000"/>
                <a:gd name="connsiteX82" fmla="*/ 8212 w 10000"/>
                <a:gd name="connsiteY82" fmla="*/ 0 h 10000"/>
                <a:gd name="connsiteX83" fmla="*/ 7968 w 10000"/>
                <a:gd name="connsiteY83" fmla="*/ 161 h 10000"/>
                <a:gd name="connsiteX84" fmla="*/ 7805 w 10000"/>
                <a:gd name="connsiteY84" fmla="*/ 129 h 10000"/>
                <a:gd name="connsiteX85" fmla="*/ 7683 w 10000"/>
                <a:gd name="connsiteY85" fmla="*/ 418 h 10000"/>
                <a:gd name="connsiteX86" fmla="*/ 7358 w 10000"/>
                <a:gd name="connsiteY86" fmla="*/ 482 h 10000"/>
                <a:gd name="connsiteX87" fmla="*/ 7276 w 10000"/>
                <a:gd name="connsiteY87" fmla="*/ 707 h 10000"/>
                <a:gd name="connsiteX88" fmla="*/ 6992 w 10000"/>
                <a:gd name="connsiteY88" fmla="*/ 707 h 10000"/>
                <a:gd name="connsiteX89" fmla="*/ 6748 w 10000"/>
                <a:gd name="connsiteY89" fmla="*/ 611 h 10000"/>
                <a:gd name="connsiteX90" fmla="*/ 6220 w 10000"/>
                <a:gd name="connsiteY90" fmla="*/ 611 h 10000"/>
                <a:gd name="connsiteX91" fmla="*/ 5691 w 10000"/>
                <a:gd name="connsiteY91" fmla="*/ 611 h 10000"/>
                <a:gd name="connsiteX92" fmla="*/ 5732 w 10000"/>
                <a:gd name="connsiteY92" fmla="*/ 482 h 10000"/>
                <a:gd name="connsiteX93" fmla="*/ 5651 w 10000"/>
                <a:gd name="connsiteY93" fmla="*/ 482 h 10000"/>
                <a:gd name="connsiteX94" fmla="*/ 5610 w 10000"/>
                <a:gd name="connsiteY94" fmla="*/ 611 h 10000"/>
                <a:gd name="connsiteX95" fmla="*/ 5122 w 10000"/>
                <a:gd name="connsiteY95" fmla="*/ 611 h 10000"/>
                <a:gd name="connsiteX96" fmla="*/ 4635 w 10000"/>
                <a:gd name="connsiteY96" fmla="*/ 611 h 10000"/>
                <a:gd name="connsiteX97" fmla="*/ 4147 w 10000"/>
                <a:gd name="connsiteY97" fmla="*/ 611 h 10000"/>
                <a:gd name="connsiteX98" fmla="*/ 3659 w 10000"/>
                <a:gd name="connsiteY98" fmla="*/ 611 h 10000"/>
                <a:gd name="connsiteX99" fmla="*/ 3212 w 10000"/>
                <a:gd name="connsiteY99" fmla="*/ 611 h 10000"/>
                <a:gd name="connsiteX100" fmla="*/ 2724 w 10000"/>
                <a:gd name="connsiteY100" fmla="*/ 611 h 10000"/>
                <a:gd name="connsiteX101" fmla="*/ 2276 w 10000"/>
                <a:gd name="connsiteY101" fmla="*/ 611 h 10000"/>
                <a:gd name="connsiteX102" fmla="*/ 1789 w 10000"/>
                <a:gd name="connsiteY102" fmla="*/ 611 h 10000"/>
                <a:gd name="connsiteX103" fmla="*/ 1789 w 10000"/>
                <a:gd name="connsiteY103" fmla="*/ 1061 h 10000"/>
                <a:gd name="connsiteX104" fmla="*/ 1789 w 10000"/>
                <a:gd name="connsiteY104" fmla="*/ 1640 h 10000"/>
                <a:gd name="connsiteX105" fmla="*/ 1179 w 10000"/>
                <a:gd name="connsiteY105" fmla="*/ 1640 h 10000"/>
                <a:gd name="connsiteX106" fmla="*/ 1179 w 10000"/>
                <a:gd name="connsiteY106" fmla="*/ 1897 h 10000"/>
                <a:gd name="connsiteX0" fmla="*/ 1098 w 9919"/>
                <a:gd name="connsiteY0" fmla="*/ 1897 h 10000"/>
                <a:gd name="connsiteX1" fmla="*/ 1098 w 9919"/>
                <a:gd name="connsiteY1" fmla="*/ 2412 h 10000"/>
                <a:gd name="connsiteX2" fmla="*/ 1098 w 9919"/>
                <a:gd name="connsiteY2" fmla="*/ 2894 h 10000"/>
                <a:gd name="connsiteX3" fmla="*/ 1098 w 9919"/>
                <a:gd name="connsiteY3" fmla="*/ 3376 h 10000"/>
                <a:gd name="connsiteX4" fmla="*/ 1098 w 9919"/>
                <a:gd name="connsiteY4" fmla="*/ 3826 h 10000"/>
                <a:gd name="connsiteX5" fmla="*/ 448 w 9919"/>
                <a:gd name="connsiteY5" fmla="*/ 3923 h 10000"/>
                <a:gd name="connsiteX6" fmla="*/ 326 w 9919"/>
                <a:gd name="connsiteY6" fmla="*/ 4180 h 10000"/>
                <a:gd name="connsiteX7" fmla="*/ 41 w 9919"/>
                <a:gd name="connsiteY7" fmla="*/ 4502 h 10000"/>
                <a:gd name="connsiteX8" fmla="*/ 41 w 9919"/>
                <a:gd name="connsiteY8" fmla="*/ 4759 h 10000"/>
                <a:gd name="connsiteX9" fmla="*/ 3775 w 9919"/>
                <a:gd name="connsiteY9" fmla="*/ 7279 h 10000"/>
                <a:gd name="connsiteX10" fmla="*/ 3074 w 9919"/>
                <a:gd name="connsiteY10" fmla="*/ 7095 h 10000"/>
                <a:gd name="connsiteX11" fmla="*/ 2886 w 9919"/>
                <a:gd name="connsiteY11" fmla="*/ 7195 h 10000"/>
                <a:gd name="connsiteX12" fmla="*/ 2418 w 9919"/>
                <a:gd name="connsiteY12" fmla="*/ 6973 h 10000"/>
                <a:gd name="connsiteX13" fmla="*/ 2212 w 9919"/>
                <a:gd name="connsiteY13" fmla="*/ 6638 h 10000"/>
                <a:gd name="connsiteX14" fmla="*/ 1868 w 9919"/>
                <a:gd name="connsiteY14" fmla="*/ 6729 h 10000"/>
                <a:gd name="connsiteX15" fmla="*/ 1775 w 9919"/>
                <a:gd name="connsiteY15" fmla="*/ 6927 h 10000"/>
                <a:gd name="connsiteX16" fmla="*/ 1409 w 9919"/>
                <a:gd name="connsiteY16" fmla="*/ 7011 h 10000"/>
                <a:gd name="connsiteX17" fmla="*/ 1170 w 9919"/>
                <a:gd name="connsiteY17" fmla="*/ 7004 h 10000"/>
                <a:gd name="connsiteX18" fmla="*/ 1040 w 9919"/>
                <a:gd name="connsiteY18" fmla="*/ 7161 h 10000"/>
                <a:gd name="connsiteX19" fmla="*/ 814 w 9919"/>
                <a:gd name="connsiteY19" fmla="*/ 6913 h 10000"/>
                <a:gd name="connsiteX20" fmla="*/ 773 w 9919"/>
                <a:gd name="connsiteY20" fmla="*/ 7363 h 10000"/>
                <a:gd name="connsiteX21" fmla="*/ 854 w 9919"/>
                <a:gd name="connsiteY21" fmla="*/ 7428 h 10000"/>
                <a:gd name="connsiteX22" fmla="*/ 1179 w 9919"/>
                <a:gd name="connsiteY22" fmla="*/ 7460 h 10000"/>
                <a:gd name="connsiteX23" fmla="*/ 1221 w 9919"/>
                <a:gd name="connsiteY23" fmla="*/ 7588 h 10000"/>
                <a:gd name="connsiteX24" fmla="*/ 1586 w 9919"/>
                <a:gd name="connsiteY24" fmla="*/ 7621 h 10000"/>
                <a:gd name="connsiteX25" fmla="*/ 1789 w 9919"/>
                <a:gd name="connsiteY25" fmla="*/ 7749 h 10000"/>
                <a:gd name="connsiteX26" fmla="*/ 1830 w 9919"/>
                <a:gd name="connsiteY26" fmla="*/ 7974 h 10000"/>
                <a:gd name="connsiteX27" fmla="*/ 2481 w 9919"/>
                <a:gd name="connsiteY27" fmla="*/ 8360 h 10000"/>
                <a:gd name="connsiteX28" fmla="*/ 2643 w 9919"/>
                <a:gd name="connsiteY28" fmla="*/ 8746 h 10000"/>
                <a:gd name="connsiteX29" fmla="*/ 3090 w 9919"/>
                <a:gd name="connsiteY29" fmla="*/ 8939 h 10000"/>
                <a:gd name="connsiteX30" fmla="*/ 3253 w 9919"/>
                <a:gd name="connsiteY30" fmla="*/ 9196 h 10000"/>
                <a:gd name="connsiteX31" fmla="*/ 3578 w 9919"/>
                <a:gd name="connsiteY31" fmla="*/ 9518 h 10000"/>
                <a:gd name="connsiteX32" fmla="*/ 3822 w 9919"/>
                <a:gd name="connsiteY32" fmla="*/ 9614 h 10000"/>
                <a:gd name="connsiteX33" fmla="*/ 3985 w 9919"/>
                <a:gd name="connsiteY33" fmla="*/ 9518 h 10000"/>
                <a:gd name="connsiteX34" fmla="*/ 4391 w 9919"/>
                <a:gd name="connsiteY34" fmla="*/ 9550 h 10000"/>
                <a:gd name="connsiteX35" fmla="*/ 4554 w 9919"/>
                <a:gd name="connsiteY35" fmla="*/ 9486 h 10000"/>
                <a:gd name="connsiteX36" fmla="*/ 5285 w 9919"/>
                <a:gd name="connsiteY36" fmla="*/ 9968 h 10000"/>
                <a:gd name="connsiteX37" fmla="*/ 5326 w 9919"/>
                <a:gd name="connsiteY37" fmla="*/ 9968 h 10000"/>
                <a:gd name="connsiteX38" fmla="*/ 5407 w 9919"/>
                <a:gd name="connsiteY38" fmla="*/ 9904 h 10000"/>
                <a:gd name="connsiteX39" fmla="*/ 5935 w 9919"/>
                <a:gd name="connsiteY39" fmla="*/ 9904 h 10000"/>
                <a:gd name="connsiteX40" fmla="*/ 6017 w 9919"/>
                <a:gd name="connsiteY40" fmla="*/ 10000 h 10000"/>
                <a:gd name="connsiteX41" fmla="*/ 6464 w 9919"/>
                <a:gd name="connsiteY41" fmla="*/ 9871 h 10000"/>
                <a:gd name="connsiteX42" fmla="*/ 6870 w 9919"/>
                <a:gd name="connsiteY42" fmla="*/ 9871 h 10000"/>
                <a:gd name="connsiteX43" fmla="*/ 7155 w 9919"/>
                <a:gd name="connsiteY43" fmla="*/ 9743 h 10000"/>
                <a:gd name="connsiteX44" fmla="*/ 7480 w 9919"/>
                <a:gd name="connsiteY44" fmla="*/ 9486 h 10000"/>
                <a:gd name="connsiteX45" fmla="*/ 8334 w 9919"/>
                <a:gd name="connsiteY45" fmla="*/ 9486 h 10000"/>
                <a:gd name="connsiteX46" fmla="*/ 8334 w 9919"/>
                <a:gd name="connsiteY46" fmla="*/ 9132 h 10000"/>
                <a:gd name="connsiteX47" fmla="*/ 7887 w 9919"/>
                <a:gd name="connsiteY47" fmla="*/ 8971 h 10000"/>
                <a:gd name="connsiteX48" fmla="*/ 7643 w 9919"/>
                <a:gd name="connsiteY48" fmla="*/ 8457 h 10000"/>
                <a:gd name="connsiteX49" fmla="*/ 7318 w 9919"/>
                <a:gd name="connsiteY49" fmla="*/ 8264 h 10000"/>
                <a:gd name="connsiteX50" fmla="*/ 7114 w 9919"/>
                <a:gd name="connsiteY50" fmla="*/ 8006 h 10000"/>
                <a:gd name="connsiteX51" fmla="*/ 6586 w 9919"/>
                <a:gd name="connsiteY51" fmla="*/ 7814 h 10000"/>
                <a:gd name="connsiteX52" fmla="*/ 6707 w 9919"/>
                <a:gd name="connsiteY52" fmla="*/ 7749 h 10000"/>
                <a:gd name="connsiteX53" fmla="*/ 6707 w 9919"/>
                <a:gd name="connsiteY53" fmla="*/ 7588 h 10000"/>
                <a:gd name="connsiteX54" fmla="*/ 7074 w 9919"/>
                <a:gd name="connsiteY54" fmla="*/ 7588 h 10000"/>
                <a:gd name="connsiteX55" fmla="*/ 7277 w 9919"/>
                <a:gd name="connsiteY55" fmla="*/ 7460 h 10000"/>
                <a:gd name="connsiteX56" fmla="*/ 7318 w 9919"/>
                <a:gd name="connsiteY56" fmla="*/ 6527 h 10000"/>
                <a:gd name="connsiteX57" fmla="*/ 7358 w 9919"/>
                <a:gd name="connsiteY57" fmla="*/ 6559 h 10000"/>
                <a:gd name="connsiteX58" fmla="*/ 7480 w 9919"/>
                <a:gd name="connsiteY58" fmla="*/ 6367 h 10000"/>
                <a:gd name="connsiteX59" fmla="*/ 7724 w 9919"/>
                <a:gd name="connsiteY59" fmla="*/ 6270 h 10000"/>
                <a:gd name="connsiteX60" fmla="*/ 7846 w 9919"/>
                <a:gd name="connsiteY60" fmla="*/ 5916 h 10000"/>
                <a:gd name="connsiteX61" fmla="*/ 8212 w 9919"/>
                <a:gd name="connsiteY61" fmla="*/ 5498 h 10000"/>
                <a:gd name="connsiteX62" fmla="*/ 8496 w 9919"/>
                <a:gd name="connsiteY62" fmla="*/ 5305 h 10000"/>
                <a:gd name="connsiteX63" fmla="*/ 8699 w 9919"/>
                <a:gd name="connsiteY63" fmla="*/ 4759 h 10000"/>
                <a:gd name="connsiteX64" fmla="*/ 8699 w 9919"/>
                <a:gd name="connsiteY64" fmla="*/ 4630 h 10000"/>
                <a:gd name="connsiteX65" fmla="*/ 8659 w 9919"/>
                <a:gd name="connsiteY65" fmla="*/ 4309 h 10000"/>
                <a:gd name="connsiteX66" fmla="*/ 9066 w 9919"/>
                <a:gd name="connsiteY66" fmla="*/ 3151 h 10000"/>
                <a:gd name="connsiteX67" fmla="*/ 9187 w 9919"/>
                <a:gd name="connsiteY67" fmla="*/ 3151 h 10000"/>
                <a:gd name="connsiteX68" fmla="*/ 9350 w 9919"/>
                <a:gd name="connsiteY68" fmla="*/ 3055 h 10000"/>
                <a:gd name="connsiteX69" fmla="*/ 9838 w 9919"/>
                <a:gd name="connsiteY69" fmla="*/ 2894 h 10000"/>
                <a:gd name="connsiteX70" fmla="*/ 9919 w 9919"/>
                <a:gd name="connsiteY70" fmla="*/ 2637 h 10000"/>
                <a:gd name="connsiteX71" fmla="*/ 9879 w 9919"/>
                <a:gd name="connsiteY71" fmla="*/ 2572 h 10000"/>
                <a:gd name="connsiteX72" fmla="*/ 9716 w 9919"/>
                <a:gd name="connsiteY72" fmla="*/ 2572 h 10000"/>
                <a:gd name="connsiteX73" fmla="*/ 9594 w 9919"/>
                <a:gd name="connsiteY73" fmla="*/ 2412 h 10000"/>
                <a:gd name="connsiteX74" fmla="*/ 9350 w 9919"/>
                <a:gd name="connsiteY74" fmla="*/ 2347 h 10000"/>
                <a:gd name="connsiteX75" fmla="*/ 9228 w 9919"/>
                <a:gd name="connsiteY75" fmla="*/ 2219 h 10000"/>
                <a:gd name="connsiteX76" fmla="*/ 9147 w 9919"/>
                <a:gd name="connsiteY76" fmla="*/ 1736 h 10000"/>
                <a:gd name="connsiteX77" fmla="*/ 9147 w 9919"/>
                <a:gd name="connsiteY77" fmla="*/ 1061 h 10000"/>
                <a:gd name="connsiteX78" fmla="*/ 8943 w 9919"/>
                <a:gd name="connsiteY78" fmla="*/ 836 h 10000"/>
                <a:gd name="connsiteX79" fmla="*/ 8903 w 9919"/>
                <a:gd name="connsiteY79" fmla="*/ 611 h 10000"/>
                <a:gd name="connsiteX80" fmla="*/ 8578 w 9919"/>
                <a:gd name="connsiteY80" fmla="*/ 289 h 10000"/>
                <a:gd name="connsiteX81" fmla="*/ 8293 w 9919"/>
                <a:gd name="connsiteY81" fmla="*/ 161 h 10000"/>
                <a:gd name="connsiteX82" fmla="*/ 8131 w 9919"/>
                <a:gd name="connsiteY82" fmla="*/ 0 h 10000"/>
                <a:gd name="connsiteX83" fmla="*/ 7887 w 9919"/>
                <a:gd name="connsiteY83" fmla="*/ 161 h 10000"/>
                <a:gd name="connsiteX84" fmla="*/ 7724 w 9919"/>
                <a:gd name="connsiteY84" fmla="*/ 129 h 10000"/>
                <a:gd name="connsiteX85" fmla="*/ 7602 w 9919"/>
                <a:gd name="connsiteY85" fmla="*/ 418 h 10000"/>
                <a:gd name="connsiteX86" fmla="*/ 7277 w 9919"/>
                <a:gd name="connsiteY86" fmla="*/ 482 h 10000"/>
                <a:gd name="connsiteX87" fmla="*/ 7195 w 9919"/>
                <a:gd name="connsiteY87" fmla="*/ 707 h 10000"/>
                <a:gd name="connsiteX88" fmla="*/ 6911 w 9919"/>
                <a:gd name="connsiteY88" fmla="*/ 707 h 10000"/>
                <a:gd name="connsiteX89" fmla="*/ 6667 w 9919"/>
                <a:gd name="connsiteY89" fmla="*/ 611 h 10000"/>
                <a:gd name="connsiteX90" fmla="*/ 6139 w 9919"/>
                <a:gd name="connsiteY90" fmla="*/ 611 h 10000"/>
                <a:gd name="connsiteX91" fmla="*/ 5610 w 9919"/>
                <a:gd name="connsiteY91" fmla="*/ 611 h 10000"/>
                <a:gd name="connsiteX92" fmla="*/ 5651 w 9919"/>
                <a:gd name="connsiteY92" fmla="*/ 482 h 10000"/>
                <a:gd name="connsiteX93" fmla="*/ 5570 w 9919"/>
                <a:gd name="connsiteY93" fmla="*/ 482 h 10000"/>
                <a:gd name="connsiteX94" fmla="*/ 5529 w 9919"/>
                <a:gd name="connsiteY94" fmla="*/ 611 h 10000"/>
                <a:gd name="connsiteX95" fmla="*/ 5041 w 9919"/>
                <a:gd name="connsiteY95" fmla="*/ 611 h 10000"/>
                <a:gd name="connsiteX96" fmla="*/ 4554 w 9919"/>
                <a:gd name="connsiteY96" fmla="*/ 611 h 10000"/>
                <a:gd name="connsiteX97" fmla="*/ 4066 w 9919"/>
                <a:gd name="connsiteY97" fmla="*/ 611 h 10000"/>
                <a:gd name="connsiteX98" fmla="*/ 3578 w 9919"/>
                <a:gd name="connsiteY98" fmla="*/ 611 h 10000"/>
                <a:gd name="connsiteX99" fmla="*/ 3131 w 9919"/>
                <a:gd name="connsiteY99" fmla="*/ 611 h 10000"/>
                <a:gd name="connsiteX100" fmla="*/ 2643 w 9919"/>
                <a:gd name="connsiteY100" fmla="*/ 611 h 10000"/>
                <a:gd name="connsiteX101" fmla="*/ 2195 w 9919"/>
                <a:gd name="connsiteY101" fmla="*/ 611 h 10000"/>
                <a:gd name="connsiteX102" fmla="*/ 1708 w 9919"/>
                <a:gd name="connsiteY102" fmla="*/ 611 h 10000"/>
                <a:gd name="connsiteX103" fmla="*/ 1708 w 9919"/>
                <a:gd name="connsiteY103" fmla="*/ 1061 h 10000"/>
                <a:gd name="connsiteX104" fmla="*/ 1708 w 9919"/>
                <a:gd name="connsiteY104" fmla="*/ 1640 h 10000"/>
                <a:gd name="connsiteX105" fmla="*/ 1098 w 9919"/>
                <a:gd name="connsiteY105" fmla="*/ 1640 h 10000"/>
                <a:gd name="connsiteX106" fmla="*/ 1098 w 9919"/>
                <a:gd name="connsiteY106" fmla="*/ 1897 h 10000"/>
                <a:gd name="connsiteX0" fmla="*/ 1066 w 9959"/>
                <a:gd name="connsiteY0" fmla="*/ 1897 h 10000"/>
                <a:gd name="connsiteX1" fmla="*/ 1066 w 9959"/>
                <a:gd name="connsiteY1" fmla="*/ 2412 h 10000"/>
                <a:gd name="connsiteX2" fmla="*/ 1066 w 9959"/>
                <a:gd name="connsiteY2" fmla="*/ 2894 h 10000"/>
                <a:gd name="connsiteX3" fmla="*/ 1066 w 9959"/>
                <a:gd name="connsiteY3" fmla="*/ 3376 h 10000"/>
                <a:gd name="connsiteX4" fmla="*/ 1066 w 9959"/>
                <a:gd name="connsiteY4" fmla="*/ 3826 h 10000"/>
                <a:gd name="connsiteX5" fmla="*/ 411 w 9959"/>
                <a:gd name="connsiteY5" fmla="*/ 3923 h 10000"/>
                <a:gd name="connsiteX6" fmla="*/ 288 w 9959"/>
                <a:gd name="connsiteY6" fmla="*/ 4180 h 10000"/>
                <a:gd name="connsiteX7" fmla="*/ 0 w 9959"/>
                <a:gd name="connsiteY7" fmla="*/ 4502 h 10000"/>
                <a:gd name="connsiteX8" fmla="*/ 4089 w 9959"/>
                <a:gd name="connsiteY8" fmla="*/ 7281 h 10000"/>
                <a:gd name="connsiteX9" fmla="*/ 3765 w 9959"/>
                <a:gd name="connsiteY9" fmla="*/ 7279 h 10000"/>
                <a:gd name="connsiteX10" fmla="*/ 3058 w 9959"/>
                <a:gd name="connsiteY10" fmla="*/ 7095 h 10000"/>
                <a:gd name="connsiteX11" fmla="*/ 2869 w 9959"/>
                <a:gd name="connsiteY11" fmla="*/ 7195 h 10000"/>
                <a:gd name="connsiteX12" fmla="*/ 2397 w 9959"/>
                <a:gd name="connsiteY12" fmla="*/ 6973 h 10000"/>
                <a:gd name="connsiteX13" fmla="*/ 2189 w 9959"/>
                <a:gd name="connsiteY13" fmla="*/ 6638 h 10000"/>
                <a:gd name="connsiteX14" fmla="*/ 1842 w 9959"/>
                <a:gd name="connsiteY14" fmla="*/ 6729 h 10000"/>
                <a:gd name="connsiteX15" fmla="*/ 1748 w 9959"/>
                <a:gd name="connsiteY15" fmla="*/ 6927 h 10000"/>
                <a:gd name="connsiteX16" fmla="*/ 1380 w 9959"/>
                <a:gd name="connsiteY16" fmla="*/ 7011 h 10000"/>
                <a:gd name="connsiteX17" fmla="*/ 1139 w 9959"/>
                <a:gd name="connsiteY17" fmla="*/ 7004 h 10000"/>
                <a:gd name="connsiteX18" fmla="*/ 1007 w 9959"/>
                <a:gd name="connsiteY18" fmla="*/ 7161 h 10000"/>
                <a:gd name="connsiteX19" fmla="*/ 780 w 9959"/>
                <a:gd name="connsiteY19" fmla="*/ 6913 h 10000"/>
                <a:gd name="connsiteX20" fmla="*/ 738 w 9959"/>
                <a:gd name="connsiteY20" fmla="*/ 7363 h 10000"/>
                <a:gd name="connsiteX21" fmla="*/ 820 w 9959"/>
                <a:gd name="connsiteY21" fmla="*/ 7428 h 10000"/>
                <a:gd name="connsiteX22" fmla="*/ 1148 w 9959"/>
                <a:gd name="connsiteY22" fmla="*/ 7460 h 10000"/>
                <a:gd name="connsiteX23" fmla="*/ 1190 w 9959"/>
                <a:gd name="connsiteY23" fmla="*/ 7588 h 10000"/>
                <a:gd name="connsiteX24" fmla="*/ 1558 w 9959"/>
                <a:gd name="connsiteY24" fmla="*/ 7621 h 10000"/>
                <a:gd name="connsiteX25" fmla="*/ 1763 w 9959"/>
                <a:gd name="connsiteY25" fmla="*/ 7749 h 10000"/>
                <a:gd name="connsiteX26" fmla="*/ 1804 w 9959"/>
                <a:gd name="connsiteY26" fmla="*/ 7974 h 10000"/>
                <a:gd name="connsiteX27" fmla="*/ 2460 w 9959"/>
                <a:gd name="connsiteY27" fmla="*/ 8360 h 10000"/>
                <a:gd name="connsiteX28" fmla="*/ 2624 w 9959"/>
                <a:gd name="connsiteY28" fmla="*/ 8746 h 10000"/>
                <a:gd name="connsiteX29" fmla="*/ 3074 w 9959"/>
                <a:gd name="connsiteY29" fmla="*/ 8939 h 10000"/>
                <a:gd name="connsiteX30" fmla="*/ 3239 w 9959"/>
                <a:gd name="connsiteY30" fmla="*/ 9196 h 10000"/>
                <a:gd name="connsiteX31" fmla="*/ 3566 w 9959"/>
                <a:gd name="connsiteY31" fmla="*/ 9518 h 10000"/>
                <a:gd name="connsiteX32" fmla="*/ 3812 w 9959"/>
                <a:gd name="connsiteY32" fmla="*/ 9614 h 10000"/>
                <a:gd name="connsiteX33" fmla="*/ 3977 w 9959"/>
                <a:gd name="connsiteY33" fmla="*/ 9518 h 10000"/>
                <a:gd name="connsiteX34" fmla="*/ 4386 w 9959"/>
                <a:gd name="connsiteY34" fmla="*/ 9550 h 10000"/>
                <a:gd name="connsiteX35" fmla="*/ 4550 w 9959"/>
                <a:gd name="connsiteY35" fmla="*/ 9486 h 10000"/>
                <a:gd name="connsiteX36" fmla="*/ 5287 w 9959"/>
                <a:gd name="connsiteY36" fmla="*/ 9968 h 10000"/>
                <a:gd name="connsiteX37" fmla="*/ 5328 w 9959"/>
                <a:gd name="connsiteY37" fmla="*/ 9968 h 10000"/>
                <a:gd name="connsiteX38" fmla="*/ 5410 w 9959"/>
                <a:gd name="connsiteY38" fmla="*/ 9904 h 10000"/>
                <a:gd name="connsiteX39" fmla="*/ 5942 w 9959"/>
                <a:gd name="connsiteY39" fmla="*/ 9904 h 10000"/>
                <a:gd name="connsiteX40" fmla="*/ 6025 w 9959"/>
                <a:gd name="connsiteY40" fmla="*/ 10000 h 10000"/>
                <a:gd name="connsiteX41" fmla="*/ 6476 w 9959"/>
                <a:gd name="connsiteY41" fmla="*/ 9871 h 10000"/>
                <a:gd name="connsiteX42" fmla="*/ 6885 w 9959"/>
                <a:gd name="connsiteY42" fmla="*/ 9871 h 10000"/>
                <a:gd name="connsiteX43" fmla="*/ 7172 w 9959"/>
                <a:gd name="connsiteY43" fmla="*/ 9743 h 10000"/>
                <a:gd name="connsiteX44" fmla="*/ 7500 w 9959"/>
                <a:gd name="connsiteY44" fmla="*/ 9486 h 10000"/>
                <a:gd name="connsiteX45" fmla="*/ 8361 w 9959"/>
                <a:gd name="connsiteY45" fmla="*/ 9486 h 10000"/>
                <a:gd name="connsiteX46" fmla="*/ 8361 w 9959"/>
                <a:gd name="connsiteY46" fmla="*/ 9132 h 10000"/>
                <a:gd name="connsiteX47" fmla="*/ 7910 w 9959"/>
                <a:gd name="connsiteY47" fmla="*/ 8971 h 10000"/>
                <a:gd name="connsiteX48" fmla="*/ 7664 w 9959"/>
                <a:gd name="connsiteY48" fmla="*/ 8457 h 10000"/>
                <a:gd name="connsiteX49" fmla="*/ 7337 w 9959"/>
                <a:gd name="connsiteY49" fmla="*/ 8264 h 10000"/>
                <a:gd name="connsiteX50" fmla="*/ 7131 w 9959"/>
                <a:gd name="connsiteY50" fmla="*/ 8006 h 10000"/>
                <a:gd name="connsiteX51" fmla="*/ 6599 w 9959"/>
                <a:gd name="connsiteY51" fmla="*/ 7814 h 10000"/>
                <a:gd name="connsiteX52" fmla="*/ 6721 w 9959"/>
                <a:gd name="connsiteY52" fmla="*/ 7749 h 10000"/>
                <a:gd name="connsiteX53" fmla="*/ 6721 w 9959"/>
                <a:gd name="connsiteY53" fmla="*/ 7588 h 10000"/>
                <a:gd name="connsiteX54" fmla="*/ 7091 w 9959"/>
                <a:gd name="connsiteY54" fmla="*/ 7588 h 10000"/>
                <a:gd name="connsiteX55" fmla="*/ 7295 w 9959"/>
                <a:gd name="connsiteY55" fmla="*/ 7460 h 10000"/>
                <a:gd name="connsiteX56" fmla="*/ 7337 w 9959"/>
                <a:gd name="connsiteY56" fmla="*/ 6527 h 10000"/>
                <a:gd name="connsiteX57" fmla="*/ 7377 w 9959"/>
                <a:gd name="connsiteY57" fmla="*/ 6559 h 10000"/>
                <a:gd name="connsiteX58" fmla="*/ 7500 w 9959"/>
                <a:gd name="connsiteY58" fmla="*/ 6367 h 10000"/>
                <a:gd name="connsiteX59" fmla="*/ 7746 w 9959"/>
                <a:gd name="connsiteY59" fmla="*/ 6270 h 10000"/>
                <a:gd name="connsiteX60" fmla="*/ 7869 w 9959"/>
                <a:gd name="connsiteY60" fmla="*/ 5916 h 10000"/>
                <a:gd name="connsiteX61" fmla="*/ 8238 w 9959"/>
                <a:gd name="connsiteY61" fmla="*/ 5498 h 10000"/>
                <a:gd name="connsiteX62" fmla="*/ 8524 w 9959"/>
                <a:gd name="connsiteY62" fmla="*/ 5305 h 10000"/>
                <a:gd name="connsiteX63" fmla="*/ 8729 w 9959"/>
                <a:gd name="connsiteY63" fmla="*/ 4759 h 10000"/>
                <a:gd name="connsiteX64" fmla="*/ 8729 w 9959"/>
                <a:gd name="connsiteY64" fmla="*/ 4630 h 10000"/>
                <a:gd name="connsiteX65" fmla="*/ 8689 w 9959"/>
                <a:gd name="connsiteY65" fmla="*/ 4309 h 10000"/>
                <a:gd name="connsiteX66" fmla="*/ 9099 w 9959"/>
                <a:gd name="connsiteY66" fmla="*/ 3151 h 10000"/>
                <a:gd name="connsiteX67" fmla="*/ 9221 w 9959"/>
                <a:gd name="connsiteY67" fmla="*/ 3151 h 10000"/>
                <a:gd name="connsiteX68" fmla="*/ 9385 w 9959"/>
                <a:gd name="connsiteY68" fmla="*/ 3055 h 10000"/>
                <a:gd name="connsiteX69" fmla="*/ 9877 w 9959"/>
                <a:gd name="connsiteY69" fmla="*/ 2894 h 10000"/>
                <a:gd name="connsiteX70" fmla="*/ 9959 w 9959"/>
                <a:gd name="connsiteY70" fmla="*/ 2637 h 10000"/>
                <a:gd name="connsiteX71" fmla="*/ 9919 w 9959"/>
                <a:gd name="connsiteY71" fmla="*/ 2572 h 10000"/>
                <a:gd name="connsiteX72" fmla="*/ 9754 w 9959"/>
                <a:gd name="connsiteY72" fmla="*/ 2572 h 10000"/>
                <a:gd name="connsiteX73" fmla="*/ 9631 w 9959"/>
                <a:gd name="connsiteY73" fmla="*/ 2412 h 10000"/>
                <a:gd name="connsiteX74" fmla="*/ 9385 w 9959"/>
                <a:gd name="connsiteY74" fmla="*/ 2347 h 10000"/>
                <a:gd name="connsiteX75" fmla="*/ 9262 w 9959"/>
                <a:gd name="connsiteY75" fmla="*/ 2219 h 10000"/>
                <a:gd name="connsiteX76" fmla="*/ 9181 w 9959"/>
                <a:gd name="connsiteY76" fmla="*/ 1736 h 10000"/>
                <a:gd name="connsiteX77" fmla="*/ 9181 w 9959"/>
                <a:gd name="connsiteY77" fmla="*/ 1061 h 10000"/>
                <a:gd name="connsiteX78" fmla="*/ 8975 w 9959"/>
                <a:gd name="connsiteY78" fmla="*/ 836 h 10000"/>
                <a:gd name="connsiteX79" fmla="*/ 8935 w 9959"/>
                <a:gd name="connsiteY79" fmla="*/ 611 h 10000"/>
                <a:gd name="connsiteX80" fmla="*/ 8607 w 9959"/>
                <a:gd name="connsiteY80" fmla="*/ 289 h 10000"/>
                <a:gd name="connsiteX81" fmla="*/ 8320 w 9959"/>
                <a:gd name="connsiteY81" fmla="*/ 161 h 10000"/>
                <a:gd name="connsiteX82" fmla="*/ 8156 w 9959"/>
                <a:gd name="connsiteY82" fmla="*/ 0 h 10000"/>
                <a:gd name="connsiteX83" fmla="*/ 7910 w 9959"/>
                <a:gd name="connsiteY83" fmla="*/ 161 h 10000"/>
                <a:gd name="connsiteX84" fmla="*/ 7746 w 9959"/>
                <a:gd name="connsiteY84" fmla="*/ 129 h 10000"/>
                <a:gd name="connsiteX85" fmla="*/ 7623 w 9959"/>
                <a:gd name="connsiteY85" fmla="*/ 418 h 10000"/>
                <a:gd name="connsiteX86" fmla="*/ 7295 w 9959"/>
                <a:gd name="connsiteY86" fmla="*/ 482 h 10000"/>
                <a:gd name="connsiteX87" fmla="*/ 7213 w 9959"/>
                <a:gd name="connsiteY87" fmla="*/ 707 h 10000"/>
                <a:gd name="connsiteX88" fmla="*/ 6926 w 9959"/>
                <a:gd name="connsiteY88" fmla="*/ 707 h 10000"/>
                <a:gd name="connsiteX89" fmla="*/ 6680 w 9959"/>
                <a:gd name="connsiteY89" fmla="*/ 611 h 10000"/>
                <a:gd name="connsiteX90" fmla="*/ 6148 w 9959"/>
                <a:gd name="connsiteY90" fmla="*/ 611 h 10000"/>
                <a:gd name="connsiteX91" fmla="*/ 5615 w 9959"/>
                <a:gd name="connsiteY91" fmla="*/ 611 h 10000"/>
                <a:gd name="connsiteX92" fmla="*/ 5656 w 9959"/>
                <a:gd name="connsiteY92" fmla="*/ 482 h 10000"/>
                <a:gd name="connsiteX93" fmla="*/ 5574 w 9959"/>
                <a:gd name="connsiteY93" fmla="*/ 482 h 10000"/>
                <a:gd name="connsiteX94" fmla="*/ 5533 w 9959"/>
                <a:gd name="connsiteY94" fmla="*/ 611 h 10000"/>
                <a:gd name="connsiteX95" fmla="*/ 5041 w 9959"/>
                <a:gd name="connsiteY95" fmla="*/ 611 h 10000"/>
                <a:gd name="connsiteX96" fmla="*/ 4550 w 9959"/>
                <a:gd name="connsiteY96" fmla="*/ 611 h 10000"/>
                <a:gd name="connsiteX97" fmla="*/ 4058 w 9959"/>
                <a:gd name="connsiteY97" fmla="*/ 611 h 10000"/>
                <a:gd name="connsiteX98" fmla="*/ 3566 w 9959"/>
                <a:gd name="connsiteY98" fmla="*/ 611 h 10000"/>
                <a:gd name="connsiteX99" fmla="*/ 3116 w 9959"/>
                <a:gd name="connsiteY99" fmla="*/ 611 h 10000"/>
                <a:gd name="connsiteX100" fmla="*/ 2624 w 9959"/>
                <a:gd name="connsiteY100" fmla="*/ 611 h 10000"/>
                <a:gd name="connsiteX101" fmla="*/ 2172 w 9959"/>
                <a:gd name="connsiteY101" fmla="*/ 611 h 10000"/>
                <a:gd name="connsiteX102" fmla="*/ 1681 w 9959"/>
                <a:gd name="connsiteY102" fmla="*/ 611 h 10000"/>
                <a:gd name="connsiteX103" fmla="*/ 1681 w 9959"/>
                <a:gd name="connsiteY103" fmla="*/ 1061 h 10000"/>
                <a:gd name="connsiteX104" fmla="*/ 1681 w 9959"/>
                <a:gd name="connsiteY104" fmla="*/ 1640 h 10000"/>
                <a:gd name="connsiteX105" fmla="*/ 1066 w 9959"/>
                <a:gd name="connsiteY105" fmla="*/ 1640 h 10000"/>
                <a:gd name="connsiteX106" fmla="*/ 1066 w 9959"/>
                <a:gd name="connsiteY106" fmla="*/ 1897 h 10000"/>
                <a:gd name="connsiteX0" fmla="*/ 781 w 9711"/>
                <a:gd name="connsiteY0" fmla="*/ 1897 h 10000"/>
                <a:gd name="connsiteX1" fmla="*/ 781 w 9711"/>
                <a:gd name="connsiteY1" fmla="*/ 2412 h 10000"/>
                <a:gd name="connsiteX2" fmla="*/ 781 w 9711"/>
                <a:gd name="connsiteY2" fmla="*/ 2894 h 10000"/>
                <a:gd name="connsiteX3" fmla="*/ 781 w 9711"/>
                <a:gd name="connsiteY3" fmla="*/ 3376 h 10000"/>
                <a:gd name="connsiteX4" fmla="*/ 781 w 9711"/>
                <a:gd name="connsiteY4" fmla="*/ 3826 h 10000"/>
                <a:gd name="connsiteX5" fmla="*/ 124 w 9711"/>
                <a:gd name="connsiteY5" fmla="*/ 3923 h 10000"/>
                <a:gd name="connsiteX6" fmla="*/ 0 w 9711"/>
                <a:gd name="connsiteY6" fmla="*/ 4180 h 10000"/>
                <a:gd name="connsiteX7" fmla="*/ 4324 w 9711"/>
                <a:gd name="connsiteY7" fmla="*/ 7064 h 10000"/>
                <a:gd name="connsiteX8" fmla="*/ 3817 w 9711"/>
                <a:gd name="connsiteY8" fmla="*/ 7281 h 10000"/>
                <a:gd name="connsiteX9" fmla="*/ 3492 w 9711"/>
                <a:gd name="connsiteY9" fmla="*/ 7279 h 10000"/>
                <a:gd name="connsiteX10" fmla="*/ 2782 w 9711"/>
                <a:gd name="connsiteY10" fmla="*/ 7095 h 10000"/>
                <a:gd name="connsiteX11" fmla="*/ 2592 w 9711"/>
                <a:gd name="connsiteY11" fmla="*/ 7195 h 10000"/>
                <a:gd name="connsiteX12" fmla="*/ 2118 w 9711"/>
                <a:gd name="connsiteY12" fmla="*/ 6973 h 10000"/>
                <a:gd name="connsiteX13" fmla="*/ 1909 w 9711"/>
                <a:gd name="connsiteY13" fmla="*/ 6638 h 10000"/>
                <a:gd name="connsiteX14" fmla="*/ 1561 w 9711"/>
                <a:gd name="connsiteY14" fmla="*/ 6729 h 10000"/>
                <a:gd name="connsiteX15" fmla="*/ 1466 w 9711"/>
                <a:gd name="connsiteY15" fmla="*/ 6927 h 10000"/>
                <a:gd name="connsiteX16" fmla="*/ 1097 w 9711"/>
                <a:gd name="connsiteY16" fmla="*/ 7011 h 10000"/>
                <a:gd name="connsiteX17" fmla="*/ 855 w 9711"/>
                <a:gd name="connsiteY17" fmla="*/ 7004 h 10000"/>
                <a:gd name="connsiteX18" fmla="*/ 722 w 9711"/>
                <a:gd name="connsiteY18" fmla="*/ 7161 h 10000"/>
                <a:gd name="connsiteX19" fmla="*/ 494 w 9711"/>
                <a:gd name="connsiteY19" fmla="*/ 6913 h 10000"/>
                <a:gd name="connsiteX20" fmla="*/ 452 w 9711"/>
                <a:gd name="connsiteY20" fmla="*/ 7363 h 10000"/>
                <a:gd name="connsiteX21" fmla="*/ 534 w 9711"/>
                <a:gd name="connsiteY21" fmla="*/ 7428 h 10000"/>
                <a:gd name="connsiteX22" fmla="*/ 864 w 9711"/>
                <a:gd name="connsiteY22" fmla="*/ 7460 h 10000"/>
                <a:gd name="connsiteX23" fmla="*/ 906 w 9711"/>
                <a:gd name="connsiteY23" fmla="*/ 7588 h 10000"/>
                <a:gd name="connsiteX24" fmla="*/ 1275 w 9711"/>
                <a:gd name="connsiteY24" fmla="*/ 7621 h 10000"/>
                <a:gd name="connsiteX25" fmla="*/ 1481 w 9711"/>
                <a:gd name="connsiteY25" fmla="*/ 7749 h 10000"/>
                <a:gd name="connsiteX26" fmla="*/ 1522 w 9711"/>
                <a:gd name="connsiteY26" fmla="*/ 7974 h 10000"/>
                <a:gd name="connsiteX27" fmla="*/ 2181 w 9711"/>
                <a:gd name="connsiteY27" fmla="*/ 8360 h 10000"/>
                <a:gd name="connsiteX28" fmla="*/ 2346 w 9711"/>
                <a:gd name="connsiteY28" fmla="*/ 8746 h 10000"/>
                <a:gd name="connsiteX29" fmla="*/ 2798 w 9711"/>
                <a:gd name="connsiteY29" fmla="*/ 8939 h 10000"/>
                <a:gd name="connsiteX30" fmla="*/ 2963 w 9711"/>
                <a:gd name="connsiteY30" fmla="*/ 9196 h 10000"/>
                <a:gd name="connsiteX31" fmla="*/ 3292 w 9711"/>
                <a:gd name="connsiteY31" fmla="*/ 9518 h 10000"/>
                <a:gd name="connsiteX32" fmla="*/ 3539 w 9711"/>
                <a:gd name="connsiteY32" fmla="*/ 9614 h 10000"/>
                <a:gd name="connsiteX33" fmla="*/ 3704 w 9711"/>
                <a:gd name="connsiteY33" fmla="*/ 9518 h 10000"/>
                <a:gd name="connsiteX34" fmla="*/ 4115 w 9711"/>
                <a:gd name="connsiteY34" fmla="*/ 9550 h 10000"/>
                <a:gd name="connsiteX35" fmla="*/ 4280 w 9711"/>
                <a:gd name="connsiteY35" fmla="*/ 9486 h 10000"/>
                <a:gd name="connsiteX36" fmla="*/ 5020 w 9711"/>
                <a:gd name="connsiteY36" fmla="*/ 9968 h 10000"/>
                <a:gd name="connsiteX37" fmla="*/ 5061 w 9711"/>
                <a:gd name="connsiteY37" fmla="*/ 9968 h 10000"/>
                <a:gd name="connsiteX38" fmla="*/ 5143 w 9711"/>
                <a:gd name="connsiteY38" fmla="*/ 9904 h 10000"/>
                <a:gd name="connsiteX39" fmla="*/ 5677 w 9711"/>
                <a:gd name="connsiteY39" fmla="*/ 9904 h 10000"/>
                <a:gd name="connsiteX40" fmla="*/ 5761 w 9711"/>
                <a:gd name="connsiteY40" fmla="*/ 10000 h 10000"/>
                <a:gd name="connsiteX41" fmla="*/ 6214 w 9711"/>
                <a:gd name="connsiteY41" fmla="*/ 9871 h 10000"/>
                <a:gd name="connsiteX42" fmla="*/ 6624 w 9711"/>
                <a:gd name="connsiteY42" fmla="*/ 9871 h 10000"/>
                <a:gd name="connsiteX43" fmla="*/ 6913 w 9711"/>
                <a:gd name="connsiteY43" fmla="*/ 9743 h 10000"/>
                <a:gd name="connsiteX44" fmla="*/ 7242 w 9711"/>
                <a:gd name="connsiteY44" fmla="*/ 9486 h 10000"/>
                <a:gd name="connsiteX45" fmla="*/ 8106 w 9711"/>
                <a:gd name="connsiteY45" fmla="*/ 9486 h 10000"/>
                <a:gd name="connsiteX46" fmla="*/ 8106 w 9711"/>
                <a:gd name="connsiteY46" fmla="*/ 9132 h 10000"/>
                <a:gd name="connsiteX47" fmla="*/ 7654 w 9711"/>
                <a:gd name="connsiteY47" fmla="*/ 8971 h 10000"/>
                <a:gd name="connsiteX48" fmla="*/ 7407 w 9711"/>
                <a:gd name="connsiteY48" fmla="*/ 8457 h 10000"/>
                <a:gd name="connsiteX49" fmla="*/ 7078 w 9711"/>
                <a:gd name="connsiteY49" fmla="*/ 8264 h 10000"/>
                <a:gd name="connsiteX50" fmla="*/ 6871 w 9711"/>
                <a:gd name="connsiteY50" fmla="*/ 8006 h 10000"/>
                <a:gd name="connsiteX51" fmla="*/ 6337 w 9711"/>
                <a:gd name="connsiteY51" fmla="*/ 7814 h 10000"/>
                <a:gd name="connsiteX52" fmla="*/ 6460 w 9711"/>
                <a:gd name="connsiteY52" fmla="*/ 7749 h 10000"/>
                <a:gd name="connsiteX53" fmla="*/ 6460 w 9711"/>
                <a:gd name="connsiteY53" fmla="*/ 7588 h 10000"/>
                <a:gd name="connsiteX54" fmla="*/ 6831 w 9711"/>
                <a:gd name="connsiteY54" fmla="*/ 7588 h 10000"/>
                <a:gd name="connsiteX55" fmla="*/ 7036 w 9711"/>
                <a:gd name="connsiteY55" fmla="*/ 7460 h 10000"/>
                <a:gd name="connsiteX56" fmla="*/ 7078 w 9711"/>
                <a:gd name="connsiteY56" fmla="*/ 6527 h 10000"/>
                <a:gd name="connsiteX57" fmla="*/ 7118 w 9711"/>
                <a:gd name="connsiteY57" fmla="*/ 6559 h 10000"/>
                <a:gd name="connsiteX58" fmla="*/ 7242 w 9711"/>
                <a:gd name="connsiteY58" fmla="*/ 6367 h 10000"/>
                <a:gd name="connsiteX59" fmla="*/ 7489 w 9711"/>
                <a:gd name="connsiteY59" fmla="*/ 6270 h 10000"/>
                <a:gd name="connsiteX60" fmla="*/ 7612 w 9711"/>
                <a:gd name="connsiteY60" fmla="*/ 5916 h 10000"/>
                <a:gd name="connsiteX61" fmla="*/ 7983 w 9711"/>
                <a:gd name="connsiteY61" fmla="*/ 5498 h 10000"/>
                <a:gd name="connsiteX62" fmla="*/ 8270 w 9711"/>
                <a:gd name="connsiteY62" fmla="*/ 5305 h 10000"/>
                <a:gd name="connsiteX63" fmla="*/ 8476 w 9711"/>
                <a:gd name="connsiteY63" fmla="*/ 4759 h 10000"/>
                <a:gd name="connsiteX64" fmla="*/ 8476 w 9711"/>
                <a:gd name="connsiteY64" fmla="*/ 4630 h 10000"/>
                <a:gd name="connsiteX65" fmla="*/ 8436 w 9711"/>
                <a:gd name="connsiteY65" fmla="*/ 4309 h 10000"/>
                <a:gd name="connsiteX66" fmla="*/ 8847 w 9711"/>
                <a:gd name="connsiteY66" fmla="*/ 3151 h 10000"/>
                <a:gd name="connsiteX67" fmla="*/ 8970 w 9711"/>
                <a:gd name="connsiteY67" fmla="*/ 3151 h 10000"/>
                <a:gd name="connsiteX68" fmla="*/ 9135 w 9711"/>
                <a:gd name="connsiteY68" fmla="*/ 3055 h 10000"/>
                <a:gd name="connsiteX69" fmla="*/ 9629 w 9711"/>
                <a:gd name="connsiteY69" fmla="*/ 2894 h 10000"/>
                <a:gd name="connsiteX70" fmla="*/ 9711 w 9711"/>
                <a:gd name="connsiteY70" fmla="*/ 2637 h 10000"/>
                <a:gd name="connsiteX71" fmla="*/ 9671 w 9711"/>
                <a:gd name="connsiteY71" fmla="*/ 2572 h 10000"/>
                <a:gd name="connsiteX72" fmla="*/ 9505 w 9711"/>
                <a:gd name="connsiteY72" fmla="*/ 2572 h 10000"/>
                <a:gd name="connsiteX73" fmla="*/ 9382 w 9711"/>
                <a:gd name="connsiteY73" fmla="*/ 2412 h 10000"/>
                <a:gd name="connsiteX74" fmla="*/ 9135 w 9711"/>
                <a:gd name="connsiteY74" fmla="*/ 2347 h 10000"/>
                <a:gd name="connsiteX75" fmla="*/ 9011 w 9711"/>
                <a:gd name="connsiteY75" fmla="*/ 2219 h 10000"/>
                <a:gd name="connsiteX76" fmla="*/ 8930 w 9711"/>
                <a:gd name="connsiteY76" fmla="*/ 1736 h 10000"/>
                <a:gd name="connsiteX77" fmla="*/ 8930 w 9711"/>
                <a:gd name="connsiteY77" fmla="*/ 1061 h 10000"/>
                <a:gd name="connsiteX78" fmla="*/ 8723 w 9711"/>
                <a:gd name="connsiteY78" fmla="*/ 836 h 10000"/>
                <a:gd name="connsiteX79" fmla="*/ 8683 w 9711"/>
                <a:gd name="connsiteY79" fmla="*/ 611 h 10000"/>
                <a:gd name="connsiteX80" fmla="*/ 8353 w 9711"/>
                <a:gd name="connsiteY80" fmla="*/ 289 h 10000"/>
                <a:gd name="connsiteX81" fmla="*/ 8065 w 9711"/>
                <a:gd name="connsiteY81" fmla="*/ 161 h 10000"/>
                <a:gd name="connsiteX82" fmla="*/ 7901 w 9711"/>
                <a:gd name="connsiteY82" fmla="*/ 0 h 10000"/>
                <a:gd name="connsiteX83" fmla="*/ 7654 w 9711"/>
                <a:gd name="connsiteY83" fmla="*/ 161 h 10000"/>
                <a:gd name="connsiteX84" fmla="*/ 7489 w 9711"/>
                <a:gd name="connsiteY84" fmla="*/ 129 h 10000"/>
                <a:gd name="connsiteX85" fmla="*/ 7365 w 9711"/>
                <a:gd name="connsiteY85" fmla="*/ 418 h 10000"/>
                <a:gd name="connsiteX86" fmla="*/ 7036 w 9711"/>
                <a:gd name="connsiteY86" fmla="*/ 482 h 10000"/>
                <a:gd name="connsiteX87" fmla="*/ 6954 w 9711"/>
                <a:gd name="connsiteY87" fmla="*/ 707 h 10000"/>
                <a:gd name="connsiteX88" fmla="*/ 6666 w 9711"/>
                <a:gd name="connsiteY88" fmla="*/ 707 h 10000"/>
                <a:gd name="connsiteX89" fmla="*/ 6419 w 9711"/>
                <a:gd name="connsiteY89" fmla="*/ 611 h 10000"/>
                <a:gd name="connsiteX90" fmla="*/ 5884 w 9711"/>
                <a:gd name="connsiteY90" fmla="*/ 611 h 10000"/>
                <a:gd name="connsiteX91" fmla="*/ 5349 w 9711"/>
                <a:gd name="connsiteY91" fmla="*/ 611 h 10000"/>
                <a:gd name="connsiteX92" fmla="*/ 5390 w 9711"/>
                <a:gd name="connsiteY92" fmla="*/ 482 h 10000"/>
                <a:gd name="connsiteX93" fmla="*/ 5308 w 9711"/>
                <a:gd name="connsiteY93" fmla="*/ 482 h 10000"/>
                <a:gd name="connsiteX94" fmla="*/ 5267 w 9711"/>
                <a:gd name="connsiteY94" fmla="*/ 611 h 10000"/>
                <a:gd name="connsiteX95" fmla="*/ 4773 w 9711"/>
                <a:gd name="connsiteY95" fmla="*/ 611 h 10000"/>
                <a:gd name="connsiteX96" fmla="*/ 4280 w 9711"/>
                <a:gd name="connsiteY96" fmla="*/ 611 h 10000"/>
                <a:gd name="connsiteX97" fmla="*/ 3786 w 9711"/>
                <a:gd name="connsiteY97" fmla="*/ 611 h 10000"/>
                <a:gd name="connsiteX98" fmla="*/ 3292 w 9711"/>
                <a:gd name="connsiteY98" fmla="*/ 611 h 10000"/>
                <a:gd name="connsiteX99" fmla="*/ 2840 w 9711"/>
                <a:gd name="connsiteY99" fmla="*/ 611 h 10000"/>
                <a:gd name="connsiteX100" fmla="*/ 2346 w 9711"/>
                <a:gd name="connsiteY100" fmla="*/ 611 h 10000"/>
                <a:gd name="connsiteX101" fmla="*/ 1892 w 9711"/>
                <a:gd name="connsiteY101" fmla="*/ 611 h 10000"/>
                <a:gd name="connsiteX102" fmla="*/ 1399 w 9711"/>
                <a:gd name="connsiteY102" fmla="*/ 611 h 10000"/>
                <a:gd name="connsiteX103" fmla="*/ 1399 w 9711"/>
                <a:gd name="connsiteY103" fmla="*/ 1061 h 10000"/>
                <a:gd name="connsiteX104" fmla="*/ 1399 w 9711"/>
                <a:gd name="connsiteY104" fmla="*/ 1640 h 10000"/>
                <a:gd name="connsiteX105" fmla="*/ 781 w 9711"/>
                <a:gd name="connsiteY105" fmla="*/ 1640 h 10000"/>
                <a:gd name="connsiteX106" fmla="*/ 781 w 9711"/>
                <a:gd name="connsiteY106" fmla="*/ 1897 h 10000"/>
                <a:gd name="connsiteX0" fmla="*/ 719 w 9915"/>
                <a:gd name="connsiteY0" fmla="*/ 1897 h 10000"/>
                <a:gd name="connsiteX1" fmla="*/ 719 w 9915"/>
                <a:gd name="connsiteY1" fmla="*/ 2412 h 10000"/>
                <a:gd name="connsiteX2" fmla="*/ 719 w 9915"/>
                <a:gd name="connsiteY2" fmla="*/ 2894 h 10000"/>
                <a:gd name="connsiteX3" fmla="*/ 719 w 9915"/>
                <a:gd name="connsiteY3" fmla="*/ 3376 h 10000"/>
                <a:gd name="connsiteX4" fmla="*/ 719 w 9915"/>
                <a:gd name="connsiteY4" fmla="*/ 3826 h 10000"/>
                <a:gd name="connsiteX5" fmla="*/ 43 w 9915"/>
                <a:gd name="connsiteY5" fmla="*/ 3923 h 10000"/>
                <a:gd name="connsiteX6" fmla="*/ 4578 w 9915"/>
                <a:gd name="connsiteY6" fmla="*/ 6781 h 10000"/>
                <a:gd name="connsiteX7" fmla="*/ 4368 w 9915"/>
                <a:gd name="connsiteY7" fmla="*/ 7064 h 10000"/>
                <a:gd name="connsiteX8" fmla="*/ 3846 w 9915"/>
                <a:gd name="connsiteY8" fmla="*/ 7281 h 10000"/>
                <a:gd name="connsiteX9" fmla="*/ 3511 w 9915"/>
                <a:gd name="connsiteY9" fmla="*/ 7279 h 10000"/>
                <a:gd name="connsiteX10" fmla="*/ 2780 w 9915"/>
                <a:gd name="connsiteY10" fmla="*/ 7095 h 10000"/>
                <a:gd name="connsiteX11" fmla="*/ 2584 w 9915"/>
                <a:gd name="connsiteY11" fmla="*/ 7195 h 10000"/>
                <a:gd name="connsiteX12" fmla="*/ 2096 w 9915"/>
                <a:gd name="connsiteY12" fmla="*/ 6973 h 10000"/>
                <a:gd name="connsiteX13" fmla="*/ 1881 w 9915"/>
                <a:gd name="connsiteY13" fmla="*/ 6638 h 10000"/>
                <a:gd name="connsiteX14" fmla="*/ 1522 w 9915"/>
                <a:gd name="connsiteY14" fmla="*/ 6729 h 10000"/>
                <a:gd name="connsiteX15" fmla="*/ 1425 w 9915"/>
                <a:gd name="connsiteY15" fmla="*/ 6927 h 10000"/>
                <a:gd name="connsiteX16" fmla="*/ 1045 w 9915"/>
                <a:gd name="connsiteY16" fmla="*/ 7011 h 10000"/>
                <a:gd name="connsiteX17" fmla="*/ 795 w 9915"/>
                <a:gd name="connsiteY17" fmla="*/ 7004 h 10000"/>
                <a:gd name="connsiteX18" fmla="*/ 658 w 9915"/>
                <a:gd name="connsiteY18" fmla="*/ 7161 h 10000"/>
                <a:gd name="connsiteX19" fmla="*/ 424 w 9915"/>
                <a:gd name="connsiteY19" fmla="*/ 6913 h 10000"/>
                <a:gd name="connsiteX20" fmla="*/ 380 w 9915"/>
                <a:gd name="connsiteY20" fmla="*/ 7363 h 10000"/>
                <a:gd name="connsiteX21" fmla="*/ 465 w 9915"/>
                <a:gd name="connsiteY21" fmla="*/ 7428 h 10000"/>
                <a:gd name="connsiteX22" fmla="*/ 805 w 9915"/>
                <a:gd name="connsiteY22" fmla="*/ 7460 h 10000"/>
                <a:gd name="connsiteX23" fmla="*/ 848 w 9915"/>
                <a:gd name="connsiteY23" fmla="*/ 7588 h 10000"/>
                <a:gd name="connsiteX24" fmla="*/ 1228 w 9915"/>
                <a:gd name="connsiteY24" fmla="*/ 7621 h 10000"/>
                <a:gd name="connsiteX25" fmla="*/ 1440 w 9915"/>
                <a:gd name="connsiteY25" fmla="*/ 7749 h 10000"/>
                <a:gd name="connsiteX26" fmla="*/ 1482 w 9915"/>
                <a:gd name="connsiteY26" fmla="*/ 7974 h 10000"/>
                <a:gd name="connsiteX27" fmla="*/ 2161 w 9915"/>
                <a:gd name="connsiteY27" fmla="*/ 8360 h 10000"/>
                <a:gd name="connsiteX28" fmla="*/ 2331 w 9915"/>
                <a:gd name="connsiteY28" fmla="*/ 8746 h 10000"/>
                <a:gd name="connsiteX29" fmla="*/ 2796 w 9915"/>
                <a:gd name="connsiteY29" fmla="*/ 8939 h 10000"/>
                <a:gd name="connsiteX30" fmla="*/ 2966 w 9915"/>
                <a:gd name="connsiteY30" fmla="*/ 9196 h 10000"/>
                <a:gd name="connsiteX31" fmla="*/ 3305 w 9915"/>
                <a:gd name="connsiteY31" fmla="*/ 9518 h 10000"/>
                <a:gd name="connsiteX32" fmla="*/ 3559 w 9915"/>
                <a:gd name="connsiteY32" fmla="*/ 9614 h 10000"/>
                <a:gd name="connsiteX33" fmla="*/ 3729 w 9915"/>
                <a:gd name="connsiteY33" fmla="*/ 9518 h 10000"/>
                <a:gd name="connsiteX34" fmla="*/ 4152 w 9915"/>
                <a:gd name="connsiteY34" fmla="*/ 9550 h 10000"/>
                <a:gd name="connsiteX35" fmla="*/ 4322 w 9915"/>
                <a:gd name="connsiteY35" fmla="*/ 9486 h 10000"/>
                <a:gd name="connsiteX36" fmla="*/ 5084 w 9915"/>
                <a:gd name="connsiteY36" fmla="*/ 9968 h 10000"/>
                <a:gd name="connsiteX37" fmla="*/ 5127 w 9915"/>
                <a:gd name="connsiteY37" fmla="*/ 9968 h 10000"/>
                <a:gd name="connsiteX38" fmla="*/ 5211 w 9915"/>
                <a:gd name="connsiteY38" fmla="*/ 9904 h 10000"/>
                <a:gd name="connsiteX39" fmla="*/ 5761 w 9915"/>
                <a:gd name="connsiteY39" fmla="*/ 9904 h 10000"/>
                <a:gd name="connsiteX40" fmla="*/ 5847 w 9915"/>
                <a:gd name="connsiteY40" fmla="*/ 10000 h 10000"/>
                <a:gd name="connsiteX41" fmla="*/ 6314 w 9915"/>
                <a:gd name="connsiteY41" fmla="*/ 9871 h 10000"/>
                <a:gd name="connsiteX42" fmla="*/ 6736 w 9915"/>
                <a:gd name="connsiteY42" fmla="*/ 9871 h 10000"/>
                <a:gd name="connsiteX43" fmla="*/ 7034 w 9915"/>
                <a:gd name="connsiteY43" fmla="*/ 9743 h 10000"/>
                <a:gd name="connsiteX44" fmla="*/ 7373 w 9915"/>
                <a:gd name="connsiteY44" fmla="*/ 9486 h 10000"/>
                <a:gd name="connsiteX45" fmla="*/ 8262 w 9915"/>
                <a:gd name="connsiteY45" fmla="*/ 9486 h 10000"/>
                <a:gd name="connsiteX46" fmla="*/ 8262 w 9915"/>
                <a:gd name="connsiteY46" fmla="*/ 9132 h 10000"/>
                <a:gd name="connsiteX47" fmla="*/ 7797 w 9915"/>
                <a:gd name="connsiteY47" fmla="*/ 8971 h 10000"/>
                <a:gd name="connsiteX48" fmla="*/ 7542 w 9915"/>
                <a:gd name="connsiteY48" fmla="*/ 8457 h 10000"/>
                <a:gd name="connsiteX49" fmla="*/ 7204 w 9915"/>
                <a:gd name="connsiteY49" fmla="*/ 8264 h 10000"/>
                <a:gd name="connsiteX50" fmla="*/ 6990 w 9915"/>
                <a:gd name="connsiteY50" fmla="*/ 8006 h 10000"/>
                <a:gd name="connsiteX51" fmla="*/ 6441 w 9915"/>
                <a:gd name="connsiteY51" fmla="*/ 7814 h 10000"/>
                <a:gd name="connsiteX52" fmla="*/ 6567 w 9915"/>
                <a:gd name="connsiteY52" fmla="*/ 7749 h 10000"/>
                <a:gd name="connsiteX53" fmla="*/ 6567 w 9915"/>
                <a:gd name="connsiteY53" fmla="*/ 7588 h 10000"/>
                <a:gd name="connsiteX54" fmla="*/ 6949 w 9915"/>
                <a:gd name="connsiteY54" fmla="*/ 7588 h 10000"/>
                <a:gd name="connsiteX55" fmla="*/ 7160 w 9915"/>
                <a:gd name="connsiteY55" fmla="*/ 7460 h 10000"/>
                <a:gd name="connsiteX56" fmla="*/ 7204 w 9915"/>
                <a:gd name="connsiteY56" fmla="*/ 6527 h 10000"/>
                <a:gd name="connsiteX57" fmla="*/ 7245 w 9915"/>
                <a:gd name="connsiteY57" fmla="*/ 6559 h 10000"/>
                <a:gd name="connsiteX58" fmla="*/ 7373 w 9915"/>
                <a:gd name="connsiteY58" fmla="*/ 6367 h 10000"/>
                <a:gd name="connsiteX59" fmla="*/ 7627 w 9915"/>
                <a:gd name="connsiteY59" fmla="*/ 6270 h 10000"/>
                <a:gd name="connsiteX60" fmla="*/ 7754 w 9915"/>
                <a:gd name="connsiteY60" fmla="*/ 5916 h 10000"/>
                <a:gd name="connsiteX61" fmla="*/ 8136 w 9915"/>
                <a:gd name="connsiteY61" fmla="*/ 5498 h 10000"/>
                <a:gd name="connsiteX62" fmla="*/ 8431 w 9915"/>
                <a:gd name="connsiteY62" fmla="*/ 5305 h 10000"/>
                <a:gd name="connsiteX63" fmla="*/ 8643 w 9915"/>
                <a:gd name="connsiteY63" fmla="*/ 4759 h 10000"/>
                <a:gd name="connsiteX64" fmla="*/ 8643 w 9915"/>
                <a:gd name="connsiteY64" fmla="*/ 4630 h 10000"/>
                <a:gd name="connsiteX65" fmla="*/ 8602 w 9915"/>
                <a:gd name="connsiteY65" fmla="*/ 4309 h 10000"/>
                <a:gd name="connsiteX66" fmla="*/ 9025 w 9915"/>
                <a:gd name="connsiteY66" fmla="*/ 3151 h 10000"/>
                <a:gd name="connsiteX67" fmla="*/ 9152 w 9915"/>
                <a:gd name="connsiteY67" fmla="*/ 3151 h 10000"/>
                <a:gd name="connsiteX68" fmla="*/ 9322 w 9915"/>
                <a:gd name="connsiteY68" fmla="*/ 3055 h 10000"/>
                <a:gd name="connsiteX69" fmla="*/ 9831 w 9915"/>
                <a:gd name="connsiteY69" fmla="*/ 2894 h 10000"/>
                <a:gd name="connsiteX70" fmla="*/ 9915 w 9915"/>
                <a:gd name="connsiteY70" fmla="*/ 2637 h 10000"/>
                <a:gd name="connsiteX71" fmla="*/ 9874 w 9915"/>
                <a:gd name="connsiteY71" fmla="*/ 2572 h 10000"/>
                <a:gd name="connsiteX72" fmla="*/ 9703 w 9915"/>
                <a:gd name="connsiteY72" fmla="*/ 2572 h 10000"/>
                <a:gd name="connsiteX73" fmla="*/ 9576 w 9915"/>
                <a:gd name="connsiteY73" fmla="*/ 2412 h 10000"/>
                <a:gd name="connsiteX74" fmla="*/ 9322 w 9915"/>
                <a:gd name="connsiteY74" fmla="*/ 2347 h 10000"/>
                <a:gd name="connsiteX75" fmla="*/ 9194 w 9915"/>
                <a:gd name="connsiteY75" fmla="*/ 2219 h 10000"/>
                <a:gd name="connsiteX76" fmla="*/ 9111 w 9915"/>
                <a:gd name="connsiteY76" fmla="*/ 1736 h 10000"/>
                <a:gd name="connsiteX77" fmla="*/ 9111 w 9915"/>
                <a:gd name="connsiteY77" fmla="*/ 1061 h 10000"/>
                <a:gd name="connsiteX78" fmla="*/ 8898 w 9915"/>
                <a:gd name="connsiteY78" fmla="*/ 836 h 10000"/>
                <a:gd name="connsiteX79" fmla="*/ 8856 w 9915"/>
                <a:gd name="connsiteY79" fmla="*/ 611 h 10000"/>
                <a:gd name="connsiteX80" fmla="*/ 8517 w 9915"/>
                <a:gd name="connsiteY80" fmla="*/ 289 h 10000"/>
                <a:gd name="connsiteX81" fmla="*/ 8220 w 9915"/>
                <a:gd name="connsiteY81" fmla="*/ 161 h 10000"/>
                <a:gd name="connsiteX82" fmla="*/ 8051 w 9915"/>
                <a:gd name="connsiteY82" fmla="*/ 0 h 10000"/>
                <a:gd name="connsiteX83" fmla="*/ 7797 w 9915"/>
                <a:gd name="connsiteY83" fmla="*/ 161 h 10000"/>
                <a:gd name="connsiteX84" fmla="*/ 7627 w 9915"/>
                <a:gd name="connsiteY84" fmla="*/ 129 h 10000"/>
                <a:gd name="connsiteX85" fmla="*/ 7499 w 9915"/>
                <a:gd name="connsiteY85" fmla="*/ 418 h 10000"/>
                <a:gd name="connsiteX86" fmla="*/ 7160 w 9915"/>
                <a:gd name="connsiteY86" fmla="*/ 482 h 10000"/>
                <a:gd name="connsiteX87" fmla="*/ 7076 w 9915"/>
                <a:gd name="connsiteY87" fmla="*/ 707 h 10000"/>
                <a:gd name="connsiteX88" fmla="*/ 6779 w 9915"/>
                <a:gd name="connsiteY88" fmla="*/ 707 h 10000"/>
                <a:gd name="connsiteX89" fmla="*/ 6525 w 9915"/>
                <a:gd name="connsiteY89" fmla="*/ 611 h 10000"/>
                <a:gd name="connsiteX90" fmla="*/ 5974 w 9915"/>
                <a:gd name="connsiteY90" fmla="*/ 611 h 10000"/>
                <a:gd name="connsiteX91" fmla="*/ 5423 w 9915"/>
                <a:gd name="connsiteY91" fmla="*/ 611 h 10000"/>
                <a:gd name="connsiteX92" fmla="*/ 5465 w 9915"/>
                <a:gd name="connsiteY92" fmla="*/ 482 h 10000"/>
                <a:gd name="connsiteX93" fmla="*/ 5381 w 9915"/>
                <a:gd name="connsiteY93" fmla="*/ 482 h 10000"/>
                <a:gd name="connsiteX94" fmla="*/ 5339 w 9915"/>
                <a:gd name="connsiteY94" fmla="*/ 611 h 10000"/>
                <a:gd name="connsiteX95" fmla="*/ 4830 w 9915"/>
                <a:gd name="connsiteY95" fmla="*/ 611 h 10000"/>
                <a:gd name="connsiteX96" fmla="*/ 4322 w 9915"/>
                <a:gd name="connsiteY96" fmla="*/ 611 h 10000"/>
                <a:gd name="connsiteX97" fmla="*/ 3814 w 9915"/>
                <a:gd name="connsiteY97" fmla="*/ 611 h 10000"/>
                <a:gd name="connsiteX98" fmla="*/ 3305 w 9915"/>
                <a:gd name="connsiteY98" fmla="*/ 611 h 10000"/>
                <a:gd name="connsiteX99" fmla="*/ 2840 w 9915"/>
                <a:gd name="connsiteY99" fmla="*/ 611 h 10000"/>
                <a:gd name="connsiteX100" fmla="*/ 2331 w 9915"/>
                <a:gd name="connsiteY100" fmla="*/ 611 h 10000"/>
                <a:gd name="connsiteX101" fmla="*/ 1863 w 9915"/>
                <a:gd name="connsiteY101" fmla="*/ 611 h 10000"/>
                <a:gd name="connsiteX102" fmla="*/ 1356 w 9915"/>
                <a:gd name="connsiteY102" fmla="*/ 611 h 10000"/>
                <a:gd name="connsiteX103" fmla="*/ 1356 w 9915"/>
                <a:gd name="connsiteY103" fmla="*/ 1061 h 10000"/>
                <a:gd name="connsiteX104" fmla="*/ 1356 w 9915"/>
                <a:gd name="connsiteY104" fmla="*/ 1640 h 10000"/>
                <a:gd name="connsiteX105" fmla="*/ 719 w 9915"/>
                <a:gd name="connsiteY105" fmla="*/ 1640 h 10000"/>
                <a:gd name="connsiteX106" fmla="*/ 719 w 9915"/>
                <a:gd name="connsiteY106" fmla="*/ 1897 h 10000"/>
                <a:gd name="connsiteX0" fmla="*/ 342 w 9617"/>
                <a:gd name="connsiteY0" fmla="*/ 1897 h 10000"/>
                <a:gd name="connsiteX1" fmla="*/ 342 w 9617"/>
                <a:gd name="connsiteY1" fmla="*/ 2412 h 10000"/>
                <a:gd name="connsiteX2" fmla="*/ 342 w 9617"/>
                <a:gd name="connsiteY2" fmla="*/ 2894 h 10000"/>
                <a:gd name="connsiteX3" fmla="*/ 342 w 9617"/>
                <a:gd name="connsiteY3" fmla="*/ 3376 h 10000"/>
                <a:gd name="connsiteX4" fmla="*/ 342 w 9617"/>
                <a:gd name="connsiteY4" fmla="*/ 3826 h 10000"/>
                <a:gd name="connsiteX5" fmla="*/ 4662 w 9617"/>
                <a:gd name="connsiteY5" fmla="*/ 6907 h 10000"/>
                <a:gd name="connsiteX6" fmla="*/ 4234 w 9617"/>
                <a:gd name="connsiteY6" fmla="*/ 6781 h 10000"/>
                <a:gd name="connsiteX7" fmla="*/ 4022 w 9617"/>
                <a:gd name="connsiteY7" fmla="*/ 7064 h 10000"/>
                <a:gd name="connsiteX8" fmla="*/ 3496 w 9617"/>
                <a:gd name="connsiteY8" fmla="*/ 7281 h 10000"/>
                <a:gd name="connsiteX9" fmla="*/ 3158 w 9617"/>
                <a:gd name="connsiteY9" fmla="*/ 7279 h 10000"/>
                <a:gd name="connsiteX10" fmla="*/ 2421 w 9617"/>
                <a:gd name="connsiteY10" fmla="*/ 7095 h 10000"/>
                <a:gd name="connsiteX11" fmla="*/ 2223 w 9617"/>
                <a:gd name="connsiteY11" fmla="*/ 7195 h 10000"/>
                <a:gd name="connsiteX12" fmla="*/ 1731 w 9617"/>
                <a:gd name="connsiteY12" fmla="*/ 6973 h 10000"/>
                <a:gd name="connsiteX13" fmla="*/ 1514 w 9617"/>
                <a:gd name="connsiteY13" fmla="*/ 6638 h 10000"/>
                <a:gd name="connsiteX14" fmla="*/ 1152 w 9617"/>
                <a:gd name="connsiteY14" fmla="*/ 6729 h 10000"/>
                <a:gd name="connsiteX15" fmla="*/ 1054 w 9617"/>
                <a:gd name="connsiteY15" fmla="*/ 6927 h 10000"/>
                <a:gd name="connsiteX16" fmla="*/ 671 w 9617"/>
                <a:gd name="connsiteY16" fmla="*/ 7011 h 10000"/>
                <a:gd name="connsiteX17" fmla="*/ 419 w 9617"/>
                <a:gd name="connsiteY17" fmla="*/ 7004 h 10000"/>
                <a:gd name="connsiteX18" fmla="*/ 281 w 9617"/>
                <a:gd name="connsiteY18" fmla="*/ 7161 h 10000"/>
                <a:gd name="connsiteX19" fmla="*/ 45 w 9617"/>
                <a:gd name="connsiteY19" fmla="*/ 6913 h 10000"/>
                <a:gd name="connsiteX20" fmla="*/ 0 w 9617"/>
                <a:gd name="connsiteY20" fmla="*/ 7363 h 10000"/>
                <a:gd name="connsiteX21" fmla="*/ 86 w 9617"/>
                <a:gd name="connsiteY21" fmla="*/ 7428 h 10000"/>
                <a:gd name="connsiteX22" fmla="*/ 429 w 9617"/>
                <a:gd name="connsiteY22" fmla="*/ 7460 h 10000"/>
                <a:gd name="connsiteX23" fmla="*/ 472 w 9617"/>
                <a:gd name="connsiteY23" fmla="*/ 7588 h 10000"/>
                <a:gd name="connsiteX24" fmla="*/ 856 w 9617"/>
                <a:gd name="connsiteY24" fmla="*/ 7621 h 10000"/>
                <a:gd name="connsiteX25" fmla="*/ 1069 w 9617"/>
                <a:gd name="connsiteY25" fmla="*/ 7749 h 10000"/>
                <a:gd name="connsiteX26" fmla="*/ 1112 w 9617"/>
                <a:gd name="connsiteY26" fmla="*/ 7974 h 10000"/>
                <a:gd name="connsiteX27" fmla="*/ 1797 w 9617"/>
                <a:gd name="connsiteY27" fmla="*/ 8360 h 10000"/>
                <a:gd name="connsiteX28" fmla="*/ 1968 w 9617"/>
                <a:gd name="connsiteY28" fmla="*/ 8746 h 10000"/>
                <a:gd name="connsiteX29" fmla="*/ 2437 w 9617"/>
                <a:gd name="connsiteY29" fmla="*/ 8939 h 10000"/>
                <a:gd name="connsiteX30" fmla="*/ 2608 w 9617"/>
                <a:gd name="connsiteY30" fmla="*/ 9196 h 10000"/>
                <a:gd name="connsiteX31" fmla="*/ 2950 w 9617"/>
                <a:gd name="connsiteY31" fmla="*/ 9518 h 10000"/>
                <a:gd name="connsiteX32" fmla="*/ 3207 w 9617"/>
                <a:gd name="connsiteY32" fmla="*/ 9614 h 10000"/>
                <a:gd name="connsiteX33" fmla="*/ 3378 w 9617"/>
                <a:gd name="connsiteY33" fmla="*/ 9518 h 10000"/>
                <a:gd name="connsiteX34" fmla="*/ 3805 w 9617"/>
                <a:gd name="connsiteY34" fmla="*/ 9550 h 10000"/>
                <a:gd name="connsiteX35" fmla="*/ 3976 w 9617"/>
                <a:gd name="connsiteY35" fmla="*/ 9486 h 10000"/>
                <a:gd name="connsiteX36" fmla="*/ 4745 w 9617"/>
                <a:gd name="connsiteY36" fmla="*/ 9968 h 10000"/>
                <a:gd name="connsiteX37" fmla="*/ 4788 w 9617"/>
                <a:gd name="connsiteY37" fmla="*/ 9968 h 10000"/>
                <a:gd name="connsiteX38" fmla="*/ 4873 w 9617"/>
                <a:gd name="connsiteY38" fmla="*/ 9904 h 10000"/>
                <a:gd name="connsiteX39" fmla="*/ 5427 w 9617"/>
                <a:gd name="connsiteY39" fmla="*/ 9904 h 10000"/>
                <a:gd name="connsiteX40" fmla="*/ 5514 w 9617"/>
                <a:gd name="connsiteY40" fmla="*/ 10000 h 10000"/>
                <a:gd name="connsiteX41" fmla="*/ 5985 w 9617"/>
                <a:gd name="connsiteY41" fmla="*/ 9871 h 10000"/>
                <a:gd name="connsiteX42" fmla="*/ 6411 w 9617"/>
                <a:gd name="connsiteY42" fmla="*/ 9871 h 10000"/>
                <a:gd name="connsiteX43" fmla="*/ 6711 w 9617"/>
                <a:gd name="connsiteY43" fmla="*/ 9743 h 10000"/>
                <a:gd name="connsiteX44" fmla="*/ 7053 w 9617"/>
                <a:gd name="connsiteY44" fmla="*/ 9486 h 10000"/>
                <a:gd name="connsiteX45" fmla="*/ 7950 w 9617"/>
                <a:gd name="connsiteY45" fmla="*/ 9486 h 10000"/>
                <a:gd name="connsiteX46" fmla="*/ 7950 w 9617"/>
                <a:gd name="connsiteY46" fmla="*/ 9132 h 10000"/>
                <a:gd name="connsiteX47" fmla="*/ 7481 w 9617"/>
                <a:gd name="connsiteY47" fmla="*/ 8971 h 10000"/>
                <a:gd name="connsiteX48" fmla="*/ 7224 w 9617"/>
                <a:gd name="connsiteY48" fmla="*/ 8457 h 10000"/>
                <a:gd name="connsiteX49" fmla="*/ 6883 w 9617"/>
                <a:gd name="connsiteY49" fmla="*/ 8264 h 10000"/>
                <a:gd name="connsiteX50" fmla="*/ 6667 w 9617"/>
                <a:gd name="connsiteY50" fmla="*/ 8006 h 10000"/>
                <a:gd name="connsiteX51" fmla="*/ 6113 w 9617"/>
                <a:gd name="connsiteY51" fmla="*/ 7814 h 10000"/>
                <a:gd name="connsiteX52" fmla="*/ 6240 w 9617"/>
                <a:gd name="connsiteY52" fmla="*/ 7749 h 10000"/>
                <a:gd name="connsiteX53" fmla="*/ 6240 w 9617"/>
                <a:gd name="connsiteY53" fmla="*/ 7588 h 10000"/>
                <a:gd name="connsiteX54" fmla="*/ 6626 w 9617"/>
                <a:gd name="connsiteY54" fmla="*/ 7588 h 10000"/>
                <a:gd name="connsiteX55" fmla="*/ 6838 w 9617"/>
                <a:gd name="connsiteY55" fmla="*/ 7460 h 10000"/>
                <a:gd name="connsiteX56" fmla="*/ 6883 w 9617"/>
                <a:gd name="connsiteY56" fmla="*/ 6527 h 10000"/>
                <a:gd name="connsiteX57" fmla="*/ 6924 w 9617"/>
                <a:gd name="connsiteY57" fmla="*/ 6559 h 10000"/>
                <a:gd name="connsiteX58" fmla="*/ 7053 w 9617"/>
                <a:gd name="connsiteY58" fmla="*/ 6367 h 10000"/>
                <a:gd name="connsiteX59" fmla="*/ 7309 w 9617"/>
                <a:gd name="connsiteY59" fmla="*/ 6270 h 10000"/>
                <a:gd name="connsiteX60" fmla="*/ 7437 w 9617"/>
                <a:gd name="connsiteY60" fmla="*/ 5916 h 10000"/>
                <a:gd name="connsiteX61" fmla="*/ 7823 w 9617"/>
                <a:gd name="connsiteY61" fmla="*/ 5498 h 10000"/>
                <a:gd name="connsiteX62" fmla="*/ 8120 w 9617"/>
                <a:gd name="connsiteY62" fmla="*/ 5305 h 10000"/>
                <a:gd name="connsiteX63" fmla="*/ 8334 w 9617"/>
                <a:gd name="connsiteY63" fmla="*/ 4759 h 10000"/>
                <a:gd name="connsiteX64" fmla="*/ 8334 w 9617"/>
                <a:gd name="connsiteY64" fmla="*/ 4630 h 10000"/>
                <a:gd name="connsiteX65" fmla="*/ 8293 w 9617"/>
                <a:gd name="connsiteY65" fmla="*/ 4309 h 10000"/>
                <a:gd name="connsiteX66" fmla="*/ 8719 w 9617"/>
                <a:gd name="connsiteY66" fmla="*/ 3151 h 10000"/>
                <a:gd name="connsiteX67" fmla="*/ 8847 w 9617"/>
                <a:gd name="connsiteY67" fmla="*/ 3151 h 10000"/>
                <a:gd name="connsiteX68" fmla="*/ 9019 w 9617"/>
                <a:gd name="connsiteY68" fmla="*/ 3055 h 10000"/>
                <a:gd name="connsiteX69" fmla="*/ 9532 w 9617"/>
                <a:gd name="connsiteY69" fmla="*/ 2894 h 10000"/>
                <a:gd name="connsiteX70" fmla="*/ 9617 w 9617"/>
                <a:gd name="connsiteY70" fmla="*/ 2637 h 10000"/>
                <a:gd name="connsiteX71" fmla="*/ 9576 w 9617"/>
                <a:gd name="connsiteY71" fmla="*/ 2572 h 10000"/>
                <a:gd name="connsiteX72" fmla="*/ 9403 w 9617"/>
                <a:gd name="connsiteY72" fmla="*/ 2572 h 10000"/>
                <a:gd name="connsiteX73" fmla="*/ 9275 w 9617"/>
                <a:gd name="connsiteY73" fmla="*/ 2412 h 10000"/>
                <a:gd name="connsiteX74" fmla="*/ 9019 w 9617"/>
                <a:gd name="connsiteY74" fmla="*/ 2347 h 10000"/>
                <a:gd name="connsiteX75" fmla="*/ 8890 w 9617"/>
                <a:gd name="connsiteY75" fmla="*/ 2219 h 10000"/>
                <a:gd name="connsiteX76" fmla="*/ 8806 w 9617"/>
                <a:gd name="connsiteY76" fmla="*/ 1736 h 10000"/>
                <a:gd name="connsiteX77" fmla="*/ 8806 w 9617"/>
                <a:gd name="connsiteY77" fmla="*/ 1061 h 10000"/>
                <a:gd name="connsiteX78" fmla="*/ 8591 w 9617"/>
                <a:gd name="connsiteY78" fmla="*/ 836 h 10000"/>
                <a:gd name="connsiteX79" fmla="*/ 8549 w 9617"/>
                <a:gd name="connsiteY79" fmla="*/ 611 h 10000"/>
                <a:gd name="connsiteX80" fmla="*/ 8207 w 9617"/>
                <a:gd name="connsiteY80" fmla="*/ 289 h 10000"/>
                <a:gd name="connsiteX81" fmla="*/ 7907 w 9617"/>
                <a:gd name="connsiteY81" fmla="*/ 161 h 10000"/>
                <a:gd name="connsiteX82" fmla="*/ 7737 w 9617"/>
                <a:gd name="connsiteY82" fmla="*/ 0 h 10000"/>
                <a:gd name="connsiteX83" fmla="*/ 7481 w 9617"/>
                <a:gd name="connsiteY83" fmla="*/ 161 h 10000"/>
                <a:gd name="connsiteX84" fmla="*/ 7309 w 9617"/>
                <a:gd name="connsiteY84" fmla="*/ 129 h 10000"/>
                <a:gd name="connsiteX85" fmla="*/ 7180 w 9617"/>
                <a:gd name="connsiteY85" fmla="*/ 418 h 10000"/>
                <a:gd name="connsiteX86" fmla="*/ 6838 w 9617"/>
                <a:gd name="connsiteY86" fmla="*/ 482 h 10000"/>
                <a:gd name="connsiteX87" fmla="*/ 6754 w 9617"/>
                <a:gd name="connsiteY87" fmla="*/ 707 h 10000"/>
                <a:gd name="connsiteX88" fmla="*/ 6454 w 9617"/>
                <a:gd name="connsiteY88" fmla="*/ 707 h 10000"/>
                <a:gd name="connsiteX89" fmla="*/ 6198 w 9617"/>
                <a:gd name="connsiteY89" fmla="*/ 611 h 10000"/>
                <a:gd name="connsiteX90" fmla="*/ 5642 w 9617"/>
                <a:gd name="connsiteY90" fmla="*/ 611 h 10000"/>
                <a:gd name="connsiteX91" fmla="*/ 5086 w 9617"/>
                <a:gd name="connsiteY91" fmla="*/ 611 h 10000"/>
                <a:gd name="connsiteX92" fmla="*/ 5129 w 9617"/>
                <a:gd name="connsiteY92" fmla="*/ 482 h 10000"/>
                <a:gd name="connsiteX93" fmla="*/ 5044 w 9617"/>
                <a:gd name="connsiteY93" fmla="*/ 482 h 10000"/>
                <a:gd name="connsiteX94" fmla="*/ 5002 w 9617"/>
                <a:gd name="connsiteY94" fmla="*/ 611 h 10000"/>
                <a:gd name="connsiteX95" fmla="*/ 4488 w 9617"/>
                <a:gd name="connsiteY95" fmla="*/ 611 h 10000"/>
                <a:gd name="connsiteX96" fmla="*/ 3976 w 9617"/>
                <a:gd name="connsiteY96" fmla="*/ 611 h 10000"/>
                <a:gd name="connsiteX97" fmla="*/ 3464 w 9617"/>
                <a:gd name="connsiteY97" fmla="*/ 611 h 10000"/>
                <a:gd name="connsiteX98" fmla="*/ 2950 w 9617"/>
                <a:gd name="connsiteY98" fmla="*/ 611 h 10000"/>
                <a:gd name="connsiteX99" fmla="*/ 2481 w 9617"/>
                <a:gd name="connsiteY99" fmla="*/ 611 h 10000"/>
                <a:gd name="connsiteX100" fmla="*/ 1968 w 9617"/>
                <a:gd name="connsiteY100" fmla="*/ 611 h 10000"/>
                <a:gd name="connsiteX101" fmla="*/ 1496 w 9617"/>
                <a:gd name="connsiteY101" fmla="*/ 611 h 10000"/>
                <a:gd name="connsiteX102" fmla="*/ 985 w 9617"/>
                <a:gd name="connsiteY102" fmla="*/ 611 h 10000"/>
                <a:gd name="connsiteX103" fmla="*/ 985 w 9617"/>
                <a:gd name="connsiteY103" fmla="*/ 1061 h 10000"/>
                <a:gd name="connsiteX104" fmla="*/ 985 w 9617"/>
                <a:gd name="connsiteY104" fmla="*/ 1640 h 10000"/>
                <a:gd name="connsiteX105" fmla="*/ 342 w 9617"/>
                <a:gd name="connsiteY105" fmla="*/ 1640 h 10000"/>
                <a:gd name="connsiteX106" fmla="*/ 342 w 9617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356 w 10000"/>
                <a:gd name="connsiteY2" fmla="*/ 2894 h 10000"/>
                <a:gd name="connsiteX3" fmla="*/ 356 w 10000"/>
                <a:gd name="connsiteY3" fmla="*/ 3376 h 10000"/>
                <a:gd name="connsiteX4" fmla="*/ 5155 w 10000"/>
                <a:gd name="connsiteY4" fmla="*/ 7114 h 10000"/>
                <a:gd name="connsiteX5" fmla="*/ 4848 w 10000"/>
                <a:gd name="connsiteY5" fmla="*/ 6907 h 10000"/>
                <a:gd name="connsiteX6" fmla="*/ 4403 w 10000"/>
                <a:gd name="connsiteY6" fmla="*/ 6781 h 10000"/>
                <a:gd name="connsiteX7" fmla="*/ 4182 w 10000"/>
                <a:gd name="connsiteY7" fmla="*/ 7064 h 10000"/>
                <a:gd name="connsiteX8" fmla="*/ 3635 w 10000"/>
                <a:gd name="connsiteY8" fmla="*/ 7281 h 10000"/>
                <a:gd name="connsiteX9" fmla="*/ 3284 w 10000"/>
                <a:gd name="connsiteY9" fmla="*/ 7279 h 10000"/>
                <a:gd name="connsiteX10" fmla="*/ 2517 w 10000"/>
                <a:gd name="connsiteY10" fmla="*/ 7095 h 10000"/>
                <a:gd name="connsiteX11" fmla="*/ 2312 w 10000"/>
                <a:gd name="connsiteY11" fmla="*/ 7195 h 10000"/>
                <a:gd name="connsiteX12" fmla="*/ 1800 w 10000"/>
                <a:gd name="connsiteY12" fmla="*/ 6973 h 10000"/>
                <a:gd name="connsiteX13" fmla="*/ 1574 w 10000"/>
                <a:gd name="connsiteY13" fmla="*/ 6638 h 10000"/>
                <a:gd name="connsiteX14" fmla="*/ 1198 w 10000"/>
                <a:gd name="connsiteY14" fmla="*/ 6729 h 10000"/>
                <a:gd name="connsiteX15" fmla="*/ 1096 w 10000"/>
                <a:gd name="connsiteY15" fmla="*/ 6927 h 10000"/>
                <a:gd name="connsiteX16" fmla="*/ 698 w 10000"/>
                <a:gd name="connsiteY16" fmla="*/ 7011 h 10000"/>
                <a:gd name="connsiteX17" fmla="*/ 436 w 10000"/>
                <a:gd name="connsiteY17" fmla="*/ 7004 h 10000"/>
                <a:gd name="connsiteX18" fmla="*/ 292 w 10000"/>
                <a:gd name="connsiteY18" fmla="*/ 7161 h 10000"/>
                <a:gd name="connsiteX19" fmla="*/ 47 w 10000"/>
                <a:gd name="connsiteY19" fmla="*/ 6913 h 10000"/>
                <a:gd name="connsiteX20" fmla="*/ 0 w 10000"/>
                <a:gd name="connsiteY20" fmla="*/ 7363 h 10000"/>
                <a:gd name="connsiteX21" fmla="*/ 89 w 10000"/>
                <a:gd name="connsiteY21" fmla="*/ 7428 h 10000"/>
                <a:gd name="connsiteX22" fmla="*/ 446 w 10000"/>
                <a:gd name="connsiteY22" fmla="*/ 7460 h 10000"/>
                <a:gd name="connsiteX23" fmla="*/ 491 w 10000"/>
                <a:gd name="connsiteY23" fmla="*/ 7588 h 10000"/>
                <a:gd name="connsiteX24" fmla="*/ 890 w 10000"/>
                <a:gd name="connsiteY24" fmla="*/ 7621 h 10000"/>
                <a:gd name="connsiteX25" fmla="*/ 1112 w 10000"/>
                <a:gd name="connsiteY25" fmla="*/ 7749 h 10000"/>
                <a:gd name="connsiteX26" fmla="*/ 1156 w 10000"/>
                <a:gd name="connsiteY26" fmla="*/ 7974 h 10000"/>
                <a:gd name="connsiteX27" fmla="*/ 1869 w 10000"/>
                <a:gd name="connsiteY27" fmla="*/ 8360 h 10000"/>
                <a:gd name="connsiteX28" fmla="*/ 2046 w 10000"/>
                <a:gd name="connsiteY28" fmla="*/ 8746 h 10000"/>
                <a:gd name="connsiteX29" fmla="*/ 2534 w 10000"/>
                <a:gd name="connsiteY29" fmla="*/ 8939 h 10000"/>
                <a:gd name="connsiteX30" fmla="*/ 2712 w 10000"/>
                <a:gd name="connsiteY30" fmla="*/ 9196 h 10000"/>
                <a:gd name="connsiteX31" fmla="*/ 3067 w 10000"/>
                <a:gd name="connsiteY31" fmla="*/ 9518 h 10000"/>
                <a:gd name="connsiteX32" fmla="*/ 3335 w 10000"/>
                <a:gd name="connsiteY32" fmla="*/ 9614 h 10000"/>
                <a:gd name="connsiteX33" fmla="*/ 3513 w 10000"/>
                <a:gd name="connsiteY33" fmla="*/ 9518 h 10000"/>
                <a:gd name="connsiteX34" fmla="*/ 3957 w 10000"/>
                <a:gd name="connsiteY34" fmla="*/ 9550 h 10000"/>
                <a:gd name="connsiteX35" fmla="*/ 4134 w 10000"/>
                <a:gd name="connsiteY35" fmla="*/ 9486 h 10000"/>
                <a:gd name="connsiteX36" fmla="*/ 4934 w 10000"/>
                <a:gd name="connsiteY36" fmla="*/ 9968 h 10000"/>
                <a:gd name="connsiteX37" fmla="*/ 4979 w 10000"/>
                <a:gd name="connsiteY37" fmla="*/ 9968 h 10000"/>
                <a:gd name="connsiteX38" fmla="*/ 5067 w 10000"/>
                <a:gd name="connsiteY38" fmla="*/ 9904 h 10000"/>
                <a:gd name="connsiteX39" fmla="*/ 5643 w 10000"/>
                <a:gd name="connsiteY39" fmla="*/ 9904 h 10000"/>
                <a:gd name="connsiteX40" fmla="*/ 5734 w 10000"/>
                <a:gd name="connsiteY40" fmla="*/ 10000 h 10000"/>
                <a:gd name="connsiteX41" fmla="*/ 6223 w 10000"/>
                <a:gd name="connsiteY41" fmla="*/ 9871 h 10000"/>
                <a:gd name="connsiteX42" fmla="*/ 6666 w 10000"/>
                <a:gd name="connsiteY42" fmla="*/ 9871 h 10000"/>
                <a:gd name="connsiteX43" fmla="*/ 6978 w 10000"/>
                <a:gd name="connsiteY43" fmla="*/ 9743 h 10000"/>
                <a:gd name="connsiteX44" fmla="*/ 7334 w 10000"/>
                <a:gd name="connsiteY44" fmla="*/ 9486 h 10000"/>
                <a:gd name="connsiteX45" fmla="*/ 8267 w 10000"/>
                <a:gd name="connsiteY45" fmla="*/ 9486 h 10000"/>
                <a:gd name="connsiteX46" fmla="*/ 8267 w 10000"/>
                <a:gd name="connsiteY46" fmla="*/ 9132 h 10000"/>
                <a:gd name="connsiteX47" fmla="*/ 7779 w 10000"/>
                <a:gd name="connsiteY47" fmla="*/ 8971 h 10000"/>
                <a:gd name="connsiteX48" fmla="*/ 7512 w 10000"/>
                <a:gd name="connsiteY48" fmla="*/ 8457 h 10000"/>
                <a:gd name="connsiteX49" fmla="*/ 7157 w 10000"/>
                <a:gd name="connsiteY49" fmla="*/ 8264 h 10000"/>
                <a:gd name="connsiteX50" fmla="*/ 6933 w 10000"/>
                <a:gd name="connsiteY50" fmla="*/ 8006 h 10000"/>
                <a:gd name="connsiteX51" fmla="*/ 6356 w 10000"/>
                <a:gd name="connsiteY51" fmla="*/ 7814 h 10000"/>
                <a:gd name="connsiteX52" fmla="*/ 6489 w 10000"/>
                <a:gd name="connsiteY52" fmla="*/ 7749 h 10000"/>
                <a:gd name="connsiteX53" fmla="*/ 6489 w 10000"/>
                <a:gd name="connsiteY53" fmla="*/ 7588 h 10000"/>
                <a:gd name="connsiteX54" fmla="*/ 6890 w 10000"/>
                <a:gd name="connsiteY54" fmla="*/ 7588 h 10000"/>
                <a:gd name="connsiteX55" fmla="*/ 7110 w 10000"/>
                <a:gd name="connsiteY55" fmla="*/ 7460 h 10000"/>
                <a:gd name="connsiteX56" fmla="*/ 7157 w 10000"/>
                <a:gd name="connsiteY56" fmla="*/ 6527 h 10000"/>
                <a:gd name="connsiteX57" fmla="*/ 7200 w 10000"/>
                <a:gd name="connsiteY57" fmla="*/ 6559 h 10000"/>
                <a:gd name="connsiteX58" fmla="*/ 7334 w 10000"/>
                <a:gd name="connsiteY58" fmla="*/ 6367 h 10000"/>
                <a:gd name="connsiteX59" fmla="*/ 7600 w 10000"/>
                <a:gd name="connsiteY59" fmla="*/ 6270 h 10000"/>
                <a:gd name="connsiteX60" fmla="*/ 7733 w 10000"/>
                <a:gd name="connsiteY60" fmla="*/ 5916 h 10000"/>
                <a:gd name="connsiteX61" fmla="*/ 8135 w 10000"/>
                <a:gd name="connsiteY61" fmla="*/ 5498 h 10000"/>
                <a:gd name="connsiteX62" fmla="*/ 8443 w 10000"/>
                <a:gd name="connsiteY62" fmla="*/ 5305 h 10000"/>
                <a:gd name="connsiteX63" fmla="*/ 8666 w 10000"/>
                <a:gd name="connsiteY63" fmla="*/ 4759 h 10000"/>
                <a:gd name="connsiteX64" fmla="*/ 8666 w 10000"/>
                <a:gd name="connsiteY64" fmla="*/ 4630 h 10000"/>
                <a:gd name="connsiteX65" fmla="*/ 8623 w 10000"/>
                <a:gd name="connsiteY65" fmla="*/ 4309 h 10000"/>
                <a:gd name="connsiteX66" fmla="*/ 9066 w 10000"/>
                <a:gd name="connsiteY66" fmla="*/ 3151 h 10000"/>
                <a:gd name="connsiteX67" fmla="*/ 9199 w 10000"/>
                <a:gd name="connsiteY67" fmla="*/ 3151 h 10000"/>
                <a:gd name="connsiteX68" fmla="*/ 9378 w 10000"/>
                <a:gd name="connsiteY68" fmla="*/ 3055 h 10000"/>
                <a:gd name="connsiteX69" fmla="*/ 9912 w 10000"/>
                <a:gd name="connsiteY69" fmla="*/ 2894 h 10000"/>
                <a:gd name="connsiteX70" fmla="*/ 10000 w 10000"/>
                <a:gd name="connsiteY70" fmla="*/ 2637 h 10000"/>
                <a:gd name="connsiteX71" fmla="*/ 9957 w 10000"/>
                <a:gd name="connsiteY71" fmla="*/ 2572 h 10000"/>
                <a:gd name="connsiteX72" fmla="*/ 9777 w 10000"/>
                <a:gd name="connsiteY72" fmla="*/ 2572 h 10000"/>
                <a:gd name="connsiteX73" fmla="*/ 9644 w 10000"/>
                <a:gd name="connsiteY73" fmla="*/ 2412 h 10000"/>
                <a:gd name="connsiteX74" fmla="*/ 9378 w 10000"/>
                <a:gd name="connsiteY74" fmla="*/ 2347 h 10000"/>
                <a:gd name="connsiteX75" fmla="*/ 9244 w 10000"/>
                <a:gd name="connsiteY75" fmla="*/ 2219 h 10000"/>
                <a:gd name="connsiteX76" fmla="*/ 9157 w 10000"/>
                <a:gd name="connsiteY76" fmla="*/ 1736 h 10000"/>
                <a:gd name="connsiteX77" fmla="*/ 9157 w 10000"/>
                <a:gd name="connsiteY77" fmla="*/ 1061 h 10000"/>
                <a:gd name="connsiteX78" fmla="*/ 8933 w 10000"/>
                <a:gd name="connsiteY78" fmla="*/ 836 h 10000"/>
                <a:gd name="connsiteX79" fmla="*/ 8889 w 10000"/>
                <a:gd name="connsiteY79" fmla="*/ 611 h 10000"/>
                <a:gd name="connsiteX80" fmla="*/ 8534 w 10000"/>
                <a:gd name="connsiteY80" fmla="*/ 289 h 10000"/>
                <a:gd name="connsiteX81" fmla="*/ 8222 w 10000"/>
                <a:gd name="connsiteY81" fmla="*/ 161 h 10000"/>
                <a:gd name="connsiteX82" fmla="*/ 8045 w 10000"/>
                <a:gd name="connsiteY82" fmla="*/ 0 h 10000"/>
                <a:gd name="connsiteX83" fmla="*/ 7779 w 10000"/>
                <a:gd name="connsiteY83" fmla="*/ 161 h 10000"/>
                <a:gd name="connsiteX84" fmla="*/ 7600 w 10000"/>
                <a:gd name="connsiteY84" fmla="*/ 129 h 10000"/>
                <a:gd name="connsiteX85" fmla="*/ 7466 w 10000"/>
                <a:gd name="connsiteY85" fmla="*/ 418 h 10000"/>
                <a:gd name="connsiteX86" fmla="*/ 7110 w 10000"/>
                <a:gd name="connsiteY86" fmla="*/ 482 h 10000"/>
                <a:gd name="connsiteX87" fmla="*/ 7023 w 10000"/>
                <a:gd name="connsiteY87" fmla="*/ 707 h 10000"/>
                <a:gd name="connsiteX88" fmla="*/ 6711 w 10000"/>
                <a:gd name="connsiteY88" fmla="*/ 707 h 10000"/>
                <a:gd name="connsiteX89" fmla="*/ 6445 w 10000"/>
                <a:gd name="connsiteY89" fmla="*/ 611 h 10000"/>
                <a:gd name="connsiteX90" fmla="*/ 5867 w 10000"/>
                <a:gd name="connsiteY90" fmla="*/ 611 h 10000"/>
                <a:gd name="connsiteX91" fmla="*/ 5289 w 10000"/>
                <a:gd name="connsiteY91" fmla="*/ 611 h 10000"/>
                <a:gd name="connsiteX92" fmla="*/ 5333 w 10000"/>
                <a:gd name="connsiteY92" fmla="*/ 482 h 10000"/>
                <a:gd name="connsiteX93" fmla="*/ 5245 w 10000"/>
                <a:gd name="connsiteY93" fmla="*/ 482 h 10000"/>
                <a:gd name="connsiteX94" fmla="*/ 5201 w 10000"/>
                <a:gd name="connsiteY94" fmla="*/ 611 h 10000"/>
                <a:gd name="connsiteX95" fmla="*/ 4667 w 10000"/>
                <a:gd name="connsiteY95" fmla="*/ 611 h 10000"/>
                <a:gd name="connsiteX96" fmla="*/ 4134 w 10000"/>
                <a:gd name="connsiteY96" fmla="*/ 611 h 10000"/>
                <a:gd name="connsiteX97" fmla="*/ 3602 w 10000"/>
                <a:gd name="connsiteY97" fmla="*/ 611 h 10000"/>
                <a:gd name="connsiteX98" fmla="*/ 3067 w 10000"/>
                <a:gd name="connsiteY98" fmla="*/ 611 h 10000"/>
                <a:gd name="connsiteX99" fmla="*/ 2580 w 10000"/>
                <a:gd name="connsiteY99" fmla="*/ 611 h 10000"/>
                <a:gd name="connsiteX100" fmla="*/ 2046 w 10000"/>
                <a:gd name="connsiteY100" fmla="*/ 611 h 10000"/>
                <a:gd name="connsiteX101" fmla="*/ 1556 w 10000"/>
                <a:gd name="connsiteY101" fmla="*/ 611 h 10000"/>
                <a:gd name="connsiteX102" fmla="*/ 1024 w 10000"/>
                <a:gd name="connsiteY102" fmla="*/ 611 h 10000"/>
                <a:gd name="connsiteX103" fmla="*/ 1024 w 10000"/>
                <a:gd name="connsiteY103" fmla="*/ 1061 h 10000"/>
                <a:gd name="connsiteX104" fmla="*/ 1024 w 10000"/>
                <a:gd name="connsiteY104" fmla="*/ 1640 h 10000"/>
                <a:gd name="connsiteX105" fmla="*/ 356 w 10000"/>
                <a:gd name="connsiteY105" fmla="*/ 1640 h 10000"/>
                <a:gd name="connsiteX106" fmla="*/ 356 w 10000"/>
                <a:gd name="connsiteY106" fmla="*/ 1897 h 10000"/>
                <a:gd name="connsiteX0" fmla="*/ 861 w 10505"/>
                <a:gd name="connsiteY0" fmla="*/ 1897 h 10000"/>
                <a:gd name="connsiteX1" fmla="*/ 861 w 10505"/>
                <a:gd name="connsiteY1" fmla="*/ 2412 h 10000"/>
                <a:gd name="connsiteX2" fmla="*/ 861 w 10505"/>
                <a:gd name="connsiteY2" fmla="*/ 2894 h 10000"/>
                <a:gd name="connsiteX3" fmla="*/ 6025 w 10505"/>
                <a:gd name="connsiteY3" fmla="*/ 6915 h 10000"/>
                <a:gd name="connsiteX4" fmla="*/ 5660 w 10505"/>
                <a:gd name="connsiteY4" fmla="*/ 7114 h 10000"/>
                <a:gd name="connsiteX5" fmla="*/ 5353 w 10505"/>
                <a:gd name="connsiteY5" fmla="*/ 6907 h 10000"/>
                <a:gd name="connsiteX6" fmla="*/ 4908 w 10505"/>
                <a:gd name="connsiteY6" fmla="*/ 6781 h 10000"/>
                <a:gd name="connsiteX7" fmla="*/ 4687 w 10505"/>
                <a:gd name="connsiteY7" fmla="*/ 7064 h 10000"/>
                <a:gd name="connsiteX8" fmla="*/ 4140 w 10505"/>
                <a:gd name="connsiteY8" fmla="*/ 7281 h 10000"/>
                <a:gd name="connsiteX9" fmla="*/ 3789 w 10505"/>
                <a:gd name="connsiteY9" fmla="*/ 7279 h 10000"/>
                <a:gd name="connsiteX10" fmla="*/ 3022 w 10505"/>
                <a:gd name="connsiteY10" fmla="*/ 7095 h 10000"/>
                <a:gd name="connsiteX11" fmla="*/ 2817 w 10505"/>
                <a:gd name="connsiteY11" fmla="*/ 7195 h 10000"/>
                <a:gd name="connsiteX12" fmla="*/ 2305 w 10505"/>
                <a:gd name="connsiteY12" fmla="*/ 6973 h 10000"/>
                <a:gd name="connsiteX13" fmla="*/ 2079 w 10505"/>
                <a:gd name="connsiteY13" fmla="*/ 6638 h 10000"/>
                <a:gd name="connsiteX14" fmla="*/ 1703 w 10505"/>
                <a:gd name="connsiteY14" fmla="*/ 6729 h 10000"/>
                <a:gd name="connsiteX15" fmla="*/ 1601 w 10505"/>
                <a:gd name="connsiteY15" fmla="*/ 6927 h 10000"/>
                <a:gd name="connsiteX16" fmla="*/ 1203 w 10505"/>
                <a:gd name="connsiteY16" fmla="*/ 7011 h 10000"/>
                <a:gd name="connsiteX17" fmla="*/ 941 w 10505"/>
                <a:gd name="connsiteY17" fmla="*/ 7004 h 10000"/>
                <a:gd name="connsiteX18" fmla="*/ 797 w 10505"/>
                <a:gd name="connsiteY18" fmla="*/ 7161 h 10000"/>
                <a:gd name="connsiteX19" fmla="*/ 552 w 10505"/>
                <a:gd name="connsiteY19" fmla="*/ 6913 h 10000"/>
                <a:gd name="connsiteX20" fmla="*/ 505 w 10505"/>
                <a:gd name="connsiteY20" fmla="*/ 7363 h 10000"/>
                <a:gd name="connsiteX21" fmla="*/ 594 w 10505"/>
                <a:gd name="connsiteY21" fmla="*/ 7428 h 10000"/>
                <a:gd name="connsiteX22" fmla="*/ 951 w 10505"/>
                <a:gd name="connsiteY22" fmla="*/ 7460 h 10000"/>
                <a:gd name="connsiteX23" fmla="*/ 996 w 10505"/>
                <a:gd name="connsiteY23" fmla="*/ 7588 h 10000"/>
                <a:gd name="connsiteX24" fmla="*/ 1395 w 10505"/>
                <a:gd name="connsiteY24" fmla="*/ 7621 h 10000"/>
                <a:gd name="connsiteX25" fmla="*/ 1617 w 10505"/>
                <a:gd name="connsiteY25" fmla="*/ 7749 h 10000"/>
                <a:gd name="connsiteX26" fmla="*/ 1661 w 10505"/>
                <a:gd name="connsiteY26" fmla="*/ 7974 h 10000"/>
                <a:gd name="connsiteX27" fmla="*/ 2374 w 10505"/>
                <a:gd name="connsiteY27" fmla="*/ 8360 h 10000"/>
                <a:gd name="connsiteX28" fmla="*/ 2551 w 10505"/>
                <a:gd name="connsiteY28" fmla="*/ 8746 h 10000"/>
                <a:gd name="connsiteX29" fmla="*/ 3039 w 10505"/>
                <a:gd name="connsiteY29" fmla="*/ 8939 h 10000"/>
                <a:gd name="connsiteX30" fmla="*/ 3217 w 10505"/>
                <a:gd name="connsiteY30" fmla="*/ 9196 h 10000"/>
                <a:gd name="connsiteX31" fmla="*/ 3572 w 10505"/>
                <a:gd name="connsiteY31" fmla="*/ 9518 h 10000"/>
                <a:gd name="connsiteX32" fmla="*/ 3840 w 10505"/>
                <a:gd name="connsiteY32" fmla="*/ 9614 h 10000"/>
                <a:gd name="connsiteX33" fmla="*/ 4018 w 10505"/>
                <a:gd name="connsiteY33" fmla="*/ 9518 h 10000"/>
                <a:gd name="connsiteX34" fmla="*/ 4462 w 10505"/>
                <a:gd name="connsiteY34" fmla="*/ 9550 h 10000"/>
                <a:gd name="connsiteX35" fmla="*/ 4639 w 10505"/>
                <a:gd name="connsiteY35" fmla="*/ 9486 h 10000"/>
                <a:gd name="connsiteX36" fmla="*/ 5439 w 10505"/>
                <a:gd name="connsiteY36" fmla="*/ 9968 h 10000"/>
                <a:gd name="connsiteX37" fmla="*/ 5484 w 10505"/>
                <a:gd name="connsiteY37" fmla="*/ 9968 h 10000"/>
                <a:gd name="connsiteX38" fmla="*/ 5572 w 10505"/>
                <a:gd name="connsiteY38" fmla="*/ 9904 h 10000"/>
                <a:gd name="connsiteX39" fmla="*/ 6148 w 10505"/>
                <a:gd name="connsiteY39" fmla="*/ 9904 h 10000"/>
                <a:gd name="connsiteX40" fmla="*/ 6239 w 10505"/>
                <a:gd name="connsiteY40" fmla="*/ 10000 h 10000"/>
                <a:gd name="connsiteX41" fmla="*/ 6728 w 10505"/>
                <a:gd name="connsiteY41" fmla="*/ 9871 h 10000"/>
                <a:gd name="connsiteX42" fmla="*/ 7171 w 10505"/>
                <a:gd name="connsiteY42" fmla="*/ 9871 h 10000"/>
                <a:gd name="connsiteX43" fmla="*/ 7483 w 10505"/>
                <a:gd name="connsiteY43" fmla="*/ 9743 h 10000"/>
                <a:gd name="connsiteX44" fmla="*/ 7839 w 10505"/>
                <a:gd name="connsiteY44" fmla="*/ 9486 h 10000"/>
                <a:gd name="connsiteX45" fmla="*/ 8772 w 10505"/>
                <a:gd name="connsiteY45" fmla="*/ 9486 h 10000"/>
                <a:gd name="connsiteX46" fmla="*/ 8772 w 10505"/>
                <a:gd name="connsiteY46" fmla="*/ 9132 h 10000"/>
                <a:gd name="connsiteX47" fmla="*/ 8284 w 10505"/>
                <a:gd name="connsiteY47" fmla="*/ 8971 h 10000"/>
                <a:gd name="connsiteX48" fmla="*/ 8017 w 10505"/>
                <a:gd name="connsiteY48" fmla="*/ 8457 h 10000"/>
                <a:gd name="connsiteX49" fmla="*/ 7662 w 10505"/>
                <a:gd name="connsiteY49" fmla="*/ 8264 h 10000"/>
                <a:gd name="connsiteX50" fmla="*/ 7438 w 10505"/>
                <a:gd name="connsiteY50" fmla="*/ 8006 h 10000"/>
                <a:gd name="connsiteX51" fmla="*/ 6861 w 10505"/>
                <a:gd name="connsiteY51" fmla="*/ 7814 h 10000"/>
                <a:gd name="connsiteX52" fmla="*/ 6994 w 10505"/>
                <a:gd name="connsiteY52" fmla="*/ 7749 h 10000"/>
                <a:gd name="connsiteX53" fmla="*/ 6994 w 10505"/>
                <a:gd name="connsiteY53" fmla="*/ 7588 h 10000"/>
                <a:gd name="connsiteX54" fmla="*/ 7395 w 10505"/>
                <a:gd name="connsiteY54" fmla="*/ 7588 h 10000"/>
                <a:gd name="connsiteX55" fmla="*/ 7615 w 10505"/>
                <a:gd name="connsiteY55" fmla="*/ 7460 h 10000"/>
                <a:gd name="connsiteX56" fmla="*/ 7662 w 10505"/>
                <a:gd name="connsiteY56" fmla="*/ 6527 h 10000"/>
                <a:gd name="connsiteX57" fmla="*/ 7705 w 10505"/>
                <a:gd name="connsiteY57" fmla="*/ 6559 h 10000"/>
                <a:gd name="connsiteX58" fmla="*/ 7839 w 10505"/>
                <a:gd name="connsiteY58" fmla="*/ 6367 h 10000"/>
                <a:gd name="connsiteX59" fmla="*/ 8105 w 10505"/>
                <a:gd name="connsiteY59" fmla="*/ 6270 h 10000"/>
                <a:gd name="connsiteX60" fmla="*/ 8238 w 10505"/>
                <a:gd name="connsiteY60" fmla="*/ 5916 h 10000"/>
                <a:gd name="connsiteX61" fmla="*/ 8640 w 10505"/>
                <a:gd name="connsiteY61" fmla="*/ 5498 h 10000"/>
                <a:gd name="connsiteX62" fmla="*/ 8948 w 10505"/>
                <a:gd name="connsiteY62" fmla="*/ 5305 h 10000"/>
                <a:gd name="connsiteX63" fmla="*/ 9171 w 10505"/>
                <a:gd name="connsiteY63" fmla="*/ 4759 h 10000"/>
                <a:gd name="connsiteX64" fmla="*/ 9171 w 10505"/>
                <a:gd name="connsiteY64" fmla="*/ 4630 h 10000"/>
                <a:gd name="connsiteX65" fmla="*/ 9128 w 10505"/>
                <a:gd name="connsiteY65" fmla="*/ 4309 h 10000"/>
                <a:gd name="connsiteX66" fmla="*/ 9571 w 10505"/>
                <a:gd name="connsiteY66" fmla="*/ 3151 h 10000"/>
                <a:gd name="connsiteX67" fmla="*/ 9704 w 10505"/>
                <a:gd name="connsiteY67" fmla="*/ 3151 h 10000"/>
                <a:gd name="connsiteX68" fmla="*/ 9883 w 10505"/>
                <a:gd name="connsiteY68" fmla="*/ 3055 h 10000"/>
                <a:gd name="connsiteX69" fmla="*/ 10417 w 10505"/>
                <a:gd name="connsiteY69" fmla="*/ 2894 h 10000"/>
                <a:gd name="connsiteX70" fmla="*/ 10505 w 10505"/>
                <a:gd name="connsiteY70" fmla="*/ 2637 h 10000"/>
                <a:gd name="connsiteX71" fmla="*/ 10462 w 10505"/>
                <a:gd name="connsiteY71" fmla="*/ 2572 h 10000"/>
                <a:gd name="connsiteX72" fmla="*/ 10282 w 10505"/>
                <a:gd name="connsiteY72" fmla="*/ 2572 h 10000"/>
                <a:gd name="connsiteX73" fmla="*/ 10149 w 10505"/>
                <a:gd name="connsiteY73" fmla="*/ 2412 h 10000"/>
                <a:gd name="connsiteX74" fmla="*/ 9883 w 10505"/>
                <a:gd name="connsiteY74" fmla="*/ 2347 h 10000"/>
                <a:gd name="connsiteX75" fmla="*/ 9749 w 10505"/>
                <a:gd name="connsiteY75" fmla="*/ 2219 h 10000"/>
                <a:gd name="connsiteX76" fmla="*/ 9662 w 10505"/>
                <a:gd name="connsiteY76" fmla="*/ 1736 h 10000"/>
                <a:gd name="connsiteX77" fmla="*/ 9662 w 10505"/>
                <a:gd name="connsiteY77" fmla="*/ 1061 h 10000"/>
                <a:gd name="connsiteX78" fmla="*/ 9438 w 10505"/>
                <a:gd name="connsiteY78" fmla="*/ 836 h 10000"/>
                <a:gd name="connsiteX79" fmla="*/ 9394 w 10505"/>
                <a:gd name="connsiteY79" fmla="*/ 611 h 10000"/>
                <a:gd name="connsiteX80" fmla="*/ 9039 w 10505"/>
                <a:gd name="connsiteY80" fmla="*/ 289 h 10000"/>
                <a:gd name="connsiteX81" fmla="*/ 8727 w 10505"/>
                <a:gd name="connsiteY81" fmla="*/ 161 h 10000"/>
                <a:gd name="connsiteX82" fmla="*/ 8550 w 10505"/>
                <a:gd name="connsiteY82" fmla="*/ 0 h 10000"/>
                <a:gd name="connsiteX83" fmla="*/ 8284 w 10505"/>
                <a:gd name="connsiteY83" fmla="*/ 161 h 10000"/>
                <a:gd name="connsiteX84" fmla="*/ 8105 w 10505"/>
                <a:gd name="connsiteY84" fmla="*/ 129 h 10000"/>
                <a:gd name="connsiteX85" fmla="*/ 7971 w 10505"/>
                <a:gd name="connsiteY85" fmla="*/ 418 h 10000"/>
                <a:gd name="connsiteX86" fmla="*/ 7615 w 10505"/>
                <a:gd name="connsiteY86" fmla="*/ 482 h 10000"/>
                <a:gd name="connsiteX87" fmla="*/ 7528 w 10505"/>
                <a:gd name="connsiteY87" fmla="*/ 707 h 10000"/>
                <a:gd name="connsiteX88" fmla="*/ 7216 w 10505"/>
                <a:gd name="connsiteY88" fmla="*/ 707 h 10000"/>
                <a:gd name="connsiteX89" fmla="*/ 6950 w 10505"/>
                <a:gd name="connsiteY89" fmla="*/ 611 h 10000"/>
                <a:gd name="connsiteX90" fmla="*/ 6372 w 10505"/>
                <a:gd name="connsiteY90" fmla="*/ 611 h 10000"/>
                <a:gd name="connsiteX91" fmla="*/ 5794 w 10505"/>
                <a:gd name="connsiteY91" fmla="*/ 611 h 10000"/>
                <a:gd name="connsiteX92" fmla="*/ 5838 w 10505"/>
                <a:gd name="connsiteY92" fmla="*/ 482 h 10000"/>
                <a:gd name="connsiteX93" fmla="*/ 5750 w 10505"/>
                <a:gd name="connsiteY93" fmla="*/ 482 h 10000"/>
                <a:gd name="connsiteX94" fmla="*/ 5706 w 10505"/>
                <a:gd name="connsiteY94" fmla="*/ 611 h 10000"/>
                <a:gd name="connsiteX95" fmla="*/ 5172 w 10505"/>
                <a:gd name="connsiteY95" fmla="*/ 611 h 10000"/>
                <a:gd name="connsiteX96" fmla="*/ 4639 w 10505"/>
                <a:gd name="connsiteY96" fmla="*/ 611 h 10000"/>
                <a:gd name="connsiteX97" fmla="*/ 4107 w 10505"/>
                <a:gd name="connsiteY97" fmla="*/ 611 h 10000"/>
                <a:gd name="connsiteX98" fmla="*/ 3572 w 10505"/>
                <a:gd name="connsiteY98" fmla="*/ 611 h 10000"/>
                <a:gd name="connsiteX99" fmla="*/ 3085 w 10505"/>
                <a:gd name="connsiteY99" fmla="*/ 611 h 10000"/>
                <a:gd name="connsiteX100" fmla="*/ 2551 w 10505"/>
                <a:gd name="connsiteY100" fmla="*/ 611 h 10000"/>
                <a:gd name="connsiteX101" fmla="*/ 2061 w 10505"/>
                <a:gd name="connsiteY101" fmla="*/ 611 h 10000"/>
                <a:gd name="connsiteX102" fmla="*/ 1529 w 10505"/>
                <a:gd name="connsiteY102" fmla="*/ 611 h 10000"/>
                <a:gd name="connsiteX103" fmla="*/ 1529 w 10505"/>
                <a:gd name="connsiteY103" fmla="*/ 1061 h 10000"/>
                <a:gd name="connsiteX104" fmla="*/ 1529 w 10505"/>
                <a:gd name="connsiteY104" fmla="*/ 1640 h 10000"/>
                <a:gd name="connsiteX105" fmla="*/ 861 w 10505"/>
                <a:gd name="connsiteY105" fmla="*/ 1640 h 10000"/>
                <a:gd name="connsiteX106" fmla="*/ 861 w 10505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4973 w 10000"/>
                <a:gd name="connsiteY2" fmla="*/ 5205 h 10000"/>
                <a:gd name="connsiteX3" fmla="*/ 5520 w 10000"/>
                <a:gd name="connsiteY3" fmla="*/ 6915 h 10000"/>
                <a:gd name="connsiteX4" fmla="*/ 5155 w 10000"/>
                <a:gd name="connsiteY4" fmla="*/ 7114 h 10000"/>
                <a:gd name="connsiteX5" fmla="*/ 4848 w 10000"/>
                <a:gd name="connsiteY5" fmla="*/ 6907 h 10000"/>
                <a:gd name="connsiteX6" fmla="*/ 4403 w 10000"/>
                <a:gd name="connsiteY6" fmla="*/ 6781 h 10000"/>
                <a:gd name="connsiteX7" fmla="*/ 4182 w 10000"/>
                <a:gd name="connsiteY7" fmla="*/ 7064 h 10000"/>
                <a:gd name="connsiteX8" fmla="*/ 3635 w 10000"/>
                <a:gd name="connsiteY8" fmla="*/ 7281 h 10000"/>
                <a:gd name="connsiteX9" fmla="*/ 3284 w 10000"/>
                <a:gd name="connsiteY9" fmla="*/ 7279 h 10000"/>
                <a:gd name="connsiteX10" fmla="*/ 2517 w 10000"/>
                <a:gd name="connsiteY10" fmla="*/ 7095 h 10000"/>
                <a:gd name="connsiteX11" fmla="*/ 2312 w 10000"/>
                <a:gd name="connsiteY11" fmla="*/ 7195 h 10000"/>
                <a:gd name="connsiteX12" fmla="*/ 1800 w 10000"/>
                <a:gd name="connsiteY12" fmla="*/ 6973 h 10000"/>
                <a:gd name="connsiteX13" fmla="*/ 1574 w 10000"/>
                <a:gd name="connsiteY13" fmla="*/ 6638 h 10000"/>
                <a:gd name="connsiteX14" fmla="*/ 1198 w 10000"/>
                <a:gd name="connsiteY14" fmla="*/ 6729 h 10000"/>
                <a:gd name="connsiteX15" fmla="*/ 1096 w 10000"/>
                <a:gd name="connsiteY15" fmla="*/ 6927 h 10000"/>
                <a:gd name="connsiteX16" fmla="*/ 698 w 10000"/>
                <a:gd name="connsiteY16" fmla="*/ 7011 h 10000"/>
                <a:gd name="connsiteX17" fmla="*/ 436 w 10000"/>
                <a:gd name="connsiteY17" fmla="*/ 7004 h 10000"/>
                <a:gd name="connsiteX18" fmla="*/ 292 w 10000"/>
                <a:gd name="connsiteY18" fmla="*/ 7161 h 10000"/>
                <a:gd name="connsiteX19" fmla="*/ 47 w 10000"/>
                <a:gd name="connsiteY19" fmla="*/ 6913 h 10000"/>
                <a:gd name="connsiteX20" fmla="*/ 0 w 10000"/>
                <a:gd name="connsiteY20" fmla="*/ 7363 h 10000"/>
                <a:gd name="connsiteX21" fmla="*/ 89 w 10000"/>
                <a:gd name="connsiteY21" fmla="*/ 7428 h 10000"/>
                <a:gd name="connsiteX22" fmla="*/ 446 w 10000"/>
                <a:gd name="connsiteY22" fmla="*/ 7460 h 10000"/>
                <a:gd name="connsiteX23" fmla="*/ 491 w 10000"/>
                <a:gd name="connsiteY23" fmla="*/ 7588 h 10000"/>
                <a:gd name="connsiteX24" fmla="*/ 890 w 10000"/>
                <a:gd name="connsiteY24" fmla="*/ 7621 h 10000"/>
                <a:gd name="connsiteX25" fmla="*/ 1112 w 10000"/>
                <a:gd name="connsiteY25" fmla="*/ 7749 h 10000"/>
                <a:gd name="connsiteX26" fmla="*/ 1156 w 10000"/>
                <a:gd name="connsiteY26" fmla="*/ 7974 h 10000"/>
                <a:gd name="connsiteX27" fmla="*/ 1869 w 10000"/>
                <a:gd name="connsiteY27" fmla="*/ 8360 h 10000"/>
                <a:gd name="connsiteX28" fmla="*/ 2046 w 10000"/>
                <a:gd name="connsiteY28" fmla="*/ 8746 h 10000"/>
                <a:gd name="connsiteX29" fmla="*/ 2534 w 10000"/>
                <a:gd name="connsiteY29" fmla="*/ 8939 h 10000"/>
                <a:gd name="connsiteX30" fmla="*/ 2712 w 10000"/>
                <a:gd name="connsiteY30" fmla="*/ 9196 h 10000"/>
                <a:gd name="connsiteX31" fmla="*/ 3067 w 10000"/>
                <a:gd name="connsiteY31" fmla="*/ 9518 h 10000"/>
                <a:gd name="connsiteX32" fmla="*/ 3335 w 10000"/>
                <a:gd name="connsiteY32" fmla="*/ 9614 h 10000"/>
                <a:gd name="connsiteX33" fmla="*/ 3513 w 10000"/>
                <a:gd name="connsiteY33" fmla="*/ 9518 h 10000"/>
                <a:gd name="connsiteX34" fmla="*/ 3957 w 10000"/>
                <a:gd name="connsiteY34" fmla="*/ 9550 h 10000"/>
                <a:gd name="connsiteX35" fmla="*/ 4134 w 10000"/>
                <a:gd name="connsiteY35" fmla="*/ 9486 h 10000"/>
                <a:gd name="connsiteX36" fmla="*/ 4934 w 10000"/>
                <a:gd name="connsiteY36" fmla="*/ 9968 h 10000"/>
                <a:gd name="connsiteX37" fmla="*/ 4979 w 10000"/>
                <a:gd name="connsiteY37" fmla="*/ 9968 h 10000"/>
                <a:gd name="connsiteX38" fmla="*/ 5067 w 10000"/>
                <a:gd name="connsiteY38" fmla="*/ 9904 h 10000"/>
                <a:gd name="connsiteX39" fmla="*/ 5643 w 10000"/>
                <a:gd name="connsiteY39" fmla="*/ 9904 h 10000"/>
                <a:gd name="connsiteX40" fmla="*/ 5734 w 10000"/>
                <a:gd name="connsiteY40" fmla="*/ 10000 h 10000"/>
                <a:gd name="connsiteX41" fmla="*/ 6223 w 10000"/>
                <a:gd name="connsiteY41" fmla="*/ 9871 h 10000"/>
                <a:gd name="connsiteX42" fmla="*/ 6666 w 10000"/>
                <a:gd name="connsiteY42" fmla="*/ 9871 h 10000"/>
                <a:gd name="connsiteX43" fmla="*/ 6978 w 10000"/>
                <a:gd name="connsiteY43" fmla="*/ 9743 h 10000"/>
                <a:gd name="connsiteX44" fmla="*/ 7334 w 10000"/>
                <a:gd name="connsiteY44" fmla="*/ 9486 h 10000"/>
                <a:gd name="connsiteX45" fmla="*/ 8267 w 10000"/>
                <a:gd name="connsiteY45" fmla="*/ 9486 h 10000"/>
                <a:gd name="connsiteX46" fmla="*/ 8267 w 10000"/>
                <a:gd name="connsiteY46" fmla="*/ 9132 h 10000"/>
                <a:gd name="connsiteX47" fmla="*/ 7779 w 10000"/>
                <a:gd name="connsiteY47" fmla="*/ 8971 h 10000"/>
                <a:gd name="connsiteX48" fmla="*/ 7512 w 10000"/>
                <a:gd name="connsiteY48" fmla="*/ 8457 h 10000"/>
                <a:gd name="connsiteX49" fmla="*/ 7157 w 10000"/>
                <a:gd name="connsiteY49" fmla="*/ 8264 h 10000"/>
                <a:gd name="connsiteX50" fmla="*/ 6933 w 10000"/>
                <a:gd name="connsiteY50" fmla="*/ 8006 h 10000"/>
                <a:gd name="connsiteX51" fmla="*/ 6356 w 10000"/>
                <a:gd name="connsiteY51" fmla="*/ 7814 h 10000"/>
                <a:gd name="connsiteX52" fmla="*/ 6489 w 10000"/>
                <a:gd name="connsiteY52" fmla="*/ 7749 h 10000"/>
                <a:gd name="connsiteX53" fmla="*/ 6489 w 10000"/>
                <a:gd name="connsiteY53" fmla="*/ 7588 h 10000"/>
                <a:gd name="connsiteX54" fmla="*/ 6890 w 10000"/>
                <a:gd name="connsiteY54" fmla="*/ 7588 h 10000"/>
                <a:gd name="connsiteX55" fmla="*/ 7110 w 10000"/>
                <a:gd name="connsiteY55" fmla="*/ 7460 h 10000"/>
                <a:gd name="connsiteX56" fmla="*/ 7157 w 10000"/>
                <a:gd name="connsiteY56" fmla="*/ 6527 h 10000"/>
                <a:gd name="connsiteX57" fmla="*/ 7200 w 10000"/>
                <a:gd name="connsiteY57" fmla="*/ 6559 h 10000"/>
                <a:gd name="connsiteX58" fmla="*/ 7334 w 10000"/>
                <a:gd name="connsiteY58" fmla="*/ 6367 h 10000"/>
                <a:gd name="connsiteX59" fmla="*/ 7600 w 10000"/>
                <a:gd name="connsiteY59" fmla="*/ 6270 h 10000"/>
                <a:gd name="connsiteX60" fmla="*/ 7733 w 10000"/>
                <a:gd name="connsiteY60" fmla="*/ 5916 h 10000"/>
                <a:gd name="connsiteX61" fmla="*/ 8135 w 10000"/>
                <a:gd name="connsiteY61" fmla="*/ 5498 h 10000"/>
                <a:gd name="connsiteX62" fmla="*/ 8443 w 10000"/>
                <a:gd name="connsiteY62" fmla="*/ 5305 h 10000"/>
                <a:gd name="connsiteX63" fmla="*/ 8666 w 10000"/>
                <a:gd name="connsiteY63" fmla="*/ 4759 h 10000"/>
                <a:gd name="connsiteX64" fmla="*/ 8666 w 10000"/>
                <a:gd name="connsiteY64" fmla="*/ 4630 h 10000"/>
                <a:gd name="connsiteX65" fmla="*/ 8623 w 10000"/>
                <a:gd name="connsiteY65" fmla="*/ 4309 h 10000"/>
                <a:gd name="connsiteX66" fmla="*/ 9066 w 10000"/>
                <a:gd name="connsiteY66" fmla="*/ 3151 h 10000"/>
                <a:gd name="connsiteX67" fmla="*/ 9199 w 10000"/>
                <a:gd name="connsiteY67" fmla="*/ 3151 h 10000"/>
                <a:gd name="connsiteX68" fmla="*/ 9378 w 10000"/>
                <a:gd name="connsiteY68" fmla="*/ 3055 h 10000"/>
                <a:gd name="connsiteX69" fmla="*/ 9912 w 10000"/>
                <a:gd name="connsiteY69" fmla="*/ 2894 h 10000"/>
                <a:gd name="connsiteX70" fmla="*/ 10000 w 10000"/>
                <a:gd name="connsiteY70" fmla="*/ 2637 h 10000"/>
                <a:gd name="connsiteX71" fmla="*/ 9957 w 10000"/>
                <a:gd name="connsiteY71" fmla="*/ 2572 h 10000"/>
                <a:gd name="connsiteX72" fmla="*/ 9777 w 10000"/>
                <a:gd name="connsiteY72" fmla="*/ 2572 h 10000"/>
                <a:gd name="connsiteX73" fmla="*/ 9644 w 10000"/>
                <a:gd name="connsiteY73" fmla="*/ 2412 h 10000"/>
                <a:gd name="connsiteX74" fmla="*/ 9378 w 10000"/>
                <a:gd name="connsiteY74" fmla="*/ 2347 h 10000"/>
                <a:gd name="connsiteX75" fmla="*/ 9244 w 10000"/>
                <a:gd name="connsiteY75" fmla="*/ 2219 h 10000"/>
                <a:gd name="connsiteX76" fmla="*/ 9157 w 10000"/>
                <a:gd name="connsiteY76" fmla="*/ 1736 h 10000"/>
                <a:gd name="connsiteX77" fmla="*/ 9157 w 10000"/>
                <a:gd name="connsiteY77" fmla="*/ 1061 h 10000"/>
                <a:gd name="connsiteX78" fmla="*/ 8933 w 10000"/>
                <a:gd name="connsiteY78" fmla="*/ 836 h 10000"/>
                <a:gd name="connsiteX79" fmla="*/ 8889 w 10000"/>
                <a:gd name="connsiteY79" fmla="*/ 611 h 10000"/>
                <a:gd name="connsiteX80" fmla="*/ 8534 w 10000"/>
                <a:gd name="connsiteY80" fmla="*/ 289 h 10000"/>
                <a:gd name="connsiteX81" fmla="*/ 8222 w 10000"/>
                <a:gd name="connsiteY81" fmla="*/ 161 h 10000"/>
                <a:gd name="connsiteX82" fmla="*/ 8045 w 10000"/>
                <a:gd name="connsiteY82" fmla="*/ 0 h 10000"/>
                <a:gd name="connsiteX83" fmla="*/ 7779 w 10000"/>
                <a:gd name="connsiteY83" fmla="*/ 161 h 10000"/>
                <a:gd name="connsiteX84" fmla="*/ 7600 w 10000"/>
                <a:gd name="connsiteY84" fmla="*/ 129 h 10000"/>
                <a:gd name="connsiteX85" fmla="*/ 7466 w 10000"/>
                <a:gd name="connsiteY85" fmla="*/ 418 h 10000"/>
                <a:gd name="connsiteX86" fmla="*/ 7110 w 10000"/>
                <a:gd name="connsiteY86" fmla="*/ 482 h 10000"/>
                <a:gd name="connsiteX87" fmla="*/ 7023 w 10000"/>
                <a:gd name="connsiteY87" fmla="*/ 707 h 10000"/>
                <a:gd name="connsiteX88" fmla="*/ 6711 w 10000"/>
                <a:gd name="connsiteY88" fmla="*/ 707 h 10000"/>
                <a:gd name="connsiteX89" fmla="*/ 6445 w 10000"/>
                <a:gd name="connsiteY89" fmla="*/ 611 h 10000"/>
                <a:gd name="connsiteX90" fmla="*/ 5867 w 10000"/>
                <a:gd name="connsiteY90" fmla="*/ 611 h 10000"/>
                <a:gd name="connsiteX91" fmla="*/ 5289 w 10000"/>
                <a:gd name="connsiteY91" fmla="*/ 611 h 10000"/>
                <a:gd name="connsiteX92" fmla="*/ 5333 w 10000"/>
                <a:gd name="connsiteY92" fmla="*/ 482 h 10000"/>
                <a:gd name="connsiteX93" fmla="*/ 5245 w 10000"/>
                <a:gd name="connsiteY93" fmla="*/ 482 h 10000"/>
                <a:gd name="connsiteX94" fmla="*/ 5201 w 10000"/>
                <a:gd name="connsiteY94" fmla="*/ 611 h 10000"/>
                <a:gd name="connsiteX95" fmla="*/ 4667 w 10000"/>
                <a:gd name="connsiteY95" fmla="*/ 611 h 10000"/>
                <a:gd name="connsiteX96" fmla="*/ 4134 w 10000"/>
                <a:gd name="connsiteY96" fmla="*/ 611 h 10000"/>
                <a:gd name="connsiteX97" fmla="*/ 3602 w 10000"/>
                <a:gd name="connsiteY97" fmla="*/ 611 h 10000"/>
                <a:gd name="connsiteX98" fmla="*/ 3067 w 10000"/>
                <a:gd name="connsiteY98" fmla="*/ 611 h 10000"/>
                <a:gd name="connsiteX99" fmla="*/ 2580 w 10000"/>
                <a:gd name="connsiteY99" fmla="*/ 611 h 10000"/>
                <a:gd name="connsiteX100" fmla="*/ 2046 w 10000"/>
                <a:gd name="connsiteY100" fmla="*/ 611 h 10000"/>
                <a:gd name="connsiteX101" fmla="*/ 1556 w 10000"/>
                <a:gd name="connsiteY101" fmla="*/ 611 h 10000"/>
                <a:gd name="connsiteX102" fmla="*/ 1024 w 10000"/>
                <a:gd name="connsiteY102" fmla="*/ 611 h 10000"/>
                <a:gd name="connsiteX103" fmla="*/ 1024 w 10000"/>
                <a:gd name="connsiteY103" fmla="*/ 1061 h 10000"/>
                <a:gd name="connsiteX104" fmla="*/ 1024 w 10000"/>
                <a:gd name="connsiteY104" fmla="*/ 1640 h 10000"/>
                <a:gd name="connsiteX105" fmla="*/ 356 w 10000"/>
                <a:gd name="connsiteY105" fmla="*/ 1640 h 10000"/>
                <a:gd name="connsiteX106" fmla="*/ 356 w 10000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5520 w 10000"/>
                <a:gd name="connsiteY2" fmla="*/ 6915 h 10000"/>
                <a:gd name="connsiteX3" fmla="*/ 5155 w 10000"/>
                <a:gd name="connsiteY3" fmla="*/ 7114 h 10000"/>
                <a:gd name="connsiteX4" fmla="*/ 4848 w 10000"/>
                <a:gd name="connsiteY4" fmla="*/ 6907 h 10000"/>
                <a:gd name="connsiteX5" fmla="*/ 4403 w 10000"/>
                <a:gd name="connsiteY5" fmla="*/ 6781 h 10000"/>
                <a:gd name="connsiteX6" fmla="*/ 4182 w 10000"/>
                <a:gd name="connsiteY6" fmla="*/ 7064 h 10000"/>
                <a:gd name="connsiteX7" fmla="*/ 3635 w 10000"/>
                <a:gd name="connsiteY7" fmla="*/ 7281 h 10000"/>
                <a:gd name="connsiteX8" fmla="*/ 3284 w 10000"/>
                <a:gd name="connsiteY8" fmla="*/ 7279 h 10000"/>
                <a:gd name="connsiteX9" fmla="*/ 2517 w 10000"/>
                <a:gd name="connsiteY9" fmla="*/ 7095 h 10000"/>
                <a:gd name="connsiteX10" fmla="*/ 2312 w 10000"/>
                <a:gd name="connsiteY10" fmla="*/ 7195 h 10000"/>
                <a:gd name="connsiteX11" fmla="*/ 1800 w 10000"/>
                <a:gd name="connsiteY11" fmla="*/ 6973 h 10000"/>
                <a:gd name="connsiteX12" fmla="*/ 1574 w 10000"/>
                <a:gd name="connsiteY12" fmla="*/ 6638 h 10000"/>
                <a:gd name="connsiteX13" fmla="*/ 1198 w 10000"/>
                <a:gd name="connsiteY13" fmla="*/ 6729 h 10000"/>
                <a:gd name="connsiteX14" fmla="*/ 1096 w 10000"/>
                <a:gd name="connsiteY14" fmla="*/ 6927 h 10000"/>
                <a:gd name="connsiteX15" fmla="*/ 698 w 10000"/>
                <a:gd name="connsiteY15" fmla="*/ 7011 h 10000"/>
                <a:gd name="connsiteX16" fmla="*/ 436 w 10000"/>
                <a:gd name="connsiteY16" fmla="*/ 7004 h 10000"/>
                <a:gd name="connsiteX17" fmla="*/ 292 w 10000"/>
                <a:gd name="connsiteY17" fmla="*/ 7161 h 10000"/>
                <a:gd name="connsiteX18" fmla="*/ 47 w 10000"/>
                <a:gd name="connsiteY18" fmla="*/ 6913 h 10000"/>
                <a:gd name="connsiteX19" fmla="*/ 0 w 10000"/>
                <a:gd name="connsiteY19" fmla="*/ 7363 h 10000"/>
                <a:gd name="connsiteX20" fmla="*/ 89 w 10000"/>
                <a:gd name="connsiteY20" fmla="*/ 7428 h 10000"/>
                <a:gd name="connsiteX21" fmla="*/ 446 w 10000"/>
                <a:gd name="connsiteY21" fmla="*/ 7460 h 10000"/>
                <a:gd name="connsiteX22" fmla="*/ 491 w 10000"/>
                <a:gd name="connsiteY22" fmla="*/ 7588 h 10000"/>
                <a:gd name="connsiteX23" fmla="*/ 890 w 10000"/>
                <a:gd name="connsiteY23" fmla="*/ 7621 h 10000"/>
                <a:gd name="connsiteX24" fmla="*/ 1112 w 10000"/>
                <a:gd name="connsiteY24" fmla="*/ 7749 h 10000"/>
                <a:gd name="connsiteX25" fmla="*/ 1156 w 10000"/>
                <a:gd name="connsiteY25" fmla="*/ 7974 h 10000"/>
                <a:gd name="connsiteX26" fmla="*/ 1869 w 10000"/>
                <a:gd name="connsiteY26" fmla="*/ 8360 h 10000"/>
                <a:gd name="connsiteX27" fmla="*/ 2046 w 10000"/>
                <a:gd name="connsiteY27" fmla="*/ 8746 h 10000"/>
                <a:gd name="connsiteX28" fmla="*/ 2534 w 10000"/>
                <a:gd name="connsiteY28" fmla="*/ 8939 h 10000"/>
                <a:gd name="connsiteX29" fmla="*/ 2712 w 10000"/>
                <a:gd name="connsiteY29" fmla="*/ 9196 h 10000"/>
                <a:gd name="connsiteX30" fmla="*/ 3067 w 10000"/>
                <a:gd name="connsiteY30" fmla="*/ 9518 h 10000"/>
                <a:gd name="connsiteX31" fmla="*/ 3335 w 10000"/>
                <a:gd name="connsiteY31" fmla="*/ 9614 h 10000"/>
                <a:gd name="connsiteX32" fmla="*/ 3513 w 10000"/>
                <a:gd name="connsiteY32" fmla="*/ 9518 h 10000"/>
                <a:gd name="connsiteX33" fmla="*/ 3957 w 10000"/>
                <a:gd name="connsiteY33" fmla="*/ 9550 h 10000"/>
                <a:gd name="connsiteX34" fmla="*/ 4134 w 10000"/>
                <a:gd name="connsiteY34" fmla="*/ 9486 h 10000"/>
                <a:gd name="connsiteX35" fmla="*/ 4934 w 10000"/>
                <a:gd name="connsiteY35" fmla="*/ 9968 h 10000"/>
                <a:gd name="connsiteX36" fmla="*/ 4979 w 10000"/>
                <a:gd name="connsiteY36" fmla="*/ 9968 h 10000"/>
                <a:gd name="connsiteX37" fmla="*/ 5067 w 10000"/>
                <a:gd name="connsiteY37" fmla="*/ 9904 h 10000"/>
                <a:gd name="connsiteX38" fmla="*/ 5643 w 10000"/>
                <a:gd name="connsiteY38" fmla="*/ 9904 h 10000"/>
                <a:gd name="connsiteX39" fmla="*/ 5734 w 10000"/>
                <a:gd name="connsiteY39" fmla="*/ 10000 h 10000"/>
                <a:gd name="connsiteX40" fmla="*/ 6223 w 10000"/>
                <a:gd name="connsiteY40" fmla="*/ 9871 h 10000"/>
                <a:gd name="connsiteX41" fmla="*/ 6666 w 10000"/>
                <a:gd name="connsiteY41" fmla="*/ 9871 h 10000"/>
                <a:gd name="connsiteX42" fmla="*/ 6978 w 10000"/>
                <a:gd name="connsiteY42" fmla="*/ 9743 h 10000"/>
                <a:gd name="connsiteX43" fmla="*/ 7334 w 10000"/>
                <a:gd name="connsiteY43" fmla="*/ 9486 h 10000"/>
                <a:gd name="connsiteX44" fmla="*/ 8267 w 10000"/>
                <a:gd name="connsiteY44" fmla="*/ 9486 h 10000"/>
                <a:gd name="connsiteX45" fmla="*/ 8267 w 10000"/>
                <a:gd name="connsiteY45" fmla="*/ 9132 h 10000"/>
                <a:gd name="connsiteX46" fmla="*/ 7779 w 10000"/>
                <a:gd name="connsiteY46" fmla="*/ 8971 h 10000"/>
                <a:gd name="connsiteX47" fmla="*/ 7512 w 10000"/>
                <a:gd name="connsiteY47" fmla="*/ 8457 h 10000"/>
                <a:gd name="connsiteX48" fmla="*/ 7157 w 10000"/>
                <a:gd name="connsiteY48" fmla="*/ 8264 h 10000"/>
                <a:gd name="connsiteX49" fmla="*/ 6933 w 10000"/>
                <a:gd name="connsiteY49" fmla="*/ 8006 h 10000"/>
                <a:gd name="connsiteX50" fmla="*/ 6356 w 10000"/>
                <a:gd name="connsiteY50" fmla="*/ 7814 h 10000"/>
                <a:gd name="connsiteX51" fmla="*/ 6489 w 10000"/>
                <a:gd name="connsiteY51" fmla="*/ 7749 h 10000"/>
                <a:gd name="connsiteX52" fmla="*/ 6489 w 10000"/>
                <a:gd name="connsiteY52" fmla="*/ 7588 h 10000"/>
                <a:gd name="connsiteX53" fmla="*/ 6890 w 10000"/>
                <a:gd name="connsiteY53" fmla="*/ 7588 h 10000"/>
                <a:gd name="connsiteX54" fmla="*/ 7110 w 10000"/>
                <a:gd name="connsiteY54" fmla="*/ 7460 h 10000"/>
                <a:gd name="connsiteX55" fmla="*/ 7157 w 10000"/>
                <a:gd name="connsiteY55" fmla="*/ 6527 h 10000"/>
                <a:gd name="connsiteX56" fmla="*/ 7200 w 10000"/>
                <a:gd name="connsiteY56" fmla="*/ 6559 h 10000"/>
                <a:gd name="connsiteX57" fmla="*/ 7334 w 10000"/>
                <a:gd name="connsiteY57" fmla="*/ 6367 h 10000"/>
                <a:gd name="connsiteX58" fmla="*/ 7600 w 10000"/>
                <a:gd name="connsiteY58" fmla="*/ 6270 h 10000"/>
                <a:gd name="connsiteX59" fmla="*/ 7733 w 10000"/>
                <a:gd name="connsiteY59" fmla="*/ 5916 h 10000"/>
                <a:gd name="connsiteX60" fmla="*/ 8135 w 10000"/>
                <a:gd name="connsiteY60" fmla="*/ 5498 h 10000"/>
                <a:gd name="connsiteX61" fmla="*/ 8443 w 10000"/>
                <a:gd name="connsiteY61" fmla="*/ 5305 h 10000"/>
                <a:gd name="connsiteX62" fmla="*/ 8666 w 10000"/>
                <a:gd name="connsiteY62" fmla="*/ 4759 h 10000"/>
                <a:gd name="connsiteX63" fmla="*/ 8666 w 10000"/>
                <a:gd name="connsiteY63" fmla="*/ 4630 h 10000"/>
                <a:gd name="connsiteX64" fmla="*/ 8623 w 10000"/>
                <a:gd name="connsiteY64" fmla="*/ 4309 h 10000"/>
                <a:gd name="connsiteX65" fmla="*/ 9066 w 10000"/>
                <a:gd name="connsiteY65" fmla="*/ 3151 h 10000"/>
                <a:gd name="connsiteX66" fmla="*/ 9199 w 10000"/>
                <a:gd name="connsiteY66" fmla="*/ 3151 h 10000"/>
                <a:gd name="connsiteX67" fmla="*/ 9378 w 10000"/>
                <a:gd name="connsiteY67" fmla="*/ 3055 h 10000"/>
                <a:gd name="connsiteX68" fmla="*/ 9912 w 10000"/>
                <a:gd name="connsiteY68" fmla="*/ 2894 h 10000"/>
                <a:gd name="connsiteX69" fmla="*/ 10000 w 10000"/>
                <a:gd name="connsiteY69" fmla="*/ 2637 h 10000"/>
                <a:gd name="connsiteX70" fmla="*/ 9957 w 10000"/>
                <a:gd name="connsiteY70" fmla="*/ 2572 h 10000"/>
                <a:gd name="connsiteX71" fmla="*/ 9777 w 10000"/>
                <a:gd name="connsiteY71" fmla="*/ 2572 h 10000"/>
                <a:gd name="connsiteX72" fmla="*/ 9644 w 10000"/>
                <a:gd name="connsiteY72" fmla="*/ 2412 h 10000"/>
                <a:gd name="connsiteX73" fmla="*/ 9378 w 10000"/>
                <a:gd name="connsiteY73" fmla="*/ 2347 h 10000"/>
                <a:gd name="connsiteX74" fmla="*/ 9244 w 10000"/>
                <a:gd name="connsiteY74" fmla="*/ 2219 h 10000"/>
                <a:gd name="connsiteX75" fmla="*/ 9157 w 10000"/>
                <a:gd name="connsiteY75" fmla="*/ 1736 h 10000"/>
                <a:gd name="connsiteX76" fmla="*/ 9157 w 10000"/>
                <a:gd name="connsiteY76" fmla="*/ 1061 h 10000"/>
                <a:gd name="connsiteX77" fmla="*/ 8933 w 10000"/>
                <a:gd name="connsiteY77" fmla="*/ 836 h 10000"/>
                <a:gd name="connsiteX78" fmla="*/ 8889 w 10000"/>
                <a:gd name="connsiteY78" fmla="*/ 611 h 10000"/>
                <a:gd name="connsiteX79" fmla="*/ 8534 w 10000"/>
                <a:gd name="connsiteY79" fmla="*/ 289 h 10000"/>
                <a:gd name="connsiteX80" fmla="*/ 8222 w 10000"/>
                <a:gd name="connsiteY80" fmla="*/ 161 h 10000"/>
                <a:gd name="connsiteX81" fmla="*/ 8045 w 10000"/>
                <a:gd name="connsiteY81" fmla="*/ 0 h 10000"/>
                <a:gd name="connsiteX82" fmla="*/ 7779 w 10000"/>
                <a:gd name="connsiteY82" fmla="*/ 161 h 10000"/>
                <a:gd name="connsiteX83" fmla="*/ 7600 w 10000"/>
                <a:gd name="connsiteY83" fmla="*/ 129 h 10000"/>
                <a:gd name="connsiteX84" fmla="*/ 7466 w 10000"/>
                <a:gd name="connsiteY84" fmla="*/ 418 h 10000"/>
                <a:gd name="connsiteX85" fmla="*/ 7110 w 10000"/>
                <a:gd name="connsiteY85" fmla="*/ 482 h 10000"/>
                <a:gd name="connsiteX86" fmla="*/ 7023 w 10000"/>
                <a:gd name="connsiteY86" fmla="*/ 707 h 10000"/>
                <a:gd name="connsiteX87" fmla="*/ 6711 w 10000"/>
                <a:gd name="connsiteY87" fmla="*/ 707 h 10000"/>
                <a:gd name="connsiteX88" fmla="*/ 6445 w 10000"/>
                <a:gd name="connsiteY88" fmla="*/ 611 h 10000"/>
                <a:gd name="connsiteX89" fmla="*/ 5867 w 10000"/>
                <a:gd name="connsiteY89" fmla="*/ 611 h 10000"/>
                <a:gd name="connsiteX90" fmla="*/ 5289 w 10000"/>
                <a:gd name="connsiteY90" fmla="*/ 611 h 10000"/>
                <a:gd name="connsiteX91" fmla="*/ 5333 w 10000"/>
                <a:gd name="connsiteY91" fmla="*/ 482 h 10000"/>
                <a:gd name="connsiteX92" fmla="*/ 5245 w 10000"/>
                <a:gd name="connsiteY92" fmla="*/ 482 h 10000"/>
                <a:gd name="connsiteX93" fmla="*/ 5201 w 10000"/>
                <a:gd name="connsiteY93" fmla="*/ 611 h 10000"/>
                <a:gd name="connsiteX94" fmla="*/ 4667 w 10000"/>
                <a:gd name="connsiteY94" fmla="*/ 611 h 10000"/>
                <a:gd name="connsiteX95" fmla="*/ 4134 w 10000"/>
                <a:gd name="connsiteY95" fmla="*/ 611 h 10000"/>
                <a:gd name="connsiteX96" fmla="*/ 3602 w 10000"/>
                <a:gd name="connsiteY96" fmla="*/ 611 h 10000"/>
                <a:gd name="connsiteX97" fmla="*/ 3067 w 10000"/>
                <a:gd name="connsiteY97" fmla="*/ 611 h 10000"/>
                <a:gd name="connsiteX98" fmla="*/ 2580 w 10000"/>
                <a:gd name="connsiteY98" fmla="*/ 611 h 10000"/>
                <a:gd name="connsiteX99" fmla="*/ 2046 w 10000"/>
                <a:gd name="connsiteY99" fmla="*/ 611 h 10000"/>
                <a:gd name="connsiteX100" fmla="*/ 1556 w 10000"/>
                <a:gd name="connsiteY100" fmla="*/ 611 h 10000"/>
                <a:gd name="connsiteX101" fmla="*/ 1024 w 10000"/>
                <a:gd name="connsiteY101" fmla="*/ 611 h 10000"/>
                <a:gd name="connsiteX102" fmla="*/ 1024 w 10000"/>
                <a:gd name="connsiteY102" fmla="*/ 1061 h 10000"/>
                <a:gd name="connsiteX103" fmla="*/ 1024 w 10000"/>
                <a:gd name="connsiteY103" fmla="*/ 1640 h 10000"/>
                <a:gd name="connsiteX104" fmla="*/ 356 w 10000"/>
                <a:gd name="connsiteY104" fmla="*/ 1640 h 10000"/>
                <a:gd name="connsiteX105" fmla="*/ 356 w 10000"/>
                <a:gd name="connsiteY105" fmla="*/ 1897 h 10000"/>
                <a:gd name="connsiteX0" fmla="*/ 356 w 10000"/>
                <a:gd name="connsiteY0" fmla="*/ 1897 h 10000"/>
                <a:gd name="connsiteX1" fmla="*/ 5484 w 10000"/>
                <a:gd name="connsiteY1" fmla="*/ 5713 h 10000"/>
                <a:gd name="connsiteX2" fmla="*/ 5520 w 10000"/>
                <a:gd name="connsiteY2" fmla="*/ 6915 h 10000"/>
                <a:gd name="connsiteX3" fmla="*/ 5155 w 10000"/>
                <a:gd name="connsiteY3" fmla="*/ 7114 h 10000"/>
                <a:gd name="connsiteX4" fmla="*/ 4848 w 10000"/>
                <a:gd name="connsiteY4" fmla="*/ 6907 h 10000"/>
                <a:gd name="connsiteX5" fmla="*/ 4403 w 10000"/>
                <a:gd name="connsiteY5" fmla="*/ 6781 h 10000"/>
                <a:gd name="connsiteX6" fmla="*/ 4182 w 10000"/>
                <a:gd name="connsiteY6" fmla="*/ 7064 h 10000"/>
                <a:gd name="connsiteX7" fmla="*/ 3635 w 10000"/>
                <a:gd name="connsiteY7" fmla="*/ 7281 h 10000"/>
                <a:gd name="connsiteX8" fmla="*/ 3284 w 10000"/>
                <a:gd name="connsiteY8" fmla="*/ 7279 h 10000"/>
                <a:gd name="connsiteX9" fmla="*/ 2517 w 10000"/>
                <a:gd name="connsiteY9" fmla="*/ 7095 h 10000"/>
                <a:gd name="connsiteX10" fmla="*/ 2312 w 10000"/>
                <a:gd name="connsiteY10" fmla="*/ 7195 h 10000"/>
                <a:gd name="connsiteX11" fmla="*/ 1800 w 10000"/>
                <a:gd name="connsiteY11" fmla="*/ 6973 h 10000"/>
                <a:gd name="connsiteX12" fmla="*/ 1574 w 10000"/>
                <a:gd name="connsiteY12" fmla="*/ 6638 h 10000"/>
                <a:gd name="connsiteX13" fmla="*/ 1198 w 10000"/>
                <a:gd name="connsiteY13" fmla="*/ 6729 h 10000"/>
                <a:gd name="connsiteX14" fmla="*/ 1096 w 10000"/>
                <a:gd name="connsiteY14" fmla="*/ 6927 h 10000"/>
                <a:gd name="connsiteX15" fmla="*/ 698 w 10000"/>
                <a:gd name="connsiteY15" fmla="*/ 7011 h 10000"/>
                <a:gd name="connsiteX16" fmla="*/ 436 w 10000"/>
                <a:gd name="connsiteY16" fmla="*/ 7004 h 10000"/>
                <a:gd name="connsiteX17" fmla="*/ 292 w 10000"/>
                <a:gd name="connsiteY17" fmla="*/ 7161 h 10000"/>
                <a:gd name="connsiteX18" fmla="*/ 47 w 10000"/>
                <a:gd name="connsiteY18" fmla="*/ 6913 h 10000"/>
                <a:gd name="connsiteX19" fmla="*/ 0 w 10000"/>
                <a:gd name="connsiteY19" fmla="*/ 7363 h 10000"/>
                <a:gd name="connsiteX20" fmla="*/ 89 w 10000"/>
                <a:gd name="connsiteY20" fmla="*/ 7428 h 10000"/>
                <a:gd name="connsiteX21" fmla="*/ 446 w 10000"/>
                <a:gd name="connsiteY21" fmla="*/ 7460 h 10000"/>
                <a:gd name="connsiteX22" fmla="*/ 491 w 10000"/>
                <a:gd name="connsiteY22" fmla="*/ 7588 h 10000"/>
                <a:gd name="connsiteX23" fmla="*/ 890 w 10000"/>
                <a:gd name="connsiteY23" fmla="*/ 7621 h 10000"/>
                <a:gd name="connsiteX24" fmla="*/ 1112 w 10000"/>
                <a:gd name="connsiteY24" fmla="*/ 7749 h 10000"/>
                <a:gd name="connsiteX25" fmla="*/ 1156 w 10000"/>
                <a:gd name="connsiteY25" fmla="*/ 7974 h 10000"/>
                <a:gd name="connsiteX26" fmla="*/ 1869 w 10000"/>
                <a:gd name="connsiteY26" fmla="*/ 8360 h 10000"/>
                <a:gd name="connsiteX27" fmla="*/ 2046 w 10000"/>
                <a:gd name="connsiteY27" fmla="*/ 8746 h 10000"/>
                <a:gd name="connsiteX28" fmla="*/ 2534 w 10000"/>
                <a:gd name="connsiteY28" fmla="*/ 8939 h 10000"/>
                <a:gd name="connsiteX29" fmla="*/ 2712 w 10000"/>
                <a:gd name="connsiteY29" fmla="*/ 9196 h 10000"/>
                <a:gd name="connsiteX30" fmla="*/ 3067 w 10000"/>
                <a:gd name="connsiteY30" fmla="*/ 9518 h 10000"/>
                <a:gd name="connsiteX31" fmla="*/ 3335 w 10000"/>
                <a:gd name="connsiteY31" fmla="*/ 9614 h 10000"/>
                <a:gd name="connsiteX32" fmla="*/ 3513 w 10000"/>
                <a:gd name="connsiteY32" fmla="*/ 9518 h 10000"/>
                <a:gd name="connsiteX33" fmla="*/ 3957 w 10000"/>
                <a:gd name="connsiteY33" fmla="*/ 9550 h 10000"/>
                <a:gd name="connsiteX34" fmla="*/ 4134 w 10000"/>
                <a:gd name="connsiteY34" fmla="*/ 9486 h 10000"/>
                <a:gd name="connsiteX35" fmla="*/ 4934 w 10000"/>
                <a:gd name="connsiteY35" fmla="*/ 9968 h 10000"/>
                <a:gd name="connsiteX36" fmla="*/ 4979 w 10000"/>
                <a:gd name="connsiteY36" fmla="*/ 9968 h 10000"/>
                <a:gd name="connsiteX37" fmla="*/ 5067 w 10000"/>
                <a:gd name="connsiteY37" fmla="*/ 9904 h 10000"/>
                <a:gd name="connsiteX38" fmla="*/ 5643 w 10000"/>
                <a:gd name="connsiteY38" fmla="*/ 9904 h 10000"/>
                <a:gd name="connsiteX39" fmla="*/ 5734 w 10000"/>
                <a:gd name="connsiteY39" fmla="*/ 10000 h 10000"/>
                <a:gd name="connsiteX40" fmla="*/ 6223 w 10000"/>
                <a:gd name="connsiteY40" fmla="*/ 9871 h 10000"/>
                <a:gd name="connsiteX41" fmla="*/ 6666 w 10000"/>
                <a:gd name="connsiteY41" fmla="*/ 9871 h 10000"/>
                <a:gd name="connsiteX42" fmla="*/ 6978 w 10000"/>
                <a:gd name="connsiteY42" fmla="*/ 9743 h 10000"/>
                <a:gd name="connsiteX43" fmla="*/ 7334 w 10000"/>
                <a:gd name="connsiteY43" fmla="*/ 9486 h 10000"/>
                <a:gd name="connsiteX44" fmla="*/ 8267 w 10000"/>
                <a:gd name="connsiteY44" fmla="*/ 9486 h 10000"/>
                <a:gd name="connsiteX45" fmla="*/ 8267 w 10000"/>
                <a:gd name="connsiteY45" fmla="*/ 9132 h 10000"/>
                <a:gd name="connsiteX46" fmla="*/ 7779 w 10000"/>
                <a:gd name="connsiteY46" fmla="*/ 8971 h 10000"/>
                <a:gd name="connsiteX47" fmla="*/ 7512 w 10000"/>
                <a:gd name="connsiteY47" fmla="*/ 8457 h 10000"/>
                <a:gd name="connsiteX48" fmla="*/ 7157 w 10000"/>
                <a:gd name="connsiteY48" fmla="*/ 8264 h 10000"/>
                <a:gd name="connsiteX49" fmla="*/ 6933 w 10000"/>
                <a:gd name="connsiteY49" fmla="*/ 8006 h 10000"/>
                <a:gd name="connsiteX50" fmla="*/ 6356 w 10000"/>
                <a:gd name="connsiteY50" fmla="*/ 7814 h 10000"/>
                <a:gd name="connsiteX51" fmla="*/ 6489 w 10000"/>
                <a:gd name="connsiteY51" fmla="*/ 7749 h 10000"/>
                <a:gd name="connsiteX52" fmla="*/ 6489 w 10000"/>
                <a:gd name="connsiteY52" fmla="*/ 7588 h 10000"/>
                <a:gd name="connsiteX53" fmla="*/ 6890 w 10000"/>
                <a:gd name="connsiteY53" fmla="*/ 7588 h 10000"/>
                <a:gd name="connsiteX54" fmla="*/ 7110 w 10000"/>
                <a:gd name="connsiteY54" fmla="*/ 7460 h 10000"/>
                <a:gd name="connsiteX55" fmla="*/ 7157 w 10000"/>
                <a:gd name="connsiteY55" fmla="*/ 6527 h 10000"/>
                <a:gd name="connsiteX56" fmla="*/ 7200 w 10000"/>
                <a:gd name="connsiteY56" fmla="*/ 6559 h 10000"/>
                <a:gd name="connsiteX57" fmla="*/ 7334 w 10000"/>
                <a:gd name="connsiteY57" fmla="*/ 6367 h 10000"/>
                <a:gd name="connsiteX58" fmla="*/ 7600 w 10000"/>
                <a:gd name="connsiteY58" fmla="*/ 6270 h 10000"/>
                <a:gd name="connsiteX59" fmla="*/ 7733 w 10000"/>
                <a:gd name="connsiteY59" fmla="*/ 5916 h 10000"/>
                <a:gd name="connsiteX60" fmla="*/ 8135 w 10000"/>
                <a:gd name="connsiteY60" fmla="*/ 5498 h 10000"/>
                <a:gd name="connsiteX61" fmla="*/ 8443 w 10000"/>
                <a:gd name="connsiteY61" fmla="*/ 5305 h 10000"/>
                <a:gd name="connsiteX62" fmla="*/ 8666 w 10000"/>
                <a:gd name="connsiteY62" fmla="*/ 4759 h 10000"/>
                <a:gd name="connsiteX63" fmla="*/ 8666 w 10000"/>
                <a:gd name="connsiteY63" fmla="*/ 4630 h 10000"/>
                <a:gd name="connsiteX64" fmla="*/ 8623 w 10000"/>
                <a:gd name="connsiteY64" fmla="*/ 4309 h 10000"/>
                <a:gd name="connsiteX65" fmla="*/ 9066 w 10000"/>
                <a:gd name="connsiteY65" fmla="*/ 3151 h 10000"/>
                <a:gd name="connsiteX66" fmla="*/ 9199 w 10000"/>
                <a:gd name="connsiteY66" fmla="*/ 3151 h 10000"/>
                <a:gd name="connsiteX67" fmla="*/ 9378 w 10000"/>
                <a:gd name="connsiteY67" fmla="*/ 3055 h 10000"/>
                <a:gd name="connsiteX68" fmla="*/ 9912 w 10000"/>
                <a:gd name="connsiteY68" fmla="*/ 2894 h 10000"/>
                <a:gd name="connsiteX69" fmla="*/ 10000 w 10000"/>
                <a:gd name="connsiteY69" fmla="*/ 2637 h 10000"/>
                <a:gd name="connsiteX70" fmla="*/ 9957 w 10000"/>
                <a:gd name="connsiteY70" fmla="*/ 2572 h 10000"/>
                <a:gd name="connsiteX71" fmla="*/ 9777 w 10000"/>
                <a:gd name="connsiteY71" fmla="*/ 2572 h 10000"/>
                <a:gd name="connsiteX72" fmla="*/ 9644 w 10000"/>
                <a:gd name="connsiteY72" fmla="*/ 2412 h 10000"/>
                <a:gd name="connsiteX73" fmla="*/ 9378 w 10000"/>
                <a:gd name="connsiteY73" fmla="*/ 2347 h 10000"/>
                <a:gd name="connsiteX74" fmla="*/ 9244 w 10000"/>
                <a:gd name="connsiteY74" fmla="*/ 2219 h 10000"/>
                <a:gd name="connsiteX75" fmla="*/ 9157 w 10000"/>
                <a:gd name="connsiteY75" fmla="*/ 1736 h 10000"/>
                <a:gd name="connsiteX76" fmla="*/ 9157 w 10000"/>
                <a:gd name="connsiteY76" fmla="*/ 1061 h 10000"/>
                <a:gd name="connsiteX77" fmla="*/ 8933 w 10000"/>
                <a:gd name="connsiteY77" fmla="*/ 836 h 10000"/>
                <a:gd name="connsiteX78" fmla="*/ 8889 w 10000"/>
                <a:gd name="connsiteY78" fmla="*/ 611 h 10000"/>
                <a:gd name="connsiteX79" fmla="*/ 8534 w 10000"/>
                <a:gd name="connsiteY79" fmla="*/ 289 h 10000"/>
                <a:gd name="connsiteX80" fmla="*/ 8222 w 10000"/>
                <a:gd name="connsiteY80" fmla="*/ 161 h 10000"/>
                <a:gd name="connsiteX81" fmla="*/ 8045 w 10000"/>
                <a:gd name="connsiteY81" fmla="*/ 0 h 10000"/>
                <a:gd name="connsiteX82" fmla="*/ 7779 w 10000"/>
                <a:gd name="connsiteY82" fmla="*/ 161 h 10000"/>
                <a:gd name="connsiteX83" fmla="*/ 7600 w 10000"/>
                <a:gd name="connsiteY83" fmla="*/ 129 h 10000"/>
                <a:gd name="connsiteX84" fmla="*/ 7466 w 10000"/>
                <a:gd name="connsiteY84" fmla="*/ 418 h 10000"/>
                <a:gd name="connsiteX85" fmla="*/ 7110 w 10000"/>
                <a:gd name="connsiteY85" fmla="*/ 482 h 10000"/>
                <a:gd name="connsiteX86" fmla="*/ 7023 w 10000"/>
                <a:gd name="connsiteY86" fmla="*/ 707 h 10000"/>
                <a:gd name="connsiteX87" fmla="*/ 6711 w 10000"/>
                <a:gd name="connsiteY87" fmla="*/ 707 h 10000"/>
                <a:gd name="connsiteX88" fmla="*/ 6445 w 10000"/>
                <a:gd name="connsiteY88" fmla="*/ 611 h 10000"/>
                <a:gd name="connsiteX89" fmla="*/ 5867 w 10000"/>
                <a:gd name="connsiteY89" fmla="*/ 611 h 10000"/>
                <a:gd name="connsiteX90" fmla="*/ 5289 w 10000"/>
                <a:gd name="connsiteY90" fmla="*/ 611 h 10000"/>
                <a:gd name="connsiteX91" fmla="*/ 5333 w 10000"/>
                <a:gd name="connsiteY91" fmla="*/ 482 h 10000"/>
                <a:gd name="connsiteX92" fmla="*/ 5245 w 10000"/>
                <a:gd name="connsiteY92" fmla="*/ 482 h 10000"/>
                <a:gd name="connsiteX93" fmla="*/ 5201 w 10000"/>
                <a:gd name="connsiteY93" fmla="*/ 611 h 10000"/>
                <a:gd name="connsiteX94" fmla="*/ 4667 w 10000"/>
                <a:gd name="connsiteY94" fmla="*/ 611 h 10000"/>
                <a:gd name="connsiteX95" fmla="*/ 4134 w 10000"/>
                <a:gd name="connsiteY95" fmla="*/ 611 h 10000"/>
                <a:gd name="connsiteX96" fmla="*/ 3602 w 10000"/>
                <a:gd name="connsiteY96" fmla="*/ 611 h 10000"/>
                <a:gd name="connsiteX97" fmla="*/ 3067 w 10000"/>
                <a:gd name="connsiteY97" fmla="*/ 611 h 10000"/>
                <a:gd name="connsiteX98" fmla="*/ 2580 w 10000"/>
                <a:gd name="connsiteY98" fmla="*/ 611 h 10000"/>
                <a:gd name="connsiteX99" fmla="*/ 2046 w 10000"/>
                <a:gd name="connsiteY99" fmla="*/ 611 h 10000"/>
                <a:gd name="connsiteX100" fmla="*/ 1556 w 10000"/>
                <a:gd name="connsiteY100" fmla="*/ 611 h 10000"/>
                <a:gd name="connsiteX101" fmla="*/ 1024 w 10000"/>
                <a:gd name="connsiteY101" fmla="*/ 611 h 10000"/>
                <a:gd name="connsiteX102" fmla="*/ 1024 w 10000"/>
                <a:gd name="connsiteY102" fmla="*/ 1061 h 10000"/>
                <a:gd name="connsiteX103" fmla="*/ 1024 w 10000"/>
                <a:gd name="connsiteY103" fmla="*/ 1640 h 10000"/>
                <a:gd name="connsiteX104" fmla="*/ 356 w 10000"/>
                <a:gd name="connsiteY104" fmla="*/ 1640 h 10000"/>
                <a:gd name="connsiteX105" fmla="*/ 356 w 10000"/>
                <a:gd name="connsiteY105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334 w 10000"/>
                <a:gd name="connsiteY56" fmla="*/ 6367 h 10000"/>
                <a:gd name="connsiteX57" fmla="*/ 7600 w 10000"/>
                <a:gd name="connsiteY57" fmla="*/ 6270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7600 w 10000"/>
                <a:gd name="connsiteY57" fmla="*/ 6270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66 w 10000"/>
                <a:gd name="connsiteY60" fmla="*/ 4759 h 10000"/>
                <a:gd name="connsiteX61" fmla="*/ 8666 w 10000"/>
                <a:gd name="connsiteY61" fmla="*/ 4630 h 10000"/>
                <a:gd name="connsiteX62" fmla="*/ 8623 w 10000"/>
                <a:gd name="connsiteY62" fmla="*/ 4309 h 10000"/>
                <a:gd name="connsiteX63" fmla="*/ 9066 w 10000"/>
                <a:gd name="connsiteY63" fmla="*/ 3151 h 10000"/>
                <a:gd name="connsiteX64" fmla="*/ 9199 w 10000"/>
                <a:gd name="connsiteY64" fmla="*/ 3151 h 10000"/>
                <a:gd name="connsiteX65" fmla="*/ 9378 w 10000"/>
                <a:gd name="connsiteY65" fmla="*/ 3055 h 10000"/>
                <a:gd name="connsiteX66" fmla="*/ 9912 w 10000"/>
                <a:gd name="connsiteY66" fmla="*/ 2894 h 10000"/>
                <a:gd name="connsiteX67" fmla="*/ 10000 w 10000"/>
                <a:gd name="connsiteY67" fmla="*/ 2637 h 10000"/>
                <a:gd name="connsiteX68" fmla="*/ 9957 w 10000"/>
                <a:gd name="connsiteY68" fmla="*/ 2572 h 10000"/>
                <a:gd name="connsiteX69" fmla="*/ 9777 w 10000"/>
                <a:gd name="connsiteY69" fmla="*/ 2572 h 10000"/>
                <a:gd name="connsiteX70" fmla="*/ 9644 w 10000"/>
                <a:gd name="connsiteY70" fmla="*/ 2412 h 10000"/>
                <a:gd name="connsiteX71" fmla="*/ 9378 w 10000"/>
                <a:gd name="connsiteY71" fmla="*/ 2347 h 10000"/>
                <a:gd name="connsiteX72" fmla="*/ 9244 w 10000"/>
                <a:gd name="connsiteY72" fmla="*/ 2219 h 10000"/>
                <a:gd name="connsiteX73" fmla="*/ 9157 w 10000"/>
                <a:gd name="connsiteY73" fmla="*/ 1736 h 10000"/>
                <a:gd name="connsiteX74" fmla="*/ 9157 w 10000"/>
                <a:gd name="connsiteY74" fmla="*/ 1061 h 10000"/>
                <a:gd name="connsiteX75" fmla="*/ 8933 w 10000"/>
                <a:gd name="connsiteY75" fmla="*/ 836 h 10000"/>
                <a:gd name="connsiteX76" fmla="*/ 8889 w 10000"/>
                <a:gd name="connsiteY76" fmla="*/ 611 h 10000"/>
                <a:gd name="connsiteX77" fmla="*/ 8534 w 10000"/>
                <a:gd name="connsiteY77" fmla="*/ 289 h 10000"/>
                <a:gd name="connsiteX78" fmla="*/ 8222 w 10000"/>
                <a:gd name="connsiteY78" fmla="*/ 161 h 10000"/>
                <a:gd name="connsiteX79" fmla="*/ 8045 w 10000"/>
                <a:gd name="connsiteY79" fmla="*/ 0 h 10000"/>
                <a:gd name="connsiteX80" fmla="*/ 7779 w 10000"/>
                <a:gd name="connsiteY80" fmla="*/ 161 h 10000"/>
                <a:gd name="connsiteX81" fmla="*/ 7600 w 10000"/>
                <a:gd name="connsiteY81" fmla="*/ 129 h 10000"/>
                <a:gd name="connsiteX82" fmla="*/ 7466 w 10000"/>
                <a:gd name="connsiteY82" fmla="*/ 418 h 10000"/>
                <a:gd name="connsiteX83" fmla="*/ 7110 w 10000"/>
                <a:gd name="connsiteY83" fmla="*/ 482 h 10000"/>
                <a:gd name="connsiteX84" fmla="*/ 7023 w 10000"/>
                <a:gd name="connsiteY84" fmla="*/ 707 h 10000"/>
                <a:gd name="connsiteX85" fmla="*/ 6711 w 10000"/>
                <a:gd name="connsiteY85" fmla="*/ 707 h 10000"/>
                <a:gd name="connsiteX86" fmla="*/ 6445 w 10000"/>
                <a:gd name="connsiteY86" fmla="*/ 611 h 10000"/>
                <a:gd name="connsiteX87" fmla="*/ 5867 w 10000"/>
                <a:gd name="connsiteY87" fmla="*/ 611 h 10000"/>
                <a:gd name="connsiteX88" fmla="*/ 5289 w 10000"/>
                <a:gd name="connsiteY88" fmla="*/ 611 h 10000"/>
                <a:gd name="connsiteX89" fmla="*/ 5333 w 10000"/>
                <a:gd name="connsiteY89" fmla="*/ 482 h 10000"/>
                <a:gd name="connsiteX90" fmla="*/ 5245 w 10000"/>
                <a:gd name="connsiteY90" fmla="*/ 482 h 10000"/>
                <a:gd name="connsiteX91" fmla="*/ 5201 w 10000"/>
                <a:gd name="connsiteY91" fmla="*/ 611 h 10000"/>
                <a:gd name="connsiteX92" fmla="*/ 4667 w 10000"/>
                <a:gd name="connsiteY92" fmla="*/ 611 h 10000"/>
                <a:gd name="connsiteX93" fmla="*/ 4134 w 10000"/>
                <a:gd name="connsiteY93" fmla="*/ 611 h 10000"/>
                <a:gd name="connsiteX94" fmla="*/ 3602 w 10000"/>
                <a:gd name="connsiteY94" fmla="*/ 611 h 10000"/>
                <a:gd name="connsiteX95" fmla="*/ 3067 w 10000"/>
                <a:gd name="connsiteY95" fmla="*/ 611 h 10000"/>
                <a:gd name="connsiteX96" fmla="*/ 2580 w 10000"/>
                <a:gd name="connsiteY96" fmla="*/ 611 h 10000"/>
                <a:gd name="connsiteX97" fmla="*/ 2046 w 10000"/>
                <a:gd name="connsiteY97" fmla="*/ 611 h 10000"/>
                <a:gd name="connsiteX98" fmla="*/ 1556 w 10000"/>
                <a:gd name="connsiteY98" fmla="*/ 611 h 10000"/>
                <a:gd name="connsiteX99" fmla="*/ 1024 w 10000"/>
                <a:gd name="connsiteY99" fmla="*/ 611 h 10000"/>
                <a:gd name="connsiteX100" fmla="*/ 1024 w 10000"/>
                <a:gd name="connsiteY100" fmla="*/ 1061 h 10000"/>
                <a:gd name="connsiteX101" fmla="*/ 1024 w 10000"/>
                <a:gd name="connsiteY101" fmla="*/ 1640 h 10000"/>
                <a:gd name="connsiteX102" fmla="*/ 356 w 10000"/>
                <a:gd name="connsiteY102" fmla="*/ 1640 h 10000"/>
                <a:gd name="connsiteX103" fmla="*/ 356 w 10000"/>
                <a:gd name="connsiteY103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66 w 10000"/>
                <a:gd name="connsiteY60" fmla="*/ 4630 h 10000"/>
                <a:gd name="connsiteX61" fmla="*/ 8623 w 10000"/>
                <a:gd name="connsiteY61" fmla="*/ 4309 h 10000"/>
                <a:gd name="connsiteX62" fmla="*/ 9066 w 10000"/>
                <a:gd name="connsiteY62" fmla="*/ 3151 h 10000"/>
                <a:gd name="connsiteX63" fmla="*/ 9199 w 10000"/>
                <a:gd name="connsiteY63" fmla="*/ 3151 h 10000"/>
                <a:gd name="connsiteX64" fmla="*/ 9378 w 10000"/>
                <a:gd name="connsiteY64" fmla="*/ 3055 h 10000"/>
                <a:gd name="connsiteX65" fmla="*/ 9912 w 10000"/>
                <a:gd name="connsiteY65" fmla="*/ 2894 h 10000"/>
                <a:gd name="connsiteX66" fmla="*/ 10000 w 10000"/>
                <a:gd name="connsiteY66" fmla="*/ 2637 h 10000"/>
                <a:gd name="connsiteX67" fmla="*/ 9957 w 10000"/>
                <a:gd name="connsiteY67" fmla="*/ 2572 h 10000"/>
                <a:gd name="connsiteX68" fmla="*/ 9777 w 10000"/>
                <a:gd name="connsiteY68" fmla="*/ 2572 h 10000"/>
                <a:gd name="connsiteX69" fmla="*/ 9644 w 10000"/>
                <a:gd name="connsiteY69" fmla="*/ 2412 h 10000"/>
                <a:gd name="connsiteX70" fmla="*/ 9378 w 10000"/>
                <a:gd name="connsiteY70" fmla="*/ 2347 h 10000"/>
                <a:gd name="connsiteX71" fmla="*/ 9244 w 10000"/>
                <a:gd name="connsiteY71" fmla="*/ 2219 h 10000"/>
                <a:gd name="connsiteX72" fmla="*/ 9157 w 10000"/>
                <a:gd name="connsiteY72" fmla="*/ 1736 h 10000"/>
                <a:gd name="connsiteX73" fmla="*/ 9157 w 10000"/>
                <a:gd name="connsiteY73" fmla="*/ 1061 h 10000"/>
                <a:gd name="connsiteX74" fmla="*/ 8933 w 10000"/>
                <a:gd name="connsiteY74" fmla="*/ 836 h 10000"/>
                <a:gd name="connsiteX75" fmla="*/ 8889 w 10000"/>
                <a:gd name="connsiteY75" fmla="*/ 611 h 10000"/>
                <a:gd name="connsiteX76" fmla="*/ 8534 w 10000"/>
                <a:gd name="connsiteY76" fmla="*/ 289 h 10000"/>
                <a:gd name="connsiteX77" fmla="*/ 8222 w 10000"/>
                <a:gd name="connsiteY77" fmla="*/ 161 h 10000"/>
                <a:gd name="connsiteX78" fmla="*/ 8045 w 10000"/>
                <a:gd name="connsiteY78" fmla="*/ 0 h 10000"/>
                <a:gd name="connsiteX79" fmla="*/ 7779 w 10000"/>
                <a:gd name="connsiteY79" fmla="*/ 161 h 10000"/>
                <a:gd name="connsiteX80" fmla="*/ 7600 w 10000"/>
                <a:gd name="connsiteY80" fmla="*/ 129 h 10000"/>
                <a:gd name="connsiteX81" fmla="*/ 7466 w 10000"/>
                <a:gd name="connsiteY81" fmla="*/ 418 h 10000"/>
                <a:gd name="connsiteX82" fmla="*/ 7110 w 10000"/>
                <a:gd name="connsiteY82" fmla="*/ 482 h 10000"/>
                <a:gd name="connsiteX83" fmla="*/ 7023 w 10000"/>
                <a:gd name="connsiteY83" fmla="*/ 707 h 10000"/>
                <a:gd name="connsiteX84" fmla="*/ 6711 w 10000"/>
                <a:gd name="connsiteY84" fmla="*/ 707 h 10000"/>
                <a:gd name="connsiteX85" fmla="*/ 6445 w 10000"/>
                <a:gd name="connsiteY85" fmla="*/ 611 h 10000"/>
                <a:gd name="connsiteX86" fmla="*/ 5867 w 10000"/>
                <a:gd name="connsiteY86" fmla="*/ 611 h 10000"/>
                <a:gd name="connsiteX87" fmla="*/ 5289 w 10000"/>
                <a:gd name="connsiteY87" fmla="*/ 611 h 10000"/>
                <a:gd name="connsiteX88" fmla="*/ 5333 w 10000"/>
                <a:gd name="connsiteY88" fmla="*/ 482 h 10000"/>
                <a:gd name="connsiteX89" fmla="*/ 5245 w 10000"/>
                <a:gd name="connsiteY89" fmla="*/ 482 h 10000"/>
                <a:gd name="connsiteX90" fmla="*/ 5201 w 10000"/>
                <a:gd name="connsiteY90" fmla="*/ 611 h 10000"/>
                <a:gd name="connsiteX91" fmla="*/ 4667 w 10000"/>
                <a:gd name="connsiteY91" fmla="*/ 611 h 10000"/>
                <a:gd name="connsiteX92" fmla="*/ 4134 w 10000"/>
                <a:gd name="connsiteY92" fmla="*/ 611 h 10000"/>
                <a:gd name="connsiteX93" fmla="*/ 3602 w 10000"/>
                <a:gd name="connsiteY93" fmla="*/ 611 h 10000"/>
                <a:gd name="connsiteX94" fmla="*/ 3067 w 10000"/>
                <a:gd name="connsiteY94" fmla="*/ 611 h 10000"/>
                <a:gd name="connsiteX95" fmla="*/ 2580 w 10000"/>
                <a:gd name="connsiteY95" fmla="*/ 611 h 10000"/>
                <a:gd name="connsiteX96" fmla="*/ 2046 w 10000"/>
                <a:gd name="connsiteY96" fmla="*/ 611 h 10000"/>
                <a:gd name="connsiteX97" fmla="*/ 1556 w 10000"/>
                <a:gd name="connsiteY97" fmla="*/ 611 h 10000"/>
                <a:gd name="connsiteX98" fmla="*/ 1024 w 10000"/>
                <a:gd name="connsiteY98" fmla="*/ 611 h 10000"/>
                <a:gd name="connsiteX99" fmla="*/ 1024 w 10000"/>
                <a:gd name="connsiteY99" fmla="*/ 1061 h 10000"/>
                <a:gd name="connsiteX100" fmla="*/ 1024 w 10000"/>
                <a:gd name="connsiteY100" fmla="*/ 1640 h 10000"/>
                <a:gd name="connsiteX101" fmla="*/ 356 w 10000"/>
                <a:gd name="connsiteY101" fmla="*/ 1640 h 10000"/>
                <a:gd name="connsiteX102" fmla="*/ 356 w 10000"/>
                <a:gd name="connsiteY102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23 w 10000"/>
                <a:gd name="connsiteY60" fmla="*/ 4309 h 10000"/>
                <a:gd name="connsiteX61" fmla="*/ 9066 w 10000"/>
                <a:gd name="connsiteY61" fmla="*/ 3151 h 10000"/>
                <a:gd name="connsiteX62" fmla="*/ 9199 w 10000"/>
                <a:gd name="connsiteY62" fmla="*/ 3151 h 10000"/>
                <a:gd name="connsiteX63" fmla="*/ 9378 w 10000"/>
                <a:gd name="connsiteY63" fmla="*/ 3055 h 10000"/>
                <a:gd name="connsiteX64" fmla="*/ 9912 w 10000"/>
                <a:gd name="connsiteY64" fmla="*/ 2894 h 10000"/>
                <a:gd name="connsiteX65" fmla="*/ 10000 w 10000"/>
                <a:gd name="connsiteY65" fmla="*/ 2637 h 10000"/>
                <a:gd name="connsiteX66" fmla="*/ 9957 w 10000"/>
                <a:gd name="connsiteY66" fmla="*/ 2572 h 10000"/>
                <a:gd name="connsiteX67" fmla="*/ 9777 w 10000"/>
                <a:gd name="connsiteY67" fmla="*/ 2572 h 10000"/>
                <a:gd name="connsiteX68" fmla="*/ 9644 w 10000"/>
                <a:gd name="connsiteY68" fmla="*/ 2412 h 10000"/>
                <a:gd name="connsiteX69" fmla="*/ 9378 w 10000"/>
                <a:gd name="connsiteY69" fmla="*/ 2347 h 10000"/>
                <a:gd name="connsiteX70" fmla="*/ 9244 w 10000"/>
                <a:gd name="connsiteY70" fmla="*/ 2219 h 10000"/>
                <a:gd name="connsiteX71" fmla="*/ 9157 w 10000"/>
                <a:gd name="connsiteY71" fmla="*/ 1736 h 10000"/>
                <a:gd name="connsiteX72" fmla="*/ 9157 w 10000"/>
                <a:gd name="connsiteY72" fmla="*/ 1061 h 10000"/>
                <a:gd name="connsiteX73" fmla="*/ 8933 w 10000"/>
                <a:gd name="connsiteY73" fmla="*/ 836 h 10000"/>
                <a:gd name="connsiteX74" fmla="*/ 8889 w 10000"/>
                <a:gd name="connsiteY74" fmla="*/ 611 h 10000"/>
                <a:gd name="connsiteX75" fmla="*/ 8534 w 10000"/>
                <a:gd name="connsiteY75" fmla="*/ 289 h 10000"/>
                <a:gd name="connsiteX76" fmla="*/ 8222 w 10000"/>
                <a:gd name="connsiteY76" fmla="*/ 161 h 10000"/>
                <a:gd name="connsiteX77" fmla="*/ 8045 w 10000"/>
                <a:gd name="connsiteY77" fmla="*/ 0 h 10000"/>
                <a:gd name="connsiteX78" fmla="*/ 7779 w 10000"/>
                <a:gd name="connsiteY78" fmla="*/ 161 h 10000"/>
                <a:gd name="connsiteX79" fmla="*/ 7600 w 10000"/>
                <a:gd name="connsiteY79" fmla="*/ 129 h 10000"/>
                <a:gd name="connsiteX80" fmla="*/ 7466 w 10000"/>
                <a:gd name="connsiteY80" fmla="*/ 418 h 10000"/>
                <a:gd name="connsiteX81" fmla="*/ 7110 w 10000"/>
                <a:gd name="connsiteY81" fmla="*/ 482 h 10000"/>
                <a:gd name="connsiteX82" fmla="*/ 7023 w 10000"/>
                <a:gd name="connsiteY82" fmla="*/ 707 h 10000"/>
                <a:gd name="connsiteX83" fmla="*/ 6711 w 10000"/>
                <a:gd name="connsiteY83" fmla="*/ 707 h 10000"/>
                <a:gd name="connsiteX84" fmla="*/ 6445 w 10000"/>
                <a:gd name="connsiteY84" fmla="*/ 611 h 10000"/>
                <a:gd name="connsiteX85" fmla="*/ 5867 w 10000"/>
                <a:gd name="connsiteY85" fmla="*/ 611 h 10000"/>
                <a:gd name="connsiteX86" fmla="*/ 5289 w 10000"/>
                <a:gd name="connsiteY86" fmla="*/ 611 h 10000"/>
                <a:gd name="connsiteX87" fmla="*/ 5333 w 10000"/>
                <a:gd name="connsiteY87" fmla="*/ 482 h 10000"/>
                <a:gd name="connsiteX88" fmla="*/ 5245 w 10000"/>
                <a:gd name="connsiteY88" fmla="*/ 482 h 10000"/>
                <a:gd name="connsiteX89" fmla="*/ 5201 w 10000"/>
                <a:gd name="connsiteY89" fmla="*/ 611 h 10000"/>
                <a:gd name="connsiteX90" fmla="*/ 4667 w 10000"/>
                <a:gd name="connsiteY90" fmla="*/ 611 h 10000"/>
                <a:gd name="connsiteX91" fmla="*/ 4134 w 10000"/>
                <a:gd name="connsiteY91" fmla="*/ 611 h 10000"/>
                <a:gd name="connsiteX92" fmla="*/ 3602 w 10000"/>
                <a:gd name="connsiteY92" fmla="*/ 611 h 10000"/>
                <a:gd name="connsiteX93" fmla="*/ 3067 w 10000"/>
                <a:gd name="connsiteY93" fmla="*/ 611 h 10000"/>
                <a:gd name="connsiteX94" fmla="*/ 2580 w 10000"/>
                <a:gd name="connsiteY94" fmla="*/ 611 h 10000"/>
                <a:gd name="connsiteX95" fmla="*/ 2046 w 10000"/>
                <a:gd name="connsiteY95" fmla="*/ 611 h 10000"/>
                <a:gd name="connsiteX96" fmla="*/ 1556 w 10000"/>
                <a:gd name="connsiteY96" fmla="*/ 611 h 10000"/>
                <a:gd name="connsiteX97" fmla="*/ 1024 w 10000"/>
                <a:gd name="connsiteY97" fmla="*/ 611 h 10000"/>
                <a:gd name="connsiteX98" fmla="*/ 1024 w 10000"/>
                <a:gd name="connsiteY98" fmla="*/ 1061 h 10000"/>
                <a:gd name="connsiteX99" fmla="*/ 1024 w 10000"/>
                <a:gd name="connsiteY99" fmla="*/ 1640 h 10000"/>
                <a:gd name="connsiteX100" fmla="*/ 356 w 10000"/>
                <a:gd name="connsiteY100" fmla="*/ 1640 h 10000"/>
                <a:gd name="connsiteX101" fmla="*/ 356 w 10000"/>
                <a:gd name="connsiteY101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066 w 10000"/>
                <a:gd name="connsiteY61" fmla="*/ 3151 h 10000"/>
                <a:gd name="connsiteX62" fmla="*/ 9199 w 10000"/>
                <a:gd name="connsiteY62" fmla="*/ 3151 h 10000"/>
                <a:gd name="connsiteX63" fmla="*/ 9378 w 10000"/>
                <a:gd name="connsiteY63" fmla="*/ 3055 h 10000"/>
                <a:gd name="connsiteX64" fmla="*/ 9912 w 10000"/>
                <a:gd name="connsiteY64" fmla="*/ 2894 h 10000"/>
                <a:gd name="connsiteX65" fmla="*/ 10000 w 10000"/>
                <a:gd name="connsiteY65" fmla="*/ 2637 h 10000"/>
                <a:gd name="connsiteX66" fmla="*/ 9957 w 10000"/>
                <a:gd name="connsiteY66" fmla="*/ 2572 h 10000"/>
                <a:gd name="connsiteX67" fmla="*/ 9777 w 10000"/>
                <a:gd name="connsiteY67" fmla="*/ 2572 h 10000"/>
                <a:gd name="connsiteX68" fmla="*/ 9644 w 10000"/>
                <a:gd name="connsiteY68" fmla="*/ 2412 h 10000"/>
                <a:gd name="connsiteX69" fmla="*/ 9378 w 10000"/>
                <a:gd name="connsiteY69" fmla="*/ 2347 h 10000"/>
                <a:gd name="connsiteX70" fmla="*/ 9244 w 10000"/>
                <a:gd name="connsiteY70" fmla="*/ 2219 h 10000"/>
                <a:gd name="connsiteX71" fmla="*/ 9157 w 10000"/>
                <a:gd name="connsiteY71" fmla="*/ 1736 h 10000"/>
                <a:gd name="connsiteX72" fmla="*/ 9157 w 10000"/>
                <a:gd name="connsiteY72" fmla="*/ 1061 h 10000"/>
                <a:gd name="connsiteX73" fmla="*/ 8933 w 10000"/>
                <a:gd name="connsiteY73" fmla="*/ 836 h 10000"/>
                <a:gd name="connsiteX74" fmla="*/ 8889 w 10000"/>
                <a:gd name="connsiteY74" fmla="*/ 611 h 10000"/>
                <a:gd name="connsiteX75" fmla="*/ 8534 w 10000"/>
                <a:gd name="connsiteY75" fmla="*/ 289 h 10000"/>
                <a:gd name="connsiteX76" fmla="*/ 8222 w 10000"/>
                <a:gd name="connsiteY76" fmla="*/ 161 h 10000"/>
                <a:gd name="connsiteX77" fmla="*/ 8045 w 10000"/>
                <a:gd name="connsiteY77" fmla="*/ 0 h 10000"/>
                <a:gd name="connsiteX78" fmla="*/ 7779 w 10000"/>
                <a:gd name="connsiteY78" fmla="*/ 161 h 10000"/>
                <a:gd name="connsiteX79" fmla="*/ 7600 w 10000"/>
                <a:gd name="connsiteY79" fmla="*/ 129 h 10000"/>
                <a:gd name="connsiteX80" fmla="*/ 7466 w 10000"/>
                <a:gd name="connsiteY80" fmla="*/ 418 h 10000"/>
                <a:gd name="connsiteX81" fmla="*/ 7110 w 10000"/>
                <a:gd name="connsiteY81" fmla="*/ 482 h 10000"/>
                <a:gd name="connsiteX82" fmla="*/ 7023 w 10000"/>
                <a:gd name="connsiteY82" fmla="*/ 707 h 10000"/>
                <a:gd name="connsiteX83" fmla="*/ 6711 w 10000"/>
                <a:gd name="connsiteY83" fmla="*/ 707 h 10000"/>
                <a:gd name="connsiteX84" fmla="*/ 6445 w 10000"/>
                <a:gd name="connsiteY84" fmla="*/ 611 h 10000"/>
                <a:gd name="connsiteX85" fmla="*/ 5867 w 10000"/>
                <a:gd name="connsiteY85" fmla="*/ 611 h 10000"/>
                <a:gd name="connsiteX86" fmla="*/ 5289 w 10000"/>
                <a:gd name="connsiteY86" fmla="*/ 611 h 10000"/>
                <a:gd name="connsiteX87" fmla="*/ 5333 w 10000"/>
                <a:gd name="connsiteY87" fmla="*/ 482 h 10000"/>
                <a:gd name="connsiteX88" fmla="*/ 5245 w 10000"/>
                <a:gd name="connsiteY88" fmla="*/ 482 h 10000"/>
                <a:gd name="connsiteX89" fmla="*/ 5201 w 10000"/>
                <a:gd name="connsiteY89" fmla="*/ 611 h 10000"/>
                <a:gd name="connsiteX90" fmla="*/ 4667 w 10000"/>
                <a:gd name="connsiteY90" fmla="*/ 611 h 10000"/>
                <a:gd name="connsiteX91" fmla="*/ 4134 w 10000"/>
                <a:gd name="connsiteY91" fmla="*/ 611 h 10000"/>
                <a:gd name="connsiteX92" fmla="*/ 3602 w 10000"/>
                <a:gd name="connsiteY92" fmla="*/ 611 h 10000"/>
                <a:gd name="connsiteX93" fmla="*/ 3067 w 10000"/>
                <a:gd name="connsiteY93" fmla="*/ 611 h 10000"/>
                <a:gd name="connsiteX94" fmla="*/ 2580 w 10000"/>
                <a:gd name="connsiteY94" fmla="*/ 611 h 10000"/>
                <a:gd name="connsiteX95" fmla="*/ 2046 w 10000"/>
                <a:gd name="connsiteY95" fmla="*/ 611 h 10000"/>
                <a:gd name="connsiteX96" fmla="*/ 1556 w 10000"/>
                <a:gd name="connsiteY96" fmla="*/ 611 h 10000"/>
                <a:gd name="connsiteX97" fmla="*/ 1024 w 10000"/>
                <a:gd name="connsiteY97" fmla="*/ 611 h 10000"/>
                <a:gd name="connsiteX98" fmla="*/ 1024 w 10000"/>
                <a:gd name="connsiteY98" fmla="*/ 1061 h 10000"/>
                <a:gd name="connsiteX99" fmla="*/ 1024 w 10000"/>
                <a:gd name="connsiteY99" fmla="*/ 1640 h 10000"/>
                <a:gd name="connsiteX100" fmla="*/ 356 w 10000"/>
                <a:gd name="connsiteY100" fmla="*/ 1640 h 10000"/>
                <a:gd name="connsiteX101" fmla="*/ 356 w 10000"/>
                <a:gd name="connsiteY101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199 w 10000"/>
                <a:gd name="connsiteY61" fmla="*/ 3151 h 10000"/>
                <a:gd name="connsiteX62" fmla="*/ 9378 w 10000"/>
                <a:gd name="connsiteY62" fmla="*/ 3055 h 10000"/>
                <a:gd name="connsiteX63" fmla="*/ 9912 w 10000"/>
                <a:gd name="connsiteY63" fmla="*/ 2894 h 10000"/>
                <a:gd name="connsiteX64" fmla="*/ 10000 w 10000"/>
                <a:gd name="connsiteY64" fmla="*/ 2637 h 10000"/>
                <a:gd name="connsiteX65" fmla="*/ 9957 w 10000"/>
                <a:gd name="connsiteY65" fmla="*/ 2572 h 10000"/>
                <a:gd name="connsiteX66" fmla="*/ 9777 w 10000"/>
                <a:gd name="connsiteY66" fmla="*/ 2572 h 10000"/>
                <a:gd name="connsiteX67" fmla="*/ 9644 w 10000"/>
                <a:gd name="connsiteY67" fmla="*/ 2412 h 10000"/>
                <a:gd name="connsiteX68" fmla="*/ 9378 w 10000"/>
                <a:gd name="connsiteY68" fmla="*/ 2347 h 10000"/>
                <a:gd name="connsiteX69" fmla="*/ 9244 w 10000"/>
                <a:gd name="connsiteY69" fmla="*/ 2219 h 10000"/>
                <a:gd name="connsiteX70" fmla="*/ 9157 w 10000"/>
                <a:gd name="connsiteY70" fmla="*/ 1736 h 10000"/>
                <a:gd name="connsiteX71" fmla="*/ 9157 w 10000"/>
                <a:gd name="connsiteY71" fmla="*/ 1061 h 10000"/>
                <a:gd name="connsiteX72" fmla="*/ 8933 w 10000"/>
                <a:gd name="connsiteY72" fmla="*/ 836 h 10000"/>
                <a:gd name="connsiteX73" fmla="*/ 8889 w 10000"/>
                <a:gd name="connsiteY73" fmla="*/ 611 h 10000"/>
                <a:gd name="connsiteX74" fmla="*/ 8534 w 10000"/>
                <a:gd name="connsiteY74" fmla="*/ 289 h 10000"/>
                <a:gd name="connsiteX75" fmla="*/ 8222 w 10000"/>
                <a:gd name="connsiteY75" fmla="*/ 161 h 10000"/>
                <a:gd name="connsiteX76" fmla="*/ 8045 w 10000"/>
                <a:gd name="connsiteY76" fmla="*/ 0 h 10000"/>
                <a:gd name="connsiteX77" fmla="*/ 7779 w 10000"/>
                <a:gd name="connsiteY77" fmla="*/ 161 h 10000"/>
                <a:gd name="connsiteX78" fmla="*/ 7600 w 10000"/>
                <a:gd name="connsiteY78" fmla="*/ 129 h 10000"/>
                <a:gd name="connsiteX79" fmla="*/ 7466 w 10000"/>
                <a:gd name="connsiteY79" fmla="*/ 418 h 10000"/>
                <a:gd name="connsiteX80" fmla="*/ 7110 w 10000"/>
                <a:gd name="connsiteY80" fmla="*/ 482 h 10000"/>
                <a:gd name="connsiteX81" fmla="*/ 7023 w 10000"/>
                <a:gd name="connsiteY81" fmla="*/ 707 h 10000"/>
                <a:gd name="connsiteX82" fmla="*/ 6711 w 10000"/>
                <a:gd name="connsiteY82" fmla="*/ 707 h 10000"/>
                <a:gd name="connsiteX83" fmla="*/ 6445 w 10000"/>
                <a:gd name="connsiteY83" fmla="*/ 611 h 10000"/>
                <a:gd name="connsiteX84" fmla="*/ 5867 w 10000"/>
                <a:gd name="connsiteY84" fmla="*/ 611 h 10000"/>
                <a:gd name="connsiteX85" fmla="*/ 5289 w 10000"/>
                <a:gd name="connsiteY85" fmla="*/ 611 h 10000"/>
                <a:gd name="connsiteX86" fmla="*/ 5333 w 10000"/>
                <a:gd name="connsiteY86" fmla="*/ 482 h 10000"/>
                <a:gd name="connsiteX87" fmla="*/ 5245 w 10000"/>
                <a:gd name="connsiteY87" fmla="*/ 482 h 10000"/>
                <a:gd name="connsiteX88" fmla="*/ 5201 w 10000"/>
                <a:gd name="connsiteY88" fmla="*/ 611 h 10000"/>
                <a:gd name="connsiteX89" fmla="*/ 4667 w 10000"/>
                <a:gd name="connsiteY89" fmla="*/ 611 h 10000"/>
                <a:gd name="connsiteX90" fmla="*/ 4134 w 10000"/>
                <a:gd name="connsiteY90" fmla="*/ 611 h 10000"/>
                <a:gd name="connsiteX91" fmla="*/ 3602 w 10000"/>
                <a:gd name="connsiteY91" fmla="*/ 611 h 10000"/>
                <a:gd name="connsiteX92" fmla="*/ 3067 w 10000"/>
                <a:gd name="connsiteY92" fmla="*/ 611 h 10000"/>
                <a:gd name="connsiteX93" fmla="*/ 2580 w 10000"/>
                <a:gd name="connsiteY93" fmla="*/ 611 h 10000"/>
                <a:gd name="connsiteX94" fmla="*/ 2046 w 10000"/>
                <a:gd name="connsiteY94" fmla="*/ 611 h 10000"/>
                <a:gd name="connsiteX95" fmla="*/ 1556 w 10000"/>
                <a:gd name="connsiteY95" fmla="*/ 611 h 10000"/>
                <a:gd name="connsiteX96" fmla="*/ 1024 w 10000"/>
                <a:gd name="connsiteY96" fmla="*/ 611 h 10000"/>
                <a:gd name="connsiteX97" fmla="*/ 1024 w 10000"/>
                <a:gd name="connsiteY97" fmla="*/ 1061 h 10000"/>
                <a:gd name="connsiteX98" fmla="*/ 1024 w 10000"/>
                <a:gd name="connsiteY98" fmla="*/ 1640 h 10000"/>
                <a:gd name="connsiteX99" fmla="*/ 356 w 10000"/>
                <a:gd name="connsiteY99" fmla="*/ 1640 h 10000"/>
                <a:gd name="connsiteX100" fmla="*/ 356 w 10000"/>
                <a:gd name="connsiteY100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378 w 10000"/>
                <a:gd name="connsiteY61" fmla="*/ 3055 h 10000"/>
                <a:gd name="connsiteX62" fmla="*/ 9912 w 10000"/>
                <a:gd name="connsiteY62" fmla="*/ 2894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6093 w 10000"/>
                <a:gd name="connsiteY61" fmla="*/ 6462 h 10000"/>
                <a:gd name="connsiteX62" fmla="*/ 9912 w 10000"/>
                <a:gd name="connsiteY62" fmla="*/ 2894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6093 w 10000"/>
                <a:gd name="connsiteY61" fmla="*/ 6462 h 10000"/>
                <a:gd name="connsiteX62" fmla="*/ 5751 w 10000"/>
                <a:gd name="connsiteY62" fmla="*/ 6670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9957"/>
                <a:gd name="connsiteY0" fmla="*/ 1897 h 10000"/>
                <a:gd name="connsiteX1" fmla="*/ 5520 w 9957"/>
                <a:gd name="connsiteY1" fmla="*/ 6915 h 10000"/>
                <a:gd name="connsiteX2" fmla="*/ 5155 w 9957"/>
                <a:gd name="connsiteY2" fmla="*/ 7114 h 10000"/>
                <a:gd name="connsiteX3" fmla="*/ 4848 w 9957"/>
                <a:gd name="connsiteY3" fmla="*/ 6907 h 10000"/>
                <a:gd name="connsiteX4" fmla="*/ 4403 w 9957"/>
                <a:gd name="connsiteY4" fmla="*/ 6781 h 10000"/>
                <a:gd name="connsiteX5" fmla="*/ 4182 w 9957"/>
                <a:gd name="connsiteY5" fmla="*/ 7064 h 10000"/>
                <a:gd name="connsiteX6" fmla="*/ 3635 w 9957"/>
                <a:gd name="connsiteY6" fmla="*/ 7281 h 10000"/>
                <a:gd name="connsiteX7" fmla="*/ 3284 w 9957"/>
                <a:gd name="connsiteY7" fmla="*/ 7279 h 10000"/>
                <a:gd name="connsiteX8" fmla="*/ 2517 w 9957"/>
                <a:gd name="connsiteY8" fmla="*/ 7095 h 10000"/>
                <a:gd name="connsiteX9" fmla="*/ 2312 w 9957"/>
                <a:gd name="connsiteY9" fmla="*/ 7195 h 10000"/>
                <a:gd name="connsiteX10" fmla="*/ 1800 w 9957"/>
                <a:gd name="connsiteY10" fmla="*/ 6973 h 10000"/>
                <a:gd name="connsiteX11" fmla="*/ 1574 w 9957"/>
                <a:gd name="connsiteY11" fmla="*/ 6638 h 10000"/>
                <a:gd name="connsiteX12" fmla="*/ 1198 w 9957"/>
                <a:gd name="connsiteY12" fmla="*/ 6729 h 10000"/>
                <a:gd name="connsiteX13" fmla="*/ 1096 w 9957"/>
                <a:gd name="connsiteY13" fmla="*/ 6927 h 10000"/>
                <a:gd name="connsiteX14" fmla="*/ 698 w 9957"/>
                <a:gd name="connsiteY14" fmla="*/ 7011 h 10000"/>
                <a:gd name="connsiteX15" fmla="*/ 436 w 9957"/>
                <a:gd name="connsiteY15" fmla="*/ 7004 h 10000"/>
                <a:gd name="connsiteX16" fmla="*/ 292 w 9957"/>
                <a:gd name="connsiteY16" fmla="*/ 7161 h 10000"/>
                <a:gd name="connsiteX17" fmla="*/ 47 w 9957"/>
                <a:gd name="connsiteY17" fmla="*/ 6913 h 10000"/>
                <a:gd name="connsiteX18" fmla="*/ 0 w 9957"/>
                <a:gd name="connsiteY18" fmla="*/ 7363 h 10000"/>
                <a:gd name="connsiteX19" fmla="*/ 89 w 9957"/>
                <a:gd name="connsiteY19" fmla="*/ 7428 h 10000"/>
                <a:gd name="connsiteX20" fmla="*/ 446 w 9957"/>
                <a:gd name="connsiteY20" fmla="*/ 7460 h 10000"/>
                <a:gd name="connsiteX21" fmla="*/ 491 w 9957"/>
                <a:gd name="connsiteY21" fmla="*/ 7588 h 10000"/>
                <a:gd name="connsiteX22" fmla="*/ 890 w 9957"/>
                <a:gd name="connsiteY22" fmla="*/ 7621 h 10000"/>
                <a:gd name="connsiteX23" fmla="*/ 1112 w 9957"/>
                <a:gd name="connsiteY23" fmla="*/ 7749 h 10000"/>
                <a:gd name="connsiteX24" fmla="*/ 1156 w 9957"/>
                <a:gd name="connsiteY24" fmla="*/ 7974 h 10000"/>
                <a:gd name="connsiteX25" fmla="*/ 1869 w 9957"/>
                <a:gd name="connsiteY25" fmla="*/ 8360 h 10000"/>
                <a:gd name="connsiteX26" fmla="*/ 2046 w 9957"/>
                <a:gd name="connsiteY26" fmla="*/ 8746 h 10000"/>
                <a:gd name="connsiteX27" fmla="*/ 2534 w 9957"/>
                <a:gd name="connsiteY27" fmla="*/ 8939 h 10000"/>
                <a:gd name="connsiteX28" fmla="*/ 2712 w 9957"/>
                <a:gd name="connsiteY28" fmla="*/ 9196 h 10000"/>
                <a:gd name="connsiteX29" fmla="*/ 3067 w 9957"/>
                <a:gd name="connsiteY29" fmla="*/ 9518 h 10000"/>
                <a:gd name="connsiteX30" fmla="*/ 3335 w 9957"/>
                <a:gd name="connsiteY30" fmla="*/ 9614 h 10000"/>
                <a:gd name="connsiteX31" fmla="*/ 3513 w 9957"/>
                <a:gd name="connsiteY31" fmla="*/ 9518 h 10000"/>
                <a:gd name="connsiteX32" fmla="*/ 3957 w 9957"/>
                <a:gd name="connsiteY32" fmla="*/ 9550 h 10000"/>
                <a:gd name="connsiteX33" fmla="*/ 4134 w 9957"/>
                <a:gd name="connsiteY33" fmla="*/ 9486 h 10000"/>
                <a:gd name="connsiteX34" fmla="*/ 4934 w 9957"/>
                <a:gd name="connsiteY34" fmla="*/ 9968 h 10000"/>
                <a:gd name="connsiteX35" fmla="*/ 4979 w 9957"/>
                <a:gd name="connsiteY35" fmla="*/ 9968 h 10000"/>
                <a:gd name="connsiteX36" fmla="*/ 5067 w 9957"/>
                <a:gd name="connsiteY36" fmla="*/ 9904 h 10000"/>
                <a:gd name="connsiteX37" fmla="*/ 5643 w 9957"/>
                <a:gd name="connsiteY37" fmla="*/ 9904 h 10000"/>
                <a:gd name="connsiteX38" fmla="*/ 5734 w 9957"/>
                <a:gd name="connsiteY38" fmla="*/ 10000 h 10000"/>
                <a:gd name="connsiteX39" fmla="*/ 6223 w 9957"/>
                <a:gd name="connsiteY39" fmla="*/ 9871 h 10000"/>
                <a:gd name="connsiteX40" fmla="*/ 6666 w 9957"/>
                <a:gd name="connsiteY40" fmla="*/ 9871 h 10000"/>
                <a:gd name="connsiteX41" fmla="*/ 6978 w 9957"/>
                <a:gd name="connsiteY41" fmla="*/ 9743 h 10000"/>
                <a:gd name="connsiteX42" fmla="*/ 7334 w 9957"/>
                <a:gd name="connsiteY42" fmla="*/ 9486 h 10000"/>
                <a:gd name="connsiteX43" fmla="*/ 8267 w 9957"/>
                <a:gd name="connsiteY43" fmla="*/ 9486 h 10000"/>
                <a:gd name="connsiteX44" fmla="*/ 8267 w 9957"/>
                <a:gd name="connsiteY44" fmla="*/ 9132 h 10000"/>
                <a:gd name="connsiteX45" fmla="*/ 7779 w 9957"/>
                <a:gd name="connsiteY45" fmla="*/ 8971 h 10000"/>
                <a:gd name="connsiteX46" fmla="*/ 7512 w 9957"/>
                <a:gd name="connsiteY46" fmla="*/ 8457 h 10000"/>
                <a:gd name="connsiteX47" fmla="*/ 7157 w 9957"/>
                <a:gd name="connsiteY47" fmla="*/ 8264 h 10000"/>
                <a:gd name="connsiteX48" fmla="*/ 6933 w 9957"/>
                <a:gd name="connsiteY48" fmla="*/ 8006 h 10000"/>
                <a:gd name="connsiteX49" fmla="*/ 6356 w 9957"/>
                <a:gd name="connsiteY49" fmla="*/ 7814 h 10000"/>
                <a:gd name="connsiteX50" fmla="*/ 6489 w 9957"/>
                <a:gd name="connsiteY50" fmla="*/ 7749 h 10000"/>
                <a:gd name="connsiteX51" fmla="*/ 6489 w 9957"/>
                <a:gd name="connsiteY51" fmla="*/ 7588 h 10000"/>
                <a:gd name="connsiteX52" fmla="*/ 6890 w 9957"/>
                <a:gd name="connsiteY52" fmla="*/ 7588 h 10000"/>
                <a:gd name="connsiteX53" fmla="*/ 7110 w 9957"/>
                <a:gd name="connsiteY53" fmla="*/ 7460 h 10000"/>
                <a:gd name="connsiteX54" fmla="*/ 7157 w 9957"/>
                <a:gd name="connsiteY54" fmla="*/ 6527 h 10000"/>
                <a:gd name="connsiteX55" fmla="*/ 7200 w 9957"/>
                <a:gd name="connsiteY55" fmla="*/ 6559 h 10000"/>
                <a:gd name="connsiteX56" fmla="*/ 7042 w 9957"/>
                <a:gd name="connsiteY56" fmla="*/ 6618 h 10000"/>
                <a:gd name="connsiteX57" fmla="*/ 6980 w 9957"/>
                <a:gd name="connsiteY57" fmla="*/ 6745 h 10000"/>
                <a:gd name="connsiteX58" fmla="*/ 6583 w 9957"/>
                <a:gd name="connsiteY58" fmla="*/ 6497 h 10000"/>
                <a:gd name="connsiteX59" fmla="*/ 6511 w 9957"/>
                <a:gd name="connsiteY59" fmla="*/ 5828 h 10000"/>
                <a:gd name="connsiteX60" fmla="*/ 6086 w 9957"/>
                <a:gd name="connsiteY60" fmla="*/ 6118 h 10000"/>
                <a:gd name="connsiteX61" fmla="*/ 6093 w 9957"/>
                <a:gd name="connsiteY61" fmla="*/ 6462 h 10000"/>
                <a:gd name="connsiteX62" fmla="*/ 5751 w 9957"/>
                <a:gd name="connsiteY62" fmla="*/ 6670 h 10000"/>
                <a:gd name="connsiteX63" fmla="*/ 9957 w 9957"/>
                <a:gd name="connsiteY63" fmla="*/ 2572 h 10000"/>
                <a:gd name="connsiteX64" fmla="*/ 9777 w 9957"/>
                <a:gd name="connsiteY64" fmla="*/ 2572 h 10000"/>
                <a:gd name="connsiteX65" fmla="*/ 9644 w 9957"/>
                <a:gd name="connsiteY65" fmla="*/ 2412 h 10000"/>
                <a:gd name="connsiteX66" fmla="*/ 9378 w 9957"/>
                <a:gd name="connsiteY66" fmla="*/ 2347 h 10000"/>
                <a:gd name="connsiteX67" fmla="*/ 9244 w 9957"/>
                <a:gd name="connsiteY67" fmla="*/ 2219 h 10000"/>
                <a:gd name="connsiteX68" fmla="*/ 9157 w 9957"/>
                <a:gd name="connsiteY68" fmla="*/ 1736 h 10000"/>
                <a:gd name="connsiteX69" fmla="*/ 9157 w 9957"/>
                <a:gd name="connsiteY69" fmla="*/ 1061 h 10000"/>
                <a:gd name="connsiteX70" fmla="*/ 8933 w 9957"/>
                <a:gd name="connsiteY70" fmla="*/ 836 h 10000"/>
                <a:gd name="connsiteX71" fmla="*/ 8889 w 9957"/>
                <a:gd name="connsiteY71" fmla="*/ 611 h 10000"/>
                <a:gd name="connsiteX72" fmla="*/ 8534 w 9957"/>
                <a:gd name="connsiteY72" fmla="*/ 289 h 10000"/>
                <a:gd name="connsiteX73" fmla="*/ 8222 w 9957"/>
                <a:gd name="connsiteY73" fmla="*/ 161 h 10000"/>
                <a:gd name="connsiteX74" fmla="*/ 8045 w 9957"/>
                <a:gd name="connsiteY74" fmla="*/ 0 h 10000"/>
                <a:gd name="connsiteX75" fmla="*/ 7779 w 9957"/>
                <a:gd name="connsiteY75" fmla="*/ 161 h 10000"/>
                <a:gd name="connsiteX76" fmla="*/ 7600 w 9957"/>
                <a:gd name="connsiteY76" fmla="*/ 129 h 10000"/>
                <a:gd name="connsiteX77" fmla="*/ 7466 w 9957"/>
                <a:gd name="connsiteY77" fmla="*/ 418 h 10000"/>
                <a:gd name="connsiteX78" fmla="*/ 7110 w 9957"/>
                <a:gd name="connsiteY78" fmla="*/ 482 h 10000"/>
                <a:gd name="connsiteX79" fmla="*/ 7023 w 9957"/>
                <a:gd name="connsiteY79" fmla="*/ 707 h 10000"/>
                <a:gd name="connsiteX80" fmla="*/ 6711 w 9957"/>
                <a:gd name="connsiteY80" fmla="*/ 707 h 10000"/>
                <a:gd name="connsiteX81" fmla="*/ 6445 w 9957"/>
                <a:gd name="connsiteY81" fmla="*/ 611 h 10000"/>
                <a:gd name="connsiteX82" fmla="*/ 5867 w 9957"/>
                <a:gd name="connsiteY82" fmla="*/ 611 h 10000"/>
                <a:gd name="connsiteX83" fmla="*/ 5289 w 9957"/>
                <a:gd name="connsiteY83" fmla="*/ 611 h 10000"/>
                <a:gd name="connsiteX84" fmla="*/ 5333 w 9957"/>
                <a:gd name="connsiteY84" fmla="*/ 482 h 10000"/>
                <a:gd name="connsiteX85" fmla="*/ 5245 w 9957"/>
                <a:gd name="connsiteY85" fmla="*/ 482 h 10000"/>
                <a:gd name="connsiteX86" fmla="*/ 5201 w 9957"/>
                <a:gd name="connsiteY86" fmla="*/ 611 h 10000"/>
                <a:gd name="connsiteX87" fmla="*/ 4667 w 9957"/>
                <a:gd name="connsiteY87" fmla="*/ 611 h 10000"/>
                <a:gd name="connsiteX88" fmla="*/ 4134 w 9957"/>
                <a:gd name="connsiteY88" fmla="*/ 611 h 10000"/>
                <a:gd name="connsiteX89" fmla="*/ 3602 w 9957"/>
                <a:gd name="connsiteY89" fmla="*/ 611 h 10000"/>
                <a:gd name="connsiteX90" fmla="*/ 3067 w 9957"/>
                <a:gd name="connsiteY90" fmla="*/ 611 h 10000"/>
                <a:gd name="connsiteX91" fmla="*/ 2580 w 9957"/>
                <a:gd name="connsiteY91" fmla="*/ 611 h 10000"/>
                <a:gd name="connsiteX92" fmla="*/ 2046 w 9957"/>
                <a:gd name="connsiteY92" fmla="*/ 611 h 10000"/>
                <a:gd name="connsiteX93" fmla="*/ 1556 w 9957"/>
                <a:gd name="connsiteY93" fmla="*/ 611 h 10000"/>
                <a:gd name="connsiteX94" fmla="*/ 1024 w 9957"/>
                <a:gd name="connsiteY94" fmla="*/ 611 h 10000"/>
                <a:gd name="connsiteX95" fmla="*/ 1024 w 9957"/>
                <a:gd name="connsiteY95" fmla="*/ 1061 h 10000"/>
                <a:gd name="connsiteX96" fmla="*/ 1024 w 9957"/>
                <a:gd name="connsiteY96" fmla="*/ 1640 h 10000"/>
                <a:gd name="connsiteX97" fmla="*/ 356 w 9957"/>
                <a:gd name="connsiteY97" fmla="*/ 1640 h 10000"/>
                <a:gd name="connsiteX98" fmla="*/ 356 w 9957"/>
                <a:gd name="connsiteY98" fmla="*/ 1897 h 10000"/>
                <a:gd name="connsiteX0" fmla="*/ 358 w 9819"/>
                <a:gd name="connsiteY0" fmla="*/ 1897 h 10000"/>
                <a:gd name="connsiteX1" fmla="*/ 5544 w 9819"/>
                <a:gd name="connsiteY1" fmla="*/ 6915 h 10000"/>
                <a:gd name="connsiteX2" fmla="*/ 5177 w 9819"/>
                <a:gd name="connsiteY2" fmla="*/ 7114 h 10000"/>
                <a:gd name="connsiteX3" fmla="*/ 4869 w 9819"/>
                <a:gd name="connsiteY3" fmla="*/ 6907 h 10000"/>
                <a:gd name="connsiteX4" fmla="*/ 4422 w 9819"/>
                <a:gd name="connsiteY4" fmla="*/ 6781 h 10000"/>
                <a:gd name="connsiteX5" fmla="*/ 4200 w 9819"/>
                <a:gd name="connsiteY5" fmla="*/ 7064 h 10000"/>
                <a:gd name="connsiteX6" fmla="*/ 3651 w 9819"/>
                <a:gd name="connsiteY6" fmla="*/ 7281 h 10000"/>
                <a:gd name="connsiteX7" fmla="*/ 3298 w 9819"/>
                <a:gd name="connsiteY7" fmla="*/ 7279 h 10000"/>
                <a:gd name="connsiteX8" fmla="*/ 2528 w 9819"/>
                <a:gd name="connsiteY8" fmla="*/ 7095 h 10000"/>
                <a:gd name="connsiteX9" fmla="*/ 2322 w 9819"/>
                <a:gd name="connsiteY9" fmla="*/ 7195 h 10000"/>
                <a:gd name="connsiteX10" fmla="*/ 1808 w 9819"/>
                <a:gd name="connsiteY10" fmla="*/ 6973 h 10000"/>
                <a:gd name="connsiteX11" fmla="*/ 1581 w 9819"/>
                <a:gd name="connsiteY11" fmla="*/ 6638 h 10000"/>
                <a:gd name="connsiteX12" fmla="*/ 1203 w 9819"/>
                <a:gd name="connsiteY12" fmla="*/ 6729 h 10000"/>
                <a:gd name="connsiteX13" fmla="*/ 1101 w 9819"/>
                <a:gd name="connsiteY13" fmla="*/ 6927 h 10000"/>
                <a:gd name="connsiteX14" fmla="*/ 701 w 9819"/>
                <a:gd name="connsiteY14" fmla="*/ 7011 h 10000"/>
                <a:gd name="connsiteX15" fmla="*/ 438 w 9819"/>
                <a:gd name="connsiteY15" fmla="*/ 7004 h 10000"/>
                <a:gd name="connsiteX16" fmla="*/ 293 w 9819"/>
                <a:gd name="connsiteY16" fmla="*/ 7161 h 10000"/>
                <a:gd name="connsiteX17" fmla="*/ 47 w 9819"/>
                <a:gd name="connsiteY17" fmla="*/ 6913 h 10000"/>
                <a:gd name="connsiteX18" fmla="*/ 0 w 9819"/>
                <a:gd name="connsiteY18" fmla="*/ 7363 h 10000"/>
                <a:gd name="connsiteX19" fmla="*/ 89 w 9819"/>
                <a:gd name="connsiteY19" fmla="*/ 7428 h 10000"/>
                <a:gd name="connsiteX20" fmla="*/ 448 w 9819"/>
                <a:gd name="connsiteY20" fmla="*/ 7460 h 10000"/>
                <a:gd name="connsiteX21" fmla="*/ 493 w 9819"/>
                <a:gd name="connsiteY21" fmla="*/ 7588 h 10000"/>
                <a:gd name="connsiteX22" fmla="*/ 894 w 9819"/>
                <a:gd name="connsiteY22" fmla="*/ 7621 h 10000"/>
                <a:gd name="connsiteX23" fmla="*/ 1117 w 9819"/>
                <a:gd name="connsiteY23" fmla="*/ 7749 h 10000"/>
                <a:gd name="connsiteX24" fmla="*/ 1161 w 9819"/>
                <a:gd name="connsiteY24" fmla="*/ 7974 h 10000"/>
                <a:gd name="connsiteX25" fmla="*/ 1877 w 9819"/>
                <a:gd name="connsiteY25" fmla="*/ 8360 h 10000"/>
                <a:gd name="connsiteX26" fmla="*/ 2055 w 9819"/>
                <a:gd name="connsiteY26" fmla="*/ 8746 h 10000"/>
                <a:gd name="connsiteX27" fmla="*/ 2545 w 9819"/>
                <a:gd name="connsiteY27" fmla="*/ 8939 h 10000"/>
                <a:gd name="connsiteX28" fmla="*/ 2724 w 9819"/>
                <a:gd name="connsiteY28" fmla="*/ 9196 h 10000"/>
                <a:gd name="connsiteX29" fmla="*/ 3080 w 9819"/>
                <a:gd name="connsiteY29" fmla="*/ 9518 h 10000"/>
                <a:gd name="connsiteX30" fmla="*/ 3349 w 9819"/>
                <a:gd name="connsiteY30" fmla="*/ 9614 h 10000"/>
                <a:gd name="connsiteX31" fmla="*/ 3528 w 9819"/>
                <a:gd name="connsiteY31" fmla="*/ 9518 h 10000"/>
                <a:gd name="connsiteX32" fmla="*/ 3974 w 9819"/>
                <a:gd name="connsiteY32" fmla="*/ 9550 h 10000"/>
                <a:gd name="connsiteX33" fmla="*/ 4152 w 9819"/>
                <a:gd name="connsiteY33" fmla="*/ 9486 h 10000"/>
                <a:gd name="connsiteX34" fmla="*/ 4955 w 9819"/>
                <a:gd name="connsiteY34" fmla="*/ 9968 h 10000"/>
                <a:gd name="connsiteX35" fmla="*/ 5001 w 9819"/>
                <a:gd name="connsiteY35" fmla="*/ 9968 h 10000"/>
                <a:gd name="connsiteX36" fmla="*/ 5089 w 9819"/>
                <a:gd name="connsiteY36" fmla="*/ 9904 h 10000"/>
                <a:gd name="connsiteX37" fmla="*/ 5667 w 9819"/>
                <a:gd name="connsiteY37" fmla="*/ 9904 h 10000"/>
                <a:gd name="connsiteX38" fmla="*/ 5759 w 9819"/>
                <a:gd name="connsiteY38" fmla="*/ 10000 h 10000"/>
                <a:gd name="connsiteX39" fmla="*/ 6250 w 9819"/>
                <a:gd name="connsiteY39" fmla="*/ 9871 h 10000"/>
                <a:gd name="connsiteX40" fmla="*/ 6695 w 9819"/>
                <a:gd name="connsiteY40" fmla="*/ 9871 h 10000"/>
                <a:gd name="connsiteX41" fmla="*/ 7008 w 9819"/>
                <a:gd name="connsiteY41" fmla="*/ 9743 h 10000"/>
                <a:gd name="connsiteX42" fmla="*/ 7366 w 9819"/>
                <a:gd name="connsiteY42" fmla="*/ 9486 h 10000"/>
                <a:gd name="connsiteX43" fmla="*/ 8303 w 9819"/>
                <a:gd name="connsiteY43" fmla="*/ 9486 h 10000"/>
                <a:gd name="connsiteX44" fmla="*/ 8303 w 9819"/>
                <a:gd name="connsiteY44" fmla="*/ 9132 h 10000"/>
                <a:gd name="connsiteX45" fmla="*/ 7813 w 9819"/>
                <a:gd name="connsiteY45" fmla="*/ 8971 h 10000"/>
                <a:gd name="connsiteX46" fmla="*/ 7544 w 9819"/>
                <a:gd name="connsiteY46" fmla="*/ 8457 h 10000"/>
                <a:gd name="connsiteX47" fmla="*/ 7188 w 9819"/>
                <a:gd name="connsiteY47" fmla="*/ 8264 h 10000"/>
                <a:gd name="connsiteX48" fmla="*/ 6963 w 9819"/>
                <a:gd name="connsiteY48" fmla="*/ 8006 h 10000"/>
                <a:gd name="connsiteX49" fmla="*/ 6383 w 9819"/>
                <a:gd name="connsiteY49" fmla="*/ 7814 h 10000"/>
                <a:gd name="connsiteX50" fmla="*/ 6517 w 9819"/>
                <a:gd name="connsiteY50" fmla="*/ 7749 h 10000"/>
                <a:gd name="connsiteX51" fmla="*/ 6517 w 9819"/>
                <a:gd name="connsiteY51" fmla="*/ 7588 h 10000"/>
                <a:gd name="connsiteX52" fmla="*/ 6920 w 9819"/>
                <a:gd name="connsiteY52" fmla="*/ 7588 h 10000"/>
                <a:gd name="connsiteX53" fmla="*/ 7141 w 9819"/>
                <a:gd name="connsiteY53" fmla="*/ 7460 h 10000"/>
                <a:gd name="connsiteX54" fmla="*/ 7188 w 9819"/>
                <a:gd name="connsiteY54" fmla="*/ 6527 h 10000"/>
                <a:gd name="connsiteX55" fmla="*/ 7231 w 9819"/>
                <a:gd name="connsiteY55" fmla="*/ 6559 h 10000"/>
                <a:gd name="connsiteX56" fmla="*/ 7072 w 9819"/>
                <a:gd name="connsiteY56" fmla="*/ 6618 h 10000"/>
                <a:gd name="connsiteX57" fmla="*/ 7010 w 9819"/>
                <a:gd name="connsiteY57" fmla="*/ 6745 h 10000"/>
                <a:gd name="connsiteX58" fmla="*/ 6611 w 9819"/>
                <a:gd name="connsiteY58" fmla="*/ 6497 h 10000"/>
                <a:gd name="connsiteX59" fmla="*/ 6539 w 9819"/>
                <a:gd name="connsiteY59" fmla="*/ 5828 h 10000"/>
                <a:gd name="connsiteX60" fmla="*/ 6112 w 9819"/>
                <a:gd name="connsiteY60" fmla="*/ 6118 h 10000"/>
                <a:gd name="connsiteX61" fmla="*/ 6119 w 9819"/>
                <a:gd name="connsiteY61" fmla="*/ 6462 h 10000"/>
                <a:gd name="connsiteX62" fmla="*/ 5776 w 9819"/>
                <a:gd name="connsiteY62" fmla="*/ 6670 h 10000"/>
                <a:gd name="connsiteX63" fmla="*/ 9819 w 9819"/>
                <a:gd name="connsiteY63" fmla="*/ 2572 h 10000"/>
                <a:gd name="connsiteX64" fmla="*/ 9686 w 9819"/>
                <a:gd name="connsiteY64" fmla="*/ 2412 h 10000"/>
                <a:gd name="connsiteX65" fmla="*/ 9418 w 9819"/>
                <a:gd name="connsiteY65" fmla="*/ 2347 h 10000"/>
                <a:gd name="connsiteX66" fmla="*/ 9284 w 9819"/>
                <a:gd name="connsiteY66" fmla="*/ 2219 h 10000"/>
                <a:gd name="connsiteX67" fmla="*/ 9197 w 9819"/>
                <a:gd name="connsiteY67" fmla="*/ 1736 h 10000"/>
                <a:gd name="connsiteX68" fmla="*/ 9197 w 9819"/>
                <a:gd name="connsiteY68" fmla="*/ 1061 h 10000"/>
                <a:gd name="connsiteX69" fmla="*/ 8972 w 9819"/>
                <a:gd name="connsiteY69" fmla="*/ 836 h 10000"/>
                <a:gd name="connsiteX70" fmla="*/ 8927 w 9819"/>
                <a:gd name="connsiteY70" fmla="*/ 611 h 10000"/>
                <a:gd name="connsiteX71" fmla="*/ 8571 w 9819"/>
                <a:gd name="connsiteY71" fmla="*/ 289 h 10000"/>
                <a:gd name="connsiteX72" fmla="*/ 8258 w 9819"/>
                <a:gd name="connsiteY72" fmla="*/ 161 h 10000"/>
                <a:gd name="connsiteX73" fmla="*/ 8080 w 9819"/>
                <a:gd name="connsiteY73" fmla="*/ 0 h 10000"/>
                <a:gd name="connsiteX74" fmla="*/ 7813 w 9819"/>
                <a:gd name="connsiteY74" fmla="*/ 161 h 10000"/>
                <a:gd name="connsiteX75" fmla="*/ 7633 w 9819"/>
                <a:gd name="connsiteY75" fmla="*/ 129 h 10000"/>
                <a:gd name="connsiteX76" fmla="*/ 7498 w 9819"/>
                <a:gd name="connsiteY76" fmla="*/ 418 h 10000"/>
                <a:gd name="connsiteX77" fmla="*/ 7141 w 9819"/>
                <a:gd name="connsiteY77" fmla="*/ 482 h 10000"/>
                <a:gd name="connsiteX78" fmla="*/ 7053 w 9819"/>
                <a:gd name="connsiteY78" fmla="*/ 707 h 10000"/>
                <a:gd name="connsiteX79" fmla="*/ 6740 w 9819"/>
                <a:gd name="connsiteY79" fmla="*/ 707 h 10000"/>
                <a:gd name="connsiteX80" fmla="*/ 6473 w 9819"/>
                <a:gd name="connsiteY80" fmla="*/ 611 h 10000"/>
                <a:gd name="connsiteX81" fmla="*/ 5892 w 9819"/>
                <a:gd name="connsiteY81" fmla="*/ 611 h 10000"/>
                <a:gd name="connsiteX82" fmla="*/ 5312 w 9819"/>
                <a:gd name="connsiteY82" fmla="*/ 611 h 10000"/>
                <a:gd name="connsiteX83" fmla="*/ 5356 w 9819"/>
                <a:gd name="connsiteY83" fmla="*/ 482 h 10000"/>
                <a:gd name="connsiteX84" fmla="*/ 5268 w 9819"/>
                <a:gd name="connsiteY84" fmla="*/ 482 h 10000"/>
                <a:gd name="connsiteX85" fmla="*/ 5223 w 9819"/>
                <a:gd name="connsiteY85" fmla="*/ 611 h 10000"/>
                <a:gd name="connsiteX86" fmla="*/ 4687 w 9819"/>
                <a:gd name="connsiteY86" fmla="*/ 611 h 10000"/>
                <a:gd name="connsiteX87" fmla="*/ 4152 w 9819"/>
                <a:gd name="connsiteY87" fmla="*/ 611 h 10000"/>
                <a:gd name="connsiteX88" fmla="*/ 3618 w 9819"/>
                <a:gd name="connsiteY88" fmla="*/ 611 h 10000"/>
                <a:gd name="connsiteX89" fmla="*/ 3080 w 9819"/>
                <a:gd name="connsiteY89" fmla="*/ 611 h 10000"/>
                <a:gd name="connsiteX90" fmla="*/ 2591 w 9819"/>
                <a:gd name="connsiteY90" fmla="*/ 611 h 10000"/>
                <a:gd name="connsiteX91" fmla="*/ 2055 w 9819"/>
                <a:gd name="connsiteY91" fmla="*/ 611 h 10000"/>
                <a:gd name="connsiteX92" fmla="*/ 1563 w 9819"/>
                <a:gd name="connsiteY92" fmla="*/ 611 h 10000"/>
                <a:gd name="connsiteX93" fmla="*/ 1028 w 9819"/>
                <a:gd name="connsiteY93" fmla="*/ 611 h 10000"/>
                <a:gd name="connsiteX94" fmla="*/ 1028 w 9819"/>
                <a:gd name="connsiteY94" fmla="*/ 1061 h 10000"/>
                <a:gd name="connsiteX95" fmla="*/ 1028 w 9819"/>
                <a:gd name="connsiteY95" fmla="*/ 1640 h 10000"/>
                <a:gd name="connsiteX96" fmla="*/ 358 w 9819"/>
                <a:gd name="connsiteY96" fmla="*/ 1640 h 10000"/>
                <a:gd name="connsiteX97" fmla="*/ 358 w 9819"/>
                <a:gd name="connsiteY97" fmla="*/ 1897 h 10000"/>
                <a:gd name="connsiteX0" fmla="*/ 365 w 9865"/>
                <a:gd name="connsiteY0" fmla="*/ 1897 h 10000"/>
                <a:gd name="connsiteX1" fmla="*/ 5646 w 9865"/>
                <a:gd name="connsiteY1" fmla="*/ 6915 h 10000"/>
                <a:gd name="connsiteX2" fmla="*/ 5272 w 9865"/>
                <a:gd name="connsiteY2" fmla="*/ 7114 h 10000"/>
                <a:gd name="connsiteX3" fmla="*/ 4959 w 9865"/>
                <a:gd name="connsiteY3" fmla="*/ 6907 h 10000"/>
                <a:gd name="connsiteX4" fmla="*/ 4504 w 9865"/>
                <a:gd name="connsiteY4" fmla="*/ 6781 h 10000"/>
                <a:gd name="connsiteX5" fmla="*/ 4277 w 9865"/>
                <a:gd name="connsiteY5" fmla="*/ 7064 h 10000"/>
                <a:gd name="connsiteX6" fmla="*/ 3718 w 9865"/>
                <a:gd name="connsiteY6" fmla="*/ 7281 h 10000"/>
                <a:gd name="connsiteX7" fmla="*/ 3359 w 9865"/>
                <a:gd name="connsiteY7" fmla="*/ 7279 h 10000"/>
                <a:gd name="connsiteX8" fmla="*/ 2575 w 9865"/>
                <a:gd name="connsiteY8" fmla="*/ 7095 h 10000"/>
                <a:gd name="connsiteX9" fmla="*/ 2365 w 9865"/>
                <a:gd name="connsiteY9" fmla="*/ 7195 h 10000"/>
                <a:gd name="connsiteX10" fmla="*/ 1841 w 9865"/>
                <a:gd name="connsiteY10" fmla="*/ 6973 h 10000"/>
                <a:gd name="connsiteX11" fmla="*/ 1610 w 9865"/>
                <a:gd name="connsiteY11" fmla="*/ 6638 h 10000"/>
                <a:gd name="connsiteX12" fmla="*/ 1225 w 9865"/>
                <a:gd name="connsiteY12" fmla="*/ 6729 h 10000"/>
                <a:gd name="connsiteX13" fmla="*/ 1121 w 9865"/>
                <a:gd name="connsiteY13" fmla="*/ 6927 h 10000"/>
                <a:gd name="connsiteX14" fmla="*/ 714 w 9865"/>
                <a:gd name="connsiteY14" fmla="*/ 7011 h 10000"/>
                <a:gd name="connsiteX15" fmla="*/ 446 w 9865"/>
                <a:gd name="connsiteY15" fmla="*/ 7004 h 10000"/>
                <a:gd name="connsiteX16" fmla="*/ 298 w 9865"/>
                <a:gd name="connsiteY16" fmla="*/ 7161 h 10000"/>
                <a:gd name="connsiteX17" fmla="*/ 48 w 9865"/>
                <a:gd name="connsiteY17" fmla="*/ 6913 h 10000"/>
                <a:gd name="connsiteX18" fmla="*/ 0 w 9865"/>
                <a:gd name="connsiteY18" fmla="*/ 7363 h 10000"/>
                <a:gd name="connsiteX19" fmla="*/ 91 w 9865"/>
                <a:gd name="connsiteY19" fmla="*/ 7428 h 10000"/>
                <a:gd name="connsiteX20" fmla="*/ 456 w 9865"/>
                <a:gd name="connsiteY20" fmla="*/ 7460 h 10000"/>
                <a:gd name="connsiteX21" fmla="*/ 502 w 9865"/>
                <a:gd name="connsiteY21" fmla="*/ 7588 h 10000"/>
                <a:gd name="connsiteX22" fmla="*/ 910 w 9865"/>
                <a:gd name="connsiteY22" fmla="*/ 7621 h 10000"/>
                <a:gd name="connsiteX23" fmla="*/ 1138 w 9865"/>
                <a:gd name="connsiteY23" fmla="*/ 7749 h 10000"/>
                <a:gd name="connsiteX24" fmla="*/ 1182 w 9865"/>
                <a:gd name="connsiteY24" fmla="*/ 7974 h 10000"/>
                <a:gd name="connsiteX25" fmla="*/ 1912 w 9865"/>
                <a:gd name="connsiteY25" fmla="*/ 8360 h 10000"/>
                <a:gd name="connsiteX26" fmla="*/ 2093 w 9865"/>
                <a:gd name="connsiteY26" fmla="*/ 8746 h 10000"/>
                <a:gd name="connsiteX27" fmla="*/ 2592 w 9865"/>
                <a:gd name="connsiteY27" fmla="*/ 8939 h 10000"/>
                <a:gd name="connsiteX28" fmla="*/ 2774 w 9865"/>
                <a:gd name="connsiteY28" fmla="*/ 9196 h 10000"/>
                <a:gd name="connsiteX29" fmla="*/ 3137 w 9865"/>
                <a:gd name="connsiteY29" fmla="*/ 9518 h 10000"/>
                <a:gd name="connsiteX30" fmla="*/ 3411 w 9865"/>
                <a:gd name="connsiteY30" fmla="*/ 9614 h 10000"/>
                <a:gd name="connsiteX31" fmla="*/ 3593 w 9865"/>
                <a:gd name="connsiteY31" fmla="*/ 9518 h 10000"/>
                <a:gd name="connsiteX32" fmla="*/ 4047 w 9865"/>
                <a:gd name="connsiteY32" fmla="*/ 9550 h 10000"/>
                <a:gd name="connsiteX33" fmla="*/ 4229 w 9865"/>
                <a:gd name="connsiteY33" fmla="*/ 9486 h 10000"/>
                <a:gd name="connsiteX34" fmla="*/ 5046 w 9865"/>
                <a:gd name="connsiteY34" fmla="*/ 9968 h 10000"/>
                <a:gd name="connsiteX35" fmla="*/ 5093 w 9865"/>
                <a:gd name="connsiteY35" fmla="*/ 9968 h 10000"/>
                <a:gd name="connsiteX36" fmla="*/ 5183 w 9865"/>
                <a:gd name="connsiteY36" fmla="*/ 9904 h 10000"/>
                <a:gd name="connsiteX37" fmla="*/ 5771 w 9865"/>
                <a:gd name="connsiteY37" fmla="*/ 9904 h 10000"/>
                <a:gd name="connsiteX38" fmla="*/ 5865 w 9865"/>
                <a:gd name="connsiteY38" fmla="*/ 10000 h 10000"/>
                <a:gd name="connsiteX39" fmla="*/ 6365 w 9865"/>
                <a:gd name="connsiteY39" fmla="*/ 9871 h 10000"/>
                <a:gd name="connsiteX40" fmla="*/ 6818 w 9865"/>
                <a:gd name="connsiteY40" fmla="*/ 9871 h 10000"/>
                <a:gd name="connsiteX41" fmla="*/ 7137 w 9865"/>
                <a:gd name="connsiteY41" fmla="*/ 9743 h 10000"/>
                <a:gd name="connsiteX42" fmla="*/ 7502 w 9865"/>
                <a:gd name="connsiteY42" fmla="*/ 9486 h 10000"/>
                <a:gd name="connsiteX43" fmla="*/ 8456 w 9865"/>
                <a:gd name="connsiteY43" fmla="*/ 9486 h 10000"/>
                <a:gd name="connsiteX44" fmla="*/ 8456 w 9865"/>
                <a:gd name="connsiteY44" fmla="*/ 9132 h 10000"/>
                <a:gd name="connsiteX45" fmla="*/ 7957 w 9865"/>
                <a:gd name="connsiteY45" fmla="*/ 8971 h 10000"/>
                <a:gd name="connsiteX46" fmla="*/ 7683 w 9865"/>
                <a:gd name="connsiteY46" fmla="*/ 8457 h 10000"/>
                <a:gd name="connsiteX47" fmla="*/ 7321 w 9865"/>
                <a:gd name="connsiteY47" fmla="*/ 8264 h 10000"/>
                <a:gd name="connsiteX48" fmla="*/ 7091 w 9865"/>
                <a:gd name="connsiteY48" fmla="*/ 8006 h 10000"/>
                <a:gd name="connsiteX49" fmla="*/ 6501 w 9865"/>
                <a:gd name="connsiteY49" fmla="*/ 7814 h 10000"/>
                <a:gd name="connsiteX50" fmla="*/ 6637 w 9865"/>
                <a:gd name="connsiteY50" fmla="*/ 7749 h 10000"/>
                <a:gd name="connsiteX51" fmla="*/ 6637 w 9865"/>
                <a:gd name="connsiteY51" fmla="*/ 7588 h 10000"/>
                <a:gd name="connsiteX52" fmla="*/ 7048 w 9865"/>
                <a:gd name="connsiteY52" fmla="*/ 7588 h 10000"/>
                <a:gd name="connsiteX53" fmla="*/ 7273 w 9865"/>
                <a:gd name="connsiteY53" fmla="*/ 7460 h 10000"/>
                <a:gd name="connsiteX54" fmla="*/ 7321 w 9865"/>
                <a:gd name="connsiteY54" fmla="*/ 6527 h 10000"/>
                <a:gd name="connsiteX55" fmla="*/ 7364 w 9865"/>
                <a:gd name="connsiteY55" fmla="*/ 6559 h 10000"/>
                <a:gd name="connsiteX56" fmla="*/ 7202 w 9865"/>
                <a:gd name="connsiteY56" fmla="*/ 6618 h 10000"/>
                <a:gd name="connsiteX57" fmla="*/ 7139 w 9865"/>
                <a:gd name="connsiteY57" fmla="*/ 6745 h 10000"/>
                <a:gd name="connsiteX58" fmla="*/ 6733 w 9865"/>
                <a:gd name="connsiteY58" fmla="*/ 6497 h 10000"/>
                <a:gd name="connsiteX59" fmla="*/ 6660 w 9865"/>
                <a:gd name="connsiteY59" fmla="*/ 5828 h 10000"/>
                <a:gd name="connsiteX60" fmla="*/ 6225 w 9865"/>
                <a:gd name="connsiteY60" fmla="*/ 6118 h 10000"/>
                <a:gd name="connsiteX61" fmla="*/ 6232 w 9865"/>
                <a:gd name="connsiteY61" fmla="*/ 6462 h 10000"/>
                <a:gd name="connsiteX62" fmla="*/ 5882 w 9865"/>
                <a:gd name="connsiteY62" fmla="*/ 6670 h 10000"/>
                <a:gd name="connsiteX63" fmla="*/ 9865 w 9865"/>
                <a:gd name="connsiteY63" fmla="*/ 2412 h 10000"/>
                <a:gd name="connsiteX64" fmla="*/ 9592 w 9865"/>
                <a:gd name="connsiteY64" fmla="*/ 2347 h 10000"/>
                <a:gd name="connsiteX65" fmla="*/ 9455 w 9865"/>
                <a:gd name="connsiteY65" fmla="*/ 2219 h 10000"/>
                <a:gd name="connsiteX66" fmla="*/ 9367 w 9865"/>
                <a:gd name="connsiteY66" fmla="*/ 1736 h 10000"/>
                <a:gd name="connsiteX67" fmla="*/ 9367 w 9865"/>
                <a:gd name="connsiteY67" fmla="*/ 1061 h 10000"/>
                <a:gd name="connsiteX68" fmla="*/ 9137 w 9865"/>
                <a:gd name="connsiteY68" fmla="*/ 836 h 10000"/>
                <a:gd name="connsiteX69" fmla="*/ 9092 w 9865"/>
                <a:gd name="connsiteY69" fmla="*/ 611 h 10000"/>
                <a:gd name="connsiteX70" fmla="*/ 8729 w 9865"/>
                <a:gd name="connsiteY70" fmla="*/ 289 h 10000"/>
                <a:gd name="connsiteX71" fmla="*/ 8410 w 9865"/>
                <a:gd name="connsiteY71" fmla="*/ 161 h 10000"/>
                <a:gd name="connsiteX72" fmla="*/ 8229 w 9865"/>
                <a:gd name="connsiteY72" fmla="*/ 0 h 10000"/>
                <a:gd name="connsiteX73" fmla="*/ 7957 w 9865"/>
                <a:gd name="connsiteY73" fmla="*/ 161 h 10000"/>
                <a:gd name="connsiteX74" fmla="*/ 7774 w 9865"/>
                <a:gd name="connsiteY74" fmla="*/ 129 h 10000"/>
                <a:gd name="connsiteX75" fmla="*/ 7636 w 9865"/>
                <a:gd name="connsiteY75" fmla="*/ 418 h 10000"/>
                <a:gd name="connsiteX76" fmla="*/ 7273 w 9865"/>
                <a:gd name="connsiteY76" fmla="*/ 482 h 10000"/>
                <a:gd name="connsiteX77" fmla="*/ 7183 w 9865"/>
                <a:gd name="connsiteY77" fmla="*/ 707 h 10000"/>
                <a:gd name="connsiteX78" fmla="*/ 6864 w 9865"/>
                <a:gd name="connsiteY78" fmla="*/ 707 h 10000"/>
                <a:gd name="connsiteX79" fmla="*/ 6592 w 9865"/>
                <a:gd name="connsiteY79" fmla="*/ 611 h 10000"/>
                <a:gd name="connsiteX80" fmla="*/ 6001 w 9865"/>
                <a:gd name="connsiteY80" fmla="*/ 611 h 10000"/>
                <a:gd name="connsiteX81" fmla="*/ 5410 w 9865"/>
                <a:gd name="connsiteY81" fmla="*/ 611 h 10000"/>
                <a:gd name="connsiteX82" fmla="*/ 5455 w 9865"/>
                <a:gd name="connsiteY82" fmla="*/ 482 h 10000"/>
                <a:gd name="connsiteX83" fmla="*/ 5365 w 9865"/>
                <a:gd name="connsiteY83" fmla="*/ 482 h 10000"/>
                <a:gd name="connsiteX84" fmla="*/ 5319 w 9865"/>
                <a:gd name="connsiteY84" fmla="*/ 611 h 10000"/>
                <a:gd name="connsiteX85" fmla="*/ 4773 w 9865"/>
                <a:gd name="connsiteY85" fmla="*/ 611 h 10000"/>
                <a:gd name="connsiteX86" fmla="*/ 4229 w 9865"/>
                <a:gd name="connsiteY86" fmla="*/ 611 h 10000"/>
                <a:gd name="connsiteX87" fmla="*/ 3685 w 9865"/>
                <a:gd name="connsiteY87" fmla="*/ 611 h 10000"/>
                <a:gd name="connsiteX88" fmla="*/ 3137 w 9865"/>
                <a:gd name="connsiteY88" fmla="*/ 611 h 10000"/>
                <a:gd name="connsiteX89" fmla="*/ 2639 w 9865"/>
                <a:gd name="connsiteY89" fmla="*/ 611 h 10000"/>
                <a:gd name="connsiteX90" fmla="*/ 2093 w 9865"/>
                <a:gd name="connsiteY90" fmla="*/ 611 h 10000"/>
                <a:gd name="connsiteX91" fmla="*/ 1592 w 9865"/>
                <a:gd name="connsiteY91" fmla="*/ 611 h 10000"/>
                <a:gd name="connsiteX92" fmla="*/ 1047 w 9865"/>
                <a:gd name="connsiteY92" fmla="*/ 611 h 10000"/>
                <a:gd name="connsiteX93" fmla="*/ 1047 w 9865"/>
                <a:gd name="connsiteY93" fmla="*/ 1061 h 10000"/>
                <a:gd name="connsiteX94" fmla="*/ 1047 w 9865"/>
                <a:gd name="connsiteY94" fmla="*/ 1640 h 10000"/>
                <a:gd name="connsiteX95" fmla="*/ 365 w 9865"/>
                <a:gd name="connsiteY95" fmla="*/ 1640 h 10000"/>
                <a:gd name="connsiteX96" fmla="*/ 365 w 9865"/>
                <a:gd name="connsiteY96" fmla="*/ 1897 h 10000"/>
                <a:gd name="connsiteX0" fmla="*/ 370 w 9723"/>
                <a:gd name="connsiteY0" fmla="*/ 1897 h 10000"/>
                <a:gd name="connsiteX1" fmla="*/ 5723 w 9723"/>
                <a:gd name="connsiteY1" fmla="*/ 6915 h 10000"/>
                <a:gd name="connsiteX2" fmla="*/ 5344 w 9723"/>
                <a:gd name="connsiteY2" fmla="*/ 7114 h 10000"/>
                <a:gd name="connsiteX3" fmla="*/ 5027 w 9723"/>
                <a:gd name="connsiteY3" fmla="*/ 6907 h 10000"/>
                <a:gd name="connsiteX4" fmla="*/ 4566 w 9723"/>
                <a:gd name="connsiteY4" fmla="*/ 6781 h 10000"/>
                <a:gd name="connsiteX5" fmla="*/ 4336 w 9723"/>
                <a:gd name="connsiteY5" fmla="*/ 7064 h 10000"/>
                <a:gd name="connsiteX6" fmla="*/ 3769 w 9723"/>
                <a:gd name="connsiteY6" fmla="*/ 7281 h 10000"/>
                <a:gd name="connsiteX7" fmla="*/ 3405 w 9723"/>
                <a:gd name="connsiteY7" fmla="*/ 7279 h 10000"/>
                <a:gd name="connsiteX8" fmla="*/ 2610 w 9723"/>
                <a:gd name="connsiteY8" fmla="*/ 7095 h 10000"/>
                <a:gd name="connsiteX9" fmla="*/ 2397 w 9723"/>
                <a:gd name="connsiteY9" fmla="*/ 7195 h 10000"/>
                <a:gd name="connsiteX10" fmla="*/ 1866 w 9723"/>
                <a:gd name="connsiteY10" fmla="*/ 6973 h 10000"/>
                <a:gd name="connsiteX11" fmla="*/ 1632 w 9723"/>
                <a:gd name="connsiteY11" fmla="*/ 6638 h 10000"/>
                <a:gd name="connsiteX12" fmla="*/ 1242 w 9723"/>
                <a:gd name="connsiteY12" fmla="*/ 6729 h 10000"/>
                <a:gd name="connsiteX13" fmla="*/ 1136 w 9723"/>
                <a:gd name="connsiteY13" fmla="*/ 6927 h 10000"/>
                <a:gd name="connsiteX14" fmla="*/ 724 w 9723"/>
                <a:gd name="connsiteY14" fmla="*/ 7011 h 10000"/>
                <a:gd name="connsiteX15" fmla="*/ 452 w 9723"/>
                <a:gd name="connsiteY15" fmla="*/ 7004 h 10000"/>
                <a:gd name="connsiteX16" fmla="*/ 302 w 9723"/>
                <a:gd name="connsiteY16" fmla="*/ 7161 h 10000"/>
                <a:gd name="connsiteX17" fmla="*/ 49 w 9723"/>
                <a:gd name="connsiteY17" fmla="*/ 6913 h 10000"/>
                <a:gd name="connsiteX18" fmla="*/ 0 w 9723"/>
                <a:gd name="connsiteY18" fmla="*/ 7363 h 10000"/>
                <a:gd name="connsiteX19" fmla="*/ 92 w 9723"/>
                <a:gd name="connsiteY19" fmla="*/ 7428 h 10000"/>
                <a:gd name="connsiteX20" fmla="*/ 462 w 9723"/>
                <a:gd name="connsiteY20" fmla="*/ 7460 h 10000"/>
                <a:gd name="connsiteX21" fmla="*/ 509 w 9723"/>
                <a:gd name="connsiteY21" fmla="*/ 7588 h 10000"/>
                <a:gd name="connsiteX22" fmla="*/ 922 w 9723"/>
                <a:gd name="connsiteY22" fmla="*/ 7621 h 10000"/>
                <a:gd name="connsiteX23" fmla="*/ 1154 w 9723"/>
                <a:gd name="connsiteY23" fmla="*/ 7749 h 10000"/>
                <a:gd name="connsiteX24" fmla="*/ 1198 w 9723"/>
                <a:gd name="connsiteY24" fmla="*/ 7974 h 10000"/>
                <a:gd name="connsiteX25" fmla="*/ 1938 w 9723"/>
                <a:gd name="connsiteY25" fmla="*/ 8360 h 10000"/>
                <a:gd name="connsiteX26" fmla="*/ 2122 w 9723"/>
                <a:gd name="connsiteY26" fmla="*/ 8746 h 10000"/>
                <a:gd name="connsiteX27" fmla="*/ 2627 w 9723"/>
                <a:gd name="connsiteY27" fmla="*/ 8939 h 10000"/>
                <a:gd name="connsiteX28" fmla="*/ 2812 w 9723"/>
                <a:gd name="connsiteY28" fmla="*/ 9196 h 10000"/>
                <a:gd name="connsiteX29" fmla="*/ 3180 w 9723"/>
                <a:gd name="connsiteY29" fmla="*/ 9518 h 10000"/>
                <a:gd name="connsiteX30" fmla="*/ 3458 w 9723"/>
                <a:gd name="connsiteY30" fmla="*/ 9614 h 10000"/>
                <a:gd name="connsiteX31" fmla="*/ 3642 w 9723"/>
                <a:gd name="connsiteY31" fmla="*/ 9518 h 10000"/>
                <a:gd name="connsiteX32" fmla="*/ 4102 w 9723"/>
                <a:gd name="connsiteY32" fmla="*/ 9550 h 10000"/>
                <a:gd name="connsiteX33" fmla="*/ 4287 w 9723"/>
                <a:gd name="connsiteY33" fmla="*/ 9486 h 10000"/>
                <a:gd name="connsiteX34" fmla="*/ 5115 w 9723"/>
                <a:gd name="connsiteY34" fmla="*/ 9968 h 10000"/>
                <a:gd name="connsiteX35" fmla="*/ 5163 w 9723"/>
                <a:gd name="connsiteY35" fmla="*/ 9968 h 10000"/>
                <a:gd name="connsiteX36" fmla="*/ 5254 w 9723"/>
                <a:gd name="connsiteY36" fmla="*/ 9904 h 10000"/>
                <a:gd name="connsiteX37" fmla="*/ 5850 w 9723"/>
                <a:gd name="connsiteY37" fmla="*/ 9904 h 10000"/>
                <a:gd name="connsiteX38" fmla="*/ 5945 w 9723"/>
                <a:gd name="connsiteY38" fmla="*/ 10000 h 10000"/>
                <a:gd name="connsiteX39" fmla="*/ 6452 w 9723"/>
                <a:gd name="connsiteY39" fmla="*/ 9871 h 10000"/>
                <a:gd name="connsiteX40" fmla="*/ 6911 w 9723"/>
                <a:gd name="connsiteY40" fmla="*/ 9871 h 10000"/>
                <a:gd name="connsiteX41" fmla="*/ 7235 w 9723"/>
                <a:gd name="connsiteY41" fmla="*/ 9743 h 10000"/>
                <a:gd name="connsiteX42" fmla="*/ 7605 w 9723"/>
                <a:gd name="connsiteY42" fmla="*/ 9486 h 10000"/>
                <a:gd name="connsiteX43" fmla="*/ 8572 w 9723"/>
                <a:gd name="connsiteY43" fmla="*/ 9486 h 10000"/>
                <a:gd name="connsiteX44" fmla="*/ 8572 w 9723"/>
                <a:gd name="connsiteY44" fmla="*/ 9132 h 10000"/>
                <a:gd name="connsiteX45" fmla="*/ 8066 w 9723"/>
                <a:gd name="connsiteY45" fmla="*/ 8971 h 10000"/>
                <a:gd name="connsiteX46" fmla="*/ 7788 w 9723"/>
                <a:gd name="connsiteY46" fmla="*/ 8457 h 10000"/>
                <a:gd name="connsiteX47" fmla="*/ 7421 w 9723"/>
                <a:gd name="connsiteY47" fmla="*/ 8264 h 10000"/>
                <a:gd name="connsiteX48" fmla="*/ 7188 w 9723"/>
                <a:gd name="connsiteY48" fmla="*/ 8006 h 10000"/>
                <a:gd name="connsiteX49" fmla="*/ 6590 w 9723"/>
                <a:gd name="connsiteY49" fmla="*/ 7814 h 10000"/>
                <a:gd name="connsiteX50" fmla="*/ 6728 w 9723"/>
                <a:gd name="connsiteY50" fmla="*/ 7749 h 10000"/>
                <a:gd name="connsiteX51" fmla="*/ 6728 w 9723"/>
                <a:gd name="connsiteY51" fmla="*/ 7588 h 10000"/>
                <a:gd name="connsiteX52" fmla="*/ 7144 w 9723"/>
                <a:gd name="connsiteY52" fmla="*/ 7588 h 10000"/>
                <a:gd name="connsiteX53" fmla="*/ 7373 w 9723"/>
                <a:gd name="connsiteY53" fmla="*/ 7460 h 10000"/>
                <a:gd name="connsiteX54" fmla="*/ 7421 w 9723"/>
                <a:gd name="connsiteY54" fmla="*/ 6527 h 10000"/>
                <a:gd name="connsiteX55" fmla="*/ 7465 w 9723"/>
                <a:gd name="connsiteY55" fmla="*/ 6559 h 10000"/>
                <a:gd name="connsiteX56" fmla="*/ 7301 w 9723"/>
                <a:gd name="connsiteY56" fmla="*/ 6618 h 10000"/>
                <a:gd name="connsiteX57" fmla="*/ 7237 w 9723"/>
                <a:gd name="connsiteY57" fmla="*/ 6745 h 10000"/>
                <a:gd name="connsiteX58" fmla="*/ 6825 w 9723"/>
                <a:gd name="connsiteY58" fmla="*/ 6497 h 10000"/>
                <a:gd name="connsiteX59" fmla="*/ 6751 w 9723"/>
                <a:gd name="connsiteY59" fmla="*/ 5828 h 10000"/>
                <a:gd name="connsiteX60" fmla="*/ 6310 w 9723"/>
                <a:gd name="connsiteY60" fmla="*/ 6118 h 10000"/>
                <a:gd name="connsiteX61" fmla="*/ 6317 w 9723"/>
                <a:gd name="connsiteY61" fmla="*/ 6462 h 10000"/>
                <a:gd name="connsiteX62" fmla="*/ 5962 w 9723"/>
                <a:gd name="connsiteY62" fmla="*/ 6670 h 10000"/>
                <a:gd name="connsiteX63" fmla="*/ 9723 w 9723"/>
                <a:gd name="connsiteY63" fmla="*/ 2347 h 10000"/>
                <a:gd name="connsiteX64" fmla="*/ 9584 w 9723"/>
                <a:gd name="connsiteY64" fmla="*/ 2219 h 10000"/>
                <a:gd name="connsiteX65" fmla="*/ 9495 w 9723"/>
                <a:gd name="connsiteY65" fmla="*/ 1736 h 10000"/>
                <a:gd name="connsiteX66" fmla="*/ 9495 w 9723"/>
                <a:gd name="connsiteY66" fmla="*/ 1061 h 10000"/>
                <a:gd name="connsiteX67" fmla="*/ 9262 w 9723"/>
                <a:gd name="connsiteY67" fmla="*/ 836 h 10000"/>
                <a:gd name="connsiteX68" fmla="*/ 9216 w 9723"/>
                <a:gd name="connsiteY68" fmla="*/ 611 h 10000"/>
                <a:gd name="connsiteX69" fmla="*/ 8848 w 9723"/>
                <a:gd name="connsiteY69" fmla="*/ 289 h 10000"/>
                <a:gd name="connsiteX70" fmla="*/ 8525 w 9723"/>
                <a:gd name="connsiteY70" fmla="*/ 161 h 10000"/>
                <a:gd name="connsiteX71" fmla="*/ 8342 w 9723"/>
                <a:gd name="connsiteY71" fmla="*/ 0 h 10000"/>
                <a:gd name="connsiteX72" fmla="*/ 8066 w 9723"/>
                <a:gd name="connsiteY72" fmla="*/ 161 h 10000"/>
                <a:gd name="connsiteX73" fmla="*/ 7880 w 9723"/>
                <a:gd name="connsiteY73" fmla="*/ 129 h 10000"/>
                <a:gd name="connsiteX74" fmla="*/ 7740 w 9723"/>
                <a:gd name="connsiteY74" fmla="*/ 418 h 10000"/>
                <a:gd name="connsiteX75" fmla="*/ 7373 w 9723"/>
                <a:gd name="connsiteY75" fmla="*/ 482 h 10000"/>
                <a:gd name="connsiteX76" fmla="*/ 7281 w 9723"/>
                <a:gd name="connsiteY76" fmla="*/ 707 h 10000"/>
                <a:gd name="connsiteX77" fmla="*/ 6958 w 9723"/>
                <a:gd name="connsiteY77" fmla="*/ 707 h 10000"/>
                <a:gd name="connsiteX78" fmla="*/ 6682 w 9723"/>
                <a:gd name="connsiteY78" fmla="*/ 611 h 10000"/>
                <a:gd name="connsiteX79" fmla="*/ 6083 w 9723"/>
                <a:gd name="connsiteY79" fmla="*/ 611 h 10000"/>
                <a:gd name="connsiteX80" fmla="*/ 5484 w 9723"/>
                <a:gd name="connsiteY80" fmla="*/ 611 h 10000"/>
                <a:gd name="connsiteX81" fmla="*/ 5530 w 9723"/>
                <a:gd name="connsiteY81" fmla="*/ 482 h 10000"/>
                <a:gd name="connsiteX82" fmla="*/ 5438 w 9723"/>
                <a:gd name="connsiteY82" fmla="*/ 482 h 10000"/>
                <a:gd name="connsiteX83" fmla="*/ 5392 w 9723"/>
                <a:gd name="connsiteY83" fmla="*/ 611 h 10000"/>
                <a:gd name="connsiteX84" fmla="*/ 4838 w 9723"/>
                <a:gd name="connsiteY84" fmla="*/ 611 h 10000"/>
                <a:gd name="connsiteX85" fmla="*/ 4287 w 9723"/>
                <a:gd name="connsiteY85" fmla="*/ 611 h 10000"/>
                <a:gd name="connsiteX86" fmla="*/ 3735 w 9723"/>
                <a:gd name="connsiteY86" fmla="*/ 611 h 10000"/>
                <a:gd name="connsiteX87" fmla="*/ 3180 w 9723"/>
                <a:gd name="connsiteY87" fmla="*/ 611 h 10000"/>
                <a:gd name="connsiteX88" fmla="*/ 2675 w 9723"/>
                <a:gd name="connsiteY88" fmla="*/ 611 h 10000"/>
                <a:gd name="connsiteX89" fmla="*/ 2122 w 9723"/>
                <a:gd name="connsiteY89" fmla="*/ 611 h 10000"/>
                <a:gd name="connsiteX90" fmla="*/ 1614 w 9723"/>
                <a:gd name="connsiteY90" fmla="*/ 611 h 10000"/>
                <a:gd name="connsiteX91" fmla="*/ 1061 w 9723"/>
                <a:gd name="connsiteY91" fmla="*/ 611 h 10000"/>
                <a:gd name="connsiteX92" fmla="*/ 1061 w 9723"/>
                <a:gd name="connsiteY92" fmla="*/ 1061 h 10000"/>
                <a:gd name="connsiteX93" fmla="*/ 1061 w 9723"/>
                <a:gd name="connsiteY93" fmla="*/ 1640 h 10000"/>
                <a:gd name="connsiteX94" fmla="*/ 370 w 9723"/>
                <a:gd name="connsiteY94" fmla="*/ 1640 h 10000"/>
                <a:gd name="connsiteX95" fmla="*/ 370 w 9723"/>
                <a:gd name="connsiteY95" fmla="*/ 1897 h 10000"/>
                <a:gd name="connsiteX0" fmla="*/ 381 w 9857"/>
                <a:gd name="connsiteY0" fmla="*/ 1897 h 10000"/>
                <a:gd name="connsiteX1" fmla="*/ 5886 w 9857"/>
                <a:gd name="connsiteY1" fmla="*/ 6915 h 10000"/>
                <a:gd name="connsiteX2" fmla="*/ 5496 w 9857"/>
                <a:gd name="connsiteY2" fmla="*/ 7114 h 10000"/>
                <a:gd name="connsiteX3" fmla="*/ 5170 w 9857"/>
                <a:gd name="connsiteY3" fmla="*/ 6907 h 10000"/>
                <a:gd name="connsiteX4" fmla="*/ 4696 w 9857"/>
                <a:gd name="connsiteY4" fmla="*/ 6781 h 10000"/>
                <a:gd name="connsiteX5" fmla="*/ 4460 w 9857"/>
                <a:gd name="connsiteY5" fmla="*/ 7064 h 10000"/>
                <a:gd name="connsiteX6" fmla="*/ 3876 w 9857"/>
                <a:gd name="connsiteY6" fmla="*/ 7281 h 10000"/>
                <a:gd name="connsiteX7" fmla="*/ 3502 w 9857"/>
                <a:gd name="connsiteY7" fmla="*/ 7279 h 10000"/>
                <a:gd name="connsiteX8" fmla="*/ 2684 w 9857"/>
                <a:gd name="connsiteY8" fmla="*/ 7095 h 10000"/>
                <a:gd name="connsiteX9" fmla="*/ 2465 w 9857"/>
                <a:gd name="connsiteY9" fmla="*/ 7195 h 10000"/>
                <a:gd name="connsiteX10" fmla="*/ 1919 w 9857"/>
                <a:gd name="connsiteY10" fmla="*/ 6973 h 10000"/>
                <a:gd name="connsiteX11" fmla="*/ 1678 w 9857"/>
                <a:gd name="connsiteY11" fmla="*/ 6638 h 10000"/>
                <a:gd name="connsiteX12" fmla="*/ 1277 w 9857"/>
                <a:gd name="connsiteY12" fmla="*/ 6729 h 10000"/>
                <a:gd name="connsiteX13" fmla="*/ 1168 w 9857"/>
                <a:gd name="connsiteY13" fmla="*/ 6927 h 10000"/>
                <a:gd name="connsiteX14" fmla="*/ 745 w 9857"/>
                <a:gd name="connsiteY14" fmla="*/ 7011 h 10000"/>
                <a:gd name="connsiteX15" fmla="*/ 465 w 9857"/>
                <a:gd name="connsiteY15" fmla="*/ 7004 h 10000"/>
                <a:gd name="connsiteX16" fmla="*/ 311 w 9857"/>
                <a:gd name="connsiteY16" fmla="*/ 7161 h 10000"/>
                <a:gd name="connsiteX17" fmla="*/ 50 w 9857"/>
                <a:gd name="connsiteY17" fmla="*/ 6913 h 10000"/>
                <a:gd name="connsiteX18" fmla="*/ 0 w 9857"/>
                <a:gd name="connsiteY18" fmla="*/ 7363 h 10000"/>
                <a:gd name="connsiteX19" fmla="*/ 95 w 9857"/>
                <a:gd name="connsiteY19" fmla="*/ 7428 h 10000"/>
                <a:gd name="connsiteX20" fmla="*/ 475 w 9857"/>
                <a:gd name="connsiteY20" fmla="*/ 7460 h 10000"/>
                <a:gd name="connsiteX21" fmla="*/ 524 w 9857"/>
                <a:gd name="connsiteY21" fmla="*/ 7588 h 10000"/>
                <a:gd name="connsiteX22" fmla="*/ 948 w 9857"/>
                <a:gd name="connsiteY22" fmla="*/ 7621 h 10000"/>
                <a:gd name="connsiteX23" fmla="*/ 1187 w 9857"/>
                <a:gd name="connsiteY23" fmla="*/ 7749 h 10000"/>
                <a:gd name="connsiteX24" fmla="*/ 1232 w 9857"/>
                <a:gd name="connsiteY24" fmla="*/ 7974 h 10000"/>
                <a:gd name="connsiteX25" fmla="*/ 1993 w 9857"/>
                <a:gd name="connsiteY25" fmla="*/ 8360 h 10000"/>
                <a:gd name="connsiteX26" fmla="*/ 2182 w 9857"/>
                <a:gd name="connsiteY26" fmla="*/ 8746 h 10000"/>
                <a:gd name="connsiteX27" fmla="*/ 2702 w 9857"/>
                <a:gd name="connsiteY27" fmla="*/ 8939 h 10000"/>
                <a:gd name="connsiteX28" fmla="*/ 2892 w 9857"/>
                <a:gd name="connsiteY28" fmla="*/ 9196 h 10000"/>
                <a:gd name="connsiteX29" fmla="*/ 3271 w 9857"/>
                <a:gd name="connsiteY29" fmla="*/ 9518 h 10000"/>
                <a:gd name="connsiteX30" fmla="*/ 3557 w 9857"/>
                <a:gd name="connsiteY30" fmla="*/ 9614 h 10000"/>
                <a:gd name="connsiteX31" fmla="*/ 3746 w 9857"/>
                <a:gd name="connsiteY31" fmla="*/ 9518 h 10000"/>
                <a:gd name="connsiteX32" fmla="*/ 4219 w 9857"/>
                <a:gd name="connsiteY32" fmla="*/ 9550 h 10000"/>
                <a:gd name="connsiteX33" fmla="*/ 4409 w 9857"/>
                <a:gd name="connsiteY33" fmla="*/ 9486 h 10000"/>
                <a:gd name="connsiteX34" fmla="*/ 5261 w 9857"/>
                <a:gd name="connsiteY34" fmla="*/ 9968 h 10000"/>
                <a:gd name="connsiteX35" fmla="*/ 5310 w 9857"/>
                <a:gd name="connsiteY35" fmla="*/ 9968 h 10000"/>
                <a:gd name="connsiteX36" fmla="*/ 5404 w 9857"/>
                <a:gd name="connsiteY36" fmla="*/ 9904 h 10000"/>
                <a:gd name="connsiteX37" fmla="*/ 6017 w 9857"/>
                <a:gd name="connsiteY37" fmla="*/ 9904 h 10000"/>
                <a:gd name="connsiteX38" fmla="*/ 6114 w 9857"/>
                <a:gd name="connsiteY38" fmla="*/ 10000 h 10000"/>
                <a:gd name="connsiteX39" fmla="*/ 6636 w 9857"/>
                <a:gd name="connsiteY39" fmla="*/ 9871 h 10000"/>
                <a:gd name="connsiteX40" fmla="*/ 7108 w 9857"/>
                <a:gd name="connsiteY40" fmla="*/ 9871 h 10000"/>
                <a:gd name="connsiteX41" fmla="*/ 7441 w 9857"/>
                <a:gd name="connsiteY41" fmla="*/ 9743 h 10000"/>
                <a:gd name="connsiteX42" fmla="*/ 7822 w 9857"/>
                <a:gd name="connsiteY42" fmla="*/ 9486 h 10000"/>
                <a:gd name="connsiteX43" fmla="*/ 8816 w 9857"/>
                <a:gd name="connsiteY43" fmla="*/ 9486 h 10000"/>
                <a:gd name="connsiteX44" fmla="*/ 8816 w 9857"/>
                <a:gd name="connsiteY44" fmla="*/ 9132 h 10000"/>
                <a:gd name="connsiteX45" fmla="*/ 8296 w 9857"/>
                <a:gd name="connsiteY45" fmla="*/ 8971 h 10000"/>
                <a:gd name="connsiteX46" fmla="*/ 8010 w 9857"/>
                <a:gd name="connsiteY46" fmla="*/ 8457 h 10000"/>
                <a:gd name="connsiteX47" fmla="*/ 7632 w 9857"/>
                <a:gd name="connsiteY47" fmla="*/ 8264 h 10000"/>
                <a:gd name="connsiteX48" fmla="*/ 7393 w 9857"/>
                <a:gd name="connsiteY48" fmla="*/ 8006 h 10000"/>
                <a:gd name="connsiteX49" fmla="*/ 6778 w 9857"/>
                <a:gd name="connsiteY49" fmla="*/ 7814 h 10000"/>
                <a:gd name="connsiteX50" fmla="*/ 6920 w 9857"/>
                <a:gd name="connsiteY50" fmla="*/ 7749 h 10000"/>
                <a:gd name="connsiteX51" fmla="*/ 6920 w 9857"/>
                <a:gd name="connsiteY51" fmla="*/ 7588 h 10000"/>
                <a:gd name="connsiteX52" fmla="*/ 7348 w 9857"/>
                <a:gd name="connsiteY52" fmla="*/ 7588 h 10000"/>
                <a:gd name="connsiteX53" fmla="*/ 7583 w 9857"/>
                <a:gd name="connsiteY53" fmla="*/ 7460 h 10000"/>
                <a:gd name="connsiteX54" fmla="*/ 7632 w 9857"/>
                <a:gd name="connsiteY54" fmla="*/ 6527 h 10000"/>
                <a:gd name="connsiteX55" fmla="*/ 7678 w 9857"/>
                <a:gd name="connsiteY55" fmla="*/ 6559 h 10000"/>
                <a:gd name="connsiteX56" fmla="*/ 7509 w 9857"/>
                <a:gd name="connsiteY56" fmla="*/ 6618 h 10000"/>
                <a:gd name="connsiteX57" fmla="*/ 7443 w 9857"/>
                <a:gd name="connsiteY57" fmla="*/ 6745 h 10000"/>
                <a:gd name="connsiteX58" fmla="*/ 7019 w 9857"/>
                <a:gd name="connsiteY58" fmla="*/ 6497 h 10000"/>
                <a:gd name="connsiteX59" fmla="*/ 6943 w 9857"/>
                <a:gd name="connsiteY59" fmla="*/ 5828 h 10000"/>
                <a:gd name="connsiteX60" fmla="*/ 6490 w 9857"/>
                <a:gd name="connsiteY60" fmla="*/ 6118 h 10000"/>
                <a:gd name="connsiteX61" fmla="*/ 6497 w 9857"/>
                <a:gd name="connsiteY61" fmla="*/ 6462 h 10000"/>
                <a:gd name="connsiteX62" fmla="*/ 6132 w 9857"/>
                <a:gd name="connsiteY62" fmla="*/ 6670 h 10000"/>
                <a:gd name="connsiteX63" fmla="*/ 9857 w 9857"/>
                <a:gd name="connsiteY63" fmla="*/ 2219 h 10000"/>
                <a:gd name="connsiteX64" fmla="*/ 9766 w 9857"/>
                <a:gd name="connsiteY64" fmla="*/ 1736 h 10000"/>
                <a:gd name="connsiteX65" fmla="*/ 9766 w 9857"/>
                <a:gd name="connsiteY65" fmla="*/ 1061 h 10000"/>
                <a:gd name="connsiteX66" fmla="*/ 9526 w 9857"/>
                <a:gd name="connsiteY66" fmla="*/ 836 h 10000"/>
                <a:gd name="connsiteX67" fmla="*/ 9479 w 9857"/>
                <a:gd name="connsiteY67" fmla="*/ 611 h 10000"/>
                <a:gd name="connsiteX68" fmla="*/ 9100 w 9857"/>
                <a:gd name="connsiteY68" fmla="*/ 289 h 10000"/>
                <a:gd name="connsiteX69" fmla="*/ 8768 w 9857"/>
                <a:gd name="connsiteY69" fmla="*/ 161 h 10000"/>
                <a:gd name="connsiteX70" fmla="*/ 8580 w 9857"/>
                <a:gd name="connsiteY70" fmla="*/ 0 h 10000"/>
                <a:gd name="connsiteX71" fmla="*/ 8296 w 9857"/>
                <a:gd name="connsiteY71" fmla="*/ 161 h 10000"/>
                <a:gd name="connsiteX72" fmla="*/ 8104 w 9857"/>
                <a:gd name="connsiteY72" fmla="*/ 129 h 10000"/>
                <a:gd name="connsiteX73" fmla="*/ 7961 w 9857"/>
                <a:gd name="connsiteY73" fmla="*/ 418 h 10000"/>
                <a:gd name="connsiteX74" fmla="*/ 7583 w 9857"/>
                <a:gd name="connsiteY74" fmla="*/ 482 h 10000"/>
                <a:gd name="connsiteX75" fmla="*/ 7488 w 9857"/>
                <a:gd name="connsiteY75" fmla="*/ 707 h 10000"/>
                <a:gd name="connsiteX76" fmla="*/ 7156 w 9857"/>
                <a:gd name="connsiteY76" fmla="*/ 707 h 10000"/>
                <a:gd name="connsiteX77" fmla="*/ 6872 w 9857"/>
                <a:gd name="connsiteY77" fmla="*/ 611 h 10000"/>
                <a:gd name="connsiteX78" fmla="*/ 6256 w 9857"/>
                <a:gd name="connsiteY78" fmla="*/ 611 h 10000"/>
                <a:gd name="connsiteX79" fmla="*/ 5640 w 9857"/>
                <a:gd name="connsiteY79" fmla="*/ 611 h 10000"/>
                <a:gd name="connsiteX80" fmla="*/ 5688 w 9857"/>
                <a:gd name="connsiteY80" fmla="*/ 482 h 10000"/>
                <a:gd name="connsiteX81" fmla="*/ 5593 w 9857"/>
                <a:gd name="connsiteY81" fmla="*/ 482 h 10000"/>
                <a:gd name="connsiteX82" fmla="*/ 5546 w 9857"/>
                <a:gd name="connsiteY82" fmla="*/ 611 h 10000"/>
                <a:gd name="connsiteX83" fmla="*/ 4976 w 9857"/>
                <a:gd name="connsiteY83" fmla="*/ 611 h 10000"/>
                <a:gd name="connsiteX84" fmla="*/ 4409 w 9857"/>
                <a:gd name="connsiteY84" fmla="*/ 611 h 10000"/>
                <a:gd name="connsiteX85" fmla="*/ 3841 w 9857"/>
                <a:gd name="connsiteY85" fmla="*/ 611 h 10000"/>
                <a:gd name="connsiteX86" fmla="*/ 3271 w 9857"/>
                <a:gd name="connsiteY86" fmla="*/ 611 h 10000"/>
                <a:gd name="connsiteX87" fmla="*/ 2751 w 9857"/>
                <a:gd name="connsiteY87" fmla="*/ 611 h 10000"/>
                <a:gd name="connsiteX88" fmla="*/ 2182 w 9857"/>
                <a:gd name="connsiteY88" fmla="*/ 611 h 10000"/>
                <a:gd name="connsiteX89" fmla="*/ 1660 w 9857"/>
                <a:gd name="connsiteY89" fmla="*/ 611 h 10000"/>
                <a:gd name="connsiteX90" fmla="*/ 1091 w 9857"/>
                <a:gd name="connsiteY90" fmla="*/ 611 h 10000"/>
                <a:gd name="connsiteX91" fmla="*/ 1091 w 9857"/>
                <a:gd name="connsiteY91" fmla="*/ 1061 h 10000"/>
                <a:gd name="connsiteX92" fmla="*/ 1091 w 9857"/>
                <a:gd name="connsiteY92" fmla="*/ 1640 h 10000"/>
                <a:gd name="connsiteX93" fmla="*/ 381 w 9857"/>
                <a:gd name="connsiteY93" fmla="*/ 1640 h 10000"/>
                <a:gd name="connsiteX94" fmla="*/ 381 w 9857"/>
                <a:gd name="connsiteY94" fmla="*/ 1897 h 10000"/>
                <a:gd name="connsiteX0" fmla="*/ 387 w 9908"/>
                <a:gd name="connsiteY0" fmla="*/ 1897 h 10000"/>
                <a:gd name="connsiteX1" fmla="*/ 5971 w 9908"/>
                <a:gd name="connsiteY1" fmla="*/ 6915 h 10000"/>
                <a:gd name="connsiteX2" fmla="*/ 5576 w 9908"/>
                <a:gd name="connsiteY2" fmla="*/ 7114 h 10000"/>
                <a:gd name="connsiteX3" fmla="*/ 5245 w 9908"/>
                <a:gd name="connsiteY3" fmla="*/ 6907 h 10000"/>
                <a:gd name="connsiteX4" fmla="*/ 4764 w 9908"/>
                <a:gd name="connsiteY4" fmla="*/ 6781 h 10000"/>
                <a:gd name="connsiteX5" fmla="*/ 4525 w 9908"/>
                <a:gd name="connsiteY5" fmla="*/ 7064 h 10000"/>
                <a:gd name="connsiteX6" fmla="*/ 3932 w 9908"/>
                <a:gd name="connsiteY6" fmla="*/ 7281 h 10000"/>
                <a:gd name="connsiteX7" fmla="*/ 3553 w 9908"/>
                <a:gd name="connsiteY7" fmla="*/ 7279 h 10000"/>
                <a:gd name="connsiteX8" fmla="*/ 2723 w 9908"/>
                <a:gd name="connsiteY8" fmla="*/ 7095 h 10000"/>
                <a:gd name="connsiteX9" fmla="*/ 2501 w 9908"/>
                <a:gd name="connsiteY9" fmla="*/ 7195 h 10000"/>
                <a:gd name="connsiteX10" fmla="*/ 1947 w 9908"/>
                <a:gd name="connsiteY10" fmla="*/ 6973 h 10000"/>
                <a:gd name="connsiteX11" fmla="*/ 1702 w 9908"/>
                <a:gd name="connsiteY11" fmla="*/ 6638 h 10000"/>
                <a:gd name="connsiteX12" fmla="*/ 1296 w 9908"/>
                <a:gd name="connsiteY12" fmla="*/ 6729 h 10000"/>
                <a:gd name="connsiteX13" fmla="*/ 1185 w 9908"/>
                <a:gd name="connsiteY13" fmla="*/ 6927 h 10000"/>
                <a:gd name="connsiteX14" fmla="*/ 756 w 9908"/>
                <a:gd name="connsiteY14" fmla="*/ 7011 h 10000"/>
                <a:gd name="connsiteX15" fmla="*/ 472 w 9908"/>
                <a:gd name="connsiteY15" fmla="*/ 7004 h 10000"/>
                <a:gd name="connsiteX16" fmla="*/ 316 w 9908"/>
                <a:gd name="connsiteY16" fmla="*/ 7161 h 10000"/>
                <a:gd name="connsiteX17" fmla="*/ 51 w 9908"/>
                <a:gd name="connsiteY17" fmla="*/ 6913 h 10000"/>
                <a:gd name="connsiteX18" fmla="*/ 0 w 9908"/>
                <a:gd name="connsiteY18" fmla="*/ 7363 h 10000"/>
                <a:gd name="connsiteX19" fmla="*/ 96 w 9908"/>
                <a:gd name="connsiteY19" fmla="*/ 7428 h 10000"/>
                <a:gd name="connsiteX20" fmla="*/ 482 w 9908"/>
                <a:gd name="connsiteY20" fmla="*/ 7460 h 10000"/>
                <a:gd name="connsiteX21" fmla="*/ 532 w 9908"/>
                <a:gd name="connsiteY21" fmla="*/ 7588 h 10000"/>
                <a:gd name="connsiteX22" fmla="*/ 962 w 9908"/>
                <a:gd name="connsiteY22" fmla="*/ 7621 h 10000"/>
                <a:gd name="connsiteX23" fmla="*/ 1204 w 9908"/>
                <a:gd name="connsiteY23" fmla="*/ 7749 h 10000"/>
                <a:gd name="connsiteX24" fmla="*/ 1250 w 9908"/>
                <a:gd name="connsiteY24" fmla="*/ 7974 h 10000"/>
                <a:gd name="connsiteX25" fmla="*/ 2022 w 9908"/>
                <a:gd name="connsiteY25" fmla="*/ 8360 h 10000"/>
                <a:gd name="connsiteX26" fmla="*/ 2214 w 9908"/>
                <a:gd name="connsiteY26" fmla="*/ 8746 h 10000"/>
                <a:gd name="connsiteX27" fmla="*/ 2741 w 9908"/>
                <a:gd name="connsiteY27" fmla="*/ 8939 h 10000"/>
                <a:gd name="connsiteX28" fmla="*/ 2934 w 9908"/>
                <a:gd name="connsiteY28" fmla="*/ 9196 h 10000"/>
                <a:gd name="connsiteX29" fmla="*/ 3318 w 9908"/>
                <a:gd name="connsiteY29" fmla="*/ 9518 h 10000"/>
                <a:gd name="connsiteX30" fmla="*/ 3609 w 9908"/>
                <a:gd name="connsiteY30" fmla="*/ 9614 h 10000"/>
                <a:gd name="connsiteX31" fmla="*/ 3800 w 9908"/>
                <a:gd name="connsiteY31" fmla="*/ 9518 h 10000"/>
                <a:gd name="connsiteX32" fmla="*/ 4280 w 9908"/>
                <a:gd name="connsiteY32" fmla="*/ 9550 h 10000"/>
                <a:gd name="connsiteX33" fmla="*/ 4473 w 9908"/>
                <a:gd name="connsiteY33" fmla="*/ 9486 h 10000"/>
                <a:gd name="connsiteX34" fmla="*/ 5337 w 9908"/>
                <a:gd name="connsiteY34" fmla="*/ 9968 h 10000"/>
                <a:gd name="connsiteX35" fmla="*/ 5387 w 9908"/>
                <a:gd name="connsiteY35" fmla="*/ 9968 h 10000"/>
                <a:gd name="connsiteX36" fmla="*/ 5482 w 9908"/>
                <a:gd name="connsiteY36" fmla="*/ 9904 h 10000"/>
                <a:gd name="connsiteX37" fmla="*/ 6104 w 9908"/>
                <a:gd name="connsiteY37" fmla="*/ 9904 h 10000"/>
                <a:gd name="connsiteX38" fmla="*/ 6203 w 9908"/>
                <a:gd name="connsiteY38" fmla="*/ 10000 h 10000"/>
                <a:gd name="connsiteX39" fmla="*/ 6732 w 9908"/>
                <a:gd name="connsiteY39" fmla="*/ 9871 h 10000"/>
                <a:gd name="connsiteX40" fmla="*/ 7211 w 9908"/>
                <a:gd name="connsiteY40" fmla="*/ 9871 h 10000"/>
                <a:gd name="connsiteX41" fmla="*/ 7549 w 9908"/>
                <a:gd name="connsiteY41" fmla="*/ 9743 h 10000"/>
                <a:gd name="connsiteX42" fmla="*/ 7935 w 9908"/>
                <a:gd name="connsiteY42" fmla="*/ 9486 h 10000"/>
                <a:gd name="connsiteX43" fmla="*/ 8944 w 9908"/>
                <a:gd name="connsiteY43" fmla="*/ 9486 h 10000"/>
                <a:gd name="connsiteX44" fmla="*/ 8944 w 9908"/>
                <a:gd name="connsiteY44" fmla="*/ 9132 h 10000"/>
                <a:gd name="connsiteX45" fmla="*/ 8416 w 9908"/>
                <a:gd name="connsiteY45" fmla="*/ 8971 h 10000"/>
                <a:gd name="connsiteX46" fmla="*/ 8126 w 9908"/>
                <a:gd name="connsiteY46" fmla="*/ 8457 h 10000"/>
                <a:gd name="connsiteX47" fmla="*/ 7743 w 9908"/>
                <a:gd name="connsiteY47" fmla="*/ 8264 h 10000"/>
                <a:gd name="connsiteX48" fmla="*/ 7500 w 9908"/>
                <a:gd name="connsiteY48" fmla="*/ 8006 h 10000"/>
                <a:gd name="connsiteX49" fmla="*/ 6876 w 9908"/>
                <a:gd name="connsiteY49" fmla="*/ 7814 h 10000"/>
                <a:gd name="connsiteX50" fmla="*/ 7020 w 9908"/>
                <a:gd name="connsiteY50" fmla="*/ 7749 h 10000"/>
                <a:gd name="connsiteX51" fmla="*/ 7020 w 9908"/>
                <a:gd name="connsiteY51" fmla="*/ 7588 h 10000"/>
                <a:gd name="connsiteX52" fmla="*/ 7455 w 9908"/>
                <a:gd name="connsiteY52" fmla="*/ 7588 h 10000"/>
                <a:gd name="connsiteX53" fmla="*/ 7693 w 9908"/>
                <a:gd name="connsiteY53" fmla="*/ 7460 h 10000"/>
                <a:gd name="connsiteX54" fmla="*/ 7743 w 9908"/>
                <a:gd name="connsiteY54" fmla="*/ 6527 h 10000"/>
                <a:gd name="connsiteX55" fmla="*/ 7789 w 9908"/>
                <a:gd name="connsiteY55" fmla="*/ 6559 h 10000"/>
                <a:gd name="connsiteX56" fmla="*/ 7618 w 9908"/>
                <a:gd name="connsiteY56" fmla="*/ 6618 h 10000"/>
                <a:gd name="connsiteX57" fmla="*/ 7551 w 9908"/>
                <a:gd name="connsiteY57" fmla="*/ 6745 h 10000"/>
                <a:gd name="connsiteX58" fmla="*/ 7121 w 9908"/>
                <a:gd name="connsiteY58" fmla="*/ 6497 h 10000"/>
                <a:gd name="connsiteX59" fmla="*/ 7044 w 9908"/>
                <a:gd name="connsiteY59" fmla="*/ 5828 h 10000"/>
                <a:gd name="connsiteX60" fmla="*/ 6584 w 9908"/>
                <a:gd name="connsiteY60" fmla="*/ 6118 h 10000"/>
                <a:gd name="connsiteX61" fmla="*/ 6591 w 9908"/>
                <a:gd name="connsiteY61" fmla="*/ 6462 h 10000"/>
                <a:gd name="connsiteX62" fmla="*/ 6221 w 9908"/>
                <a:gd name="connsiteY62" fmla="*/ 6670 h 10000"/>
                <a:gd name="connsiteX63" fmla="*/ 9908 w 9908"/>
                <a:gd name="connsiteY63" fmla="*/ 1736 h 10000"/>
                <a:gd name="connsiteX64" fmla="*/ 9908 w 9908"/>
                <a:gd name="connsiteY64" fmla="*/ 1061 h 10000"/>
                <a:gd name="connsiteX65" fmla="*/ 9664 w 9908"/>
                <a:gd name="connsiteY65" fmla="*/ 836 h 10000"/>
                <a:gd name="connsiteX66" fmla="*/ 9617 w 9908"/>
                <a:gd name="connsiteY66" fmla="*/ 611 h 10000"/>
                <a:gd name="connsiteX67" fmla="*/ 9232 w 9908"/>
                <a:gd name="connsiteY67" fmla="*/ 289 h 10000"/>
                <a:gd name="connsiteX68" fmla="*/ 8895 w 9908"/>
                <a:gd name="connsiteY68" fmla="*/ 161 h 10000"/>
                <a:gd name="connsiteX69" fmla="*/ 8704 w 9908"/>
                <a:gd name="connsiteY69" fmla="*/ 0 h 10000"/>
                <a:gd name="connsiteX70" fmla="*/ 8416 w 9908"/>
                <a:gd name="connsiteY70" fmla="*/ 161 h 10000"/>
                <a:gd name="connsiteX71" fmla="*/ 8222 w 9908"/>
                <a:gd name="connsiteY71" fmla="*/ 129 h 10000"/>
                <a:gd name="connsiteX72" fmla="*/ 8076 w 9908"/>
                <a:gd name="connsiteY72" fmla="*/ 418 h 10000"/>
                <a:gd name="connsiteX73" fmla="*/ 7693 w 9908"/>
                <a:gd name="connsiteY73" fmla="*/ 482 h 10000"/>
                <a:gd name="connsiteX74" fmla="*/ 7597 w 9908"/>
                <a:gd name="connsiteY74" fmla="*/ 707 h 10000"/>
                <a:gd name="connsiteX75" fmla="*/ 7260 w 9908"/>
                <a:gd name="connsiteY75" fmla="*/ 707 h 10000"/>
                <a:gd name="connsiteX76" fmla="*/ 6972 w 9908"/>
                <a:gd name="connsiteY76" fmla="*/ 611 h 10000"/>
                <a:gd name="connsiteX77" fmla="*/ 6347 w 9908"/>
                <a:gd name="connsiteY77" fmla="*/ 611 h 10000"/>
                <a:gd name="connsiteX78" fmla="*/ 5722 w 9908"/>
                <a:gd name="connsiteY78" fmla="*/ 611 h 10000"/>
                <a:gd name="connsiteX79" fmla="*/ 5771 w 9908"/>
                <a:gd name="connsiteY79" fmla="*/ 482 h 10000"/>
                <a:gd name="connsiteX80" fmla="*/ 5674 w 9908"/>
                <a:gd name="connsiteY80" fmla="*/ 482 h 10000"/>
                <a:gd name="connsiteX81" fmla="*/ 5626 w 9908"/>
                <a:gd name="connsiteY81" fmla="*/ 611 h 10000"/>
                <a:gd name="connsiteX82" fmla="*/ 5048 w 9908"/>
                <a:gd name="connsiteY82" fmla="*/ 611 h 10000"/>
                <a:gd name="connsiteX83" fmla="*/ 4473 w 9908"/>
                <a:gd name="connsiteY83" fmla="*/ 611 h 10000"/>
                <a:gd name="connsiteX84" fmla="*/ 3897 w 9908"/>
                <a:gd name="connsiteY84" fmla="*/ 611 h 10000"/>
                <a:gd name="connsiteX85" fmla="*/ 3318 w 9908"/>
                <a:gd name="connsiteY85" fmla="*/ 611 h 10000"/>
                <a:gd name="connsiteX86" fmla="*/ 2791 w 9908"/>
                <a:gd name="connsiteY86" fmla="*/ 611 h 10000"/>
                <a:gd name="connsiteX87" fmla="*/ 2214 w 9908"/>
                <a:gd name="connsiteY87" fmla="*/ 611 h 10000"/>
                <a:gd name="connsiteX88" fmla="*/ 1684 w 9908"/>
                <a:gd name="connsiteY88" fmla="*/ 611 h 10000"/>
                <a:gd name="connsiteX89" fmla="*/ 1107 w 9908"/>
                <a:gd name="connsiteY89" fmla="*/ 611 h 10000"/>
                <a:gd name="connsiteX90" fmla="*/ 1107 w 9908"/>
                <a:gd name="connsiteY90" fmla="*/ 1061 h 10000"/>
                <a:gd name="connsiteX91" fmla="*/ 1107 w 9908"/>
                <a:gd name="connsiteY91" fmla="*/ 1640 h 10000"/>
                <a:gd name="connsiteX92" fmla="*/ 387 w 9908"/>
                <a:gd name="connsiteY92" fmla="*/ 1640 h 10000"/>
                <a:gd name="connsiteX93" fmla="*/ 387 w 9908"/>
                <a:gd name="connsiteY93" fmla="*/ 1897 h 10000"/>
                <a:gd name="connsiteX0" fmla="*/ 391 w 10000"/>
                <a:gd name="connsiteY0" fmla="*/ 1897 h 10000"/>
                <a:gd name="connsiteX1" fmla="*/ 6026 w 10000"/>
                <a:gd name="connsiteY1" fmla="*/ 6915 h 10000"/>
                <a:gd name="connsiteX2" fmla="*/ 5628 w 10000"/>
                <a:gd name="connsiteY2" fmla="*/ 7114 h 10000"/>
                <a:gd name="connsiteX3" fmla="*/ 5294 w 10000"/>
                <a:gd name="connsiteY3" fmla="*/ 6907 h 10000"/>
                <a:gd name="connsiteX4" fmla="*/ 4808 w 10000"/>
                <a:gd name="connsiteY4" fmla="*/ 6781 h 10000"/>
                <a:gd name="connsiteX5" fmla="*/ 4567 w 10000"/>
                <a:gd name="connsiteY5" fmla="*/ 7064 h 10000"/>
                <a:gd name="connsiteX6" fmla="*/ 3969 w 10000"/>
                <a:gd name="connsiteY6" fmla="*/ 7281 h 10000"/>
                <a:gd name="connsiteX7" fmla="*/ 3586 w 10000"/>
                <a:gd name="connsiteY7" fmla="*/ 7279 h 10000"/>
                <a:gd name="connsiteX8" fmla="*/ 2748 w 10000"/>
                <a:gd name="connsiteY8" fmla="*/ 7095 h 10000"/>
                <a:gd name="connsiteX9" fmla="*/ 2524 w 10000"/>
                <a:gd name="connsiteY9" fmla="*/ 7195 h 10000"/>
                <a:gd name="connsiteX10" fmla="*/ 1965 w 10000"/>
                <a:gd name="connsiteY10" fmla="*/ 6973 h 10000"/>
                <a:gd name="connsiteX11" fmla="*/ 1718 w 10000"/>
                <a:gd name="connsiteY11" fmla="*/ 6638 h 10000"/>
                <a:gd name="connsiteX12" fmla="*/ 1308 w 10000"/>
                <a:gd name="connsiteY12" fmla="*/ 6729 h 10000"/>
                <a:gd name="connsiteX13" fmla="*/ 1196 w 10000"/>
                <a:gd name="connsiteY13" fmla="*/ 6927 h 10000"/>
                <a:gd name="connsiteX14" fmla="*/ 763 w 10000"/>
                <a:gd name="connsiteY14" fmla="*/ 7011 h 10000"/>
                <a:gd name="connsiteX15" fmla="*/ 476 w 10000"/>
                <a:gd name="connsiteY15" fmla="*/ 7004 h 10000"/>
                <a:gd name="connsiteX16" fmla="*/ 319 w 10000"/>
                <a:gd name="connsiteY16" fmla="*/ 7161 h 10000"/>
                <a:gd name="connsiteX17" fmla="*/ 51 w 10000"/>
                <a:gd name="connsiteY17" fmla="*/ 6913 h 10000"/>
                <a:gd name="connsiteX18" fmla="*/ 0 w 10000"/>
                <a:gd name="connsiteY18" fmla="*/ 7363 h 10000"/>
                <a:gd name="connsiteX19" fmla="*/ 97 w 10000"/>
                <a:gd name="connsiteY19" fmla="*/ 7428 h 10000"/>
                <a:gd name="connsiteX20" fmla="*/ 486 w 10000"/>
                <a:gd name="connsiteY20" fmla="*/ 7460 h 10000"/>
                <a:gd name="connsiteX21" fmla="*/ 537 w 10000"/>
                <a:gd name="connsiteY21" fmla="*/ 7588 h 10000"/>
                <a:gd name="connsiteX22" fmla="*/ 971 w 10000"/>
                <a:gd name="connsiteY22" fmla="*/ 7621 h 10000"/>
                <a:gd name="connsiteX23" fmla="*/ 1215 w 10000"/>
                <a:gd name="connsiteY23" fmla="*/ 7749 h 10000"/>
                <a:gd name="connsiteX24" fmla="*/ 1262 w 10000"/>
                <a:gd name="connsiteY24" fmla="*/ 7974 h 10000"/>
                <a:gd name="connsiteX25" fmla="*/ 2041 w 10000"/>
                <a:gd name="connsiteY25" fmla="*/ 8360 h 10000"/>
                <a:gd name="connsiteX26" fmla="*/ 2235 w 10000"/>
                <a:gd name="connsiteY26" fmla="*/ 8746 h 10000"/>
                <a:gd name="connsiteX27" fmla="*/ 2766 w 10000"/>
                <a:gd name="connsiteY27" fmla="*/ 8939 h 10000"/>
                <a:gd name="connsiteX28" fmla="*/ 2961 w 10000"/>
                <a:gd name="connsiteY28" fmla="*/ 9196 h 10000"/>
                <a:gd name="connsiteX29" fmla="*/ 3349 w 10000"/>
                <a:gd name="connsiteY29" fmla="*/ 9518 h 10000"/>
                <a:gd name="connsiteX30" fmla="*/ 3643 w 10000"/>
                <a:gd name="connsiteY30" fmla="*/ 9614 h 10000"/>
                <a:gd name="connsiteX31" fmla="*/ 3835 w 10000"/>
                <a:gd name="connsiteY31" fmla="*/ 9518 h 10000"/>
                <a:gd name="connsiteX32" fmla="*/ 4320 w 10000"/>
                <a:gd name="connsiteY32" fmla="*/ 9550 h 10000"/>
                <a:gd name="connsiteX33" fmla="*/ 4515 w 10000"/>
                <a:gd name="connsiteY33" fmla="*/ 9486 h 10000"/>
                <a:gd name="connsiteX34" fmla="*/ 5387 w 10000"/>
                <a:gd name="connsiteY34" fmla="*/ 9968 h 10000"/>
                <a:gd name="connsiteX35" fmla="*/ 5437 w 10000"/>
                <a:gd name="connsiteY35" fmla="*/ 9968 h 10000"/>
                <a:gd name="connsiteX36" fmla="*/ 5533 w 10000"/>
                <a:gd name="connsiteY36" fmla="*/ 9904 h 10000"/>
                <a:gd name="connsiteX37" fmla="*/ 6161 w 10000"/>
                <a:gd name="connsiteY37" fmla="*/ 9904 h 10000"/>
                <a:gd name="connsiteX38" fmla="*/ 6261 w 10000"/>
                <a:gd name="connsiteY38" fmla="*/ 10000 h 10000"/>
                <a:gd name="connsiteX39" fmla="*/ 6795 w 10000"/>
                <a:gd name="connsiteY39" fmla="*/ 9871 h 10000"/>
                <a:gd name="connsiteX40" fmla="*/ 7278 w 10000"/>
                <a:gd name="connsiteY40" fmla="*/ 9871 h 10000"/>
                <a:gd name="connsiteX41" fmla="*/ 7619 w 10000"/>
                <a:gd name="connsiteY41" fmla="*/ 9743 h 10000"/>
                <a:gd name="connsiteX42" fmla="*/ 8009 w 10000"/>
                <a:gd name="connsiteY42" fmla="*/ 9486 h 10000"/>
                <a:gd name="connsiteX43" fmla="*/ 9027 w 10000"/>
                <a:gd name="connsiteY43" fmla="*/ 9486 h 10000"/>
                <a:gd name="connsiteX44" fmla="*/ 9027 w 10000"/>
                <a:gd name="connsiteY44" fmla="*/ 9132 h 10000"/>
                <a:gd name="connsiteX45" fmla="*/ 8494 w 10000"/>
                <a:gd name="connsiteY45" fmla="*/ 8971 h 10000"/>
                <a:gd name="connsiteX46" fmla="*/ 8201 w 10000"/>
                <a:gd name="connsiteY46" fmla="*/ 8457 h 10000"/>
                <a:gd name="connsiteX47" fmla="*/ 7815 w 10000"/>
                <a:gd name="connsiteY47" fmla="*/ 8264 h 10000"/>
                <a:gd name="connsiteX48" fmla="*/ 7570 w 10000"/>
                <a:gd name="connsiteY48" fmla="*/ 8006 h 10000"/>
                <a:gd name="connsiteX49" fmla="*/ 6940 w 10000"/>
                <a:gd name="connsiteY49" fmla="*/ 7814 h 10000"/>
                <a:gd name="connsiteX50" fmla="*/ 7085 w 10000"/>
                <a:gd name="connsiteY50" fmla="*/ 7749 h 10000"/>
                <a:gd name="connsiteX51" fmla="*/ 7085 w 10000"/>
                <a:gd name="connsiteY51" fmla="*/ 7588 h 10000"/>
                <a:gd name="connsiteX52" fmla="*/ 7524 w 10000"/>
                <a:gd name="connsiteY52" fmla="*/ 7588 h 10000"/>
                <a:gd name="connsiteX53" fmla="*/ 7764 w 10000"/>
                <a:gd name="connsiteY53" fmla="*/ 7460 h 10000"/>
                <a:gd name="connsiteX54" fmla="*/ 7815 w 10000"/>
                <a:gd name="connsiteY54" fmla="*/ 6527 h 10000"/>
                <a:gd name="connsiteX55" fmla="*/ 7861 w 10000"/>
                <a:gd name="connsiteY55" fmla="*/ 6559 h 10000"/>
                <a:gd name="connsiteX56" fmla="*/ 7689 w 10000"/>
                <a:gd name="connsiteY56" fmla="*/ 6618 h 10000"/>
                <a:gd name="connsiteX57" fmla="*/ 7621 w 10000"/>
                <a:gd name="connsiteY57" fmla="*/ 6745 h 10000"/>
                <a:gd name="connsiteX58" fmla="*/ 7187 w 10000"/>
                <a:gd name="connsiteY58" fmla="*/ 6497 h 10000"/>
                <a:gd name="connsiteX59" fmla="*/ 7109 w 10000"/>
                <a:gd name="connsiteY59" fmla="*/ 5828 h 10000"/>
                <a:gd name="connsiteX60" fmla="*/ 6645 w 10000"/>
                <a:gd name="connsiteY60" fmla="*/ 6118 h 10000"/>
                <a:gd name="connsiteX61" fmla="*/ 6652 w 10000"/>
                <a:gd name="connsiteY61" fmla="*/ 6462 h 10000"/>
                <a:gd name="connsiteX62" fmla="*/ 6279 w 10000"/>
                <a:gd name="connsiteY62" fmla="*/ 6670 h 10000"/>
                <a:gd name="connsiteX63" fmla="*/ 10000 w 10000"/>
                <a:gd name="connsiteY63" fmla="*/ 1061 h 10000"/>
                <a:gd name="connsiteX64" fmla="*/ 9754 w 10000"/>
                <a:gd name="connsiteY64" fmla="*/ 836 h 10000"/>
                <a:gd name="connsiteX65" fmla="*/ 9706 w 10000"/>
                <a:gd name="connsiteY65" fmla="*/ 611 h 10000"/>
                <a:gd name="connsiteX66" fmla="*/ 9318 w 10000"/>
                <a:gd name="connsiteY66" fmla="*/ 289 h 10000"/>
                <a:gd name="connsiteX67" fmla="*/ 8978 w 10000"/>
                <a:gd name="connsiteY67" fmla="*/ 161 h 10000"/>
                <a:gd name="connsiteX68" fmla="*/ 8785 w 10000"/>
                <a:gd name="connsiteY68" fmla="*/ 0 h 10000"/>
                <a:gd name="connsiteX69" fmla="*/ 8494 w 10000"/>
                <a:gd name="connsiteY69" fmla="*/ 161 h 10000"/>
                <a:gd name="connsiteX70" fmla="*/ 8298 w 10000"/>
                <a:gd name="connsiteY70" fmla="*/ 129 h 10000"/>
                <a:gd name="connsiteX71" fmla="*/ 8151 w 10000"/>
                <a:gd name="connsiteY71" fmla="*/ 418 h 10000"/>
                <a:gd name="connsiteX72" fmla="*/ 7764 w 10000"/>
                <a:gd name="connsiteY72" fmla="*/ 482 h 10000"/>
                <a:gd name="connsiteX73" fmla="*/ 7668 w 10000"/>
                <a:gd name="connsiteY73" fmla="*/ 707 h 10000"/>
                <a:gd name="connsiteX74" fmla="*/ 7327 w 10000"/>
                <a:gd name="connsiteY74" fmla="*/ 707 h 10000"/>
                <a:gd name="connsiteX75" fmla="*/ 7037 w 10000"/>
                <a:gd name="connsiteY75" fmla="*/ 611 h 10000"/>
                <a:gd name="connsiteX76" fmla="*/ 6406 w 10000"/>
                <a:gd name="connsiteY76" fmla="*/ 611 h 10000"/>
                <a:gd name="connsiteX77" fmla="*/ 5775 w 10000"/>
                <a:gd name="connsiteY77" fmla="*/ 611 h 10000"/>
                <a:gd name="connsiteX78" fmla="*/ 5825 w 10000"/>
                <a:gd name="connsiteY78" fmla="*/ 482 h 10000"/>
                <a:gd name="connsiteX79" fmla="*/ 5727 w 10000"/>
                <a:gd name="connsiteY79" fmla="*/ 482 h 10000"/>
                <a:gd name="connsiteX80" fmla="*/ 5678 w 10000"/>
                <a:gd name="connsiteY80" fmla="*/ 611 h 10000"/>
                <a:gd name="connsiteX81" fmla="*/ 5095 w 10000"/>
                <a:gd name="connsiteY81" fmla="*/ 611 h 10000"/>
                <a:gd name="connsiteX82" fmla="*/ 4515 w 10000"/>
                <a:gd name="connsiteY82" fmla="*/ 611 h 10000"/>
                <a:gd name="connsiteX83" fmla="*/ 3933 w 10000"/>
                <a:gd name="connsiteY83" fmla="*/ 611 h 10000"/>
                <a:gd name="connsiteX84" fmla="*/ 3349 w 10000"/>
                <a:gd name="connsiteY84" fmla="*/ 611 h 10000"/>
                <a:gd name="connsiteX85" fmla="*/ 2817 w 10000"/>
                <a:gd name="connsiteY85" fmla="*/ 611 h 10000"/>
                <a:gd name="connsiteX86" fmla="*/ 2235 w 10000"/>
                <a:gd name="connsiteY86" fmla="*/ 611 h 10000"/>
                <a:gd name="connsiteX87" fmla="*/ 1700 w 10000"/>
                <a:gd name="connsiteY87" fmla="*/ 611 h 10000"/>
                <a:gd name="connsiteX88" fmla="*/ 1117 w 10000"/>
                <a:gd name="connsiteY88" fmla="*/ 611 h 10000"/>
                <a:gd name="connsiteX89" fmla="*/ 1117 w 10000"/>
                <a:gd name="connsiteY89" fmla="*/ 1061 h 10000"/>
                <a:gd name="connsiteX90" fmla="*/ 1117 w 10000"/>
                <a:gd name="connsiteY90" fmla="*/ 1640 h 10000"/>
                <a:gd name="connsiteX91" fmla="*/ 391 w 10000"/>
                <a:gd name="connsiteY91" fmla="*/ 1640 h 10000"/>
                <a:gd name="connsiteX92" fmla="*/ 391 w 10000"/>
                <a:gd name="connsiteY92" fmla="*/ 1897 h 10000"/>
                <a:gd name="connsiteX0" fmla="*/ 391 w 9754"/>
                <a:gd name="connsiteY0" fmla="*/ 1897 h 10000"/>
                <a:gd name="connsiteX1" fmla="*/ 6026 w 9754"/>
                <a:gd name="connsiteY1" fmla="*/ 6915 h 10000"/>
                <a:gd name="connsiteX2" fmla="*/ 5628 w 9754"/>
                <a:gd name="connsiteY2" fmla="*/ 7114 h 10000"/>
                <a:gd name="connsiteX3" fmla="*/ 5294 w 9754"/>
                <a:gd name="connsiteY3" fmla="*/ 6907 h 10000"/>
                <a:gd name="connsiteX4" fmla="*/ 4808 w 9754"/>
                <a:gd name="connsiteY4" fmla="*/ 6781 h 10000"/>
                <a:gd name="connsiteX5" fmla="*/ 4567 w 9754"/>
                <a:gd name="connsiteY5" fmla="*/ 7064 h 10000"/>
                <a:gd name="connsiteX6" fmla="*/ 3969 w 9754"/>
                <a:gd name="connsiteY6" fmla="*/ 7281 h 10000"/>
                <a:gd name="connsiteX7" fmla="*/ 3586 w 9754"/>
                <a:gd name="connsiteY7" fmla="*/ 7279 h 10000"/>
                <a:gd name="connsiteX8" fmla="*/ 2748 w 9754"/>
                <a:gd name="connsiteY8" fmla="*/ 7095 h 10000"/>
                <a:gd name="connsiteX9" fmla="*/ 2524 w 9754"/>
                <a:gd name="connsiteY9" fmla="*/ 7195 h 10000"/>
                <a:gd name="connsiteX10" fmla="*/ 1965 w 9754"/>
                <a:gd name="connsiteY10" fmla="*/ 6973 h 10000"/>
                <a:gd name="connsiteX11" fmla="*/ 1718 w 9754"/>
                <a:gd name="connsiteY11" fmla="*/ 6638 h 10000"/>
                <a:gd name="connsiteX12" fmla="*/ 1308 w 9754"/>
                <a:gd name="connsiteY12" fmla="*/ 6729 h 10000"/>
                <a:gd name="connsiteX13" fmla="*/ 1196 w 9754"/>
                <a:gd name="connsiteY13" fmla="*/ 6927 h 10000"/>
                <a:gd name="connsiteX14" fmla="*/ 763 w 9754"/>
                <a:gd name="connsiteY14" fmla="*/ 7011 h 10000"/>
                <a:gd name="connsiteX15" fmla="*/ 476 w 9754"/>
                <a:gd name="connsiteY15" fmla="*/ 7004 h 10000"/>
                <a:gd name="connsiteX16" fmla="*/ 319 w 9754"/>
                <a:gd name="connsiteY16" fmla="*/ 7161 h 10000"/>
                <a:gd name="connsiteX17" fmla="*/ 51 w 9754"/>
                <a:gd name="connsiteY17" fmla="*/ 6913 h 10000"/>
                <a:gd name="connsiteX18" fmla="*/ 0 w 9754"/>
                <a:gd name="connsiteY18" fmla="*/ 7363 h 10000"/>
                <a:gd name="connsiteX19" fmla="*/ 97 w 9754"/>
                <a:gd name="connsiteY19" fmla="*/ 7428 h 10000"/>
                <a:gd name="connsiteX20" fmla="*/ 486 w 9754"/>
                <a:gd name="connsiteY20" fmla="*/ 7460 h 10000"/>
                <a:gd name="connsiteX21" fmla="*/ 537 w 9754"/>
                <a:gd name="connsiteY21" fmla="*/ 7588 h 10000"/>
                <a:gd name="connsiteX22" fmla="*/ 971 w 9754"/>
                <a:gd name="connsiteY22" fmla="*/ 7621 h 10000"/>
                <a:gd name="connsiteX23" fmla="*/ 1215 w 9754"/>
                <a:gd name="connsiteY23" fmla="*/ 7749 h 10000"/>
                <a:gd name="connsiteX24" fmla="*/ 1262 w 9754"/>
                <a:gd name="connsiteY24" fmla="*/ 7974 h 10000"/>
                <a:gd name="connsiteX25" fmla="*/ 2041 w 9754"/>
                <a:gd name="connsiteY25" fmla="*/ 8360 h 10000"/>
                <a:gd name="connsiteX26" fmla="*/ 2235 w 9754"/>
                <a:gd name="connsiteY26" fmla="*/ 8746 h 10000"/>
                <a:gd name="connsiteX27" fmla="*/ 2766 w 9754"/>
                <a:gd name="connsiteY27" fmla="*/ 8939 h 10000"/>
                <a:gd name="connsiteX28" fmla="*/ 2961 w 9754"/>
                <a:gd name="connsiteY28" fmla="*/ 9196 h 10000"/>
                <a:gd name="connsiteX29" fmla="*/ 3349 w 9754"/>
                <a:gd name="connsiteY29" fmla="*/ 9518 h 10000"/>
                <a:gd name="connsiteX30" fmla="*/ 3643 w 9754"/>
                <a:gd name="connsiteY30" fmla="*/ 9614 h 10000"/>
                <a:gd name="connsiteX31" fmla="*/ 3835 w 9754"/>
                <a:gd name="connsiteY31" fmla="*/ 9518 h 10000"/>
                <a:gd name="connsiteX32" fmla="*/ 4320 w 9754"/>
                <a:gd name="connsiteY32" fmla="*/ 9550 h 10000"/>
                <a:gd name="connsiteX33" fmla="*/ 4515 w 9754"/>
                <a:gd name="connsiteY33" fmla="*/ 9486 h 10000"/>
                <a:gd name="connsiteX34" fmla="*/ 5387 w 9754"/>
                <a:gd name="connsiteY34" fmla="*/ 9968 h 10000"/>
                <a:gd name="connsiteX35" fmla="*/ 5437 w 9754"/>
                <a:gd name="connsiteY35" fmla="*/ 9968 h 10000"/>
                <a:gd name="connsiteX36" fmla="*/ 5533 w 9754"/>
                <a:gd name="connsiteY36" fmla="*/ 9904 h 10000"/>
                <a:gd name="connsiteX37" fmla="*/ 6161 w 9754"/>
                <a:gd name="connsiteY37" fmla="*/ 9904 h 10000"/>
                <a:gd name="connsiteX38" fmla="*/ 6261 w 9754"/>
                <a:gd name="connsiteY38" fmla="*/ 10000 h 10000"/>
                <a:gd name="connsiteX39" fmla="*/ 6795 w 9754"/>
                <a:gd name="connsiteY39" fmla="*/ 9871 h 10000"/>
                <a:gd name="connsiteX40" fmla="*/ 7278 w 9754"/>
                <a:gd name="connsiteY40" fmla="*/ 9871 h 10000"/>
                <a:gd name="connsiteX41" fmla="*/ 7619 w 9754"/>
                <a:gd name="connsiteY41" fmla="*/ 9743 h 10000"/>
                <a:gd name="connsiteX42" fmla="*/ 8009 w 9754"/>
                <a:gd name="connsiteY42" fmla="*/ 9486 h 10000"/>
                <a:gd name="connsiteX43" fmla="*/ 9027 w 9754"/>
                <a:gd name="connsiteY43" fmla="*/ 9486 h 10000"/>
                <a:gd name="connsiteX44" fmla="*/ 9027 w 9754"/>
                <a:gd name="connsiteY44" fmla="*/ 9132 h 10000"/>
                <a:gd name="connsiteX45" fmla="*/ 8494 w 9754"/>
                <a:gd name="connsiteY45" fmla="*/ 8971 h 10000"/>
                <a:gd name="connsiteX46" fmla="*/ 8201 w 9754"/>
                <a:gd name="connsiteY46" fmla="*/ 8457 h 10000"/>
                <a:gd name="connsiteX47" fmla="*/ 7815 w 9754"/>
                <a:gd name="connsiteY47" fmla="*/ 8264 h 10000"/>
                <a:gd name="connsiteX48" fmla="*/ 7570 w 9754"/>
                <a:gd name="connsiteY48" fmla="*/ 8006 h 10000"/>
                <a:gd name="connsiteX49" fmla="*/ 6940 w 9754"/>
                <a:gd name="connsiteY49" fmla="*/ 7814 h 10000"/>
                <a:gd name="connsiteX50" fmla="*/ 7085 w 9754"/>
                <a:gd name="connsiteY50" fmla="*/ 7749 h 10000"/>
                <a:gd name="connsiteX51" fmla="*/ 7085 w 9754"/>
                <a:gd name="connsiteY51" fmla="*/ 7588 h 10000"/>
                <a:gd name="connsiteX52" fmla="*/ 7524 w 9754"/>
                <a:gd name="connsiteY52" fmla="*/ 7588 h 10000"/>
                <a:gd name="connsiteX53" fmla="*/ 7764 w 9754"/>
                <a:gd name="connsiteY53" fmla="*/ 7460 h 10000"/>
                <a:gd name="connsiteX54" fmla="*/ 7815 w 9754"/>
                <a:gd name="connsiteY54" fmla="*/ 6527 h 10000"/>
                <a:gd name="connsiteX55" fmla="*/ 7861 w 9754"/>
                <a:gd name="connsiteY55" fmla="*/ 6559 h 10000"/>
                <a:gd name="connsiteX56" fmla="*/ 7689 w 9754"/>
                <a:gd name="connsiteY56" fmla="*/ 6618 h 10000"/>
                <a:gd name="connsiteX57" fmla="*/ 7621 w 9754"/>
                <a:gd name="connsiteY57" fmla="*/ 6745 h 10000"/>
                <a:gd name="connsiteX58" fmla="*/ 7187 w 9754"/>
                <a:gd name="connsiteY58" fmla="*/ 6497 h 10000"/>
                <a:gd name="connsiteX59" fmla="*/ 7109 w 9754"/>
                <a:gd name="connsiteY59" fmla="*/ 5828 h 10000"/>
                <a:gd name="connsiteX60" fmla="*/ 6645 w 9754"/>
                <a:gd name="connsiteY60" fmla="*/ 6118 h 10000"/>
                <a:gd name="connsiteX61" fmla="*/ 6652 w 9754"/>
                <a:gd name="connsiteY61" fmla="*/ 6462 h 10000"/>
                <a:gd name="connsiteX62" fmla="*/ 6279 w 9754"/>
                <a:gd name="connsiteY62" fmla="*/ 6670 h 10000"/>
                <a:gd name="connsiteX63" fmla="*/ 9754 w 9754"/>
                <a:gd name="connsiteY63" fmla="*/ 836 h 10000"/>
                <a:gd name="connsiteX64" fmla="*/ 9706 w 9754"/>
                <a:gd name="connsiteY64" fmla="*/ 611 h 10000"/>
                <a:gd name="connsiteX65" fmla="*/ 9318 w 9754"/>
                <a:gd name="connsiteY65" fmla="*/ 289 h 10000"/>
                <a:gd name="connsiteX66" fmla="*/ 8978 w 9754"/>
                <a:gd name="connsiteY66" fmla="*/ 161 h 10000"/>
                <a:gd name="connsiteX67" fmla="*/ 8785 w 9754"/>
                <a:gd name="connsiteY67" fmla="*/ 0 h 10000"/>
                <a:gd name="connsiteX68" fmla="*/ 8494 w 9754"/>
                <a:gd name="connsiteY68" fmla="*/ 161 h 10000"/>
                <a:gd name="connsiteX69" fmla="*/ 8298 w 9754"/>
                <a:gd name="connsiteY69" fmla="*/ 129 h 10000"/>
                <a:gd name="connsiteX70" fmla="*/ 8151 w 9754"/>
                <a:gd name="connsiteY70" fmla="*/ 418 h 10000"/>
                <a:gd name="connsiteX71" fmla="*/ 7764 w 9754"/>
                <a:gd name="connsiteY71" fmla="*/ 482 h 10000"/>
                <a:gd name="connsiteX72" fmla="*/ 7668 w 9754"/>
                <a:gd name="connsiteY72" fmla="*/ 707 h 10000"/>
                <a:gd name="connsiteX73" fmla="*/ 7327 w 9754"/>
                <a:gd name="connsiteY73" fmla="*/ 707 h 10000"/>
                <a:gd name="connsiteX74" fmla="*/ 7037 w 9754"/>
                <a:gd name="connsiteY74" fmla="*/ 611 h 10000"/>
                <a:gd name="connsiteX75" fmla="*/ 6406 w 9754"/>
                <a:gd name="connsiteY75" fmla="*/ 611 h 10000"/>
                <a:gd name="connsiteX76" fmla="*/ 5775 w 9754"/>
                <a:gd name="connsiteY76" fmla="*/ 611 h 10000"/>
                <a:gd name="connsiteX77" fmla="*/ 5825 w 9754"/>
                <a:gd name="connsiteY77" fmla="*/ 482 h 10000"/>
                <a:gd name="connsiteX78" fmla="*/ 5727 w 9754"/>
                <a:gd name="connsiteY78" fmla="*/ 482 h 10000"/>
                <a:gd name="connsiteX79" fmla="*/ 5678 w 9754"/>
                <a:gd name="connsiteY79" fmla="*/ 611 h 10000"/>
                <a:gd name="connsiteX80" fmla="*/ 5095 w 9754"/>
                <a:gd name="connsiteY80" fmla="*/ 611 h 10000"/>
                <a:gd name="connsiteX81" fmla="*/ 4515 w 9754"/>
                <a:gd name="connsiteY81" fmla="*/ 611 h 10000"/>
                <a:gd name="connsiteX82" fmla="*/ 3933 w 9754"/>
                <a:gd name="connsiteY82" fmla="*/ 611 h 10000"/>
                <a:gd name="connsiteX83" fmla="*/ 3349 w 9754"/>
                <a:gd name="connsiteY83" fmla="*/ 611 h 10000"/>
                <a:gd name="connsiteX84" fmla="*/ 2817 w 9754"/>
                <a:gd name="connsiteY84" fmla="*/ 611 h 10000"/>
                <a:gd name="connsiteX85" fmla="*/ 2235 w 9754"/>
                <a:gd name="connsiteY85" fmla="*/ 611 h 10000"/>
                <a:gd name="connsiteX86" fmla="*/ 1700 w 9754"/>
                <a:gd name="connsiteY86" fmla="*/ 611 h 10000"/>
                <a:gd name="connsiteX87" fmla="*/ 1117 w 9754"/>
                <a:gd name="connsiteY87" fmla="*/ 611 h 10000"/>
                <a:gd name="connsiteX88" fmla="*/ 1117 w 9754"/>
                <a:gd name="connsiteY88" fmla="*/ 1061 h 10000"/>
                <a:gd name="connsiteX89" fmla="*/ 1117 w 9754"/>
                <a:gd name="connsiteY89" fmla="*/ 1640 h 10000"/>
                <a:gd name="connsiteX90" fmla="*/ 391 w 9754"/>
                <a:gd name="connsiteY90" fmla="*/ 1640 h 10000"/>
                <a:gd name="connsiteX91" fmla="*/ 391 w 9754"/>
                <a:gd name="connsiteY91" fmla="*/ 1897 h 10000"/>
                <a:gd name="connsiteX0" fmla="*/ 401 w 9951"/>
                <a:gd name="connsiteY0" fmla="*/ 1897 h 10000"/>
                <a:gd name="connsiteX1" fmla="*/ 6178 w 9951"/>
                <a:gd name="connsiteY1" fmla="*/ 6915 h 10000"/>
                <a:gd name="connsiteX2" fmla="*/ 5770 w 9951"/>
                <a:gd name="connsiteY2" fmla="*/ 7114 h 10000"/>
                <a:gd name="connsiteX3" fmla="*/ 5428 w 9951"/>
                <a:gd name="connsiteY3" fmla="*/ 6907 h 10000"/>
                <a:gd name="connsiteX4" fmla="*/ 4929 w 9951"/>
                <a:gd name="connsiteY4" fmla="*/ 6781 h 10000"/>
                <a:gd name="connsiteX5" fmla="*/ 4682 w 9951"/>
                <a:gd name="connsiteY5" fmla="*/ 7064 h 10000"/>
                <a:gd name="connsiteX6" fmla="*/ 4069 w 9951"/>
                <a:gd name="connsiteY6" fmla="*/ 7281 h 10000"/>
                <a:gd name="connsiteX7" fmla="*/ 3676 w 9951"/>
                <a:gd name="connsiteY7" fmla="*/ 7279 h 10000"/>
                <a:gd name="connsiteX8" fmla="*/ 2817 w 9951"/>
                <a:gd name="connsiteY8" fmla="*/ 7095 h 10000"/>
                <a:gd name="connsiteX9" fmla="*/ 2588 w 9951"/>
                <a:gd name="connsiteY9" fmla="*/ 7195 h 10000"/>
                <a:gd name="connsiteX10" fmla="*/ 2015 w 9951"/>
                <a:gd name="connsiteY10" fmla="*/ 6973 h 10000"/>
                <a:gd name="connsiteX11" fmla="*/ 1761 w 9951"/>
                <a:gd name="connsiteY11" fmla="*/ 6638 h 10000"/>
                <a:gd name="connsiteX12" fmla="*/ 1341 w 9951"/>
                <a:gd name="connsiteY12" fmla="*/ 6729 h 10000"/>
                <a:gd name="connsiteX13" fmla="*/ 1226 w 9951"/>
                <a:gd name="connsiteY13" fmla="*/ 6927 h 10000"/>
                <a:gd name="connsiteX14" fmla="*/ 782 w 9951"/>
                <a:gd name="connsiteY14" fmla="*/ 7011 h 10000"/>
                <a:gd name="connsiteX15" fmla="*/ 488 w 9951"/>
                <a:gd name="connsiteY15" fmla="*/ 7004 h 10000"/>
                <a:gd name="connsiteX16" fmla="*/ 327 w 9951"/>
                <a:gd name="connsiteY16" fmla="*/ 7161 h 10000"/>
                <a:gd name="connsiteX17" fmla="*/ 52 w 9951"/>
                <a:gd name="connsiteY17" fmla="*/ 6913 h 10000"/>
                <a:gd name="connsiteX18" fmla="*/ 0 w 9951"/>
                <a:gd name="connsiteY18" fmla="*/ 7363 h 10000"/>
                <a:gd name="connsiteX19" fmla="*/ 99 w 9951"/>
                <a:gd name="connsiteY19" fmla="*/ 7428 h 10000"/>
                <a:gd name="connsiteX20" fmla="*/ 498 w 9951"/>
                <a:gd name="connsiteY20" fmla="*/ 7460 h 10000"/>
                <a:gd name="connsiteX21" fmla="*/ 551 w 9951"/>
                <a:gd name="connsiteY21" fmla="*/ 7588 h 10000"/>
                <a:gd name="connsiteX22" fmla="*/ 995 w 9951"/>
                <a:gd name="connsiteY22" fmla="*/ 7621 h 10000"/>
                <a:gd name="connsiteX23" fmla="*/ 1246 w 9951"/>
                <a:gd name="connsiteY23" fmla="*/ 7749 h 10000"/>
                <a:gd name="connsiteX24" fmla="*/ 1294 w 9951"/>
                <a:gd name="connsiteY24" fmla="*/ 7974 h 10000"/>
                <a:gd name="connsiteX25" fmla="*/ 2092 w 9951"/>
                <a:gd name="connsiteY25" fmla="*/ 8360 h 10000"/>
                <a:gd name="connsiteX26" fmla="*/ 2291 w 9951"/>
                <a:gd name="connsiteY26" fmla="*/ 8746 h 10000"/>
                <a:gd name="connsiteX27" fmla="*/ 2836 w 9951"/>
                <a:gd name="connsiteY27" fmla="*/ 8939 h 10000"/>
                <a:gd name="connsiteX28" fmla="*/ 3036 w 9951"/>
                <a:gd name="connsiteY28" fmla="*/ 9196 h 10000"/>
                <a:gd name="connsiteX29" fmla="*/ 3433 w 9951"/>
                <a:gd name="connsiteY29" fmla="*/ 9518 h 10000"/>
                <a:gd name="connsiteX30" fmla="*/ 3735 w 9951"/>
                <a:gd name="connsiteY30" fmla="*/ 9614 h 10000"/>
                <a:gd name="connsiteX31" fmla="*/ 3932 w 9951"/>
                <a:gd name="connsiteY31" fmla="*/ 9518 h 10000"/>
                <a:gd name="connsiteX32" fmla="*/ 4429 w 9951"/>
                <a:gd name="connsiteY32" fmla="*/ 9550 h 10000"/>
                <a:gd name="connsiteX33" fmla="*/ 4629 w 9951"/>
                <a:gd name="connsiteY33" fmla="*/ 9486 h 10000"/>
                <a:gd name="connsiteX34" fmla="*/ 5523 w 9951"/>
                <a:gd name="connsiteY34" fmla="*/ 9968 h 10000"/>
                <a:gd name="connsiteX35" fmla="*/ 5574 w 9951"/>
                <a:gd name="connsiteY35" fmla="*/ 9968 h 10000"/>
                <a:gd name="connsiteX36" fmla="*/ 5673 w 9951"/>
                <a:gd name="connsiteY36" fmla="*/ 9904 h 10000"/>
                <a:gd name="connsiteX37" fmla="*/ 6316 w 9951"/>
                <a:gd name="connsiteY37" fmla="*/ 9904 h 10000"/>
                <a:gd name="connsiteX38" fmla="*/ 6419 w 9951"/>
                <a:gd name="connsiteY38" fmla="*/ 10000 h 10000"/>
                <a:gd name="connsiteX39" fmla="*/ 6966 w 9951"/>
                <a:gd name="connsiteY39" fmla="*/ 9871 h 10000"/>
                <a:gd name="connsiteX40" fmla="*/ 7462 w 9951"/>
                <a:gd name="connsiteY40" fmla="*/ 9871 h 10000"/>
                <a:gd name="connsiteX41" fmla="*/ 7811 w 9951"/>
                <a:gd name="connsiteY41" fmla="*/ 9743 h 10000"/>
                <a:gd name="connsiteX42" fmla="*/ 8211 w 9951"/>
                <a:gd name="connsiteY42" fmla="*/ 9486 h 10000"/>
                <a:gd name="connsiteX43" fmla="*/ 9255 w 9951"/>
                <a:gd name="connsiteY43" fmla="*/ 9486 h 10000"/>
                <a:gd name="connsiteX44" fmla="*/ 9255 w 9951"/>
                <a:gd name="connsiteY44" fmla="*/ 9132 h 10000"/>
                <a:gd name="connsiteX45" fmla="*/ 8708 w 9951"/>
                <a:gd name="connsiteY45" fmla="*/ 8971 h 10000"/>
                <a:gd name="connsiteX46" fmla="*/ 8408 w 9951"/>
                <a:gd name="connsiteY46" fmla="*/ 8457 h 10000"/>
                <a:gd name="connsiteX47" fmla="*/ 8012 w 9951"/>
                <a:gd name="connsiteY47" fmla="*/ 8264 h 10000"/>
                <a:gd name="connsiteX48" fmla="*/ 7761 w 9951"/>
                <a:gd name="connsiteY48" fmla="*/ 8006 h 10000"/>
                <a:gd name="connsiteX49" fmla="*/ 7115 w 9951"/>
                <a:gd name="connsiteY49" fmla="*/ 7814 h 10000"/>
                <a:gd name="connsiteX50" fmla="*/ 7264 w 9951"/>
                <a:gd name="connsiteY50" fmla="*/ 7749 h 10000"/>
                <a:gd name="connsiteX51" fmla="*/ 7264 w 9951"/>
                <a:gd name="connsiteY51" fmla="*/ 7588 h 10000"/>
                <a:gd name="connsiteX52" fmla="*/ 7714 w 9951"/>
                <a:gd name="connsiteY52" fmla="*/ 7588 h 10000"/>
                <a:gd name="connsiteX53" fmla="*/ 7960 w 9951"/>
                <a:gd name="connsiteY53" fmla="*/ 7460 h 10000"/>
                <a:gd name="connsiteX54" fmla="*/ 8012 w 9951"/>
                <a:gd name="connsiteY54" fmla="*/ 6527 h 10000"/>
                <a:gd name="connsiteX55" fmla="*/ 8059 w 9951"/>
                <a:gd name="connsiteY55" fmla="*/ 6559 h 10000"/>
                <a:gd name="connsiteX56" fmla="*/ 7883 w 9951"/>
                <a:gd name="connsiteY56" fmla="*/ 6618 h 10000"/>
                <a:gd name="connsiteX57" fmla="*/ 7813 w 9951"/>
                <a:gd name="connsiteY57" fmla="*/ 6745 h 10000"/>
                <a:gd name="connsiteX58" fmla="*/ 7368 w 9951"/>
                <a:gd name="connsiteY58" fmla="*/ 6497 h 10000"/>
                <a:gd name="connsiteX59" fmla="*/ 7288 w 9951"/>
                <a:gd name="connsiteY59" fmla="*/ 5828 h 10000"/>
                <a:gd name="connsiteX60" fmla="*/ 6813 w 9951"/>
                <a:gd name="connsiteY60" fmla="*/ 6118 h 10000"/>
                <a:gd name="connsiteX61" fmla="*/ 6820 w 9951"/>
                <a:gd name="connsiteY61" fmla="*/ 6462 h 10000"/>
                <a:gd name="connsiteX62" fmla="*/ 6437 w 9951"/>
                <a:gd name="connsiteY62" fmla="*/ 6670 h 10000"/>
                <a:gd name="connsiteX63" fmla="*/ 9951 w 9951"/>
                <a:gd name="connsiteY63" fmla="*/ 611 h 10000"/>
                <a:gd name="connsiteX64" fmla="*/ 9553 w 9951"/>
                <a:gd name="connsiteY64" fmla="*/ 289 h 10000"/>
                <a:gd name="connsiteX65" fmla="*/ 9204 w 9951"/>
                <a:gd name="connsiteY65" fmla="*/ 161 h 10000"/>
                <a:gd name="connsiteX66" fmla="*/ 9007 w 9951"/>
                <a:gd name="connsiteY66" fmla="*/ 0 h 10000"/>
                <a:gd name="connsiteX67" fmla="*/ 8708 w 9951"/>
                <a:gd name="connsiteY67" fmla="*/ 161 h 10000"/>
                <a:gd name="connsiteX68" fmla="*/ 8507 w 9951"/>
                <a:gd name="connsiteY68" fmla="*/ 129 h 10000"/>
                <a:gd name="connsiteX69" fmla="*/ 8357 w 9951"/>
                <a:gd name="connsiteY69" fmla="*/ 418 h 10000"/>
                <a:gd name="connsiteX70" fmla="*/ 7960 w 9951"/>
                <a:gd name="connsiteY70" fmla="*/ 482 h 10000"/>
                <a:gd name="connsiteX71" fmla="*/ 7861 w 9951"/>
                <a:gd name="connsiteY71" fmla="*/ 707 h 10000"/>
                <a:gd name="connsiteX72" fmla="*/ 7512 w 9951"/>
                <a:gd name="connsiteY72" fmla="*/ 707 h 10000"/>
                <a:gd name="connsiteX73" fmla="*/ 7214 w 9951"/>
                <a:gd name="connsiteY73" fmla="*/ 611 h 10000"/>
                <a:gd name="connsiteX74" fmla="*/ 6568 w 9951"/>
                <a:gd name="connsiteY74" fmla="*/ 611 h 10000"/>
                <a:gd name="connsiteX75" fmla="*/ 5921 w 9951"/>
                <a:gd name="connsiteY75" fmla="*/ 611 h 10000"/>
                <a:gd name="connsiteX76" fmla="*/ 5972 w 9951"/>
                <a:gd name="connsiteY76" fmla="*/ 482 h 10000"/>
                <a:gd name="connsiteX77" fmla="*/ 5871 w 9951"/>
                <a:gd name="connsiteY77" fmla="*/ 482 h 10000"/>
                <a:gd name="connsiteX78" fmla="*/ 5821 w 9951"/>
                <a:gd name="connsiteY78" fmla="*/ 611 h 10000"/>
                <a:gd name="connsiteX79" fmla="*/ 5223 w 9951"/>
                <a:gd name="connsiteY79" fmla="*/ 611 h 10000"/>
                <a:gd name="connsiteX80" fmla="*/ 4629 w 9951"/>
                <a:gd name="connsiteY80" fmla="*/ 611 h 10000"/>
                <a:gd name="connsiteX81" fmla="*/ 4032 w 9951"/>
                <a:gd name="connsiteY81" fmla="*/ 611 h 10000"/>
                <a:gd name="connsiteX82" fmla="*/ 3433 w 9951"/>
                <a:gd name="connsiteY82" fmla="*/ 611 h 10000"/>
                <a:gd name="connsiteX83" fmla="*/ 2888 w 9951"/>
                <a:gd name="connsiteY83" fmla="*/ 611 h 10000"/>
                <a:gd name="connsiteX84" fmla="*/ 2291 w 9951"/>
                <a:gd name="connsiteY84" fmla="*/ 611 h 10000"/>
                <a:gd name="connsiteX85" fmla="*/ 1743 w 9951"/>
                <a:gd name="connsiteY85" fmla="*/ 611 h 10000"/>
                <a:gd name="connsiteX86" fmla="*/ 1145 w 9951"/>
                <a:gd name="connsiteY86" fmla="*/ 611 h 10000"/>
                <a:gd name="connsiteX87" fmla="*/ 1145 w 9951"/>
                <a:gd name="connsiteY87" fmla="*/ 1061 h 10000"/>
                <a:gd name="connsiteX88" fmla="*/ 1145 w 9951"/>
                <a:gd name="connsiteY88" fmla="*/ 1640 h 10000"/>
                <a:gd name="connsiteX89" fmla="*/ 401 w 9951"/>
                <a:gd name="connsiteY89" fmla="*/ 1640 h 10000"/>
                <a:gd name="connsiteX90" fmla="*/ 401 w 9951"/>
                <a:gd name="connsiteY90" fmla="*/ 1897 h 10000"/>
                <a:gd name="connsiteX0" fmla="*/ 403 w 9600"/>
                <a:gd name="connsiteY0" fmla="*/ 1897 h 10000"/>
                <a:gd name="connsiteX1" fmla="*/ 6208 w 9600"/>
                <a:gd name="connsiteY1" fmla="*/ 6915 h 10000"/>
                <a:gd name="connsiteX2" fmla="*/ 5798 w 9600"/>
                <a:gd name="connsiteY2" fmla="*/ 7114 h 10000"/>
                <a:gd name="connsiteX3" fmla="*/ 5455 w 9600"/>
                <a:gd name="connsiteY3" fmla="*/ 6907 h 10000"/>
                <a:gd name="connsiteX4" fmla="*/ 4953 w 9600"/>
                <a:gd name="connsiteY4" fmla="*/ 6781 h 10000"/>
                <a:gd name="connsiteX5" fmla="*/ 4705 w 9600"/>
                <a:gd name="connsiteY5" fmla="*/ 7064 h 10000"/>
                <a:gd name="connsiteX6" fmla="*/ 4089 w 9600"/>
                <a:gd name="connsiteY6" fmla="*/ 7281 h 10000"/>
                <a:gd name="connsiteX7" fmla="*/ 3694 w 9600"/>
                <a:gd name="connsiteY7" fmla="*/ 7279 h 10000"/>
                <a:gd name="connsiteX8" fmla="*/ 2831 w 9600"/>
                <a:gd name="connsiteY8" fmla="*/ 7095 h 10000"/>
                <a:gd name="connsiteX9" fmla="*/ 2601 w 9600"/>
                <a:gd name="connsiteY9" fmla="*/ 7195 h 10000"/>
                <a:gd name="connsiteX10" fmla="*/ 2025 w 9600"/>
                <a:gd name="connsiteY10" fmla="*/ 6973 h 10000"/>
                <a:gd name="connsiteX11" fmla="*/ 1770 w 9600"/>
                <a:gd name="connsiteY11" fmla="*/ 6638 h 10000"/>
                <a:gd name="connsiteX12" fmla="*/ 1348 w 9600"/>
                <a:gd name="connsiteY12" fmla="*/ 6729 h 10000"/>
                <a:gd name="connsiteX13" fmla="*/ 1232 w 9600"/>
                <a:gd name="connsiteY13" fmla="*/ 6927 h 10000"/>
                <a:gd name="connsiteX14" fmla="*/ 786 w 9600"/>
                <a:gd name="connsiteY14" fmla="*/ 7011 h 10000"/>
                <a:gd name="connsiteX15" fmla="*/ 490 w 9600"/>
                <a:gd name="connsiteY15" fmla="*/ 7004 h 10000"/>
                <a:gd name="connsiteX16" fmla="*/ 329 w 9600"/>
                <a:gd name="connsiteY16" fmla="*/ 7161 h 10000"/>
                <a:gd name="connsiteX17" fmla="*/ 52 w 9600"/>
                <a:gd name="connsiteY17" fmla="*/ 6913 h 10000"/>
                <a:gd name="connsiteX18" fmla="*/ 0 w 9600"/>
                <a:gd name="connsiteY18" fmla="*/ 7363 h 10000"/>
                <a:gd name="connsiteX19" fmla="*/ 99 w 9600"/>
                <a:gd name="connsiteY19" fmla="*/ 7428 h 10000"/>
                <a:gd name="connsiteX20" fmla="*/ 500 w 9600"/>
                <a:gd name="connsiteY20" fmla="*/ 7460 h 10000"/>
                <a:gd name="connsiteX21" fmla="*/ 554 w 9600"/>
                <a:gd name="connsiteY21" fmla="*/ 7588 h 10000"/>
                <a:gd name="connsiteX22" fmla="*/ 1000 w 9600"/>
                <a:gd name="connsiteY22" fmla="*/ 7621 h 10000"/>
                <a:gd name="connsiteX23" fmla="*/ 1252 w 9600"/>
                <a:gd name="connsiteY23" fmla="*/ 7749 h 10000"/>
                <a:gd name="connsiteX24" fmla="*/ 1300 w 9600"/>
                <a:gd name="connsiteY24" fmla="*/ 7974 h 10000"/>
                <a:gd name="connsiteX25" fmla="*/ 2102 w 9600"/>
                <a:gd name="connsiteY25" fmla="*/ 8360 h 10000"/>
                <a:gd name="connsiteX26" fmla="*/ 2302 w 9600"/>
                <a:gd name="connsiteY26" fmla="*/ 8746 h 10000"/>
                <a:gd name="connsiteX27" fmla="*/ 2850 w 9600"/>
                <a:gd name="connsiteY27" fmla="*/ 8939 h 10000"/>
                <a:gd name="connsiteX28" fmla="*/ 3051 w 9600"/>
                <a:gd name="connsiteY28" fmla="*/ 9196 h 10000"/>
                <a:gd name="connsiteX29" fmla="*/ 3450 w 9600"/>
                <a:gd name="connsiteY29" fmla="*/ 9518 h 10000"/>
                <a:gd name="connsiteX30" fmla="*/ 3753 w 9600"/>
                <a:gd name="connsiteY30" fmla="*/ 9614 h 10000"/>
                <a:gd name="connsiteX31" fmla="*/ 3951 w 9600"/>
                <a:gd name="connsiteY31" fmla="*/ 9518 h 10000"/>
                <a:gd name="connsiteX32" fmla="*/ 4451 w 9600"/>
                <a:gd name="connsiteY32" fmla="*/ 9550 h 10000"/>
                <a:gd name="connsiteX33" fmla="*/ 4652 w 9600"/>
                <a:gd name="connsiteY33" fmla="*/ 9486 h 10000"/>
                <a:gd name="connsiteX34" fmla="*/ 5550 w 9600"/>
                <a:gd name="connsiteY34" fmla="*/ 9968 h 10000"/>
                <a:gd name="connsiteX35" fmla="*/ 5601 w 9600"/>
                <a:gd name="connsiteY35" fmla="*/ 9968 h 10000"/>
                <a:gd name="connsiteX36" fmla="*/ 5701 w 9600"/>
                <a:gd name="connsiteY36" fmla="*/ 9904 h 10000"/>
                <a:gd name="connsiteX37" fmla="*/ 6347 w 9600"/>
                <a:gd name="connsiteY37" fmla="*/ 9904 h 10000"/>
                <a:gd name="connsiteX38" fmla="*/ 6451 w 9600"/>
                <a:gd name="connsiteY38" fmla="*/ 10000 h 10000"/>
                <a:gd name="connsiteX39" fmla="*/ 7000 w 9600"/>
                <a:gd name="connsiteY39" fmla="*/ 9871 h 10000"/>
                <a:gd name="connsiteX40" fmla="*/ 7499 w 9600"/>
                <a:gd name="connsiteY40" fmla="*/ 9871 h 10000"/>
                <a:gd name="connsiteX41" fmla="*/ 7849 w 9600"/>
                <a:gd name="connsiteY41" fmla="*/ 9743 h 10000"/>
                <a:gd name="connsiteX42" fmla="*/ 8251 w 9600"/>
                <a:gd name="connsiteY42" fmla="*/ 9486 h 10000"/>
                <a:gd name="connsiteX43" fmla="*/ 9301 w 9600"/>
                <a:gd name="connsiteY43" fmla="*/ 9486 h 10000"/>
                <a:gd name="connsiteX44" fmla="*/ 9301 w 9600"/>
                <a:gd name="connsiteY44" fmla="*/ 9132 h 10000"/>
                <a:gd name="connsiteX45" fmla="*/ 8751 w 9600"/>
                <a:gd name="connsiteY45" fmla="*/ 8971 h 10000"/>
                <a:gd name="connsiteX46" fmla="*/ 8449 w 9600"/>
                <a:gd name="connsiteY46" fmla="*/ 8457 h 10000"/>
                <a:gd name="connsiteX47" fmla="*/ 8051 w 9600"/>
                <a:gd name="connsiteY47" fmla="*/ 8264 h 10000"/>
                <a:gd name="connsiteX48" fmla="*/ 7799 w 9600"/>
                <a:gd name="connsiteY48" fmla="*/ 8006 h 10000"/>
                <a:gd name="connsiteX49" fmla="*/ 7150 w 9600"/>
                <a:gd name="connsiteY49" fmla="*/ 7814 h 10000"/>
                <a:gd name="connsiteX50" fmla="*/ 7300 w 9600"/>
                <a:gd name="connsiteY50" fmla="*/ 7749 h 10000"/>
                <a:gd name="connsiteX51" fmla="*/ 7300 w 9600"/>
                <a:gd name="connsiteY51" fmla="*/ 7588 h 10000"/>
                <a:gd name="connsiteX52" fmla="*/ 7752 w 9600"/>
                <a:gd name="connsiteY52" fmla="*/ 7588 h 10000"/>
                <a:gd name="connsiteX53" fmla="*/ 7999 w 9600"/>
                <a:gd name="connsiteY53" fmla="*/ 7460 h 10000"/>
                <a:gd name="connsiteX54" fmla="*/ 8051 w 9600"/>
                <a:gd name="connsiteY54" fmla="*/ 6527 h 10000"/>
                <a:gd name="connsiteX55" fmla="*/ 8099 w 9600"/>
                <a:gd name="connsiteY55" fmla="*/ 6559 h 10000"/>
                <a:gd name="connsiteX56" fmla="*/ 7922 w 9600"/>
                <a:gd name="connsiteY56" fmla="*/ 6618 h 10000"/>
                <a:gd name="connsiteX57" fmla="*/ 7851 w 9600"/>
                <a:gd name="connsiteY57" fmla="*/ 6745 h 10000"/>
                <a:gd name="connsiteX58" fmla="*/ 7404 w 9600"/>
                <a:gd name="connsiteY58" fmla="*/ 6497 h 10000"/>
                <a:gd name="connsiteX59" fmla="*/ 7324 w 9600"/>
                <a:gd name="connsiteY59" fmla="*/ 5828 h 10000"/>
                <a:gd name="connsiteX60" fmla="*/ 6847 w 9600"/>
                <a:gd name="connsiteY60" fmla="*/ 6118 h 10000"/>
                <a:gd name="connsiteX61" fmla="*/ 6854 w 9600"/>
                <a:gd name="connsiteY61" fmla="*/ 6462 h 10000"/>
                <a:gd name="connsiteX62" fmla="*/ 6469 w 9600"/>
                <a:gd name="connsiteY62" fmla="*/ 6670 h 10000"/>
                <a:gd name="connsiteX63" fmla="*/ 9600 w 9600"/>
                <a:gd name="connsiteY63" fmla="*/ 289 h 10000"/>
                <a:gd name="connsiteX64" fmla="*/ 9249 w 9600"/>
                <a:gd name="connsiteY64" fmla="*/ 161 h 10000"/>
                <a:gd name="connsiteX65" fmla="*/ 9051 w 9600"/>
                <a:gd name="connsiteY65" fmla="*/ 0 h 10000"/>
                <a:gd name="connsiteX66" fmla="*/ 8751 w 9600"/>
                <a:gd name="connsiteY66" fmla="*/ 161 h 10000"/>
                <a:gd name="connsiteX67" fmla="*/ 8549 w 9600"/>
                <a:gd name="connsiteY67" fmla="*/ 129 h 10000"/>
                <a:gd name="connsiteX68" fmla="*/ 8398 w 9600"/>
                <a:gd name="connsiteY68" fmla="*/ 418 h 10000"/>
                <a:gd name="connsiteX69" fmla="*/ 7999 w 9600"/>
                <a:gd name="connsiteY69" fmla="*/ 482 h 10000"/>
                <a:gd name="connsiteX70" fmla="*/ 7900 w 9600"/>
                <a:gd name="connsiteY70" fmla="*/ 707 h 10000"/>
                <a:gd name="connsiteX71" fmla="*/ 7549 w 9600"/>
                <a:gd name="connsiteY71" fmla="*/ 707 h 10000"/>
                <a:gd name="connsiteX72" fmla="*/ 7250 w 9600"/>
                <a:gd name="connsiteY72" fmla="*/ 611 h 10000"/>
                <a:gd name="connsiteX73" fmla="*/ 6600 w 9600"/>
                <a:gd name="connsiteY73" fmla="*/ 611 h 10000"/>
                <a:gd name="connsiteX74" fmla="*/ 5950 w 9600"/>
                <a:gd name="connsiteY74" fmla="*/ 611 h 10000"/>
                <a:gd name="connsiteX75" fmla="*/ 6001 w 9600"/>
                <a:gd name="connsiteY75" fmla="*/ 482 h 10000"/>
                <a:gd name="connsiteX76" fmla="*/ 5900 w 9600"/>
                <a:gd name="connsiteY76" fmla="*/ 482 h 10000"/>
                <a:gd name="connsiteX77" fmla="*/ 5850 w 9600"/>
                <a:gd name="connsiteY77" fmla="*/ 611 h 10000"/>
                <a:gd name="connsiteX78" fmla="*/ 5249 w 9600"/>
                <a:gd name="connsiteY78" fmla="*/ 611 h 10000"/>
                <a:gd name="connsiteX79" fmla="*/ 4652 w 9600"/>
                <a:gd name="connsiteY79" fmla="*/ 611 h 10000"/>
                <a:gd name="connsiteX80" fmla="*/ 4052 w 9600"/>
                <a:gd name="connsiteY80" fmla="*/ 611 h 10000"/>
                <a:gd name="connsiteX81" fmla="*/ 3450 w 9600"/>
                <a:gd name="connsiteY81" fmla="*/ 611 h 10000"/>
                <a:gd name="connsiteX82" fmla="*/ 2902 w 9600"/>
                <a:gd name="connsiteY82" fmla="*/ 611 h 10000"/>
                <a:gd name="connsiteX83" fmla="*/ 2302 w 9600"/>
                <a:gd name="connsiteY83" fmla="*/ 611 h 10000"/>
                <a:gd name="connsiteX84" fmla="*/ 1752 w 9600"/>
                <a:gd name="connsiteY84" fmla="*/ 611 h 10000"/>
                <a:gd name="connsiteX85" fmla="*/ 1151 w 9600"/>
                <a:gd name="connsiteY85" fmla="*/ 611 h 10000"/>
                <a:gd name="connsiteX86" fmla="*/ 1151 w 9600"/>
                <a:gd name="connsiteY86" fmla="*/ 1061 h 10000"/>
                <a:gd name="connsiteX87" fmla="*/ 1151 w 9600"/>
                <a:gd name="connsiteY87" fmla="*/ 1640 h 10000"/>
                <a:gd name="connsiteX88" fmla="*/ 403 w 9600"/>
                <a:gd name="connsiteY88" fmla="*/ 1640 h 10000"/>
                <a:gd name="connsiteX89" fmla="*/ 403 w 9600"/>
                <a:gd name="connsiteY89" fmla="*/ 1897 h 10000"/>
                <a:gd name="connsiteX0" fmla="*/ 420 w 9689"/>
                <a:gd name="connsiteY0" fmla="*/ 1897 h 10000"/>
                <a:gd name="connsiteX1" fmla="*/ 6467 w 9689"/>
                <a:gd name="connsiteY1" fmla="*/ 6915 h 10000"/>
                <a:gd name="connsiteX2" fmla="*/ 6040 w 9689"/>
                <a:gd name="connsiteY2" fmla="*/ 7114 h 10000"/>
                <a:gd name="connsiteX3" fmla="*/ 5682 w 9689"/>
                <a:gd name="connsiteY3" fmla="*/ 6907 h 10000"/>
                <a:gd name="connsiteX4" fmla="*/ 5159 w 9689"/>
                <a:gd name="connsiteY4" fmla="*/ 6781 h 10000"/>
                <a:gd name="connsiteX5" fmla="*/ 4901 w 9689"/>
                <a:gd name="connsiteY5" fmla="*/ 7064 h 10000"/>
                <a:gd name="connsiteX6" fmla="*/ 4259 w 9689"/>
                <a:gd name="connsiteY6" fmla="*/ 7281 h 10000"/>
                <a:gd name="connsiteX7" fmla="*/ 3848 w 9689"/>
                <a:gd name="connsiteY7" fmla="*/ 7279 h 10000"/>
                <a:gd name="connsiteX8" fmla="*/ 2949 w 9689"/>
                <a:gd name="connsiteY8" fmla="*/ 7095 h 10000"/>
                <a:gd name="connsiteX9" fmla="*/ 2709 w 9689"/>
                <a:gd name="connsiteY9" fmla="*/ 7195 h 10000"/>
                <a:gd name="connsiteX10" fmla="*/ 2109 w 9689"/>
                <a:gd name="connsiteY10" fmla="*/ 6973 h 10000"/>
                <a:gd name="connsiteX11" fmla="*/ 1844 w 9689"/>
                <a:gd name="connsiteY11" fmla="*/ 6638 h 10000"/>
                <a:gd name="connsiteX12" fmla="*/ 1404 w 9689"/>
                <a:gd name="connsiteY12" fmla="*/ 6729 h 10000"/>
                <a:gd name="connsiteX13" fmla="*/ 1283 w 9689"/>
                <a:gd name="connsiteY13" fmla="*/ 6927 h 10000"/>
                <a:gd name="connsiteX14" fmla="*/ 819 w 9689"/>
                <a:gd name="connsiteY14" fmla="*/ 7011 h 10000"/>
                <a:gd name="connsiteX15" fmla="*/ 510 w 9689"/>
                <a:gd name="connsiteY15" fmla="*/ 7004 h 10000"/>
                <a:gd name="connsiteX16" fmla="*/ 343 w 9689"/>
                <a:gd name="connsiteY16" fmla="*/ 7161 h 10000"/>
                <a:gd name="connsiteX17" fmla="*/ 54 w 9689"/>
                <a:gd name="connsiteY17" fmla="*/ 6913 h 10000"/>
                <a:gd name="connsiteX18" fmla="*/ 0 w 9689"/>
                <a:gd name="connsiteY18" fmla="*/ 7363 h 10000"/>
                <a:gd name="connsiteX19" fmla="*/ 103 w 9689"/>
                <a:gd name="connsiteY19" fmla="*/ 7428 h 10000"/>
                <a:gd name="connsiteX20" fmla="*/ 521 w 9689"/>
                <a:gd name="connsiteY20" fmla="*/ 7460 h 10000"/>
                <a:gd name="connsiteX21" fmla="*/ 577 w 9689"/>
                <a:gd name="connsiteY21" fmla="*/ 7588 h 10000"/>
                <a:gd name="connsiteX22" fmla="*/ 1042 w 9689"/>
                <a:gd name="connsiteY22" fmla="*/ 7621 h 10000"/>
                <a:gd name="connsiteX23" fmla="*/ 1304 w 9689"/>
                <a:gd name="connsiteY23" fmla="*/ 7749 h 10000"/>
                <a:gd name="connsiteX24" fmla="*/ 1354 w 9689"/>
                <a:gd name="connsiteY24" fmla="*/ 7974 h 10000"/>
                <a:gd name="connsiteX25" fmla="*/ 2190 w 9689"/>
                <a:gd name="connsiteY25" fmla="*/ 8360 h 10000"/>
                <a:gd name="connsiteX26" fmla="*/ 2398 w 9689"/>
                <a:gd name="connsiteY26" fmla="*/ 8746 h 10000"/>
                <a:gd name="connsiteX27" fmla="*/ 2969 w 9689"/>
                <a:gd name="connsiteY27" fmla="*/ 8939 h 10000"/>
                <a:gd name="connsiteX28" fmla="*/ 3178 w 9689"/>
                <a:gd name="connsiteY28" fmla="*/ 9196 h 10000"/>
                <a:gd name="connsiteX29" fmla="*/ 3594 w 9689"/>
                <a:gd name="connsiteY29" fmla="*/ 9518 h 10000"/>
                <a:gd name="connsiteX30" fmla="*/ 3909 w 9689"/>
                <a:gd name="connsiteY30" fmla="*/ 9614 h 10000"/>
                <a:gd name="connsiteX31" fmla="*/ 4116 w 9689"/>
                <a:gd name="connsiteY31" fmla="*/ 9518 h 10000"/>
                <a:gd name="connsiteX32" fmla="*/ 4636 w 9689"/>
                <a:gd name="connsiteY32" fmla="*/ 9550 h 10000"/>
                <a:gd name="connsiteX33" fmla="*/ 4846 w 9689"/>
                <a:gd name="connsiteY33" fmla="*/ 9486 h 10000"/>
                <a:gd name="connsiteX34" fmla="*/ 5781 w 9689"/>
                <a:gd name="connsiteY34" fmla="*/ 9968 h 10000"/>
                <a:gd name="connsiteX35" fmla="*/ 5834 w 9689"/>
                <a:gd name="connsiteY35" fmla="*/ 9968 h 10000"/>
                <a:gd name="connsiteX36" fmla="*/ 5939 w 9689"/>
                <a:gd name="connsiteY36" fmla="*/ 9904 h 10000"/>
                <a:gd name="connsiteX37" fmla="*/ 6611 w 9689"/>
                <a:gd name="connsiteY37" fmla="*/ 9904 h 10000"/>
                <a:gd name="connsiteX38" fmla="*/ 6720 w 9689"/>
                <a:gd name="connsiteY38" fmla="*/ 10000 h 10000"/>
                <a:gd name="connsiteX39" fmla="*/ 7292 w 9689"/>
                <a:gd name="connsiteY39" fmla="*/ 9871 h 10000"/>
                <a:gd name="connsiteX40" fmla="*/ 7811 w 9689"/>
                <a:gd name="connsiteY40" fmla="*/ 9871 h 10000"/>
                <a:gd name="connsiteX41" fmla="*/ 8176 w 9689"/>
                <a:gd name="connsiteY41" fmla="*/ 9743 h 10000"/>
                <a:gd name="connsiteX42" fmla="*/ 8595 w 9689"/>
                <a:gd name="connsiteY42" fmla="*/ 9486 h 10000"/>
                <a:gd name="connsiteX43" fmla="*/ 9689 w 9689"/>
                <a:gd name="connsiteY43" fmla="*/ 9486 h 10000"/>
                <a:gd name="connsiteX44" fmla="*/ 9689 w 9689"/>
                <a:gd name="connsiteY44" fmla="*/ 9132 h 10000"/>
                <a:gd name="connsiteX45" fmla="*/ 9116 w 9689"/>
                <a:gd name="connsiteY45" fmla="*/ 8971 h 10000"/>
                <a:gd name="connsiteX46" fmla="*/ 8801 w 9689"/>
                <a:gd name="connsiteY46" fmla="*/ 8457 h 10000"/>
                <a:gd name="connsiteX47" fmla="*/ 8386 w 9689"/>
                <a:gd name="connsiteY47" fmla="*/ 8264 h 10000"/>
                <a:gd name="connsiteX48" fmla="*/ 8124 w 9689"/>
                <a:gd name="connsiteY48" fmla="*/ 8006 h 10000"/>
                <a:gd name="connsiteX49" fmla="*/ 7448 w 9689"/>
                <a:gd name="connsiteY49" fmla="*/ 7814 h 10000"/>
                <a:gd name="connsiteX50" fmla="*/ 7604 w 9689"/>
                <a:gd name="connsiteY50" fmla="*/ 7749 h 10000"/>
                <a:gd name="connsiteX51" fmla="*/ 7604 w 9689"/>
                <a:gd name="connsiteY51" fmla="*/ 7588 h 10000"/>
                <a:gd name="connsiteX52" fmla="*/ 8075 w 9689"/>
                <a:gd name="connsiteY52" fmla="*/ 7588 h 10000"/>
                <a:gd name="connsiteX53" fmla="*/ 8332 w 9689"/>
                <a:gd name="connsiteY53" fmla="*/ 7460 h 10000"/>
                <a:gd name="connsiteX54" fmla="*/ 8386 w 9689"/>
                <a:gd name="connsiteY54" fmla="*/ 6527 h 10000"/>
                <a:gd name="connsiteX55" fmla="*/ 8436 w 9689"/>
                <a:gd name="connsiteY55" fmla="*/ 6559 h 10000"/>
                <a:gd name="connsiteX56" fmla="*/ 8252 w 9689"/>
                <a:gd name="connsiteY56" fmla="*/ 6618 h 10000"/>
                <a:gd name="connsiteX57" fmla="*/ 8178 w 9689"/>
                <a:gd name="connsiteY57" fmla="*/ 6745 h 10000"/>
                <a:gd name="connsiteX58" fmla="*/ 7713 w 9689"/>
                <a:gd name="connsiteY58" fmla="*/ 6497 h 10000"/>
                <a:gd name="connsiteX59" fmla="*/ 7629 w 9689"/>
                <a:gd name="connsiteY59" fmla="*/ 5828 h 10000"/>
                <a:gd name="connsiteX60" fmla="*/ 7132 w 9689"/>
                <a:gd name="connsiteY60" fmla="*/ 6118 h 10000"/>
                <a:gd name="connsiteX61" fmla="*/ 7140 w 9689"/>
                <a:gd name="connsiteY61" fmla="*/ 6462 h 10000"/>
                <a:gd name="connsiteX62" fmla="*/ 6739 w 9689"/>
                <a:gd name="connsiteY62" fmla="*/ 6670 h 10000"/>
                <a:gd name="connsiteX63" fmla="*/ 9634 w 9689"/>
                <a:gd name="connsiteY63" fmla="*/ 161 h 10000"/>
                <a:gd name="connsiteX64" fmla="*/ 9428 w 9689"/>
                <a:gd name="connsiteY64" fmla="*/ 0 h 10000"/>
                <a:gd name="connsiteX65" fmla="*/ 9116 w 9689"/>
                <a:gd name="connsiteY65" fmla="*/ 161 h 10000"/>
                <a:gd name="connsiteX66" fmla="*/ 8905 w 9689"/>
                <a:gd name="connsiteY66" fmla="*/ 129 h 10000"/>
                <a:gd name="connsiteX67" fmla="*/ 8748 w 9689"/>
                <a:gd name="connsiteY67" fmla="*/ 418 h 10000"/>
                <a:gd name="connsiteX68" fmla="*/ 8332 w 9689"/>
                <a:gd name="connsiteY68" fmla="*/ 482 h 10000"/>
                <a:gd name="connsiteX69" fmla="*/ 8229 w 9689"/>
                <a:gd name="connsiteY69" fmla="*/ 707 h 10000"/>
                <a:gd name="connsiteX70" fmla="*/ 7864 w 9689"/>
                <a:gd name="connsiteY70" fmla="*/ 707 h 10000"/>
                <a:gd name="connsiteX71" fmla="*/ 7552 w 9689"/>
                <a:gd name="connsiteY71" fmla="*/ 611 h 10000"/>
                <a:gd name="connsiteX72" fmla="*/ 6875 w 9689"/>
                <a:gd name="connsiteY72" fmla="*/ 611 h 10000"/>
                <a:gd name="connsiteX73" fmla="*/ 6198 w 9689"/>
                <a:gd name="connsiteY73" fmla="*/ 611 h 10000"/>
                <a:gd name="connsiteX74" fmla="*/ 6251 w 9689"/>
                <a:gd name="connsiteY74" fmla="*/ 482 h 10000"/>
                <a:gd name="connsiteX75" fmla="*/ 6146 w 9689"/>
                <a:gd name="connsiteY75" fmla="*/ 482 h 10000"/>
                <a:gd name="connsiteX76" fmla="*/ 6094 w 9689"/>
                <a:gd name="connsiteY76" fmla="*/ 611 h 10000"/>
                <a:gd name="connsiteX77" fmla="*/ 5468 w 9689"/>
                <a:gd name="connsiteY77" fmla="*/ 611 h 10000"/>
                <a:gd name="connsiteX78" fmla="*/ 4846 w 9689"/>
                <a:gd name="connsiteY78" fmla="*/ 611 h 10000"/>
                <a:gd name="connsiteX79" fmla="*/ 4221 w 9689"/>
                <a:gd name="connsiteY79" fmla="*/ 611 h 10000"/>
                <a:gd name="connsiteX80" fmla="*/ 3594 w 9689"/>
                <a:gd name="connsiteY80" fmla="*/ 611 h 10000"/>
                <a:gd name="connsiteX81" fmla="*/ 3023 w 9689"/>
                <a:gd name="connsiteY81" fmla="*/ 611 h 10000"/>
                <a:gd name="connsiteX82" fmla="*/ 2398 w 9689"/>
                <a:gd name="connsiteY82" fmla="*/ 611 h 10000"/>
                <a:gd name="connsiteX83" fmla="*/ 1825 w 9689"/>
                <a:gd name="connsiteY83" fmla="*/ 611 h 10000"/>
                <a:gd name="connsiteX84" fmla="*/ 1199 w 9689"/>
                <a:gd name="connsiteY84" fmla="*/ 611 h 10000"/>
                <a:gd name="connsiteX85" fmla="*/ 1199 w 9689"/>
                <a:gd name="connsiteY85" fmla="*/ 1061 h 10000"/>
                <a:gd name="connsiteX86" fmla="*/ 1199 w 9689"/>
                <a:gd name="connsiteY86" fmla="*/ 1640 h 10000"/>
                <a:gd name="connsiteX87" fmla="*/ 420 w 9689"/>
                <a:gd name="connsiteY87" fmla="*/ 1640 h 10000"/>
                <a:gd name="connsiteX88" fmla="*/ 420 w 9689"/>
                <a:gd name="connsiteY88" fmla="*/ 1897 h 10000"/>
                <a:gd name="connsiteX0" fmla="*/ 433 w 10000"/>
                <a:gd name="connsiteY0" fmla="*/ 1897 h 10000"/>
                <a:gd name="connsiteX1" fmla="*/ 6675 w 10000"/>
                <a:gd name="connsiteY1" fmla="*/ 6915 h 10000"/>
                <a:gd name="connsiteX2" fmla="*/ 6234 w 10000"/>
                <a:gd name="connsiteY2" fmla="*/ 7114 h 10000"/>
                <a:gd name="connsiteX3" fmla="*/ 5864 w 10000"/>
                <a:gd name="connsiteY3" fmla="*/ 6907 h 10000"/>
                <a:gd name="connsiteX4" fmla="*/ 5325 w 10000"/>
                <a:gd name="connsiteY4" fmla="*/ 6781 h 10000"/>
                <a:gd name="connsiteX5" fmla="*/ 5058 w 10000"/>
                <a:gd name="connsiteY5" fmla="*/ 7064 h 10000"/>
                <a:gd name="connsiteX6" fmla="*/ 4396 w 10000"/>
                <a:gd name="connsiteY6" fmla="*/ 7281 h 10000"/>
                <a:gd name="connsiteX7" fmla="*/ 3972 w 10000"/>
                <a:gd name="connsiteY7" fmla="*/ 7279 h 10000"/>
                <a:gd name="connsiteX8" fmla="*/ 3044 w 10000"/>
                <a:gd name="connsiteY8" fmla="*/ 7095 h 10000"/>
                <a:gd name="connsiteX9" fmla="*/ 2796 w 10000"/>
                <a:gd name="connsiteY9" fmla="*/ 7195 h 10000"/>
                <a:gd name="connsiteX10" fmla="*/ 2177 w 10000"/>
                <a:gd name="connsiteY10" fmla="*/ 6973 h 10000"/>
                <a:gd name="connsiteX11" fmla="*/ 1903 w 10000"/>
                <a:gd name="connsiteY11" fmla="*/ 6638 h 10000"/>
                <a:gd name="connsiteX12" fmla="*/ 1449 w 10000"/>
                <a:gd name="connsiteY12" fmla="*/ 6729 h 10000"/>
                <a:gd name="connsiteX13" fmla="*/ 1324 w 10000"/>
                <a:gd name="connsiteY13" fmla="*/ 6927 h 10000"/>
                <a:gd name="connsiteX14" fmla="*/ 845 w 10000"/>
                <a:gd name="connsiteY14" fmla="*/ 7011 h 10000"/>
                <a:gd name="connsiteX15" fmla="*/ 526 w 10000"/>
                <a:gd name="connsiteY15" fmla="*/ 7004 h 10000"/>
                <a:gd name="connsiteX16" fmla="*/ 354 w 10000"/>
                <a:gd name="connsiteY16" fmla="*/ 7161 h 10000"/>
                <a:gd name="connsiteX17" fmla="*/ 56 w 10000"/>
                <a:gd name="connsiteY17" fmla="*/ 6913 h 10000"/>
                <a:gd name="connsiteX18" fmla="*/ 0 w 10000"/>
                <a:gd name="connsiteY18" fmla="*/ 7363 h 10000"/>
                <a:gd name="connsiteX19" fmla="*/ 106 w 10000"/>
                <a:gd name="connsiteY19" fmla="*/ 7428 h 10000"/>
                <a:gd name="connsiteX20" fmla="*/ 538 w 10000"/>
                <a:gd name="connsiteY20" fmla="*/ 7460 h 10000"/>
                <a:gd name="connsiteX21" fmla="*/ 596 w 10000"/>
                <a:gd name="connsiteY21" fmla="*/ 7588 h 10000"/>
                <a:gd name="connsiteX22" fmla="*/ 1075 w 10000"/>
                <a:gd name="connsiteY22" fmla="*/ 7621 h 10000"/>
                <a:gd name="connsiteX23" fmla="*/ 1346 w 10000"/>
                <a:gd name="connsiteY23" fmla="*/ 7749 h 10000"/>
                <a:gd name="connsiteX24" fmla="*/ 1397 w 10000"/>
                <a:gd name="connsiteY24" fmla="*/ 7974 h 10000"/>
                <a:gd name="connsiteX25" fmla="*/ 2260 w 10000"/>
                <a:gd name="connsiteY25" fmla="*/ 8360 h 10000"/>
                <a:gd name="connsiteX26" fmla="*/ 2475 w 10000"/>
                <a:gd name="connsiteY26" fmla="*/ 8746 h 10000"/>
                <a:gd name="connsiteX27" fmla="*/ 3064 w 10000"/>
                <a:gd name="connsiteY27" fmla="*/ 8939 h 10000"/>
                <a:gd name="connsiteX28" fmla="*/ 3280 w 10000"/>
                <a:gd name="connsiteY28" fmla="*/ 9196 h 10000"/>
                <a:gd name="connsiteX29" fmla="*/ 3709 w 10000"/>
                <a:gd name="connsiteY29" fmla="*/ 9518 h 10000"/>
                <a:gd name="connsiteX30" fmla="*/ 4034 w 10000"/>
                <a:gd name="connsiteY30" fmla="*/ 9614 h 10000"/>
                <a:gd name="connsiteX31" fmla="*/ 4248 w 10000"/>
                <a:gd name="connsiteY31" fmla="*/ 9518 h 10000"/>
                <a:gd name="connsiteX32" fmla="*/ 4785 w 10000"/>
                <a:gd name="connsiteY32" fmla="*/ 9550 h 10000"/>
                <a:gd name="connsiteX33" fmla="*/ 5002 w 10000"/>
                <a:gd name="connsiteY33" fmla="*/ 9486 h 10000"/>
                <a:gd name="connsiteX34" fmla="*/ 5967 w 10000"/>
                <a:gd name="connsiteY34" fmla="*/ 9968 h 10000"/>
                <a:gd name="connsiteX35" fmla="*/ 6021 w 10000"/>
                <a:gd name="connsiteY35" fmla="*/ 9968 h 10000"/>
                <a:gd name="connsiteX36" fmla="*/ 6130 w 10000"/>
                <a:gd name="connsiteY36" fmla="*/ 9904 h 10000"/>
                <a:gd name="connsiteX37" fmla="*/ 6823 w 10000"/>
                <a:gd name="connsiteY37" fmla="*/ 9904 h 10000"/>
                <a:gd name="connsiteX38" fmla="*/ 6936 w 10000"/>
                <a:gd name="connsiteY38" fmla="*/ 10000 h 10000"/>
                <a:gd name="connsiteX39" fmla="*/ 7526 w 10000"/>
                <a:gd name="connsiteY39" fmla="*/ 9871 h 10000"/>
                <a:gd name="connsiteX40" fmla="*/ 8062 w 10000"/>
                <a:gd name="connsiteY40" fmla="*/ 9871 h 10000"/>
                <a:gd name="connsiteX41" fmla="*/ 8438 w 10000"/>
                <a:gd name="connsiteY41" fmla="*/ 9743 h 10000"/>
                <a:gd name="connsiteX42" fmla="*/ 8871 w 10000"/>
                <a:gd name="connsiteY42" fmla="*/ 9486 h 10000"/>
                <a:gd name="connsiteX43" fmla="*/ 10000 w 10000"/>
                <a:gd name="connsiteY43" fmla="*/ 9486 h 10000"/>
                <a:gd name="connsiteX44" fmla="*/ 10000 w 10000"/>
                <a:gd name="connsiteY44" fmla="*/ 9132 h 10000"/>
                <a:gd name="connsiteX45" fmla="*/ 9409 w 10000"/>
                <a:gd name="connsiteY45" fmla="*/ 8971 h 10000"/>
                <a:gd name="connsiteX46" fmla="*/ 9083 w 10000"/>
                <a:gd name="connsiteY46" fmla="*/ 8457 h 10000"/>
                <a:gd name="connsiteX47" fmla="*/ 8655 w 10000"/>
                <a:gd name="connsiteY47" fmla="*/ 8264 h 10000"/>
                <a:gd name="connsiteX48" fmla="*/ 8385 w 10000"/>
                <a:gd name="connsiteY48" fmla="*/ 8006 h 10000"/>
                <a:gd name="connsiteX49" fmla="*/ 7687 w 10000"/>
                <a:gd name="connsiteY49" fmla="*/ 7814 h 10000"/>
                <a:gd name="connsiteX50" fmla="*/ 7848 w 10000"/>
                <a:gd name="connsiteY50" fmla="*/ 7749 h 10000"/>
                <a:gd name="connsiteX51" fmla="*/ 7848 w 10000"/>
                <a:gd name="connsiteY51" fmla="*/ 7588 h 10000"/>
                <a:gd name="connsiteX52" fmla="*/ 8334 w 10000"/>
                <a:gd name="connsiteY52" fmla="*/ 7588 h 10000"/>
                <a:gd name="connsiteX53" fmla="*/ 8599 w 10000"/>
                <a:gd name="connsiteY53" fmla="*/ 7460 h 10000"/>
                <a:gd name="connsiteX54" fmla="*/ 8655 w 10000"/>
                <a:gd name="connsiteY54" fmla="*/ 6527 h 10000"/>
                <a:gd name="connsiteX55" fmla="*/ 8707 w 10000"/>
                <a:gd name="connsiteY55" fmla="*/ 6559 h 10000"/>
                <a:gd name="connsiteX56" fmla="*/ 8517 w 10000"/>
                <a:gd name="connsiteY56" fmla="*/ 6618 h 10000"/>
                <a:gd name="connsiteX57" fmla="*/ 8440 w 10000"/>
                <a:gd name="connsiteY57" fmla="*/ 6745 h 10000"/>
                <a:gd name="connsiteX58" fmla="*/ 7961 w 10000"/>
                <a:gd name="connsiteY58" fmla="*/ 6497 h 10000"/>
                <a:gd name="connsiteX59" fmla="*/ 7874 w 10000"/>
                <a:gd name="connsiteY59" fmla="*/ 5828 h 10000"/>
                <a:gd name="connsiteX60" fmla="*/ 7361 w 10000"/>
                <a:gd name="connsiteY60" fmla="*/ 6118 h 10000"/>
                <a:gd name="connsiteX61" fmla="*/ 7369 w 10000"/>
                <a:gd name="connsiteY61" fmla="*/ 6462 h 10000"/>
                <a:gd name="connsiteX62" fmla="*/ 6955 w 10000"/>
                <a:gd name="connsiteY62" fmla="*/ 6670 h 10000"/>
                <a:gd name="connsiteX63" fmla="*/ 9731 w 10000"/>
                <a:gd name="connsiteY63" fmla="*/ 0 h 10000"/>
                <a:gd name="connsiteX64" fmla="*/ 9409 w 10000"/>
                <a:gd name="connsiteY64" fmla="*/ 161 h 10000"/>
                <a:gd name="connsiteX65" fmla="*/ 9191 w 10000"/>
                <a:gd name="connsiteY65" fmla="*/ 129 h 10000"/>
                <a:gd name="connsiteX66" fmla="*/ 9029 w 10000"/>
                <a:gd name="connsiteY66" fmla="*/ 418 h 10000"/>
                <a:gd name="connsiteX67" fmla="*/ 8599 w 10000"/>
                <a:gd name="connsiteY67" fmla="*/ 482 h 10000"/>
                <a:gd name="connsiteX68" fmla="*/ 8493 w 10000"/>
                <a:gd name="connsiteY68" fmla="*/ 707 h 10000"/>
                <a:gd name="connsiteX69" fmla="*/ 8116 w 10000"/>
                <a:gd name="connsiteY69" fmla="*/ 707 h 10000"/>
                <a:gd name="connsiteX70" fmla="*/ 7794 w 10000"/>
                <a:gd name="connsiteY70" fmla="*/ 611 h 10000"/>
                <a:gd name="connsiteX71" fmla="*/ 7096 w 10000"/>
                <a:gd name="connsiteY71" fmla="*/ 611 h 10000"/>
                <a:gd name="connsiteX72" fmla="*/ 6397 w 10000"/>
                <a:gd name="connsiteY72" fmla="*/ 611 h 10000"/>
                <a:gd name="connsiteX73" fmla="*/ 6452 w 10000"/>
                <a:gd name="connsiteY73" fmla="*/ 482 h 10000"/>
                <a:gd name="connsiteX74" fmla="*/ 6343 w 10000"/>
                <a:gd name="connsiteY74" fmla="*/ 482 h 10000"/>
                <a:gd name="connsiteX75" fmla="*/ 6290 w 10000"/>
                <a:gd name="connsiteY75" fmla="*/ 611 h 10000"/>
                <a:gd name="connsiteX76" fmla="*/ 5644 w 10000"/>
                <a:gd name="connsiteY76" fmla="*/ 611 h 10000"/>
                <a:gd name="connsiteX77" fmla="*/ 5002 w 10000"/>
                <a:gd name="connsiteY77" fmla="*/ 611 h 10000"/>
                <a:gd name="connsiteX78" fmla="*/ 4356 w 10000"/>
                <a:gd name="connsiteY78" fmla="*/ 611 h 10000"/>
                <a:gd name="connsiteX79" fmla="*/ 3709 w 10000"/>
                <a:gd name="connsiteY79" fmla="*/ 611 h 10000"/>
                <a:gd name="connsiteX80" fmla="*/ 3120 w 10000"/>
                <a:gd name="connsiteY80" fmla="*/ 611 h 10000"/>
                <a:gd name="connsiteX81" fmla="*/ 2475 w 10000"/>
                <a:gd name="connsiteY81" fmla="*/ 611 h 10000"/>
                <a:gd name="connsiteX82" fmla="*/ 1884 w 10000"/>
                <a:gd name="connsiteY82" fmla="*/ 611 h 10000"/>
                <a:gd name="connsiteX83" fmla="*/ 1237 w 10000"/>
                <a:gd name="connsiteY83" fmla="*/ 611 h 10000"/>
                <a:gd name="connsiteX84" fmla="*/ 1237 w 10000"/>
                <a:gd name="connsiteY84" fmla="*/ 1061 h 10000"/>
                <a:gd name="connsiteX85" fmla="*/ 1237 w 10000"/>
                <a:gd name="connsiteY85" fmla="*/ 1640 h 10000"/>
                <a:gd name="connsiteX86" fmla="*/ 433 w 10000"/>
                <a:gd name="connsiteY86" fmla="*/ 1640 h 10000"/>
                <a:gd name="connsiteX87" fmla="*/ 433 w 10000"/>
                <a:gd name="connsiteY87" fmla="*/ 1897 h 10000"/>
                <a:gd name="connsiteX0" fmla="*/ 433 w 10000"/>
                <a:gd name="connsiteY0" fmla="*/ 1768 h 9871"/>
                <a:gd name="connsiteX1" fmla="*/ 6675 w 10000"/>
                <a:gd name="connsiteY1" fmla="*/ 6786 h 9871"/>
                <a:gd name="connsiteX2" fmla="*/ 6234 w 10000"/>
                <a:gd name="connsiteY2" fmla="*/ 6985 h 9871"/>
                <a:gd name="connsiteX3" fmla="*/ 5864 w 10000"/>
                <a:gd name="connsiteY3" fmla="*/ 6778 h 9871"/>
                <a:gd name="connsiteX4" fmla="*/ 5325 w 10000"/>
                <a:gd name="connsiteY4" fmla="*/ 6652 h 9871"/>
                <a:gd name="connsiteX5" fmla="*/ 5058 w 10000"/>
                <a:gd name="connsiteY5" fmla="*/ 6935 h 9871"/>
                <a:gd name="connsiteX6" fmla="*/ 4396 w 10000"/>
                <a:gd name="connsiteY6" fmla="*/ 7152 h 9871"/>
                <a:gd name="connsiteX7" fmla="*/ 3972 w 10000"/>
                <a:gd name="connsiteY7" fmla="*/ 7150 h 9871"/>
                <a:gd name="connsiteX8" fmla="*/ 3044 w 10000"/>
                <a:gd name="connsiteY8" fmla="*/ 6966 h 9871"/>
                <a:gd name="connsiteX9" fmla="*/ 2796 w 10000"/>
                <a:gd name="connsiteY9" fmla="*/ 7066 h 9871"/>
                <a:gd name="connsiteX10" fmla="*/ 2177 w 10000"/>
                <a:gd name="connsiteY10" fmla="*/ 6844 h 9871"/>
                <a:gd name="connsiteX11" fmla="*/ 1903 w 10000"/>
                <a:gd name="connsiteY11" fmla="*/ 6509 h 9871"/>
                <a:gd name="connsiteX12" fmla="*/ 1449 w 10000"/>
                <a:gd name="connsiteY12" fmla="*/ 6600 h 9871"/>
                <a:gd name="connsiteX13" fmla="*/ 1324 w 10000"/>
                <a:gd name="connsiteY13" fmla="*/ 6798 h 9871"/>
                <a:gd name="connsiteX14" fmla="*/ 845 w 10000"/>
                <a:gd name="connsiteY14" fmla="*/ 6882 h 9871"/>
                <a:gd name="connsiteX15" fmla="*/ 526 w 10000"/>
                <a:gd name="connsiteY15" fmla="*/ 6875 h 9871"/>
                <a:gd name="connsiteX16" fmla="*/ 354 w 10000"/>
                <a:gd name="connsiteY16" fmla="*/ 7032 h 9871"/>
                <a:gd name="connsiteX17" fmla="*/ 56 w 10000"/>
                <a:gd name="connsiteY17" fmla="*/ 6784 h 9871"/>
                <a:gd name="connsiteX18" fmla="*/ 0 w 10000"/>
                <a:gd name="connsiteY18" fmla="*/ 7234 h 9871"/>
                <a:gd name="connsiteX19" fmla="*/ 106 w 10000"/>
                <a:gd name="connsiteY19" fmla="*/ 7299 h 9871"/>
                <a:gd name="connsiteX20" fmla="*/ 538 w 10000"/>
                <a:gd name="connsiteY20" fmla="*/ 7331 h 9871"/>
                <a:gd name="connsiteX21" fmla="*/ 596 w 10000"/>
                <a:gd name="connsiteY21" fmla="*/ 7459 h 9871"/>
                <a:gd name="connsiteX22" fmla="*/ 1075 w 10000"/>
                <a:gd name="connsiteY22" fmla="*/ 7492 h 9871"/>
                <a:gd name="connsiteX23" fmla="*/ 1346 w 10000"/>
                <a:gd name="connsiteY23" fmla="*/ 7620 h 9871"/>
                <a:gd name="connsiteX24" fmla="*/ 1397 w 10000"/>
                <a:gd name="connsiteY24" fmla="*/ 7845 h 9871"/>
                <a:gd name="connsiteX25" fmla="*/ 2260 w 10000"/>
                <a:gd name="connsiteY25" fmla="*/ 8231 h 9871"/>
                <a:gd name="connsiteX26" fmla="*/ 2475 w 10000"/>
                <a:gd name="connsiteY26" fmla="*/ 8617 h 9871"/>
                <a:gd name="connsiteX27" fmla="*/ 3064 w 10000"/>
                <a:gd name="connsiteY27" fmla="*/ 8810 h 9871"/>
                <a:gd name="connsiteX28" fmla="*/ 3280 w 10000"/>
                <a:gd name="connsiteY28" fmla="*/ 9067 h 9871"/>
                <a:gd name="connsiteX29" fmla="*/ 3709 w 10000"/>
                <a:gd name="connsiteY29" fmla="*/ 9389 h 9871"/>
                <a:gd name="connsiteX30" fmla="*/ 4034 w 10000"/>
                <a:gd name="connsiteY30" fmla="*/ 9485 h 9871"/>
                <a:gd name="connsiteX31" fmla="*/ 4248 w 10000"/>
                <a:gd name="connsiteY31" fmla="*/ 9389 h 9871"/>
                <a:gd name="connsiteX32" fmla="*/ 4785 w 10000"/>
                <a:gd name="connsiteY32" fmla="*/ 9421 h 9871"/>
                <a:gd name="connsiteX33" fmla="*/ 5002 w 10000"/>
                <a:gd name="connsiteY33" fmla="*/ 9357 h 9871"/>
                <a:gd name="connsiteX34" fmla="*/ 5967 w 10000"/>
                <a:gd name="connsiteY34" fmla="*/ 9839 h 9871"/>
                <a:gd name="connsiteX35" fmla="*/ 6021 w 10000"/>
                <a:gd name="connsiteY35" fmla="*/ 9839 h 9871"/>
                <a:gd name="connsiteX36" fmla="*/ 6130 w 10000"/>
                <a:gd name="connsiteY36" fmla="*/ 9775 h 9871"/>
                <a:gd name="connsiteX37" fmla="*/ 6823 w 10000"/>
                <a:gd name="connsiteY37" fmla="*/ 9775 h 9871"/>
                <a:gd name="connsiteX38" fmla="*/ 6936 w 10000"/>
                <a:gd name="connsiteY38" fmla="*/ 9871 h 9871"/>
                <a:gd name="connsiteX39" fmla="*/ 7526 w 10000"/>
                <a:gd name="connsiteY39" fmla="*/ 9742 h 9871"/>
                <a:gd name="connsiteX40" fmla="*/ 8062 w 10000"/>
                <a:gd name="connsiteY40" fmla="*/ 9742 h 9871"/>
                <a:gd name="connsiteX41" fmla="*/ 8438 w 10000"/>
                <a:gd name="connsiteY41" fmla="*/ 9614 h 9871"/>
                <a:gd name="connsiteX42" fmla="*/ 8871 w 10000"/>
                <a:gd name="connsiteY42" fmla="*/ 9357 h 9871"/>
                <a:gd name="connsiteX43" fmla="*/ 10000 w 10000"/>
                <a:gd name="connsiteY43" fmla="*/ 9357 h 9871"/>
                <a:gd name="connsiteX44" fmla="*/ 10000 w 10000"/>
                <a:gd name="connsiteY44" fmla="*/ 9003 h 9871"/>
                <a:gd name="connsiteX45" fmla="*/ 9409 w 10000"/>
                <a:gd name="connsiteY45" fmla="*/ 8842 h 9871"/>
                <a:gd name="connsiteX46" fmla="*/ 9083 w 10000"/>
                <a:gd name="connsiteY46" fmla="*/ 8328 h 9871"/>
                <a:gd name="connsiteX47" fmla="*/ 8655 w 10000"/>
                <a:gd name="connsiteY47" fmla="*/ 8135 h 9871"/>
                <a:gd name="connsiteX48" fmla="*/ 8385 w 10000"/>
                <a:gd name="connsiteY48" fmla="*/ 7877 h 9871"/>
                <a:gd name="connsiteX49" fmla="*/ 7687 w 10000"/>
                <a:gd name="connsiteY49" fmla="*/ 7685 h 9871"/>
                <a:gd name="connsiteX50" fmla="*/ 7848 w 10000"/>
                <a:gd name="connsiteY50" fmla="*/ 7620 h 9871"/>
                <a:gd name="connsiteX51" fmla="*/ 7848 w 10000"/>
                <a:gd name="connsiteY51" fmla="*/ 7459 h 9871"/>
                <a:gd name="connsiteX52" fmla="*/ 8334 w 10000"/>
                <a:gd name="connsiteY52" fmla="*/ 7459 h 9871"/>
                <a:gd name="connsiteX53" fmla="*/ 8599 w 10000"/>
                <a:gd name="connsiteY53" fmla="*/ 7331 h 9871"/>
                <a:gd name="connsiteX54" fmla="*/ 8655 w 10000"/>
                <a:gd name="connsiteY54" fmla="*/ 6398 h 9871"/>
                <a:gd name="connsiteX55" fmla="*/ 8707 w 10000"/>
                <a:gd name="connsiteY55" fmla="*/ 6430 h 9871"/>
                <a:gd name="connsiteX56" fmla="*/ 8517 w 10000"/>
                <a:gd name="connsiteY56" fmla="*/ 6489 h 9871"/>
                <a:gd name="connsiteX57" fmla="*/ 8440 w 10000"/>
                <a:gd name="connsiteY57" fmla="*/ 6616 h 9871"/>
                <a:gd name="connsiteX58" fmla="*/ 7961 w 10000"/>
                <a:gd name="connsiteY58" fmla="*/ 6368 h 9871"/>
                <a:gd name="connsiteX59" fmla="*/ 7874 w 10000"/>
                <a:gd name="connsiteY59" fmla="*/ 5699 h 9871"/>
                <a:gd name="connsiteX60" fmla="*/ 7361 w 10000"/>
                <a:gd name="connsiteY60" fmla="*/ 5989 h 9871"/>
                <a:gd name="connsiteX61" fmla="*/ 7369 w 10000"/>
                <a:gd name="connsiteY61" fmla="*/ 6333 h 9871"/>
                <a:gd name="connsiteX62" fmla="*/ 6955 w 10000"/>
                <a:gd name="connsiteY62" fmla="*/ 6541 h 9871"/>
                <a:gd name="connsiteX63" fmla="*/ 9409 w 10000"/>
                <a:gd name="connsiteY63" fmla="*/ 32 h 9871"/>
                <a:gd name="connsiteX64" fmla="*/ 9191 w 10000"/>
                <a:gd name="connsiteY64" fmla="*/ 0 h 9871"/>
                <a:gd name="connsiteX65" fmla="*/ 9029 w 10000"/>
                <a:gd name="connsiteY65" fmla="*/ 289 h 9871"/>
                <a:gd name="connsiteX66" fmla="*/ 8599 w 10000"/>
                <a:gd name="connsiteY66" fmla="*/ 353 h 9871"/>
                <a:gd name="connsiteX67" fmla="*/ 8493 w 10000"/>
                <a:gd name="connsiteY67" fmla="*/ 578 h 9871"/>
                <a:gd name="connsiteX68" fmla="*/ 8116 w 10000"/>
                <a:gd name="connsiteY68" fmla="*/ 578 h 9871"/>
                <a:gd name="connsiteX69" fmla="*/ 7794 w 10000"/>
                <a:gd name="connsiteY69" fmla="*/ 482 h 9871"/>
                <a:gd name="connsiteX70" fmla="*/ 7096 w 10000"/>
                <a:gd name="connsiteY70" fmla="*/ 482 h 9871"/>
                <a:gd name="connsiteX71" fmla="*/ 6397 w 10000"/>
                <a:gd name="connsiteY71" fmla="*/ 482 h 9871"/>
                <a:gd name="connsiteX72" fmla="*/ 6452 w 10000"/>
                <a:gd name="connsiteY72" fmla="*/ 353 h 9871"/>
                <a:gd name="connsiteX73" fmla="*/ 6343 w 10000"/>
                <a:gd name="connsiteY73" fmla="*/ 353 h 9871"/>
                <a:gd name="connsiteX74" fmla="*/ 6290 w 10000"/>
                <a:gd name="connsiteY74" fmla="*/ 482 h 9871"/>
                <a:gd name="connsiteX75" fmla="*/ 5644 w 10000"/>
                <a:gd name="connsiteY75" fmla="*/ 482 h 9871"/>
                <a:gd name="connsiteX76" fmla="*/ 5002 w 10000"/>
                <a:gd name="connsiteY76" fmla="*/ 482 h 9871"/>
                <a:gd name="connsiteX77" fmla="*/ 4356 w 10000"/>
                <a:gd name="connsiteY77" fmla="*/ 482 h 9871"/>
                <a:gd name="connsiteX78" fmla="*/ 3709 w 10000"/>
                <a:gd name="connsiteY78" fmla="*/ 482 h 9871"/>
                <a:gd name="connsiteX79" fmla="*/ 3120 w 10000"/>
                <a:gd name="connsiteY79" fmla="*/ 482 h 9871"/>
                <a:gd name="connsiteX80" fmla="*/ 2475 w 10000"/>
                <a:gd name="connsiteY80" fmla="*/ 482 h 9871"/>
                <a:gd name="connsiteX81" fmla="*/ 1884 w 10000"/>
                <a:gd name="connsiteY81" fmla="*/ 482 h 9871"/>
                <a:gd name="connsiteX82" fmla="*/ 1237 w 10000"/>
                <a:gd name="connsiteY82" fmla="*/ 482 h 9871"/>
                <a:gd name="connsiteX83" fmla="*/ 1237 w 10000"/>
                <a:gd name="connsiteY83" fmla="*/ 932 h 9871"/>
                <a:gd name="connsiteX84" fmla="*/ 1237 w 10000"/>
                <a:gd name="connsiteY84" fmla="*/ 1511 h 9871"/>
                <a:gd name="connsiteX85" fmla="*/ 433 w 10000"/>
                <a:gd name="connsiteY85" fmla="*/ 1511 h 9871"/>
                <a:gd name="connsiteX86" fmla="*/ 433 w 10000"/>
                <a:gd name="connsiteY86" fmla="*/ 1768 h 9871"/>
                <a:gd name="connsiteX0" fmla="*/ 433 w 10000"/>
                <a:gd name="connsiteY0" fmla="*/ 1791 h 10000"/>
                <a:gd name="connsiteX1" fmla="*/ 6675 w 10000"/>
                <a:gd name="connsiteY1" fmla="*/ 6875 h 10000"/>
                <a:gd name="connsiteX2" fmla="*/ 6234 w 10000"/>
                <a:gd name="connsiteY2" fmla="*/ 7076 h 10000"/>
                <a:gd name="connsiteX3" fmla="*/ 5864 w 10000"/>
                <a:gd name="connsiteY3" fmla="*/ 6867 h 10000"/>
                <a:gd name="connsiteX4" fmla="*/ 5325 w 10000"/>
                <a:gd name="connsiteY4" fmla="*/ 6739 h 10000"/>
                <a:gd name="connsiteX5" fmla="*/ 5058 w 10000"/>
                <a:gd name="connsiteY5" fmla="*/ 7026 h 10000"/>
                <a:gd name="connsiteX6" fmla="*/ 4396 w 10000"/>
                <a:gd name="connsiteY6" fmla="*/ 7245 h 10000"/>
                <a:gd name="connsiteX7" fmla="*/ 3972 w 10000"/>
                <a:gd name="connsiteY7" fmla="*/ 7243 h 10000"/>
                <a:gd name="connsiteX8" fmla="*/ 3044 w 10000"/>
                <a:gd name="connsiteY8" fmla="*/ 7057 h 10000"/>
                <a:gd name="connsiteX9" fmla="*/ 2796 w 10000"/>
                <a:gd name="connsiteY9" fmla="*/ 7158 h 10000"/>
                <a:gd name="connsiteX10" fmla="*/ 2177 w 10000"/>
                <a:gd name="connsiteY10" fmla="*/ 6933 h 10000"/>
                <a:gd name="connsiteX11" fmla="*/ 1903 w 10000"/>
                <a:gd name="connsiteY11" fmla="*/ 6594 h 10000"/>
                <a:gd name="connsiteX12" fmla="*/ 1449 w 10000"/>
                <a:gd name="connsiteY12" fmla="*/ 6686 h 10000"/>
                <a:gd name="connsiteX13" fmla="*/ 1324 w 10000"/>
                <a:gd name="connsiteY13" fmla="*/ 6887 h 10000"/>
                <a:gd name="connsiteX14" fmla="*/ 845 w 10000"/>
                <a:gd name="connsiteY14" fmla="*/ 6972 h 10000"/>
                <a:gd name="connsiteX15" fmla="*/ 526 w 10000"/>
                <a:gd name="connsiteY15" fmla="*/ 6965 h 10000"/>
                <a:gd name="connsiteX16" fmla="*/ 354 w 10000"/>
                <a:gd name="connsiteY16" fmla="*/ 7124 h 10000"/>
                <a:gd name="connsiteX17" fmla="*/ 56 w 10000"/>
                <a:gd name="connsiteY17" fmla="*/ 6873 h 10000"/>
                <a:gd name="connsiteX18" fmla="*/ 0 w 10000"/>
                <a:gd name="connsiteY18" fmla="*/ 7329 h 10000"/>
                <a:gd name="connsiteX19" fmla="*/ 106 w 10000"/>
                <a:gd name="connsiteY19" fmla="*/ 7394 h 10000"/>
                <a:gd name="connsiteX20" fmla="*/ 538 w 10000"/>
                <a:gd name="connsiteY20" fmla="*/ 7427 h 10000"/>
                <a:gd name="connsiteX21" fmla="*/ 596 w 10000"/>
                <a:gd name="connsiteY21" fmla="*/ 7556 h 10000"/>
                <a:gd name="connsiteX22" fmla="*/ 1075 w 10000"/>
                <a:gd name="connsiteY22" fmla="*/ 7590 h 10000"/>
                <a:gd name="connsiteX23" fmla="*/ 1346 w 10000"/>
                <a:gd name="connsiteY23" fmla="*/ 7720 h 10000"/>
                <a:gd name="connsiteX24" fmla="*/ 1397 w 10000"/>
                <a:gd name="connsiteY24" fmla="*/ 7948 h 10000"/>
                <a:gd name="connsiteX25" fmla="*/ 2260 w 10000"/>
                <a:gd name="connsiteY25" fmla="*/ 8339 h 10000"/>
                <a:gd name="connsiteX26" fmla="*/ 2475 w 10000"/>
                <a:gd name="connsiteY26" fmla="*/ 8730 h 10000"/>
                <a:gd name="connsiteX27" fmla="*/ 3064 w 10000"/>
                <a:gd name="connsiteY27" fmla="*/ 8925 h 10000"/>
                <a:gd name="connsiteX28" fmla="*/ 3280 w 10000"/>
                <a:gd name="connsiteY28" fmla="*/ 9185 h 10000"/>
                <a:gd name="connsiteX29" fmla="*/ 3709 w 10000"/>
                <a:gd name="connsiteY29" fmla="*/ 9512 h 10000"/>
                <a:gd name="connsiteX30" fmla="*/ 4034 w 10000"/>
                <a:gd name="connsiteY30" fmla="*/ 9609 h 10000"/>
                <a:gd name="connsiteX31" fmla="*/ 4248 w 10000"/>
                <a:gd name="connsiteY31" fmla="*/ 9512 h 10000"/>
                <a:gd name="connsiteX32" fmla="*/ 4785 w 10000"/>
                <a:gd name="connsiteY32" fmla="*/ 9544 h 10000"/>
                <a:gd name="connsiteX33" fmla="*/ 5002 w 10000"/>
                <a:gd name="connsiteY33" fmla="*/ 9479 h 10000"/>
                <a:gd name="connsiteX34" fmla="*/ 5967 w 10000"/>
                <a:gd name="connsiteY34" fmla="*/ 9968 h 10000"/>
                <a:gd name="connsiteX35" fmla="*/ 6021 w 10000"/>
                <a:gd name="connsiteY35" fmla="*/ 9968 h 10000"/>
                <a:gd name="connsiteX36" fmla="*/ 6130 w 10000"/>
                <a:gd name="connsiteY36" fmla="*/ 9903 h 10000"/>
                <a:gd name="connsiteX37" fmla="*/ 6823 w 10000"/>
                <a:gd name="connsiteY37" fmla="*/ 9903 h 10000"/>
                <a:gd name="connsiteX38" fmla="*/ 6936 w 10000"/>
                <a:gd name="connsiteY38" fmla="*/ 10000 h 10000"/>
                <a:gd name="connsiteX39" fmla="*/ 7526 w 10000"/>
                <a:gd name="connsiteY39" fmla="*/ 9869 h 10000"/>
                <a:gd name="connsiteX40" fmla="*/ 8062 w 10000"/>
                <a:gd name="connsiteY40" fmla="*/ 9869 h 10000"/>
                <a:gd name="connsiteX41" fmla="*/ 8438 w 10000"/>
                <a:gd name="connsiteY41" fmla="*/ 9740 h 10000"/>
                <a:gd name="connsiteX42" fmla="*/ 8871 w 10000"/>
                <a:gd name="connsiteY42" fmla="*/ 9479 h 10000"/>
                <a:gd name="connsiteX43" fmla="*/ 10000 w 10000"/>
                <a:gd name="connsiteY43" fmla="*/ 9479 h 10000"/>
                <a:gd name="connsiteX44" fmla="*/ 10000 w 10000"/>
                <a:gd name="connsiteY44" fmla="*/ 9121 h 10000"/>
                <a:gd name="connsiteX45" fmla="*/ 9409 w 10000"/>
                <a:gd name="connsiteY45" fmla="*/ 8958 h 10000"/>
                <a:gd name="connsiteX46" fmla="*/ 9083 w 10000"/>
                <a:gd name="connsiteY46" fmla="*/ 8437 h 10000"/>
                <a:gd name="connsiteX47" fmla="*/ 8655 w 10000"/>
                <a:gd name="connsiteY47" fmla="*/ 8241 h 10000"/>
                <a:gd name="connsiteX48" fmla="*/ 8385 w 10000"/>
                <a:gd name="connsiteY48" fmla="*/ 7980 h 10000"/>
                <a:gd name="connsiteX49" fmla="*/ 7687 w 10000"/>
                <a:gd name="connsiteY49" fmla="*/ 7785 h 10000"/>
                <a:gd name="connsiteX50" fmla="*/ 7848 w 10000"/>
                <a:gd name="connsiteY50" fmla="*/ 7720 h 10000"/>
                <a:gd name="connsiteX51" fmla="*/ 7848 w 10000"/>
                <a:gd name="connsiteY51" fmla="*/ 7556 h 10000"/>
                <a:gd name="connsiteX52" fmla="*/ 8334 w 10000"/>
                <a:gd name="connsiteY52" fmla="*/ 7556 h 10000"/>
                <a:gd name="connsiteX53" fmla="*/ 8599 w 10000"/>
                <a:gd name="connsiteY53" fmla="*/ 7427 h 10000"/>
                <a:gd name="connsiteX54" fmla="*/ 8655 w 10000"/>
                <a:gd name="connsiteY54" fmla="*/ 6482 h 10000"/>
                <a:gd name="connsiteX55" fmla="*/ 8707 w 10000"/>
                <a:gd name="connsiteY55" fmla="*/ 6514 h 10000"/>
                <a:gd name="connsiteX56" fmla="*/ 8517 w 10000"/>
                <a:gd name="connsiteY56" fmla="*/ 6574 h 10000"/>
                <a:gd name="connsiteX57" fmla="*/ 8440 w 10000"/>
                <a:gd name="connsiteY57" fmla="*/ 6702 h 10000"/>
                <a:gd name="connsiteX58" fmla="*/ 7961 w 10000"/>
                <a:gd name="connsiteY58" fmla="*/ 6451 h 10000"/>
                <a:gd name="connsiteX59" fmla="*/ 7874 w 10000"/>
                <a:gd name="connsiteY59" fmla="*/ 5773 h 10000"/>
                <a:gd name="connsiteX60" fmla="*/ 7361 w 10000"/>
                <a:gd name="connsiteY60" fmla="*/ 6067 h 10000"/>
                <a:gd name="connsiteX61" fmla="*/ 7369 w 10000"/>
                <a:gd name="connsiteY61" fmla="*/ 6416 h 10000"/>
                <a:gd name="connsiteX62" fmla="*/ 6955 w 10000"/>
                <a:gd name="connsiteY62" fmla="*/ 6626 h 10000"/>
                <a:gd name="connsiteX63" fmla="*/ 9191 w 10000"/>
                <a:gd name="connsiteY63" fmla="*/ 0 h 10000"/>
                <a:gd name="connsiteX64" fmla="*/ 9029 w 10000"/>
                <a:gd name="connsiteY64" fmla="*/ 293 h 10000"/>
                <a:gd name="connsiteX65" fmla="*/ 8599 w 10000"/>
                <a:gd name="connsiteY65" fmla="*/ 358 h 10000"/>
                <a:gd name="connsiteX66" fmla="*/ 8493 w 10000"/>
                <a:gd name="connsiteY66" fmla="*/ 586 h 10000"/>
                <a:gd name="connsiteX67" fmla="*/ 8116 w 10000"/>
                <a:gd name="connsiteY67" fmla="*/ 586 h 10000"/>
                <a:gd name="connsiteX68" fmla="*/ 7794 w 10000"/>
                <a:gd name="connsiteY68" fmla="*/ 488 h 10000"/>
                <a:gd name="connsiteX69" fmla="*/ 7096 w 10000"/>
                <a:gd name="connsiteY69" fmla="*/ 488 h 10000"/>
                <a:gd name="connsiteX70" fmla="*/ 6397 w 10000"/>
                <a:gd name="connsiteY70" fmla="*/ 488 h 10000"/>
                <a:gd name="connsiteX71" fmla="*/ 6452 w 10000"/>
                <a:gd name="connsiteY71" fmla="*/ 358 h 10000"/>
                <a:gd name="connsiteX72" fmla="*/ 6343 w 10000"/>
                <a:gd name="connsiteY72" fmla="*/ 358 h 10000"/>
                <a:gd name="connsiteX73" fmla="*/ 6290 w 10000"/>
                <a:gd name="connsiteY73" fmla="*/ 488 h 10000"/>
                <a:gd name="connsiteX74" fmla="*/ 5644 w 10000"/>
                <a:gd name="connsiteY74" fmla="*/ 488 h 10000"/>
                <a:gd name="connsiteX75" fmla="*/ 5002 w 10000"/>
                <a:gd name="connsiteY75" fmla="*/ 488 h 10000"/>
                <a:gd name="connsiteX76" fmla="*/ 4356 w 10000"/>
                <a:gd name="connsiteY76" fmla="*/ 488 h 10000"/>
                <a:gd name="connsiteX77" fmla="*/ 3709 w 10000"/>
                <a:gd name="connsiteY77" fmla="*/ 488 h 10000"/>
                <a:gd name="connsiteX78" fmla="*/ 3120 w 10000"/>
                <a:gd name="connsiteY78" fmla="*/ 488 h 10000"/>
                <a:gd name="connsiteX79" fmla="*/ 2475 w 10000"/>
                <a:gd name="connsiteY79" fmla="*/ 488 h 10000"/>
                <a:gd name="connsiteX80" fmla="*/ 1884 w 10000"/>
                <a:gd name="connsiteY80" fmla="*/ 488 h 10000"/>
                <a:gd name="connsiteX81" fmla="*/ 1237 w 10000"/>
                <a:gd name="connsiteY81" fmla="*/ 488 h 10000"/>
                <a:gd name="connsiteX82" fmla="*/ 1237 w 10000"/>
                <a:gd name="connsiteY82" fmla="*/ 944 h 10000"/>
                <a:gd name="connsiteX83" fmla="*/ 1237 w 10000"/>
                <a:gd name="connsiteY83" fmla="*/ 1531 h 10000"/>
                <a:gd name="connsiteX84" fmla="*/ 433 w 10000"/>
                <a:gd name="connsiteY84" fmla="*/ 1531 h 10000"/>
                <a:gd name="connsiteX85" fmla="*/ 433 w 10000"/>
                <a:gd name="connsiteY85" fmla="*/ 1791 h 10000"/>
                <a:gd name="connsiteX0" fmla="*/ 433 w 10000"/>
                <a:gd name="connsiteY0" fmla="*/ 1498 h 9707"/>
                <a:gd name="connsiteX1" fmla="*/ 6675 w 10000"/>
                <a:gd name="connsiteY1" fmla="*/ 6582 h 9707"/>
                <a:gd name="connsiteX2" fmla="*/ 6234 w 10000"/>
                <a:gd name="connsiteY2" fmla="*/ 6783 h 9707"/>
                <a:gd name="connsiteX3" fmla="*/ 5864 w 10000"/>
                <a:gd name="connsiteY3" fmla="*/ 6574 h 9707"/>
                <a:gd name="connsiteX4" fmla="*/ 5325 w 10000"/>
                <a:gd name="connsiteY4" fmla="*/ 6446 h 9707"/>
                <a:gd name="connsiteX5" fmla="*/ 5058 w 10000"/>
                <a:gd name="connsiteY5" fmla="*/ 6733 h 9707"/>
                <a:gd name="connsiteX6" fmla="*/ 4396 w 10000"/>
                <a:gd name="connsiteY6" fmla="*/ 6952 h 9707"/>
                <a:gd name="connsiteX7" fmla="*/ 3972 w 10000"/>
                <a:gd name="connsiteY7" fmla="*/ 6950 h 9707"/>
                <a:gd name="connsiteX8" fmla="*/ 3044 w 10000"/>
                <a:gd name="connsiteY8" fmla="*/ 6764 h 9707"/>
                <a:gd name="connsiteX9" fmla="*/ 2796 w 10000"/>
                <a:gd name="connsiteY9" fmla="*/ 6865 h 9707"/>
                <a:gd name="connsiteX10" fmla="*/ 2177 w 10000"/>
                <a:gd name="connsiteY10" fmla="*/ 6640 h 9707"/>
                <a:gd name="connsiteX11" fmla="*/ 1903 w 10000"/>
                <a:gd name="connsiteY11" fmla="*/ 6301 h 9707"/>
                <a:gd name="connsiteX12" fmla="*/ 1449 w 10000"/>
                <a:gd name="connsiteY12" fmla="*/ 6393 h 9707"/>
                <a:gd name="connsiteX13" fmla="*/ 1324 w 10000"/>
                <a:gd name="connsiteY13" fmla="*/ 6594 h 9707"/>
                <a:gd name="connsiteX14" fmla="*/ 845 w 10000"/>
                <a:gd name="connsiteY14" fmla="*/ 6679 h 9707"/>
                <a:gd name="connsiteX15" fmla="*/ 526 w 10000"/>
                <a:gd name="connsiteY15" fmla="*/ 6672 h 9707"/>
                <a:gd name="connsiteX16" fmla="*/ 354 w 10000"/>
                <a:gd name="connsiteY16" fmla="*/ 6831 h 9707"/>
                <a:gd name="connsiteX17" fmla="*/ 56 w 10000"/>
                <a:gd name="connsiteY17" fmla="*/ 6580 h 9707"/>
                <a:gd name="connsiteX18" fmla="*/ 0 w 10000"/>
                <a:gd name="connsiteY18" fmla="*/ 7036 h 9707"/>
                <a:gd name="connsiteX19" fmla="*/ 106 w 10000"/>
                <a:gd name="connsiteY19" fmla="*/ 7101 h 9707"/>
                <a:gd name="connsiteX20" fmla="*/ 538 w 10000"/>
                <a:gd name="connsiteY20" fmla="*/ 7134 h 9707"/>
                <a:gd name="connsiteX21" fmla="*/ 596 w 10000"/>
                <a:gd name="connsiteY21" fmla="*/ 7263 h 9707"/>
                <a:gd name="connsiteX22" fmla="*/ 1075 w 10000"/>
                <a:gd name="connsiteY22" fmla="*/ 7297 h 9707"/>
                <a:gd name="connsiteX23" fmla="*/ 1346 w 10000"/>
                <a:gd name="connsiteY23" fmla="*/ 7427 h 9707"/>
                <a:gd name="connsiteX24" fmla="*/ 1397 w 10000"/>
                <a:gd name="connsiteY24" fmla="*/ 7655 h 9707"/>
                <a:gd name="connsiteX25" fmla="*/ 2260 w 10000"/>
                <a:gd name="connsiteY25" fmla="*/ 8046 h 9707"/>
                <a:gd name="connsiteX26" fmla="*/ 2475 w 10000"/>
                <a:gd name="connsiteY26" fmla="*/ 8437 h 9707"/>
                <a:gd name="connsiteX27" fmla="*/ 3064 w 10000"/>
                <a:gd name="connsiteY27" fmla="*/ 8632 h 9707"/>
                <a:gd name="connsiteX28" fmla="*/ 3280 w 10000"/>
                <a:gd name="connsiteY28" fmla="*/ 8892 h 9707"/>
                <a:gd name="connsiteX29" fmla="*/ 3709 w 10000"/>
                <a:gd name="connsiteY29" fmla="*/ 9219 h 9707"/>
                <a:gd name="connsiteX30" fmla="*/ 4034 w 10000"/>
                <a:gd name="connsiteY30" fmla="*/ 9316 h 9707"/>
                <a:gd name="connsiteX31" fmla="*/ 4248 w 10000"/>
                <a:gd name="connsiteY31" fmla="*/ 9219 h 9707"/>
                <a:gd name="connsiteX32" fmla="*/ 4785 w 10000"/>
                <a:gd name="connsiteY32" fmla="*/ 9251 h 9707"/>
                <a:gd name="connsiteX33" fmla="*/ 5002 w 10000"/>
                <a:gd name="connsiteY33" fmla="*/ 9186 h 9707"/>
                <a:gd name="connsiteX34" fmla="*/ 5967 w 10000"/>
                <a:gd name="connsiteY34" fmla="*/ 9675 h 9707"/>
                <a:gd name="connsiteX35" fmla="*/ 6021 w 10000"/>
                <a:gd name="connsiteY35" fmla="*/ 9675 h 9707"/>
                <a:gd name="connsiteX36" fmla="*/ 6130 w 10000"/>
                <a:gd name="connsiteY36" fmla="*/ 9610 h 9707"/>
                <a:gd name="connsiteX37" fmla="*/ 6823 w 10000"/>
                <a:gd name="connsiteY37" fmla="*/ 9610 h 9707"/>
                <a:gd name="connsiteX38" fmla="*/ 6936 w 10000"/>
                <a:gd name="connsiteY38" fmla="*/ 9707 h 9707"/>
                <a:gd name="connsiteX39" fmla="*/ 7526 w 10000"/>
                <a:gd name="connsiteY39" fmla="*/ 9576 h 9707"/>
                <a:gd name="connsiteX40" fmla="*/ 8062 w 10000"/>
                <a:gd name="connsiteY40" fmla="*/ 9576 h 9707"/>
                <a:gd name="connsiteX41" fmla="*/ 8438 w 10000"/>
                <a:gd name="connsiteY41" fmla="*/ 9447 h 9707"/>
                <a:gd name="connsiteX42" fmla="*/ 8871 w 10000"/>
                <a:gd name="connsiteY42" fmla="*/ 9186 h 9707"/>
                <a:gd name="connsiteX43" fmla="*/ 10000 w 10000"/>
                <a:gd name="connsiteY43" fmla="*/ 9186 h 9707"/>
                <a:gd name="connsiteX44" fmla="*/ 10000 w 10000"/>
                <a:gd name="connsiteY44" fmla="*/ 8828 h 9707"/>
                <a:gd name="connsiteX45" fmla="*/ 9409 w 10000"/>
                <a:gd name="connsiteY45" fmla="*/ 8665 h 9707"/>
                <a:gd name="connsiteX46" fmla="*/ 9083 w 10000"/>
                <a:gd name="connsiteY46" fmla="*/ 8144 h 9707"/>
                <a:gd name="connsiteX47" fmla="*/ 8655 w 10000"/>
                <a:gd name="connsiteY47" fmla="*/ 7948 h 9707"/>
                <a:gd name="connsiteX48" fmla="*/ 8385 w 10000"/>
                <a:gd name="connsiteY48" fmla="*/ 7687 h 9707"/>
                <a:gd name="connsiteX49" fmla="*/ 7687 w 10000"/>
                <a:gd name="connsiteY49" fmla="*/ 7492 h 9707"/>
                <a:gd name="connsiteX50" fmla="*/ 7848 w 10000"/>
                <a:gd name="connsiteY50" fmla="*/ 7427 h 9707"/>
                <a:gd name="connsiteX51" fmla="*/ 7848 w 10000"/>
                <a:gd name="connsiteY51" fmla="*/ 7263 h 9707"/>
                <a:gd name="connsiteX52" fmla="*/ 8334 w 10000"/>
                <a:gd name="connsiteY52" fmla="*/ 7263 h 9707"/>
                <a:gd name="connsiteX53" fmla="*/ 8599 w 10000"/>
                <a:gd name="connsiteY53" fmla="*/ 7134 h 9707"/>
                <a:gd name="connsiteX54" fmla="*/ 8655 w 10000"/>
                <a:gd name="connsiteY54" fmla="*/ 6189 h 9707"/>
                <a:gd name="connsiteX55" fmla="*/ 8707 w 10000"/>
                <a:gd name="connsiteY55" fmla="*/ 6221 h 9707"/>
                <a:gd name="connsiteX56" fmla="*/ 8517 w 10000"/>
                <a:gd name="connsiteY56" fmla="*/ 6281 h 9707"/>
                <a:gd name="connsiteX57" fmla="*/ 8440 w 10000"/>
                <a:gd name="connsiteY57" fmla="*/ 6409 h 9707"/>
                <a:gd name="connsiteX58" fmla="*/ 7961 w 10000"/>
                <a:gd name="connsiteY58" fmla="*/ 6158 h 9707"/>
                <a:gd name="connsiteX59" fmla="*/ 7874 w 10000"/>
                <a:gd name="connsiteY59" fmla="*/ 5480 h 9707"/>
                <a:gd name="connsiteX60" fmla="*/ 7361 w 10000"/>
                <a:gd name="connsiteY60" fmla="*/ 5774 h 9707"/>
                <a:gd name="connsiteX61" fmla="*/ 7369 w 10000"/>
                <a:gd name="connsiteY61" fmla="*/ 6123 h 9707"/>
                <a:gd name="connsiteX62" fmla="*/ 6955 w 10000"/>
                <a:gd name="connsiteY62" fmla="*/ 6333 h 9707"/>
                <a:gd name="connsiteX63" fmla="*/ 9029 w 10000"/>
                <a:gd name="connsiteY63" fmla="*/ 0 h 9707"/>
                <a:gd name="connsiteX64" fmla="*/ 8599 w 10000"/>
                <a:gd name="connsiteY64" fmla="*/ 65 h 9707"/>
                <a:gd name="connsiteX65" fmla="*/ 8493 w 10000"/>
                <a:gd name="connsiteY65" fmla="*/ 293 h 9707"/>
                <a:gd name="connsiteX66" fmla="*/ 8116 w 10000"/>
                <a:gd name="connsiteY66" fmla="*/ 293 h 9707"/>
                <a:gd name="connsiteX67" fmla="*/ 7794 w 10000"/>
                <a:gd name="connsiteY67" fmla="*/ 195 h 9707"/>
                <a:gd name="connsiteX68" fmla="*/ 7096 w 10000"/>
                <a:gd name="connsiteY68" fmla="*/ 195 h 9707"/>
                <a:gd name="connsiteX69" fmla="*/ 6397 w 10000"/>
                <a:gd name="connsiteY69" fmla="*/ 195 h 9707"/>
                <a:gd name="connsiteX70" fmla="*/ 6452 w 10000"/>
                <a:gd name="connsiteY70" fmla="*/ 65 h 9707"/>
                <a:gd name="connsiteX71" fmla="*/ 6343 w 10000"/>
                <a:gd name="connsiteY71" fmla="*/ 65 h 9707"/>
                <a:gd name="connsiteX72" fmla="*/ 6290 w 10000"/>
                <a:gd name="connsiteY72" fmla="*/ 195 h 9707"/>
                <a:gd name="connsiteX73" fmla="*/ 5644 w 10000"/>
                <a:gd name="connsiteY73" fmla="*/ 195 h 9707"/>
                <a:gd name="connsiteX74" fmla="*/ 5002 w 10000"/>
                <a:gd name="connsiteY74" fmla="*/ 195 h 9707"/>
                <a:gd name="connsiteX75" fmla="*/ 4356 w 10000"/>
                <a:gd name="connsiteY75" fmla="*/ 195 h 9707"/>
                <a:gd name="connsiteX76" fmla="*/ 3709 w 10000"/>
                <a:gd name="connsiteY76" fmla="*/ 195 h 9707"/>
                <a:gd name="connsiteX77" fmla="*/ 3120 w 10000"/>
                <a:gd name="connsiteY77" fmla="*/ 195 h 9707"/>
                <a:gd name="connsiteX78" fmla="*/ 2475 w 10000"/>
                <a:gd name="connsiteY78" fmla="*/ 195 h 9707"/>
                <a:gd name="connsiteX79" fmla="*/ 1884 w 10000"/>
                <a:gd name="connsiteY79" fmla="*/ 195 h 9707"/>
                <a:gd name="connsiteX80" fmla="*/ 1237 w 10000"/>
                <a:gd name="connsiteY80" fmla="*/ 195 h 9707"/>
                <a:gd name="connsiteX81" fmla="*/ 1237 w 10000"/>
                <a:gd name="connsiteY81" fmla="*/ 651 h 9707"/>
                <a:gd name="connsiteX82" fmla="*/ 1237 w 10000"/>
                <a:gd name="connsiteY82" fmla="*/ 1238 h 9707"/>
                <a:gd name="connsiteX83" fmla="*/ 433 w 10000"/>
                <a:gd name="connsiteY83" fmla="*/ 1238 h 9707"/>
                <a:gd name="connsiteX84" fmla="*/ 433 w 10000"/>
                <a:gd name="connsiteY84" fmla="*/ 1498 h 9707"/>
                <a:gd name="connsiteX0" fmla="*/ 433 w 10000"/>
                <a:gd name="connsiteY0" fmla="*/ 1476 h 9933"/>
                <a:gd name="connsiteX1" fmla="*/ 6675 w 10000"/>
                <a:gd name="connsiteY1" fmla="*/ 6714 h 9933"/>
                <a:gd name="connsiteX2" fmla="*/ 6234 w 10000"/>
                <a:gd name="connsiteY2" fmla="*/ 6921 h 9933"/>
                <a:gd name="connsiteX3" fmla="*/ 5864 w 10000"/>
                <a:gd name="connsiteY3" fmla="*/ 6705 h 9933"/>
                <a:gd name="connsiteX4" fmla="*/ 5325 w 10000"/>
                <a:gd name="connsiteY4" fmla="*/ 6574 h 9933"/>
                <a:gd name="connsiteX5" fmla="*/ 5058 w 10000"/>
                <a:gd name="connsiteY5" fmla="*/ 6869 h 9933"/>
                <a:gd name="connsiteX6" fmla="*/ 4396 w 10000"/>
                <a:gd name="connsiteY6" fmla="*/ 7095 h 9933"/>
                <a:gd name="connsiteX7" fmla="*/ 3972 w 10000"/>
                <a:gd name="connsiteY7" fmla="*/ 7093 h 9933"/>
                <a:gd name="connsiteX8" fmla="*/ 3044 w 10000"/>
                <a:gd name="connsiteY8" fmla="*/ 6901 h 9933"/>
                <a:gd name="connsiteX9" fmla="*/ 2796 w 10000"/>
                <a:gd name="connsiteY9" fmla="*/ 7005 h 9933"/>
                <a:gd name="connsiteX10" fmla="*/ 2177 w 10000"/>
                <a:gd name="connsiteY10" fmla="*/ 6773 h 9933"/>
                <a:gd name="connsiteX11" fmla="*/ 1903 w 10000"/>
                <a:gd name="connsiteY11" fmla="*/ 6424 h 9933"/>
                <a:gd name="connsiteX12" fmla="*/ 1449 w 10000"/>
                <a:gd name="connsiteY12" fmla="*/ 6519 h 9933"/>
                <a:gd name="connsiteX13" fmla="*/ 1324 w 10000"/>
                <a:gd name="connsiteY13" fmla="*/ 6726 h 9933"/>
                <a:gd name="connsiteX14" fmla="*/ 845 w 10000"/>
                <a:gd name="connsiteY14" fmla="*/ 6814 h 9933"/>
                <a:gd name="connsiteX15" fmla="*/ 526 w 10000"/>
                <a:gd name="connsiteY15" fmla="*/ 6806 h 9933"/>
                <a:gd name="connsiteX16" fmla="*/ 354 w 10000"/>
                <a:gd name="connsiteY16" fmla="*/ 6970 h 9933"/>
                <a:gd name="connsiteX17" fmla="*/ 56 w 10000"/>
                <a:gd name="connsiteY17" fmla="*/ 6712 h 9933"/>
                <a:gd name="connsiteX18" fmla="*/ 0 w 10000"/>
                <a:gd name="connsiteY18" fmla="*/ 7181 h 9933"/>
                <a:gd name="connsiteX19" fmla="*/ 106 w 10000"/>
                <a:gd name="connsiteY19" fmla="*/ 7248 h 9933"/>
                <a:gd name="connsiteX20" fmla="*/ 538 w 10000"/>
                <a:gd name="connsiteY20" fmla="*/ 7282 h 9933"/>
                <a:gd name="connsiteX21" fmla="*/ 596 w 10000"/>
                <a:gd name="connsiteY21" fmla="*/ 7415 h 9933"/>
                <a:gd name="connsiteX22" fmla="*/ 1075 w 10000"/>
                <a:gd name="connsiteY22" fmla="*/ 7450 h 9933"/>
                <a:gd name="connsiteX23" fmla="*/ 1346 w 10000"/>
                <a:gd name="connsiteY23" fmla="*/ 7584 h 9933"/>
                <a:gd name="connsiteX24" fmla="*/ 1397 w 10000"/>
                <a:gd name="connsiteY24" fmla="*/ 7819 h 9933"/>
                <a:gd name="connsiteX25" fmla="*/ 2260 w 10000"/>
                <a:gd name="connsiteY25" fmla="*/ 8222 h 9933"/>
                <a:gd name="connsiteX26" fmla="*/ 2475 w 10000"/>
                <a:gd name="connsiteY26" fmla="*/ 8625 h 9933"/>
                <a:gd name="connsiteX27" fmla="*/ 3064 w 10000"/>
                <a:gd name="connsiteY27" fmla="*/ 8826 h 9933"/>
                <a:gd name="connsiteX28" fmla="*/ 3280 w 10000"/>
                <a:gd name="connsiteY28" fmla="*/ 9093 h 9933"/>
                <a:gd name="connsiteX29" fmla="*/ 3709 w 10000"/>
                <a:gd name="connsiteY29" fmla="*/ 9430 h 9933"/>
                <a:gd name="connsiteX30" fmla="*/ 4034 w 10000"/>
                <a:gd name="connsiteY30" fmla="*/ 9530 h 9933"/>
                <a:gd name="connsiteX31" fmla="*/ 4248 w 10000"/>
                <a:gd name="connsiteY31" fmla="*/ 9430 h 9933"/>
                <a:gd name="connsiteX32" fmla="*/ 4785 w 10000"/>
                <a:gd name="connsiteY32" fmla="*/ 9463 h 9933"/>
                <a:gd name="connsiteX33" fmla="*/ 5002 w 10000"/>
                <a:gd name="connsiteY33" fmla="*/ 9396 h 9933"/>
                <a:gd name="connsiteX34" fmla="*/ 5967 w 10000"/>
                <a:gd name="connsiteY34" fmla="*/ 9900 h 9933"/>
                <a:gd name="connsiteX35" fmla="*/ 6021 w 10000"/>
                <a:gd name="connsiteY35" fmla="*/ 9900 h 9933"/>
                <a:gd name="connsiteX36" fmla="*/ 6130 w 10000"/>
                <a:gd name="connsiteY36" fmla="*/ 9833 h 9933"/>
                <a:gd name="connsiteX37" fmla="*/ 6823 w 10000"/>
                <a:gd name="connsiteY37" fmla="*/ 9833 h 9933"/>
                <a:gd name="connsiteX38" fmla="*/ 6936 w 10000"/>
                <a:gd name="connsiteY38" fmla="*/ 9933 h 9933"/>
                <a:gd name="connsiteX39" fmla="*/ 7526 w 10000"/>
                <a:gd name="connsiteY39" fmla="*/ 9798 h 9933"/>
                <a:gd name="connsiteX40" fmla="*/ 8062 w 10000"/>
                <a:gd name="connsiteY40" fmla="*/ 9798 h 9933"/>
                <a:gd name="connsiteX41" fmla="*/ 8438 w 10000"/>
                <a:gd name="connsiteY41" fmla="*/ 9665 h 9933"/>
                <a:gd name="connsiteX42" fmla="*/ 8871 w 10000"/>
                <a:gd name="connsiteY42" fmla="*/ 9396 h 9933"/>
                <a:gd name="connsiteX43" fmla="*/ 10000 w 10000"/>
                <a:gd name="connsiteY43" fmla="*/ 9396 h 9933"/>
                <a:gd name="connsiteX44" fmla="*/ 10000 w 10000"/>
                <a:gd name="connsiteY44" fmla="*/ 9027 h 9933"/>
                <a:gd name="connsiteX45" fmla="*/ 9409 w 10000"/>
                <a:gd name="connsiteY45" fmla="*/ 8860 h 9933"/>
                <a:gd name="connsiteX46" fmla="*/ 9083 w 10000"/>
                <a:gd name="connsiteY46" fmla="*/ 8323 h 9933"/>
                <a:gd name="connsiteX47" fmla="*/ 8655 w 10000"/>
                <a:gd name="connsiteY47" fmla="*/ 8121 h 9933"/>
                <a:gd name="connsiteX48" fmla="*/ 8385 w 10000"/>
                <a:gd name="connsiteY48" fmla="*/ 7852 h 9933"/>
                <a:gd name="connsiteX49" fmla="*/ 7687 w 10000"/>
                <a:gd name="connsiteY49" fmla="*/ 7651 h 9933"/>
                <a:gd name="connsiteX50" fmla="*/ 7848 w 10000"/>
                <a:gd name="connsiteY50" fmla="*/ 7584 h 9933"/>
                <a:gd name="connsiteX51" fmla="*/ 7848 w 10000"/>
                <a:gd name="connsiteY51" fmla="*/ 7415 h 9933"/>
                <a:gd name="connsiteX52" fmla="*/ 8334 w 10000"/>
                <a:gd name="connsiteY52" fmla="*/ 7415 h 9933"/>
                <a:gd name="connsiteX53" fmla="*/ 8599 w 10000"/>
                <a:gd name="connsiteY53" fmla="*/ 7282 h 9933"/>
                <a:gd name="connsiteX54" fmla="*/ 8655 w 10000"/>
                <a:gd name="connsiteY54" fmla="*/ 6309 h 9933"/>
                <a:gd name="connsiteX55" fmla="*/ 8707 w 10000"/>
                <a:gd name="connsiteY55" fmla="*/ 6342 h 9933"/>
                <a:gd name="connsiteX56" fmla="*/ 8517 w 10000"/>
                <a:gd name="connsiteY56" fmla="*/ 6404 h 9933"/>
                <a:gd name="connsiteX57" fmla="*/ 8440 w 10000"/>
                <a:gd name="connsiteY57" fmla="*/ 6535 h 9933"/>
                <a:gd name="connsiteX58" fmla="*/ 7961 w 10000"/>
                <a:gd name="connsiteY58" fmla="*/ 6277 h 9933"/>
                <a:gd name="connsiteX59" fmla="*/ 7874 w 10000"/>
                <a:gd name="connsiteY59" fmla="*/ 5578 h 9933"/>
                <a:gd name="connsiteX60" fmla="*/ 7361 w 10000"/>
                <a:gd name="connsiteY60" fmla="*/ 5881 h 9933"/>
                <a:gd name="connsiteX61" fmla="*/ 7369 w 10000"/>
                <a:gd name="connsiteY61" fmla="*/ 6241 h 9933"/>
                <a:gd name="connsiteX62" fmla="*/ 6955 w 10000"/>
                <a:gd name="connsiteY62" fmla="*/ 6457 h 9933"/>
                <a:gd name="connsiteX63" fmla="*/ 8599 w 10000"/>
                <a:gd name="connsiteY63" fmla="*/ 0 h 9933"/>
                <a:gd name="connsiteX64" fmla="*/ 8493 w 10000"/>
                <a:gd name="connsiteY64" fmla="*/ 235 h 9933"/>
                <a:gd name="connsiteX65" fmla="*/ 8116 w 10000"/>
                <a:gd name="connsiteY65" fmla="*/ 235 h 9933"/>
                <a:gd name="connsiteX66" fmla="*/ 7794 w 10000"/>
                <a:gd name="connsiteY66" fmla="*/ 134 h 9933"/>
                <a:gd name="connsiteX67" fmla="*/ 7096 w 10000"/>
                <a:gd name="connsiteY67" fmla="*/ 134 h 9933"/>
                <a:gd name="connsiteX68" fmla="*/ 6397 w 10000"/>
                <a:gd name="connsiteY68" fmla="*/ 134 h 9933"/>
                <a:gd name="connsiteX69" fmla="*/ 6452 w 10000"/>
                <a:gd name="connsiteY69" fmla="*/ 0 h 9933"/>
                <a:gd name="connsiteX70" fmla="*/ 6343 w 10000"/>
                <a:gd name="connsiteY70" fmla="*/ 0 h 9933"/>
                <a:gd name="connsiteX71" fmla="*/ 6290 w 10000"/>
                <a:gd name="connsiteY71" fmla="*/ 134 h 9933"/>
                <a:gd name="connsiteX72" fmla="*/ 5644 w 10000"/>
                <a:gd name="connsiteY72" fmla="*/ 134 h 9933"/>
                <a:gd name="connsiteX73" fmla="*/ 5002 w 10000"/>
                <a:gd name="connsiteY73" fmla="*/ 134 h 9933"/>
                <a:gd name="connsiteX74" fmla="*/ 4356 w 10000"/>
                <a:gd name="connsiteY74" fmla="*/ 134 h 9933"/>
                <a:gd name="connsiteX75" fmla="*/ 3709 w 10000"/>
                <a:gd name="connsiteY75" fmla="*/ 134 h 9933"/>
                <a:gd name="connsiteX76" fmla="*/ 3120 w 10000"/>
                <a:gd name="connsiteY76" fmla="*/ 134 h 9933"/>
                <a:gd name="connsiteX77" fmla="*/ 2475 w 10000"/>
                <a:gd name="connsiteY77" fmla="*/ 134 h 9933"/>
                <a:gd name="connsiteX78" fmla="*/ 1884 w 10000"/>
                <a:gd name="connsiteY78" fmla="*/ 134 h 9933"/>
                <a:gd name="connsiteX79" fmla="*/ 1237 w 10000"/>
                <a:gd name="connsiteY79" fmla="*/ 134 h 9933"/>
                <a:gd name="connsiteX80" fmla="*/ 1237 w 10000"/>
                <a:gd name="connsiteY80" fmla="*/ 604 h 9933"/>
                <a:gd name="connsiteX81" fmla="*/ 1237 w 10000"/>
                <a:gd name="connsiteY81" fmla="*/ 1208 h 9933"/>
                <a:gd name="connsiteX82" fmla="*/ 433 w 10000"/>
                <a:gd name="connsiteY82" fmla="*/ 1208 h 9933"/>
                <a:gd name="connsiteX83" fmla="*/ 433 w 10000"/>
                <a:gd name="connsiteY83" fmla="*/ 1476 h 9933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8493 w 10000"/>
                <a:gd name="connsiteY63" fmla="*/ 237 h 10000"/>
                <a:gd name="connsiteX64" fmla="*/ 8116 w 10000"/>
                <a:gd name="connsiteY64" fmla="*/ 237 h 10000"/>
                <a:gd name="connsiteX65" fmla="*/ 7794 w 10000"/>
                <a:gd name="connsiteY65" fmla="*/ 135 h 10000"/>
                <a:gd name="connsiteX66" fmla="*/ 7096 w 10000"/>
                <a:gd name="connsiteY66" fmla="*/ 135 h 10000"/>
                <a:gd name="connsiteX67" fmla="*/ 6397 w 10000"/>
                <a:gd name="connsiteY67" fmla="*/ 135 h 10000"/>
                <a:gd name="connsiteX68" fmla="*/ 6452 w 10000"/>
                <a:gd name="connsiteY68" fmla="*/ 0 h 10000"/>
                <a:gd name="connsiteX69" fmla="*/ 6343 w 10000"/>
                <a:gd name="connsiteY69" fmla="*/ 0 h 10000"/>
                <a:gd name="connsiteX70" fmla="*/ 6290 w 10000"/>
                <a:gd name="connsiteY70" fmla="*/ 135 h 10000"/>
                <a:gd name="connsiteX71" fmla="*/ 5644 w 10000"/>
                <a:gd name="connsiteY71" fmla="*/ 135 h 10000"/>
                <a:gd name="connsiteX72" fmla="*/ 5002 w 10000"/>
                <a:gd name="connsiteY72" fmla="*/ 135 h 10000"/>
                <a:gd name="connsiteX73" fmla="*/ 4356 w 10000"/>
                <a:gd name="connsiteY73" fmla="*/ 135 h 10000"/>
                <a:gd name="connsiteX74" fmla="*/ 3709 w 10000"/>
                <a:gd name="connsiteY74" fmla="*/ 135 h 10000"/>
                <a:gd name="connsiteX75" fmla="*/ 3120 w 10000"/>
                <a:gd name="connsiteY75" fmla="*/ 135 h 10000"/>
                <a:gd name="connsiteX76" fmla="*/ 2475 w 10000"/>
                <a:gd name="connsiteY76" fmla="*/ 135 h 10000"/>
                <a:gd name="connsiteX77" fmla="*/ 1884 w 10000"/>
                <a:gd name="connsiteY77" fmla="*/ 135 h 10000"/>
                <a:gd name="connsiteX78" fmla="*/ 1237 w 10000"/>
                <a:gd name="connsiteY78" fmla="*/ 135 h 10000"/>
                <a:gd name="connsiteX79" fmla="*/ 1237 w 10000"/>
                <a:gd name="connsiteY79" fmla="*/ 608 h 10000"/>
                <a:gd name="connsiteX80" fmla="*/ 1237 w 10000"/>
                <a:gd name="connsiteY80" fmla="*/ 1216 h 10000"/>
                <a:gd name="connsiteX81" fmla="*/ 433 w 10000"/>
                <a:gd name="connsiteY81" fmla="*/ 1216 h 10000"/>
                <a:gd name="connsiteX82" fmla="*/ 433 w 10000"/>
                <a:gd name="connsiteY82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8116 w 10000"/>
                <a:gd name="connsiteY63" fmla="*/ 237 h 10000"/>
                <a:gd name="connsiteX64" fmla="*/ 7794 w 10000"/>
                <a:gd name="connsiteY64" fmla="*/ 135 h 10000"/>
                <a:gd name="connsiteX65" fmla="*/ 7096 w 10000"/>
                <a:gd name="connsiteY65" fmla="*/ 135 h 10000"/>
                <a:gd name="connsiteX66" fmla="*/ 6397 w 10000"/>
                <a:gd name="connsiteY66" fmla="*/ 135 h 10000"/>
                <a:gd name="connsiteX67" fmla="*/ 6452 w 10000"/>
                <a:gd name="connsiteY67" fmla="*/ 0 h 10000"/>
                <a:gd name="connsiteX68" fmla="*/ 6343 w 10000"/>
                <a:gd name="connsiteY68" fmla="*/ 0 h 10000"/>
                <a:gd name="connsiteX69" fmla="*/ 6290 w 10000"/>
                <a:gd name="connsiteY69" fmla="*/ 135 h 10000"/>
                <a:gd name="connsiteX70" fmla="*/ 5644 w 10000"/>
                <a:gd name="connsiteY70" fmla="*/ 135 h 10000"/>
                <a:gd name="connsiteX71" fmla="*/ 5002 w 10000"/>
                <a:gd name="connsiteY71" fmla="*/ 135 h 10000"/>
                <a:gd name="connsiteX72" fmla="*/ 4356 w 10000"/>
                <a:gd name="connsiteY72" fmla="*/ 135 h 10000"/>
                <a:gd name="connsiteX73" fmla="*/ 3709 w 10000"/>
                <a:gd name="connsiteY73" fmla="*/ 135 h 10000"/>
                <a:gd name="connsiteX74" fmla="*/ 3120 w 10000"/>
                <a:gd name="connsiteY74" fmla="*/ 135 h 10000"/>
                <a:gd name="connsiteX75" fmla="*/ 2475 w 10000"/>
                <a:gd name="connsiteY75" fmla="*/ 135 h 10000"/>
                <a:gd name="connsiteX76" fmla="*/ 1884 w 10000"/>
                <a:gd name="connsiteY76" fmla="*/ 135 h 10000"/>
                <a:gd name="connsiteX77" fmla="*/ 1237 w 10000"/>
                <a:gd name="connsiteY77" fmla="*/ 135 h 10000"/>
                <a:gd name="connsiteX78" fmla="*/ 1237 w 10000"/>
                <a:gd name="connsiteY78" fmla="*/ 608 h 10000"/>
                <a:gd name="connsiteX79" fmla="*/ 1237 w 10000"/>
                <a:gd name="connsiteY79" fmla="*/ 1216 h 10000"/>
                <a:gd name="connsiteX80" fmla="*/ 433 w 10000"/>
                <a:gd name="connsiteY80" fmla="*/ 1216 h 10000"/>
                <a:gd name="connsiteX81" fmla="*/ 433 w 10000"/>
                <a:gd name="connsiteY81" fmla="*/ 1486 h 10000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7794 w 10000"/>
                <a:gd name="connsiteY63" fmla="*/ 1061 h 10926"/>
                <a:gd name="connsiteX64" fmla="*/ 7096 w 10000"/>
                <a:gd name="connsiteY64" fmla="*/ 1061 h 10926"/>
                <a:gd name="connsiteX65" fmla="*/ 6397 w 10000"/>
                <a:gd name="connsiteY65" fmla="*/ 1061 h 10926"/>
                <a:gd name="connsiteX66" fmla="*/ 6452 w 10000"/>
                <a:gd name="connsiteY66" fmla="*/ 926 h 10926"/>
                <a:gd name="connsiteX67" fmla="*/ 6343 w 10000"/>
                <a:gd name="connsiteY67" fmla="*/ 926 h 10926"/>
                <a:gd name="connsiteX68" fmla="*/ 6290 w 10000"/>
                <a:gd name="connsiteY68" fmla="*/ 1061 h 10926"/>
                <a:gd name="connsiteX69" fmla="*/ 5644 w 10000"/>
                <a:gd name="connsiteY69" fmla="*/ 1061 h 10926"/>
                <a:gd name="connsiteX70" fmla="*/ 5002 w 10000"/>
                <a:gd name="connsiteY70" fmla="*/ 1061 h 10926"/>
                <a:gd name="connsiteX71" fmla="*/ 4356 w 10000"/>
                <a:gd name="connsiteY71" fmla="*/ 1061 h 10926"/>
                <a:gd name="connsiteX72" fmla="*/ 3709 w 10000"/>
                <a:gd name="connsiteY72" fmla="*/ 1061 h 10926"/>
                <a:gd name="connsiteX73" fmla="*/ 3120 w 10000"/>
                <a:gd name="connsiteY73" fmla="*/ 1061 h 10926"/>
                <a:gd name="connsiteX74" fmla="*/ 2475 w 10000"/>
                <a:gd name="connsiteY74" fmla="*/ 1061 h 10926"/>
                <a:gd name="connsiteX75" fmla="*/ 1884 w 10000"/>
                <a:gd name="connsiteY75" fmla="*/ 1061 h 10926"/>
                <a:gd name="connsiteX76" fmla="*/ 1237 w 10000"/>
                <a:gd name="connsiteY76" fmla="*/ 1061 h 10926"/>
                <a:gd name="connsiteX77" fmla="*/ 1237 w 10000"/>
                <a:gd name="connsiteY77" fmla="*/ 1534 h 10926"/>
                <a:gd name="connsiteX78" fmla="*/ 1237 w 10000"/>
                <a:gd name="connsiteY78" fmla="*/ 2142 h 10926"/>
                <a:gd name="connsiteX79" fmla="*/ 433 w 10000"/>
                <a:gd name="connsiteY79" fmla="*/ 2142 h 10926"/>
                <a:gd name="connsiteX80" fmla="*/ 433 w 10000"/>
                <a:gd name="connsiteY80" fmla="*/ 2412 h 10926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7096 w 10000"/>
                <a:gd name="connsiteY63" fmla="*/ 135 h 10000"/>
                <a:gd name="connsiteX64" fmla="*/ 6397 w 10000"/>
                <a:gd name="connsiteY64" fmla="*/ 135 h 10000"/>
                <a:gd name="connsiteX65" fmla="*/ 6452 w 10000"/>
                <a:gd name="connsiteY65" fmla="*/ 0 h 10000"/>
                <a:gd name="connsiteX66" fmla="*/ 6343 w 10000"/>
                <a:gd name="connsiteY66" fmla="*/ 0 h 10000"/>
                <a:gd name="connsiteX67" fmla="*/ 6290 w 10000"/>
                <a:gd name="connsiteY67" fmla="*/ 135 h 10000"/>
                <a:gd name="connsiteX68" fmla="*/ 5644 w 10000"/>
                <a:gd name="connsiteY68" fmla="*/ 135 h 10000"/>
                <a:gd name="connsiteX69" fmla="*/ 5002 w 10000"/>
                <a:gd name="connsiteY69" fmla="*/ 135 h 10000"/>
                <a:gd name="connsiteX70" fmla="*/ 4356 w 10000"/>
                <a:gd name="connsiteY70" fmla="*/ 135 h 10000"/>
                <a:gd name="connsiteX71" fmla="*/ 3709 w 10000"/>
                <a:gd name="connsiteY71" fmla="*/ 135 h 10000"/>
                <a:gd name="connsiteX72" fmla="*/ 3120 w 10000"/>
                <a:gd name="connsiteY72" fmla="*/ 135 h 10000"/>
                <a:gd name="connsiteX73" fmla="*/ 2475 w 10000"/>
                <a:gd name="connsiteY73" fmla="*/ 135 h 10000"/>
                <a:gd name="connsiteX74" fmla="*/ 1884 w 10000"/>
                <a:gd name="connsiteY74" fmla="*/ 135 h 10000"/>
                <a:gd name="connsiteX75" fmla="*/ 1237 w 10000"/>
                <a:gd name="connsiteY75" fmla="*/ 135 h 10000"/>
                <a:gd name="connsiteX76" fmla="*/ 1237 w 10000"/>
                <a:gd name="connsiteY76" fmla="*/ 608 h 10000"/>
                <a:gd name="connsiteX77" fmla="*/ 1237 w 10000"/>
                <a:gd name="connsiteY77" fmla="*/ 1216 h 10000"/>
                <a:gd name="connsiteX78" fmla="*/ 433 w 10000"/>
                <a:gd name="connsiteY78" fmla="*/ 1216 h 10000"/>
                <a:gd name="connsiteX79" fmla="*/ 433 w 10000"/>
                <a:gd name="connsiteY79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397 w 10000"/>
                <a:gd name="connsiteY63" fmla="*/ 135 h 10000"/>
                <a:gd name="connsiteX64" fmla="*/ 6452 w 10000"/>
                <a:gd name="connsiteY64" fmla="*/ 0 h 10000"/>
                <a:gd name="connsiteX65" fmla="*/ 6343 w 10000"/>
                <a:gd name="connsiteY65" fmla="*/ 0 h 10000"/>
                <a:gd name="connsiteX66" fmla="*/ 6290 w 10000"/>
                <a:gd name="connsiteY66" fmla="*/ 135 h 10000"/>
                <a:gd name="connsiteX67" fmla="*/ 5644 w 10000"/>
                <a:gd name="connsiteY67" fmla="*/ 135 h 10000"/>
                <a:gd name="connsiteX68" fmla="*/ 5002 w 10000"/>
                <a:gd name="connsiteY68" fmla="*/ 135 h 10000"/>
                <a:gd name="connsiteX69" fmla="*/ 4356 w 10000"/>
                <a:gd name="connsiteY69" fmla="*/ 135 h 10000"/>
                <a:gd name="connsiteX70" fmla="*/ 3709 w 10000"/>
                <a:gd name="connsiteY70" fmla="*/ 135 h 10000"/>
                <a:gd name="connsiteX71" fmla="*/ 3120 w 10000"/>
                <a:gd name="connsiteY71" fmla="*/ 135 h 10000"/>
                <a:gd name="connsiteX72" fmla="*/ 2475 w 10000"/>
                <a:gd name="connsiteY72" fmla="*/ 135 h 10000"/>
                <a:gd name="connsiteX73" fmla="*/ 1884 w 10000"/>
                <a:gd name="connsiteY73" fmla="*/ 135 h 10000"/>
                <a:gd name="connsiteX74" fmla="*/ 1237 w 10000"/>
                <a:gd name="connsiteY74" fmla="*/ 135 h 10000"/>
                <a:gd name="connsiteX75" fmla="*/ 1237 w 10000"/>
                <a:gd name="connsiteY75" fmla="*/ 608 h 10000"/>
                <a:gd name="connsiteX76" fmla="*/ 1237 w 10000"/>
                <a:gd name="connsiteY76" fmla="*/ 1216 h 10000"/>
                <a:gd name="connsiteX77" fmla="*/ 433 w 10000"/>
                <a:gd name="connsiteY77" fmla="*/ 1216 h 10000"/>
                <a:gd name="connsiteX78" fmla="*/ 433 w 10000"/>
                <a:gd name="connsiteY78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6343 w 10000"/>
                <a:gd name="connsiteY64" fmla="*/ 0 h 10000"/>
                <a:gd name="connsiteX65" fmla="*/ 6290 w 10000"/>
                <a:gd name="connsiteY65" fmla="*/ 135 h 10000"/>
                <a:gd name="connsiteX66" fmla="*/ 5644 w 10000"/>
                <a:gd name="connsiteY66" fmla="*/ 135 h 10000"/>
                <a:gd name="connsiteX67" fmla="*/ 5002 w 10000"/>
                <a:gd name="connsiteY67" fmla="*/ 135 h 10000"/>
                <a:gd name="connsiteX68" fmla="*/ 4356 w 10000"/>
                <a:gd name="connsiteY68" fmla="*/ 135 h 10000"/>
                <a:gd name="connsiteX69" fmla="*/ 3709 w 10000"/>
                <a:gd name="connsiteY69" fmla="*/ 135 h 10000"/>
                <a:gd name="connsiteX70" fmla="*/ 3120 w 10000"/>
                <a:gd name="connsiteY70" fmla="*/ 135 h 10000"/>
                <a:gd name="connsiteX71" fmla="*/ 2475 w 10000"/>
                <a:gd name="connsiteY71" fmla="*/ 135 h 10000"/>
                <a:gd name="connsiteX72" fmla="*/ 1884 w 10000"/>
                <a:gd name="connsiteY72" fmla="*/ 135 h 10000"/>
                <a:gd name="connsiteX73" fmla="*/ 1237 w 10000"/>
                <a:gd name="connsiteY73" fmla="*/ 135 h 10000"/>
                <a:gd name="connsiteX74" fmla="*/ 1237 w 10000"/>
                <a:gd name="connsiteY74" fmla="*/ 608 h 10000"/>
                <a:gd name="connsiteX75" fmla="*/ 1237 w 10000"/>
                <a:gd name="connsiteY75" fmla="*/ 1216 h 10000"/>
                <a:gd name="connsiteX76" fmla="*/ 433 w 10000"/>
                <a:gd name="connsiteY76" fmla="*/ 1216 h 10000"/>
                <a:gd name="connsiteX77" fmla="*/ 433 w 10000"/>
                <a:gd name="connsiteY77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6343 w 10000"/>
                <a:gd name="connsiteY64" fmla="*/ 0 h 10000"/>
                <a:gd name="connsiteX65" fmla="*/ 5644 w 10000"/>
                <a:gd name="connsiteY65" fmla="*/ 135 h 10000"/>
                <a:gd name="connsiteX66" fmla="*/ 5002 w 10000"/>
                <a:gd name="connsiteY66" fmla="*/ 135 h 10000"/>
                <a:gd name="connsiteX67" fmla="*/ 4356 w 10000"/>
                <a:gd name="connsiteY67" fmla="*/ 135 h 10000"/>
                <a:gd name="connsiteX68" fmla="*/ 3709 w 10000"/>
                <a:gd name="connsiteY68" fmla="*/ 135 h 10000"/>
                <a:gd name="connsiteX69" fmla="*/ 3120 w 10000"/>
                <a:gd name="connsiteY69" fmla="*/ 135 h 10000"/>
                <a:gd name="connsiteX70" fmla="*/ 2475 w 10000"/>
                <a:gd name="connsiteY70" fmla="*/ 135 h 10000"/>
                <a:gd name="connsiteX71" fmla="*/ 1884 w 10000"/>
                <a:gd name="connsiteY71" fmla="*/ 135 h 10000"/>
                <a:gd name="connsiteX72" fmla="*/ 1237 w 10000"/>
                <a:gd name="connsiteY72" fmla="*/ 135 h 10000"/>
                <a:gd name="connsiteX73" fmla="*/ 1237 w 10000"/>
                <a:gd name="connsiteY73" fmla="*/ 608 h 10000"/>
                <a:gd name="connsiteX74" fmla="*/ 1237 w 10000"/>
                <a:gd name="connsiteY74" fmla="*/ 1216 h 10000"/>
                <a:gd name="connsiteX75" fmla="*/ 433 w 10000"/>
                <a:gd name="connsiteY75" fmla="*/ 1216 h 10000"/>
                <a:gd name="connsiteX76" fmla="*/ 433 w 10000"/>
                <a:gd name="connsiteY76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5644 w 10000"/>
                <a:gd name="connsiteY64" fmla="*/ 135 h 10000"/>
                <a:gd name="connsiteX65" fmla="*/ 5002 w 10000"/>
                <a:gd name="connsiteY65" fmla="*/ 135 h 10000"/>
                <a:gd name="connsiteX66" fmla="*/ 4356 w 10000"/>
                <a:gd name="connsiteY66" fmla="*/ 135 h 10000"/>
                <a:gd name="connsiteX67" fmla="*/ 3709 w 10000"/>
                <a:gd name="connsiteY67" fmla="*/ 135 h 10000"/>
                <a:gd name="connsiteX68" fmla="*/ 3120 w 10000"/>
                <a:gd name="connsiteY68" fmla="*/ 135 h 10000"/>
                <a:gd name="connsiteX69" fmla="*/ 2475 w 10000"/>
                <a:gd name="connsiteY69" fmla="*/ 135 h 10000"/>
                <a:gd name="connsiteX70" fmla="*/ 1884 w 10000"/>
                <a:gd name="connsiteY70" fmla="*/ 135 h 10000"/>
                <a:gd name="connsiteX71" fmla="*/ 1237 w 10000"/>
                <a:gd name="connsiteY71" fmla="*/ 135 h 10000"/>
                <a:gd name="connsiteX72" fmla="*/ 1237 w 10000"/>
                <a:gd name="connsiteY72" fmla="*/ 608 h 10000"/>
                <a:gd name="connsiteX73" fmla="*/ 1237 w 10000"/>
                <a:gd name="connsiteY73" fmla="*/ 1216 h 10000"/>
                <a:gd name="connsiteX74" fmla="*/ 433 w 10000"/>
                <a:gd name="connsiteY74" fmla="*/ 1216 h 10000"/>
                <a:gd name="connsiteX75" fmla="*/ 433 w 10000"/>
                <a:gd name="connsiteY75" fmla="*/ 1486 h 10000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5644 w 10000"/>
                <a:gd name="connsiteY63" fmla="*/ 1061 h 10926"/>
                <a:gd name="connsiteX64" fmla="*/ 5002 w 10000"/>
                <a:gd name="connsiteY64" fmla="*/ 1061 h 10926"/>
                <a:gd name="connsiteX65" fmla="*/ 4356 w 10000"/>
                <a:gd name="connsiteY65" fmla="*/ 1061 h 10926"/>
                <a:gd name="connsiteX66" fmla="*/ 3709 w 10000"/>
                <a:gd name="connsiteY66" fmla="*/ 1061 h 10926"/>
                <a:gd name="connsiteX67" fmla="*/ 3120 w 10000"/>
                <a:gd name="connsiteY67" fmla="*/ 1061 h 10926"/>
                <a:gd name="connsiteX68" fmla="*/ 2475 w 10000"/>
                <a:gd name="connsiteY68" fmla="*/ 1061 h 10926"/>
                <a:gd name="connsiteX69" fmla="*/ 1884 w 10000"/>
                <a:gd name="connsiteY69" fmla="*/ 1061 h 10926"/>
                <a:gd name="connsiteX70" fmla="*/ 1237 w 10000"/>
                <a:gd name="connsiteY70" fmla="*/ 1061 h 10926"/>
                <a:gd name="connsiteX71" fmla="*/ 1237 w 10000"/>
                <a:gd name="connsiteY71" fmla="*/ 1534 h 10926"/>
                <a:gd name="connsiteX72" fmla="*/ 1237 w 10000"/>
                <a:gd name="connsiteY72" fmla="*/ 2142 h 10926"/>
                <a:gd name="connsiteX73" fmla="*/ 433 w 10000"/>
                <a:gd name="connsiteY73" fmla="*/ 2142 h 10926"/>
                <a:gd name="connsiteX74" fmla="*/ 433 w 10000"/>
                <a:gd name="connsiteY74" fmla="*/ 2412 h 10926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5002 w 10000"/>
                <a:gd name="connsiteY63" fmla="*/ 1061 h 10926"/>
                <a:gd name="connsiteX64" fmla="*/ 4356 w 10000"/>
                <a:gd name="connsiteY64" fmla="*/ 1061 h 10926"/>
                <a:gd name="connsiteX65" fmla="*/ 3709 w 10000"/>
                <a:gd name="connsiteY65" fmla="*/ 1061 h 10926"/>
                <a:gd name="connsiteX66" fmla="*/ 3120 w 10000"/>
                <a:gd name="connsiteY66" fmla="*/ 1061 h 10926"/>
                <a:gd name="connsiteX67" fmla="*/ 2475 w 10000"/>
                <a:gd name="connsiteY67" fmla="*/ 1061 h 10926"/>
                <a:gd name="connsiteX68" fmla="*/ 1884 w 10000"/>
                <a:gd name="connsiteY68" fmla="*/ 1061 h 10926"/>
                <a:gd name="connsiteX69" fmla="*/ 1237 w 10000"/>
                <a:gd name="connsiteY69" fmla="*/ 1061 h 10926"/>
                <a:gd name="connsiteX70" fmla="*/ 1237 w 10000"/>
                <a:gd name="connsiteY70" fmla="*/ 1534 h 10926"/>
                <a:gd name="connsiteX71" fmla="*/ 1237 w 10000"/>
                <a:gd name="connsiteY71" fmla="*/ 2142 h 10926"/>
                <a:gd name="connsiteX72" fmla="*/ 433 w 10000"/>
                <a:gd name="connsiteY72" fmla="*/ 2142 h 10926"/>
                <a:gd name="connsiteX73" fmla="*/ 433 w 10000"/>
                <a:gd name="connsiteY73" fmla="*/ 2412 h 10926"/>
                <a:gd name="connsiteX0" fmla="*/ 433 w 10000"/>
                <a:gd name="connsiteY0" fmla="*/ 1351 h 9865"/>
                <a:gd name="connsiteX1" fmla="*/ 6675 w 10000"/>
                <a:gd name="connsiteY1" fmla="*/ 6624 h 9865"/>
                <a:gd name="connsiteX2" fmla="*/ 6234 w 10000"/>
                <a:gd name="connsiteY2" fmla="*/ 6833 h 9865"/>
                <a:gd name="connsiteX3" fmla="*/ 5864 w 10000"/>
                <a:gd name="connsiteY3" fmla="*/ 6615 h 9865"/>
                <a:gd name="connsiteX4" fmla="*/ 5325 w 10000"/>
                <a:gd name="connsiteY4" fmla="*/ 6483 h 9865"/>
                <a:gd name="connsiteX5" fmla="*/ 5058 w 10000"/>
                <a:gd name="connsiteY5" fmla="*/ 6780 h 9865"/>
                <a:gd name="connsiteX6" fmla="*/ 4396 w 10000"/>
                <a:gd name="connsiteY6" fmla="*/ 7008 h 9865"/>
                <a:gd name="connsiteX7" fmla="*/ 3972 w 10000"/>
                <a:gd name="connsiteY7" fmla="*/ 7006 h 9865"/>
                <a:gd name="connsiteX8" fmla="*/ 3044 w 10000"/>
                <a:gd name="connsiteY8" fmla="*/ 6813 h 9865"/>
                <a:gd name="connsiteX9" fmla="*/ 2796 w 10000"/>
                <a:gd name="connsiteY9" fmla="*/ 6917 h 9865"/>
                <a:gd name="connsiteX10" fmla="*/ 2177 w 10000"/>
                <a:gd name="connsiteY10" fmla="*/ 6684 h 9865"/>
                <a:gd name="connsiteX11" fmla="*/ 1903 w 10000"/>
                <a:gd name="connsiteY11" fmla="*/ 6332 h 9865"/>
                <a:gd name="connsiteX12" fmla="*/ 1449 w 10000"/>
                <a:gd name="connsiteY12" fmla="*/ 6428 h 9865"/>
                <a:gd name="connsiteX13" fmla="*/ 1324 w 10000"/>
                <a:gd name="connsiteY13" fmla="*/ 6636 h 9865"/>
                <a:gd name="connsiteX14" fmla="*/ 845 w 10000"/>
                <a:gd name="connsiteY14" fmla="*/ 6725 h 9865"/>
                <a:gd name="connsiteX15" fmla="*/ 526 w 10000"/>
                <a:gd name="connsiteY15" fmla="*/ 6717 h 9865"/>
                <a:gd name="connsiteX16" fmla="*/ 354 w 10000"/>
                <a:gd name="connsiteY16" fmla="*/ 6882 h 9865"/>
                <a:gd name="connsiteX17" fmla="*/ 56 w 10000"/>
                <a:gd name="connsiteY17" fmla="*/ 6622 h 9865"/>
                <a:gd name="connsiteX18" fmla="*/ 0 w 10000"/>
                <a:gd name="connsiteY18" fmla="*/ 7094 h 9865"/>
                <a:gd name="connsiteX19" fmla="*/ 106 w 10000"/>
                <a:gd name="connsiteY19" fmla="*/ 7162 h 9865"/>
                <a:gd name="connsiteX20" fmla="*/ 538 w 10000"/>
                <a:gd name="connsiteY20" fmla="*/ 7196 h 9865"/>
                <a:gd name="connsiteX21" fmla="*/ 596 w 10000"/>
                <a:gd name="connsiteY21" fmla="*/ 7330 h 9865"/>
                <a:gd name="connsiteX22" fmla="*/ 1075 w 10000"/>
                <a:gd name="connsiteY22" fmla="*/ 7365 h 9865"/>
                <a:gd name="connsiteX23" fmla="*/ 1346 w 10000"/>
                <a:gd name="connsiteY23" fmla="*/ 7500 h 9865"/>
                <a:gd name="connsiteX24" fmla="*/ 1397 w 10000"/>
                <a:gd name="connsiteY24" fmla="*/ 7737 h 9865"/>
                <a:gd name="connsiteX25" fmla="*/ 2260 w 10000"/>
                <a:gd name="connsiteY25" fmla="*/ 8142 h 9865"/>
                <a:gd name="connsiteX26" fmla="*/ 2475 w 10000"/>
                <a:gd name="connsiteY26" fmla="*/ 8548 h 9865"/>
                <a:gd name="connsiteX27" fmla="*/ 3064 w 10000"/>
                <a:gd name="connsiteY27" fmla="*/ 8751 h 9865"/>
                <a:gd name="connsiteX28" fmla="*/ 3280 w 10000"/>
                <a:gd name="connsiteY28" fmla="*/ 9019 h 9865"/>
                <a:gd name="connsiteX29" fmla="*/ 3709 w 10000"/>
                <a:gd name="connsiteY29" fmla="*/ 9359 h 9865"/>
                <a:gd name="connsiteX30" fmla="*/ 4034 w 10000"/>
                <a:gd name="connsiteY30" fmla="*/ 9459 h 9865"/>
                <a:gd name="connsiteX31" fmla="*/ 4248 w 10000"/>
                <a:gd name="connsiteY31" fmla="*/ 9359 h 9865"/>
                <a:gd name="connsiteX32" fmla="*/ 4785 w 10000"/>
                <a:gd name="connsiteY32" fmla="*/ 9392 h 9865"/>
                <a:gd name="connsiteX33" fmla="*/ 5002 w 10000"/>
                <a:gd name="connsiteY33" fmla="*/ 9324 h 9865"/>
                <a:gd name="connsiteX34" fmla="*/ 5967 w 10000"/>
                <a:gd name="connsiteY34" fmla="*/ 9832 h 9865"/>
                <a:gd name="connsiteX35" fmla="*/ 6021 w 10000"/>
                <a:gd name="connsiteY35" fmla="*/ 9832 h 9865"/>
                <a:gd name="connsiteX36" fmla="*/ 6130 w 10000"/>
                <a:gd name="connsiteY36" fmla="*/ 9764 h 9865"/>
                <a:gd name="connsiteX37" fmla="*/ 6823 w 10000"/>
                <a:gd name="connsiteY37" fmla="*/ 9764 h 9865"/>
                <a:gd name="connsiteX38" fmla="*/ 6936 w 10000"/>
                <a:gd name="connsiteY38" fmla="*/ 9865 h 9865"/>
                <a:gd name="connsiteX39" fmla="*/ 7526 w 10000"/>
                <a:gd name="connsiteY39" fmla="*/ 9729 h 9865"/>
                <a:gd name="connsiteX40" fmla="*/ 8062 w 10000"/>
                <a:gd name="connsiteY40" fmla="*/ 9729 h 9865"/>
                <a:gd name="connsiteX41" fmla="*/ 8438 w 10000"/>
                <a:gd name="connsiteY41" fmla="*/ 9595 h 9865"/>
                <a:gd name="connsiteX42" fmla="*/ 8871 w 10000"/>
                <a:gd name="connsiteY42" fmla="*/ 9324 h 9865"/>
                <a:gd name="connsiteX43" fmla="*/ 10000 w 10000"/>
                <a:gd name="connsiteY43" fmla="*/ 9324 h 9865"/>
                <a:gd name="connsiteX44" fmla="*/ 10000 w 10000"/>
                <a:gd name="connsiteY44" fmla="*/ 8953 h 9865"/>
                <a:gd name="connsiteX45" fmla="*/ 9409 w 10000"/>
                <a:gd name="connsiteY45" fmla="*/ 8785 h 9865"/>
                <a:gd name="connsiteX46" fmla="*/ 9083 w 10000"/>
                <a:gd name="connsiteY46" fmla="*/ 8244 h 9865"/>
                <a:gd name="connsiteX47" fmla="*/ 8655 w 10000"/>
                <a:gd name="connsiteY47" fmla="*/ 8041 h 9865"/>
                <a:gd name="connsiteX48" fmla="*/ 8385 w 10000"/>
                <a:gd name="connsiteY48" fmla="*/ 7770 h 9865"/>
                <a:gd name="connsiteX49" fmla="*/ 7687 w 10000"/>
                <a:gd name="connsiteY49" fmla="*/ 7568 h 9865"/>
                <a:gd name="connsiteX50" fmla="*/ 7848 w 10000"/>
                <a:gd name="connsiteY50" fmla="*/ 7500 h 9865"/>
                <a:gd name="connsiteX51" fmla="*/ 7848 w 10000"/>
                <a:gd name="connsiteY51" fmla="*/ 7330 h 9865"/>
                <a:gd name="connsiteX52" fmla="*/ 8334 w 10000"/>
                <a:gd name="connsiteY52" fmla="*/ 7330 h 9865"/>
                <a:gd name="connsiteX53" fmla="*/ 8599 w 10000"/>
                <a:gd name="connsiteY53" fmla="*/ 7196 h 9865"/>
                <a:gd name="connsiteX54" fmla="*/ 8655 w 10000"/>
                <a:gd name="connsiteY54" fmla="*/ 6217 h 9865"/>
                <a:gd name="connsiteX55" fmla="*/ 8707 w 10000"/>
                <a:gd name="connsiteY55" fmla="*/ 6250 h 9865"/>
                <a:gd name="connsiteX56" fmla="*/ 8517 w 10000"/>
                <a:gd name="connsiteY56" fmla="*/ 6312 h 9865"/>
                <a:gd name="connsiteX57" fmla="*/ 8440 w 10000"/>
                <a:gd name="connsiteY57" fmla="*/ 6444 h 9865"/>
                <a:gd name="connsiteX58" fmla="*/ 7961 w 10000"/>
                <a:gd name="connsiteY58" fmla="*/ 6184 h 9865"/>
                <a:gd name="connsiteX59" fmla="*/ 7874 w 10000"/>
                <a:gd name="connsiteY59" fmla="*/ 5481 h 9865"/>
                <a:gd name="connsiteX60" fmla="*/ 7361 w 10000"/>
                <a:gd name="connsiteY60" fmla="*/ 5786 h 9865"/>
                <a:gd name="connsiteX61" fmla="*/ 7369 w 10000"/>
                <a:gd name="connsiteY61" fmla="*/ 6148 h 9865"/>
                <a:gd name="connsiteX62" fmla="*/ 6955 w 10000"/>
                <a:gd name="connsiteY62" fmla="*/ 6366 h 9865"/>
                <a:gd name="connsiteX63" fmla="*/ 4356 w 10000"/>
                <a:gd name="connsiteY63" fmla="*/ 0 h 9865"/>
                <a:gd name="connsiteX64" fmla="*/ 3709 w 10000"/>
                <a:gd name="connsiteY64" fmla="*/ 0 h 9865"/>
                <a:gd name="connsiteX65" fmla="*/ 3120 w 10000"/>
                <a:gd name="connsiteY65" fmla="*/ 0 h 9865"/>
                <a:gd name="connsiteX66" fmla="*/ 2475 w 10000"/>
                <a:gd name="connsiteY66" fmla="*/ 0 h 9865"/>
                <a:gd name="connsiteX67" fmla="*/ 1884 w 10000"/>
                <a:gd name="connsiteY67" fmla="*/ 0 h 9865"/>
                <a:gd name="connsiteX68" fmla="*/ 1237 w 10000"/>
                <a:gd name="connsiteY68" fmla="*/ 0 h 9865"/>
                <a:gd name="connsiteX69" fmla="*/ 1237 w 10000"/>
                <a:gd name="connsiteY69" fmla="*/ 473 h 9865"/>
                <a:gd name="connsiteX70" fmla="*/ 1237 w 10000"/>
                <a:gd name="connsiteY70" fmla="*/ 1081 h 9865"/>
                <a:gd name="connsiteX71" fmla="*/ 433 w 10000"/>
                <a:gd name="connsiteY71" fmla="*/ 1081 h 9865"/>
                <a:gd name="connsiteX72" fmla="*/ 433 w 10000"/>
                <a:gd name="connsiteY72" fmla="*/ 1351 h 9865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3709 w 10000"/>
                <a:gd name="connsiteY63" fmla="*/ 0 h 10000"/>
                <a:gd name="connsiteX64" fmla="*/ 3120 w 10000"/>
                <a:gd name="connsiteY64" fmla="*/ 0 h 10000"/>
                <a:gd name="connsiteX65" fmla="*/ 2475 w 10000"/>
                <a:gd name="connsiteY65" fmla="*/ 0 h 10000"/>
                <a:gd name="connsiteX66" fmla="*/ 1884 w 10000"/>
                <a:gd name="connsiteY66" fmla="*/ 0 h 10000"/>
                <a:gd name="connsiteX67" fmla="*/ 1237 w 10000"/>
                <a:gd name="connsiteY67" fmla="*/ 0 h 10000"/>
                <a:gd name="connsiteX68" fmla="*/ 1237 w 10000"/>
                <a:gd name="connsiteY68" fmla="*/ 479 h 10000"/>
                <a:gd name="connsiteX69" fmla="*/ 1237 w 10000"/>
                <a:gd name="connsiteY69" fmla="*/ 1096 h 10000"/>
                <a:gd name="connsiteX70" fmla="*/ 433 w 10000"/>
                <a:gd name="connsiteY70" fmla="*/ 1096 h 10000"/>
                <a:gd name="connsiteX71" fmla="*/ 433 w 10000"/>
                <a:gd name="connsiteY71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3120 w 10000"/>
                <a:gd name="connsiteY63" fmla="*/ 0 h 10000"/>
                <a:gd name="connsiteX64" fmla="*/ 2475 w 10000"/>
                <a:gd name="connsiteY64" fmla="*/ 0 h 10000"/>
                <a:gd name="connsiteX65" fmla="*/ 1884 w 10000"/>
                <a:gd name="connsiteY65" fmla="*/ 0 h 10000"/>
                <a:gd name="connsiteX66" fmla="*/ 1237 w 10000"/>
                <a:gd name="connsiteY66" fmla="*/ 0 h 10000"/>
                <a:gd name="connsiteX67" fmla="*/ 1237 w 10000"/>
                <a:gd name="connsiteY67" fmla="*/ 479 h 10000"/>
                <a:gd name="connsiteX68" fmla="*/ 1237 w 10000"/>
                <a:gd name="connsiteY68" fmla="*/ 1096 h 10000"/>
                <a:gd name="connsiteX69" fmla="*/ 433 w 10000"/>
                <a:gd name="connsiteY69" fmla="*/ 1096 h 10000"/>
                <a:gd name="connsiteX70" fmla="*/ 433 w 10000"/>
                <a:gd name="connsiteY70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2475 w 10000"/>
                <a:gd name="connsiteY63" fmla="*/ 0 h 10000"/>
                <a:gd name="connsiteX64" fmla="*/ 1884 w 10000"/>
                <a:gd name="connsiteY64" fmla="*/ 0 h 10000"/>
                <a:gd name="connsiteX65" fmla="*/ 1237 w 10000"/>
                <a:gd name="connsiteY65" fmla="*/ 0 h 10000"/>
                <a:gd name="connsiteX66" fmla="*/ 1237 w 10000"/>
                <a:gd name="connsiteY66" fmla="*/ 479 h 10000"/>
                <a:gd name="connsiteX67" fmla="*/ 1237 w 10000"/>
                <a:gd name="connsiteY67" fmla="*/ 1096 h 10000"/>
                <a:gd name="connsiteX68" fmla="*/ 433 w 10000"/>
                <a:gd name="connsiteY68" fmla="*/ 1096 h 10000"/>
                <a:gd name="connsiteX69" fmla="*/ 433 w 10000"/>
                <a:gd name="connsiteY69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1884 w 10000"/>
                <a:gd name="connsiteY63" fmla="*/ 0 h 10000"/>
                <a:gd name="connsiteX64" fmla="*/ 1237 w 10000"/>
                <a:gd name="connsiteY64" fmla="*/ 0 h 10000"/>
                <a:gd name="connsiteX65" fmla="*/ 1237 w 10000"/>
                <a:gd name="connsiteY65" fmla="*/ 479 h 10000"/>
                <a:gd name="connsiteX66" fmla="*/ 1237 w 10000"/>
                <a:gd name="connsiteY66" fmla="*/ 1096 h 10000"/>
                <a:gd name="connsiteX67" fmla="*/ 433 w 10000"/>
                <a:gd name="connsiteY67" fmla="*/ 1096 h 10000"/>
                <a:gd name="connsiteX68" fmla="*/ 433 w 10000"/>
                <a:gd name="connsiteY68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1237 w 10000"/>
                <a:gd name="connsiteY63" fmla="*/ 0 h 10000"/>
                <a:gd name="connsiteX64" fmla="*/ 1237 w 10000"/>
                <a:gd name="connsiteY64" fmla="*/ 479 h 10000"/>
                <a:gd name="connsiteX65" fmla="*/ 1237 w 10000"/>
                <a:gd name="connsiteY65" fmla="*/ 1096 h 10000"/>
                <a:gd name="connsiteX66" fmla="*/ 433 w 10000"/>
                <a:gd name="connsiteY66" fmla="*/ 1096 h 10000"/>
                <a:gd name="connsiteX67" fmla="*/ 433 w 10000"/>
                <a:gd name="connsiteY67" fmla="*/ 1369 h 10000"/>
                <a:gd name="connsiteX0" fmla="*/ 433 w 10000"/>
                <a:gd name="connsiteY0" fmla="*/ 890 h 9521"/>
                <a:gd name="connsiteX1" fmla="*/ 6675 w 10000"/>
                <a:gd name="connsiteY1" fmla="*/ 6236 h 9521"/>
                <a:gd name="connsiteX2" fmla="*/ 6234 w 10000"/>
                <a:gd name="connsiteY2" fmla="*/ 6448 h 9521"/>
                <a:gd name="connsiteX3" fmla="*/ 5864 w 10000"/>
                <a:gd name="connsiteY3" fmla="*/ 6227 h 9521"/>
                <a:gd name="connsiteX4" fmla="*/ 5325 w 10000"/>
                <a:gd name="connsiteY4" fmla="*/ 6093 h 9521"/>
                <a:gd name="connsiteX5" fmla="*/ 5058 w 10000"/>
                <a:gd name="connsiteY5" fmla="*/ 6394 h 9521"/>
                <a:gd name="connsiteX6" fmla="*/ 4396 w 10000"/>
                <a:gd name="connsiteY6" fmla="*/ 6625 h 9521"/>
                <a:gd name="connsiteX7" fmla="*/ 3972 w 10000"/>
                <a:gd name="connsiteY7" fmla="*/ 6623 h 9521"/>
                <a:gd name="connsiteX8" fmla="*/ 3044 w 10000"/>
                <a:gd name="connsiteY8" fmla="*/ 6427 h 9521"/>
                <a:gd name="connsiteX9" fmla="*/ 2796 w 10000"/>
                <a:gd name="connsiteY9" fmla="*/ 6533 h 9521"/>
                <a:gd name="connsiteX10" fmla="*/ 2177 w 10000"/>
                <a:gd name="connsiteY10" fmla="*/ 6296 h 9521"/>
                <a:gd name="connsiteX11" fmla="*/ 1903 w 10000"/>
                <a:gd name="connsiteY11" fmla="*/ 5940 h 9521"/>
                <a:gd name="connsiteX12" fmla="*/ 1449 w 10000"/>
                <a:gd name="connsiteY12" fmla="*/ 6037 h 9521"/>
                <a:gd name="connsiteX13" fmla="*/ 1324 w 10000"/>
                <a:gd name="connsiteY13" fmla="*/ 6248 h 9521"/>
                <a:gd name="connsiteX14" fmla="*/ 845 w 10000"/>
                <a:gd name="connsiteY14" fmla="*/ 6338 h 9521"/>
                <a:gd name="connsiteX15" fmla="*/ 526 w 10000"/>
                <a:gd name="connsiteY15" fmla="*/ 6330 h 9521"/>
                <a:gd name="connsiteX16" fmla="*/ 354 w 10000"/>
                <a:gd name="connsiteY16" fmla="*/ 6497 h 9521"/>
                <a:gd name="connsiteX17" fmla="*/ 56 w 10000"/>
                <a:gd name="connsiteY17" fmla="*/ 6234 h 9521"/>
                <a:gd name="connsiteX18" fmla="*/ 0 w 10000"/>
                <a:gd name="connsiteY18" fmla="*/ 6712 h 9521"/>
                <a:gd name="connsiteX19" fmla="*/ 106 w 10000"/>
                <a:gd name="connsiteY19" fmla="*/ 6781 h 9521"/>
                <a:gd name="connsiteX20" fmla="*/ 538 w 10000"/>
                <a:gd name="connsiteY20" fmla="*/ 6815 h 9521"/>
                <a:gd name="connsiteX21" fmla="*/ 596 w 10000"/>
                <a:gd name="connsiteY21" fmla="*/ 6951 h 9521"/>
                <a:gd name="connsiteX22" fmla="*/ 1075 w 10000"/>
                <a:gd name="connsiteY22" fmla="*/ 6987 h 9521"/>
                <a:gd name="connsiteX23" fmla="*/ 1346 w 10000"/>
                <a:gd name="connsiteY23" fmla="*/ 7124 h 9521"/>
                <a:gd name="connsiteX24" fmla="*/ 1397 w 10000"/>
                <a:gd name="connsiteY24" fmla="*/ 7364 h 9521"/>
                <a:gd name="connsiteX25" fmla="*/ 2260 w 10000"/>
                <a:gd name="connsiteY25" fmla="*/ 7774 h 9521"/>
                <a:gd name="connsiteX26" fmla="*/ 2475 w 10000"/>
                <a:gd name="connsiteY26" fmla="*/ 8186 h 9521"/>
                <a:gd name="connsiteX27" fmla="*/ 3064 w 10000"/>
                <a:gd name="connsiteY27" fmla="*/ 8392 h 9521"/>
                <a:gd name="connsiteX28" fmla="*/ 3280 w 10000"/>
                <a:gd name="connsiteY28" fmla="*/ 8663 h 9521"/>
                <a:gd name="connsiteX29" fmla="*/ 3709 w 10000"/>
                <a:gd name="connsiteY29" fmla="*/ 9008 h 9521"/>
                <a:gd name="connsiteX30" fmla="*/ 4034 w 10000"/>
                <a:gd name="connsiteY30" fmla="*/ 9109 h 9521"/>
                <a:gd name="connsiteX31" fmla="*/ 4248 w 10000"/>
                <a:gd name="connsiteY31" fmla="*/ 9008 h 9521"/>
                <a:gd name="connsiteX32" fmla="*/ 4785 w 10000"/>
                <a:gd name="connsiteY32" fmla="*/ 9042 h 9521"/>
                <a:gd name="connsiteX33" fmla="*/ 5002 w 10000"/>
                <a:gd name="connsiteY33" fmla="*/ 8973 h 9521"/>
                <a:gd name="connsiteX34" fmla="*/ 5967 w 10000"/>
                <a:gd name="connsiteY34" fmla="*/ 9488 h 9521"/>
                <a:gd name="connsiteX35" fmla="*/ 6021 w 10000"/>
                <a:gd name="connsiteY35" fmla="*/ 9488 h 9521"/>
                <a:gd name="connsiteX36" fmla="*/ 6130 w 10000"/>
                <a:gd name="connsiteY36" fmla="*/ 9419 h 9521"/>
                <a:gd name="connsiteX37" fmla="*/ 6823 w 10000"/>
                <a:gd name="connsiteY37" fmla="*/ 9419 h 9521"/>
                <a:gd name="connsiteX38" fmla="*/ 6936 w 10000"/>
                <a:gd name="connsiteY38" fmla="*/ 9521 h 9521"/>
                <a:gd name="connsiteX39" fmla="*/ 7526 w 10000"/>
                <a:gd name="connsiteY39" fmla="*/ 9383 h 9521"/>
                <a:gd name="connsiteX40" fmla="*/ 8062 w 10000"/>
                <a:gd name="connsiteY40" fmla="*/ 9383 h 9521"/>
                <a:gd name="connsiteX41" fmla="*/ 8438 w 10000"/>
                <a:gd name="connsiteY41" fmla="*/ 9247 h 9521"/>
                <a:gd name="connsiteX42" fmla="*/ 8871 w 10000"/>
                <a:gd name="connsiteY42" fmla="*/ 8973 h 9521"/>
                <a:gd name="connsiteX43" fmla="*/ 10000 w 10000"/>
                <a:gd name="connsiteY43" fmla="*/ 8973 h 9521"/>
                <a:gd name="connsiteX44" fmla="*/ 10000 w 10000"/>
                <a:gd name="connsiteY44" fmla="*/ 8597 h 9521"/>
                <a:gd name="connsiteX45" fmla="*/ 9409 w 10000"/>
                <a:gd name="connsiteY45" fmla="*/ 8426 h 9521"/>
                <a:gd name="connsiteX46" fmla="*/ 9083 w 10000"/>
                <a:gd name="connsiteY46" fmla="*/ 7878 h 9521"/>
                <a:gd name="connsiteX47" fmla="*/ 8655 w 10000"/>
                <a:gd name="connsiteY47" fmla="*/ 7672 h 9521"/>
                <a:gd name="connsiteX48" fmla="*/ 8385 w 10000"/>
                <a:gd name="connsiteY48" fmla="*/ 7397 h 9521"/>
                <a:gd name="connsiteX49" fmla="*/ 7687 w 10000"/>
                <a:gd name="connsiteY49" fmla="*/ 7193 h 9521"/>
                <a:gd name="connsiteX50" fmla="*/ 7848 w 10000"/>
                <a:gd name="connsiteY50" fmla="*/ 7124 h 9521"/>
                <a:gd name="connsiteX51" fmla="*/ 7848 w 10000"/>
                <a:gd name="connsiteY51" fmla="*/ 6951 h 9521"/>
                <a:gd name="connsiteX52" fmla="*/ 8334 w 10000"/>
                <a:gd name="connsiteY52" fmla="*/ 6951 h 9521"/>
                <a:gd name="connsiteX53" fmla="*/ 8599 w 10000"/>
                <a:gd name="connsiteY53" fmla="*/ 6815 h 9521"/>
                <a:gd name="connsiteX54" fmla="*/ 8655 w 10000"/>
                <a:gd name="connsiteY54" fmla="*/ 5823 h 9521"/>
                <a:gd name="connsiteX55" fmla="*/ 8707 w 10000"/>
                <a:gd name="connsiteY55" fmla="*/ 5857 h 9521"/>
                <a:gd name="connsiteX56" fmla="*/ 8517 w 10000"/>
                <a:gd name="connsiteY56" fmla="*/ 5919 h 9521"/>
                <a:gd name="connsiteX57" fmla="*/ 8440 w 10000"/>
                <a:gd name="connsiteY57" fmla="*/ 6053 h 9521"/>
                <a:gd name="connsiteX58" fmla="*/ 7961 w 10000"/>
                <a:gd name="connsiteY58" fmla="*/ 5790 h 9521"/>
                <a:gd name="connsiteX59" fmla="*/ 7874 w 10000"/>
                <a:gd name="connsiteY59" fmla="*/ 5077 h 9521"/>
                <a:gd name="connsiteX60" fmla="*/ 7361 w 10000"/>
                <a:gd name="connsiteY60" fmla="*/ 5386 h 9521"/>
                <a:gd name="connsiteX61" fmla="*/ 7369 w 10000"/>
                <a:gd name="connsiteY61" fmla="*/ 5753 h 9521"/>
                <a:gd name="connsiteX62" fmla="*/ 6955 w 10000"/>
                <a:gd name="connsiteY62" fmla="*/ 5974 h 9521"/>
                <a:gd name="connsiteX63" fmla="*/ 1237 w 10000"/>
                <a:gd name="connsiteY63" fmla="*/ 0 h 9521"/>
                <a:gd name="connsiteX64" fmla="*/ 1237 w 10000"/>
                <a:gd name="connsiteY64" fmla="*/ 617 h 9521"/>
                <a:gd name="connsiteX65" fmla="*/ 433 w 10000"/>
                <a:gd name="connsiteY65" fmla="*/ 617 h 9521"/>
                <a:gd name="connsiteX66" fmla="*/ 433 w 10000"/>
                <a:gd name="connsiteY66" fmla="*/ 890 h 9521"/>
                <a:gd name="connsiteX0" fmla="*/ 433 w 10000"/>
                <a:gd name="connsiteY0" fmla="*/ 287 h 9352"/>
                <a:gd name="connsiteX1" fmla="*/ 6675 w 10000"/>
                <a:gd name="connsiteY1" fmla="*/ 5902 h 9352"/>
                <a:gd name="connsiteX2" fmla="*/ 6234 w 10000"/>
                <a:gd name="connsiteY2" fmla="*/ 6124 h 9352"/>
                <a:gd name="connsiteX3" fmla="*/ 5864 w 10000"/>
                <a:gd name="connsiteY3" fmla="*/ 5892 h 9352"/>
                <a:gd name="connsiteX4" fmla="*/ 5325 w 10000"/>
                <a:gd name="connsiteY4" fmla="*/ 5752 h 9352"/>
                <a:gd name="connsiteX5" fmla="*/ 5058 w 10000"/>
                <a:gd name="connsiteY5" fmla="*/ 6068 h 9352"/>
                <a:gd name="connsiteX6" fmla="*/ 4396 w 10000"/>
                <a:gd name="connsiteY6" fmla="*/ 6310 h 9352"/>
                <a:gd name="connsiteX7" fmla="*/ 3972 w 10000"/>
                <a:gd name="connsiteY7" fmla="*/ 6308 h 9352"/>
                <a:gd name="connsiteX8" fmla="*/ 3044 w 10000"/>
                <a:gd name="connsiteY8" fmla="*/ 6102 h 9352"/>
                <a:gd name="connsiteX9" fmla="*/ 2796 w 10000"/>
                <a:gd name="connsiteY9" fmla="*/ 6214 h 9352"/>
                <a:gd name="connsiteX10" fmla="*/ 2177 w 10000"/>
                <a:gd name="connsiteY10" fmla="*/ 5965 h 9352"/>
                <a:gd name="connsiteX11" fmla="*/ 1903 w 10000"/>
                <a:gd name="connsiteY11" fmla="*/ 5591 h 9352"/>
                <a:gd name="connsiteX12" fmla="*/ 1449 w 10000"/>
                <a:gd name="connsiteY12" fmla="*/ 5693 h 9352"/>
                <a:gd name="connsiteX13" fmla="*/ 1324 w 10000"/>
                <a:gd name="connsiteY13" fmla="*/ 5914 h 9352"/>
                <a:gd name="connsiteX14" fmla="*/ 845 w 10000"/>
                <a:gd name="connsiteY14" fmla="*/ 6009 h 9352"/>
                <a:gd name="connsiteX15" fmla="*/ 526 w 10000"/>
                <a:gd name="connsiteY15" fmla="*/ 6000 h 9352"/>
                <a:gd name="connsiteX16" fmla="*/ 354 w 10000"/>
                <a:gd name="connsiteY16" fmla="*/ 6176 h 9352"/>
                <a:gd name="connsiteX17" fmla="*/ 56 w 10000"/>
                <a:gd name="connsiteY17" fmla="*/ 5900 h 9352"/>
                <a:gd name="connsiteX18" fmla="*/ 0 w 10000"/>
                <a:gd name="connsiteY18" fmla="*/ 6402 h 9352"/>
                <a:gd name="connsiteX19" fmla="*/ 106 w 10000"/>
                <a:gd name="connsiteY19" fmla="*/ 6474 h 9352"/>
                <a:gd name="connsiteX20" fmla="*/ 538 w 10000"/>
                <a:gd name="connsiteY20" fmla="*/ 6510 h 9352"/>
                <a:gd name="connsiteX21" fmla="*/ 596 w 10000"/>
                <a:gd name="connsiteY21" fmla="*/ 6653 h 9352"/>
                <a:gd name="connsiteX22" fmla="*/ 1075 w 10000"/>
                <a:gd name="connsiteY22" fmla="*/ 6691 h 9352"/>
                <a:gd name="connsiteX23" fmla="*/ 1346 w 10000"/>
                <a:gd name="connsiteY23" fmla="*/ 6834 h 9352"/>
                <a:gd name="connsiteX24" fmla="*/ 1397 w 10000"/>
                <a:gd name="connsiteY24" fmla="*/ 7086 h 9352"/>
                <a:gd name="connsiteX25" fmla="*/ 2260 w 10000"/>
                <a:gd name="connsiteY25" fmla="*/ 7517 h 9352"/>
                <a:gd name="connsiteX26" fmla="*/ 2475 w 10000"/>
                <a:gd name="connsiteY26" fmla="*/ 7950 h 9352"/>
                <a:gd name="connsiteX27" fmla="*/ 3064 w 10000"/>
                <a:gd name="connsiteY27" fmla="*/ 8166 h 9352"/>
                <a:gd name="connsiteX28" fmla="*/ 3280 w 10000"/>
                <a:gd name="connsiteY28" fmla="*/ 8451 h 9352"/>
                <a:gd name="connsiteX29" fmla="*/ 3709 w 10000"/>
                <a:gd name="connsiteY29" fmla="*/ 8813 h 9352"/>
                <a:gd name="connsiteX30" fmla="*/ 4034 w 10000"/>
                <a:gd name="connsiteY30" fmla="*/ 8919 h 9352"/>
                <a:gd name="connsiteX31" fmla="*/ 4248 w 10000"/>
                <a:gd name="connsiteY31" fmla="*/ 8813 h 9352"/>
                <a:gd name="connsiteX32" fmla="*/ 4785 w 10000"/>
                <a:gd name="connsiteY32" fmla="*/ 8849 h 9352"/>
                <a:gd name="connsiteX33" fmla="*/ 5002 w 10000"/>
                <a:gd name="connsiteY33" fmla="*/ 8776 h 9352"/>
                <a:gd name="connsiteX34" fmla="*/ 5967 w 10000"/>
                <a:gd name="connsiteY34" fmla="*/ 9317 h 9352"/>
                <a:gd name="connsiteX35" fmla="*/ 6021 w 10000"/>
                <a:gd name="connsiteY35" fmla="*/ 9317 h 9352"/>
                <a:gd name="connsiteX36" fmla="*/ 6130 w 10000"/>
                <a:gd name="connsiteY36" fmla="*/ 9245 h 9352"/>
                <a:gd name="connsiteX37" fmla="*/ 6823 w 10000"/>
                <a:gd name="connsiteY37" fmla="*/ 9245 h 9352"/>
                <a:gd name="connsiteX38" fmla="*/ 6936 w 10000"/>
                <a:gd name="connsiteY38" fmla="*/ 9352 h 9352"/>
                <a:gd name="connsiteX39" fmla="*/ 7526 w 10000"/>
                <a:gd name="connsiteY39" fmla="*/ 9207 h 9352"/>
                <a:gd name="connsiteX40" fmla="*/ 8062 w 10000"/>
                <a:gd name="connsiteY40" fmla="*/ 9207 h 9352"/>
                <a:gd name="connsiteX41" fmla="*/ 8438 w 10000"/>
                <a:gd name="connsiteY41" fmla="*/ 9064 h 9352"/>
                <a:gd name="connsiteX42" fmla="*/ 8871 w 10000"/>
                <a:gd name="connsiteY42" fmla="*/ 8776 h 9352"/>
                <a:gd name="connsiteX43" fmla="*/ 10000 w 10000"/>
                <a:gd name="connsiteY43" fmla="*/ 8776 h 9352"/>
                <a:gd name="connsiteX44" fmla="*/ 10000 w 10000"/>
                <a:gd name="connsiteY44" fmla="*/ 8382 h 9352"/>
                <a:gd name="connsiteX45" fmla="*/ 9409 w 10000"/>
                <a:gd name="connsiteY45" fmla="*/ 8202 h 9352"/>
                <a:gd name="connsiteX46" fmla="*/ 9083 w 10000"/>
                <a:gd name="connsiteY46" fmla="*/ 7626 h 9352"/>
                <a:gd name="connsiteX47" fmla="*/ 8655 w 10000"/>
                <a:gd name="connsiteY47" fmla="*/ 7410 h 9352"/>
                <a:gd name="connsiteX48" fmla="*/ 8385 w 10000"/>
                <a:gd name="connsiteY48" fmla="*/ 7121 h 9352"/>
                <a:gd name="connsiteX49" fmla="*/ 7687 w 10000"/>
                <a:gd name="connsiteY49" fmla="*/ 6907 h 9352"/>
                <a:gd name="connsiteX50" fmla="*/ 7848 w 10000"/>
                <a:gd name="connsiteY50" fmla="*/ 6834 h 9352"/>
                <a:gd name="connsiteX51" fmla="*/ 7848 w 10000"/>
                <a:gd name="connsiteY51" fmla="*/ 6653 h 9352"/>
                <a:gd name="connsiteX52" fmla="*/ 8334 w 10000"/>
                <a:gd name="connsiteY52" fmla="*/ 6653 h 9352"/>
                <a:gd name="connsiteX53" fmla="*/ 8599 w 10000"/>
                <a:gd name="connsiteY53" fmla="*/ 6510 h 9352"/>
                <a:gd name="connsiteX54" fmla="*/ 8655 w 10000"/>
                <a:gd name="connsiteY54" fmla="*/ 5468 h 9352"/>
                <a:gd name="connsiteX55" fmla="*/ 8707 w 10000"/>
                <a:gd name="connsiteY55" fmla="*/ 5504 h 9352"/>
                <a:gd name="connsiteX56" fmla="*/ 8517 w 10000"/>
                <a:gd name="connsiteY56" fmla="*/ 5569 h 9352"/>
                <a:gd name="connsiteX57" fmla="*/ 8440 w 10000"/>
                <a:gd name="connsiteY57" fmla="*/ 5710 h 9352"/>
                <a:gd name="connsiteX58" fmla="*/ 7961 w 10000"/>
                <a:gd name="connsiteY58" fmla="*/ 5433 h 9352"/>
                <a:gd name="connsiteX59" fmla="*/ 7874 w 10000"/>
                <a:gd name="connsiteY59" fmla="*/ 4684 h 9352"/>
                <a:gd name="connsiteX60" fmla="*/ 7361 w 10000"/>
                <a:gd name="connsiteY60" fmla="*/ 5009 h 9352"/>
                <a:gd name="connsiteX61" fmla="*/ 7369 w 10000"/>
                <a:gd name="connsiteY61" fmla="*/ 5394 h 9352"/>
                <a:gd name="connsiteX62" fmla="*/ 6955 w 10000"/>
                <a:gd name="connsiteY62" fmla="*/ 5627 h 9352"/>
                <a:gd name="connsiteX63" fmla="*/ 1237 w 10000"/>
                <a:gd name="connsiteY63" fmla="*/ 0 h 9352"/>
                <a:gd name="connsiteX64" fmla="*/ 433 w 10000"/>
                <a:gd name="connsiteY64" fmla="*/ 0 h 9352"/>
                <a:gd name="connsiteX65" fmla="*/ 433 w 10000"/>
                <a:gd name="connsiteY65" fmla="*/ 287 h 9352"/>
                <a:gd name="connsiteX0" fmla="*/ 433 w 10000"/>
                <a:gd name="connsiteY0" fmla="*/ 307 h 10000"/>
                <a:gd name="connsiteX1" fmla="*/ 6675 w 10000"/>
                <a:gd name="connsiteY1" fmla="*/ 6311 h 10000"/>
                <a:gd name="connsiteX2" fmla="*/ 6234 w 10000"/>
                <a:gd name="connsiteY2" fmla="*/ 6548 h 10000"/>
                <a:gd name="connsiteX3" fmla="*/ 5864 w 10000"/>
                <a:gd name="connsiteY3" fmla="*/ 6300 h 10000"/>
                <a:gd name="connsiteX4" fmla="*/ 5325 w 10000"/>
                <a:gd name="connsiteY4" fmla="*/ 6151 h 10000"/>
                <a:gd name="connsiteX5" fmla="*/ 5058 w 10000"/>
                <a:gd name="connsiteY5" fmla="*/ 6488 h 10000"/>
                <a:gd name="connsiteX6" fmla="*/ 4396 w 10000"/>
                <a:gd name="connsiteY6" fmla="*/ 6747 h 10000"/>
                <a:gd name="connsiteX7" fmla="*/ 3972 w 10000"/>
                <a:gd name="connsiteY7" fmla="*/ 6745 h 10000"/>
                <a:gd name="connsiteX8" fmla="*/ 3044 w 10000"/>
                <a:gd name="connsiteY8" fmla="*/ 6525 h 10000"/>
                <a:gd name="connsiteX9" fmla="*/ 2796 w 10000"/>
                <a:gd name="connsiteY9" fmla="*/ 6645 h 10000"/>
                <a:gd name="connsiteX10" fmla="*/ 2177 w 10000"/>
                <a:gd name="connsiteY10" fmla="*/ 6378 h 10000"/>
                <a:gd name="connsiteX11" fmla="*/ 1903 w 10000"/>
                <a:gd name="connsiteY11" fmla="*/ 5978 h 10000"/>
                <a:gd name="connsiteX12" fmla="*/ 1449 w 10000"/>
                <a:gd name="connsiteY12" fmla="*/ 6087 h 10000"/>
                <a:gd name="connsiteX13" fmla="*/ 1324 w 10000"/>
                <a:gd name="connsiteY13" fmla="*/ 6324 h 10000"/>
                <a:gd name="connsiteX14" fmla="*/ 845 w 10000"/>
                <a:gd name="connsiteY14" fmla="*/ 6425 h 10000"/>
                <a:gd name="connsiteX15" fmla="*/ 526 w 10000"/>
                <a:gd name="connsiteY15" fmla="*/ 6416 h 10000"/>
                <a:gd name="connsiteX16" fmla="*/ 354 w 10000"/>
                <a:gd name="connsiteY16" fmla="*/ 6604 h 10000"/>
                <a:gd name="connsiteX17" fmla="*/ 56 w 10000"/>
                <a:gd name="connsiteY17" fmla="*/ 6309 h 10000"/>
                <a:gd name="connsiteX18" fmla="*/ 0 w 10000"/>
                <a:gd name="connsiteY18" fmla="*/ 6846 h 10000"/>
                <a:gd name="connsiteX19" fmla="*/ 106 w 10000"/>
                <a:gd name="connsiteY19" fmla="*/ 6923 h 10000"/>
                <a:gd name="connsiteX20" fmla="*/ 538 w 10000"/>
                <a:gd name="connsiteY20" fmla="*/ 6961 h 10000"/>
                <a:gd name="connsiteX21" fmla="*/ 596 w 10000"/>
                <a:gd name="connsiteY21" fmla="*/ 7114 h 10000"/>
                <a:gd name="connsiteX22" fmla="*/ 1075 w 10000"/>
                <a:gd name="connsiteY22" fmla="*/ 7155 h 10000"/>
                <a:gd name="connsiteX23" fmla="*/ 1346 w 10000"/>
                <a:gd name="connsiteY23" fmla="*/ 7308 h 10000"/>
                <a:gd name="connsiteX24" fmla="*/ 1397 w 10000"/>
                <a:gd name="connsiteY24" fmla="*/ 7577 h 10000"/>
                <a:gd name="connsiteX25" fmla="*/ 2260 w 10000"/>
                <a:gd name="connsiteY25" fmla="*/ 8038 h 10000"/>
                <a:gd name="connsiteX26" fmla="*/ 2475 w 10000"/>
                <a:gd name="connsiteY26" fmla="*/ 8501 h 10000"/>
                <a:gd name="connsiteX27" fmla="*/ 3064 w 10000"/>
                <a:gd name="connsiteY27" fmla="*/ 8732 h 10000"/>
                <a:gd name="connsiteX28" fmla="*/ 3280 w 10000"/>
                <a:gd name="connsiteY28" fmla="*/ 9037 h 10000"/>
                <a:gd name="connsiteX29" fmla="*/ 3709 w 10000"/>
                <a:gd name="connsiteY29" fmla="*/ 9424 h 10000"/>
                <a:gd name="connsiteX30" fmla="*/ 4034 w 10000"/>
                <a:gd name="connsiteY30" fmla="*/ 9537 h 10000"/>
                <a:gd name="connsiteX31" fmla="*/ 4248 w 10000"/>
                <a:gd name="connsiteY31" fmla="*/ 9424 h 10000"/>
                <a:gd name="connsiteX32" fmla="*/ 4785 w 10000"/>
                <a:gd name="connsiteY32" fmla="*/ 9462 h 10000"/>
                <a:gd name="connsiteX33" fmla="*/ 5002 w 10000"/>
                <a:gd name="connsiteY33" fmla="*/ 9384 h 10000"/>
                <a:gd name="connsiteX34" fmla="*/ 5967 w 10000"/>
                <a:gd name="connsiteY34" fmla="*/ 9963 h 10000"/>
                <a:gd name="connsiteX35" fmla="*/ 6021 w 10000"/>
                <a:gd name="connsiteY35" fmla="*/ 9963 h 10000"/>
                <a:gd name="connsiteX36" fmla="*/ 6130 w 10000"/>
                <a:gd name="connsiteY36" fmla="*/ 9886 h 10000"/>
                <a:gd name="connsiteX37" fmla="*/ 6823 w 10000"/>
                <a:gd name="connsiteY37" fmla="*/ 9886 h 10000"/>
                <a:gd name="connsiteX38" fmla="*/ 6936 w 10000"/>
                <a:gd name="connsiteY38" fmla="*/ 10000 h 10000"/>
                <a:gd name="connsiteX39" fmla="*/ 7526 w 10000"/>
                <a:gd name="connsiteY39" fmla="*/ 9845 h 10000"/>
                <a:gd name="connsiteX40" fmla="*/ 8062 w 10000"/>
                <a:gd name="connsiteY40" fmla="*/ 9845 h 10000"/>
                <a:gd name="connsiteX41" fmla="*/ 8438 w 10000"/>
                <a:gd name="connsiteY41" fmla="*/ 9692 h 10000"/>
                <a:gd name="connsiteX42" fmla="*/ 8871 w 10000"/>
                <a:gd name="connsiteY42" fmla="*/ 9384 h 10000"/>
                <a:gd name="connsiteX43" fmla="*/ 10000 w 10000"/>
                <a:gd name="connsiteY43" fmla="*/ 9384 h 10000"/>
                <a:gd name="connsiteX44" fmla="*/ 10000 w 10000"/>
                <a:gd name="connsiteY44" fmla="*/ 8963 h 10000"/>
                <a:gd name="connsiteX45" fmla="*/ 9409 w 10000"/>
                <a:gd name="connsiteY45" fmla="*/ 8770 h 10000"/>
                <a:gd name="connsiteX46" fmla="*/ 9083 w 10000"/>
                <a:gd name="connsiteY46" fmla="*/ 8154 h 10000"/>
                <a:gd name="connsiteX47" fmla="*/ 8655 w 10000"/>
                <a:gd name="connsiteY47" fmla="*/ 7923 h 10000"/>
                <a:gd name="connsiteX48" fmla="*/ 8385 w 10000"/>
                <a:gd name="connsiteY48" fmla="*/ 7614 h 10000"/>
                <a:gd name="connsiteX49" fmla="*/ 7687 w 10000"/>
                <a:gd name="connsiteY49" fmla="*/ 7386 h 10000"/>
                <a:gd name="connsiteX50" fmla="*/ 7848 w 10000"/>
                <a:gd name="connsiteY50" fmla="*/ 7308 h 10000"/>
                <a:gd name="connsiteX51" fmla="*/ 7848 w 10000"/>
                <a:gd name="connsiteY51" fmla="*/ 7114 h 10000"/>
                <a:gd name="connsiteX52" fmla="*/ 8334 w 10000"/>
                <a:gd name="connsiteY52" fmla="*/ 7114 h 10000"/>
                <a:gd name="connsiteX53" fmla="*/ 8599 w 10000"/>
                <a:gd name="connsiteY53" fmla="*/ 6961 h 10000"/>
                <a:gd name="connsiteX54" fmla="*/ 8655 w 10000"/>
                <a:gd name="connsiteY54" fmla="*/ 5847 h 10000"/>
                <a:gd name="connsiteX55" fmla="*/ 8707 w 10000"/>
                <a:gd name="connsiteY55" fmla="*/ 5885 h 10000"/>
                <a:gd name="connsiteX56" fmla="*/ 8517 w 10000"/>
                <a:gd name="connsiteY56" fmla="*/ 5955 h 10000"/>
                <a:gd name="connsiteX57" fmla="*/ 8440 w 10000"/>
                <a:gd name="connsiteY57" fmla="*/ 6106 h 10000"/>
                <a:gd name="connsiteX58" fmla="*/ 7961 w 10000"/>
                <a:gd name="connsiteY58" fmla="*/ 5809 h 10000"/>
                <a:gd name="connsiteX59" fmla="*/ 7874 w 10000"/>
                <a:gd name="connsiteY59" fmla="*/ 5009 h 10000"/>
                <a:gd name="connsiteX60" fmla="*/ 7361 w 10000"/>
                <a:gd name="connsiteY60" fmla="*/ 5356 h 10000"/>
                <a:gd name="connsiteX61" fmla="*/ 7369 w 10000"/>
                <a:gd name="connsiteY61" fmla="*/ 5768 h 10000"/>
                <a:gd name="connsiteX62" fmla="*/ 6955 w 10000"/>
                <a:gd name="connsiteY62" fmla="*/ 6017 h 10000"/>
                <a:gd name="connsiteX63" fmla="*/ 433 w 10000"/>
                <a:gd name="connsiteY63" fmla="*/ 0 h 10000"/>
                <a:gd name="connsiteX64" fmla="*/ 433 w 10000"/>
                <a:gd name="connsiteY64" fmla="*/ 307 h 10000"/>
                <a:gd name="connsiteX0" fmla="*/ 433 w 10000"/>
                <a:gd name="connsiteY0" fmla="*/ 49 h 9742"/>
                <a:gd name="connsiteX1" fmla="*/ 6675 w 10000"/>
                <a:gd name="connsiteY1" fmla="*/ 6053 h 9742"/>
                <a:gd name="connsiteX2" fmla="*/ 6234 w 10000"/>
                <a:gd name="connsiteY2" fmla="*/ 6290 h 9742"/>
                <a:gd name="connsiteX3" fmla="*/ 5864 w 10000"/>
                <a:gd name="connsiteY3" fmla="*/ 6042 h 9742"/>
                <a:gd name="connsiteX4" fmla="*/ 5325 w 10000"/>
                <a:gd name="connsiteY4" fmla="*/ 5893 h 9742"/>
                <a:gd name="connsiteX5" fmla="*/ 5058 w 10000"/>
                <a:gd name="connsiteY5" fmla="*/ 6230 h 9742"/>
                <a:gd name="connsiteX6" fmla="*/ 4396 w 10000"/>
                <a:gd name="connsiteY6" fmla="*/ 6489 h 9742"/>
                <a:gd name="connsiteX7" fmla="*/ 3972 w 10000"/>
                <a:gd name="connsiteY7" fmla="*/ 6487 h 9742"/>
                <a:gd name="connsiteX8" fmla="*/ 3044 w 10000"/>
                <a:gd name="connsiteY8" fmla="*/ 6267 h 9742"/>
                <a:gd name="connsiteX9" fmla="*/ 2796 w 10000"/>
                <a:gd name="connsiteY9" fmla="*/ 6387 h 9742"/>
                <a:gd name="connsiteX10" fmla="*/ 2177 w 10000"/>
                <a:gd name="connsiteY10" fmla="*/ 6120 h 9742"/>
                <a:gd name="connsiteX11" fmla="*/ 1903 w 10000"/>
                <a:gd name="connsiteY11" fmla="*/ 5720 h 9742"/>
                <a:gd name="connsiteX12" fmla="*/ 1449 w 10000"/>
                <a:gd name="connsiteY12" fmla="*/ 5829 h 9742"/>
                <a:gd name="connsiteX13" fmla="*/ 1324 w 10000"/>
                <a:gd name="connsiteY13" fmla="*/ 6066 h 9742"/>
                <a:gd name="connsiteX14" fmla="*/ 845 w 10000"/>
                <a:gd name="connsiteY14" fmla="*/ 6167 h 9742"/>
                <a:gd name="connsiteX15" fmla="*/ 526 w 10000"/>
                <a:gd name="connsiteY15" fmla="*/ 6158 h 9742"/>
                <a:gd name="connsiteX16" fmla="*/ 354 w 10000"/>
                <a:gd name="connsiteY16" fmla="*/ 6346 h 9742"/>
                <a:gd name="connsiteX17" fmla="*/ 56 w 10000"/>
                <a:gd name="connsiteY17" fmla="*/ 6051 h 9742"/>
                <a:gd name="connsiteX18" fmla="*/ 0 w 10000"/>
                <a:gd name="connsiteY18" fmla="*/ 6588 h 9742"/>
                <a:gd name="connsiteX19" fmla="*/ 106 w 10000"/>
                <a:gd name="connsiteY19" fmla="*/ 6665 h 9742"/>
                <a:gd name="connsiteX20" fmla="*/ 538 w 10000"/>
                <a:gd name="connsiteY20" fmla="*/ 6703 h 9742"/>
                <a:gd name="connsiteX21" fmla="*/ 596 w 10000"/>
                <a:gd name="connsiteY21" fmla="*/ 6856 h 9742"/>
                <a:gd name="connsiteX22" fmla="*/ 1075 w 10000"/>
                <a:gd name="connsiteY22" fmla="*/ 6897 h 9742"/>
                <a:gd name="connsiteX23" fmla="*/ 1346 w 10000"/>
                <a:gd name="connsiteY23" fmla="*/ 7050 h 9742"/>
                <a:gd name="connsiteX24" fmla="*/ 1397 w 10000"/>
                <a:gd name="connsiteY24" fmla="*/ 7319 h 9742"/>
                <a:gd name="connsiteX25" fmla="*/ 2260 w 10000"/>
                <a:gd name="connsiteY25" fmla="*/ 7780 h 9742"/>
                <a:gd name="connsiteX26" fmla="*/ 2475 w 10000"/>
                <a:gd name="connsiteY26" fmla="*/ 8243 h 9742"/>
                <a:gd name="connsiteX27" fmla="*/ 3064 w 10000"/>
                <a:gd name="connsiteY27" fmla="*/ 8474 h 9742"/>
                <a:gd name="connsiteX28" fmla="*/ 3280 w 10000"/>
                <a:gd name="connsiteY28" fmla="*/ 8779 h 9742"/>
                <a:gd name="connsiteX29" fmla="*/ 3709 w 10000"/>
                <a:gd name="connsiteY29" fmla="*/ 9166 h 9742"/>
                <a:gd name="connsiteX30" fmla="*/ 4034 w 10000"/>
                <a:gd name="connsiteY30" fmla="*/ 9279 h 9742"/>
                <a:gd name="connsiteX31" fmla="*/ 4248 w 10000"/>
                <a:gd name="connsiteY31" fmla="*/ 9166 h 9742"/>
                <a:gd name="connsiteX32" fmla="*/ 4785 w 10000"/>
                <a:gd name="connsiteY32" fmla="*/ 9204 h 9742"/>
                <a:gd name="connsiteX33" fmla="*/ 5002 w 10000"/>
                <a:gd name="connsiteY33" fmla="*/ 9126 h 9742"/>
                <a:gd name="connsiteX34" fmla="*/ 5967 w 10000"/>
                <a:gd name="connsiteY34" fmla="*/ 9705 h 9742"/>
                <a:gd name="connsiteX35" fmla="*/ 6021 w 10000"/>
                <a:gd name="connsiteY35" fmla="*/ 9705 h 9742"/>
                <a:gd name="connsiteX36" fmla="*/ 6130 w 10000"/>
                <a:gd name="connsiteY36" fmla="*/ 9628 h 9742"/>
                <a:gd name="connsiteX37" fmla="*/ 6823 w 10000"/>
                <a:gd name="connsiteY37" fmla="*/ 9628 h 9742"/>
                <a:gd name="connsiteX38" fmla="*/ 6936 w 10000"/>
                <a:gd name="connsiteY38" fmla="*/ 9742 h 9742"/>
                <a:gd name="connsiteX39" fmla="*/ 7526 w 10000"/>
                <a:gd name="connsiteY39" fmla="*/ 9587 h 9742"/>
                <a:gd name="connsiteX40" fmla="*/ 8062 w 10000"/>
                <a:gd name="connsiteY40" fmla="*/ 9587 h 9742"/>
                <a:gd name="connsiteX41" fmla="*/ 8438 w 10000"/>
                <a:gd name="connsiteY41" fmla="*/ 9434 h 9742"/>
                <a:gd name="connsiteX42" fmla="*/ 8871 w 10000"/>
                <a:gd name="connsiteY42" fmla="*/ 9126 h 9742"/>
                <a:gd name="connsiteX43" fmla="*/ 10000 w 10000"/>
                <a:gd name="connsiteY43" fmla="*/ 9126 h 9742"/>
                <a:gd name="connsiteX44" fmla="*/ 10000 w 10000"/>
                <a:gd name="connsiteY44" fmla="*/ 8705 h 9742"/>
                <a:gd name="connsiteX45" fmla="*/ 9409 w 10000"/>
                <a:gd name="connsiteY45" fmla="*/ 8512 h 9742"/>
                <a:gd name="connsiteX46" fmla="*/ 9083 w 10000"/>
                <a:gd name="connsiteY46" fmla="*/ 7896 h 9742"/>
                <a:gd name="connsiteX47" fmla="*/ 8655 w 10000"/>
                <a:gd name="connsiteY47" fmla="*/ 7665 h 9742"/>
                <a:gd name="connsiteX48" fmla="*/ 8385 w 10000"/>
                <a:gd name="connsiteY48" fmla="*/ 7356 h 9742"/>
                <a:gd name="connsiteX49" fmla="*/ 7687 w 10000"/>
                <a:gd name="connsiteY49" fmla="*/ 7128 h 9742"/>
                <a:gd name="connsiteX50" fmla="*/ 7848 w 10000"/>
                <a:gd name="connsiteY50" fmla="*/ 7050 h 9742"/>
                <a:gd name="connsiteX51" fmla="*/ 7848 w 10000"/>
                <a:gd name="connsiteY51" fmla="*/ 6856 h 9742"/>
                <a:gd name="connsiteX52" fmla="*/ 8334 w 10000"/>
                <a:gd name="connsiteY52" fmla="*/ 6856 h 9742"/>
                <a:gd name="connsiteX53" fmla="*/ 8599 w 10000"/>
                <a:gd name="connsiteY53" fmla="*/ 6703 h 9742"/>
                <a:gd name="connsiteX54" fmla="*/ 8655 w 10000"/>
                <a:gd name="connsiteY54" fmla="*/ 5589 h 9742"/>
                <a:gd name="connsiteX55" fmla="*/ 8707 w 10000"/>
                <a:gd name="connsiteY55" fmla="*/ 5627 h 9742"/>
                <a:gd name="connsiteX56" fmla="*/ 8517 w 10000"/>
                <a:gd name="connsiteY56" fmla="*/ 5697 h 9742"/>
                <a:gd name="connsiteX57" fmla="*/ 8440 w 10000"/>
                <a:gd name="connsiteY57" fmla="*/ 5848 h 9742"/>
                <a:gd name="connsiteX58" fmla="*/ 7961 w 10000"/>
                <a:gd name="connsiteY58" fmla="*/ 5551 h 9742"/>
                <a:gd name="connsiteX59" fmla="*/ 7874 w 10000"/>
                <a:gd name="connsiteY59" fmla="*/ 4751 h 9742"/>
                <a:gd name="connsiteX60" fmla="*/ 7361 w 10000"/>
                <a:gd name="connsiteY60" fmla="*/ 5098 h 9742"/>
                <a:gd name="connsiteX61" fmla="*/ 7369 w 10000"/>
                <a:gd name="connsiteY61" fmla="*/ 5510 h 9742"/>
                <a:gd name="connsiteX62" fmla="*/ 6955 w 10000"/>
                <a:gd name="connsiteY62" fmla="*/ 5759 h 9742"/>
                <a:gd name="connsiteX63" fmla="*/ 433 w 10000"/>
                <a:gd name="connsiteY63" fmla="*/ 49 h 9742"/>
                <a:gd name="connsiteX0" fmla="*/ 6955 w 10000"/>
                <a:gd name="connsiteY0" fmla="*/ 1035 h 5123"/>
                <a:gd name="connsiteX1" fmla="*/ 6675 w 10000"/>
                <a:gd name="connsiteY1" fmla="*/ 1336 h 5123"/>
                <a:gd name="connsiteX2" fmla="*/ 6234 w 10000"/>
                <a:gd name="connsiteY2" fmla="*/ 1580 h 5123"/>
                <a:gd name="connsiteX3" fmla="*/ 5864 w 10000"/>
                <a:gd name="connsiteY3" fmla="*/ 1325 h 5123"/>
                <a:gd name="connsiteX4" fmla="*/ 5325 w 10000"/>
                <a:gd name="connsiteY4" fmla="*/ 1172 h 5123"/>
                <a:gd name="connsiteX5" fmla="*/ 5058 w 10000"/>
                <a:gd name="connsiteY5" fmla="*/ 1518 h 5123"/>
                <a:gd name="connsiteX6" fmla="*/ 4396 w 10000"/>
                <a:gd name="connsiteY6" fmla="*/ 1784 h 5123"/>
                <a:gd name="connsiteX7" fmla="*/ 3972 w 10000"/>
                <a:gd name="connsiteY7" fmla="*/ 1782 h 5123"/>
                <a:gd name="connsiteX8" fmla="*/ 3044 w 10000"/>
                <a:gd name="connsiteY8" fmla="*/ 1556 h 5123"/>
                <a:gd name="connsiteX9" fmla="*/ 2796 w 10000"/>
                <a:gd name="connsiteY9" fmla="*/ 1679 h 5123"/>
                <a:gd name="connsiteX10" fmla="*/ 2177 w 10000"/>
                <a:gd name="connsiteY10" fmla="*/ 1405 h 5123"/>
                <a:gd name="connsiteX11" fmla="*/ 1903 w 10000"/>
                <a:gd name="connsiteY11" fmla="*/ 994 h 5123"/>
                <a:gd name="connsiteX12" fmla="*/ 1449 w 10000"/>
                <a:gd name="connsiteY12" fmla="*/ 1106 h 5123"/>
                <a:gd name="connsiteX13" fmla="*/ 1324 w 10000"/>
                <a:gd name="connsiteY13" fmla="*/ 1350 h 5123"/>
                <a:gd name="connsiteX14" fmla="*/ 845 w 10000"/>
                <a:gd name="connsiteY14" fmla="*/ 1453 h 5123"/>
                <a:gd name="connsiteX15" fmla="*/ 526 w 10000"/>
                <a:gd name="connsiteY15" fmla="*/ 1444 h 5123"/>
                <a:gd name="connsiteX16" fmla="*/ 354 w 10000"/>
                <a:gd name="connsiteY16" fmla="*/ 1637 h 5123"/>
                <a:gd name="connsiteX17" fmla="*/ 56 w 10000"/>
                <a:gd name="connsiteY17" fmla="*/ 1334 h 5123"/>
                <a:gd name="connsiteX18" fmla="*/ 0 w 10000"/>
                <a:gd name="connsiteY18" fmla="*/ 1885 h 5123"/>
                <a:gd name="connsiteX19" fmla="*/ 106 w 10000"/>
                <a:gd name="connsiteY19" fmla="*/ 1965 h 5123"/>
                <a:gd name="connsiteX20" fmla="*/ 538 w 10000"/>
                <a:gd name="connsiteY20" fmla="*/ 2004 h 5123"/>
                <a:gd name="connsiteX21" fmla="*/ 596 w 10000"/>
                <a:gd name="connsiteY21" fmla="*/ 2161 h 5123"/>
                <a:gd name="connsiteX22" fmla="*/ 1075 w 10000"/>
                <a:gd name="connsiteY22" fmla="*/ 2203 h 5123"/>
                <a:gd name="connsiteX23" fmla="*/ 1346 w 10000"/>
                <a:gd name="connsiteY23" fmla="*/ 2360 h 5123"/>
                <a:gd name="connsiteX24" fmla="*/ 1397 w 10000"/>
                <a:gd name="connsiteY24" fmla="*/ 2636 h 5123"/>
                <a:gd name="connsiteX25" fmla="*/ 2260 w 10000"/>
                <a:gd name="connsiteY25" fmla="*/ 3109 h 5123"/>
                <a:gd name="connsiteX26" fmla="*/ 2475 w 10000"/>
                <a:gd name="connsiteY26" fmla="*/ 3584 h 5123"/>
                <a:gd name="connsiteX27" fmla="*/ 3064 w 10000"/>
                <a:gd name="connsiteY27" fmla="*/ 3821 h 5123"/>
                <a:gd name="connsiteX28" fmla="*/ 3280 w 10000"/>
                <a:gd name="connsiteY28" fmla="*/ 4134 h 5123"/>
                <a:gd name="connsiteX29" fmla="*/ 3709 w 10000"/>
                <a:gd name="connsiteY29" fmla="*/ 4532 h 5123"/>
                <a:gd name="connsiteX30" fmla="*/ 4034 w 10000"/>
                <a:gd name="connsiteY30" fmla="*/ 4648 h 5123"/>
                <a:gd name="connsiteX31" fmla="*/ 4248 w 10000"/>
                <a:gd name="connsiteY31" fmla="*/ 4532 h 5123"/>
                <a:gd name="connsiteX32" fmla="*/ 4785 w 10000"/>
                <a:gd name="connsiteY32" fmla="*/ 4571 h 5123"/>
                <a:gd name="connsiteX33" fmla="*/ 5002 w 10000"/>
                <a:gd name="connsiteY33" fmla="*/ 4491 h 5123"/>
                <a:gd name="connsiteX34" fmla="*/ 5967 w 10000"/>
                <a:gd name="connsiteY34" fmla="*/ 5085 h 5123"/>
                <a:gd name="connsiteX35" fmla="*/ 6021 w 10000"/>
                <a:gd name="connsiteY35" fmla="*/ 5085 h 5123"/>
                <a:gd name="connsiteX36" fmla="*/ 6130 w 10000"/>
                <a:gd name="connsiteY36" fmla="*/ 5006 h 5123"/>
                <a:gd name="connsiteX37" fmla="*/ 6823 w 10000"/>
                <a:gd name="connsiteY37" fmla="*/ 5006 h 5123"/>
                <a:gd name="connsiteX38" fmla="*/ 6936 w 10000"/>
                <a:gd name="connsiteY38" fmla="*/ 5123 h 5123"/>
                <a:gd name="connsiteX39" fmla="*/ 7526 w 10000"/>
                <a:gd name="connsiteY39" fmla="*/ 4964 h 5123"/>
                <a:gd name="connsiteX40" fmla="*/ 8062 w 10000"/>
                <a:gd name="connsiteY40" fmla="*/ 4964 h 5123"/>
                <a:gd name="connsiteX41" fmla="*/ 8438 w 10000"/>
                <a:gd name="connsiteY41" fmla="*/ 4807 h 5123"/>
                <a:gd name="connsiteX42" fmla="*/ 8871 w 10000"/>
                <a:gd name="connsiteY42" fmla="*/ 4491 h 5123"/>
                <a:gd name="connsiteX43" fmla="*/ 10000 w 10000"/>
                <a:gd name="connsiteY43" fmla="*/ 4491 h 5123"/>
                <a:gd name="connsiteX44" fmla="*/ 10000 w 10000"/>
                <a:gd name="connsiteY44" fmla="*/ 4059 h 5123"/>
                <a:gd name="connsiteX45" fmla="*/ 9409 w 10000"/>
                <a:gd name="connsiteY45" fmla="*/ 3860 h 5123"/>
                <a:gd name="connsiteX46" fmla="*/ 9083 w 10000"/>
                <a:gd name="connsiteY46" fmla="*/ 3228 h 5123"/>
                <a:gd name="connsiteX47" fmla="*/ 8655 w 10000"/>
                <a:gd name="connsiteY47" fmla="*/ 2991 h 5123"/>
                <a:gd name="connsiteX48" fmla="*/ 8385 w 10000"/>
                <a:gd name="connsiteY48" fmla="*/ 2674 h 5123"/>
                <a:gd name="connsiteX49" fmla="*/ 7687 w 10000"/>
                <a:gd name="connsiteY49" fmla="*/ 2440 h 5123"/>
                <a:gd name="connsiteX50" fmla="*/ 7848 w 10000"/>
                <a:gd name="connsiteY50" fmla="*/ 2360 h 5123"/>
                <a:gd name="connsiteX51" fmla="*/ 7848 w 10000"/>
                <a:gd name="connsiteY51" fmla="*/ 2161 h 5123"/>
                <a:gd name="connsiteX52" fmla="*/ 8334 w 10000"/>
                <a:gd name="connsiteY52" fmla="*/ 2161 h 5123"/>
                <a:gd name="connsiteX53" fmla="*/ 8599 w 10000"/>
                <a:gd name="connsiteY53" fmla="*/ 2004 h 5123"/>
                <a:gd name="connsiteX54" fmla="*/ 8655 w 10000"/>
                <a:gd name="connsiteY54" fmla="*/ 860 h 5123"/>
                <a:gd name="connsiteX55" fmla="*/ 8707 w 10000"/>
                <a:gd name="connsiteY55" fmla="*/ 899 h 5123"/>
                <a:gd name="connsiteX56" fmla="*/ 8517 w 10000"/>
                <a:gd name="connsiteY56" fmla="*/ 971 h 5123"/>
                <a:gd name="connsiteX57" fmla="*/ 8440 w 10000"/>
                <a:gd name="connsiteY57" fmla="*/ 1126 h 5123"/>
                <a:gd name="connsiteX58" fmla="*/ 7961 w 10000"/>
                <a:gd name="connsiteY58" fmla="*/ 821 h 5123"/>
                <a:gd name="connsiteX59" fmla="*/ 7874 w 10000"/>
                <a:gd name="connsiteY59" fmla="*/ 0 h 5123"/>
                <a:gd name="connsiteX60" fmla="*/ 7361 w 10000"/>
                <a:gd name="connsiteY60" fmla="*/ 356 h 5123"/>
                <a:gd name="connsiteX61" fmla="*/ 7369 w 10000"/>
                <a:gd name="connsiteY61" fmla="*/ 779 h 5123"/>
                <a:gd name="connsiteX62" fmla="*/ 6955 w 10000"/>
                <a:gd name="connsiteY62" fmla="*/ 1035 h 5123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34 w 10000"/>
                <a:gd name="connsiteY2" fmla="*/ 3084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96 w 10000"/>
                <a:gd name="connsiteY9" fmla="*/ 3277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34 w 10000"/>
                <a:gd name="connsiteY2" fmla="*/ 3084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329 w 10000"/>
                <a:gd name="connsiteY61" fmla="*/ 1075 h 10000"/>
                <a:gd name="connsiteX62" fmla="*/ 7237 w 10000"/>
                <a:gd name="connsiteY62" fmla="*/ 1489 h 10000"/>
                <a:gd name="connsiteX63" fmla="*/ 6955 w 10000"/>
                <a:gd name="connsiteY63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237 w 10000"/>
                <a:gd name="connsiteY62" fmla="*/ 1489 h 10000"/>
                <a:gd name="connsiteX63" fmla="*/ 6955 w 10000"/>
                <a:gd name="connsiteY63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840 w 10000"/>
                <a:gd name="connsiteY7" fmla="*/ 3351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840 w 10000"/>
                <a:gd name="connsiteY7" fmla="*/ 3351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38 w 10000"/>
                <a:gd name="connsiteY60" fmla="*/ 316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0000" h="10000">
                  <a:moveTo>
                    <a:pt x="6955" y="2020"/>
                  </a:moveTo>
                  <a:cubicBezTo>
                    <a:pt x="6839" y="2202"/>
                    <a:pt x="6795" y="2430"/>
                    <a:pt x="6675" y="2608"/>
                  </a:cubicBezTo>
                  <a:lnTo>
                    <a:pt x="6212" y="2957"/>
                  </a:lnTo>
                  <a:lnTo>
                    <a:pt x="5864" y="2586"/>
                  </a:lnTo>
                  <a:cubicBezTo>
                    <a:pt x="5808" y="2795"/>
                    <a:pt x="5376" y="2079"/>
                    <a:pt x="5325" y="2288"/>
                  </a:cubicBezTo>
                  <a:lnTo>
                    <a:pt x="5058" y="2963"/>
                  </a:lnTo>
                  <a:lnTo>
                    <a:pt x="4396" y="3482"/>
                  </a:lnTo>
                  <a:cubicBezTo>
                    <a:pt x="4343" y="3535"/>
                    <a:pt x="3891" y="3301"/>
                    <a:pt x="3840" y="3351"/>
                  </a:cubicBezTo>
                  <a:lnTo>
                    <a:pt x="3044" y="3037"/>
                  </a:lnTo>
                  <a:lnTo>
                    <a:pt x="2774" y="3182"/>
                  </a:lnTo>
                  <a:lnTo>
                    <a:pt x="2177" y="2743"/>
                  </a:lnTo>
                  <a:cubicBezTo>
                    <a:pt x="2086" y="2475"/>
                    <a:pt x="1994" y="2208"/>
                    <a:pt x="1903" y="1940"/>
                  </a:cubicBezTo>
                  <a:cubicBezTo>
                    <a:pt x="1921" y="2173"/>
                    <a:pt x="1434" y="1931"/>
                    <a:pt x="1449" y="2159"/>
                  </a:cubicBezTo>
                  <a:cubicBezTo>
                    <a:pt x="1409" y="2317"/>
                    <a:pt x="1369" y="2479"/>
                    <a:pt x="1324" y="2635"/>
                  </a:cubicBezTo>
                  <a:lnTo>
                    <a:pt x="845" y="2836"/>
                  </a:lnTo>
                  <a:lnTo>
                    <a:pt x="526" y="2819"/>
                  </a:lnTo>
                  <a:cubicBezTo>
                    <a:pt x="469" y="2946"/>
                    <a:pt x="411" y="3069"/>
                    <a:pt x="354" y="3195"/>
                  </a:cubicBezTo>
                  <a:cubicBezTo>
                    <a:pt x="373" y="3326"/>
                    <a:pt x="37" y="2475"/>
                    <a:pt x="56" y="2604"/>
                  </a:cubicBezTo>
                  <a:cubicBezTo>
                    <a:pt x="37" y="2961"/>
                    <a:pt x="17" y="3322"/>
                    <a:pt x="0" y="3679"/>
                  </a:cubicBezTo>
                  <a:cubicBezTo>
                    <a:pt x="36" y="3732"/>
                    <a:pt x="73" y="3785"/>
                    <a:pt x="106" y="3836"/>
                  </a:cubicBezTo>
                  <a:lnTo>
                    <a:pt x="538" y="3912"/>
                  </a:lnTo>
                  <a:cubicBezTo>
                    <a:pt x="559" y="4013"/>
                    <a:pt x="575" y="4117"/>
                    <a:pt x="596" y="4218"/>
                  </a:cubicBezTo>
                  <a:lnTo>
                    <a:pt x="1075" y="4300"/>
                  </a:lnTo>
                  <a:lnTo>
                    <a:pt x="1346" y="4607"/>
                  </a:lnTo>
                  <a:cubicBezTo>
                    <a:pt x="1361" y="4784"/>
                    <a:pt x="1382" y="4964"/>
                    <a:pt x="1397" y="5145"/>
                  </a:cubicBezTo>
                  <a:lnTo>
                    <a:pt x="2260" y="6069"/>
                  </a:lnTo>
                  <a:cubicBezTo>
                    <a:pt x="2330" y="6377"/>
                    <a:pt x="2404" y="6686"/>
                    <a:pt x="2475" y="6996"/>
                  </a:cubicBezTo>
                  <a:lnTo>
                    <a:pt x="3064" y="7459"/>
                  </a:lnTo>
                  <a:lnTo>
                    <a:pt x="3280" y="8069"/>
                  </a:lnTo>
                  <a:lnTo>
                    <a:pt x="3709" y="8846"/>
                  </a:lnTo>
                  <a:lnTo>
                    <a:pt x="4034" y="9073"/>
                  </a:lnTo>
                  <a:lnTo>
                    <a:pt x="4248" y="8846"/>
                  </a:lnTo>
                  <a:lnTo>
                    <a:pt x="4785" y="8923"/>
                  </a:lnTo>
                  <a:lnTo>
                    <a:pt x="5002" y="8766"/>
                  </a:lnTo>
                  <a:lnTo>
                    <a:pt x="5967" y="9926"/>
                  </a:lnTo>
                  <a:lnTo>
                    <a:pt x="6021" y="9926"/>
                  </a:lnTo>
                  <a:cubicBezTo>
                    <a:pt x="6057" y="9871"/>
                    <a:pt x="6094" y="9822"/>
                    <a:pt x="6130" y="9772"/>
                  </a:cubicBezTo>
                  <a:lnTo>
                    <a:pt x="6823" y="9772"/>
                  </a:lnTo>
                  <a:cubicBezTo>
                    <a:pt x="6863" y="9848"/>
                    <a:pt x="6901" y="9926"/>
                    <a:pt x="6936" y="10000"/>
                  </a:cubicBezTo>
                  <a:lnTo>
                    <a:pt x="7526" y="9690"/>
                  </a:lnTo>
                  <a:lnTo>
                    <a:pt x="8062" y="9690"/>
                  </a:lnTo>
                  <a:lnTo>
                    <a:pt x="8438" y="9383"/>
                  </a:lnTo>
                  <a:lnTo>
                    <a:pt x="8871" y="8766"/>
                  </a:lnTo>
                  <a:lnTo>
                    <a:pt x="10000" y="8766"/>
                  </a:lnTo>
                  <a:lnTo>
                    <a:pt x="10000" y="7923"/>
                  </a:lnTo>
                  <a:lnTo>
                    <a:pt x="9409" y="7535"/>
                  </a:lnTo>
                  <a:cubicBezTo>
                    <a:pt x="9299" y="7125"/>
                    <a:pt x="9193" y="6711"/>
                    <a:pt x="9083" y="6301"/>
                  </a:cubicBezTo>
                  <a:lnTo>
                    <a:pt x="8655" y="5838"/>
                  </a:lnTo>
                  <a:lnTo>
                    <a:pt x="8385" y="5220"/>
                  </a:lnTo>
                  <a:lnTo>
                    <a:pt x="7687" y="4763"/>
                  </a:lnTo>
                  <a:cubicBezTo>
                    <a:pt x="7740" y="4706"/>
                    <a:pt x="7794" y="4657"/>
                    <a:pt x="7848" y="4607"/>
                  </a:cubicBezTo>
                  <a:lnTo>
                    <a:pt x="7848" y="4218"/>
                  </a:lnTo>
                  <a:lnTo>
                    <a:pt x="8334" y="4218"/>
                  </a:lnTo>
                  <a:lnTo>
                    <a:pt x="8599" y="3912"/>
                  </a:lnTo>
                  <a:cubicBezTo>
                    <a:pt x="8620" y="3168"/>
                    <a:pt x="8640" y="2424"/>
                    <a:pt x="8655" y="1679"/>
                  </a:cubicBezTo>
                  <a:cubicBezTo>
                    <a:pt x="8673" y="1704"/>
                    <a:pt x="8690" y="1726"/>
                    <a:pt x="8707" y="1755"/>
                  </a:cubicBezTo>
                  <a:cubicBezTo>
                    <a:pt x="8758" y="1599"/>
                    <a:pt x="8463" y="2050"/>
                    <a:pt x="8517" y="1895"/>
                  </a:cubicBezTo>
                  <a:cubicBezTo>
                    <a:pt x="8491" y="1993"/>
                    <a:pt x="8467" y="2098"/>
                    <a:pt x="8440" y="2198"/>
                  </a:cubicBezTo>
                  <a:cubicBezTo>
                    <a:pt x="8494" y="1917"/>
                    <a:pt x="7910" y="1888"/>
                    <a:pt x="7961" y="1603"/>
                  </a:cubicBezTo>
                  <a:cubicBezTo>
                    <a:pt x="7933" y="1068"/>
                    <a:pt x="7903" y="533"/>
                    <a:pt x="7874" y="0"/>
                  </a:cubicBezTo>
                  <a:lnTo>
                    <a:pt x="7538" y="316"/>
                  </a:lnTo>
                  <a:cubicBezTo>
                    <a:pt x="7447" y="495"/>
                    <a:pt x="7563" y="700"/>
                    <a:pt x="7506" y="885"/>
                  </a:cubicBezTo>
                  <a:cubicBezTo>
                    <a:pt x="7468" y="1038"/>
                    <a:pt x="7396" y="1196"/>
                    <a:pt x="7351" y="1297"/>
                  </a:cubicBezTo>
                  <a:cubicBezTo>
                    <a:pt x="7306" y="1398"/>
                    <a:pt x="7303" y="1368"/>
                    <a:pt x="7237" y="1489"/>
                  </a:cubicBezTo>
                  <a:lnTo>
                    <a:pt x="6955" y="202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4450" tIns="44450" rIns="44450" bIns="44450"/>
            <a:lstStyle/>
            <a:p>
              <a:pPr algn="ctr"/>
              <a:endParaRPr lang="en-US" sz="3200" dirty="0"/>
            </a:p>
          </p:txBody>
        </p:sp>
        <p:sp>
          <p:nvSpPr>
            <p:cNvPr id="6" name="Freeform 441"/>
            <p:cNvSpPr>
              <a:spLocks/>
            </p:cNvSpPr>
            <p:nvPr>
              <p:custDataLst>
                <p:tags r:id="rId199"/>
              </p:custDataLst>
            </p:nvPr>
          </p:nvSpPr>
          <p:spPr bwMode="gray">
            <a:xfrm>
              <a:off x="4867845" y="3953787"/>
              <a:ext cx="379071" cy="407680"/>
            </a:xfrm>
            <a:custGeom>
              <a:avLst/>
              <a:gdLst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5564 w 10000"/>
                <a:gd name="connsiteY41" fmla="*/ 7085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5272 w 10000"/>
                <a:gd name="connsiteY39" fmla="*/ 9204 h 10000"/>
                <a:gd name="connsiteX40" fmla="*/ 6145 w 10000"/>
                <a:gd name="connsiteY40" fmla="*/ 10000 h 10000"/>
                <a:gd name="connsiteX41" fmla="*/ 5564 w 10000"/>
                <a:gd name="connsiteY41" fmla="*/ 7085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9968"/>
                <a:gd name="connsiteX1" fmla="*/ 1285 w 10000"/>
                <a:gd name="connsiteY1" fmla="*/ 2412 h 9968"/>
                <a:gd name="connsiteX2" fmla="*/ 1285 w 10000"/>
                <a:gd name="connsiteY2" fmla="*/ 2894 h 9968"/>
                <a:gd name="connsiteX3" fmla="*/ 1285 w 10000"/>
                <a:gd name="connsiteY3" fmla="*/ 3376 h 9968"/>
                <a:gd name="connsiteX4" fmla="*/ 1285 w 10000"/>
                <a:gd name="connsiteY4" fmla="*/ 3826 h 9968"/>
                <a:gd name="connsiteX5" fmla="*/ 643 w 10000"/>
                <a:gd name="connsiteY5" fmla="*/ 3923 h 9968"/>
                <a:gd name="connsiteX6" fmla="*/ 522 w 10000"/>
                <a:gd name="connsiteY6" fmla="*/ 4180 h 9968"/>
                <a:gd name="connsiteX7" fmla="*/ 241 w 10000"/>
                <a:gd name="connsiteY7" fmla="*/ 4502 h 9968"/>
                <a:gd name="connsiteX8" fmla="*/ 241 w 10000"/>
                <a:gd name="connsiteY8" fmla="*/ 4759 h 9968"/>
                <a:gd name="connsiteX9" fmla="*/ 120 w 10000"/>
                <a:gd name="connsiteY9" fmla="*/ 4823 h 9968"/>
                <a:gd name="connsiteX10" fmla="*/ 120 w 10000"/>
                <a:gd name="connsiteY10" fmla="*/ 5048 h 9968"/>
                <a:gd name="connsiteX11" fmla="*/ 0 w 10000"/>
                <a:gd name="connsiteY11" fmla="*/ 5241 h 9968"/>
                <a:gd name="connsiteX12" fmla="*/ 0 w 10000"/>
                <a:gd name="connsiteY12" fmla="*/ 5402 h 9968"/>
                <a:gd name="connsiteX13" fmla="*/ 241 w 10000"/>
                <a:gd name="connsiteY13" fmla="*/ 5370 h 9968"/>
                <a:gd name="connsiteX14" fmla="*/ 281 w 10000"/>
                <a:gd name="connsiteY14" fmla="*/ 5659 h 9968"/>
                <a:gd name="connsiteX15" fmla="*/ 602 w 10000"/>
                <a:gd name="connsiteY15" fmla="*/ 6174 h 9968"/>
                <a:gd name="connsiteX16" fmla="*/ 602 w 10000"/>
                <a:gd name="connsiteY16" fmla="*/ 6206 h 9968"/>
                <a:gd name="connsiteX17" fmla="*/ 482 w 10000"/>
                <a:gd name="connsiteY17" fmla="*/ 6238 h 9968"/>
                <a:gd name="connsiteX18" fmla="*/ 964 w 10000"/>
                <a:gd name="connsiteY18" fmla="*/ 6752 h 9968"/>
                <a:gd name="connsiteX19" fmla="*/ 1004 w 10000"/>
                <a:gd name="connsiteY19" fmla="*/ 6913 h 9968"/>
                <a:gd name="connsiteX20" fmla="*/ 964 w 10000"/>
                <a:gd name="connsiteY20" fmla="*/ 7363 h 9968"/>
                <a:gd name="connsiteX21" fmla="*/ 1044 w 10000"/>
                <a:gd name="connsiteY21" fmla="*/ 7428 h 9968"/>
                <a:gd name="connsiteX22" fmla="*/ 1365 w 10000"/>
                <a:gd name="connsiteY22" fmla="*/ 7460 h 9968"/>
                <a:gd name="connsiteX23" fmla="*/ 1406 w 10000"/>
                <a:gd name="connsiteY23" fmla="*/ 7588 h 9968"/>
                <a:gd name="connsiteX24" fmla="*/ 1767 w 10000"/>
                <a:gd name="connsiteY24" fmla="*/ 7621 h 9968"/>
                <a:gd name="connsiteX25" fmla="*/ 1968 w 10000"/>
                <a:gd name="connsiteY25" fmla="*/ 7749 h 9968"/>
                <a:gd name="connsiteX26" fmla="*/ 2008 w 10000"/>
                <a:gd name="connsiteY26" fmla="*/ 7974 h 9968"/>
                <a:gd name="connsiteX27" fmla="*/ 2651 w 10000"/>
                <a:gd name="connsiteY27" fmla="*/ 8360 h 9968"/>
                <a:gd name="connsiteX28" fmla="*/ 2811 w 10000"/>
                <a:gd name="connsiteY28" fmla="*/ 8746 h 9968"/>
                <a:gd name="connsiteX29" fmla="*/ 3253 w 10000"/>
                <a:gd name="connsiteY29" fmla="*/ 8939 h 9968"/>
                <a:gd name="connsiteX30" fmla="*/ 3414 w 10000"/>
                <a:gd name="connsiteY30" fmla="*/ 9196 h 9968"/>
                <a:gd name="connsiteX31" fmla="*/ 3735 w 10000"/>
                <a:gd name="connsiteY31" fmla="*/ 9518 h 9968"/>
                <a:gd name="connsiteX32" fmla="*/ 3976 w 10000"/>
                <a:gd name="connsiteY32" fmla="*/ 9614 h 9968"/>
                <a:gd name="connsiteX33" fmla="*/ 4137 w 10000"/>
                <a:gd name="connsiteY33" fmla="*/ 9518 h 9968"/>
                <a:gd name="connsiteX34" fmla="*/ 4538 w 10000"/>
                <a:gd name="connsiteY34" fmla="*/ 9550 h 9968"/>
                <a:gd name="connsiteX35" fmla="*/ 4699 w 10000"/>
                <a:gd name="connsiteY35" fmla="*/ 9486 h 9968"/>
                <a:gd name="connsiteX36" fmla="*/ 5422 w 10000"/>
                <a:gd name="connsiteY36" fmla="*/ 9968 h 9968"/>
                <a:gd name="connsiteX37" fmla="*/ 5462 w 10000"/>
                <a:gd name="connsiteY37" fmla="*/ 9968 h 9968"/>
                <a:gd name="connsiteX38" fmla="*/ 5542 w 10000"/>
                <a:gd name="connsiteY38" fmla="*/ 9904 h 9968"/>
                <a:gd name="connsiteX39" fmla="*/ 5272 w 10000"/>
                <a:gd name="connsiteY39" fmla="*/ 9204 h 9968"/>
                <a:gd name="connsiteX40" fmla="*/ 5337 w 10000"/>
                <a:gd name="connsiteY40" fmla="*/ 6963 h 9968"/>
                <a:gd name="connsiteX41" fmla="*/ 5564 w 10000"/>
                <a:gd name="connsiteY41" fmla="*/ 7085 h 9968"/>
                <a:gd name="connsiteX42" fmla="*/ 5768 w 10000"/>
                <a:gd name="connsiteY42" fmla="*/ 7006 h 9968"/>
                <a:gd name="connsiteX43" fmla="*/ 5933 w 10000"/>
                <a:gd name="connsiteY43" fmla="*/ 6931 h 9968"/>
                <a:gd name="connsiteX44" fmla="*/ 6089 w 10000"/>
                <a:gd name="connsiteY44" fmla="*/ 6766 h 9968"/>
                <a:gd name="connsiteX45" fmla="*/ 6274 w 10000"/>
                <a:gd name="connsiteY45" fmla="*/ 6541 h 9968"/>
                <a:gd name="connsiteX46" fmla="*/ 6389 w 10000"/>
                <a:gd name="connsiteY46" fmla="*/ 6438 h 9968"/>
                <a:gd name="connsiteX47" fmla="*/ 6524 w 10000"/>
                <a:gd name="connsiteY47" fmla="*/ 6396 h 9968"/>
                <a:gd name="connsiteX48" fmla="*/ 6531 w 10000"/>
                <a:gd name="connsiteY48" fmla="*/ 6265 h 9968"/>
                <a:gd name="connsiteX49" fmla="*/ 6424 w 10000"/>
                <a:gd name="connsiteY49" fmla="*/ 5966 h 9968"/>
                <a:gd name="connsiteX50" fmla="*/ 6602 w 10000"/>
                <a:gd name="connsiteY50" fmla="*/ 5973 h 9968"/>
                <a:gd name="connsiteX51" fmla="*/ 6707 w 10000"/>
                <a:gd name="connsiteY51" fmla="*/ 5860 h 9968"/>
                <a:gd name="connsiteX52" fmla="*/ 6876 w 10000"/>
                <a:gd name="connsiteY52" fmla="*/ 5861 h 9968"/>
                <a:gd name="connsiteX53" fmla="*/ 6827 w 10000"/>
                <a:gd name="connsiteY53" fmla="*/ 6558 h 9968"/>
                <a:gd name="connsiteX54" fmla="*/ 6991 w 10000"/>
                <a:gd name="connsiteY54" fmla="*/ 6637 h 9968"/>
                <a:gd name="connsiteX55" fmla="*/ 7275 w 10000"/>
                <a:gd name="connsiteY55" fmla="*/ 6839 h 9968"/>
                <a:gd name="connsiteX56" fmla="*/ 7430 w 10000"/>
                <a:gd name="connsiteY56" fmla="*/ 6527 h 9968"/>
                <a:gd name="connsiteX57" fmla="*/ 7470 w 10000"/>
                <a:gd name="connsiteY57" fmla="*/ 6559 h 9968"/>
                <a:gd name="connsiteX58" fmla="*/ 7590 w 10000"/>
                <a:gd name="connsiteY58" fmla="*/ 6367 h 9968"/>
                <a:gd name="connsiteX59" fmla="*/ 7831 w 10000"/>
                <a:gd name="connsiteY59" fmla="*/ 6270 h 9968"/>
                <a:gd name="connsiteX60" fmla="*/ 7952 w 10000"/>
                <a:gd name="connsiteY60" fmla="*/ 5916 h 9968"/>
                <a:gd name="connsiteX61" fmla="*/ 8313 w 10000"/>
                <a:gd name="connsiteY61" fmla="*/ 5498 h 9968"/>
                <a:gd name="connsiteX62" fmla="*/ 8594 w 10000"/>
                <a:gd name="connsiteY62" fmla="*/ 5305 h 9968"/>
                <a:gd name="connsiteX63" fmla="*/ 8795 w 10000"/>
                <a:gd name="connsiteY63" fmla="*/ 4759 h 9968"/>
                <a:gd name="connsiteX64" fmla="*/ 8795 w 10000"/>
                <a:gd name="connsiteY64" fmla="*/ 4630 h 9968"/>
                <a:gd name="connsiteX65" fmla="*/ 8755 w 10000"/>
                <a:gd name="connsiteY65" fmla="*/ 4309 h 9968"/>
                <a:gd name="connsiteX66" fmla="*/ 9157 w 10000"/>
                <a:gd name="connsiteY66" fmla="*/ 3151 h 9968"/>
                <a:gd name="connsiteX67" fmla="*/ 9277 w 10000"/>
                <a:gd name="connsiteY67" fmla="*/ 3151 h 9968"/>
                <a:gd name="connsiteX68" fmla="*/ 9438 w 10000"/>
                <a:gd name="connsiteY68" fmla="*/ 3055 h 9968"/>
                <a:gd name="connsiteX69" fmla="*/ 9920 w 10000"/>
                <a:gd name="connsiteY69" fmla="*/ 2894 h 9968"/>
                <a:gd name="connsiteX70" fmla="*/ 10000 w 10000"/>
                <a:gd name="connsiteY70" fmla="*/ 2637 h 9968"/>
                <a:gd name="connsiteX71" fmla="*/ 9960 w 10000"/>
                <a:gd name="connsiteY71" fmla="*/ 2572 h 9968"/>
                <a:gd name="connsiteX72" fmla="*/ 9799 w 10000"/>
                <a:gd name="connsiteY72" fmla="*/ 2572 h 9968"/>
                <a:gd name="connsiteX73" fmla="*/ 9679 w 10000"/>
                <a:gd name="connsiteY73" fmla="*/ 2412 h 9968"/>
                <a:gd name="connsiteX74" fmla="*/ 9438 w 10000"/>
                <a:gd name="connsiteY74" fmla="*/ 2347 h 9968"/>
                <a:gd name="connsiteX75" fmla="*/ 9317 w 10000"/>
                <a:gd name="connsiteY75" fmla="*/ 2219 h 9968"/>
                <a:gd name="connsiteX76" fmla="*/ 9237 w 10000"/>
                <a:gd name="connsiteY76" fmla="*/ 1736 h 9968"/>
                <a:gd name="connsiteX77" fmla="*/ 9237 w 10000"/>
                <a:gd name="connsiteY77" fmla="*/ 1061 h 9968"/>
                <a:gd name="connsiteX78" fmla="*/ 9036 w 10000"/>
                <a:gd name="connsiteY78" fmla="*/ 836 h 9968"/>
                <a:gd name="connsiteX79" fmla="*/ 8996 w 10000"/>
                <a:gd name="connsiteY79" fmla="*/ 611 h 9968"/>
                <a:gd name="connsiteX80" fmla="*/ 8675 w 10000"/>
                <a:gd name="connsiteY80" fmla="*/ 289 h 9968"/>
                <a:gd name="connsiteX81" fmla="*/ 8394 w 10000"/>
                <a:gd name="connsiteY81" fmla="*/ 161 h 9968"/>
                <a:gd name="connsiteX82" fmla="*/ 8233 w 10000"/>
                <a:gd name="connsiteY82" fmla="*/ 0 h 9968"/>
                <a:gd name="connsiteX83" fmla="*/ 7992 w 10000"/>
                <a:gd name="connsiteY83" fmla="*/ 161 h 9968"/>
                <a:gd name="connsiteX84" fmla="*/ 7831 w 10000"/>
                <a:gd name="connsiteY84" fmla="*/ 129 h 9968"/>
                <a:gd name="connsiteX85" fmla="*/ 7711 w 10000"/>
                <a:gd name="connsiteY85" fmla="*/ 418 h 9968"/>
                <a:gd name="connsiteX86" fmla="*/ 7390 w 10000"/>
                <a:gd name="connsiteY86" fmla="*/ 482 h 9968"/>
                <a:gd name="connsiteX87" fmla="*/ 7309 w 10000"/>
                <a:gd name="connsiteY87" fmla="*/ 707 h 9968"/>
                <a:gd name="connsiteX88" fmla="*/ 7028 w 10000"/>
                <a:gd name="connsiteY88" fmla="*/ 707 h 9968"/>
                <a:gd name="connsiteX89" fmla="*/ 6787 w 10000"/>
                <a:gd name="connsiteY89" fmla="*/ 611 h 9968"/>
                <a:gd name="connsiteX90" fmla="*/ 6265 w 10000"/>
                <a:gd name="connsiteY90" fmla="*/ 611 h 9968"/>
                <a:gd name="connsiteX91" fmla="*/ 5743 w 10000"/>
                <a:gd name="connsiteY91" fmla="*/ 611 h 9968"/>
                <a:gd name="connsiteX92" fmla="*/ 5783 w 10000"/>
                <a:gd name="connsiteY92" fmla="*/ 482 h 9968"/>
                <a:gd name="connsiteX93" fmla="*/ 5703 w 10000"/>
                <a:gd name="connsiteY93" fmla="*/ 482 h 9968"/>
                <a:gd name="connsiteX94" fmla="*/ 5663 w 10000"/>
                <a:gd name="connsiteY94" fmla="*/ 611 h 9968"/>
                <a:gd name="connsiteX95" fmla="*/ 5181 w 10000"/>
                <a:gd name="connsiteY95" fmla="*/ 611 h 9968"/>
                <a:gd name="connsiteX96" fmla="*/ 4699 w 10000"/>
                <a:gd name="connsiteY96" fmla="*/ 611 h 9968"/>
                <a:gd name="connsiteX97" fmla="*/ 4217 w 10000"/>
                <a:gd name="connsiteY97" fmla="*/ 611 h 9968"/>
                <a:gd name="connsiteX98" fmla="*/ 3735 w 10000"/>
                <a:gd name="connsiteY98" fmla="*/ 611 h 9968"/>
                <a:gd name="connsiteX99" fmla="*/ 3293 w 10000"/>
                <a:gd name="connsiteY99" fmla="*/ 611 h 9968"/>
                <a:gd name="connsiteX100" fmla="*/ 2811 w 10000"/>
                <a:gd name="connsiteY100" fmla="*/ 611 h 9968"/>
                <a:gd name="connsiteX101" fmla="*/ 2369 w 10000"/>
                <a:gd name="connsiteY101" fmla="*/ 611 h 9968"/>
                <a:gd name="connsiteX102" fmla="*/ 1888 w 10000"/>
                <a:gd name="connsiteY102" fmla="*/ 611 h 9968"/>
                <a:gd name="connsiteX103" fmla="*/ 1888 w 10000"/>
                <a:gd name="connsiteY103" fmla="*/ 1061 h 9968"/>
                <a:gd name="connsiteX104" fmla="*/ 1888 w 10000"/>
                <a:gd name="connsiteY104" fmla="*/ 1640 h 9968"/>
                <a:gd name="connsiteX105" fmla="*/ 1285 w 10000"/>
                <a:gd name="connsiteY105" fmla="*/ 1640 h 9968"/>
                <a:gd name="connsiteX106" fmla="*/ 1285 w 10000"/>
                <a:gd name="connsiteY106" fmla="*/ 1897 h 9968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5140 w 10000"/>
                <a:gd name="connsiteY39" fmla="*/ 695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92 w 10000"/>
                <a:gd name="connsiteY39" fmla="*/ 6837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877 w 10000"/>
                <a:gd name="connsiteY39" fmla="*/ 7830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877 w 10000"/>
                <a:gd name="connsiteY39" fmla="*/ 7830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080 w 10000"/>
                <a:gd name="connsiteY38" fmla="*/ 6889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4901 w 10000"/>
                <a:gd name="connsiteY37" fmla="*/ 6794 h 10000"/>
                <a:gd name="connsiteX38" fmla="*/ 5080 w 10000"/>
                <a:gd name="connsiteY38" fmla="*/ 6889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9645"/>
                <a:gd name="connsiteX1" fmla="*/ 1285 w 10000"/>
                <a:gd name="connsiteY1" fmla="*/ 2420 h 9645"/>
                <a:gd name="connsiteX2" fmla="*/ 1285 w 10000"/>
                <a:gd name="connsiteY2" fmla="*/ 2903 h 9645"/>
                <a:gd name="connsiteX3" fmla="*/ 1285 w 10000"/>
                <a:gd name="connsiteY3" fmla="*/ 3387 h 9645"/>
                <a:gd name="connsiteX4" fmla="*/ 1285 w 10000"/>
                <a:gd name="connsiteY4" fmla="*/ 3838 h 9645"/>
                <a:gd name="connsiteX5" fmla="*/ 643 w 10000"/>
                <a:gd name="connsiteY5" fmla="*/ 3936 h 9645"/>
                <a:gd name="connsiteX6" fmla="*/ 522 w 10000"/>
                <a:gd name="connsiteY6" fmla="*/ 4193 h 9645"/>
                <a:gd name="connsiteX7" fmla="*/ 241 w 10000"/>
                <a:gd name="connsiteY7" fmla="*/ 4516 h 9645"/>
                <a:gd name="connsiteX8" fmla="*/ 241 w 10000"/>
                <a:gd name="connsiteY8" fmla="*/ 4774 h 9645"/>
                <a:gd name="connsiteX9" fmla="*/ 120 w 10000"/>
                <a:gd name="connsiteY9" fmla="*/ 4838 h 9645"/>
                <a:gd name="connsiteX10" fmla="*/ 120 w 10000"/>
                <a:gd name="connsiteY10" fmla="*/ 5064 h 9645"/>
                <a:gd name="connsiteX11" fmla="*/ 0 w 10000"/>
                <a:gd name="connsiteY11" fmla="*/ 5258 h 9645"/>
                <a:gd name="connsiteX12" fmla="*/ 0 w 10000"/>
                <a:gd name="connsiteY12" fmla="*/ 5419 h 9645"/>
                <a:gd name="connsiteX13" fmla="*/ 241 w 10000"/>
                <a:gd name="connsiteY13" fmla="*/ 5387 h 9645"/>
                <a:gd name="connsiteX14" fmla="*/ 281 w 10000"/>
                <a:gd name="connsiteY14" fmla="*/ 5677 h 9645"/>
                <a:gd name="connsiteX15" fmla="*/ 602 w 10000"/>
                <a:gd name="connsiteY15" fmla="*/ 6194 h 9645"/>
                <a:gd name="connsiteX16" fmla="*/ 602 w 10000"/>
                <a:gd name="connsiteY16" fmla="*/ 6226 h 9645"/>
                <a:gd name="connsiteX17" fmla="*/ 482 w 10000"/>
                <a:gd name="connsiteY17" fmla="*/ 6258 h 9645"/>
                <a:gd name="connsiteX18" fmla="*/ 964 w 10000"/>
                <a:gd name="connsiteY18" fmla="*/ 6774 h 9645"/>
                <a:gd name="connsiteX19" fmla="*/ 1004 w 10000"/>
                <a:gd name="connsiteY19" fmla="*/ 6935 h 9645"/>
                <a:gd name="connsiteX20" fmla="*/ 964 w 10000"/>
                <a:gd name="connsiteY20" fmla="*/ 7387 h 9645"/>
                <a:gd name="connsiteX21" fmla="*/ 1044 w 10000"/>
                <a:gd name="connsiteY21" fmla="*/ 7452 h 9645"/>
                <a:gd name="connsiteX22" fmla="*/ 1365 w 10000"/>
                <a:gd name="connsiteY22" fmla="*/ 7484 h 9645"/>
                <a:gd name="connsiteX23" fmla="*/ 1406 w 10000"/>
                <a:gd name="connsiteY23" fmla="*/ 7612 h 9645"/>
                <a:gd name="connsiteX24" fmla="*/ 1767 w 10000"/>
                <a:gd name="connsiteY24" fmla="*/ 7645 h 9645"/>
                <a:gd name="connsiteX25" fmla="*/ 1968 w 10000"/>
                <a:gd name="connsiteY25" fmla="*/ 7774 h 9645"/>
                <a:gd name="connsiteX26" fmla="*/ 2008 w 10000"/>
                <a:gd name="connsiteY26" fmla="*/ 8000 h 9645"/>
                <a:gd name="connsiteX27" fmla="*/ 2651 w 10000"/>
                <a:gd name="connsiteY27" fmla="*/ 8387 h 9645"/>
                <a:gd name="connsiteX28" fmla="*/ 2811 w 10000"/>
                <a:gd name="connsiteY28" fmla="*/ 8774 h 9645"/>
                <a:gd name="connsiteX29" fmla="*/ 3253 w 10000"/>
                <a:gd name="connsiteY29" fmla="*/ 8968 h 9645"/>
                <a:gd name="connsiteX30" fmla="*/ 3414 w 10000"/>
                <a:gd name="connsiteY30" fmla="*/ 9226 h 9645"/>
                <a:gd name="connsiteX31" fmla="*/ 3735 w 10000"/>
                <a:gd name="connsiteY31" fmla="*/ 9549 h 9645"/>
                <a:gd name="connsiteX32" fmla="*/ 3976 w 10000"/>
                <a:gd name="connsiteY32" fmla="*/ 9645 h 9645"/>
                <a:gd name="connsiteX33" fmla="*/ 4137 w 10000"/>
                <a:gd name="connsiteY33" fmla="*/ 9549 h 9645"/>
                <a:gd name="connsiteX34" fmla="*/ 4538 w 10000"/>
                <a:gd name="connsiteY34" fmla="*/ 9581 h 9645"/>
                <a:gd name="connsiteX35" fmla="*/ 4699 w 10000"/>
                <a:gd name="connsiteY35" fmla="*/ 9516 h 9645"/>
                <a:gd name="connsiteX36" fmla="*/ 4762 w 10000"/>
                <a:gd name="connsiteY36" fmla="*/ 6927 h 9645"/>
                <a:gd name="connsiteX37" fmla="*/ 4901 w 10000"/>
                <a:gd name="connsiteY37" fmla="*/ 6794 h 9645"/>
                <a:gd name="connsiteX38" fmla="*/ 5080 w 10000"/>
                <a:gd name="connsiteY38" fmla="*/ 6889 h 9645"/>
                <a:gd name="connsiteX39" fmla="*/ 5337 w 10000"/>
                <a:gd name="connsiteY39" fmla="*/ 6985 h 9645"/>
                <a:gd name="connsiteX40" fmla="*/ 5564 w 10000"/>
                <a:gd name="connsiteY40" fmla="*/ 7108 h 9645"/>
                <a:gd name="connsiteX41" fmla="*/ 5768 w 10000"/>
                <a:gd name="connsiteY41" fmla="*/ 7028 h 9645"/>
                <a:gd name="connsiteX42" fmla="*/ 5933 w 10000"/>
                <a:gd name="connsiteY42" fmla="*/ 6953 h 9645"/>
                <a:gd name="connsiteX43" fmla="*/ 6089 w 10000"/>
                <a:gd name="connsiteY43" fmla="*/ 6788 h 9645"/>
                <a:gd name="connsiteX44" fmla="*/ 6274 w 10000"/>
                <a:gd name="connsiteY44" fmla="*/ 6562 h 9645"/>
                <a:gd name="connsiteX45" fmla="*/ 6389 w 10000"/>
                <a:gd name="connsiteY45" fmla="*/ 6459 h 9645"/>
                <a:gd name="connsiteX46" fmla="*/ 6524 w 10000"/>
                <a:gd name="connsiteY46" fmla="*/ 6417 h 9645"/>
                <a:gd name="connsiteX47" fmla="*/ 6531 w 10000"/>
                <a:gd name="connsiteY47" fmla="*/ 6285 h 9645"/>
                <a:gd name="connsiteX48" fmla="*/ 6424 w 10000"/>
                <a:gd name="connsiteY48" fmla="*/ 5985 h 9645"/>
                <a:gd name="connsiteX49" fmla="*/ 6602 w 10000"/>
                <a:gd name="connsiteY49" fmla="*/ 5992 h 9645"/>
                <a:gd name="connsiteX50" fmla="*/ 6707 w 10000"/>
                <a:gd name="connsiteY50" fmla="*/ 5879 h 9645"/>
                <a:gd name="connsiteX51" fmla="*/ 6876 w 10000"/>
                <a:gd name="connsiteY51" fmla="*/ 5880 h 9645"/>
                <a:gd name="connsiteX52" fmla="*/ 6827 w 10000"/>
                <a:gd name="connsiteY52" fmla="*/ 6579 h 9645"/>
                <a:gd name="connsiteX53" fmla="*/ 6991 w 10000"/>
                <a:gd name="connsiteY53" fmla="*/ 6658 h 9645"/>
                <a:gd name="connsiteX54" fmla="*/ 7275 w 10000"/>
                <a:gd name="connsiteY54" fmla="*/ 6861 h 9645"/>
                <a:gd name="connsiteX55" fmla="*/ 7430 w 10000"/>
                <a:gd name="connsiteY55" fmla="*/ 6548 h 9645"/>
                <a:gd name="connsiteX56" fmla="*/ 7470 w 10000"/>
                <a:gd name="connsiteY56" fmla="*/ 6580 h 9645"/>
                <a:gd name="connsiteX57" fmla="*/ 7590 w 10000"/>
                <a:gd name="connsiteY57" fmla="*/ 6387 h 9645"/>
                <a:gd name="connsiteX58" fmla="*/ 7831 w 10000"/>
                <a:gd name="connsiteY58" fmla="*/ 6290 h 9645"/>
                <a:gd name="connsiteX59" fmla="*/ 7952 w 10000"/>
                <a:gd name="connsiteY59" fmla="*/ 5935 h 9645"/>
                <a:gd name="connsiteX60" fmla="*/ 8313 w 10000"/>
                <a:gd name="connsiteY60" fmla="*/ 5516 h 9645"/>
                <a:gd name="connsiteX61" fmla="*/ 8594 w 10000"/>
                <a:gd name="connsiteY61" fmla="*/ 5322 h 9645"/>
                <a:gd name="connsiteX62" fmla="*/ 8795 w 10000"/>
                <a:gd name="connsiteY62" fmla="*/ 4774 h 9645"/>
                <a:gd name="connsiteX63" fmla="*/ 8795 w 10000"/>
                <a:gd name="connsiteY63" fmla="*/ 4645 h 9645"/>
                <a:gd name="connsiteX64" fmla="*/ 8755 w 10000"/>
                <a:gd name="connsiteY64" fmla="*/ 4323 h 9645"/>
                <a:gd name="connsiteX65" fmla="*/ 9157 w 10000"/>
                <a:gd name="connsiteY65" fmla="*/ 3161 h 9645"/>
                <a:gd name="connsiteX66" fmla="*/ 9277 w 10000"/>
                <a:gd name="connsiteY66" fmla="*/ 3161 h 9645"/>
                <a:gd name="connsiteX67" fmla="*/ 9438 w 10000"/>
                <a:gd name="connsiteY67" fmla="*/ 3065 h 9645"/>
                <a:gd name="connsiteX68" fmla="*/ 9920 w 10000"/>
                <a:gd name="connsiteY68" fmla="*/ 2903 h 9645"/>
                <a:gd name="connsiteX69" fmla="*/ 10000 w 10000"/>
                <a:gd name="connsiteY69" fmla="*/ 2645 h 9645"/>
                <a:gd name="connsiteX70" fmla="*/ 9960 w 10000"/>
                <a:gd name="connsiteY70" fmla="*/ 2580 h 9645"/>
                <a:gd name="connsiteX71" fmla="*/ 9799 w 10000"/>
                <a:gd name="connsiteY71" fmla="*/ 2580 h 9645"/>
                <a:gd name="connsiteX72" fmla="*/ 9679 w 10000"/>
                <a:gd name="connsiteY72" fmla="*/ 2420 h 9645"/>
                <a:gd name="connsiteX73" fmla="*/ 9438 w 10000"/>
                <a:gd name="connsiteY73" fmla="*/ 2355 h 9645"/>
                <a:gd name="connsiteX74" fmla="*/ 9317 w 10000"/>
                <a:gd name="connsiteY74" fmla="*/ 2226 h 9645"/>
                <a:gd name="connsiteX75" fmla="*/ 9237 w 10000"/>
                <a:gd name="connsiteY75" fmla="*/ 1742 h 9645"/>
                <a:gd name="connsiteX76" fmla="*/ 9237 w 10000"/>
                <a:gd name="connsiteY76" fmla="*/ 1064 h 9645"/>
                <a:gd name="connsiteX77" fmla="*/ 9036 w 10000"/>
                <a:gd name="connsiteY77" fmla="*/ 839 h 9645"/>
                <a:gd name="connsiteX78" fmla="*/ 8996 w 10000"/>
                <a:gd name="connsiteY78" fmla="*/ 613 h 9645"/>
                <a:gd name="connsiteX79" fmla="*/ 8675 w 10000"/>
                <a:gd name="connsiteY79" fmla="*/ 290 h 9645"/>
                <a:gd name="connsiteX80" fmla="*/ 8394 w 10000"/>
                <a:gd name="connsiteY80" fmla="*/ 162 h 9645"/>
                <a:gd name="connsiteX81" fmla="*/ 8233 w 10000"/>
                <a:gd name="connsiteY81" fmla="*/ 0 h 9645"/>
                <a:gd name="connsiteX82" fmla="*/ 7992 w 10000"/>
                <a:gd name="connsiteY82" fmla="*/ 162 h 9645"/>
                <a:gd name="connsiteX83" fmla="*/ 7831 w 10000"/>
                <a:gd name="connsiteY83" fmla="*/ 129 h 9645"/>
                <a:gd name="connsiteX84" fmla="*/ 7711 w 10000"/>
                <a:gd name="connsiteY84" fmla="*/ 419 h 9645"/>
                <a:gd name="connsiteX85" fmla="*/ 7390 w 10000"/>
                <a:gd name="connsiteY85" fmla="*/ 484 h 9645"/>
                <a:gd name="connsiteX86" fmla="*/ 7309 w 10000"/>
                <a:gd name="connsiteY86" fmla="*/ 709 h 9645"/>
                <a:gd name="connsiteX87" fmla="*/ 7028 w 10000"/>
                <a:gd name="connsiteY87" fmla="*/ 709 h 9645"/>
                <a:gd name="connsiteX88" fmla="*/ 6787 w 10000"/>
                <a:gd name="connsiteY88" fmla="*/ 613 h 9645"/>
                <a:gd name="connsiteX89" fmla="*/ 6265 w 10000"/>
                <a:gd name="connsiteY89" fmla="*/ 613 h 9645"/>
                <a:gd name="connsiteX90" fmla="*/ 5743 w 10000"/>
                <a:gd name="connsiteY90" fmla="*/ 613 h 9645"/>
                <a:gd name="connsiteX91" fmla="*/ 5783 w 10000"/>
                <a:gd name="connsiteY91" fmla="*/ 484 h 9645"/>
                <a:gd name="connsiteX92" fmla="*/ 5703 w 10000"/>
                <a:gd name="connsiteY92" fmla="*/ 484 h 9645"/>
                <a:gd name="connsiteX93" fmla="*/ 5663 w 10000"/>
                <a:gd name="connsiteY93" fmla="*/ 613 h 9645"/>
                <a:gd name="connsiteX94" fmla="*/ 5181 w 10000"/>
                <a:gd name="connsiteY94" fmla="*/ 613 h 9645"/>
                <a:gd name="connsiteX95" fmla="*/ 4699 w 10000"/>
                <a:gd name="connsiteY95" fmla="*/ 613 h 9645"/>
                <a:gd name="connsiteX96" fmla="*/ 4217 w 10000"/>
                <a:gd name="connsiteY96" fmla="*/ 613 h 9645"/>
                <a:gd name="connsiteX97" fmla="*/ 3735 w 10000"/>
                <a:gd name="connsiteY97" fmla="*/ 613 h 9645"/>
                <a:gd name="connsiteX98" fmla="*/ 3293 w 10000"/>
                <a:gd name="connsiteY98" fmla="*/ 613 h 9645"/>
                <a:gd name="connsiteX99" fmla="*/ 2811 w 10000"/>
                <a:gd name="connsiteY99" fmla="*/ 613 h 9645"/>
                <a:gd name="connsiteX100" fmla="*/ 2369 w 10000"/>
                <a:gd name="connsiteY100" fmla="*/ 613 h 9645"/>
                <a:gd name="connsiteX101" fmla="*/ 1888 w 10000"/>
                <a:gd name="connsiteY101" fmla="*/ 613 h 9645"/>
                <a:gd name="connsiteX102" fmla="*/ 1888 w 10000"/>
                <a:gd name="connsiteY102" fmla="*/ 1064 h 9645"/>
                <a:gd name="connsiteX103" fmla="*/ 1888 w 10000"/>
                <a:gd name="connsiteY103" fmla="*/ 1645 h 9645"/>
                <a:gd name="connsiteX104" fmla="*/ 1285 w 10000"/>
                <a:gd name="connsiteY104" fmla="*/ 1645 h 9645"/>
                <a:gd name="connsiteX105" fmla="*/ 1285 w 10000"/>
                <a:gd name="connsiteY105" fmla="*/ 1903 h 9645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37 w 10000"/>
                <a:gd name="connsiteY33" fmla="*/ 9900 h 10000"/>
                <a:gd name="connsiteX34" fmla="*/ 4538 w 10000"/>
                <a:gd name="connsiteY34" fmla="*/ 9934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37 w 10000"/>
                <a:gd name="connsiteY33" fmla="*/ 9900 h 10000"/>
                <a:gd name="connsiteX34" fmla="*/ 4406 w 10000"/>
                <a:gd name="connsiteY34" fmla="*/ 7531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53 w 10000"/>
                <a:gd name="connsiteY33" fmla="*/ 7579 h 10000"/>
                <a:gd name="connsiteX34" fmla="*/ 4406 w 10000"/>
                <a:gd name="connsiteY34" fmla="*/ 7531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9900"/>
                <a:gd name="connsiteX1" fmla="*/ 1285 w 10000"/>
                <a:gd name="connsiteY1" fmla="*/ 2509 h 9900"/>
                <a:gd name="connsiteX2" fmla="*/ 1285 w 10000"/>
                <a:gd name="connsiteY2" fmla="*/ 3010 h 9900"/>
                <a:gd name="connsiteX3" fmla="*/ 1285 w 10000"/>
                <a:gd name="connsiteY3" fmla="*/ 3512 h 9900"/>
                <a:gd name="connsiteX4" fmla="*/ 1285 w 10000"/>
                <a:gd name="connsiteY4" fmla="*/ 3979 h 9900"/>
                <a:gd name="connsiteX5" fmla="*/ 643 w 10000"/>
                <a:gd name="connsiteY5" fmla="*/ 4081 h 9900"/>
                <a:gd name="connsiteX6" fmla="*/ 522 w 10000"/>
                <a:gd name="connsiteY6" fmla="*/ 4347 h 9900"/>
                <a:gd name="connsiteX7" fmla="*/ 241 w 10000"/>
                <a:gd name="connsiteY7" fmla="*/ 4682 h 9900"/>
                <a:gd name="connsiteX8" fmla="*/ 241 w 10000"/>
                <a:gd name="connsiteY8" fmla="*/ 4950 h 9900"/>
                <a:gd name="connsiteX9" fmla="*/ 120 w 10000"/>
                <a:gd name="connsiteY9" fmla="*/ 5016 h 9900"/>
                <a:gd name="connsiteX10" fmla="*/ 120 w 10000"/>
                <a:gd name="connsiteY10" fmla="*/ 5250 h 9900"/>
                <a:gd name="connsiteX11" fmla="*/ 0 w 10000"/>
                <a:gd name="connsiteY11" fmla="*/ 5452 h 9900"/>
                <a:gd name="connsiteX12" fmla="*/ 0 w 10000"/>
                <a:gd name="connsiteY12" fmla="*/ 5618 h 9900"/>
                <a:gd name="connsiteX13" fmla="*/ 241 w 10000"/>
                <a:gd name="connsiteY13" fmla="*/ 5585 h 9900"/>
                <a:gd name="connsiteX14" fmla="*/ 281 w 10000"/>
                <a:gd name="connsiteY14" fmla="*/ 5886 h 9900"/>
                <a:gd name="connsiteX15" fmla="*/ 602 w 10000"/>
                <a:gd name="connsiteY15" fmla="*/ 6422 h 9900"/>
                <a:gd name="connsiteX16" fmla="*/ 602 w 10000"/>
                <a:gd name="connsiteY16" fmla="*/ 6455 h 9900"/>
                <a:gd name="connsiteX17" fmla="*/ 482 w 10000"/>
                <a:gd name="connsiteY17" fmla="*/ 6488 h 9900"/>
                <a:gd name="connsiteX18" fmla="*/ 964 w 10000"/>
                <a:gd name="connsiteY18" fmla="*/ 7023 h 9900"/>
                <a:gd name="connsiteX19" fmla="*/ 1004 w 10000"/>
                <a:gd name="connsiteY19" fmla="*/ 7190 h 9900"/>
                <a:gd name="connsiteX20" fmla="*/ 964 w 10000"/>
                <a:gd name="connsiteY20" fmla="*/ 7659 h 9900"/>
                <a:gd name="connsiteX21" fmla="*/ 1044 w 10000"/>
                <a:gd name="connsiteY21" fmla="*/ 7726 h 9900"/>
                <a:gd name="connsiteX22" fmla="*/ 1365 w 10000"/>
                <a:gd name="connsiteY22" fmla="*/ 7759 h 9900"/>
                <a:gd name="connsiteX23" fmla="*/ 1406 w 10000"/>
                <a:gd name="connsiteY23" fmla="*/ 7892 h 9900"/>
                <a:gd name="connsiteX24" fmla="*/ 1767 w 10000"/>
                <a:gd name="connsiteY24" fmla="*/ 7926 h 9900"/>
                <a:gd name="connsiteX25" fmla="*/ 1968 w 10000"/>
                <a:gd name="connsiteY25" fmla="*/ 8060 h 9900"/>
                <a:gd name="connsiteX26" fmla="*/ 2008 w 10000"/>
                <a:gd name="connsiteY26" fmla="*/ 8294 h 9900"/>
                <a:gd name="connsiteX27" fmla="*/ 2651 w 10000"/>
                <a:gd name="connsiteY27" fmla="*/ 8696 h 9900"/>
                <a:gd name="connsiteX28" fmla="*/ 2811 w 10000"/>
                <a:gd name="connsiteY28" fmla="*/ 9097 h 9900"/>
                <a:gd name="connsiteX29" fmla="*/ 3253 w 10000"/>
                <a:gd name="connsiteY29" fmla="*/ 9298 h 9900"/>
                <a:gd name="connsiteX30" fmla="*/ 3414 w 10000"/>
                <a:gd name="connsiteY30" fmla="*/ 9566 h 9900"/>
                <a:gd name="connsiteX31" fmla="*/ 3735 w 10000"/>
                <a:gd name="connsiteY31" fmla="*/ 9900 h 9900"/>
                <a:gd name="connsiteX32" fmla="*/ 3795 w 10000"/>
                <a:gd name="connsiteY32" fmla="*/ 7514 h 9900"/>
                <a:gd name="connsiteX33" fmla="*/ 4153 w 10000"/>
                <a:gd name="connsiteY33" fmla="*/ 7579 h 9900"/>
                <a:gd name="connsiteX34" fmla="*/ 4406 w 10000"/>
                <a:gd name="connsiteY34" fmla="*/ 7531 h 9900"/>
                <a:gd name="connsiteX35" fmla="*/ 4600 w 10000"/>
                <a:gd name="connsiteY35" fmla="*/ 7408 h 9900"/>
                <a:gd name="connsiteX36" fmla="*/ 4762 w 10000"/>
                <a:gd name="connsiteY36" fmla="*/ 7182 h 9900"/>
                <a:gd name="connsiteX37" fmla="*/ 4901 w 10000"/>
                <a:gd name="connsiteY37" fmla="*/ 7044 h 9900"/>
                <a:gd name="connsiteX38" fmla="*/ 5080 w 10000"/>
                <a:gd name="connsiteY38" fmla="*/ 7143 h 9900"/>
                <a:gd name="connsiteX39" fmla="*/ 5337 w 10000"/>
                <a:gd name="connsiteY39" fmla="*/ 7242 h 9900"/>
                <a:gd name="connsiteX40" fmla="*/ 5564 w 10000"/>
                <a:gd name="connsiteY40" fmla="*/ 7370 h 9900"/>
                <a:gd name="connsiteX41" fmla="*/ 5768 w 10000"/>
                <a:gd name="connsiteY41" fmla="*/ 7287 h 9900"/>
                <a:gd name="connsiteX42" fmla="*/ 5933 w 10000"/>
                <a:gd name="connsiteY42" fmla="*/ 7209 h 9900"/>
                <a:gd name="connsiteX43" fmla="*/ 6089 w 10000"/>
                <a:gd name="connsiteY43" fmla="*/ 7038 h 9900"/>
                <a:gd name="connsiteX44" fmla="*/ 6274 w 10000"/>
                <a:gd name="connsiteY44" fmla="*/ 6804 h 9900"/>
                <a:gd name="connsiteX45" fmla="*/ 6389 w 10000"/>
                <a:gd name="connsiteY45" fmla="*/ 6697 h 9900"/>
                <a:gd name="connsiteX46" fmla="*/ 6524 w 10000"/>
                <a:gd name="connsiteY46" fmla="*/ 6653 h 9900"/>
                <a:gd name="connsiteX47" fmla="*/ 6531 w 10000"/>
                <a:gd name="connsiteY47" fmla="*/ 6516 h 9900"/>
                <a:gd name="connsiteX48" fmla="*/ 6424 w 10000"/>
                <a:gd name="connsiteY48" fmla="*/ 6205 h 9900"/>
                <a:gd name="connsiteX49" fmla="*/ 6602 w 10000"/>
                <a:gd name="connsiteY49" fmla="*/ 6213 h 9900"/>
                <a:gd name="connsiteX50" fmla="*/ 6707 w 10000"/>
                <a:gd name="connsiteY50" fmla="*/ 6095 h 9900"/>
                <a:gd name="connsiteX51" fmla="*/ 6876 w 10000"/>
                <a:gd name="connsiteY51" fmla="*/ 6096 h 9900"/>
                <a:gd name="connsiteX52" fmla="*/ 6827 w 10000"/>
                <a:gd name="connsiteY52" fmla="*/ 6821 h 9900"/>
                <a:gd name="connsiteX53" fmla="*/ 6991 w 10000"/>
                <a:gd name="connsiteY53" fmla="*/ 6903 h 9900"/>
                <a:gd name="connsiteX54" fmla="*/ 7275 w 10000"/>
                <a:gd name="connsiteY54" fmla="*/ 7114 h 9900"/>
                <a:gd name="connsiteX55" fmla="*/ 7430 w 10000"/>
                <a:gd name="connsiteY55" fmla="*/ 6789 h 9900"/>
                <a:gd name="connsiteX56" fmla="*/ 7470 w 10000"/>
                <a:gd name="connsiteY56" fmla="*/ 6822 h 9900"/>
                <a:gd name="connsiteX57" fmla="*/ 7590 w 10000"/>
                <a:gd name="connsiteY57" fmla="*/ 6622 h 9900"/>
                <a:gd name="connsiteX58" fmla="*/ 7831 w 10000"/>
                <a:gd name="connsiteY58" fmla="*/ 6522 h 9900"/>
                <a:gd name="connsiteX59" fmla="*/ 7952 w 10000"/>
                <a:gd name="connsiteY59" fmla="*/ 6153 h 9900"/>
                <a:gd name="connsiteX60" fmla="*/ 8313 w 10000"/>
                <a:gd name="connsiteY60" fmla="*/ 5719 h 9900"/>
                <a:gd name="connsiteX61" fmla="*/ 8594 w 10000"/>
                <a:gd name="connsiteY61" fmla="*/ 5518 h 9900"/>
                <a:gd name="connsiteX62" fmla="*/ 8795 w 10000"/>
                <a:gd name="connsiteY62" fmla="*/ 4950 h 9900"/>
                <a:gd name="connsiteX63" fmla="*/ 8795 w 10000"/>
                <a:gd name="connsiteY63" fmla="*/ 4816 h 9900"/>
                <a:gd name="connsiteX64" fmla="*/ 8755 w 10000"/>
                <a:gd name="connsiteY64" fmla="*/ 4482 h 9900"/>
                <a:gd name="connsiteX65" fmla="*/ 9157 w 10000"/>
                <a:gd name="connsiteY65" fmla="*/ 3277 h 9900"/>
                <a:gd name="connsiteX66" fmla="*/ 9277 w 10000"/>
                <a:gd name="connsiteY66" fmla="*/ 3277 h 9900"/>
                <a:gd name="connsiteX67" fmla="*/ 9438 w 10000"/>
                <a:gd name="connsiteY67" fmla="*/ 3178 h 9900"/>
                <a:gd name="connsiteX68" fmla="*/ 9920 w 10000"/>
                <a:gd name="connsiteY68" fmla="*/ 3010 h 9900"/>
                <a:gd name="connsiteX69" fmla="*/ 10000 w 10000"/>
                <a:gd name="connsiteY69" fmla="*/ 2742 h 9900"/>
                <a:gd name="connsiteX70" fmla="*/ 9960 w 10000"/>
                <a:gd name="connsiteY70" fmla="*/ 2675 h 9900"/>
                <a:gd name="connsiteX71" fmla="*/ 9799 w 10000"/>
                <a:gd name="connsiteY71" fmla="*/ 2675 h 9900"/>
                <a:gd name="connsiteX72" fmla="*/ 9679 w 10000"/>
                <a:gd name="connsiteY72" fmla="*/ 2509 h 9900"/>
                <a:gd name="connsiteX73" fmla="*/ 9438 w 10000"/>
                <a:gd name="connsiteY73" fmla="*/ 2442 h 9900"/>
                <a:gd name="connsiteX74" fmla="*/ 9317 w 10000"/>
                <a:gd name="connsiteY74" fmla="*/ 2308 h 9900"/>
                <a:gd name="connsiteX75" fmla="*/ 9237 w 10000"/>
                <a:gd name="connsiteY75" fmla="*/ 1806 h 9900"/>
                <a:gd name="connsiteX76" fmla="*/ 9237 w 10000"/>
                <a:gd name="connsiteY76" fmla="*/ 1103 h 9900"/>
                <a:gd name="connsiteX77" fmla="*/ 9036 w 10000"/>
                <a:gd name="connsiteY77" fmla="*/ 870 h 9900"/>
                <a:gd name="connsiteX78" fmla="*/ 8996 w 10000"/>
                <a:gd name="connsiteY78" fmla="*/ 636 h 9900"/>
                <a:gd name="connsiteX79" fmla="*/ 8675 w 10000"/>
                <a:gd name="connsiteY79" fmla="*/ 301 h 9900"/>
                <a:gd name="connsiteX80" fmla="*/ 8394 w 10000"/>
                <a:gd name="connsiteY80" fmla="*/ 168 h 9900"/>
                <a:gd name="connsiteX81" fmla="*/ 8233 w 10000"/>
                <a:gd name="connsiteY81" fmla="*/ 0 h 9900"/>
                <a:gd name="connsiteX82" fmla="*/ 7992 w 10000"/>
                <a:gd name="connsiteY82" fmla="*/ 168 h 9900"/>
                <a:gd name="connsiteX83" fmla="*/ 7831 w 10000"/>
                <a:gd name="connsiteY83" fmla="*/ 134 h 9900"/>
                <a:gd name="connsiteX84" fmla="*/ 7711 w 10000"/>
                <a:gd name="connsiteY84" fmla="*/ 434 h 9900"/>
                <a:gd name="connsiteX85" fmla="*/ 7390 w 10000"/>
                <a:gd name="connsiteY85" fmla="*/ 502 h 9900"/>
                <a:gd name="connsiteX86" fmla="*/ 7309 w 10000"/>
                <a:gd name="connsiteY86" fmla="*/ 735 h 9900"/>
                <a:gd name="connsiteX87" fmla="*/ 7028 w 10000"/>
                <a:gd name="connsiteY87" fmla="*/ 735 h 9900"/>
                <a:gd name="connsiteX88" fmla="*/ 6787 w 10000"/>
                <a:gd name="connsiteY88" fmla="*/ 636 h 9900"/>
                <a:gd name="connsiteX89" fmla="*/ 6265 w 10000"/>
                <a:gd name="connsiteY89" fmla="*/ 636 h 9900"/>
                <a:gd name="connsiteX90" fmla="*/ 5743 w 10000"/>
                <a:gd name="connsiteY90" fmla="*/ 636 h 9900"/>
                <a:gd name="connsiteX91" fmla="*/ 5783 w 10000"/>
                <a:gd name="connsiteY91" fmla="*/ 502 h 9900"/>
                <a:gd name="connsiteX92" fmla="*/ 5703 w 10000"/>
                <a:gd name="connsiteY92" fmla="*/ 502 h 9900"/>
                <a:gd name="connsiteX93" fmla="*/ 5663 w 10000"/>
                <a:gd name="connsiteY93" fmla="*/ 636 h 9900"/>
                <a:gd name="connsiteX94" fmla="*/ 5181 w 10000"/>
                <a:gd name="connsiteY94" fmla="*/ 636 h 9900"/>
                <a:gd name="connsiteX95" fmla="*/ 4699 w 10000"/>
                <a:gd name="connsiteY95" fmla="*/ 636 h 9900"/>
                <a:gd name="connsiteX96" fmla="*/ 4217 w 10000"/>
                <a:gd name="connsiteY96" fmla="*/ 636 h 9900"/>
                <a:gd name="connsiteX97" fmla="*/ 3735 w 10000"/>
                <a:gd name="connsiteY97" fmla="*/ 636 h 9900"/>
                <a:gd name="connsiteX98" fmla="*/ 3293 w 10000"/>
                <a:gd name="connsiteY98" fmla="*/ 636 h 9900"/>
                <a:gd name="connsiteX99" fmla="*/ 2811 w 10000"/>
                <a:gd name="connsiteY99" fmla="*/ 636 h 9900"/>
                <a:gd name="connsiteX100" fmla="*/ 2369 w 10000"/>
                <a:gd name="connsiteY100" fmla="*/ 636 h 9900"/>
                <a:gd name="connsiteX101" fmla="*/ 1888 w 10000"/>
                <a:gd name="connsiteY101" fmla="*/ 636 h 9900"/>
                <a:gd name="connsiteX102" fmla="*/ 1888 w 10000"/>
                <a:gd name="connsiteY102" fmla="*/ 1103 h 9900"/>
                <a:gd name="connsiteX103" fmla="*/ 1888 w 10000"/>
                <a:gd name="connsiteY103" fmla="*/ 1706 h 9900"/>
                <a:gd name="connsiteX104" fmla="*/ 1285 w 10000"/>
                <a:gd name="connsiteY104" fmla="*/ 1706 h 9900"/>
                <a:gd name="connsiteX105" fmla="*/ 1285 w 10000"/>
                <a:gd name="connsiteY105" fmla="*/ 1973 h 9900"/>
                <a:gd name="connsiteX0" fmla="*/ 1285 w 10000"/>
                <a:gd name="connsiteY0" fmla="*/ 1993 h 9663"/>
                <a:gd name="connsiteX1" fmla="*/ 1285 w 10000"/>
                <a:gd name="connsiteY1" fmla="*/ 2534 h 9663"/>
                <a:gd name="connsiteX2" fmla="*/ 1285 w 10000"/>
                <a:gd name="connsiteY2" fmla="*/ 3040 h 9663"/>
                <a:gd name="connsiteX3" fmla="*/ 1285 w 10000"/>
                <a:gd name="connsiteY3" fmla="*/ 3547 h 9663"/>
                <a:gd name="connsiteX4" fmla="*/ 1285 w 10000"/>
                <a:gd name="connsiteY4" fmla="*/ 4019 h 9663"/>
                <a:gd name="connsiteX5" fmla="*/ 643 w 10000"/>
                <a:gd name="connsiteY5" fmla="*/ 4122 h 9663"/>
                <a:gd name="connsiteX6" fmla="*/ 522 w 10000"/>
                <a:gd name="connsiteY6" fmla="*/ 4391 h 9663"/>
                <a:gd name="connsiteX7" fmla="*/ 241 w 10000"/>
                <a:gd name="connsiteY7" fmla="*/ 4729 h 9663"/>
                <a:gd name="connsiteX8" fmla="*/ 241 w 10000"/>
                <a:gd name="connsiteY8" fmla="*/ 5000 h 9663"/>
                <a:gd name="connsiteX9" fmla="*/ 120 w 10000"/>
                <a:gd name="connsiteY9" fmla="*/ 5067 h 9663"/>
                <a:gd name="connsiteX10" fmla="*/ 120 w 10000"/>
                <a:gd name="connsiteY10" fmla="*/ 5303 h 9663"/>
                <a:gd name="connsiteX11" fmla="*/ 0 w 10000"/>
                <a:gd name="connsiteY11" fmla="*/ 5507 h 9663"/>
                <a:gd name="connsiteX12" fmla="*/ 0 w 10000"/>
                <a:gd name="connsiteY12" fmla="*/ 5675 h 9663"/>
                <a:gd name="connsiteX13" fmla="*/ 241 w 10000"/>
                <a:gd name="connsiteY13" fmla="*/ 5641 h 9663"/>
                <a:gd name="connsiteX14" fmla="*/ 281 w 10000"/>
                <a:gd name="connsiteY14" fmla="*/ 5945 h 9663"/>
                <a:gd name="connsiteX15" fmla="*/ 602 w 10000"/>
                <a:gd name="connsiteY15" fmla="*/ 6487 h 9663"/>
                <a:gd name="connsiteX16" fmla="*/ 602 w 10000"/>
                <a:gd name="connsiteY16" fmla="*/ 6520 h 9663"/>
                <a:gd name="connsiteX17" fmla="*/ 482 w 10000"/>
                <a:gd name="connsiteY17" fmla="*/ 6554 h 9663"/>
                <a:gd name="connsiteX18" fmla="*/ 964 w 10000"/>
                <a:gd name="connsiteY18" fmla="*/ 7094 h 9663"/>
                <a:gd name="connsiteX19" fmla="*/ 1004 w 10000"/>
                <a:gd name="connsiteY19" fmla="*/ 7263 h 9663"/>
                <a:gd name="connsiteX20" fmla="*/ 964 w 10000"/>
                <a:gd name="connsiteY20" fmla="*/ 7736 h 9663"/>
                <a:gd name="connsiteX21" fmla="*/ 1044 w 10000"/>
                <a:gd name="connsiteY21" fmla="*/ 7804 h 9663"/>
                <a:gd name="connsiteX22" fmla="*/ 1365 w 10000"/>
                <a:gd name="connsiteY22" fmla="*/ 7837 h 9663"/>
                <a:gd name="connsiteX23" fmla="*/ 1406 w 10000"/>
                <a:gd name="connsiteY23" fmla="*/ 7972 h 9663"/>
                <a:gd name="connsiteX24" fmla="*/ 1767 w 10000"/>
                <a:gd name="connsiteY24" fmla="*/ 8006 h 9663"/>
                <a:gd name="connsiteX25" fmla="*/ 1968 w 10000"/>
                <a:gd name="connsiteY25" fmla="*/ 8141 h 9663"/>
                <a:gd name="connsiteX26" fmla="*/ 2008 w 10000"/>
                <a:gd name="connsiteY26" fmla="*/ 8378 h 9663"/>
                <a:gd name="connsiteX27" fmla="*/ 2651 w 10000"/>
                <a:gd name="connsiteY27" fmla="*/ 8784 h 9663"/>
                <a:gd name="connsiteX28" fmla="*/ 2811 w 10000"/>
                <a:gd name="connsiteY28" fmla="*/ 9189 h 9663"/>
                <a:gd name="connsiteX29" fmla="*/ 3253 w 10000"/>
                <a:gd name="connsiteY29" fmla="*/ 9392 h 9663"/>
                <a:gd name="connsiteX30" fmla="*/ 3414 w 10000"/>
                <a:gd name="connsiteY30" fmla="*/ 9663 h 9663"/>
                <a:gd name="connsiteX31" fmla="*/ 3537 w 10000"/>
                <a:gd name="connsiteY31" fmla="*/ 7420 h 9663"/>
                <a:gd name="connsiteX32" fmla="*/ 3795 w 10000"/>
                <a:gd name="connsiteY32" fmla="*/ 7590 h 9663"/>
                <a:gd name="connsiteX33" fmla="*/ 4153 w 10000"/>
                <a:gd name="connsiteY33" fmla="*/ 7656 h 9663"/>
                <a:gd name="connsiteX34" fmla="*/ 4406 w 10000"/>
                <a:gd name="connsiteY34" fmla="*/ 7607 h 9663"/>
                <a:gd name="connsiteX35" fmla="*/ 4600 w 10000"/>
                <a:gd name="connsiteY35" fmla="*/ 7483 h 9663"/>
                <a:gd name="connsiteX36" fmla="*/ 4762 w 10000"/>
                <a:gd name="connsiteY36" fmla="*/ 7255 h 9663"/>
                <a:gd name="connsiteX37" fmla="*/ 4901 w 10000"/>
                <a:gd name="connsiteY37" fmla="*/ 7115 h 9663"/>
                <a:gd name="connsiteX38" fmla="*/ 5080 w 10000"/>
                <a:gd name="connsiteY38" fmla="*/ 7215 h 9663"/>
                <a:gd name="connsiteX39" fmla="*/ 5337 w 10000"/>
                <a:gd name="connsiteY39" fmla="*/ 7315 h 9663"/>
                <a:gd name="connsiteX40" fmla="*/ 5564 w 10000"/>
                <a:gd name="connsiteY40" fmla="*/ 7444 h 9663"/>
                <a:gd name="connsiteX41" fmla="*/ 5768 w 10000"/>
                <a:gd name="connsiteY41" fmla="*/ 7361 h 9663"/>
                <a:gd name="connsiteX42" fmla="*/ 5933 w 10000"/>
                <a:gd name="connsiteY42" fmla="*/ 7282 h 9663"/>
                <a:gd name="connsiteX43" fmla="*/ 6089 w 10000"/>
                <a:gd name="connsiteY43" fmla="*/ 7109 h 9663"/>
                <a:gd name="connsiteX44" fmla="*/ 6274 w 10000"/>
                <a:gd name="connsiteY44" fmla="*/ 6873 h 9663"/>
                <a:gd name="connsiteX45" fmla="*/ 6389 w 10000"/>
                <a:gd name="connsiteY45" fmla="*/ 6765 h 9663"/>
                <a:gd name="connsiteX46" fmla="*/ 6524 w 10000"/>
                <a:gd name="connsiteY46" fmla="*/ 6720 h 9663"/>
                <a:gd name="connsiteX47" fmla="*/ 6531 w 10000"/>
                <a:gd name="connsiteY47" fmla="*/ 6582 h 9663"/>
                <a:gd name="connsiteX48" fmla="*/ 6424 w 10000"/>
                <a:gd name="connsiteY48" fmla="*/ 6268 h 9663"/>
                <a:gd name="connsiteX49" fmla="*/ 6602 w 10000"/>
                <a:gd name="connsiteY49" fmla="*/ 6276 h 9663"/>
                <a:gd name="connsiteX50" fmla="*/ 6707 w 10000"/>
                <a:gd name="connsiteY50" fmla="*/ 6157 h 9663"/>
                <a:gd name="connsiteX51" fmla="*/ 6876 w 10000"/>
                <a:gd name="connsiteY51" fmla="*/ 6158 h 9663"/>
                <a:gd name="connsiteX52" fmla="*/ 6827 w 10000"/>
                <a:gd name="connsiteY52" fmla="*/ 6890 h 9663"/>
                <a:gd name="connsiteX53" fmla="*/ 6991 w 10000"/>
                <a:gd name="connsiteY53" fmla="*/ 6973 h 9663"/>
                <a:gd name="connsiteX54" fmla="*/ 7275 w 10000"/>
                <a:gd name="connsiteY54" fmla="*/ 7186 h 9663"/>
                <a:gd name="connsiteX55" fmla="*/ 7430 w 10000"/>
                <a:gd name="connsiteY55" fmla="*/ 6858 h 9663"/>
                <a:gd name="connsiteX56" fmla="*/ 7470 w 10000"/>
                <a:gd name="connsiteY56" fmla="*/ 6891 h 9663"/>
                <a:gd name="connsiteX57" fmla="*/ 7590 w 10000"/>
                <a:gd name="connsiteY57" fmla="*/ 6689 h 9663"/>
                <a:gd name="connsiteX58" fmla="*/ 7831 w 10000"/>
                <a:gd name="connsiteY58" fmla="*/ 6588 h 9663"/>
                <a:gd name="connsiteX59" fmla="*/ 7952 w 10000"/>
                <a:gd name="connsiteY59" fmla="*/ 6215 h 9663"/>
                <a:gd name="connsiteX60" fmla="*/ 8313 w 10000"/>
                <a:gd name="connsiteY60" fmla="*/ 5777 h 9663"/>
                <a:gd name="connsiteX61" fmla="*/ 8594 w 10000"/>
                <a:gd name="connsiteY61" fmla="*/ 5574 h 9663"/>
                <a:gd name="connsiteX62" fmla="*/ 8795 w 10000"/>
                <a:gd name="connsiteY62" fmla="*/ 5000 h 9663"/>
                <a:gd name="connsiteX63" fmla="*/ 8795 w 10000"/>
                <a:gd name="connsiteY63" fmla="*/ 4865 h 9663"/>
                <a:gd name="connsiteX64" fmla="*/ 8755 w 10000"/>
                <a:gd name="connsiteY64" fmla="*/ 4527 h 9663"/>
                <a:gd name="connsiteX65" fmla="*/ 9157 w 10000"/>
                <a:gd name="connsiteY65" fmla="*/ 3310 h 9663"/>
                <a:gd name="connsiteX66" fmla="*/ 9277 w 10000"/>
                <a:gd name="connsiteY66" fmla="*/ 3310 h 9663"/>
                <a:gd name="connsiteX67" fmla="*/ 9438 w 10000"/>
                <a:gd name="connsiteY67" fmla="*/ 3210 h 9663"/>
                <a:gd name="connsiteX68" fmla="*/ 9920 w 10000"/>
                <a:gd name="connsiteY68" fmla="*/ 3040 h 9663"/>
                <a:gd name="connsiteX69" fmla="*/ 10000 w 10000"/>
                <a:gd name="connsiteY69" fmla="*/ 2770 h 9663"/>
                <a:gd name="connsiteX70" fmla="*/ 9960 w 10000"/>
                <a:gd name="connsiteY70" fmla="*/ 2702 h 9663"/>
                <a:gd name="connsiteX71" fmla="*/ 9799 w 10000"/>
                <a:gd name="connsiteY71" fmla="*/ 2702 h 9663"/>
                <a:gd name="connsiteX72" fmla="*/ 9679 w 10000"/>
                <a:gd name="connsiteY72" fmla="*/ 2534 h 9663"/>
                <a:gd name="connsiteX73" fmla="*/ 9438 w 10000"/>
                <a:gd name="connsiteY73" fmla="*/ 2467 h 9663"/>
                <a:gd name="connsiteX74" fmla="*/ 9317 w 10000"/>
                <a:gd name="connsiteY74" fmla="*/ 2331 h 9663"/>
                <a:gd name="connsiteX75" fmla="*/ 9237 w 10000"/>
                <a:gd name="connsiteY75" fmla="*/ 1824 h 9663"/>
                <a:gd name="connsiteX76" fmla="*/ 9237 w 10000"/>
                <a:gd name="connsiteY76" fmla="*/ 1114 h 9663"/>
                <a:gd name="connsiteX77" fmla="*/ 9036 w 10000"/>
                <a:gd name="connsiteY77" fmla="*/ 879 h 9663"/>
                <a:gd name="connsiteX78" fmla="*/ 8996 w 10000"/>
                <a:gd name="connsiteY78" fmla="*/ 642 h 9663"/>
                <a:gd name="connsiteX79" fmla="*/ 8675 w 10000"/>
                <a:gd name="connsiteY79" fmla="*/ 304 h 9663"/>
                <a:gd name="connsiteX80" fmla="*/ 8394 w 10000"/>
                <a:gd name="connsiteY80" fmla="*/ 170 h 9663"/>
                <a:gd name="connsiteX81" fmla="*/ 8233 w 10000"/>
                <a:gd name="connsiteY81" fmla="*/ 0 h 9663"/>
                <a:gd name="connsiteX82" fmla="*/ 7992 w 10000"/>
                <a:gd name="connsiteY82" fmla="*/ 170 h 9663"/>
                <a:gd name="connsiteX83" fmla="*/ 7831 w 10000"/>
                <a:gd name="connsiteY83" fmla="*/ 135 h 9663"/>
                <a:gd name="connsiteX84" fmla="*/ 7711 w 10000"/>
                <a:gd name="connsiteY84" fmla="*/ 438 h 9663"/>
                <a:gd name="connsiteX85" fmla="*/ 7390 w 10000"/>
                <a:gd name="connsiteY85" fmla="*/ 507 h 9663"/>
                <a:gd name="connsiteX86" fmla="*/ 7309 w 10000"/>
                <a:gd name="connsiteY86" fmla="*/ 742 h 9663"/>
                <a:gd name="connsiteX87" fmla="*/ 7028 w 10000"/>
                <a:gd name="connsiteY87" fmla="*/ 742 h 9663"/>
                <a:gd name="connsiteX88" fmla="*/ 6787 w 10000"/>
                <a:gd name="connsiteY88" fmla="*/ 642 h 9663"/>
                <a:gd name="connsiteX89" fmla="*/ 6265 w 10000"/>
                <a:gd name="connsiteY89" fmla="*/ 642 h 9663"/>
                <a:gd name="connsiteX90" fmla="*/ 5743 w 10000"/>
                <a:gd name="connsiteY90" fmla="*/ 642 h 9663"/>
                <a:gd name="connsiteX91" fmla="*/ 5783 w 10000"/>
                <a:gd name="connsiteY91" fmla="*/ 507 h 9663"/>
                <a:gd name="connsiteX92" fmla="*/ 5703 w 10000"/>
                <a:gd name="connsiteY92" fmla="*/ 507 h 9663"/>
                <a:gd name="connsiteX93" fmla="*/ 5663 w 10000"/>
                <a:gd name="connsiteY93" fmla="*/ 642 h 9663"/>
                <a:gd name="connsiteX94" fmla="*/ 5181 w 10000"/>
                <a:gd name="connsiteY94" fmla="*/ 642 h 9663"/>
                <a:gd name="connsiteX95" fmla="*/ 4699 w 10000"/>
                <a:gd name="connsiteY95" fmla="*/ 642 h 9663"/>
                <a:gd name="connsiteX96" fmla="*/ 4217 w 10000"/>
                <a:gd name="connsiteY96" fmla="*/ 642 h 9663"/>
                <a:gd name="connsiteX97" fmla="*/ 3735 w 10000"/>
                <a:gd name="connsiteY97" fmla="*/ 642 h 9663"/>
                <a:gd name="connsiteX98" fmla="*/ 3293 w 10000"/>
                <a:gd name="connsiteY98" fmla="*/ 642 h 9663"/>
                <a:gd name="connsiteX99" fmla="*/ 2811 w 10000"/>
                <a:gd name="connsiteY99" fmla="*/ 642 h 9663"/>
                <a:gd name="connsiteX100" fmla="*/ 2369 w 10000"/>
                <a:gd name="connsiteY100" fmla="*/ 642 h 9663"/>
                <a:gd name="connsiteX101" fmla="*/ 1888 w 10000"/>
                <a:gd name="connsiteY101" fmla="*/ 642 h 9663"/>
                <a:gd name="connsiteX102" fmla="*/ 1888 w 10000"/>
                <a:gd name="connsiteY102" fmla="*/ 1114 h 9663"/>
                <a:gd name="connsiteX103" fmla="*/ 1888 w 10000"/>
                <a:gd name="connsiteY103" fmla="*/ 1723 h 9663"/>
                <a:gd name="connsiteX104" fmla="*/ 1285 w 10000"/>
                <a:gd name="connsiteY104" fmla="*/ 1723 h 9663"/>
                <a:gd name="connsiteX105" fmla="*/ 1285 w 10000"/>
                <a:gd name="connsiteY105" fmla="*/ 1993 h 9663"/>
                <a:gd name="connsiteX0" fmla="*/ 1285 w 10000"/>
                <a:gd name="connsiteY0" fmla="*/ 2063 h 9813"/>
                <a:gd name="connsiteX1" fmla="*/ 1285 w 10000"/>
                <a:gd name="connsiteY1" fmla="*/ 2622 h 9813"/>
                <a:gd name="connsiteX2" fmla="*/ 1285 w 10000"/>
                <a:gd name="connsiteY2" fmla="*/ 3146 h 9813"/>
                <a:gd name="connsiteX3" fmla="*/ 1285 w 10000"/>
                <a:gd name="connsiteY3" fmla="*/ 3671 h 9813"/>
                <a:gd name="connsiteX4" fmla="*/ 1285 w 10000"/>
                <a:gd name="connsiteY4" fmla="*/ 4159 h 9813"/>
                <a:gd name="connsiteX5" fmla="*/ 643 w 10000"/>
                <a:gd name="connsiteY5" fmla="*/ 4266 h 9813"/>
                <a:gd name="connsiteX6" fmla="*/ 522 w 10000"/>
                <a:gd name="connsiteY6" fmla="*/ 4544 h 9813"/>
                <a:gd name="connsiteX7" fmla="*/ 241 w 10000"/>
                <a:gd name="connsiteY7" fmla="*/ 4894 h 9813"/>
                <a:gd name="connsiteX8" fmla="*/ 241 w 10000"/>
                <a:gd name="connsiteY8" fmla="*/ 5174 h 9813"/>
                <a:gd name="connsiteX9" fmla="*/ 120 w 10000"/>
                <a:gd name="connsiteY9" fmla="*/ 5244 h 9813"/>
                <a:gd name="connsiteX10" fmla="*/ 120 w 10000"/>
                <a:gd name="connsiteY10" fmla="*/ 5488 h 9813"/>
                <a:gd name="connsiteX11" fmla="*/ 0 w 10000"/>
                <a:gd name="connsiteY11" fmla="*/ 5699 h 9813"/>
                <a:gd name="connsiteX12" fmla="*/ 0 w 10000"/>
                <a:gd name="connsiteY12" fmla="*/ 5873 h 9813"/>
                <a:gd name="connsiteX13" fmla="*/ 241 w 10000"/>
                <a:gd name="connsiteY13" fmla="*/ 5838 h 9813"/>
                <a:gd name="connsiteX14" fmla="*/ 281 w 10000"/>
                <a:gd name="connsiteY14" fmla="*/ 6152 h 9813"/>
                <a:gd name="connsiteX15" fmla="*/ 602 w 10000"/>
                <a:gd name="connsiteY15" fmla="*/ 6713 h 9813"/>
                <a:gd name="connsiteX16" fmla="*/ 602 w 10000"/>
                <a:gd name="connsiteY16" fmla="*/ 6747 h 9813"/>
                <a:gd name="connsiteX17" fmla="*/ 482 w 10000"/>
                <a:gd name="connsiteY17" fmla="*/ 6783 h 9813"/>
                <a:gd name="connsiteX18" fmla="*/ 964 w 10000"/>
                <a:gd name="connsiteY18" fmla="*/ 7341 h 9813"/>
                <a:gd name="connsiteX19" fmla="*/ 1004 w 10000"/>
                <a:gd name="connsiteY19" fmla="*/ 7516 h 9813"/>
                <a:gd name="connsiteX20" fmla="*/ 964 w 10000"/>
                <a:gd name="connsiteY20" fmla="*/ 8006 h 9813"/>
                <a:gd name="connsiteX21" fmla="*/ 1044 w 10000"/>
                <a:gd name="connsiteY21" fmla="*/ 8076 h 9813"/>
                <a:gd name="connsiteX22" fmla="*/ 1365 w 10000"/>
                <a:gd name="connsiteY22" fmla="*/ 8110 h 9813"/>
                <a:gd name="connsiteX23" fmla="*/ 1406 w 10000"/>
                <a:gd name="connsiteY23" fmla="*/ 8250 h 9813"/>
                <a:gd name="connsiteX24" fmla="*/ 1767 w 10000"/>
                <a:gd name="connsiteY24" fmla="*/ 8285 h 9813"/>
                <a:gd name="connsiteX25" fmla="*/ 1968 w 10000"/>
                <a:gd name="connsiteY25" fmla="*/ 8425 h 9813"/>
                <a:gd name="connsiteX26" fmla="*/ 2008 w 10000"/>
                <a:gd name="connsiteY26" fmla="*/ 8670 h 9813"/>
                <a:gd name="connsiteX27" fmla="*/ 2651 w 10000"/>
                <a:gd name="connsiteY27" fmla="*/ 9090 h 9813"/>
                <a:gd name="connsiteX28" fmla="*/ 2811 w 10000"/>
                <a:gd name="connsiteY28" fmla="*/ 9509 h 9813"/>
                <a:gd name="connsiteX29" fmla="*/ 3253 w 10000"/>
                <a:gd name="connsiteY29" fmla="*/ 9720 h 9813"/>
                <a:gd name="connsiteX30" fmla="*/ 3167 w 10000"/>
                <a:gd name="connsiteY30" fmla="*/ 7732 h 9813"/>
                <a:gd name="connsiteX31" fmla="*/ 3537 w 10000"/>
                <a:gd name="connsiteY31" fmla="*/ 7679 h 9813"/>
                <a:gd name="connsiteX32" fmla="*/ 3795 w 10000"/>
                <a:gd name="connsiteY32" fmla="*/ 7855 h 9813"/>
                <a:gd name="connsiteX33" fmla="*/ 4153 w 10000"/>
                <a:gd name="connsiteY33" fmla="*/ 7923 h 9813"/>
                <a:gd name="connsiteX34" fmla="*/ 4406 w 10000"/>
                <a:gd name="connsiteY34" fmla="*/ 7872 h 9813"/>
                <a:gd name="connsiteX35" fmla="*/ 4600 w 10000"/>
                <a:gd name="connsiteY35" fmla="*/ 7744 h 9813"/>
                <a:gd name="connsiteX36" fmla="*/ 4762 w 10000"/>
                <a:gd name="connsiteY36" fmla="*/ 7508 h 9813"/>
                <a:gd name="connsiteX37" fmla="*/ 4901 w 10000"/>
                <a:gd name="connsiteY37" fmla="*/ 7363 h 9813"/>
                <a:gd name="connsiteX38" fmla="*/ 5080 w 10000"/>
                <a:gd name="connsiteY38" fmla="*/ 7467 h 9813"/>
                <a:gd name="connsiteX39" fmla="*/ 5337 w 10000"/>
                <a:gd name="connsiteY39" fmla="*/ 7570 h 9813"/>
                <a:gd name="connsiteX40" fmla="*/ 5564 w 10000"/>
                <a:gd name="connsiteY40" fmla="*/ 7704 h 9813"/>
                <a:gd name="connsiteX41" fmla="*/ 5768 w 10000"/>
                <a:gd name="connsiteY41" fmla="*/ 7618 h 9813"/>
                <a:gd name="connsiteX42" fmla="*/ 5933 w 10000"/>
                <a:gd name="connsiteY42" fmla="*/ 7536 h 9813"/>
                <a:gd name="connsiteX43" fmla="*/ 6089 w 10000"/>
                <a:gd name="connsiteY43" fmla="*/ 7357 h 9813"/>
                <a:gd name="connsiteX44" fmla="*/ 6274 w 10000"/>
                <a:gd name="connsiteY44" fmla="*/ 7113 h 9813"/>
                <a:gd name="connsiteX45" fmla="*/ 6389 w 10000"/>
                <a:gd name="connsiteY45" fmla="*/ 7001 h 9813"/>
                <a:gd name="connsiteX46" fmla="*/ 6524 w 10000"/>
                <a:gd name="connsiteY46" fmla="*/ 6954 h 9813"/>
                <a:gd name="connsiteX47" fmla="*/ 6531 w 10000"/>
                <a:gd name="connsiteY47" fmla="*/ 6812 h 9813"/>
                <a:gd name="connsiteX48" fmla="*/ 6424 w 10000"/>
                <a:gd name="connsiteY48" fmla="*/ 6487 h 9813"/>
                <a:gd name="connsiteX49" fmla="*/ 6602 w 10000"/>
                <a:gd name="connsiteY49" fmla="*/ 6495 h 9813"/>
                <a:gd name="connsiteX50" fmla="*/ 6707 w 10000"/>
                <a:gd name="connsiteY50" fmla="*/ 6372 h 9813"/>
                <a:gd name="connsiteX51" fmla="*/ 6876 w 10000"/>
                <a:gd name="connsiteY51" fmla="*/ 6373 h 9813"/>
                <a:gd name="connsiteX52" fmla="*/ 6827 w 10000"/>
                <a:gd name="connsiteY52" fmla="*/ 7130 h 9813"/>
                <a:gd name="connsiteX53" fmla="*/ 6991 w 10000"/>
                <a:gd name="connsiteY53" fmla="*/ 7216 h 9813"/>
                <a:gd name="connsiteX54" fmla="*/ 7275 w 10000"/>
                <a:gd name="connsiteY54" fmla="*/ 7437 h 9813"/>
                <a:gd name="connsiteX55" fmla="*/ 7430 w 10000"/>
                <a:gd name="connsiteY55" fmla="*/ 7097 h 9813"/>
                <a:gd name="connsiteX56" fmla="*/ 7470 w 10000"/>
                <a:gd name="connsiteY56" fmla="*/ 7131 h 9813"/>
                <a:gd name="connsiteX57" fmla="*/ 7590 w 10000"/>
                <a:gd name="connsiteY57" fmla="*/ 6922 h 9813"/>
                <a:gd name="connsiteX58" fmla="*/ 7831 w 10000"/>
                <a:gd name="connsiteY58" fmla="*/ 6818 h 9813"/>
                <a:gd name="connsiteX59" fmla="*/ 7952 w 10000"/>
                <a:gd name="connsiteY59" fmla="*/ 6432 h 9813"/>
                <a:gd name="connsiteX60" fmla="*/ 8313 w 10000"/>
                <a:gd name="connsiteY60" fmla="*/ 5978 h 9813"/>
                <a:gd name="connsiteX61" fmla="*/ 8594 w 10000"/>
                <a:gd name="connsiteY61" fmla="*/ 5768 h 9813"/>
                <a:gd name="connsiteX62" fmla="*/ 8795 w 10000"/>
                <a:gd name="connsiteY62" fmla="*/ 5174 h 9813"/>
                <a:gd name="connsiteX63" fmla="*/ 8795 w 10000"/>
                <a:gd name="connsiteY63" fmla="*/ 5035 h 9813"/>
                <a:gd name="connsiteX64" fmla="*/ 8755 w 10000"/>
                <a:gd name="connsiteY64" fmla="*/ 4685 h 9813"/>
                <a:gd name="connsiteX65" fmla="*/ 9157 w 10000"/>
                <a:gd name="connsiteY65" fmla="*/ 3425 h 9813"/>
                <a:gd name="connsiteX66" fmla="*/ 9277 w 10000"/>
                <a:gd name="connsiteY66" fmla="*/ 3425 h 9813"/>
                <a:gd name="connsiteX67" fmla="*/ 9438 w 10000"/>
                <a:gd name="connsiteY67" fmla="*/ 3322 h 9813"/>
                <a:gd name="connsiteX68" fmla="*/ 9920 w 10000"/>
                <a:gd name="connsiteY68" fmla="*/ 3146 h 9813"/>
                <a:gd name="connsiteX69" fmla="*/ 10000 w 10000"/>
                <a:gd name="connsiteY69" fmla="*/ 2867 h 9813"/>
                <a:gd name="connsiteX70" fmla="*/ 9960 w 10000"/>
                <a:gd name="connsiteY70" fmla="*/ 2796 h 9813"/>
                <a:gd name="connsiteX71" fmla="*/ 9799 w 10000"/>
                <a:gd name="connsiteY71" fmla="*/ 2796 h 9813"/>
                <a:gd name="connsiteX72" fmla="*/ 9679 w 10000"/>
                <a:gd name="connsiteY72" fmla="*/ 2622 h 9813"/>
                <a:gd name="connsiteX73" fmla="*/ 9438 w 10000"/>
                <a:gd name="connsiteY73" fmla="*/ 2553 h 9813"/>
                <a:gd name="connsiteX74" fmla="*/ 9317 w 10000"/>
                <a:gd name="connsiteY74" fmla="*/ 2412 h 9813"/>
                <a:gd name="connsiteX75" fmla="*/ 9237 w 10000"/>
                <a:gd name="connsiteY75" fmla="*/ 1888 h 9813"/>
                <a:gd name="connsiteX76" fmla="*/ 9237 w 10000"/>
                <a:gd name="connsiteY76" fmla="*/ 1153 h 9813"/>
                <a:gd name="connsiteX77" fmla="*/ 9036 w 10000"/>
                <a:gd name="connsiteY77" fmla="*/ 910 h 9813"/>
                <a:gd name="connsiteX78" fmla="*/ 8996 w 10000"/>
                <a:gd name="connsiteY78" fmla="*/ 664 h 9813"/>
                <a:gd name="connsiteX79" fmla="*/ 8675 w 10000"/>
                <a:gd name="connsiteY79" fmla="*/ 315 h 9813"/>
                <a:gd name="connsiteX80" fmla="*/ 8394 w 10000"/>
                <a:gd name="connsiteY80" fmla="*/ 176 h 9813"/>
                <a:gd name="connsiteX81" fmla="*/ 8233 w 10000"/>
                <a:gd name="connsiteY81" fmla="*/ 0 h 9813"/>
                <a:gd name="connsiteX82" fmla="*/ 7992 w 10000"/>
                <a:gd name="connsiteY82" fmla="*/ 176 h 9813"/>
                <a:gd name="connsiteX83" fmla="*/ 7831 w 10000"/>
                <a:gd name="connsiteY83" fmla="*/ 140 h 9813"/>
                <a:gd name="connsiteX84" fmla="*/ 7711 w 10000"/>
                <a:gd name="connsiteY84" fmla="*/ 453 h 9813"/>
                <a:gd name="connsiteX85" fmla="*/ 7390 w 10000"/>
                <a:gd name="connsiteY85" fmla="*/ 525 h 9813"/>
                <a:gd name="connsiteX86" fmla="*/ 7309 w 10000"/>
                <a:gd name="connsiteY86" fmla="*/ 768 h 9813"/>
                <a:gd name="connsiteX87" fmla="*/ 7028 w 10000"/>
                <a:gd name="connsiteY87" fmla="*/ 768 h 9813"/>
                <a:gd name="connsiteX88" fmla="*/ 6787 w 10000"/>
                <a:gd name="connsiteY88" fmla="*/ 664 h 9813"/>
                <a:gd name="connsiteX89" fmla="*/ 6265 w 10000"/>
                <a:gd name="connsiteY89" fmla="*/ 664 h 9813"/>
                <a:gd name="connsiteX90" fmla="*/ 5743 w 10000"/>
                <a:gd name="connsiteY90" fmla="*/ 664 h 9813"/>
                <a:gd name="connsiteX91" fmla="*/ 5783 w 10000"/>
                <a:gd name="connsiteY91" fmla="*/ 525 h 9813"/>
                <a:gd name="connsiteX92" fmla="*/ 5703 w 10000"/>
                <a:gd name="connsiteY92" fmla="*/ 525 h 9813"/>
                <a:gd name="connsiteX93" fmla="*/ 5663 w 10000"/>
                <a:gd name="connsiteY93" fmla="*/ 664 h 9813"/>
                <a:gd name="connsiteX94" fmla="*/ 5181 w 10000"/>
                <a:gd name="connsiteY94" fmla="*/ 664 h 9813"/>
                <a:gd name="connsiteX95" fmla="*/ 4699 w 10000"/>
                <a:gd name="connsiteY95" fmla="*/ 664 h 9813"/>
                <a:gd name="connsiteX96" fmla="*/ 4217 w 10000"/>
                <a:gd name="connsiteY96" fmla="*/ 664 h 9813"/>
                <a:gd name="connsiteX97" fmla="*/ 3735 w 10000"/>
                <a:gd name="connsiteY97" fmla="*/ 664 h 9813"/>
                <a:gd name="connsiteX98" fmla="*/ 3293 w 10000"/>
                <a:gd name="connsiteY98" fmla="*/ 664 h 9813"/>
                <a:gd name="connsiteX99" fmla="*/ 2811 w 10000"/>
                <a:gd name="connsiteY99" fmla="*/ 664 h 9813"/>
                <a:gd name="connsiteX100" fmla="*/ 2369 w 10000"/>
                <a:gd name="connsiteY100" fmla="*/ 664 h 9813"/>
                <a:gd name="connsiteX101" fmla="*/ 1888 w 10000"/>
                <a:gd name="connsiteY101" fmla="*/ 664 h 9813"/>
                <a:gd name="connsiteX102" fmla="*/ 1888 w 10000"/>
                <a:gd name="connsiteY102" fmla="*/ 1153 h 9813"/>
                <a:gd name="connsiteX103" fmla="*/ 1888 w 10000"/>
                <a:gd name="connsiteY103" fmla="*/ 1783 h 9813"/>
                <a:gd name="connsiteX104" fmla="*/ 1285 w 10000"/>
                <a:gd name="connsiteY104" fmla="*/ 1783 h 9813"/>
                <a:gd name="connsiteX105" fmla="*/ 1285 w 10000"/>
                <a:gd name="connsiteY105" fmla="*/ 2063 h 9813"/>
                <a:gd name="connsiteX0" fmla="*/ 1285 w 10000"/>
                <a:gd name="connsiteY0" fmla="*/ 2102 h 9690"/>
                <a:gd name="connsiteX1" fmla="*/ 1285 w 10000"/>
                <a:gd name="connsiteY1" fmla="*/ 2672 h 9690"/>
                <a:gd name="connsiteX2" fmla="*/ 1285 w 10000"/>
                <a:gd name="connsiteY2" fmla="*/ 3206 h 9690"/>
                <a:gd name="connsiteX3" fmla="*/ 1285 w 10000"/>
                <a:gd name="connsiteY3" fmla="*/ 3741 h 9690"/>
                <a:gd name="connsiteX4" fmla="*/ 1285 w 10000"/>
                <a:gd name="connsiteY4" fmla="*/ 4238 h 9690"/>
                <a:gd name="connsiteX5" fmla="*/ 643 w 10000"/>
                <a:gd name="connsiteY5" fmla="*/ 4347 h 9690"/>
                <a:gd name="connsiteX6" fmla="*/ 522 w 10000"/>
                <a:gd name="connsiteY6" fmla="*/ 4631 h 9690"/>
                <a:gd name="connsiteX7" fmla="*/ 241 w 10000"/>
                <a:gd name="connsiteY7" fmla="*/ 4987 h 9690"/>
                <a:gd name="connsiteX8" fmla="*/ 241 w 10000"/>
                <a:gd name="connsiteY8" fmla="*/ 5273 h 9690"/>
                <a:gd name="connsiteX9" fmla="*/ 120 w 10000"/>
                <a:gd name="connsiteY9" fmla="*/ 5344 h 9690"/>
                <a:gd name="connsiteX10" fmla="*/ 120 w 10000"/>
                <a:gd name="connsiteY10" fmla="*/ 5593 h 9690"/>
                <a:gd name="connsiteX11" fmla="*/ 0 w 10000"/>
                <a:gd name="connsiteY11" fmla="*/ 5808 h 9690"/>
                <a:gd name="connsiteX12" fmla="*/ 0 w 10000"/>
                <a:gd name="connsiteY12" fmla="*/ 5985 h 9690"/>
                <a:gd name="connsiteX13" fmla="*/ 241 w 10000"/>
                <a:gd name="connsiteY13" fmla="*/ 5949 h 9690"/>
                <a:gd name="connsiteX14" fmla="*/ 281 w 10000"/>
                <a:gd name="connsiteY14" fmla="*/ 6269 h 9690"/>
                <a:gd name="connsiteX15" fmla="*/ 602 w 10000"/>
                <a:gd name="connsiteY15" fmla="*/ 6841 h 9690"/>
                <a:gd name="connsiteX16" fmla="*/ 602 w 10000"/>
                <a:gd name="connsiteY16" fmla="*/ 6876 h 9690"/>
                <a:gd name="connsiteX17" fmla="*/ 482 w 10000"/>
                <a:gd name="connsiteY17" fmla="*/ 6912 h 9690"/>
                <a:gd name="connsiteX18" fmla="*/ 964 w 10000"/>
                <a:gd name="connsiteY18" fmla="*/ 7481 h 9690"/>
                <a:gd name="connsiteX19" fmla="*/ 1004 w 10000"/>
                <a:gd name="connsiteY19" fmla="*/ 7659 h 9690"/>
                <a:gd name="connsiteX20" fmla="*/ 964 w 10000"/>
                <a:gd name="connsiteY20" fmla="*/ 8159 h 9690"/>
                <a:gd name="connsiteX21" fmla="*/ 1044 w 10000"/>
                <a:gd name="connsiteY21" fmla="*/ 8230 h 9690"/>
                <a:gd name="connsiteX22" fmla="*/ 1365 w 10000"/>
                <a:gd name="connsiteY22" fmla="*/ 8265 h 9690"/>
                <a:gd name="connsiteX23" fmla="*/ 1406 w 10000"/>
                <a:gd name="connsiteY23" fmla="*/ 8407 h 9690"/>
                <a:gd name="connsiteX24" fmla="*/ 1767 w 10000"/>
                <a:gd name="connsiteY24" fmla="*/ 8443 h 9690"/>
                <a:gd name="connsiteX25" fmla="*/ 1968 w 10000"/>
                <a:gd name="connsiteY25" fmla="*/ 8586 h 9690"/>
                <a:gd name="connsiteX26" fmla="*/ 2008 w 10000"/>
                <a:gd name="connsiteY26" fmla="*/ 8835 h 9690"/>
                <a:gd name="connsiteX27" fmla="*/ 2651 w 10000"/>
                <a:gd name="connsiteY27" fmla="*/ 9263 h 9690"/>
                <a:gd name="connsiteX28" fmla="*/ 2811 w 10000"/>
                <a:gd name="connsiteY28" fmla="*/ 9690 h 9690"/>
                <a:gd name="connsiteX29" fmla="*/ 2890 w 10000"/>
                <a:gd name="connsiteY29" fmla="*/ 7871 h 9690"/>
                <a:gd name="connsiteX30" fmla="*/ 3167 w 10000"/>
                <a:gd name="connsiteY30" fmla="*/ 7879 h 9690"/>
                <a:gd name="connsiteX31" fmla="*/ 3537 w 10000"/>
                <a:gd name="connsiteY31" fmla="*/ 7825 h 9690"/>
                <a:gd name="connsiteX32" fmla="*/ 3795 w 10000"/>
                <a:gd name="connsiteY32" fmla="*/ 8005 h 9690"/>
                <a:gd name="connsiteX33" fmla="*/ 4153 w 10000"/>
                <a:gd name="connsiteY33" fmla="*/ 8074 h 9690"/>
                <a:gd name="connsiteX34" fmla="*/ 4406 w 10000"/>
                <a:gd name="connsiteY34" fmla="*/ 8022 h 9690"/>
                <a:gd name="connsiteX35" fmla="*/ 4600 w 10000"/>
                <a:gd name="connsiteY35" fmla="*/ 7892 h 9690"/>
                <a:gd name="connsiteX36" fmla="*/ 4762 w 10000"/>
                <a:gd name="connsiteY36" fmla="*/ 7651 h 9690"/>
                <a:gd name="connsiteX37" fmla="*/ 4901 w 10000"/>
                <a:gd name="connsiteY37" fmla="*/ 7503 h 9690"/>
                <a:gd name="connsiteX38" fmla="*/ 5080 w 10000"/>
                <a:gd name="connsiteY38" fmla="*/ 7609 h 9690"/>
                <a:gd name="connsiteX39" fmla="*/ 5337 w 10000"/>
                <a:gd name="connsiteY39" fmla="*/ 7714 h 9690"/>
                <a:gd name="connsiteX40" fmla="*/ 5564 w 10000"/>
                <a:gd name="connsiteY40" fmla="*/ 7851 h 9690"/>
                <a:gd name="connsiteX41" fmla="*/ 5768 w 10000"/>
                <a:gd name="connsiteY41" fmla="*/ 7763 h 9690"/>
                <a:gd name="connsiteX42" fmla="*/ 5933 w 10000"/>
                <a:gd name="connsiteY42" fmla="*/ 7680 h 9690"/>
                <a:gd name="connsiteX43" fmla="*/ 6089 w 10000"/>
                <a:gd name="connsiteY43" fmla="*/ 7497 h 9690"/>
                <a:gd name="connsiteX44" fmla="*/ 6274 w 10000"/>
                <a:gd name="connsiteY44" fmla="*/ 7249 h 9690"/>
                <a:gd name="connsiteX45" fmla="*/ 6389 w 10000"/>
                <a:gd name="connsiteY45" fmla="*/ 7134 h 9690"/>
                <a:gd name="connsiteX46" fmla="*/ 6524 w 10000"/>
                <a:gd name="connsiteY46" fmla="*/ 7087 h 9690"/>
                <a:gd name="connsiteX47" fmla="*/ 6531 w 10000"/>
                <a:gd name="connsiteY47" fmla="*/ 6942 h 9690"/>
                <a:gd name="connsiteX48" fmla="*/ 6424 w 10000"/>
                <a:gd name="connsiteY48" fmla="*/ 6611 h 9690"/>
                <a:gd name="connsiteX49" fmla="*/ 6602 w 10000"/>
                <a:gd name="connsiteY49" fmla="*/ 6619 h 9690"/>
                <a:gd name="connsiteX50" fmla="*/ 6707 w 10000"/>
                <a:gd name="connsiteY50" fmla="*/ 6493 h 9690"/>
                <a:gd name="connsiteX51" fmla="*/ 6876 w 10000"/>
                <a:gd name="connsiteY51" fmla="*/ 6494 h 9690"/>
                <a:gd name="connsiteX52" fmla="*/ 6827 w 10000"/>
                <a:gd name="connsiteY52" fmla="*/ 7266 h 9690"/>
                <a:gd name="connsiteX53" fmla="*/ 6991 w 10000"/>
                <a:gd name="connsiteY53" fmla="*/ 7354 h 9690"/>
                <a:gd name="connsiteX54" fmla="*/ 7275 w 10000"/>
                <a:gd name="connsiteY54" fmla="*/ 7579 h 9690"/>
                <a:gd name="connsiteX55" fmla="*/ 7430 w 10000"/>
                <a:gd name="connsiteY55" fmla="*/ 7232 h 9690"/>
                <a:gd name="connsiteX56" fmla="*/ 7470 w 10000"/>
                <a:gd name="connsiteY56" fmla="*/ 7267 h 9690"/>
                <a:gd name="connsiteX57" fmla="*/ 7590 w 10000"/>
                <a:gd name="connsiteY57" fmla="*/ 7054 h 9690"/>
                <a:gd name="connsiteX58" fmla="*/ 7831 w 10000"/>
                <a:gd name="connsiteY58" fmla="*/ 6948 h 9690"/>
                <a:gd name="connsiteX59" fmla="*/ 7952 w 10000"/>
                <a:gd name="connsiteY59" fmla="*/ 6555 h 9690"/>
                <a:gd name="connsiteX60" fmla="*/ 8313 w 10000"/>
                <a:gd name="connsiteY60" fmla="*/ 6092 h 9690"/>
                <a:gd name="connsiteX61" fmla="*/ 8594 w 10000"/>
                <a:gd name="connsiteY61" fmla="*/ 5878 h 9690"/>
                <a:gd name="connsiteX62" fmla="*/ 8795 w 10000"/>
                <a:gd name="connsiteY62" fmla="*/ 5273 h 9690"/>
                <a:gd name="connsiteX63" fmla="*/ 8795 w 10000"/>
                <a:gd name="connsiteY63" fmla="*/ 5131 h 9690"/>
                <a:gd name="connsiteX64" fmla="*/ 8755 w 10000"/>
                <a:gd name="connsiteY64" fmla="*/ 4774 h 9690"/>
                <a:gd name="connsiteX65" fmla="*/ 9157 w 10000"/>
                <a:gd name="connsiteY65" fmla="*/ 3490 h 9690"/>
                <a:gd name="connsiteX66" fmla="*/ 9277 w 10000"/>
                <a:gd name="connsiteY66" fmla="*/ 3490 h 9690"/>
                <a:gd name="connsiteX67" fmla="*/ 9438 w 10000"/>
                <a:gd name="connsiteY67" fmla="*/ 3385 h 9690"/>
                <a:gd name="connsiteX68" fmla="*/ 9920 w 10000"/>
                <a:gd name="connsiteY68" fmla="*/ 3206 h 9690"/>
                <a:gd name="connsiteX69" fmla="*/ 10000 w 10000"/>
                <a:gd name="connsiteY69" fmla="*/ 2922 h 9690"/>
                <a:gd name="connsiteX70" fmla="*/ 9960 w 10000"/>
                <a:gd name="connsiteY70" fmla="*/ 2849 h 9690"/>
                <a:gd name="connsiteX71" fmla="*/ 9799 w 10000"/>
                <a:gd name="connsiteY71" fmla="*/ 2849 h 9690"/>
                <a:gd name="connsiteX72" fmla="*/ 9679 w 10000"/>
                <a:gd name="connsiteY72" fmla="*/ 2672 h 9690"/>
                <a:gd name="connsiteX73" fmla="*/ 9438 w 10000"/>
                <a:gd name="connsiteY73" fmla="*/ 2602 h 9690"/>
                <a:gd name="connsiteX74" fmla="*/ 9317 w 10000"/>
                <a:gd name="connsiteY74" fmla="*/ 2458 h 9690"/>
                <a:gd name="connsiteX75" fmla="*/ 9237 w 10000"/>
                <a:gd name="connsiteY75" fmla="*/ 1924 h 9690"/>
                <a:gd name="connsiteX76" fmla="*/ 9237 w 10000"/>
                <a:gd name="connsiteY76" fmla="*/ 1175 h 9690"/>
                <a:gd name="connsiteX77" fmla="*/ 9036 w 10000"/>
                <a:gd name="connsiteY77" fmla="*/ 927 h 9690"/>
                <a:gd name="connsiteX78" fmla="*/ 8996 w 10000"/>
                <a:gd name="connsiteY78" fmla="*/ 677 h 9690"/>
                <a:gd name="connsiteX79" fmla="*/ 8675 w 10000"/>
                <a:gd name="connsiteY79" fmla="*/ 321 h 9690"/>
                <a:gd name="connsiteX80" fmla="*/ 8394 w 10000"/>
                <a:gd name="connsiteY80" fmla="*/ 179 h 9690"/>
                <a:gd name="connsiteX81" fmla="*/ 8233 w 10000"/>
                <a:gd name="connsiteY81" fmla="*/ 0 h 9690"/>
                <a:gd name="connsiteX82" fmla="*/ 7992 w 10000"/>
                <a:gd name="connsiteY82" fmla="*/ 179 h 9690"/>
                <a:gd name="connsiteX83" fmla="*/ 7831 w 10000"/>
                <a:gd name="connsiteY83" fmla="*/ 143 h 9690"/>
                <a:gd name="connsiteX84" fmla="*/ 7711 w 10000"/>
                <a:gd name="connsiteY84" fmla="*/ 462 h 9690"/>
                <a:gd name="connsiteX85" fmla="*/ 7390 w 10000"/>
                <a:gd name="connsiteY85" fmla="*/ 535 h 9690"/>
                <a:gd name="connsiteX86" fmla="*/ 7309 w 10000"/>
                <a:gd name="connsiteY86" fmla="*/ 783 h 9690"/>
                <a:gd name="connsiteX87" fmla="*/ 7028 w 10000"/>
                <a:gd name="connsiteY87" fmla="*/ 783 h 9690"/>
                <a:gd name="connsiteX88" fmla="*/ 6787 w 10000"/>
                <a:gd name="connsiteY88" fmla="*/ 677 h 9690"/>
                <a:gd name="connsiteX89" fmla="*/ 6265 w 10000"/>
                <a:gd name="connsiteY89" fmla="*/ 677 h 9690"/>
                <a:gd name="connsiteX90" fmla="*/ 5743 w 10000"/>
                <a:gd name="connsiteY90" fmla="*/ 677 h 9690"/>
                <a:gd name="connsiteX91" fmla="*/ 5783 w 10000"/>
                <a:gd name="connsiteY91" fmla="*/ 535 h 9690"/>
                <a:gd name="connsiteX92" fmla="*/ 5703 w 10000"/>
                <a:gd name="connsiteY92" fmla="*/ 535 h 9690"/>
                <a:gd name="connsiteX93" fmla="*/ 5663 w 10000"/>
                <a:gd name="connsiteY93" fmla="*/ 677 h 9690"/>
                <a:gd name="connsiteX94" fmla="*/ 5181 w 10000"/>
                <a:gd name="connsiteY94" fmla="*/ 677 h 9690"/>
                <a:gd name="connsiteX95" fmla="*/ 4699 w 10000"/>
                <a:gd name="connsiteY95" fmla="*/ 677 h 9690"/>
                <a:gd name="connsiteX96" fmla="*/ 4217 w 10000"/>
                <a:gd name="connsiteY96" fmla="*/ 677 h 9690"/>
                <a:gd name="connsiteX97" fmla="*/ 3735 w 10000"/>
                <a:gd name="connsiteY97" fmla="*/ 677 h 9690"/>
                <a:gd name="connsiteX98" fmla="*/ 3293 w 10000"/>
                <a:gd name="connsiteY98" fmla="*/ 677 h 9690"/>
                <a:gd name="connsiteX99" fmla="*/ 2811 w 10000"/>
                <a:gd name="connsiteY99" fmla="*/ 677 h 9690"/>
                <a:gd name="connsiteX100" fmla="*/ 2369 w 10000"/>
                <a:gd name="connsiteY100" fmla="*/ 677 h 9690"/>
                <a:gd name="connsiteX101" fmla="*/ 1888 w 10000"/>
                <a:gd name="connsiteY101" fmla="*/ 677 h 9690"/>
                <a:gd name="connsiteX102" fmla="*/ 1888 w 10000"/>
                <a:gd name="connsiteY102" fmla="*/ 1175 h 9690"/>
                <a:gd name="connsiteX103" fmla="*/ 1888 w 10000"/>
                <a:gd name="connsiteY103" fmla="*/ 1817 h 9690"/>
                <a:gd name="connsiteX104" fmla="*/ 1285 w 10000"/>
                <a:gd name="connsiteY104" fmla="*/ 1817 h 9690"/>
                <a:gd name="connsiteX105" fmla="*/ 1285 w 10000"/>
                <a:gd name="connsiteY105" fmla="*/ 2102 h 9690"/>
                <a:gd name="connsiteX0" fmla="*/ 1285 w 10000"/>
                <a:gd name="connsiteY0" fmla="*/ 2169 h 9707"/>
                <a:gd name="connsiteX1" fmla="*/ 1285 w 10000"/>
                <a:gd name="connsiteY1" fmla="*/ 2757 h 9707"/>
                <a:gd name="connsiteX2" fmla="*/ 1285 w 10000"/>
                <a:gd name="connsiteY2" fmla="*/ 3309 h 9707"/>
                <a:gd name="connsiteX3" fmla="*/ 1285 w 10000"/>
                <a:gd name="connsiteY3" fmla="*/ 3861 h 9707"/>
                <a:gd name="connsiteX4" fmla="*/ 1285 w 10000"/>
                <a:gd name="connsiteY4" fmla="*/ 4374 h 9707"/>
                <a:gd name="connsiteX5" fmla="*/ 643 w 10000"/>
                <a:gd name="connsiteY5" fmla="*/ 4486 h 9707"/>
                <a:gd name="connsiteX6" fmla="*/ 522 w 10000"/>
                <a:gd name="connsiteY6" fmla="*/ 4779 h 9707"/>
                <a:gd name="connsiteX7" fmla="*/ 241 w 10000"/>
                <a:gd name="connsiteY7" fmla="*/ 5147 h 9707"/>
                <a:gd name="connsiteX8" fmla="*/ 241 w 10000"/>
                <a:gd name="connsiteY8" fmla="*/ 5442 h 9707"/>
                <a:gd name="connsiteX9" fmla="*/ 120 w 10000"/>
                <a:gd name="connsiteY9" fmla="*/ 5515 h 9707"/>
                <a:gd name="connsiteX10" fmla="*/ 120 w 10000"/>
                <a:gd name="connsiteY10" fmla="*/ 5772 h 9707"/>
                <a:gd name="connsiteX11" fmla="*/ 0 w 10000"/>
                <a:gd name="connsiteY11" fmla="*/ 5994 h 9707"/>
                <a:gd name="connsiteX12" fmla="*/ 0 w 10000"/>
                <a:gd name="connsiteY12" fmla="*/ 6176 h 9707"/>
                <a:gd name="connsiteX13" fmla="*/ 241 w 10000"/>
                <a:gd name="connsiteY13" fmla="*/ 6139 h 9707"/>
                <a:gd name="connsiteX14" fmla="*/ 281 w 10000"/>
                <a:gd name="connsiteY14" fmla="*/ 6470 h 9707"/>
                <a:gd name="connsiteX15" fmla="*/ 602 w 10000"/>
                <a:gd name="connsiteY15" fmla="*/ 7060 h 9707"/>
                <a:gd name="connsiteX16" fmla="*/ 602 w 10000"/>
                <a:gd name="connsiteY16" fmla="*/ 7096 h 9707"/>
                <a:gd name="connsiteX17" fmla="*/ 482 w 10000"/>
                <a:gd name="connsiteY17" fmla="*/ 7133 h 9707"/>
                <a:gd name="connsiteX18" fmla="*/ 964 w 10000"/>
                <a:gd name="connsiteY18" fmla="*/ 7720 h 9707"/>
                <a:gd name="connsiteX19" fmla="*/ 1004 w 10000"/>
                <a:gd name="connsiteY19" fmla="*/ 7904 h 9707"/>
                <a:gd name="connsiteX20" fmla="*/ 964 w 10000"/>
                <a:gd name="connsiteY20" fmla="*/ 8420 h 9707"/>
                <a:gd name="connsiteX21" fmla="*/ 1044 w 10000"/>
                <a:gd name="connsiteY21" fmla="*/ 8493 h 9707"/>
                <a:gd name="connsiteX22" fmla="*/ 1365 w 10000"/>
                <a:gd name="connsiteY22" fmla="*/ 8529 h 9707"/>
                <a:gd name="connsiteX23" fmla="*/ 1406 w 10000"/>
                <a:gd name="connsiteY23" fmla="*/ 8676 h 9707"/>
                <a:gd name="connsiteX24" fmla="*/ 1767 w 10000"/>
                <a:gd name="connsiteY24" fmla="*/ 8713 h 9707"/>
                <a:gd name="connsiteX25" fmla="*/ 1968 w 10000"/>
                <a:gd name="connsiteY25" fmla="*/ 8861 h 9707"/>
                <a:gd name="connsiteX26" fmla="*/ 2008 w 10000"/>
                <a:gd name="connsiteY26" fmla="*/ 9118 h 9707"/>
                <a:gd name="connsiteX27" fmla="*/ 2651 w 10000"/>
                <a:gd name="connsiteY27" fmla="*/ 9559 h 9707"/>
                <a:gd name="connsiteX28" fmla="*/ 2679 w 10000"/>
                <a:gd name="connsiteY28" fmla="*/ 8143 h 9707"/>
                <a:gd name="connsiteX29" fmla="*/ 2890 w 10000"/>
                <a:gd name="connsiteY29" fmla="*/ 8123 h 9707"/>
                <a:gd name="connsiteX30" fmla="*/ 3167 w 10000"/>
                <a:gd name="connsiteY30" fmla="*/ 8131 h 9707"/>
                <a:gd name="connsiteX31" fmla="*/ 3537 w 10000"/>
                <a:gd name="connsiteY31" fmla="*/ 8075 h 9707"/>
                <a:gd name="connsiteX32" fmla="*/ 3795 w 10000"/>
                <a:gd name="connsiteY32" fmla="*/ 8261 h 9707"/>
                <a:gd name="connsiteX33" fmla="*/ 4153 w 10000"/>
                <a:gd name="connsiteY33" fmla="*/ 8332 h 9707"/>
                <a:gd name="connsiteX34" fmla="*/ 4406 w 10000"/>
                <a:gd name="connsiteY34" fmla="*/ 8279 h 9707"/>
                <a:gd name="connsiteX35" fmla="*/ 4600 w 10000"/>
                <a:gd name="connsiteY35" fmla="*/ 8144 h 9707"/>
                <a:gd name="connsiteX36" fmla="*/ 4762 w 10000"/>
                <a:gd name="connsiteY36" fmla="*/ 7896 h 9707"/>
                <a:gd name="connsiteX37" fmla="*/ 4901 w 10000"/>
                <a:gd name="connsiteY37" fmla="*/ 7743 h 9707"/>
                <a:gd name="connsiteX38" fmla="*/ 5080 w 10000"/>
                <a:gd name="connsiteY38" fmla="*/ 7852 h 9707"/>
                <a:gd name="connsiteX39" fmla="*/ 5337 w 10000"/>
                <a:gd name="connsiteY39" fmla="*/ 7961 h 9707"/>
                <a:gd name="connsiteX40" fmla="*/ 5564 w 10000"/>
                <a:gd name="connsiteY40" fmla="*/ 8102 h 9707"/>
                <a:gd name="connsiteX41" fmla="*/ 5768 w 10000"/>
                <a:gd name="connsiteY41" fmla="*/ 8011 h 9707"/>
                <a:gd name="connsiteX42" fmla="*/ 5933 w 10000"/>
                <a:gd name="connsiteY42" fmla="*/ 7926 h 9707"/>
                <a:gd name="connsiteX43" fmla="*/ 6089 w 10000"/>
                <a:gd name="connsiteY43" fmla="*/ 7737 h 9707"/>
                <a:gd name="connsiteX44" fmla="*/ 6274 w 10000"/>
                <a:gd name="connsiteY44" fmla="*/ 7481 h 9707"/>
                <a:gd name="connsiteX45" fmla="*/ 6389 w 10000"/>
                <a:gd name="connsiteY45" fmla="*/ 7362 h 9707"/>
                <a:gd name="connsiteX46" fmla="*/ 6524 w 10000"/>
                <a:gd name="connsiteY46" fmla="*/ 7314 h 9707"/>
                <a:gd name="connsiteX47" fmla="*/ 6531 w 10000"/>
                <a:gd name="connsiteY47" fmla="*/ 7164 h 9707"/>
                <a:gd name="connsiteX48" fmla="*/ 6424 w 10000"/>
                <a:gd name="connsiteY48" fmla="*/ 6822 h 9707"/>
                <a:gd name="connsiteX49" fmla="*/ 6602 w 10000"/>
                <a:gd name="connsiteY49" fmla="*/ 6831 h 9707"/>
                <a:gd name="connsiteX50" fmla="*/ 6707 w 10000"/>
                <a:gd name="connsiteY50" fmla="*/ 6701 h 9707"/>
                <a:gd name="connsiteX51" fmla="*/ 6876 w 10000"/>
                <a:gd name="connsiteY51" fmla="*/ 6702 h 9707"/>
                <a:gd name="connsiteX52" fmla="*/ 6827 w 10000"/>
                <a:gd name="connsiteY52" fmla="*/ 7498 h 9707"/>
                <a:gd name="connsiteX53" fmla="*/ 6991 w 10000"/>
                <a:gd name="connsiteY53" fmla="*/ 7589 h 9707"/>
                <a:gd name="connsiteX54" fmla="*/ 7275 w 10000"/>
                <a:gd name="connsiteY54" fmla="*/ 7821 h 9707"/>
                <a:gd name="connsiteX55" fmla="*/ 7430 w 10000"/>
                <a:gd name="connsiteY55" fmla="*/ 7463 h 9707"/>
                <a:gd name="connsiteX56" fmla="*/ 7470 w 10000"/>
                <a:gd name="connsiteY56" fmla="*/ 7499 h 9707"/>
                <a:gd name="connsiteX57" fmla="*/ 7590 w 10000"/>
                <a:gd name="connsiteY57" fmla="*/ 7280 h 9707"/>
                <a:gd name="connsiteX58" fmla="*/ 7831 w 10000"/>
                <a:gd name="connsiteY58" fmla="*/ 7170 h 9707"/>
                <a:gd name="connsiteX59" fmla="*/ 7952 w 10000"/>
                <a:gd name="connsiteY59" fmla="*/ 6765 h 9707"/>
                <a:gd name="connsiteX60" fmla="*/ 8313 w 10000"/>
                <a:gd name="connsiteY60" fmla="*/ 6287 h 9707"/>
                <a:gd name="connsiteX61" fmla="*/ 8594 w 10000"/>
                <a:gd name="connsiteY61" fmla="*/ 6066 h 9707"/>
                <a:gd name="connsiteX62" fmla="*/ 8795 w 10000"/>
                <a:gd name="connsiteY62" fmla="*/ 5442 h 9707"/>
                <a:gd name="connsiteX63" fmla="*/ 8795 w 10000"/>
                <a:gd name="connsiteY63" fmla="*/ 5295 h 9707"/>
                <a:gd name="connsiteX64" fmla="*/ 8755 w 10000"/>
                <a:gd name="connsiteY64" fmla="*/ 4927 h 9707"/>
                <a:gd name="connsiteX65" fmla="*/ 9157 w 10000"/>
                <a:gd name="connsiteY65" fmla="*/ 3602 h 9707"/>
                <a:gd name="connsiteX66" fmla="*/ 9277 w 10000"/>
                <a:gd name="connsiteY66" fmla="*/ 3602 h 9707"/>
                <a:gd name="connsiteX67" fmla="*/ 9438 w 10000"/>
                <a:gd name="connsiteY67" fmla="*/ 3493 h 9707"/>
                <a:gd name="connsiteX68" fmla="*/ 9920 w 10000"/>
                <a:gd name="connsiteY68" fmla="*/ 3309 h 9707"/>
                <a:gd name="connsiteX69" fmla="*/ 10000 w 10000"/>
                <a:gd name="connsiteY69" fmla="*/ 3015 h 9707"/>
                <a:gd name="connsiteX70" fmla="*/ 9960 w 10000"/>
                <a:gd name="connsiteY70" fmla="*/ 2940 h 9707"/>
                <a:gd name="connsiteX71" fmla="*/ 9799 w 10000"/>
                <a:gd name="connsiteY71" fmla="*/ 2940 h 9707"/>
                <a:gd name="connsiteX72" fmla="*/ 9679 w 10000"/>
                <a:gd name="connsiteY72" fmla="*/ 2757 h 9707"/>
                <a:gd name="connsiteX73" fmla="*/ 9438 w 10000"/>
                <a:gd name="connsiteY73" fmla="*/ 2685 h 9707"/>
                <a:gd name="connsiteX74" fmla="*/ 9317 w 10000"/>
                <a:gd name="connsiteY74" fmla="*/ 2537 h 9707"/>
                <a:gd name="connsiteX75" fmla="*/ 9237 w 10000"/>
                <a:gd name="connsiteY75" fmla="*/ 1986 h 9707"/>
                <a:gd name="connsiteX76" fmla="*/ 9237 w 10000"/>
                <a:gd name="connsiteY76" fmla="*/ 1213 h 9707"/>
                <a:gd name="connsiteX77" fmla="*/ 9036 w 10000"/>
                <a:gd name="connsiteY77" fmla="*/ 957 h 9707"/>
                <a:gd name="connsiteX78" fmla="*/ 8996 w 10000"/>
                <a:gd name="connsiteY78" fmla="*/ 699 h 9707"/>
                <a:gd name="connsiteX79" fmla="*/ 8675 w 10000"/>
                <a:gd name="connsiteY79" fmla="*/ 331 h 9707"/>
                <a:gd name="connsiteX80" fmla="*/ 8394 w 10000"/>
                <a:gd name="connsiteY80" fmla="*/ 185 h 9707"/>
                <a:gd name="connsiteX81" fmla="*/ 8233 w 10000"/>
                <a:gd name="connsiteY81" fmla="*/ 0 h 9707"/>
                <a:gd name="connsiteX82" fmla="*/ 7992 w 10000"/>
                <a:gd name="connsiteY82" fmla="*/ 185 h 9707"/>
                <a:gd name="connsiteX83" fmla="*/ 7831 w 10000"/>
                <a:gd name="connsiteY83" fmla="*/ 148 h 9707"/>
                <a:gd name="connsiteX84" fmla="*/ 7711 w 10000"/>
                <a:gd name="connsiteY84" fmla="*/ 477 h 9707"/>
                <a:gd name="connsiteX85" fmla="*/ 7390 w 10000"/>
                <a:gd name="connsiteY85" fmla="*/ 552 h 9707"/>
                <a:gd name="connsiteX86" fmla="*/ 7309 w 10000"/>
                <a:gd name="connsiteY86" fmla="*/ 808 h 9707"/>
                <a:gd name="connsiteX87" fmla="*/ 7028 w 10000"/>
                <a:gd name="connsiteY87" fmla="*/ 808 h 9707"/>
                <a:gd name="connsiteX88" fmla="*/ 6787 w 10000"/>
                <a:gd name="connsiteY88" fmla="*/ 699 h 9707"/>
                <a:gd name="connsiteX89" fmla="*/ 6265 w 10000"/>
                <a:gd name="connsiteY89" fmla="*/ 699 h 9707"/>
                <a:gd name="connsiteX90" fmla="*/ 5743 w 10000"/>
                <a:gd name="connsiteY90" fmla="*/ 699 h 9707"/>
                <a:gd name="connsiteX91" fmla="*/ 5783 w 10000"/>
                <a:gd name="connsiteY91" fmla="*/ 552 h 9707"/>
                <a:gd name="connsiteX92" fmla="*/ 5703 w 10000"/>
                <a:gd name="connsiteY92" fmla="*/ 552 h 9707"/>
                <a:gd name="connsiteX93" fmla="*/ 5663 w 10000"/>
                <a:gd name="connsiteY93" fmla="*/ 699 h 9707"/>
                <a:gd name="connsiteX94" fmla="*/ 5181 w 10000"/>
                <a:gd name="connsiteY94" fmla="*/ 699 h 9707"/>
                <a:gd name="connsiteX95" fmla="*/ 4699 w 10000"/>
                <a:gd name="connsiteY95" fmla="*/ 699 h 9707"/>
                <a:gd name="connsiteX96" fmla="*/ 4217 w 10000"/>
                <a:gd name="connsiteY96" fmla="*/ 699 h 9707"/>
                <a:gd name="connsiteX97" fmla="*/ 3735 w 10000"/>
                <a:gd name="connsiteY97" fmla="*/ 699 h 9707"/>
                <a:gd name="connsiteX98" fmla="*/ 3293 w 10000"/>
                <a:gd name="connsiteY98" fmla="*/ 699 h 9707"/>
                <a:gd name="connsiteX99" fmla="*/ 2811 w 10000"/>
                <a:gd name="connsiteY99" fmla="*/ 699 h 9707"/>
                <a:gd name="connsiteX100" fmla="*/ 2369 w 10000"/>
                <a:gd name="connsiteY100" fmla="*/ 699 h 9707"/>
                <a:gd name="connsiteX101" fmla="*/ 1888 w 10000"/>
                <a:gd name="connsiteY101" fmla="*/ 699 h 9707"/>
                <a:gd name="connsiteX102" fmla="*/ 1888 w 10000"/>
                <a:gd name="connsiteY102" fmla="*/ 1213 h 9707"/>
                <a:gd name="connsiteX103" fmla="*/ 1888 w 10000"/>
                <a:gd name="connsiteY103" fmla="*/ 1875 h 9707"/>
                <a:gd name="connsiteX104" fmla="*/ 1285 w 10000"/>
                <a:gd name="connsiteY104" fmla="*/ 1875 h 9707"/>
                <a:gd name="connsiteX105" fmla="*/ 1285 w 10000"/>
                <a:gd name="connsiteY105" fmla="*/ 2169 h 9707"/>
                <a:gd name="connsiteX0" fmla="*/ 1285 w 10000"/>
                <a:gd name="connsiteY0" fmla="*/ 2234 h 9424"/>
                <a:gd name="connsiteX1" fmla="*/ 1285 w 10000"/>
                <a:gd name="connsiteY1" fmla="*/ 2840 h 9424"/>
                <a:gd name="connsiteX2" fmla="*/ 1285 w 10000"/>
                <a:gd name="connsiteY2" fmla="*/ 3409 h 9424"/>
                <a:gd name="connsiteX3" fmla="*/ 1285 w 10000"/>
                <a:gd name="connsiteY3" fmla="*/ 3978 h 9424"/>
                <a:gd name="connsiteX4" fmla="*/ 1285 w 10000"/>
                <a:gd name="connsiteY4" fmla="*/ 4506 h 9424"/>
                <a:gd name="connsiteX5" fmla="*/ 643 w 10000"/>
                <a:gd name="connsiteY5" fmla="*/ 4621 h 9424"/>
                <a:gd name="connsiteX6" fmla="*/ 522 w 10000"/>
                <a:gd name="connsiteY6" fmla="*/ 4923 h 9424"/>
                <a:gd name="connsiteX7" fmla="*/ 241 w 10000"/>
                <a:gd name="connsiteY7" fmla="*/ 5302 h 9424"/>
                <a:gd name="connsiteX8" fmla="*/ 241 w 10000"/>
                <a:gd name="connsiteY8" fmla="*/ 5606 h 9424"/>
                <a:gd name="connsiteX9" fmla="*/ 120 w 10000"/>
                <a:gd name="connsiteY9" fmla="*/ 5681 h 9424"/>
                <a:gd name="connsiteX10" fmla="*/ 120 w 10000"/>
                <a:gd name="connsiteY10" fmla="*/ 5946 h 9424"/>
                <a:gd name="connsiteX11" fmla="*/ 0 w 10000"/>
                <a:gd name="connsiteY11" fmla="*/ 6175 h 9424"/>
                <a:gd name="connsiteX12" fmla="*/ 0 w 10000"/>
                <a:gd name="connsiteY12" fmla="*/ 6362 h 9424"/>
                <a:gd name="connsiteX13" fmla="*/ 241 w 10000"/>
                <a:gd name="connsiteY13" fmla="*/ 6324 h 9424"/>
                <a:gd name="connsiteX14" fmla="*/ 281 w 10000"/>
                <a:gd name="connsiteY14" fmla="*/ 6665 h 9424"/>
                <a:gd name="connsiteX15" fmla="*/ 602 w 10000"/>
                <a:gd name="connsiteY15" fmla="*/ 7273 h 9424"/>
                <a:gd name="connsiteX16" fmla="*/ 602 w 10000"/>
                <a:gd name="connsiteY16" fmla="*/ 7310 h 9424"/>
                <a:gd name="connsiteX17" fmla="*/ 482 w 10000"/>
                <a:gd name="connsiteY17" fmla="*/ 7348 h 9424"/>
                <a:gd name="connsiteX18" fmla="*/ 964 w 10000"/>
                <a:gd name="connsiteY18" fmla="*/ 7953 h 9424"/>
                <a:gd name="connsiteX19" fmla="*/ 1004 w 10000"/>
                <a:gd name="connsiteY19" fmla="*/ 8143 h 9424"/>
                <a:gd name="connsiteX20" fmla="*/ 964 w 10000"/>
                <a:gd name="connsiteY20" fmla="*/ 8674 h 9424"/>
                <a:gd name="connsiteX21" fmla="*/ 1044 w 10000"/>
                <a:gd name="connsiteY21" fmla="*/ 8749 h 9424"/>
                <a:gd name="connsiteX22" fmla="*/ 1365 w 10000"/>
                <a:gd name="connsiteY22" fmla="*/ 8786 h 9424"/>
                <a:gd name="connsiteX23" fmla="*/ 1406 w 10000"/>
                <a:gd name="connsiteY23" fmla="*/ 8938 h 9424"/>
                <a:gd name="connsiteX24" fmla="*/ 1767 w 10000"/>
                <a:gd name="connsiteY24" fmla="*/ 8976 h 9424"/>
                <a:gd name="connsiteX25" fmla="*/ 1968 w 10000"/>
                <a:gd name="connsiteY25" fmla="*/ 9128 h 9424"/>
                <a:gd name="connsiteX26" fmla="*/ 2008 w 10000"/>
                <a:gd name="connsiteY26" fmla="*/ 9393 h 9424"/>
                <a:gd name="connsiteX27" fmla="*/ 2519 w 10000"/>
                <a:gd name="connsiteY27" fmla="*/ 7935 h 9424"/>
                <a:gd name="connsiteX28" fmla="*/ 2679 w 10000"/>
                <a:gd name="connsiteY28" fmla="*/ 8389 h 9424"/>
                <a:gd name="connsiteX29" fmla="*/ 2890 w 10000"/>
                <a:gd name="connsiteY29" fmla="*/ 8368 h 9424"/>
                <a:gd name="connsiteX30" fmla="*/ 3167 w 10000"/>
                <a:gd name="connsiteY30" fmla="*/ 8376 h 9424"/>
                <a:gd name="connsiteX31" fmla="*/ 3537 w 10000"/>
                <a:gd name="connsiteY31" fmla="*/ 8319 h 9424"/>
                <a:gd name="connsiteX32" fmla="*/ 3795 w 10000"/>
                <a:gd name="connsiteY32" fmla="*/ 8510 h 9424"/>
                <a:gd name="connsiteX33" fmla="*/ 4153 w 10000"/>
                <a:gd name="connsiteY33" fmla="*/ 8583 h 9424"/>
                <a:gd name="connsiteX34" fmla="*/ 4406 w 10000"/>
                <a:gd name="connsiteY34" fmla="*/ 8529 h 9424"/>
                <a:gd name="connsiteX35" fmla="*/ 4600 w 10000"/>
                <a:gd name="connsiteY35" fmla="*/ 8390 h 9424"/>
                <a:gd name="connsiteX36" fmla="*/ 4762 w 10000"/>
                <a:gd name="connsiteY36" fmla="*/ 8134 h 9424"/>
                <a:gd name="connsiteX37" fmla="*/ 4901 w 10000"/>
                <a:gd name="connsiteY37" fmla="*/ 7977 h 9424"/>
                <a:gd name="connsiteX38" fmla="*/ 5080 w 10000"/>
                <a:gd name="connsiteY38" fmla="*/ 8089 h 9424"/>
                <a:gd name="connsiteX39" fmla="*/ 5337 w 10000"/>
                <a:gd name="connsiteY39" fmla="*/ 8201 h 9424"/>
                <a:gd name="connsiteX40" fmla="*/ 5564 w 10000"/>
                <a:gd name="connsiteY40" fmla="*/ 8347 h 9424"/>
                <a:gd name="connsiteX41" fmla="*/ 5768 w 10000"/>
                <a:gd name="connsiteY41" fmla="*/ 8253 h 9424"/>
                <a:gd name="connsiteX42" fmla="*/ 5933 w 10000"/>
                <a:gd name="connsiteY42" fmla="*/ 8165 h 9424"/>
                <a:gd name="connsiteX43" fmla="*/ 6089 w 10000"/>
                <a:gd name="connsiteY43" fmla="*/ 7971 h 9424"/>
                <a:gd name="connsiteX44" fmla="*/ 6274 w 10000"/>
                <a:gd name="connsiteY44" fmla="*/ 7707 h 9424"/>
                <a:gd name="connsiteX45" fmla="*/ 6389 w 10000"/>
                <a:gd name="connsiteY45" fmla="*/ 7584 h 9424"/>
                <a:gd name="connsiteX46" fmla="*/ 6524 w 10000"/>
                <a:gd name="connsiteY46" fmla="*/ 7535 h 9424"/>
                <a:gd name="connsiteX47" fmla="*/ 6531 w 10000"/>
                <a:gd name="connsiteY47" fmla="*/ 7380 h 9424"/>
                <a:gd name="connsiteX48" fmla="*/ 6424 w 10000"/>
                <a:gd name="connsiteY48" fmla="*/ 7028 h 9424"/>
                <a:gd name="connsiteX49" fmla="*/ 6602 w 10000"/>
                <a:gd name="connsiteY49" fmla="*/ 7037 h 9424"/>
                <a:gd name="connsiteX50" fmla="*/ 6707 w 10000"/>
                <a:gd name="connsiteY50" fmla="*/ 6903 h 9424"/>
                <a:gd name="connsiteX51" fmla="*/ 6876 w 10000"/>
                <a:gd name="connsiteY51" fmla="*/ 6904 h 9424"/>
                <a:gd name="connsiteX52" fmla="*/ 6827 w 10000"/>
                <a:gd name="connsiteY52" fmla="*/ 7724 h 9424"/>
                <a:gd name="connsiteX53" fmla="*/ 6991 w 10000"/>
                <a:gd name="connsiteY53" fmla="*/ 7818 h 9424"/>
                <a:gd name="connsiteX54" fmla="*/ 7275 w 10000"/>
                <a:gd name="connsiteY54" fmla="*/ 8057 h 9424"/>
                <a:gd name="connsiteX55" fmla="*/ 7430 w 10000"/>
                <a:gd name="connsiteY55" fmla="*/ 7688 h 9424"/>
                <a:gd name="connsiteX56" fmla="*/ 7470 w 10000"/>
                <a:gd name="connsiteY56" fmla="*/ 7725 h 9424"/>
                <a:gd name="connsiteX57" fmla="*/ 7590 w 10000"/>
                <a:gd name="connsiteY57" fmla="*/ 7500 h 9424"/>
                <a:gd name="connsiteX58" fmla="*/ 7831 w 10000"/>
                <a:gd name="connsiteY58" fmla="*/ 7386 h 9424"/>
                <a:gd name="connsiteX59" fmla="*/ 7952 w 10000"/>
                <a:gd name="connsiteY59" fmla="*/ 6969 h 9424"/>
                <a:gd name="connsiteX60" fmla="*/ 8313 w 10000"/>
                <a:gd name="connsiteY60" fmla="*/ 6477 h 9424"/>
                <a:gd name="connsiteX61" fmla="*/ 8594 w 10000"/>
                <a:gd name="connsiteY61" fmla="*/ 6249 h 9424"/>
                <a:gd name="connsiteX62" fmla="*/ 8795 w 10000"/>
                <a:gd name="connsiteY62" fmla="*/ 5606 h 9424"/>
                <a:gd name="connsiteX63" fmla="*/ 8795 w 10000"/>
                <a:gd name="connsiteY63" fmla="*/ 5455 h 9424"/>
                <a:gd name="connsiteX64" fmla="*/ 8755 w 10000"/>
                <a:gd name="connsiteY64" fmla="*/ 5076 h 9424"/>
                <a:gd name="connsiteX65" fmla="*/ 9157 w 10000"/>
                <a:gd name="connsiteY65" fmla="*/ 3711 h 9424"/>
                <a:gd name="connsiteX66" fmla="*/ 9277 w 10000"/>
                <a:gd name="connsiteY66" fmla="*/ 3711 h 9424"/>
                <a:gd name="connsiteX67" fmla="*/ 9438 w 10000"/>
                <a:gd name="connsiteY67" fmla="*/ 3598 h 9424"/>
                <a:gd name="connsiteX68" fmla="*/ 9920 w 10000"/>
                <a:gd name="connsiteY68" fmla="*/ 3409 h 9424"/>
                <a:gd name="connsiteX69" fmla="*/ 10000 w 10000"/>
                <a:gd name="connsiteY69" fmla="*/ 3106 h 9424"/>
                <a:gd name="connsiteX70" fmla="*/ 9960 w 10000"/>
                <a:gd name="connsiteY70" fmla="*/ 3029 h 9424"/>
                <a:gd name="connsiteX71" fmla="*/ 9799 w 10000"/>
                <a:gd name="connsiteY71" fmla="*/ 3029 h 9424"/>
                <a:gd name="connsiteX72" fmla="*/ 9679 w 10000"/>
                <a:gd name="connsiteY72" fmla="*/ 2840 h 9424"/>
                <a:gd name="connsiteX73" fmla="*/ 9438 w 10000"/>
                <a:gd name="connsiteY73" fmla="*/ 2766 h 9424"/>
                <a:gd name="connsiteX74" fmla="*/ 9317 w 10000"/>
                <a:gd name="connsiteY74" fmla="*/ 2614 h 9424"/>
                <a:gd name="connsiteX75" fmla="*/ 9237 w 10000"/>
                <a:gd name="connsiteY75" fmla="*/ 2046 h 9424"/>
                <a:gd name="connsiteX76" fmla="*/ 9237 w 10000"/>
                <a:gd name="connsiteY76" fmla="*/ 1250 h 9424"/>
                <a:gd name="connsiteX77" fmla="*/ 9036 w 10000"/>
                <a:gd name="connsiteY77" fmla="*/ 986 h 9424"/>
                <a:gd name="connsiteX78" fmla="*/ 8996 w 10000"/>
                <a:gd name="connsiteY78" fmla="*/ 720 h 9424"/>
                <a:gd name="connsiteX79" fmla="*/ 8675 w 10000"/>
                <a:gd name="connsiteY79" fmla="*/ 341 h 9424"/>
                <a:gd name="connsiteX80" fmla="*/ 8394 w 10000"/>
                <a:gd name="connsiteY80" fmla="*/ 191 h 9424"/>
                <a:gd name="connsiteX81" fmla="*/ 8233 w 10000"/>
                <a:gd name="connsiteY81" fmla="*/ 0 h 9424"/>
                <a:gd name="connsiteX82" fmla="*/ 7992 w 10000"/>
                <a:gd name="connsiteY82" fmla="*/ 191 h 9424"/>
                <a:gd name="connsiteX83" fmla="*/ 7831 w 10000"/>
                <a:gd name="connsiteY83" fmla="*/ 152 h 9424"/>
                <a:gd name="connsiteX84" fmla="*/ 7711 w 10000"/>
                <a:gd name="connsiteY84" fmla="*/ 491 h 9424"/>
                <a:gd name="connsiteX85" fmla="*/ 7390 w 10000"/>
                <a:gd name="connsiteY85" fmla="*/ 569 h 9424"/>
                <a:gd name="connsiteX86" fmla="*/ 7309 w 10000"/>
                <a:gd name="connsiteY86" fmla="*/ 832 h 9424"/>
                <a:gd name="connsiteX87" fmla="*/ 7028 w 10000"/>
                <a:gd name="connsiteY87" fmla="*/ 832 h 9424"/>
                <a:gd name="connsiteX88" fmla="*/ 6787 w 10000"/>
                <a:gd name="connsiteY88" fmla="*/ 720 h 9424"/>
                <a:gd name="connsiteX89" fmla="*/ 6265 w 10000"/>
                <a:gd name="connsiteY89" fmla="*/ 720 h 9424"/>
                <a:gd name="connsiteX90" fmla="*/ 5743 w 10000"/>
                <a:gd name="connsiteY90" fmla="*/ 720 h 9424"/>
                <a:gd name="connsiteX91" fmla="*/ 5783 w 10000"/>
                <a:gd name="connsiteY91" fmla="*/ 569 h 9424"/>
                <a:gd name="connsiteX92" fmla="*/ 5703 w 10000"/>
                <a:gd name="connsiteY92" fmla="*/ 569 h 9424"/>
                <a:gd name="connsiteX93" fmla="*/ 5663 w 10000"/>
                <a:gd name="connsiteY93" fmla="*/ 720 h 9424"/>
                <a:gd name="connsiteX94" fmla="*/ 5181 w 10000"/>
                <a:gd name="connsiteY94" fmla="*/ 720 h 9424"/>
                <a:gd name="connsiteX95" fmla="*/ 4699 w 10000"/>
                <a:gd name="connsiteY95" fmla="*/ 720 h 9424"/>
                <a:gd name="connsiteX96" fmla="*/ 4217 w 10000"/>
                <a:gd name="connsiteY96" fmla="*/ 720 h 9424"/>
                <a:gd name="connsiteX97" fmla="*/ 3735 w 10000"/>
                <a:gd name="connsiteY97" fmla="*/ 720 h 9424"/>
                <a:gd name="connsiteX98" fmla="*/ 3293 w 10000"/>
                <a:gd name="connsiteY98" fmla="*/ 720 h 9424"/>
                <a:gd name="connsiteX99" fmla="*/ 2811 w 10000"/>
                <a:gd name="connsiteY99" fmla="*/ 720 h 9424"/>
                <a:gd name="connsiteX100" fmla="*/ 2369 w 10000"/>
                <a:gd name="connsiteY100" fmla="*/ 720 h 9424"/>
                <a:gd name="connsiteX101" fmla="*/ 1888 w 10000"/>
                <a:gd name="connsiteY101" fmla="*/ 720 h 9424"/>
                <a:gd name="connsiteX102" fmla="*/ 1888 w 10000"/>
                <a:gd name="connsiteY102" fmla="*/ 1250 h 9424"/>
                <a:gd name="connsiteX103" fmla="*/ 1888 w 10000"/>
                <a:gd name="connsiteY103" fmla="*/ 1932 h 9424"/>
                <a:gd name="connsiteX104" fmla="*/ 1285 w 10000"/>
                <a:gd name="connsiteY104" fmla="*/ 1932 h 9424"/>
                <a:gd name="connsiteX105" fmla="*/ 1285 w 10000"/>
                <a:gd name="connsiteY105" fmla="*/ 2234 h 9424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9525 h 10000"/>
                <a:gd name="connsiteX25" fmla="*/ 1968 w 10000"/>
                <a:gd name="connsiteY25" fmla="*/ 9686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9525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13 w 10000"/>
                <a:gd name="connsiteY28" fmla="*/ 8588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13 w 10000"/>
                <a:gd name="connsiteY28" fmla="*/ 8588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890 w 10000"/>
                <a:gd name="connsiteY28" fmla="*/ 8879 h 10000"/>
                <a:gd name="connsiteX29" fmla="*/ 3167 w 10000"/>
                <a:gd name="connsiteY29" fmla="*/ 8888 h 10000"/>
                <a:gd name="connsiteX30" fmla="*/ 3537 w 10000"/>
                <a:gd name="connsiteY30" fmla="*/ 8827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424 w 10000"/>
                <a:gd name="connsiteY47" fmla="*/ 7458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3167 w 10000"/>
                <a:gd name="connsiteY29" fmla="*/ 8888 h 10000"/>
                <a:gd name="connsiteX30" fmla="*/ 3537 w 10000"/>
                <a:gd name="connsiteY30" fmla="*/ 8827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424 w 10000"/>
                <a:gd name="connsiteY47" fmla="*/ 7458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60 w 10000"/>
                <a:gd name="connsiteY29" fmla="*/ 8802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572 w 10000"/>
                <a:gd name="connsiteY48" fmla="*/ 7640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572 w 10000"/>
                <a:gd name="connsiteY47" fmla="*/ 7640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9707"/>
                <a:gd name="connsiteX1" fmla="*/ 1285 w 10000"/>
                <a:gd name="connsiteY1" fmla="*/ 3014 h 9707"/>
                <a:gd name="connsiteX2" fmla="*/ 1285 w 10000"/>
                <a:gd name="connsiteY2" fmla="*/ 3617 h 9707"/>
                <a:gd name="connsiteX3" fmla="*/ 1285 w 10000"/>
                <a:gd name="connsiteY3" fmla="*/ 4221 h 9707"/>
                <a:gd name="connsiteX4" fmla="*/ 1285 w 10000"/>
                <a:gd name="connsiteY4" fmla="*/ 4781 h 9707"/>
                <a:gd name="connsiteX5" fmla="*/ 643 w 10000"/>
                <a:gd name="connsiteY5" fmla="*/ 4903 h 9707"/>
                <a:gd name="connsiteX6" fmla="*/ 522 w 10000"/>
                <a:gd name="connsiteY6" fmla="*/ 5224 h 9707"/>
                <a:gd name="connsiteX7" fmla="*/ 241 w 10000"/>
                <a:gd name="connsiteY7" fmla="*/ 5626 h 9707"/>
                <a:gd name="connsiteX8" fmla="*/ 241 w 10000"/>
                <a:gd name="connsiteY8" fmla="*/ 5949 h 9707"/>
                <a:gd name="connsiteX9" fmla="*/ 120 w 10000"/>
                <a:gd name="connsiteY9" fmla="*/ 6028 h 9707"/>
                <a:gd name="connsiteX10" fmla="*/ 120 w 10000"/>
                <a:gd name="connsiteY10" fmla="*/ 6309 h 9707"/>
                <a:gd name="connsiteX11" fmla="*/ 0 w 10000"/>
                <a:gd name="connsiteY11" fmla="*/ 6552 h 9707"/>
                <a:gd name="connsiteX12" fmla="*/ 0 w 10000"/>
                <a:gd name="connsiteY12" fmla="*/ 6751 h 9707"/>
                <a:gd name="connsiteX13" fmla="*/ 241 w 10000"/>
                <a:gd name="connsiteY13" fmla="*/ 6711 h 9707"/>
                <a:gd name="connsiteX14" fmla="*/ 281 w 10000"/>
                <a:gd name="connsiteY14" fmla="*/ 7072 h 9707"/>
                <a:gd name="connsiteX15" fmla="*/ 602 w 10000"/>
                <a:gd name="connsiteY15" fmla="*/ 7718 h 9707"/>
                <a:gd name="connsiteX16" fmla="*/ 602 w 10000"/>
                <a:gd name="connsiteY16" fmla="*/ 7757 h 9707"/>
                <a:gd name="connsiteX17" fmla="*/ 482 w 10000"/>
                <a:gd name="connsiteY17" fmla="*/ 7797 h 9707"/>
                <a:gd name="connsiteX18" fmla="*/ 964 w 10000"/>
                <a:gd name="connsiteY18" fmla="*/ 8439 h 9707"/>
                <a:gd name="connsiteX19" fmla="*/ 1004 w 10000"/>
                <a:gd name="connsiteY19" fmla="*/ 8641 h 9707"/>
                <a:gd name="connsiteX20" fmla="*/ 964 w 10000"/>
                <a:gd name="connsiteY20" fmla="*/ 9204 h 9707"/>
                <a:gd name="connsiteX21" fmla="*/ 1192 w 10000"/>
                <a:gd name="connsiteY21" fmla="*/ 9317 h 9707"/>
                <a:gd name="connsiteX22" fmla="*/ 1332 w 10000"/>
                <a:gd name="connsiteY22" fmla="*/ 8762 h 9707"/>
                <a:gd name="connsiteX23" fmla="*/ 1439 w 10000"/>
                <a:gd name="connsiteY23" fmla="*/ 8857 h 9707"/>
                <a:gd name="connsiteX24" fmla="*/ 1767 w 10000"/>
                <a:gd name="connsiteY24" fmla="*/ 8782 h 9707"/>
                <a:gd name="connsiteX25" fmla="*/ 1951 w 10000"/>
                <a:gd name="connsiteY25" fmla="*/ 8680 h 9707"/>
                <a:gd name="connsiteX26" fmla="*/ 2025 w 10000"/>
                <a:gd name="connsiteY26" fmla="*/ 8433 h 9707"/>
                <a:gd name="connsiteX27" fmla="*/ 2338 w 10000"/>
                <a:gd name="connsiteY27" fmla="*/ 8354 h 9707"/>
                <a:gd name="connsiteX28" fmla="*/ 2643 w 10000"/>
                <a:gd name="connsiteY28" fmla="*/ 8747 h 9707"/>
                <a:gd name="connsiteX29" fmla="*/ 2911 w 10000"/>
                <a:gd name="connsiteY29" fmla="*/ 8918 h 9707"/>
                <a:gd name="connsiteX30" fmla="*/ 3167 w 10000"/>
                <a:gd name="connsiteY30" fmla="*/ 8888 h 9707"/>
                <a:gd name="connsiteX31" fmla="*/ 3795 w 10000"/>
                <a:gd name="connsiteY31" fmla="*/ 9030 h 9707"/>
                <a:gd name="connsiteX32" fmla="*/ 4153 w 10000"/>
                <a:gd name="connsiteY32" fmla="*/ 9108 h 9707"/>
                <a:gd name="connsiteX33" fmla="*/ 4600 w 10000"/>
                <a:gd name="connsiteY33" fmla="*/ 8903 h 9707"/>
                <a:gd name="connsiteX34" fmla="*/ 4762 w 10000"/>
                <a:gd name="connsiteY34" fmla="*/ 8631 h 9707"/>
                <a:gd name="connsiteX35" fmla="*/ 4901 w 10000"/>
                <a:gd name="connsiteY35" fmla="*/ 8465 h 9707"/>
                <a:gd name="connsiteX36" fmla="*/ 5080 w 10000"/>
                <a:gd name="connsiteY36" fmla="*/ 8583 h 9707"/>
                <a:gd name="connsiteX37" fmla="*/ 5337 w 10000"/>
                <a:gd name="connsiteY37" fmla="*/ 8702 h 9707"/>
                <a:gd name="connsiteX38" fmla="*/ 5564 w 10000"/>
                <a:gd name="connsiteY38" fmla="*/ 8857 h 9707"/>
                <a:gd name="connsiteX39" fmla="*/ 5768 w 10000"/>
                <a:gd name="connsiteY39" fmla="*/ 8757 h 9707"/>
                <a:gd name="connsiteX40" fmla="*/ 5933 w 10000"/>
                <a:gd name="connsiteY40" fmla="*/ 8664 h 9707"/>
                <a:gd name="connsiteX41" fmla="*/ 6089 w 10000"/>
                <a:gd name="connsiteY41" fmla="*/ 8458 h 9707"/>
                <a:gd name="connsiteX42" fmla="*/ 6274 w 10000"/>
                <a:gd name="connsiteY42" fmla="*/ 8178 h 9707"/>
                <a:gd name="connsiteX43" fmla="*/ 6389 w 10000"/>
                <a:gd name="connsiteY43" fmla="*/ 8048 h 9707"/>
                <a:gd name="connsiteX44" fmla="*/ 6524 w 10000"/>
                <a:gd name="connsiteY44" fmla="*/ 7996 h 9707"/>
                <a:gd name="connsiteX45" fmla="*/ 6531 w 10000"/>
                <a:gd name="connsiteY45" fmla="*/ 7831 h 9707"/>
                <a:gd name="connsiteX46" fmla="*/ 6572 w 10000"/>
                <a:gd name="connsiteY46" fmla="*/ 7640 h 9707"/>
                <a:gd name="connsiteX47" fmla="*/ 6602 w 10000"/>
                <a:gd name="connsiteY47" fmla="*/ 7467 h 9707"/>
                <a:gd name="connsiteX48" fmla="*/ 6707 w 10000"/>
                <a:gd name="connsiteY48" fmla="*/ 7325 h 9707"/>
                <a:gd name="connsiteX49" fmla="*/ 6876 w 10000"/>
                <a:gd name="connsiteY49" fmla="*/ 7326 h 9707"/>
                <a:gd name="connsiteX50" fmla="*/ 6827 w 10000"/>
                <a:gd name="connsiteY50" fmla="*/ 8196 h 9707"/>
                <a:gd name="connsiteX51" fmla="*/ 6991 w 10000"/>
                <a:gd name="connsiteY51" fmla="*/ 8296 h 9707"/>
                <a:gd name="connsiteX52" fmla="*/ 7275 w 10000"/>
                <a:gd name="connsiteY52" fmla="*/ 8549 h 9707"/>
                <a:gd name="connsiteX53" fmla="*/ 7430 w 10000"/>
                <a:gd name="connsiteY53" fmla="*/ 8158 h 9707"/>
                <a:gd name="connsiteX54" fmla="*/ 7470 w 10000"/>
                <a:gd name="connsiteY54" fmla="*/ 8197 h 9707"/>
                <a:gd name="connsiteX55" fmla="*/ 7590 w 10000"/>
                <a:gd name="connsiteY55" fmla="*/ 7958 h 9707"/>
                <a:gd name="connsiteX56" fmla="*/ 7831 w 10000"/>
                <a:gd name="connsiteY56" fmla="*/ 7837 h 9707"/>
                <a:gd name="connsiteX57" fmla="*/ 7952 w 10000"/>
                <a:gd name="connsiteY57" fmla="*/ 7395 h 9707"/>
                <a:gd name="connsiteX58" fmla="*/ 8313 w 10000"/>
                <a:gd name="connsiteY58" fmla="*/ 6873 h 9707"/>
                <a:gd name="connsiteX59" fmla="*/ 8594 w 10000"/>
                <a:gd name="connsiteY59" fmla="*/ 6631 h 9707"/>
                <a:gd name="connsiteX60" fmla="*/ 8795 w 10000"/>
                <a:gd name="connsiteY60" fmla="*/ 5949 h 9707"/>
                <a:gd name="connsiteX61" fmla="*/ 8795 w 10000"/>
                <a:gd name="connsiteY61" fmla="*/ 5788 h 9707"/>
                <a:gd name="connsiteX62" fmla="*/ 8755 w 10000"/>
                <a:gd name="connsiteY62" fmla="*/ 5386 h 9707"/>
                <a:gd name="connsiteX63" fmla="*/ 9157 w 10000"/>
                <a:gd name="connsiteY63" fmla="*/ 3938 h 9707"/>
                <a:gd name="connsiteX64" fmla="*/ 9277 w 10000"/>
                <a:gd name="connsiteY64" fmla="*/ 3938 h 9707"/>
                <a:gd name="connsiteX65" fmla="*/ 9438 w 10000"/>
                <a:gd name="connsiteY65" fmla="*/ 3818 h 9707"/>
                <a:gd name="connsiteX66" fmla="*/ 9920 w 10000"/>
                <a:gd name="connsiteY66" fmla="*/ 3617 h 9707"/>
                <a:gd name="connsiteX67" fmla="*/ 10000 w 10000"/>
                <a:gd name="connsiteY67" fmla="*/ 3296 h 9707"/>
                <a:gd name="connsiteX68" fmla="*/ 9960 w 10000"/>
                <a:gd name="connsiteY68" fmla="*/ 3214 h 9707"/>
                <a:gd name="connsiteX69" fmla="*/ 9799 w 10000"/>
                <a:gd name="connsiteY69" fmla="*/ 3214 h 9707"/>
                <a:gd name="connsiteX70" fmla="*/ 9679 w 10000"/>
                <a:gd name="connsiteY70" fmla="*/ 3014 h 9707"/>
                <a:gd name="connsiteX71" fmla="*/ 9438 w 10000"/>
                <a:gd name="connsiteY71" fmla="*/ 2935 h 9707"/>
                <a:gd name="connsiteX72" fmla="*/ 9317 w 10000"/>
                <a:gd name="connsiteY72" fmla="*/ 2774 h 9707"/>
                <a:gd name="connsiteX73" fmla="*/ 9237 w 10000"/>
                <a:gd name="connsiteY73" fmla="*/ 2171 h 9707"/>
                <a:gd name="connsiteX74" fmla="*/ 9237 w 10000"/>
                <a:gd name="connsiteY74" fmla="*/ 1326 h 9707"/>
                <a:gd name="connsiteX75" fmla="*/ 9036 w 10000"/>
                <a:gd name="connsiteY75" fmla="*/ 1046 h 9707"/>
                <a:gd name="connsiteX76" fmla="*/ 8996 w 10000"/>
                <a:gd name="connsiteY76" fmla="*/ 764 h 9707"/>
                <a:gd name="connsiteX77" fmla="*/ 8675 w 10000"/>
                <a:gd name="connsiteY77" fmla="*/ 362 h 9707"/>
                <a:gd name="connsiteX78" fmla="*/ 8394 w 10000"/>
                <a:gd name="connsiteY78" fmla="*/ 203 h 9707"/>
                <a:gd name="connsiteX79" fmla="*/ 8233 w 10000"/>
                <a:gd name="connsiteY79" fmla="*/ 0 h 9707"/>
                <a:gd name="connsiteX80" fmla="*/ 7992 w 10000"/>
                <a:gd name="connsiteY80" fmla="*/ 203 h 9707"/>
                <a:gd name="connsiteX81" fmla="*/ 7831 w 10000"/>
                <a:gd name="connsiteY81" fmla="*/ 161 h 9707"/>
                <a:gd name="connsiteX82" fmla="*/ 7711 w 10000"/>
                <a:gd name="connsiteY82" fmla="*/ 521 h 9707"/>
                <a:gd name="connsiteX83" fmla="*/ 7390 w 10000"/>
                <a:gd name="connsiteY83" fmla="*/ 604 h 9707"/>
                <a:gd name="connsiteX84" fmla="*/ 7309 w 10000"/>
                <a:gd name="connsiteY84" fmla="*/ 883 h 9707"/>
                <a:gd name="connsiteX85" fmla="*/ 7028 w 10000"/>
                <a:gd name="connsiteY85" fmla="*/ 883 h 9707"/>
                <a:gd name="connsiteX86" fmla="*/ 6787 w 10000"/>
                <a:gd name="connsiteY86" fmla="*/ 764 h 9707"/>
                <a:gd name="connsiteX87" fmla="*/ 6265 w 10000"/>
                <a:gd name="connsiteY87" fmla="*/ 764 h 9707"/>
                <a:gd name="connsiteX88" fmla="*/ 5743 w 10000"/>
                <a:gd name="connsiteY88" fmla="*/ 764 h 9707"/>
                <a:gd name="connsiteX89" fmla="*/ 5783 w 10000"/>
                <a:gd name="connsiteY89" fmla="*/ 604 h 9707"/>
                <a:gd name="connsiteX90" fmla="*/ 5703 w 10000"/>
                <a:gd name="connsiteY90" fmla="*/ 604 h 9707"/>
                <a:gd name="connsiteX91" fmla="*/ 5663 w 10000"/>
                <a:gd name="connsiteY91" fmla="*/ 764 h 9707"/>
                <a:gd name="connsiteX92" fmla="*/ 5181 w 10000"/>
                <a:gd name="connsiteY92" fmla="*/ 764 h 9707"/>
                <a:gd name="connsiteX93" fmla="*/ 4699 w 10000"/>
                <a:gd name="connsiteY93" fmla="*/ 764 h 9707"/>
                <a:gd name="connsiteX94" fmla="*/ 4217 w 10000"/>
                <a:gd name="connsiteY94" fmla="*/ 764 h 9707"/>
                <a:gd name="connsiteX95" fmla="*/ 3735 w 10000"/>
                <a:gd name="connsiteY95" fmla="*/ 764 h 9707"/>
                <a:gd name="connsiteX96" fmla="*/ 3293 w 10000"/>
                <a:gd name="connsiteY96" fmla="*/ 764 h 9707"/>
                <a:gd name="connsiteX97" fmla="*/ 2811 w 10000"/>
                <a:gd name="connsiteY97" fmla="*/ 764 h 9707"/>
                <a:gd name="connsiteX98" fmla="*/ 2369 w 10000"/>
                <a:gd name="connsiteY98" fmla="*/ 764 h 9707"/>
                <a:gd name="connsiteX99" fmla="*/ 1888 w 10000"/>
                <a:gd name="connsiteY99" fmla="*/ 764 h 9707"/>
                <a:gd name="connsiteX100" fmla="*/ 1888 w 10000"/>
                <a:gd name="connsiteY100" fmla="*/ 1326 h 9707"/>
                <a:gd name="connsiteX101" fmla="*/ 1888 w 10000"/>
                <a:gd name="connsiteY101" fmla="*/ 2050 h 9707"/>
                <a:gd name="connsiteX102" fmla="*/ 1285 w 10000"/>
                <a:gd name="connsiteY102" fmla="*/ 2050 h 9707"/>
                <a:gd name="connsiteX103" fmla="*/ 1285 w 10000"/>
                <a:gd name="connsiteY103" fmla="*/ 2371 h 9707"/>
                <a:gd name="connsiteX0" fmla="*/ 1285 w 10000"/>
                <a:gd name="connsiteY0" fmla="*/ 2443 h 9598"/>
                <a:gd name="connsiteX1" fmla="*/ 1285 w 10000"/>
                <a:gd name="connsiteY1" fmla="*/ 3105 h 9598"/>
                <a:gd name="connsiteX2" fmla="*/ 1285 w 10000"/>
                <a:gd name="connsiteY2" fmla="*/ 3726 h 9598"/>
                <a:gd name="connsiteX3" fmla="*/ 1285 w 10000"/>
                <a:gd name="connsiteY3" fmla="*/ 4348 h 9598"/>
                <a:gd name="connsiteX4" fmla="*/ 1285 w 10000"/>
                <a:gd name="connsiteY4" fmla="*/ 4925 h 9598"/>
                <a:gd name="connsiteX5" fmla="*/ 643 w 10000"/>
                <a:gd name="connsiteY5" fmla="*/ 5051 h 9598"/>
                <a:gd name="connsiteX6" fmla="*/ 522 w 10000"/>
                <a:gd name="connsiteY6" fmla="*/ 5382 h 9598"/>
                <a:gd name="connsiteX7" fmla="*/ 241 w 10000"/>
                <a:gd name="connsiteY7" fmla="*/ 5796 h 9598"/>
                <a:gd name="connsiteX8" fmla="*/ 241 w 10000"/>
                <a:gd name="connsiteY8" fmla="*/ 6129 h 9598"/>
                <a:gd name="connsiteX9" fmla="*/ 120 w 10000"/>
                <a:gd name="connsiteY9" fmla="*/ 6210 h 9598"/>
                <a:gd name="connsiteX10" fmla="*/ 120 w 10000"/>
                <a:gd name="connsiteY10" fmla="*/ 6499 h 9598"/>
                <a:gd name="connsiteX11" fmla="*/ 0 w 10000"/>
                <a:gd name="connsiteY11" fmla="*/ 6750 h 9598"/>
                <a:gd name="connsiteX12" fmla="*/ 0 w 10000"/>
                <a:gd name="connsiteY12" fmla="*/ 6955 h 9598"/>
                <a:gd name="connsiteX13" fmla="*/ 241 w 10000"/>
                <a:gd name="connsiteY13" fmla="*/ 6914 h 9598"/>
                <a:gd name="connsiteX14" fmla="*/ 281 w 10000"/>
                <a:gd name="connsiteY14" fmla="*/ 7285 h 9598"/>
                <a:gd name="connsiteX15" fmla="*/ 602 w 10000"/>
                <a:gd name="connsiteY15" fmla="*/ 7951 h 9598"/>
                <a:gd name="connsiteX16" fmla="*/ 602 w 10000"/>
                <a:gd name="connsiteY16" fmla="*/ 7991 h 9598"/>
                <a:gd name="connsiteX17" fmla="*/ 482 w 10000"/>
                <a:gd name="connsiteY17" fmla="*/ 8032 h 9598"/>
                <a:gd name="connsiteX18" fmla="*/ 964 w 10000"/>
                <a:gd name="connsiteY18" fmla="*/ 8694 h 9598"/>
                <a:gd name="connsiteX19" fmla="*/ 1004 w 10000"/>
                <a:gd name="connsiteY19" fmla="*/ 8902 h 9598"/>
                <a:gd name="connsiteX20" fmla="*/ 964 w 10000"/>
                <a:gd name="connsiteY20" fmla="*/ 9482 h 9598"/>
                <a:gd name="connsiteX21" fmla="*/ 1192 w 10000"/>
                <a:gd name="connsiteY21" fmla="*/ 9598 h 9598"/>
                <a:gd name="connsiteX22" fmla="*/ 1332 w 10000"/>
                <a:gd name="connsiteY22" fmla="*/ 9026 h 9598"/>
                <a:gd name="connsiteX23" fmla="*/ 1439 w 10000"/>
                <a:gd name="connsiteY23" fmla="*/ 9124 h 9598"/>
                <a:gd name="connsiteX24" fmla="*/ 1767 w 10000"/>
                <a:gd name="connsiteY24" fmla="*/ 9047 h 9598"/>
                <a:gd name="connsiteX25" fmla="*/ 1951 w 10000"/>
                <a:gd name="connsiteY25" fmla="*/ 8942 h 9598"/>
                <a:gd name="connsiteX26" fmla="*/ 2025 w 10000"/>
                <a:gd name="connsiteY26" fmla="*/ 8688 h 9598"/>
                <a:gd name="connsiteX27" fmla="*/ 2338 w 10000"/>
                <a:gd name="connsiteY27" fmla="*/ 8606 h 9598"/>
                <a:gd name="connsiteX28" fmla="*/ 2643 w 10000"/>
                <a:gd name="connsiteY28" fmla="*/ 9011 h 9598"/>
                <a:gd name="connsiteX29" fmla="*/ 2911 w 10000"/>
                <a:gd name="connsiteY29" fmla="*/ 9187 h 9598"/>
                <a:gd name="connsiteX30" fmla="*/ 3167 w 10000"/>
                <a:gd name="connsiteY30" fmla="*/ 9156 h 9598"/>
                <a:gd name="connsiteX31" fmla="*/ 3795 w 10000"/>
                <a:gd name="connsiteY31" fmla="*/ 9303 h 9598"/>
                <a:gd name="connsiteX32" fmla="*/ 4153 w 10000"/>
                <a:gd name="connsiteY32" fmla="*/ 9383 h 9598"/>
                <a:gd name="connsiteX33" fmla="*/ 4600 w 10000"/>
                <a:gd name="connsiteY33" fmla="*/ 9172 h 9598"/>
                <a:gd name="connsiteX34" fmla="*/ 4901 w 10000"/>
                <a:gd name="connsiteY34" fmla="*/ 8721 h 9598"/>
                <a:gd name="connsiteX35" fmla="*/ 5080 w 10000"/>
                <a:gd name="connsiteY35" fmla="*/ 8842 h 9598"/>
                <a:gd name="connsiteX36" fmla="*/ 5337 w 10000"/>
                <a:gd name="connsiteY36" fmla="*/ 8965 h 9598"/>
                <a:gd name="connsiteX37" fmla="*/ 5564 w 10000"/>
                <a:gd name="connsiteY37" fmla="*/ 9124 h 9598"/>
                <a:gd name="connsiteX38" fmla="*/ 5768 w 10000"/>
                <a:gd name="connsiteY38" fmla="*/ 9021 h 9598"/>
                <a:gd name="connsiteX39" fmla="*/ 5933 w 10000"/>
                <a:gd name="connsiteY39" fmla="*/ 8926 h 9598"/>
                <a:gd name="connsiteX40" fmla="*/ 6089 w 10000"/>
                <a:gd name="connsiteY40" fmla="*/ 8713 h 9598"/>
                <a:gd name="connsiteX41" fmla="*/ 6274 w 10000"/>
                <a:gd name="connsiteY41" fmla="*/ 8425 h 9598"/>
                <a:gd name="connsiteX42" fmla="*/ 6389 w 10000"/>
                <a:gd name="connsiteY42" fmla="*/ 8291 h 9598"/>
                <a:gd name="connsiteX43" fmla="*/ 6524 w 10000"/>
                <a:gd name="connsiteY43" fmla="*/ 8237 h 9598"/>
                <a:gd name="connsiteX44" fmla="*/ 6531 w 10000"/>
                <a:gd name="connsiteY44" fmla="*/ 8067 h 9598"/>
                <a:gd name="connsiteX45" fmla="*/ 6572 w 10000"/>
                <a:gd name="connsiteY45" fmla="*/ 7871 h 9598"/>
                <a:gd name="connsiteX46" fmla="*/ 6602 w 10000"/>
                <a:gd name="connsiteY46" fmla="*/ 7692 h 9598"/>
                <a:gd name="connsiteX47" fmla="*/ 6707 w 10000"/>
                <a:gd name="connsiteY47" fmla="*/ 7546 h 9598"/>
                <a:gd name="connsiteX48" fmla="*/ 6876 w 10000"/>
                <a:gd name="connsiteY48" fmla="*/ 7547 h 9598"/>
                <a:gd name="connsiteX49" fmla="*/ 6827 w 10000"/>
                <a:gd name="connsiteY49" fmla="*/ 8443 h 9598"/>
                <a:gd name="connsiteX50" fmla="*/ 6991 w 10000"/>
                <a:gd name="connsiteY50" fmla="*/ 8546 h 9598"/>
                <a:gd name="connsiteX51" fmla="*/ 7275 w 10000"/>
                <a:gd name="connsiteY51" fmla="*/ 8807 h 9598"/>
                <a:gd name="connsiteX52" fmla="*/ 7430 w 10000"/>
                <a:gd name="connsiteY52" fmla="*/ 8404 h 9598"/>
                <a:gd name="connsiteX53" fmla="*/ 7470 w 10000"/>
                <a:gd name="connsiteY53" fmla="*/ 8444 h 9598"/>
                <a:gd name="connsiteX54" fmla="*/ 7590 w 10000"/>
                <a:gd name="connsiteY54" fmla="*/ 8198 h 9598"/>
                <a:gd name="connsiteX55" fmla="*/ 7831 w 10000"/>
                <a:gd name="connsiteY55" fmla="*/ 8074 h 9598"/>
                <a:gd name="connsiteX56" fmla="*/ 7952 w 10000"/>
                <a:gd name="connsiteY56" fmla="*/ 7618 h 9598"/>
                <a:gd name="connsiteX57" fmla="*/ 8313 w 10000"/>
                <a:gd name="connsiteY57" fmla="*/ 7080 h 9598"/>
                <a:gd name="connsiteX58" fmla="*/ 8594 w 10000"/>
                <a:gd name="connsiteY58" fmla="*/ 6831 h 9598"/>
                <a:gd name="connsiteX59" fmla="*/ 8795 w 10000"/>
                <a:gd name="connsiteY59" fmla="*/ 6129 h 9598"/>
                <a:gd name="connsiteX60" fmla="*/ 8795 w 10000"/>
                <a:gd name="connsiteY60" fmla="*/ 5963 h 9598"/>
                <a:gd name="connsiteX61" fmla="*/ 8755 w 10000"/>
                <a:gd name="connsiteY61" fmla="*/ 5549 h 9598"/>
                <a:gd name="connsiteX62" fmla="*/ 9157 w 10000"/>
                <a:gd name="connsiteY62" fmla="*/ 4057 h 9598"/>
                <a:gd name="connsiteX63" fmla="*/ 9277 w 10000"/>
                <a:gd name="connsiteY63" fmla="*/ 4057 h 9598"/>
                <a:gd name="connsiteX64" fmla="*/ 9438 w 10000"/>
                <a:gd name="connsiteY64" fmla="*/ 3933 h 9598"/>
                <a:gd name="connsiteX65" fmla="*/ 9920 w 10000"/>
                <a:gd name="connsiteY65" fmla="*/ 3726 h 9598"/>
                <a:gd name="connsiteX66" fmla="*/ 10000 w 10000"/>
                <a:gd name="connsiteY66" fmla="*/ 3395 h 9598"/>
                <a:gd name="connsiteX67" fmla="*/ 9960 w 10000"/>
                <a:gd name="connsiteY67" fmla="*/ 3311 h 9598"/>
                <a:gd name="connsiteX68" fmla="*/ 9799 w 10000"/>
                <a:gd name="connsiteY68" fmla="*/ 3311 h 9598"/>
                <a:gd name="connsiteX69" fmla="*/ 9679 w 10000"/>
                <a:gd name="connsiteY69" fmla="*/ 3105 h 9598"/>
                <a:gd name="connsiteX70" fmla="*/ 9438 w 10000"/>
                <a:gd name="connsiteY70" fmla="*/ 3024 h 9598"/>
                <a:gd name="connsiteX71" fmla="*/ 9317 w 10000"/>
                <a:gd name="connsiteY71" fmla="*/ 2858 h 9598"/>
                <a:gd name="connsiteX72" fmla="*/ 9237 w 10000"/>
                <a:gd name="connsiteY72" fmla="*/ 2237 h 9598"/>
                <a:gd name="connsiteX73" fmla="*/ 9237 w 10000"/>
                <a:gd name="connsiteY73" fmla="*/ 1366 h 9598"/>
                <a:gd name="connsiteX74" fmla="*/ 9036 w 10000"/>
                <a:gd name="connsiteY74" fmla="*/ 1078 h 9598"/>
                <a:gd name="connsiteX75" fmla="*/ 8996 w 10000"/>
                <a:gd name="connsiteY75" fmla="*/ 787 h 9598"/>
                <a:gd name="connsiteX76" fmla="*/ 8675 w 10000"/>
                <a:gd name="connsiteY76" fmla="*/ 373 h 9598"/>
                <a:gd name="connsiteX77" fmla="*/ 8394 w 10000"/>
                <a:gd name="connsiteY77" fmla="*/ 209 h 9598"/>
                <a:gd name="connsiteX78" fmla="*/ 8233 w 10000"/>
                <a:gd name="connsiteY78" fmla="*/ 0 h 9598"/>
                <a:gd name="connsiteX79" fmla="*/ 7992 w 10000"/>
                <a:gd name="connsiteY79" fmla="*/ 209 h 9598"/>
                <a:gd name="connsiteX80" fmla="*/ 7831 w 10000"/>
                <a:gd name="connsiteY80" fmla="*/ 166 h 9598"/>
                <a:gd name="connsiteX81" fmla="*/ 7711 w 10000"/>
                <a:gd name="connsiteY81" fmla="*/ 537 h 9598"/>
                <a:gd name="connsiteX82" fmla="*/ 7390 w 10000"/>
                <a:gd name="connsiteY82" fmla="*/ 622 h 9598"/>
                <a:gd name="connsiteX83" fmla="*/ 7309 w 10000"/>
                <a:gd name="connsiteY83" fmla="*/ 910 h 9598"/>
                <a:gd name="connsiteX84" fmla="*/ 7028 w 10000"/>
                <a:gd name="connsiteY84" fmla="*/ 910 h 9598"/>
                <a:gd name="connsiteX85" fmla="*/ 6787 w 10000"/>
                <a:gd name="connsiteY85" fmla="*/ 787 h 9598"/>
                <a:gd name="connsiteX86" fmla="*/ 6265 w 10000"/>
                <a:gd name="connsiteY86" fmla="*/ 787 h 9598"/>
                <a:gd name="connsiteX87" fmla="*/ 5743 w 10000"/>
                <a:gd name="connsiteY87" fmla="*/ 787 h 9598"/>
                <a:gd name="connsiteX88" fmla="*/ 5783 w 10000"/>
                <a:gd name="connsiteY88" fmla="*/ 622 h 9598"/>
                <a:gd name="connsiteX89" fmla="*/ 5703 w 10000"/>
                <a:gd name="connsiteY89" fmla="*/ 622 h 9598"/>
                <a:gd name="connsiteX90" fmla="*/ 5663 w 10000"/>
                <a:gd name="connsiteY90" fmla="*/ 787 h 9598"/>
                <a:gd name="connsiteX91" fmla="*/ 5181 w 10000"/>
                <a:gd name="connsiteY91" fmla="*/ 787 h 9598"/>
                <a:gd name="connsiteX92" fmla="*/ 4699 w 10000"/>
                <a:gd name="connsiteY92" fmla="*/ 787 h 9598"/>
                <a:gd name="connsiteX93" fmla="*/ 4217 w 10000"/>
                <a:gd name="connsiteY93" fmla="*/ 787 h 9598"/>
                <a:gd name="connsiteX94" fmla="*/ 3735 w 10000"/>
                <a:gd name="connsiteY94" fmla="*/ 787 h 9598"/>
                <a:gd name="connsiteX95" fmla="*/ 3293 w 10000"/>
                <a:gd name="connsiteY95" fmla="*/ 787 h 9598"/>
                <a:gd name="connsiteX96" fmla="*/ 2811 w 10000"/>
                <a:gd name="connsiteY96" fmla="*/ 787 h 9598"/>
                <a:gd name="connsiteX97" fmla="*/ 2369 w 10000"/>
                <a:gd name="connsiteY97" fmla="*/ 787 h 9598"/>
                <a:gd name="connsiteX98" fmla="*/ 1888 w 10000"/>
                <a:gd name="connsiteY98" fmla="*/ 787 h 9598"/>
                <a:gd name="connsiteX99" fmla="*/ 1888 w 10000"/>
                <a:gd name="connsiteY99" fmla="*/ 1366 h 9598"/>
                <a:gd name="connsiteX100" fmla="*/ 1888 w 10000"/>
                <a:gd name="connsiteY100" fmla="*/ 2112 h 9598"/>
                <a:gd name="connsiteX101" fmla="*/ 1285 w 10000"/>
                <a:gd name="connsiteY101" fmla="*/ 2112 h 9598"/>
                <a:gd name="connsiteX102" fmla="*/ 1285 w 10000"/>
                <a:gd name="connsiteY102" fmla="*/ 2443 h 9598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76 w 10000"/>
                <a:gd name="connsiteY47" fmla="*/ 7863 h 10000"/>
                <a:gd name="connsiteX48" fmla="*/ 6827 w 10000"/>
                <a:gd name="connsiteY48" fmla="*/ 8797 h 10000"/>
                <a:gd name="connsiteX49" fmla="*/ 6991 w 10000"/>
                <a:gd name="connsiteY49" fmla="*/ 8904 h 10000"/>
                <a:gd name="connsiteX50" fmla="*/ 7275 w 10000"/>
                <a:gd name="connsiteY50" fmla="*/ 9176 h 10000"/>
                <a:gd name="connsiteX51" fmla="*/ 7430 w 10000"/>
                <a:gd name="connsiteY51" fmla="*/ 8756 h 10000"/>
                <a:gd name="connsiteX52" fmla="*/ 7470 w 10000"/>
                <a:gd name="connsiteY52" fmla="*/ 8798 h 10000"/>
                <a:gd name="connsiteX53" fmla="*/ 7590 w 10000"/>
                <a:gd name="connsiteY53" fmla="*/ 8541 h 10000"/>
                <a:gd name="connsiteX54" fmla="*/ 7831 w 10000"/>
                <a:gd name="connsiteY54" fmla="*/ 8412 h 10000"/>
                <a:gd name="connsiteX55" fmla="*/ 7952 w 10000"/>
                <a:gd name="connsiteY55" fmla="*/ 7937 h 10000"/>
                <a:gd name="connsiteX56" fmla="*/ 8313 w 10000"/>
                <a:gd name="connsiteY56" fmla="*/ 7377 h 10000"/>
                <a:gd name="connsiteX57" fmla="*/ 8594 w 10000"/>
                <a:gd name="connsiteY57" fmla="*/ 7117 h 10000"/>
                <a:gd name="connsiteX58" fmla="*/ 8795 w 10000"/>
                <a:gd name="connsiteY58" fmla="*/ 6386 h 10000"/>
                <a:gd name="connsiteX59" fmla="*/ 8795 w 10000"/>
                <a:gd name="connsiteY59" fmla="*/ 6213 h 10000"/>
                <a:gd name="connsiteX60" fmla="*/ 8755 w 10000"/>
                <a:gd name="connsiteY60" fmla="*/ 5781 h 10000"/>
                <a:gd name="connsiteX61" fmla="*/ 9157 w 10000"/>
                <a:gd name="connsiteY61" fmla="*/ 4227 h 10000"/>
                <a:gd name="connsiteX62" fmla="*/ 9277 w 10000"/>
                <a:gd name="connsiteY62" fmla="*/ 4227 h 10000"/>
                <a:gd name="connsiteX63" fmla="*/ 9438 w 10000"/>
                <a:gd name="connsiteY63" fmla="*/ 4098 h 10000"/>
                <a:gd name="connsiteX64" fmla="*/ 9920 w 10000"/>
                <a:gd name="connsiteY64" fmla="*/ 3882 h 10000"/>
                <a:gd name="connsiteX65" fmla="*/ 10000 w 10000"/>
                <a:gd name="connsiteY65" fmla="*/ 3537 h 10000"/>
                <a:gd name="connsiteX66" fmla="*/ 9960 w 10000"/>
                <a:gd name="connsiteY66" fmla="*/ 3450 h 10000"/>
                <a:gd name="connsiteX67" fmla="*/ 9799 w 10000"/>
                <a:gd name="connsiteY67" fmla="*/ 3450 h 10000"/>
                <a:gd name="connsiteX68" fmla="*/ 9679 w 10000"/>
                <a:gd name="connsiteY68" fmla="*/ 3235 h 10000"/>
                <a:gd name="connsiteX69" fmla="*/ 9438 w 10000"/>
                <a:gd name="connsiteY69" fmla="*/ 3151 h 10000"/>
                <a:gd name="connsiteX70" fmla="*/ 9317 w 10000"/>
                <a:gd name="connsiteY70" fmla="*/ 2978 h 10000"/>
                <a:gd name="connsiteX71" fmla="*/ 9237 w 10000"/>
                <a:gd name="connsiteY71" fmla="*/ 2331 h 10000"/>
                <a:gd name="connsiteX72" fmla="*/ 9237 w 10000"/>
                <a:gd name="connsiteY72" fmla="*/ 1423 h 10000"/>
                <a:gd name="connsiteX73" fmla="*/ 9036 w 10000"/>
                <a:gd name="connsiteY73" fmla="*/ 1123 h 10000"/>
                <a:gd name="connsiteX74" fmla="*/ 8996 w 10000"/>
                <a:gd name="connsiteY74" fmla="*/ 820 h 10000"/>
                <a:gd name="connsiteX75" fmla="*/ 8675 w 10000"/>
                <a:gd name="connsiteY75" fmla="*/ 389 h 10000"/>
                <a:gd name="connsiteX76" fmla="*/ 8394 w 10000"/>
                <a:gd name="connsiteY76" fmla="*/ 218 h 10000"/>
                <a:gd name="connsiteX77" fmla="*/ 8233 w 10000"/>
                <a:gd name="connsiteY77" fmla="*/ 0 h 10000"/>
                <a:gd name="connsiteX78" fmla="*/ 7992 w 10000"/>
                <a:gd name="connsiteY78" fmla="*/ 218 h 10000"/>
                <a:gd name="connsiteX79" fmla="*/ 7831 w 10000"/>
                <a:gd name="connsiteY79" fmla="*/ 173 h 10000"/>
                <a:gd name="connsiteX80" fmla="*/ 7711 w 10000"/>
                <a:gd name="connsiteY80" fmla="*/ 559 h 10000"/>
                <a:gd name="connsiteX81" fmla="*/ 7390 w 10000"/>
                <a:gd name="connsiteY81" fmla="*/ 648 h 10000"/>
                <a:gd name="connsiteX82" fmla="*/ 7309 w 10000"/>
                <a:gd name="connsiteY82" fmla="*/ 948 h 10000"/>
                <a:gd name="connsiteX83" fmla="*/ 7028 w 10000"/>
                <a:gd name="connsiteY83" fmla="*/ 948 h 10000"/>
                <a:gd name="connsiteX84" fmla="*/ 6787 w 10000"/>
                <a:gd name="connsiteY84" fmla="*/ 820 h 10000"/>
                <a:gd name="connsiteX85" fmla="*/ 6265 w 10000"/>
                <a:gd name="connsiteY85" fmla="*/ 820 h 10000"/>
                <a:gd name="connsiteX86" fmla="*/ 5743 w 10000"/>
                <a:gd name="connsiteY86" fmla="*/ 820 h 10000"/>
                <a:gd name="connsiteX87" fmla="*/ 5783 w 10000"/>
                <a:gd name="connsiteY87" fmla="*/ 648 h 10000"/>
                <a:gd name="connsiteX88" fmla="*/ 5703 w 10000"/>
                <a:gd name="connsiteY88" fmla="*/ 648 h 10000"/>
                <a:gd name="connsiteX89" fmla="*/ 5663 w 10000"/>
                <a:gd name="connsiteY89" fmla="*/ 820 h 10000"/>
                <a:gd name="connsiteX90" fmla="*/ 5181 w 10000"/>
                <a:gd name="connsiteY90" fmla="*/ 820 h 10000"/>
                <a:gd name="connsiteX91" fmla="*/ 4699 w 10000"/>
                <a:gd name="connsiteY91" fmla="*/ 820 h 10000"/>
                <a:gd name="connsiteX92" fmla="*/ 4217 w 10000"/>
                <a:gd name="connsiteY92" fmla="*/ 820 h 10000"/>
                <a:gd name="connsiteX93" fmla="*/ 3735 w 10000"/>
                <a:gd name="connsiteY93" fmla="*/ 820 h 10000"/>
                <a:gd name="connsiteX94" fmla="*/ 3293 w 10000"/>
                <a:gd name="connsiteY94" fmla="*/ 820 h 10000"/>
                <a:gd name="connsiteX95" fmla="*/ 2811 w 10000"/>
                <a:gd name="connsiteY95" fmla="*/ 820 h 10000"/>
                <a:gd name="connsiteX96" fmla="*/ 2369 w 10000"/>
                <a:gd name="connsiteY96" fmla="*/ 820 h 10000"/>
                <a:gd name="connsiteX97" fmla="*/ 1888 w 10000"/>
                <a:gd name="connsiteY97" fmla="*/ 820 h 10000"/>
                <a:gd name="connsiteX98" fmla="*/ 1888 w 10000"/>
                <a:gd name="connsiteY98" fmla="*/ 1423 h 10000"/>
                <a:gd name="connsiteX99" fmla="*/ 1888 w 10000"/>
                <a:gd name="connsiteY99" fmla="*/ 2200 h 10000"/>
                <a:gd name="connsiteX100" fmla="*/ 1285 w 10000"/>
                <a:gd name="connsiteY100" fmla="*/ 2200 h 10000"/>
                <a:gd name="connsiteX101" fmla="*/ 1285 w 10000"/>
                <a:gd name="connsiteY101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27 w 10000"/>
                <a:gd name="connsiteY47" fmla="*/ 8797 h 10000"/>
                <a:gd name="connsiteX48" fmla="*/ 6991 w 10000"/>
                <a:gd name="connsiteY48" fmla="*/ 8904 h 10000"/>
                <a:gd name="connsiteX49" fmla="*/ 7275 w 10000"/>
                <a:gd name="connsiteY49" fmla="*/ 9176 h 10000"/>
                <a:gd name="connsiteX50" fmla="*/ 7430 w 10000"/>
                <a:gd name="connsiteY50" fmla="*/ 8756 h 10000"/>
                <a:gd name="connsiteX51" fmla="*/ 7470 w 10000"/>
                <a:gd name="connsiteY51" fmla="*/ 8798 h 10000"/>
                <a:gd name="connsiteX52" fmla="*/ 7590 w 10000"/>
                <a:gd name="connsiteY52" fmla="*/ 8541 h 10000"/>
                <a:gd name="connsiteX53" fmla="*/ 7831 w 10000"/>
                <a:gd name="connsiteY53" fmla="*/ 8412 h 10000"/>
                <a:gd name="connsiteX54" fmla="*/ 7952 w 10000"/>
                <a:gd name="connsiteY54" fmla="*/ 7937 h 10000"/>
                <a:gd name="connsiteX55" fmla="*/ 8313 w 10000"/>
                <a:gd name="connsiteY55" fmla="*/ 7377 h 10000"/>
                <a:gd name="connsiteX56" fmla="*/ 8594 w 10000"/>
                <a:gd name="connsiteY56" fmla="*/ 7117 h 10000"/>
                <a:gd name="connsiteX57" fmla="*/ 8795 w 10000"/>
                <a:gd name="connsiteY57" fmla="*/ 6386 h 10000"/>
                <a:gd name="connsiteX58" fmla="*/ 8795 w 10000"/>
                <a:gd name="connsiteY58" fmla="*/ 6213 h 10000"/>
                <a:gd name="connsiteX59" fmla="*/ 8755 w 10000"/>
                <a:gd name="connsiteY59" fmla="*/ 5781 h 10000"/>
                <a:gd name="connsiteX60" fmla="*/ 9157 w 10000"/>
                <a:gd name="connsiteY60" fmla="*/ 4227 h 10000"/>
                <a:gd name="connsiteX61" fmla="*/ 9277 w 10000"/>
                <a:gd name="connsiteY61" fmla="*/ 4227 h 10000"/>
                <a:gd name="connsiteX62" fmla="*/ 9438 w 10000"/>
                <a:gd name="connsiteY62" fmla="*/ 4098 h 10000"/>
                <a:gd name="connsiteX63" fmla="*/ 9920 w 10000"/>
                <a:gd name="connsiteY63" fmla="*/ 3882 h 10000"/>
                <a:gd name="connsiteX64" fmla="*/ 10000 w 10000"/>
                <a:gd name="connsiteY64" fmla="*/ 3537 h 10000"/>
                <a:gd name="connsiteX65" fmla="*/ 9960 w 10000"/>
                <a:gd name="connsiteY65" fmla="*/ 3450 h 10000"/>
                <a:gd name="connsiteX66" fmla="*/ 9799 w 10000"/>
                <a:gd name="connsiteY66" fmla="*/ 3450 h 10000"/>
                <a:gd name="connsiteX67" fmla="*/ 9679 w 10000"/>
                <a:gd name="connsiteY67" fmla="*/ 3235 h 10000"/>
                <a:gd name="connsiteX68" fmla="*/ 9438 w 10000"/>
                <a:gd name="connsiteY68" fmla="*/ 3151 h 10000"/>
                <a:gd name="connsiteX69" fmla="*/ 9317 w 10000"/>
                <a:gd name="connsiteY69" fmla="*/ 2978 h 10000"/>
                <a:gd name="connsiteX70" fmla="*/ 9237 w 10000"/>
                <a:gd name="connsiteY70" fmla="*/ 2331 h 10000"/>
                <a:gd name="connsiteX71" fmla="*/ 9237 w 10000"/>
                <a:gd name="connsiteY71" fmla="*/ 1423 h 10000"/>
                <a:gd name="connsiteX72" fmla="*/ 9036 w 10000"/>
                <a:gd name="connsiteY72" fmla="*/ 1123 h 10000"/>
                <a:gd name="connsiteX73" fmla="*/ 8996 w 10000"/>
                <a:gd name="connsiteY73" fmla="*/ 820 h 10000"/>
                <a:gd name="connsiteX74" fmla="*/ 8675 w 10000"/>
                <a:gd name="connsiteY74" fmla="*/ 389 h 10000"/>
                <a:gd name="connsiteX75" fmla="*/ 8394 w 10000"/>
                <a:gd name="connsiteY75" fmla="*/ 218 h 10000"/>
                <a:gd name="connsiteX76" fmla="*/ 8233 w 10000"/>
                <a:gd name="connsiteY76" fmla="*/ 0 h 10000"/>
                <a:gd name="connsiteX77" fmla="*/ 7992 w 10000"/>
                <a:gd name="connsiteY77" fmla="*/ 218 h 10000"/>
                <a:gd name="connsiteX78" fmla="*/ 7831 w 10000"/>
                <a:gd name="connsiteY78" fmla="*/ 173 h 10000"/>
                <a:gd name="connsiteX79" fmla="*/ 7711 w 10000"/>
                <a:gd name="connsiteY79" fmla="*/ 559 h 10000"/>
                <a:gd name="connsiteX80" fmla="*/ 7390 w 10000"/>
                <a:gd name="connsiteY80" fmla="*/ 648 h 10000"/>
                <a:gd name="connsiteX81" fmla="*/ 7309 w 10000"/>
                <a:gd name="connsiteY81" fmla="*/ 948 h 10000"/>
                <a:gd name="connsiteX82" fmla="*/ 7028 w 10000"/>
                <a:gd name="connsiteY82" fmla="*/ 948 h 10000"/>
                <a:gd name="connsiteX83" fmla="*/ 6787 w 10000"/>
                <a:gd name="connsiteY83" fmla="*/ 820 h 10000"/>
                <a:gd name="connsiteX84" fmla="*/ 6265 w 10000"/>
                <a:gd name="connsiteY84" fmla="*/ 820 h 10000"/>
                <a:gd name="connsiteX85" fmla="*/ 5743 w 10000"/>
                <a:gd name="connsiteY85" fmla="*/ 820 h 10000"/>
                <a:gd name="connsiteX86" fmla="*/ 5783 w 10000"/>
                <a:gd name="connsiteY86" fmla="*/ 648 h 10000"/>
                <a:gd name="connsiteX87" fmla="*/ 5703 w 10000"/>
                <a:gd name="connsiteY87" fmla="*/ 648 h 10000"/>
                <a:gd name="connsiteX88" fmla="*/ 5663 w 10000"/>
                <a:gd name="connsiteY88" fmla="*/ 820 h 10000"/>
                <a:gd name="connsiteX89" fmla="*/ 5181 w 10000"/>
                <a:gd name="connsiteY89" fmla="*/ 820 h 10000"/>
                <a:gd name="connsiteX90" fmla="*/ 4699 w 10000"/>
                <a:gd name="connsiteY90" fmla="*/ 820 h 10000"/>
                <a:gd name="connsiteX91" fmla="*/ 4217 w 10000"/>
                <a:gd name="connsiteY91" fmla="*/ 820 h 10000"/>
                <a:gd name="connsiteX92" fmla="*/ 3735 w 10000"/>
                <a:gd name="connsiteY92" fmla="*/ 820 h 10000"/>
                <a:gd name="connsiteX93" fmla="*/ 3293 w 10000"/>
                <a:gd name="connsiteY93" fmla="*/ 820 h 10000"/>
                <a:gd name="connsiteX94" fmla="*/ 2811 w 10000"/>
                <a:gd name="connsiteY94" fmla="*/ 820 h 10000"/>
                <a:gd name="connsiteX95" fmla="*/ 2369 w 10000"/>
                <a:gd name="connsiteY95" fmla="*/ 820 h 10000"/>
                <a:gd name="connsiteX96" fmla="*/ 1888 w 10000"/>
                <a:gd name="connsiteY96" fmla="*/ 820 h 10000"/>
                <a:gd name="connsiteX97" fmla="*/ 1888 w 10000"/>
                <a:gd name="connsiteY97" fmla="*/ 1423 h 10000"/>
                <a:gd name="connsiteX98" fmla="*/ 1888 w 10000"/>
                <a:gd name="connsiteY98" fmla="*/ 2200 h 10000"/>
                <a:gd name="connsiteX99" fmla="*/ 1285 w 10000"/>
                <a:gd name="connsiteY99" fmla="*/ 2200 h 10000"/>
                <a:gd name="connsiteX100" fmla="*/ 1285 w 10000"/>
                <a:gd name="connsiteY100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27 w 10000"/>
                <a:gd name="connsiteY47" fmla="*/ 8797 h 10000"/>
                <a:gd name="connsiteX48" fmla="*/ 7275 w 10000"/>
                <a:gd name="connsiteY48" fmla="*/ 9176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93 w 10000"/>
                <a:gd name="connsiteY47" fmla="*/ 8708 h 10000"/>
                <a:gd name="connsiteX48" fmla="*/ 7275 w 10000"/>
                <a:gd name="connsiteY48" fmla="*/ 9176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93 w 10000"/>
                <a:gd name="connsiteY47" fmla="*/ 8708 h 10000"/>
                <a:gd name="connsiteX48" fmla="*/ 7308 w 10000"/>
                <a:gd name="connsiteY48" fmla="*/ 9034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855 w 10000"/>
                <a:gd name="connsiteY46" fmla="*/ 7773 h 10000"/>
                <a:gd name="connsiteX47" fmla="*/ 6893 w 10000"/>
                <a:gd name="connsiteY47" fmla="*/ 8708 h 10000"/>
                <a:gd name="connsiteX48" fmla="*/ 7308 w 10000"/>
                <a:gd name="connsiteY48" fmla="*/ 9034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439 w 10000"/>
                <a:gd name="connsiteY22" fmla="*/ 9506 h 10000"/>
                <a:gd name="connsiteX23" fmla="*/ 1767 w 10000"/>
                <a:gd name="connsiteY23" fmla="*/ 9426 h 10000"/>
                <a:gd name="connsiteX24" fmla="*/ 1951 w 10000"/>
                <a:gd name="connsiteY24" fmla="*/ 9317 h 10000"/>
                <a:gd name="connsiteX25" fmla="*/ 2025 w 10000"/>
                <a:gd name="connsiteY25" fmla="*/ 9052 h 10000"/>
                <a:gd name="connsiteX26" fmla="*/ 2338 w 10000"/>
                <a:gd name="connsiteY26" fmla="*/ 8966 h 10000"/>
                <a:gd name="connsiteX27" fmla="*/ 2643 w 10000"/>
                <a:gd name="connsiteY27" fmla="*/ 9388 h 10000"/>
                <a:gd name="connsiteX28" fmla="*/ 2911 w 10000"/>
                <a:gd name="connsiteY28" fmla="*/ 9572 h 10000"/>
                <a:gd name="connsiteX29" fmla="*/ 3167 w 10000"/>
                <a:gd name="connsiteY29" fmla="*/ 9539 h 10000"/>
                <a:gd name="connsiteX30" fmla="*/ 3795 w 10000"/>
                <a:gd name="connsiteY30" fmla="*/ 9693 h 10000"/>
                <a:gd name="connsiteX31" fmla="*/ 4153 w 10000"/>
                <a:gd name="connsiteY31" fmla="*/ 9776 h 10000"/>
                <a:gd name="connsiteX32" fmla="*/ 4600 w 10000"/>
                <a:gd name="connsiteY32" fmla="*/ 9556 h 10000"/>
                <a:gd name="connsiteX33" fmla="*/ 4901 w 10000"/>
                <a:gd name="connsiteY33" fmla="*/ 9086 h 10000"/>
                <a:gd name="connsiteX34" fmla="*/ 5337 w 10000"/>
                <a:gd name="connsiteY34" fmla="*/ 9340 h 10000"/>
                <a:gd name="connsiteX35" fmla="*/ 5564 w 10000"/>
                <a:gd name="connsiteY35" fmla="*/ 9506 h 10000"/>
                <a:gd name="connsiteX36" fmla="*/ 5768 w 10000"/>
                <a:gd name="connsiteY36" fmla="*/ 9399 h 10000"/>
                <a:gd name="connsiteX37" fmla="*/ 5933 w 10000"/>
                <a:gd name="connsiteY37" fmla="*/ 9300 h 10000"/>
                <a:gd name="connsiteX38" fmla="*/ 6089 w 10000"/>
                <a:gd name="connsiteY38" fmla="*/ 9078 h 10000"/>
                <a:gd name="connsiteX39" fmla="*/ 6274 w 10000"/>
                <a:gd name="connsiteY39" fmla="*/ 8778 h 10000"/>
                <a:gd name="connsiteX40" fmla="*/ 6389 w 10000"/>
                <a:gd name="connsiteY40" fmla="*/ 8638 h 10000"/>
                <a:gd name="connsiteX41" fmla="*/ 6524 w 10000"/>
                <a:gd name="connsiteY41" fmla="*/ 8582 h 10000"/>
                <a:gd name="connsiteX42" fmla="*/ 6531 w 10000"/>
                <a:gd name="connsiteY42" fmla="*/ 8405 h 10000"/>
                <a:gd name="connsiteX43" fmla="*/ 6572 w 10000"/>
                <a:gd name="connsiteY43" fmla="*/ 8201 h 10000"/>
                <a:gd name="connsiteX44" fmla="*/ 6602 w 10000"/>
                <a:gd name="connsiteY44" fmla="*/ 8014 h 10000"/>
                <a:gd name="connsiteX45" fmla="*/ 6855 w 10000"/>
                <a:gd name="connsiteY45" fmla="*/ 7773 h 10000"/>
                <a:gd name="connsiteX46" fmla="*/ 6893 w 10000"/>
                <a:gd name="connsiteY46" fmla="*/ 8708 h 10000"/>
                <a:gd name="connsiteX47" fmla="*/ 7308 w 10000"/>
                <a:gd name="connsiteY47" fmla="*/ 9034 h 10000"/>
                <a:gd name="connsiteX48" fmla="*/ 7430 w 10000"/>
                <a:gd name="connsiteY48" fmla="*/ 8756 h 10000"/>
                <a:gd name="connsiteX49" fmla="*/ 7470 w 10000"/>
                <a:gd name="connsiteY49" fmla="*/ 8798 h 10000"/>
                <a:gd name="connsiteX50" fmla="*/ 7590 w 10000"/>
                <a:gd name="connsiteY50" fmla="*/ 8541 h 10000"/>
                <a:gd name="connsiteX51" fmla="*/ 7831 w 10000"/>
                <a:gd name="connsiteY51" fmla="*/ 8412 h 10000"/>
                <a:gd name="connsiteX52" fmla="*/ 7952 w 10000"/>
                <a:gd name="connsiteY52" fmla="*/ 7937 h 10000"/>
                <a:gd name="connsiteX53" fmla="*/ 8313 w 10000"/>
                <a:gd name="connsiteY53" fmla="*/ 7377 h 10000"/>
                <a:gd name="connsiteX54" fmla="*/ 8594 w 10000"/>
                <a:gd name="connsiteY54" fmla="*/ 7117 h 10000"/>
                <a:gd name="connsiteX55" fmla="*/ 8795 w 10000"/>
                <a:gd name="connsiteY55" fmla="*/ 6386 h 10000"/>
                <a:gd name="connsiteX56" fmla="*/ 8795 w 10000"/>
                <a:gd name="connsiteY56" fmla="*/ 6213 h 10000"/>
                <a:gd name="connsiteX57" fmla="*/ 8755 w 10000"/>
                <a:gd name="connsiteY57" fmla="*/ 5781 h 10000"/>
                <a:gd name="connsiteX58" fmla="*/ 9157 w 10000"/>
                <a:gd name="connsiteY58" fmla="*/ 4227 h 10000"/>
                <a:gd name="connsiteX59" fmla="*/ 9277 w 10000"/>
                <a:gd name="connsiteY59" fmla="*/ 4227 h 10000"/>
                <a:gd name="connsiteX60" fmla="*/ 9438 w 10000"/>
                <a:gd name="connsiteY60" fmla="*/ 4098 h 10000"/>
                <a:gd name="connsiteX61" fmla="*/ 9920 w 10000"/>
                <a:gd name="connsiteY61" fmla="*/ 3882 h 10000"/>
                <a:gd name="connsiteX62" fmla="*/ 10000 w 10000"/>
                <a:gd name="connsiteY62" fmla="*/ 3537 h 10000"/>
                <a:gd name="connsiteX63" fmla="*/ 9960 w 10000"/>
                <a:gd name="connsiteY63" fmla="*/ 3450 h 10000"/>
                <a:gd name="connsiteX64" fmla="*/ 9799 w 10000"/>
                <a:gd name="connsiteY64" fmla="*/ 3450 h 10000"/>
                <a:gd name="connsiteX65" fmla="*/ 9679 w 10000"/>
                <a:gd name="connsiteY65" fmla="*/ 3235 h 10000"/>
                <a:gd name="connsiteX66" fmla="*/ 9438 w 10000"/>
                <a:gd name="connsiteY66" fmla="*/ 3151 h 10000"/>
                <a:gd name="connsiteX67" fmla="*/ 9317 w 10000"/>
                <a:gd name="connsiteY67" fmla="*/ 2978 h 10000"/>
                <a:gd name="connsiteX68" fmla="*/ 9237 w 10000"/>
                <a:gd name="connsiteY68" fmla="*/ 2331 h 10000"/>
                <a:gd name="connsiteX69" fmla="*/ 9237 w 10000"/>
                <a:gd name="connsiteY69" fmla="*/ 1423 h 10000"/>
                <a:gd name="connsiteX70" fmla="*/ 9036 w 10000"/>
                <a:gd name="connsiteY70" fmla="*/ 1123 h 10000"/>
                <a:gd name="connsiteX71" fmla="*/ 8996 w 10000"/>
                <a:gd name="connsiteY71" fmla="*/ 820 h 10000"/>
                <a:gd name="connsiteX72" fmla="*/ 8675 w 10000"/>
                <a:gd name="connsiteY72" fmla="*/ 389 h 10000"/>
                <a:gd name="connsiteX73" fmla="*/ 8394 w 10000"/>
                <a:gd name="connsiteY73" fmla="*/ 218 h 10000"/>
                <a:gd name="connsiteX74" fmla="*/ 8233 w 10000"/>
                <a:gd name="connsiteY74" fmla="*/ 0 h 10000"/>
                <a:gd name="connsiteX75" fmla="*/ 7992 w 10000"/>
                <a:gd name="connsiteY75" fmla="*/ 218 h 10000"/>
                <a:gd name="connsiteX76" fmla="*/ 7831 w 10000"/>
                <a:gd name="connsiteY76" fmla="*/ 173 h 10000"/>
                <a:gd name="connsiteX77" fmla="*/ 7711 w 10000"/>
                <a:gd name="connsiteY77" fmla="*/ 559 h 10000"/>
                <a:gd name="connsiteX78" fmla="*/ 7390 w 10000"/>
                <a:gd name="connsiteY78" fmla="*/ 648 h 10000"/>
                <a:gd name="connsiteX79" fmla="*/ 7309 w 10000"/>
                <a:gd name="connsiteY79" fmla="*/ 948 h 10000"/>
                <a:gd name="connsiteX80" fmla="*/ 7028 w 10000"/>
                <a:gd name="connsiteY80" fmla="*/ 948 h 10000"/>
                <a:gd name="connsiteX81" fmla="*/ 6787 w 10000"/>
                <a:gd name="connsiteY81" fmla="*/ 820 h 10000"/>
                <a:gd name="connsiteX82" fmla="*/ 6265 w 10000"/>
                <a:gd name="connsiteY82" fmla="*/ 820 h 10000"/>
                <a:gd name="connsiteX83" fmla="*/ 5743 w 10000"/>
                <a:gd name="connsiteY83" fmla="*/ 820 h 10000"/>
                <a:gd name="connsiteX84" fmla="*/ 5783 w 10000"/>
                <a:gd name="connsiteY84" fmla="*/ 648 h 10000"/>
                <a:gd name="connsiteX85" fmla="*/ 5703 w 10000"/>
                <a:gd name="connsiteY85" fmla="*/ 648 h 10000"/>
                <a:gd name="connsiteX86" fmla="*/ 5663 w 10000"/>
                <a:gd name="connsiteY86" fmla="*/ 820 h 10000"/>
                <a:gd name="connsiteX87" fmla="*/ 5181 w 10000"/>
                <a:gd name="connsiteY87" fmla="*/ 820 h 10000"/>
                <a:gd name="connsiteX88" fmla="*/ 4699 w 10000"/>
                <a:gd name="connsiteY88" fmla="*/ 820 h 10000"/>
                <a:gd name="connsiteX89" fmla="*/ 4217 w 10000"/>
                <a:gd name="connsiteY89" fmla="*/ 820 h 10000"/>
                <a:gd name="connsiteX90" fmla="*/ 3735 w 10000"/>
                <a:gd name="connsiteY90" fmla="*/ 820 h 10000"/>
                <a:gd name="connsiteX91" fmla="*/ 3293 w 10000"/>
                <a:gd name="connsiteY91" fmla="*/ 820 h 10000"/>
                <a:gd name="connsiteX92" fmla="*/ 2811 w 10000"/>
                <a:gd name="connsiteY92" fmla="*/ 820 h 10000"/>
                <a:gd name="connsiteX93" fmla="*/ 2369 w 10000"/>
                <a:gd name="connsiteY93" fmla="*/ 820 h 10000"/>
                <a:gd name="connsiteX94" fmla="*/ 1888 w 10000"/>
                <a:gd name="connsiteY94" fmla="*/ 820 h 10000"/>
                <a:gd name="connsiteX95" fmla="*/ 1888 w 10000"/>
                <a:gd name="connsiteY95" fmla="*/ 1423 h 10000"/>
                <a:gd name="connsiteX96" fmla="*/ 1888 w 10000"/>
                <a:gd name="connsiteY96" fmla="*/ 2200 h 10000"/>
                <a:gd name="connsiteX97" fmla="*/ 1285 w 10000"/>
                <a:gd name="connsiteY97" fmla="*/ 2200 h 10000"/>
                <a:gd name="connsiteX98" fmla="*/ 1285 w 10000"/>
                <a:gd name="connsiteY98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767 w 10000"/>
                <a:gd name="connsiteY22" fmla="*/ 9426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454 w 10000"/>
                <a:gd name="connsiteY22" fmla="*/ 9337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1178 w 10000"/>
                <a:gd name="connsiteY20" fmla="*/ 9631 h 10000"/>
                <a:gd name="connsiteX21" fmla="*/ 1192 w 10000"/>
                <a:gd name="connsiteY21" fmla="*/ 10000 h 10000"/>
                <a:gd name="connsiteX22" fmla="*/ 1454 w 10000"/>
                <a:gd name="connsiteY22" fmla="*/ 9337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1178 w 10000"/>
                <a:gd name="connsiteY20" fmla="*/ 9631 h 10000"/>
                <a:gd name="connsiteX21" fmla="*/ 1192 w 10000"/>
                <a:gd name="connsiteY21" fmla="*/ 10000 h 10000"/>
                <a:gd name="connsiteX22" fmla="*/ 1652 w 10000"/>
                <a:gd name="connsiteY22" fmla="*/ 9372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9819"/>
                <a:gd name="connsiteX1" fmla="*/ 1285 w 10000"/>
                <a:gd name="connsiteY1" fmla="*/ 3235 h 9819"/>
                <a:gd name="connsiteX2" fmla="*/ 1285 w 10000"/>
                <a:gd name="connsiteY2" fmla="*/ 3882 h 9819"/>
                <a:gd name="connsiteX3" fmla="*/ 1285 w 10000"/>
                <a:gd name="connsiteY3" fmla="*/ 4530 h 9819"/>
                <a:gd name="connsiteX4" fmla="*/ 1285 w 10000"/>
                <a:gd name="connsiteY4" fmla="*/ 5131 h 9819"/>
                <a:gd name="connsiteX5" fmla="*/ 643 w 10000"/>
                <a:gd name="connsiteY5" fmla="*/ 5263 h 9819"/>
                <a:gd name="connsiteX6" fmla="*/ 522 w 10000"/>
                <a:gd name="connsiteY6" fmla="*/ 5607 h 9819"/>
                <a:gd name="connsiteX7" fmla="*/ 241 w 10000"/>
                <a:gd name="connsiteY7" fmla="*/ 6039 h 9819"/>
                <a:gd name="connsiteX8" fmla="*/ 241 w 10000"/>
                <a:gd name="connsiteY8" fmla="*/ 6386 h 9819"/>
                <a:gd name="connsiteX9" fmla="*/ 120 w 10000"/>
                <a:gd name="connsiteY9" fmla="*/ 6470 h 9819"/>
                <a:gd name="connsiteX10" fmla="*/ 120 w 10000"/>
                <a:gd name="connsiteY10" fmla="*/ 6771 h 9819"/>
                <a:gd name="connsiteX11" fmla="*/ 0 w 10000"/>
                <a:gd name="connsiteY11" fmla="*/ 7033 h 9819"/>
                <a:gd name="connsiteX12" fmla="*/ 0 w 10000"/>
                <a:gd name="connsiteY12" fmla="*/ 7246 h 9819"/>
                <a:gd name="connsiteX13" fmla="*/ 241 w 10000"/>
                <a:gd name="connsiteY13" fmla="*/ 7204 h 9819"/>
                <a:gd name="connsiteX14" fmla="*/ 281 w 10000"/>
                <a:gd name="connsiteY14" fmla="*/ 7590 h 9819"/>
                <a:gd name="connsiteX15" fmla="*/ 602 w 10000"/>
                <a:gd name="connsiteY15" fmla="*/ 8284 h 9819"/>
                <a:gd name="connsiteX16" fmla="*/ 602 w 10000"/>
                <a:gd name="connsiteY16" fmla="*/ 8326 h 9819"/>
                <a:gd name="connsiteX17" fmla="*/ 482 w 10000"/>
                <a:gd name="connsiteY17" fmla="*/ 8368 h 9819"/>
                <a:gd name="connsiteX18" fmla="*/ 964 w 10000"/>
                <a:gd name="connsiteY18" fmla="*/ 9058 h 9819"/>
                <a:gd name="connsiteX19" fmla="*/ 1004 w 10000"/>
                <a:gd name="connsiteY19" fmla="*/ 9275 h 9819"/>
                <a:gd name="connsiteX20" fmla="*/ 1178 w 10000"/>
                <a:gd name="connsiteY20" fmla="*/ 9631 h 9819"/>
                <a:gd name="connsiteX21" fmla="*/ 1357 w 10000"/>
                <a:gd name="connsiteY21" fmla="*/ 9433 h 9819"/>
                <a:gd name="connsiteX22" fmla="*/ 1652 w 10000"/>
                <a:gd name="connsiteY22" fmla="*/ 9372 h 9819"/>
                <a:gd name="connsiteX23" fmla="*/ 1951 w 10000"/>
                <a:gd name="connsiteY23" fmla="*/ 9317 h 9819"/>
                <a:gd name="connsiteX24" fmla="*/ 2025 w 10000"/>
                <a:gd name="connsiteY24" fmla="*/ 9052 h 9819"/>
                <a:gd name="connsiteX25" fmla="*/ 2338 w 10000"/>
                <a:gd name="connsiteY25" fmla="*/ 8966 h 9819"/>
                <a:gd name="connsiteX26" fmla="*/ 2643 w 10000"/>
                <a:gd name="connsiteY26" fmla="*/ 9388 h 9819"/>
                <a:gd name="connsiteX27" fmla="*/ 2911 w 10000"/>
                <a:gd name="connsiteY27" fmla="*/ 9572 h 9819"/>
                <a:gd name="connsiteX28" fmla="*/ 3167 w 10000"/>
                <a:gd name="connsiteY28" fmla="*/ 9539 h 9819"/>
                <a:gd name="connsiteX29" fmla="*/ 3795 w 10000"/>
                <a:gd name="connsiteY29" fmla="*/ 9693 h 9819"/>
                <a:gd name="connsiteX30" fmla="*/ 4153 w 10000"/>
                <a:gd name="connsiteY30" fmla="*/ 9776 h 9819"/>
                <a:gd name="connsiteX31" fmla="*/ 4600 w 10000"/>
                <a:gd name="connsiteY31" fmla="*/ 9556 h 9819"/>
                <a:gd name="connsiteX32" fmla="*/ 4901 w 10000"/>
                <a:gd name="connsiteY32" fmla="*/ 9086 h 9819"/>
                <a:gd name="connsiteX33" fmla="*/ 5337 w 10000"/>
                <a:gd name="connsiteY33" fmla="*/ 9340 h 9819"/>
                <a:gd name="connsiteX34" fmla="*/ 5564 w 10000"/>
                <a:gd name="connsiteY34" fmla="*/ 9506 h 9819"/>
                <a:gd name="connsiteX35" fmla="*/ 5768 w 10000"/>
                <a:gd name="connsiteY35" fmla="*/ 9399 h 9819"/>
                <a:gd name="connsiteX36" fmla="*/ 5933 w 10000"/>
                <a:gd name="connsiteY36" fmla="*/ 9300 h 9819"/>
                <a:gd name="connsiteX37" fmla="*/ 6089 w 10000"/>
                <a:gd name="connsiteY37" fmla="*/ 9078 h 9819"/>
                <a:gd name="connsiteX38" fmla="*/ 6274 w 10000"/>
                <a:gd name="connsiteY38" fmla="*/ 8778 h 9819"/>
                <a:gd name="connsiteX39" fmla="*/ 6389 w 10000"/>
                <a:gd name="connsiteY39" fmla="*/ 8638 h 9819"/>
                <a:gd name="connsiteX40" fmla="*/ 6524 w 10000"/>
                <a:gd name="connsiteY40" fmla="*/ 8582 h 9819"/>
                <a:gd name="connsiteX41" fmla="*/ 6531 w 10000"/>
                <a:gd name="connsiteY41" fmla="*/ 8405 h 9819"/>
                <a:gd name="connsiteX42" fmla="*/ 6572 w 10000"/>
                <a:gd name="connsiteY42" fmla="*/ 8201 h 9819"/>
                <a:gd name="connsiteX43" fmla="*/ 6602 w 10000"/>
                <a:gd name="connsiteY43" fmla="*/ 8014 h 9819"/>
                <a:gd name="connsiteX44" fmla="*/ 6855 w 10000"/>
                <a:gd name="connsiteY44" fmla="*/ 7773 h 9819"/>
                <a:gd name="connsiteX45" fmla="*/ 6893 w 10000"/>
                <a:gd name="connsiteY45" fmla="*/ 8708 h 9819"/>
                <a:gd name="connsiteX46" fmla="*/ 7308 w 10000"/>
                <a:gd name="connsiteY46" fmla="*/ 9034 h 9819"/>
                <a:gd name="connsiteX47" fmla="*/ 7430 w 10000"/>
                <a:gd name="connsiteY47" fmla="*/ 8756 h 9819"/>
                <a:gd name="connsiteX48" fmla="*/ 7470 w 10000"/>
                <a:gd name="connsiteY48" fmla="*/ 8798 h 9819"/>
                <a:gd name="connsiteX49" fmla="*/ 7590 w 10000"/>
                <a:gd name="connsiteY49" fmla="*/ 8541 h 9819"/>
                <a:gd name="connsiteX50" fmla="*/ 7831 w 10000"/>
                <a:gd name="connsiteY50" fmla="*/ 8412 h 9819"/>
                <a:gd name="connsiteX51" fmla="*/ 7952 w 10000"/>
                <a:gd name="connsiteY51" fmla="*/ 7937 h 9819"/>
                <a:gd name="connsiteX52" fmla="*/ 8313 w 10000"/>
                <a:gd name="connsiteY52" fmla="*/ 7377 h 9819"/>
                <a:gd name="connsiteX53" fmla="*/ 8594 w 10000"/>
                <a:gd name="connsiteY53" fmla="*/ 7117 h 9819"/>
                <a:gd name="connsiteX54" fmla="*/ 8795 w 10000"/>
                <a:gd name="connsiteY54" fmla="*/ 6386 h 9819"/>
                <a:gd name="connsiteX55" fmla="*/ 8795 w 10000"/>
                <a:gd name="connsiteY55" fmla="*/ 6213 h 9819"/>
                <a:gd name="connsiteX56" fmla="*/ 8755 w 10000"/>
                <a:gd name="connsiteY56" fmla="*/ 5781 h 9819"/>
                <a:gd name="connsiteX57" fmla="*/ 9157 w 10000"/>
                <a:gd name="connsiteY57" fmla="*/ 4227 h 9819"/>
                <a:gd name="connsiteX58" fmla="*/ 9277 w 10000"/>
                <a:gd name="connsiteY58" fmla="*/ 4227 h 9819"/>
                <a:gd name="connsiteX59" fmla="*/ 9438 w 10000"/>
                <a:gd name="connsiteY59" fmla="*/ 4098 h 9819"/>
                <a:gd name="connsiteX60" fmla="*/ 9920 w 10000"/>
                <a:gd name="connsiteY60" fmla="*/ 3882 h 9819"/>
                <a:gd name="connsiteX61" fmla="*/ 10000 w 10000"/>
                <a:gd name="connsiteY61" fmla="*/ 3537 h 9819"/>
                <a:gd name="connsiteX62" fmla="*/ 9960 w 10000"/>
                <a:gd name="connsiteY62" fmla="*/ 3450 h 9819"/>
                <a:gd name="connsiteX63" fmla="*/ 9799 w 10000"/>
                <a:gd name="connsiteY63" fmla="*/ 3450 h 9819"/>
                <a:gd name="connsiteX64" fmla="*/ 9679 w 10000"/>
                <a:gd name="connsiteY64" fmla="*/ 3235 h 9819"/>
                <a:gd name="connsiteX65" fmla="*/ 9438 w 10000"/>
                <a:gd name="connsiteY65" fmla="*/ 3151 h 9819"/>
                <a:gd name="connsiteX66" fmla="*/ 9317 w 10000"/>
                <a:gd name="connsiteY66" fmla="*/ 2978 h 9819"/>
                <a:gd name="connsiteX67" fmla="*/ 9237 w 10000"/>
                <a:gd name="connsiteY67" fmla="*/ 2331 h 9819"/>
                <a:gd name="connsiteX68" fmla="*/ 9237 w 10000"/>
                <a:gd name="connsiteY68" fmla="*/ 1423 h 9819"/>
                <a:gd name="connsiteX69" fmla="*/ 9036 w 10000"/>
                <a:gd name="connsiteY69" fmla="*/ 1123 h 9819"/>
                <a:gd name="connsiteX70" fmla="*/ 8996 w 10000"/>
                <a:gd name="connsiteY70" fmla="*/ 820 h 9819"/>
                <a:gd name="connsiteX71" fmla="*/ 8675 w 10000"/>
                <a:gd name="connsiteY71" fmla="*/ 389 h 9819"/>
                <a:gd name="connsiteX72" fmla="*/ 8394 w 10000"/>
                <a:gd name="connsiteY72" fmla="*/ 218 h 9819"/>
                <a:gd name="connsiteX73" fmla="*/ 8233 w 10000"/>
                <a:gd name="connsiteY73" fmla="*/ 0 h 9819"/>
                <a:gd name="connsiteX74" fmla="*/ 7992 w 10000"/>
                <a:gd name="connsiteY74" fmla="*/ 218 h 9819"/>
                <a:gd name="connsiteX75" fmla="*/ 7831 w 10000"/>
                <a:gd name="connsiteY75" fmla="*/ 173 h 9819"/>
                <a:gd name="connsiteX76" fmla="*/ 7711 w 10000"/>
                <a:gd name="connsiteY76" fmla="*/ 559 h 9819"/>
                <a:gd name="connsiteX77" fmla="*/ 7390 w 10000"/>
                <a:gd name="connsiteY77" fmla="*/ 648 h 9819"/>
                <a:gd name="connsiteX78" fmla="*/ 7309 w 10000"/>
                <a:gd name="connsiteY78" fmla="*/ 948 h 9819"/>
                <a:gd name="connsiteX79" fmla="*/ 7028 w 10000"/>
                <a:gd name="connsiteY79" fmla="*/ 948 h 9819"/>
                <a:gd name="connsiteX80" fmla="*/ 6787 w 10000"/>
                <a:gd name="connsiteY80" fmla="*/ 820 h 9819"/>
                <a:gd name="connsiteX81" fmla="*/ 6265 w 10000"/>
                <a:gd name="connsiteY81" fmla="*/ 820 h 9819"/>
                <a:gd name="connsiteX82" fmla="*/ 5743 w 10000"/>
                <a:gd name="connsiteY82" fmla="*/ 820 h 9819"/>
                <a:gd name="connsiteX83" fmla="*/ 5783 w 10000"/>
                <a:gd name="connsiteY83" fmla="*/ 648 h 9819"/>
                <a:gd name="connsiteX84" fmla="*/ 5703 w 10000"/>
                <a:gd name="connsiteY84" fmla="*/ 648 h 9819"/>
                <a:gd name="connsiteX85" fmla="*/ 5663 w 10000"/>
                <a:gd name="connsiteY85" fmla="*/ 820 h 9819"/>
                <a:gd name="connsiteX86" fmla="*/ 5181 w 10000"/>
                <a:gd name="connsiteY86" fmla="*/ 820 h 9819"/>
                <a:gd name="connsiteX87" fmla="*/ 4699 w 10000"/>
                <a:gd name="connsiteY87" fmla="*/ 820 h 9819"/>
                <a:gd name="connsiteX88" fmla="*/ 4217 w 10000"/>
                <a:gd name="connsiteY88" fmla="*/ 820 h 9819"/>
                <a:gd name="connsiteX89" fmla="*/ 3735 w 10000"/>
                <a:gd name="connsiteY89" fmla="*/ 820 h 9819"/>
                <a:gd name="connsiteX90" fmla="*/ 3293 w 10000"/>
                <a:gd name="connsiteY90" fmla="*/ 820 h 9819"/>
                <a:gd name="connsiteX91" fmla="*/ 2811 w 10000"/>
                <a:gd name="connsiteY91" fmla="*/ 820 h 9819"/>
                <a:gd name="connsiteX92" fmla="*/ 2369 w 10000"/>
                <a:gd name="connsiteY92" fmla="*/ 820 h 9819"/>
                <a:gd name="connsiteX93" fmla="*/ 1888 w 10000"/>
                <a:gd name="connsiteY93" fmla="*/ 820 h 9819"/>
                <a:gd name="connsiteX94" fmla="*/ 1888 w 10000"/>
                <a:gd name="connsiteY94" fmla="*/ 1423 h 9819"/>
                <a:gd name="connsiteX95" fmla="*/ 1888 w 10000"/>
                <a:gd name="connsiteY95" fmla="*/ 2200 h 9819"/>
                <a:gd name="connsiteX96" fmla="*/ 1285 w 10000"/>
                <a:gd name="connsiteY96" fmla="*/ 2200 h 9819"/>
                <a:gd name="connsiteX97" fmla="*/ 1285 w 10000"/>
                <a:gd name="connsiteY97" fmla="*/ 2545 h 9819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11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01 w 10000"/>
                <a:gd name="connsiteY32" fmla="*/ 9253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11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83 w 10000"/>
                <a:gd name="connsiteY32" fmla="*/ 9289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77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83 w 10000"/>
                <a:gd name="connsiteY32" fmla="*/ 9289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10000" h="10000">
                  <a:moveTo>
                    <a:pt x="1285" y="2592"/>
                  </a:moveTo>
                  <a:lnTo>
                    <a:pt x="1285" y="3295"/>
                  </a:lnTo>
                  <a:lnTo>
                    <a:pt x="1285" y="3954"/>
                  </a:lnTo>
                  <a:lnTo>
                    <a:pt x="1285" y="4614"/>
                  </a:lnTo>
                  <a:lnTo>
                    <a:pt x="1285" y="5226"/>
                  </a:lnTo>
                  <a:lnTo>
                    <a:pt x="643" y="5360"/>
                  </a:lnTo>
                  <a:cubicBezTo>
                    <a:pt x="603" y="5477"/>
                    <a:pt x="562" y="5593"/>
                    <a:pt x="522" y="5710"/>
                  </a:cubicBezTo>
                  <a:lnTo>
                    <a:pt x="241" y="6150"/>
                  </a:lnTo>
                  <a:lnTo>
                    <a:pt x="241" y="6504"/>
                  </a:lnTo>
                  <a:lnTo>
                    <a:pt x="120" y="6589"/>
                  </a:lnTo>
                  <a:lnTo>
                    <a:pt x="120" y="6896"/>
                  </a:lnTo>
                  <a:lnTo>
                    <a:pt x="0" y="7163"/>
                  </a:lnTo>
                  <a:lnTo>
                    <a:pt x="0" y="7380"/>
                  </a:lnTo>
                  <a:lnTo>
                    <a:pt x="241" y="7337"/>
                  </a:lnTo>
                  <a:cubicBezTo>
                    <a:pt x="254" y="7469"/>
                    <a:pt x="268" y="7600"/>
                    <a:pt x="281" y="7730"/>
                  </a:cubicBezTo>
                  <a:lnTo>
                    <a:pt x="602" y="8437"/>
                  </a:lnTo>
                  <a:lnTo>
                    <a:pt x="602" y="8479"/>
                  </a:lnTo>
                  <a:lnTo>
                    <a:pt x="482" y="8522"/>
                  </a:lnTo>
                  <a:lnTo>
                    <a:pt x="964" y="9225"/>
                  </a:lnTo>
                  <a:cubicBezTo>
                    <a:pt x="977" y="9299"/>
                    <a:pt x="991" y="9372"/>
                    <a:pt x="1004" y="9446"/>
                  </a:cubicBezTo>
                  <a:cubicBezTo>
                    <a:pt x="991" y="9651"/>
                    <a:pt x="1191" y="9602"/>
                    <a:pt x="1178" y="9809"/>
                  </a:cubicBezTo>
                  <a:cubicBezTo>
                    <a:pt x="1205" y="9838"/>
                    <a:pt x="1330" y="9578"/>
                    <a:pt x="1357" y="9607"/>
                  </a:cubicBezTo>
                  <a:cubicBezTo>
                    <a:pt x="1491" y="9531"/>
                    <a:pt x="1526" y="9661"/>
                    <a:pt x="1652" y="9545"/>
                  </a:cubicBezTo>
                  <a:lnTo>
                    <a:pt x="1951" y="9489"/>
                  </a:lnTo>
                  <a:cubicBezTo>
                    <a:pt x="1964" y="9591"/>
                    <a:pt x="2012" y="9117"/>
                    <a:pt x="2025" y="9219"/>
                  </a:cubicBezTo>
                  <a:lnTo>
                    <a:pt x="2338" y="9131"/>
                  </a:lnTo>
                  <a:cubicBezTo>
                    <a:pt x="2482" y="9213"/>
                    <a:pt x="2505" y="9464"/>
                    <a:pt x="2643" y="9561"/>
                  </a:cubicBezTo>
                  <a:cubicBezTo>
                    <a:pt x="2747" y="9644"/>
                    <a:pt x="2890" y="9723"/>
                    <a:pt x="2977" y="9748"/>
                  </a:cubicBezTo>
                  <a:cubicBezTo>
                    <a:pt x="3064" y="9775"/>
                    <a:pt x="3071" y="9711"/>
                    <a:pt x="3167" y="9715"/>
                  </a:cubicBezTo>
                  <a:lnTo>
                    <a:pt x="3795" y="9872"/>
                  </a:lnTo>
                  <a:cubicBezTo>
                    <a:pt x="3849" y="9828"/>
                    <a:pt x="4099" y="10000"/>
                    <a:pt x="4153" y="9956"/>
                  </a:cubicBezTo>
                  <a:cubicBezTo>
                    <a:pt x="4287" y="9933"/>
                    <a:pt x="4581" y="9819"/>
                    <a:pt x="4682" y="9732"/>
                  </a:cubicBezTo>
                  <a:cubicBezTo>
                    <a:pt x="4806" y="9616"/>
                    <a:pt x="4903" y="9349"/>
                    <a:pt x="4983" y="9289"/>
                  </a:cubicBezTo>
                  <a:cubicBezTo>
                    <a:pt x="5106" y="9253"/>
                    <a:pt x="5227" y="9441"/>
                    <a:pt x="5337" y="9512"/>
                  </a:cubicBezTo>
                  <a:cubicBezTo>
                    <a:pt x="5340" y="9373"/>
                    <a:pt x="5492" y="9671"/>
                    <a:pt x="5564" y="9681"/>
                  </a:cubicBezTo>
                  <a:lnTo>
                    <a:pt x="5768" y="9572"/>
                  </a:lnTo>
                  <a:lnTo>
                    <a:pt x="5933" y="9471"/>
                  </a:lnTo>
                  <a:lnTo>
                    <a:pt x="6089" y="9245"/>
                  </a:lnTo>
                  <a:lnTo>
                    <a:pt x="6274" y="8940"/>
                  </a:lnTo>
                  <a:cubicBezTo>
                    <a:pt x="6312" y="8890"/>
                    <a:pt x="6351" y="8843"/>
                    <a:pt x="6389" y="8797"/>
                  </a:cubicBezTo>
                  <a:lnTo>
                    <a:pt x="6524" y="8740"/>
                  </a:lnTo>
                  <a:cubicBezTo>
                    <a:pt x="6526" y="8680"/>
                    <a:pt x="6529" y="8620"/>
                    <a:pt x="6531" y="8560"/>
                  </a:cubicBezTo>
                  <a:cubicBezTo>
                    <a:pt x="6495" y="8427"/>
                    <a:pt x="6608" y="8487"/>
                    <a:pt x="6572" y="8352"/>
                  </a:cubicBezTo>
                  <a:cubicBezTo>
                    <a:pt x="6582" y="8288"/>
                    <a:pt x="6592" y="8226"/>
                    <a:pt x="6602" y="8162"/>
                  </a:cubicBezTo>
                  <a:lnTo>
                    <a:pt x="6855" y="7916"/>
                  </a:lnTo>
                  <a:cubicBezTo>
                    <a:pt x="6892" y="8049"/>
                    <a:pt x="6846" y="8691"/>
                    <a:pt x="6893" y="8869"/>
                  </a:cubicBezTo>
                  <a:cubicBezTo>
                    <a:pt x="6988" y="9092"/>
                    <a:pt x="7208" y="9208"/>
                    <a:pt x="7308" y="9201"/>
                  </a:cubicBezTo>
                  <a:cubicBezTo>
                    <a:pt x="7321" y="8774"/>
                    <a:pt x="7417" y="9343"/>
                    <a:pt x="7430" y="8917"/>
                  </a:cubicBezTo>
                  <a:cubicBezTo>
                    <a:pt x="7443" y="8935"/>
                    <a:pt x="7457" y="8947"/>
                    <a:pt x="7470" y="8960"/>
                  </a:cubicBezTo>
                  <a:lnTo>
                    <a:pt x="7590" y="8698"/>
                  </a:lnTo>
                  <a:lnTo>
                    <a:pt x="7831" y="8567"/>
                  </a:lnTo>
                  <a:cubicBezTo>
                    <a:pt x="7871" y="8405"/>
                    <a:pt x="7912" y="8243"/>
                    <a:pt x="7952" y="8083"/>
                  </a:cubicBezTo>
                  <a:lnTo>
                    <a:pt x="8313" y="7513"/>
                  </a:lnTo>
                  <a:lnTo>
                    <a:pt x="8594" y="7248"/>
                  </a:lnTo>
                  <a:lnTo>
                    <a:pt x="8795" y="6504"/>
                  </a:lnTo>
                  <a:lnTo>
                    <a:pt x="8795" y="6328"/>
                  </a:lnTo>
                  <a:cubicBezTo>
                    <a:pt x="8782" y="6182"/>
                    <a:pt x="8768" y="6033"/>
                    <a:pt x="8755" y="5888"/>
                  </a:cubicBezTo>
                  <a:lnTo>
                    <a:pt x="9157" y="4305"/>
                  </a:lnTo>
                  <a:lnTo>
                    <a:pt x="9277" y="4305"/>
                  </a:lnTo>
                  <a:cubicBezTo>
                    <a:pt x="9331" y="4263"/>
                    <a:pt x="9384" y="4216"/>
                    <a:pt x="9438" y="4174"/>
                  </a:cubicBezTo>
                  <a:lnTo>
                    <a:pt x="9920" y="3954"/>
                  </a:lnTo>
                  <a:cubicBezTo>
                    <a:pt x="9947" y="3837"/>
                    <a:pt x="9973" y="3722"/>
                    <a:pt x="10000" y="3602"/>
                  </a:cubicBezTo>
                  <a:cubicBezTo>
                    <a:pt x="9987" y="3573"/>
                    <a:pt x="9973" y="3545"/>
                    <a:pt x="9960" y="3514"/>
                  </a:cubicBezTo>
                  <a:lnTo>
                    <a:pt x="9799" y="3514"/>
                  </a:lnTo>
                  <a:lnTo>
                    <a:pt x="9679" y="3295"/>
                  </a:lnTo>
                  <a:lnTo>
                    <a:pt x="9438" y="3209"/>
                  </a:lnTo>
                  <a:cubicBezTo>
                    <a:pt x="9398" y="3148"/>
                    <a:pt x="9357" y="3091"/>
                    <a:pt x="9317" y="3033"/>
                  </a:cubicBezTo>
                  <a:cubicBezTo>
                    <a:pt x="9290" y="2813"/>
                    <a:pt x="9264" y="2592"/>
                    <a:pt x="9237" y="2374"/>
                  </a:cubicBezTo>
                  <a:lnTo>
                    <a:pt x="9237" y="1449"/>
                  </a:lnTo>
                  <a:lnTo>
                    <a:pt x="9036" y="1144"/>
                  </a:lnTo>
                  <a:cubicBezTo>
                    <a:pt x="9023" y="1040"/>
                    <a:pt x="9009" y="936"/>
                    <a:pt x="8996" y="835"/>
                  </a:cubicBezTo>
                  <a:lnTo>
                    <a:pt x="8675" y="396"/>
                  </a:lnTo>
                  <a:lnTo>
                    <a:pt x="8394" y="222"/>
                  </a:lnTo>
                  <a:lnTo>
                    <a:pt x="8233" y="0"/>
                  </a:lnTo>
                  <a:lnTo>
                    <a:pt x="7992" y="222"/>
                  </a:lnTo>
                  <a:lnTo>
                    <a:pt x="7831" y="176"/>
                  </a:lnTo>
                  <a:lnTo>
                    <a:pt x="7711" y="569"/>
                  </a:lnTo>
                  <a:lnTo>
                    <a:pt x="7390" y="660"/>
                  </a:lnTo>
                  <a:cubicBezTo>
                    <a:pt x="7363" y="762"/>
                    <a:pt x="7336" y="863"/>
                    <a:pt x="7309" y="965"/>
                  </a:cubicBezTo>
                  <a:lnTo>
                    <a:pt x="7028" y="965"/>
                  </a:lnTo>
                  <a:lnTo>
                    <a:pt x="6787" y="835"/>
                  </a:lnTo>
                  <a:lnTo>
                    <a:pt x="6265" y="835"/>
                  </a:lnTo>
                  <a:lnTo>
                    <a:pt x="5743" y="835"/>
                  </a:lnTo>
                  <a:cubicBezTo>
                    <a:pt x="5756" y="777"/>
                    <a:pt x="5770" y="718"/>
                    <a:pt x="5783" y="660"/>
                  </a:cubicBezTo>
                  <a:lnTo>
                    <a:pt x="5703" y="660"/>
                  </a:lnTo>
                  <a:cubicBezTo>
                    <a:pt x="5690" y="718"/>
                    <a:pt x="5676" y="777"/>
                    <a:pt x="5663" y="835"/>
                  </a:cubicBezTo>
                  <a:lnTo>
                    <a:pt x="5181" y="835"/>
                  </a:lnTo>
                  <a:lnTo>
                    <a:pt x="4699" y="835"/>
                  </a:lnTo>
                  <a:lnTo>
                    <a:pt x="4217" y="835"/>
                  </a:lnTo>
                  <a:lnTo>
                    <a:pt x="3735" y="835"/>
                  </a:lnTo>
                  <a:lnTo>
                    <a:pt x="3293" y="835"/>
                  </a:lnTo>
                  <a:lnTo>
                    <a:pt x="2811" y="835"/>
                  </a:lnTo>
                  <a:lnTo>
                    <a:pt x="2369" y="835"/>
                  </a:lnTo>
                  <a:lnTo>
                    <a:pt x="1888" y="835"/>
                  </a:lnTo>
                  <a:lnTo>
                    <a:pt x="1888" y="1449"/>
                  </a:lnTo>
                  <a:lnTo>
                    <a:pt x="1888" y="2241"/>
                  </a:lnTo>
                  <a:lnTo>
                    <a:pt x="1285" y="2241"/>
                  </a:lnTo>
                  <a:lnTo>
                    <a:pt x="1285" y="259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4450" tIns="44450" rIns="44450" bIns="44450"/>
            <a:lstStyle/>
            <a:p>
              <a:pPr algn="ctr"/>
              <a:endParaRPr lang="en-US" sz="3200" dirty="0"/>
            </a:p>
          </p:txBody>
        </p:sp>
        <p:sp>
          <p:nvSpPr>
            <p:cNvPr id="7" name="Freeform 4"/>
            <p:cNvSpPr>
              <a:spLocks/>
            </p:cNvSpPr>
            <p:nvPr>
              <p:custDataLst>
                <p:tags r:id="rId200"/>
              </p:custDataLst>
            </p:nvPr>
          </p:nvSpPr>
          <p:spPr bwMode="gray">
            <a:xfrm>
              <a:off x="5736031" y="3508868"/>
              <a:ext cx="318858" cy="272884"/>
            </a:xfrm>
            <a:custGeom>
              <a:avLst/>
              <a:gdLst/>
              <a:ahLst/>
              <a:cxnLst>
                <a:cxn ang="0">
                  <a:pos x="20" y="64"/>
                </a:cxn>
                <a:cxn ang="0">
                  <a:pos x="32" y="68"/>
                </a:cxn>
                <a:cxn ang="0">
                  <a:pos x="36" y="60"/>
                </a:cxn>
                <a:cxn ang="0">
                  <a:pos x="40" y="56"/>
                </a:cxn>
                <a:cxn ang="0">
                  <a:pos x="52" y="48"/>
                </a:cxn>
                <a:cxn ang="0">
                  <a:pos x="60" y="40"/>
                </a:cxn>
                <a:cxn ang="0">
                  <a:pos x="64" y="28"/>
                </a:cxn>
                <a:cxn ang="0">
                  <a:pos x="76" y="24"/>
                </a:cxn>
                <a:cxn ang="0">
                  <a:pos x="84" y="24"/>
                </a:cxn>
                <a:cxn ang="0">
                  <a:pos x="100" y="24"/>
                </a:cxn>
                <a:cxn ang="0">
                  <a:pos x="108" y="28"/>
                </a:cxn>
                <a:cxn ang="0">
                  <a:pos x="120" y="28"/>
                </a:cxn>
                <a:cxn ang="0">
                  <a:pos x="132" y="28"/>
                </a:cxn>
                <a:cxn ang="0">
                  <a:pos x="144" y="20"/>
                </a:cxn>
                <a:cxn ang="0">
                  <a:pos x="144" y="12"/>
                </a:cxn>
                <a:cxn ang="0">
                  <a:pos x="156" y="0"/>
                </a:cxn>
                <a:cxn ang="0">
                  <a:pos x="160" y="12"/>
                </a:cxn>
                <a:cxn ang="0">
                  <a:pos x="164" y="16"/>
                </a:cxn>
                <a:cxn ang="0">
                  <a:pos x="164" y="32"/>
                </a:cxn>
                <a:cxn ang="0">
                  <a:pos x="176" y="32"/>
                </a:cxn>
                <a:cxn ang="0">
                  <a:pos x="188" y="28"/>
                </a:cxn>
                <a:cxn ang="0">
                  <a:pos x="196" y="24"/>
                </a:cxn>
                <a:cxn ang="0">
                  <a:pos x="200" y="28"/>
                </a:cxn>
                <a:cxn ang="0">
                  <a:pos x="215" y="24"/>
                </a:cxn>
                <a:cxn ang="0">
                  <a:pos x="208" y="28"/>
                </a:cxn>
                <a:cxn ang="0">
                  <a:pos x="200" y="32"/>
                </a:cxn>
                <a:cxn ang="0">
                  <a:pos x="184" y="36"/>
                </a:cxn>
                <a:cxn ang="0">
                  <a:pos x="172" y="40"/>
                </a:cxn>
                <a:cxn ang="0">
                  <a:pos x="160" y="52"/>
                </a:cxn>
                <a:cxn ang="0">
                  <a:pos x="164" y="60"/>
                </a:cxn>
                <a:cxn ang="0">
                  <a:pos x="164" y="72"/>
                </a:cxn>
                <a:cxn ang="0">
                  <a:pos x="156" y="80"/>
                </a:cxn>
                <a:cxn ang="0">
                  <a:pos x="160" y="92"/>
                </a:cxn>
                <a:cxn ang="0">
                  <a:pos x="144" y="92"/>
                </a:cxn>
                <a:cxn ang="0">
                  <a:pos x="144" y="100"/>
                </a:cxn>
                <a:cxn ang="0">
                  <a:pos x="144" y="108"/>
                </a:cxn>
                <a:cxn ang="0">
                  <a:pos x="132" y="116"/>
                </a:cxn>
                <a:cxn ang="0">
                  <a:pos x="132" y="124"/>
                </a:cxn>
                <a:cxn ang="0">
                  <a:pos x="128" y="136"/>
                </a:cxn>
                <a:cxn ang="0">
                  <a:pos x="120" y="136"/>
                </a:cxn>
                <a:cxn ang="0">
                  <a:pos x="104" y="140"/>
                </a:cxn>
                <a:cxn ang="0">
                  <a:pos x="100" y="148"/>
                </a:cxn>
                <a:cxn ang="0">
                  <a:pos x="92" y="148"/>
                </a:cxn>
                <a:cxn ang="0">
                  <a:pos x="88" y="164"/>
                </a:cxn>
                <a:cxn ang="0">
                  <a:pos x="88" y="172"/>
                </a:cxn>
                <a:cxn ang="0">
                  <a:pos x="72" y="180"/>
                </a:cxn>
                <a:cxn ang="0">
                  <a:pos x="56" y="180"/>
                </a:cxn>
                <a:cxn ang="0">
                  <a:pos x="40" y="180"/>
                </a:cxn>
                <a:cxn ang="0">
                  <a:pos x="16" y="180"/>
                </a:cxn>
                <a:cxn ang="0">
                  <a:pos x="8" y="172"/>
                </a:cxn>
                <a:cxn ang="0">
                  <a:pos x="20" y="152"/>
                </a:cxn>
                <a:cxn ang="0">
                  <a:pos x="12" y="144"/>
                </a:cxn>
                <a:cxn ang="0">
                  <a:pos x="4" y="132"/>
                </a:cxn>
                <a:cxn ang="0">
                  <a:pos x="0" y="116"/>
                </a:cxn>
                <a:cxn ang="0">
                  <a:pos x="4" y="104"/>
                </a:cxn>
                <a:cxn ang="0">
                  <a:pos x="0" y="92"/>
                </a:cxn>
                <a:cxn ang="0">
                  <a:pos x="0" y="80"/>
                </a:cxn>
                <a:cxn ang="0">
                  <a:pos x="8" y="68"/>
                </a:cxn>
              </a:cxnLst>
              <a:rect l="0" t="0" r="r" b="b"/>
              <a:pathLst>
                <a:path w="215" h="184">
                  <a:moveTo>
                    <a:pt x="12" y="60"/>
                  </a:moveTo>
                  <a:lnTo>
                    <a:pt x="12" y="64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6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36" y="56"/>
                  </a:lnTo>
                  <a:lnTo>
                    <a:pt x="40" y="56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60" y="48"/>
                  </a:lnTo>
                  <a:lnTo>
                    <a:pt x="60" y="44"/>
                  </a:lnTo>
                  <a:lnTo>
                    <a:pt x="60" y="40"/>
                  </a:lnTo>
                  <a:lnTo>
                    <a:pt x="60" y="36"/>
                  </a:lnTo>
                  <a:lnTo>
                    <a:pt x="64" y="36"/>
                  </a:lnTo>
                  <a:lnTo>
                    <a:pt x="64" y="32"/>
                  </a:lnTo>
                  <a:lnTo>
                    <a:pt x="64" y="28"/>
                  </a:lnTo>
                  <a:lnTo>
                    <a:pt x="68" y="28"/>
                  </a:lnTo>
                  <a:lnTo>
                    <a:pt x="72" y="28"/>
                  </a:lnTo>
                  <a:lnTo>
                    <a:pt x="76" y="28"/>
                  </a:lnTo>
                  <a:lnTo>
                    <a:pt x="76" y="24"/>
                  </a:lnTo>
                  <a:lnTo>
                    <a:pt x="76" y="20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4" y="24"/>
                  </a:lnTo>
                  <a:lnTo>
                    <a:pt x="108" y="28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16" y="28"/>
                  </a:lnTo>
                  <a:lnTo>
                    <a:pt x="120" y="28"/>
                  </a:lnTo>
                  <a:lnTo>
                    <a:pt x="124" y="24"/>
                  </a:lnTo>
                  <a:lnTo>
                    <a:pt x="128" y="24"/>
                  </a:lnTo>
                  <a:lnTo>
                    <a:pt x="128" y="28"/>
                  </a:lnTo>
                  <a:lnTo>
                    <a:pt x="132" y="28"/>
                  </a:lnTo>
                  <a:lnTo>
                    <a:pt x="132" y="24"/>
                  </a:lnTo>
                  <a:lnTo>
                    <a:pt x="136" y="20"/>
                  </a:lnTo>
                  <a:lnTo>
                    <a:pt x="140" y="20"/>
                  </a:lnTo>
                  <a:lnTo>
                    <a:pt x="144" y="20"/>
                  </a:lnTo>
                  <a:lnTo>
                    <a:pt x="148" y="20"/>
                  </a:lnTo>
                  <a:lnTo>
                    <a:pt x="148" y="16"/>
                  </a:lnTo>
                  <a:lnTo>
                    <a:pt x="144" y="16"/>
                  </a:lnTo>
                  <a:lnTo>
                    <a:pt x="144" y="12"/>
                  </a:lnTo>
                  <a:lnTo>
                    <a:pt x="148" y="12"/>
                  </a:lnTo>
                  <a:lnTo>
                    <a:pt x="152" y="8"/>
                  </a:lnTo>
                  <a:lnTo>
                    <a:pt x="152" y="4"/>
                  </a:lnTo>
                  <a:lnTo>
                    <a:pt x="156" y="0"/>
                  </a:lnTo>
                  <a:lnTo>
                    <a:pt x="160" y="4"/>
                  </a:lnTo>
                  <a:lnTo>
                    <a:pt x="164" y="4"/>
                  </a:lnTo>
                  <a:lnTo>
                    <a:pt x="164" y="8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8" y="12"/>
                  </a:lnTo>
                  <a:lnTo>
                    <a:pt x="168" y="16"/>
                  </a:lnTo>
                  <a:lnTo>
                    <a:pt x="164" y="16"/>
                  </a:lnTo>
                  <a:lnTo>
                    <a:pt x="164" y="20"/>
                  </a:lnTo>
                  <a:lnTo>
                    <a:pt x="164" y="24"/>
                  </a:lnTo>
                  <a:lnTo>
                    <a:pt x="164" y="28"/>
                  </a:lnTo>
                  <a:lnTo>
                    <a:pt x="164" y="32"/>
                  </a:lnTo>
                  <a:lnTo>
                    <a:pt x="168" y="36"/>
                  </a:lnTo>
                  <a:lnTo>
                    <a:pt x="168" y="40"/>
                  </a:lnTo>
                  <a:lnTo>
                    <a:pt x="172" y="36"/>
                  </a:lnTo>
                  <a:lnTo>
                    <a:pt x="176" y="32"/>
                  </a:lnTo>
                  <a:lnTo>
                    <a:pt x="180" y="32"/>
                  </a:lnTo>
                  <a:lnTo>
                    <a:pt x="184" y="32"/>
                  </a:lnTo>
                  <a:lnTo>
                    <a:pt x="184" y="28"/>
                  </a:lnTo>
                  <a:lnTo>
                    <a:pt x="188" y="28"/>
                  </a:lnTo>
                  <a:lnTo>
                    <a:pt x="188" y="24"/>
                  </a:lnTo>
                  <a:lnTo>
                    <a:pt x="192" y="24"/>
                  </a:lnTo>
                  <a:lnTo>
                    <a:pt x="196" y="20"/>
                  </a:lnTo>
                  <a:lnTo>
                    <a:pt x="196" y="24"/>
                  </a:lnTo>
                  <a:lnTo>
                    <a:pt x="200" y="24"/>
                  </a:lnTo>
                  <a:lnTo>
                    <a:pt x="196" y="24"/>
                  </a:lnTo>
                  <a:lnTo>
                    <a:pt x="196" y="28"/>
                  </a:lnTo>
                  <a:lnTo>
                    <a:pt x="200" y="28"/>
                  </a:lnTo>
                  <a:lnTo>
                    <a:pt x="204" y="24"/>
                  </a:lnTo>
                  <a:lnTo>
                    <a:pt x="208" y="24"/>
                  </a:lnTo>
                  <a:lnTo>
                    <a:pt x="212" y="24"/>
                  </a:lnTo>
                  <a:lnTo>
                    <a:pt x="215" y="24"/>
                  </a:lnTo>
                  <a:lnTo>
                    <a:pt x="215" y="28"/>
                  </a:lnTo>
                  <a:lnTo>
                    <a:pt x="215" y="24"/>
                  </a:lnTo>
                  <a:lnTo>
                    <a:pt x="212" y="28"/>
                  </a:lnTo>
                  <a:lnTo>
                    <a:pt x="208" y="28"/>
                  </a:lnTo>
                  <a:lnTo>
                    <a:pt x="212" y="32"/>
                  </a:lnTo>
                  <a:lnTo>
                    <a:pt x="208" y="32"/>
                  </a:lnTo>
                  <a:lnTo>
                    <a:pt x="204" y="36"/>
                  </a:lnTo>
                  <a:lnTo>
                    <a:pt x="200" y="32"/>
                  </a:lnTo>
                  <a:lnTo>
                    <a:pt x="196" y="32"/>
                  </a:lnTo>
                  <a:lnTo>
                    <a:pt x="192" y="32"/>
                  </a:lnTo>
                  <a:lnTo>
                    <a:pt x="188" y="36"/>
                  </a:lnTo>
                  <a:lnTo>
                    <a:pt x="184" y="36"/>
                  </a:lnTo>
                  <a:lnTo>
                    <a:pt x="180" y="36"/>
                  </a:lnTo>
                  <a:lnTo>
                    <a:pt x="176" y="36"/>
                  </a:lnTo>
                  <a:lnTo>
                    <a:pt x="176" y="40"/>
                  </a:lnTo>
                  <a:lnTo>
                    <a:pt x="172" y="40"/>
                  </a:lnTo>
                  <a:lnTo>
                    <a:pt x="168" y="44"/>
                  </a:lnTo>
                  <a:lnTo>
                    <a:pt x="164" y="48"/>
                  </a:lnTo>
                  <a:lnTo>
                    <a:pt x="160" y="48"/>
                  </a:lnTo>
                  <a:lnTo>
                    <a:pt x="160" y="52"/>
                  </a:lnTo>
                  <a:lnTo>
                    <a:pt x="164" y="52"/>
                  </a:lnTo>
                  <a:lnTo>
                    <a:pt x="164" y="56"/>
                  </a:lnTo>
                  <a:lnTo>
                    <a:pt x="168" y="56"/>
                  </a:lnTo>
                  <a:lnTo>
                    <a:pt x="164" y="60"/>
                  </a:lnTo>
                  <a:lnTo>
                    <a:pt x="168" y="60"/>
                  </a:lnTo>
                  <a:lnTo>
                    <a:pt x="168" y="64"/>
                  </a:lnTo>
                  <a:lnTo>
                    <a:pt x="168" y="68"/>
                  </a:lnTo>
                  <a:lnTo>
                    <a:pt x="164" y="72"/>
                  </a:lnTo>
                  <a:lnTo>
                    <a:pt x="164" y="76"/>
                  </a:lnTo>
                  <a:lnTo>
                    <a:pt x="160" y="76"/>
                  </a:lnTo>
                  <a:lnTo>
                    <a:pt x="160" y="80"/>
                  </a:lnTo>
                  <a:lnTo>
                    <a:pt x="156" y="80"/>
                  </a:lnTo>
                  <a:lnTo>
                    <a:pt x="156" y="84"/>
                  </a:lnTo>
                  <a:lnTo>
                    <a:pt x="160" y="84"/>
                  </a:lnTo>
                  <a:lnTo>
                    <a:pt x="160" y="88"/>
                  </a:lnTo>
                  <a:lnTo>
                    <a:pt x="160" y="92"/>
                  </a:lnTo>
                  <a:lnTo>
                    <a:pt x="156" y="92"/>
                  </a:lnTo>
                  <a:lnTo>
                    <a:pt x="152" y="92"/>
                  </a:lnTo>
                  <a:lnTo>
                    <a:pt x="148" y="92"/>
                  </a:lnTo>
                  <a:lnTo>
                    <a:pt x="144" y="92"/>
                  </a:lnTo>
                  <a:lnTo>
                    <a:pt x="140" y="92"/>
                  </a:lnTo>
                  <a:lnTo>
                    <a:pt x="140" y="96"/>
                  </a:lnTo>
                  <a:lnTo>
                    <a:pt x="144" y="96"/>
                  </a:lnTo>
                  <a:lnTo>
                    <a:pt x="144" y="100"/>
                  </a:lnTo>
                  <a:lnTo>
                    <a:pt x="144" y="104"/>
                  </a:lnTo>
                  <a:lnTo>
                    <a:pt x="148" y="104"/>
                  </a:lnTo>
                  <a:lnTo>
                    <a:pt x="148" y="108"/>
                  </a:lnTo>
                  <a:lnTo>
                    <a:pt x="144" y="108"/>
                  </a:lnTo>
                  <a:lnTo>
                    <a:pt x="140" y="112"/>
                  </a:lnTo>
                  <a:lnTo>
                    <a:pt x="136" y="112"/>
                  </a:lnTo>
                  <a:lnTo>
                    <a:pt x="136" y="116"/>
                  </a:lnTo>
                  <a:lnTo>
                    <a:pt x="132" y="116"/>
                  </a:lnTo>
                  <a:lnTo>
                    <a:pt x="136" y="116"/>
                  </a:lnTo>
                  <a:lnTo>
                    <a:pt x="136" y="120"/>
                  </a:lnTo>
                  <a:lnTo>
                    <a:pt x="132" y="120"/>
                  </a:lnTo>
                  <a:lnTo>
                    <a:pt x="132" y="124"/>
                  </a:lnTo>
                  <a:lnTo>
                    <a:pt x="132" y="128"/>
                  </a:lnTo>
                  <a:lnTo>
                    <a:pt x="132" y="132"/>
                  </a:lnTo>
                  <a:lnTo>
                    <a:pt x="132" y="136"/>
                  </a:lnTo>
                  <a:lnTo>
                    <a:pt x="128" y="136"/>
                  </a:lnTo>
                  <a:lnTo>
                    <a:pt x="128" y="140"/>
                  </a:lnTo>
                  <a:lnTo>
                    <a:pt x="124" y="140"/>
                  </a:lnTo>
                  <a:lnTo>
                    <a:pt x="124" y="136"/>
                  </a:lnTo>
                  <a:lnTo>
                    <a:pt x="120" y="136"/>
                  </a:lnTo>
                  <a:lnTo>
                    <a:pt x="116" y="136"/>
                  </a:lnTo>
                  <a:lnTo>
                    <a:pt x="112" y="140"/>
                  </a:lnTo>
                  <a:lnTo>
                    <a:pt x="108" y="140"/>
                  </a:lnTo>
                  <a:lnTo>
                    <a:pt x="104" y="140"/>
                  </a:lnTo>
                  <a:lnTo>
                    <a:pt x="108" y="144"/>
                  </a:lnTo>
                  <a:lnTo>
                    <a:pt x="108" y="148"/>
                  </a:lnTo>
                  <a:lnTo>
                    <a:pt x="104" y="148"/>
                  </a:lnTo>
                  <a:lnTo>
                    <a:pt x="100" y="148"/>
                  </a:lnTo>
                  <a:lnTo>
                    <a:pt x="96" y="148"/>
                  </a:lnTo>
                  <a:lnTo>
                    <a:pt x="96" y="144"/>
                  </a:lnTo>
                  <a:lnTo>
                    <a:pt x="96" y="148"/>
                  </a:lnTo>
                  <a:lnTo>
                    <a:pt x="92" y="148"/>
                  </a:lnTo>
                  <a:lnTo>
                    <a:pt x="92" y="152"/>
                  </a:lnTo>
                  <a:lnTo>
                    <a:pt x="88" y="152"/>
                  </a:lnTo>
                  <a:lnTo>
                    <a:pt x="88" y="160"/>
                  </a:lnTo>
                  <a:lnTo>
                    <a:pt x="88" y="164"/>
                  </a:lnTo>
                  <a:lnTo>
                    <a:pt x="88" y="168"/>
                  </a:lnTo>
                  <a:lnTo>
                    <a:pt x="84" y="168"/>
                  </a:lnTo>
                  <a:lnTo>
                    <a:pt x="84" y="172"/>
                  </a:lnTo>
                  <a:lnTo>
                    <a:pt x="88" y="172"/>
                  </a:lnTo>
                  <a:lnTo>
                    <a:pt x="84" y="176"/>
                  </a:lnTo>
                  <a:lnTo>
                    <a:pt x="80" y="176"/>
                  </a:lnTo>
                  <a:lnTo>
                    <a:pt x="76" y="176"/>
                  </a:lnTo>
                  <a:lnTo>
                    <a:pt x="72" y="180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0" y="180"/>
                  </a:lnTo>
                  <a:lnTo>
                    <a:pt x="56" y="180"/>
                  </a:lnTo>
                  <a:lnTo>
                    <a:pt x="52" y="184"/>
                  </a:lnTo>
                  <a:lnTo>
                    <a:pt x="48" y="180"/>
                  </a:lnTo>
                  <a:lnTo>
                    <a:pt x="44" y="180"/>
                  </a:lnTo>
                  <a:lnTo>
                    <a:pt x="40" y="180"/>
                  </a:lnTo>
                  <a:lnTo>
                    <a:pt x="28" y="184"/>
                  </a:lnTo>
                  <a:lnTo>
                    <a:pt x="24" y="180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8" y="176"/>
                  </a:lnTo>
                  <a:lnTo>
                    <a:pt x="4" y="176"/>
                  </a:lnTo>
                  <a:lnTo>
                    <a:pt x="4" y="172"/>
                  </a:lnTo>
                  <a:lnTo>
                    <a:pt x="8" y="172"/>
                  </a:lnTo>
                  <a:lnTo>
                    <a:pt x="8" y="168"/>
                  </a:lnTo>
                  <a:lnTo>
                    <a:pt x="12" y="164"/>
                  </a:lnTo>
                  <a:lnTo>
                    <a:pt x="16" y="156"/>
                  </a:lnTo>
                  <a:lnTo>
                    <a:pt x="20" y="152"/>
                  </a:lnTo>
                  <a:lnTo>
                    <a:pt x="20" y="148"/>
                  </a:lnTo>
                  <a:lnTo>
                    <a:pt x="16" y="148"/>
                  </a:lnTo>
                  <a:lnTo>
                    <a:pt x="16" y="144"/>
                  </a:lnTo>
                  <a:lnTo>
                    <a:pt x="12" y="144"/>
                  </a:lnTo>
                  <a:lnTo>
                    <a:pt x="8" y="144"/>
                  </a:lnTo>
                  <a:lnTo>
                    <a:pt x="4" y="140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4" y="128"/>
                  </a:lnTo>
                  <a:lnTo>
                    <a:pt x="4" y="124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4" y="104"/>
                  </a:lnTo>
                  <a:lnTo>
                    <a:pt x="4" y="100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4" y="84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12" y="6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" name="Freeform 5"/>
            <p:cNvSpPr>
              <a:spLocks noEditPoints="1"/>
            </p:cNvSpPr>
            <p:nvPr>
              <p:custDataLst>
                <p:tags r:id="rId201"/>
              </p:custDataLst>
            </p:nvPr>
          </p:nvSpPr>
          <p:spPr bwMode="gray">
            <a:xfrm>
              <a:off x="5351917" y="3425817"/>
              <a:ext cx="71187" cy="71187"/>
            </a:xfrm>
            <a:custGeom>
              <a:avLst/>
              <a:gdLst/>
              <a:ahLst/>
              <a:cxnLst>
                <a:cxn ang="0">
                  <a:pos x="44" y="48"/>
                </a:cxn>
                <a:cxn ang="0">
                  <a:pos x="40" y="48"/>
                </a:cxn>
                <a:cxn ang="0">
                  <a:pos x="40" y="48"/>
                </a:cxn>
                <a:cxn ang="0">
                  <a:pos x="40" y="40"/>
                </a:cxn>
                <a:cxn ang="0">
                  <a:pos x="36" y="36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24" y="32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16" y="28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32" y="8"/>
                </a:cxn>
                <a:cxn ang="0">
                  <a:pos x="28" y="12"/>
                </a:cxn>
                <a:cxn ang="0">
                  <a:pos x="32" y="16"/>
                </a:cxn>
                <a:cxn ang="0">
                  <a:pos x="36" y="20"/>
                </a:cxn>
                <a:cxn ang="0">
                  <a:pos x="36" y="24"/>
                </a:cxn>
                <a:cxn ang="0">
                  <a:pos x="36" y="24"/>
                </a:cxn>
                <a:cxn ang="0">
                  <a:pos x="32" y="24"/>
                </a:cxn>
                <a:cxn ang="0">
                  <a:pos x="36" y="28"/>
                </a:cxn>
                <a:cxn ang="0">
                  <a:pos x="36" y="28"/>
                </a:cxn>
                <a:cxn ang="0">
                  <a:pos x="36" y="32"/>
                </a:cxn>
                <a:cxn ang="0">
                  <a:pos x="40" y="32"/>
                </a:cxn>
                <a:cxn ang="0">
                  <a:pos x="40" y="36"/>
                </a:cxn>
                <a:cxn ang="0">
                  <a:pos x="44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8" y="40"/>
                </a:cxn>
                <a:cxn ang="0">
                  <a:pos x="44" y="44"/>
                </a:cxn>
                <a:cxn ang="0">
                  <a:pos x="44" y="44"/>
                </a:cxn>
                <a:cxn ang="0">
                  <a:pos x="44" y="48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2" y="12"/>
                </a:cxn>
                <a:cxn ang="0">
                  <a:pos x="32" y="12"/>
                </a:cxn>
              </a:cxnLst>
              <a:rect l="0" t="0" r="r" b="b"/>
              <a:pathLst>
                <a:path w="48" h="48">
                  <a:moveTo>
                    <a:pt x="48" y="48"/>
                  </a:moveTo>
                  <a:lnTo>
                    <a:pt x="48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0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8" y="48"/>
                  </a:lnTo>
                  <a:close/>
                  <a:moveTo>
                    <a:pt x="24" y="4"/>
                  </a:move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  <a:moveTo>
                    <a:pt x="28" y="4"/>
                  </a:move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close/>
                  <a:moveTo>
                    <a:pt x="32" y="12"/>
                  </a:move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" name="Freeform 6"/>
            <p:cNvSpPr>
              <a:spLocks noEditPoints="1"/>
            </p:cNvSpPr>
            <p:nvPr>
              <p:custDataLst>
                <p:tags r:id="rId202"/>
              </p:custDataLst>
            </p:nvPr>
          </p:nvSpPr>
          <p:spPr bwMode="gray">
            <a:xfrm>
              <a:off x="5381578" y="3379842"/>
              <a:ext cx="152755" cy="134958"/>
            </a:xfrm>
            <a:custGeom>
              <a:avLst/>
              <a:gdLst/>
              <a:ahLst/>
              <a:cxnLst>
                <a:cxn ang="0">
                  <a:pos x="84" y="91"/>
                </a:cxn>
                <a:cxn ang="0">
                  <a:pos x="60" y="87"/>
                </a:cxn>
                <a:cxn ang="0">
                  <a:pos x="56" y="87"/>
                </a:cxn>
                <a:cxn ang="0">
                  <a:pos x="52" y="83"/>
                </a:cxn>
                <a:cxn ang="0">
                  <a:pos x="48" y="79"/>
                </a:cxn>
                <a:cxn ang="0">
                  <a:pos x="52" y="79"/>
                </a:cxn>
                <a:cxn ang="0">
                  <a:pos x="52" y="75"/>
                </a:cxn>
                <a:cxn ang="0">
                  <a:pos x="52" y="71"/>
                </a:cxn>
                <a:cxn ang="0">
                  <a:pos x="52" y="67"/>
                </a:cxn>
                <a:cxn ang="0">
                  <a:pos x="48" y="63"/>
                </a:cxn>
                <a:cxn ang="0">
                  <a:pos x="40" y="67"/>
                </a:cxn>
                <a:cxn ang="0">
                  <a:pos x="36" y="71"/>
                </a:cxn>
                <a:cxn ang="0">
                  <a:pos x="32" y="75"/>
                </a:cxn>
                <a:cxn ang="0">
                  <a:pos x="28" y="79"/>
                </a:cxn>
                <a:cxn ang="0">
                  <a:pos x="24" y="75"/>
                </a:cxn>
                <a:cxn ang="0">
                  <a:pos x="24" y="75"/>
                </a:cxn>
                <a:cxn ang="0">
                  <a:pos x="24" y="71"/>
                </a:cxn>
                <a:cxn ang="0">
                  <a:pos x="28" y="67"/>
                </a:cxn>
                <a:cxn ang="0">
                  <a:pos x="20" y="67"/>
                </a:cxn>
                <a:cxn ang="0">
                  <a:pos x="20" y="63"/>
                </a:cxn>
                <a:cxn ang="0">
                  <a:pos x="16" y="59"/>
                </a:cxn>
                <a:cxn ang="0">
                  <a:pos x="12" y="59"/>
                </a:cxn>
                <a:cxn ang="0">
                  <a:pos x="16" y="55"/>
                </a:cxn>
                <a:cxn ang="0">
                  <a:pos x="20" y="51"/>
                </a:cxn>
                <a:cxn ang="0">
                  <a:pos x="12" y="47"/>
                </a:cxn>
                <a:cxn ang="0">
                  <a:pos x="12" y="39"/>
                </a:cxn>
                <a:cxn ang="0">
                  <a:pos x="4" y="35"/>
                </a:cxn>
                <a:cxn ang="0">
                  <a:pos x="8" y="35"/>
                </a:cxn>
                <a:cxn ang="0">
                  <a:pos x="4" y="31"/>
                </a:cxn>
                <a:cxn ang="0">
                  <a:pos x="8" y="27"/>
                </a:cxn>
                <a:cxn ang="0">
                  <a:pos x="16" y="31"/>
                </a:cxn>
                <a:cxn ang="0">
                  <a:pos x="20" y="31"/>
                </a:cxn>
                <a:cxn ang="0">
                  <a:pos x="24" y="31"/>
                </a:cxn>
                <a:cxn ang="0">
                  <a:pos x="28" y="35"/>
                </a:cxn>
                <a:cxn ang="0">
                  <a:pos x="28" y="27"/>
                </a:cxn>
                <a:cxn ang="0">
                  <a:pos x="20" y="23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32" y="19"/>
                </a:cxn>
                <a:cxn ang="0">
                  <a:pos x="36" y="23"/>
                </a:cxn>
                <a:cxn ang="0">
                  <a:pos x="44" y="31"/>
                </a:cxn>
                <a:cxn ang="0">
                  <a:pos x="44" y="31"/>
                </a:cxn>
                <a:cxn ang="0">
                  <a:pos x="48" y="27"/>
                </a:cxn>
                <a:cxn ang="0">
                  <a:pos x="56" y="23"/>
                </a:cxn>
                <a:cxn ang="0">
                  <a:pos x="60" y="15"/>
                </a:cxn>
                <a:cxn ang="0">
                  <a:pos x="88" y="15"/>
                </a:cxn>
                <a:cxn ang="0">
                  <a:pos x="103" y="39"/>
                </a:cxn>
                <a:cxn ang="0">
                  <a:pos x="103" y="63"/>
                </a:cxn>
                <a:cxn ang="0">
                  <a:pos x="100" y="79"/>
                </a:cxn>
                <a:cxn ang="0">
                  <a:pos x="12" y="43"/>
                </a:cxn>
                <a:cxn ang="0">
                  <a:pos x="4" y="35"/>
                </a:cxn>
                <a:cxn ang="0">
                  <a:pos x="8" y="35"/>
                </a:cxn>
                <a:cxn ang="0">
                  <a:pos x="0" y="63"/>
                </a:cxn>
                <a:cxn ang="0">
                  <a:pos x="0" y="63"/>
                </a:cxn>
                <a:cxn ang="0">
                  <a:pos x="8" y="63"/>
                </a:cxn>
                <a:cxn ang="0">
                  <a:pos x="12" y="67"/>
                </a:cxn>
                <a:cxn ang="0">
                  <a:pos x="16" y="71"/>
                </a:cxn>
                <a:cxn ang="0">
                  <a:pos x="20" y="79"/>
                </a:cxn>
                <a:cxn ang="0">
                  <a:pos x="12" y="79"/>
                </a:cxn>
                <a:cxn ang="0">
                  <a:pos x="8" y="75"/>
                </a:cxn>
                <a:cxn ang="0">
                  <a:pos x="4" y="71"/>
                </a:cxn>
                <a:cxn ang="0">
                  <a:pos x="4" y="67"/>
                </a:cxn>
                <a:cxn ang="0">
                  <a:pos x="0" y="63"/>
                </a:cxn>
              </a:cxnLst>
              <a:rect l="0" t="0" r="r" b="b"/>
              <a:pathLst>
                <a:path w="103" h="91">
                  <a:moveTo>
                    <a:pt x="100" y="83"/>
                  </a:moveTo>
                  <a:lnTo>
                    <a:pt x="96" y="87"/>
                  </a:lnTo>
                  <a:lnTo>
                    <a:pt x="92" y="87"/>
                  </a:lnTo>
                  <a:lnTo>
                    <a:pt x="88" y="87"/>
                  </a:lnTo>
                  <a:lnTo>
                    <a:pt x="88" y="87"/>
                  </a:lnTo>
                  <a:lnTo>
                    <a:pt x="84" y="91"/>
                  </a:lnTo>
                  <a:lnTo>
                    <a:pt x="84" y="91"/>
                  </a:lnTo>
                  <a:lnTo>
                    <a:pt x="80" y="91"/>
                  </a:lnTo>
                  <a:lnTo>
                    <a:pt x="76" y="91"/>
                  </a:lnTo>
                  <a:lnTo>
                    <a:pt x="64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56" y="91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2" y="87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6" y="71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1"/>
                  </a:lnTo>
                  <a:lnTo>
                    <a:pt x="24" y="75"/>
                  </a:lnTo>
                  <a:lnTo>
                    <a:pt x="28" y="75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4" y="71"/>
                  </a:lnTo>
                  <a:lnTo>
                    <a:pt x="24" y="71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0" y="67"/>
                  </a:lnTo>
                  <a:lnTo>
                    <a:pt x="20" y="67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20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12" y="43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8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23"/>
                  </a:lnTo>
                  <a:lnTo>
                    <a:pt x="32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31"/>
                  </a:lnTo>
                  <a:lnTo>
                    <a:pt x="40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60" y="15"/>
                  </a:lnTo>
                  <a:lnTo>
                    <a:pt x="64" y="11"/>
                  </a:lnTo>
                  <a:lnTo>
                    <a:pt x="68" y="7"/>
                  </a:lnTo>
                  <a:lnTo>
                    <a:pt x="76" y="0"/>
                  </a:lnTo>
                  <a:lnTo>
                    <a:pt x="80" y="7"/>
                  </a:lnTo>
                  <a:lnTo>
                    <a:pt x="84" y="11"/>
                  </a:lnTo>
                  <a:lnTo>
                    <a:pt x="88" y="15"/>
                  </a:lnTo>
                  <a:lnTo>
                    <a:pt x="88" y="19"/>
                  </a:lnTo>
                  <a:lnTo>
                    <a:pt x="92" y="23"/>
                  </a:lnTo>
                  <a:lnTo>
                    <a:pt x="96" y="27"/>
                  </a:lnTo>
                  <a:lnTo>
                    <a:pt x="96" y="31"/>
                  </a:lnTo>
                  <a:lnTo>
                    <a:pt x="100" y="35"/>
                  </a:lnTo>
                  <a:lnTo>
                    <a:pt x="103" y="39"/>
                  </a:lnTo>
                  <a:lnTo>
                    <a:pt x="103" y="39"/>
                  </a:lnTo>
                  <a:lnTo>
                    <a:pt x="103" y="43"/>
                  </a:lnTo>
                  <a:lnTo>
                    <a:pt x="103" y="47"/>
                  </a:lnTo>
                  <a:lnTo>
                    <a:pt x="103" y="51"/>
                  </a:lnTo>
                  <a:lnTo>
                    <a:pt x="103" y="59"/>
                  </a:lnTo>
                  <a:lnTo>
                    <a:pt x="103" y="63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71"/>
                  </a:lnTo>
                  <a:lnTo>
                    <a:pt x="100" y="75"/>
                  </a:lnTo>
                  <a:lnTo>
                    <a:pt x="100" y="79"/>
                  </a:lnTo>
                  <a:lnTo>
                    <a:pt x="100" y="83"/>
                  </a:lnTo>
                  <a:close/>
                  <a:moveTo>
                    <a:pt x="12" y="43"/>
                  </a:move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close/>
                  <a:moveTo>
                    <a:pt x="4" y="35"/>
                  </a:move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close/>
                  <a:moveTo>
                    <a:pt x="8" y="35"/>
                  </a:move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close/>
                  <a:moveTo>
                    <a:pt x="0" y="63"/>
                  </a:move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8" y="63"/>
                  </a:lnTo>
                  <a:lnTo>
                    <a:pt x="8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71"/>
                  </a:lnTo>
                  <a:lnTo>
                    <a:pt x="20" y="71"/>
                  </a:lnTo>
                  <a:lnTo>
                    <a:pt x="20" y="71"/>
                  </a:lnTo>
                  <a:lnTo>
                    <a:pt x="20" y="71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8" y="79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" name="Freeform 7"/>
            <p:cNvSpPr>
              <a:spLocks noEditPoints="1"/>
            </p:cNvSpPr>
            <p:nvPr>
              <p:custDataLst>
                <p:tags r:id="rId203"/>
              </p:custDataLst>
            </p:nvPr>
          </p:nvSpPr>
          <p:spPr bwMode="gray">
            <a:xfrm>
              <a:off x="5506155" y="3870736"/>
              <a:ext cx="11865" cy="17797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</a:cxnLst>
              <a:rect l="0" t="0" r="r" b="b"/>
              <a:pathLst>
                <a:path w="8" h="12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close/>
                  <a:moveTo>
                    <a:pt x="8" y="12"/>
                  </a:move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" name="Freeform 8"/>
            <p:cNvSpPr>
              <a:spLocks noEditPoints="1"/>
            </p:cNvSpPr>
            <p:nvPr>
              <p:custDataLst>
                <p:tags r:id="rId204"/>
              </p:custDataLst>
            </p:nvPr>
          </p:nvSpPr>
          <p:spPr bwMode="gray">
            <a:xfrm>
              <a:off x="6351502" y="3858871"/>
              <a:ext cx="106781" cy="166103"/>
            </a:xfrm>
            <a:custGeom>
              <a:avLst/>
              <a:gdLst/>
              <a:ahLst/>
              <a:cxnLst>
                <a:cxn ang="0">
                  <a:pos x="40" y="80"/>
                </a:cxn>
                <a:cxn ang="0">
                  <a:pos x="36" y="84"/>
                </a:cxn>
                <a:cxn ang="0">
                  <a:pos x="32" y="88"/>
                </a:cxn>
                <a:cxn ang="0">
                  <a:pos x="28" y="92"/>
                </a:cxn>
                <a:cxn ang="0">
                  <a:pos x="32" y="80"/>
                </a:cxn>
                <a:cxn ang="0">
                  <a:pos x="28" y="92"/>
                </a:cxn>
                <a:cxn ang="0">
                  <a:pos x="24" y="88"/>
                </a:cxn>
                <a:cxn ang="0">
                  <a:pos x="24" y="88"/>
                </a:cxn>
                <a:cxn ang="0">
                  <a:pos x="24" y="92"/>
                </a:cxn>
                <a:cxn ang="0">
                  <a:pos x="20" y="96"/>
                </a:cxn>
                <a:cxn ang="0">
                  <a:pos x="12" y="72"/>
                </a:cxn>
                <a:cxn ang="0">
                  <a:pos x="12" y="64"/>
                </a:cxn>
                <a:cxn ang="0">
                  <a:pos x="12" y="52"/>
                </a:cxn>
                <a:cxn ang="0">
                  <a:pos x="8" y="48"/>
                </a:cxn>
                <a:cxn ang="0">
                  <a:pos x="0" y="36"/>
                </a:cxn>
                <a:cxn ang="0">
                  <a:pos x="4" y="36"/>
                </a:cxn>
                <a:cxn ang="0">
                  <a:pos x="12" y="28"/>
                </a:cxn>
                <a:cxn ang="0">
                  <a:pos x="8" y="24"/>
                </a:cxn>
                <a:cxn ang="0">
                  <a:pos x="4" y="12"/>
                </a:cxn>
                <a:cxn ang="0">
                  <a:pos x="4" y="4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4" y="12"/>
                </a:cxn>
                <a:cxn ang="0">
                  <a:pos x="28" y="16"/>
                </a:cxn>
                <a:cxn ang="0">
                  <a:pos x="32" y="28"/>
                </a:cxn>
                <a:cxn ang="0">
                  <a:pos x="48" y="28"/>
                </a:cxn>
                <a:cxn ang="0">
                  <a:pos x="64" y="28"/>
                </a:cxn>
                <a:cxn ang="0">
                  <a:pos x="64" y="36"/>
                </a:cxn>
                <a:cxn ang="0">
                  <a:pos x="60" y="48"/>
                </a:cxn>
                <a:cxn ang="0">
                  <a:pos x="52" y="48"/>
                </a:cxn>
                <a:cxn ang="0">
                  <a:pos x="48" y="64"/>
                </a:cxn>
                <a:cxn ang="0">
                  <a:pos x="52" y="72"/>
                </a:cxn>
                <a:cxn ang="0">
                  <a:pos x="60" y="64"/>
                </a:cxn>
                <a:cxn ang="0">
                  <a:pos x="64" y="56"/>
                </a:cxn>
                <a:cxn ang="0">
                  <a:pos x="68" y="68"/>
                </a:cxn>
                <a:cxn ang="0">
                  <a:pos x="68" y="80"/>
                </a:cxn>
                <a:cxn ang="0">
                  <a:pos x="68" y="96"/>
                </a:cxn>
                <a:cxn ang="0">
                  <a:pos x="68" y="104"/>
                </a:cxn>
                <a:cxn ang="0">
                  <a:pos x="64" y="108"/>
                </a:cxn>
                <a:cxn ang="0">
                  <a:pos x="60" y="104"/>
                </a:cxn>
                <a:cxn ang="0">
                  <a:pos x="60" y="96"/>
                </a:cxn>
                <a:cxn ang="0">
                  <a:pos x="56" y="84"/>
                </a:cxn>
                <a:cxn ang="0">
                  <a:pos x="48" y="80"/>
                </a:cxn>
                <a:cxn ang="0">
                  <a:pos x="40" y="72"/>
                </a:cxn>
                <a:cxn ang="0">
                  <a:pos x="36" y="60"/>
                </a:cxn>
                <a:cxn ang="0">
                  <a:pos x="40" y="64"/>
                </a:cxn>
                <a:cxn ang="0">
                  <a:pos x="36" y="76"/>
                </a:cxn>
                <a:cxn ang="0">
                  <a:pos x="40" y="92"/>
                </a:cxn>
                <a:cxn ang="0">
                  <a:pos x="40" y="92"/>
                </a:cxn>
                <a:cxn ang="0">
                  <a:pos x="40" y="80"/>
                </a:cxn>
                <a:cxn ang="0">
                  <a:pos x="44" y="88"/>
                </a:cxn>
                <a:cxn ang="0">
                  <a:pos x="52" y="80"/>
                </a:cxn>
                <a:cxn ang="0">
                  <a:pos x="48" y="84"/>
                </a:cxn>
                <a:cxn ang="0">
                  <a:pos x="44" y="88"/>
                </a:cxn>
              </a:cxnLst>
              <a:rect l="0" t="0" r="r" b="b"/>
              <a:pathLst>
                <a:path w="72" h="112">
                  <a:moveTo>
                    <a:pt x="36" y="68"/>
                  </a:moveTo>
                  <a:lnTo>
                    <a:pt x="36" y="72"/>
                  </a:lnTo>
                  <a:lnTo>
                    <a:pt x="36" y="76"/>
                  </a:lnTo>
                  <a:lnTo>
                    <a:pt x="40" y="80"/>
                  </a:lnTo>
                  <a:lnTo>
                    <a:pt x="40" y="84"/>
                  </a:lnTo>
                  <a:lnTo>
                    <a:pt x="40" y="88"/>
                  </a:lnTo>
                  <a:lnTo>
                    <a:pt x="36" y="88"/>
                  </a:lnTo>
                  <a:lnTo>
                    <a:pt x="36" y="84"/>
                  </a:lnTo>
                  <a:lnTo>
                    <a:pt x="36" y="88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28" y="88"/>
                  </a:lnTo>
                  <a:lnTo>
                    <a:pt x="28" y="92"/>
                  </a:lnTo>
                  <a:lnTo>
                    <a:pt x="28" y="88"/>
                  </a:lnTo>
                  <a:lnTo>
                    <a:pt x="28" y="84"/>
                  </a:lnTo>
                  <a:lnTo>
                    <a:pt x="28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8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4" y="88"/>
                  </a:lnTo>
                  <a:lnTo>
                    <a:pt x="24" y="92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4" y="88"/>
                  </a:lnTo>
                  <a:lnTo>
                    <a:pt x="24" y="92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4" y="12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6" y="28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4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2" y="48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8" y="64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2" y="68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60" y="60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68" y="80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8" y="100"/>
                  </a:lnTo>
                  <a:lnTo>
                    <a:pt x="72" y="100"/>
                  </a:lnTo>
                  <a:lnTo>
                    <a:pt x="72" y="104"/>
                  </a:lnTo>
                  <a:lnTo>
                    <a:pt x="68" y="104"/>
                  </a:lnTo>
                  <a:lnTo>
                    <a:pt x="68" y="100"/>
                  </a:lnTo>
                  <a:lnTo>
                    <a:pt x="64" y="100"/>
                  </a:lnTo>
                  <a:lnTo>
                    <a:pt x="64" y="104"/>
                  </a:lnTo>
                  <a:lnTo>
                    <a:pt x="64" y="108"/>
                  </a:lnTo>
                  <a:lnTo>
                    <a:pt x="64" y="112"/>
                  </a:lnTo>
                  <a:lnTo>
                    <a:pt x="64" y="108"/>
                  </a:lnTo>
                  <a:lnTo>
                    <a:pt x="60" y="108"/>
                  </a:lnTo>
                  <a:lnTo>
                    <a:pt x="60" y="104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88"/>
                  </a:lnTo>
                  <a:lnTo>
                    <a:pt x="56" y="88"/>
                  </a:lnTo>
                  <a:lnTo>
                    <a:pt x="56" y="84"/>
                  </a:lnTo>
                  <a:lnTo>
                    <a:pt x="56" y="80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80"/>
                  </a:lnTo>
                  <a:lnTo>
                    <a:pt x="44" y="80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36" y="68"/>
                  </a:lnTo>
                  <a:close/>
                  <a:moveTo>
                    <a:pt x="40" y="76"/>
                  </a:moveTo>
                  <a:lnTo>
                    <a:pt x="36" y="76"/>
                  </a:lnTo>
                  <a:lnTo>
                    <a:pt x="36" y="72"/>
                  </a:lnTo>
                  <a:lnTo>
                    <a:pt x="40" y="72"/>
                  </a:lnTo>
                  <a:lnTo>
                    <a:pt x="40" y="76"/>
                  </a:lnTo>
                  <a:close/>
                  <a:moveTo>
                    <a:pt x="40" y="92"/>
                  </a:moveTo>
                  <a:lnTo>
                    <a:pt x="36" y="92"/>
                  </a:lnTo>
                  <a:lnTo>
                    <a:pt x="36" y="88"/>
                  </a:lnTo>
                  <a:lnTo>
                    <a:pt x="40" y="88"/>
                  </a:lnTo>
                  <a:lnTo>
                    <a:pt x="40" y="92"/>
                  </a:lnTo>
                  <a:close/>
                  <a:moveTo>
                    <a:pt x="40" y="92"/>
                  </a:moveTo>
                  <a:lnTo>
                    <a:pt x="40" y="88"/>
                  </a:lnTo>
                  <a:lnTo>
                    <a:pt x="40" y="84"/>
                  </a:lnTo>
                  <a:lnTo>
                    <a:pt x="40" y="80"/>
                  </a:lnTo>
                  <a:lnTo>
                    <a:pt x="40" y="76"/>
                  </a:lnTo>
                  <a:lnTo>
                    <a:pt x="44" y="80"/>
                  </a:lnTo>
                  <a:lnTo>
                    <a:pt x="44" y="84"/>
                  </a:lnTo>
                  <a:lnTo>
                    <a:pt x="44" y="88"/>
                  </a:lnTo>
                  <a:lnTo>
                    <a:pt x="40" y="88"/>
                  </a:lnTo>
                  <a:lnTo>
                    <a:pt x="40" y="92"/>
                  </a:lnTo>
                  <a:close/>
                  <a:moveTo>
                    <a:pt x="52" y="84"/>
                  </a:moveTo>
                  <a:lnTo>
                    <a:pt x="52" y="80"/>
                  </a:lnTo>
                  <a:lnTo>
                    <a:pt x="52" y="84"/>
                  </a:lnTo>
                  <a:close/>
                  <a:moveTo>
                    <a:pt x="44" y="88"/>
                  </a:moveTo>
                  <a:lnTo>
                    <a:pt x="48" y="88"/>
                  </a:lnTo>
                  <a:lnTo>
                    <a:pt x="48" y="84"/>
                  </a:lnTo>
                  <a:lnTo>
                    <a:pt x="48" y="80"/>
                  </a:lnTo>
                  <a:lnTo>
                    <a:pt x="48" y="84"/>
                  </a:lnTo>
                  <a:lnTo>
                    <a:pt x="48" y="88"/>
                  </a:lnTo>
                  <a:lnTo>
                    <a:pt x="44" y="88"/>
                  </a:lnTo>
                  <a:close/>
                  <a:moveTo>
                    <a:pt x="60" y="100"/>
                  </a:moveTo>
                  <a:lnTo>
                    <a:pt x="60" y="96"/>
                  </a:lnTo>
                  <a:lnTo>
                    <a:pt x="60" y="1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" name="Freeform 9"/>
            <p:cNvSpPr>
              <a:spLocks/>
            </p:cNvSpPr>
            <p:nvPr>
              <p:custDataLst>
                <p:tags r:id="rId205"/>
              </p:custDataLst>
            </p:nvPr>
          </p:nvSpPr>
          <p:spPr bwMode="gray">
            <a:xfrm>
              <a:off x="6369299" y="3811413"/>
              <a:ext cx="77119" cy="47458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40" y="28"/>
                </a:cxn>
                <a:cxn ang="0">
                  <a:pos x="40" y="28"/>
                </a:cxn>
                <a:cxn ang="0">
                  <a:pos x="40" y="32"/>
                </a:cxn>
                <a:cxn ang="0">
                  <a:pos x="36" y="28"/>
                </a:cxn>
                <a:cxn ang="0">
                  <a:pos x="32" y="32"/>
                </a:cxn>
                <a:cxn ang="0">
                  <a:pos x="28" y="32"/>
                </a:cxn>
                <a:cxn ang="0">
                  <a:pos x="24" y="28"/>
                </a:cxn>
                <a:cxn ang="0">
                  <a:pos x="20" y="28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2" y="8"/>
                </a:cxn>
                <a:cxn ang="0">
                  <a:pos x="36" y="8"/>
                </a:cxn>
                <a:cxn ang="0">
                  <a:pos x="40" y="4"/>
                </a:cxn>
                <a:cxn ang="0">
                  <a:pos x="40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52" y="20"/>
                </a:cxn>
                <a:cxn ang="0">
                  <a:pos x="48" y="24"/>
                </a:cxn>
                <a:cxn ang="0">
                  <a:pos x="52" y="28"/>
                </a:cxn>
                <a:cxn ang="0">
                  <a:pos x="48" y="28"/>
                </a:cxn>
              </a:cxnLst>
              <a:rect l="0" t="0" r="r" b="b"/>
              <a:pathLst>
                <a:path w="52" h="32">
                  <a:moveTo>
                    <a:pt x="48" y="28"/>
                  </a:move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8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" name="Freeform 10"/>
            <p:cNvSpPr>
              <a:spLocks noEditPoints="1"/>
            </p:cNvSpPr>
            <p:nvPr>
              <p:custDataLst>
                <p:tags r:id="rId206"/>
              </p:custDataLst>
            </p:nvPr>
          </p:nvSpPr>
          <p:spPr bwMode="gray">
            <a:xfrm>
              <a:off x="6937312" y="4456547"/>
              <a:ext cx="29661" cy="29661"/>
            </a:xfrm>
            <a:custGeom>
              <a:avLst/>
              <a:gdLst/>
              <a:ahLst/>
              <a:cxnLst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12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8"/>
                </a:cxn>
                <a:cxn ang="0">
                  <a:pos x="12" y="8"/>
                </a:cxn>
              </a:cxnLst>
              <a:rect l="0" t="0" r="r" b="b"/>
              <a:pathLst>
                <a:path w="20" h="20"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close/>
                  <a:moveTo>
                    <a:pt x="16" y="4"/>
                  </a:moveTo>
                  <a:lnTo>
                    <a:pt x="16" y="4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" name="Freeform 11"/>
            <p:cNvSpPr>
              <a:spLocks/>
            </p:cNvSpPr>
            <p:nvPr>
              <p:custDataLst>
                <p:tags r:id="rId207"/>
              </p:custDataLst>
            </p:nvPr>
          </p:nvSpPr>
          <p:spPr bwMode="gray">
            <a:xfrm>
              <a:off x="6670361" y="4195527"/>
              <a:ext cx="118645" cy="118645"/>
            </a:xfrm>
            <a:custGeom>
              <a:avLst/>
              <a:gdLst/>
              <a:ahLst/>
              <a:cxnLst>
                <a:cxn ang="0">
                  <a:pos x="44" y="72"/>
                </a:cxn>
                <a:cxn ang="0">
                  <a:pos x="40" y="76"/>
                </a:cxn>
                <a:cxn ang="0">
                  <a:pos x="40" y="76"/>
                </a:cxn>
                <a:cxn ang="0">
                  <a:pos x="36" y="76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20" y="72"/>
                </a:cxn>
                <a:cxn ang="0">
                  <a:pos x="24" y="68"/>
                </a:cxn>
                <a:cxn ang="0">
                  <a:pos x="20" y="68"/>
                </a:cxn>
                <a:cxn ang="0">
                  <a:pos x="12" y="68"/>
                </a:cxn>
                <a:cxn ang="0">
                  <a:pos x="12" y="60"/>
                </a:cxn>
                <a:cxn ang="0">
                  <a:pos x="12" y="56"/>
                </a:cxn>
                <a:cxn ang="0">
                  <a:pos x="12" y="56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2" y="56"/>
                </a:cxn>
                <a:cxn ang="0">
                  <a:pos x="8" y="52"/>
                </a:cxn>
                <a:cxn ang="0">
                  <a:pos x="8" y="40"/>
                </a:cxn>
                <a:cxn ang="0">
                  <a:pos x="4" y="36"/>
                </a:cxn>
                <a:cxn ang="0">
                  <a:pos x="4" y="28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8" y="4"/>
                </a:cxn>
                <a:cxn ang="0">
                  <a:pos x="36" y="4"/>
                </a:cxn>
                <a:cxn ang="0">
                  <a:pos x="40" y="4"/>
                </a:cxn>
                <a:cxn ang="0">
                  <a:pos x="44" y="8"/>
                </a:cxn>
                <a:cxn ang="0">
                  <a:pos x="44" y="4"/>
                </a:cxn>
                <a:cxn ang="0">
                  <a:pos x="52" y="8"/>
                </a:cxn>
                <a:cxn ang="0">
                  <a:pos x="56" y="12"/>
                </a:cxn>
                <a:cxn ang="0">
                  <a:pos x="60" y="8"/>
                </a:cxn>
                <a:cxn ang="0">
                  <a:pos x="60" y="4"/>
                </a:cxn>
                <a:cxn ang="0">
                  <a:pos x="60" y="4"/>
                </a:cxn>
                <a:cxn ang="0">
                  <a:pos x="64" y="0"/>
                </a:cxn>
                <a:cxn ang="0">
                  <a:pos x="68" y="4"/>
                </a:cxn>
                <a:cxn ang="0">
                  <a:pos x="76" y="0"/>
                </a:cxn>
                <a:cxn ang="0">
                  <a:pos x="80" y="4"/>
                </a:cxn>
                <a:cxn ang="0">
                  <a:pos x="80" y="8"/>
                </a:cxn>
                <a:cxn ang="0">
                  <a:pos x="80" y="12"/>
                </a:cxn>
                <a:cxn ang="0">
                  <a:pos x="80" y="24"/>
                </a:cxn>
                <a:cxn ang="0">
                  <a:pos x="80" y="40"/>
                </a:cxn>
                <a:cxn ang="0">
                  <a:pos x="80" y="44"/>
                </a:cxn>
                <a:cxn ang="0">
                  <a:pos x="76" y="44"/>
                </a:cxn>
                <a:cxn ang="0">
                  <a:pos x="72" y="48"/>
                </a:cxn>
                <a:cxn ang="0">
                  <a:pos x="68" y="48"/>
                </a:cxn>
                <a:cxn ang="0">
                  <a:pos x="64" y="52"/>
                </a:cxn>
                <a:cxn ang="0">
                  <a:pos x="60" y="52"/>
                </a:cxn>
                <a:cxn ang="0">
                  <a:pos x="56" y="56"/>
                </a:cxn>
                <a:cxn ang="0">
                  <a:pos x="56" y="60"/>
                </a:cxn>
                <a:cxn ang="0">
                  <a:pos x="60" y="68"/>
                </a:cxn>
                <a:cxn ang="0">
                  <a:pos x="60" y="68"/>
                </a:cxn>
                <a:cxn ang="0">
                  <a:pos x="52" y="68"/>
                </a:cxn>
                <a:cxn ang="0">
                  <a:pos x="52" y="68"/>
                </a:cxn>
                <a:cxn ang="0">
                  <a:pos x="48" y="72"/>
                </a:cxn>
              </a:cxnLst>
              <a:rect l="0" t="0" r="r" b="b"/>
              <a:pathLst>
                <a:path w="80" h="80">
                  <a:moveTo>
                    <a:pt x="44" y="68"/>
                  </a:move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76" y="4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2" y="44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8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" name="Freeform 12"/>
            <p:cNvSpPr>
              <a:spLocks noEditPoints="1"/>
            </p:cNvSpPr>
            <p:nvPr>
              <p:custDataLst>
                <p:tags r:id="rId208"/>
              </p:custDataLst>
            </p:nvPr>
          </p:nvSpPr>
          <p:spPr bwMode="gray">
            <a:xfrm>
              <a:off x="6026711" y="3029839"/>
              <a:ext cx="1371834" cy="1070772"/>
            </a:xfrm>
            <a:custGeom>
              <a:avLst/>
              <a:gdLst/>
              <a:ahLst/>
              <a:cxnLst>
                <a:cxn ang="0">
                  <a:pos x="382" y="555"/>
                </a:cxn>
                <a:cxn ang="0">
                  <a:pos x="351" y="519"/>
                </a:cxn>
                <a:cxn ang="0">
                  <a:pos x="303" y="519"/>
                </a:cxn>
                <a:cxn ang="0">
                  <a:pos x="243" y="531"/>
                </a:cxn>
                <a:cxn ang="0">
                  <a:pos x="195" y="535"/>
                </a:cxn>
                <a:cxn ang="0">
                  <a:pos x="147" y="503"/>
                </a:cxn>
                <a:cxn ang="0">
                  <a:pos x="91" y="475"/>
                </a:cxn>
                <a:cxn ang="0">
                  <a:pos x="83" y="431"/>
                </a:cxn>
                <a:cxn ang="0">
                  <a:pos x="47" y="379"/>
                </a:cxn>
                <a:cxn ang="0">
                  <a:pos x="23" y="339"/>
                </a:cxn>
                <a:cxn ang="0">
                  <a:pos x="19" y="287"/>
                </a:cxn>
                <a:cxn ang="0">
                  <a:pos x="79" y="259"/>
                </a:cxn>
                <a:cxn ang="0">
                  <a:pos x="103" y="208"/>
                </a:cxn>
                <a:cxn ang="0">
                  <a:pos x="131" y="176"/>
                </a:cxn>
                <a:cxn ang="0">
                  <a:pos x="183" y="128"/>
                </a:cxn>
                <a:cxn ang="0">
                  <a:pos x="235" y="120"/>
                </a:cxn>
                <a:cxn ang="0">
                  <a:pos x="259" y="180"/>
                </a:cxn>
                <a:cxn ang="0">
                  <a:pos x="335" y="212"/>
                </a:cxn>
                <a:cxn ang="0">
                  <a:pos x="414" y="236"/>
                </a:cxn>
                <a:cxn ang="0">
                  <a:pos x="510" y="243"/>
                </a:cxn>
                <a:cxn ang="0">
                  <a:pos x="582" y="212"/>
                </a:cxn>
                <a:cxn ang="0">
                  <a:pos x="642" y="176"/>
                </a:cxn>
                <a:cxn ang="0">
                  <a:pos x="702" y="148"/>
                </a:cxn>
                <a:cxn ang="0">
                  <a:pos x="642" y="116"/>
                </a:cxn>
                <a:cxn ang="0">
                  <a:pos x="694" y="68"/>
                </a:cxn>
                <a:cxn ang="0">
                  <a:pos x="725" y="4"/>
                </a:cxn>
                <a:cxn ang="0">
                  <a:pos x="797" y="20"/>
                </a:cxn>
                <a:cxn ang="0">
                  <a:pos x="817" y="84"/>
                </a:cxn>
                <a:cxn ang="0">
                  <a:pos x="873" y="128"/>
                </a:cxn>
                <a:cxn ang="0">
                  <a:pos x="917" y="148"/>
                </a:cxn>
                <a:cxn ang="0">
                  <a:pos x="873" y="192"/>
                </a:cxn>
                <a:cxn ang="0">
                  <a:pos x="853" y="236"/>
                </a:cxn>
                <a:cxn ang="0">
                  <a:pos x="801" y="259"/>
                </a:cxn>
                <a:cxn ang="0">
                  <a:pos x="745" y="303"/>
                </a:cxn>
                <a:cxn ang="0">
                  <a:pos x="737" y="287"/>
                </a:cxn>
                <a:cxn ang="0">
                  <a:pos x="674" y="307"/>
                </a:cxn>
                <a:cxn ang="0">
                  <a:pos x="710" y="343"/>
                </a:cxn>
                <a:cxn ang="0">
                  <a:pos x="714" y="363"/>
                </a:cxn>
                <a:cxn ang="0">
                  <a:pos x="710" y="411"/>
                </a:cxn>
                <a:cxn ang="0">
                  <a:pos x="710" y="455"/>
                </a:cxn>
                <a:cxn ang="0">
                  <a:pos x="725" y="479"/>
                </a:cxn>
                <a:cxn ang="0">
                  <a:pos x="729" y="503"/>
                </a:cxn>
                <a:cxn ang="0">
                  <a:pos x="718" y="531"/>
                </a:cxn>
                <a:cxn ang="0">
                  <a:pos x="706" y="559"/>
                </a:cxn>
                <a:cxn ang="0">
                  <a:pos x="694" y="579"/>
                </a:cxn>
                <a:cxn ang="0">
                  <a:pos x="670" y="603"/>
                </a:cxn>
                <a:cxn ang="0">
                  <a:pos x="630" y="635"/>
                </a:cxn>
                <a:cxn ang="0">
                  <a:pos x="602" y="635"/>
                </a:cxn>
                <a:cxn ang="0">
                  <a:pos x="574" y="659"/>
                </a:cxn>
                <a:cxn ang="0">
                  <a:pos x="550" y="663"/>
                </a:cxn>
                <a:cxn ang="0">
                  <a:pos x="522" y="659"/>
                </a:cxn>
                <a:cxn ang="0">
                  <a:pos x="462" y="635"/>
                </a:cxn>
                <a:cxn ang="0">
                  <a:pos x="430" y="663"/>
                </a:cxn>
                <a:cxn ang="0">
                  <a:pos x="390" y="627"/>
                </a:cxn>
                <a:cxn ang="0">
                  <a:pos x="722" y="591"/>
                </a:cxn>
                <a:cxn ang="0">
                  <a:pos x="718" y="651"/>
                </a:cxn>
                <a:cxn ang="0">
                  <a:pos x="530" y="698"/>
                </a:cxn>
                <a:cxn ang="0">
                  <a:pos x="554" y="714"/>
                </a:cxn>
                <a:cxn ang="0">
                  <a:pos x="698" y="583"/>
                </a:cxn>
                <a:cxn ang="0">
                  <a:pos x="698" y="451"/>
                </a:cxn>
                <a:cxn ang="0">
                  <a:pos x="558" y="663"/>
                </a:cxn>
              </a:cxnLst>
              <a:rect l="0" t="0" r="r" b="b"/>
              <a:pathLst>
                <a:path w="925" h="722">
                  <a:moveTo>
                    <a:pt x="367" y="615"/>
                  </a:moveTo>
                  <a:lnTo>
                    <a:pt x="367" y="611"/>
                  </a:lnTo>
                  <a:lnTo>
                    <a:pt x="363" y="611"/>
                  </a:lnTo>
                  <a:lnTo>
                    <a:pt x="367" y="611"/>
                  </a:lnTo>
                  <a:lnTo>
                    <a:pt x="367" y="607"/>
                  </a:lnTo>
                  <a:lnTo>
                    <a:pt x="367" y="603"/>
                  </a:lnTo>
                  <a:lnTo>
                    <a:pt x="363" y="603"/>
                  </a:lnTo>
                  <a:lnTo>
                    <a:pt x="363" y="599"/>
                  </a:lnTo>
                  <a:lnTo>
                    <a:pt x="363" y="595"/>
                  </a:lnTo>
                  <a:lnTo>
                    <a:pt x="367" y="595"/>
                  </a:lnTo>
                  <a:lnTo>
                    <a:pt x="367" y="591"/>
                  </a:lnTo>
                  <a:lnTo>
                    <a:pt x="367" y="587"/>
                  </a:lnTo>
                  <a:lnTo>
                    <a:pt x="371" y="587"/>
                  </a:lnTo>
                  <a:lnTo>
                    <a:pt x="371" y="583"/>
                  </a:lnTo>
                  <a:lnTo>
                    <a:pt x="374" y="579"/>
                  </a:lnTo>
                  <a:lnTo>
                    <a:pt x="378" y="579"/>
                  </a:lnTo>
                  <a:lnTo>
                    <a:pt x="378" y="575"/>
                  </a:lnTo>
                  <a:lnTo>
                    <a:pt x="382" y="575"/>
                  </a:lnTo>
                  <a:lnTo>
                    <a:pt x="378" y="575"/>
                  </a:lnTo>
                  <a:lnTo>
                    <a:pt x="378" y="571"/>
                  </a:lnTo>
                  <a:lnTo>
                    <a:pt x="382" y="571"/>
                  </a:lnTo>
                  <a:lnTo>
                    <a:pt x="382" y="567"/>
                  </a:lnTo>
                  <a:lnTo>
                    <a:pt x="382" y="563"/>
                  </a:lnTo>
                  <a:lnTo>
                    <a:pt x="382" y="559"/>
                  </a:lnTo>
                  <a:lnTo>
                    <a:pt x="382" y="555"/>
                  </a:lnTo>
                  <a:lnTo>
                    <a:pt x="382" y="551"/>
                  </a:lnTo>
                  <a:lnTo>
                    <a:pt x="382" y="547"/>
                  </a:lnTo>
                  <a:lnTo>
                    <a:pt x="382" y="543"/>
                  </a:lnTo>
                  <a:lnTo>
                    <a:pt x="378" y="543"/>
                  </a:lnTo>
                  <a:lnTo>
                    <a:pt x="378" y="539"/>
                  </a:lnTo>
                  <a:lnTo>
                    <a:pt x="378" y="543"/>
                  </a:lnTo>
                  <a:lnTo>
                    <a:pt x="374" y="543"/>
                  </a:lnTo>
                  <a:lnTo>
                    <a:pt x="374" y="539"/>
                  </a:lnTo>
                  <a:lnTo>
                    <a:pt x="374" y="535"/>
                  </a:lnTo>
                  <a:lnTo>
                    <a:pt x="371" y="535"/>
                  </a:lnTo>
                  <a:lnTo>
                    <a:pt x="371" y="531"/>
                  </a:lnTo>
                  <a:lnTo>
                    <a:pt x="371" y="527"/>
                  </a:lnTo>
                  <a:lnTo>
                    <a:pt x="367" y="527"/>
                  </a:lnTo>
                  <a:lnTo>
                    <a:pt x="367" y="523"/>
                  </a:lnTo>
                  <a:lnTo>
                    <a:pt x="363" y="523"/>
                  </a:lnTo>
                  <a:lnTo>
                    <a:pt x="363" y="527"/>
                  </a:lnTo>
                  <a:lnTo>
                    <a:pt x="359" y="527"/>
                  </a:lnTo>
                  <a:lnTo>
                    <a:pt x="359" y="531"/>
                  </a:lnTo>
                  <a:lnTo>
                    <a:pt x="359" y="527"/>
                  </a:lnTo>
                  <a:lnTo>
                    <a:pt x="355" y="527"/>
                  </a:lnTo>
                  <a:lnTo>
                    <a:pt x="351" y="527"/>
                  </a:lnTo>
                  <a:lnTo>
                    <a:pt x="351" y="523"/>
                  </a:lnTo>
                  <a:lnTo>
                    <a:pt x="347" y="527"/>
                  </a:lnTo>
                  <a:lnTo>
                    <a:pt x="347" y="523"/>
                  </a:lnTo>
                  <a:lnTo>
                    <a:pt x="351" y="519"/>
                  </a:lnTo>
                  <a:lnTo>
                    <a:pt x="347" y="515"/>
                  </a:lnTo>
                  <a:lnTo>
                    <a:pt x="347" y="511"/>
                  </a:lnTo>
                  <a:lnTo>
                    <a:pt x="347" y="515"/>
                  </a:lnTo>
                  <a:lnTo>
                    <a:pt x="343" y="515"/>
                  </a:lnTo>
                  <a:lnTo>
                    <a:pt x="343" y="511"/>
                  </a:lnTo>
                  <a:lnTo>
                    <a:pt x="347" y="511"/>
                  </a:lnTo>
                  <a:lnTo>
                    <a:pt x="347" y="507"/>
                  </a:lnTo>
                  <a:lnTo>
                    <a:pt x="343" y="511"/>
                  </a:lnTo>
                  <a:lnTo>
                    <a:pt x="343" y="507"/>
                  </a:lnTo>
                  <a:lnTo>
                    <a:pt x="343" y="503"/>
                  </a:lnTo>
                  <a:lnTo>
                    <a:pt x="339" y="507"/>
                  </a:lnTo>
                  <a:lnTo>
                    <a:pt x="335" y="507"/>
                  </a:lnTo>
                  <a:lnTo>
                    <a:pt x="335" y="511"/>
                  </a:lnTo>
                  <a:lnTo>
                    <a:pt x="331" y="511"/>
                  </a:lnTo>
                  <a:lnTo>
                    <a:pt x="331" y="515"/>
                  </a:lnTo>
                  <a:lnTo>
                    <a:pt x="327" y="511"/>
                  </a:lnTo>
                  <a:lnTo>
                    <a:pt x="323" y="511"/>
                  </a:lnTo>
                  <a:lnTo>
                    <a:pt x="323" y="507"/>
                  </a:lnTo>
                  <a:lnTo>
                    <a:pt x="319" y="507"/>
                  </a:lnTo>
                  <a:lnTo>
                    <a:pt x="319" y="511"/>
                  </a:lnTo>
                  <a:lnTo>
                    <a:pt x="315" y="511"/>
                  </a:lnTo>
                  <a:lnTo>
                    <a:pt x="311" y="515"/>
                  </a:lnTo>
                  <a:lnTo>
                    <a:pt x="311" y="519"/>
                  </a:lnTo>
                  <a:lnTo>
                    <a:pt x="307" y="519"/>
                  </a:lnTo>
                  <a:lnTo>
                    <a:pt x="303" y="519"/>
                  </a:lnTo>
                  <a:lnTo>
                    <a:pt x="299" y="523"/>
                  </a:lnTo>
                  <a:lnTo>
                    <a:pt x="299" y="527"/>
                  </a:lnTo>
                  <a:lnTo>
                    <a:pt x="295" y="527"/>
                  </a:lnTo>
                  <a:lnTo>
                    <a:pt x="291" y="531"/>
                  </a:lnTo>
                  <a:lnTo>
                    <a:pt x="291" y="535"/>
                  </a:lnTo>
                  <a:lnTo>
                    <a:pt x="287" y="535"/>
                  </a:lnTo>
                  <a:lnTo>
                    <a:pt x="283" y="539"/>
                  </a:lnTo>
                  <a:lnTo>
                    <a:pt x="283" y="535"/>
                  </a:lnTo>
                  <a:lnTo>
                    <a:pt x="283" y="539"/>
                  </a:lnTo>
                  <a:lnTo>
                    <a:pt x="279" y="539"/>
                  </a:lnTo>
                  <a:lnTo>
                    <a:pt x="275" y="539"/>
                  </a:lnTo>
                  <a:lnTo>
                    <a:pt x="275" y="535"/>
                  </a:lnTo>
                  <a:lnTo>
                    <a:pt x="271" y="535"/>
                  </a:lnTo>
                  <a:lnTo>
                    <a:pt x="271" y="531"/>
                  </a:lnTo>
                  <a:lnTo>
                    <a:pt x="267" y="531"/>
                  </a:lnTo>
                  <a:lnTo>
                    <a:pt x="267" y="535"/>
                  </a:lnTo>
                  <a:lnTo>
                    <a:pt x="263" y="535"/>
                  </a:lnTo>
                  <a:lnTo>
                    <a:pt x="263" y="531"/>
                  </a:lnTo>
                  <a:lnTo>
                    <a:pt x="259" y="531"/>
                  </a:lnTo>
                  <a:lnTo>
                    <a:pt x="255" y="531"/>
                  </a:lnTo>
                  <a:lnTo>
                    <a:pt x="255" y="527"/>
                  </a:lnTo>
                  <a:lnTo>
                    <a:pt x="251" y="527"/>
                  </a:lnTo>
                  <a:lnTo>
                    <a:pt x="247" y="527"/>
                  </a:lnTo>
                  <a:lnTo>
                    <a:pt x="247" y="531"/>
                  </a:lnTo>
                  <a:lnTo>
                    <a:pt x="243" y="531"/>
                  </a:lnTo>
                  <a:lnTo>
                    <a:pt x="239" y="535"/>
                  </a:lnTo>
                  <a:lnTo>
                    <a:pt x="239" y="539"/>
                  </a:lnTo>
                  <a:lnTo>
                    <a:pt x="235" y="539"/>
                  </a:lnTo>
                  <a:lnTo>
                    <a:pt x="235" y="543"/>
                  </a:lnTo>
                  <a:lnTo>
                    <a:pt x="235" y="547"/>
                  </a:lnTo>
                  <a:lnTo>
                    <a:pt x="231" y="547"/>
                  </a:lnTo>
                  <a:lnTo>
                    <a:pt x="231" y="543"/>
                  </a:lnTo>
                  <a:lnTo>
                    <a:pt x="231" y="539"/>
                  </a:lnTo>
                  <a:lnTo>
                    <a:pt x="231" y="535"/>
                  </a:lnTo>
                  <a:lnTo>
                    <a:pt x="231" y="531"/>
                  </a:lnTo>
                  <a:lnTo>
                    <a:pt x="227" y="531"/>
                  </a:lnTo>
                  <a:lnTo>
                    <a:pt x="223" y="535"/>
                  </a:lnTo>
                  <a:lnTo>
                    <a:pt x="219" y="535"/>
                  </a:lnTo>
                  <a:lnTo>
                    <a:pt x="215" y="535"/>
                  </a:lnTo>
                  <a:lnTo>
                    <a:pt x="215" y="539"/>
                  </a:lnTo>
                  <a:lnTo>
                    <a:pt x="215" y="535"/>
                  </a:lnTo>
                  <a:lnTo>
                    <a:pt x="215" y="539"/>
                  </a:lnTo>
                  <a:lnTo>
                    <a:pt x="211" y="539"/>
                  </a:lnTo>
                  <a:lnTo>
                    <a:pt x="211" y="535"/>
                  </a:lnTo>
                  <a:lnTo>
                    <a:pt x="207" y="535"/>
                  </a:lnTo>
                  <a:lnTo>
                    <a:pt x="207" y="539"/>
                  </a:lnTo>
                  <a:lnTo>
                    <a:pt x="207" y="535"/>
                  </a:lnTo>
                  <a:lnTo>
                    <a:pt x="203" y="535"/>
                  </a:lnTo>
                  <a:lnTo>
                    <a:pt x="199" y="531"/>
                  </a:lnTo>
                  <a:lnTo>
                    <a:pt x="195" y="535"/>
                  </a:lnTo>
                  <a:lnTo>
                    <a:pt x="191" y="535"/>
                  </a:lnTo>
                  <a:lnTo>
                    <a:pt x="191" y="531"/>
                  </a:lnTo>
                  <a:lnTo>
                    <a:pt x="191" y="535"/>
                  </a:lnTo>
                  <a:lnTo>
                    <a:pt x="187" y="535"/>
                  </a:lnTo>
                  <a:lnTo>
                    <a:pt x="187" y="531"/>
                  </a:lnTo>
                  <a:lnTo>
                    <a:pt x="183" y="527"/>
                  </a:lnTo>
                  <a:lnTo>
                    <a:pt x="179" y="527"/>
                  </a:lnTo>
                  <a:lnTo>
                    <a:pt x="175" y="527"/>
                  </a:lnTo>
                  <a:lnTo>
                    <a:pt x="175" y="523"/>
                  </a:lnTo>
                  <a:lnTo>
                    <a:pt x="175" y="519"/>
                  </a:lnTo>
                  <a:lnTo>
                    <a:pt x="175" y="523"/>
                  </a:lnTo>
                  <a:lnTo>
                    <a:pt x="171" y="523"/>
                  </a:lnTo>
                  <a:lnTo>
                    <a:pt x="167" y="523"/>
                  </a:lnTo>
                  <a:lnTo>
                    <a:pt x="167" y="519"/>
                  </a:lnTo>
                  <a:lnTo>
                    <a:pt x="163" y="519"/>
                  </a:lnTo>
                  <a:lnTo>
                    <a:pt x="163" y="515"/>
                  </a:lnTo>
                  <a:lnTo>
                    <a:pt x="163" y="511"/>
                  </a:lnTo>
                  <a:lnTo>
                    <a:pt x="159" y="511"/>
                  </a:lnTo>
                  <a:lnTo>
                    <a:pt x="159" y="507"/>
                  </a:lnTo>
                  <a:lnTo>
                    <a:pt x="155" y="507"/>
                  </a:lnTo>
                  <a:lnTo>
                    <a:pt x="155" y="511"/>
                  </a:lnTo>
                  <a:lnTo>
                    <a:pt x="151" y="511"/>
                  </a:lnTo>
                  <a:lnTo>
                    <a:pt x="151" y="507"/>
                  </a:lnTo>
                  <a:lnTo>
                    <a:pt x="147" y="507"/>
                  </a:lnTo>
                  <a:lnTo>
                    <a:pt x="147" y="503"/>
                  </a:lnTo>
                  <a:lnTo>
                    <a:pt x="143" y="503"/>
                  </a:lnTo>
                  <a:lnTo>
                    <a:pt x="143" y="499"/>
                  </a:lnTo>
                  <a:lnTo>
                    <a:pt x="139" y="499"/>
                  </a:lnTo>
                  <a:lnTo>
                    <a:pt x="135" y="495"/>
                  </a:lnTo>
                  <a:lnTo>
                    <a:pt x="131" y="491"/>
                  </a:lnTo>
                  <a:lnTo>
                    <a:pt x="131" y="495"/>
                  </a:lnTo>
                  <a:lnTo>
                    <a:pt x="131" y="491"/>
                  </a:lnTo>
                  <a:lnTo>
                    <a:pt x="131" y="487"/>
                  </a:lnTo>
                  <a:lnTo>
                    <a:pt x="127" y="487"/>
                  </a:lnTo>
                  <a:lnTo>
                    <a:pt x="123" y="487"/>
                  </a:lnTo>
                  <a:lnTo>
                    <a:pt x="119" y="487"/>
                  </a:lnTo>
                  <a:lnTo>
                    <a:pt x="119" y="491"/>
                  </a:lnTo>
                  <a:lnTo>
                    <a:pt x="115" y="495"/>
                  </a:lnTo>
                  <a:lnTo>
                    <a:pt x="115" y="491"/>
                  </a:lnTo>
                  <a:lnTo>
                    <a:pt x="111" y="491"/>
                  </a:lnTo>
                  <a:lnTo>
                    <a:pt x="115" y="491"/>
                  </a:lnTo>
                  <a:lnTo>
                    <a:pt x="111" y="491"/>
                  </a:lnTo>
                  <a:lnTo>
                    <a:pt x="111" y="487"/>
                  </a:lnTo>
                  <a:lnTo>
                    <a:pt x="107" y="487"/>
                  </a:lnTo>
                  <a:lnTo>
                    <a:pt x="103" y="483"/>
                  </a:lnTo>
                  <a:lnTo>
                    <a:pt x="99" y="483"/>
                  </a:lnTo>
                  <a:lnTo>
                    <a:pt x="103" y="479"/>
                  </a:lnTo>
                  <a:lnTo>
                    <a:pt x="99" y="479"/>
                  </a:lnTo>
                  <a:lnTo>
                    <a:pt x="95" y="475"/>
                  </a:lnTo>
                  <a:lnTo>
                    <a:pt x="91" y="475"/>
                  </a:lnTo>
                  <a:lnTo>
                    <a:pt x="87" y="475"/>
                  </a:lnTo>
                  <a:lnTo>
                    <a:pt x="87" y="471"/>
                  </a:lnTo>
                  <a:lnTo>
                    <a:pt x="87" y="467"/>
                  </a:lnTo>
                  <a:lnTo>
                    <a:pt x="83" y="467"/>
                  </a:lnTo>
                  <a:lnTo>
                    <a:pt x="79" y="467"/>
                  </a:lnTo>
                  <a:lnTo>
                    <a:pt x="79" y="471"/>
                  </a:lnTo>
                  <a:lnTo>
                    <a:pt x="79" y="467"/>
                  </a:lnTo>
                  <a:lnTo>
                    <a:pt x="79" y="463"/>
                  </a:lnTo>
                  <a:lnTo>
                    <a:pt x="79" y="459"/>
                  </a:lnTo>
                  <a:lnTo>
                    <a:pt x="79" y="455"/>
                  </a:lnTo>
                  <a:lnTo>
                    <a:pt x="75" y="455"/>
                  </a:lnTo>
                  <a:lnTo>
                    <a:pt x="75" y="451"/>
                  </a:lnTo>
                  <a:lnTo>
                    <a:pt x="75" y="447"/>
                  </a:lnTo>
                  <a:lnTo>
                    <a:pt x="75" y="443"/>
                  </a:lnTo>
                  <a:lnTo>
                    <a:pt x="79" y="443"/>
                  </a:lnTo>
                  <a:lnTo>
                    <a:pt x="79" y="447"/>
                  </a:lnTo>
                  <a:lnTo>
                    <a:pt x="83" y="447"/>
                  </a:lnTo>
                  <a:lnTo>
                    <a:pt x="87" y="443"/>
                  </a:lnTo>
                  <a:lnTo>
                    <a:pt x="87" y="447"/>
                  </a:lnTo>
                  <a:lnTo>
                    <a:pt x="91" y="443"/>
                  </a:lnTo>
                  <a:lnTo>
                    <a:pt x="91" y="439"/>
                  </a:lnTo>
                  <a:lnTo>
                    <a:pt x="87" y="439"/>
                  </a:lnTo>
                  <a:lnTo>
                    <a:pt x="87" y="435"/>
                  </a:lnTo>
                  <a:lnTo>
                    <a:pt x="87" y="431"/>
                  </a:lnTo>
                  <a:lnTo>
                    <a:pt x="83" y="431"/>
                  </a:lnTo>
                  <a:lnTo>
                    <a:pt x="83" y="427"/>
                  </a:lnTo>
                  <a:lnTo>
                    <a:pt x="79" y="427"/>
                  </a:lnTo>
                  <a:lnTo>
                    <a:pt x="79" y="423"/>
                  </a:lnTo>
                  <a:lnTo>
                    <a:pt x="79" y="419"/>
                  </a:lnTo>
                  <a:lnTo>
                    <a:pt x="79" y="415"/>
                  </a:lnTo>
                  <a:lnTo>
                    <a:pt x="79" y="411"/>
                  </a:lnTo>
                  <a:lnTo>
                    <a:pt x="83" y="411"/>
                  </a:lnTo>
                  <a:lnTo>
                    <a:pt x="83" y="407"/>
                  </a:lnTo>
                  <a:lnTo>
                    <a:pt x="79" y="403"/>
                  </a:lnTo>
                  <a:lnTo>
                    <a:pt x="75" y="403"/>
                  </a:lnTo>
                  <a:lnTo>
                    <a:pt x="71" y="403"/>
                  </a:lnTo>
                  <a:lnTo>
                    <a:pt x="71" y="399"/>
                  </a:lnTo>
                  <a:lnTo>
                    <a:pt x="71" y="395"/>
                  </a:lnTo>
                  <a:lnTo>
                    <a:pt x="67" y="391"/>
                  </a:lnTo>
                  <a:lnTo>
                    <a:pt x="67" y="387"/>
                  </a:lnTo>
                  <a:lnTo>
                    <a:pt x="67" y="383"/>
                  </a:lnTo>
                  <a:lnTo>
                    <a:pt x="67" y="387"/>
                  </a:lnTo>
                  <a:lnTo>
                    <a:pt x="63" y="387"/>
                  </a:lnTo>
                  <a:lnTo>
                    <a:pt x="63" y="383"/>
                  </a:lnTo>
                  <a:lnTo>
                    <a:pt x="63" y="387"/>
                  </a:lnTo>
                  <a:lnTo>
                    <a:pt x="59" y="387"/>
                  </a:lnTo>
                  <a:lnTo>
                    <a:pt x="55" y="383"/>
                  </a:lnTo>
                  <a:lnTo>
                    <a:pt x="51" y="383"/>
                  </a:lnTo>
                  <a:lnTo>
                    <a:pt x="47" y="383"/>
                  </a:lnTo>
                  <a:lnTo>
                    <a:pt x="47" y="379"/>
                  </a:lnTo>
                  <a:lnTo>
                    <a:pt x="47" y="375"/>
                  </a:lnTo>
                  <a:lnTo>
                    <a:pt x="43" y="379"/>
                  </a:lnTo>
                  <a:lnTo>
                    <a:pt x="39" y="379"/>
                  </a:lnTo>
                  <a:lnTo>
                    <a:pt x="39" y="375"/>
                  </a:lnTo>
                  <a:lnTo>
                    <a:pt x="35" y="375"/>
                  </a:lnTo>
                  <a:lnTo>
                    <a:pt x="35" y="371"/>
                  </a:lnTo>
                  <a:lnTo>
                    <a:pt x="39" y="371"/>
                  </a:lnTo>
                  <a:lnTo>
                    <a:pt x="35" y="367"/>
                  </a:lnTo>
                  <a:lnTo>
                    <a:pt x="35" y="363"/>
                  </a:lnTo>
                  <a:lnTo>
                    <a:pt x="35" y="359"/>
                  </a:lnTo>
                  <a:lnTo>
                    <a:pt x="31" y="359"/>
                  </a:lnTo>
                  <a:lnTo>
                    <a:pt x="27" y="359"/>
                  </a:lnTo>
                  <a:lnTo>
                    <a:pt x="27" y="355"/>
                  </a:lnTo>
                  <a:lnTo>
                    <a:pt x="23" y="355"/>
                  </a:lnTo>
                  <a:lnTo>
                    <a:pt x="19" y="355"/>
                  </a:lnTo>
                  <a:lnTo>
                    <a:pt x="16" y="355"/>
                  </a:lnTo>
                  <a:lnTo>
                    <a:pt x="12" y="351"/>
                  </a:lnTo>
                  <a:lnTo>
                    <a:pt x="16" y="351"/>
                  </a:lnTo>
                  <a:lnTo>
                    <a:pt x="19" y="347"/>
                  </a:lnTo>
                  <a:lnTo>
                    <a:pt x="19" y="351"/>
                  </a:lnTo>
                  <a:lnTo>
                    <a:pt x="23" y="347"/>
                  </a:lnTo>
                  <a:lnTo>
                    <a:pt x="23" y="343"/>
                  </a:lnTo>
                  <a:lnTo>
                    <a:pt x="19" y="343"/>
                  </a:lnTo>
                  <a:lnTo>
                    <a:pt x="19" y="339"/>
                  </a:lnTo>
                  <a:lnTo>
                    <a:pt x="23" y="339"/>
                  </a:lnTo>
                  <a:lnTo>
                    <a:pt x="19" y="339"/>
                  </a:lnTo>
                  <a:lnTo>
                    <a:pt x="19" y="335"/>
                  </a:lnTo>
                  <a:lnTo>
                    <a:pt x="19" y="331"/>
                  </a:lnTo>
                  <a:lnTo>
                    <a:pt x="19" y="327"/>
                  </a:lnTo>
                  <a:lnTo>
                    <a:pt x="19" y="323"/>
                  </a:lnTo>
                  <a:lnTo>
                    <a:pt x="16" y="323"/>
                  </a:lnTo>
                  <a:lnTo>
                    <a:pt x="12" y="319"/>
                  </a:lnTo>
                  <a:lnTo>
                    <a:pt x="8" y="319"/>
                  </a:lnTo>
                  <a:lnTo>
                    <a:pt x="8" y="323"/>
                  </a:lnTo>
                  <a:lnTo>
                    <a:pt x="4" y="323"/>
                  </a:lnTo>
                  <a:lnTo>
                    <a:pt x="4" y="319"/>
                  </a:lnTo>
                  <a:lnTo>
                    <a:pt x="4" y="315"/>
                  </a:lnTo>
                  <a:lnTo>
                    <a:pt x="4" y="311"/>
                  </a:lnTo>
                  <a:lnTo>
                    <a:pt x="0" y="307"/>
                  </a:lnTo>
                  <a:lnTo>
                    <a:pt x="4" y="307"/>
                  </a:lnTo>
                  <a:lnTo>
                    <a:pt x="4" y="303"/>
                  </a:lnTo>
                  <a:lnTo>
                    <a:pt x="8" y="303"/>
                  </a:lnTo>
                  <a:lnTo>
                    <a:pt x="8" y="299"/>
                  </a:lnTo>
                  <a:lnTo>
                    <a:pt x="4" y="299"/>
                  </a:lnTo>
                  <a:lnTo>
                    <a:pt x="4" y="295"/>
                  </a:lnTo>
                  <a:lnTo>
                    <a:pt x="8" y="291"/>
                  </a:lnTo>
                  <a:lnTo>
                    <a:pt x="12" y="291"/>
                  </a:lnTo>
                  <a:lnTo>
                    <a:pt x="16" y="291"/>
                  </a:lnTo>
                  <a:lnTo>
                    <a:pt x="16" y="287"/>
                  </a:lnTo>
                  <a:lnTo>
                    <a:pt x="19" y="287"/>
                  </a:lnTo>
                  <a:lnTo>
                    <a:pt x="19" y="283"/>
                  </a:lnTo>
                  <a:lnTo>
                    <a:pt x="23" y="283"/>
                  </a:lnTo>
                  <a:lnTo>
                    <a:pt x="27" y="283"/>
                  </a:lnTo>
                  <a:lnTo>
                    <a:pt x="27" y="279"/>
                  </a:lnTo>
                  <a:lnTo>
                    <a:pt x="31" y="279"/>
                  </a:lnTo>
                  <a:lnTo>
                    <a:pt x="31" y="283"/>
                  </a:lnTo>
                  <a:lnTo>
                    <a:pt x="31" y="287"/>
                  </a:lnTo>
                  <a:lnTo>
                    <a:pt x="35" y="287"/>
                  </a:lnTo>
                  <a:lnTo>
                    <a:pt x="39" y="283"/>
                  </a:lnTo>
                  <a:lnTo>
                    <a:pt x="43" y="283"/>
                  </a:lnTo>
                  <a:lnTo>
                    <a:pt x="43" y="287"/>
                  </a:lnTo>
                  <a:lnTo>
                    <a:pt x="43" y="283"/>
                  </a:lnTo>
                  <a:lnTo>
                    <a:pt x="47" y="283"/>
                  </a:lnTo>
                  <a:lnTo>
                    <a:pt x="47" y="279"/>
                  </a:lnTo>
                  <a:lnTo>
                    <a:pt x="47" y="271"/>
                  </a:lnTo>
                  <a:lnTo>
                    <a:pt x="51" y="271"/>
                  </a:lnTo>
                  <a:lnTo>
                    <a:pt x="55" y="271"/>
                  </a:lnTo>
                  <a:lnTo>
                    <a:pt x="59" y="271"/>
                  </a:lnTo>
                  <a:lnTo>
                    <a:pt x="63" y="271"/>
                  </a:lnTo>
                  <a:lnTo>
                    <a:pt x="67" y="271"/>
                  </a:lnTo>
                  <a:lnTo>
                    <a:pt x="71" y="271"/>
                  </a:lnTo>
                  <a:lnTo>
                    <a:pt x="71" y="267"/>
                  </a:lnTo>
                  <a:lnTo>
                    <a:pt x="71" y="263"/>
                  </a:lnTo>
                  <a:lnTo>
                    <a:pt x="75" y="263"/>
                  </a:lnTo>
                  <a:lnTo>
                    <a:pt x="79" y="259"/>
                  </a:lnTo>
                  <a:lnTo>
                    <a:pt x="83" y="259"/>
                  </a:lnTo>
                  <a:lnTo>
                    <a:pt x="83" y="255"/>
                  </a:lnTo>
                  <a:lnTo>
                    <a:pt x="87" y="255"/>
                  </a:lnTo>
                  <a:lnTo>
                    <a:pt x="91" y="255"/>
                  </a:lnTo>
                  <a:lnTo>
                    <a:pt x="95" y="255"/>
                  </a:lnTo>
                  <a:lnTo>
                    <a:pt x="95" y="251"/>
                  </a:lnTo>
                  <a:lnTo>
                    <a:pt x="99" y="251"/>
                  </a:lnTo>
                  <a:lnTo>
                    <a:pt x="103" y="251"/>
                  </a:lnTo>
                  <a:lnTo>
                    <a:pt x="103" y="247"/>
                  </a:lnTo>
                  <a:lnTo>
                    <a:pt x="99" y="247"/>
                  </a:lnTo>
                  <a:lnTo>
                    <a:pt x="103" y="247"/>
                  </a:lnTo>
                  <a:lnTo>
                    <a:pt x="103" y="243"/>
                  </a:lnTo>
                  <a:lnTo>
                    <a:pt x="99" y="243"/>
                  </a:lnTo>
                  <a:lnTo>
                    <a:pt x="99" y="240"/>
                  </a:lnTo>
                  <a:lnTo>
                    <a:pt x="103" y="236"/>
                  </a:lnTo>
                  <a:lnTo>
                    <a:pt x="107" y="232"/>
                  </a:lnTo>
                  <a:lnTo>
                    <a:pt x="103" y="232"/>
                  </a:lnTo>
                  <a:lnTo>
                    <a:pt x="107" y="228"/>
                  </a:lnTo>
                  <a:lnTo>
                    <a:pt x="111" y="228"/>
                  </a:lnTo>
                  <a:lnTo>
                    <a:pt x="111" y="224"/>
                  </a:lnTo>
                  <a:lnTo>
                    <a:pt x="107" y="220"/>
                  </a:lnTo>
                  <a:lnTo>
                    <a:pt x="107" y="216"/>
                  </a:lnTo>
                  <a:lnTo>
                    <a:pt x="107" y="212"/>
                  </a:lnTo>
                  <a:lnTo>
                    <a:pt x="103" y="212"/>
                  </a:lnTo>
                  <a:lnTo>
                    <a:pt x="103" y="208"/>
                  </a:lnTo>
                  <a:lnTo>
                    <a:pt x="103" y="204"/>
                  </a:lnTo>
                  <a:lnTo>
                    <a:pt x="103" y="200"/>
                  </a:lnTo>
                  <a:lnTo>
                    <a:pt x="103" y="196"/>
                  </a:lnTo>
                  <a:lnTo>
                    <a:pt x="107" y="196"/>
                  </a:lnTo>
                  <a:lnTo>
                    <a:pt x="107" y="192"/>
                  </a:lnTo>
                  <a:lnTo>
                    <a:pt x="103" y="192"/>
                  </a:lnTo>
                  <a:lnTo>
                    <a:pt x="99" y="192"/>
                  </a:lnTo>
                  <a:lnTo>
                    <a:pt x="95" y="192"/>
                  </a:lnTo>
                  <a:lnTo>
                    <a:pt x="99" y="188"/>
                  </a:lnTo>
                  <a:lnTo>
                    <a:pt x="103" y="188"/>
                  </a:lnTo>
                  <a:lnTo>
                    <a:pt x="107" y="184"/>
                  </a:lnTo>
                  <a:lnTo>
                    <a:pt x="111" y="184"/>
                  </a:lnTo>
                  <a:lnTo>
                    <a:pt x="115" y="184"/>
                  </a:lnTo>
                  <a:lnTo>
                    <a:pt x="119" y="184"/>
                  </a:lnTo>
                  <a:lnTo>
                    <a:pt x="119" y="180"/>
                  </a:lnTo>
                  <a:lnTo>
                    <a:pt x="123" y="180"/>
                  </a:lnTo>
                  <a:lnTo>
                    <a:pt x="123" y="184"/>
                  </a:lnTo>
                  <a:lnTo>
                    <a:pt x="127" y="184"/>
                  </a:lnTo>
                  <a:lnTo>
                    <a:pt x="131" y="184"/>
                  </a:lnTo>
                  <a:lnTo>
                    <a:pt x="135" y="184"/>
                  </a:lnTo>
                  <a:lnTo>
                    <a:pt x="139" y="184"/>
                  </a:lnTo>
                  <a:lnTo>
                    <a:pt x="139" y="180"/>
                  </a:lnTo>
                  <a:lnTo>
                    <a:pt x="135" y="180"/>
                  </a:lnTo>
                  <a:lnTo>
                    <a:pt x="135" y="176"/>
                  </a:lnTo>
                  <a:lnTo>
                    <a:pt x="131" y="176"/>
                  </a:lnTo>
                  <a:lnTo>
                    <a:pt x="135" y="172"/>
                  </a:lnTo>
                  <a:lnTo>
                    <a:pt x="135" y="168"/>
                  </a:lnTo>
                  <a:lnTo>
                    <a:pt x="135" y="164"/>
                  </a:lnTo>
                  <a:lnTo>
                    <a:pt x="135" y="160"/>
                  </a:lnTo>
                  <a:lnTo>
                    <a:pt x="139" y="160"/>
                  </a:lnTo>
                  <a:lnTo>
                    <a:pt x="139" y="156"/>
                  </a:lnTo>
                  <a:lnTo>
                    <a:pt x="139" y="152"/>
                  </a:lnTo>
                  <a:lnTo>
                    <a:pt x="143" y="148"/>
                  </a:lnTo>
                  <a:lnTo>
                    <a:pt x="143" y="144"/>
                  </a:lnTo>
                  <a:lnTo>
                    <a:pt x="143" y="140"/>
                  </a:lnTo>
                  <a:lnTo>
                    <a:pt x="147" y="140"/>
                  </a:lnTo>
                  <a:lnTo>
                    <a:pt x="151" y="144"/>
                  </a:lnTo>
                  <a:lnTo>
                    <a:pt x="155" y="144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67" y="144"/>
                  </a:lnTo>
                  <a:lnTo>
                    <a:pt x="171" y="148"/>
                  </a:lnTo>
                  <a:lnTo>
                    <a:pt x="175" y="148"/>
                  </a:lnTo>
                  <a:lnTo>
                    <a:pt x="175" y="144"/>
                  </a:lnTo>
                  <a:lnTo>
                    <a:pt x="179" y="144"/>
                  </a:lnTo>
                  <a:lnTo>
                    <a:pt x="183" y="144"/>
                  </a:lnTo>
                  <a:lnTo>
                    <a:pt x="183" y="140"/>
                  </a:lnTo>
                  <a:lnTo>
                    <a:pt x="183" y="136"/>
                  </a:lnTo>
                  <a:lnTo>
                    <a:pt x="183" y="132"/>
                  </a:lnTo>
                  <a:lnTo>
                    <a:pt x="183" y="128"/>
                  </a:lnTo>
                  <a:lnTo>
                    <a:pt x="183" y="124"/>
                  </a:lnTo>
                  <a:lnTo>
                    <a:pt x="183" y="120"/>
                  </a:lnTo>
                  <a:lnTo>
                    <a:pt x="183" y="116"/>
                  </a:lnTo>
                  <a:lnTo>
                    <a:pt x="187" y="116"/>
                  </a:lnTo>
                  <a:lnTo>
                    <a:pt x="187" y="112"/>
                  </a:lnTo>
                  <a:lnTo>
                    <a:pt x="191" y="112"/>
                  </a:lnTo>
                  <a:lnTo>
                    <a:pt x="195" y="112"/>
                  </a:lnTo>
                  <a:lnTo>
                    <a:pt x="199" y="112"/>
                  </a:lnTo>
                  <a:lnTo>
                    <a:pt x="199" y="108"/>
                  </a:lnTo>
                  <a:lnTo>
                    <a:pt x="199" y="104"/>
                  </a:lnTo>
                  <a:lnTo>
                    <a:pt x="199" y="100"/>
                  </a:lnTo>
                  <a:lnTo>
                    <a:pt x="203" y="100"/>
                  </a:lnTo>
                  <a:lnTo>
                    <a:pt x="207" y="100"/>
                  </a:lnTo>
                  <a:lnTo>
                    <a:pt x="211" y="100"/>
                  </a:lnTo>
                  <a:lnTo>
                    <a:pt x="215" y="96"/>
                  </a:lnTo>
                  <a:lnTo>
                    <a:pt x="215" y="100"/>
                  </a:lnTo>
                  <a:lnTo>
                    <a:pt x="219" y="100"/>
                  </a:lnTo>
                  <a:lnTo>
                    <a:pt x="215" y="104"/>
                  </a:lnTo>
                  <a:lnTo>
                    <a:pt x="219" y="108"/>
                  </a:lnTo>
                  <a:lnTo>
                    <a:pt x="219" y="112"/>
                  </a:lnTo>
                  <a:lnTo>
                    <a:pt x="223" y="112"/>
                  </a:lnTo>
                  <a:lnTo>
                    <a:pt x="227" y="116"/>
                  </a:lnTo>
                  <a:lnTo>
                    <a:pt x="227" y="120"/>
                  </a:lnTo>
                  <a:lnTo>
                    <a:pt x="231" y="120"/>
                  </a:lnTo>
                  <a:lnTo>
                    <a:pt x="235" y="120"/>
                  </a:lnTo>
                  <a:lnTo>
                    <a:pt x="235" y="124"/>
                  </a:lnTo>
                  <a:lnTo>
                    <a:pt x="239" y="124"/>
                  </a:lnTo>
                  <a:lnTo>
                    <a:pt x="243" y="124"/>
                  </a:lnTo>
                  <a:lnTo>
                    <a:pt x="247" y="128"/>
                  </a:lnTo>
                  <a:lnTo>
                    <a:pt x="247" y="124"/>
                  </a:lnTo>
                  <a:lnTo>
                    <a:pt x="251" y="124"/>
                  </a:lnTo>
                  <a:lnTo>
                    <a:pt x="251" y="128"/>
                  </a:lnTo>
                  <a:lnTo>
                    <a:pt x="255" y="128"/>
                  </a:lnTo>
                  <a:lnTo>
                    <a:pt x="255" y="132"/>
                  </a:lnTo>
                  <a:lnTo>
                    <a:pt x="255" y="136"/>
                  </a:lnTo>
                  <a:lnTo>
                    <a:pt x="255" y="140"/>
                  </a:lnTo>
                  <a:lnTo>
                    <a:pt x="259" y="140"/>
                  </a:lnTo>
                  <a:lnTo>
                    <a:pt x="259" y="144"/>
                  </a:lnTo>
                  <a:lnTo>
                    <a:pt x="263" y="144"/>
                  </a:lnTo>
                  <a:lnTo>
                    <a:pt x="263" y="148"/>
                  </a:lnTo>
                  <a:lnTo>
                    <a:pt x="263" y="152"/>
                  </a:lnTo>
                  <a:lnTo>
                    <a:pt x="267" y="152"/>
                  </a:lnTo>
                  <a:lnTo>
                    <a:pt x="263" y="152"/>
                  </a:lnTo>
                  <a:lnTo>
                    <a:pt x="267" y="156"/>
                  </a:lnTo>
                  <a:lnTo>
                    <a:pt x="263" y="160"/>
                  </a:lnTo>
                  <a:lnTo>
                    <a:pt x="263" y="164"/>
                  </a:lnTo>
                  <a:lnTo>
                    <a:pt x="263" y="168"/>
                  </a:lnTo>
                  <a:lnTo>
                    <a:pt x="259" y="172"/>
                  </a:lnTo>
                  <a:lnTo>
                    <a:pt x="259" y="176"/>
                  </a:lnTo>
                  <a:lnTo>
                    <a:pt x="259" y="180"/>
                  </a:lnTo>
                  <a:lnTo>
                    <a:pt x="263" y="180"/>
                  </a:lnTo>
                  <a:lnTo>
                    <a:pt x="263" y="184"/>
                  </a:lnTo>
                  <a:lnTo>
                    <a:pt x="267" y="184"/>
                  </a:lnTo>
                  <a:lnTo>
                    <a:pt x="271" y="184"/>
                  </a:lnTo>
                  <a:lnTo>
                    <a:pt x="271" y="188"/>
                  </a:lnTo>
                  <a:lnTo>
                    <a:pt x="279" y="188"/>
                  </a:lnTo>
                  <a:lnTo>
                    <a:pt x="283" y="188"/>
                  </a:lnTo>
                  <a:lnTo>
                    <a:pt x="287" y="188"/>
                  </a:lnTo>
                  <a:lnTo>
                    <a:pt x="291" y="188"/>
                  </a:lnTo>
                  <a:lnTo>
                    <a:pt x="295" y="188"/>
                  </a:lnTo>
                  <a:lnTo>
                    <a:pt x="299" y="188"/>
                  </a:lnTo>
                  <a:lnTo>
                    <a:pt x="303" y="188"/>
                  </a:lnTo>
                  <a:lnTo>
                    <a:pt x="303" y="192"/>
                  </a:lnTo>
                  <a:lnTo>
                    <a:pt x="307" y="192"/>
                  </a:lnTo>
                  <a:lnTo>
                    <a:pt x="311" y="192"/>
                  </a:lnTo>
                  <a:lnTo>
                    <a:pt x="311" y="196"/>
                  </a:lnTo>
                  <a:lnTo>
                    <a:pt x="315" y="196"/>
                  </a:lnTo>
                  <a:lnTo>
                    <a:pt x="315" y="200"/>
                  </a:lnTo>
                  <a:lnTo>
                    <a:pt x="319" y="200"/>
                  </a:lnTo>
                  <a:lnTo>
                    <a:pt x="319" y="204"/>
                  </a:lnTo>
                  <a:lnTo>
                    <a:pt x="327" y="204"/>
                  </a:lnTo>
                  <a:lnTo>
                    <a:pt x="331" y="204"/>
                  </a:lnTo>
                  <a:lnTo>
                    <a:pt x="331" y="208"/>
                  </a:lnTo>
                  <a:lnTo>
                    <a:pt x="335" y="208"/>
                  </a:lnTo>
                  <a:lnTo>
                    <a:pt x="335" y="212"/>
                  </a:lnTo>
                  <a:lnTo>
                    <a:pt x="335" y="216"/>
                  </a:lnTo>
                  <a:lnTo>
                    <a:pt x="335" y="220"/>
                  </a:lnTo>
                  <a:lnTo>
                    <a:pt x="339" y="220"/>
                  </a:lnTo>
                  <a:lnTo>
                    <a:pt x="339" y="224"/>
                  </a:lnTo>
                  <a:lnTo>
                    <a:pt x="339" y="228"/>
                  </a:lnTo>
                  <a:lnTo>
                    <a:pt x="343" y="228"/>
                  </a:lnTo>
                  <a:lnTo>
                    <a:pt x="347" y="232"/>
                  </a:lnTo>
                  <a:lnTo>
                    <a:pt x="347" y="236"/>
                  </a:lnTo>
                  <a:lnTo>
                    <a:pt x="351" y="236"/>
                  </a:lnTo>
                  <a:lnTo>
                    <a:pt x="355" y="236"/>
                  </a:lnTo>
                  <a:lnTo>
                    <a:pt x="359" y="236"/>
                  </a:lnTo>
                  <a:lnTo>
                    <a:pt x="363" y="236"/>
                  </a:lnTo>
                  <a:lnTo>
                    <a:pt x="367" y="236"/>
                  </a:lnTo>
                  <a:lnTo>
                    <a:pt x="371" y="236"/>
                  </a:lnTo>
                  <a:lnTo>
                    <a:pt x="374" y="240"/>
                  </a:lnTo>
                  <a:lnTo>
                    <a:pt x="378" y="240"/>
                  </a:lnTo>
                  <a:lnTo>
                    <a:pt x="382" y="240"/>
                  </a:lnTo>
                  <a:lnTo>
                    <a:pt x="386" y="240"/>
                  </a:lnTo>
                  <a:lnTo>
                    <a:pt x="390" y="240"/>
                  </a:lnTo>
                  <a:lnTo>
                    <a:pt x="394" y="240"/>
                  </a:lnTo>
                  <a:lnTo>
                    <a:pt x="398" y="240"/>
                  </a:lnTo>
                  <a:lnTo>
                    <a:pt x="402" y="240"/>
                  </a:lnTo>
                  <a:lnTo>
                    <a:pt x="406" y="236"/>
                  </a:lnTo>
                  <a:lnTo>
                    <a:pt x="410" y="236"/>
                  </a:lnTo>
                  <a:lnTo>
                    <a:pt x="414" y="236"/>
                  </a:lnTo>
                  <a:lnTo>
                    <a:pt x="414" y="240"/>
                  </a:lnTo>
                  <a:lnTo>
                    <a:pt x="418" y="240"/>
                  </a:lnTo>
                  <a:lnTo>
                    <a:pt x="422" y="240"/>
                  </a:lnTo>
                  <a:lnTo>
                    <a:pt x="426" y="240"/>
                  </a:lnTo>
                  <a:lnTo>
                    <a:pt x="430" y="243"/>
                  </a:lnTo>
                  <a:lnTo>
                    <a:pt x="430" y="247"/>
                  </a:lnTo>
                  <a:lnTo>
                    <a:pt x="438" y="247"/>
                  </a:lnTo>
                  <a:lnTo>
                    <a:pt x="442" y="247"/>
                  </a:lnTo>
                  <a:lnTo>
                    <a:pt x="446" y="251"/>
                  </a:lnTo>
                  <a:lnTo>
                    <a:pt x="450" y="251"/>
                  </a:lnTo>
                  <a:lnTo>
                    <a:pt x="450" y="255"/>
                  </a:lnTo>
                  <a:lnTo>
                    <a:pt x="458" y="255"/>
                  </a:lnTo>
                  <a:lnTo>
                    <a:pt x="462" y="255"/>
                  </a:lnTo>
                  <a:lnTo>
                    <a:pt x="470" y="255"/>
                  </a:lnTo>
                  <a:lnTo>
                    <a:pt x="470" y="259"/>
                  </a:lnTo>
                  <a:lnTo>
                    <a:pt x="474" y="259"/>
                  </a:lnTo>
                  <a:lnTo>
                    <a:pt x="478" y="255"/>
                  </a:lnTo>
                  <a:lnTo>
                    <a:pt x="482" y="255"/>
                  </a:lnTo>
                  <a:lnTo>
                    <a:pt x="486" y="255"/>
                  </a:lnTo>
                  <a:lnTo>
                    <a:pt x="490" y="251"/>
                  </a:lnTo>
                  <a:lnTo>
                    <a:pt x="494" y="251"/>
                  </a:lnTo>
                  <a:lnTo>
                    <a:pt x="498" y="247"/>
                  </a:lnTo>
                  <a:lnTo>
                    <a:pt x="502" y="243"/>
                  </a:lnTo>
                  <a:lnTo>
                    <a:pt x="506" y="243"/>
                  </a:lnTo>
                  <a:lnTo>
                    <a:pt x="510" y="243"/>
                  </a:lnTo>
                  <a:lnTo>
                    <a:pt x="514" y="243"/>
                  </a:lnTo>
                  <a:lnTo>
                    <a:pt x="518" y="243"/>
                  </a:lnTo>
                  <a:lnTo>
                    <a:pt x="526" y="243"/>
                  </a:lnTo>
                  <a:lnTo>
                    <a:pt x="530" y="243"/>
                  </a:lnTo>
                  <a:lnTo>
                    <a:pt x="534" y="243"/>
                  </a:lnTo>
                  <a:lnTo>
                    <a:pt x="538" y="243"/>
                  </a:lnTo>
                  <a:lnTo>
                    <a:pt x="542" y="243"/>
                  </a:lnTo>
                  <a:lnTo>
                    <a:pt x="546" y="243"/>
                  </a:lnTo>
                  <a:lnTo>
                    <a:pt x="546" y="240"/>
                  </a:lnTo>
                  <a:lnTo>
                    <a:pt x="550" y="240"/>
                  </a:lnTo>
                  <a:lnTo>
                    <a:pt x="554" y="240"/>
                  </a:lnTo>
                  <a:lnTo>
                    <a:pt x="554" y="236"/>
                  </a:lnTo>
                  <a:lnTo>
                    <a:pt x="558" y="236"/>
                  </a:lnTo>
                  <a:lnTo>
                    <a:pt x="558" y="232"/>
                  </a:lnTo>
                  <a:lnTo>
                    <a:pt x="562" y="232"/>
                  </a:lnTo>
                  <a:lnTo>
                    <a:pt x="562" y="228"/>
                  </a:lnTo>
                  <a:lnTo>
                    <a:pt x="566" y="228"/>
                  </a:lnTo>
                  <a:lnTo>
                    <a:pt x="566" y="224"/>
                  </a:lnTo>
                  <a:lnTo>
                    <a:pt x="570" y="224"/>
                  </a:lnTo>
                  <a:lnTo>
                    <a:pt x="570" y="220"/>
                  </a:lnTo>
                  <a:lnTo>
                    <a:pt x="574" y="220"/>
                  </a:lnTo>
                  <a:lnTo>
                    <a:pt x="578" y="220"/>
                  </a:lnTo>
                  <a:lnTo>
                    <a:pt x="578" y="216"/>
                  </a:lnTo>
                  <a:lnTo>
                    <a:pt x="582" y="216"/>
                  </a:lnTo>
                  <a:lnTo>
                    <a:pt x="582" y="212"/>
                  </a:lnTo>
                  <a:lnTo>
                    <a:pt x="578" y="208"/>
                  </a:lnTo>
                  <a:lnTo>
                    <a:pt x="574" y="204"/>
                  </a:lnTo>
                  <a:lnTo>
                    <a:pt x="574" y="200"/>
                  </a:lnTo>
                  <a:lnTo>
                    <a:pt x="574" y="196"/>
                  </a:lnTo>
                  <a:lnTo>
                    <a:pt x="578" y="192"/>
                  </a:lnTo>
                  <a:lnTo>
                    <a:pt x="578" y="188"/>
                  </a:lnTo>
                  <a:lnTo>
                    <a:pt x="582" y="188"/>
                  </a:lnTo>
                  <a:lnTo>
                    <a:pt x="586" y="188"/>
                  </a:lnTo>
                  <a:lnTo>
                    <a:pt x="590" y="188"/>
                  </a:lnTo>
                  <a:lnTo>
                    <a:pt x="594" y="192"/>
                  </a:lnTo>
                  <a:lnTo>
                    <a:pt x="598" y="192"/>
                  </a:lnTo>
                  <a:lnTo>
                    <a:pt x="602" y="192"/>
                  </a:lnTo>
                  <a:lnTo>
                    <a:pt x="606" y="192"/>
                  </a:lnTo>
                  <a:lnTo>
                    <a:pt x="610" y="192"/>
                  </a:lnTo>
                  <a:lnTo>
                    <a:pt x="610" y="188"/>
                  </a:lnTo>
                  <a:lnTo>
                    <a:pt x="614" y="188"/>
                  </a:lnTo>
                  <a:lnTo>
                    <a:pt x="618" y="188"/>
                  </a:lnTo>
                  <a:lnTo>
                    <a:pt x="618" y="184"/>
                  </a:lnTo>
                  <a:lnTo>
                    <a:pt x="622" y="180"/>
                  </a:lnTo>
                  <a:lnTo>
                    <a:pt x="626" y="180"/>
                  </a:lnTo>
                  <a:lnTo>
                    <a:pt x="630" y="180"/>
                  </a:lnTo>
                  <a:lnTo>
                    <a:pt x="634" y="180"/>
                  </a:lnTo>
                  <a:lnTo>
                    <a:pt x="638" y="180"/>
                  </a:lnTo>
                  <a:lnTo>
                    <a:pt x="638" y="176"/>
                  </a:lnTo>
                  <a:lnTo>
                    <a:pt x="642" y="176"/>
                  </a:lnTo>
                  <a:lnTo>
                    <a:pt x="642" y="172"/>
                  </a:lnTo>
                  <a:lnTo>
                    <a:pt x="646" y="172"/>
                  </a:lnTo>
                  <a:lnTo>
                    <a:pt x="646" y="168"/>
                  </a:lnTo>
                  <a:lnTo>
                    <a:pt x="650" y="164"/>
                  </a:lnTo>
                  <a:lnTo>
                    <a:pt x="650" y="160"/>
                  </a:lnTo>
                  <a:lnTo>
                    <a:pt x="654" y="160"/>
                  </a:lnTo>
                  <a:lnTo>
                    <a:pt x="658" y="160"/>
                  </a:lnTo>
                  <a:lnTo>
                    <a:pt x="662" y="160"/>
                  </a:lnTo>
                  <a:lnTo>
                    <a:pt x="662" y="156"/>
                  </a:lnTo>
                  <a:lnTo>
                    <a:pt x="666" y="156"/>
                  </a:lnTo>
                  <a:lnTo>
                    <a:pt x="666" y="152"/>
                  </a:lnTo>
                  <a:lnTo>
                    <a:pt x="666" y="156"/>
                  </a:lnTo>
                  <a:lnTo>
                    <a:pt x="670" y="156"/>
                  </a:lnTo>
                  <a:lnTo>
                    <a:pt x="670" y="152"/>
                  </a:lnTo>
                  <a:lnTo>
                    <a:pt x="674" y="152"/>
                  </a:lnTo>
                  <a:lnTo>
                    <a:pt x="678" y="152"/>
                  </a:lnTo>
                  <a:lnTo>
                    <a:pt x="682" y="152"/>
                  </a:lnTo>
                  <a:lnTo>
                    <a:pt x="686" y="152"/>
                  </a:lnTo>
                  <a:lnTo>
                    <a:pt x="686" y="148"/>
                  </a:lnTo>
                  <a:lnTo>
                    <a:pt x="686" y="152"/>
                  </a:lnTo>
                  <a:lnTo>
                    <a:pt x="690" y="152"/>
                  </a:lnTo>
                  <a:lnTo>
                    <a:pt x="694" y="152"/>
                  </a:lnTo>
                  <a:lnTo>
                    <a:pt x="698" y="152"/>
                  </a:lnTo>
                  <a:lnTo>
                    <a:pt x="702" y="152"/>
                  </a:lnTo>
                  <a:lnTo>
                    <a:pt x="702" y="148"/>
                  </a:lnTo>
                  <a:lnTo>
                    <a:pt x="702" y="144"/>
                  </a:lnTo>
                  <a:lnTo>
                    <a:pt x="698" y="140"/>
                  </a:lnTo>
                  <a:lnTo>
                    <a:pt x="694" y="140"/>
                  </a:lnTo>
                  <a:lnTo>
                    <a:pt x="694" y="136"/>
                  </a:lnTo>
                  <a:lnTo>
                    <a:pt x="694" y="132"/>
                  </a:lnTo>
                  <a:lnTo>
                    <a:pt x="690" y="132"/>
                  </a:lnTo>
                  <a:lnTo>
                    <a:pt x="686" y="128"/>
                  </a:lnTo>
                  <a:lnTo>
                    <a:pt x="682" y="124"/>
                  </a:lnTo>
                  <a:lnTo>
                    <a:pt x="678" y="124"/>
                  </a:lnTo>
                  <a:lnTo>
                    <a:pt x="674" y="124"/>
                  </a:lnTo>
                  <a:lnTo>
                    <a:pt x="670" y="124"/>
                  </a:lnTo>
                  <a:lnTo>
                    <a:pt x="666" y="124"/>
                  </a:lnTo>
                  <a:lnTo>
                    <a:pt x="666" y="128"/>
                  </a:lnTo>
                  <a:lnTo>
                    <a:pt x="662" y="132"/>
                  </a:lnTo>
                  <a:lnTo>
                    <a:pt x="658" y="128"/>
                  </a:lnTo>
                  <a:lnTo>
                    <a:pt x="658" y="124"/>
                  </a:lnTo>
                  <a:lnTo>
                    <a:pt x="654" y="124"/>
                  </a:lnTo>
                  <a:lnTo>
                    <a:pt x="650" y="128"/>
                  </a:lnTo>
                  <a:lnTo>
                    <a:pt x="646" y="124"/>
                  </a:lnTo>
                  <a:lnTo>
                    <a:pt x="646" y="128"/>
                  </a:lnTo>
                  <a:lnTo>
                    <a:pt x="642" y="128"/>
                  </a:lnTo>
                  <a:lnTo>
                    <a:pt x="638" y="124"/>
                  </a:lnTo>
                  <a:lnTo>
                    <a:pt x="634" y="120"/>
                  </a:lnTo>
                  <a:lnTo>
                    <a:pt x="638" y="120"/>
                  </a:lnTo>
                  <a:lnTo>
                    <a:pt x="642" y="116"/>
                  </a:lnTo>
                  <a:lnTo>
                    <a:pt x="638" y="112"/>
                  </a:lnTo>
                  <a:lnTo>
                    <a:pt x="642" y="108"/>
                  </a:lnTo>
                  <a:lnTo>
                    <a:pt x="646" y="104"/>
                  </a:lnTo>
                  <a:lnTo>
                    <a:pt x="642" y="104"/>
                  </a:lnTo>
                  <a:lnTo>
                    <a:pt x="646" y="100"/>
                  </a:lnTo>
                  <a:lnTo>
                    <a:pt x="646" y="96"/>
                  </a:lnTo>
                  <a:lnTo>
                    <a:pt x="650" y="96"/>
                  </a:lnTo>
                  <a:lnTo>
                    <a:pt x="650" y="92"/>
                  </a:lnTo>
                  <a:lnTo>
                    <a:pt x="650" y="88"/>
                  </a:lnTo>
                  <a:lnTo>
                    <a:pt x="654" y="84"/>
                  </a:lnTo>
                  <a:lnTo>
                    <a:pt x="658" y="84"/>
                  </a:lnTo>
                  <a:lnTo>
                    <a:pt x="662" y="88"/>
                  </a:lnTo>
                  <a:lnTo>
                    <a:pt x="666" y="88"/>
                  </a:lnTo>
                  <a:lnTo>
                    <a:pt x="670" y="88"/>
                  </a:lnTo>
                  <a:lnTo>
                    <a:pt x="674" y="88"/>
                  </a:lnTo>
                  <a:lnTo>
                    <a:pt x="678" y="84"/>
                  </a:lnTo>
                  <a:lnTo>
                    <a:pt x="682" y="84"/>
                  </a:lnTo>
                  <a:lnTo>
                    <a:pt x="682" y="80"/>
                  </a:lnTo>
                  <a:lnTo>
                    <a:pt x="686" y="80"/>
                  </a:lnTo>
                  <a:lnTo>
                    <a:pt x="690" y="80"/>
                  </a:lnTo>
                  <a:lnTo>
                    <a:pt x="694" y="76"/>
                  </a:lnTo>
                  <a:lnTo>
                    <a:pt x="694" y="72"/>
                  </a:lnTo>
                  <a:lnTo>
                    <a:pt x="690" y="72"/>
                  </a:lnTo>
                  <a:lnTo>
                    <a:pt x="690" y="68"/>
                  </a:lnTo>
                  <a:lnTo>
                    <a:pt x="694" y="68"/>
                  </a:lnTo>
                  <a:lnTo>
                    <a:pt x="694" y="64"/>
                  </a:lnTo>
                  <a:lnTo>
                    <a:pt x="698" y="64"/>
                  </a:lnTo>
                  <a:lnTo>
                    <a:pt x="698" y="60"/>
                  </a:lnTo>
                  <a:lnTo>
                    <a:pt x="698" y="56"/>
                  </a:lnTo>
                  <a:lnTo>
                    <a:pt x="702" y="52"/>
                  </a:lnTo>
                  <a:lnTo>
                    <a:pt x="702" y="48"/>
                  </a:lnTo>
                  <a:lnTo>
                    <a:pt x="702" y="44"/>
                  </a:lnTo>
                  <a:lnTo>
                    <a:pt x="706" y="44"/>
                  </a:lnTo>
                  <a:lnTo>
                    <a:pt x="706" y="40"/>
                  </a:lnTo>
                  <a:lnTo>
                    <a:pt x="710" y="40"/>
                  </a:lnTo>
                  <a:lnTo>
                    <a:pt x="710" y="36"/>
                  </a:lnTo>
                  <a:lnTo>
                    <a:pt x="714" y="36"/>
                  </a:lnTo>
                  <a:lnTo>
                    <a:pt x="714" y="32"/>
                  </a:lnTo>
                  <a:lnTo>
                    <a:pt x="714" y="28"/>
                  </a:lnTo>
                  <a:lnTo>
                    <a:pt x="714" y="24"/>
                  </a:lnTo>
                  <a:lnTo>
                    <a:pt x="714" y="20"/>
                  </a:lnTo>
                  <a:lnTo>
                    <a:pt x="710" y="20"/>
                  </a:lnTo>
                  <a:lnTo>
                    <a:pt x="706" y="20"/>
                  </a:lnTo>
                  <a:lnTo>
                    <a:pt x="702" y="20"/>
                  </a:lnTo>
                  <a:lnTo>
                    <a:pt x="706" y="16"/>
                  </a:lnTo>
                  <a:lnTo>
                    <a:pt x="710" y="12"/>
                  </a:lnTo>
                  <a:lnTo>
                    <a:pt x="714" y="8"/>
                  </a:lnTo>
                  <a:lnTo>
                    <a:pt x="718" y="4"/>
                  </a:lnTo>
                  <a:lnTo>
                    <a:pt x="722" y="4"/>
                  </a:lnTo>
                  <a:lnTo>
                    <a:pt x="725" y="4"/>
                  </a:lnTo>
                  <a:lnTo>
                    <a:pt x="729" y="4"/>
                  </a:lnTo>
                  <a:lnTo>
                    <a:pt x="729" y="0"/>
                  </a:lnTo>
                  <a:lnTo>
                    <a:pt x="733" y="0"/>
                  </a:lnTo>
                  <a:lnTo>
                    <a:pt x="737" y="0"/>
                  </a:lnTo>
                  <a:lnTo>
                    <a:pt x="741" y="0"/>
                  </a:lnTo>
                  <a:lnTo>
                    <a:pt x="745" y="0"/>
                  </a:lnTo>
                  <a:lnTo>
                    <a:pt x="749" y="0"/>
                  </a:lnTo>
                  <a:lnTo>
                    <a:pt x="753" y="0"/>
                  </a:lnTo>
                  <a:lnTo>
                    <a:pt x="757" y="0"/>
                  </a:lnTo>
                  <a:lnTo>
                    <a:pt x="761" y="0"/>
                  </a:lnTo>
                  <a:lnTo>
                    <a:pt x="765" y="0"/>
                  </a:lnTo>
                  <a:lnTo>
                    <a:pt x="765" y="4"/>
                  </a:lnTo>
                  <a:lnTo>
                    <a:pt x="769" y="4"/>
                  </a:lnTo>
                  <a:lnTo>
                    <a:pt x="769" y="8"/>
                  </a:lnTo>
                  <a:lnTo>
                    <a:pt x="773" y="8"/>
                  </a:lnTo>
                  <a:lnTo>
                    <a:pt x="777" y="8"/>
                  </a:lnTo>
                  <a:lnTo>
                    <a:pt x="781" y="8"/>
                  </a:lnTo>
                  <a:lnTo>
                    <a:pt x="785" y="8"/>
                  </a:lnTo>
                  <a:lnTo>
                    <a:pt x="789" y="8"/>
                  </a:lnTo>
                  <a:lnTo>
                    <a:pt x="789" y="12"/>
                  </a:lnTo>
                  <a:lnTo>
                    <a:pt x="793" y="16"/>
                  </a:lnTo>
                  <a:lnTo>
                    <a:pt x="797" y="16"/>
                  </a:lnTo>
                  <a:lnTo>
                    <a:pt x="793" y="16"/>
                  </a:lnTo>
                  <a:lnTo>
                    <a:pt x="793" y="20"/>
                  </a:lnTo>
                  <a:lnTo>
                    <a:pt x="797" y="20"/>
                  </a:lnTo>
                  <a:lnTo>
                    <a:pt x="797" y="24"/>
                  </a:lnTo>
                  <a:lnTo>
                    <a:pt x="797" y="28"/>
                  </a:lnTo>
                  <a:lnTo>
                    <a:pt x="801" y="28"/>
                  </a:lnTo>
                  <a:lnTo>
                    <a:pt x="801" y="32"/>
                  </a:lnTo>
                  <a:lnTo>
                    <a:pt x="801" y="36"/>
                  </a:lnTo>
                  <a:lnTo>
                    <a:pt x="801" y="40"/>
                  </a:lnTo>
                  <a:lnTo>
                    <a:pt x="805" y="40"/>
                  </a:lnTo>
                  <a:lnTo>
                    <a:pt x="805" y="44"/>
                  </a:lnTo>
                  <a:lnTo>
                    <a:pt x="805" y="48"/>
                  </a:lnTo>
                  <a:lnTo>
                    <a:pt x="809" y="48"/>
                  </a:lnTo>
                  <a:lnTo>
                    <a:pt x="805" y="48"/>
                  </a:lnTo>
                  <a:lnTo>
                    <a:pt x="805" y="52"/>
                  </a:lnTo>
                  <a:lnTo>
                    <a:pt x="809" y="52"/>
                  </a:lnTo>
                  <a:lnTo>
                    <a:pt x="809" y="48"/>
                  </a:lnTo>
                  <a:lnTo>
                    <a:pt x="809" y="52"/>
                  </a:lnTo>
                  <a:lnTo>
                    <a:pt x="809" y="56"/>
                  </a:lnTo>
                  <a:lnTo>
                    <a:pt x="809" y="60"/>
                  </a:lnTo>
                  <a:lnTo>
                    <a:pt x="813" y="60"/>
                  </a:lnTo>
                  <a:lnTo>
                    <a:pt x="813" y="64"/>
                  </a:lnTo>
                  <a:lnTo>
                    <a:pt x="813" y="68"/>
                  </a:lnTo>
                  <a:lnTo>
                    <a:pt x="813" y="72"/>
                  </a:lnTo>
                  <a:lnTo>
                    <a:pt x="817" y="72"/>
                  </a:lnTo>
                  <a:lnTo>
                    <a:pt x="817" y="76"/>
                  </a:lnTo>
                  <a:lnTo>
                    <a:pt x="817" y="80"/>
                  </a:lnTo>
                  <a:lnTo>
                    <a:pt x="817" y="84"/>
                  </a:lnTo>
                  <a:lnTo>
                    <a:pt x="821" y="84"/>
                  </a:lnTo>
                  <a:lnTo>
                    <a:pt x="821" y="88"/>
                  </a:lnTo>
                  <a:lnTo>
                    <a:pt x="825" y="88"/>
                  </a:lnTo>
                  <a:lnTo>
                    <a:pt x="829" y="88"/>
                  </a:lnTo>
                  <a:lnTo>
                    <a:pt x="833" y="88"/>
                  </a:lnTo>
                  <a:lnTo>
                    <a:pt x="837" y="88"/>
                  </a:lnTo>
                  <a:lnTo>
                    <a:pt x="837" y="92"/>
                  </a:lnTo>
                  <a:lnTo>
                    <a:pt x="841" y="92"/>
                  </a:lnTo>
                  <a:lnTo>
                    <a:pt x="845" y="92"/>
                  </a:lnTo>
                  <a:lnTo>
                    <a:pt x="849" y="92"/>
                  </a:lnTo>
                  <a:lnTo>
                    <a:pt x="849" y="96"/>
                  </a:lnTo>
                  <a:lnTo>
                    <a:pt x="853" y="100"/>
                  </a:lnTo>
                  <a:lnTo>
                    <a:pt x="857" y="104"/>
                  </a:lnTo>
                  <a:lnTo>
                    <a:pt x="861" y="104"/>
                  </a:lnTo>
                  <a:lnTo>
                    <a:pt x="865" y="104"/>
                  </a:lnTo>
                  <a:lnTo>
                    <a:pt x="865" y="108"/>
                  </a:lnTo>
                  <a:lnTo>
                    <a:pt x="861" y="108"/>
                  </a:lnTo>
                  <a:lnTo>
                    <a:pt x="865" y="112"/>
                  </a:lnTo>
                  <a:lnTo>
                    <a:pt x="865" y="116"/>
                  </a:lnTo>
                  <a:lnTo>
                    <a:pt x="865" y="120"/>
                  </a:lnTo>
                  <a:lnTo>
                    <a:pt x="865" y="124"/>
                  </a:lnTo>
                  <a:lnTo>
                    <a:pt x="869" y="124"/>
                  </a:lnTo>
                  <a:lnTo>
                    <a:pt x="869" y="128"/>
                  </a:lnTo>
                  <a:lnTo>
                    <a:pt x="869" y="132"/>
                  </a:lnTo>
                  <a:lnTo>
                    <a:pt x="873" y="128"/>
                  </a:lnTo>
                  <a:lnTo>
                    <a:pt x="877" y="128"/>
                  </a:lnTo>
                  <a:lnTo>
                    <a:pt x="877" y="132"/>
                  </a:lnTo>
                  <a:lnTo>
                    <a:pt x="881" y="132"/>
                  </a:lnTo>
                  <a:lnTo>
                    <a:pt x="885" y="132"/>
                  </a:lnTo>
                  <a:lnTo>
                    <a:pt x="885" y="128"/>
                  </a:lnTo>
                  <a:lnTo>
                    <a:pt x="889" y="128"/>
                  </a:lnTo>
                  <a:lnTo>
                    <a:pt x="893" y="128"/>
                  </a:lnTo>
                  <a:lnTo>
                    <a:pt x="893" y="124"/>
                  </a:lnTo>
                  <a:lnTo>
                    <a:pt x="897" y="124"/>
                  </a:lnTo>
                  <a:lnTo>
                    <a:pt x="901" y="120"/>
                  </a:lnTo>
                  <a:lnTo>
                    <a:pt x="905" y="120"/>
                  </a:lnTo>
                  <a:lnTo>
                    <a:pt x="909" y="120"/>
                  </a:lnTo>
                  <a:lnTo>
                    <a:pt x="913" y="116"/>
                  </a:lnTo>
                  <a:lnTo>
                    <a:pt x="917" y="116"/>
                  </a:lnTo>
                  <a:lnTo>
                    <a:pt x="921" y="116"/>
                  </a:lnTo>
                  <a:lnTo>
                    <a:pt x="925" y="116"/>
                  </a:lnTo>
                  <a:lnTo>
                    <a:pt x="925" y="120"/>
                  </a:lnTo>
                  <a:lnTo>
                    <a:pt x="925" y="124"/>
                  </a:lnTo>
                  <a:lnTo>
                    <a:pt x="925" y="128"/>
                  </a:lnTo>
                  <a:lnTo>
                    <a:pt x="925" y="136"/>
                  </a:lnTo>
                  <a:lnTo>
                    <a:pt x="921" y="136"/>
                  </a:lnTo>
                  <a:lnTo>
                    <a:pt x="917" y="136"/>
                  </a:lnTo>
                  <a:lnTo>
                    <a:pt x="917" y="140"/>
                  </a:lnTo>
                  <a:lnTo>
                    <a:pt x="917" y="144"/>
                  </a:lnTo>
                  <a:lnTo>
                    <a:pt x="917" y="148"/>
                  </a:lnTo>
                  <a:lnTo>
                    <a:pt x="917" y="152"/>
                  </a:lnTo>
                  <a:lnTo>
                    <a:pt x="913" y="152"/>
                  </a:lnTo>
                  <a:lnTo>
                    <a:pt x="913" y="156"/>
                  </a:lnTo>
                  <a:lnTo>
                    <a:pt x="913" y="160"/>
                  </a:lnTo>
                  <a:lnTo>
                    <a:pt x="913" y="164"/>
                  </a:lnTo>
                  <a:lnTo>
                    <a:pt x="909" y="164"/>
                  </a:lnTo>
                  <a:lnTo>
                    <a:pt x="909" y="168"/>
                  </a:lnTo>
                  <a:lnTo>
                    <a:pt x="909" y="172"/>
                  </a:lnTo>
                  <a:lnTo>
                    <a:pt x="909" y="176"/>
                  </a:lnTo>
                  <a:lnTo>
                    <a:pt x="905" y="176"/>
                  </a:lnTo>
                  <a:lnTo>
                    <a:pt x="901" y="176"/>
                  </a:lnTo>
                  <a:lnTo>
                    <a:pt x="901" y="180"/>
                  </a:lnTo>
                  <a:lnTo>
                    <a:pt x="901" y="184"/>
                  </a:lnTo>
                  <a:lnTo>
                    <a:pt x="901" y="188"/>
                  </a:lnTo>
                  <a:lnTo>
                    <a:pt x="897" y="188"/>
                  </a:lnTo>
                  <a:lnTo>
                    <a:pt x="893" y="184"/>
                  </a:lnTo>
                  <a:lnTo>
                    <a:pt x="889" y="184"/>
                  </a:lnTo>
                  <a:lnTo>
                    <a:pt x="885" y="184"/>
                  </a:lnTo>
                  <a:lnTo>
                    <a:pt x="885" y="180"/>
                  </a:lnTo>
                  <a:lnTo>
                    <a:pt x="881" y="180"/>
                  </a:lnTo>
                  <a:lnTo>
                    <a:pt x="881" y="184"/>
                  </a:lnTo>
                  <a:lnTo>
                    <a:pt x="881" y="188"/>
                  </a:lnTo>
                  <a:lnTo>
                    <a:pt x="877" y="188"/>
                  </a:lnTo>
                  <a:lnTo>
                    <a:pt x="873" y="188"/>
                  </a:lnTo>
                  <a:lnTo>
                    <a:pt x="873" y="192"/>
                  </a:lnTo>
                  <a:lnTo>
                    <a:pt x="873" y="188"/>
                  </a:lnTo>
                  <a:lnTo>
                    <a:pt x="869" y="192"/>
                  </a:lnTo>
                  <a:lnTo>
                    <a:pt x="869" y="196"/>
                  </a:lnTo>
                  <a:lnTo>
                    <a:pt x="873" y="196"/>
                  </a:lnTo>
                  <a:lnTo>
                    <a:pt x="873" y="204"/>
                  </a:lnTo>
                  <a:lnTo>
                    <a:pt x="873" y="208"/>
                  </a:lnTo>
                  <a:lnTo>
                    <a:pt x="873" y="212"/>
                  </a:lnTo>
                  <a:lnTo>
                    <a:pt x="873" y="220"/>
                  </a:lnTo>
                  <a:lnTo>
                    <a:pt x="873" y="224"/>
                  </a:lnTo>
                  <a:lnTo>
                    <a:pt x="873" y="228"/>
                  </a:lnTo>
                  <a:lnTo>
                    <a:pt x="873" y="232"/>
                  </a:lnTo>
                  <a:lnTo>
                    <a:pt x="869" y="232"/>
                  </a:lnTo>
                  <a:lnTo>
                    <a:pt x="869" y="236"/>
                  </a:lnTo>
                  <a:lnTo>
                    <a:pt x="869" y="232"/>
                  </a:lnTo>
                  <a:lnTo>
                    <a:pt x="865" y="232"/>
                  </a:lnTo>
                  <a:lnTo>
                    <a:pt x="865" y="236"/>
                  </a:lnTo>
                  <a:lnTo>
                    <a:pt x="861" y="236"/>
                  </a:lnTo>
                  <a:lnTo>
                    <a:pt x="865" y="240"/>
                  </a:lnTo>
                  <a:lnTo>
                    <a:pt x="865" y="243"/>
                  </a:lnTo>
                  <a:lnTo>
                    <a:pt x="861" y="243"/>
                  </a:lnTo>
                  <a:lnTo>
                    <a:pt x="861" y="240"/>
                  </a:lnTo>
                  <a:lnTo>
                    <a:pt x="857" y="236"/>
                  </a:lnTo>
                  <a:lnTo>
                    <a:pt x="857" y="232"/>
                  </a:lnTo>
                  <a:lnTo>
                    <a:pt x="853" y="232"/>
                  </a:lnTo>
                  <a:lnTo>
                    <a:pt x="853" y="236"/>
                  </a:lnTo>
                  <a:lnTo>
                    <a:pt x="849" y="236"/>
                  </a:lnTo>
                  <a:lnTo>
                    <a:pt x="849" y="240"/>
                  </a:lnTo>
                  <a:lnTo>
                    <a:pt x="849" y="243"/>
                  </a:lnTo>
                  <a:lnTo>
                    <a:pt x="845" y="243"/>
                  </a:lnTo>
                  <a:lnTo>
                    <a:pt x="841" y="243"/>
                  </a:lnTo>
                  <a:lnTo>
                    <a:pt x="841" y="247"/>
                  </a:lnTo>
                  <a:lnTo>
                    <a:pt x="841" y="251"/>
                  </a:lnTo>
                  <a:lnTo>
                    <a:pt x="837" y="251"/>
                  </a:lnTo>
                  <a:lnTo>
                    <a:pt x="833" y="251"/>
                  </a:lnTo>
                  <a:lnTo>
                    <a:pt x="829" y="251"/>
                  </a:lnTo>
                  <a:lnTo>
                    <a:pt x="825" y="251"/>
                  </a:lnTo>
                  <a:lnTo>
                    <a:pt x="825" y="255"/>
                  </a:lnTo>
                  <a:lnTo>
                    <a:pt x="825" y="259"/>
                  </a:lnTo>
                  <a:lnTo>
                    <a:pt x="829" y="259"/>
                  </a:lnTo>
                  <a:lnTo>
                    <a:pt x="829" y="263"/>
                  </a:lnTo>
                  <a:lnTo>
                    <a:pt x="825" y="263"/>
                  </a:lnTo>
                  <a:lnTo>
                    <a:pt x="821" y="263"/>
                  </a:lnTo>
                  <a:lnTo>
                    <a:pt x="817" y="263"/>
                  </a:lnTo>
                  <a:lnTo>
                    <a:pt x="813" y="263"/>
                  </a:lnTo>
                  <a:lnTo>
                    <a:pt x="813" y="259"/>
                  </a:lnTo>
                  <a:lnTo>
                    <a:pt x="809" y="259"/>
                  </a:lnTo>
                  <a:lnTo>
                    <a:pt x="809" y="255"/>
                  </a:lnTo>
                  <a:lnTo>
                    <a:pt x="805" y="255"/>
                  </a:lnTo>
                  <a:lnTo>
                    <a:pt x="805" y="259"/>
                  </a:lnTo>
                  <a:lnTo>
                    <a:pt x="801" y="259"/>
                  </a:lnTo>
                  <a:lnTo>
                    <a:pt x="801" y="263"/>
                  </a:lnTo>
                  <a:lnTo>
                    <a:pt x="801" y="267"/>
                  </a:lnTo>
                  <a:lnTo>
                    <a:pt x="797" y="267"/>
                  </a:lnTo>
                  <a:lnTo>
                    <a:pt x="797" y="271"/>
                  </a:lnTo>
                  <a:lnTo>
                    <a:pt x="793" y="275"/>
                  </a:lnTo>
                  <a:lnTo>
                    <a:pt x="789" y="275"/>
                  </a:lnTo>
                  <a:lnTo>
                    <a:pt x="789" y="279"/>
                  </a:lnTo>
                  <a:lnTo>
                    <a:pt x="785" y="279"/>
                  </a:lnTo>
                  <a:lnTo>
                    <a:pt x="781" y="279"/>
                  </a:lnTo>
                  <a:lnTo>
                    <a:pt x="781" y="283"/>
                  </a:lnTo>
                  <a:lnTo>
                    <a:pt x="777" y="283"/>
                  </a:lnTo>
                  <a:lnTo>
                    <a:pt x="781" y="283"/>
                  </a:lnTo>
                  <a:lnTo>
                    <a:pt x="777" y="283"/>
                  </a:lnTo>
                  <a:lnTo>
                    <a:pt x="773" y="287"/>
                  </a:lnTo>
                  <a:lnTo>
                    <a:pt x="769" y="291"/>
                  </a:lnTo>
                  <a:lnTo>
                    <a:pt x="769" y="295"/>
                  </a:lnTo>
                  <a:lnTo>
                    <a:pt x="765" y="295"/>
                  </a:lnTo>
                  <a:lnTo>
                    <a:pt x="761" y="295"/>
                  </a:lnTo>
                  <a:lnTo>
                    <a:pt x="757" y="295"/>
                  </a:lnTo>
                  <a:lnTo>
                    <a:pt x="757" y="299"/>
                  </a:lnTo>
                  <a:lnTo>
                    <a:pt x="753" y="299"/>
                  </a:lnTo>
                  <a:lnTo>
                    <a:pt x="753" y="295"/>
                  </a:lnTo>
                  <a:lnTo>
                    <a:pt x="753" y="299"/>
                  </a:lnTo>
                  <a:lnTo>
                    <a:pt x="749" y="299"/>
                  </a:lnTo>
                  <a:lnTo>
                    <a:pt x="745" y="303"/>
                  </a:lnTo>
                  <a:lnTo>
                    <a:pt x="741" y="303"/>
                  </a:lnTo>
                  <a:lnTo>
                    <a:pt x="741" y="307"/>
                  </a:lnTo>
                  <a:lnTo>
                    <a:pt x="737" y="303"/>
                  </a:lnTo>
                  <a:lnTo>
                    <a:pt x="737" y="307"/>
                  </a:lnTo>
                  <a:lnTo>
                    <a:pt x="733" y="311"/>
                  </a:lnTo>
                  <a:lnTo>
                    <a:pt x="729" y="311"/>
                  </a:lnTo>
                  <a:lnTo>
                    <a:pt x="729" y="315"/>
                  </a:lnTo>
                  <a:lnTo>
                    <a:pt x="725" y="319"/>
                  </a:lnTo>
                  <a:lnTo>
                    <a:pt x="722" y="319"/>
                  </a:lnTo>
                  <a:lnTo>
                    <a:pt x="722" y="315"/>
                  </a:lnTo>
                  <a:lnTo>
                    <a:pt x="725" y="315"/>
                  </a:lnTo>
                  <a:lnTo>
                    <a:pt x="725" y="311"/>
                  </a:lnTo>
                  <a:lnTo>
                    <a:pt x="729" y="311"/>
                  </a:lnTo>
                  <a:lnTo>
                    <a:pt x="725" y="311"/>
                  </a:lnTo>
                  <a:lnTo>
                    <a:pt x="725" y="307"/>
                  </a:lnTo>
                  <a:lnTo>
                    <a:pt x="729" y="307"/>
                  </a:lnTo>
                  <a:lnTo>
                    <a:pt x="725" y="307"/>
                  </a:lnTo>
                  <a:lnTo>
                    <a:pt x="725" y="303"/>
                  </a:lnTo>
                  <a:lnTo>
                    <a:pt x="722" y="303"/>
                  </a:lnTo>
                  <a:lnTo>
                    <a:pt x="725" y="299"/>
                  </a:lnTo>
                  <a:lnTo>
                    <a:pt x="725" y="295"/>
                  </a:lnTo>
                  <a:lnTo>
                    <a:pt x="729" y="295"/>
                  </a:lnTo>
                  <a:lnTo>
                    <a:pt x="733" y="291"/>
                  </a:lnTo>
                  <a:lnTo>
                    <a:pt x="733" y="287"/>
                  </a:lnTo>
                  <a:lnTo>
                    <a:pt x="737" y="287"/>
                  </a:lnTo>
                  <a:lnTo>
                    <a:pt x="737" y="283"/>
                  </a:lnTo>
                  <a:lnTo>
                    <a:pt x="733" y="279"/>
                  </a:lnTo>
                  <a:lnTo>
                    <a:pt x="733" y="275"/>
                  </a:lnTo>
                  <a:lnTo>
                    <a:pt x="729" y="275"/>
                  </a:lnTo>
                  <a:lnTo>
                    <a:pt x="725" y="275"/>
                  </a:lnTo>
                  <a:lnTo>
                    <a:pt x="722" y="275"/>
                  </a:lnTo>
                  <a:lnTo>
                    <a:pt x="718" y="275"/>
                  </a:lnTo>
                  <a:lnTo>
                    <a:pt x="718" y="279"/>
                  </a:lnTo>
                  <a:lnTo>
                    <a:pt x="714" y="283"/>
                  </a:lnTo>
                  <a:lnTo>
                    <a:pt x="710" y="283"/>
                  </a:lnTo>
                  <a:lnTo>
                    <a:pt x="710" y="287"/>
                  </a:lnTo>
                  <a:lnTo>
                    <a:pt x="706" y="291"/>
                  </a:lnTo>
                  <a:lnTo>
                    <a:pt x="702" y="291"/>
                  </a:lnTo>
                  <a:lnTo>
                    <a:pt x="702" y="295"/>
                  </a:lnTo>
                  <a:lnTo>
                    <a:pt x="698" y="295"/>
                  </a:lnTo>
                  <a:lnTo>
                    <a:pt x="694" y="299"/>
                  </a:lnTo>
                  <a:lnTo>
                    <a:pt x="694" y="303"/>
                  </a:lnTo>
                  <a:lnTo>
                    <a:pt x="694" y="307"/>
                  </a:lnTo>
                  <a:lnTo>
                    <a:pt x="690" y="307"/>
                  </a:lnTo>
                  <a:lnTo>
                    <a:pt x="690" y="311"/>
                  </a:lnTo>
                  <a:lnTo>
                    <a:pt x="686" y="311"/>
                  </a:lnTo>
                  <a:lnTo>
                    <a:pt x="682" y="311"/>
                  </a:lnTo>
                  <a:lnTo>
                    <a:pt x="678" y="311"/>
                  </a:lnTo>
                  <a:lnTo>
                    <a:pt x="674" y="311"/>
                  </a:lnTo>
                  <a:lnTo>
                    <a:pt x="674" y="307"/>
                  </a:lnTo>
                  <a:lnTo>
                    <a:pt x="670" y="311"/>
                  </a:lnTo>
                  <a:lnTo>
                    <a:pt x="666" y="315"/>
                  </a:lnTo>
                  <a:lnTo>
                    <a:pt x="666" y="319"/>
                  </a:lnTo>
                  <a:lnTo>
                    <a:pt x="666" y="323"/>
                  </a:lnTo>
                  <a:lnTo>
                    <a:pt x="666" y="327"/>
                  </a:lnTo>
                  <a:lnTo>
                    <a:pt x="670" y="327"/>
                  </a:lnTo>
                  <a:lnTo>
                    <a:pt x="670" y="331"/>
                  </a:lnTo>
                  <a:lnTo>
                    <a:pt x="674" y="331"/>
                  </a:lnTo>
                  <a:lnTo>
                    <a:pt x="678" y="331"/>
                  </a:lnTo>
                  <a:lnTo>
                    <a:pt x="682" y="331"/>
                  </a:lnTo>
                  <a:lnTo>
                    <a:pt x="686" y="331"/>
                  </a:lnTo>
                  <a:lnTo>
                    <a:pt x="686" y="335"/>
                  </a:lnTo>
                  <a:lnTo>
                    <a:pt x="690" y="335"/>
                  </a:lnTo>
                  <a:lnTo>
                    <a:pt x="690" y="339"/>
                  </a:lnTo>
                  <a:lnTo>
                    <a:pt x="690" y="343"/>
                  </a:lnTo>
                  <a:lnTo>
                    <a:pt x="686" y="343"/>
                  </a:lnTo>
                  <a:lnTo>
                    <a:pt x="686" y="347"/>
                  </a:lnTo>
                  <a:lnTo>
                    <a:pt x="690" y="351"/>
                  </a:lnTo>
                  <a:lnTo>
                    <a:pt x="694" y="351"/>
                  </a:lnTo>
                  <a:lnTo>
                    <a:pt x="698" y="351"/>
                  </a:lnTo>
                  <a:lnTo>
                    <a:pt x="702" y="351"/>
                  </a:lnTo>
                  <a:lnTo>
                    <a:pt x="702" y="347"/>
                  </a:lnTo>
                  <a:lnTo>
                    <a:pt x="706" y="347"/>
                  </a:lnTo>
                  <a:lnTo>
                    <a:pt x="706" y="343"/>
                  </a:lnTo>
                  <a:lnTo>
                    <a:pt x="710" y="343"/>
                  </a:lnTo>
                  <a:lnTo>
                    <a:pt x="710" y="339"/>
                  </a:lnTo>
                  <a:lnTo>
                    <a:pt x="714" y="339"/>
                  </a:lnTo>
                  <a:lnTo>
                    <a:pt x="718" y="339"/>
                  </a:lnTo>
                  <a:lnTo>
                    <a:pt x="722" y="343"/>
                  </a:lnTo>
                  <a:lnTo>
                    <a:pt x="725" y="343"/>
                  </a:lnTo>
                  <a:lnTo>
                    <a:pt x="725" y="347"/>
                  </a:lnTo>
                  <a:lnTo>
                    <a:pt x="729" y="347"/>
                  </a:lnTo>
                  <a:lnTo>
                    <a:pt x="733" y="347"/>
                  </a:lnTo>
                  <a:lnTo>
                    <a:pt x="733" y="343"/>
                  </a:lnTo>
                  <a:lnTo>
                    <a:pt x="737" y="343"/>
                  </a:lnTo>
                  <a:lnTo>
                    <a:pt x="733" y="343"/>
                  </a:lnTo>
                  <a:lnTo>
                    <a:pt x="737" y="347"/>
                  </a:lnTo>
                  <a:lnTo>
                    <a:pt x="741" y="347"/>
                  </a:lnTo>
                  <a:lnTo>
                    <a:pt x="741" y="351"/>
                  </a:lnTo>
                  <a:lnTo>
                    <a:pt x="737" y="355"/>
                  </a:lnTo>
                  <a:lnTo>
                    <a:pt x="741" y="355"/>
                  </a:lnTo>
                  <a:lnTo>
                    <a:pt x="737" y="359"/>
                  </a:lnTo>
                  <a:lnTo>
                    <a:pt x="737" y="355"/>
                  </a:lnTo>
                  <a:lnTo>
                    <a:pt x="733" y="355"/>
                  </a:lnTo>
                  <a:lnTo>
                    <a:pt x="729" y="359"/>
                  </a:lnTo>
                  <a:lnTo>
                    <a:pt x="725" y="359"/>
                  </a:lnTo>
                  <a:lnTo>
                    <a:pt x="722" y="359"/>
                  </a:lnTo>
                  <a:lnTo>
                    <a:pt x="722" y="363"/>
                  </a:lnTo>
                  <a:lnTo>
                    <a:pt x="718" y="363"/>
                  </a:lnTo>
                  <a:lnTo>
                    <a:pt x="714" y="363"/>
                  </a:lnTo>
                  <a:lnTo>
                    <a:pt x="718" y="363"/>
                  </a:lnTo>
                  <a:lnTo>
                    <a:pt x="718" y="367"/>
                  </a:lnTo>
                  <a:lnTo>
                    <a:pt x="714" y="367"/>
                  </a:lnTo>
                  <a:lnTo>
                    <a:pt x="714" y="371"/>
                  </a:lnTo>
                  <a:lnTo>
                    <a:pt x="710" y="375"/>
                  </a:lnTo>
                  <a:lnTo>
                    <a:pt x="706" y="375"/>
                  </a:lnTo>
                  <a:lnTo>
                    <a:pt x="710" y="371"/>
                  </a:lnTo>
                  <a:lnTo>
                    <a:pt x="706" y="371"/>
                  </a:lnTo>
                  <a:lnTo>
                    <a:pt x="706" y="375"/>
                  </a:lnTo>
                  <a:lnTo>
                    <a:pt x="706" y="379"/>
                  </a:lnTo>
                  <a:lnTo>
                    <a:pt x="702" y="379"/>
                  </a:lnTo>
                  <a:lnTo>
                    <a:pt x="702" y="383"/>
                  </a:lnTo>
                  <a:lnTo>
                    <a:pt x="698" y="383"/>
                  </a:lnTo>
                  <a:lnTo>
                    <a:pt x="698" y="387"/>
                  </a:lnTo>
                  <a:lnTo>
                    <a:pt x="694" y="387"/>
                  </a:lnTo>
                  <a:lnTo>
                    <a:pt x="694" y="391"/>
                  </a:lnTo>
                  <a:lnTo>
                    <a:pt x="694" y="395"/>
                  </a:lnTo>
                  <a:lnTo>
                    <a:pt x="690" y="395"/>
                  </a:lnTo>
                  <a:lnTo>
                    <a:pt x="690" y="399"/>
                  </a:lnTo>
                  <a:lnTo>
                    <a:pt x="694" y="399"/>
                  </a:lnTo>
                  <a:lnTo>
                    <a:pt x="694" y="403"/>
                  </a:lnTo>
                  <a:lnTo>
                    <a:pt x="698" y="403"/>
                  </a:lnTo>
                  <a:lnTo>
                    <a:pt x="702" y="407"/>
                  </a:lnTo>
                  <a:lnTo>
                    <a:pt x="706" y="407"/>
                  </a:lnTo>
                  <a:lnTo>
                    <a:pt x="710" y="411"/>
                  </a:lnTo>
                  <a:lnTo>
                    <a:pt x="710" y="415"/>
                  </a:lnTo>
                  <a:lnTo>
                    <a:pt x="710" y="419"/>
                  </a:lnTo>
                  <a:lnTo>
                    <a:pt x="710" y="423"/>
                  </a:lnTo>
                  <a:lnTo>
                    <a:pt x="714" y="427"/>
                  </a:lnTo>
                  <a:lnTo>
                    <a:pt x="714" y="431"/>
                  </a:lnTo>
                  <a:lnTo>
                    <a:pt x="718" y="435"/>
                  </a:lnTo>
                  <a:lnTo>
                    <a:pt x="718" y="439"/>
                  </a:lnTo>
                  <a:lnTo>
                    <a:pt x="718" y="443"/>
                  </a:lnTo>
                  <a:lnTo>
                    <a:pt x="722" y="443"/>
                  </a:lnTo>
                  <a:lnTo>
                    <a:pt x="722" y="447"/>
                  </a:lnTo>
                  <a:lnTo>
                    <a:pt x="725" y="447"/>
                  </a:lnTo>
                  <a:lnTo>
                    <a:pt x="725" y="451"/>
                  </a:lnTo>
                  <a:lnTo>
                    <a:pt x="729" y="455"/>
                  </a:lnTo>
                  <a:lnTo>
                    <a:pt x="729" y="459"/>
                  </a:lnTo>
                  <a:lnTo>
                    <a:pt x="733" y="459"/>
                  </a:lnTo>
                  <a:lnTo>
                    <a:pt x="733" y="463"/>
                  </a:lnTo>
                  <a:lnTo>
                    <a:pt x="729" y="463"/>
                  </a:lnTo>
                  <a:lnTo>
                    <a:pt x="729" y="459"/>
                  </a:lnTo>
                  <a:lnTo>
                    <a:pt x="725" y="459"/>
                  </a:lnTo>
                  <a:lnTo>
                    <a:pt x="722" y="459"/>
                  </a:lnTo>
                  <a:lnTo>
                    <a:pt x="718" y="459"/>
                  </a:lnTo>
                  <a:lnTo>
                    <a:pt x="718" y="455"/>
                  </a:lnTo>
                  <a:lnTo>
                    <a:pt x="714" y="455"/>
                  </a:lnTo>
                  <a:lnTo>
                    <a:pt x="710" y="451"/>
                  </a:lnTo>
                  <a:lnTo>
                    <a:pt x="710" y="455"/>
                  </a:lnTo>
                  <a:lnTo>
                    <a:pt x="706" y="455"/>
                  </a:lnTo>
                  <a:lnTo>
                    <a:pt x="702" y="455"/>
                  </a:lnTo>
                  <a:lnTo>
                    <a:pt x="702" y="451"/>
                  </a:lnTo>
                  <a:lnTo>
                    <a:pt x="702" y="447"/>
                  </a:lnTo>
                  <a:lnTo>
                    <a:pt x="698" y="447"/>
                  </a:lnTo>
                  <a:lnTo>
                    <a:pt x="698" y="451"/>
                  </a:lnTo>
                  <a:lnTo>
                    <a:pt x="702" y="451"/>
                  </a:lnTo>
                  <a:lnTo>
                    <a:pt x="698" y="451"/>
                  </a:lnTo>
                  <a:lnTo>
                    <a:pt x="702" y="451"/>
                  </a:lnTo>
                  <a:lnTo>
                    <a:pt x="702" y="455"/>
                  </a:lnTo>
                  <a:lnTo>
                    <a:pt x="706" y="455"/>
                  </a:lnTo>
                  <a:lnTo>
                    <a:pt x="710" y="455"/>
                  </a:lnTo>
                  <a:lnTo>
                    <a:pt x="714" y="455"/>
                  </a:lnTo>
                  <a:lnTo>
                    <a:pt x="714" y="459"/>
                  </a:lnTo>
                  <a:lnTo>
                    <a:pt x="718" y="459"/>
                  </a:lnTo>
                  <a:lnTo>
                    <a:pt x="722" y="459"/>
                  </a:lnTo>
                  <a:lnTo>
                    <a:pt x="722" y="463"/>
                  </a:lnTo>
                  <a:lnTo>
                    <a:pt x="725" y="467"/>
                  </a:lnTo>
                  <a:lnTo>
                    <a:pt x="729" y="467"/>
                  </a:lnTo>
                  <a:lnTo>
                    <a:pt x="729" y="471"/>
                  </a:lnTo>
                  <a:lnTo>
                    <a:pt x="729" y="475"/>
                  </a:lnTo>
                  <a:lnTo>
                    <a:pt x="733" y="475"/>
                  </a:lnTo>
                  <a:lnTo>
                    <a:pt x="733" y="479"/>
                  </a:lnTo>
                  <a:lnTo>
                    <a:pt x="729" y="479"/>
                  </a:lnTo>
                  <a:lnTo>
                    <a:pt x="725" y="479"/>
                  </a:lnTo>
                  <a:lnTo>
                    <a:pt x="722" y="479"/>
                  </a:lnTo>
                  <a:lnTo>
                    <a:pt x="722" y="483"/>
                  </a:lnTo>
                  <a:lnTo>
                    <a:pt x="718" y="483"/>
                  </a:lnTo>
                  <a:lnTo>
                    <a:pt x="718" y="487"/>
                  </a:lnTo>
                  <a:lnTo>
                    <a:pt x="714" y="487"/>
                  </a:lnTo>
                  <a:lnTo>
                    <a:pt x="710" y="487"/>
                  </a:lnTo>
                  <a:lnTo>
                    <a:pt x="706" y="491"/>
                  </a:lnTo>
                  <a:lnTo>
                    <a:pt x="710" y="491"/>
                  </a:lnTo>
                  <a:lnTo>
                    <a:pt x="710" y="487"/>
                  </a:lnTo>
                  <a:lnTo>
                    <a:pt x="714" y="491"/>
                  </a:lnTo>
                  <a:lnTo>
                    <a:pt x="714" y="495"/>
                  </a:lnTo>
                  <a:lnTo>
                    <a:pt x="714" y="491"/>
                  </a:lnTo>
                  <a:lnTo>
                    <a:pt x="718" y="491"/>
                  </a:lnTo>
                  <a:lnTo>
                    <a:pt x="722" y="487"/>
                  </a:lnTo>
                  <a:lnTo>
                    <a:pt x="725" y="487"/>
                  </a:lnTo>
                  <a:lnTo>
                    <a:pt x="725" y="491"/>
                  </a:lnTo>
                  <a:lnTo>
                    <a:pt x="729" y="495"/>
                  </a:lnTo>
                  <a:lnTo>
                    <a:pt x="733" y="495"/>
                  </a:lnTo>
                  <a:lnTo>
                    <a:pt x="733" y="499"/>
                  </a:lnTo>
                  <a:lnTo>
                    <a:pt x="729" y="499"/>
                  </a:lnTo>
                  <a:lnTo>
                    <a:pt x="729" y="503"/>
                  </a:lnTo>
                  <a:lnTo>
                    <a:pt x="725" y="503"/>
                  </a:lnTo>
                  <a:lnTo>
                    <a:pt x="725" y="507"/>
                  </a:lnTo>
                  <a:lnTo>
                    <a:pt x="725" y="503"/>
                  </a:lnTo>
                  <a:lnTo>
                    <a:pt x="729" y="503"/>
                  </a:lnTo>
                  <a:lnTo>
                    <a:pt x="733" y="503"/>
                  </a:lnTo>
                  <a:lnTo>
                    <a:pt x="733" y="507"/>
                  </a:lnTo>
                  <a:lnTo>
                    <a:pt x="733" y="511"/>
                  </a:lnTo>
                  <a:lnTo>
                    <a:pt x="729" y="511"/>
                  </a:lnTo>
                  <a:lnTo>
                    <a:pt x="729" y="507"/>
                  </a:lnTo>
                  <a:lnTo>
                    <a:pt x="729" y="511"/>
                  </a:lnTo>
                  <a:lnTo>
                    <a:pt x="725" y="511"/>
                  </a:lnTo>
                  <a:lnTo>
                    <a:pt x="725" y="507"/>
                  </a:lnTo>
                  <a:lnTo>
                    <a:pt x="725" y="511"/>
                  </a:lnTo>
                  <a:lnTo>
                    <a:pt x="729" y="511"/>
                  </a:lnTo>
                  <a:lnTo>
                    <a:pt x="729" y="515"/>
                  </a:lnTo>
                  <a:lnTo>
                    <a:pt x="725" y="515"/>
                  </a:lnTo>
                  <a:lnTo>
                    <a:pt x="729" y="519"/>
                  </a:lnTo>
                  <a:lnTo>
                    <a:pt x="725" y="519"/>
                  </a:lnTo>
                  <a:lnTo>
                    <a:pt x="722" y="519"/>
                  </a:lnTo>
                  <a:lnTo>
                    <a:pt x="725" y="519"/>
                  </a:lnTo>
                  <a:lnTo>
                    <a:pt x="725" y="523"/>
                  </a:lnTo>
                  <a:lnTo>
                    <a:pt x="725" y="527"/>
                  </a:lnTo>
                  <a:lnTo>
                    <a:pt x="729" y="527"/>
                  </a:lnTo>
                  <a:lnTo>
                    <a:pt x="725" y="527"/>
                  </a:lnTo>
                  <a:lnTo>
                    <a:pt x="725" y="531"/>
                  </a:lnTo>
                  <a:lnTo>
                    <a:pt x="722" y="531"/>
                  </a:lnTo>
                  <a:lnTo>
                    <a:pt x="722" y="527"/>
                  </a:lnTo>
                  <a:lnTo>
                    <a:pt x="722" y="531"/>
                  </a:lnTo>
                  <a:lnTo>
                    <a:pt x="718" y="531"/>
                  </a:lnTo>
                  <a:lnTo>
                    <a:pt x="718" y="535"/>
                  </a:lnTo>
                  <a:lnTo>
                    <a:pt x="714" y="531"/>
                  </a:lnTo>
                  <a:lnTo>
                    <a:pt x="714" y="535"/>
                  </a:lnTo>
                  <a:lnTo>
                    <a:pt x="718" y="535"/>
                  </a:lnTo>
                  <a:lnTo>
                    <a:pt x="714" y="535"/>
                  </a:lnTo>
                  <a:lnTo>
                    <a:pt x="714" y="539"/>
                  </a:lnTo>
                  <a:lnTo>
                    <a:pt x="714" y="543"/>
                  </a:lnTo>
                  <a:lnTo>
                    <a:pt x="714" y="547"/>
                  </a:lnTo>
                  <a:lnTo>
                    <a:pt x="710" y="547"/>
                  </a:lnTo>
                  <a:lnTo>
                    <a:pt x="710" y="551"/>
                  </a:lnTo>
                  <a:lnTo>
                    <a:pt x="710" y="547"/>
                  </a:lnTo>
                  <a:lnTo>
                    <a:pt x="710" y="551"/>
                  </a:lnTo>
                  <a:lnTo>
                    <a:pt x="710" y="547"/>
                  </a:lnTo>
                  <a:lnTo>
                    <a:pt x="706" y="547"/>
                  </a:lnTo>
                  <a:lnTo>
                    <a:pt x="710" y="547"/>
                  </a:lnTo>
                  <a:lnTo>
                    <a:pt x="710" y="551"/>
                  </a:lnTo>
                  <a:lnTo>
                    <a:pt x="706" y="551"/>
                  </a:lnTo>
                  <a:lnTo>
                    <a:pt x="706" y="555"/>
                  </a:lnTo>
                  <a:lnTo>
                    <a:pt x="702" y="555"/>
                  </a:lnTo>
                  <a:lnTo>
                    <a:pt x="706" y="555"/>
                  </a:lnTo>
                  <a:lnTo>
                    <a:pt x="706" y="559"/>
                  </a:lnTo>
                  <a:lnTo>
                    <a:pt x="702" y="559"/>
                  </a:lnTo>
                  <a:lnTo>
                    <a:pt x="702" y="563"/>
                  </a:lnTo>
                  <a:lnTo>
                    <a:pt x="702" y="559"/>
                  </a:lnTo>
                  <a:lnTo>
                    <a:pt x="706" y="559"/>
                  </a:lnTo>
                  <a:lnTo>
                    <a:pt x="702" y="555"/>
                  </a:lnTo>
                  <a:lnTo>
                    <a:pt x="702" y="559"/>
                  </a:lnTo>
                  <a:lnTo>
                    <a:pt x="702" y="555"/>
                  </a:lnTo>
                  <a:lnTo>
                    <a:pt x="698" y="555"/>
                  </a:lnTo>
                  <a:lnTo>
                    <a:pt x="698" y="559"/>
                  </a:lnTo>
                  <a:lnTo>
                    <a:pt x="698" y="555"/>
                  </a:lnTo>
                  <a:lnTo>
                    <a:pt x="698" y="559"/>
                  </a:lnTo>
                  <a:lnTo>
                    <a:pt x="698" y="563"/>
                  </a:lnTo>
                  <a:lnTo>
                    <a:pt x="698" y="559"/>
                  </a:lnTo>
                  <a:lnTo>
                    <a:pt x="702" y="563"/>
                  </a:lnTo>
                  <a:lnTo>
                    <a:pt x="698" y="563"/>
                  </a:lnTo>
                  <a:lnTo>
                    <a:pt x="698" y="567"/>
                  </a:lnTo>
                  <a:lnTo>
                    <a:pt x="702" y="563"/>
                  </a:lnTo>
                  <a:lnTo>
                    <a:pt x="702" y="567"/>
                  </a:lnTo>
                  <a:lnTo>
                    <a:pt x="698" y="567"/>
                  </a:lnTo>
                  <a:lnTo>
                    <a:pt x="698" y="571"/>
                  </a:lnTo>
                  <a:lnTo>
                    <a:pt x="694" y="571"/>
                  </a:lnTo>
                  <a:lnTo>
                    <a:pt x="690" y="571"/>
                  </a:lnTo>
                  <a:lnTo>
                    <a:pt x="694" y="571"/>
                  </a:lnTo>
                  <a:lnTo>
                    <a:pt x="694" y="575"/>
                  </a:lnTo>
                  <a:lnTo>
                    <a:pt x="694" y="571"/>
                  </a:lnTo>
                  <a:lnTo>
                    <a:pt x="698" y="571"/>
                  </a:lnTo>
                  <a:lnTo>
                    <a:pt x="698" y="575"/>
                  </a:lnTo>
                  <a:lnTo>
                    <a:pt x="698" y="579"/>
                  </a:lnTo>
                  <a:lnTo>
                    <a:pt x="694" y="579"/>
                  </a:lnTo>
                  <a:lnTo>
                    <a:pt x="698" y="579"/>
                  </a:lnTo>
                  <a:lnTo>
                    <a:pt x="698" y="583"/>
                  </a:lnTo>
                  <a:lnTo>
                    <a:pt x="698" y="587"/>
                  </a:lnTo>
                  <a:lnTo>
                    <a:pt x="698" y="583"/>
                  </a:lnTo>
                  <a:lnTo>
                    <a:pt x="694" y="583"/>
                  </a:lnTo>
                  <a:lnTo>
                    <a:pt x="694" y="579"/>
                  </a:lnTo>
                  <a:lnTo>
                    <a:pt x="694" y="583"/>
                  </a:lnTo>
                  <a:lnTo>
                    <a:pt x="690" y="583"/>
                  </a:lnTo>
                  <a:lnTo>
                    <a:pt x="694" y="587"/>
                  </a:lnTo>
                  <a:lnTo>
                    <a:pt x="690" y="591"/>
                  </a:lnTo>
                  <a:lnTo>
                    <a:pt x="690" y="587"/>
                  </a:lnTo>
                  <a:lnTo>
                    <a:pt x="686" y="587"/>
                  </a:lnTo>
                  <a:lnTo>
                    <a:pt x="686" y="591"/>
                  </a:lnTo>
                  <a:lnTo>
                    <a:pt x="690" y="591"/>
                  </a:lnTo>
                  <a:lnTo>
                    <a:pt x="686" y="595"/>
                  </a:lnTo>
                  <a:lnTo>
                    <a:pt x="682" y="595"/>
                  </a:lnTo>
                  <a:lnTo>
                    <a:pt x="686" y="595"/>
                  </a:lnTo>
                  <a:lnTo>
                    <a:pt x="682" y="591"/>
                  </a:lnTo>
                  <a:lnTo>
                    <a:pt x="682" y="595"/>
                  </a:lnTo>
                  <a:lnTo>
                    <a:pt x="686" y="595"/>
                  </a:lnTo>
                  <a:lnTo>
                    <a:pt x="682" y="599"/>
                  </a:lnTo>
                  <a:lnTo>
                    <a:pt x="678" y="599"/>
                  </a:lnTo>
                  <a:lnTo>
                    <a:pt x="674" y="599"/>
                  </a:lnTo>
                  <a:lnTo>
                    <a:pt x="674" y="603"/>
                  </a:lnTo>
                  <a:lnTo>
                    <a:pt x="670" y="603"/>
                  </a:lnTo>
                  <a:lnTo>
                    <a:pt x="674" y="603"/>
                  </a:lnTo>
                  <a:lnTo>
                    <a:pt x="674" y="607"/>
                  </a:lnTo>
                  <a:lnTo>
                    <a:pt x="670" y="611"/>
                  </a:lnTo>
                  <a:lnTo>
                    <a:pt x="666" y="611"/>
                  </a:lnTo>
                  <a:lnTo>
                    <a:pt x="666" y="615"/>
                  </a:lnTo>
                  <a:lnTo>
                    <a:pt x="662" y="615"/>
                  </a:lnTo>
                  <a:lnTo>
                    <a:pt x="662" y="619"/>
                  </a:lnTo>
                  <a:lnTo>
                    <a:pt x="658" y="619"/>
                  </a:lnTo>
                  <a:lnTo>
                    <a:pt x="654" y="619"/>
                  </a:lnTo>
                  <a:lnTo>
                    <a:pt x="654" y="623"/>
                  </a:lnTo>
                  <a:lnTo>
                    <a:pt x="650" y="623"/>
                  </a:lnTo>
                  <a:lnTo>
                    <a:pt x="654" y="623"/>
                  </a:lnTo>
                  <a:lnTo>
                    <a:pt x="654" y="627"/>
                  </a:lnTo>
                  <a:lnTo>
                    <a:pt x="650" y="627"/>
                  </a:lnTo>
                  <a:lnTo>
                    <a:pt x="650" y="631"/>
                  </a:lnTo>
                  <a:lnTo>
                    <a:pt x="646" y="631"/>
                  </a:lnTo>
                  <a:lnTo>
                    <a:pt x="646" y="635"/>
                  </a:lnTo>
                  <a:lnTo>
                    <a:pt x="642" y="631"/>
                  </a:lnTo>
                  <a:lnTo>
                    <a:pt x="642" y="635"/>
                  </a:lnTo>
                  <a:lnTo>
                    <a:pt x="638" y="635"/>
                  </a:lnTo>
                  <a:lnTo>
                    <a:pt x="638" y="631"/>
                  </a:lnTo>
                  <a:lnTo>
                    <a:pt x="634" y="635"/>
                  </a:lnTo>
                  <a:lnTo>
                    <a:pt x="638" y="635"/>
                  </a:lnTo>
                  <a:lnTo>
                    <a:pt x="634" y="635"/>
                  </a:lnTo>
                  <a:lnTo>
                    <a:pt x="630" y="635"/>
                  </a:lnTo>
                  <a:lnTo>
                    <a:pt x="626" y="635"/>
                  </a:lnTo>
                  <a:lnTo>
                    <a:pt x="626" y="639"/>
                  </a:lnTo>
                  <a:lnTo>
                    <a:pt x="622" y="639"/>
                  </a:lnTo>
                  <a:lnTo>
                    <a:pt x="622" y="635"/>
                  </a:lnTo>
                  <a:lnTo>
                    <a:pt x="626" y="635"/>
                  </a:lnTo>
                  <a:lnTo>
                    <a:pt x="622" y="635"/>
                  </a:lnTo>
                  <a:lnTo>
                    <a:pt x="622" y="639"/>
                  </a:lnTo>
                  <a:lnTo>
                    <a:pt x="618" y="639"/>
                  </a:lnTo>
                  <a:lnTo>
                    <a:pt x="614" y="639"/>
                  </a:lnTo>
                  <a:lnTo>
                    <a:pt x="618" y="639"/>
                  </a:lnTo>
                  <a:lnTo>
                    <a:pt x="618" y="643"/>
                  </a:lnTo>
                  <a:lnTo>
                    <a:pt x="614" y="643"/>
                  </a:lnTo>
                  <a:lnTo>
                    <a:pt x="610" y="643"/>
                  </a:lnTo>
                  <a:lnTo>
                    <a:pt x="610" y="639"/>
                  </a:lnTo>
                  <a:lnTo>
                    <a:pt x="614" y="639"/>
                  </a:lnTo>
                  <a:lnTo>
                    <a:pt x="610" y="639"/>
                  </a:lnTo>
                  <a:lnTo>
                    <a:pt x="610" y="635"/>
                  </a:lnTo>
                  <a:lnTo>
                    <a:pt x="606" y="631"/>
                  </a:lnTo>
                  <a:lnTo>
                    <a:pt x="606" y="627"/>
                  </a:lnTo>
                  <a:lnTo>
                    <a:pt x="610" y="627"/>
                  </a:lnTo>
                  <a:lnTo>
                    <a:pt x="606" y="627"/>
                  </a:lnTo>
                  <a:lnTo>
                    <a:pt x="606" y="631"/>
                  </a:lnTo>
                  <a:lnTo>
                    <a:pt x="602" y="631"/>
                  </a:lnTo>
                  <a:lnTo>
                    <a:pt x="606" y="635"/>
                  </a:lnTo>
                  <a:lnTo>
                    <a:pt x="602" y="635"/>
                  </a:lnTo>
                  <a:lnTo>
                    <a:pt x="606" y="635"/>
                  </a:lnTo>
                  <a:lnTo>
                    <a:pt x="606" y="639"/>
                  </a:lnTo>
                  <a:lnTo>
                    <a:pt x="606" y="643"/>
                  </a:lnTo>
                  <a:lnTo>
                    <a:pt x="606" y="647"/>
                  </a:lnTo>
                  <a:lnTo>
                    <a:pt x="602" y="647"/>
                  </a:lnTo>
                  <a:lnTo>
                    <a:pt x="602" y="643"/>
                  </a:lnTo>
                  <a:lnTo>
                    <a:pt x="602" y="639"/>
                  </a:lnTo>
                  <a:lnTo>
                    <a:pt x="598" y="639"/>
                  </a:lnTo>
                  <a:lnTo>
                    <a:pt x="602" y="639"/>
                  </a:lnTo>
                  <a:lnTo>
                    <a:pt x="602" y="643"/>
                  </a:lnTo>
                  <a:lnTo>
                    <a:pt x="602" y="647"/>
                  </a:lnTo>
                  <a:lnTo>
                    <a:pt x="598" y="647"/>
                  </a:lnTo>
                  <a:lnTo>
                    <a:pt x="598" y="643"/>
                  </a:lnTo>
                  <a:lnTo>
                    <a:pt x="598" y="647"/>
                  </a:lnTo>
                  <a:lnTo>
                    <a:pt x="598" y="651"/>
                  </a:lnTo>
                  <a:lnTo>
                    <a:pt x="594" y="651"/>
                  </a:lnTo>
                  <a:lnTo>
                    <a:pt x="590" y="651"/>
                  </a:lnTo>
                  <a:lnTo>
                    <a:pt x="590" y="655"/>
                  </a:lnTo>
                  <a:lnTo>
                    <a:pt x="590" y="651"/>
                  </a:lnTo>
                  <a:lnTo>
                    <a:pt x="586" y="655"/>
                  </a:lnTo>
                  <a:lnTo>
                    <a:pt x="582" y="651"/>
                  </a:lnTo>
                  <a:lnTo>
                    <a:pt x="582" y="655"/>
                  </a:lnTo>
                  <a:lnTo>
                    <a:pt x="578" y="655"/>
                  </a:lnTo>
                  <a:lnTo>
                    <a:pt x="578" y="659"/>
                  </a:lnTo>
                  <a:lnTo>
                    <a:pt x="574" y="659"/>
                  </a:lnTo>
                  <a:lnTo>
                    <a:pt x="570" y="659"/>
                  </a:lnTo>
                  <a:lnTo>
                    <a:pt x="566" y="659"/>
                  </a:lnTo>
                  <a:lnTo>
                    <a:pt x="562" y="659"/>
                  </a:lnTo>
                  <a:lnTo>
                    <a:pt x="562" y="663"/>
                  </a:lnTo>
                  <a:lnTo>
                    <a:pt x="562" y="659"/>
                  </a:lnTo>
                  <a:lnTo>
                    <a:pt x="562" y="663"/>
                  </a:lnTo>
                  <a:lnTo>
                    <a:pt x="558" y="663"/>
                  </a:lnTo>
                  <a:lnTo>
                    <a:pt x="558" y="659"/>
                  </a:lnTo>
                  <a:lnTo>
                    <a:pt x="558" y="663"/>
                  </a:lnTo>
                  <a:lnTo>
                    <a:pt x="558" y="667"/>
                  </a:lnTo>
                  <a:lnTo>
                    <a:pt x="554" y="667"/>
                  </a:lnTo>
                  <a:lnTo>
                    <a:pt x="554" y="671"/>
                  </a:lnTo>
                  <a:lnTo>
                    <a:pt x="558" y="671"/>
                  </a:lnTo>
                  <a:lnTo>
                    <a:pt x="558" y="675"/>
                  </a:lnTo>
                  <a:lnTo>
                    <a:pt x="558" y="671"/>
                  </a:lnTo>
                  <a:lnTo>
                    <a:pt x="558" y="675"/>
                  </a:lnTo>
                  <a:lnTo>
                    <a:pt x="558" y="678"/>
                  </a:lnTo>
                  <a:lnTo>
                    <a:pt x="558" y="682"/>
                  </a:lnTo>
                  <a:lnTo>
                    <a:pt x="554" y="682"/>
                  </a:lnTo>
                  <a:lnTo>
                    <a:pt x="550" y="682"/>
                  </a:lnTo>
                  <a:lnTo>
                    <a:pt x="550" y="678"/>
                  </a:lnTo>
                  <a:lnTo>
                    <a:pt x="546" y="675"/>
                  </a:lnTo>
                  <a:lnTo>
                    <a:pt x="546" y="671"/>
                  </a:lnTo>
                  <a:lnTo>
                    <a:pt x="546" y="667"/>
                  </a:lnTo>
                  <a:lnTo>
                    <a:pt x="550" y="663"/>
                  </a:lnTo>
                  <a:lnTo>
                    <a:pt x="550" y="659"/>
                  </a:lnTo>
                  <a:lnTo>
                    <a:pt x="550" y="655"/>
                  </a:lnTo>
                  <a:lnTo>
                    <a:pt x="546" y="655"/>
                  </a:lnTo>
                  <a:lnTo>
                    <a:pt x="546" y="659"/>
                  </a:lnTo>
                  <a:lnTo>
                    <a:pt x="550" y="659"/>
                  </a:lnTo>
                  <a:lnTo>
                    <a:pt x="546" y="659"/>
                  </a:lnTo>
                  <a:lnTo>
                    <a:pt x="546" y="655"/>
                  </a:lnTo>
                  <a:lnTo>
                    <a:pt x="546" y="659"/>
                  </a:lnTo>
                  <a:lnTo>
                    <a:pt x="542" y="659"/>
                  </a:lnTo>
                  <a:lnTo>
                    <a:pt x="538" y="659"/>
                  </a:lnTo>
                  <a:lnTo>
                    <a:pt x="538" y="655"/>
                  </a:lnTo>
                  <a:lnTo>
                    <a:pt x="534" y="655"/>
                  </a:lnTo>
                  <a:lnTo>
                    <a:pt x="534" y="651"/>
                  </a:lnTo>
                  <a:lnTo>
                    <a:pt x="534" y="655"/>
                  </a:lnTo>
                  <a:lnTo>
                    <a:pt x="530" y="655"/>
                  </a:lnTo>
                  <a:lnTo>
                    <a:pt x="530" y="651"/>
                  </a:lnTo>
                  <a:lnTo>
                    <a:pt x="530" y="655"/>
                  </a:lnTo>
                  <a:lnTo>
                    <a:pt x="530" y="659"/>
                  </a:lnTo>
                  <a:lnTo>
                    <a:pt x="526" y="659"/>
                  </a:lnTo>
                  <a:lnTo>
                    <a:pt x="526" y="655"/>
                  </a:lnTo>
                  <a:lnTo>
                    <a:pt x="530" y="655"/>
                  </a:lnTo>
                  <a:lnTo>
                    <a:pt x="526" y="655"/>
                  </a:lnTo>
                  <a:lnTo>
                    <a:pt x="526" y="659"/>
                  </a:lnTo>
                  <a:lnTo>
                    <a:pt x="526" y="655"/>
                  </a:lnTo>
                  <a:lnTo>
                    <a:pt x="522" y="659"/>
                  </a:lnTo>
                  <a:lnTo>
                    <a:pt x="522" y="655"/>
                  </a:lnTo>
                  <a:lnTo>
                    <a:pt x="518" y="655"/>
                  </a:lnTo>
                  <a:lnTo>
                    <a:pt x="514" y="655"/>
                  </a:lnTo>
                  <a:lnTo>
                    <a:pt x="510" y="655"/>
                  </a:lnTo>
                  <a:lnTo>
                    <a:pt x="506" y="651"/>
                  </a:lnTo>
                  <a:lnTo>
                    <a:pt x="502" y="647"/>
                  </a:lnTo>
                  <a:lnTo>
                    <a:pt x="502" y="643"/>
                  </a:lnTo>
                  <a:lnTo>
                    <a:pt x="498" y="643"/>
                  </a:lnTo>
                  <a:lnTo>
                    <a:pt x="498" y="639"/>
                  </a:lnTo>
                  <a:lnTo>
                    <a:pt x="502" y="639"/>
                  </a:lnTo>
                  <a:lnTo>
                    <a:pt x="502" y="635"/>
                  </a:lnTo>
                  <a:lnTo>
                    <a:pt x="502" y="631"/>
                  </a:lnTo>
                  <a:lnTo>
                    <a:pt x="498" y="631"/>
                  </a:lnTo>
                  <a:lnTo>
                    <a:pt x="494" y="631"/>
                  </a:lnTo>
                  <a:lnTo>
                    <a:pt x="490" y="631"/>
                  </a:lnTo>
                  <a:lnTo>
                    <a:pt x="486" y="631"/>
                  </a:lnTo>
                  <a:lnTo>
                    <a:pt x="486" y="627"/>
                  </a:lnTo>
                  <a:lnTo>
                    <a:pt x="482" y="627"/>
                  </a:lnTo>
                  <a:lnTo>
                    <a:pt x="482" y="623"/>
                  </a:lnTo>
                  <a:lnTo>
                    <a:pt x="478" y="623"/>
                  </a:lnTo>
                  <a:lnTo>
                    <a:pt x="474" y="627"/>
                  </a:lnTo>
                  <a:lnTo>
                    <a:pt x="474" y="631"/>
                  </a:lnTo>
                  <a:lnTo>
                    <a:pt x="470" y="635"/>
                  </a:lnTo>
                  <a:lnTo>
                    <a:pt x="466" y="635"/>
                  </a:lnTo>
                  <a:lnTo>
                    <a:pt x="462" y="635"/>
                  </a:lnTo>
                  <a:lnTo>
                    <a:pt x="462" y="639"/>
                  </a:lnTo>
                  <a:lnTo>
                    <a:pt x="458" y="639"/>
                  </a:lnTo>
                  <a:lnTo>
                    <a:pt x="458" y="635"/>
                  </a:lnTo>
                  <a:lnTo>
                    <a:pt x="454" y="635"/>
                  </a:lnTo>
                  <a:lnTo>
                    <a:pt x="454" y="639"/>
                  </a:lnTo>
                  <a:lnTo>
                    <a:pt x="454" y="635"/>
                  </a:lnTo>
                  <a:lnTo>
                    <a:pt x="450" y="635"/>
                  </a:lnTo>
                  <a:lnTo>
                    <a:pt x="450" y="639"/>
                  </a:lnTo>
                  <a:lnTo>
                    <a:pt x="446" y="639"/>
                  </a:lnTo>
                  <a:lnTo>
                    <a:pt x="442" y="639"/>
                  </a:lnTo>
                  <a:lnTo>
                    <a:pt x="442" y="635"/>
                  </a:lnTo>
                  <a:lnTo>
                    <a:pt x="438" y="635"/>
                  </a:lnTo>
                  <a:lnTo>
                    <a:pt x="438" y="639"/>
                  </a:lnTo>
                  <a:lnTo>
                    <a:pt x="434" y="639"/>
                  </a:lnTo>
                  <a:lnTo>
                    <a:pt x="434" y="643"/>
                  </a:lnTo>
                  <a:lnTo>
                    <a:pt x="434" y="639"/>
                  </a:lnTo>
                  <a:lnTo>
                    <a:pt x="430" y="639"/>
                  </a:lnTo>
                  <a:lnTo>
                    <a:pt x="426" y="639"/>
                  </a:lnTo>
                  <a:lnTo>
                    <a:pt x="426" y="643"/>
                  </a:lnTo>
                  <a:lnTo>
                    <a:pt x="422" y="643"/>
                  </a:lnTo>
                  <a:lnTo>
                    <a:pt x="426" y="651"/>
                  </a:lnTo>
                  <a:lnTo>
                    <a:pt x="426" y="655"/>
                  </a:lnTo>
                  <a:lnTo>
                    <a:pt x="426" y="659"/>
                  </a:lnTo>
                  <a:lnTo>
                    <a:pt x="426" y="663"/>
                  </a:lnTo>
                  <a:lnTo>
                    <a:pt x="430" y="663"/>
                  </a:lnTo>
                  <a:lnTo>
                    <a:pt x="426" y="663"/>
                  </a:lnTo>
                  <a:lnTo>
                    <a:pt x="426" y="667"/>
                  </a:lnTo>
                  <a:lnTo>
                    <a:pt x="426" y="663"/>
                  </a:lnTo>
                  <a:lnTo>
                    <a:pt x="422" y="663"/>
                  </a:lnTo>
                  <a:lnTo>
                    <a:pt x="418" y="663"/>
                  </a:lnTo>
                  <a:lnTo>
                    <a:pt x="418" y="659"/>
                  </a:lnTo>
                  <a:lnTo>
                    <a:pt x="418" y="655"/>
                  </a:lnTo>
                  <a:lnTo>
                    <a:pt x="414" y="655"/>
                  </a:lnTo>
                  <a:lnTo>
                    <a:pt x="410" y="659"/>
                  </a:lnTo>
                  <a:lnTo>
                    <a:pt x="406" y="659"/>
                  </a:lnTo>
                  <a:lnTo>
                    <a:pt x="402" y="659"/>
                  </a:lnTo>
                  <a:lnTo>
                    <a:pt x="402" y="655"/>
                  </a:lnTo>
                  <a:lnTo>
                    <a:pt x="398" y="655"/>
                  </a:lnTo>
                  <a:lnTo>
                    <a:pt x="398" y="651"/>
                  </a:lnTo>
                  <a:lnTo>
                    <a:pt x="398" y="647"/>
                  </a:lnTo>
                  <a:lnTo>
                    <a:pt x="394" y="647"/>
                  </a:lnTo>
                  <a:lnTo>
                    <a:pt x="390" y="647"/>
                  </a:lnTo>
                  <a:lnTo>
                    <a:pt x="386" y="647"/>
                  </a:lnTo>
                  <a:lnTo>
                    <a:pt x="390" y="643"/>
                  </a:lnTo>
                  <a:lnTo>
                    <a:pt x="390" y="639"/>
                  </a:lnTo>
                  <a:lnTo>
                    <a:pt x="390" y="635"/>
                  </a:lnTo>
                  <a:lnTo>
                    <a:pt x="390" y="631"/>
                  </a:lnTo>
                  <a:lnTo>
                    <a:pt x="394" y="631"/>
                  </a:lnTo>
                  <a:lnTo>
                    <a:pt x="394" y="627"/>
                  </a:lnTo>
                  <a:lnTo>
                    <a:pt x="390" y="627"/>
                  </a:lnTo>
                  <a:lnTo>
                    <a:pt x="386" y="627"/>
                  </a:lnTo>
                  <a:lnTo>
                    <a:pt x="382" y="627"/>
                  </a:lnTo>
                  <a:lnTo>
                    <a:pt x="382" y="623"/>
                  </a:lnTo>
                  <a:lnTo>
                    <a:pt x="382" y="619"/>
                  </a:lnTo>
                  <a:lnTo>
                    <a:pt x="382" y="615"/>
                  </a:lnTo>
                  <a:lnTo>
                    <a:pt x="378" y="611"/>
                  </a:lnTo>
                  <a:lnTo>
                    <a:pt x="382" y="611"/>
                  </a:lnTo>
                  <a:lnTo>
                    <a:pt x="382" y="607"/>
                  </a:lnTo>
                  <a:lnTo>
                    <a:pt x="378" y="607"/>
                  </a:lnTo>
                  <a:lnTo>
                    <a:pt x="374" y="607"/>
                  </a:lnTo>
                  <a:lnTo>
                    <a:pt x="371" y="607"/>
                  </a:lnTo>
                  <a:lnTo>
                    <a:pt x="371" y="611"/>
                  </a:lnTo>
                  <a:lnTo>
                    <a:pt x="367" y="611"/>
                  </a:lnTo>
                  <a:lnTo>
                    <a:pt x="367" y="615"/>
                  </a:lnTo>
                  <a:close/>
                  <a:moveTo>
                    <a:pt x="706" y="619"/>
                  </a:moveTo>
                  <a:lnTo>
                    <a:pt x="706" y="615"/>
                  </a:lnTo>
                  <a:lnTo>
                    <a:pt x="706" y="611"/>
                  </a:lnTo>
                  <a:lnTo>
                    <a:pt x="710" y="611"/>
                  </a:lnTo>
                  <a:lnTo>
                    <a:pt x="710" y="607"/>
                  </a:lnTo>
                  <a:lnTo>
                    <a:pt x="710" y="603"/>
                  </a:lnTo>
                  <a:lnTo>
                    <a:pt x="714" y="603"/>
                  </a:lnTo>
                  <a:lnTo>
                    <a:pt x="714" y="599"/>
                  </a:lnTo>
                  <a:lnTo>
                    <a:pt x="718" y="595"/>
                  </a:lnTo>
                  <a:lnTo>
                    <a:pt x="718" y="591"/>
                  </a:lnTo>
                  <a:lnTo>
                    <a:pt x="722" y="591"/>
                  </a:lnTo>
                  <a:lnTo>
                    <a:pt x="722" y="587"/>
                  </a:lnTo>
                  <a:lnTo>
                    <a:pt x="725" y="587"/>
                  </a:lnTo>
                  <a:lnTo>
                    <a:pt x="725" y="591"/>
                  </a:lnTo>
                  <a:lnTo>
                    <a:pt x="725" y="587"/>
                  </a:lnTo>
                  <a:lnTo>
                    <a:pt x="729" y="587"/>
                  </a:lnTo>
                  <a:lnTo>
                    <a:pt x="729" y="591"/>
                  </a:lnTo>
                  <a:lnTo>
                    <a:pt x="733" y="591"/>
                  </a:lnTo>
                  <a:lnTo>
                    <a:pt x="729" y="595"/>
                  </a:lnTo>
                  <a:lnTo>
                    <a:pt x="729" y="599"/>
                  </a:lnTo>
                  <a:lnTo>
                    <a:pt x="729" y="603"/>
                  </a:lnTo>
                  <a:lnTo>
                    <a:pt x="729" y="607"/>
                  </a:lnTo>
                  <a:lnTo>
                    <a:pt x="725" y="611"/>
                  </a:lnTo>
                  <a:lnTo>
                    <a:pt x="729" y="611"/>
                  </a:lnTo>
                  <a:lnTo>
                    <a:pt x="725" y="611"/>
                  </a:lnTo>
                  <a:lnTo>
                    <a:pt x="725" y="615"/>
                  </a:lnTo>
                  <a:lnTo>
                    <a:pt x="725" y="619"/>
                  </a:lnTo>
                  <a:lnTo>
                    <a:pt x="725" y="623"/>
                  </a:lnTo>
                  <a:lnTo>
                    <a:pt x="725" y="627"/>
                  </a:lnTo>
                  <a:lnTo>
                    <a:pt x="722" y="631"/>
                  </a:lnTo>
                  <a:lnTo>
                    <a:pt x="722" y="635"/>
                  </a:lnTo>
                  <a:lnTo>
                    <a:pt x="718" y="635"/>
                  </a:lnTo>
                  <a:lnTo>
                    <a:pt x="718" y="639"/>
                  </a:lnTo>
                  <a:lnTo>
                    <a:pt x="718" y="643"/>
                  </a:lnTo>
                  <a:lnTo>
                    <a:pt x="718" y="647"/>
                  </a:lnTo>
                  <a:lnTo>
                    <a:pt x="718" y="651"/>
                  </a:lnTo>
                  <a:lnTo>
                    <a:pt x="714" y="651"/>
                  </a:lnTo>
                  <a:lnTo>
                    <a:pt x="714" y="647"/>
                  </a:lnTo>
                  <a:lnTo>
                    <a:pt x="714" y="643"/>
                  </a:lnTo>
                  <a:lnTo>
                    <a:pt x="710" y="643"/>
                  </a:lnTo>
                  <a:lnTo>
                    <a:pt x="710" y="639"/>
                  </a:lnTo>
                  <a:lnTo>
                    <a:pt x="706" y="639"/>
                  </a:lnTo>
                  <a:lnTo>
                    <a:pt x="706" y="635"/>
                  </a:lnTo>
                  <a:lnTo>
                    <a:pt x="706" y="631"/>
                  </a:lnTo>
                  <a:lnTo>
                    <a:pt x="706" y="627"/>
                  </a:lnTo>
                  <a:lnTo>
                    <a:pt x="706" y="623"/>
                  </a:lnTo>
                  <a:lnTo>
                    <a:pt x="706" y="619"/>
                  </a:lnTo>
                  <a:close/>
                  <a:moveTo>
                    <a:pt x="546" y="718"/>
                  </a:moveTo>
                  <a:lnTo>
                    <a:pt x="546" y="722"/>
                  </a:lnTo>
                  <a:lnTo>
                    <a:pt x="546" y="718"/>
                  </a:lnTo>
                  <a:lnTo>
                    <a:pt x="542" y="718"/>
                  </a:lnTo>
                  <a:lnTo>
                    <a:pt x="538" y="718"/>
                  </a:lnTo>
                  <a:lnTo>
                    <a:pt x="534" y="718"/>
                  </a:lnTo>
                  <a:lnTo>
                    <a:pt x="534" y="714"/>
                  </a:lnTo>
                  <a:lnTo>
                    <a:pt x="530" y="714"/>
                  </a:lnTo>
                  <a:lnTo>
                    <a:pt x="530" y="710"/>
                  </a:lnTo>
                  <a:lnTo>
                    <a:pt x="534" y="710"/>
                  </a:lnTo>
                  <a:lnTo>
                    <a:pt x="530" y="710"/>
                  </a:lnTo>
                  <a:lnTo>
                    <a:pt x="530" y="706"/>
                  </a:lnTo>
                  <a:lnTo>
                    <a:pt x="530" y="702"/>
                  </a:lnTo>
                  <a:lnTo>
                    <a:pt x="530" y="698"/>
                  </a:lnTo>
                  <a:lnTo>
                    <a:pt x="534" y="698"/>
                  </a:lnTo>
                  <a:lnTo>
                    <a:pt x="534" y="694"/>
                  </a:lnTo>
                  <a:lnTo>
                    <a:pt x="538" y="694"/>
                  </a:lnTo>
                  <a:lnTo>
                    <a:pt x="542" y="690"/>
                  </a:lnTo>
                  <a:lnTo>
                    <a:pt x="538" y="690"/>
                  </a:lnTo>
                  <a:lnTo>
                    <a:pt x="542" y="686"/>
                  </a:lnTo>
                  <a:lnTo>
                    <a:pt x="542" y="690"/>
                  </a:lnTo>
                  <a:lnTo>
                    <a:pt x="546" y="690"/>
                  </a:lnTo>
                  <a:lnTo>
                    <a:pt x="546" y="686"/>
                  </a:lnTo>
                  <a:lnTo>
                    <a:pt x="550" y="686"/>
                  </a:lnTo>
                  <a:lnTo>
                    <a:pt x="554" y="686"/>
                  </a:lnTo>
                  <a:lnTo>
                    <a:pt x="558" y="686"/>
                  </a:lnTo>
                  <a:lnTo>
                    <a:pt x="562" y="686"/>
                  </a:lnTo>
                  <a:lnTo>
                    <a:pt x="562" y="682"/>
                  </a:lnTo>
                  <a:lnTo>
                    <a:pt x="562" y="686"/>
                  </a:lnTo>
                  <a:lnTo>
                    <a:pt x="566" y="686"/>
                  </a:lnTo>
                  <a:lnTo>
                    <a:pt x="566" y="694"/>
                  </a:lnTo>
                  <a:lnTo>
                    <a:pt x="562" y="698"/>
                  </a:lnTo>
                  <a:lnTo>
                    <a:pt x="562" y="702"/>
                  </a:lnTo>
                  <a:lnTo>
                    <a:pt x="558" y="702"/>
                  </a:lnTo>
                  <a:lnTo>
                    <a:pt x="562" y="702"/>
                  </a:lnTo>
                  <a:lnTo>
                    <a:pt x="558" y="706"/>
                  </a:lnTo>
                  <a:lnTo>
                    <a:pt x="558" y="710"/>
                  </a:lnTo>
                  <a:lnTo>
                    <a:pt x="554" y="710"/>
                  </a:lnTo>
                  <a:lnTo>
                    <a:pt x="554" y="714"/>
                  </a:lnTo>
                  <a:lnTo>
                    <a:pt x="554" y="718"/>
                  </a:lnTo>
                  <a:lnTo>
                    <a:pt x="550" y="718"/>
                  </a:lnTo>
                  <a:lnTo>
                    <a:pt x="550" y="714"/>
                  </a:lnTo>
                  <a:lnTo>
                    <a:pt x="550" y="718"/>
                  </a:lnTo>
                  <a:lnTo>
                    <a:pt x="546" y="718"/>
                  </a:lnTo>
                  <a:close/>
                  <a:moveTo>
                    <a:pt x="722" y="459"/>
                  </a:moveTo>
                  <a:lnTo>
                    <a:pt x="725" y="459"/>
                  </a:lnTo>
                  <a:lnTo>
                    <a:pt x="725" y="463"/>
                  </a:lnTo>
                  <a:lnTo>
                    <a:pt x="729" y="463"/>
                  </a:lnTo>
                  <a:lnTo>
                    <a:pt x="733" y="463"/>
                  </a:lnTo>
                  <a:lnTo>
                    <a:pt x="729" y="463"/>
                  </a:lnTo>
                  <a:lnTo>
                    <a:pt x="729" y="467"/>
                  </a:lnTo>
                  <a:lnTo>
                    <a:pt x="725" y="463"/>
                  </a:lnTo>
                  <a:lnTo>
                    <a:pt x="722" y="463"/>
                  </a:lnTo>
                  <a:lnTo>
                    <a:pt x="722" y="459"/>
                  </a:lnTo>
                  <a:close/>
                  <a:moveTo>
                    <a:pt x="733" y="495"/>
                  </a:moveTo>
                  <a:lnTo>
                    <a:pt x="733" y="491"/>
                  </a:lnTo>
                  <a:lnTo>
                    <a:pt x="737" y="491"/>
                  </a:lnTo>
                  <a:lnTo>
                    <a:pt x="737" y="495"/>
                  </a:lnTo>
                  <a:lnTo>
                    <a:pt x="733" y="495"/>
                  </a:lnTo>
                  <a:close/>
                  <a:moveTo>
                    <a:pt x="698" y="583"/>
                  </a:moveTo>
                  <a:lnTo>
                    <a:pt x="698" y="579"/>
                  </a:lnTo>
                  <a:lnTo>
                    <a:pt x="702" y="579"/>
                  </a:lnTo>
                  <a:lnTo>
                    <a:pt x="702" y="583"/>
                  </a:lnTo>
                  <a:lnTo>
                    <a:pt x="698" y="583"/>
                  </a:lnTo>
                  <a:close/>
                  <a:moveTo>
                    <a:pt x="666" y="615"/>
                  </a:moveTo>
                  <a:lnTo>
                    <a:pt x="666" y="619"/>
                  </a:lnTo>
                  <a:lnTo>
                    <a:pt x="662" y="619"/>
                  </a:lnTo>
                  <a:lnTo>
                    <a:pt x="662" y="615"/>
                  </a:lnTo>
                  <a:lnTo>
                    <a:pt x="666" y="615"/>
                  </a:lnTo>
                  <a:close/>
                  <a:moveTo>
                    <a:pt x="558" y="667"/>
                  </a:moveTo>
                  <a:lnTo>
                    <a:pt x="562" y="667"/>
                  </a:lnTo>
                  <a:lnTo>
                    <a:pt x="558" y="667"/>
                  </a:lnTo>
                  <a:lnTo>
                    <a:pt x="554" y="667"/>
                  </a:lnTo>
                  <a:lnTo>
                    <a:pt x="558" y="667"/>
                  </a:lnTo>
                  <a:close/>
                  <a:moveTo>
                    <a:pt x="725" y="307"/>
                  </a:moveTo>
                  <a:lnTo>
                    <a:pt x="722" y="307"/>
                  </a:lnTo>
                  <a:lnTo>
                    <a:pt x="722" y="303"/>
                  </a:lnTo>
                  <a:lnTo>
                    <a:pt x="725" y="303"/>
                  </a:lnTo>
                  <a:lnTo>
                    <a:pt x="725" y="307"/>
                  </a:lnTo>
                  <a:close/>
                  <a:moveTo>
                    <a:pt x="614" y="643"/>
                  </a:moveTo>
                  <a:lnTo>
                    <a:pt x="610" y="643"/>
                  </a:lnTo>
                  <a:lnTo>
                    <a:pt x="610" y="647"/>
                  </a:lnTo>
                  <a:lnTo>
                    <a:pt x="610" y="643"/>
                  </a:lnTo>
                  <a:lnTo>
                    <a:pt x="614" y="643"/>
                  </a:lnTo>
                  <a:close/>
                  <a:moveTo>
                    <a:pt x="698" y="451"/>
                  </a:moveTo>
                  <a:lnTo>
                    <a:pt x="702" y="451"/>
                  </a:lnTo>
                  <a:lnTo>
                    <a:pt x="702" y="455"/>
                  </a:lnTo>
                  <a:lnTo>
                    <a:pt x="702" y="451"/>
                  </a:lnTo>
                  <a:lnTo>
                    <a:pt x="698" y="451"/>
                  </a:lnTo>
                  <a:close/>
                  <a:moveTo>
                    <a:pt x="606" y="635"/>
                  </a:moveTo>
                  <a:lnTo>
                    <a:pt x="602" y="631"/>
                  </a:lnTo>
                  <a:lnTo>
                    <a:pt x="606" y="631"/>
                  </a:lnTo>
                  <a:lnTo>
                    <a:pt x="606" y="635"/>
                  </a:lnTo>
                  <a:close/>
                  <a:moveTo>
                    <a:pt x="678" y="603"/>
                  </a:moveTo>
                  <a:lnTo>
                    <a:pt x="678" y="599"/>
                  </a:lnTo>
                  <a:lnTo>
                    <a:pt x="678" y="603"/>
                  </a:lnTo>
                  <a:lnTo>
                    <a:pt x="682" y="603"/>
                  </a:lnTo>
                  <a:lnTo>
                    <a:pt x="678" y="603"/>
                  </a:lnTo>
                  <a:close/>
                  <a:moveTo>
                    <a:pt x="658" y="619"/>
                  </a:moveTo>
                  <a:lnTo>
                    <a:pt x="658" y="623"/>
                  </a:lnTo>
                  <a:lnTo>
                    <a:pt x="658" y="619"/>
                  </a:lnTo>
                  <a:close/>
                  <a:moveTo>
                    <a:pt x="578" y="659"/>
                  </a:moveTo>
                  <a:lnTo>
                    <a:pt x="578" y="655"/>
                  </a:lnTo>
                  <a:lnTo>
                    <a:pt x="582" y="655"/>
                  </a:lnTo>
                  <a:lnTo>
                    <a:pt x="578" y="659"/>
                  </a:lnTo>
                  <a:close/>
                  <a:moveTo>
                    <a:pt x="674" y="603"/>
                  </a:moveTo>
                  <a:lnTo>
                    <a:pt x="674" y="599"/>
                  </a:lnTo>
                  <a:lnTo>
                    <a:pt x="678" y="603"/>
                  </a:lnTo>
                  <a:lnTo>
                    <a:pt x="674" y="603"/>
                  </a:lnTo>
                  <a:close/>
                  <a:moveTo>
                    <a:pt x="558" y="663"/>
                  </a:moveTo>
                  <a:lnTo>
                    <a:pt x="562" y="663"/>
                  </a:lnTo>
                  <a:lnTo>
                    <a:pt x="562" y="667"/>
                  </a:lnTo>
                  <a:lnTo>
                    <a:pt x="558" y="667"/>
                  </a:lnTo>
                  <a:lnTo>
                    <a:pt x="558" y="663"/>
                  </a:lnTo>
                  <a:close/>
                  <a:moveTo>
                    <a:pt x="733" y="487"/>
                  </a:moveTo>
                  <a:lnTo>
                    <a:pt x="737" y="487"/>
                  </a:lnTo>
                  <a:lnTo>
                    <a:pt x="737" y="491"/>
                  </a:lnTo>
                  <a:lnTo>
                    <a:pt x="733" y="491"/>
                  </a:lnTo>
                  <a:lnTo>
                    <a:pt x="733" y="487"/>
                  </a:lnTo>
                  <a:close/>
                  <a:moveTo>
                    <a:pt x="733" y="499"/>
                  </a:moveTo>
                  <a:lnTo>
                    <a:pt x="737" y="499"/>
                  </a:lnTo>
                  <a:lnTo>
                    <a:pt x="737" y="503"/>
                  </a:lnTo>
                  <a:lnTo>
                    <a:pt x="733" y="499"/>
                  </a:lnTo>
                  <a:close/>
                  <a:moveTo>
                    <a:pt x="614" y="643"/>
                  </a:moveTo>
                  <a:lnTo>
                    <a:pt x="618" y="643"/>
                  </a:lnTo>
                  <a:lnTo>
                    <a:pt x="618" y="647"/>
                  </a:lnTo>
                  <a:lnTo>
                    <a:pt x="614" y="643"/>
                  </a:lnTo>
                  <a:lnTo>
                    <a:pt x="614" y="647"/>
                  </a:lnTo>
                  <a:lnTo>
                    <a:pt x="614" y="6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" name="Freeform 13"/>
            <p:cNvSpPr>
              <a:spLocks/>
            </p:cNvSpPr>
            <p:nvPr>
              <p:custDataLst>
                <p:tags r:id="rId209"/>
              </p:custDataLst>
            </p:nvPr>
          </p:nvSpPr>
          <p:spPr bwMode="gray">
            <a:xfrm>
              <a:off x="5096830" y="3597852"/>
              <a:ext cx="53390" cy="29661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6" y="0"/>
                </a:cxn>
                <a:cxn ang="0">
                  <a:pos x="36" y="0"/>
                </a:cxn>
                <a:cxn ang="0">
                  <a:pos x="32" y="4"/>
                </a:cxn>
                <a:cxn ang="0">
                  <a:pos x="28" y="4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6"/>
                </a:cxn>
                <a:cxn ang="0">
                  <a:pos x="20" y="16"/>
                </a:cxn>
              </a:cxnLst>
              <a:rect l="0" t="0" r="r" b="b"/>
              <a:pathLst>
                <a:path w="36" h="20">
                  <a:moveTo>
                    <a:pt x="16" y="16"/>
                  </a:move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" name="Freeform 14"/>
            <p:cNvSpPr>
              <a:spLocks/>
            </p:cNvSpPr>
            <p:nvPr>
              <p:custDataLst>
                <p:tags r:id="rId210"/>
              </p:custDataLst>
            </p:nvPr>
          </p:nvSpPr>
          <p:spPr bwMode="gray">
            <a:xfrm>
              <a:off x="5144288" y="3716497"/>
              <a:ext cx="5932" cy="1186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4" h="8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" name="Freeform 15"/>
            <p:cNvSpPr>
              <a:spLocks/>
            </p:cNvSpPr>
            <p:nvPr>
              <p:custDataLst>
                <p:tags r:id="rId211"/>
              </p:custDataLst>
            </p:nvPr>
          </p:nvSpPr>
          <p:spPr bwMode="gray">
            <a:xfrm>
              <a:off x="5274797" y="3356113"/>
              <a:ext cx="148306" cy="75636"/>
            </a:xfrm>
            <a:custGeom>
              <a:avLst/>
              <a:gdLst/>
              <a:ahLst/>
              <a:cxnLst>
                <a:cxn ang="0">
                  <a:pos x="36" y="43"/>
                </a:cxn>
                <a:cxn ang="0">
                  <a:pos x="32" y="43"/>
                </a:cxn>
                <a:cxn ang="0">
                  <a:pos x="28" y="43"/>
                </a:cxn>
                <a:cxn ang="0">
                  <a:pos x="24" y="39"/>
                </a:cxn>
                <a:cxn ang="0">
                  <a:pos x="28" y="35"/>
                </a:cxn>
                <a:cxn ang="0">
                  <a:pos x="24" y="27"/>
                </a:cxn>
                <a:cxn ang="0">
                  <a:pos x="24" y="23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2" y="8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4"/>
                </a:cxn>
                <a:cxn ang="0">
                  <a:pos x="24" y="8"/>
                </a:cxn>
                <a:cxn ang="0">
                  <a:pos x="32" y="4"/>
                </a:cxn>
                <a:cxn ang="0">
                  <a:pos x="36" y="8"/>
                </a:cxn>
                <a:cxn ang="0">
                  <a:pos x="40" y="8"/>
                </a:cxn>
                <a:cxn ang="0">
                  <a:pos x="48" y="12"/>
                </a:cxn>
                <a:cxn ang="0">
                  <a:pos x="52" y="12"/>
                </a:cxn>
                <a:cxn ang="0">
                  <a:pos x="56" y="16"/>
                </a:cxn>
                <a:cxn ang="0">
                  <a:pos x="56" y="16"/>
                </a:cxn>
                <a:cxn ang="0">
                  <a:pos x="60" y="20"/>
                </a:cxn>
                <a:cxn ang="0">
                  <a:pos x="68" y="16"/>
                </a:cxn>
                <a:cxn ang="0">
                  <a:pos x="68" y="16"/>
                </a:cxn>
                <a:cxn ang="0">
                  <a:pos x="72" y="16"/>
                </a:cxn>
                <a:cxn ang="0">
                  <a:pos x="76" y="16"/>
                </a:cxn>
                <a:cxn ang="0">
                  <a:pos x="76" y="16"/>
                </a:cxn>
                <a:cxn ang="0">
                  <a:pos x="80" y="20"/>
                </a:cxn>
                <a:cxn ang="0">
                  <a:pos x="80" y="20"/>
                </a:cxn>
                <a:cxn ang="0">
                  <a:pos x="84" y="20"/>
                </a:cxn>
                <a:cxn ang="0">
                  <a:pos x="84" y="23"/>
                </a:cxn>
                <a:cxn ang="0">
                  <a:pos x="92" y="31"/>
                </a:cxn>
                <a:cxn ang="0">
                  <a:pos x="96" y="35"/>
                </a:cxn>
                <a:cxn ang="0">
                  <a:pos x="96" y="35"/>
                </a:cxn>
                <a:cxn ang="0">
                  <a:pos x="92" y="35"/>
                </a:cxn>
                <a:cxn ang="0">
                  <a:pos x="96" y="43"/>
                </a:cxn>
                <a:cxn ang="0">
                  <a:pos x="100" y="47"/>
                </a:cxn>
                <a:cxn ang="0">
                  <a:pos x="100" y="51"/>
                </a:cxn>
                <a:cxn ang="0">
                  <a:pos x="96" y="47"/>
                </a:cxn>
                <a:cxn ang="0">
                  <a:pos x="92" y="47"/>
                </a:cxn>
                <a:cxn ang="0">
                  <a:pos x="88" y="47"/>
                </a:cxn>
                <a:cxn ang="0">
                  <a:pos x="84" y="47"/>
                </a:cxn>
                <a:cxn ang="0">
                  <a:pos x="80" y="43"/>
                </a:cxn>
                <a:cxn ang="0">
                  <a:pos x="76" y="47"/>
                </a:cxn>
                <a:cxn ang="0">
                  <a:pos x="72" y="47"/>
                </a:cxn>
                <a:cxn ang="0">
                  <a:pos x="64" y="47"/>
                </a:cxn>
                <a:cxn ang="0">
                  <a:pos x="60" y="47"/>
                </a:cxn>
                <a:cxn ang="0">
                  <a:pos x="56" y="51"/>
                </a:cxn>
                <a:cxn ang="0">
                  <a:pos x="52" y="51"/>
                </a:cxn>
                <a:cxn ang="0">
                  <a:pos x="52" y="47"/>
                </a:cxn>
                <a:cxn ang="0">
                  <a:pos x="44" y="43"/>
                </a:cxn>
                <a:cxn ang="0">
                  <a:pos x="40" y="39"/>
                </a:cxn>
              </a:cxnLst>
              <a:rect l="0" t="0" r="r" b="b"/>
              <a:pathLst>
                <a:path w="100" h="51">
                  <a:moveTo>
                    <a:pt x="40" y="39"/>
                  </a:moveTo>
                  <a:lnTo>
                    <a:pt x="40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4" y="31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3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6" y="31"/>
                  </a:lnTo>
                  <a:lnTo>
                    <a:pt x="96" y="31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6" y="43"/>
                  </a:lnTo>
                  <a:lnTo>
                    <a:pt x="96" y="43"/>
                  </a:lnTo>
                  <a:lnTo>
                    <a:pt x="100" y="43"/>
                  </a:lnTo>
                  <a:lnTo>
                    <a:pt x="100" y="43"/>
                  </a:lnTo>
                  <a:lnTo>
                    <a:pt x="100" y="43"/>
                  </a:lnTo>
                  <a:lnTo>
                    <a:pt x="100" y="47"/>
                  </a:lnTo>
                  <a:lnTo>
                    <a:pt x="100" y="47"/>
                  </a:lnTo>
                  <a:lnTo>
                    <a:pt x="100" y="47"/>
                  </a:lnTo>
                  <a:lnTo>
                    <a:pt x="100" y="47"/>
                  </a:lnTo>
                  <a:lnTo>
                    <a:pt x="100" y="51"/>
                  </a:lnTo>
                  <a:lnTo>
                    <a:pt x="100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76" y="43"/>
                  </a:lnTo>
                  <a:lnTo>
                    <a:pt x="76" y="43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68" y="47"/>
                  </a:lnTo>
                  <a:lnTo>
                    <a:pt x="68" y="47"/>
                  </a:lnTo>
                  <a:lnTo>
                    <a:pt x="68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0" y="47"/>
                  </a:lnTo>
                  <a:lnTo>
                    <a:pt x="60" y="47"/>
                  </a:lnTo>
                  <a:lnTo>
                    <a:pt x="60" y="47"/>
                  </a:lnTo>
                  <a:lnTo>
                    <a:pt x="56" y="47"/>
                  </a:lnTo>
                  <a:lnTo>
                    <a:pt x="56" y="47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48" y="47"/>
                  </a:lnTo>
                  <a:lnTo>
                    <a:pt x="48" y="47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4" y="39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3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" name="Freeform 16"/>
            <p:cNvSpPr>
              <a:spLocks noEditPoints="1"/>
            </p:cNvSpPr>
            <p:nvPr>
              <p:custDataLst>
                <p:tags r:id="rId212"/>
              </p:custDataLst>
            </p:nvPr>
          </p:nvSpPr>
          <p:spPr bwMode="gray">
            <a:xfrm>
              <a:off x="5908066" y="3597852"/>
              <a:ext cx="656997" cy="817168"/>
            </a:xfrm>
            <a:custGeom>
              <a:avLst/>
              <a:gdLst/>
              <a:ahLst/>
              <a:cxnLst>
                <a:cxn ang="0">
                  <a:pos x="32" y="220"/>
                </a:cxn>
                <a:cxn ang="0">
                  <a:pos x="36" y="196"/>
                </a:cxn>
                <a:cxn ang="0">
                  <a:pos x="28" y="160"/>
                </a:cxn>
                <a:cxn ang="0">
                  <a:pos x="56" y="148"/>
                </a:cxn>
                <a:cxn ang="0">
                  <a:pos x="88" y="104"/>
                </a:cxn>
                <a:cxn ang="0">
                  <a:pos x="99" y="72"/>
                </a:cxn>
                <a:cxn ang="0">
                  <a:pos x="88" y="40"/>
                </a:cxn>
                <a:cxn ang="0">
                  <a:pos x="103" y="20"/>
                </a:cxn>
                <a:cxn ang="0">
                  <a:pos x="139" y="8"/>
                </a:cxn>
                <a:cxn ang="0">
                  <a:pos x="163" y="24"/>
                </a:cxn>
                <a:cxn ang="0">
                  <a:pos x="167" y="64"/>
                </a:cxn>
                <a:cxn ang="0">
                  <a:pos x="159" y="84"/>
                </a:cxn>
                <a:cxn ang="0">
                  <a:pos x="195" y="108"/>
                </a:cxn>
                <a:cxn ang="0">
                  <a:pos x="187" y="140"/>
                </a:cxn>
                <a:cxn ang="0">
                  <a:pos x="227" y="160"/>
                </a:cxn>
                <a:cxn ang="0">
                  <a:pos x="255" y="176"/>
                </a:cxn>
                <a:cxn ang="0">
                  <a:pos x="291" y="180"/>
                </a:cxn>
                <a:cxn ang="0">
                  <a:pos x="303" y="152"/>
                </a:cxn>
                <a:cxn ang="0">
                  <a:pos x="331" y="176"/>
                </a:cxn>
                <a:cxn ang="0">
                  <a:pos x="363" y="164"/>
                </a:cxn>
                <a:cxn ang="0">
                  <a:pos x="379" y="140"/>
                </a:cxn>
                <a:cxn ang="0">
                  <a:pos x="415" y="124"/>
                </a:cxn>
                <a:cxn ang="0">
                  <a:pos x="427" y="144"/>
                </a:cxn>
                <a:cxn ang="0">
                  <a:pos x="435" y="164"/>
                </a:cxn>
                <a:cxn ang="0">
                  <a:pos x="403" y="196"/>
                </a:cxn>
                <a:cxn ang="0">
                  <a:pos x="379" y="228"/>
                </a:cxn>
                <a:cxn ang="0">
                  <a:pos x="379" y="260"/>
                </a:cxn>
                <a:cxn ang="0">
                  <a:pos x="367" y="240"/>
                </a:cxn>
                <a:cxn ang="0">
                  <a:pos x="351" y="244"/>
                </a:cxn>
                <a:cxn ang="0">
                  <a:pos x="367" y="212"/>
                </a:cxn>
                <a:cxn ang="0">
                  <a:pos x="327" y="196"/>
                </a:cxn>
                <a:cxn ang="0">
                  <a:pos x="311" y="180"/>
                </a:cxn>
                <a:cxn ang="0">
                  <a:pos x="315" y="204"/>
                </a:cxn>
                <a:cxn ang="0">
                  <a:pos x="307" y="220"/>
                </a:cxn>
                <a:cxn ang="0">
                  <a:pos x="315" y="268"/>
                </a:cxn>
                <a:cxn ang="0">
                  <a:pos x="307" y="276"/>
                </a:cxn>
                <a:cxn ang="0">
                  <a:pos x="299" y="260"/>
                </a:cxn>
                <a:cxn ang="0">
                  <a:pos x="279" y="295"/>
                </a:cxn>
                <a:cxn ang="0">
                  <a:pos x="259" y="307"/>
                </a:cxn>
                <a:cxn ang="0">
                  <a:pos x="239" y="335"/>
                </a:cxn>
                <a:cxn ang="0">
                  <a:pos x="215" y="363"/>
                </a:cxn>
                <a:cxn ang="0">
                  <a:pos x="191" y="379"/>
                </a:cxn>
                <a:cxn ang="0">
                  <a:pos x="179" y="423"/>
                </a:cxn>
                <a:cxn ang="0">
                  <a:pos x="175" y="455"/>
                </a:cxn>
                <a:cxn ang="0">
                  <a:pos x="163" y="491"/>
                </a:cxn>
                <a:cxn ang="0">
                  <a:pos x="139" y="523"/>
                </a:cxn>
                <a:cxn ang="0">
                  <a:pos x="119" y="491"/>
                </a:cxn>
                <a:cxn ang="0">
                  <a:pos x="111" y="459"/>
                </a:cxn>
                <a:cxn ang="0">
                  <a:pos x="92" y="411"/>
                </a:cxn>
                <a:cxn ang="0">
                  <a:pos x="80" y="383"/>
                </a:cxn>
                <a:cxn ang="0">
                  <a:pos x="72" y="331"/>
                </a:cxn>
                <a:cxn ang="0">
                  <a:pos x="68" y="307"/>
                </a:cxn>
                <a:cxn ang="0">
                  <a:pos x="68" y="272"/>
                </a:cxn>
                <a:cxn ang="0">
                  <a:pos x="68" y="260"/>
                </a:cxn>
                <a:cxn ang="0">
                  <a:pos x="56" y="284"/>
                </a:cxn>
                <a:cxn ang="0">
                  <a:pos x="12" y="264"/>
                </a:cxn>
                <a:cxn ang="0">
                  <a:pos x="36" y="244"/>
                </a:cxn>
                <a:cxn ang="0">
                  <a:pos x="8" y="232"/>
                </a:cxn>
                <a:cxn ang="0">
                  <a:pos x="367" y="463"/>
                </a:cxn>
                <a:cxn ang="0">
                  <a:pos x="387" y="539"/>
                </a:cxn>
                <a:cxn ang="0">
                  <a:pos x="371" y="435"/>
                </a:cxn>
                <a:cxn ang="0">
                  <a:pos x="371" y="459"/>
                </a:cxn>
                <a:cxn ang="0">
                  <a:pos x="367" y="475"/>
                </a:cxn>
              </a:cxnLst>
              <a:rect l="0" t="0" r="r" b="b"/>
              <a:pathLst>
                <a:path w="443" h="551">
                  <a:moveTo>
                    <a:pt x="0" y="232"/>
                  </a:moveTo>
                  <a:lnTo>
                    <a:pt x="0" y="228"/>
                  </a:lnTo>
                  <a:lnTo>
                    <a:pt x="4" y="228"/>
                  </a:lnTo>
                  <a:lnTo>
                    <a:pt x="8" y="228"/>
                  </a:lnTo>
                  <a:lnTo>
                    <a:pt x="8" y="224"/>
                  </a:lnTo>
                  <a:lnTo>
                    <a:pt x="8" y="220"/>
                  </a:lnTo>
                  <a:lnTo>
                    <a:pt x="12" y="220"/>
                  </a:lnTo>
                  <a:lnTo>
                    <a:pt x="12" y="224"/>
                  </a:lnTo>
                  <a:lnTo>
                    <a:pt x="16" y="224"/>
                  </a:lnTo>
                  <a:lnTo>
                    <a:pt x="20" y="224"/>
                  </a:lnTo>
                  <a:lnTo>
                    <a:pt x="24" y="224"/>
                  </a:lnTo>
                  <a:lnTo>
                    <a:pt x="28" y="224"/>
                  </a:lnTo>
                  <a:lnTo>
                    <a:pt x="28" y="220"/>
                  </a:lnTo>
                  <a:lnTo>
                    <a:pt x="32" y="220"/>
                  </a:lnTo>
                  <a:lnTo>
                    <a:pt x="36" y="220"/>
                  </a:lnTo>
                  <a:lnTo>
                    <a:pt x="36" y="224"/>
                  </a:lnTo>
                  <a:lnTo>
                    <a:pt x="40" y="224"/>
                  </a:lnTo>
                  <a:lnTo>
                    <a:pt x="40" y="220"/>
                  </a:lnTo>
                  <a:lnTo>
                    <a:pt x="44" y="220"/>
                  </a:lnTo>
                  <a:lnTo>
                    <a:pt x="40" y="220"/>
                  </a:lnTo>
                  <a:lnTo>
                    <a:pt x="40" y="216"/>
                  </a:lnTo>
                  <a:lnTo>
                    <a:pt x="44" y="216"/>
                  </a:lnTo>
                  <a:lnTo>
                    <a:pt x="40" y="212"/>
                  </a:lnTo>
                  <a:lnTo>
                    <a:pt x="40" y="208"/>
                  </a:lnTo>
                  <a:lnTo>
                    <a:pt x="40" y="204"/>
                  </a:lnTo>
                  <a:lnTo>
                    <a:pt x="36" y="204"/>
                  </a:lnTo>
                  <a:lnTo>
                    <a:pt x="36" y="200"/>
                  </a:lnTo>
                  <a:lnTo>
                    <a:pt x="36" y="196"/>
                  </a:lnTo>
                  <a:lnTo>
                    <a:pt x="32" y="196"/>
                  </a:lnTo>
                  <a:lnTo>
                    <a:pt x="28" y="192"/>
                  </a:lnTo>
                  <a:lnTo>
                    <a:pt x="28" y="188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8" y="176"/>
                  </a:lnTo>
                  <a:lnTo>
                    <a:pt x="24" y="176"/>
                  </a:lnTo>
                  <a:lnTo>
                    <a:pt x="20" y="176"/>
                  </a:lnTo>
                  <a:lnTo>
                    <a:pt x="20" y="172"/>
                  </a:lnTo>
                  <a:lnTo>
                    <a:pt x="20" y="168"/>
                  </a:lnTo>
                  <a:lnTo>
                    <a:pt x="20" y="164"/>
                  </a:lnTo>
                  <a:lnTo>
                    <a:pt x="24" y="164"/>
                  </a:lnTo>
                  <a:lnTo>
                    <a:pt x="24" y="160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8" y="152"/>
                  </a:lnTo>
                  <a:lnTo>
                    <a:pt x="32" y="152"/>
                  </a:lnTo>
                  <a:lnTo>
                    <a:pt x="32" y="148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36" y="156"/>
                  </a:lnTo>
                  <a:lnTo>
                    <a:pt x="40" y="156"/>
                  </a:lnTo>
                  <a:lnTo>
                    <a:pt x="44" y="156"/>
                  </a:lnTo>
                  <a:lnTo>
                    <a:pt x="44" y="152"/>
                  </a:lnTo>
                  <a:lnTo>
                    <a:pt x="48" y="152"/>
                  </a:lnTo>
                  <a:lnTo>
                    <a:pt x="52" y="152"/>
                  </a:lnTo>
                  <a:lnTo>
                    <a:pt x="56" y="152"/>
                  </a:lnTo>
                  <a:lnTo>
                    <a:pt x="56" y="148"/>
                  </a:lnTo>
                  <a:lnTo>
                    <a:pt x="60" y="144"/>
                  </a:lnTo>
                  <a:lnTo>
                    <a:pt x="60" y="140"/>
                  </a:lnTo>
                  <a:lnTo>
                    <a:pt x="60" y="136"/>
                  </a:lnTo>
                  <a:lnTo>
                    <a:pt x="64" y="136"/>
                  </a:lnTo>
                  <a:lnTo>
                    <a:pt x="64" y="132"/>
                  </a:lnTo>
                  <a:lnTo>
                    <a:pt x="68" y="132"/>
                  </a:lnTo>
                  <a:lnTo>
                    <a:pt x="72" y="132"/>
                  </a:lnTo>
                  <a:lnTo>
                    <a:pt x="72" y="128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80" y="112"/>
                  </a:lnTo>
                  <a:lnTo>
                    <a:pt x="84" y="112"/>
                  </a:lnTo>
                  <a:lnTo>
                    <a:pt x="88" y="108"/>
                  </a:lnTo>
                  <a:lnTo>
                    <a:pt x="88" y="104"/>
                  </a:lnTo>
                  <a:lnTo>
                    <a:pt x="84" y="104"/>
                  </a:lnTo>
                  <a:lnTo>
                    <a:pt x="88" y="100"/>
                  </a:lnTo>
                  <a:lnTo>
                    <a:pt x="92" y="96"/>
                  </a:lnTo>
                  <a:lnTo>
                    <a:pt x="92" y="92"/>
                  </a:lnTo>
                  <a:lnTo>
                    <a:pt x="96" y="92"/>
                  </a:lnTo>
                  <a:lnTo>
                    <a:pt x="99" y="88"/>
                  </a:lnTo>
                  <a:lnTo>
                    <a:pt x="96" y="88"/>
                  </a:lnTo>
                  <a:lnTo>
                    <a:pt x="96" y="92"/>
                  </a:lnTo>
                  <a:lnTo>
                    <a:pt x="96" y="88"/>
                  </a:lnTo>
                  <a:lnTo>
                    <a:pt x="96" y="84"/>
                  </a:lnTo>
                  <a:lnTo>
                    <a:pt x="96" y="80"/>
                  </a:lnTo>
                  <a:lnTo>
                    <a:pt x="96" y="76"/>
                  </a:lnTo>
                  <a:lnTo>
                    <a:pt x="96" y="72"/>
                  </a:lnTo>
                  <a:lnTo>
                    <a:pt x="99" y="72"/>
                  </a:lnTo>
                  <a:lnTo>
                    <a:pt x="103" y="72"/>
                  </a:lnTo>
                  <a:lnTo>
                    <a:pt x="107" y="72"/>
                  </a:lnTo>
                  <a:lnTo>
                    <a:pt x="107" y="68"/>
                  </a:lnTo>
                  <a:lnTo>
                    <a:pt x="107" y="64"/>
                  </a:lnTo>
                  <a:lnTo>
                    <a:pt x="103" y="64"/>
                  </a:lnTo>
                  <a:lnTo>
                    <a:pt x="99" y="64"/>
                  </a:lnTo>
                  <a:lnTo>
                    <a:pt x="96" y="60"/>
                  </a:lnTo>
                  <a:lnTo>
                    <a:pt x="96" y="56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88" y="48"/>
                  </a:lnTo>
                  <a:lnTo>
                    <a:pt x="88" y="44"/>
                  </a:lnTo>
                  <a:lnTo>
                    <a:pt x="92" y="40"/>
                  </a:lnTo>
                  <a:lnTo>
                    <a:pt x="88" y="40"/>
                  </a:lnTo>
                  <a:lnTo>
                    <a:pt x="88" y="36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8" y="28"/>
                  </a:lnTo>
                  <a:lnTo>
                    <a:pt x="88" y="24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92" y="16"/>
                  </a:lnTo>
                  <a:lnTo>
                    <a:pt x="96" y="16"/>
                  </a:lnTo>
                  <a:lnTo>
                    <a:pt x="96" y="20"/>
                  </a:lnTo>
                  <a:lnTo>
                    <a:pt x="103" y="20"/>
                  </a:lnTo>
                  <a:lnTo>
                    <a:pt x="107" y="20"/>
                  </a:lnTo>
                  <a:lnTo>
                    <a:pt x="111" y="20"/>
                  </a:lnTo>
                  <a:lnTo>
                    <a:pt x="111" y="24"/>
                  </a:lnTo>
                  <a:lnTo>
                    <a:pt x="115" y="20"/>
                  </a:lnTo>
                  <a:lnTo>
                    <a:pt x="119" y="20"/>
                  </a:lnTo>
                  <a:lnTo>
                    <a:pt x="123" y="16"/>
                  </a:lnTo>
                  <a:lnTo>
                    <a:pt x="127" y="16"/>
                  </a:lnTo>
                  <a:lnTo>
                    <a:pt x="127" y="20"/>
                  </a:lnTo>
                  <a:lnTo>
                    <a:pt x="131" y="20"/>
                  </a:lnTo>
                  <a:lnTo>
                    <a:pt x="131" y="16"/>
                  </a:lnTo>
                  <a:lnTo>
                    <a:pt x="131" y="12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39" y="4"/>
                  </a:lnTo>
                  <a:lnTo>
                    <a:pt x="143" y="4"/>
                  </a:lnTo>
                  <a:lnTo>
                    <a:pt x="143" y="0"/>
                  </a:lnTo>
                  <a:lnTo>
                    <a:pt x="143" y="4"/>
                  </a:lnTo>
                  <a:lnTo>
                    <a:pt x="147" y="4"/>
                  </a:lnTo>
                  <a:lnTo>
                    <a:pt x="147" y="0"/>
                  </a:lnTo>
                  <a:lnTo>
                    <a:pt x="147" y="4"/>
                  </a:lnTo>
                  <a:lnTo>
                    <a:pt x="147" y="8"/>
                  </a:lnTo>
                  <a:lnTo>
                    <a:pt x="151" y="12"/>
                  </a:lnTo>
                  <a:lnTo>
                    <a:pt x="151" y="16"/>
                  </a:lnTo>
                  <a:lnTo>
                    <a:pt x="151" y="20"/>
                  </a:lnTo>
                  <a:lnTo>
                    <a:pt x="155" y="20"/>
                  </a:lnTo>
                  <a:lnTo>
                    <a:pt x="159" y="20"/>
                  </a:lnTo>
                  <a:lnTo>
                    <a:pt x="163" y="24"/>
                  </a:lnTo>
                  <a:lnTo>
                    <a:pt x="163" y="28"/>
                  </a:lnTo>
                  <a:lnTo>
                    <a:pt x="159" y="28"/>
                  </a:lnTo>
                  <a:lnTo>
                    <a:pt x="159" y="32"/>
                  </a:lnTo>
                  <a:lnTo>
                    <a:pt x="159" y="36"/>
                  </a:lnTo>
                  <a:lnTo>
                    <a:pt x="159" y="40"/>
                  </a:lnTo>
                  <a:lnTo>
                    <a:pt x="159" y="44"/>
                  </a:lnTo>
                  <a:lnTo>
                    <a:pt x="163" y="44"/>
                  </a:lnTo>
                  <a:lnTo>
                    <a:pt x="163" y="48"/>
                  </a:lnTo>
                  <a:lnTo>
                    <a:pt x="167" y="48"/>
                  </a:lnTo>
                  <a:lnTo>
                    <a:pt x="167" y="52"/>
                  </a:lnTo>
                  <a:lnTo>
                    <a:pt x="167" y="56"/>
                  </a:lnTo>
                  <a:lnTo>
                    <a:pt x="171" y="56"/>
                  </a:lnTo>
                  <a:lnTo>
                    <a:pt x="171" y="60"/>
                  </a:lnTo>
                  <a:lnTo>
                    <a:pt x="167" y="64"/>
                  </a:lnTo>
                  <a:lnTo>
                    <a:pt x="167" y="60"/>
                  </a:lnTo>
                  <a:lnTo>
                    <a:pt x="163" y="64"/>
                  </a:lnTo>
                  <a:lnTo>
                    <a:pt x="159" y="64"/>
                  </a:lnTo>
                  <a:lnTo>
                    <a:pt x="159" y="60"/>
                  </a:lnTo>
                  <a:lnTo>
                    <a:pt x="155" y="60"/>
                  </a:lnTo>
                  <a:lnTo>
                    <a:pt x="155" y="64"/>
                  </a:lnTo>
                  <a:lnTo>
                    <a:pt x="155" y="68"/>
                  </a:lnTo>
                  <a:lnTo>
                    <a:pt x="155" y="72"/>
                  </a:lnTo>
                  <a:lnTo>
                    <a:pt x="159" y="72"/>
                  </a:lnTo>
                  <a:lnTo>
                    <a:pt x="159" y="76"/>
                  </a:lnTo>
                  <a:lnTo>
                    <a:pt x="159" y="80"/>
                  </a:lnTo>
                  <a:lnTo>
                    <a:pt x="159" y="84"/>
                  </a:lnTo>
                  <a:lnTo>
                    <a:pt x="159" y="88"/>
                  </a:lnTo>
                  <a:lnTo>
                    <a:pt x="159" y="84"/>
                  </a:lnTo>
                  <a:lnTo>
                    <a:pt x="163" y="84"/>
                  </a:lnTo>
                  <a:lnTo>
                    <a:pt x="167" y="84"/>
                  </a:lnTo>
                  <a:lnTo>
                    <a:pt x="167" y="88"/>
                  </a:lnTo>
                  <a:lnTo>
                    <a:pt x="167" y="92"/>
                  </a:lnTo>
                  <a:lnTo>
                    <a:pt x="171" y="92"/>
                  </a:lnTo>
                  <a:lnTo>
                    <a:pt x="175" y="92"/>
                  </a:lnTo>
                  <a:lnTo>
                    <a:pt x="179" y="96"/>
                  </a:lnTo>
                  <a:lnTo>
                    <a:pt x="183" y="96"/>
                  </a:lnTo>
                  <a:lnTo>
                    <a:pt x="179" y="100"/>
                  </a:lnTo>
                  <a:lnTo>
                    <a:pt x="183" y="100"/>
                  </a:lnTo>
                  <a:lnTo>
                    <a:pt x="187" y="104"/>
                  </a:lnTo>
                  <a:lnTo>
                    <a:pt x="191" y="104"/>
                  </a:lnTo>
                  <a:lnTo>
                    <a:pt x="191" y="108"/>
                  </a:lnTo>
                  <a:lnTo>
                    <a:pt x="195" y="108"/>
                  </a:lnTo>
                  <a:lnTo>
                    <a:pt x="191" y="108"/>
                  </a:lnTo>
                  <a:lnTo>
                    <a:pt x="187" y="112"/>
                  </a:lnTo>
                  <a:lnTo>
                    <a:pt x="187" y="116"/>
                  </a:lnTo>
                  <a:lnTo>
                    <a:pt x="183" y="116"/>
                  </a:lnTo>
                  <a:lnTo>
                    <a:pt x="183" y="120"/>
                  </a:lnTo>
                  <a:lnTo>
                    <a:pt x="179" y="124"/>
                  </a:lnTo>
                  <a:lnTo>
                    <a:pt x="183" y="124"/>
                  </a:lnTo>
                  <a:lnTo>
                    <a:pt x="183" y="128"/>
                  </a:lnTo>
                  <a:lnTo>
                    <a:pt x="179" y="128"/>
                  </a:lnTo>
                  <a:lnTo>
                    <a:pt x="179" y="132"/>
                  </a:lnTo>
                  <a:lnTo>
                    <a:pt x="179" y="136"/>
                  </a:lnTo>
                  <a:lnTo>
                    <a:pt x="183" y="136"/>
                  </a:lnTo>
                  <a:lnTo>
                    <a:pt x="183" y="140"/>
                  </a:lnTo>
                  <a:lnTo>
                    <a:pt x="187" y="140"/>
                  </a:lnTo>
                  <a:lnTo>
                    <a:pt x="187" y="136"/>
                  </a:lnTo>
                  <a:lnTo>
                    <a:pt x="187" y="140"/>
                  </a:lnTo>
                  <a:lnTo>
                    <a:pt x="191" y="140"/>
                  </a:lnTo>
                  <a:lnTo>
                    <a:pt x="195" y="144"/>
                  </a:lnTo>
                  <a:lnTo>
                    <a:pt x="199" y="148"/>
                  </a:lnTo>
                  <a:lnTo>
                    <a:pt x="203" y="152"/>
                  </a:lnTo>
                  <a:lnTo>
                    <a:pt x="207" y="152"/>
                  </a:lnTo>
                  <a:lnTo>
                    <a:pt x="211" y="152"/>
                  </a:lnTo>
                  <a:lnTo>
                    <a:pt x="211" y="156"/>
                  </a:lnTo>
                  <a:lnTo>
                    <a:pt x="215" y="156"/>
                  </a:lnTo>
                  <a:lnTo>
                    <a:pt x="219" y="156"/>
                  </a:lnTo>
                  <a:lnTo>
                    <a:pt x="219" y="160"/>
                  </a:lnTo>
                  <a:lnTo>
                    <a:pt x="223" y="160"/>
                  </a:lnTo>
                  <a:lnTo>
                    <a:pt x="227" y="160"/>
                  </a:lnTo>
                  <a:lnTo>
                    <a:pt x="227" y="164"/>
                  </a:lnTo>
                  <a:lnTo>
                    <a:pt x="227" y="160"/>
                  </a:lnTo>
                  <a:lnTo>
                    <a:pt x="231" y="160"/>
                  </a:lnTo>
                  <a:lnTo>
                    <a:pt x="235" y="160"/>
                  </a:lnTo>
                  <a:lnTo>
                    <a:pt x="235" y="164"/>
                  </a:lnTo>
                  <a:lnTo>
                    <a:pt x="235" y="160"/>
                  </a:lnTo>
                  <a:lnTo>
                    <a:pt x="239" y="160"/>
                  </a:lnTo>
                  <a:lnTo>
                    <a:pt x="243" y="164"/>
                  </a:lnTo>
                  <a:lnTo>
                    <a:pt x="247" y="164"/>
                  </a:lnTo>
                  <a:lnTo>
                    <a:pt x="247" y="168"/>
                  </a:lnTo>
                  <a:lnTo>
                    <a:pt x="251" y="168"/>
                  </a:lnTo>
                  <a:lnTo>
                    <a:pt x="251" y="172"/>
                  </a:lnTo>
                  <a:lnTo>
                    <a:pt x="255" y="172"/>
                  </a:lnTo>
                  <a:lnTo>
                    <a:pt x="255" y="176"/>
                  </a:lnTo>
                  <a:lnTo>
                    <a:pt x="259" y="176"/>
                  </a:lnTo>
                  <a:lnTo>
                    <a:pt x="259" y="172"/>
                  </a:lnTo>
                  <a:lnTo>
                    <a:pt x="263" y="172"/>
                  </a:lnTo>
                  <a:lnTo>
                    <a:pt x="263" y="176"/>
                  </a:lnTo>
                  <a:lnTo>
                    <a:pt x="267" y="180"/>
                  </a:lnTo>
                  <a:lnTo>
                    <a:pt x="267" y="176"/>
                  </a:lnTo>
                  <a:lnTo>
                    <a:pt x="271" y="176"/>
                  </a:lnTo>
                  <a:lnTo>
                    <a:pt x="275" y="176"/>
                  </a:lnTo>
                  <a:lnTo>
                    <a:pt x="275" y="180"/>
                  </a:lnTo>
                  <a:lnTo>
                    <a:pt x="279" y="180"/>
                  </a:lnTo>
                  <a:lnTo>
                    <a:pt x="283" y="180"/>
                  </a:lnTo>
                  <a:lnTo>
                    <a:pt x="287" y="180"/>
                  </a:lnTo>
                  <a:lnTo>
                    <a:pt x="287" y="184"/>
                  </a:lnTo>
                  <a:lnTo>
                    <a:pt x="291" y="180"/>
                  </a:lnTo>
                  <a:lnTo>
                    <a:pt x="295" y="180"/>
                  </a:lnTo>
                  <a:lnTo>
                    <a:pt x="299" y="180"/>
                  </a:lnTo>
                  <a:lnTo>
                    <a:pt x="299" y="184"/>
                  </a:lnTo>
                  <a:lnTo>
                    <a:pt x="299" y="180"/>
                  </a:lnTo>
                  <a:lnTo>
                    <a:pt x="303" y="176"/>
                  </a:lnTo>
                  <a:lnTo>
                    <a:pt x="303" y="172"/>
                  </a:lnTo>
                  <a:lnTo>
                    <a:pt x="299" y="172"/>
                  </a:lnTo>
                  <a:lnTo>
                    <a:pt x="299" y="168"/>
                  </a:lnTo>
                  <a:lnTo>
                    <a:pt x="299" y="164"/>
                  </a:lnTo>
                  <a:lnTo>
                    <a:pt x="299" y="160"/>
                  </a:lnTo>
                  <a:lnTo>
                    <a:pt x="303" y="156"/>
                  </a:lnTo>
                  <a:lnTo>
                    <a:pt x="303" y="152"/>
                  </a:lnTo>
                  <a:lnTo>
                    <a:pt x="299" y="152"/>
                  </a:lnTo>
                  <a:lnTo>
                    <a:pt x="303" y="152"/>
                  </a:lnTo>
                  <a:lnTo>
                    <a:pt x="307" y="148"/>
                  </a:lnTo>
                  <a:lnTo>
                    <a:pt x="311" y="148"/>
                  </a:lnTo>
                  <a:lnTo>
                    <a:pt x="311" y="152"/>
                  </a:lnTo>
                  <a:lnTo>
                    <a:pt x="311" y="156"/>
                  </a:lnTo>
                  <a:lnTo>
                    <a:pt x="311" y="160"/>
                  </a:lnTo>
                  <a:lnTo>
                    <a:pt x="311" y="164"/>
                  </a:lnTo>
                  <a:lnTo>
                    <a:pt x="311" y="168"/>
                  </a:lnTo>
                  <a:lnTo>
                    <a:pt x="311" y="172"/>
                  </a:lnTo>
                  <a:lnTo>
                    <a:pt x="315" y="172"/>
                  </a:lnTo>
                  <a:lnTo>
                    <a:pt x="319" y="172"/>
                  </a:lnTo>
                  <a:lnTo>
                    <a:pt x="323" y="172"/>
                  </a:lnTo>
                  <a:lnTo>
                    <a:pt x="323" y="176"/>
                  </a:lnTo>
                  <a:lnTo>
                    <a:pt x="327" y="176"/>
                  </a:lnTo>
                  <a:lnTo>
                    <a:pt x="331" y="176"/>
                  </a:lnTo>
                  <a:lnTo>
                    <a:pt x="331" y="172"/>
                  </a:lnTo>
                  <a:lnTo>
                    <a:pt x="335" y="172"/>
                  </a:lnTo>
                  <a:lnTo>
                    <a:pt x="339" y="172"/>
                  </a:lnTo>
                  <a:lnTo>
                    <a:pt x="339" y="176"/>
                  </a:lnTo>
                  <a:lnTo>
                    <a:pt x="343" y="176"/>
                  </a:lnTo>
                  <a:lnTo>
                    <a:pt x="347" y="172"/>
                  </a:lnTo>
                  <a:lnTo>
                    <a:pt x="347" y="176"/>
                  </a:lnTo>
                  <a:lnTo>
                    <a:pt x="351" y="176"/>
                  </a:lnTo>
                  <a:lnTo>
                    <a:pt x="351" y="172"/>
                  </a:lnTo>
                  <a:lnTo>
                    <a:pt x="355" y="172"/>
                  </a:lnTo>
                  <a:lnTo>
                    <a:pt x="359" y="172"/>
                  </a:lnTo>
                  <a:lnTo>
                    <a:pt x="363" y="172"/>
                  </a:lnTo>
                  <a:lnTo>
                    <a:pt x="359" y="168"/>
                  </a:lnTo>
                  <a:lnTo>
                    <a:pt x="363" y="164"/>
                  </a:lnTo>
                  <a:lnTo>
                    <a:pt x="359" y="164"/>
                  </a:lnTo>
                  <a:lnTo>
                    <a:pt x="359" y="160"/>
                  </a:lnTo>
                  <a:lnTo>
                    <a:pt x="355" y="160"/>
                  </a:lnTo>
                  <a:lnTo>
                    <a:pt x="355" y="156"/>
                  </a:lnTo>
                  <a:lnTo>
                    <a:pt x="359" y="156"/>
                  </a:lnTo>
                  <a:lnTo>
                    <a:pt x="363" y="156"/>
                  </a:lnTo>
                  <a:lnTo>
                    <a:pt x="363" y="152"/>
                  </a:lnTo>
                  <a:lnTo>
                    <a:pt x="363" y="156"/>
                  </a:lnTo>
                  <a:lnTo>
                    <a:pt x="367" y="152"/>
                  </a:lnTo>
                  <a:lnTo>
                    <a:pt x="371" y="152"/>
                  </a:lnTo>
                  <a:lnTo>
                    <a:pt x="371" y="148"/>
                  </a:lnTo>
                  <a:lnTo>
                    <a:pt x="375" y="144"/>
                  </a:lnTo>
                  <a:lnTo>
                    <a:pt x="379" y="144"/>
                  </a:lnTo>
                  <a:lnTo>
                    <a:pt x="379" y="140"/>
                  </a:lnTo>
                  <a:lnTo>
                    <a:pt x="383" y="136"/>
                  </a:lnTo>
                  <a:lnTo>
                    <a:pt x="387" y="136"/>
                  </a:lnTo>
                  <a:lnTo>
                    <a:pt x="391" y="136"/>
                  </a:lnTo>
                  <a:lnTo>
                    <a:pt x="391" y="132"/>
                  </a:lnTo>
                  <a:lnTo>
                    <a:pt x="395" y="128"/>
                  </a:lnTo>
                  <a:lnTo>
                    <a:pt x="399" y="128"/>
                  </a:lnTo>
                  <a:lnTo>
                    <a:pt x="399" y="124"/>
                  </a:lnTo>
                  <a:lnTo>
                    <a:pt x="403" y="124"/>
                  </a:lnTo>
                  <a:lnTo>
                    <a:pt x="403" y="128"/>
                  </a:lnTo>
                  <a:lnTo>
                    <a:pt x="407" y="128"/>
                  </a:lnTo>
                  <a:lnTo>
                    <a:pt x="411" y="132"/>
                  </a:lnTo>
                  <a:lnTo>
                    <a:pt x="411" y="128"/>
                  </a:lnTo>
                  <a:lnTo>
                    <a:pt x="415" y="128"/>
                  </a:lnTo>
                  <a:lnTo>
                    <a:pt x="415" y="124"/>
                  </a:lnTo>
                  <a:lnTo>
                    <a:pt x="419" y="124"/>
                  </a:lnTo>
                  <a:lnTo>
                    <a:pt x="423" y="120"/>
                  </a:lnTo>
                  <a:lnTo>
                    <a:pt x="423" y="124"/>
                  </a:lnTo>
                  <a:lnTo>
                    <a:pt x="423" y="128"/>
                  </a:lnTo>
                  <a:lnTo>
                    <a:pt x="427" y="124"/>
                  </a:lnTo>
                  <a:lnTo>
                    <a:pt x="427" y="128"/>
                  </a:lnTo>
                  <a:lnTo>
                    <a:pt x="423" y="128"/>
                  </a:lnTo>
                  <a:lnTo>
                    <a:pt x="423" y="132"/>
                  </a:lnTo>
                  <a:lnTo>
                    <a:pt x="427" y="132"/>
                  </a:lnTo>
                  <a:lnTo>
                    <a:pt x="427" y="128"/>
                  </a:lnTo>
                  <a:lnTo>
                    <a:pt x="427" y="132"/>
                  </a:lnTo>
                  <a:lnTo>
                    <a:pt x="431" y="136"/>
                  </a:lnTo>
                  <a:lnTo>
                    <a:pt x="427" y="140"/>
                  </a:lnTo>
                  <a:lnTo>
                    <a:pt x="427" y="144"/>
                  </a:lnTo>
                  <a:lnTo>
                    <a:pt x="431" y="140"/>
                  </a:lnTo>
                  <a:lnTo>
                    <a:pt x="431" y="144"/>
                  </a:lnTo>
                  <a:lnTo>
                    <a:pt x="435" y="144"/>
                  </a:lnTo>
                  <a:lnTo>
                    <a:pt x="439" y="144"/>
                  </a:lnTo>
                  <a:lnTo>
                    <a:pt x="439" y="148"/>
                  </a:lnTo>
                  <a:lnTo>
                    <a:pt x="443" y="152"/>
                  </a:lnTo>
                  <a:lnTo>
                    <a:pt x="439" y="152"/>
                  </a:lnTo>
                  <a:lnTo>
                    <a:pt x="439" y="156"/>
                  </a:lnTo>
                  <a:lnTo>
                    <a:pt x="435" y="156"/>
                  </a:lnTo>
                  <a:lnTo>
                    <a:pt x="435" y="160"/>
                  </a:lnTo>
                  <a:lnTo>
                    <a:pt x="435" y="164"/>
                  </a:lnTo>
                  <a:lnTo>
                    <a:pt x="439" y="168"/>
                  </a:lnTo>
                  <a:lnTo>
                    <a:pt x="435" y="168"/>
                  </a:lnTo>
                  <a:lnTo>
                    <a:pt x="435" y="164"/>
                  </a:lnTo>
                  <a:lnTo>
                    <a:pt x="431" y="164"/>
                  </a:lnTo>
                  <a:lnTo>
                    <a:pt x="427" y="164"/>
                  </a:lnTo>
                  <a:lnTo>
                    <a:pt x="423" y="164"/>
                  </a:lnTo>
                  <a:lnTo>
                    <a:pt x="419" y="168"/>
                  </a:lnTo>
                  <a:lnTo>
                    <a:pt x="415" y="172"/>
                  </a:lnTo>
                  <a:lnTo>
                    <a:pt x="411" y="172"/>
                  </a:lnTo>
                  <a:lnTo>
                    <a:pt x="411" y="176"/>
                  </a:lnTo>
                  <a:lnTo>
                    <a:pt x="407" y="176"/>
                  </a:lnTo>
                  <a:lnTo>
                    <a:pt x="407" y="180"/>
                  </a:lnTo>
                  <a:lnTo>
                    <a:pt x="407" y="184"/>
                  </a:lnTo>
                  <a:lnTo>
                    <a:pt x="407" y="188"/>
                  </a:lnTo>
                  <a:lnTo>
                    <a:pt x="407" y="192"/>
                  </a:lnTo>
                  <a:lnTo>
                    <a:pt x="407" y="196"/>
                  </a:lnTo>
                  <a:lnTo>
                    <a:pt x="403" y="196"/>
                  </a:lnTo>
                  <a:lnTo>
                    <a:pt x="403" y="200"/>
                  </a:lnTo>
                  <a:lnTo>
                    <a:pt x="399" y="200"/>
                  </a:lnTo>
                  <a:lnTo>
                    <a:pt x="399" y="204"/>
                  </a:lnTo>
                  <a:lnTo>
                    <a:pt x="403" y="208"/>
                  </a:lnTo>
                  <a:lnTo>
                    <a:pt x="399" y="212"/>
                  </a:lnTo>
                  <a:lnTo>
                    <a:pt x="399" y="216"/>
                  </a:lnTo>
                  <a:lnTo>
                    <a:pt x="395" y="220"/>
                  </a:lnTo>
                  <a:lnTo>
                    <a:pt x="395" y="224"/>
                  </a:lnTo>
                  <a:lnTo>
                    <a:pt x="395" y="228"/>
                  </a:lnTo>
                  <a:lnTo>
                    <a:pt x="391" y="232"/>
                  </a:lnTo>
                  <a:lnTo>
                    <a:pt x="391" y="228"/>
                  </a:lnTo>
                  <a:lnTo>
                    <a:pt x="387" y="228"/>
                  </a:lnTo>
                  <a:lnTo>
                    <a:pt x="383" y="228"/>
                  </a:lnTo>
                  <a:lnTo>
                    <a:pt x="379" y="228"/>
                  </a:lnTo>
                  <a:lnTo>
                    <a:pt x="379" y="224"/>
                  </a:lnTo>
                  <a:lnTo>
                    <a:pt x="379" y="228"/>
                  </a:lnTo>
                  <a:lnTo>
                    <a:pt x="379" y="232"/>
                  </a:lnTo>
                  <a:lnTo>
                    <a:pt x="383" y="236"/>
                  </a:lnTo>
                  <a:lnTo>
                    <a:pt x="379" y="240"/>
                  </a:lnTo>
                  <a:lnTo>
                    <a:pt x="379" y="244"/>
                  </a:lnTo>
                  <a:lnTo>
                    <a:pt x="379" y="248"/>
                  </a:lnTo>
                  <a:lnTo>
                    <a:pt x="379" y="244"/>
                  </a:lnTo>
                  <a:lnTo>
                    <a:pt x="375" y="244"/>
                  </a:lnTo>
                  <a:lnTo>
                    <a:pt x="375" y="248"/>
                  </a:lnTo>
                  <a:lnTo>
                    <a:pt x="375" y="252"/>
                  </a:lnTo>
                  <a:lnTo>
                    <a:pt x="375" y="256"/>
                  </a:lnTo>
                  <a:lnTo>
                    <a:pt x="379" y="256"/>
                  </a:lnTo>
                  <a:lnTo>
                    <a:pt x="379" y="260"/>
                  </a:lnTo>
                  <a:lnTo>
                    <a:pt x="379" y="264"/>
                  </a:lnTo>
                  <a:lnTo>
                    <a:pt x="375" y="264"/>
                  </a:lnTo>
                  <a:lnTo>
                    <a:pt x="375" y="260"/>
                  </a:lnTo>
                  <a:lnTo>
                    <a:pt x="375" y="264"/>
                  </a:lnTo>
                  <a:lnTo>
                    <a:pt x="371" y="264"/>
                  </a:lnTo>
                  <a:lnTo>
                    <a:pt x="367" y="268"/>
                  </a:lnTo>
                  <a:lnTo>
                    <a:pt x="367" y="264"/>
                  </a:lnTo>
                  <a:lnTo>
                    <a:pt x="367" y="260"/>
                  </a:lnTo>
                  <a:lnTo>
                    <a:pt x="367" y="256"/>
                  </a:lnTo>
                  <a:lnTo>
                    <a:pt x="367" y="252"/>
                  </a:lnTo>
                  <a:lnTo>
                    <a:pt x="367" y="248"/>
                  </a:lnTo>
                  <a:lnTo>
                    <a:pt x="363" y="244"/>
                  </a:lnTo>
                  <a:lnTo>
                    <a:pt x="367" y="244"/>
                  </a:lnTo>
                  <a:lnTo>
                    <a:pt x="367" y="240"/>
                  </a:lnTo>
                  <a:lnTo>
                    <a:pt x="363" y="240"/>
                  </a:lnTo>
                  <a:lnTo>
                    <a:pt x="363" y="236"/>
                  </a:lnTo>
                  <a:lnTo>
                    <a:pt x="363" y="232"/>
                  </a:lnTo>
                  <a:lnTo>
                    <a:pt x="359" y="236"/>
                  </a:lnTo>
                  <a:lnTo>
                    <a:pt x="359" y="232"/>
                  </a:lnTo>
                  <a:lnTo>
                    <a:pt x="359" y="236"/>
                  </a:lnTo>
                  <a:lnTo>
                    <a:pt x="359" y="240"/>
                  </a:lnTo>
                  <a:lnTo>
                    <a:pt x="355" y="240"/>
                  </a:lnTo>
                  <a:lnTo>
                    <a:pt x="355" y="244"/>
                  </a:lnTo>
                  <a:lnTo>
                    <a:pt x="355" y="248"/>
                  </a:lnTo>
                  <a:lnTo>
                    <a:pt x="351" y="248"/>
                  </a:lnTo>
                  <a:lnTo>
                    <a:pt x="351" y="244"/>
                  </a:lnTo>
                  <a:lnTo>
                    <a:pt x="351" y="240"/>
                  </a:lnTo>
                  <a:lnTo>
                    <a:pt x="351" y="244"/>
                  </a:lnTo>
                  <a:lnTo>
                    <a:pt x="347" y="240"/>
                  </a:lnTo>
                  <a:lnTo>
                    <a:pt x="347" y="236"/>
                  </a:lnTo>
                  <a:lnTo>
                    <a:pt x="347" y="232"/>
                  </a:lnTo>
                  <a:lnTo>
                    <a:pt x="347" y="228"/>
                  </a:lnTo>
                  <a:lnTo>
                    <a:pt x="351" y="224"/>
                  </a:lnTo>
                  <a:lnTo>
                    <a:pt x="351" y="228"/>
                  </a:lnTo>
                  <a:lnTo>
                    <a:pt x="351" y="224"/>
                  </a:lnTo>
                  <a:lnTo>
                    <a:pt x="355" y="224"/>
                  </a:lnTo>
                  <a:lnTo>
                    <a:pt x="359" y="224"/>
                  </a:lnTo>
                  <a:lnTo>
                    <a:pt x="359" y="220"/>
                  </a:lnTo>
                  <a:lnTo>
                    <a:pt x="363" y="220"/>
                  </a:lnTo>
                  <a:lnTo>
                    <a:pt x="363" y="216"/>
                  </a:lnTo>
                  <a:lnTo>
                    <a:pt x="363" y="212"/>
                  </a:lnTo>
                  <a:lnTo>
                    <a:pt x="367" y="212"/>
                  </a:lnTo>
                  <a:lnTo>
                    <a:pt x="367" y="208"/>
                  </a:lnTo>
                  <a:lnTo>
                    <a:pt x="363" y="208"/>
                  </a:lnTo>
                  <a:lnTo>
                    <a:pt x="363" y="204"/>
                  </a:lnTo>
                  <a:lnTo>
                    <a:pt x="359" y="204"/>
                  </a:lnTo>
                  <a:lnTo>
                    <a:pt x="355" y="204"/>
                  </a:lnTo>
                  <a:lnTo>
                    <a:pt x="351" y="204"/>
                  </a:lnTo>
                  <a:lnTo>
                    <a:pt x="347" y="204"/>
                  </a:lnTo>
                  <a:lnTo>
                    <a:pt x="343" y="204"/>
                  </a:lnTo>
                  <a:lnTo>
                    <a:pt x="339" y="204"/>
                  </a:lnTo>
                  <a:lnTo>
                    <a:pt x="335" y="204"/>
                  </a:lnTo>
                  <a:lnTo>
                    <a:pt x="331" y="204"/>
                  </a:lnTo>
                  <a:lnTo>
                    <a:pt x="327" y="204"/>
                  </a:lnTo>
                  <a:lnTo>
                    <a:pt x="327" y="200"/>
                  </a:lnTo>
                  <a:lnTo>
                    <a:pt x="327" y="196"/>
                  </a:lnTo>
                  <a:lnTo>
                    <a:pt x="327" y="192"/>
                  </a:lnTo>
                  <a:lnTo>
                    <a:pt x="327" y="188"/>
                  </a:lnTo>
                  <a:lnTo>
                    <a:pt x="323" y="188"/>
                  </a:lnTo>
                  <a:lnTo>
                    <a:pt x="323" y="184"/>
                  </a:lnTo>
                  <a:lnTo>
                    <a:pt x="323" y="188"/>
                  </a:lnTo>
                  <a:lnTo>
                    <a:pt x="319" y="188"/>
                  </a:lnTo>
                  <a:lnTo>
                    <a:pt x="315" y="188"/>
                  </a:lnTo>
                  <a:lnTo>
                    <a:pt x="315" y="184"/>
                  </a:lnTo>
                  <a:lnTo>
                    <a:pt x="315" y="180"/>
                  </a:lnTo>
                  <a:lnTo>
                    <a:pt x="311" y="180"/>
                  </a:lnTo>
                  <a:lnTo>
                    <a:pt x="311" y="184"/>
                  </a:lnTo>
                  <a:lnTo>
                    <a:pt x="315" y="184"/>
                  </a:lnTo>
                  <a:lnTo>
                    <a:pt x="311" y="184"/>
                  </a:lnTo>
                  <a:lnTo>
                    <a:pt x="311" y="180"/>
                  </a:lnTo>
                  <a:lnTo>
                    <a:pt x="307" y="180"/>
                  </a:lnTo>
                  <a:lnTo>
                    <a:pt x="307" y="176"/>
                  </a:lnTo>
                  <a:lnTo>
                    <a:pt x="303" y="180"/>
                  </a:lnTo>
                  <a:lnTo>
                    <a:pt x="307" y="180"/>
                  </a:lnTo>
                  <a:lnTo>
                    <a:pt x="307" y="184"/>
                  </a:lnTo>
                  <a:lnTo>
                    <a:pt x="303" y="184"/>
                  </a:lnTo>
                  <a:lnTo>
                    <a:pt x="303" y="188"/>
                  </a:lnTo>
                  <a:lnTo>
                    <a:pt x="299" y="192"/>
                  </a:lnTo>
                  <a:lnTo>
                    <a:pt x="303" y="192"/>
                  </a:lnTo>
                  <a:lnTo>
                    <a:pt x="307" y="196"/>
                  </a:lnTo>
                  <a:lnTo>
                    <a:pt x="307" y="200"/>
                  </a:lnTo>
                  <a:lnTo>
                    <a:pt x="311" y="200"/>
                  </a:lnTo>
                  <a:lnTo>
                    <a:pt x="311" y="204"/>
                  </a:lnTo>
                  <a:lnTo>
                    <a:pt x="315" y="204"/>
                  </a:lnTo>
                  <a:lnTo>
                    <a:pt x="311" y="204"/>
                  </a:lnTo>
                  <a:lnTo>
                    <a:pt x="307" y="204"/>
                  </a:lnTo>
                  <a:lnTo>
                    <a:pt x="307" y="208"/>
                  </a:lnTo>
                  <a:lnTo>
                    <a:pt x="303" y="208"/>
                  </a:lnTo>
                  <a:lnTo>
                    <a:pt x="303" y="212"/>
                  </a:lnTo>
                  <a:lnTo>
                    <a:pt x="303" y="208"/>
                  </a:lnTo>
                  <a:lnTo>
                    <a:pt x="299" y="212"/>
                  </a:lnTo>
                  <a:lnTo>
                    <a:pt x="303" y="212"/>
                  </a:lnTo>
                  <a:lnTo>
                    <a:pt x="299" y="212"/>
                  </a:lnTo>
                  <a:lnTo>
                    <a:pt x="299" y="216"/>
                  </a:lnTo>
                  <a:lnTo>
                    <a:pt x="303" y="220"/>
                  </a:lnTo>
                  <a:lnTo>
                    <a:pt x="307" y="220"/>
                  </a:lnTo>
                  <a:lnTo>
                    <a:pt x="307" y="224"/>
                  </a:lnTo>
                  <a:lnTo>
                    <a:pt x="307" y="220"/>
                  </a:lnTo>
                  <a:lnTo>
                    <a:pt x="311" y="220"/>
                  </a:lnTo>
                  <a:lnTo>
                    <a:pt x="311" y="224"/>
                  </a:lnTo>
                  <a:lnTo>
                    <a:pt x="311" y="228"/>
                  </a:lnTo>
                  <a:lnTo>
                    <a:pt x="307" y="232"/>
                  </a:lnTo>
                  <a:lnTo>
                    <a:pt x="307" y="236"/>
                  </a:lnTo>
                  <a:lnTo>
                    <a:pt x="311" y="236"/>
                  </a:lnTo>
                  <a:lnTo>
                    <a:pt x="311" y="240"/>
                  </a:lnTo>
                  <a:lnTo>
                    <a:pt x="311" y="244"/>
                  </a:lnTo>
                  <a:lnTo>
                    <a:pt x="315" y="244"/>
                  </a:lnTo>
                  <a:lnTo>
                    <a:pt x="311" y="244"/>
                  </a:lnTo>
                  <a:lnTo>
                    <a:pt x="311" y="248"/>
                  </a:lnTo>
                  <a:lnTo>
                    <a:pt x="315" y="260"/>
                  </a:lnTo>
                  <a:lnTo>
                    <a:pt x="315" y="264"/>
                  </a:lnTo>
                  <a:lnTo>
                    <a:pt x="315" y="268"/>
                  </a:lnTo>
                  <a:lnTo>
                    <a:pt x="315" y="272"/>
                  </a:lnTo>
                  <a:lnTo>
                    <a:pt x="311" y="272"/>
                  </a:lnTo>
                  <a:lnTo>
                    <a:pt x="311" y="276"/>
                  </a:lnTo>
                  <a:lnTo>
                    <a:pt x="311" y="272"/>
                  </a:lnTo>
                  <a:lnTo>
                    <a:pt x="311" y="268"/>
                  </a:lnTo>
                  <a:lnTo>
                    <a:pt x="311" y="264"/>
                  </a:lnTo>
                  <a:lnTo>
                    <a:pt x="311" y="268"/>
                  </a:lnTo>
                  <a:lnTo>
                    <a:pt x="307" y="268"/>
                  </a:lnTo>
                  <a:lnTo>
                    <a:pt x="307" y="264"/>
                  </a:lnTo>
                  <a:lnTo>
                    <a:pt x="311" y="264"/>
                  </a:lnTo>
                  <a:lnTo>
                    <a:pt x="307" y="264"/>
                  </a:lnTo>
                  <a:lnTo>
                    <a:pt x="307" y="268"/>
                  </a:lnTo>
                  <a:lnTo>
                    <a:pt x="307" y="272"/>
                  </a:lnTo>
                  <a:lnTo>
                    <a:pt x="307" y="276"/>
                  </a:lnTo>
                  <a:lnTo>
                    <a:pt x="307" y="272"/>
                  </a:lnTo>
                  <a:lnTo>
                    <a:pt x="307" y="268"/>
                  </a:lnTo>
                  <a:lnTo>
                    <a:pt x="307" y="272"/>
                  </a:lnTo>
                  <a:lnTo>
                    <a:pt x="303" y="272"/>
                  </a:lnTo>
                  <a:lnTo>
                    <a:pt x="303" y="268"/>
                  </a:lnTo>
                  <a:lnTo>
                    <a:pt x="303" y="272"/>
                  </a:lnTo>
                  <a:lnTo>
                    <a:pt x="303" y="276"/>
                  </a:lnTo>
                  <a:lnTo>
                    <a:pt x="303" y="272"/>
                  </a:lnTo>
                  <a:lnTo>
                    <a:pt x="303" y="268"/>
                  </a:lnTo>
                  <a:lnTo>
                    <a:pt x="299" y="268"/>
                  </a:lnTo>
                  <a:lnTo>
                    <a:pt x="303" y="264"/>
                  </a:lnTo>
                  <a:lnTo>
                    <a:pt x="299" y="260"/>
                  </a:lnTo>
                  <a:lnTo>
                    <a:pt x="299" y="256"/>
                  </a:lnTo>
                  <a:lnTo>
                    <a:pt x="299" y="260"/>
                  </a:lnTo>
                  <a:lnTo>
                    <a:pt x="299" y="264"/>
                  </a:lnTo>
                  <a:lnTo>
                    <a:pt x="303" y="264"/>
                  </a:lnTo>
                  <a:lnTo>
                    <a:pt x="299" y="264"/>
                  </a:lnTo>
                  <a:lnTo>
                    <a:pt x="299" y="268"/>
                  </a:lnTo>
                  <a:lnTo>
                    <a:pt x="295" y="272"/>
                  </a:lnTo>
                  <a:lnTo>
                    <a:pt x="291" y="272"/>
                  </a:lnTo>
                  <a:lnTo>
                    <a:pt x="287" y="276"/>
                  </a:lnTo>
                  <a:lnTo>
                    <a:pt x="283" y="276"/>
                  </a:lnTo>
                  <a:lnTo>
                    <a:pt x="283" y="280"/>
                  </a:lnTo>
                  <a:lnTo>
                    <a:pt x="283" y="284"/>
                  </a:lnTo>
                  <a:lnTo>
                    <a:pt x="283" y="288"/>
                  </a:lnTo>
                  <a:lnTo>
                    <a:pt x="283" y="292"/>
                  </a:lnTo>
                  <a:lnTo>
                    <a:pt x="279" y="292"/>
                  </a:lnTo>
                  <a:lnTo>
                    <a:pt x="279" y="295"/>
                  </a:lnTo>
                  <a:lnTo>
                    <a:pt x="279" y="299"/>
                  </a:lnTo>
                  <a:lnTo>
                    <a:pt x="275" y="299"/>
                  </a:lnTo>
                  <a:lnTo>
                    <a:pt x="275" y="303"/>
                  </a:lnTo>
                  <a:lnTo>
                    <a:pt x="271" y="303"/>
                  </a:lnTo>
                  <a:lnTo>
                    <a:pt x="275" y="303"/>
                  </a:lnTo>
                  <a:lnTo>
                    <a:pt x="271" y="303"/>
                  </a:lnTo>
                  <a:lnTo>
                    <a:pt x="271" y="307"/>
                  </a:lnTo>
                  <a:lnTo>
                    <a:pt x="267" y="307"/>
                  </a:lnTo>
                  <a:lnTo>
                    <a:pt x="263" y="307"/>
                  </a:lnTo>
                  <a:lnTo>
                    <a:pt x="259" y="311"/>
                  </a:lnTo>
                  <a:lnTo>
                    <a:pt x="259" y="307"/>
                  </a:lnTo>
                  <a:lnTo>
                    <a:pt x="263" y="307"/>
                  </a:lnTo>
                  <a:lnTo>
                    <a:pt x="259" y="303"/>
                  </a:lnTo>
                  <a:lnTo>
                    <a:pt x="259" y="307"/>
                  </a:lnTo>
                  <a:lnTo>
                    <a:pt x="255" y="307"/>
                  </a:lnTo>
                  <a:lnTo>
                    <a:pt x="255" y="311"/>
                  </a:lnTo>
                  <a:lnTo>
                    <a:pt x="259" y="311"/>
                  </a:lnTo>
                  <a:lnTo>
                    <a:pt x="259" y="307"/>
                  </a:lnTo>
                  <a:lnTo>
                    <a:pt x="259" y="311"/>
                  </a:lnTo>
                  <a:lnTo>
                    <a:pt x="255" y="311"/>
                  </a:lnTo>
                  <a:lnTo>
                    <a:pt x="255" y="315"/>
                  </a:lnTo>
                  <a:lnTo>
                    <a:pt x="251" y="319"/>
                  </a:lnTo>
                  <a:lnTo>
                    <a:pt x="247" y="319"/>
                  </a:lnTo>
                  <a:lnTo>
                    <a:pt x="251" y="319"/>
                  </a:lnTo>
                  <a:lnTo>
                    <a:pt x="247" y="323"/>
                  </a:lnTo>
                  <a:lnTo>
                    <a:pt x="247" y="327"/>
                  </a:lnTo>
                  <a:lnTo>
                    <a:pt x="243" y="331"/>
                  </a:lnTo>
                  <a:lnTo>
                    <a:pt x="239" y="335"/>
                  </a:lnTo>
                  <a:lnTo>
                    <a:pt x="235" y="335"/>
                  </a:lnTo>
                  <a:lnTo>
                    <a:pt x="235" y="339"/>
                  </a:lnTo>
                  <a:lnTo>
                    <a:pt x="231" y="339"/>
                  </a:lnTo>
                  <a:lnTo>
                    <a:pt x="231" y="343"/>
                  </a:lnTo>
                  <a:lnTo>
                    <a:pt x="227" y="343"/>
                  </a:lnTo>
                  <a:lnTo>
                    <a:pt x="227" y="347"/>
                  </a:lnTo>
                  <a:lnTo>
                    <a:pt x="223" y="351"/>
                  </a:lnTo>
                  <a:lnTo>
                    <a:pt x="219" y="351"/>
                  </a:lnTo>
                  <a:lnTo>
                    <a:pt x="219" y="355"/>
                  </a:lnTo>
                  <a:lnTo>
                    <a:pt x="215" y="355"/>
                  </a:lnTo>
                  <a:lnTo>
                    <a:pt x="215" y="359"/>
                  </a:lnTo>
                  <a:lnTo>
                    <a:pt x="211" y="359"/>
                  </a:lnTo>
                  <a:lnTo>
                    <a:pt x="211" y="363"/>
                  </a:lnTo>
                  <a:lnTo>
                    <a:pt x="215" y="363"/>
                  </a:lnTo>
                  <a:lnTo>
                    <a:pt x="211" y="363"/>
                  </a:lnTo>
                  <a:lnTo>
                    <a:pt x="211" y="367"/>
                  </a:lnTo>
                  <a:lnTo>
                    <a:pt x="211" y="371"/>
                  </a:lnTo>
                  <a:lnTo>
                    <a:pt x="207" y="371"/>
                  </a:lnTo>
                  <a:lnTo>
                    <a:pt x="203" y="371"/>
                  </a:lnTo>
                  <a:lnTo>
                    <a:pt x="199" y="371"/>
                  </a:lnTo>
                  <a:lnTo>
                    <a:pt x="195" y="371"/>
                  </a:lnTo>
                  <a:lnTo>
                    <a:pt x="195" y="375"/>
                  </a:lnTo>
                  <a:lnTo>
                    <a:pt x="195" y="379"/>
                  </a:lnTo>
                  <a:lnTo>
                    <a:pt x="191" y="379"/>
                  </a:lnTo>
                  <a:lnTo>
                    <a:pt x="191" y="383"/>
                  </a:lnTo>
                  <a:lnTo>
                    <a:pt x="191" y="379"/>
                  </a:lnTo>
                  <a:lnTo>
                    <a:pt x="191" y="383"/>
                  </a:lnTo>
                  <a:lnTo>
                    <a:pt x="191" y="379"/>
                  </a:lnTo>
                  <a:lnTo>
                    <a:pt x="187" y="379"/>
                  </a:lnTo>
                  <a:lnTo>
                    <a:pt x="183" y="383"/>
                  </a:lnTo>
                  <a:lnTo>
                    <a:pt x="179" y="387"/>
                  </a:lnTo>
                  <a:lnTo>
                    <a:pt x="179" y="391"/>
                  </a:lnTo>
                  <a:lnTo>
                    <a:pt x="179" y="395"/>
                  </a:lnTo>
                  <a:lnTo>
                    <a:pt x="179" y="399"/>
                  </a:lnTo>
                  <a:lnTo>
                    <a:pt x="179" y="403"/>
                  </a:lnTo>
                  <a:lnTo>
                    <a:pt x="179" y="407"/>
                  </a:lnTo>
                  <a:lnTo>
                    <a:pt x="179" y="411"/>
                  </a:lnTo>
                  <a:lnTo>
                    <a:pt x="179" y="415"/>
                  </a:lnTo>
                  <a:lnTo>
                    <a:pt x="179" y="419"/>
                  </a:lnTo>
                  <a:lnTo>
                    <a:pt x="183" y="419"/>
                  </a:lnTo>
                  <a:lnTo>
                    <a:pt x="179" y="419"/>
                  </a:lnTo>
                  <a:lnTo>
                    <a:pt x="179" y="423"/>
                  </a:lnTo>
                  <a:lnTo>
                    <a:pt x="183" y="423"/>
                  </a:lnTo>
                  <a:lnTo>
                    <a:pt x="183" y="427"/>
                  </a:lnTo>
                  <a:lnTo>
                    <a:pt x="183" y="423"/>
                  </a:lnTo>
                  <a:lnTo>
                    <a:pt x="179" y="419"/>
                  </a:lnTo>
                  <a:lnTo>
                    <a:pt x="179" y="423"/>
                  </a:lnTo>
                  <a:lnTo>
                    <a:pt x="183" y="427"/>
                  </a:lnTo>
                  <a:lnTo>
                    <a:pt x="183" y="431"/>
                  </a:lnTo>
                  <a:lnTo>
                    <a:pt x="183" y="435"/>
                  </a:lnTo>
                  <a:lnTo>
                    <a:pt x="183" y="439"/>
                  </a:lnTo>
                  <a:lnTo>
                    <a:pt x="179" y="439"/>
                  </a:lnTo>
                  <a:lnTo>
                    <a:pt x="179" y="443"/>
                  </a:lnTo>
                  <a:lnTo>
                    <a:pt x="179" y="447"/>
                  </a:lnTo>
                  <a:lnTo>
                    <a:pt x="175" y="451"/>
                  </a:lnTo>
                  <a:lnTo>
                    <a:pt x="175" y="455"/>
                  </a:lnTo>
                  <a:lnTo>
                    <a:pt x="175" y="459"/>
                  </a:lnTo>
                  <a:lnTo>
                    <a:pt x="175" y="463"/>
                  </a:lnTo>
                  <a:lnTo>
                    <a:pt x="175" y="467"/>
                  </a:lnTo>
                  <a:lnTo>
                    <a:pt x="175" y="471"/>
                  </a:lnTo>
                  <a:lnTo>
                    <a:pt x="175" y="475"/>
                  </a:lnTo>
                  <a:lnTo>
                    <a:pt x="175" y="479"/>
                  </a:lnTo>
                  <a:lnTo>
                    <a:pt x="175" y="483"/>
                  </a:lnTo>
                  <a:lnTo>
                    <a:pt x="171" y="483"/>
                  </a:lnTo>
                  <a:lnTo>
                    <a:pt x="175" y="483"/>
                  </a:lnTo>
                  <a:lnTo>
                    <a:pt x="171" y="483"/>
                  </a:lnTo>
                  <a:lnTo>
                    <a:pt x="167" y="483"/>
                  </a:lnTo>
                  <a:lnTo>
                    <a:pt x="167" y="487"/>
                  </a:lnTo>
                  <a:lnTo>
                    <a:pt x="167" y="491"/>
                  </a:lnTo>
                  <a:lnTo>
                    <a:pt x="163" y="491"/>
                  </a:lnTo>
                  <a:lnTo>
                    <a:pt x="163" y="495"/>
                  </a:lnTo>
                  <a:lnTo>
                    <a:pt x="159" y="499"/>
                  </a:lnTo>
                  <a:lnTo>
                    <a:pt x="163" y="499"/>
                  </a:lnTo>
                  <a:lnTo>
                    <a:pt x="163" y="503"/>
                  </a:lnTo>
                  <a:lnTo>
                    <a:pt x="167" y="503"/>
                  </a:lnTo>
                  <a:lnTo>
                    <a:pt x="163" y="503"/>
                  </a:lnTo>
                  <a:lnTo>
                    <a:pt x="159" y="503"/>
                  </a:lnTo>
                  <a:lnTo>
                    <a:pt x="155" y="507"/>
                  </a:lnTo>
                  <a:lnTo>
                    <a:pt x="151" y="507"/>
                  </a:lnTo>
                  <a:lnTo>
                    <a:pt x="151" y="511"/>
                  </a:lnTo>
                  <a:lnTo>
                    <a:pt x="151" y="515"/>
                  </a:lnTo>
                  <a:lnTo>
                    <a:pt x="147" y="519"/>
                  </a:lnTo>
                  <a:lnTo>
                    <a:pt x="143" y="523"/>
                  </a:lnTo>
                  <a:lnTo>
                    <a:pt x="139" y="523"/>
                  </a:lnTo>
                  <a:lnTo>
                    <a:pt x="135" y="523"/>
                  </a:lnTo>
                  <a:lnTo>
                    <a:pt x="135" y="519"/>
                  </a:lnTo>
                  <a:lnTo>
                    <a:pt x="131" y="519"/>
                  </a:lnTo>
                  <a:lnTo>
                    <a:pt x="131" y="515"/>
                  </a:lnTo>
                  <a:lnTo>
                    <a:pt x="127" y="515"/>
                  </a:lnTo>
                  <a:lnTo>
                    <a:pt x="127" y="511"/>
                  </a:lnTo>
                  <a:lnTo>
                    <a:pt x="127" y="507"/>
                  </a:lnTo>
                  <a:lnTo>
                    <a:pt x="123" y="507"/>
                  </a:lnTo>
                  <a:lnTo>
                    <a:pt x="123" y="503"/>
                  </a:lnTo>
                  <a:lnTo>
                    <a:pt x="123" y="499"/>
                  </a:lnTo>
                  <a:lnTo>
                    <a:pt x="123" y="495"/>
                  </a:lnTo>
                  <a:lnTo>
                    <a:pt x="119" y="491"/>
                  </a:lnTo>
                  <a:lnTo>
                    <a:pt x="123" y="491"/>
                  </a:lnTo>
                  <a:lnTo>
                    <a:pt x="119" y="491"/>
                  </a:lnTo>
                  <a:lnTo>
                    <a:pt x="123" y="495"/>
                  </a:lnTo>
                  <a:lnTo>
                    <a:pt x="123" y="499"/>
                  </a:lnTo>
                  <a:lnTo>
                    <a:pt x="123" y="495"/>
                  </a:lnTo>
                  <a:lnTo>
                    <a:pt x="123" y="491"/>
                  </a:lnTo>
                  <a:lnTo>
                    <a:pt x="119" y="491"/>
                  </a:lnTo>
                  <a:lnTo>
                    <a:pt x="119" y="487"/>
                  </a:lnTo>
                  <a:lnTo>
                    <a:pt x="119" y="491"/>
                  </a:lnTo>
                  <a:lnTo>
                    <a:pt x="119" y="487"/>
                  </a:lnTo>
                  <a:lnTo>
                    <a:pt x="119" y="483"/>
                  </a:lnTo>
                  <a:lnTo>
                    <a:pt x="119" y="479"/>
                  </a:lnTo>
                  <a:lnTo>
                    <a:pt x="115" y="475"/>
                  </a:lnTo>
                  <a:lnTo>
                    <a:pt x="115" y="471"/>
                  </a:lnTo>
                  <a:lnTo>
                    <a:pt x="111" y="463"/>
                  </a:lnTo>
                  <a:lnTo>
                    <a:pt x="111" y="459"/>
                  </a:lnTo>
                  <a:lnTo>
                    <a:pt x="107" y="455"/>
                  </a:lnTo>
                  <a:lnTo>
                    <a:pt x="107" y="451"/>
                  </a:lnTo>
                  <a:lnTo>
                    <a:pt x="103" y="451"/>
                  </a:lnTo>
                  <a:lnTo>
                    <a:pt x="103" y="447"/>
                  </a:lnTo>
                  <a:lnTo>
                    <a:pt x="103" y="443"/>
                  </a:lnTo>
                  <a:lnTo>
                    <a:pt x="99" y="439"/>
                  </a:lnTo>
                  <a:lnTo>
                    <a:pt x="99" y="435"/>
                  </a:lnTo>
                  <a:lnTo>
                    <a:pt x="99" y="431"/>
                  </a:lnTo>
                  <a:lnTo>
                    <a:pt x="99" y="427"/>
                  </a:lnTo>
                  <a:lnTo>
                    <a:pt x="96" y="423"/>
                  </a:lnTo>
                  <a:lnTo>
                    <a:pt x="96" y="419"/>
                  </a:lnTo>
                  <a:lnTo>
                    <a:pt x="96" y="415"/>
                  </a:lnTo>
                  <a:lnTo>
                    <a:pt x="96" y="411"/>
                  </a:lnTo>
                  <a:lnTo>
                    <a:pt x="92" y="411"/>
                  </a:lnTo>
                  <a:lnTo>
                    <a:pt x="92" y="407"/>
                  </a:lnTo>
                  <a:lnTo>
                    <a:pt x="92" y="403"/>
                  </a:lnTo>
                  <a:lnTo>
                    <a:pt x="92" y="407"/>
                  </a:lnTo>
                  <a:lnTo>
                    <a:pt x="92" y="403"/>
                  </a:lnTo>
                  <a:lnTo>
                    <a:pt x="88" y="403"/>
                  </a:lnTo>
                  <a:lnTo>
                    <a:pt x="88" y="399"/>
                  </a:lnTo>
                  <a:lnTo>
                    <a:pt x="88" y="395"/>
                  </a:lnTo>
                  <a:lnTo>
                    <a:pt x="84" y="391"/>
                  </a:lnTo>
                  <a:lnTo>
                    <a:pt x="84" y="387"/>
                  </a:lnTo>
                  <a:lnTo>
                    <a:pt x="88" y="391"/>
                  </a:lnTo>
                  <a:lnTo>
                    <a:pt x="88" y="387"/>
                  </a:lnTo>
                  <a:lnTo>
                    <a:pt x="84" y="387"/>
                  </a:lnTo>
                  <a:lnTo>
                    <a:pt x="84" y="383"/>
                  </a:lnTo>
                  <a:lnTo>
                    <a:pt x="80" y="383"/>
                  </a:lnTo>
                  <a:lnTo>
                    <a:pt x="80" y="379"/>
                  </a:lnTo>
                  <a:lnTo>
                    <a:pt x="80" y="375"/>
                  </a:lnTo>
                  <a:lnTo>
                    <a:pt x="76" y="371"/>
                  </a:lnTo>
                  <a:lnTo>
                    <a:pt x="76" y="367"/>
                  </a:lnTo>
                  <a:lnTo>
                    <a:pt x="76" y="363"/>
                  </a:lnTo>
                  <a:lnTo>
                    <a:pt x="76" y="359"/>
                  </a:lnTo>
                  <a:lnTo>
                    <a:pt x="76" y="355"/>
                  </a:lnTo>
                  <a:lnTo>
                    <a:pt x="76" y="351"/>
                  </a:lnTo>
                  <a:lnTo>
                    <a:pt x="76" y="347"/>
                  </a:lnTo>
                  <a:lnTo>
                    <a:pt x="72" y="347"/>
                  </a:lnTo>
                  <a:lnTo>
                    <a:pt x="72" y="343"/>
                  </a:lnTo>
                  <a:lnTo>
                    <a:pt x="72" y="339"/>
                  </a:lnTo>
                  <a:lnTo>
                    <a:pt x="72" y="335"/>
                  </a:lnTo>
                  <a:lnTo>
                    <a:pt x="72" y="331"/>
                  </a:lnTo>
                  <a:lnTo>
                    <a:pt x="68" y="327"/>
                  </a:lnTo>
                  <a:lnTo>
                    <a:pt x="72" y="327"/>
                  </a:lnTo>
                  <a:lnTo>
                    <a:pt x="72" y="323"/>
                  </a:lnTo>
                  <a:lnTo>
                    <a:pt x="72" y="319"/>
                  </a:lnTo>
                  <a:lnTo>
                    <a:pt x="72" y="323"/>
                  </a:lnTo>
                  <a:lnTo>
                    <a:pt x="68" y="323"/>
                  </a:lnTo>
                  <a:lnTo>
                    <a:pt x="68" y="319"/>
                  </a:lnTo>
                  <a:lnTo>
                    <a:pt x="68" y="315"/>
                  </a:lnTo>
                  <a:lnTo>
                    <a:pt x="72" y="315"/>
                  </a:lnTo>
                  <a:lnTo>
                    <a:pt x="72" y="319"/>
                  </a:lnTo>
                  <a:lnTo>
                    <a:pt x="72" y="315"/>
                  </a:lnTo>
                  <a:lnTo>
                    <a:pt x="68" y="315"/>
                  </a:lnTo>
                  <a:lnTo>
                    <a:pt x="68" y="311"/>
                  </a:lnTo>
                  <a:lnTo>
                    <a:pt x="68" y="307"/>
                  </a:lnTo>
                  <a:lnTo>
                    <a:pt x="68" y="303"/>
                  </a:lnTo>
                  <a:lnTo>
                    <a:pt x="68" y="299"/>
                  </a:lnTo>
                  <a:lnTo>
                    <a:pt x="68" y="295"/>
                  </a:lnTo>
                  <a:lnTo>
                    <a:pt x="72" y="295"/>
                  </a:lnTo>
                  <a:lnTo>
                    <a:pt x="72" y="288"/>
                  </a:lnTo>
                  <a:lnTo>
                    <a:pt x="68" y="288"/>
                  </a:lnTo>
                  <a:lnTo>
                    <a:pt x="68" y="284"/>
                  </a:lnTo>
                  <a:lnTo>
                    <a:pt x="68" y="280"/>
                  </a:lnTo>
                  <a:lnTo>
                    <a:pt x="64" y="280"/>
                  </a:lnTo>
                  <a:lnTo>
                    <a:pt x="64" y="276"/>
                  </a:lnTo>
                  <a:lnTo>
                    <a:pt x="68" y="276"/>
                  </a:lnTo>
                  <a:lnTo>
                    <a:pt x="64" y="276"/>
                  </a:lnTo>
                  <a:lnTo>
                    <a:pt x="68" y="276"/>
                  </a:lnTo>
                  <a:lnTo>
                    <a:pt x="68" y="272"/>
                  </a:lnTo>
                  <a:lnTo>
                    <a:pt x="72" y="272"/>
                  </a:lnTo>
                  <a:lnTo>
                    <a:pt x="76" y="272"/>
                  </a:lnTo>
                  <a:lnTo>
                    <a:pt x="72" y="272"/>
                  </a:lnTo>
                  <a:lnTo>
                    <a:pt x="68" y="272"/>
                  </a:lnTo>
                  <a:lnTo>
                    <a:pt x="64" y="272"/>
                  </a:lnTo>
                  <a:lnTo>
                    <a:pt x="64" y="268"/>
                  </a:lnTo>
                  <a:lnTo>
                    <a:pt x="68" y="268"/>
                  </a:lnTo>
                  <a:lnTo>
                    <a:pt x="64" y="268"/>
                  </a:lnTo>
                  <a:lnTo>
                    <a:pt x="64" y="264"/>
                  </a:lnTo>
                  <a:lnTo>
                    <a:pt x="68" y="260"/>
                  </a:lnTo>
                  <a:lnTo>
                    <a:pt x="68" y="264"/>
                  </a:lnTo>
                  <a:lnTo>
                    <a:pt x="68" y="260"/>
                  </a:lnTo>
                  <a:lnTo>
                    <a:pt x="72" y="260"/>
                  </a:lnTo>
                  <a:lnTo>
                    <a:pt x="68" y="260"/>
                  </a:lnTo>
                  <a:lnTo>
                    <a:pt x="64" y="260"/>
                  </a:lnTo>
                  <a:lnTo>
                    <a:pt x="60" y="260"/>
                  </a:lnTo>
                  <a:lnTo>
                    <a:pt x="60" y="264"/>
                  </a:lnTo>
                  <a:lnTo>
                    <a:pt x="60" y="268"/>
                  </a:lnTo>
                  <a:lnTo>
                    <a:pt x="56" y="268"/>
                  </a:lnTo>
                  <a:lnTo>
                    <a:pt x="60" y="268"/>
                  </a:lnTo>
                  <a:lnTo>
                    <a:pt x="56" y="268"/>
                  </a:lnTo>
                  <a:lnTo>
                    <a:pt x="56" y="272"/>
                  </a:lnTo>
                  <a:lnTo>
                    <a:pt x="60" y="268"/>
                  </a:lnTo>
                  <a:lnTo>
                    <a:pt x="60" y="272"/>
                  </a:lnTo>
                  <a:lnTo>
                    <a:pt x="60" y="276"/>
                  </a:lnTo>
                  <a:lnTo>
                    <a:pt x="60" y="280"/>
                  </a:lnTo>
                  <a:lnTo>
                    <a:pt x="56" y="280"/>
                  </a:lnTo>
                  <a:lnTo>
                    <a:pt x="56" y="284"/>
                  </a:lnTo>
                  <a:lnTo>
                    <a:pt x="52" y="284"/>
                  </a:lnTo>
                  <a:lnTo>
                    <a:pt x="48" y="288"/>
                  </a:lnTo>
                  <a:lnTo>
                    <a:pt x="44" y="288"/>
                  </a:lnTo>
                  <a:lnTo>
                    <a:pt x="40" y="292"/>
                  </a:lnTo>
                  <a:lnTo>
                    <a:pt x="36" y="288"/>
                  </a:lnTo>
                  <a:lnTo>
                    <a:pt x="32" y="288"/>
                  </a:lnTo>
                  <a:lnTo>
                    <a:pt x="32" y="284"/>
                  </a:lnTo>
                  <a:lnTo>
                    <a:pt x="28" y="284"/>
                  </a:lnTo>
                  <a:lnTo>
                    <a:pt x="28" y="280"/>
                  </a:lnTo>
                  <a:lnTo>
                    <a:pt x="24" y="280"/>
                  </a:lnTo>
                  <a:lnTo>
                    <a:pt x="24" y="276"/>
                  </a:lnTo>
                  <a:lnTo>
                    <a:pt x="20" y="272"/>
                  </a:lnTo>
                  <a:lnTo>
                    <a:pt x="16" y="268"/>
                  </a:lnTo>
                  <a:lnTo>
                    <a:pt x="12" y="264"/>
                  </a:lnTo>
                  <a:lnTo>
                    <a:pt x="12" y="260"/>
                  </a:lnTo>
                  <a:lnTo>
                    <a:pt x="12" y="256"/>
                  </a:lnTo>
                  <a:lnTo>
                    <a:pt x="12" y="260"/>
                  </a:lnTo>
                  <a:lnTo>
                    <a:pt x="16" y="260"/>
                  </a:lnTo>
                  <a:lnTo>
                    <a:pt x="12" y="260"/>
                  </a:lnTo>
                  <a:lnTo>
                    <a:pt x="16" y="260"/>
                  </a:lnTo>
                  <a:lnTo>
                    <a:pt x="20" y="260"/>
                  </a:lnTo>
                  <a:lnTo>
                    <a:pt x="24" y="260"/>
                  </a:lnTo>
                  <a:lnTo>
                    <a:pt x="24" y="256"/>
                  </a:lnTo>
                  <a:lnTo>
                    <a:pt x="28" y="256"/>
                  </a:lnTo>
                  <a:lnTo>
                    <a:pt x="32" y="252"/>
                  </a:lnTo>
                  <a:lnTo>
                    <a:pt x="32" y="248"/>
                  </a:lnTo>
                  <a:lnTo>
                    <a:pt x="36" y="248"/>
                  </a:lnTo>
                  <a:lnTo>
                    <a:pt x="36" y="244"/>
                  </a:lnTo>
                  <a:lnTo>
                    <a:pt x="32" y="244"/>
                  </a:lnTo>
                  <a:lnTo>
                    <a:pt x="32" y="248"/>
                  </a:lnTo>
                  <a:lnTo>
                    <a:pt x="24" y="248"/>
                  </a:lnTo>
                  <a:lnTo>
                    <a:pt x="24" y="252"/>
                  </a:lnTo>
                  <a:lnTo>
                    <a:pt x="20" y="252"/>
                  </a:lnTo>
                  <a:lnTo>
                    <a:pt x="16" y="252"/>
                  </a:lnTo>
                  <a:lnTo>
                    <a:pt x="16" y="248"/>
                  </a:lnTo>
                  <a:lnTo>
                    <a:pt x="12" y="248"/>
                  </a:lnTo>
                  <a:lnTo>
                    <a:pt x="8" y="248"/>
                  </a:lnTo>
                  <a:lnTo>
                    <a:pt x="8" y="244"/>
                  </a:lnTo>
                  <a:lnTo>
                    <a:pt x="4" y="240"/>
                  </a:lnTo>
                  <a:lnTo>
                    <a:pt x="4" y="236"/>
                  </a:lnTo>
                  <a:lnTo>
                    <a:pt x="4" y="232"/>
                  </a:lnTo>
                  <a:lnTo>
                    <a:pt x="8" y="232"/>
                  </a:lnTo>
                  <a:lnTo>
                    <a:pt x="4" y="232"/>
                  </a:lnTo>
                  <a:lnTo>
                    <a:pt x="0" y="236"/>
                  </a:lnTo>
                  <a:lnTo>
                    <a:pt x="0" y="232"/>
                  </a:lnTo>
                  <a:close/>
                  <a:moveTo>
                    <a:pt x="303" y="268"/>
                  </a:moveTo>
                  <a:lnTo>
                    <a:pt x="303" y="272"/>
                  </a:lnTo>
                  <a:lnTo>
                    <a:pt x="299" y="272"/>
                  </a:lnTo>
                  <a:lnTo>
                    <a:pt x="299" y="268"/>
                  </a:lnTo>
                  <a:lnTo>
                    <a:pt x="303" y="268"/>
                  </a:lnTo>
                  <a:close/>
                  <a:moveTo>
                    <a:pt x="371" y="451"/>
                  </a:moveTo>
                  <a:lnTo>
                    <a:pt x="371" y="447"/>
                  </a:lnTo>
                  <a:lnTo>
                    <a:pt x="375" y="447"/>
                  </a:lnTo>
                  <a:lnTo>
                    <a:pt x="371" y="451"/>
                  </a:lnTo>
                  <a:close/>
                  <a:moveTo>
                    <a:pt x="371" y="463"/>
                  </a:moveTo>
                  <a:lnTo>
                    <a:pt x="367" y="463"/>
                  </a:lnTo>
                  <a:lnTo>
                    <a:pt x="371" y="463"/>
                  </a:lnTo>
                  <a:close/>
                  <a:moveTo>
                    <a:pt x="371" y="503"/>
                  </a:moveTo>
                  <a:lnTo>
                    <a:pt x="371" y="507"/>
                  </a:lnTo>
                  <a:lnTo>
                    <a:pt x="371" y="503"/>
                  </a:lnTo>
                  <a:close/>
                  <a:moveTo>
                    <a:pt x="72" y="519"/>
                  </a:moveTo>
                  <a:lnTo>
                    <a:pt x="72" y="523"/>
                  </a:lnTo>
                  <a:lnTo>
                    <a:pt x="72" y="519"/>
                  </a:lnTo>
                  <a:close/>
                  <a:moveTo>
                    <a:pt x="383" y="523"/>
                  </a:moveTo>
                  <a:lnTo>
                    <a:pt x="383" y="527"/>
                  </a:lnTo>
                  <a:lnTo>
                    <a:pt x="383" y="523"/>
                  </a:lnTo>
                  <a:close/>
                  <a:moveTo>
                    <a:pt x="379" y="527"/>
                  </a:moveTo>
                  <a:lnTo>
                    <a:pt x="383" y="527"/>
                  </a:lnTo>
                  <a:lnTo>
                    <a:pt x="379" y="527"/>
                  </a:lnTo>
                  <a:close/>
                  <a:moveTo>
                    <a:pt x="387" y="539"/>
                  </a:moveTo>
                  <a:lnTo>
                    <a:pt x="383" y="539"/>
                  </a:lnTo>
                  <a:lnTo>
                    <a:pt x="387" y="539"/>
                  </a:lnTo>
                  <a:lnTo>
                    <a:pt x="387" y="535"/>
                  </a:lnTo>
                  <a:lnTo>
                    <a:pt x="387" y="539"/>
                  </a:lnTo>
                  <a:close/>
                  <a:moveTo>
                    <a:pt x="371" y="435"/>
                  </a:moveTo>
                  <a:lnTo>
                    <a:pt x="371" y="431"/>
                  </a:lnTo>
                  <a:lnTo>
                    <a:pt x="371" y="427"/>
                  </a:lnTo>
                  <a:lnTo>
                    <a:pt x="375" y="427"/>
                  </a:lnTo>
                  <a:lnTo>
                    <a:pt x="375" y="423"/>
                  </a:lnTo>
                  <a:lnTo>
                    <a:pt x="375" y="427"/>
                  </a:lnTo>
                  <a:lnTo>
                    <a:pt x="375" y="431"/>
                  </a:lnTo>
                  <a:lnTo>
                    <a:pt x="375" y="435"/>
                  </a:lnTo>
                  <a:lnTo>
                    <a:pt x="375" y="431"/>
                  </a:lnTo>
                  <a:lnTo>
                    <a:pt x="371" y="435"/>
                  </a:lnTo>
                  <a:close/>
                  <a:moveTo>
                    <a:pt x="371" y="447"/>
                  </a:moveTo>
                  <a:lnTo>
                    <a:pt x="371" y="443"/>
                  </a:lnTo>
                  <a:lnTo>
                    <a:pt x="371" y="439"/>
                  </a:lnTo>
                  <a:lnTo>
                    <a:pt x="371" y="435"/>
                  </a:lnTo>
                  <a:lnTo>
                    <a:pt x="375" y="435"/>
                  </a:lnTo>
                  <a:lnTo>
                    <a:pt x="375" y="439"/>
                  </a:lnTo>
                  <a:lnTo>
                    <a:pt x="375" y="443"/>
                  </a:lnTo>
                  <a:lnTo>
                    <a:pt x="371" y="443"/>
                  </a:lnTo>
                  <a:lnTo>
                    <a:pt x="371" y="447"/>
                  </a:lnTo>
                  <a:lnTo>
                    <a:pt x="375" y="447"/>
                  </a:lnTo>
                  <a:lnTo>
                    <a:pt x="371" y="447"/>
                  </a:lnTo>
                  <a:close/>
                  <a:moveTo>
                    <a:pt x="371" y="451"/>
                  </a:moveTo>
                  <a:lnTo>
                    <a:pt x="371" y="455"/>
                  </a:lnTo>
                  <a:lnTo>
                    <a:pt x="371" y="459"/>
                  </a:lnTo>
                  <a:lnTo>
                    <a:pt x="371" y="463"/>
                  </a:lnTo>
                  <a:lnTo>
                    <a:pt x="367" y="459"/>
                  </a:lnTo>
                  <a:lnTo>
                    <a:pt x="367" y="455"/>
                  </a:lnTo>
                  <a:lnTo>
                    <a:pt x="371" y="455"/>
                  </a:lnTo>
                  <a:lnTo>
                    <a:pt x="371" y="451"/>
                  </a:lnTo>
                  <a:lnTo>
                    <a:pt x="371" y="447"/>
                  </a:lnTo>
                  <a:lnTo>
                    <a:pt x="371" y="451"/>
                  </a:lnTo>
                  <a:lnTo>
                    <a:pt x="371" y="447"/>
                  </a:lnTo>
                  <a:lnTo>
                    <a:pt x="371" y="451"/>
                  </a:lnTo>
                  <a:close/>
                  <a:moveTo>
                    <a:pt x="367" y="475"/>
                  </a:moveTo>
                  <a:lnTo>
                    <a:pt x="367" y="479"/>
                  </a:lnTo>
                  <a:lnTo>
                    <a:pt x="363" y="479"/>
                  </a:lnTo>
                  <a:lnTo>
                    <a:pt x="363" y="475"/>
                  </a:lnTo>
                  <a:lnTo>
                    <a:pt x="367" y="475"/>
                  </a:lnTo>
                  <a:lnTo>
                    <a:pt x="367" y="471"/>
                  </a:lnTo>
                  <a:lnTo>
                    <a:pt x="367" y="475"/>
                  </a:lnTo>
                  <a:close/>
                  <a:moveTo>
                    <a:pt x="387" y="543"/>
                  </a:moveTo>
                  <a:lnTo>
                    <a:pt x="387" y="547"/>
                  </a:lnTo>
                  <a:lnTo>
                    <a:pt x="387" y="551"/>
                  </a:lnTo>
                  <a:lnTo>
                    <a:pt x="387" y="547"/>
                  </a:lnTo>
                  <a:lnTo>
                    <a:pt x="387" y="543"/>
                  </a:lnTo>
                  <a:lnTo>
                    <a:pt x="383" y="543"/>
                  </a:lnTo>
                  <a:lnTo>
                    <a:pt x="387" y="539"/>
                  </a:lnTo>
                  <a:lnTo>
                    <a:pt x="387" y="5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" name="Freeform 17"/>
            <p:cNvSpPr>
              <a:spLocks noEditPoints="1"/>
            </p:cNvSpPr>
            <p:nvPr>
              <p:custDataLst>
                <p:tags r:id="rId213"/>
              </p:custDataLst>
            </p:nvPr>
          </p:nvSpPr>
          <p:spPr bwMode="gray">
            <a:xfrm>
              <a:off x="6511673" y="4432818"/>
              <a:ext cx="1029246" cy="461232"/>
            </a:xfrm>
            <a:custGeom>
              <a:avLst/>
              <a:gdLst/>
              <a:ahLst/>
              <a:cxnLst>
                <a:cxn ang="0">
                  <a:pos x="462" y="44"/>
                </a:cxn>
                <a:cxn ang="0">
                  <a:pos x="486" y="120"/>
                </a:cxn>
                <a:cxn ang="0">
                  <a:pos x="590" y="219"/>
                </a:cxn>
                <a:cxn ang="0">
                  <a:pos x="546" y="243"/>
                </a:cxn>
                <a:cxn ang="0">
                  <a:pos x="139" y="136"/>
                </a:cxn>
                <a:cxn ang="0">
                  <a:pos x="163" y="215"/>
                </a:cxn>
                <a:cxn ang="0">
                  <a:pos x="103" y="175"/>
                </a:cxn>
                <a:cxn ang="0">
                  <a:pos x="51" y="76"/>
                </a:cxn>
                <a:cxn ang="0">
                  <a:pos x="24" y="16"/>
                </a:cxn>
                <a:cxn ang="0">
                  <a:pos x="83" y="72"/>
                </a:cxn>
                <a:cxn ang="0">
                  <a:pos x="131" y="104"/>
                </a:cxn>
                <a:cxn ang="0">
                  <a:pos x="267" y="80"/>
                </a:cxn>
                <a:cxn ang="0">
                  <a:pos x="339" y="32"/>
                </a:cxn>
                <a:cxn ang="0">
                  <a:pos x="359" y="96"/>
                </a:cxn>
                <a:cxn ang="0">
                  <a:pos x="323" y="148"/>
                </a:cxn>
                <a:cxn ang="0">
                  <a:pos x="279" y="167"/>
                </a:cxn>
                <a:cxn ang="0">
                  <a:pos x="223" y="140"/>
                </a:cxn>
                <a:cxn ang="0">
                  <a:pos x="195" y="40"/>
                </a:cxn>
                <a:cxn ang="0">
                  <a:pos x="506" y="64"/>
                </a:cxn>
                <a:cxn ang="0">
                  <a:pos x="490" y="92"/>
                </a:cxn>
                <a:cxn ang="0">
                  <a:pos x="498" y="120"/>
                </a:cxn>
                <a:cxn ang="0">
                  <a:pos x="410" y="171"/>
                </a:cxn>
                <a:cxn ang="0">
                  <a:pos x="379" y="167"/>
                </a:cxn>
                <a:cxn ang="0">
                  <a:pos x="363" y="175"/>
                </a:cxn>
                <a:cxn ang="0">
                  <a:pos x="375" y="112"/>
                </a:cxn>
                <a:cxn ang="0">
                  <a:pos x="438" y="92"/>
                </a:cxn>
                <a:cxn ang="0">
                  <a:pos x="391" y="100"/>
                </a:cxn>
                <a:cxn ang="0">
                  <a:pos x="426" y="124"/>
                </a:cxn>
                <a:cxn ang="0">
                  <a:pos x="143" y="88"/>
                </a:cxn>
                <a:cxn ang="0">
                  <a:pos x="135" y="96"/>
                </a:cxn>
                <a:cxn ang="0">
                  <a:pos x="534" y="116"/>
                </a:cxn>
                <a:cxn ang="0">
                  <a:pos x="143" y="116"/>
                </a:cxn>
                <a:cxn ang="0">
                  <a:pos x="634" y="199"/>
                </a:cxn>
                <a:cxn ang="0">
                  <a:pos x="574" y="183"/>
                </a:cxn>
                <a:cxn ang="0">
                  <a:pos x="558" y="148"/>
                </a:cxn>
                <a:cxn ang="0">
                  <a:pos x="590" y="156"/>
                </a:cxn>
                <a:cxn ang="0">
                  <a:pos x="650" y="136"/>
                </a:cxn>
                <a:cxn ang="0">
                  <a:pos x="678" y="259"/>
                </a:cxn>
                <a:cxn ang="0">
                  <a:pos x="614" y="124"/>
                </a:cxn>
                <a:cxn ang="0">
                  <a:pos x="215" y="128"/>
                </a:cxn>
                <a:cxn ang="0">
                  <a:pos x="163" y="152"/>
                </a:cxn>
                <a:cxn ang="0">
                  <a:pos x="630" y="144"/>
                </a:cxn>
                <a:cxn ang="0">
                  <a:pos x="470" y="144"/>
                </a:cxn>
                <a:cxn ang="0">
                  <a:pos x="79" y="167"/>
                </a:cxn>
                <a:cxn ang="0">
                  <a:pos x="526" y="164"/>
                </a:cxn>
                <a:cxn ang="0">
                  <a:pos x="315" y="171"/>
                </a:cxn>
                <a:cxn ang="0">
                  <a:pos x="418" y="207"/>
                </a:cxn>
                <a:cxn ang="0">
                  <a:pos x="111" y="211"/>
                </a:cxn>
                <a:cxn ang="0">
                  <a:pos x="191" y="247"/>
                </a:cxn>
                <a:cxn ang="0">
                  <a:pos x="191" y="223"/>
                </a:cxn>
                <a:cxn ang="0">
                  <a:pos x="267" y="243"/>
                </a:cxn>
                <a:cxn ang="0">
                  <a:pos x="243" y="259"/>
                </a:cxn>
                <a:cxn ang="0">
                  <a:pos x="287" y="235"/>
                </a:cxn>
                <a:cxn ang="0">
                  <a:pos x="650" y="263"/>
                </a:cxn>
                <a:cxn ang="0">
                  <a:pos x="414" y="271"/>
                </a:cxn>
                <a:cxn ang="0">
                  <a:pos x="418" y="263"/>
                </a:cxn>
                <a:cxn ang="0">
                  <a:pos x="347" y="259"/>
                </a:cxn>
                <a:cxn ang="0">
                  <a:pos x="319" y="271"/>
                </a:cxn>
                <a:cxn ang="0">
                  <a:pos x="375" y="279"/>
                </a:cxn>
                <a:cxn ang="0">
                  <a:pos x="422" y="311"/>
                </a:cxn>
                <a:cxn ang="0">
                  <a:pos x="426" y="267"/>
                </a:cxn>
                <a:cxn ang="0">
                  <a:pos x="442" y="279"/>
                </a:cxn>
              </a:cxnLst>
              <a:rect l="0" t="0" r="r" b="b"/>
              <a:pathLst>
                <a:path w="694" h="311">
                  <a:moveTo>
                    <a:pt x="123" y="100"/>
                  </a:moveTo>
                  <a:lnTo>
                    <a:pt x="119" y="100"/>
                  </a:lnTo>
                  <a:lnTo>
                    <a:pt x="119" y="96"/>
                  </a:lnTo>
                  <a:lnTo>
                    <a:pt x="123" y="96"/>
                  </a:lnTo>
                  <a:lnTo>
                    <a:pt x="123" y="100"/>
                  </a:lnTo>
                  <a:close/>
                  <a:moveTo>
                    <a:pt x="494" y="167"/>
                  </a:moveTo>
                  <a:lnTo>
                    <a:pt x="490" y="167"/>
                  </a:lnTo>
                  <a:lnTo>
                    <a:pt x="494" y="167"/>
                  </a:lnTo>
                  <a:close/>
                  <a:moveTo>
                    <a:pt x="323" y="171"/>
                  </a:moveTo>
                  <a:lnTo>
                    <a:pt x="323" y="175"/>
                  </a:lnTo>
                  <a:lnTo>
                    <a:pt x="319" y="175"/>
                  </a:lnTo>
                  <a:lnTo>
                    <a:pt x="323" y="171"/>
                  </a:lnTo>
                  <a:close/>
                  <a:moveTo>
                    <a:pt x="478" y="36"/>
                  </a:moveTo>
                  <a:lnTo>
                    <a:pt x="478" y="32"/>
                  </a:lnTo>
                  <a:lnTo>
                    <a:pt x="478" y="28"/>
                  </a:lnTo>
                  <a:lnTo>
                    <a:pt x="482" y="32"/>
                  </a:lnTo>
                  <a:lnTo>
                    <a:pt x="478" y="32"/>
                  </a:lnTo>
                  <a:lnTo>
                    <a:pt x="478" y="36"/>
                  </a:lnTo>
                  <a:close/>
                  <a:moveTo>
                    <a:pt x="343" y="32"/>
                  </a:moveTo>
                  <a:lnTo>
                    <a:pt x="343" y="36"/>
                  </a:lnTo>
                  <a:lnTo>
                    <a:pt x="347" y="36"/>
                  </a:lnTo>
                  <a:lnTo>
                    <a:pt x="343" y="36"/>
                  </a:lnTo>
                  <a:lnTo>
                    <a:pt x="343" y="32"/>
                  </a:lnTo>
                  <a:close/>
                  <a:moveTo>
                    <a:pt x="339" y="36"/>
                  </a:moveTo>
                  <a:lnTo>
                    <a:pt x="343" y="36"/>
                  </a:lnTo>
                  <a:lnTo>
                    <a:pt x="339" y="36"/>
                  </a:lnTo>
                  <a:close/>
                  <a:moveTo>
                    <a:pt x="478" y="40"/>
                  </a:moveTo>
                  <a:lnTo>
                    <a:pt x="474" y="36"/>
                  </a:lnTo>
                  <a:lnTo>
                    <a:pt x="478" y="36"/>
                  </a:lnTo>
                  <a:lnTo>
                    <a:pt x="478" y="40"/>
                  </a:lnTo>
                  <a:close/>
                  <a:moveTo>
                    <a:pt x="466" y="48"/>
                  </a:moveTo>
                  <a:lnTo>
                    <a:pt x="462" y="48"/>
                  </a:lnTo>
                  <a:lnTo>
                    <a:pt x="462" y="44"/>
                  </a:lnTo>
                  <a:lnTo>
                    <a:pt x="462" y="40"/>
                  </a:lnTo>
                  <a:lnTo>
                    <a:pt x="462" y="44"/>
                  </a:lnTo>
                  <a:lnTo>
                    <a:pt x="466" y="48"/>
                  </a:lnTo>
                  <a:close/>
                  <a:moveTo>
                    <a:pt x="335" y="44"/>
                  </a:moveTo>
                  <a:lnTo>
                    <a:pt x="339" y="48"/>
                  </a:lnTo>
                  <a:lnTo>
                    <a:pt x="335" y="48"/>
                  </a:lnTo>
                  <a:lnTo>
                    <a:pt x="335" y="44"/>
                  </a:lnTo>
                  <a:close/>
                  <a:moveTo>
                    <a:pt x="339" y="48"/>
                  </a:moveTo>
                  <a:lnTo>
                    <a:pt x="343" y="48"/>
                  </a:lnTo>
                  <a:lnTo>
                    <a:pt x="339" y="52"/>
                  </a:lnTo>
                  <a:lnTo>
                    <a:pt x="339" y="48"/>
                  </a:lnTo>
                  <a:close/>
                  <a:moveTo>
                    <a:pt x="522" y="116"/>
                  </a:moveTo>
                  <a:lnTo>
                    <a:pt x="518" y="112"/>
                  </a:lnTo>
                  <a:lnTo>
                    <a:pt x="518" y="108"/>
                  </a:lnTo>
                  <a:lnTo>
                    <a:pt x="522" y="112"/>
                  </a:lnTo>
                  <a:lnTo>
                    <a:pt x="522" y="116"/>
                  </a:lnTo>
                  <a:close/>
                  <a:moveTo>
                    <a:pt x="131" y="116"/>
                  </a:moveTo>
                  <a:lnTo>
                    <a:pt x="127" y="116"/>
                  </a:lnTo>
                  <a:lnTo>
                    <a:pt x="131" y="116"/>
                  </a:lnTo>
                  <a:close/>
                  <a:moveTo>
                    <a:pt x="486" y="116"/>
                  </a:moveTo>
                  <a:lnTo>
                    <a:pt x="486" y="120"/>
                  </a:lnTo>
                  <a:lnTo>
                    <a:pt x="482" y="120"/>
                  </a:lnTo>
                  <a:lnTo>
                    <a:pt x="482" y="116"/>
                  </a:lnTo>
                  <a:lnTo>
                    <a:pt x="486" y="116"/>
                  </a:lnTo>
                  <a:close/>
                  <a:moveTo>
                    <a:pt x="406" y="116"/>
                  </a:moveTo>
                  <a:lnTo>
                    <a:pt x="402" y="116"/>
                  </a:lnTo>
                  <a:lnTo>
                    <a:pt x="406" y="116"/>
                  </a:lnTo>
                  <a:close/>
                  <a:moveTo>
                    <a:pt x="406" y="120"/>
                  </a:moveTo>
                  <a:lnTo>
                    <a:pt x="402" y="120"/>
                  </a:lnTo>
                  <a:lnTo>
                    <a:pt x="402" y="116"/>
                  </a:lnTo>
                  <a:lnTo>
                    <a:pt x="406" y="116"/>
                  </a:lnTo>
                  <a:lnTo>
                    <a:pt x="406" y="120"/>
                  </a:lnTo>
                  <a:close/>
                  <a:moveTo>
                    <a:pt x="486" y="120"/>
                  </a:moveTo>
                  <a:lnTo>
                    <a:pt x="486" y="124"/>
                  </a:lnTo>
                  <a:lnTo>
                    <a:pt x="486" y="120"/>
                  </a:lnTo>
                  <a:close/>
                  <a:moveTo>
                    <a:pt x="602" y="128"/>
                  </a:moveTo>
                  <a:lnTo>
                    <a:pt x="602" y="132"/>
                  </a:lnTo>
                  <a:lnTo>
                    <a:pt x="602" y="128"/>
                  </a:lnTo>
                  <a:close/>
                  <a:moveTo>
                    <a:pt x="466" y="148"/>
                  </a:moveTo>
                  <a:lnTo>
                    <a:pt x="466" y="152"/>
                  </a:lnTo>
                  <a:lnTo>
                    <a:pt x="466" y="156"/>
                  </a:lnTo>
                  <a:lnTo>
                    <a:pt x="466" y="152"/>
                  </a:lnTo>
                  <a:lnTo>
                    <a:pt x="466" y="148"/>
                  </a:lnTo>
                  <a:close/>
                  <a:moveTo>
                    <a:pt x="506" y="175"/>
                  </a:moveTo>
                  <a:lnTo>
                    <a:pt x="510" y="175"/>
                  </a:lnTo>
                  <a:lnTo>
                    <a:pt x="506" y="175"/>
                  </a:lnTo>
                  <a:close/>
                  <a:moveTo>
                    <a:pt x="578" y="183"/>
                  </a:moveTo>
                  <a:lnTo>
                    <a:pt x="578" y="187"/>
                  </a:lnTo>
                  <a:lnTo>
                    <a:pt x="582" y="187"/>
                  </a:lnTo>
                  <a:lnTo>
                    <a:pt x="578" y="187"/>
                  </a:lnTo>
                  <a:lnTo>
                    <a:pt x="578" y="183"/>
                  </a:lnTo>
                  <a:close/>
                  <a:moveTo>
                    <a:pt x="574" y="207"/>
                  </a:moveTo>
                  <a:lnTo>
                    <a:pt x="574" y="211"/>
                  </a:lnTo>
                  <a:lnTo>
                    <a:pt x="574" y="215"/>
                  </a:lnTo>
                  <a:lnTo>
                    <a:pt x="570" y="219"/>
                  </a:lnTo>
                  <a:lnTo>
                    <a:pt x="570" y="215"/>
                  </a:lnTo>
                  <a:lnTo>
                    <a:pt x="574" y="211"/>
                  </a:lnTo>
                  <a:lnTo>
                    <a:pt x="574" y="207"/>
                  </a:lnTo>
                  <a:close/>
                  <a:moveTo>
                    <a:pt x="570" y="215"/>
                  </a:moveTo>
                  <a:lnTo>
                    <a:pt x="570" y="219"/>
                  </a:lnTo>
                  <a:lnTo>
                    <a:pt x="566" y="219"/>
                  </a:lnTo>
                  <a:lnTo>
                    <a:pt x="566" y="215"/>
                  </a:lnTo>
                  <a:lnTo>
                    <a:pt x="566" y="211"/>
                  </a:lnTo>
                  <a:lnTo>
                    <a:pt x="570" y="211"/>
                  </a:lnTo>
                  <a:lnTo>
                    <a:pt x="570" y="215"/>
                  </a:lnTo>
                  <a:close/>
                  <a:moveTo>
                    <a:pt x="590" y="219"/>
                  </a:moveTo>
                  <a:lnTo>
                    <a:pt x="590" y="223"/>
                  </a:lnTo>
                  <a:lnTo>
                    <a:pt x="594" y="223"/>
                  </a:lnTo>
                  <a:lnTo>
                    <a:pt x="594" y="227"/>
                  </a:lnTo>
                  <a:lnTo>
                    <a:pt x="590" y="223"/>
                  </a:lnTo>
                  <a:lnTo>
                    <a:pt x="590" y="219"/>
                  </a:lnTo>
                  <a:close/>
                  <a:moveTo>
                    <a:pt x="594" y="223"/>
                  </a:moveTo>
                  <a:lnTo>
                    <a:pt x="598" y="227"/>
                  </a:lnTo>
                  <a:lnTo>
                    <a:pt x="594" y="227"/>
                  </a:lnTo>
                  <a:lnTo>
                    <a:pt x="594" y="223"/>
                  </a:lnTo>
                  <a:close/>
                  <a:moveTo>
                    <a:pt x="602" y="223"/>
                  </a:moveTo>
                  <a:lnTo>
                    <a:pt x="602" y="227"/>
                  </a:lnTo>
                  <a:lnTo>
                    <a:pt x="602" y="223"/>
                  </a:lnTo>
                  <a:close/>
                  <a:moveTo>
                    <a:pt x="598" y="231"/>
                  </a:moveTo>
                  <a:lnTo>
                    <a:pt x="598" y="235"/>
                  </a:lnTo>
                  <a:lnTo>
                    <a:pt x="598" y="231"/>
                  </a:lnTo>
                  <a:close/>
                  <a:moveTo>
                    <a:pt x="658" y="231"/>
                  </a:moveTo>
                  <a:lnTo>
                    <a:pt x="658" y="235"/>
                  </a:lnTo>
                  <a:lnTo>
                    <a:pt x="662" y="235"/>
                  </a:lnTo>
                  <a:lnTo>
                    <a:pt x="658" y="235"/>
                  </a:lnTo>
                  <a:lnTo>
                    <a:pt x="658" y="231"/>
                  </a:lnTo>
                  <a:close/>
                  <a:moveTo>
                    <a:pt x="506" y="239"/>
                  </a:moveTo>
                  <a:lnTo>
                    <a:pt x="506" y="243"/>
                  </a:lnTo>
                  <a:lnTo>
                    <a:pt x="506" y="239"/>
                  </a:lnTo>
                  <a:close/>
                  <a:moveTo>
                    <a:pt x="558" y="239"/>
                  </a:moveTo>
                  <a:lnTo>
                    <a:pt x="558" y="243"/>
                  </a:lnTo>
                  <a:lnTo>
                    <a:pt x="558" y="239"/>
                  </a:lnTo>
                  <a:lnTo>
                    <a:pt x="554" y="239"/>
                  </a:lnTo>
                  <a:lnTo>
                    <a:pt x="558" y="239"/>
                  </a:lnTo>
                  <a:close/>
                  <a:moveTo>
                    <a:pt x="391" y="243"/>
                  </a:moveTo>
                  <a:lnTo>
                    <a:pt x="387" y="243"/>
                  </a:lnTo>
                  <a:lnTo>
                    <a:pt x="391" y="243"/>
                  </a:lnTo>
                  <a:close/>
                  <a:moveTo>
                    <a:pt x="542" y="247"/>
                  </a:moveTo>
                  <a:lnTo>
                    <a:pt x="546" y="243"/>
                  </a:lnTo>
                  <a:lnTo>
                    <a:pt x="546" y="247"/>
                  </a:lnTo>
                  <a:lnTo>
                    <a:pt x="542" y="247"/>
                  </a:lnTo>
                  <a:close/>
                  <a:moveTo>
                    <a:pt x="490" y="247"/>
                  </a:moveTo>
                  <a:lnTo>
                    <a:pt x="486" y="251"/>
                  </a:lnTo>
                  <a:lnTo>
                    <a:pt x="486" y="247"/>
                  </a:lnTo>
                  <a:lnTo>
                    <a:pt x="490" y="247"/>
                  </a:lnTo>
                  <a:close/>
                  <a:moveTo>
                    <a:pt x="538" y="263"/>
                  </a:moveTo>
                  <a:lnTo>
                    <a:pt x="542" y="259"/>
                  </a:lnTo>
                  <a:lnTo>
                    <a:pt x="546" y="259"/>
                  </a:lnTo>
                  <a:lnTo>
                    <a:pt x="542" y="259"/>
                  </a:lnTo>
                  <a:lnTo>
                    <a:pt x="542" y="263"/>
                  </a:lnTo>
                  <a:lnTo>
                    <a:pt x="538" y="263"/>
                  </a:lnTo>
                  <a:close/>
                  <a:moveTo>
                    <a:pt x="311" y="271"/>
                  </a:moveTo>
                  <a:lnTo>
                    <a:pt x="307" y="271"/>
                  </a:lnTo>
                  <a:lnTo>
                    <a:pt x="307" y="267"/>
                  </a:lnTo>
                  <a:lnTo>
                    <a:pt x="311" y="267"/>
                  </a:lnTo>
                  <a:lnTo>
                    <a:pt x="311" y="271"/>
                  </a:lnTo>
                  <a:close/>
                  <a:moveTo>
                    <a:pt x="426" y="295"/>
                  </a:moveTo>
                  <a:lnTo>
                    <a:pt x="430" y="295"/>
                  </a:lnTo>
                  <a:lnTo>
                    <a:pt x="426" y="299"/>
                  </a:lnTo>
                  <a:lnTo>
                    <a:pt x="426" y="295"/>
                  </a:lnTo>
                  <a:close/>
                  <a:moveTo>
                    <a:pt x="4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4"/>
                  </a:lnTo>
                  <a:close/>
                  <a:moveTo>
                    <a:pt x="127" y="124"/>
                  </a:moveTo>
                  <a:lnTo>
                    <a:pt x="127" y="128"/>
                  </a:lnTo>
                  <a:lnTo>
                    <a:pt x="131" y="128"/>
                  </a:lnTo>
                  <a:lnTo>
                    <a:pt x="135" y="128"/>
                  </a:lnTo>
                  <a:lnTo>
                    <a:pt x="139" y="128"/>
                  </a:lnTo>
                  <a:lnTo>
                    <a:pt x="139" y="132"/>
                  </a:lnTo>
                  <a:lnTo>
                    <a:pt x="139" y="136"/>
                  </a:lnTo>
                  <a:lnTo>
                    <a:pt x="139" y="140"/>
                  </a:lnTo>
                  <a:lnTo>
                    <a:pt x="143" y="140"/>
                  </a:lnTo>
                  <a:lnTo>
                    <a:pt x="143" y="144"/>
                  </a:lnTo>
                  <a:lnTo>
                    <a:pt x="139" y="144"/>
                  </a:lnTo>
                  <a:lnTo>
                    <a:pt x="143" y="144"/>
                  </a:lnTo>
                  <a:lnTo>
                    <a:pt x="147" y="148"/>
                  </a:lnTo>
                  <a:lnTo>
                    <a:pt x="147" y="152"/>
                  </a:lnTo>
                  <a:lnTo>
                    <a:pt x="143" y="152"/>
                  </a:lnTo>
                  <a:lnTo>
                    <a:pt x="143" y="156"/>
                  </a:lnTo>
                  <a:lnTo>
                    <a:pt x="143" y="160"/>
                  </a:lnTo>
                  <a:lnTo>
                    <a:pt x="143" y="156"/>
                  </a:lnTo>
                  <a:lnTo>
                    <a:pt x="147" y="156"/>
                  </a:lnTo>
                  <a:lnTo>
                    <a:pt x="147" y="152"/>
                  </a:lnTo>
                  <a:lnTo>
                    <a:pt x="151" y="152"/>
                  </a:lnTo>
                  <a:lnTo>
                    <a:pt x="155" y="152"/>
                  </a:lnTo>
                  <a:lnTo>
                    <a:pt x="159" y="152"/>
                  </a:lnTo>
                  <a:lnTo>
                    <a:pt x="159" y="156"/>
                  </a:lnTo>
                  <a:lnTo>
                    <a:pt x="159" y="160"/>
                  </a:lnTo>
                  <a:lnTo>
                    <a:pt x="159" y="164"/>
                  </a:lnTo>
                  <a:lnTo>
                    <a:pt x="163" y="164"/>
                  </a:lnTo>
                  <a:lnTo>
                    <a:pt x="167" y="167"/>
                  </a:lnTo>
                  <a:lnTo>
                    <a:pt x="163" y="167"/>
                  </a:lnTo>
                  <a:lnTo>
                    <a:pt x="163" y="171"/>
                  </a:lnTo>
                  <a:lnTo>
                    <a:pt x="163" y="175"/>
                  </a:lnTo>
                  <a:lnTo>
                    <a:pt x="163" y="179"/>
                  </a:lnTo>
                  <a:lnTo>
                    <a:pt x="163" y="183"/>
                  </a:lnTo>
                  <a:lnTo>
                    <a:pt x="163" y="187"/>
                  </a:lnTo>
                  <a:lnTo>
                    <a:pt x="163" y="191"/>
                  </a:lnTo>
                  <a:lnTo>
                    <a:pt x="163" y="195"/>
                  </a:lnTo>
                  <a:lnTo>
                    <a:pt x="163" y="199"/>
                  </a:lnTo>
                  <a:lnTo>
                    <a:pt x="163" y="203"/>
                  </a:lnTo>
                  <a:lnTo>
                    <a:pt x="163" y="211"/>
                  </a:lnTo>
                  <a:lnTo>
                    <a:pt x="163" y="215"/>
                  </a:lnTo>
                  <a:lnTo>
                    <a:pt x="159" y="215"/>
                  </a:lnTo>
                  <a:lnTo>
                    <a:pt x="159" y="219"/>
                  </a:lnTo>
                  <a:lnTo>
                    <a:pt x="159" y="215"/>
                  </a:lnTo>
                  <a:lnTo>
                    <a:pt x="155" y="211"/>
                  </a:lnTo>
                  <a:lnTo>
                    <a:pt x="155" y="207"/>
                  </a:lnTo>
                  <a:lnTo>
                    <a:pt x="151" y="207"/>
                  </a:lnTo>
                  <a:lnTo>
                    <a:pt x="151" y="211"/>
                  </a:lnTo>
                  <a:lnTo>
                    <a:pt x="151" y="215"/>
                  </a:lnTo>
                  <a:lnTo>
                    <a:pt x="147" y="215"/>
                  </a:lnTo>
                  <a:lnTo>
                    <a:pt x="147" y="211"/>
                  </a:lnTo>
                  <a:lnTo>
                    <a:pt x="143" y="211"/>
                  </a:lnTo>
                  <a:lnTo>
                    <a:pt x="143" y="215"/>
                  </a:lnTo>
                  <a:lnTo>
                    <a:pt x="143" y="219"/>
                  </a:lnTo>
                  <a:lnTo>
                    <a:pt x="143" y="215"/>
                  </a:lnTo>
                  <a:lnTo>
                    <a:pt x="139" y="215"/>
                  </a:lnTo>
                  <a:lnTo>
                    <a:pt x="139" y="211"/>
                  </a:lnTo>
                  <a:lnTo>
                    <a:pt x="135" y="211"/>
                  </a:lnTo>
                  <a:lnTo>
                    <a:pt x="135" y="207"/>
                  </a:lnTo>
                  <a:lnTo>
                    <a:pt x="131" y="203"/>
                  </a:lnTo>
                  <a:lnTo>
                    <a:pt x="131" y="199"/>
                  </a:lnTo>
                  <a:lnTo>
                    <a:pt x="127" y="199"/>
                  </a:lnTo>
                  <a:lnTo>
                    <a:pt x="123" y="199"/>
                  </a:lnTo>
                  <a:lnTo>
                    <a:pt x="123" y="195"/>
                  </a:lnTo>
                  <a:lnTo>
                    <a:pt x="119" y="195"/>
                  </a:lnTo>
                  <a:lnTo>
                    <a:pt x="119" y="191"/>
                  </a:lnTo>
                  <a:lnTo>
                    <a:pt x="115" y="191"/>
                  </a:lnTo>
                  <a:lnTo>
                    <a:pt x="115" y="187"/>
                  </a:lnTo>
                  <a:lnTo>
                    <a:pt x="111" y="187"/>
                  </a:lnTo>
                  <a:lnTo>
                    <a:pt x="111" y="183"/>
                  </a:lnTo>
                  <a:lnTo>
                    <a:pt x="107" y="183"/>
                  </a:lnTo>
                  <a:lnTo>
                    <a:pt x="107" y="179"/>
                  </a:lnTo>
                  <a:lnTo>
                    <a:pt x="107" y="175"/>
                  </a:lnTo>
                  <a:lnTo>
                    <a:pt x="103" y="175"/>
                  </a:lnTo>
                  <a:lnTo>
                    <a:pt x="103" y="171"/>
                  </a:lnTo>
                  <a:lnTo>
                    <a:pt x="99" y="167"/>
                  </a:lnTo>
                  <a:lnTo>
                    <a:pt x="95" y="167"/>
                  </a:lnTo>
                  <a:lnTo>
                    <a:pt x="95" y="164"/>
                  </a:lnTo>
                  <a:lnTo>
                    <a:pt x="95" y="160"/>
                  </a:lnTo>
                  <a:lnTo>
                    <a:pt x="91" y="160"/>
                  </a:lnTo>
                  <a:lnTo>
                    <a:pt x="91" y="156"/>
                  </a:lnTo>
                  <a:lnTo>
                    <a:pt x="87" y="156"/>
                  </a:lnTo>
                  <a:lnTo>
                    <a:pt x="87" y="152"/>
                  </a:lnTo>
                  <a:lnTo>
                    <a:pt x="87" y="148"/>
                  </a:lnTo>
                  <a:lnTo>
                    <a:pt x="87" y="144"/>
                  </a:lnTo>
                  <a:lnTo>
                    <a:pt x="83" y="140"/>
                  </a:lnTo>
                  <a:lnTo>
                    <a:pt x="83" y="136"/>
                  </a:lnTo>
                  <a:lnTo>
                    <a:pt x="79" y="132"/>
                  </a:lnTo>
                  <a:lnTo>
                    <a:pt x="79" y="128"/>
                  </a:lnTo>
                  <a:lnTo>
                    <a:pt x="79" y="124"/>
                  </a:lnTo>
                  <a:lnTo>
                    <a:pt x="75" y="124"/>
                  </a:lnTo>
                  <a:lnTo>
                    <a:pt x="75" y="120"/>
                  </a:lnTo>
                  <a:lnTo>
                    <a:pt x="71" y="120"/>
                  </a:lnTo>
                  <a:lnTo>
                    <a:pt x="71" y="116"/>
                  </a:lnTo>
                  <a:lnTo>
                    <a:pt x="71" y="112"/>
                  </a:lnTo>
                  <a:lnTo>
                    <a:pt x="67" y="108"/>
                  </a:lnTo>
                  <a:lnTo>
                    <a:pt x="63" y="104"/>
                  </a:lnTo>
                  <a:lnTo>
                    <a:pt x="63" y="108"/>
                  </a:lnTo>
                  <a:lnTo>
                    <a:pt x="59" y="104"/>
                  </a:lnTo>
                  <a:lnTo>
                    <a:pt x="59" y="100"/>
                  </a:lnTo>
                  <a:lnTo>
                    <a:pt x="59" y="96"/>
                  </a:lnTo>
                  <a:lnTo>
                    <a:pt x="59" y="92"/>
                  </a:lnTo>
                  <a:lnTo>
                    <a:pt x="55" y="88"/>
                  </a:lnTo>
                  <a:lnTo>
                    <a:pt x="55" y="84"/>
                  </a:lnTo>
                  <a:lnTo>
                    <a:pt x="55" y="80"/>
                  </a:lnTo>
                  <a:lnTo>
                    <a:pt x="55" y="76"/>
                  </a:lnTo>
                  <a:lnTo>
                    <a:pt x="51" y="76"/>
                  </a:lnTo>
                  <a:lnTo>
                    <a:pt x="51" y="72"/>
                  </a:lnTo>
                  <a:lnTo>
                    <a:pt x="47" y="72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56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28" y="48"/>
                  </a:lnTo>
                  <a:lnTo>
                    <a:pt x="28" y="44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7" y="28"/>
                  </a:lnTo>
                  <a:lnTo>
                    <a:pt x="47" y="32"/>
                  </a:lnTo>
                  <a:lnTo>
                    <a:pt x="47" y="36"/>
                  </a:lnTo>
                  <a:lnTo>
                    <a:pt x="51" y="36"/>
                  </a:lnTo>
                  <a:lnTo>
                    <a:pt x="51" y="40"/>
                  </a:lnTo>
                  <a:lnTo>
                    <a:pt x="55" y="40"/>
                  </a:lnTo>
                  <a:lnTo>
                    <a:pt x="55" y="44"/>
                  </a:lnTo>
                  <a:lnTo>
                    <a:pt x="59" y="44"/>
                  </a:lnTo>
                  <a:lnTo>
                    <a:pt x="63" y="44"/>
                  </a:lnTo>
                  <a:lnTo>
                    <a:pt x="67" y="52"/>
                  </a:lnTo>
                  <a:lnTo>
                    <a:pt x="71" y="52"/>
                  </a:lnTo>
                  <a:lnTo>
                    <a:pt x="71" y="56"/>
                  </a:lnTo>
                  <a:lnTo>
                    <a:pt x="71" y="60"/>
                  </a:lnTo>
                  <a:lnTo>
                    <a:pt x="75" y="64"/>
                  </a:lnTo>
                  <a:lnTo>
                    <a:pt x="75" y="60"/>
                  </a:lnTo>
                  <a:lnTo>
                    <a:pt x="71" y="60"/>
                  </a:lnTo>
                  <a:lnTo>
                    <a:pt x="75" y="60"/>
                  </a:lnTo>
                  <a:lnTo>
                    <a:pt x="75" y="64"/>
                  </a:lnTo>
                  <a:lnTo>
                    <a:pt x="75" y="60"/>
                  </a:lnTo>
                  <a:lnTo>
                    <a:pt x="79" y="64"/>
                  </a:lnTo>
                  <a:lnTo>
                    <a:pt x="79" y="68"/>
                  </a:lnTo>
                  <a:lnTo>
                    <a:pt x="83" y="72"/>
                  </a:lnTo>
                  <a:lnTo>
                    <a:pt x="87" y="72"/>
                  </a:lnTo>
                  <a:lnTo>
                    <a:pt x="87" y="76"/>
                  </a:lnTo>
                  <a:lnTo>
                    <a:pt x="87" y="72"/>
                  </a:lnTo>
                  <a:lnTo>
                    <a:pt x="87" y="68"/>
                  </a:lnTo>
                  <a:lnTo>
                    <a:pt x="91" y="68"/>
                  </a:lnTo>
                  <a:lnTo>
                    <a:pt x="87" y="68"/>
                  </a:lnTo>
                  <a:lnTo>
                    <a:pt x="91" y="68"/>
                  </a:lnTo>
                  <a:lnTo>
                    <a:pt x="91" y="72"/>
                  </a:lnTo>
                  <a:lnTo>
                    <a:pt x="95" y="72"/>
                  </a:lnTo>
                  <a:lnTo>
                    <a:pt x="95" y="76"/>
                  </a:lnTo>
                  <a:lnTo>
                    <a:pt x="95" y="80"/>
                  </a:lnTo>
                  <a:lnTo>
                    <a:pt x="99" y="80"/>
                  </a:lnTo>
                  <a:lnTo>
                    <a:pt x="103" y="80"/>
                  </a:lnTo>
                  <a:lnTo>
                    <a:pt x="103" y="84"/>
                  </a:lnTo>
                  <a:lnTo>
                    <a:pt x="107" y="84"/>
                  </a:lnTo>
                  <a:lnTo>
                    <a:pt x="107" y="88"/>
                  </a:lnTo>
                  <a:lnTo>
                    <a:pt x="107" y="92"/>
                  </a:lnTo>
                  <a:lnTo>
                    <a:pt x="111" y="96"/>
                  </a:lnTo>
                  <a:lnTo>
                    <a:pt x="115" y="96"/>
                  </a:lnTo>
                  <a:lnTo>
                    <a:pt x="119" y="96"/>
                  </a:lnTo>
                  <a:lnTo>
                    <a:pt x="119" y="100"/>
                  </a:lnTo>
                  <a:lnTo>
                    <a:pt x="119" y="104"/>
                  </a:lnTo>
                  <a:lnTo>
                    <a:pt x="115" y="104"/>
                  </a:lnTo>
                  <a:lnTo>
                    <a:pt x="111" y="108"/>
                  </a:lnTo>
                  <a:lnTo>
                    <a:pt x="111" y="104"/>
                  </a:lnTo>
                  <a:lnTo>
                    <a:pt x="111" y="108"/>
                  </a:lnTo>
                  <a:lnTo>
                    <a:pt x="115" y="108"/>
                  </a:lnTo>
                  <a:lnTo>
                    <a:pt x="115" y="104"/>
                  </a:lnTo>
                  <a:lnTo>
                    <a:pt x="119" y="104"/>
                  </a:lnTo>
                  <a:lnTo>
                    <a:pt x="123" y="104"/>
                  </a:lnTo>
                  <a:lnTo>
                    <a:pt x="123" y="100"/>
                  </a:lnTo>
                  <a:lnTo>
                    <a:pt x="127" y="100"/>
                  </a:lnTo>
                  <a:lnTo>
                    <a:pt x="131" y="104"/>
                  </a:lnTo>
                  <a:lnTo>
                    <a:pt x="131" y="108"/>
                  </a:lnTo>
                  <a:lnTo>
                    <a:pt x="131" y="112"/>
                  </a:lnTo>
                  <a:lnTo>
                    <a:pt x="127" y="112"/>
                  </a:lnTo>
                  <a:lnTo>
                    <a:pt x="123" y="112"/>
                  </a:lnTo>
                  <a:lnTo>
                    <a:pt x="123" y="116"/>
                  </a:lnTo>
                  <a:lnTo>
                    <a:pt x="127" y="112"/>
                  </a:lnTo>
                  <a:lnTo>
                    <a:pt x="127" y="116"/>
                  </a:lnTo>
                  <a:lnTo>
                    <a:pt x="123" y="116"/>
                  </a:lnTo>
                  <a:lnTo>
                    <a:pt x="127" y="116"/>
                  </a:lnTo>
                  <a:lnTo>
                    <a:pt x="127" y="120"/>
                  </a:lnTo>
                  <a:lnTo>
                    <a:pt x="123" y="120"/>
                  </a:lnTo>
                  <a:lnTo>
                    <a:pt x="123" y="124"/>
                  </a:lnTo>
                  <a:lnTo>
                    <a:pt x="127" y="124"/>
                  </a:lnTo>
                  <a:close/>
                  <a:moveTo>
                    <a:pt x="219" y="72"/>
                  </a:moveTo>
                  <a:lnTo>
                    <a:pt x="219" y="76"/>
                  </a:lnTo>
                  <a:lnTo>
                    <a:pt x="219" y="80"/>
                  </a:lnTo>
                  <a:lnTo>
                    <a:pt x="223" y="84"/>
                  </a:lnTo>
                  <a:lnTo>
                    <a:pt x="223" y="88"/>
                  </a:lnTo>
                  <a:lnTo>
                    <a:pt x="227" y="88"/>
                  </a:lnTo>
                  <a:lnTo>
                    <a:pt x="231" y="92"/>
                  </a:lnTo>
                  <a:lnTo>
                    <a:pt x="231" y="96"/>
                  </a:lnTo>
                  <a:lnTo>
                    <a:pt x="235" y="96"/>
                  </a:lnTo>
                  <a:lnTo>
                    <a:pt x="235" y="92"/>
                  </a:lnTo>
                  <a:lnTo>
                    <a:pt x="239" y="92"/>
                  </a:lnTo>
                  <a:lnTo>
                    <a:pt x="243" y="92"/>
                  </a:lnTo>
                  <a:lnTo>
                    <a:pt x="247" y="92"/>
                  </a:lnTo>
                  <a:lnTo>
                    <a:pt x="251" y="92"/>
                  </a:lnTo>
                  <a:lnTo>
                    <a:pt x="255" y="92"/>
                  </a:lnTo>
                  <a:lnTo>
                    <a:pt x="255" y="88"/>
                  </a:lnTo>
                  <a:lnTo>
                    <a:pt x="259" y="88"/>
                  </a:lnTo>
                  <a:lnTo>
                    <a:pt x="259" y="84"/>
                  </a:lnTo>
                  <a:lnTo>
                    <a:pt x="263" y="80"/>
                  </a:lnTo>
                  <a:lnTo>
                    <a:pt x="267" y="80"/>
                  </a:lnTo>
                  <a:lnTo>
                    <a:pt x="271" y="80"/>
                  </a:lnTo>
                  <a:lnTo>
                    <a:pt x="271" y="84"/>
                  </a:lnTo>
                  <a:lnTo>
                    <a:pt x="275" y="84"/>
                  </a:lnTo>
                  <a:lnTo>
                    <a:pt x="279" y="88"/>
                  </a:lnTo>
                  <a:lnTo>
                    <a:pt x="283" y="88"/>
                  </a:lnTo>
                  <a:lnTo>
                    <a:pt x="283" y="84"/>
                  </a:lnTo>
                  <a:lnTo>
                    <a:pt x="287" y="84"/>
                  </a:lnTo>
                  <a:lnTo>
                    <a:pt x="291" y="84"/>
                  </a:lnTo>
                  <a:lnTo>
                    <a:pt x="295" y="84"/>
                  </a:lnTo>
                  <a:lnTo>
                    <a:pt x="295" y="80"/>
                  </a:lnTo>
                  <a:lnTo>
                    <a:pt x="295" y="76"/>
                  </a:lnTo>
                  <a:lnTo>
                    <a:pt x="299" y="76"/>
                  </a:lnTo>
                  <a:lnTo>
                    <a:pt x="299" y="72"/>
                  </a:lnTo>
                  <a:lnTo>
                    <a:pt x="299" y="68"/>
                  </a:lnTo>
                  <a:lnTo>
                    <a:pt x="303" y="64"/>
                  </a:lnTo>
                  <a:lnTo>
                    <a:pt x="303" y="56"/>
                  </a:lnTo>
                  <a:lnTo>
                    <a:pt x="307" y="56"/>
                  </a:lnTo>
                  <a:lnTo>
                    <a:pt x="307" y="52"/>
                  </a:lnTo>
                  <a:lnTo>
                    <a:pt x="307" y="48"/>
                  </a:lnTo>
                  <a:lnTo>
                    <a:pt x="311" y="48"/>
                  </a:lnTo>
                  <a:lnTo>
                    <a:pt x="311" y="44"/>
                  </a:lnTo>
                  <a:lnTo>
                    <a:pt x="311" y="40"/>
                  </a:lnTo>
                  <a:lnTo>
                    <a:pt x="311" y="36"/>
                  </a:lnTo>
                  <a:lnTo>
                    <a:pt x="311" y="32"/>
                  </a:lnTo>
                  <a:lnTo>
                    <a:pt x="315" y="32"/>
                  </a:lnTo>
                  <a:lnTo>
                    <a:pt x="315" y="28"/>
                  </a:lnTo>
                  <a:lnTo>
                    <a:pt x="315" y="32"/>
                  </a:lnTo>
                  <a:lnTo>
                    <a:pt x="319" y="32"/>
                  </a:lnTo>
                  <a:lnTo>
                    <a:pt x="323" y="32"/>
                  </a:lnTo>
                  <a:lnTo>
                    <a:pt x="327" y="32"/>
                  </a:lnTo>
                  <a:lnTo>
                    <a:pt x="331" y="32"/>
                  </a:lnTo>
                  <a:lnTo>
                    <a:pt x="335" y="32"/>
                  </a:lnTo>
                  <a:lnTo>
                    <a:pt x="339" y="32"/>
                  </a:lnTo>
                  <a:lnTo>
                    <a:pt x="339" y="36"/>
                  </a:lnTo>
                  <a:lnTo>
                    <a:pt x="339" y="32"/>
                  </a:lnTo>
                  <a:lnTo>
                    <a:pt x="335" y="36"/>
                  </a:lnTo>
                  <a:lnTo>
                    <a:pt x="339" y="36"/>
                  </a:lnTo>
                  <a:lnTo>
                    <a:pt x="339" y="40"/>
                  </a:lnTo>
                  <a:lnTo>
                    <a:pt x="343" y="40"/>
                  </a:lnTo>
                  <a:lnTo>
                    <a:pt x="343" y="44"/>
                  </a:lnTo>
                  <a:lnTo>
                    <a:pt x="339" y="44"/>
                  </a:lnTo>
                  <a:lnTo>
                    <a:pt x="335" y="44"/>
                  </a:lnTo>
                  <a:lnTo>
                    <a:pt x="331" y="44"/>
                  </a:lnTo>
                  <a:lnTo>
                    <a:pt x="335" y="44"/>
                  </a:lnTo>
                  <a:lnTo>
                    <a:pt x="335" y="48"/>
                  </a:lnTo>
                  <a:lnTo>
                    <a:pt x="339" y="48"/>
                  </a:lnTo>
                  <a:lnTo>
                    <a:pt x="335" y="48"/>
                  </a:lnTo>
                  <a:lnTo>
                    <a:pt x="335" y="52"/>
                  </a:lnTo>
                  <a:lnTo>
                    <a:pt x="339" y="52"/>
                  </a:lnTo>
                  <a:lnTo>
                    <a:pt x="343" y="56"/>
                  </a:lnTo>
                  <a:lnTo>
                    <a:pt x="343" y="60"/>
                  </a:lnTo>
                  <a:lnTo>
                    <a:pt x="343" y="64"/>
                  </a:lnTo>
                  <a:lnTo>
                    <a:pt x="347" y="64"/>
                  </a:lnTo>
                  <a:lnTo>
                    <a:pt x="347" y="68"/>
                  </a:lnTo>
                  <a:lnTo>
                    <a:pt x="347" y="72"/>
                  </a:lnTo>
                  <a:lnTo>
                    <a:pt x="343" y="72"/>
                  </a:lnTo>
                  <a:lnTo>
                    <a:pt x="343" y="76"/>
                  </a:lnTo>
                  <a:lnTo>
                    <a:pt x="347" y="80"/>
                  </a:lnTo>
                  <a:lnTo>
                    <a:pt x="351" y="80"/>
                  </a:lnTo>
                  <a:lnTo>
                    <a:pt x="351" y="84"/>
                  </a:lnTo>
                  <a:lnTo>
                    <a:pt x="355" y="84"/>
                  </a:lnTo>
                  <a:lnTo>
                    <a:pt x="359" y="88"/>
                  </a:lnTo>
                  <a:lnTo>
                    <a:pt x="359" y="92"/>
                  </a:lnTo>
                  <a:lnTo>
                    <a:pt x="363" y="92"/>
                  </a:lnTo>
                  <a:lnTo>
                    <a:pt x="359" y="92"/>
                  </a:lnTo>
                  <a:lnTo>
                    <a:pt x="359" y="96"/>
                  </a:lnTo>
                  <a:lnTo>
                    <a:pt x="355" y="96"/>
                  </a:lnTo>
                  <a:lnTo>
                    <a:pt x="351" y="96"/>
                  </a:lnTo>
                  <a:lnTo>
                    <a:pt x="347" y="92"/>
                  </a:lnTo>
                  <a:lnTo>
                    <a:pt x="347" y="88"/>
                  </a:lnTo>
                  <a:lnTo>
                    <a:pt x="343" y="88"/>
                  </a:lnTo>
                  <a:lnTo>
                    <a:pt x="343" y="92"/>
                  </a:lnTo>
                  <a:lnTo>
                    <a:pt x="347" y="92"/>
                  </a:lnTo>
                  <a:lnTo>
                    <a:pt x="347" y="96"/>
                  </a:lnTo>
                  <a:lnTo>
                    <a:pt x="343" y="96"/>
                  </a:lnTo>
                  <a:lnTo>
                    <a:pt x="343" y="100"/>
                  </a:lnTo>
                  <a:lnTo>
                    <a:pt x="339" y="100"/>
                  </a:lnTo>
                  <a:lnTo>
                    <a:pt x="339" y="104"/>
                  </a:lnTo>
                  <a:lnTo>
                    <a:pt x="339" y="108"/>
                  </a:lnTo>
                  <a:lnTo>
                    <a:pt x="339" y="112"/>
                  </a:lnTo>
                  <a:lnTo>
                    <a:pt x="339" y="116"/>
                  </a:lnTo>
                  <a:lnTo>
                    <a:pt x="339" y="120"/>
                  </a:lnTo>
                  <a:lnTo>
                    <a:pt x="339" y="116"/>
                  </a:lnTo>
                  <a:lnTo>
                    <a:pt x="339" y="120"/>
                  </a:lnTo>
                  <a:lnTo>
                    <a:pt x="339" y="124"/>
                  </a:lnTo>
                  <a:lnTo>
                    <a:pt x="335" y="124"/>
                  </a:lnTo>
                  <a:lnTo>
                    <a:pt x="335" y="128"/>
                  </a:lnTo>
                  <a:lnTo>
                    <a:pt x="331" y="128"/>
                  </a:lnTo>
                  <a:lnTo>
                    <a:pt x="331" y="132"/>
                  </a:lnTo>
                  <a:lnTo>
                    <a:pt x="327" y="132"/>
                  </a:lnTo>
                  <a:lnTo>
                    <a:pt x="327" y="128"/>
                  </a:lnTo>
                  <a:lnTo>
                    <a:pt x="327" y="132"/>
                  </a:lnTo>
                  <a:lnTo>
                    <a:pt x="327" y="136"/>
                  </a:lnTo>
                  <a:lnTo>
                    <a:pt x="323" y="136"/>
                  </a:lnTo>
                  <a:lnTo>
                    <a:pt x="323" y="140"/>
                  </a:lnTo>
                  <a:lnTo>
                    <a:pt x="319" y="140"/>
                  </a:lnTo>
                  <a:lnTo>
                    <a:pt x="319" y="144"/>
                  </a:lnTo>
                  <a:lnTo>
                    <a:pt x="323" y="144"/>
                  </a:lnTo>
                  <a:lnTo>
                    <a:pt x="323" y="148"/>
                  </a:lnTo>
                  <a:lnTo>
                    <a:pt x="319" y="148"/>
                  </a:lnTo>
                  <a:lnTo>
                    <a:pt x="323" y="152"/>
                  </a:lnTo>
                  <a:lnTo>
                    <a:pt x="323" y="148"/>
                  </a:lnTo>
                  <a:lnTo>
                    <a:pt x="323" y="152"/>
                  </a:lnTo>
                  <a:lnTo>
                    <a:pt x="327" y="152"/>
                  </a:lnTo>
                  <a:lnTo>
                    <a:pt x="323" y="152"/>
                  </a:lnTo>
                  <a:lnTo>
                    <a:pt x="323" y="156"/>
                  </a:lnTo>
                  <a:lnTo>
                    <a:pt x="319" y="156"/>
                  </a:lnTo>
                  <a:lnTo>
                    <a:pt x="323" y="160"/>
                  </a:lnTo>
                  <a:lnTo>
                    <a:pt x="323" y="164"/>
                  </a:lnTo>
                  <a:lnTo>
                    <a:pt x="319" y="164"/>
                  </a:lnTo>
                  <a:lnTo>
                    <a:pt x="319" y="160"/>
                  </a:lnTo>
                  <a:lnTo>
                    <a:pt x="319" y="164"/>
                  </a:lnTo>
                  <a:lnTo>
                    <a:pt x="319" y="167"/>
                  </a:lnTo>
                  <a:lnTo>
                    <a:pt x="319" y="171"/>
                  </a:lnTo>
                  <a:lnTo>
                    <a:pt x="315" y="171"/>
                  </a:lnTo>
                  <a:lnTo>
                    <a:pt x="315" y="175"/>
                  </a:lnTo>
                  <a:lnTo>
                    <a:pt x="311" y="175"/>
                  </a:lnTo>
                  <a:lnTo>
                    <a:pt x="311" y="179"/>
                  </a:lnTo>
                  <a:lnTo>
                    <a:pt x="307" y="179"/>
                  </a:lnTo>
                  <a:lnTo>
                    <a:pt x="303" y="179"/>
                  </a:lnTo>
                  <a:lnTo>
                    <a:pt x="303" y="183"/>
                  </a:lnTo>
                  <a:lnTo>
                    <a:pt x="299" y="183"/>
                  </a:lnTo>
                  <a:lnTo>
                    <a:pt x="295" y="187"/>
                  </a:lnTo>
                  <a:lnTo>
                    <a:pt x="295" y="183"/>
                  </a:lnTo>
                  <a:lnTo>
                    <a:pt x="295" y="179"/>
                  </a:lnTo>
                  <a:lnTo>
                    <a:pt x="295" y="175"/>
                  </a:lnTo>
                  <a:lnTo>
                    <a:pt x="291" y="175"/>
                  </a:lnTo>
                  <a:lnTo>
                    <a:pt x="291" y="171"/>
                  </a:lnTo>
                  <a:lnTo>
                    <a:pt x="287" y="171"/>
                  </a:lnTo>
                  <a:lnTo>
                    <a:pt x="283" y="171"/>
                  </a:lnTo>
                  <a:lnTo>
                    <a:pt x="279" y="171"/>
                  </a:lnTo>
                  <a:lnTo>
                    <a:pt x="279" y="167"/>
                  </a:lnTo>
                  <a:lnTo>
                    <a:pt x="275" y="167"/>
                  </a:lnTo>
                  <a:lnTo>
                    <a:pt x="271" y="167"/>
                  </a:lnTo>
                  <a:lnTo>
                    <a:pt x="271" y="164"/>
                  </a:lnTo>
                  <a:lnTo>
                    <a:pt x="271" y="167"/>
                  </a:lnTo>
                  <a:lnTo>
                    <a:pt x="267" y="171"/>
                  </a:lnTo>
                  <a:lnTo>
                    <a:pt x="263" y="171"/>
                  </a:lnTo>
                  <a:lnTo>
                    <a:pt x="259" y="171"/>
                  </a:lnTo>
                  <a:lnTo>
                    <a:pt x="255" y="171"/>
                  </a:lnTo>
                  <a:lnTo>
                    <a:pt x="255" y="175"/>
                  </a:lnTo>
                  <a:lnTo>
                    <a:pt x="251" y="175"/>
                  </a:lnTo>
                  <a:lnTo>
                    <a:pt x="251" y="171"/>
                  </a:lnTo>
                  <a:lnTo>
                    <a:pt x="251" y="167"/>
                  </a:lnTo>
                  <a:lnTo>
                    <a:pt x="251" y="164"/>
                  </a:lnTo>
                  <a:lnTo>
                    <a:pt x="251" y="160"/>
                  </a:lnTo>
                  <a:lnTo>
                    <a:pt x="251" y="164"/>
                  </a:lnTo>
                  <a:lnTo>
                    <a:pt x="247" y="164"/>
                  </a:lnTo>
                  <a:lnTo>
                    <a:pt x="243" y="164"/>
                  </a:lnTo>
                  <a:lnTo>
                    <a:pt x="243" y="167"/>
                  </a:lnTo>
                  <a:lnTo>
                    <a:pt x="239" y="167"/>
                  </a:lnTo>
                  <a:lnTo>
                    <a:pt x="235" y="164"/>
                  </a:lnTo>
                  <a:lnTo>
                    <a:pt x="239" y="164"/>
                  </a:lnTo>
                  <a:lnTo>
                    <a:pt x="235" y="164"/>
                  </a:lnTo>
                  <a:lnTo>
                    <a:pt x="235" y="167"/>
                  </a:lnTo>
                  <a:lnTo>
                    <a:pt x="235" y="164"/>
                  </a:lnTo>
                  <a:lnTo>
                    <a:pt x="231" y="164"/>
                  </a:lnTo>
                  <a:lnTo>
                    <a:pt x="227" y="164"/>
                  </a:lnTo>
                  <a:lnTo>
                    <a:pt x="227" y="160"/>
                  </a:lnTo>
                  <a:lnTo>
                    <a:pt x="227" y="156"/>
                  </a:lnTo>
                  <a:lnTo>
                    <a:pt x="227" y="152"/>
                  </a:lnTo>
                  <a:lnTo>
                    <a:pt x="227" y="148"/>
                  </a:lnTo>
                  <a:lnTo>
                    <a:pt x="227" y="144"/>
                  </a:lnTo>
                  <a:lnTo>
                    <a:pt x="223" y="144"/>
                  </a:lnTo>
                  <a:lnTo>
                    <a:pt x="223" y="140"/>
                  </a:lnTo>
                  <a:lnTo>
                    <a:pt x="227" y="140"/>
                  </a:lnTo>
                  <a:lnTo>
                    <a:pt x="227" y="136"/>
                  </a:lnTo>
                  <a:lnTo>
                    <a:pt x="227" y="132"/>
                  </a:lnTo>
                  <a:lnTo>
                    <a:pt x="223" y="132"/>
                  </a:lnTo>
                  <a:lnTo>
                    <a:pt x="223" y="128"/>
                  </a:lnTo>
                  <a:lnTo>
                    <a:pt x="219" y="128"/>
                  </a:lnTo>
                  <a:lnTo>
                    <a:pt x="215" y="124"/>
                  </a:lnTo>
                  <a:lnTo>
                    <a:pt x="215" y="128"/>
                  </a:lnTo>
                  <a:lnTo>
                    <a:pt x="215" y="124"/>
                  </a:lnTo>
                  <a:lnTo>
                    <a:pt x="219" y="124"/>
                  </a:lnTo>
                  <a:lnTo>
                    <a:pt x="215" y="120"/>
                  </a:lnTo>
                  <a:lnTo>
                    <a:pt x="211" y="120"/>
                  </a:lnTo>
                  <a:lnTo>
                    <a:pt x="211" y="116"/>
                  </a:lnTo>
                  <a:lnTo>
                    <a:pt x="211" y="112"/>
                  </a:lnTo>
                  <a:lnTo>
                    <a:pt x="211" y="108"/>
                  </a:lnTo>
                  <a:lnTo>
                    <a:pt x="211" y="104"/>
                  </a:lnTo>
                  <a:lnTo>
                    <a:pt x="207" y="104"/>
                  </a:lnTo>
                  <a:lnTo>
                    <a:pt x="207" y="100"/>
                  </a:lnTo>
                  <a:lnTo>
                    <a:pt x="207" y="96"/>
                  </a:lnTo>
                  <a:lnTo>
                    <a:pt x="207" y="92"/>
                  </a:lnTo>
                  <a:lnTo>
                    <a:pt x="211" y="92"/>
                  </a:lnTo>
                  <a:lnTo>
                    <a:pt x="207" y="92"/>
                  </a:lnTo>
                  <a:lnTo>
                    <a:pt x="207" y="88"/>
                  </a:lnTo>
                  <a:lnTo>
                    <a:pt x="211" y="88"/>
                  </a:lnTo>
                  <a:lnTo>
                    <a:pt x="215" y="84"/>
                  </a:lnTo>
                  <a:lnTo>
                    <a:pt x="211" y="84"/>
                  </a:lnTo>
                  <a:lnTo>
                    <a:pt x="211" y="88"/>
                  </a:lnTo>
                  <a:lnTo>
                    <a:pt x="211" y="84"/>
                  </a:lnTo>
                  <a:lnTo>
                    <a:pt x="211" y="80"/>
                  </a:lnTo>
                  <a:lnTo>
                    <a:pt x="215" y="80"/>
                  </a:lnTo>
                  <a:lnTo>
                    <a:pt x="215" y="76"/>
                  </a:lnTo>
                  <a:lnTo>
                    <a:pt x="219" y="72"/>
                  </a:lnTo>
                  <a:close/>
                  <a:moveTo>
                    <a:pt x="195" y="40"/>
                  </a:moveTo>
                  <a:lnTo>
                    <a:pt x="195" y="36"/>
                  </a:lnTo>
                  <a:lnTo>
                    <a:pt x="195" y="32"/>
                  </a:lnTo>
                  <a:lnTo>
                    <a:pt x="199" y="32"/>
                  </a:lnTo>
                  <a:lnTo>
                    <a:pt x="199" y="36"/>
                  </a:lnTo>
                  <a:lnTo>
                    <a:pt x="199" y="40"/>
                  </a:lnTo>
                  <a:lnTo>
                    <a:pt x="199" y="44"/>
                  </a:lnTo>
                  <a:lnTo>
                    <a:pt x="195" y="44"/>
                  </a:lnTo>
                  <a:lnTo>
                    <a:pt x="195" y="40"/>
                  </a:lnTo>
                  <a:lnTo>
                    <a:pt x="199" y="40"/>
                  </a:lnTo>
                  <a:lnTo>
                    <a:pt x="195" y="40"/>
                  </a:lnTo>
                  <a:close/>
                  <a:moveTo>
                    <a:pt x="159" y="56"/>
                  </a:moveTo>
                  <a:lnTo>
                    <a:pt x="159" y="52"/>
                  </a:lnTo>
                  <a:lnTo>
                    <a:pt x="163" y="56"/>
                  </a:lnTo>
                  <a:lnTo>
                    <a:pt x="159" y="56"/>
                  </a:lnTo>
                  <a:lnTo>
                    <a:pt x="159" y="60"/>
                  </a:lnTo>
                  <a:lnTo>
                    <a:pt x="159" y="56"/>
                  </a:lnTo>
                  <a:close/>
                  <a:moveTo>
                    <a:pt x="20" y="68"/>
                  </a:moveTo>
                  <a:lnTo>
                    <a:pt x="16" y="68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8" y="60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6" y="60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0" y="68"/>
                  </a:lnTo>
                  <a:close/>
                  <a:moveTo>
                    <a:pt x="502" y="72"/>
                  </a:moveTo>
                  <a:lnTo>
                    <a:pt x="502" y="68"/>
                  </a:lnTo>
                  <a:lnTo>
                    <a:pt x="502" y="64"/>
                  </a:lnTo>
                  <a:lnTo>
                    <a:pt x="506" y="60"/>
                  </a:lnTo>
                  <a:lnTo>
                    <a:pt x="506" y="64"/>
                  </a:lnTo>
                  <a:lnTo>
                    <a:pt x="506" y="68"/>
                  </a:lnTo>
                  <a:lnTo>
                    <a:pt x="506" y="72"/>
                  </a:lnTo>
                  <a:lnTo>
                    <a:pt x="502" y="72"/>
                  </a:lnTo>
                  <a:close/>
                  <a:moveTo>
                    <a:pt x="32" y="72"/>
                  </a:moveTo>
                  <a:lnTo>
                    <a:pt x="32" y="68"/>
                  </a:lnTo>
                  <a:lnTo>
                    <a:pt x="28" y="68"/>
                  </a:lnTo>
                  <a:lnTo>
                    <a:pt x="32" y="68"/>
                  </a:lnTo>
                  <a:lnTo>
                    <a:pt x="32" y="72"/>
                  </a:lnTo>
                  <a:close/>
                  <a:moveTo>
                    <a:pt x="494" y="120"/>
                  </a:moveTo>
                  <a:lnTo>
                    <a:pt x="494" y="116"/>
                  </a:lnTo>
                  <a:lnTo>
                    <a:pt x="490" y="112"/>
                  </a:lnTo>
                  <a:lnTo>
                    <a:pt x="494" y="112"/>
                  </a:lnTo>
                  <a:lnTo>
                    <a:pt x="494" y="108"/>
                  </a:lnTo>
                  <a:lnTo>
                    <a:pt x="490" y="104"/>
                  </a:lnTo>
                  <a:lnTo>
                    <a:pt x="490" y="100"/>
                  </a:lnTo>
                  <a:lnTo>
                    <a:pt x="490" y="96"/>
                  </a:lnTo>
                  <a:lnTo>
                    <a:pt x="490" y="92"/>
                  </a:lnTo>
                  <a:lnTo>
                    <a:pt x="486" y="92"/>
                  </a:lnTo>
                  <a:lnTo>
                    <a:pt x="486" y="88"/>
                  </a:lnTo>
                  <a:lnTo>
                    <a:pt x="490" y="88"/>
                  </a:lnTo>
                  <a:lnTo>
                    <a:pt x="490" y="84"/>
                  </a:lnTo>
                  <a:lnTo>
                    <a:pt x="490" y="80"/>
                  </a:lnTo>
                  <a:lnTo>
                    <a:pt x="490" y="76"/>
                  </a:lnTo>
                  <a:lnTo>
                    <a:pt x="494" y="76"/>
                  </a:lnTo>
                  <a:lnTo>
                    <a:pt x="494" y="72"/>
                  </a:lnTo>
                  <a:lnTo>
                    <a:pt x="498" y="68"/>
                  </a:lnTo>
                  <a:lnTo>
                    <a:pt x="498" y="72"/>
                  </a:lnTo>
                  <a:lnTo>
                    <a:pt x="494" y="76"/>
                  </a:lnTo>
                  <a:lnTo>
                    <a:pt x="498" y="76"/>
                  </a:lnTo>
                  <a:lnTo>
                    <a:pt x="498" y="80"/>
                  </a:lnTo>
                  <a:lnTo>
                    <a:pt x="498" y="84"/>
                  </a:lnTo>
                  <a:lnTo>
                    <a:pt x="494" y="88"/>
                  </a:lnTo>
                  <a:lnTo>
                    <a:pt x="490" y="92"/>
                  </a:lnTo>
                  <a:lnTo>
                    <a:pt x="494" y="96"/>
                  </a:lnTo>
                  <a:lnTo>
                    <a:pt x="494" y="92"/>
                  </a:lnTo>
                  <a:lnTo>
                    <a:pt x="498" y="92"/>
                  </a:lnTo>
                  <a:lnTo>
                    <a:pt x="498" y="88"/>
                  </a:lnTo>
                  <a:lnTo>
                    <a:pt x="498" y="84"/>
                  </a:lnTo>
                  <a:lnTo>
                    <a:pt x="502" y="84"/>
                  </a:lnTo>
                  <a:lnTo>
                    <a:pt x="502" y="80"/>
                  </a:lnTo>
                  <a:lnTo>
                    <a:pt x="506" y="80"/>
                  </a:lnTo>
                  <a:lnTo>
                    <a:pt x="506" y="88"/>
                  </a:lnTo>
                  <a:lnTo>
                    <a:pt x="506" y="92"/>
                  </a:lnTo>
                  <a:lnTo>
                    <a:pt x="502" y="92"/>
                  </a:lnTo>
                  <a:lnTo>
                    <a:pt x="502" y="96"/>
                  </a:lnTo>
                  <a:lnTo>
                    <a:pt x="502" y="100"/>
                  </a:lnTo>
                  <a:lnTo>
                    <a:pt x="506" y="100"/>
                  </a:lnTo>
                  <a:lnTo>
                    <a:pt x="506" y="104"/>
                  </a:lnTo>
                  <a:lnTo>
                    <a:pt x="510" y="104"/>
                  </a:lnTo>
                  <a:lnTo>
                    <a:pt x="510" y="108"/>
                  </a:lnTo>
                  <a:lnTo>
                    <a:pt x="510" y="104"/>
                  </a:lnTo>
                  <a:lnTo>
                    <a:pt x="506" y="104"/>
                  </a:lnTo>
                  <a:lnTo>
                    <a:pt x="502" y="104"/>
                  </a:lnTo>
                  <a:lnTo>
                    <a:pt x="498" y="104"/>
                  </a:lnTo>
                  <a:lnTo>
                    <a:pt x="498" y="100"/>
                  </a:lnTo>
                  <a:lnTo>
                    <a:pt x="494" y="100"/>
                  </a:lnTo>
                  <a:lnTo>
                    <a:pt x="494" y="104"/>
                  </a:lnTo>
                  <a:lnTo>
                    <a:pt x="494" y="108"/>
                  </a:lnTo>
                  <a:lnTo>
                    <a:pt x="494" y="112"/>
                  </a:lnTo>
                  <a:lnTo>
                    <a:pt x="498" y="116"/>
                  </a:lnTo>
                  <a:lnTo>
                    <a:pt x="498" y="120"/>
                  </a:lnTo>
                  <a:lnTo>
                    <a:pt x="502" y="124"/>
                  </a:lnTo>
                  <a:lnTo>
                    <a:pt x="502" y="128"/>
                  </a:lnTo>
                  <a:lnTo>
                    <a:pt x="502" y="124"/>
                  </a:lnTo>
                  <a:lnTo>
                    <a:pt x="498" y="124"/>
                  </a:lnTo>
                  <a:lnTo>
                    <a:pt x="498" y="120"/>
                  </a:lnTo>
                  <a:lnTo>
                    <a:pt x="494" y="120"/>
                  </a:lnTo>
                  <a:close/>
                  <a:moveTo>
                    <a:pt x="99" y="76"/>
                  </a:moveTo>
                  <a:lnTo>
                    <a:pt x="99" y="80"/>
                  </a:lnTo>
                  <a:lnTo>
                    <a:pt x="95" y="80"/>
                  </a:lnTo>
                  <a:lnTo>
                    <a:pt x="95" y="76"/>
                  </a:lnTo>
                  <a:lnTo>
                    <a:pt x="95" y="72"/>
                  </a:lnTo>
                  <a:lnTo>
                    <a:pt x="99" y="72"/>
                  </a:lnTo>
                  <a:lnTo>
                    <a:pt x="99" y="76"/>
                  </a:lnTo>
                  <a:close/>
                  <a:moveTo>
                    <a:pt x="426" y="128"/>
                  </a:moveTo>
                  <a:lnTo>
                    <a:pt x="422" y="128"/>
                  </a:lnTo>
                  <a:lnTo>
                    <a:pt x="418" y="128"/>
                  </a:lnTo>
                  <a:lnTo>
                    <a:pt x="418" y="132"/>
                  </a:lnTo>
                  <a:lnTo>
                    <a:pt x="414" y="132"/>
                  </a:lnTo>
                  <a:lnTo>
                    <a:pt x="414" y="136"/>
                  </a:lnTo>
                  <a:lnTo>
                    <a:pt x="410" y="136"/>
                  </a:lnTo>
                  <a:lnTo>
                    <a:pt x="410" y="140"/>
                  </a:lnTo>
                  <a:lnTo>
                    <a:pt x="406" y="140"/>
                  </a:lnTo>
                  <a:lnTo>
                    <a:pt x="402" y="140"/>
                  </a:lnTo>
                  <a:lnTo>
                    <a:pt x="402" y="144"/>
                  </a:lnTo>
                  <a:lnTo>
                    <a:pt x="398" y="144"/>
                  </a:lnTo>
                  <a:lnTo>
                    <a:pt x="395" y="144"/>
                  </a:lnTo>
                  <a:lnTo>
                    <a:pt x="395" y="148"/>
                  </a:lnTo>
                  <a:lnTo>
                    <a:pt x="398" y="148"/>
                  </a:lnTo>
                  <a:lnTo>
                    <a:pt x="402" y="148"/>
                  </a:lnTo>
                  <a:lnTo>
                    <a:pt x="402" y="152"/>
                  </a:lnTo>
                  <a:lnTo>
                    <a:pt x="406" y="156"/>
                  </a:lnTo>
                  <a:lnTo>
                    <a:pt x="406" y="160"/>
                  </a:lnTo>
                  <a:lnTo>
                    <a:pt x="410" y="160"/>
                  </a:lnTo>
                  <a:lnTo>
                    <a:pt x="410" y="164"/>
                  </a:lnTo>
                  <a:lnTo>
                    <a:pt x="410" y="167"/>
                  </a:lnTo>
                  <a:lnTo>
                    <a:pt x="414" y="167"/>
                  </a:lnTo>
                  <a:lnTo>
                    <a:pt x="410" y="167"/>
                  </a:lnTo>
                  <a:lnTo>
                    <a:pt x="410" y="171"/>
                  </a:lnTo>
                  <a:lnTo>
                    <a:pt x="410" y="175"/>
                  </a:lnTo>
                  <a:lnTo>
                    <a:pt x="410" y="179"/>
                  </a:lnTo>
                  <a:lnTo>
                    <a:pt x="414" y="179"/>
                  </a:lnTo>
                  <a:lnTo>
                    <a:pt x="414" y="183"/>
                  </a:lnTo>
                  <a:lnTo>
                    <a:pt x="418" y="183"/>
                  </a:lnTo>
                  <a:lnTo>
                    <a:pt x="418" y="187"/>
                  </a:lnTo>
                  <a:lnTo>
                    <a:pt x="418" y="183"/>
                  </a:lnTo>
                  <a:lnTo>
                    <a:pt x="418" y="187"/>
                  </a:lnTo>
                  <a:lnTo>
                    <a:pt x="418" y="191"/>
                  </a:lnTo>
                  <a:lnTo>
                    <a:pt x="414" y="191"/>
                  </a:lnTo>
                  <a:lnTo>
                    <a:pt x="410" y="191"/>
                  </a:lnTo>
                  <a:lnTo>
                    <a:pt x="406" y="191"/>
                  </a:lnTo>
                  <a:lnTo>
                    <a:pt x="406" y="195"/>
                  </a:lnTo>
                  <a:lnTo>
                    <a:pt x="406" y="199"/>
                  </a:lnTo>
                  <a:lnTo>
                    <a:pt x="402" y="199"/>
                  </a:lnTo>
                  <a:lnTo>
                    <a:pt x="398" y="195"/>
                  </a:lnTo>
                  <a:lnTo>
                    <a:pt x="398" y="191"/>
                  </a:lnTo>
                  <a:lnTo>
                    <a:pt x="398" y="187"/>
                  </a:lnTo>
                  <a:lnTo>
                    <a:pt x="402" y="187"/>
                  </a:lnTo>
                  <a:lnTo>
                    <a:pt x="402" y="183"/>
                  </a:lnTo>
                  <a:lnTo>
                    <a:pt x="398" y="183"/>
                  </a:lnTo>
                  <a:lnTo>
                    <a:pt x="395" y="183"/>
                  </a:lnTo>
                  <a:lnTo>
                    <a:pt x="395" y="179"/>
                  </a:lnTo>
                  <a:lnTo>
                    <a:pt x="391" y="175"/>
                  </a:lnTo>
                  <a:lnTo>
                    <a:pt x="391" y="171"/>
                  </a:lnTo>
                  <a:lnTo>
                    <a:pt x="391" y="167"/>
                  </a:lnTo>
                  <a:lnTo>
                    <a:pt x="391" y="164"/>
                  </a:lnTo>
                  <a:lnTo>
                    <a:pt x="391" y="160"/>
                  </a:lnTo>
                  <a:lnTo>
                    <a:pt x="387" y="156"/>
                  </a:lnTo>
                  <a:lnTo>
                    <a:pt x="387" y="160"/>
                  </a:lnTo>
                  <a:lnTo>
                    <a:pt x="383" y="164"/>
                  </a:lnTo>
                  <a:lnTo>
                    <a:pt x="379" y="164"/>
                  </a:lnTo>
                  <a:lnTo>
                    <a:pt x="379" y="167"/>
                  </a:lnTo>
                  <a:lnTo>
                    <a:pt x="383" y="167"/>
                  </a:lnTo>
                  <a:lnTo>
                    <a:pt x="383" y="171"/>
                  </a:lnTo>
                  <a:lnTo>
                    <a:pt x="383" y="175"/>
                  </a:lnTo>
                  <a:lnTo>
                    <a:pt x="383" y="179"/>
                  </a:lnTo>
                  <a:lnTo>
                    <a:pt x="383" y="183"/>
                  </a:lnTo>
                  <a:lnTo>
                    <a:pt x="383" y="187"/>
                  </a:lnTo>
                  <a:lnTo>
                    <a:pt x="383" y="191"/>
                  </a:lnTo>
                  <a:lnTo>
                    <a:pt x="383" y="195"/>
                  </a:lnTo>
                  <a:lnTo>
                    <a:pt x="383" y="199"/>
                  </a:lnTo>
                  <a:lnTo>
                    <a:pt x="379" y="203"/>
                  </a:lnTo>
                  <a:lnTo>
                    <a:pt x="383" y="207"/>
                  </a:lnTo>
                  <a:lnTo>
                    <a:pt x="383" y="211"/>
                  </a:lnTo>
                  <a:lnTo>
                    <a:pt x="379" y="211"/>
                  </a:lnTo>
                  <a:lnTo>
                    <a:pt x="375" y="211"/>
                  </a:lnTo>
                  <a:lnTo>
                    <a:pt x="375" y="215"/>
                  </a:lnTo>
                  <a:lnTo>
                    <a:pt x="371" y="215"/>
                  </a:lnTo>
                  <a:lnTo>
                    <a:pt x="371" y="211"/>
                  </a:lnTo>
                  <a:lnTo>
                    <a:pt x="367" y="211"/>
                  </a:lnTo>
                  <a:lnTo>
                    <a:pt x="367" y="207"/>
                  </a:lnTo>
                  <a:lnTo>
                    <a:pt x="367" y="203"/>
                  </a:lnTo>
                  <a:lnTo>
                    <a:pt x="371" y="199"/>
                  </a:lnTo>
                  <a:lnTo>
                    <a:pt x="367" y="199"/>
                  </a:lnTo>
                  <a:lnTo>
                    <a:pt x="367" y="195"/>
                  </a:lnTo>
                  <a:lnTo>
                    <a:pt x="371" y="195"/>
                  </a:lnTo>
                  <a:lnTo>
                    <a:pt x="371" y="191"/>
                  </a:lnTo>
                  <a:lnTo>
                    <a:pt x="371" y="187"/>
                  </a:lnTo>
                  <a:lnTo>
                    <a:pt x="371" y="183"/>
                  </a:lnTo>
                  <a:lnTo>
                    <a:pt x="371" y="179"/>
                  </a:lnTo>
                  <a:lnTo>
                    <a:pt x="367" y="175"/>
                  </a:lnTo>
                  <a:lnTo>
                    <a:pt x="371" y="175"/>
                  </a:lnTo>
                  <a:lnTo>
                    <a:pt x="367" y="171"/>
                  </a:lnTo>
                  <a:lnTo>
                    <a:pt x="363" y="171"/>
                  </a:lnTo>
                  <a:lnTo>
                    <a:pt x="363" y="175"/>
                  </a:lnTo>
                  <a:lnTo>
                    <a:pt x="363" y="171"/>
                  </a:lnTo>
                  <a:lnTo>
                    <a:pt x="363" y="175"/>
                  </a:lnTo>
                  <a:lnTo>
                    <a:pt x="359" y="175"/>
                  </a:lnTo>
                  <a:lnTo>
                    <a:pt x="359" y="171"/>
                  </a:lnTo>
                  <a:lnTo>
                    <a:pt x="359" y="167"/>
                  </a:lnTo>
                  <a:lnTo>
                    <a:pt x="359" y="164"/>
                  </a:lnTo>
                  <a:lnTo>
                    <a:pt x="359" y="160"/>
                  </a:lnTo>
                  <a:lnTo>
                    <a:pt x="363" y="156"/>
                  </a:lnTo>
                  <a:lnTo>
                    <a:pt x="363" y="152"/>
                  </a:lnTo>
                  <a:lnTo>
                    <a:pt x="363" y="148"/>
                  </a:lnTo>
                  <a:lnTo>
                    <a:pt x="367" y="148"/>
                  </a:lnTo>
                  <a:lnTo>
                    <a:pt x="367" y="144"/>
                  </a:lnTo>
                  <a:lnTo>
                    <a:pt x="367" y="148"/>
                  </a:lnTo>
                  <a:lnTo>
                    <a:pt x="367" y="144"/>
                  </a:lnTo>
                  <a:lnTo>
                    <a:pt x="367" y="140"/>
                  </a:lnTo>
                  <a:lnTo>
                    <a:pt x="367" y="136"/>
                  </a:lnTo>
                  <a:lnTo>
                    <a:pt x="367" y="132"/>
                  </a:lnTo>
                  <a:lnTo>
                    <a:pt x="367" y="128"/>
                  </a:lnTo>
                  <a:lnTo>
                    <a:pt x="371" y="128"/>
                  </a:lnTo>
                  <a:lnTo>
                    <a:pt x="371" y="124"/>
                  </a:lnTo>
                  <a:lnTo>
                    <a:pt x="371" y="120"/>
                  </a:lnTo>
                  <a:lnTo>
                    <a:pt x="375" y="124"/>
                  </a:lnTo>
                  <a:lnTo>
                    <a:pt x="375" y="128"/>
                  </a:lnTo>
                  <a:lnTo>
                    <a:pt x="375" y="124"/>
                  </a:lnTo>
                  <a:lnTo>
                    <a:pt x="375" y="120"/>
                  </a:lnTo>
                  <a:lnTo>
                    <a:pt x="371" y="120"/>
                  </a:lnTo>
                  <a:lnTo>
                    <a:pt x="371" y="116"/>
                  </a:lnTo>
                  <a:lnTo>
                    <a:pt x="375" y="116"/>
                  </a:lnTo>
                  <a:lnTo>
                    <a:pt x="375" y="112"/>
                  </a:lnTo>
                  <a:lnTo>
                    <a:pt x="371" y="112"/>
                  </a:lnTo>
                  <a:lnTo>
                    <a:pt x="371" y="108"/>
                  </a:lnTo>
                  <a:lnTo>
                    <a:pt x="371" y="112"/>
                  </a:lnTo>
                  <a:lnTo>
                    <a:pt x="375" y="112"/>
                  </a:lnTo>
                  <a:lnTo>
                    <a:pt x="375" y="108"/>
                  </a:lnTo>
                  <a:lnTo>
                    <a:pt x="375" y="104"/>
                  </a:lnTo>
                  <a:lnTo>
                    <a:pt x="375" y="100"/>
                  </a:lnTo>
                  <a:lnTo>
                    <a:pt x="379" y="100"/>
                  </a:lnTo>
                  <a:lnTo>
                    <a:pt x="375" y="100"/>
                  </a:lnTo>
                  <a:lnTo>
                    <a:pt x="375" y="96"/>
                  </a:lnTo>
                  <a:lnTo>
                    <a:pt x="379" y="96"/>
                  </a:lnTo>
                  <a:lnTo>
                    <a:pt x="379" y="92"/>
                  </a:lnTo>
                  <a:lnTo>
                    <a:pt x="383" y="92"/>
                  </a:lnTo>
                  <a:lnTo>
                    <a:pt x="383" y="96"/>
                  </a:lnTo>
                  <a:lnTo>
                    <a:pt x="387" y="96"/>
                  </a:lnTo>
                  <a:lnTo>
                    <a:pt x="387" y="92"/>
                  </a:lnTo>
                  <a:lnTo>
                    <a:pt x="391" y="88"/>
                  </a:lnTo>
                  <a:lnTo>
                    <a:pt x="387" y="88"/>
                  </a:lnTo>
                  <a:lnTo>
                    <a:pt x="391" y="84"/>
                  </a:lnTo>
                  <a:lnTo>
                    <a:pt x="395" y="84"/>
                  </a:lnTo>
                  <a:lnTo>
                    <a:pt x="395" y="88"/>
                  </a:lnTo>
                  <a:lnTo>
                    <a:pt x="398" y="88"/>
                  </a:lnTo>
                  <a:lnTo>
                    <a:pt x="398" y="92"/>
                  </a:lnTo>
                  <a:lnTo>
                    <a:pt x="402" y="92"/>
                  </a:lnTo>
                  <a:lnTo>
                    <a:pt x="406" y="88"/>
                  </a:lnTo>
                  <a:lnTo>
                    <a:pt x="406" y="92"/>
                  </a:lnTo>
                  <a:lnTo>
                    <a:pt x="410" y="92"/>
                  </a:lnTo>
                  <a:lnTo>
                    <a:pt x="414" y="92"/>
                  </a:lnTo>
                  <a:lnTo>
                    <a:pt x="418" y="92"/>
                  </a:lnTo>
                  <a:lnTo>
                    <a:pt x="418" y="96"/>
                  </a:lnTo>
                  <a:lnTo>
                    <a:pt x="422" y="92"/>
                  </a:lnTo>
                  <a:lnTo>
                    <a:pt x="426" y="92"/>
                  </a:lnTo>
                  <a:lnTo>
                    <a:pt x="430" y="92"/>
                  </a:lnTo>
                  <a:lnTo>
                    <a:pt x="430" y="96"/>
                  </a:lnTo>
                  <a:lnTo>
                    <a:pt x="430" y="92"/>
                  </a:lnTo>
                  <a:lnTo>
                    <a:pt x="434" y="96"/>
                  </a:lnTo>
                  <a:lnTo>
                    <a:pt x="438" y="92"/>
                  </a:lnTo>
                  <a:lnTo>
                    <a:pt x="442" y="92"/>
                  </a:lnTo>
                  <a:lnTo>
                    <a:pt x="442" y="88"/>
                  </a:lnTo>
                  <a:lnTo>
                    <a:pt x="446" y="88"/>
                  </a:lnTo>
                  <a:lnTo>
                    <a:pt x="446" y="84"/>
                  </a:lnTo>
                  <a:lnTo>
                    <a:pt x="450" y="84"/>
                  </a:lnTo>
                  <a:lnTo>
                    <a:pt x="450" y="80"/>
                  </a:lnTo>
                  <a:lnTo>
                    <a:pt x="454" y="80"/>
                  </a:lnTo>
                  <a:lnTo>
                    <a:pt x="454" y="84"/>
                  </a:lnTo>
                  <a:lnTo>
                    <a:pt x="454" y="88"/>
                  </a:lnTo>
                  <a:lnTo>
                    <a:pt x="450" y="88"/>
                  </a:lnTo>
                  <a:lnTo>
                    <a:pt x="450" y="92"/>
                  </a:lnTo>
                  <a:lnTo>
                    <a:pt x="446" y="96"/>
                  </a:lnTo>
                  <a:lnTo>
                    <a:pt x="446" y="100"/>
                  </a:lnTo>
                  <a:lnTo>
                    <a:pt x="442" y="100"/>
                  </a:lnTo>
                  <a:lnTo>
                    <a:pt x="442" y="104"/>
                  </a:lnTo>
                  <a:lnTo>
                    <a:pt x="438" y="104"/>
                  </a:lnTo>
                  <a:lnTo>
                    <a:pt x="434" y="104"/>
                  </a:lnTo>
                  <a:lnTo>
                    <a:pt x="430" y="104"/>
                  </a:lnTo>
                  <a:lnTo>
                    <a:pt x="426" y="104"/>
                  </a:lnTo>
                  <a:lnTo>
                    <a:pt x="422" y="104"/>
                  </a:lnTo>
                  <a:lnTo>
                    <a:pt x="422" y="100"/>
                  </a:lnTo>
                  <a:lnTo>
                    <a:pt x="418" y="100"/>
                  </a:lnTo>
                  <a:lnTo>
                    <a:pt x="414" y="100"/>
                  </a:lnTo>
                  <a:lnTo>
                    <a:pt x="410" y="100"/>
                  </a:lnTo>
                  <a:lnTo>
                    <a:pt x="406" y="100"/>
                  </a:lnTo>
                  <a:lnTo>
                    <a:pt x="406" y="104"/>
                  </a:lnTo>
                  <a:lnTo>
                    <a:pt x="402" y="104"/>
                  </a:lnTo>
                  <a:lnTo>
                    <a:pt x="402" y="100"/>
                  </a:lnTo>
                  <a:lnTo>
                    <a:pt x="398" y="100"/>
                  </a:lnTo>
                  <a:lnTo>
                    <a:pt x="395" y="100"/>
                  </a:lnTo>
                  <a:lnTo>
                    <a:pt x="395" y="104"/>
                  </a:lnTo>
                  <a:lnTo>
                    <a:pt x="391" y="104"/>
                  </a:lnTo>
                  <a:lnTo>
                    <a:pt x="391" y="100"/>
                  </a:lnTo>
                  <a:lnTo>
                    <a:pt x="387" y="100"/>
                  </a:lnTo>
                  <a:lnTo>
                    <a:pt x="383" y="100"/>
                  </a:lnTo>
                  <a:lnTo>
                    <a:pt x="383" y="104"/>
                  </a:lnTo>
                  <a:lnTo>
                    <a:pt x="379" y="104"/>
                  </a:lnTo>
                  <a:lnTo>
                    <a:pt x="379" y="108"/>
                  </a:lnTo>
                  <a:lnTo>
                    <a:pt x="379" y="112"/>
                  </a:lnTo>
                  <a:lnTo>
                    <a:pt x="375" y="112"/>
                  </a:lnTo>
                  <a:lnTo>
                    <a:pt x="375" y="116"/>
                  </a:lnTo>
                  <a:lnTo>
                    <a:pt x="379" y="120"/>
                  </a:lnTo>
                  <a:lnTo>
                    <a:pt x="379" y="124"/>
                  </a:lnTo>
                  <a:lnTo>
                    <a:pt x="379" y="128"/>
                  </a:lnTo>
                  <a:lnTo>
                    <a:pt x="383" y="128"/>
                  </a:lnTo>
                  <a:lnTo>
                    <a:pt x="387" y="128"/>
                  </a:lnTo>
                  <a:lnTo>
                    <a:pt x="387" y="132"/>
                  </a:lnTo>
                  <a:lnTo>
                    <a:pt x="387" y="136"/>
                  </a:lnTo>
                  <a:lnTo>
                    <a:pt x="391" y="136"/>
                  </a:lnTo>
                  <a:lnTo>
                    <a:pt x="395" y="136"/>
                  </a:lnTo>
                  <a:lnTo>
                    <a:pt x="395" y="132"/>
                  </a:lnTo>
                  <a:lnTo>
                    <a:pt x="398" y="128"/>
                  </a:lnTo>
                  <a:lnTo>
                    <a:pt x="398" y="124"/>
                  </a:lnTo>
                  <a:lnTo>
                    <a:pt x="402" y="124"/>
                  </a:lnTo>
                  <a:lnTo>
                    <a:pt x="402" y="128"/>
                  </a:lnTo>
                  <a:lnTo>
                    <a:pt x="406" y="128"/>
                  </a:lnTo>
                  <a:lnTo>
                    <a:pt x="410" y="128"/>
                  </a:lnTo>
                  <a:lnTo>
                    <a:pt x="410" y="124"/>
                  </a:lnTo>
                  <a:lnTo>
                    <a:pt x="414" y="124"/>
                  </a:lnTo>
                  <a:lnTo>
                    <a:pt x="418" y="124"/>
                  </a:lnTo>
                  <a:lnTo>
                    <a:pt x="422" y="124"/>
                  </a:lnTo>
                  <a:lnTo>
                    <a:pt x="418" y="124"/>
                  </a:lnTo>
                  <a:lnTo>
                    <a:pt x="418" y="120"/>
                  </a:lnTo>
                  <a:lnTo>
                    <a:pt x="422" y="120"/>
                  </a:lnTo>
                  <a:lnTo>
                    <a:pt x="426" y="120"/>
                  </a:lnTo>
                  <a:lnTo>
                    <a:pt x="426" y="124"/>
                  </a:lnTo>
                  <a:lnTo>
                    <a:pt x="426" y="128"/>
                  </a:lnTo>
                  <a:close/>
                  <a:moveTo>
                    <a:pt x="111" y="84"/>
                  </a:moveTo>
                  <a:lnTo>
                    <a:pt x="111" y="88"/>
                  </a:lnTo>
                  <a:lnTo>
                    <a:pt x="111" y="84"/>
                  </a:lnTo>
                  <a:lnTo>
                    <a:pt x="107" y="84"/>
                  </a:lnTo>
                  <a:lnTo>
                    <a:pt x="103" y="84"/>
                  </a:lnTo>
                  <a:lnTo>
                    <a:pt x="103" y="80"/>
                  </a:lnTo>
                  <a:lnTo>
                    <a:pt x="107" y="80"/>
                  </a:lnTo>
                  <a:lnTo>
                    <a:pt x="111" y="84"/>
                  </a:lnTo>
                  <a:close/>
                  <a:moveTo>
                    <a:pt x="40" y="100"/>
                  </a:moveTo>
                  <a:lnTo>
                    <a:pt x="40" y="96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36" y="84"/>
                  </a:lnTo>
                  <a:lnTo>
                    <a:pt x="40" y="88"/>
                  </a:lnTo>
                  <a:lnTo>
                    <a:pt x="44" y="92"/>
                  </a:lnTo>
                  <a:lnTo>
                    <a:pt x="40" y="96"/>
                  </a:lnTo>
                  <a:lnTo>
                    <a:pt x="40" y="100"/>
                  </a:lnTo>
                  <a:close/>
                  <a:moveTo>
                    <a:pt x="111" y="88"/>
                  </a:moveTo>
                  <a:lnTo>
                    <a:pt x="111" y="92"/>
                  </a:lnTo>
                  <a:lnTo>
                    <a:pt x="107" y="92"/>
                  </a:lnTo>
                  <a:lnTo>
                    <a:pt x="107" y="88"/>
                  </a:lnTo>
                  <a:lnTo>
                    <a:pt x="107" y="84"/>
                  </a:lnTo>
                  <a:lnTo>
                    <a:pt x="111" y="88"/>
                  </a:lnTo>
                  <a:close/>
                  <a:moveTo>
                    <a:pt x="143" y="92"/>
                  </a:moveTo>
                  <a:lnTo>
                    <a:pt x="143" y="96"/>
                  </a:lnTo>
                  <a:lnTo>
                    <a:pt x="143" y="92"/>
                  </a:lnTo>
                  <a:lnTo>
                    <a:pt x="139" y="92"/>
                  </a:lnTo>
                  <a:lnTo>
                    <a:pt x="139" y="88"/>
                  </a:lnTo>
                  <a:lnTo>
                    <a:pt x="143" y="88"/>
                  </a:lnTo>
                  <a:lnTo>
                    <a:pt x="143" y="92"/>
                  </a:lnTo>
                  <a:close/>
                  <a:moveTo>
                    <a:pt x="135" y="88"/>
                  </a:moveTo>
                  <a:lnTo>
                    <a:pt x="135" y="92"/>
                  </a:lnTo>
                  <a:lnTo>
                    <a:pt x="131" y="92"/>
                  </a:lnTo>
                  <a:lnTo>
                    <a:pt x="131" y="88"/>
                  </a:lnTo>
                  <a:lnTo>
                    <a:pt x="135" y="88"/>
                  </a:lnTo>
                  <a:close/>
                  <a:moveTo>
                    <a:pt x="119" y="96"/>
                  </a:moveTo>
                  <a:lnTo>
                    <a:pt x="119" y="92"/>
                  </a:lnTo>
                  <a:lnTo>
                    <a:pt x="115" y="92"/>
                  </a:lnTo>
                  <a:lnTo>
                    <a:pt x="115" y="88"/>
                  </a:lnTo>
                  <a:lnTo>
                    <a:pt x="119" y="88"/>
                  </a:lnTo>
                  <a:lnTo>
                    <a:pt x="119" y="92"/>
                  </a:lnTo>
                  <a:lnTo>
                    <a:pt x="123" y="92"/>
                  </a:lnTo>
                  <a:lnTo>
                    <a:pt x="123" y="96"/>
                  </a:lnTo>
                  <a:lnTo>
                    <a:pt x="119" y="96"/>
                  </a:lnTo>
                  <a:close/>
                  <a:moveTo>
                    <a:pt x="119" y="96"/>
                  </a:moveTo>
                  <a:lnTo>
                    <a:pt x="115" y="96"/>
                  </a:lnTo>
                  <a:lnTo>
                    <a:pt x="111" y="96"/>
                  </a:lnTo>
                  <a:lnTo>
                    <a:pt x="111" y="92"/>
                  </a:lnTo>
                  <a:lnTo>
                    <a:pt x="111" y="88"/>
                  </a:lnTo>
                  <a:lnTo>
                    <a:pt x="111" y="92"/>
                  </a:lnTo>
                  <a:lnTo>
                    <a:pt x="115" y="92"/>
                  </a:lnTo>
                  <a:lnTo>
                    <a:pt x="119" y="92"/>
                  </a:lnTo>
                  <a:lnTo>
                    <a:pt x="119" y="96"/>
                  </a:lnTo>
                  <a:close/>
                  <a:moveTo>
                    <a:pt x="127" y="92"/>
                  </a:moveTo>
                  <a:lnTo>
                    <a:pt x="123" y="92"/>
                  </a:lnTo>
                  <a:lnTo>
                    <a:pt x="123" y="88"/>
                  </a:lnTo>
                  <a:lnTo>
                    <a:pt x="123" y="92"/>
                  </a:lnTo>
                  <a:lnTo>
                    <a:pt x="127" y="92"/>
                  </a:lnTo>
                  <a:close/>
                  <a:moveTo>
                    <a:pt x="135" y="96"/>
                  </a:moveTo>
                  <a:lnTo>
                    <a:pt x="135" y="92"/>
                  </a:lnTo>
                  <a:lnTo>
                    <a:pt x="139" y="96"/>
                  </a:lnTo>
                  <a:lnTo>
                    <a:pt x="135" y="96"/>
                  </a:lnTo>
                  <a:close/>
                  <a:moveTo>
                    <a:pt x="127" y="96"/>
                  </a:moveTo>
                  <a:lnTo>
                    <a:pt x="127" y="100"/>
                  </a:lnTo>
                  <a:lnTo>
                    <a:pt x="123" y="100"/>
                  </a:lnTo>
                  <a:lnTo>
                    <a:pt x="123" y="96"/>
                  </a:lnTo>
                  <a:lnTo>
                    <a:pt x="123" y="92"/>
                  </a:lnTo>
                  <a:lnTo>
                    <a:pt x="123" y="96"/>
                  </a:lnTo>
                  <a:lnTo>
                    <a:pt x="127" y="96"/>
                  </a:lnTo>
                  <a:close/>
                  <a:moveTo>
                    <a:pt x="143" y="108"/>
                  </a:moveTo>
                  <a:lnTo>
                    <a:pt x="143" y="104"/>
                  </a:lnTo>
                  <a:lnTo>
                    <a:pt x="143" y="108"/>
                  </a:lnTo>
                  <a:close/>
                  <a:moveTo>
                    <a:pt x="55" y="108"/>
                  </a:moveTo>
                  <a:lnTo>
                    <a:pt x="51" y="108"/>
                  </a:lnTo>
                  <a:lnTo>
                    <a:pt x="55" y="108"/>
                  </a:lnTo>
                  <a:close/>
                  <a:moveTo>
                    <a:pt x="147" y="116"/>
                  </a:moveTo>
                  <a:lnTo>
                    <a:pt x="143" y="116"/>
                  </a:lnTo>
                  <a:lnTo>
                    <a:pt x="143" y="112"/>
                  </a:lnTo>
                  <a:lnTo>
                    <a:pt x="143" y="116"/>
                  </a:lnTo>
                  <a:lnTo>
                    <a:pt x="139" y="116"/>
                  </a:lnTo>
                  <a:lnTo>
                    <a:pt x="139" y="112"/>
                  </a:lnTo>
                  <a:lnTo>
                    <a:pt x="143" y="112"/>
                  </a:lnTo>
                  <a:lnTo>
                    <a:pt x="143" y="108"/>
                  </a:lnTo>
                  <a:lnTo>
                    <a:pt x="143" y="112"/>
                  </a:lnTo>
                  <a:lnTo>
                    <a:pt x="147" y="112"/>
                  </a:lnTo>
                  <a:lnTo>
                    <a:pt x="147" y="116"/>
                  </a:lnTo>
                  <a:close/>
                  <a:moveTo>
                    <a:pt x="51" y="116"/>
                  </a:moveTo>
                  <a:lnTo>
                    <a:pt x="47" y="112"/>
                  </a:lnTo>
                  <a:lnTo>
                    <a:pt x="47" y="108"/>
                  </a:lnTo>
                  <a:lnTo>
                    <a:pt x="47" y="112"/>
                  </a:lnTo>
                  <a:lnTo>
                    <a:pt x="51" y="112"/>
                  </a:lnTo>
                  <a:lnTo>
                    <a:pt x="51" y="116"/>
                  </a:lnTo>
                  <a:close/>
                  <a:moveTo>
                    <a:pt x="538" y="120"/>
                  </a:moveTo>
                  <a:lnTo>
                    <a:pt x="538" y="116"/>
                  </a:lnTo>
                  <a:lnTo>
                    <a:pt x="534" y="116"/>
                  </a:lnTo>
                  <a:lnTo>
                    <a:pt x="530" y="116"/>
                  </a:lnTo>
                  <a:lnTo>
                    <a:pt x="530" y="112"/>
                  </a:lnTo>
                  <a:lnTo>
                    <a:pt x="534" y="116"/>
                  </a:lnTo>
                  <a:lnTo>
                    <a:pt x="534" y="112"/>
                  </a:lnTo>
                  <a:lnTo>
                    <a:pt x="530" y="112"/>
                  </a:lnTo>
                  <a:lnTo>
                    <a:pt x="534" y="112"/>
                  </a:lnTo>
                  <a:lnTo>
                    <a:pt x="538" y="112"/>
                  </a:lnTo>
                  <a:lnTo>
                    <a:pt x="542" y="112"/>
                  </a:lnTo>
                  <a:lnTo>
                    <a:pt x="546" y="112"/>
                  </a:lnTo>
                  <a:lnTo>
                    <a:pt x="546" y="116"/>
                  </a:lnTo>
                  <a:lnTo>
                    <a:pt x="542" y="116"/>
                  </a:lnTo>
                  <a:lnTo>
                    <a:pt x="538" y="112"/>
                  </a:lnTo>
                  <a:lnTo>
                    <a:pt x="538" y="116"/>
                  </a:lnTo>
                  <a:lnTo>
                    <a:pt x="542" y="116"/>
                  </a:lnTo>
                  <a:lnTo>
                    <a:pt x="542" y="120"/>
                  </a:lnTo>
                  <a:lnTo>
                    <a:pt x="538" y="120"/>
                  </a:lnTo>
                  <a:close/>
                  <a:moveTo>
                    <a:pt x="51" y="120"/>
                  </a:moveTo>
                  <a:lnTo>
                    <a:pt x="47" y="120"/>
                  </a:lnTo>
                  <a:lnTo>
                    <a:pt x="47" y="116"/>
                  </a:lnTo>
                  <a:lnTo>
                    <a:pt x="51" y="116"/>
                  </a:lnTo>
                  <a:lnTo>
                    <a:pt x="51" y="120"/>
                  </a:lnTo>
                  <a:close/>
                  <a:moveTo>
                    <a:pt x="490" y="116"/>
                  </a:moveTo>
                  <a:lnTo>
                    <a:pt x="494" y="120"/>
                  </a:lnTo>
                  <a:lnTo>
                    <a:pt x="490" y="120"/>
                  </a:lnTo>
                  <a:lnTo>
                    <a:pt x="490" y="124"/>
                  </a:lnTo>
                  <a:lnTo>
                    <a:pt x="494" y="124"/>
                  </a:lnTo>
                  <a:lnTo>
                    <a:pt x="494" y="128"/>
                  </a:lnTo>
                  <a:lnTo>
                    <a:pt x="494" y="124"/>
                  </a:lnTo>
                  <a:lnTo>
                    <a:pt x="490" y="124"/>
                  </a:lnTo>
                  <a:lnTo>
                    <a:pt x="486" y="120"/>
                  </a:lnTo>
                  <a:lnTo>
                    <a:pt x="486" y="116"/>
                  </a:lnTo>
                  <a:lnTo>
                    <a:pt x="490" y="116"/>
                  </a:lnTo>
                  <a:close/>
                  <a:moveTo>
                    <a:pt x="143" y="116"/>
                  </a:moveTo>
                  <a:lnTo>
                    <a:pt x="143" y="120"/>
                  </a:lnTo>
                  <a:lnTo>
                    <a:pt x="139" y="120"/>
                  </a:lnTo>
                  <a:lnTo>
                    <a:pt x="139" y="116"/>
                  </a:lnTo>
                  <a:lnTo>
                    <a:pt x="143" y="116"/>
                  </a:lnTo>
                  <a:close/>
                  <a:moveTo>
                    <a:pt x="666" y="243"/>
                  </a:moveTo>
                  <a:lnTo>
                    <a:pt x="666" y="239"/>
                  </a:lnTo>
                  <a:lnTo>
                    <a:pt x="666" y="243"/>
                  </a:lnTo>
                  <a:lnTo>
                    <a:pt x="662" y="239"/>
                  </a:lnTo>
                  <a:lnTo>
                    <a:pt x="658" y="235"/>
                  </a:lnTo>
                  <a:lnTo>
                    <a:pt x="662" y="235"/>
                  </a:lnTo>
                  <a:lnTo>
                    <a:pt x="666" y="235"/>
                  </a:lnTo>
                  <a:lnTo>
                    <a:pt x="666" y="239"/>
                  </a:lnTo>
                  <a:lnTo>
                    <a:pt x="666" y="235"/>
                  </a:lnTo>
                  <a:lnTo>
                    <a:pt x="662" y="235"/>
                  </a:lnTo>
                  <a:lnTo>
                    <a:pt x="658" y="231"/>
                  </a:lnTo>
                  <a:lnTo>
                    <a:pt x="658" y="227"/>
                  </a:lnTo>
                  <a:lnTo>
                    <a:pt x="654" y="227"/>
                  </a:lnTo>
                  <a:lnTo>
                    <a:pt x="654" y="223"/>
                  </a:lnTo>
                  <a:lnTo>
                    <a:pt x="654" y="219"/>
                  </a:lnTo>
                  <a:lnTo>
                    <a:pt x="654" y="215"/>
                  </a:lnTo>
                  <a:lnTo>
                    <a:pt x="650" y="215"/>
                  </a:lnTo>
                  <a:lnTo>
                    <a:pt x="654" y="215"/>
                  </a:lnTo>
                  <a:lnTo>
                    <a:pt x="654" y="211"/>
                  </a:lnTo>
                  <a:lnTo>
                    <a:pt x="654" y="215"/>
                  </a:lnTo>
                  <a:lnTo>
                    <a:pt x="650" y="215"/>
                  </a:lnTo>
                  <a:lnTo>
                    <a:pt x="650" y="211"/>
                  </a:lnTo>
                  <a:lnTo>
                    <a:pt x="650" y="207"/>
                  </a:lnTo>
                  <a:lnTo>
                    <a:pt x="650" y="211"/>
                  </a:lnTo>
                  <a:lnTo>
                    <a:pt x="646" y="207"/>
                  </a:lnTo>
                  <a:lnTo>
                    <a:pt x="642" y="203"/>
                  </a:lnTo>
                  <a:lnTo>
                    <a:pt x="638" y="203"/>
                  </a:lnTo>
                  <a:lnTo>
                    <a:pt x="638" y="199"/>
                  </a:lnTo>
                  <a:lnTo>
                    <a:pt x="634" y="199"/>
                  </a:lnTo>
                  <a:lnTo>
                    <a:pt x="630" y="199"/>
                  </a:lnTo>
                  <a:lnTo>
                    <a:pt x="626" y="195"/>
                  </a:lnTo>
                  <a:lnTo>
                    <a:pt x="622" y="195"/>
                  </a:lnTo>
                  <a:lnTo>
                    <a:pt x="618" y="195"/>
                  </a:lnTo>
                  <a:lnTo>
                    <a:pt x="618" y="191"/>
                  </a:lnTo>
                  <a:lnTo>
                    <a:pt x="614" y="191"/>
                  </a:lnTo>
                  <a:lnTo>
                    <a:pt x="610" y="191"/>
                  </a:lnTo>
                  <a:lnTo>
                    <a:pt x="606" y="191"/>
                  </a:lnTo>
                  <a:lnTo>
                    <a:pt x="602" y="187"/>
                  </a:lnTo>
                  <a:lnTo>
                    <a:pt x="598" y="187"/>
                  </a:lnTo>
                  <a:lnTo>
                    <a:pt x="598" y="183"/>
                  </a:lnTo>
                  <a:lnTo>
                    <a:pt x="602" y="183"/>
                  </a:lnTo>
                  <a:lnTo>
                    <a:pt x="598" y="179"/>
                  </a:lnTo>
                  <a:lnTo>
                    <a:pt x="598" y="183"/>
                  </a:lnTo>
                  <a:lnTo>
                    <a:pt x="594" y="183"/>
                  </a:lnTo>
                  <a:lnTo>
                    <a:pt x="594" y="179"/>
                  </a:lnTo>
                  <a:lnTo>
                    <a:pt x="594" y="183"/>
                  </a:lnTo>
                  <a:lnTo>
                    <a:pt x="590" y="183"/>
                  </a:lnTo>
                  <a:lnTo>
                    <a:pt x="590" y="179"/>
                  </a:lnTo>
                  <a:lnTo>
                    <a:pt x="586" y="179"/>
                  </a:lnTo>
                  <a:lnTo>
                    <a:pt x="586" y="175"/>
                  </a:lnTo>
                  <a:lnTo>
                    <a:pt x="582" y="175"/>
                  </a:lnTo>
                  <a:lnTo>
                    <a:pt x="582" y="171"/>
                  </a:lnTo>
                  <a:lnTo>
                    <a:pt x="582" y="167"/>
                  </a:lnTo>
                  <a:lnTo>
                    <a:pt x="586" y="167"/>
                  </a:lnTo>
                  <a:lnTo>
                    <a:pt x="586" y="164"/>
                  </a:lnTo>
                  <a:lnTo>
                    <a:pt x="582" y="164"/>
                  </a:lnTo>
                  <a:lnTo>
                    <a:pt x="582" y="167"/>
                  </a:lnTo>
                  <a:lnTo>
                    <a:pt x="582" y="171"/>
                  </a:lnTo>
                  <a:lnTo>
                    <a:pt x="582" y="175"/>
                  </a:lnTo>
                  <a:lnTo>
                    <a:pt x="578" y="179"/>
                  </a:lnTo>
                  <a:lnTo>
                    <a:pt x="578" y="183"/>
                  </a:lnTo>
                  <a:lnTo>
                    <a:pt x="574" y="183"/>
                  </a:lnTo>
                  <a:lnTo>
                    <a:pt x="570" y="183"/>
                  </a:lnTo>
                  <a:lnTo>
                    <a:pt x="570" y="179"/>
                  </a:lnTo>
                  <a:lnTo>
                    <a:pt x="570" y="175"/>
                  </a:lnTo>
                  <a:lnTo>
                    <a:pt x="570" y="171"/>
                  </a:lnTo>
                  <a:lnTo>
                    <a:pt x="570" y="167"/>
                  </a:lnTo>
                  <a:lnTo>
                    <a:pt x="570" y="171"/>
                  </a:lnTo>
                  <a:lnTo>
                    <a:pt x="566" y="171"/>
                  </a:lnTo>
                  <a:lnTo>
                    <a:pt x="566" y="167"/>
                  </a:lnTo>
                  <a:lnTo>
                    <a:pt x="566" y="164"/>
                  </a:lnTo>
                  <a:lnTo>
                    <a:pt x="562" y="164"/>
                  </a:lnTo>
                  <a:lnTo>
                    <a:pt x="558" y="164"/>
                  </a:lnTo>
                  <a:lnTo>
                    <a:pt x="558" y="160"/>
                  </a:lnTo>
                  <a:lnTo>
                    <a:pt x="562" y="160"/>
                  </a:lnTo>
                  <a:lnTo>
                    <a:pt x="566" y="160"/>
                  </a:lnTo>
                  <a:lnTo>
                    <a:pt x="570" y="160"/>
                  </a:lnTo>
                  <a:lnTo>
                    <a:pt x="574" y="156"/>
                  </a:lnTo>
                  <a:lnTo>
                    <a:pt x="578" y="156"/>
                  </a:lnTo>
                  <a:lnTo>
                    <a:pt x="582" y="156"/>
                  </a:lnTo>
                  <a:lnTo>
                    <a:pt x="582" y="160"/>
                  </a:lnTo>
                  <a:lnTo>
                    <a:pt x="582" y="156"/>
                  </a:lnTo>
                  <a:lnTo>
                    <a:pt x="586" y="156"/>
                  </a:lnTo>
                  <a:lnTo>
                    <a:pt x="586" y="160"/>
                  </a:lnTo>
                  <a:lnTo>
                    <a:pt x="586" y="156"/>
                  </a:lnTo>
                  <a:lnTo>
                    <a:pt x="586" y="152"/>
                  </a:lnTo>
                  <a:lnTo>
                    <a:pt x="586" y="148"/>
                  </a:lnTo>
                  <a:lnTo>
                    <a:pt x="582" y="152"/>
                  </a:lnTo>
                  <a:lnTo>
                    <a:pt x="578" y="152"/>
                  </a:lnTo>
                  <a:lnTo>
                    <a:pt x="574" y="152"/>
                  </a:lnTo>
                  <a:lnTo>
                    <a:pt x="570" y="152"/>
                  </a:lnTo>
                  <a:lnTo>
                    <a:pt x="566" y="152"/>
                  </a:lnTo>
                  <a:lnTo>
                    <a:pt x="562" y="152"/>
                  </a:lnTo>
                  <a:lnTo>
                    <a:pt x="562" y="148"/>
                  </a:lnTo>
                  <a:lnTo>
                    <a:pt x="558" y="148"/>
                  </a:lnTo>
                  <a:lnTo>
                    <a:pt x="558" y="144"/>
                  </a:lnTo>
                  <a:lnTo>
                    <a:pt x="558" y="140"/>
                  </a:lnTo>
                  <a:lnTo>
                    <a:pt x="554" y="140"/>
                  </a:lnTo>
                  <a:lnTo>
                    <a:pt x="550" y="136"/>
                  </a:lnTo>
                  <a:lnTo>
                    <a:pt x="546" y="136"/>
                  </a:lnTo>
                  <a:lnTo>
                    <a:pt x="542" y="136"/>
                  </a:lnTo>
                  <a:lnTo>
                    <a:pt x="542" y="132"/>
                  </a:lnTo>
                  <a:lnTo>
                    <a:pt x="546" y="132"/>
                  </a:lnTo>
                  <a:lnTo>
                    <a:pt x="546" y="128"/>
                  </a:lnTo>
                  <a:lnTo>
                    <a:pt x="546" y="124"/>
                  </a:lnTo>
                  <a:lnTo>
                    <a:pt x="550" y="124"/>
                  </a:lnTo>
                  <a:lnTo>
                    <a:pt x="554" y="124"/>
                  </a:lnTo>
                  <a:lnTo>
                    <a:pt x="558" y="124"/>
                  </a:lnTo>
                  <a:lnTo>
                    <a:pt x="558" y="120"/>
                  </a:lnTo>
                  <a:lnTo>
                    <a:pt x="562" y="116"/>
                  </a:lnTo>
                  <a:lnTo>
                    <a:pt x="566" y="116"/>
                  </a:lnTo>
                  <a:lnTo>
                    <a:pt x="570" y="116"/>
                  </a:lnTo>
                  <a:lnTo>
                    <a:pt x="570" y="120"/>
                  </a:lnTo>
                  <a:lnTo>
                    <a:pt x="574" y="120"/>
                  </a:lnTo>
                  <a:lnTo>
                    <a:pt x="578" y="120"/>
                  </a:lnTo>
                  <a:lnTo>
                    <a:pt x="578" y="124"/>
                  </a:lnTo>
                  <a:lnTo>
                    <a:pt x="582" y="124"/>
                  </a:lnTo>
                  <a:lnTo>
                    <a:pt x="586" y="124"/>
                  </a:lnTo>
                  <a:lnTo>
                    <a:pt x="590" y="124"/>
                  </a:lnTo>
                  <a:lnTo>
                    <a:pt x="590" y="128"/>
                  </a:lnTo>
                  <a:lnTo>
                    <a:pt x="590" y="132"/>
                  </a:lnTo>
                  <a:lnTo>
                    <a:pt x="594" y="136"/>
                  </a:lnTo>
                  <a:lnTo>
                    <a:pt x="590" y="136"/>
                  </a:lnTo>
                  <a:lnTo>
                    <a:pt x="590" y="140"/>
                  </a:lnTo>
                  <a:lnTo>
                    <a:pt x="590" y="144"/>
                  </a:lnTo>
                  <a:lnTo>
                    <a:pt x="590" y="148"/>
                  </a:lnTo>
                  <a:lnTo>
                    <a:pt x="590" y="152"/>
                  </a:lnTo>
                  <a:lnTo>
                    <a:pt x="590" y="156"/>
                  </a:lnTo>
                  <a:lnTo>
                    <a:pt x="594" y="156"/>
                  </a:lnTo>
                  <a:lnTo>
                    <a:pt x="594" y="160"/>
                  </a:lnTo>
                  <a:lnTo>
                    <a:pt x="594" y="164"/>
                  </a:lnTo>
                  <a:lnTo>
                    <a:pt x="598" y="160"/>
                  </a:lnTo>
                  <a:lnTo>
                    <a:pt x="594" y="160"/>
                  </a:lnTo>
                  <a:lnTo>
                    <a:pt x="594" y="156"/>
                  </a:lnTo>
                  <a:lnTo>
                    <a:pt x="598" y="156"/>
                  </a:lnTo>
                  <a:lnTo>
                    <a:pt x="598" y="160"/>
                  </a:lnTo>
                  <a:lnTo>
                    <a:pt x="598" y="164"/>
                  </a:lnTo>
                  <a:lnTo>
                    <a:pt x="602" y="164"/>
                  </a:lnTo>
                  <a:lnTo>
                    <a:pt x="602" y="167"/>
                  </a:lnTo>
                  <a:lnTo>
                    <a:pt x="602" y="171"/>
                  </a:lnTo>
                  <a:lnTo>
                    <a:pt x="606" y="171"/>
                  </a:lnTo>
                  <a:lnTo>
                    <a:pt x="610" y="171"/>
                  </a:lnTo>
                  <a:lnTo>
                    <a:pt x="610" y="167"/>
                  </a:lnTo>
                  <a:lnTo>
                    <a:pt x="614" y="167"/>
                  </a:lnTo>
                  <a:lnTo>
                    <a:pt x="614" y="164"/>
                  </a:lnTo>
                  <a:lnTo>
                    <a:pt x="618" y="164"/>
                  </a:lnTo>
                  <a:lnTo>
                    <a:pt x="618" y="160"/>
                  </a:lnTo>
                  <a:lnTo>
                    <a:pt x="622" y="160"/>
                  </a:lnTo>
                  <a:lnTo>
                    <a:pt x="622" y="156"/>
                  </a:lnTo>
                  <a:lnTo>
                    <a:pt x="622" y="152"/>
                  </a:lnTo>
                  <a:lnTo>
                    <a:pt x="626" y="152"/>
                  </a:lnTo>
                  <a:lnTo>
                    <a:pt x="630" y="152"/>
                  </a:lnTo>
                  <a:lnTo>
                    <a:pt x="634" y="148"/>
                  </a:lnTo>
                  <a:lnTo>
                    <a:pt x="638" y="148"/>
                  </a:lnTo>
                  <a:lnTo>
                    <a:pt x="638" y="144"/>
                  </a:lnTo>
                  <a:lnTo>
                    <a:pt x="634" y="144"/>
                  </a:lnTo>
                  <a:lnTo>
                    <a:pt x="638" y="144"/>
                  </a:lnTo>
                  <a:lnTo>
                    <a:pt x="638" y="140"/>
                  </a:lnTo>
                  <a:lnTo>
                    <a:pt x="642" y="140"/>
                  </a:lnTo>
                  <a:lnTo>
                    <a:pt x="646" y="136"/>
                  </a:lnTo>
                  <a:lnTo>
                    <a:pt x="650" y="136"/>
                  </a:lnTo>
                  <a:lnTo>
                    <a:pt x="650" y="140"/>
                  </a:lnTo>
                  <a:lnTo>
                    <a:pt x="654" y="140"/>
                  </a:lnTo>
                  <a:lnTo>
                    <a:pt x="658" y="144"/>
                  </a:lnTo>
                  <a:lnTo>
                    <a:pt x="662" y="144"/>
                  </a:lnTo>
                  <a:lnTo>
                    <a:pt x="662" y="148"/>
                  </a:lnTo>
                  <a:lnTo>
                    <a:pt x="666" y="148"/>
                  </a:lnTo>
                  <a:lnTo>
                    <a:pt x="670" y="148"/>
                  </a:lnTo>
                  <a:lnTo>
                    <a:pt x="670" y="152"/>
                  </a:lnTo>
                  <a:lnTo>
                    <a:pt x="674" y="152"/>
                  </a:lnTo>
                  <a:lnTo>
                    <a:pt x="678" y="152"/>
                  </a:lnTo>
                  <a:lnTo>
                    <a:pt x="682" y="152"/>
                  </a:lnTo>
                  <a:lnTo>
                    <a:pt x="682" y="156"/>
                  </a:lnTo>
                  <a:lnTo>
                    <a:pt x="686" y="156"/>
                  </a:lnTo>
                  <a:lnTo>
                    <a:pt x="690" y="156"/>
                  </a:lnTo>
                  <a:lnTo>
                    <a:pt x="690" y="160"/>
                  </a:lnTo>
                  <a:lnTo>
                    <a:pt x="690" y="156"/>
                  </a:lnTo>
                  <a:lnTo>
                    <a:pt x="694" y="156"/>
                  </a:lnTo>
                  <a:lnTo>
                    <a:pt x="694" y="199"/>
                  </a:lnTo>
                  <a:lnTo>
                    <a:pt x="694" y="219"/>
                  </a:lnTo>
                  <a:lnTo>
                    <a:pt x="694" y="227"/>
                  </a:lnTo>
                  <a:lnTo>
                    <a:pt x="694" y="231"/>
                  </a:lnTo>
                  <a:lnTo>
                    <a:pt x="694" y="235"/>
                  </a:lnTo>
                  <a:lnTo>
                    <a:pt x="694" y="275"/>
                  </a:lnTo>
                  <a:lnTo>
                    <a:pt x="690" y="275"/>
                  </a:lnTo>
                  <a:lnTo>
                    <a:pt x="690" y="271"/>
                  </a:lnTo>
                  <a:lnTo>
                    <a:pt x="686" y="267"/>
                  </a:lnTo>
                  <a:lnTo>
                    <a:pt x="686" y="263"/>
                  </a:lnTo>
                  <a:lnTo>
                    <a:pt x="682" y="263"/>
                  </a:lnTo>
                  <a:lnTo>
                    <a:pt x="678" y="259"/>
                  </a:lnTo>
                  <a:lnTo>
                    <a:pt x="682" y="259"/>
                  </a:lnTo>
                  <a:lnTo>
                    <a:pt x="682" y="255"/>
                  </a:lnTo>
                  <a:lnTo>
                    <a:pt x="678" y="255"/>
                  </a:lnTo>
                  <a:lnTo>
                    <a:pt x="678" y="259"/>
                  </a:lnTo>
                  <a:lnTo>
                    <a:pt x="674" y="259"/>
                  </a:lnTo>
                  <a:lnTo>
                    <a:pt x="670" y="259"/>
                  </a:lnTo>
                  <a:lnTo>
                    <a:pt x="666" y="259"/>
                  </a:lnTo>
                  <a:lnTo>
                    <a:pt x="662" y="259"/>
                  </a:lnTo>
                  <a:lnTo>
                    <a:pt x="662" y="263"/>
                  </a:lnTo>
                  <a:lnTo>
                    <a:pt x="662" y="259"/>
                  </a:lnTo>
                  <a:lnTo>
                    <a:pt x="662" y="255"/>
                  </a:lnTo>
                  <a:lnTo>
                    <a:pt x="666" y="251"/>
                  </a:lnTo>
                  <a:lnTo>
                    <a:pt x="662" y="251"/>
                  </a:lnTo>
                  <a:lnTo>
                    <a:pt x="666" y="251"/>
                  </a:lnTo>
                  <a:lnTo>
                    <a:pt x="666" y="247"/>
                  </a:lnTo>
                  <a:lnTo>
                    <a:pt x="662" y="247"/>
                  </a:lnTo>
                  <a:lnTo>
                    <a:pt x="662" y="243"/>
                  </a:lnTo>
                  <a:lnTo>
                    <a:pt x="658" y="243"/>
                  </a:lnTo>
                  <a:lnTo>
                    <a:pt x="658" y="239"/>
                  </a:lnTo>
                  <a:lnTo>
                    <a:pt x="662" y="243"/>
                  </a:lnTo>
                  <a:lnTo>
                    <a:pt x="666" y="243"/>
                  </a:lnTo>
                  <a:close/>
                  <a:moveTo>
                    <a:pt x="538" y="116"/>
                  </a:moveTo>
                  <a:lnTo>
                    <a:pt x="538" y="120"/>
                  </a:lnTo>
                  <a:lnTo>
                    <a:pt x="534" y="120"/>
                  </a:lnTo>
                  <a:lnTo>
                    <a:pt x="538" y="116"/>
                  </a:lnTo>
                  <a:close/>
                  <a:moveTo>
                    <a:pt x="610" y="124"/>
                  </a:moveTo>
                  <a:lnTo>
                    <a:pt x="614" y="124"/>
                  </a:lnTo>
                  <a:lnTo>
                    <a:pt x="618" y="124"/>
                  </a:lnTo>
                  <a:lnTo>
                    <a:pt x="618" y="128"/>
                  </a:lnTo>
                  <a:lnTo>
                    <a:pt x="622" y="128"/>
                  </a:lnTo>
                  <a:lnTo>
                    <a:pt x="622" y="132"/>
                  </a:lnTo>
                  <a:lnTo>
                    <a:pt x="626" y="132"/>
                  </a:lnTo>
                  <a:lnTo>
                    <a:pt x="622" y="132"/>
                  </a:lnTo>
                  <a:lnTo>
                    <a:pt x="618" y="132"/>
                  </a:lnTo>
                  <a:lnTo>
                    <a:pt x="614" y="132"/>
                  </a:lnTo>
                  <a:lnTo>
                    <a:pt x="614" y="128"/>
                  </a:lnTo>
                  <a:lnTo>
                    <a:pt x="614" y="124"/>
                  </a:lnTo>
                  <a:lnTo>
                    <a:pt x="610" y="124"/>
                  </a:lnTo>
                  <a:lnTo>
                    <a:pt x="610" y="120"/>
                  </a:lnTo>
                  <a:lnTo>
                    <a:pt x="610" y="124"/>
                  </a:lnTo>
                  <a:close/>
                  <a:moveTo>
                    <a:pt x="542" y="124"/>
                  </a:moveTo>
                  <a:lnTo>
                    <a:pt x="538" y="128"/>
                  </a:lnTo>
                  <a:lnTo>
                    <a:pt x="534" y="128"/>
                  </a:lnTo>
                  <a:lnTo>
                    <a:pt x="534" y="124"/>
                  </a:lnTo>
                  <a:lnTo>
                    <a:pt x="538" y="124"/>
                  </a:lnTo>
                  <a:lnTo>
                    <a:pt x="542" y="124"/>
                  </a:lnTo>
                  <a:close/>
                  <a:moveTo>
                    <a:pt x="542" y="128"/>
                  </a:moveTo>
                  <a:lnTo>
                    <a:pt x="542" y="132"/>
                  </a:lnTo>
                  <a:lnTo>
                    <a:pt x="542" y="136"/>
                  </a:lnTo>
                  <a:lnTo>
                    <a:pt x="538" y="132"/>
                  </a:lnTo>
                  <a:lnTo>
                    <a:pt x="538" y="128"/>
                  </a:lnTo>
                  <a:lnTo>
                    <a:pt x="542" y="128"/>
                  </a:lnTo>
                  <a:close/>
                  <a:moveTo>
                    <a:pt x="63" y="140"/>
                  </a:moveTo>
                  <a:lnTo>
                    <a:pt x="59" y="140"/>
                  </a:lnTo>
                  <a:lnTo>
                    <a:pt x="63" y="140"/>
                  </a:lnTo>
                  <a:lnTo>
                    <a:pt x="63" y="144"/>
                  </a:lnTo>
                  <a:lnTo>
                    <a:pt x="59" y="144"/>
                  </a:lnTo>
                  <a:lnTo>
                    <a:pt x="55" y="140"/>
                  </a:lnTo>
                  <a:lnTo>
                    <a:pt x="55" y="136"/>
                  </a:lnTo>
                  <a:lnTo>
                    <a:pt x="51" y="132"/>
                  </a:lnTo>
                  <a:lnTo>
                    <a:pt x="51" y="128"/>
                  </a:lnTo>
                  <a:lnTo>
                    <a:pt x="55" y="128"/>
                  </a:lnTo>
                  <a:lnTo>
                    <a:pt x="59" y="132"/>
                  </a:lnTo>
                  <a:lnTo>
                    <a:pt x="59" y="136"/>
                  </a:lnTo>
                  <a:lnTo>
                    <a:pt x="63" y="140"/>
                  </a:lnTo>
                  <a:close/>
                  <a:moveTo>
                    <a:pt x="223" y="128"/>
                  </a:moveTo>
                  <a:lnTo>
                    <a:pt x="223" y="132"/>
                  </a:lnTo>
                  <a:lnTo>
                    <a:pt x="219" y="132"/>
                  </a:lnTo>
                  <a:lnTo>
                    <a:pt x="215" y="132"/>
                  </a:lnTo>
                  <a:lnTo>
                    <a:pt x="215" y="128"/>
                  </a:lnTo>
                  <a:lnTo>
                    <a:pt x="219" y="128"/>
                  </a:lnTo>
                  <a:lnTo>
                    <a:pt x="223" y="128"/>
                  </a:lnTo>
                  <a:close/>
                  <a:moveTo>
                    <a:pt x="526" y="132"/>
                  </a:moveTo>
                  <a:lnTo>
                    <a:pt x="522" y="132"/>
                  </a:lnTo>
                  <a:lnTo>
                    <a:pt x="526" y="132"/>
                  </a:lnTo>
                  <a:close/>
                  <a:moveTo>
                    <a:pt x="430" y="132"/>
                  </a:moveTo>
                  <a:lnTo>
                    <a:pt x="430" y="136"/>
                  </a:lnTo>
                  <a:lnTo>
                    <a:pt x="426" y="136"/>
                  </a:lnTo>
                  <a:lnTo>
                    <a:pt x="426" y="140"/>
                  </a:lnTo>
                  <a:lnTo>
                    <a:pt x="422" y="140"/>
                  </a:lnTo>
                  <a:lnTo>
                    <a:pt x="422" y="136"/>
                  </a:lnTo>
                  <a:lnTo>
                    <a:pt x="422" y="140"/>
                  </a:lnTo>
                  <a:lnTo>
                    <a:pt x="418" y="140"/>
                  </a:lnTo>
                  <a:lnTo>
                    <a:pt x="418" y="136"/>
                  </a:lnTo>
                  <a:lnTo>
                    <a:pt x="418" y="132"/>
                  </a:lnTo>
                  <a:lnTo>
                    <a:pt x="422" y="132"/>
                  </a:lnTo>
                  <a:lnTo>
                    <a:pt x="426" y="132"/>
                  </a:lnTo>
                  <a:lnTo>
                    <a:pt x="426" y="136"/>
                  </a:lnTo>
                  <a:lnTo>
                    <a:pt x="426" y="132"/>
                  </a:lnTo>
                  <a:lnTo>
                    <a:pt x="430" y="132"/>
                  </a:lnTo>
                  <a:close/>
                  <a:moveTo>
                    <a:pt x="498" y="140"/>
                  </a:moveTo>
                  <a:lnTo>
                    <a:pt x="494" y="140"/>
                  </a:lnTo>
                  <a:lnTo>
                    <a:pt x="490" y="140"/>
                  </a:lnTo>
                  <a:lnTo>
                    <a:pt x="486" y="140"/>
                  </a:lnTo>
                  <a:lnTo>
                    <a:pt x="486" y="136"/>
                  </a:lnTo>
                  <a:lnTo>
                    <a:pt x="490" y="136"/>
                  </a:lnTo>
                  <a:lnTo>
                    <a:pt x="494" y="136"/>
                  </a:lnTo>
                  <a:lnTo>
                    <a:pt x="498" y="140"/>
                  </a:lnTo>
                  <a:close/>
                  <a:moveTo>
                    <a:pt x="171" y="164"/>
                  </a:moveTo>
                  <a:lnTo>
                    <a:pt x="167" y="164"/>
                  </a:lnTo>
                  <a:lnTo>
                    <a:pt x="163" y="160"/>
                  </a:lnTo>
                  <a:lnTo>
                    <a:pt x="163" y="156"/>
                  </a:lnTo>
                  <a:lnTo>
                    <a:pt x="163" y="152"/>
                  </a:lnTo>
                  <a:lnTo>
                    <a:pt x="159" y="148"/>
                  </a:lnTo>
                  <a:lnTo>
                    <a:pt x="155" y="148"/>
                  </a:lnTo>
                  <a:lnTo>
                    <a:pt x="151" y="148"/>
                  </a:lnTo>
                  <a:lnTo>
                    <a:pt x="151" y="144"/>
                  </a:lnTo>
                  <a:lnTo>
                    <a:pt x="155" y="144"/>
                  </a:lnTo>
                  <a:lnTo>
                    <a:pt x="155" y="140"/>
                  </a:lnTo>
                  <a:lnTo>
                    <a:pt x="159" y="140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59" y="140"/>
                  </a:lnTo>
                  <a:lnTo>
                    <a:pt x="163" y="136"/>
                  </a:lnTo>
                  <a:lnTo>
                    <a:pt x="163" y="140"/>
                  </a:lnTo>
                  <a:lnTo>
                    <a:pt x="167" y="144"/>
                  </a:lnTo>
                  <a:lnTo>
                    <a:pt x="167" y="148"/>
                  </a:lnTo>
                  <a:lnTo>
                    <a:pt x="167" y="152"/>
                  </a:lnTo>
                  <a:lnTo>
                    <a:pt x="167" y="156"/>
                  </a:lnTo>
                  <a:lnTo>
                    <a:pt x="171" y="156"/>
                  </a:lnTo>
                  <a:lnTo>
                    <a:pt x="175" y="156"/>
                  </a:lnTo>
                  <a:lnTo>
                    <a:pt x="175" y="160"/>
                  </a:lnTo>
                  <a:lnTo>
                    <a:pt x="175" y="164"/>
                  </a:lnTo>
                  <a:lnTo>
                    <a:pt x="175" y="167"/>
                  </a:lnTo>
                  <a:lnTo>
                    <a:pt x="171" y="167"/>
                  </a:lnTo>
                  <a:lnTo>
                    <a:pt x="171" y="164"/>
                  </a:lnTo>
                  <a:close/>
                  <a:moveTo>
                    <a:pt x="207" y="140"/>
                  </a:moveTo>
                  <a:lnTo>
                    <a:pt x="211" y="140"/>
                  </a:lnTo>
                  <a:lnTo>
                    <a:pt x="207" y="140"/>
                  </a:lnTo>
                  <a:close/>
                  <a:moveTo>
                    <a:pt x="610" y="140"/>
                  </a:moveTo>
                  <a:lnTo>
                    <a:pt x="614" y="140"/>
                  </a:lnTo>
                  <a:lnTo>
                    <a:pt x="618" y="140"/>
                  </a:lnTo>
                  <a:lnTo>
                    <a:pt x="622" y="140"/>
                  </a:lnTo>
                  <a:lnTo>
                    <a:pt x="626" y="140"/>
                  </a:lnTo>
                  <a:lnTo>
                    <a:pt x="630" y="140"/>
                  </a:lnTo>
                  <a:lnTo>
                    <a:pt x="630" y="144"/>
                  </a:lnTo>
                  <a:lnTo>
                    <a:pt x="634" y="144"/>
                  </a:lnTo>
                  <a:lnTo>
                    <a:pt x="630" y="144"/>
                  </a:lnTo>
                  <a:lnTo>
                    <a:pt x="626" y="144"/>
                  </a:lnTo>
                  <a:lnTo>
                    <a:pt x="622" y="144"/>
                  </a:lnTo>
                  <a:lnTo>
                    <a:pt x="618" y="144"/>
                  </a:lnTo>
                  <a:lnTo>
                    <a:pt x="614" y="140"/>
                  </a:lnTo>
                  <a:lnTo>
                    <a:pt x="610" y="140"/>
                  </a:lnTo>
                  <a:close/>
                  <a:moveTo>
                    <a:pt x="442" y="140"/>
                  </a:moveTo>
                  <a:lnTo>
                    <a:pt x="446" y="140"/>
                  </a:lnTo>
                  <a:lnTo>
                    <a:pt x="450" y="140"/>
                  </a:lnTo>
                  <a:lnTo>
                    <a:pt x="454" y="140"/>
                  </a:lnTo>
                  <a:lnTo>
                    <a:pt x="458" y="144"/>
                  </a:lnTo>
                  <a:lnTo>
                    <a:pt x="454" y="144"/>
                  </a:lnTo>
                  <a:lnTo>
                    <a:pt x="450" y="144"/>
                  </a:lnTo>
                  <a:lnTo>
                    <a:pt x="446" y="144"/>
                  </a:lnTo>
                  <a:lnTo>
                    <a:pt x="446" y="148"/>
                  </a:lnTo>
                  <a:lnTo>
                    <a:pt x="442" y="148"/>
                  </a:lnTo>
                  <a:lnTo>
                    <a:pt x="442" y="144"/>
                  </a:lnTo>
                  <a:lnTo>
                    <a:pt x="442" y="140"/>
                  </a:lnTo>
                  <a:close/>
                  <a:moveTo>
                    <a:pt x="534" y="140"/>
                  </a:moveTo>
                  <a:lnTo>
                    <a:pt x="534" y="144"/>
                  </a:lnTo>
                  <a:lnTo>
                    <a:pt x="534" y="148"/>
                  </a:lnTo>
                  <a:lnTo>
                    <a:pt x="530" y="148"/>
                  </a:lnTo>
                  <a:lnTo>
                    <a:pt x="526" y="148"/>
                  </a:lnTo>
                  <a:lnTo>
                    <a:pt x="522" y="144"/>
                  </a:lnTo>
                  <a:lnTo>
                    <a:pt x="526" y="144"/>
                  </a:lnTo>
                  <a:lnTo>
                    <a:pt x="526" y="140"/>
                  </a:lnTo>
                  <a:lnTo>
                    <a:pt x="530" y="140"/>
                  </a:lnTo>
                  <a:lnTo>
                    <a:pt x="534" y="140"/>
                  </a:lnTo>
                  <a:close/>
                  <a:moveTo>
                    <a:pt x="458" y="144"/>
                  </a:moveTo>
                  <a:lnTo>
                    <a:pt x="462" y="144"/>
                  </a:lnTo>
                  <a:lnTo>
                    <a:pt x="466" y="144"/>
                  </a:lnTo>
                  <a:lnTo>
                    <a:pt x="470" y="144"/>
                  </a:lnTo>
                  <a:lnTo>
                    <a:pt x="466" y="144"/>
                  </a:lnTo>
                  <a:lnTo>
                    <a:pt x="462" y="144"/>
                  </a:lnTo>
                  <a:lnTo>
                    <a:pt x="458" y="144"/>
                  </a:lnTo>
                  <a:close/>
                  <a:moveTo>
                    <a:pt x="71" y="152"/>
                  </a:moveTo>
                  <a:lnTo>
                    <a:pt x="67" y="152"/>
                  </a:lnTo>
                  <a:lnTo>
                    <a:pt x="67" y="148"/>
                  </a:lnTo>
                  <a:lnTo>
                    <a:pt x="71" y="152"/>
                  </a:lnTo>
                  <a:close/>
                  <a:moveTo>
                    <a:pt x="75" y="160"/>
                  </a:moveTo>
                  <a:lnTo>
                    <a:pt x="75" y="164"/>
                  </a:lnTo>
                  <a:lnTo>
                    <a:pt x="75" y="160"/>
                  </a:lnTo>
                  <a:lnTo>
                    <a:pt x="71" y="160"/>
                  </a:lnTo>
                  <a:lnTo>
                    <a:pt x="71" y="156"/>
                  </a:lnTo>
                  <a:lnTo>
                    <a:pt x="75" y="156"/>
                  </a:lnTo>
                  <a:lnTo>
                    <a:pt x="75" y="160"/>
                  </a:lnTo>
                  <a:close/>
                  <a:moveTo>
                    <a:pt x="199" y="164"/>
                  </a:moveTo>
                  <a:lnTo>
                    <a:pt x="199" y="167"/>
                  </a:lnTo>
                  <a:lnTo>
                    <a:pt x="195" y="167"/>
                  </a:lnTo>
                  <a:lnTo>
                    <a:pt x="191" y="167"/>
                  </a:lnTo>
                  <a:lnTo>
                    <a:pt x="191" y="164"/>
                  </a:lnTo>
                  <a:lnTo>
                    <a:pt x="191" y="167"/>
                  </a:lnTo>
                  <a:lnTo>
                    <a:pt x="187" y="167"/>
                  </a:lnTo>
                  <a:lnTo>
                    <a:pt x="187" y="164"/>
                  </a:lnTo>
                  <a:lnTo>
                    <a:pt x="187" y="160"/>
                  </a:lnTo>
                  <a:lnTo>
                    <a:pt x="191" y="156"/>
                  </a:lnTo>
                  <a:lnTo>
                    <a:pt x="195" y="156"/>
                  </a:lnTo>
                  <a:lnTo>
                    <a:pt x="199" y="160"/>
                  </a:lnTo>
                  <a:lnTo>
                    <a:pt x="199" y="164"/>
                  </a:lnTo>
                  <a:close/>
                  <a:moveTo>
                    <a:pt x="79" y="171"/>
                  </a:moveTo>
                  <a:lnTo>
                    <a:pt x="79" y="167"/>
                  </a:lnTo>
                  <a:lnTo>
                    <a:pt x="75" y="164"/>
                  </a:lnTo>
                  <a:lnTo>
                    <a:pt x="75" y="160"/>
                  </a:lnTo>
                  <a:lnTo>
                    <a:pt x="79" y="164"/>
                  </a:lnTo>
                  <a:lnTo>
                    <a:pt x="79" y="167"/>
                  </a:lnTo>
                  <a:lnTo>
                    <a:pt x="79" y="171"/>
                  </a:lnTo>
                  <a:close/>
                  <a:moveTo>
                    <a:pt x="538" y="179"/>
                  </a:moveTo>
                  <a:lnTo>
                    <a:pt x="534" y="179"/>
                  </a:lnTo>
                  <a:lnTo>
                    <a:pt x="534" y="175"/>
                  </a:lnTo>
                  <a:lnTo>
                    <a:pt x="530" y="175"/>
                  </a:lnTo>
                  <a:lnTo>
                    <a:pt x="526" y="171"/>
                  </a:lnTo>
                  <a:lnTo>
                    <a:pt x="522" y="171"/>
                  </a:lnTo>
                  <a:lnTo>
                    <a:pt x="518" y="171"/>
                  </a:lnTo>
                  <a:lnTo>
                    <a:pt x="522" y="171"/>
                  </a:lnTo>
                  <a:lnTo>
                    <a:pt x="518" y="171"/>
                  </a:lnTo>
                  <a:lnTo>
                    <a:pt x="514" y="171"/>
                  </a:lnTo>
                  <a:lnTo>
                    <a:pt x="510" y="171"/>
                  </a:lnTo>
                  <a:lnTo>
                    <a:pt x="510" y="167"/>
                  </a:lnTo>
                  <a:lnTo>
                    <a:pt x="510" y="171"/>
                  </a:lnTo>
                  <a:lnTo>
                    <a:pt x="506" y="171"/>
                  </a:lnTo>
                  <a:lnTo>
                    <a:pt x="502" y="171"/>
                  </a:lnTo>
                  <a:lnTo>
                    <a:pt x="502" y="167"/>
                  </a:lnTo>
                  <a:lnTo>
                    <a:pt x="498" y="167"/>
                  </a:lnTo>
                  <a:lnTo>
                    <a:pt x="498" y="171"/>
                  </a:lnTo>
                  <a:lnTo>
                    <a:pt x="494" y="175"/>
                  </a:lnTo>
                  <a:lnTo>
                    <a:pt x="494" y="171"/>
                  </a:lnTo>
                  <a:lnTo>
                    <a:pt x="494" y="167"/>
                  </a:lnTo>
                  <a:lnTo>
                    <a:pt x="498" y="167"/>
                  </a:lnTo>
                  <a:lnTo>
                    <a:pt x="498" y="164"/>
                  </a:lnTo>
                  <a:lnTo>
                    <a:pt x="502" y="164"/>
                  </a:lnTo>
                  <a:lnTo>
                    <a:pt x="506" y="164"/>
                  </a:lnTo>
                  <a:lnTo>
                    <a:pt x="510" y="164"/>
                  </a:lnTo>
                  <a:lnTo>
                    <a:pt x="514" y="164"/>
                  </a:lnTo>
                  <a:lnTo>
                    <a:pt x="518" y="164"/>
                  </a:lnTo>
                  <a:lnTo>
                    <a:pt x="518" y="160"/>
                  </a:lnTo>
                  <a:lnTo>
                    <a:pt x="522" y="160"/>
                  </a:lnTo>
                  <a:lnTo>
                    <a:pt x="522" y="164"/>
                  </a:lnTo>
                  <a:lnTo>
                    <a:pt x="526" y="164"/>
                  </a:lnTo>
                  <a:lnTo>
                    <a:pt x="530" y="164"/>
                  </a:lnTo>
                  <a:lnTo>
                    <a:pt x="534" y="164"/>
                  </a:lnTo>
                  <a:lnTo>
                    <a:pt x="538" y="167"/>
                  </a:lnTo>
                  <a:lnTo>
                    <a:pt x="538" y="171"/>
                  </a:lnTo>
                  <a:lnTo>
                    <a:pt x="542" y="175"/>
                  </a:lnTo>
                  <a:lnTo>
                    <a:pt x="538" y="179"/>
                  </a:lnTo>
                  <a:close/>
                  <a:moveTo>
                    <a:pt x="175" y="164"/>
                  </a:moveTo>
                  <a:lnTo>
                    <a:pt x="179" y="164"/>
                  </a:lnTo>
                  <a:lnTo>
                    <a:pt x="175" y="164"/>
                  </a:lnTo>
                  <a:close/>
                  <a:moveTo>
                    <a:pt x="470" y="167"/>
                  </a:moveTo>
                  <a:lnTo>
                    <a:pt x="474" y="167"/>
                  </a:lnTo>
                  <a:lnTo>
                    <a:pt x="478" y="167"/>
                  </a:lnTo>
                  <a:lnTo>
                    <a:pt x="482" y="167"/>
                  </a:lnTo>
                  <a:lnTo>
                    <a:pt x="482" y="171"/>
                  </a:lnTo>
                  <a:lnTo>
                    <a:pt x="486" y="171"/>
                  </a:lnTo>
                  <a:lnTo>
                    <a:pt x="486" y="175"/>
                  </a:lnTo>
                  <a:lnTo>
                    <a:pt x="482" y="175"/>
                  </a:lnTo>
                  <a:lnTo>
                    <a:pt x="482" y="179"/>
                  </a:lnTo>
                  <a:lnTo>
                    <a:pt x="478" y="179"/>
                  </a:lnTo>
                  <a:lnTo>
                    <a:pt x="474" y="179"/>
                  </a:lnTo>
                  <a:lnTo>
                    <a:pt x="470" y="175"/>
                  </a:lnTo>
                  <a:lnTo>
                    <a:pt x="466" y="171"/>
                  </a:lnTo>
                  <a:lnTo>
                    <a:pt x="466" y="167"/>
                  </a:lnTo>
                  <a:lnTo>
                    <a:pt x="470" y="167"/>
                  </a:lnTo>
                  <a:close/>
                  <a:moveTo>
                    <a:pt x="319" y="171"/>
                  </a:moveTo>
                  <a:lnTo>
                    <a:pt x="319" y="175"/>
                  </a:lnTo>
                  <a:lnTo>
                    <a:pt x="319" y="179"/>
                  </a:lnTo>
                  <a:lnTo>
                    <a:pt x="319" y="183"/>
                  </a:lnTo>
                  <a:lnTo>
                    <a:pt x="315" y="183"/>
                  </a:lnTo>
                  <a:lnTo>
                    <a:pt x="319" y="179"/>
                  </a:lnTo>
                  <a:lnTo>
                    <a:pt x="315" y="179"/>
                  </a:lnTo>
                  <a:lnTo>
                    <a:pt x="315" y="175"/>
                  </a:lnTo>
                  <a:lnTo>
                    <a:pt x="315" y="171"/>
                  </a:lnTo>
                  <a:lnTo>
                    <a:pt x="319" y="171"/>
                  </a:lnTo>
                  <a:lnTo>
                    <a:pt x="319" y="167"/>
                  </a:lnTo>
                  <a:lnTo>
                    <a:pt x="319" y="171"/>
                  </a:lnTo>
                  <a:close/>
                  <a:moveTo>
                    <a:pt x="490" y="167"/>
                  </a:moveTo>
                  <a:lnTo>
                    <a:pt x="490" y="171"/>
                  </a:lnTo>
                  <a:lnTo>
                    <a:pt x="490" y="167"/>
                  </a:lnTo>
                  <a:close/>
                  <a:moveTo>
                    <a:pt x="498" y="175"/>
                  </a:moveTo>
                  <a:lnTo>
                    <a:pt x="502" y="175"/>
                  </a:lnTo>
                  <a:lnTo>
                    <a:pt x="502" y="179"/>
                  </a:lnTo>
                  <a:lnTo>
                    <a:pt x="498" y="179"/>
                  </a:lnTo>
                  <a:lnTo>
                    <a:pt x="502" y="175"/>
                  </a:lnTo>
                  <a:lnTo>
                    <a:pt x="498" y="175"/>
                  </a:lnTo>
                  <a:lnTo>
                    <a:pt x="498" y="179"/>
                  </a:lnTo>
                  <a:lnTo>
                    <a:pt x="494" y="179"/>
                  </a:lnTo>
                  <a:lnTo>
                    <a:pt x="494" y="175"/>
                  </a:lnTo>
                  <a:lnTo>
                    <a:pt x="498" y="175"/>
                  </a:lnTo>
                  <a:close/>
                  <a:moveTo>
                    <a:pt x="502" y="175"/>
                  </a:moveTo>
                  <a:lnTo>
                    <a:pt x="506" y="175"/>
                  </a:lnTo>
                  <a:lnTo>
                    <a:pt x="502" y="175"/>
                  </a:lnTo>
                  <a:close/>
                  <a:moveTo>
                    <a:pt x="422" y="183"/>
                  </a:moveTo>
                  <a:lnTo>
                    <a:pt x="426" y="183"/>
                  </a:lnTo>
                  <a:lnTo>
                    <a:pt x="422" y="187"/>
                  </a:lnTo>
                  <a:lnTo>
                    <a:pt x="422" y="183"/>
                  </a:lnTo>
                  <a:close/>
                  <a:moveTo>
                    <a:pt x="422" y="191"/>
                  </a:moveTo>
                  <a:lnTo>
                    <a:pt x="426" y="191"/>
                  </a:lnTo>
                  <a:lnTo>
                    <a:pt x="426" y="195"/>
                  </a:lnTo>
                  <a:lnTo>
                    <a:pt x="426" y="199"/>
                  </a:lnTo>
                  <a:lnTo>
                    <a:pt x="422" y="195"/>
                  </a:lnTo>
                  <a:lnTo>
                    <a:pt x="422" y="199"/>
                  </a:lnTo>
                  <a:lnTo>
                    <a:pt x="422" y="203"/>
                  </a:lnTo>
                  <a:lnTo>
                    <a:pt x="426" y="207"/>
                  </a:lnTo>
                  <a:lnTo>
                    <a:pt x="422" y="207"/>
                  </a:lnTo>
                  <a:lnTo>
                    <a:pt x="418" y="207"/>
                  </a:lnTo>
                  <a:lnTo>
                    <a:pt x="418" y="211"/>
                  </a:lnTo>
                  <a:lnTo>
                    <a:pt x="418" y="215"/>
                  </a:lnTo>
                  <a:lnTo>
                    <a:pt x="414" y="215"/>
                  </a:lnTo>
                  <a:lnTo>
                    <a:pt x="414" y="211"/>
                  </a:lnTo>
                  <a:lnTo>
                    <a:pt x="414" y="207"/>
                  </a:lnTo>
                  <a:lnTo>
                    <a:pt x="418" y="207"/>
                  </a:lnTo>
                  <a:lnTo>
                    <a:pt x="418" y="203"/>
                  </a:lnTo>
                  <a:lnTo>
                    <a:pt x="418" y="199"/>
                  </a:lnTo>
                  <a:lnTo>
                    <a:pt x="418" y="195"/>
                  </a:lnTo>
                  <a:lnTo>
                    <a:pt x="418" y="191"/>
                  </a:lnTo>
                  <a:lnTo>
                    <a:pt x="422" y="191"/>
                  </a:lnTo>
                  <a:close/>
                  <a:moveTo>
                    <a:pt x="418" y="195"/>
                  </a:moveTo>
                  <a:lnTo>
                    <a:pt x="418" y="199"/>
                  </a:lnTo>
                  <a:lnTo>
                    <a:pt x="414" y="203"/>
                  </a:lnTo>
                  <a:lnTo>
                    <a:pt x="414" y="207"/>
                  </a:lnTo>
                  <a:lnTo>
                    <a:pt x="410" y="207"/>
                  </a:lnTo>
                  <a:lnTo>
                    <a:pt x="410" y="203"/>
                  </a:lnTo>
                  <a:lnTo>
                    <a:pt x="410" y="199"/>
                  </a:lnTo>
                  <a:lnTo>
                    <a:pt x="410" y="195"/>
                  </a:lnTo>
                  <a:lnTo>
                    <a:pt x="414" y="195"/>
                  </a:lnTo>
                  <a:lnTo>
                    <a:pt x="418" y="195"/>
                  </a:lnTo>
                  <a:close/>
                  <a:moveTo>
                    <a:pt x="406" y="203"/>
                  </a:moveTo>
                  <a:lnTo>
                    <a:pt x="406" y="207"/>
                  </a:lnTo>
                  <a:lnTo>
                    <a:pt x="406" y="211"/>
                  </a:lnTo>
                  <a:lnTo>
                    <a:pt x="402" y="207"/>
                  </a:lnTo>
                  <a:lnTo>
                    <a:pt x="402" y="203"/>
                  </a:lnTo>
                  <a:lnTo>
                    <a:pt x="406" y="203"/>
                  </a:lnTo>
                  <a:close/>
                  <a:moveTo>
                    <a:pt x="111" y="211"/>
                  </a:moveTo>
                  <a:lnTo>
                    <a:pt x="107" y="211"/>
                  </a:lnTo>
                  <a:lnTo>
                    <a:pt x="103" y="207"/>
                  </a:lnTo>
                  <a:lnTo>
                    <a:pt x="107" y="207"/>
                  </a:lnTo>
                  <a:lnTo>
                    <a:pt x="111" y="207"/>
                  </a:lnTo>
                  <a:lnTo>
                    <a:pt x="111" y="211"/>
                  </a:lnTo>
                  <a:close/>
                  <a:moveTo>
                    <a:pt x="594" y="207"/>
                  </a:moveTo>
                  <a:lnTo>
                    <a:pt x="598" y="207"/>
                  </a:lnTo>
                  <a:lnTo>
                    <a:pt x="598" y="211"/>
                  </a:lnTo>
                  <a:lnTo>
                    <a:pt x="598" y="215"/>
                  </a:lnTo>
                  <a:lnTo>
                    <a:pt x="598" y="219"/>
                  </a:lnTo>
                  <a:lnTo>
                    <a:pt x="594" y="219"/>
                  </a:lnTo>
                  <a:lnTo>
                    <a:pt x="594" y="215"/>
                  </a:lnTo>
                  <a:lnTo>
                    <a:pt x="590" y="215"/>
                  </a:lnTo>
                  <a:lnTo>
                    <a:pt x="594" y="215"/>
                  </a:lnTo>
                  <a:lnTo>
                    <a:pt x="594" y="211"/>
                  </a:lnTo>
                  <a:lnTo>
                    <a:pt x="594" y="207"/>
                  </a:lnTo>
                  <a:close/>
                  <a:moveTo>
                    <a:pt x="267" y="215"/>
                  </a:moveTo>
                  <a:lnTo>
                    <a:pt x="263" y="215"/>
                  </a:lnTo>
                  <a:lnTo>
                    <a:pt x="267" y="215"/>
                  </a:lnTo>
                  <a:close/>
                  <a:moveTo>
                    <a:pt x="383" y="215"/>
                  </a:moveTo>
                  <a:lnTo>
                    <a:pt x="383" y="219"/>
                  </a:lnTo>
                  <a:lnTo>
                    <a:pt x="387" y="219"/>
                  </a:lnTo>
                  <a:lnTo>
                    <a:pt x="383" y="223"/>
                  </a:lnTo>
                  <a:lnTo>
                    <a:pt x="383" y="227"/>
                  </a:lnTo>
                  <a:lnTo>
                    <a:pt x="383" y="223"/>
                  </a:lnTo>
                  <a:lnTo>
                    <a:pt x="383" y="219"/>
                  </a:lnTo>
                  <a:lnTo>
                    <a:pt x="383" y="215"/>
                  </a:lnTo>
                  <a:close/>
                  <a:moveTo>
                    <a:pt x="227" y="255"/>
                  </a:moveTo>
                  <a:lnTo>
                    <a:pt x="223" y="255"/>
                  </a:lnTo>
                  <a:lnTo>
                    <a:pt x="219" y="251"/>
                  </a:lnTo>
                  <a:lnTo>
                    <a:pt x="215" y="251"/>
                  </a:lnTo>
                  <a:lnTo>
                    <a:pt x="211" y="251"/>
                  </a:lnTo>
                  <a:lnTo>
                    <a:pt x="207" y="251"/>
                  </a:lnTo>
                  <a:lnTo>
                    <a:pt x="203" y="251"/>
                  </a:lnTo>
                  <a:lnTo>
                    <a:pt x="199" y="251"/>
                  </a:lnTo>
                  <a:lnTo>
                    <a:pt x="195" y="251"/>
                  </a:lnTo>
                  <a:lnTo>
                    <a:pt x="191" y="251"/>
                  </a:lnTo>
                  <a:lnTo>
                    <a:pt x="191" y="247"/>
                  </a:lnTo>
                  <a:lnTo>
                    <a:pt x="187" y="247"/>
                  </a:lnTo>
                  <a:lnTo>
                    <a:pt x="183" y="247"/>
                  </a:lnTo>
                  <a:lnTo>
                    <a:pt x="179" y="247"/>
                  </a:lnTo>
                  <a:lnTo>
                    <a:pt x="175" y="247"/>
                  </a:lnTo>
                  <a:lnTo>
                    <a:pt x="171" y="247"/>
                  </a:lnTo>
                  <a:lnTo>
                    <a:pt x="171" y="243"/>
                  </a:lnTo>
                  <a:lnTo>
                    <a:pt x="171" y="239"/>
                  </a:lnTo>
                  <a:lnTo>
                    <a:pt x="171" y="235"/>
                  </a:lnTo>
                  <a:lnTo>
                    <a:pt x="171" y="239"/>
                  </a:lnTo>
                  <a:lnTo>
                    <a:pt x="167" y="239"/>
                  </a:lnTo>
                  <a:lnTo>
                    <a:pt x="167" y="235"/>
                  </a:lnTo>
                  <a:lnTo>
                    <a:pt x="163" y="235"/>
                  </a:lnTo>
                  <a:lnTo>
                    <a:pt x="159" y="235"/>
                  </a:lnTo>
                  <a:lnTo>
                    <a:pt x="155" y="235"/>
                  </a:lnTo>
                  <a:lnTo>
                    <a:pt x="151" y="235"/>
                  </a:lnTo>
                  <a:lnTo>
                    <a:pt x="155" y="235"/>
                  </a:lnTo>
                  <a:lnTo>
                    <a:pt x="155" y="231"/>
                  </a:lnTo>
                  <a:lnTo>
                    <a:pt x="155" y="235"/>
                  </a:lnTo>
                  <a:lnTo>
                    <a:pt x="159" y="231"/>
                  </a:lnTo>
                  <a:lnTo>
                    <a:pt x="159" y="227"/>
                  </a:lnTo>
                  <a:lnTo>
                    <a:pt x="163" y="227"/>
                  </a:lnTo>
                  <a:lnTo>
                    <a:pt x="163" y="223"/>
                  </a:lnTo>
                  <a:lnTo>
                    <a:pt x="163" y="219"/>
                  </a:lnTo>
                  <a:lnTo>
                    <a:pt x="163" y="215"/>
                  </a:lnTo>
                  <a:lnTo>
                    <a:pt x="167" y="215"/>
                  </a:lnTo>
                  <a:lnTo>
                    <a:pt x="167" y="219"/>
                  </a:lnTo>
                  <a:lnTo>
                    <a:pt x="171" y="219"/>
                  </a:lnTo>
                  <a:lnTo>
                    <a:pt x="175" y="219"/>
                  </a:lnTo>
                  <a:lnTo>
                    <a:pt x="179" y="219"/>
                  </a:lnTo>
                  <a:lnTo>
                    <a:pt x="183" y="219"/>
                  </a:lnTo>
                  <a:lnTo>
                    <a:pt x="187" y="219"/>
                  </a:lnTo>
                  <a:lnTo>
                    <a:pt x="187" y="223"/>
                  </a:lnTo>
                  <a:lnTo>
                    <a:pt x="191" y="223"/>
                  </a:lnTo>
                  <a:lnTo>
                    <a:pt x="195" y="227"/>
                  </a:lnTo>
                  <a:lnTo>
                    <a:pt x="199" y="227"/>
                  </a:lnTo>
                  <a:lnTo>
                    <a:pt x="199" y="223"/>
                  </a:lnTo>
                  <a:lnTo>
                    <a:pt x="199" y="227"/>
                  </a:lnTo>
                  <a:lnTo>
                    <a:pt x="203" y="227"/>
                  </a:lnTo>
                  <a:lnTo>
                    <a:pt x="203" y="231"/>
                  </a:lnTo>
                  <a:lnTo>
                    <a:pt x="203" y="235"/>
                  </a:lnTo>
                  <a:lnTo>
                    <a:pt x="207" y="235"/>
                  </a:lnTo>
                  <a:lnTo>
                    <a:pt x="211" y="235"/>
                  </a:lnTo>
                  <a:lnTo>
                    <a:pt x="215" y="235"/>
                  </a:lnTo>
                  <a:lnTo>
                    <a:pt x="219" y="235"/>
                  </a:lnTo>
                  <a:lnTo>
                    <a:pt x="223" y="235"/>
                  </a:lnTo>
                  <a:lnTo>
                    <a:pt x="227" y="235"/>
                  </a:lnTo>
                  <a:lnTo>
                    <a:pt x="231" y="235"/>
                  </a:lnTo>
                  <a:lnTo>
                    <a:pt x="231" y="239"/>
                  </a:lnTo>
                  <a:lnTo>
                    <a:pt x="231" y="235"/>
                  </a:lnTo>
                  <a:lnTo>
                    <a:pt x="235" y="235"/>
                  </a:lnTo>
                  <a:lnTo>
                    <a:pt x="235" y="231"/>
                  </a:lnTo>
                  <a:lnTo>
                    <a:pt x="235" y="227"/>
                  </a:lnTo>
                  <a:lnTo>
                    <a:pt x="239" y="227"/>
                  </a:lnTo>
                  <a:lnTo>
                    <a:pt x="243" y="231"/>
                  </a:lnTo>
                  <a:lnTo>
                    <a:pt x="247" y="231"/>
                  </a:lnTo>
                  <a:lnTo>
                    <a:pt x="251" y="231"/>
                  </a:lnTo>
                  <a:lnTo>
                    <a:pt x="251" y="235"/>
                  </a:lnTo>
                  <a:lnTo>
                    <a:pt x="255" y="235"/>
                  </a:lnTo>
                  <a:lnTo>
                    <a:pt x="259" y="235"/>
                  </a:lnTo>
                  <a:lnTo>
                    <a:pt x="263" y="235"/>
                  </a:lnTo>
                  <a:lnTo>
                    <a:pt x="263" y="239"/>
                  </a:lnTo>
                  <a:lnTo>
                    <a:pt x="267" y="239"/>
                  </a:lnTo>
                  <a:lnTo>
                    <a:pt x="267" y="243"/>
                  </a:lnTo>
                  <a:lnTo>
                    <a:pt x="263" y="239"/>
                  </a:lnTo>
                  <a:lnTo>
                    <a:pt x="263" y="243"/>
                  </a:lnTo>
                  <a:lnTo>
                    <a:pt x="267" y="243"/>
                  </a:lnTo>
                  <a:lnTo>
                    <a:pt x="267" y="247"/>
                  </a:lnTo>
                  <a:lnTo>
                    <a:pt x="271" y="251"/>
                  </a:lnTo>
                  <a:lnTo>
                    <a:pt x="275" y="251"/>
                  </a:lnTo>
                  <a:lnTo>
                    <a:pt x="279" y="251"/>
                  </a:lnTo>
                  <a:lnTo>
                    <a:pt x="283" y="251"/>
                  </a:lnTo>
                  <a:lnTo>
                    <a:pt x="287" y="251"/>
                  </a:lnTo>
                  <a:lnTo>
                    <a:pt x="287" y="247"/>
                  </a:lnTo>
                  <a:lnTo>
                    <a:pt x="287" y="251"/>
                  </a:lnTo>
                  <a:lnTo>
                    <a:pt x="291" y="251"/>
                  </a:lnTo>
                  <a:lnTo>
                    <a:pt x="291" y="255"/>
                  </a:lnTo>
                  <a:lnTo>
                    <a:pt x="291" y="259"/>
                  </a:lnTo>
                  <a:lnTo>
                    <a:pt x="291" y="263"/>
                  </a:lnTo>
                  <a:lnTo>
                    <a:pt x="291" y="267"/>
                  </a:lnTo>
                  <a:lnTo>
                    <a:pt x="295" y="267"/>
                  </a:lnTo>
                  <a:lnTo>
                    <a:pt x="295" y="271"/>
                  </a:lnTo>
                  <a:lnTo>
                    <a:pt x="291" y="271"/>
                  </a:lnTo>
                  <a:lnTo>
                    <a:pt x="291" y="267"/>
                  </a:lnTo>
                  <a:lnTo>
                    <a:pt x="287" y="267"/>
                  </a:lnTo>
                  <a:lnTo>
                    <a:pt x="283" y="267"/>
                  </a:lnTo>
                  <a:lnTo>
                    <a:pt x="279" y="263"/>
                  </a:lnTo>
                  <a:lnTo>
                    <a:pt x="275" y="263"/>
                  </a:lnTo>
                  <a:lnTo>
                    <a:pt x="275" y="259"/>
                  </a:lnTo>
                  <a:lnTo>
                    <a:pt x="271" y="259"/>
                  </a:lnTo>
                  <a:lnTo>
                    <a:pt x="271" y="263"/>
                  </a:lnTo>
                  <a:lnTo>
                    <a:pt x="267" y="263"/>
                  </a:lnTo>
                  <a:lnTo>
                    <a:pt x="263" y="263"/>
                  </a:lnTo>
                  <a:lnTo>
                    <a:pt x="259" y="263"/>
                  </a:lnTo>
                  <a:lnTo>
                    <a:pt x="255" y="263"/>
                  </a:lnTo>
                  <a:lnTo>
                    <a:pt x="251" y="259"/>
                  </a:lnTo>
                  <a:lnTo>
                    <a:pt x="251" y="263"/>
                  </a:lnTo>
                  <a:lnTo>
                    <a:pt x="247" y="263"/>
                  </a:lnTo>
                  <a:lnTo>
                    <a:pt x="247" y="259"/>
                  </a:lnTo>
                  <a:lnTo>
                    <a:pt x="243" y="259"/>
                  </a:lnTo>
                  <a:lnTo>
                    <a:pt x="239" y="259"/>
                  </a:lnTo>
                  <a:lnTo>
                    <a:pt x="235" y="259"/>
                  </a:lnTo>
                  <a:lnTo>
                    <a:pt x="231" y="259"/>
                  </a:lnTo>
                  <a:lnTo>
                    <a:pt x="227" y="255"/>
                  </a:lnTo>
                  <a:close/>
                  <a:moveTo>
                    <a:pt x="594" y="219"/>
                  </a:moveTo>
                  <a:lnTo>
                    <a:pt x="598" y="219"/>
                  </a:lnTo>
                  <a:lnTo>
                    <a:pt x="598" y="223"/>
                  </a:lnTo>
                  <a:lnTo>
                    <a:pt x="598" y="227"/>
                  </a:lnTo>
                  <a:lnTo>
                    <a:pt x="594" y="223"/>
                  </a:lnTo>
                  <a:lnTo>
                    <a:pt x="594" y="219"/>
                  </a:lnTo>
                  <a:close/>
                  <a:moveTo>
                    <a:pt x="590" y="223"/>
                  </a:moveTo>
                  <a:lnTo>
                    <a:pt x="594" y="223"/>
                  </a:lnTo>
                  <a:lnTo>
                    <a:pt x="594" y="227"/>
                  </a:lnTo>
                  <a:lnTo>
                    <a:pt x="594" y="231"/>
                  </a:lnTo>
                  <a:lnTo>
                    <a:pt x="594" y="235"/>
                  </a:lnTo>
                  <a:lnTo>
                    <a:pt x="590" y="235"/>
                  </a:lnTo>
                  <a:lnTo>
                    <a:pt x="590" y="227"/>
                  </a:lnTo>
                  <a:lnTo>
                    <a:pt x="590" y="223"/>
                  </a:lnTo>
                  <a:close/>
                  <a:moveTo>
                    <a:pt x="151" y="227"/>
                  </a:moveTo>
                  <a:lnTo>
                    <a:pt x="151" y="231"/>
                  </a:lnTo>
                  <a:lnTo>
                    <a:pt x="151" y="227"/>
                  </a:lnTo>
                  <a:close/>
                  <a:moveTo>
                    <a:pt x="307" y="235"/>
                  </a:moveTo>
                  <a:lnTo>
                    <a:pt x="311" y="235"/>
                  </a:lnTo>
                  <a:lnTo>
                    <a:pt x="307" y="235"/>
                  </a:lnTo>
                  <a:lnTo>
                    <a:pt x="307" y="239"/>
                  </a:lnTo>
                  <a:lnTo>
                    <a:pt x="303" y="239"/>
                  </a:lnTo>
                  <a:lnTo>
                    <a:pt x="303" y="235"/>
                  </a:lnTo>
                  <a:lnTo>
                    <a:pt x="307" y="235"/>
                  </a:lnTo>
                  <a:close/>
                  <a:moveTo>
                    <a:pt x="271" y="235"/>
                  </a:moveTo>
                  <a:lnTo>
                    <a:pt x="275" y="235"/>
                  </a:lnTo>
                  <a:lnTo>
                    <a:pt x="279" y="235"/>
                  </a:lnTo>
                  <a:lnTo>
                    <a:pt x="283" y="235"/>
                  </a:lnTo>
                  <a:lnTo>
                    <a:pt x="287" y="235"/>
                  </a:lnTo>
                  <a:lnTo>
                    <a:pt x="287" y="239"/>
                  </a:lnTo>
                  <a:lnTo>
                    <a:pt x="283" y="239"/>
                  </a:lnTo>
                  <a:lnTo>
                    <a:pt x="279" y="239"/>
                  </a:lnTo>
                  <a:lnTo>
                    <a:pt x="279" y="243"/>
                  </a:lnTo>
                  <a:lnTo>
                    <a:pt x="275" y="243"/>
                  </a:lnTo>
                  <a:lnTo>
                    <a:pt x="271" y="243"/>
                  </a:lnTo>
                  <a:lnTo>
                    <a:pt x="271" y="239"/>
                  </a:lnTo>
                  <a:lnTo>
                    <a:pt x="271" y="243"/>
                  </a:lnTo>
                  <a:lnTo>
                    <a:pt x="267" y="239"/>
                  </a:lnTo>
                  <a:lnTo>
                    <a:pt x="267" y="235"/>
                  </a:lnTo>
                  <a:lnTo>
                    <a:pt x="271" y="235"/>
                  </a:lnTo>
                  <a:close/>
                  <a:moveTo>
                    <a:pt x="554" y="239"/>
                  </a:moveTo>
                  <a:lnTo>
                    <a:pt x="554" y="243"/>
                  </a:lnTo>
                  <a:lnTo>
                    <a:pt x="554" y="247"/>
                  </a:lnTo>
                  <a:lnTo>
                    <a:pt x="550" y="251"/>
                  </a:lnTo>
                  <a:lnTo>
                    <a:pt x="550" y="255"/>
                  </a:lnTo>
                  <a:lnTo>
                    <a:pt x="546" y="255"/>
                  </a:lnTo>
                  <a:lnTo>
                    <a:pt x="542" y="255"/>
                  </a:lnTo>
                  <a:lnTo>
                    <a:pt x="546" y="251"/>
                  </a:lnTo>
                  <a:lnTo>
                    <a:pt x="546" y="247"/>
                  </a:lnTo>
                  <a:lnTo>
                    <a:pt x="550" y="243"/>
                  </a:lnTo>
                  <a:lnTo>
                    <a:pt x="550" y="239"/>
                  </a:lnTo>
                  <a:lnTo>
                    <a:pt x="554" y="239"/>
                  </a:lnTo>
                  <a:close/>
                  <a:moveTo>
                    <a:pt x="658" y="243"/>
                  </a:moveTo>
                  <a:lnTo>
                    <a:pt x="662" y="243"/>
                  </a:lnTo>
                  <a:lnTo>
                    <a:pt x="662" y="247"/>
                  </a:lnTo>
                  <a:lnTo>
                    <a:pt x="666" y="247"/>
                  </a:lnTo>
                  <a:lnTo>
                    <a:pt x="662" y="251"/>
                  </a:lnTo>
                  <a:lnTo>
                    <a:pt x="662" y="255"/>
                  </a:lnTo>
                  <a:lnTo>
                    <a:pt x="662" y="259"/>
                  </a:lnTo>
                  <a:lnTo>
                    <a:pt x="658" y="259"/>
                  </a:lnTo>
                  <a:lnTo>
                    <a:pt x="654" y="263"/>
                  </a:lnTo>
                  <a:lnTo>
                    <a:pt x="650" y="263"/>
                  </a:lnTo>
                  <a:lnTo>
                    <a:pt x="646" y="263"/>
                  </a:lnTo>
                  <a:lnTo>
                    <a:pt x="642" y="263"/>
                  </a:lnTo>
                  <a:lnTo>
                    <a:pt x="646" y="259"/>
                  </a:lnTo>
                  <a:lnTo>
                    <a:pt x="646" y="255"/>
                  </a:lnTo>
                  <a:lnTo>
                    <a:pt x="646" y="251"/>
                  </a:lnTo>
                  <a:lnTo>
                    <a:pt x="650" y="247"/>
                  </a:lnTo>
                  <a:lnTo>
                    <a:pt x="654" y="247"/>
                  </a:lnTo>
                  <a:lnTo>
                    <a:pt x="654" y="243"/>
                  </a:lnTo>
                  <a:lnTo>
                    <a:pt x="658" y="243"/>
                  </a:lnTo>
                  <a:close/>
                  <a:moveTo>
                    <a:pt x="522" y="251"/>
                  </a:moveTo>
                  <a:lnTo>
                    <a:pt x="526" y="251"/>
                  </a:lnTo>
                  <a:lnTo>
                    <a:pt x="526" y="255"/>
                  </a:lnTo>
                  <a:lnTo>
                    <a:pt x="522" y="255"/>
                  </a:lnTo>
                  <a:lnTo>
                    <a:pt x="522" y="251"/>
                  </a:lnTo>
                  <a:close/>
                  <a:moveTo>
                    <a:pt x="291" y="259"/>
                  </a:moveTo>
                  <a:lnTo>
                    <a:pt x="295" y="259"/>
                  </a:lnTo>
                  <a:lnTo>
                    <a:pt x="299" y="259"/>
                  </a:lnTo>
                  <a:lnTo>
                    <a:pt x="303" y="259"/>
                  </a:lnTo>
                  <a:lnTo>
                    <a:pt x="303" y="255"/>
                  </a:lnTo>
                  <a:lnTo>
                    <a:pt x="307" y="259"/>
                  </a:lnTo>
                  <a:lnTo>
                    <a:pt x="311" y="259"/>
                  </a:lnTo>
                  <a:lnTo>
                    <a:pt x="311" y="263"/>
                  </a:lnTo>
                  <a:lnTo>
                    <a:pt x="307" y="267"/>
                  </a:lnTo>
                  <a:lnTo>
                    <a:pt x="303" y="267"/>
                  </a:lnTo>
                  <a:lnTo>
                    <a:pt x="303" y="271"/>
                  </a:lnTo>
                  <a:lnTo>
                    <a:pt x="303" y="267"/>
                  </a:lnTo>
                  <a:lnTo>
                    <a:pt x="299" y="263"/>
                  </a:lnTo>
                  <a:lnTo>
                    <a:pt x="295" y="263"/>
                  </a:lnTo>
                  <a:lnTo>
                    <a:pt x="295" y="259"/>
                  </a:lnTo>
                  <a:lnTo>
                    <a:pt x="291" y="259"/>
                  </a:lnTo>
                  <a:close/>
                  <a:moveTo>
                    <a:pt x="418" y="267"/>
                  </a:moveTo>
                  <a:lnTo>
                    <a:pt x="414" y="267"/>
                  </a:lnTo>
                  <a:lnTo>
                    <a:pt x="414" y="271"/>
                  </a:lnTo>
                  <a:lnTo>
                    <a:pt x="410" y="271"/>
                  </a:lnTo>
                  <a:lnTo>
                    <a:pt x="406" y="271"/>
                  </a:lnTo>
                  <a:lnTo>
                    <a:pt x="402" y="271"/>
                  </a:lnTo>
                  <a:lnTo>
                    <a:pt x="398" y="271"/>
                  </a:lnTo>
                  <a:lnTo>
                    <a:pt x="395" y="271"/>
                  </a:lnTo>
                  <a:lnTo>
                    <a:pt x="391" y="275"/>
                  </a:lnTo>
                  <a:lnTo>
                    <a:pt x="391" y="271"/>
                  </a:lnTo>
                  <a:lnTo>
                    <a:pt x="387" y="271"/>
                  </a:lnTo>
                  <a:lnTo>
                    <a:pt x="383" y="271"/>
                  </a:lnTo>
                  <a:lnTo>
                    <a:pt x="379" y="271"/>
                  </a:lnTo>
                  <a:lnTo>
                    <a:pt x="375" y="271"/>
                  </a:lnTo>
                  <a:lnTo>
                    <a:pt x="375" y="267"/>
                  </a:lnTo>
                  <a:lnTo>
                    <a:pt x="375" y="263"/>
                  </a:lnTo>
                  <a:lnTo>
                    <a:pt x="379" y="263"/>
                  </a:lnTo>
                  <a:lnTo>
                    <a:pt x="379" y="259"/>
                  </a:lnTo>
                  <a:lnTo>
                    <a:pt x="383" y="259"/>
                  </a:lnTo>
                  <a:lnTo>
                    <a:pt x="387" y="263"/>
                  </a:lnTo>
                  <a:lnTo>
                    <a:pt x="391" y="263"/>
                  </a:lnTo>
                  <a:lnTo>
                    <a:pt x="395" y="263"/>
                  </a:lnTo>
                  <a:lnTo>
                    <a:pt x="395" y="267"/>
                  </a:lnTo>
                  <a:lnTo>
                    <a:pt x="398" y="267"/>
                  </a:lnTo>
                  <a:lnTo>
                    <a:pt x="402" y="263"/>
                  </a:lnTo>
                  <a:lnTo>
                    <a:pt x="406" y="263"/>
                  </a:lnTo>
                  <a:lnTo>
                    <a:pt x="406" y="267"/>
                  </a:lnTo>
                  <a:lnTo>
                    <a:pt x="410" y="267"/>
                  </a:lnTo>
                  <a:lnTo>
                    <a:pt x="414" y="267"/>
                  </a:lnTo>
                  <a:lnTo>
                    <a:pt x="414" y="263"/>
                  </a:lnTo>
                  <a:lnTo>
                    <a:pt x="418" y="263"/>
                  </a:lnTo>
                  <a:lnTo>
                    <a:pt x="422" y="259"/>
                  </a:lnTo>
                  <a:lnTo>
                    <a:pt x="418" y="259"/>
                  </a:lnTo>
                  <a:lnTo>
                    <a:pt x="422" y="259"/>
                  </a:lnTo>
                  <a:lnTo>
                    <a:pt x="422" y="263"/>
                  </a:lnTo>
                  <a:lnTo>
                    <a:pt x="418" y="263"/>
                  </a:lnTo>
                  <a:lnTo>
                    <a:pt x="418" y="267"/>
                  </a:lnTo>
                  <a:close/>
                  <a:moveTo>
                    <a:pt x="363" y="267"/>
                  </a:moveTo>
                  <a:lnTo>
                    <a:pt x="363" y="271"/>
                  </a:lnTo>
                  <a:lnTo>
                    <a:pt x="359" y="271"/>
                  </a:lnTo>
                  <a:lnTo>
                    <a:pt x="359" y="267"/>
                  </a:lnTo>
                  <a:lnTo>
                    <a:pt x="355" y="271"/>
                  </a:lnTo>
                  <a:lnTo>
                    <a:pt x="359" y="271"/>
                  </a:lnTo>
                  <a:lnTo>
                    <a:pt x="355" y="271"/>
                  </a:lnTo>
                  <a:lnTo>
                    <a:pt x="351" y="271"/>
                  </a:lnTo>
                  <a:lnTo>
                    <a:pt x="351" y="267"/>
                  </a:lnTo>
                  <a:lnTo>
                    <a:pt x="351" y="271"/>
                  </a:lnTo>
                  <a:lnTo>
                    <a:pt x="347" y="271"/>
                  </a:lnTo>
                  <a:lnTo>
                    <a:pt x="343" y="275"/>
                  </a:lnTo>
                  <a:lnTo>
                    <a:pt x="343" y="271"/>
                  </a:lnTo>
                  <a:lnTo>
                    <a:pt x="339" y="275"/>
                  </a:lnTo>
                  <a:lnTo>
                    <a:pt x="335" y="275"/>
                  </a:lnTo>
                  <a:lnTo>
                    <a:pt x="331" y="275"/>
                  </a:lnTo>
                  <a:lnTo>
                    <a:pt x="327" y="275"/>
                  </a:lnTo>
                  <a:lnTo>
                    <a:pt x="327" y="271"/>
                  </a:lnTo>
                  <a:lnTo>
                    <a:pt x="327" y="267"/>
                  </a:lnTo>
                  <a:lnTo>
                    <a:pt x="331" y="267"/>
                  </a:lnTo>
                  <a:lnTo>
                    <a:pt x="331" y="263"/>
                  </a:lnTo>
                  <a:lnTo>
                    <a:pt x="335" y="263"/>
                  </a:lnTo>
                  <a:lnTo>
                    <a:pt x="339" y="263"/>
                  </a:lnTo>
                  <a:lnTo>
                    <a:pt x="339" y="267"/>
                  </a:lnTo>
                  <a:lnTo>
                    <a:pt x="343" y="267"/>
                  </a:lnTo>
                  <a:lnTo>
                    <a:pt x="347" y="271"/>
                  </a:lnTo>
                  <a:lnTo>
                    <a:pt x="347" y="267"/>
                  </a:lnTo>
                  <a:lnTo>
                    <a:pt x="351" y="267"/>
                  </a:lnTo>
                  <a:lnTo>
                    <a:pt x="347" y="263"/>
                  </a:lnTo>
                  <a:lnTo>
                    <a:pt x="343" y="263"/>
                  </a:lnTo>
                  <a:lnTo>
                    <a:pt x="343" y="259"/>
                  </a:lnTo>
                  <a:lnTo>
                    <a:pt x="347" y="259"/>
                  </a:lnTo>
                  <a:lnTo>
                    <a:pt x="351" y="259"/>
                  </a:lnTo>
                  <a:lnTo>
                    <a:pt x="351" y="263"/>
                  </a:lnTo>
                  <a:lnTo>
                    <a:pt x="351" y="259"/>
                  </a:lnTo>
                  <a:lnTo>
                    <a:pt x="355" y="259"/>
                  </a:lnTo>
                  <a:lnTo>
                    <a:pt x="355" y="263"/>
                  </a:lnTo>
                  <a:lnTo>
                    <a:pt x="355" y="267"/>
                  </a:lnTo>
                  <a:lnTo>
                    <a:pt x="355" y="263"/>
                  </a:lnTo>
                  <a:lnTo>
                    <a:pt x="359" y="263"/>
                  </a:lnTo>
                  <a:lnTo>
                    <a:pt x="363" y="263"/>
                  </a:lnTo>
                  <a:lnTo>
                    <a:pt x="363" y="267"/>
                  </a:lnTo>
                  <a:close/>
                  <a:moveTo>
                    <a:pt x="494" y="259"/>
                  </a:moveTo>
                  <a:lnTo>
                    <a:pt x="498" y="259"/>
                  </a:lnTo>
                  <a:lnTo>
                    <a:pt x="494" y="259"/>
                  </a:lnTo>
                  <a:close/>
                  <a:moveTo>
                    <a:pt x="339" y="263"/>
                  </a:moveTo>
                  <a:lnTo>
                    <a:pt x="339" y="259"/>
                  </a:lnTo>
                  <a:lnTo>
                    <a:pt x="343" y="259"/>
                  </a:lnTo>
                  <a:lnTo>
                    <a:pt x="339" y="259"/>
                  </a:lnTo>
                  <a:lnTo>
                    <a:pt x="339" y="263"/>
                  </a:lnTo>
                  <a:close/>
                  <a:moveTo>
                    <a:pt x="662" y="259"/>
                  </a:moveTo>
                  <a:lnTo>
                    <a:pt x="662" y="263"/>
                  </a:lnTo>
                  <a:lnTo>
                    <a:pt x="658" y="263"/>
                  </a:lnTo>
                  <a:lnTo>
                    <a:pt x="658" y="259"/>
                  </a:lnTo>
                  <a:lnTo>
                    <a:pt x="662" y="259"/>
                  </a:lnTo>
                  <a:close/>
                  <a:moveTo>
                    <a:pt x="510" y="259"/>
                  </a:moveTo>
                  <a:lnTo>
                    <a:pt x="514" y="259"/>
                  </a:lnTo>
                  <a:lnTo>
                    <a:pt x="510" y="259"/>
                  </a:lnTo>
                  <a:close/>
                  <a:moveTo>
                    <a:pt x="319" y="259"/>
                  </a:moveTo>
                  <a:lnTo>
                    <a:pt x="323" y="259"/>
                  </a:lnTo>
                  <a:lnTo>
                    <a:pt x="327" y="263"/>
                  </a:lnTo>
                  <a:lnTo>
                    <a:pt x="327" y="267"/>
                  </a:lnTo>
                  <a:lnTo>
                    <a:pt x="323" y="267"/>
                  </a:lnTo>
                  <a:lnTo>
                    <a:pt x="323" y="271"/>
                  </a:lnTo>
                  <a:lnTo>
                    <a:pt x="319" y="271"/>
                  </a:lnTo>
                  <a:lnTo>
                    <a:pt x="315" y="271"/>
                  </a:lnTo>
                  <a:lnTo>
                    <a:pt x="319" y="267"/>
                  </a:lnTo>
                  <a:lnTo>
                    <a:pt x="315" y="267"/>
                  </a:lnTo>
                  <a:lnTo>
                    <a:pt x="319" y="263"/>
                  </a:lnTo>
                  <a:lnTo>
                    <a:pt x="319" y="259"/>
                  </a:lnTo>
                  <a:close/>
                  <a:moveTo>
                    <a:pt x="422" y="263"/>
                  </a:moveTo>
                  <a:lnTo>
                    <a:pt x="422" y="259"/>
                  </a:lnTo>
                  <a:lnTo>
                    <a:pt x="426" y="259"/>
                  </a:lnTo>
                  <a:lnTo>
                    <a:pt x="426" y="263"/>
                  </a:lnTo>
                  <a:lnTo>
                    <a:pt x="422" y="263"/>
                  </a:lnTo>
                  <a:close/>
                  <a:moveTo>
                    <a:pt x="367" y="263"/>
                  </a:moveTo>
                  <a:lnTo>
                    <a:pt x="371" y="263"/>
                  </a:lnTo>
                  <a:lnTo>
                    <a:pt x="371" y="267"/>
                  </a:lnTo>
                  <a:lnTo>
                    <a:pt x="367" y="267"/>
                  </a:lnTo>
                  <a:lnTo>
                    <a:pt x="367" y="271"/>
                  </a:lnTo>
                  <a:lnTo>
                    <a:pt x="367" y="267"/>
                  </a:lnTo>
                  <a:lnTo>
                    <a:pt x="367" y="263"/>
                  </a:lnTo>
                  <a:close/>
                  <a:moveTo>
                    <a:pt x="418" y="267"/>
                  </a:moveTo>
                  <a:lnTo>
                    <a:pt x="422" y="263"/>
                  </a:lnTo>
                  <a:lnTo>
                    <a:pt x="422" y="267"/>
                  </a:lnTo>
                  <a:lnTo>
                    <a:pt x="418" y="267"/>
                  </a:lnTo>
                  <a:close/>
                  <a:moveTo>
                    <a:pt x="371" y="271"/>
                  </a:moveTo>
                  <a:lnTo>
                    <a:pt x="371" y="267"/>
                  </a:lnTo>
                  <a:lnTo>
                    <a:pt x="371" y="271"/>
                  </a:lnTo>
                  <a:close/>
                  <a:moveTo>
                    <a:pt x="363" y="287"/>
                  </a:moveTo>
                  <a:lnTo>
                    <a:pt x="359" y="283"/>
                  </a:lnTo>
                  <a:lnTo>
                    <a:pt x="363" y="283"/>
                  </a:lnTo>
                  <a:lnTo>
                    <a:pt x="367" y="279"/>
                  </a:lnTo>
                  <a:lnTo>
                    <a:pt x="367" y="283"/>
                  </a:lnTo>
                  <a:lnTo>
                    <a:pt x="371" y="279"/>
                  </a:lnTo>
                  <a:lnTo>
                    <a:pt x="371" y="283"/>
                  </a:lnTo>
                  <a:lnTo>
                    <a:pt x="375" y="283"/>
                  </a:lnTo>
                  <a:lnTo>
                    <a:pt x="375" y="279"/>
                  </a:lnTo>
                  <a:lnTo>
                    <a:pt x="375" y="283"/>
                  </a:lnTo>
                  <a:lnTo>
                    <a:pt x="379" y="283"/>
                  </a:lnTo>
                  <a:lnTo>
                    <a:pt x="379" y="287"/>
                  </a:lnTo>
                  <a:lnTo>
                    <a:pt x="383" y="287"/>
                  </a:lnTo>
                  <a:lnTo>
                    <a:pt x="387" y="287"/>
                  </a:lnTo>
                  <a:lnTo>
                    <a:pt x="387" y="291"/>
                  </a:lnTo>
                  <a:lnTo>
                    <a:pt x="391" y="291"/>
                  </a:lnTo>
                  <a:lnTo>
                    <a:pt x="391" y="295"/>
                  </a:lnTo>
                  <a:lnTo>
                    <a:pt x="387" y="295"/>
                  </a:lnTo>
                  <a:lnTo>
                    <a:pt x="387" y="299"/>
                  </a:lnTo>
                  <a:lnTo>
                    <a:pt x="383" y="299"/>
                  </a:lnTo>
                  <a:lnTo>
                    <a:pt x="379" y="299"/>
                  </a:lnTo>
                  <a:lnTo>
                    <a:pt x="379" y="295"/>
                  </a:lnTo>
                  <a:lnTo>
                    <a:pt x="375" y="295"/>
                  </a:lnTo>
                  <a:lnTo>
                    <a:pt x="375" y="291"/>
                  </a:lnTo>
                  <a:lnTo>
                    <a:pt x="371" y="291"/>
                  </a:lnTo>
                  <a:lnTo>
                    <a:pt x="371" y="287"/>
                  </a:lnTo>
                  <a:lnTo>
                    <a:pt x="367" y="287"/>
                  </a:lnTo>
                  <a:lnTo>
                    <a:pt x="363" y="287"/>
                  </a:lnTo>
                  <a:close/>
                  <a:moveTo>
                    <a:pt x="402" y="303"/>
                  </a:moveTo>
                  <a:lnTo>
                    <a:pt x="402" y="299"/>
                  </a:lnTo>
                  <a:lnTo>
                    <a:pt x="406" y="299"/>
                  </a:lnTo>
                  <a:lnTo>
                    <a:pt x="406" y="303"/>
                  </a:lnTo>
                  <a:lnTo>
                    <a:pt x="402" y="303"/>
                  </a:lnTo>
                  <a:close/>
                  <a:moveTo>
                    <a:pt x="418" y="307"/>
                  </a:moveTo>
                  <a:lnTo>
                    <a:pt x="422" y="307"/>
                  </a:lnTo>
                  <a:lnTo>
                    <a:pt x="422" y="303"/>
                  </a:lnTo>
                  <a:lnTo>
                    <a:pt x="426" y="303"/>
                  </a:lnTo>
                  <a:lnTo>
                    <a:pt x="426" y="299"/>
                  </a:lnTo>
                  <a:lnTo>
                    <a:pt x="426" y="303"/>
                  </a:lnTo>
                  <a:lnTo>
                    <a:pt x="426" y="307"/>
                  </a:lnTo>
                  <a:lnTo>
                    <a:pt x="422" y="307"/>
                  </a:lnTo>
                  <a:lnTo>
                    <a:pt x="422" y="311"/>
                  </a:lnTo>
                  <a:lnTo>
                    <a:pt x="418" y="311"/>
                  </a:lnTo>
                  <a:lnTo>
                    <a:pt x="418" y="307"/>
                  </a:lnTo>
                  <a:close/>
                  <a:moveTo>
                    <a:pt x="466" y="251"/>
                  </a:moveTo>
                  <a:lnTo>
                    <a:pt x="470" y="251"/>
                  </a:lnTo>
                  <a:lnTo>
                    <a:pt x="474" y="251"/>
                  </a:lnTo>
                  <a:lnTo>
                    <a:pt x="474" y="247"/>
                  </a:lnTo>
                  <a:lnTo>
                    <a:pt x="478" y="247"/>
                  </a:lnTo>
                  <a:lnTo>
                    <a:pt x="478" y="251"/>
                  </a:lnTo>
                  <a:lnTo>
                    <a:pt x="474" y="251"/>
                  </a:lnTo>
                  <a:lnTo>
                    <a:pt x="474" y="255"/>
                  </a:lnTo>
                  <a:lnTo>
                    <a:pt x="470" y="255"/>
                  </a:lnTo>
                  <a:lnTo>
                    <a:pt x="466" y="255"/>
                  </a:lnTo>
                  <a:lnTo>
                    <a:pt x="462" y="255"/>
                  </a:lnTo>
                  <a:lnTo>
                    <a:pt x="466" y="251"/>
                  </a:lnTo>
                  <a:close/>
                  <a:moveTo>
                    <a:pt x="442" y="259"/>
                  </a:moveTo>
                  <a:lnTo>
                    <a:pt x="446" y="259"/>
                  </a:lnTo>
                  <a:lnTo>
                    <a:pt x="450" y="259"/>
                  </a:lnTo>
                  <a:lnTo>
                    <a:pt x="454" y="259"/>
                  </a:lnTo>
                  <a:lnTo>
                    <a:pt x="454" y="263"/>
                  </a:lnTo>
                  <a:lnTo>
                    <a:pt x="450" y="263"/>
                  </a:lnTo>
                  <a:lnTo>
                    <a:pt x="446" y="263"/>
                  </a:lnTo>
                  <a:lnTo>
                    <a:pt x="442" y="263"/>
                  </a:lnTo>
                  <a:lnTo>
                    <a:pt x="442" y="259"/>
                  </a:lnTo>
                  <a:close/>
                  <a:moveTo>
                    <a:pt x="434" y="263"/>
                  </a:moveTo>
                  <a:lnTo>
                    <a:pt x="438" y="263"/>
                  </a:lnTo>
                  <a:lnTo>
                    <a:pt x="438" y="259"/>
                  </a:lnTo>
                  <a:lnTo>
                    <a:pt x="442" y="259"/>
                  </a:lnTo>
                  <a:lnTo>
                    <a:pt x="442" y="263"/>
                  </a:lnTo>
                  <a:lnTo>
                    <a:pt x="438" y="263"/>
                  </a:lnTo>
                  <a:lnTo>
                    <a:pt x="438" y="267"/>
                  </a:lnTo>
                  <a:lnTo>
                    <a:pt x="438" y="263"/>
                  </a:lnTo>
                  <a:lnTo>
                    <a:pt x="434" y="263"/>
                  </a:lnTo>
                  <a:close/>
                  <a:moveTo>
                    <a:pt x="426" y="267"/>
                  </a:moveTo>
                  <a:lnTo>
                    <a:pt x="426" y="263"/>
                  </a:lnTo>
                  <a:lnTo>
                    <a:pt x="430" y="263"/>
                  </a:lnTo>
                  <a:lnTo>
                    <a:pt x="426" y="263"/>
                  </a:lnTo>
                  <a:lnTo>
                    <a:pt x="426" y="259"/>
                  </a:lnTo>
                  <a:lnTo>
                    <a:pt x="430" y="259"/>
                  </a:lnTo>
                  <a:lnTo>
                    <a:pt x="430" y="263"/>
                  </a:lnTo>
                  <a:lnTo>
                    <a:pt x="434" y="259"/>
                  </a:lnTo>
                  <a:lnTo>
                    <a:pt x="434" y="263"/>
                  </a:lnTo>
                  <a:lnTo>
                    <a:pt x="430" y="263"/>
                  </a:lnTo>
                  <a:lnTo>
                    <a:pt x="430" y="267"/>
                  </a:lnTo>
                  <a:lnTo>
                    <a:pt x="426" y="267"/>
                  </a:lnTo>
                  <a:close/>
                  <a:moveTo>
                    <a:pt x="454" y="283"/>
                  </a:moveTo>
                  <a:lnTo>
                    <a:pt x="450" y="283"/>
                  </a:lnTo>
                  <a:lnTo>
                    <a:pt x="450" y="287"/>
                  </a:lnTo>
                  <a:lnTo>
                    <a:pt x="450" y="291"/>
                  </a:lnTo>
                  <a:lnTo>
                    <a:pt x="446" y="291"/>
                  </a:lnTo>
                  <a:lnTo>
                    <a:pt x="446" y="295"/>
                  </a:lnTo>
                  <a:lnTo>
                    <a:pt x="442" y="295"/>
                  </a:lnTo>
                  <a:lnTo>
                    <a:pt x="438" y="295"/>
                  </a:lnTo>
                  <a:lnTo>
                    <a:pt x="438" y="299"/>
                  </a:lnTo>
                  <a:lnTo>
                    <a:pt x="434" y="299"/>
                  </a:lnTo>
                  <a:lnTo>
                    <a:pt x="430" y="299"/>
                  </a:lnTo>
                  <a:lnTo>
                    <a:pt x="430" y="295"/>
                  </a:lnTo>
                  <a:lnTo>
                    <a:pt x="434" y="295"/>
                  </a:lnTo>
                  <a:lnTo>
                    <a:pt x="430" y="295"/>
                  </a:lnTo>
                  <a:lnTo>
                    <a:pt x="430" y="291"/>
                  </a:lnTo>
                  <a:lnTo>
                    <a:pt x="430" y="287"/>
                  </a:lnTo>
                  <a:lnTo>
                    <a:pt x="434" y="283"/>
                  </a:lnTo>
                  <a:lnTo>
                    <a:pt x="434" y="279"/>
                  </a:lnTo>
                  <a:lnTo>
                    <a:pt x="438" y="279"/>
                  </a:lnTo>
                  <a:lnTo>
                    <a:pt x="438" y="283"/>
                  </a:lnTo>
                  <a:lnTo>
                    <a:pt x="442" y="283"/>
                  </a:lnTo>
                  <a:lnTo>
                    <a:pt x="442" y="279"/>
                  </a:lnTo>
                  <a:lnTo>
                    <a:pt x="446" y="279"/>
                  </a:lnTo>
                  <a:lnTo>
                    <a:pt x="446" y="275"/>
                  </a:lnTo>
                  <a:lnTo>
                    <a:pt x="450" y="275"/>
                  </a:lnTo>
                  <a:lnTo>
                    <a:pt x="454" y="275"/>
                  </a:lnTo>
                  <a:lnTo>
                    <a:pt x="454" y="279"/>
                  </a:lnTo>
                  <a:lnTo>
                    <a:pt x="450" y="279"/>
                  </a:lnTo>
                  <a:lnTo>
                    <a:pt x="454" y="28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1" name="Freeform 18"/>
            <p:cNvSpPr>
              <a:spLocks noEditPoints="1"/>
            </p:cNvSpPr>
            <p:nvPr>
              <p:custDataLst>
                <p:tags r:id="rId214"/>
              </p:custDataLst>
            </p:nvPr>
          </p:nvSpPr>
          <p:spPr bwMode="gray">
            <a:xfrm>
              <a:off x="5363781" y="3473275"/>
              <a:ext cx="431571" cy="433055"/>
            </a:xfrm>
            <a:custGeom>
              <a:avLst/>
              <a:gdLst/>
              <a:ahLst/>
              <a:cxnLst>
                <a:cxn ang="0">
                  <a:pos x="267" y="168"/>
                </a:cxn>
                <a:cxn ang="0">
                  <a:pos x="259" y="192"/>
                </a:cxn>
                <a:cxn ang="0">
                  <a:pos x="263" y="212"/>
                </a:cxn>
                <a:cxn ang="0">
                  <a:pos x="283" y="228"/>
                </a:cxn>
                <a:cxn ang="0">
                  <a:pos x="287" y="248"/>
                </a:cxn>
                <a:cxn ang="0">
                  <a:pos x="283" y="260"/>
                </a:cxn>
                <a:cxn ang="0">
                  <a:pos x="275" y="268"/>
                </a:cxn>
                <a:cxn ang="0">
                  <a:pos x="267" y="284"/>
                </a:cxn>
                <a:cxn ang="0">
                  <a:pos x="255" y="288"/>
                </a:cxn>
                <a:cxn ang="0">
                  <a:pos x="243" y="284"/>
                </a:cxn>
                <a:cxn ang="0">
                  <a:pos x="219" y="280"/>
                </a:cxn>
                <a:cxn ang="0">
                  <a:pos x="203" y="276"/>
                </a:cxn>
                <a:cxn ang="0">
                  <a:pos x="195" y="252"/>
                </a:cxn>
                <a:cxn ang="0">
                  <a:pos x="175" y="256"/>
                </a:cxn>
                <a:cxn ang="0">
                  <a:pos x="155" y="260"/>
                </a:cxn>
                <a:cxn ang="0">
                  <a:pos x="135" y="252"/>
                </a:cxn>
                <a:cxn ang="0">
                  <a:pos x="123" y="240"/>
                </a:cxn>
                <a:cxn ang="0">
                  <a:pos x="108" y="224"/>
                </a:cxn>
                <a:cxn ang="0">
                  <a:pos x="100" y="208"/>
                </a:cxn>
                <a:cxn ang="0">
                  <a:pos x="92" y="192"/>
                </a:cxn>
                <a:cxn ang="0">
                  <a:pos x="80" y="188"/>
                </a:cxn>
                <a:cxn ang="0">
                  <a:pos x="72" y="196"/>
                </a:cxn>
                <a:cxn ang="0">
                  <a:pos x="60" y="176"/>
                </a:cxn>
                <a:cxn ang="0">
                  <a:pos x="56" y="160"/>
                </a:cxn>
                <a:cxn ang="0">
                  <a:pos x="48" y="144"/>
                </a:cxn>
                <a:cxn ang="0">
                  <a:pos x="32" y="128"/>
                </a:cxn>
                <a:cxn ang="0">
                  <a:pos x="20" y="116"/>
                </a:cxn>
                <a:cxn ang="0">
                  <a:pos x="28" y="104"/>
                </a:cxn>
                <a:cxn ang="0">
                  <a:pos x="28" y="96"/>
                </a:cxn>
                <a:cxn ang="0">
                  <a:pos x="32" y="80"/>
                </a:cxn>
                <a:cxn ang="0">
                  <a:pos x="20" y="72"/>
                </a:cxn>
                <a:cxn ang="0">
                  <a:pos x="12" y="56"/>
                </a:cxn>
                <a:cxn ang="0">
                  <a:pos x="4" y="36"/>
                </a:cxn>
                <a:cxn ang="0">
                  <a:pos x="4" y="16"/>
                </a:cxn>
                <a:cxn ang="0">
                  <a:pos x="4" y="4"/>
                </a:cxn>
                <a:cxn ang="0">
                  <a:pos x="16" y="8"/>
                </a:cxn>
                <a:cxn ang="0">
                  <a:pos x="36" y="16"/>
                </a:cxn>
                <a:cxn ang="0">
                  <a:pos x="52" y="4"/>
                </a:cxn>
                <a:cxn ang="0">
                  <a:pos x="64" y="12"/>
                </a:cxn>
                <a:cxn ang="0">
                  <a:pos x="68" y="28"/>
                </a:cxn>
                <a:cxn ang="0">
                  <a:pos x="96" y="28"/>
                </a:cxn>
                <a:cxn ang="0">
                  <a:pos x="115" y="28"/>
                </a:cxn>
                <a:cxn ang="0">
                  <a:pos x="131" y="40"/>
                </a:cxn>
                <a:cxn ang="0">
                  <a:pos x="151" y="48"/>
                </a:cxn>
                <a:cxn ang="0">
                  <a:pos x="167" y="36"/>
                </a:cxn>
                <a:cxn ang="0">
                  <a:pos x="187" y="32"/>
                </a:cxn>
                <a:cxn ang="0">
                  <a:pos x="199" y="28"/>
                </a:cxn>
                <a:cxn ang="0">
                  <a:pos x="223" y="40"/>
                </a:cxn>
                <a:cxn ang="0">
                  <a:pos x="231" y="48"/>
                </a:cxn>
                <a:cxn ang="0">
                  <a:pos x="251" y="64"/>
                </a:cxn>
                <a:cxn ang="0">
                  <a:pos x="259" y="80"/>
                </a:cxn>
                <a:cxn ang="0">
                  <a:pos x="259" y="100"/>
                </a:cxn>
                <a:cxn ang="0">
                  <a:pos x="251" y="116"/>
                </a:cxn>
                <a:cxn ang="0">
                  <a:pos x="251" y="132"/>
                </a:cxn>
                <a:cxn ang="0">
                  <a:pos x="255" y="156"/>
                </a:cxn>
                <a:cxn ang="0">
                  <a:pos x="187" y="256"/>
                </a:cxn>
                <a:cxn ang="0">
                  <a:pos x="171" y="260"/>
                </a:cxn>
                <a:cxn ang="0">
                  <a:pos x="187" y="256"/>
                </a:cxn>
              </a:cxnLst>
              <a:rect l="0" t="0" r="r" b="b"/>
              <a:pathLst>
                <a:path w="291" h="292">
                  <a:moveTo>
                    <a:pt x="255" y="156"/>
                  </a:moveTo>
                  <a:lnTo>
                    <a:pt x="255" y="160"/>
                  </a:lnTo>
                  <a:lnTo>
                    <a:pt x="255" y="164"/>
                  </a:lnTo>
                  <a:lnTo>
                    <a:pt x="259" y="168"/>
                  </a:lnTo>
                  <a:lnTo>
                    <a:pt x="263" y="168"/>
                  </a:lnTo>
                  <a:lnTo>
                    <a:pt x="267" y="168"/>
                  </a:lnTo>
                  <a:lnTo>
                    <a:pt x="267" y="172"/>
                  </a:lnTo>
                  <a:lnTo>
                    <a:pt x="271" y="172"/>
                  </a:lnTo>
                  <a:lnTo>
                    <a:pt x="271" y="176"/>
                  </a:lnTo>
                  <a:lnTo>
                    <a:pt x="267" y="180"/>
                  </a:lnTo>
                  <a:lnTo>
                    <a:pt x="263" y="188"/>
                  </a:lnTo>
                  <a:lnTo>
                    <a:pt x="259" y="192"/>
                  </a:lnTo>
                  <a:lnTo>
                    <a:pt x="259" y="196"/>
                  </a:lnTo>
                  <a:lnTo>
                    <a:pt x="255" y="196"/>
                  </a:lnTo>
                  <a:lnTo>
                    <a:pt x="255" y="200"/>
                  </a:lnTo>
                  <a:lnTo>
                    <a:pt x="259" y="200"/>
                  </a:lnTo>
                  <a:lnTo>
                    <a:pt x="263" y="208"/>
                  </a:lnTo>
                  <a:lnTo>
                    <a:pt x="263" y="212"/>
                  </a:lnTo>
                  <a:lnTo>
                    <a:pt x="267" y="216"/>
                  </a:lnTo>
                  <a:lnTo>
                    <a:pt x="267" y="220"/>
                  </a:lnTo>
                  <a:lnTo>
                    <a:pt x="271" y="224"/>
                  </a:lnTo>
                  <a:lnTo>
                    <a:pt x="275" y="224"/>
                  </a:lnTo>
                  <a:lnTo>
                    <a:pt x="279" y="228"/>
                  </a:lnTo>
                  <a:lnTo>
                    <a:pt x="283" y="228"/>
                  </a:lnTo>
                  <a:lnTo>
                    <a:pt x="283" y="232"/>
                  </a:lnTo>
                  <a:lnTo>
                    <a:pt x="283" y="236"/>
                  </a:lnTo>
                  <a:lnTo>
                    <a:pt x="283" y="240"/>
                  </a:lnTo>
                  <a:lnTo>
                    <a:pt x="283" y="244"/>
                  </a:lnTo>
                  <a:lnTo>
                    <a:pt x="283" y="248"/>
                  </a:lnTo>
                  <a:lnTo>
                    <a:pt x="287" y="248"/>
                  </a:lnTo>
                  <a:lnTo>
                    <a:pt x="291" y="248"/>
                  </a:lnTo>
                  <a:lnTo>
                    <a:pt x="291" y="252"/>
                  </a:lnTo>
                  <a:lnTo>
                    <a:pt x="291" y="256"/>
                  </a:lnTo>
                  <a:lnTo>
                    <a:pt x="291" y="260"/>
                  </a:lnTo>
                  <a:lnTo>
                    <a:pt x="287" y="260"/>
                  </a:lnTo>
                  <a:lnTo>
                    <a:pt x="283" y="260"/>
                  </a:lnTo>
                  <a:lnTo>
                    <a:pt x="283" y="264"/>
                  </a:lnTo>
                  <a:lnTo>
                    <a:pt x="279" y="264"/>
                  </a:lnTo>
                  <a:lnTo>
                    <a:pt x="275" y="264"/>
                  </a:lnTo>
                  <a:lnTo>
                    <a:pt x="275" y="268"/>
                  </a:lnTo>
                  <a:lnTo>
                    <a:pt x="275" y="264"/>
                  </a:lnTo>
                  <a:lnTo>
                    <a:pt x="275" y="268"/>
                  </a:lnTo>
                  <a:lnTo>
                    <a:pt x="271" y="268"/>
                  </a:lnTo>
                  <a:lnTo>
                    <a:pt x="271" y="272"/>
                  </a:lnTo>
                  <a:lnTo>
                    <a:pt x="271" y="276"/>
                  </a:lnTo>
                  <a:lnTo>
                    <a:pt x="267" y="276"/>
                  </a:lnTo>
                  <a:lnTo>
                    <a:pt x="267" y="280"/>
                  </a:lnTo>
                  <a:lnTo>
                    <a:pt x="267" y="284"/>
                  </a:lnTo>
                  <a:lnTo>
                    <a:pt x="267" y="288"/>
                  </a:lnTo>
                  <a:lnTo>
                    <a:pt x="263" y="288"/>
                  </a:lnTo>
                  <a:lnTo>
                    <a:pt x="263" y="292"/>
                  </a:lnTo>
                  <a:lnTo>
                    <a:pt x="259" y="292"/>
                  </a:lnTo>
                  <a:lnTo>
                    <a:pt x="259" y="288"/>
                  </a:lnTo>
                  <a:lnTo>
                    <a:pt x="255" y="288"/>
                  </a:lnTo>
                  <a:lnTo>
                    <a:pt x="251" y="288"/>
                  </a:lnTo>
                  <a:lnTo>
                    <a:pt x="251" y="284"/>
                  </a:lnTo>
                  <a:lnTo>
                    <a:pt x="247" y="284"/>
                  </a:lnTo>
                  <a:lnTo>
                    <a:pt x="247" y="288"/>
                  </a:lnTo>
                  <a:lnTo>
                    <a:pt x="247" y="284"/>
                  </a:lnTo>
                  <a:lnTo>
                    <a:pt x="243" y="284"/>
                  </a:lnTo>
                  <a:lnTo>
                    <a:pt x="239" y="284"/>
                  </a:lnTo>
                  <a:lnTo>
                    <a:pt x="235" y="284"/>
                  </a:lnTo>
                  <a:lnTo>
                    <a:pt x="231" y="284"/>
                  </a:lnTo>
                  <a:lnTo>
                    <a:pt x="227" y="284"/>
                  </a:lnTo>
                  <a:lnTo>
                    <a:pt x="223" y="280"/>
                  </a:lnTo>
                  <a:lnTo>
                    <a:pt x="219" y="280"/>
                  </a:lnTo>
                  <a:lnTo>
                    <a:pt x="215" y="280"/>
                  </a:lnTo>
                  <a:lnTo>
                    <a:pt x="215" y="284"/>
                  </a:lnTo>
                  <a:lnTo>
                    <a:pt x="211" y="280"/>
                  </a:lnTo>
                  <a:lnTo>
                    <a:pt x="207" y="280"/>
                  </a:lnTo>
                  <a:lnTo>
                    <a:pt x="203" y="280"/>
                  </a:lnTo>
                  <a:lnTo>
                    <a:pt x="203" y="276"/>
                  </a:lnTo>
                  <a:lnTo>
                    <a:pt x="199" y="276"/>
                  </a:lnTo>
                  <a:lnTo>
                    <a:pt x="199" y="272"/>
                  </a:lnTo>
                  <a:lnTo>
                    <a:pt x="199" y="264"/>
                  </a:lnTo>
                  <a:lnTo>
                    <a:pt x="199" y="260"/>
                  </a:lnTo>
                  <a:lnTo>
                    <a:pt x="195" y="256"/>
                  </a:lnTo>
                  <a:lnTo>
                    <a:pt x="195" y="252"/>
                  </a:lnTo>
                  <a:lnTo>
                    <a:pt x="191" y="252"/>
                  </a:lnTo>
                  <a:lnTo>
                    <a:pt x="187" y="252"/>
                  </a:lnTo>
                  <a:lnTo>
                    <a:pt x="183" y="252"/>
                  </a:lnTo>
                  <a:lnTo>
                    <a:pt x="179" y="252"/>
                  </a:lnTo>
                  <a:lnTo>
                    <a:pt x="175" y="252"/>
                  </a:lnTo>
                  <a:lnTo>
                    <a:pt x="175" y="256"/>
                  </a:lnTo>
                  <a:lnTo>
                    <a:pt x="175" y="260"/>
                  </a:lnTo>
                  <a:lnTo>
                    <a:pt x="171" y="260"/>
                  </a:lnTo>
                  <a:lnTo>
                    <a:pt x="167" y="260"/>
                  </a:lnTo>
                  <a:lnTo>
                    <a:pt x="163" y="264"/>
                  </a:lnTo>
                  <a:lnTo>
                    <a:pt x="159" y="260"/>
                  </a:lnTo>
                  <a:lnTo>
                    <a:pt x="155" y="260"/>
                  </a:lnTo>
                  <a:lnTo>
                    <a:pt x="151" y="260"/>
                  </a:lnTo>
                  <a:lnTo>
                    <a:pt x="147" y="260"/>
                  </a:lnTo>
                  <a:lnTo>
                    <a:pt x="143" y="256"/>
                  </a:lnTo>
                  <a:lnTo>
                    <a:pt x="143" y="252"/>
                  </a:lnTo>
                  <a:lnTo>
                    <a:pt x="139" y="252"/>
                  </a:lnTo>
                  <a:lnTo>
                    <a:pt x="135" y="252"/>
                  </a:lnTo>
                  <a:lnTo>
                    <a:pt x="135" y="248"/>
                  </a:lnTo>
                  <a:lnTo>
                    <a:pt x="131" y="248"/>
                  </a:lnTo>
                  <a:lnTo>
                    <a:pt x="131" y="244"/>
                  </a:lnTo>
                  <a:lnTo>
                    <a:pt x="127" y="244"/>
                  </a:lnTo>
                  <a:lnTo>
                    <a:pt x="127" y="240"/>
                  </a:lnTo>
                  <a:lnTo>
                    <a:pt x="123" y="240"/>
                  </a:lnTo>
                  <a:lnTo>
                    <a:pt x="119" y="236"/>
                  </a:lnTo>
                  <a:lnTo>
                    <a:pt x="115" y="236"/>
                  </a:lnTo>
                  <a:lnTo>
                    <a:pt x="112" y="236"/>
                  </a:lnTo>
                  <a:lnTo>
                    <a:pt x="112" y="232"/>
                  </a:lnTo>
                  <a:lnTo>
                    <a:pt x="108" y="228"/>
                  </a:lnTo>
                  <a:lnTo>
                    <a:pt x="108" y="224"/>
                  </a:lnTo>
                  <a:lnTo>
                    <a:pt x="108" y="220"/>
                  </a:lnTo>
                  <a:lnTo>
                    <a:pt x="104" y="220"/>
                  </a:lnTo>
                  <a:lnTo>
                    <a:pt x="104" y="216"/>
                  </a:lnTo>
                  <a:lnTo>
                    <a:pt x="104" y="212"/>
                  </a:lnTo>
                  <a:lnTo>
                    <a:pt x="100" y="212"/>
                  </a:lnTo>
                  <a:lnTo>
                    <a:pt x="100" y="208"/>
                  </a:lnTo>
                  <a:lnTo>
                    <a:pt x="100" y="204"/>
                  </a:lnTo>
                  <a:lnTo>
                    <a:pt x="96" y="204"/>
                  </a:lnTo>
                  <a:lnTo>
                    <a:pt x="96" y="200"/>
                  </a:lnTo>
                  <a:lnTo>
                    <a:pt x="96" y="196"/>
                  </a:lnTo>
                  <a:lnTo>
                    <a:pt x="92" y="196"/>
                  </a:lnTo>
                  <a:lnTo>
                    <a:pt x="92" y="192"/>
                  </a:lnTo>
                  <a:lnTo>
                    <a:pt x="88" y="192"/>
                  </a:lnTo>
                  <a:lnTo>
                    <a:pt x="84" y="196"/>
                  </a:lnTo>
                  <a:lnTo>
                    <a:pt x="84" y="192"/>
                  </a:lnTo>
                  <a:lnTo>
                    <a:pt x="80" y="192"/>
                  </a:lnTo>
                  <a:lnTo>
                    <a:pt x="76" y="188"/>
                  </a:lnTo>
                  <a:lnTo>
                    <a:pt x="80" y="188"/>
                  </a:lnTo>
                  <a:lnTo>
                    <a:pt x="80" y="184"/>
                  </a:lnTo>
                  <a:lnTo>
                    <a:pt x="76" y="184"/>
                  </a:lnTo>
                  <a:lnTo>
                    <a:pt x="72" y="188"/>
                  </a:lnTo>
                  <a:lnTo>
                    <a:pt x="76" y="192"/>
                  </a:lnTo>
                  <a:lnTo>
                    <a:pt x="76" y="196"/>
                  </a:lnTo>
                  <a:lnTo>
                    <a:pt x="72" y="196"/>
                  </a:lnTo>
                  <a:lnTo>
                    <a:pt x="68" y="196"/>
                  </a:lnTo>
                  <a:lnTo>
                    <a:pt x="68" y="192"/>
                  </a:lnTo>
                  <a:lnTo>
                    <a:pt x="64" y="188"/>
                  </a:lnTo>
                  <a:lnTo>
                    <a:pt x="60" y="188"/>
                  </a:lnTo>
                  <a:lnTo>
                    <a:pt x="60" y="184"/>
                  </a:lnTo>
                  <a:lnTo>
                    <a:pt x="60" y="176"/>
                  </a:lnTo>
                  <a:lnTo>
                    <a:pt x="56" y="176"/>
                  </a:lnTo>
                  <a:lnTo>
                    <a:pt x="56" y="172"/>
                  </a:lnTo>
                  <a:lnTo>
                    <a:pt x="56" y="168"/>
                  </a:lnTo>
                  <a:lnTo>
                    <a:pt x="56" y="164"/>
                  </a:lnTo>
                  <a:lnTo>
                    <a:pt x="60" y="160"/>
                  </a:lnTo>
                  <a:lnTo>
                    <a:pt x="56" y="160"/>
                  </a:lnTo>
                  <a:lnTo>
                    <a:pt x="56" y="156"/>
                  </a:lnTo>
                  <a:lnTo>
                    <a:pt x="56" y="152"/>
                  </a:lnTo>
                  <a:lnTo>
                    <a:pt x="52" y="152"/>
                  </a:lnTo>
                  <a:lnTo>
                    <a:pt x="52" y="148"/>
                  </a:lnTo>
                  <a:lnTo>
                    <a:pt x="48" y="148"/>
                  </a:lnTo>
                  <a:lnTo>
                    <a:pt x="48" y="144"/>
                  </a:lnTo>
                  <a:lnTo>
                    <a:pt x="44" y="144"/>
                  </a:lnTo>
                  <a:lnTo>
                    <a:pt x="40" y="140"/>
                  </a:lnTo>
                  <a:lnTo>
                    <a:pt x="36" y="136"/>
                  </a:lnTo>
                  <a:lnTo>
                    <a:pt x="32" y="136"/>
                  </a:lnTo>
                  <a:lnTo>
                    <a:pt x="32" y="132"/>
                  </a:lnTo>
                  <a:lnTo>
                    <a:pt x="32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4" y="124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4" y="116"/>
                  </a:lnTo>
                  <a:lnTo>
                    <a:pt x="24" y="112"/>
                  </a:lnTo>
                  <a:lnTo>
                    <a:pt x="24" y="108"/>
                  </a:lnTo>
                  <a:lnTo>
                    <a:pt x="20" y="108"/>
                  </a:lnTo>
                  <a:lnTo>
                    <a:pt x="24" y="104"/>
                  </a:lnTo>
                  <a:lnTo>
                    <a:pt x="28" y="104"/>
                  </a:lnTo>
                  <a:lnTo>
                    <a:pt x="24" y="104"/>
                  </a:lnTo>
                  <a:lnTo>
                    <a:pt x="24" y="100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32" y="96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28" y="84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4"/>
                  </a:lnTo>
                  <a:lnTo>
                    <a:pt x="68" y="8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0" y="16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68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6" y="24"/>
                  </a:lnTo>
                  <a:lnTo>
                    <a:pt x="88" y="28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100" y="24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12" y="20"/>
                  </a:lnTo>
                  <a:lnTo>
                    <a:pt x="112" y="24"/>
                  </a:lnTo>
                  <a:lnTo>
                    <a:pt x="115" y="28"/>
                  </a:lnTo>
                  <a:lnTo>
                    <a:pt x="119" y="32"/>
                  </a:lnTo>
                  <a:lnTo>
                    <a:pt x="119" y="36"/>
                  </a:lnTo>
                  <a:lnTo>
                    <a:pt x="123" y="36"/>
                  </a:lnTo>
                  <a:lnTo>
                    <a:pt x="123" y="40"/>
                  </a:lnTo>
                  <a:lnTo>
                    <a:pt x="127" y="40"/>
                  </a:lnTo>
                  <a:lnTo>
                    <a:pt x="131" y="40"/>
                  </a:lnTo>
                  <a:lnTo>
                    <a:pt x="135" y="40"/>
                  </a:lnTo>
                  <a:lnTo>
                    <a:pt x="135" y="44"/>
                  </a:lnTo>
                  <a:lnTo>
                    <a:pt x="139" y="44"/>
                  </a:lnTo>
                  <a:lnTo>
                    <a:pt x="143" y="48"/>
                  </a:lnTo>
                  <a:lnTo>
                    <a:pt x="147" y="48"/>
                  </a:lnTo>
                  <a:lnTo>
                    <a:pt x="151" y="48"/>
                  </a:lnTo>
                  <a:lnTo>
                    <a:pt x="155" y="48"/>
                  </a:lnTo>
                  <a:lnTo>
                    <a:pt x="159" y="48"/>
                  </a:lnTo>
                  <a:lnTo>
                    <a:pt x="163" y="44"/>
                  </a:lnTo>
                  <a:lnTo>
                    <a:pt x="163" y="40"/>
                  </a:lnTo>
                  <a:lnTo>
                    <a:pt x="167" y="40"/>
                  </a:lnTo>
                  <a:lnTo>
                    <a:pt x="167" y="36"/>
                  </a:lnTo>
                  <a:lnTo>
                    <a:pt x="171" y="36"/>
                  </a:lnTo>
                  <a:lnTo>
                    <a:pt x="171" y="32"/>
                  </a:lnTo>
                  <a:lnTo>
                    <a:pt x="175" y="32"/>
                  </a:lnTo>
                  <a:lnTo>
                    <a:pt x="179" y="32"/>
                  </a:lnTo>
                  <a:lnTo>
                    <a:pt x="183" y="32"/>
                  </a:lnTo>
                  <a:lnTo>
                    <a:pt x="187" y="32"/>
                  </a:lnTo>
                  <a:lnTo>
                    <a:pt x="187" y="28"/>
                  </a:lnTo>
                  <a:lnTo>
                    <a:pt x="191" y="28"/>
                  </a:lnTo>
                  <a:lnTo>
                    <a:pt x="195" y="28"/>
                  </a:lnTo>
                  <a:lnTo>
                    <a:pt x="195" y="32"/>
                  </a:lnTo>
                  <a:lnTo>
                    <a:pt x="199" y="32"/>
                  </a:lnTo>
                  <a:lnTo>
                    <a:pt x="199" y="28"/>
                  </a:lnTo>
                  <a:lnTo>
                    <a:pt x="203" y="32"/>
                  </a:lnTo>
                  <a:lnTo>
                    <a:pt x="203" y="36"/>
                  </a:lnTo>
                  <a:lnTo>
                    <a:pt x="207" y="36"/>
                  </a:lnTo>
                  <a:lnTo>
                    <a:pt x="215" y="40"/>
                  </a:lnTo>
                  <a:lnTo>
                    <a:pt x="219" y="44"/>
                  </a:lnTo>
                  <a:lnTo>
                    <a:pt x="223" y="40"/>
                  </a:lnTo>
                  <a:lnTo>
                    <a:pt x="223" y="44"/>
                  </a:lnTo>
                  <a:lnTo>
                    <a:pt x="223" y="40"/>
                  </a:lnTo>
                  <a:lnTo>
                    <a:pt x="227" y="40"/>
                  </a:lnTo>
                  <a:lnTo>
                    <a:pt x="227" y="44"/>
                  </a:lnTo>
                  <a:lnTo>
                    <a:pt x="231" y="44"/>
                  </a:lnTo>
                  <a:lnTo>
                    <a:pt x="231" y="48"/>
                  </a:lnTo>
                  <a:lnTo>
                    <a:pt x="235" y="52"/>
                  </a:lnTo>
                  <a:lnTo>
                    <a:pt x="239" y="52"/>
                  </a:lnTo>
                  <a:lnTo>
                    <a:pt x="243" y="56"/>
                  </a:lnTo>
                  <a:lnTo>
                    <a:pt x="243" y="60"/>
                  </a:lnTo>
                  <a:lnTo>
                    <a:pt x="247" y="64"/>
                  </a:lnTo>
                  <a:lnTo>
                    <a:pt x="251" y="64"/>
                  </a:lnTo>
                  <a:lnTo>
                    <a:pt x="255" y="64"/>
                  </a:lnTo>
                  <a:lnTo>
                    <a:pt x="259" y="64"/>
                  </a:lnTo>
                  <a:lnTo>
                    <a:pt x="259" y="68"/>
                  </a:lnTo>
                  <a:lnTo>
                    <a:pt x="259" y="72"/>
                  </a:lnTo>
                  <a:lnTo>
                    <a:pt x="259" y="76"/>
                  </a:lnTo>
                  <a:lnTo>
                    <a:pt x="259" y="80"/>
                  </a:lnTo>
                  <a:lnTo>
                    <a:pt x="259" y="84"/>
                  </a:lnTo>
                  <a:lnTo>
                    <a:pt x="263" y="84"/>
                  </a:lnTo>
                  <a:lnTo>
                    <a:pt x="259" y="88"/>
                  </a:lnTo>
                  <a:lnTo>
                    <a:pt x="259" y="92"/>
                  </a:lnTo>
                  <a:lnTo>
                    <a:pt x="259" y="96"/>
                  </a:lnTo>
                  <a:lnTo>
                    <a:pt x="259" y="100"/>
                  </a:lnTo>
                  <a:lnTo>
                    <a:pt x="255" y="104"/>
                  </a:lnTo>
                  <a:lnTo>
                    <a:pt x="251" y="104"/>
                  </a:lnTo>
                  <a:lnTo>
                    <a:pt x="255" y="108"/>
                  </a:lnTo>
                  <a:lnTo>
                    <a:pt x="251" y="108"/>
                  </a:lnTo>
                  <a:lnTo>
                    <a:pt x="251" y="112"/>
                  </a:lnTo>
                  <a:lnTo>
                    <a:pt x="251" y="116"/>
                  </a:lnTo>
                  <a:lnTo>
                    <a:pt x="251" y="120"/>
                  </a:lnTo>
                  <a:lnTo>
                    <a:pt x="251" y="124"/>
                  </a:lnTo>
                  <a:lnTo>
                    <a:pt x="255" y="124"/>
                  </a:lnTo>
                  <a:lnTo>
                    <a:pt x="255" y="128"/>
                  </a:lnTo>
                  <a:lnTo>
                    <a:pt x="251" y="128"/>
                  </a:lnTo>
                  <a:lnTo>
                    <a:pt x="251" y="132"/>
                  </a:lnTo>
                  <a:lnTo>
                    <a:pt x="251" y="136"/>
                  </a:lnTo>
                  <a:lnTo>
                    <a:pt x="251" y="140"/>
                  </a:lnTo>
                  <a:lnTo>
                    <a:pt x="251" y="144"/>
                  </a:lnTo>
                  <a:lnTo>
                    <a:pt x="255" y="148"/>
                  </a:lnTo>
                  <a:lnTo>
                    <a:pt x="255" y="152"/>
                  </a:lnTo>
                  <a:lnTo>
                    <a:pt x="255" y="156"/>
                  </a:lnTo>
                  <a:close/>
                  <a:moveTo>
                    <a:pt x="175" y="256"/>
                  </a:moveTo>
                  <a:lnTo>
                    <a:pt x="175" y="260"/>
                  </a:lnTo>
                  <a:lnTo>
                    <a:pt x="175" y="256"/>
                  </a:lnTo>
                  <a:lnTo>
                    <a:pt x="179" y="256"/>
                  </a:lnTo>
                  <a:lnTo>
                    <a:pt x="175" y="256"/>
                  </a:lnTo>
                  <a:close/>
                  <a:moveTo>
                    <a:pt x="187" y="256"/>
                  </a:moveTo>
                  <a:lnTo>
                    <a:pt x="183" y="256"/>
                  </a:lnTo>
                  <a:lnTo>
                    <a:pt x="183" y="260"/>
                  </a:lnTo>
                  <a:lnTo>
                    <a:pt x="179" y="260"/>
                  </a:lnTo>
                  <a:lnTo>
                    <a:pt x="175" y="260"/>
                  </a:lnTo>
                  <a:lnTo>
                    <a:pt x="171" y="264"/>
                  </a:lnTo>
                  <a:lnTo>
                    <a:pt x="171" y="260"/>
                  </a:lnTo>
                  <a:lnTo>
                    <a:pt x="175" y="260"/>
                  </a:lnTo>
                  <a:lnTo>
                    <a:pt x="179" y="260"/>
                  </a:lnTo>
                  <a:lnTo>
                    <a:pt x="179" y="256"/>
                  </a:lnTo>
                  <a:lnTo>
                    <a:pt x="183" y="256"/>
                  </a:lnTo>
                  <a:lnTo>
                    <a:pt x="183" y="252"/>
                  </a:lnTo>
                  <a:lnTo>
                    <a:pt x="187" y="2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2" name="Freeform 19"/>
            <p:cNvSpPr>
              <a:spLocks/>
            </p:cNvSpPr>
            <p:nvPr>
              <p:custDataLst>
                <p:tags r:id="rId215"/>
              </p:custDataLst>
            </p:nvPr>
          </p:nvSpPr>
          <p:spPr bwMode="gray">
            <a:xfrm>
              <a:off x="5245136" y="3544462"/>
              <a:ext cx="219493" cy="243222"/>
            </a:xfrm>
            <a:custGeom>
              <a:avLst/>
              <a:gdLst/>
              <a:ahLst/>
              <a:cxnLst>
                <a:cxn ang="0">
                  <a:pos x="4" y="96"/>
                </a:cxn>
                <a:cxn ang="0">
                  <a:pos x="16" y="72"/>
                </a:cxn>
                <a:cxn ang="0">
                  <a:pos x="36" y="60"/>
                </a:cxn>
                <a:cxn ang="0">
                  <a:pos x="36" y="44"/>
                </a:cxn>
                <a:cxn ang="0">
                  <a:pos x="40" y="40"/>
                </a:cxn>
                <a:cxn ang="0">
                  <a:pos x="40" y="36"/>
                </a:cxn>
                <a:cxn ang="0">
                  <a:pos x="40" y="20"/>
                </a:cxn>
                <a:cxn ang="0">
                  <a:pos x="56" y="4"/>
                </a:cxn>
                <a:cxn ang="0">
                  <a:pos x="60" y="0"/>
                </a:cxn>
                <a:cxn ang="0">
                  <a:pos x="64" y="0"/>
                </a:cxn>
                <a:cxn ang="0">
                  <a:pos x="80" y="4"/>
                </a:cxn>
                <a:cxn ang="0">
                  <a:pos x="80" y="0"/>
                </a:cxn>
                <a:cxn ang="0">
                  <a:pos x="84" y="4"/>
                </a:cxn>
                <a:cxn ang="0">
                  <a:pos x="88" y="4"/>
                </a:cxn>
                <a:cxn ang="0">
                  <a:pos x="92" y="4"/>
                </a:cxn>
                <a:cxn ang="0">
                  <a:pos x="92" y="8"/>
                </a:cxn>
                <a:cxn ang="0">
                  <a:pos x="92" y="12"/>
                </a:cxn>
                <a:cxn ang="0">
                  <a:pos x="96" y="16"/>
                </a:cxn>
                <a:cxn ang="0">
                  <a:pos x="96" y="20"/>
                </a:cxn>
                <a:cxn ang="0">
                  <a:pos x="100" y="20"/>
                </a:cxn>
                <a:cxn ang="0">
                  <a:pos x="104" y="28"/>
                </a:cxn>
                <a:cxn ang="0">
                  <a:pos x="108" y="32"/>
                </a:cxn>
                <a:cxn ang="0">
                  <a:pos x="112" y="32"/>
                </a:cxn>
                <a:cxn ang="0">
                  <a:pos x="116" y="32"/>
                </a:cxn>
                <a:cxn ang="0">
                  <a:pos x="112" y="32"/>
                </a:cxn>
                <a:cxn ang="0">
                  <a:pos x="112" y="40"/>
                </a:cxn>
                <a:cxn ang="0">
                  <a:pos x="112" y="44"/>
                </a:cxn>
                <a:cxn ang="0">
                  <a:pos x="108" y="48"/>
                </a:cxn>
                <a:cxn ang="0">
                  <a:pos x="104" y="52"/>
                </a:cxn>
                <a:cxn ang="0">
                  <a:pos x="108" y="56"/>
                </a:cxn>
                <a:cxn ang="0">
                  <a:pos x="104" y="60"/>
                </a:cxn>
                <a:cxn ang="0">
                  <a:pos x="104" y="64"/>
                </a:cxn>
                <a:cxn ang="0">
                  <a:pos x="104" y="68"/>
                </a:cxn>
                <a:cxn ang="0">
                  <a:pos x="108" y="76"/>
                </a:cxn>
                <a:cxn ang="0">
                  <a:pos x="108" y="80"/>
                </a:cxn>
                <a:cxn ang="0">
                  <a:pos x="112" y="80"/>
                </a:cxn>
                <a:cxn ang="0">
                  <a:pos x="112" y="84"/>
                </a:cxn>
                <a:cxn ang="0">
                  <a:pos x="112" y="88"/>
                </a:cxn>
                <a:cxn ang="0">
                  <a:pos x="116" y="88"/>
                </a:cxn>
                <a:cxn ang="0">
                  <a:pos x="120" y="92"/>
                </a:cxn>
                <a:cxn ang="0">
                  <a:pos x="124" y="96"/>
                </a:cxn>
                <a:cxn ang="0">
                  <a:pos x="128" y="100"/>
                </a:cxn>
                <a:cxn ang="0">
                  <a:pos x="136" y="104"/>
                </a:cxn>
                <a:cxn ang="0">
                  <a:pos x="140" y="112"/>
                </a:cxn>
                <a:cxn ang="0">
                  <a:pos x="136" y="124"/>
                </a:cxn>
                <a:cxn ang="0">
                  <a:pos x="140" y="128"/>
                </a:cxn>
                <a:cxn ang="0">
                  <a:pos x="140" y="140"/>
                </a:cxn>
                <a:cxn ang="0">
                  <a:pos x="148" y="144"/>
                </a:cxn>
                <a:cxn ang="0">
                  <a:pos x="148" y="148"/>
                </a:cxn>
                <a:cxn ang="0">
                  <a:pos x="144" y="148"/>
                </a:cxn>
                <a:cxn ang="0">
                  <a:pos x="140" y="148"/>
                </a:cxn>
                <a:cxn ang="0">
                  <a:pos x="132" y="144"/>
                </a:cxn>
                <a:cxn ang="0">
                  <a:pos x="128" y="148"/>
                </a:cxn>
                <a:cxn ang="0">
                  <a:pos x="124" y="160"/>
                </a:cxn>
                <a:cxn ang="0">
                  <a:pos x="120" y="164"/>
                </a:cxn>
                <a:cxn ang="0">
                  <a:pos x="112" y="164"/>
                </a:cxn>
                <a:cxn ang="0">
                  <a:pos x="40" y="120"/>
                </a:cxn>
              </a:cxnLst>
              <a:rect l="0" t="0" r="r" b="b"/>
              <a:pathLst>
                <a:path w="148" h="164">
                  <a:moveTo>
                    <a:pt x="8" y="104"/>
                  </a:moveTo>
                  <a:lnTo>
                    <a:pt x="8" y="104"/>
                  </a:lnTo>
                  <a:lnTo>
                    <a:pt x="8" y="100"/>
                  </a:lnTo>
                  <a:lnTo>
                    <a:pt x="4" y="100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24" y="68"/>
                  </a:lnTo>
                  <a:lnTo>
                    <a:pt x="28" y="64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16"/>
                  </a:lnTo>
                  <a:lnTo>
                    <a:pt x="48" y="16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6"/>
                  </a:lnTo>
                  <a:lnTo>
                    <a:pt x="108" y="36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8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4"/>
                  </a:lnTo>
                  <a:lnTo>
                    <a:pt x="104" y="64"/>
                  </a:lnTo>
                  <a:lnTo>
                    <a:pt x="104" y="64"/>
                  </a:lnTo>
                  <a:lnTo>
                    <a:pt x="104" y="68"/>
                  </a:lnTo>
                  <a:lnTo>
                    <a:pt x="100" y="68"/>
                  </a:lnTo>
                  <a:lnTo>
                    <a:pt x="100" y="68"/>
                  </a:lnTo>
                  <a:lnTo>
                    <a:pt x="100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4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32" y="100"/>
                  </a:lnTo>
                  <a:lnTo>
                    <a:pt x="132" y="100"/>
                  </a:lnTo>
                  <a:lnTo>
                    <a:pt x="132" y="100"/>
                  </a:lnTo>
                  <a:lnTo>
                    <a:pt x="132" y="104"/>
                  </a:lnTo>
                  <a:lnTo>
                    <a:pt x="136" y="104"/>
                  </a:lnTo>
                  <a:lnTo>
                    <a:pt x="136" y="108"/>
                  </a:lnTo>
                  <a:lnTo>
                    <a:pt x="136" y="108"/>
                  </a:lnTo>
                  <a:lnTo>
                    <a:pt x="136" y="112"/>
                  </a:lnTo>
                  <a:lnTo>
                    <a:pt x="140" y="112"/>
                  </a:lnTo>
                  <a:lnTo>
                    <a:pt x="140" y="112"/>
                  </a:lnTo>
                  <a:lnTo>
                    <a:pt x="140" y="112"/>
                  </a:lnTo>
                  <a:lnTo>
                    <a:pt x="136" y="116"/>
                  </a:lnTo>
                  <a:lnTo>
                    <a:pt x="136" y="116"/>
                  </a:lnTo>
                  <a:lnTo>
                    <a:pt x="136" y="120"/>
                  </a:lnTo>
                  <a:lnTo>
                    <a:pt x="136" y="120"/>
                  </a:lnTo>
                  <a:lnTo>
                    <a:pt x="136" y="120"/>
                  </a:lnTo>
                  <a:lnTo>
                    <a:pt x="136" y="124"/>
                  </a:lnTo>
                  <a:lnTo>
                    <a:pt x="136" y="124"/>
                  </a:lnTo>
                  <a:lnTo>
                    <a:pt x="136" y="124"/>
                  </a:lnTo>
                  <a:lnTo>
                    <a:pt x="136" y="124"/>
                  </a:lnTo>
                  <a:lnTo>
                    <a:pt x="136" y="128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40" y="136"/>
                  </a:lnTo>
                  <a:lnTo>
                    <a:pt x="140" y="136"/>
                  </a:lnTo>
                  <a:lnTo>
                    <a:pt x="140" y="136"/>
                  </a:lnTo>
                  <a:lnTo>
                    <a:pt x="140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0" y="148"/>
                  </a:lnTo>
                  <a:lnTo>
                    <a:pt x="140" y="148"/>
                  </a:lnTo>
                  <a:lnTo>
                    <a:pt x="140" y="148"/>
                  </a:lnTo>
                  <a:lnTo>
                    <a:pt x="140" y="148"/>
                  </a:lnTo>
                  <a:lnTo>
                    <a:pt x="136" y="144"/>
                  </a:lnTo>
                  <a:lnTo>
                    <a:pt x="132" y="144"/>
                  </a:lnTo>
                  <a:lnTo>
                    <a:pt x="132" y="144"/>
                  </a:lnTo>
                  <a:lnTo>
                    <a:pt x="132" y="144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52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60"/>
                  </a:lnTo>
                  <a:lnTo>
                    <a:pt x="124" y="160"/>
                  </a:lnTo>
                  <a:lnTo>
                    <a:pt x="120" y="160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16" y="164"/>
                  </a:lnTo>
                  <a:lnTo>
                    <a:pt x="112" y="164"/>
                  </a:lnTo>
                  <a:lnTo>
                    <a:pt x="92" y="164"/>
                  </a:lnTo>
                  <a:lnTo>
                    <a:pt x="76" y="148"/>
                  </a:lnTo>
                  <a:lnTo>
                    <a:pt x="64" y="140"/>
                  </a:lnTo>
                  <a:lnTo>
                    <a:pt x="64" y="136"/>
                  </a:lnTo>
                  <a:lnTo>
                    <a:pt x="52" y="124"/>
                  </a:lnTo>
                  <a:lnTo>
                    <a:pt x="40" y="120"/>
                  </a:lnTo>
                  <a:lnTo>
                    <a:pt x="24" y="108"/>
                  </a:lnTo>
                  <a:lnTo>
                    <a:pt x="20" y="108"/>
                  </a:lnTo>
                  <a:lnTo>
                    <a:pt x="12" y="104"/>
                  </a:lnTo>
                  <a:lnTo>
                    <a:pt x="8" y="10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3" name="Freeform 20"/>
            <p:cNvSpPr>
              <a:spLocks noEditPoints="1"/>
            </p:cNvSpPr>
            <p:nvPr>
              <p:custDataLst>
                <p:tags r:id="rId216"/>
              </p:custDataLst>
            </p:nvPr>
          </p:nvSpPr>
          <p:spPr bwMode="gray">
            <a:xfrm>
              <a:off x="5144288" y="3669039"/>
              <a:ext cx="29661" cy="106781"/>
            </a:xfrm>
            <a:custGeom>
              <a:avLst/>
              <a:gdLst/>
              <a:ahLst/>
              <a:cxnLst>
                <a:cxn ang="0">
                  <a:pos x="16" y="48"/>
                </a:cxn>
                <a:cxn ang="0">
                  <a:pos x="16" y="52"/>
                </a:cxn>
                <a:cxn ang="0">
                  <a:pos x="12" y="60"/>
                </a:cxn>
                <a:cxn ang="0">
                  <a:pos x="12" y="64"/>
                </a:cxn>
                <a:cxn ang="0">
                  <a:pos x="12" y="64"/>
                </a:cxn>
                <a:cxn ang="0">
                  <a:pos x="12" y="72"/>
                </a:cxn>
                <a:cxn ang="0">
                  <a:pos x="8" y="72"/>
                </a:cxn>
                <a:cxn ang="0">
                  <a:pos x="8" y="72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0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12" y="24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2" y="32"/>
                </a:cxn>
                <a:cxn ang="0">
                  <a:pos x="8" y="36"/>
                </a:cxn>
                <a:cxn ang="0">
                  <a:pos x="12" y="36"/>
                </a:cxn>
                <a:cxn ang="0">
                  <a:pos x="16" y="36"/>
                </a:cxn>
                <a:cxn ang="0">
                  <a:pos x="20" y="32"/>
                </a:cxn>
                <a:cxn ang="0">
                  <a:pos x="20" y="36"/>
                </a:cxn>
                <a:cxn ang="0">
                  <a:pos x="20" y="40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16" y="28"/>
                </a:cxn>
              </a:cxnLst>
              <a:rect l="0" t="0" r="r" b="b"/>
              <a:pathLst>
                <a:path w="20" h="72">
                  <a:moveTo>
                    <a:pt x="16" y="44"/>
                  </a:moveTo>
                  <a:lnTo>
                    <a:pt x="16" y="44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4"/>
                  </a:lnTo>
                  <a:lnTo>
                    <a:pt x="16" y="44"/>
                  </a:lnTo>
                  <a:close/>
                  <a:moveTo>
                    <a:pt x="16" y="28"/>
                  </a:move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4" name="Freeform 21"/>
            <p:cNvSpPr>
              <a:spLocks noEditPoints="1"/>
            </p:cNvSpPr>
            <p:nvPr>
              <p:custDataLst>
                <p:tags r:id="rId217"/>
              </p:custDataLst>
            </p:nvPr>
          </p:nvSpPr>
          <p:spPr bwMode="gray">
            <a:xfrm>
              <a:off x="7149390" y="3290858"/>
              <a:ext cx="496826" cy="639200"/>
            </a:xfrm>
            <a:custGeom>
              <a:avLst/>
              <a:gdLst/>
              <a:ahLst/>
              <a:cxnLst>
                <a:cxn ang="0">
                  <a:pos x="104" y="271"/>
                </a:cxn>
                <a:cxn ang="0">
                  <a:pos x="288" y="71"/>
                </a:cxn>
                <a:cxn ang="0">
                  <a:pos x="256" y="67"/>
                </a:cxn>
                <a:cxn ang="0">
                  <a:pos x="264" y="83"/>
                </a:cxn>
                <a:cxn ang="0">
                  <a:pos x="248" y="71"/>
                </a:cxn>
                <a:cxn ang="0">
                  <a:pos x="256" y="48"/>
                </a:cxn>
                <a:cxn ang="0">
                  <a:pos x="272" y="36"/>
                </a:cxn>
                <a:cxn ang="0">
                  <a:pos x="280" y="0"/>
                </a:cxn>
                <a:cxn ang="0">
                  <a:pos x="300" y="28"/>
                </a:cxn>
                <a:cxn ang="0">
                  <a:pos x="327" y="28"/>
                </a:cxn>
                <a:cxn ang="0">
                  <a:pos x="335" y="48"/>
                </a:cxn>
                <a:cxn ang="0">
                  <a:pos x="308" y="60"/>
                </a:cxn>
                <a:cxn ang="0">
                  <a:pos x="240" y="75"/>
                </a:cxn>
                <a:cxn ang="0">
                  <a:pos x="148" y="231"/>
                </a:cxn>
                <a:cxn ang="0">
                  <a:pos x="128" y="239"/>
                </a:cxn>
                <a:cxn ang="0">
                  <a:pos x="120" y="231"/>
                </a:cxn>
                <a:cxn ang="0">
                  <a:pos x="140" y="211"/>
                </a:cxn>
                <a:cxn ang="0">
                  <a:pos x="152" y="211"/>
                </a:cxn>
                <a:cxn ang="0">
                  <a:pos x="180" y="211"/>
                </a:cxn>
                <a:cxn ang="0">
                  <a:pos x="188" y="195"/>
                </a:cxn>
                <a:cxn ang="0">
                  <a:pos x="204" y="171"/>
                </a:cxn>
                <a:cxn ang="0">
                  <a:pos x="208" y="183"/>
                </a:cxn>
                <a:cxn ang="0">
                  <a:pos x="232" y="159"/>
                </a:cxn>
                <a:cxn ang="0">
                  <a:pos x="248" y="127"/>
                </a:cxn>
                <a:cxn ang="0">
                  <a:pos x="248" y="111"/>
                </a:cxn>
                <a:cxn ang="0">
                  <a:pos x="260" y="95"/>
                </a:cxn>
                <a:cxn ang="0">
                  <a:pos x="260" y="91"/>
                </a:cxn>
                <a:cxn ang="0">
                  <a:pos x="276" y="107"/>
                </a:cxn>
                <a:cxn ang="0">
                  <a:pos x="276" y="139"/>
                </a:cxn>
                <a:cxn ang="0">
                  <a:pos x="264" y="159"/>
                </a:cxn>
                <a:cxn ang="0">
                  <a:pos x="256" y="195"/>
                </a:cxn>
                <a:cxn ang="0">
                  <a:pos x="248" y="219"/>
                </a:cxn>
                <a:cxn ang="0">
                  <a:pos x="244" y="215"/>
                </a:cxn>
                <a:cxn ang="0">
                  <a:pos x="228" y="215"/>
                </a:cxn>
                <a:cxn ang="0">
                  <a:pos x="208" y="227"/>
                </a:cxn>
                <a:cxn ang="0">
                  <a:pos x="200" y="223"/>
                </a:cxn>
                <a:cxn ang="0">
                  <a:pos x="192" y="239"/>
                </a:cxn>
                <a:cxn ang="0">
                  <a:pos x="176" y="231"/>
                </a:cxn>
                <a:cxn ang="0">
                  <a:pos x="228" y="151"/>
                </a:cxn>
                <a:cxn ang="0">
                  <a:pos x="224" y="155"/>
                </a:cxn>
                <a:cxn ang="0">
                  <a:pos x="88" y="231"/>
                </a:cxn>
                <a:cxn ang="0">
                  <a:pos x="164" y="227"/>
                </a:cxn>
                <a:cxn ang="0">
                  <a:pos x="156" y="251"/>
                </a:cxn>
                <a:cxn ang="0">
                  <a:pos x="140" y="263"/>
                </a:cxn>
                <a:cxn ang="0">
                  <a:pos x="136" y="247"/>
                </a:cxn>
                <a:cxn ang="0">
                  <a:pos x="156" y="235"/>
                </a:cxn>
                <a:cxn ang="0">
                  <a:pos x="84" y="235"/>
                </a:cxn>
                <a:cxn ang="0">
                  <a:pos x="92" y="263"/>
                </a:cxn>
                <a:cxn ang="0">
                  <a:pos x="96" y="251"/>
                </a:cxn>
                <a:cxn ang="0">
                  <a:pos x="120" y="247"/>
                </a:cxn>
                <a:cxn ang="0">
                  <a:pos x="124" y="263"/>
                </a:cxn>
                <a:cxn ang="0">
                  <a:pos x="112" y="291"/>
                </a:cxn>
                <a:cxn ang="0">
                  <a:pos x="104" y="287"/>
                </a:cxn>
                <a:cxn ang="0">
                  <a:pos x="100" y="275"/>
                </a:cxn>
                <a:cxn ang="0">
                  <a:pos x="100" y="255"/>
                </a:cxn>
                <a:cxn ang="0">
                  <a:pos x="92" y="247"/>
                </a:cxn>
                <a:cxn ang="0">
                  <a:pos x="84" y="259"/>
                </a:cxn>
                <a:cxn ang="0">
                  <a:pos x="96" y="275"/>
                </a:cxn>
                <a:cxn ang="0">
                  <a:pos x="112" y="303"/>
                </a:cxn>
                <a:cxn ang="0">
                  <a:pos x="84" y="351"/>
                </a:cxn>
                <a:cxn ang="0">
                  <a:pos x="64" y="387"/>
                </a:cxn>
                <a:cxn ang="0">
                  <a:pos x="68" y="383"/>
                </a:cxn>
                <a:cxn ang="0">
                  <a:pos x="4" y="427"/>
                </a:cxn>
              </a:cxnLst>
              <a:rect l="0" t="0" r="r" b="b"/>
              <a:pathLst>
                <a:path w="335" h="431">
                  <a:moveTo>
                    <a:pt x="136" y="243"/>
                  </a:moveTo>
                  <a:lnTo>
                    <a:pt x="132" y="243"/>
                  </a:lnTo>
                  <a:lnTo>
                    <a:pt x="132" y="239"/>
                  </a:lnTo>
                  <a:lnTo>
                    <a:pt x="132" y="243"/>
                  </a:lnTo>
                  <a:lnTo>
                    <a:pt x="132" y="239"/>
                  </a:lnTo>
                  <a:lnTo>
                    <a:pt x="136" y="239"/>
                  </a:lnTo>
                  <a:lnTo>
                    <a:pt x="136" y="243"/>
                  </a:lnTo>
                  <a:close/>
                  <a:moveTo>
                    <a:pt x="100" y="271"/>
                  </a:moveTo>
                  <a:lnTo>
                    <a:pt x="104" y="267"/>
                  </a:lnTo>
                  <a:lnTo>
                    <a:pt x="104" y="271"/>
                  </a:lnTo>
                  <a:lnTo>
                    <a:pt x="100" y="271"/>
                  </a:lnTo>
                  <a:close/>
                  <a:moveTo>
                    <a:pt x="308" y="60"/>
                  </a:moveTo>
                  <a:lnTo>
                    <a:pt x="304" y="64"/>
                  </a:lnTo>
                  <a:lnTo>
                    <a:pt x="300" y="64"/>
                  </a:lnTo>
                  <a:lnTo>
                    <a:pt x="300" y="67"/>
                  </a:lnTo>
                  <a:lnTo>
                    <a:pt x="300" y="71"/>
                  </a:lnTo>
                  <a:lnTo>
                    <a:pt x="300" y="75"/>
                  </a:lnTo>
                  <a:lnTo>
                    <a:pt x="296" y="75"/>
                  </a:lnTo>
                  <a:lnTo>
                    <a:pt x="292" y="71"/>
                  </a:lnTo>
                  <a:lnTo>
                    <a:pt x="288" y="71"/>
                  </a:lnTo>
                  <a:lnTo>
                    <a:pt x="284" y="67"/>
                  </a:lnTo>
                  <a:lnTo>
                    <a:pt x="280" y="67"/>
                  </a:lnTo>
                  <a:lnTo>
                    <a:pt x="280" y="64"/>
                  </a:lnTo>
                  <a:lnTo>
                    <a:pt x="276" y="64"/>
                  </a:lnTo>
                  <a:lnTo>
                    <a:pt x="272" y="64"/>
                  </a:lnTo>
                  <a:lnTo>
                    <a:pt x="268" y="67"/>
                  </a:lnTo>
                  <a:lnTo>
                    <a:pt x="264" y="67"/>
                  </a:lnTo>
                  <a:lnTo>
                    <a:pt x="260" y="64"/>
                  </a:lnTo>
                  <a:lnTo>
                    <a:pt x="256" y="64"/>
                  </a:lnTo>
                  <a:lnTo>
                    <a:pt x="256" y="67"/>
                  </a:lnTo>
                  <a:lnTo>
                    <a:pt x="252" y="67"/>
                  </a:lnTo>
                  <a:lnTo>
                    <a:pt x="252" y="71"/>
                  </a:lnTo>
                  <a:lnTo>
                    <a:pt x="256" y="71"/>
                  </a:lnTo>
                  <a:lnTo>
                    <a:pt x="260" y="71"/>
                  </a:lnTo>
                  <a:lnTo>
                    <a:pt x="260" y="75"/>
                  </a:lnTo>
                  <a:lnTo>
                    <a:pt x="264" y="75"/>
                  </a:lnTo>
                  <a:lnTo>
                    <a:pt x="264" y="79"/>
                  </a:lnTo>
                  <a:lnTo>
                    <a:pt x="268" y="79"/>
                  </a:lnTo>
                  <a:lnTo>
                    <a:pt x="264" y="79"/>
                  </a:lnTo>
                  <a:lnTo>
                    <a:pt x="264" y="83"/>
                  </a:lnTo>
                  <a:lnTo>
                    <a:pt x="260" y="79"/>
                  </a:lnTo>
                  <a:lnTo>
                    <a:pt x="256" y="83"/>
                  </a:lnTo>
                  <a:lnTo>
                    <a:pt x="256" y="87"/>
                  </a:lnTo>
                  <a:lnTo>
                    <a:pt x="252" y="87"/>
                  </a:lnTo>
                  <a:lnTo>
                    <a:pt x="248" y="87"/>
                  </a:lnTo>
                  <a:lnTo>
                    <a:pt x="248" y="83"/>
                  </a:lnTo>
                  <a:lnTo>
                    <a:pt x="252" y="79"/>
                  </a:lnTo>
                  <a:lnTo>
                    <a:pt x="252" y="75"/>
                  </a:lnTo>
                  <a:lnTo>
                    <a:pt x="248" y="75"/>
                  </a:lnTo>
                  <a:lnTo>
                    <a:pt x="248" y="71"/>
                  </a:lnTo>
                  <a:lnTo>
                    <a:pt x="244" y="71"/>
                  </a:lnTo>
                  <a:lnTo>
                    <a:pt x="244" y="67"/>
                  </a:lnTo>
                  <a:lnTo>
                    <a:pt x="248" y="67"/>
                  </a:lnTo>
                  <a:lnTo>
                    <a:pt x="248" y="64"/>
                  </a:lnTo>
                  <a:lnTo>
                    <a:pt x="248" y="60"/>
                  </a:lnTo>
                  <a:lnTo>
                    <a:pt x="252" y="60"/>
                  </a:lnTo>
                  <a:lnTo>
                    <a:pt x="256" y="60"/>
                  </a:lnTo>
                  <a:lnTo>
                    <a:pt x="256" y="56"/>
                  </a:lnTo>
                  <a:lnTo>
                    <a:pt x="256" y="52"/>
                  </a:lnTo>
                  <a:lnTo>
                    <a:pt x="256" y="48"/>
                  </a:lnTo>
                  <a:lnTo>
                    <a:pt x="260" y="48"/>
                  </a:lnTo>
                  <a:lnTo>
                    <a:pt x="260" y="52"/>
                  </a:lnTo>
                  <a:lnTo>
                    <a:pt x="264" y="52"/>
                  </a:lnTo>
                  <a:lnTo>
                    <a:pt x="268" y="52"/>
                  </a:lnTo>
                  <a:lnTo>
                    <a:pt x="268" y="48"/>
                  </a:lnTo>
                  <a:lnTo>
                    <a:pt x="272" y="48"/>
                  </a:lnTo>
                  <a:lnTo>
                    <a:pt x="272" y="44"/>
                  </a:lnTo>
                  <a:lnTo>
                    <a:pt x="268" y="40"/>
                  </a:lnTo>
                  <a:lnTo>
                    <a:pt x="272" y="40"/>
                  </a:lnTo>
                  <a:lnTo>
                    <a:pt x="272" y="36"/>
                  </a:lnTo>
                  <a:lnTo>
                    <a:pt x="276" y="36"/>
                  </a:lnTo>
                  <a:lnTo>
                    <a:pt x="276" y="32"/>
                  </a:lnTo>
                  <a:lnTo>
                    <a:pt x="276" y="28"/>
                  </a:lnTo>
                  <a:lnTo>
                    <a:pt x="276" y="24"/>
                  </a:lnTo>
                  <a:lnTo>
                    <a:pt x="276" y="20"/>
                  </a:lnTo>
                  <a:lnTo>
                    <a:pt x="276" y="16"/>
                  </a:lnTo>
                  <a:lnTo>
                    <a:pt x="276" y="12"/>
                  </a:lnTo>
                  <a:lnTo>
                    <a:pt x="272" y="8"/>
                  </a:lnTo>
                  <a:lnTo>
                    <a:pt x="276" y="4"/>
                  </a:lnTo>
                  <a:lnTo>
                    <a:pt x="280" y="0"/>
                  </a:lnTo>
                  <a:lnTo>
                    <a:pt x="280" y="4"/>
                  </a:lnTo>
                  <a:lnTo>
                    <a:pt x="284" y="4"/>
                  </a:lnTo>
                  <a:lnTo>
                    <a:pt x="284" y="8"/>
                  </a:lnTo>
                  <a:lnTo>
                    <a:pt x="288" y="12"/>
                  </a:lnTo>
                  <a:lnTo>
                    <a:pt x="288" y="16"/>
                  </a:lnTo>
                  <a:lnTo>
                    <a:pt x="292" y="16"/>
                  </a:lnTo>
                  <a:lnTo>
                    <a:pt x="292" y="20"/>
                  </a:lnTo>
                  <a:lnTo>
                    <a:pt x="296" y="20"/>
                  </a:lnTo>
                  <a:lnTo>
                    <a:pt x="296" y="24"/>
                  </a:lnTo>
                  <a:lnTo>
                    <a:pt x="300" y="28"/>
                  </a:lnTo>
                  <a:lnTo>
                    <a:pt x="304" y="28"/>
                  </a:lnTo>
                  <a:lnTo>
                    <a:pt x="304" y="32"/>
                  </a:lnTo>
                  <a:lnTo>
                    <a:pt x="308" y="32"/>
                  </a:lnTo>
                  <a:lnTo>
                    <a:pt x="312" y="32"/>
                  </a:lnTo>
                  <a:lnTo>
                    <a:pt x="316" y="36"/>
                  </a:lnTo>
                  <a:lnTo>
                    <a:pt x="320" y="36"/>
                  </a:lnTo>
                  <a:lnTo>
                    <a:pt x="323" y="36"/>
                  </a:lnTo>
                  <a:lnTo>
                    <a:pt x="323" y="32"/>
                  </a:lnTo>
                  <a:lnTo>
                    <a:pt x="327" y="32"/>
                  </a:lnTo>
                  <a:lnTo>
                    <a:pt x="327" y="28"/>
                  </a:lnTo>
                  <a:lnTo>
                    <a:pt x="331" y="28"/>
                  </a:lnTo>
                  <a:lnTo>
                    <a:pt x="327" y="32"/>
                  </a:lnTo>
                  <a:lnTo>
                    <a:pt x="327" y="36"/>
                  </a:lnTo>
                  <a:lnTo>
                    <a:pt x="327" y="40"/>
                  </a:lnTo>
                  <a:lnTo>
                    <a:pt x="327" y="44"/>
                  </a:lnTo>
                  <a:lnTo>
                    <a:pt x="331" y="44"/>
                  </a:lnTo>
                  <a:lnTo>
                    <a:pt x="327" y="44"/>
                  </a:lnTo>
                  <a:lnTo>
                    <a:pt x="327" y="48"/>
                  </a:lnTo>
                  <a:lnTo>
                    <a:pt x="331" y="48"/>
                  </a:lnTo>
                  <a:lnTo>
                    <a:pt x="335" y="48"/>
                  </a:lnTo>
                  <a:lnTo>
                    <a:pt x="331" y="48"/>
                  </a:lnTo>
                  <a:lnTo>
                    <a:pt x="331" y="52"/>
                  </a:lnTo>
                  <a:lnTo>
                    <a:pt x="327" y="52"/>
                  </a:lnTo>
                  <a:lnTo>
                    <a:pt x="323" y="56"/>
                  </a:lnTo>
                  <a:lnTo>
                    <a:pt x="323" y="52"/>
                  </a:lnTo>
                  <a:lnTo>
                    <a:pt x="320" y="56"/>
                  </a:lnTo>
                  <a:lnTo>
                    <a:pt x="316" y="56"/>
                  </a:lnTo>
                  <a:lnTo>
                    <a:pt x="312" y="56"/>
                  </a:lnTo>
                  <a:lnTo>
                    <a:pt x="308" y="56"/>
                  </a:lnTo>
                  <a:lnTo>
                    <a:pt x="308" y="60"/>
                  </a:lnTo>
                  <a:close/>
                  <a:moveTo>
                    <a:pt x="264" y="4"/>
                  </a:moveTo>
                  <a:lnTo>
                    <a:pt x="264" y="8"/>
                  </a:lnTo>
                  <a:lnTo>
                    <a:pt x="264" y="4"/>
                  </a:lnTo>
                  <a:close/>
                  <a:moveTo>
                    <a:pt x="268" y="8"/>
                  </a:moveTo>
                  <a:lnTo>
                    <a:pt x="268" y="12"/>
                  </a:lnTo>
                  <a:lnTo>
                    <a:pt x="268" y="8"/>
                  </a:lnTo>
                  <a:close/>
                  <a:moveTo>
                    <a:pt x="240" y="71"/>
                  </a:moveTo>
                  <a:lnTo>
                    <a:pt x="244" y="71"/>
                  </a:lnTo>
                  <a:lnTo>
                    <a:pt x="240" y="71"/>
                  </a:lnTo>
                  <a:lnTo>
                    <a:pt x="240" y="75"/>
                  </a:lnTo>
                  <a:lnTo>
                    <a:pt x="240" y="71"/>
                  </a:lnTo>
                  <a:close/>
                  <a:moveTo>
                    <a:pt x="164" y="223"/>
                  </a:moveTo>
                  <a:lnTo>
                    <a:pt x="160" y="223"/>
                  </a:lnTo>
                  <a:lnTo>
                    <a:pt x="160" y="227"/>
                  </a:lnTo>
                  <a:lnTo>
                    <a:pt x="156" y="227"/>
                  </a:lnTo>
                  <a:lnTo>
                    <a:pt x="160" y="227"/>
                  </a:lnTo>
                  <a:lnTo>
                    <a:pt x="156" y="231"/>
                  </a:lnTo>
                  <a:lnTo>
                    <a:pt x="152" y="227"/>
                  </a:lnTo>
                  <a:lnTo>
                    <a:pt x="152" y="231"/>
                  </a:lnTo>
                  <a:lnTo>
                    <a:pt x="148" y="231"/>
                  </a:lnTo>
                  <a:lnTo>
                    <a:pt x="144" y="235"/>
                  </a:lnTo>
                  <a:lnTo>
                    <a:pt x="144" y="231"/>
                  </a:lnTo>
                  <a:lnTo>
                    <a:pt x="140" y="231"/>
                  </a:lnTo>
                  <a:lnTo>
                    <a:pt x="140" y="235"/>
                  </a:lnTo>
                  <a:lnTo>
                    <a:pt x="136" y="235"/>
                  </a:lnTo>
                  <a:lnTo>
                    <a:pt x="136" y="231"/>
                  </a:lnTo>
                  <a:lnTo>
                    <a:pt x="132" y="231"/>
                  </a:lnTo>
                  <a:lnTo>
                    <a:pt x="132" y="235"/>
                  </a:lnTo>
                  <a:lnTo>
                    <a:pt x="132" y="239"/>
                  </a:lnTo>
                  <a:lnTo>
                    <a:pt x="128" y="239"/>
                  </a:lnTo>
                  <a:lnTo>
                    <a:pt x="132" y="243"/>
                  </a:lnTo>
                  <a:lnTo>
                    <a:pt x="128" y="243"/>
                  </a:lnTo>
                  <a:lnTo>
                    <a:pt x="124" y="239"/>
                  </a:lnTo>
                  <a:lnTo>
                    <a:pt x="120" y="239"/>
                  </a:lnTo>
                  <a:lnTo>
                    <a:pt x="116" y="239"/>
                  </a:lnTo>
                  <a:lnTo>
                    <a:pt x="112" y="239"/>
                  </a:lnTo>
                  <a:lnTo>
                    <a:pt x="112" y="235"/>
                  </a:lnTo>
                  <a:lnTo>
                    <a:pt x="112" y="231"/>
                  </a:lnTo>
                  <a:lnTo>
                    <a:pt x="116" y="231"/>
                  </a:lnTo>
                  <a:lnTo>
                    <a:pt x="120" y="231"/>
                  </a:lnTo>
                  <a:lnTo>
                    <a:pt x="120" y="227"/>
                  </a:lnTo>
                  <a:lnTo>
                    <a:pt x="124" y="227"/>
                  </a:lnTo>
                  <a:lnTo>
                    <a:pt x="124" y="223"/>
                  </a:lnTo>
                  <a:lnTo>
                    <a:pt x="128" y="223"/>
                  </a:lnTo>
                  <a:lnTo>
                    <a:pt x="128" y="219"/>
                  </a:lnTo>
                  <a:lnTo>
                    <a:pt x="132" y="219"/>
                  </a:lnTo>
                  <a:lnTo>
                    <a:pt x="132" y="215"/>
                  </a:lnTo>
                  <a:lnTo>
                    <a:pt x="136" y="215"/>
                  </a:lnTo>
                  <a:lnTo>
                    <a:pt x="136" y="211"/>
                  </a:lnTo>
                  <a:lnTo>
                    <a:pt x="140" y="211"/>
                  </a:lnTo>
                  <a:lnTo>
                    <a:pt x="136" y="211"/>
                  </a:lnTo>
                  <a:lnTo>
                    <a:pt x="140" y="211"/>
                  </a:lnTo>
                  <a:lnTo>
                    <a:pt x="140" y="207"/>
                  </a:lnTo>
                  <a:lnTo>
                    <a:pt x="144" y="211"/>
                  </a:lnTo>
                  <a:lnTo>
                    <a:pt x="144" y="207"/>
                  </a:lnTo>
                  <a:lnTo>
                    <a:pt x="148" y="207"/>
                  </a:lnTo>
                  <a:lnTo>
                    <a:pt x="148" y="211"/>
                  </a:lnTo>
                  <a:lnTo>
                    <a:pt x="152" y="211"/>
                  </a:lnTo>
                  <a:lnTo>
                    <a:pt x="152" y="207"/>
                  </a:lnTo>
                  <a:lnTo>
                    <a:pt x="152" y="211"/>
                  </a:lnTo>
                  <a:lnTo>
                    <a:pt x="156" y="211"/>
                  </a:lnTo>
                  <a:lnTo>
                    <a:pt x="160" y="207"/>
                  </a:lnTo>
                  <a:lnTo>
                    <a:pt x="164" y="207"/>
                  </a:lnTo>
                  <a:lnTo>
                    <a:pt x="168" y="207"/>
                  </a:lnTo>
                  <a:lnTo>
                    <a:pt x="172" y="207"/>
                  </a:lnTo>
                  <a:lnTo>
                    <a:pt x="176" y="203"/>
                  </a:lnTo>
                  <a:lnTo>
                    <a:pt x="176" y="207"/>
                  </a:lnTo>
                  <a:lnTo>
                    <a:pt x="180" y="211"/>
                  </a:lnTo>
                  <a:lnTo>
                    <a:pt x="180" y="207"/>
                  </a:lnTo>
                  <a:lnTo>
                    <a:pt x="180" y="211"/>
                  </a:lnTo>
                  <a:lnTo>
                    <a:pt x="180" y="207"/>
                  </a:lnTo>
                  <a:lnTo>
                    <a:pt x="180" y="211"/>
                  </a:lnTo>
                  <a:lnTo>
                    <a:pt x="184" y="211"/>
                  </a:lnTo>
                  <a:lnTo>
                    <a:pt x="184" y="207"/>
                  </a:lnTo>
                  <a:lnTo>
                    <a:pt x="188" y="207"/>
                  </a:lnTo>
                  <a:lnTo>
                    <a:pt x="188" y="203"/>
                  </a:lnTo>
                  <a:lnTo>
                    <a:pt x="188" y="207"/>
                  </a:lnTo>
                  <a:lnTo>
                    <a:pt x="188" y="203"/>
                  </a:lnTo>
                  <a:lnTo>
                    <a:pt x="188" y="199"/>
                  </a:lnTo>
                  <a:lnTo>
                    <a:pt x="188" y="195"/>
                  </a:lnTo>
                  <a:lnTo>
                    <a:pt x="192" y="195"/>
                  </a:lnTo>
                  <a:lnTo>
                    <a:pt x="192" y="191"/>
                  </a:lnTo>
                  <a:lnTo>
                    <a:pt x="196" y="191"/>
                  </a:lnTo>
                  <a:lnTo>
                    <a:pt x="196" y="187"/>
                  </a:lnTo>
                  <a:lnTo>
                    <a:pt x="200" y="187"/>
                  </a:lnTo>
                  <a:lnTo>
                    <a:pt x="200" y="183"/>
                  </a:lnTo>
                  <a:lnTo>
                    <a:pt x="200" y="179"/>
                  </a:lnTo>
                  <a:lnTo>
                    <a:pt x="200" y="175"/>
                  </a:lnTo>
                  <a:lnTo>
                    <a:pt x="200" y="171"/>
                  </a:lnTo>
                  <a:lnTo>
                    <a:pt x="204" y="171"/>
                  </a:lnTo>
                  <a:lnTo>
                    <a:pt x="204" y="167"/>
                  </a:lnTo>
                  <a:lnTo>
                    <a:pt x="208" y="167"/>
                  </a:lnTo>
                  <a:lnTo>
                    <a:pt x="208" y="171"/>
                  </a:lnTo>
                  <a:lnTo>
                    <a:pt x="204" y="171"/>
                  </a:lnTo>
                  <a:lnTo>
                    <a:pt x="204" y="175"/>
                  </a:lnTo>
                  <a:lnTo>
                    <a:pt x="200" y="175"/>
                  </a:lnTo>
                  <a:lnTo>
                    <a:pt x="200" y="179"/>
                  </a:lnTo>
                  <a:lnTo>
                    <a:pt x="204" y="179"/>
                  </a:lnTo>
                  <a:lnTo>
                    <a:pt x="204" y="183"/>
                  </a:lnTo>
                  <a:lnTo>
                    <a:pt x="208" y="183"/>
                  </a:lnTo>
                  <a:lnTo>
                    <a:pt x="208" y="179"/>
                  </a:lnTo>
                  <a:lnTo>
                    <a:pt x="212" y="179"/>
                  </a:lnTo>
                  <a:lnTo>
                    <a:pt x="216" y="179"/>
                  </a:lnTo>
                  <a:lnTo>
                    <a:pt x="220" y="175"/>
                  </a:lnTo>
                  <a:lnTo>
                    <a:pt x="224" y="175"/>
                  </a:lnTo>
                  <a:lnTo>
                    <a:pt x="228" y="171"/>
                  </a:lnTo>
                  <a:lnTo>
                    <a:pt x="228" y="167"/>
                  </a:lnTo>
                  <a:lnTo>
                    <a:pt x="232" y="167"/>
                  </a:lnTo>
                  <a:lnTo>
                    <a:pt x="232" y="163"/>
                  </a:lnTo>
                  <a:lnTo>
                    <a:pt x="232" y="159"/>
                  </a:lnTo>
                  <a:lnTo>
                    <a:pt x="236" y="159"/>
                  </a:lnTo>
                  <a:lnTo>
                    <a:pt x="240" y="159"/>
                  </a:lnTo>
                  <a:lnTo>
                    <a:pt x="240" y="155"/>
                  </a:lnTo>
                  <a:lnTo>
                    <a:pt x="240" y="151"/>
                  </a:lnTo>
                  <a:lnTo>
                    <a:pt x="244" y="147"/>
                  </a:lnTo>
                  <a:lnTo>
                    <a:pt x="244" y="143"/>
                  </a:lnTo>
                  <a:lnTo>
                    <a:pt x="244" y="139"/>
                  </a:lnTo>
                  <a:lnTo>
                    <a:pt x="248" y="135"/>
                  </a:lnTo>
                  <a:lnTo>
                    <a:pt x="248" y="131"/>
                  </a:lnTo>
                  <a:lnTo>
                    <a:pt x="248" y="127"/>
                  </a:lnTo>
                  <a:lnTo>
                    <a:pt x="252" y="127"/>
                  </a:lnTo>
                  <a:lnTo>
                    <a:pt x="252" y="123"/>
                  </a:lnTo>
                  <a:lnTo>
                    <a:pt x="248" y="123"/>
                  </a:lnTo>
                  <a:lnTo>
                    <a:pt x="248" y="119"/>
                  </a:lnTo>
                  <a:lnTo>
                    <a:pt x="244" y="119"/>
                  </a:lnTo>
                  <a:lnTo>
                    <a:pt x="244" y="115"/>
                  </a:lnTo>
                  <a:lnTo>
                    <a:pt x="244" y="119"/>
                  </a:lnTo>
                  <a:lnTo>
                    <a:pt x="248" y="119"/>
                  </a:lnTo>
                  <a:lnTo>
                    <a:pt x="248" y="115"/>
                  </a:lnTo>
                  <a:lnTo>
                    <a:pt x="248" y="111"/>
                  </a:lnTo>
                  <a:lnTo>
                    <a:pt x="248" y="107"/>
                  </a:lnTo>
                  <a:lnTo>
                    <a:pt x="248" y="103"/>
                  </a:lnTo>
                  <a:lnTo>
                    <a:pt x="252" y="103"/>
                  </a:lnTo>
                  <a:lnTo>
                    <a:pt x="252" y="99"/>
                  </a:lnTo>
                  <a:lnTo>
                    <a:pt x="256" y="95"/>
                  </a:lnTo>
                  <a:lnTo>
                    <a:pt x="252" y="95"/>
                  </a:lnTo>
                  <a:lnTo>
                    <a:pt x="256" y="95"/>
                  </a:lnTo>
                  <a:lnTo>
                    <a:pt x="256" y="91"/>
                  </a:lnTo>
                  <a:lnTo>
                    <a:pt x="260" y="91"/>
                  </a:lnTo>
                  <a:lnTo>
                    <a:pt x="260" y="95"/>
                  </a:lnTo>
                  <a:lnTo>
                    <a:pt x="260" y="99"/>
                  </a:lnTo>
                  <a:lnTo>
                    <a:pt x="264" y="99"/>
                  </a:lnTo>
                  <a:lnTo>
                    <a:pt x="264" y="95"/>
                  </a:lnTo>
                  <a:lnTo>
                    <a:pt x="264" y="99"/>
                  </a:lnTo>
                  <a:lnTo>
                    <a:pt x="268" y="99"/>
                  </a:lnTo>
                  <a:lnTo>
                    <a:pt x="268" y="95"/>
                  </a:lnTo>
                  <a:lnTo>
                    <a:pt x="268" y="91"/>
                  </a:lnTo>
                  <a:lnTo>
                    <a:pt x="264" y="91"/>
                  </a:lnTo>
                  <a:lnTo>
                    <a:pt x="260" y="95"/>
                  </a:lnTo>
                  <a:lnTo>
                    <a:pt x="260" y="91"/>
                  </a:lnTo>
                  <a:lnTo>
                    <a:pt x="260" y="87"/>
                  </a:lnTo>
                  <a:lnTo>
                    <a:pt x="264" y="83"/>
                  </a:lnTo>
                  <a:lnTo>
                    <a:pt x="264" y="87"/>
                  </a:lnTo>
                  <a:lnTo>
                    <a:pt x="268" y="87"/>
                  </a:lnTo>
                  <a:lnTo>
                    <a:pt x="272" y="87"/>
                  </a:lnTo>
                  <a:lnTo>
                    <a:pt x="272" y="91"/>
                  </a:lnTo>
                  <a:lnTo>
                    <a:pt x="272" y="99"/>
                  </a:lnTo>
                  <a:lnTo>
                    <a:pt x="272" y="103"/>
                  </a:lnTo>
                  <a:lnTo>
                    <a:pt x="272" y="107"/>
                  </a:lnTo>
                  <a:lnTo>
                    <a:pt x="276" y="107"/>
                  </a:lnTo>
                  <a:lnTo>
                    <a:pt x="276" y="111"/>
                  </a:lnTo>
                  <a:lnTo>
                    <a:pt x="276" y="115"/>
                  </a:lnTo>
                  <a:lnTo>
                    <a:pt x="280" y="115"/>
                  </a:lnTo>
                  <a:lnTo>
                    <a:pt x="280" y="119"/>
                  </a:lnTo>
                  <a:lnTo>
                    <a:pt x="280" y="123"/>
                  </a:lnTo>
                  <a:lnTo>
                    <a:pt x="280" y="127"/>
                  </a:lnTo>
                  <a:lnTo>
                    <a:pt x="280" y="131"/>
                  </a:lnTo>
                  <a:lnTo>
                    <a:pt x="276" y="131"/>
                  </a:lnTo>
                  <a:lnTo>
                    <a:pt x="276" y="135"/>
                  </a:lnTo>
                  <a:lnTo>
                    <a:pt x="276" y="139"/>
                  </a:lnTo>
                  <a:lnTo>
                    <a:pt x="272" y="139"/>
                  </a:lnTo>
                  <a:lnTo>
                    <a:pt x="276" y="139"/>
                  </a:lnTo>
                  <a:lnTo>
                    <a:pt x="272" y="139"/>
                  </a:lnTo>
                  <a:lnTo>
                    <a:pt x="272" y="143"/>
                  </a:lnTo>
                  <a:lnTo>
                    <a:pt x="272" y="147"/>
                  </a:lnTo>
                  <a:lnTo>
                    <a:pt x="272" y="151"/>
                  </a:lnTo>
                  <a:lnTo>
                    <a:pt x="268" y="151"/>
                  </a:lnTo>
                  <a:lnTo>
                    <a:pt x="264" y="151"/>
                  </a:lnTo>
                  <a:lnTo>
                    <a:pt x="264" y="155"/>
                  </a:lnTo>
                  <a:lnTo>
                    <a:pt x="264" y="159"/>
                  </a:lnTo>
                  <a:lnTo>
                    <a:pt x="264" y="163"/>
                  </a:lnTo>
                  <a:lnTo>
                    <a:pt x="264" y="167"/>
                  </a:lnTo>
                  <a:lnTo>
                    <a:pt x="264" y="171"/>
                  </a:lnTo>
                  <a:lnTo>
                    <a:pt x="264" y="175"/>
                  </a:lnTo>
                  <a:lnTo>
                    <a:pt x="264" y="179"/>
                  </a:lnTo>
                  <a:lnTo>
                    <a:pt x="260" y="179"/>
                  </a:lnTo>
                  <a:lnTo>
                    <a:pt x="260" y="183"/>
                  </a:lnTo>
                  <a:lnTo>
                    <a:pt x="260" y="187"/>
                  </a:lnTo>
                  <a:lnTo>
                    <a:pt x="260" y="191"/>
                  </a:lnTo>
                  <a:lnTo>
                    <a:pt x="256" y="195"/>
                  </a:lnTo>
                  <a:lnTo>
                    <a:pt x="260" y="195"/>
                  </a:lnTo>
                  <a:lnTo>
                    <a:pt x="260" y="199"/>
                  </a:lnTo>
                  <a:lnTo>
                    <a:pt x="260" y="203"/>
                  </a:lnTo>
                  <a:lnTo>
                    <a:pt x="260" y="207"/>
                  </a:lnTo>
                  <a:lnTo>
                    <a:pt x="256" y="207"/>
                  </a:lnTo>
                  <a:lnTo>
                    <a:pt x="256" y="211"/>
                  </a:lnTo>
                  <a:lnTo>
                    <a:pt x="256" y="215"/>
                  </a:lnTo>
                  <a:lnTo>
                    <a:pt x="252" y="215"/>
                  </a:lnTo>
                  <a:lnTo>
                    <a:pt x="252" y="219"/>
                  </a:lnTo>
                  <a:lnTo>
                    <a:pt x="248" y="219"/>
                  </a:lnTo>
                  <a:lnTo>
                    <a:pt x="248" y="223"/>
                  </a:lnTo>
                  <a:lnTo>
                    <a:pt x="244" y="219"/>
                  </a:lnTo>
                  <a:lnTo>
                    <a:pt x="248" y="219"/>
                  </a:lnTo>
                  <a:lnTo>
                    <a:pt x="248" y="215"/>
                  </a:lnTo>
                  <a:lnTo>
                    <a:pt x="248" y="211"/>
                  </a:lnTo>
                  <a:lnTo>
                    <a:pt x="252" y="207"/>
                  </a:lnTo>
                  <a:lnTo>
                    <a:pt x="248" y="207"/>
                  </a:lnTo>
                  <a:lnTo>
                    <a:pt x="244" y="207"/>
                  </a:lnTo>
                  <a:lnTo>
                    <a:pt x="244" y="211"/>
                  </a:lnTo>
                  <a:lnTo>
                    <a:pt x="244" y="215"/>
                  </a:lnTo>
                  <a:lnTo>
                    <a:pt x="240" y="211"/>
                  </a:lnTo>
                  <a:lnTo>
                    <a:pt x="240" y="215"/>
                  </a:lnTo>
                  <a:lnTo>
                    <a:pt x="236" y="215"/>
                  </a:lnTo>
                  <a:lnTo>
                    <a:pt x="236" y="219"/>
                  </a:lnTo>
                  <a:lnTo>
                    <a:pt x="236" y="223"/>
                  </a:lnTo>
                  <a:lnTo>
                    <a:pt x="232" y="227"/>
                  </a:lnTo>
                  <a:lnTo>
                    <a:pt x="232" y="223"/>
                  </a:lnTo>
                  <a:lnTo>
                    <a:pt x="232" y="219"/>
                  </a:lnTo>
                  <a:lnTo>
                    <a:pt x="232" y="215"/>
                  </a:lnTo>
                  <a:lnTo>
                    <a:pt x="228" y="215"/>
                  </a:lnTo>
                  <a:lnTo>
                    <a:pt x="228" y="219"/>
                  </a:lnTo>
                  <a:lnTo>
                    <a:pt x="224" y="223"/>
                  </a:lnTo>
                  <a:lnTo>
                    <a:pt x="220" y="227"/>
                  </a:lnTo>
                  <a:lnTo>
                    <a:pt x="224" y="227"/>
                  </a:lnTo>
                  <a:lnTo>
                    <a:pt x="220" y="227"/>
                  </a:lnTo>
                  <a:lnTo>
                    <a:pt x="216" y="227"/>
                  </a:lnTo>
                  <a:lnTo>
                    <a:pt x="212" y="227"/>
                  </a:lnTo>
                  <a:lnTo>
                    <a:pt x="208" y="227"/>
                  </a:lnTo>
                  <a:lnTo>
                    <a:pt x="204" y="227"/>
                  </a:lnTo>
                  <a:lnTo>
                    <a:pt x="208" y="227"/>
                  </a:lnTo>
                  <a:lnTo>
                    <a:pt x="208" y="223"/>
                  </a:lnTo>
                  <a:lnTo>
                    <a:pt x="204" y="223"/>
                  </a:lnTo>
                  <a:lnTo>
                    <a:pt x="204" y="219"/>
                  </a:lnTo>
                  <a:lnTo>
                    <a:pt x="204" y="223"/>
                  </a:lnTo>
                  <a:lnTo>
                    <a:pt x="204" y="227"/>
                  </a:lnTo>
                  <a:lnTo>
                    <a:pt x="200" y="223"/>
                  </a:lnTo>
                  <a:lnTo>
                    <a:pt x="200" y="219"/>
                  </a:lnTo>
                  <a:lnTo>
                    <a:pt x="204" y="219"/>
                  </a:lnTo>
                  <a:lnTo>
                    <a:pt x="200" y="219"/>
                  </a:lnTo>
                  <a:lnTo>
                    <a:pt x="200" y="223"/>
                  </a:lnTo>
                  <a:lnTo>
                    <a:pt x="196" y="223"/>
                  </a:lnTo>
                  <a:lnTo>
                    <a:pt x="196" y="227"/>
                  </a:lnTo>
                  <a:lnTo>
                    <a:pt x="200" y="227"/>
                  </a:lnTo>
                  <a:lnTo>
                    <a:pt x="200" y="231"/>
                  </a:lnTo>
                  <a:lnTo>
                    <a:pt x="204" y="231"/>
                  </a:lnTo>
                  <a:lnTo>
                    <a:pt x="204" y="235"/>
                  </a:lnTo>
                  <a:lnTo>
                    <a:pt x="200" y="235"/>
                  </a:lnTo>
                  <a:lnTo>
                    <a:pt x="196" y="235"/>
                  </a:lnTo>
                  <a:lnTo>
                    <a:pt x="192" y="235"/>
                  </a:lnTo>
                  <a:lnTo>
                    <a:pt x="192" y="239"/>
                  </a:lnTo>
                  <a:lnTo>
                    <a:pt x="192" y="243"/>
                  </a:lnTo>
                  <a:lnTo>
                    <a:pt x="188" y="243"/>
                  </a:lnTo>
                  <a:lnTo>
                    <a:pt x="188" y="247"/>
                  </a:lnTo>
                  <a:lnTo>
                    <a:pt x="184" y="251"/>
                  </a:lnTo>
                  <a:lnTo>
                    <a:pt x="180" y="247"/>
                  </a:lnTo>
                  <a:lnTo>
                    <a:pt x="180" y="243"/>
                  </a:lnTo>
                  <a:lnTo>
                    <a:pt x="176" y="243"/>
                  </a:lnTo>
                  <a:lnTo>
                    <a:pt x="176" y="239"/>
                  </a:lnTo>
                  <a:lnTo>
                    <a:pt x="176" y="235"/>
                  </a:lnTo>
                  <a:lnTo>
                    <a:pt x="176" y="231"/>
                  </a:lnTo>
                  <a:lnTo>
                    <a:pt x="180" y="231"/>
                  </a:lnTo>
                  <a:lnTo>
                    <a:pt x="180" y="227"/>
                  </a:lnTo>
                  <a:lnTo>
                    <a:pt x="180" y="223"/>
                  </a:lnTo>
                  <a:lnTo>
                    <a:pt x="176" y="227"/>
                  </a:lnTo>
                  <a:lnTo>
                    <a:pt x="172" y="227"/>
                  </a:lnTo>
                  <a:lnTo>
                    <a:pt x="168" y="223"/>
                  </a:lnTo>
                  <a:lnTo>
                    <a:pt x="164" y="223"/>
                  </a:lnTo>
                  <a:lnTo>
                    <a:pt x="164" y="227"/>
                  </a:lnTo>
                  <a:lnTo>
                    <a:pt x="164" y="223"/>
                  </a:lnTo>
                  <a:close/>
                  <a:moveTo>
                    <a:pt x="228" y="151"/>
                  </a:moveTo>
                  <a:lnTo>
                    <a:pt x="228" y="155"/>
                  </a:lnTo>
                  <a:lnTo>
                    <a:pt x="224" y="155"/>
                  </a:lnTo>
                  <a:lnTo>
                    <a:pt x="224" y="159"/>
                  </a:lnTo>
                  <a:lnTo>
                    <a:pt x="228" y="155"/>
                  </a:lnTo>
                  <a:lnTo>
                    <a:pt x="228" y="159"/>
                  </a:lnTo>
                  <a:lnTo>
                    <a:pt x="224" y="163"/>
                  </a:lnTo>
                  <a:lnTo>
                    <a:pt x="220" y="163"/>
                  </a:lnTo>
                  <a:lnTo>
                    <a:pt x="224" y="163"/>
                  </a:lnTo>
                  <a:lnTo>
                    <a:pt x="224" y="159"/>
                  </a:lnTo>
                  <a:lnTo>
                    <a:pt x="224" y="155"/>
                  </a:lnTo>
                  <a:lnTo>
                    <a:pt x="224" y="151"/>
                  </a:lnTo>
                  <a:lnTo>
                    <a:pt x="228" y="151"/>
                  </a:lnTo>
                  <a:close/>
                  <a:moveTo>
                    <a:pt x="148" y="191"/>
                  </a:moveTo>
                  <a:lnTo>
                    <a:pt x="148" y="195"/>
                  </a:lnTo>
                  <a:lnTo>
                    <a:pt x="144" y="195"/>
                  </a:lnTo>
                  <a:lnTo>
                    <a:pt x="148" y="191"/>
                  </a:lnTo>
                  <a:close/>
                  <a:moveTo>
                    <a:pt x="88" y="227"/>
                  </a:moveTo>
                  <a:lnTo>
                    <a:pt x="88" y="231"/>
                  </a:lnTo>
                  <a:lnTo>
                    <a:pt x="88" y="235"/>
                  </a:lnTo>
                  <a:lnTo>
                    <a:pt x="88" y="231"/>
                  </a:lnTo>
                  <a:lnTo>
                    <a:pt x="84" y="231"/>
                  </a:lnTo>
                  <a:lnTo>
                    <a:pt x="88" y="227"/>
                  </a:lnTo>
                  <a:close/>
                  <a:moveTo>
                    <a:pt x="168" y="235"/>
                  </a:moveTo>
                  <a:lnTo>
                    <a:pt x="168" y="231"/>
                  </a:lnTo>
                  <a:lnTo>
                    <a:pt x="172" y="231"/>
                  </a:lnTo>
                  <a:lnTo>
                    <a:pt x="172" y="227"/>
                  </a:lnTo>
                  <a:lnTo>
                    <a:pt x="172" y="231"/>
                  </a:lnTo>
                  <a:lnTo>
                    <a:pt x="172" y="235"/>
                  </a:lnTo>
                  <a:lnTo>
                    <a:pt x="168" y="235"/>
                  </a:lnTo>
                  <a:close/>
                  <a:moveTo>
                    <a:pt x="164" y="227"/>
                  </a:moveTo>
                  <a:lnTo>
                    <a:pt x="164" y="231"/>
                  </a:lnTo>
                  <a:lnTo>
                    <a:pt x="160" y="231"/>
                  </a:lnTo>
                  <a:lnTo>
                    <a:pt x="160" y="227"/>
                  </a:lnTo>
                  <a:lnTo>
                    <a:pt x="164" y="227"/>
                  </a:lnTo>
                  <a:close/>
                  <a:moveTo>
                    <a:pt x="164" y="247"/>
                  </a:moveTo>
                  <a:lnTo>
                    <a:pt x="164" y="251"/>
                  </a:lnTo>
                  <a:lnTo>
                    <a:pt x="160" y="251"/>
                  </a:lnTo>
                  <a:lnTo>
                    <a:pt x="160" y="255"/>
                  </a:lnTo>
                  <a:lnTo>
                    <a:pt x="160" y="251"/>
                  </a:lnTo>
                  <a:lnTo>
                    <a:pt x="156" y="251"/>
                  </a:lnTo>
                  <a:lnTo>
                    <a:pt x="156" y="247"/>
                  </a:lnTo>
                  <a:lnTo>
                    <a:pt x="152" y="247"/>
                  </a:lnTo>
                  <a:lnTo>
                    <a:pt x="152" y="251"/>
                  </a:lnTo>
                  <a:lnTo>
                    <a:pt x="148" y="251"/>
                  </a:lnTo>
                  <a:lnTo>
                    <a:pt x="148" y="255"/>
                  </a:lnTo>
                  <a:lnTo>
                    <a:pt x="144" y="259"/>
                  </a:lnTo>
                  <a:lnTo>
                    <a:pt x="144" y="263"/>
                  </a:lnTo>
                  <a:lnTo>
                    <a:pt x="140" y="263"/>
                  </a:lnTo>
                  <a:lnTo>
                    <a:pt x="136" y="263"/>
                  </a:lnTo>
                  <a:lnTo>
                    <a:pt x="140" y="263"/>
                  </a:lnTo>
                  <a:lnTo>
                    <a:pt x="140" y="259"/>
                  </a:lnTo>
                  <a:lnTo>
                    <a:pt x="136" y="259"/>
                  </a:lnTo>
                  <a:lnTo>
                    <a:pt x="136" y="263"/>
                  </a:lnTo>
                  <a:lnTo>
                    <a:pt x="136" y="259"/>
                  </a:lnTo>
                  <a:lnTo>
                    <a:pt x="136" y="255"/>
                  </a:lnTo>
                  <a:lnTo>
                    <a:pt x="132" y="255"/>
                  </a:lnTo>
                  <a:lnTo>
                    <a:pt x="132" y="251"/>
                  </a:lnTo>
                  <a:lnTo>
                    <a:pt x="128" y="251"/>
                  </a:lnTo>
                  <a:lnTo>
                    <a:pt x="132" y="251"/>
                  </a:lnTo>
                  <a:lnTo>
                    <a:pt x="136" y="247"/>
                  </a:lnTo>
                  <a:lnTo>
                    <a:pt x="136" y="243"/>
                  </a:lnTo>
                  <a:lnTo>
                    <a:pt x="140" y="243"/>
                  </a:lnTo>
                  <a:lnTo>
                    <a:pt x="140" y="239"/>
                  </a:lnTo>
                  <a:lnTo>
                    <a:pt x="140" y="235"/>
                  </a:lnTo>
                  <a:lnTo>
                    <a:pt x="144" y="235"/>
                  </a:lnTo>
                  <a:lnTo>
                    <a:pt x="144" y="239"/>
                  </a:lnTo>
                  <a:lnTo>
                    <a:pt x="148" y="239"/>
                  </a:lnTo>
                  <a:lnTo>
                    <a:pt x="152" y="239"/>
                  </a:lnTo>
                  <a:lnTo>
                    <a:pt x="152" y="235"/>
                  </a:lnTo>
                  <a:lnTo>
                    <a:pt x="156" y="235"/>
                  </a:lnTo>
                  <a:lnTo>
                    <a:pt x="156" y="231"/>
                  </a:lnTo>
                  <a:lnTo>
                    <a:pt x="160" y="231"/>
                  </a:lnTo>
                  <a:lnTo>
                    <a:pt x="164" y="235"/>
                  </a:lnTo>
                  <a:lnTo>
                    <a:pt x="168" y="235"/>
                  </a:lnTo>
                  <a:lnTo>
                    <a:pt x="168" y="239"/>
                  </a:lnTo>
                  <a:lnTo>
                    <a:pt x="168" y="243"/>
                  </a:lnTo>
                  <a:lnTo>
                    <a:pt x="164" y="247"/>
                  </a:lnTo>
                  <a:close/>
                  <a:moveTo>
                    <a:pt x="88" y="235"/>
                  </a:moveTo>
                  <a:lnTo>
                    <a:pt x="84" y="239"/>
                  </a:lnTo>
                  <a:lnTo>
                    <a:pt x="84" y="235"/>
                  </a:lnTo>
                  <a:lnTo>
                    <a:pt x="84" y="231"/>
                  </a:lnTo>
                  <a:lnTo>
                    <a:pt x="88" y="231"/>
                  </a:lnTo>
                  <a:lnTo>
                    <a:pt x="88" y="235"/>
                  </a:lnTo>
                  <a:close/>
                  <a:moveTo>
                    <a:pt x="136" y="235"/>
                  </a:moveTo>
                  <a:lnTo>
                    <a:pt x="132" y="235"/>
                  </a:lnTo>
                  <a:lnTo>
                    <a:pt x="136" y="235"/>
                  </a:lnTo>
                  <a:close/>
                  <a:moveTo>
                    <a:pt x="92" y="267"/>
                  </a:moveTo>
                  <a:lnTo>
                    <a:pt x="96" y="267"/>
                  </a:lnTo>
                  <a:lnTo>
                    <a:pt x="96" y="263"/>
                  </a:lnTo>
                  <a:lnTo>
                    <a:pt x="92" y="263"/>
                  </a:lnTo>
                  <a:lnTo>
                    <a:pt x="92" y="259"/>
                  </a:lnTo>
                  <a:lnTo>
                    <a:pt x="96" y="259"/>
                  </a:lnTo>
                  <a:lnTo>
                    <a:pt x="96" y="263"/>
                  </a:lnTo>
                  <a:lnTo>
                    <a:pt x="96" y="259"/>
                  </a:lnTo>
                  <a:lnTo>
                    <a:pt x="92" y="255"/>
                  </a:lnTo>
                  <a:lnTo>
                    <a:pt x="92" y="251"/>
                  </a:lnTo>
                  <a:lnTo>
                    <a:pt x="96" y="255"/>
                  </a:lnTo>
                  <a:lnTo>
                    <a:pt x="96" y="251"/>
                  </a:lnTo>
                  <a:lnTo>
                    <a:pt x="96" y="247"/>
                  </a:lnTo>
                  <a:lnTo>
                    <a:pt x="96" y="251"/>
                  </a:lnTo>
                  <a:lnTo>
                    <a:pt x="100" y="251"/>
                  </a:lnTo>
                  <a:lnTo>
                    <a:pt x="100" y="247"/>
                  </a:lnTo>
                  <a:lnTo>
                    <a:pt x="104" y="247"/>
                  </a:lnTo>
                  <a:lnTo>
                    <a:pt x="104" y="243"/>
                  </a:lnTo>
                  <a:lnTo>
                    <a:pt x="108" y="239"/>
                  </a:lnTo>
                  <a:lnTo>
                    <a:pt x="112" y="239"/>
                  </a:lnTo>
                  <a:lnTo>
                    <a:pt x="112" y="243"/>
                  </a:lnTo>
                  <a:lnTo>
                    <a:pt x="112" y="247"/>
                  </a:lnTo>
                  <a:lnTo>
                    <a:pt x="116" y="247"/>
                  </a:lnTo>
                  <a:lnTo>
                    <a:pt x="120" y="247"/>
                  </a:lnTo>
                  <a:lnTo>
                    <a:pt x="124" y="247"/>
                  </a:lnTo>
                  <a:lnTo>
                    <a:pt x="124" y="251"/>
                  </a:lnTo>
                  <a:lnTo>
                    <a:pt x="120" y="251"/>
                  </a:lnTo>
                  <a:lnTo>
                    <a:pt x="120" y="255"/>
                  </a:lnTo>
                  <a:lnTo>
                    <a:pt x="124" y="255"/>
                  </a:lnTo>
                  <a:lnTo>
                    <a:pt x="128" y="255"/>
                  </a:lnTo>
                  <a:lnTo>
                    <a:pt x="124" y="255"/>
                  </a:lnTo>
                  <a:lnTo>
                    <a:pt x="128" y="259"/>
                  </a:lnTo>
                  <a:lnTo>
                    <a:pt x="128" y="263"/>
                  </a:lnTo>
                  <a:lnTo>
                    <a:pt x="124" y="263"/>
                  </a:lnTo>
                  <a:lnTo>
                    <a:pt x="124" y="267"/>
                  </a:lnTo>
                  <a:lnTo>
                    <a:pt x="124" y="271"/>
                  </a:lnTo>
                  <a:lnTo>
                    <a:pt x="120" y="271"/>
                  </a:lnTo>
                  <a:lnTo>
                    <a:pt x="120" y="275"/>
                  </a:lnTo>
                  <a:lnTo>
                    <a:pt x="120" y="279"/>
                  </a:lnTo>
                  <a:lnTo>
                    <a:pt x="120" y="283"/>
                  </a:lnTo>
                  <a:lnTo>
                    <a:pt x="120" y="287"/>
                  </a:lnTo>
                  <a:lnTo>
                    <a:pt x="120" y="291"/>
                  </a:lnTo>
                  <a:lnTo>
                    <a:pt x="116" y="291"/>
                  </a:lnTo>
                  <a:lnTo>
                    <a:pt x="112" y="291"/>
                  </a:lnTo>
                  <a:lnTo>
                    <a:pt x="116" y="291"/>
                  </a:lnTo>
                  <a:lnTo>
                    <a:pt x="116" y="295"/>
                  </a:lnTo>
                  <a:lnTo>
                    <a:pt x="112" y="295"/>
                  </a:lnTo>
                  <a:lnTo>
                    <a:pt x="108" y="299"/>
                  </a:lnTo>
                  <a:lnTo>
                    <a:pt x="108" y="295"/>
                  </a:lnTo>
                  <a:lnTo>
                    <a:pt x="108" y="291"/>
                  </a:lnTo>
                  <a:lnTo>
                    <a:pt x="108" y="287"/>
                  </a:lnTo>
                  <a:lnTo>
                    <a:pt x="108" y="283"/>
                  </a:lnTo>
                  <a:lnTo>
                    <a:pt x="108" y="287"/>
                  </a:lnTo>
                  <a:lnTo>
                    <a:pt x="104" y="287"/>
                  </a:lnTo>
                  <a:lnTo>
                    <a:pt x="104" y="291"/>
                  </a:lnTo>
                  <a:lnTo>
                    <a:pt x="108" y="291"/>
                  </a:lnTo>
                  <a:lnTo>
                    <a:pt x="108" y="295"/>
                  </a:lnTo>
                  <a:lnTo>
                    <a:pt x="104" y="295"/>
                  </a:lnTo>
                  <a:lnTo>
                    <a:pt x="100" y="295"/>
                  </a:lnTo>
                  <a:lnTo>
                    <a:pt x="100" y="291"/>
                  </a:lnTo>
                  <a:lnTo>
                    <a:pt x="104" y="287"/>
                  </a:lnTo>
                  <a:lnTo>
                    <a:pt x="100" y="283"/>
                  </a:lnTo>
                  <a:lnTo>
                    <a:pt x="100" y="279"/>
                  </a:lnTo>
                  <a:lnTo>
                    <a:pt x="100" y="275"/>
                  </a:lnTo>
                  <a:lnTo>
                    <a:pt x="100" y="279"/>
                  </a:lnTo>
                  <a:lnTo>
                    <a:pt x="104" y="275"/>
                  </a:lnTo>
                  <a:lnTo>
                    <a:pt x="104" y="271"/>
                  </a:lnTo>
                  <a:lnTo>
                    <a:pt x="108" y="267"/>
                  </a:lnTo>
                  <a:lnTo>
                    <a:pt x="104" y="267"/>
                  </a:lnTo>
                  <a:lnTo>
                    <a:pt x="108" y="263"/>
                  </a:lnTo>
                  <a:lnTo>
                    <a:pt x="104" y="263"/>
                  </a:lnTo>
                  <a:lnTo>
                    <a:pt x="104" y="259"/>
                  </a:lnTo>
                  <a:lnTo>
                    <a:pt x="104" y="255"/>
                  </a:lnTo>
                  <a:lnTo>
                    <a:pt x="100" y="255"/>
                  </a:lnTo>
                  <a:lnTo>
                    <a:pt x="100" y="259"/>
                  </a:lnTo>
                  <a:lnTo>
                    <a:pt x="100" y="263"/>
                  </a:lnTo>
                  <a:lnTo>
                    <a:pt x="104" y="263"/>
                  </a:lnTo>
                  <a:lnTo>
                    <a:pt x="104" y="267"/>
                  </a:lnTo>
                  <a:lnTo>
                    <a:pt x="100" y="267"/>
                  </a:lnTo>
                  <a:lnTo>
                    <a:pt x="100" y="263"/>
                  </a:lnTo>
                  <a:lnTo>
                    <a:pt x="96" y="263"/>
                  </a:lnTo>
                  <a:lnTo>
                    <a:pt x="96" y="267"/>
                  </a:lnTo>
                  <a:lnTo>
                    <a:pt x="92" y="267"/>
                  </a:lnTo>
                  <a:close/>
                  <a:moveTo>
                    <a:pt x="92" y="247"/>
                  </a:moveTo>
                  <a:lnTo>
                    <a:pt x="92" y="243"/>
                  </a:lnTo>
                  <a:lnTo>
                    <a:pt x="96" y="243"/>
                  </a:lnTo>
                  <a:lnTo>
                    <a:pt x="92" y="243"/>
                  </a:lnTo>
                  <a:lnTo>
                    <a:pt x="92" y="247"/>
                  </a:lnTo>
                  <a:close/>
                  <a:moveTo>
                    <a:pt x="92" y="251"/>
                  </a:moveTo>
                  <a:lnTo>
                    <a:pt x="92" y="255"/>
                  </a:lnTo>
                  <a:lnTo>
                    <a:pt x="88" y="255"/>
                  </a:lnTo>
                  <a:lnTo>
                    <a:pt x="88" y="251"/>
                  </a:lnTo>
                  <a:lnTo>
                    <a:pt x="92" y="251"/>
                  </a:lnTo>
                  <a:close/>
                  <a:moveTo>
                    <a:pt x="84" y="259"/>
                  </a:moveTo>
                  <a:lnTo>
                    <a:pt x="84" y="263"/>
                  </a:lnTo>
                  <a:lnTo>
                    <a:pt x="84" y="259"/>
                  </a:lnTo>
                  <a:lnTo>
                    <a:pt x="84" y="255"/>
                  </a:lnTo>
                  <a:lnTo>
                    <a:pt x="84" y="259"/>
                  </a:lnTo>
                  <a:close/>
                  <a:moveTo>
                    <a:pt x="76" y="267"/>
                  </a:moveTo>
                  <a:lnTo>
                    <a:pt x="76" y="263"/>
                  </a:lnTo>
                  <a:lnTo>
                    <a:pt x="80" y="263"/>
                  </a:lnTo>
                  <a:lnTo>
                    <a:pt x="80" y="267"/>
                  </a:lnTo>
                  <a:lnTo>
                    <a:pt x="76" y="267"/>
                  </a:lnTo>
                  <a:close/>
                  <a:moveTo>
                    <a:pt x="96" y="275"/>
                  </a:moveTo>
                  <a:lnTo>
                    <a:pt x="96" y="271"/>
                  </a:lnTo>
                  <a:lnTo>
                    <a:pt x="100" y="267"/>
                  </a:lnTo>
                  <a:lnTo>
                    <a:pt x="100" y="271"/>
                  </a:lnTo>
                  <a:lnTo>
                    <a:pt x="100" y="275"/>
                  </a:lnTo>
                  <a:lnTo>
                    <a:pt x="96" y="275"/>
                  </a:lnTo>
                  <a:close/>
                  <a:moveTo>
                    <a:pt x="112" y="303"/>
                  </a:moveTo>
                  <a:lnTo>
                    <a:pt x="112" y="307"/>
                  </a:lnTo>
                  <a:lnTo>
                    <a:pt x="112" y="311"/>
                  </a:lnTo>
                  <a:lnTo>
                    <a:pt x="112" y="307"/>
                  </a:lnTo>
                  <a:lnTo>
                    <a:pt x="112" y="303"/>
                  </a:lnTo>
                  <a:close/>
                  <a:moveTo>
                    <a:pt x="104" y="311"/>
                  </a:moveTo>
                  <a:lnTo>
                    <a:pt x="108" y="311"/>
                  </a:lnTo>
                  <a:lnTo>
                    <a:pt x="108" y="315"/>
                  </a:lnTo>
                  <a:lnTo>
                    <a:pt x="104" y="315"/>
                  </a:lnTo>
                  <a:lnTo>
                    <a:pt x="104" y="311"/>
                  </a:lnTo>
                  <a:close/>
                  <a:moveTo>
                    <a:pt x="92" y="347"/>
                  </a:moveTo>
                  <a:lnTo>
                    <a:pt x="92" y="351"/>
                  </a:lnTo>
                  <a:lnTo>
                    <a:pt x="88" y="351"/>
                  </a:lnTo>
                  <a:lnTo>
                    <a:pt x="88" y="355"/>
                  </a:lnTo>
                  <a:lnTo>
                    <a:pt x="84" y="351"/>
                  </a:lnTo>
                  <a:lnTo>
                    <a:pt x="88" y="351"/>
                  </a:lnTo>
                  <a:lnTo>
                    <a:pt x="92" y="347"/>
                  </a:lnTo>
                  <a:close/>
                  <a:moveTo>
                    <a:pt x="80" y="359"/>
                  </a:moveTo>
                  <a:lnTo>
                    <a:pt x="84" y="363"/>
                  </a:lnTo>
                  <a:lnTo>
                    <a:pt x="80" y="363"/>
                  </a:lnTo>
                  <a:lnTo>
                    <a:pt x="80" y="359"/>
                  </a:lnTo>
                  <a:close/>
                  <a:moveTo>
                    <a:pt x="72" y="379"/>
                  </a:moveTo>
                  <a:lnTo>
                    <a:pt x="72" y="383"/>
                  </a:lnTo>
                  <a:lnTo>
                    <a:pt x="68" y="387"/>
                  </a:lnTo>
                  <a:lnTo>
                    <a:pt x="64" y="387"/>
                  </a:lnTo>
                  <a:lnTo>
                    <a:pt x="64" y="391"/>
                  </a:lnTo>
                  <a:lnTo>
                    <a:pt x="64" y="395"/>
                  </a:lnTo>
                  <a:lnTo>
                    <a:pt x="60" y="395"/>
                  </a:lnTo>
                  <a:lnTo>
                    <a:pt x="60" y="391"/>
                  </a:lnTo>
                  <a:lnTo>
                    <a:pt x="64" y="391"/>
                  </a:lnTo>
                  <a:lnTo>
                    <a:pt x="64" y="387"/>
                  </a:lnTo>
                  <a:lnTo>
                    <a:pt x="68" y="387"/>
                  </a:lnTo>
                  <a:lnTo>
                    <a:pt x="68" y="383"/>
                  </a:lnTo>
                  <a:lnTo>
                    <a:pt x="64" y="383"/>
                  </a:lnTo>
                  <a:lnTo>
                    <a:pt x="68" y="383"/>
                  </a:lnTo>
                  <a:lnTo>
                    <a:pt x="72" y="379"/>
                  </a:lnTo>
                  <a:close/>
                  <a:moveTo>
                    <a:pt x="24" y="419"/>
                  </a:moveTo>
                  <a:lnTo>
                    <a:pt x="28" y="419"/>
                  </a:lnTo>
                  <a:lnTo>
                    <a:pt x="24" y="419"/>
                  </a:lnTo>
                  <a:close/>
                  <a:moveTo>
                    <a:pt x="8" y="427"/>
                  </a:moveTo>
                  <a:lnTo>
                    <a:pt x="12" y="427"/>
                  </a:lnTo>
                  <a:lnTo>
                    <a:pt x="12" y="423"/>
                  </a:lnTo>
                  <a:lnTo>
                    <a:pt x="12" y="427"/>
                  </a:lnTo>
                  <a:lnTo>
                    <a:pt x="8" y="427"/>
                  </a:lnTo>
                  <a:close/>
                  <a:moveTo>
                    <a:pt x="4" y="427"/>
                  </a:moveTo>
                  <a:lnTo>
                    <a:pt x="4" y="431"/>
                  </a:lnTo>
                  <a:lnTo>
                    <a:pt x="0" y="431"/>
                  </a:lnTo>
                  <a:lnTo>
                    <a:pt x="0" y="427"/>
                  </a:lnTo>
                  <a:lnTo>
                    <a:pt x="4" y="42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5" name="Freeform 22"/>
            <p:cNvSpPr>
              <a:spLocks/>
            </p:cNvSpPr>
            <p:nvPr>
              <p:custDataLst>
                <p:tags r:id="rId218"/>
              </p:custDataLst>
            </p:nvPr>
          </p:nvSpPr>
          <p:spPr bwMode="gray">
            <a:xfrm>
              <a:off x="5162085" y="3663107"/>
              <a:ext cx="94916" cy="124577"/>
            </a:xfrm>
            <a:custGeom>
              <a:avLst/>
              <a:gdLst/>
              <a:ahLst/>
              <a:cxnLst>
                <a:cxn ang="0">
                  <a:pos x="8" y="36"/>
                </a:cxn>
                <a:cxn ang="0">
                  <a:pos x="8" y="36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4" y="20"/>
                </a:cxn>
                <a:cxn ang="0">
                  <a:pos x="28" y="20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44" y="8"/>
                </a:cxn>
                <a:cxn ang="0">
                  <a:pos x="52" y="4"/>
                </a:cxn>
                <a:cxn ang="0">
                  <a:pos x="56" y="0"/>
                </a:cxn>
                <a:cxn ang="0">
                  <a:pos x="60" y="20"/>
                </a:cxn>
                <a:cxn ang="0">
                  <a:pos x="64" y="20"/>
                </a:cxn>
                <a:cxn ang="0">
                  <a:pos x="64" y="24"/>
                </a:cxn>
                <a:cxn ang="0">
                  <a:pos x="60" y="28"/>
                </a:cxn>
                <a:cxn ang="0">
                  <a:pos x="44" y="32"/>
                </a:cxn>
                <a:cxn ang="0">
                  <a:pos x="40" y="36"/>
                </a:cxn>
                <a:cxn ang="0">
                  <a:pos x="32" y="36"/>
                </a:cxn>
                <a:cxn ang="0">
                  <a:pos x="36" y="44"/>
                </a:cxn>
                <a:cxn ang="0">
                  <a:pos x="40" y="48"/>
                </a:cxn>
                <a:cxn ang="0">
                  <a:pos x="40" y="60"/>
                </a:cxn>
                <a:cxn ang="0">
                  <a:pos x="36" y="68"/>
                </a:cxn>
                <a:cxn ang="0">
                  <a:pos x="24" y="72"/>
                </a:cxn>
                <a:cxn ang="0">
                  <a:pos x="20" y="80"/>
                </a:cxn>
                <a:cxn ang="0">
                  <a:pos x="8" y="80"/>
                </a:cxn>
                <a:cxn ang="0">
                  <a:pos x="0" y="80"/>
                </a:cxn>
                <a:cxn ang="0">
                  <a:pos x="0" y="80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0" y="68"/>
                </a:cxn>
                <a:cxn ang="0">
                  <a:pos x="0" y="68"/>
                </a:cxn>
                <a:cxn ang="0">
                  <a:pos x="0" y="68"/>
                </a:cxn>
                <a:cxn ang="0">
                  <a:pos x="0" y="64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4" y="56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4" y="44"/>
                </a:cxn>
                <a:cxn ang="0">
                  <a:pos x="8" y="40"/>
                </a:cxn>
                <a:cxn ang="0">
                  <a:pos x="8" y="40"/>
                </a:cxn>
              </a:cxnLst>
              <a:rect l="0" t="0" r="r" b="b"/>
              <a:pathLst>
                <a:path w="64" h="84">
                  <a:moveTo>
                    <a:pt x="8" y="36"/>
                  </a:move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2"/>
                  </a:lnTo>
                  <a:lnTo>
                    <a:pt x="44" y="8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52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40" y="48"/>
                  </a:lnTo>
                  <a:lnTo>
                    <a:pt x="44" y="56"/>
                  </a:lnTo>
                  <a:lnTo>
                    <a:pt x="40" y="60"/>
                  </a:lnTo>
                  <a:lnTo>
                    <a:pt x="36" y="68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24" y="72"/>
                  </a:lnTo>
                  <a:lnTo>
                    <a:pt x="24" y="76"/>
                  </a:lnTo>
                  <a:lnTo>
                    <a:pt x="20" y="80"/>
                  </a:lnTo>
                  <a:lnTo>
                    <a:pt x="16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6" name="Freeform 23"/>
            <p:cNvSpPr>
              <a:spLocks/>
            </p:cNvSpPr>
            <p:nvPr>
              <p:custDataLst>
                <p:tags r:id="rId219"/>
              </p:custDataLst>
            </p:nvPr>
          </p:nvSpPr>
          <p:spPr bwMode="gray">
            <a:xfrm>
              <a:off x="5417172" y="2964584"/>
              <a:ext cx="916533" cy="479029"/>
            </a:xfrm>
            <a:custGeom>
              <a:avLst/>
              <a:gdLst/>
              <a:ahLst/>
              <a:cxnLst>
                <a:cxn ang="0">
                  <a:pos x="415" y="272"/>
                </a:cxn>
                <a:cxn ang="0">
                  <a:pos x="399" y="280"/>
                </a:cxn>
                <a:cxn ang="0">
                  <a:pos x="367" y="291"/>
                </a:cxn>
                <a:cxn ang="0">
                  <a:pos x="339" y="315"/>
                </a:cxn>
                <a:cxn ang="0">
                  <a:pos x="327" y="311"/>
                </a:cxn>
                <a:cxn ang="0">
                  <a:pos x="299" y="291"/>
                </a:cxn>
                <a:cxn ang="0">
                  <a:pos x="283" y="264"/>
                </a:cxn>
                <a:cxn ang="0">
                  <a:pos x="235" y="264"/>
                </a:cxn>
                <a:cxn ang="0">
                  <a:pos x="167" y="224"/>
                </a:cxn>
                <a:cxn ang="0">
                  <a:pos x="147" y="272"/>
                </a:cxn>
                <a:cxn ang="0">
                  <a:pos x="143" y="311"/>
                </a:cxn>
                <a:cxn ang="0">
                  <a:pos x="119" y="287"/>
                </a:cxn>
                <a:cxn ang="0">
                  <a:pos x="83" y="307"/>
                </a:cxn>
                <a:cxn ang="0">
                  <a:pos x="48" y="276"/>
                </a:cxn>
                <a:cxn ang="0">
                  <a:pos x="40" y="228"/>
                </a:cxn>
                <a:cxn ang="0">
                  <a:pos x="40" y="200"/>
                </a:cxn>
                <a:cxn ang="0">
                  <a:pos x="32" y="180"/>
                </a:cxn>
                <a:cxn ang="0">
                  <a:pos x="8" y="160"/>
                </a:cxn>
                <a:cxn ang="0">
                  <a:pos x="8" y="136"/>
                </a:cxn>
                <a:cxn ang="0">
                  <a:pos x="20" y="116"/>
                </a:cxn>
                <a:cxn ang="0">
                  <a:pos x="36" y="120"/>
                </a:cxn>
                <a:cxn ang="0">
                  <a:pos x="48" y="96"/>
                </a:cxn>
                <a:cxn ang="0">
                  <a:pos x="68" y="88"/>
                </a:cxn>
                <a:cxn ang="0">
                  <a:pos x="83" y="84"/>
                </a:cxn>
                <a:cxn ang="0">
                  <a:pos x="107" y="88"/>
                </a:cxn>
                <a:cxn ang="0">
                  <a:pos x="123" y="108"/>
                </a:cxn>
                <a:cxn ang="0">
                  <a:pos x="139" y="112"/>
                </a:cxn>
                <a:cxn ang="0">
                  <a:pos x="171" y="104"/>
                </a:cxn>
                <a:cxn ang="0">
                  <a:pos x="191" y="108"/>
                </a:cxn>
                <a:cxn ang="0">
                  <a:pos x="219" y="108"/>
                </a:cxn>
                <a:cxn ang="0">
                  <a:pos x="219" y="88"/>
                </a:cxn>
                <a:cxn ang="0">
                  <a:pos x="219" y="72"/>
                </a:cxn>
                <a:cxn ang="0">
                  <a:pos x="231" y="56"/>
                </a:cxn>
                <a:cxn ang="0">
                  <a:pos x="223" y="48"/>
                </a:cxn>
                <a:cxn ang="0">
                  <a:pos x="223" y="40"/>
                </a:cxn>
                <a:cxn ang="0">
                  <a:pos x="243" y="32"/>
                </a:cxn>
                <a:cxn ang="0">
                  <a:pos x="275" y="24"/>
                </a:cxn>
                <a:cxn ang="0">
                  <a:pos x="295" y="20"/>
                </a:cxn>
                <a:cxn ang="0">
                  <a:pos x="327" y="8"/>
                </a:cxn>
                <a:cxn ang="0">
                  <a:pos x="355" y="4"/>
                </a:cxn>
                <a:cxn ang="0">
                  <a:pos x="379" y="16"/>
                </a:cxn>
                <a:cxn ang="0">
                  <a:pos x="391" y="28"/>
                </a:cxn>
                <a:cxn ang="0">
                  <a:pos x="395" y="32"/>
                </a:cxn>
                <a:cxn ang="0">
                  <a:pos x="407" y="36"/>
                </a:cxn>
                <a:cxn ang="0">
                  <a:pos x="427" y="40"/>
                </a:cxn>
                <a:cxn ang="0">
                  <a:pos x="450" y="24"/>
                </a:cxn>
                <a:cxn ang="0">
                  <a:pos x="466" y="40"/>
                </a:cxn>
                <a:cxn ang="0">
                  <a:pos x="494" y="72"/>
                </a:cxn>
                <a:cxn ang="0">
                  <a:pos x="514" y="96"/>
                </a:cxn>
                <a:cxn ang="0">
                  <a:pos x="534" y="104"/>
                </a:cxn>
                <a:cxn ang="0">
                  <a:pos x="562" y="100"/>
                </a:cxn>
                <a:cxn ang="0">
                  <a:pos x="586" y="124"/>
                </a:cxn>
                <a:cxn ang="0">
                  <a:pos x="606" y="132"/>
                </a:cxn>
                <a:cxn ang="0">
                  <a:pos x="610" y="144"/>
                </a:cxn>
                <a:cxn ang="0">
                  <a:pos x="594" y="168"/>
                </a:cxn>
                <a:cxn ang="0">
                  <a:pos x="578" y="188"/>
                </a:cxn>
                <a:cxn ang="0">
                  <a:pos x="550" y="200"/>
                </a:cxn>
                <a:cxn ang="0">
                  <a:pos x="550" y="228"/>
                </a:cxn>
                <a:cxn ang="0">
                  <a:pos x="518" y="228"/>
                </a:cxn>
                <a:cxn ang="0">
                  <a:pos x="514" y="248"/>
                </a:cxn>
                <a:cxn ang="0">
                  <a:pos x="518" y="276"/>
                </a:cxn>
                <a:cxn ang="0">
                  <a:pos x="498" y="287"/>
                </a:cxn>
                <a:cxn ang="0">
                  <a:pos x="466" y="276"/>
                </a:cxn>
              </a:cxnLst>
              <a:rect l="0" t="0" r="r" b="b"/>
              <a:pathLst>
                <a:path w="618" h="323">
                  <a:moveTo>
                    <a:pt x="446" y="276"/>
                  </a:moveTo>
                  <a:lnTo>
                    <a:pt x="442" y="280"/>
                  </a:lnTo>
                  <a:lnTo>
                    <a:pt x="438" y="280"/>
                  </a:lnTo>
                  <a:lnTo>
                    <a:pt x="438" y="276"/>
                  </a:lnTo>
                  <a:lnTo>
                    <a:pt x="434" y="276"/>
                  </a:lnTo>
                  <a:lnTo>
                    <a:pt x="430" y="276"/>
                  </a:lnTo>
                  <a:lnTo>
                    <a:pt x="427" y="272"/>
                  </a:lnTo>
                  <a:lnTo>
                    <a:pt x="423" y="272"/>
                  </a:lnTo>
                  <a:lnTo>
                    <a:pt x="419" y="272"/>
                  </a:lnTo>
                  <a:lnTo>
                    <a:pt x="415" y="272"/>
                  </a:lnTo>
                  <a:lnTo>
                    <a:pt x="411" y="272"/>
                  </a:lnTo>
                  <a:lnTo>
                    <a:pt x="411" y="276"/>
                  </a:lnTo>
                  <a:lnTo>
                    <a:pt x="411" y="280"/>
                  </a:lnTo>
                  <a:lnTo>
                    <a:pt x="411" y="284"/>
                  </a:lnTo>
                  <a:lnTo>
                    <a:pt x="411" y="287"/>
                  </a:lnTo>
                  <a:lnTo>
                    <a:pt x="407" y="287"/>
                  </a:lnTo>
                  <a:lnTo>
                    <a:pt x="407" y="284"/>
                  </a:lnTo>
                  <a:lnTo>
                    <a:pt x="403" y="284"/>
                  </a:lnTo>
                  <a:lnTo>
                    <a:pt x="399" y="284"/>
                  </a:lnTo>
                  <a:lnTo>
                    <a:pt x="399" y="280"/>
                  </a:lnTo>
                  <a:lnTo>
                    <a:pt x="395" y="280"/>
                  </a:lnTo>
                  <a:lnTo>
                    <a:pt x="391" y="280"/>
                  </a:lnTo>
                  <a:lnTo>
                    <a:pt x="387" y="280"/>
                  </a:lnTo>
                  <a:lnTo>
                    <a:pt x="383" y="280"/>
                  </a:lnTo>
                  <a:lnTo>
                    <a:pt x="379" y="280"/>
                  </a:lnTo>
                  <a:lnTo>
                    <a:pt x="375" y="280"/>
                  </a:lnTo>
                  <a:lnTo>
                    <a:pt x="375" y="284"/>
                  </a:lnTo>
                  <a:lnTo>
                    <a:pt x="371" y="287"/>
                  </a:lnTo>
                  <a:lnTo>
                    <a:pt x="371" y="291"/>
                  </a:lnTo>
                  <a:lnTo>
                    <a:pt x="367" y="291"/>
                  </a:lnTo>
                  <a:lnTo>
                    <a:pt x="367" y="295"/>
                  </a:lnTo>
                  <a:lnTo>
                    <a:pt x="363" y="291"/>
                  </a:lnTo>
                  <a:lnTo>
                    <a:pt x="363" y="295"/>
                  </a:lnTo>
                  <a:lnTo>
                    <a:pt x="359" y="299"/>
                  </a:lnTo>
                  <a:lnTo>
                    <a:pt x="355" y="303"/>
                  </a:lnTo>
                  <a:lnTo>
                    <a:pt x="351" y="303"/>
                  </a:lnTo>
                  <a:lnTo>
                    <a:pt x="347" y="307"/>
                  </a:lnTo>
                  <a:lnTo>
                    <a:pt x="343" y="307"/>
                  </a:lnTo>
                  <a:lnTo>
                    <a:pt x="343" y="311"/>
                  </a:lnTo>
                  <a:lnTo>
                    <a:pt x="339" y="315"/>
                  </a:lnTo>
                  <a:lnTo>
                    <a:pt x="339" y="319"/>
                  </a:lnTo>
                  <a:lnTo>
                    <a:pt x="335" y="319"/>
                  </a:lnTo>
                  <a:lnTo>
                    <a:pt x="335" y="323"/>
                  </a:lnTo>
                  <a:lnTo>
                    <a:pt x="339" y="323"/>
                  </a:lnTo>
                  <a:lnTo>
                    <a:pt x="335" y="323"/>
                  </a:lnTo>
                  <a:lnTo>
                    <a:pt x="331" y="323"/>
                  </a:lnTo>
                  <a:lnTo>
                    <a:pt x="327" y="319"/>
                  </a:lnTo>
                  <a:lnTo>
                    <a:pt x="331" y="315"/>
                  </a:lnTo>
                  <a:lnTo>
                    <a:pt x="327" y="315"/>
                  </a:lnTo>
                  <a:lnTo>
                    <a:pt x="327" y="311"/>
                  </a:lnTo>
                  <a:lnTo>
                    <a:pt x="323" y="311"/>
                  </a:lnTo>
                  <a:lnTo>
                    <a:pt x="319" y="311"/>
                  </a:lnTo>
                  <a:lnTo>
                    <a:pt x="315" y="311"/>
                  </a:lnTo>
                  <a:lnTo>
                    <a:pt x="311" y="311"/>
                  </a:lnTo>
                  <a:lnTo>
                    <a:pt x="307" y="311"/>
                  </a:lnTo>
                  <a:lnTo>
                    <a:pt x="307" y="307"/>
                  </a:lnTo>
                  <a:lnTo>
                    <a:pt x="307" y="299"/>
                  </a:lnTo>
                  <a:lnTo>
                    <a:pt x="303" y="295"/>
                  </a:lnTo>
                  <a:lnTo>
                    <a:pt x="299" y="295"/>
                  </a:lnTo>
                  <a:lnTo>
                    <a:pt x="299" y="291"/>
                  </a:lnTo>
                  <a:lnTo>
                    <a:pt x="299" y="287"/>
                  </a:lnTo>
                  <a:lnTo>
                    <a:pt x="299" y="284"/>
                  </a:lnTo>
                  <a:lnTo>
                    <a:pt x="299" y="280"/>
                  </a:lnTo>
                  <a:lnTo>
                    <a:pt x="299" y="276"/>
                  </a:lnTo>
                  <a:lnTo>
                    <a:pt x="295" y="276"/>
                  </a:lnTo>
                  <a:lnTo>
                    <a:pt x="291" y="272"/>
                  </a:lnTo>
                  <a:lnTo>
                    <a:pt x="291" y="268"/>
                  </a:lnTo>
                  <a:lnTo>
                    <a:pt x="287" y="268"/>
                  </a:lnTo>
                  <a:lnTo>
                    <a:pt x="287" y="264"/>
                  </a:lnTo>
                  <a:lnTo>
                    <a:pt x="283" y="264"/>
                  </a:lnTo>
                  <a:lnTo>
                    <a:pt x="283" y="260"/>
                  </a:lnTo>
                  <a:lnTo>
                    <a:pt x="279" y="260"/>
                  </a:lnTo>
                  <a:lnTo>
                    <a:pt x="275" y="264"/>
                  </a:lnTo>
                  <a:lnTo>
                    <a:pt x="267" y="264"/>
                  </a:lnTo>
                  <a:lnTo>
                    <a:pt x="263" y="264"/>
                  </a:lnTo>
                  <a:lnTo>
                    <a:pt x="259" y="260"/>
                  </a:lnTo>
                  <a:lnTo>
                    <a:pt x="255" y="260"/>
                  </a:lnTo>
                  <a:lnTo>
                    <a:pt x="247" y="264"/>
                  </a:lnTo>
                  <a:lnTo>
                    <a:pt x="243" y="264"/>
                  </a:lnTo>
                  <a:lnTo>
                    <a:pt x="235" y="264"/>
                  </a:lnTo>
                  <a:lnTo>
                    <a:pt x="235" y="260"/>
                  </a:lnTo>
                  <a:lnTo>
                    <a:pt x="231" y="256"/>
                  </a:lnTo>
                  <a:lnTo>
                    <a:pt x="227" y="252"/>
                  </a:lnTo>
                  <a:lnTo>
                    <a:pt x="223" y="248"/>
                  </a:lnTo>
                  <a:lnTo>
                    <a:pt x="199" y="232"/>
                  </a:lnTo>
                  <a:lnTo>
                    <a:pt x="183" y="220"/>
                  </a:lnTo>
                  <a:lnTo>
                    <a:pt x="179" y="220"/>
                  </a:lnTo>
                  <a:lnTo>
                    <a:pt x="175" y="224"/>
                  </a:lnTo>
                  <a:lnTo>
                    <a:pt x="171" y="224"/>
                  </a:lnTo>
                  <a:lnTo>
                    <a:pt x="167" y="224"/>
                  </a:lnTo>
                  <a:lnTo>
                    <a:pt x="163" y="228"/>
                  </a:lnTo>
                  <a:lnTo>
                    <a:pt x="155" y="228"/>
                  </a:lnTo>
                  <a:lnTo>
                    <a:pt x="151" y="232"/>
                  </a:lnTo>
                  <a:lnTo>
                    <a:pt x="147" y="232"/>
                  </a:lnTo>
                  <a:lnTo>
                    <a:pt x="147" y="236"/>
                  </a:lnTo>
                  <a:lnTo>
                    <a:pt x="147" y="244"/>
                  </a:lnTo>
                  <a:lnTo>
                    <a:pt x="147" y="256"/>
                  </a:lnTo>
                  <a:lnTo>
                    <a:pt x="147" y="260"/>
                  </a:lnTo>
                  <a:lnTo>
                    <a:pt x="147" y="268"/>
                  </a:lnTo>
                  <a:lnTo>
                    <a:pt x="147" y="272"/>
                  </a:lnTo>
                  <a:lnTo>
                    <a:pt x="147" y="276"/>
                  </a:lnTo>
                  <a:lnTo>
                    <a:pt x="147" y="280"/>
                  </a:lnTo>
                  <a:lnTo>
                    <a:pt x="147" y="284"/>
                  </a:lnTo>
                  <a:lnTo>
                    <a:pt x="147" y="291"/>
                  </a:lnTo>
                  <a:lnTo>
                    <a:pt x="147" y="299"/>
                  </a:lnTo>
                  <a:lnTo>
                    <a:pt x="147" y="303"/>
                  </a:lnTo>
                  <a:lnTo>
                    <a:pt x="147" y="307"/>
                  </a:lnTo>
                  <a:lnTo>
                    <a:pt x="147" y="311"/>
                  </a:lnTo>
                  <a:lnTo>
                    <a:pt x="143" y="307"/>
                  </a:lnTo>
                  <a:lnTo>
                    <a:pt x="143" y="311"/>
                  </a:lnTo>
                  <a:lnTo>
                    <a:pt x="139" y="311"/>
                  </a:lnTo>
                  <a:lnTo>
                    <a:pt x="135" y="311"/>
                  </a:lnTo>
                  <a:lnTo>
                    <a:pt x="135" y="307"/>
                  </a:lnTo>
                  <a:lnTo>
                    <a:pt x="135" y="303"/>
                  </a:lnTo>
                  <a:lnTo>
                    <a:pt x="131" y="303"/>
                  </a:lnTo>
                  <a:lnTo>
                    <a:pt x="131" y="299"/>
                  </a:lnTo>
                  <a:lnTo>
                    <a:pt x="127" y="295"/>
                  </a:lnTo>
                  <a:lnTo>
                    <a:pt x="123" y="291"/>
                  </a:lnTo>
                  <a:lnTo>
                    <a:pt x="119" y="291"/>
                  </a:lnTo>
                  <a:lnTo>
                    <a:pt x="119" y="287"/>
                  </a:lnTo>
                  <a:lnTo>
                    <a:pt x="115" y="287"/>
                  </a:lnTo>
                  <a:lnTo>
                    <a:pt x="111" y="287"/>
                  </a:lnTo>
                  <a:lnTo>
                    <a:pt x="107" y="291"/>
                  </a:lnTo>
                  <a:lnTo>
                    <a:pt x="103" y="291"/>
                  </a:lnTo>
                  <a:lnTo>
                    <a:pt x="99" y="291"/>
                  </a:lnTo>
                  <a:lnTo>
                    <a:pt x="99" y="295"/>
                  </a:lnTo>
                  <a:lnTo>
                    <a:pt x="95" y="295"/>
                  </a:lnTo>
                  <a:lnTo>
                    <a:pt x="91" y="299"/>
                  </a:lnTo>
                  <a:lnTo>
                    <a:pt x="87" y="303"/>
                  </a:lnTo>
                  <a:lnTo>
                    <a:pt x="83" y="307"/>
                  </a:lnTo>
                  <a:lnTo>
                    <a:pt x="79" y="307"/>
                  </a:lnTo>
                  <a:lnTo>
                    <a:pt x="72" y="311"/>
                  </a:lnTo>
                  <a:lnTo>
                    <a:pt x="72" y="307"/>
                  </a:lnTo>
                  <a:lnTo>
                    <a:pt x="68" y="303"/>
                  </a:lnTo>
                  <a:lnTo>
                    <a:pt x="64" y="299"/>
                  </a:lnTo>
                  <a:lnTo>
                    <a:pt x="64" y="295"/>
                  </a:lnTo>
                  <a:lnTo>
                    <a:pt x="60" y="291"/>
                  </a:lnTo>
                  <a:lnTo>
                    <a:pt x="56" y="287"/>
                  </a:lnTo>
                  <a:lnTo>
                    <a:pt x="52" y="280"/>
                  </a:lnTo>
                  <a:lnTo>
                    <a:pt x="48" y="276"/>
                  </a:lnTo>
                  <a:lnTo>
                    <a:pt x="48" y="272"/>
                  </a:lnTo>
                  <a:lnTo>
                    <a:pt x="44" y="268"/>
                  </a:lnTo>
                  <a:lnTo>
                    <a:pt x="44" y="264"/>
                  </a:lnTo>
                  <a:lnTo>
                    <a:pt x="40" y="256"/>
                  </a:lnTo>
                  <a:lnTo>
                    <a:pt x="40" y="252"/>
                  </a:lnTo>
                  <a:lnTo>
                    <a:pt x="40" y="248"/>
                  </a:lnTo>
                  <a:lnTo>
                    <a:pt x="36" y="240"/>
                  </a:lnTo>
                  <a:lnTo>
                    <a:pt x="36" y="236"/>
                  </a:lnTo>
                  <a:lnTo>
                    <a:pt x="36" y="232"/>
                  </a:lnTo>
                  <a:lnTo>
                    <a:pt x="40" y="228"/>
                  </a:lnTo>
                  <a:lnTo>
                    <a:pt x="44" y="224"/>
                  </a:lnTo>
                  <a:lnTo>
                    <a:pt x="48" y="220"/>
                  </a:lnTo>
                  <a:lnTo>
                    <a:pt x="52" y="216"/>
                  </a:lnTo>
                  <a:lnTo>
                    <a:pt x="56" y="216"/>
                  </a:lnTo>
                  <a:lnTo>
                    <a:pt x="56" y="212"/>
                  </a:lnTo>
                  <a:lnTo>
                    <a:pt x="52" y="212"/>
                  </a:lnTo>
                  <a:lnTo>
                    <a:pt x="48" y="208"/>
                  </a:lnTo>
                  <a:lnTo>
                    <a:pt x="44" y="208"/>
                  </a:lnTo>
                  <a:lnTo>
                    <a:pt x="44" y="204"/>
                  </a:lnTo>
                  <a:lnTo>
                    <a:pt x="40" y="200"/>
                  </a:lnTo>
                  <a:lnTo>
                    <a:pt x="36" y="200"/>
                  </a:lnTo>
                  <a:lnTo>
                    <a:pt x="32" y="200"/>
                  </a:lnTo>
                  <a:lnTo>
                    <a:pt x="32" y="196"/>
                  </a:lnTo>
                  <a:lnTo>
                    <a:pt x="36" y="192"/>
                  </a:lnTo>
                  <a:lnTo>
                    <a:pt x="36" y="196"/>
                  </a:lnTo>
                  <a:lnTo>
                    <a:pt x="40" y="196"/>
                  </a:lnTo>
                  <a:lnTo>
                    <a:pt x="40" y="192"/>
                  </a:lnTo>
                  <a:lnTo>
                    <a:pt x="36" y="188"/>
                  </a:lnTo>
                  <a:lnTo>
                    <a:pt x="36" y="184"/>
                  </a:lnTo>
                  <a:lnTo>
                    <a:pt x="32" y="180"/>
                  </a:lnTo>
                  <a:lnTo>
                    <a:pt x="28" y="176"/>
                  </a:lnTo>
                  <a:lnTo>
                    <a:pt x="28" y="172"/>
                  </a:lnTo>
                  <a:lnTo>
                    <a:pt x="24" y="172"/>
                  </a:lnTo>
                  <a:lnTo>
                    <a:pt x="20" y="172"/>
                  </a:lnTo>
                  <a:lnTo>
                    <a:pt x="16" y="172"/>
                  </a:lnTo>
                  <a:lnTo>
                    <a:pt x="12" y="172"/>
                  </a:lnTo>
                  <a:lnTo>
                    <a:pt x="12" y="168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8" y="160"/>
                  </a:lnTo>
                  <a:lnTo>
                    <a:pt x="4" y="160"/>
                  </a:lnTo>
                  <a:lnTo>
                    <a:pt x="0" y="156"/>
                  </a:lnTo>
                  <a:lnTo>
                    <a:pt x="4" y="156"/>
                  </a:lnTo>
                  <a:lnTo>
                    <a:pt x="4" y="152"/>
                  </a:lnTo>
                  <a:lnTo>
                    <a:pt x="8" y="148"/>
                  </a:lnTo>
                  <a:lnTo>
                    <a:pt x="8" y="144"/>
                  </a:lnTo>
                  <a:lnTo>
                    <a:pt x="12" y="144"/>
                  </a:lnTo>
                  <a:lnTo>
                    <a:pt x="12" y="140"/>
                  </a:lnTo>
                  <a:lnTo>
                    <a:pt x="8" y="140"/>
                  </a:lnTo>
                  <a:lnTo>
                    <a:pt x="8" y="136"/>
                  </a:lnTo>
                  <a:lnTo>
                    <a:pt x="8" y="132"/>
                  </a:lnTo>
                  <a:lnTo>
                    <a:pt x="8" y="124"/>
                  </a:lnTo>
                  <a:lnTo>
                    <a:pt x="12" y="124"/>
                  </a:lnTo>
                  <a:lnTo>
                    <a:pt x="16" y="124"/>
                  </a:lnTo>
                  <a:lnTo>
                    <a:pt x="16" y="120"/>
                  </a:lnTo>
                  <a:lnTo>
                    <a:pt x="12" y="120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20" y="112"/>
                  </a:lnTo>
                  <a:lnTo>
                    <a:pt x="20" y="116"/>
                  </a:lnTo>
                  <a:lnTo>
                    <a:pt x="24" y="116"/>
                  </a:lnTo>
                  <a:lnTo>
                    <a:pt x="24" y="120"/>
                  </a:lnTo>
                  <a:lnTo>
                    <a:pt x="28" y="120"/>
                  </a:lnTo>
                  <a:lnTo>
                    <a:pt x="28" y="124"/>
                  </a:lnTo>
                  <a:lnTo>
                    <a:pt x="32" y="128"/>
                  </a:lnTo>
                  <a:lnTo>
                    <a:pt x="32" y="124"/>
                  </a:lnTo>
                  <a:lnTo>
                    <a:pt x="36" y="124"/>
                  </a:lnTo>
                  <a:lnTo>
                    <a:pt x="40" y="124"/>
                  </a:lnTo>
                  <a:lnTo>
                    <a:pt x="40" y="120"/>
                  </a:lnTo>
                  <a:lnTo>
                    <a:pt x="36" y="120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6" y="108"/>
                  </a:lnTo>
                  <a:lnTo>
                    <a:pt x="40" y="108"/>
                  </a:lnTo>
                  <a:lnTo>
                    <a:pt x="40" y="104"/>
                  </a:lnTo>
                  <a:lnTo>
                    <a:pt x="44" y="104"/>
                  </a:lnTo>
                  <a:lnTo>
                    <a:pt x="48" y="104"/>
                  </a:lnTo>
                  <a:lnTo>
                    <a:pt x="44" y="100"/>
                  </a:lnTo>
                  <a:lnTo>
                    <a:pt x="48" y="100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52" y="96"/>
                  </a:lnTo>
                  <a:lnTo>
                    <a:pt x="56" y="96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8" y="88"/>
                  </a:lnTo>
                  <a:lnTo>
                    <a:pt x="68" y="84"/>
                  </a:lnTo>
                  <a:lnTo>
                    <a:pt x="72" y="84"/>
                  </a:lnTo>
                  <a:lnTo>
                    <a:pt x="76" y="84"/>
                  </a:lnTo>
                  <a:lnTo>
                    <a:pt x="76" y="88"/>
                  </a:lnTo>
                  <a:lnTo>
                    <a:pt x="79" y="88"/>
                  </a:lnTo>
                  <a:lnTo>
                    <a:pt x="79" y="92"/>
                  </a:lnTo>
                  <a:lnTo>
                    <a:pt x="83" y="88"/>
                  </a:lnTo>
                  <a:lnTo>
                    <a:pt x="79" y="88"/>
                  </a:lnTo>
                  <a:lnTo>
                    <a:pt x="83" y="88"/>
                  </a:lnTo>
                  <a:lnTo>
                    <a:pt x="83" y="84"/>
                  </a:lnTo>
                  <a:lnTo>
                    <a:pt x="87" y="84"/>
                  </a:lnTo>
                  <a:lnTo>
                    <a:pt x="91" y="84"/>
                  </a:lnTo>
                  <a:lnTo>
                    <a:pt x="91" y="88"/>
                  </a:lnTo>
                  <a:lnTo>
                    <a:pt x="95" y="92"/>
                  </a:lnTo>
                  <a:lnTo>
                    <a:pt x="95" y="88"/>
                  </a:lnTo>
                  <a:lnTo>
                    <a:pt x="99" y="88"/>
                  </a:lnTo>
                  <a:lnTo>
                    <a:pt x="99" y="92"/>
                  </a:lnTo>
                  <a:lnTo>
                    <a:pt x="99" y="88"/>
                  </a:lnTo>
                  <a:lnTo>
                    <a:pt x="103" y="88"/>
                  </a:lnTo>
                  <a:lnTo>
                    <a:pt x="107" y="88"/>
                  </a:lnTo>
                  <a:lnTo>
                    <a:pt x="111" y="92"/>
                  </a:lnTo>
                  <a:lnTo>
                    <a:pt x="107" y="92"/>
                  </a:lnTo>
                  <a:lnTo>
                    <a:pt x="111" y="96"/>
                  </a:lnTo>
                  <a:lnTo>
                    <a:pt x="115" y="96"/>
                  </a:lnTo>
                  <a:lnTo>
                    <a:pt x="115" y="100"/>
                  </a:lnTo>
                  <a:lnTo>
                    <a:pt x="119" y="100"/>
                  </a:lnTo>
                  <a:lnTo>
                    <a:pt x="119" y="104"/>
                  </a:lnTo>
                  <a:lnTo>
                    <a:pt x="123" y="104"/>
                  </a:lnTo>
                  <a:lnTo>
                    <a:pt x="119" y="108"/>
                  </a:lnTo>
                  <a:lnTo>
                    <a:pt x="123" y="108"/>
                  </a:lnTo>
                  <a:lnTo>
                    <a:pt x="123" y="112"/>
                  </a:lnTo>
                  <a:lnTo>
                    <a:pt x="127" y="108"/>
                  </a:lnTo>
                  <a:lnTo>
                    <a:pt x="123" y="108"/>
                  </a:lnTo>
                  <a:lnTo>
                    <a:pt x="123" y="104"/>
                  </a:lnTo>
                  <a:lnTo>
                    <a:pt x="123" y="100"/>
                  </a:lnTo>
                  <a:lnTo>
                    <a:pt x="127" y="100"/>
                  </a:lnTo>
                  <a:lnTo>
                    <a:pt x="131" y="104"/>
                  </a:lnTo>
                  <a:lnTo>
                    <a:pt x="135" y="108"/>
                  </a:lnTo>
                  <a:lnTo>
                    <a:pt x="139" y="108"/>
                  </a:lnTo>
                  <a:lnTo>
                    <a:pt x="139" y="112"/>
                  </a:lnTo>
                  <a:lnTo>
                    <a:pt x="143" y="108"/>
                  </a:lnTo>
                  <a:lnTo>
                    <a:pt x="147" y="108"/>
                  </a:lnTo>
                  <a:lnTo>
                    <a:pt x="147" y="104"/>
                  </a:lnTo>
                  <a:lnTo>
                    <a:pt x="151" y="104"/>
                  </a:lnTo>
                  <a:lnTo>
                    <a:pt x="151" y="100"/>
                  </a:lnTo>
                  <a:lnTo>
                    <a:pt x="155" y="100"/>
                  </a:lnTo>
                  <a:lnTo>
                    <a:pt x="159" y="100"/>
                  </a:lnTo>
                  <a:lnTo>
                    <a:pt x="163" y="100"/>
                  </a:lnTo>
                  <a:lnTo>
                    <a:pt x="167" y="104"/>
                  </a:lnTo>
                  <a:lnTo>
                    <a:pt x="171" y="104"/>
                  </a:lnTo>
                  <a:lnTo>
                    <a:pt x="171" y="100"/>
                  </a:lnTo>
                  <a:lnTo>
                    <a:pt x="171" y="96"/>
                  </a:lnTo>
                  <a:lnTo>
                    <a:pt x="175" y="100"/>
                  </a:lnTo>
                  <a:lnTo>
                    <a:pt x="179" y="100"/>
                  </a:lnTo>
                  <a:lnTo>
                    <a:pt x="179" y="96"/>
                  </a:lnTo>
                  <a:lnTo>
                    <a:pt x="183" y="96"/>
                  </a:lnTo>
                  <a:lnTo>
                    <a:pt x="183" y="100"/>
                  </a:lnTo>
                  <a:lnTo>
                    <a:pt x="183" y="104"/>
                  </a:lnTo>
                  <a:lnTo>
                    <a:pt x="187" y="104"/>
                  </a:lnTo>
                  <a:lnTo>
                    <a:pt x="191" y="108"/>
                  </a:lnTo>
                  <a:lnTo>
                    <a:pt x="195" y="108"/>
                  </a:lnTo>
                  <a:lnTo>
                    <a:pt x="199" y="108"/>
                  </a:lnTo>
                  <a:lnTo>
                    <a:pt x="199" y="112"/>
                  </a:lnTo>
                  <a:lnTo>
                    <a:pt x="203" y="112"/>
                  </a:lnTo>
                  <a:lnTo>
                    <a:pt x="203" y="108"/>
                  </a:lnTo>
                  <a:lnTo>
                    <a:pt x="203" y="104"/>
                  </a:lnTo>
                  <a:lnTo>
                    <a:pt x="207" y="104"/>
                  </a:lnTo>
                  <a:lnTo>
                    <a:pt x="211" y="108"/>
                  </a:lnTo>
                  <a:lnTo>
                    <a:pt x="215" y="108"/>
                  </a:lnTo>
                  <a:lnTo>
                    <a:pt x="219" y="108"/>
                  </a:lnTo>
                  <a:lnTo>
                    <a:pt x="223" y="108"/>
                  </a:lnTo>
                  <a:lnTo>
                    <a:pt x="227" y="104"/>
                  </a:lnTo>
                  <a:lnTo>
                    <a:pt x="227" y="100"/>
                  </a:lnTo>
                  <a:lnTo>
                    <a:pt x="231" y="96"/>
                  </a:lnTo>
                  <a:lnTo>
                    <a:pt x="231" y="92"/>
                  </a:lnTo>
                  <a:lnTo>
                    <a:pt x="227" y="92"/>
                  </a:lnTo>
                  <a:lnTo>
                    <a:pt x="223" y="88"/>
                  </a:lnTo>
                  <a:lnTo>
                    <a:pt x="223" y="92"/>
                  </a:lnTo>
                  <a:lnTo>
                    <a:pt x="223" y="88"/>
                  </a:lnTo>
                  <a:lnTo>
                    <a:pt x="219" y="88"/>
                  </a:lnTo>
                  <a:lnTo>
                    <a:pt x="215" y="88"/>
                  </a:lnTo>
                  <a:lnTo>
                    <a:pt x="211" y="84"/>
                  </a:lnTo>
                  <a:lnTo>
                    <a:pt x="215" y="84"/>
                  </a:lnTo>
                  <a:lnTo>
                    <a:pt x="211" y="84"/>
                  </a:lnTo>
                  <a:lnTo>
                    <a:pt x="211" y="80"/>
                  </a:lnTo>
                  <a:lnTo>
                    <a:pt x="207" y="80"/>
                  </a:lnTo>
                  <a:lnTo>
                    <a:pt x="207" y="76"/>
                  </a:lnTo>
                  <a:lnTo>
                    <a:pt x="211" y="76"/>
                  </a:lnTo>
                  <a:lnTo>
                    <a:pt x="215" y="76"/>
                  </a:lnTo>
                  <a:lnTo>
                    <a:pt x="219" y="72"/>
                  </a:lnTo>
                  <a:lnTo>
                    <a:pt x="223" y="72"/>
                  </a:lnTo>
                  <a:lnTo>
                    <a:pt x="223" y="68"/>
                  </a:lnTo>
                  <a:lnTo>
                    <a:pt x="219" y="68"/>
                  </a:lnTo>
                  <a:lnTo>
                    <a:pt x="219" y="64"/>
                  </a:lnTo>
                  <a:lnTo>
                    <a:pt x="215" y="64"/>
                  </a:lnTo>
                  <a:lnTo>
                    <a:pt x="215" y="60"/>
                  </a:lnTo>
                  <a:lnTo>
                    <a:pt x="219" y="60"/>
                  </a:lnTo>
                  <a:lnTo>
                    <a:pt x="223" y="56"/>
                  </a:lnTo>
                  <a:lnTo>
                    <a:pt x="227" y="56"/>
                  </a:lnTo>
                  <a:lnTo>
                    <a:pt x="231" y="56"/>
                  </a:lnTo>
                  <a:lnTo>
                    <a:pt x="235" y="56"/>
                  </a:lnTo>
                  <a:lnTo>
                    <a:pt x="239" y="56"/>
                  </a:lnTo>
                  <a:lnTo>
                    <a:pt x="239" y="52"/>
                  </a:lnTo>
                  <a:lnTo>
                    <a:pt x="235" y="52"/>
                  </a:lnTo>
                  <a:lnTo>
                    <a:pt x="231" y="52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27" y="52"/>
                  </a:lnTo>
                  <a:lnTo>
                    <a:pt x="227" y="48"/>
                  </a:lnTo>
                  <a:lnTo>
                    <a:pt x="223" y="48"/>
                  </a:lnTo>
                  <a:lnTo>
                    <a:pt x="223" y="44"/>
                  </a:lnTo>
                  <a:lnTo>
                    <a:pt x="227" y="44"/>
                  </a:lnTo>
                  <a:lnTo>
                    <a:pt x="231" y="44"/>
                  </a:lnTo>
                  <a:lnTo>
                    <a:pt x="231" y="40"/>
                  </a:lnTo>
                  <a:lnTo>
                    <a:pt x="227" y="40"/>
                  </a:lnTo>
                  <a:lnTo>
                    <a:pt x="227" y="44"/>
                  </a:lnTo>
                  <a:lnTo>
                    <a:pt x="223" y="44"/>
                  </a:lnTo>
                  <a:lnTo>
                    <a:pt x="223" y="40"/>
                  </a:lnTo>
                  <a:lnTo>
                    <a:pt x="219" y="40"/>
                  </a:lnTo>
                  <a:lnTo>
                    <a:pt x="223" y="40"/>
                  </a:lnTo>
                  <a:lnTo>
                    <a:pt x="223" y="36"/>
                  </a:lnTo>
                  <a:lnTo>
                    <a:pt x="219" y="36"/>
                  </a:lnTo>
                  <a:lnTo>
                    <a:pt x="223" y="32"/>
                  </a:lnTo>
                  <a:lnTo>
                    <a:pt x="227" y="32"/>
                  </a:lnTo>
                  <a:lnTo>
                    <a:pt x="231" y="32"/>
                  </a:lnTo>
                  <a:lnTo>
                    <a:pt x="235" y="32"/>
                  </a:lnTo>
                  <a:lnTo>
                    <a:pt x="239" y="32"/>
                  </a:lnTo>
                  <a:lnTo>
                    <a:pt x="243" y="32"/>
                  </a:lnTo>
                  <a:lnTo>
                    <a:pt x="243" y="36"/>
                  </a:lnTo>
                  <a:lnTo>
                    <a:pt x="243" y="32"/>
                  </a:lnTo>
                  <a:lnTo>
                    <a:pt x="247" y="32"/>
                  </a:lnTo>
                  <a:lnTo>
                    <a:pt x="251" y="32"/>
                  </a:lnTo>
                  <a:lnTo>
                    <a:pt x="251" y="28"/>
                  </a:lnTo>
                  <a:lnTo>
                    <a:pt x="255" y="28"/>
                  </a:lnTo>
                  <a:lnTo>
                    <a:pt x="259" y="28"/>
                  </a:lnTo>
                  <a:lnTo>
                    <a:pt x="263" y="28"/>
                  </a:lnTo>
                  <a:lnTo>
                    <a:pt x="267" y="28"/>
                  </a:lnTo>
                  <a:lnTo>
                    <a:pt x="267" y="24"/>
                  </a:lnTo>
                  <a:lnTo>
                    <a:pt x="271" y="24"/>
                  </a:lnTo>
                  <a:lnTo>
                    <a:pt x="275" y="24"/>
                  </a:lnTo>
                  <a:lnTo>
                    <a:pt x="279" y="24"/>
                  </a:lnTo>
                  <a:lnTo>
                    <a:pt x="283" y="24"/>
                  </a:lnTo>
                  <a:lnTo>
                    <a:pt x="287" y="24"/>
                  </a:lnTo>
                  <a:lnTo>
                    <a:pt x="283" y="24"/>
                  </a:lnTo>
                  <a:lnTo>
                    <a:pt x="283" y="20"/>
                  </a:lnTo>
                  <a:lnTo>
                    <a:pt x="287" y="20"/>
                  </a:lnTo>
                  <a:lnTo>
                    <a:pt x="287" y="16"/>
                  </a:lnTo>
                  <a:lnTo>
                    <a:pt x="291" y="16"/>
                  </a:lnTo>
                  <a:lnTo>
                    <a:pt x="291" y="20"/>
                  </a:lnTo>
                  <a:lnTo>
                    <a:pt x="295" y="20"/>
                  </a:lnTo>
                  <a:lnTo>
                    <a:pt x="295" y="16"/>
                  </a:lnTo>
                  <a:lnTo>
                    <a:pt x="299" y="16"/>
                  </a:lnTo>
                  <a:lnTo>
                    <a:pt x="303" y="16"/>
                  </a:lnTo>
                  <a:lnTo>
                    <a:pt x="307" y="16"/>
                  </a:lnTo>
                  <a:lnTo>
                    <a:pt x="311" y="16"/>
                  </a:lnTo>
                  <a:lnTo>
                    <a:pt x="315" y="12"/>
                  </a:lnTo>
                  <a:lnTo>
                    <a:pt x="319" y="12"/>
                  </a:lnTo>
                  <a:lnTo>
                    <a:pt x="323" y="12"/>
                  </a:lnTo>
                  <a:lnTo>
                    <a:pt x="323" y="8"/>
                  </a:lnTo>
                  <a:lnTo>
                    <a:pt x="327" y="8"/>
                  </a:lnTo>
                  <a:lnTo>
                    <a:pt x="327" y="12"/>
                  </a:lnTo>
                  <a:lnTo>
                    <a:pt x="331" y="8"/>
                  </a:lnTo>
                  <a:lnTo>
                    <a:pt x="331" y="4"/>
                  </a:lnTo>
                  <a:lnTo>
                    <a:pt x="335" y="4"/>
                  </a:lnTo>
                  <a:lnTo>
                    <a:pt x="339" y="0"/>
                  </a:lnTo>
                  <a:lnTo>
                    <a:pt x="343" y="4"/>
                  </a:lnTo>
                  <a:lnTo>
                    <a:pt x="343" y="0"/>
                  </a:lnTo>
                  <a:lnTo>
                    <a:pt x="347" y="0"/>
                  </a:lnTo>
                  <a:lnTo>
                    <a:pt x="351" y="0"/>
                  </a:lnTo>
                  <a:lnTo>
                    <a:pt x="355" y="4"/>
                  </a:lnTo>
                  <a:lnTo>
                    <a:pt x="359" y="4"/>
                  </a:lnTo>
                  <a:lnTo>
                    <a:pt x="363" y="4"/>
                  </a:lnTo>
                  <a:lnTo>
                    <a:pt x="367" y="4"/>
                  </a:lnTo>
                  <a:lnTo>
                    <a:pt x="367" y="0"/>
                  </a:lnTo>
                  <a:lnTo>
                    <a:pt x="371" y="0"/>
                  </a:lnTo>
                  <a:lnTo>
                    <a:pt x="371" y="4"/>
                  </a:lnTo>
                  <a:lnTo>
                    <a:pt x="371" y="8"/>
                  </a:lnTo>
                  <a:lnTo>
                    <a:pt x="371" y="12"/>
                  </a:lnTo>
                  <a:lnTo>
                    <a:pt x="375" y="16"/>
                  </a:lnTo>
                  <a:lnTo>
                    <a:pt x="379" y="16"/>
                  </a:lnTo>
                  <a:lnTo>
                    <a:pt x="375" y="16"/>
                  </a:lnTo>
                  <a:lnTo>
                    <a:pt x="375" y="20"/>
                  </a:lnTo>
                  <a:lnTo>
                    <a:pt x="375" y="24"/>
                  </a:lnTo>
                  <a:lnTo>
                    <a:pt x="371" y="24"/>
                  </a:lnTo>
                  <a:lnTo>
                    <a:pt x="375" y="24"/>
                  </a:lnTo>
                  <a:lnTo>
                    <a:pt x="375" y="28"/>
                  </a:lnTo>
                  <a:lnTo>
                    <a:pt x="379" y="28"/>
                  </a:lnTo>
                  <a:lnTo>
                    <a:pt x="383" y="28"/>
                  </a:lnTo>
                  <a:lnTo>
                    <a:pt x="387" y="28"/>
                  </a:lnTo>
                  <a:lnTo>
                    <a:pt x="391" y="28"/>
                  </a:lnTo>
                  <a:lnTo>
                    <a:pt x="387" y="24"/>
                  </a:lnTo>
                  <a:lnTo>
                    <a:pt x="391" y="24"/>
                  </a:lnTo>
                  <a:lnTo>
                    <a:pt x="395" y="28"/>
                  </a:lnTo>
                  <a:lnTo>
                    <a:pt x="391" y="28"/>
                  </a:lnTo>
                  <a:lnTo>
                    <a:pt x="395" y="28"/>
                  </a:lnTo>
                  <a:lnTo>
                    <a:pt x="395" y="32"/>
                  </a:lnTo>
                  <a:lnTo>
                    <a:pt x="395" y="36"/>
                  </a:lnTo>
                  <a:lnTo>
                    <a:pt x="395" y="32"/>
                  </a:lnTo>
                  <a:lnTo>
                    <a:pt x="399" y="32"/>
                  </a:lnTo>
                  <a:lnTo>
                    <a:pt x="395" y="32"/>
                  </a:lnTo>
                  <a:lnTo>
                    <a:pt x="395" y="28"/>
                  </a:lnTo>
                  <a:lnTo>
                    <a:pt x="399" y="28"/>
                  </a:lnTo>
                  <a:lnTo>
                    <a:pt x="403" y="28"/>
                  </a:lnTo>
                  <a:lnTo>
                    <a:pt x="403" y="32"/>
                  </a:lnTo>
                  <a:lnTo>
                    <a:pt x="407" y="32"/>
                  </a:lnTo>
                  <a:lnTo>
                    <a:pt x="411" y="32"/>
                  </a:lnTo>
                  <a:lnTo>
                    <a:pt x="415" y="32"/>
                  </a:lnTo>
                  <a:lnTo>
                    <a:pt x="415" y="36"/>
                  </a:lnTo>
                  <a:lnTo>
                    <a:pt x="411" y="36"/>
                  </a:lnTo>
                  <a:lnTo>
                    <a:pt x="407" y="36"/>
                  </a:lnTo>
                  <a:lnTo>
                    <a:pt x="407" y="40"/>
                  </a:lnTo>
                  <a:lnTo>
                    <a:pt x="407" y="44"/>
                  </a:lnTo>
                  <a:lnTo>
                    <a:pt x="411" y="44"/>
                  </a:lnTo>
                  <a:lnTo>
                    <a:pt x="407" y="44"/>
                  </a:lnTo>
                  <a:lnTo>
                    <a:pt x="411" y="44"/>
                  </a:lnTo>
                  <a:lnTo>
                    <a:pt x="415" y="40"/>
                  </a:lnTo>
                  <a:lnTo>
                    <a:pt x="419" y="40"/>
                  </a:lnTo>
                  <a:lnTo>
                    <a:pt x="423" y="40"/>
                  </a:lnTo>
                  <a:lnTo>
                    <a:pt x="423" y="44"/>
                  </a:lnTo>
                  <a:lnTo>
                    <a:pt x="427" y="40"/>
                  </a:lnTo>
                  <a:lnTo>
                    <a:pt x="423" y="40"/>
                  </a:lnTo>
                  <a:lnTo>
                    <a:pt x="427" y="40"/>
                  </a:lnTo>
                  <a:lnTo>
                    <a:pt x="427" y="36"/>
                  </a:lnTo>
                  <a:lnTo>
                    <a:pt x="430" y="36"/>
                  </a:lnTo>
                  <a:lnTo>
                    <a:pt x="434" y="36"/>
                  </a:lnTo>
                  <a:lnTo>
                    <a:pt x="438" y="32"/>
                  </a:lnTo>
                  <a:lnTo>
                    <a:pt x="442" y="28"/>
                  </a:lnTo>
                  <a:lnTo>
                    <a:pt x="446" y="28"/>
                  </a:lnTo>
                  <a:lnTo>
                    <a:pt x="450" y="28"/>
                  </a:lnTo>
                  <a:lnTo>
                    <a:pt x="450" y="24"/>
                  </a:lnTo>
                  <a:lnTo>
                    <a:pt x="454" y="24"/>
                  </a:lnTo>
                  <a:lnTo>
                    <a:pt x="458" y="24"/>
                  </a:lnTo>
                  <a:lnTo>
                    <a:pt x="458" y="20"/>
                  </a:lnTo>
                  <a:lnTo>
                    <a:pt x="462" y="24"/>
                  </a:lnTo>
                  <a:lnTo>
                    <a:pt x="458" y="28"/>
                  </a:lnTo>
                  <a:lnTo>
                    <a:pt x="454" y="28"/>
                  </a:lnTo>
                  <a:lnTo>
                    <a:pt x="454" y="32"/>
                  </a:lnTo>
                  <a:lnTo>
                    <a:pt x="458" y="36"/>
                  </a:lnTo>
                  <a:lnTo>
                    <a:pt x="462" y="36"/>
                  </a:lnTo>
                  <a:lnTo>
                    <a:pt x="466" y="40"/>
                  </a:lnTo>
                  <a:lnTo>
                    <a:pt x="470" y="44"/>
                  </a:lnTo>
                  <a:lnTo>
                    <a:pt x="474" y="48"/>
                  </a:lnTo>
                  <a:lnTo>
                    <a:pt x="478" y="48"/>
                  </a:lnTo>
                  <a:lnTo>
                    <a:pt x="478" y="52"/>
                  </a:lnTo>
                  <a:lnTo>
                    <a:pt x="482" y="60"/>
                  </a:lnTo>
                  <a:lnTo>
                    <a:pt x="486" y="60"/>
                  </a:lnTo>
                  <a:lnTo>
                    <a:pt x="486" y="64"/>
                  </a:lnTo>
                  <a:lnTo>
                    <a:pt x="486" y="68"/>
                  </a:lnTo>
                  <a:lnTo>
                    <a:pt x="490" y="68"/>
                  </a:lnTo>
                  <a:lnTo>
                    <a:pt x="494" y="72"/>
                  </a:lnTo>
                  <a:lnTo>
                    <a:pt x="498" y="84"/>
                  </a:lnTo>
                  <a:lnTo>
                    <a:pt x="502" y="88"/>
                  </a:lnTo>
                  <a:lnTo>
                    <a:pt x="502" y="92"/>
                  </a:lnTo>
                  <a:lnTo>
                    <a:pt x="502" y="96"/>
                  </a:lnTo>
                  <a:lnTo>
                    <a:pt x="506" y="96"/>
                  </a:lnTo>
                  <a:lnTo>
                    <a:pt x="506" y="104"/>
                  </a:lnTo>
                  <a:lnTo>
                    <a:pt x="510" y="104"/>
                  </a:lnTo>
                  <a:lnTo>
                    <a:pt x="514" y="104"/>
                  </a:lnTo>
                  <a:lnTo>
                    <a:pt x="514" y="100"/>
                  </a:lnTo>
                  <a:lnTo>
                    <a:pt x="514" y="96"/>
                  </a:lnTo>
                  <a:lnTo>
                    <a:pt x="518" y="96"/>
                  </a:lnTo>
                  <a:lnTo>
                    <a:pt x="518" y="92"/>
                  </a:lnTo>
                  <a:lnTo>
                    <a:pt x="522" y="96"/>
                  </a:lnTo>
                  <a:lnTo>
                    <a:pt x="526" y="96"/>
                  </a:lnTo>
                  <a:lnTo>
                    <a:pt x="526" y="100"/>
                  </a:lnTo>
                  <a:lnTo>
                    <a:pt x="530" y="100"/>
                  </a:lnTo>
                  <a:lnTo>
                    <a:pt x="530" y="104"/>
                  </a:lnTo>
                  <a:lnTo>
                    <a:pt x="530" y="108"/>
                  </a:lnTo>
                  <a:lnTo>
                    <a:pt x="534" y="108"/>
                  </a:lnTo>
                  <a:lnTo>
                    <a:pt x="534" y="104"/>
                  </a:lnTo>
                  <a:lnTo>
                    <a:pt x="538" y="104"/>
                  </a:lnTo>
                  <a:lnTo>
                    <a:pt x="538" y="108"/>
                  </a:lnTo>
                  <a:lnTo>
                    <a:pt x="542" y="108"/>
                  </a:lnTo>
                  <a:lnTo>
                    <a:pt x="546" y="104"/>
                  </a:lnTo>
                  <a:lnTo>
                    <a:pt x="546" y="108"/>
                  </a:lnTo>
                  <a:lnTo>
                    <a:pt x="550" y="104"/>
                  </a:lnTo>
                  <a:lnTo>
                    <a:pt x="554" y="104"/>
                  </a:lnTo>
                  <a:lnTo>
                    <a:pt x="554" y="100"/>
                  </a:lnTo>
                  <a:lnTo>
                    <a:pt x="558" y="100"/>
                  </a:lnTo>
                  <a:lnTo>
                    <a:pt x="562" y="100"/>
                  </a:lnTo>
                  <a:lnTo>
                    <a:pt x="566" y="104"/>
                  </a:lnTo>
                  <a:lnTo>
                    <a:pt x="570" y="104"/>
                  </a:lnTo>
                  <a:lnTo>
                    <a:pt x="570" y="108"/>
                  </a:lnTo>
                  <a:lnTo>
                    <a:pt x="574" y="112"/>
                  </a:lnTo>
                  <a:lnTo>
                    <a:pt x="574" y="116"/>
                  </a:lnTo>
                  <a:lnTo>
                    <a:pt x="574" y="120"/>
                  </a:lnTo>
                  <a:lnTo>
                    <a:pt x="578" y="120"/>
                  </a:lnTo>
                  <a:lnTo>
                    <a:pt x="582" y="120"/>
                  </a:lnTo>
                  <a:lnTo>
                    <a:pt x="586" y="120"/>
                  </a:lnTo>
                  <a:lnTo>
                    <a:pt x="586" y="124"/>
                  </a:lnTo>
                  <a:lnTo>
                    <a:pt x="582" y="124"/>
                  </a:lnTo>
                  <a:lnTo>
                    <a:pt x="586" y="124"/>
                  </a:lnTo>
                  <a:lnTo>
                    <a:pt x="586" y="128"/>
                  </a:lnTo>
                  <a:lnTo>
                    <a:pt x="586" y="132"/>
                  </a:lnTo>
                  <a:lnTo>
                    <a:pt x="590" y="132"/>
                  </a:lnTo>
                  <a:lnTo>
                    <a:pt x="594" y="132"/>
                  </a:lnTo>
                  <a:lnTo>
                    <a:pt x="598" y="132"/>
                  </a:lnTo>
                  <a:lnTo>
                    <a:pt x="602" y="136"/>
                  </a:lnTo>
                  <a:lnTo>
                    <a:pt x="602" y="132"/>
                  </a:lnTo>
                  <a:lnTo>
                    <a:pt x="606" y="132"/>
                  </a:lnTo>
                  <a:lnTo>
                    <a:pt x="606" y="128"/>
                  </a:lnTo>
                  <a:lnTo>
                    <a:pt x="610" y="128"/>
                  </a:lnTo>
                  <a:lnTo>
                    <a:pt x="610" y="132"/>
                  </a:lnTo>
                  <a:lnTo>
                    <a:pt x="614" y="132"/>
                  </a:lnTo>
                  <a:lnTo>
                    <a:pt x="614" y="136"/>
                  </a:lnTo>
                  <a:lnTo>
                    <a:pt x="614" y="140"/>
                  </a:lnTo>
                  <a:lnTo>
                    <a:pt x="618" y="140"/>
                  </a:lnTo>
                  <a:lnTo>
                    <a:pt x="618" y="144"/>
                  </a:lnTo>
                  <a:lnTo>
                    <a:pt x="614" y="144"/>
                  </a:lnTo>
                  <a:lnTo>
                    <a:pt x="610" y="144"/>
                  </a:lnTo>
                  <a:lnTo>
                    <a:pt x="610" y="148"/>
                  </a:lnTo>
                  <a:lnTo>
                    <a:pt x="610" y="152"/>
                  </a:lnTo>
                  <a:lnTo>
                    <a:pt x="610" y="156"/>
                  </a:lnTo>
                  <a:lnTo>
                    <a:pt x="606" y="156"/>
                  </a:lnTo>
                  <a:lnTo>
                    <a:pt x="602" y="156"/>
                  </a:lnTo>
                  <a:lnTo>
                    <a:pt x="598" y="156"/>
                  </a:lnTo>
                  <a:lnTo>
                    <a:pt x="598" y="160"/>
                  </a:lnTo>
                  <a:lnTo>
                    <a:pt x="594" y="160"/>
                  </a:lnTo>
                  <a:lnTo>
                    <a:pt x="594" y="164"/>
                  </a:lnTo>
                  <a:lnTo>
                    <a:pt x="594" y="168"/>
                  </a:lnTo>
                  <a:lnTo>
                    <a:pt x="594" y="172"/>
                  </a:lnTo>
                  <a:lnTo>
                    <a:pt x="594" y="176"/>
                  </a:lnTo>
                  <a:lnTo>
                    <a:pt x="594" y="180"/>
                  </a:lnTo>
                  <a:lnTo>
                    <a:pt x="594" y="184"/>
                  </a:lnTo>
                  <a:lnTo>
                    <a:pt x="594" y="188"/>
                  </a:lnTo>
                  <a:lnTo>
                    <a:pt x="590" y="188"/>
                  </a:lnTo>
                  <a:lnTo>
                    <a:pt x="586" y="188"/>
                  </a:lnTo>
                  <a:lnTo>
                    <a:pt x="586" y="192"/>
                  </a:lnTo>
                  <a:lnTo>
                    <a:pt x="582" y="192"/>
                  </a:lnTo>
                  <a:lnTo>
                    <a:pt x="578" y="188"/>
                  </a:lnTo>
                  <a:lnTo>
                    <a:pt x="574" y="188"/>
                  </a:lnTo>
                  <a:lnTo>
                    <a:pt x="570" y="188"/>
                  </a:lnTo>
                  <a:lnTo>
                    <a:pt x="566" y="188"/>
                  </a:lnTo>
                  <a:lnTo>
                    <a:pt x="562" y="188"/>
                  </a:lnTo>
                  <a:lnTo>
                    <a:pt x="558" y="184"/>
                  </a:lnTo>
                  <a:lnTo>
                    <a:pt x="554" y="184"/>
                  </a:lnTo>
                  <a:lnTo>
                    <a:pt x="554" y="188"/>
                  </a:lnTo>
                  <a:lnTo>
                    <a:pt x="554" y="192"/>
                  </a:lnTo>
                  <a:lnTo>
                    <a:pt x="550" y="196"/>
                  </a:lnTo>
                  <a:lnTo>
                    <a:pt x="550" y="200"/>
                  </a:lnTo>
                  <a:lnTo>
                    <a:pt x="550" y="204"/>
                  </a:lnTo>
                  <a:lnTo>
                    <a:pt x="546" y="204"/>
                  </a:lnTo>
                  <a:lnTo>
                    <a:pt x="546" y="208"/>
                  </a:lnTo>
                  <a:lnTo>
                    <a:pt x="546" y="212"/>
                  </a:lnTo>
                  <a:lnTo>
                    <a:pt x="546" y="216"/>
                  </a:lnTo>
                  <a:lnTo>
                    <a:pt x="542" y="220"/>
                  </a:lnTo>
                  <a:lnTo>
                    <a:pt x="546" y="220"/>
                  </a:lnTo>
                  <a:lnTo>
                    <a:pt x="546" y="224"/>
                  </a:lnTo>
                  <a:lnTo>
                    <a:pt x="550" y="224"/>
                  </a:lnTo>
                  <a:lnTo>
                    <a:pt x="550" y="228"/>
                  </a:lnTo>
                  <a:lnTo>
                    <a:pt x="546" y="228"/>
                  </a:lnTo>
                  <a:lnTo>
                    <a:pt x="542" y="228"/>
                  </a:lnTo>
                  <a:lnTo>
                    <a:pt x="538" y="228"/>
                  </a:lnTo>
                  <a:lnTo>
                    <a:pt x="534" y="228"/>
                  </a:lnTo>
                  <a:lnTo>
                    <a:pt x="534" y="224"/>
                  </a:lnTo>
                  <a:lnTo>
                    <a:pt x="530" y="224"/>
                  </a:lnTo>
                  <a:lnTo>
                    <a:pt x="530" y="228"/>
                  </a:lnTo>
                  <a:lnTo>
                    <a:pt x="526" y="228"/>
                  </a:lnTo>
                  <a:lnTo>
                    <a:pt x="522" y="228"/>
                  </a:lnTo>
                  <a:lnTo>
                    <a:pt x="518" y="228"/>
                  </a:lnTo>
                  <a:lnTo>
                    <a:pt x="514" y="232"/>
                  </a:lnTo>
                  <a:lnTo>
                    <a:pt x="510" y="232"/>
                  </a:lnTo>
                  <a:lnTo>
                    <a:pt x="506" y="236"/>
                  </a:lnTo>
                  <a:lnTo>
                    <a:pt x="510" y="236"/>
                  </a:lnTo>
                  <a:lnTo>
                    <a:pt x="514" y="236"/>
                  </a:lnTo>
                  <a:lnTo>
                    <a:pt x="518" y="236"/>
                  </a:lnTo>
                  <a:lnTo>
                    <a:pt x="518" y="240"/>
                  </a:lnTo>
                  <a:lnTo>
                    <a:pt x="514" y="240"/>
                  </a:lnTo>
                  <a:lnTo>
                    <a:pt x="514" y="244"/>
                  </a:lnTo>
                  <a:lnTo>
                    <a:pt x="514" y="248"/>
                  </a:lnTo>
                  <a:lnTo>
                    <a:pt x="514" y="252"/>
                  </a:lnTo>
                  <a:lnTo>
                    <a:pt x="514" y="256"/>
                  </a:lnTo>
                  <a:lnTo>
                    <a:pt x="518" y="256"/>
                  </a:lnTo>
                  <a:lnTo>
                    <a:pt x="518" y="260"/>
                  </a:lnTo>
                  <a:lnTo>
                    <a:pt x="518" y="264"/>
                  </a:lnTo>
                  <a:lnTo>
                    <a:pt x="522" y="268"/>
                  </a:lnTo>
                  <a:lnTo>
                    <a:pt x="522" y="272"/>
                  </a:lnTo>
                  <a:lnTo>
                    <a:pt x="518" y="272"/>
                  </a:lnTo>
                  <a:lnTo>
                    <a:pt x="514" y="276"/>
                  </a:lnTo>
                  <a:lnTo>
                    <a:pt x="518" y="276"/>
                  </a:lnTo>
                  <a:lnTo>
                    <a:pt x="514" y="280"/>
                  </a:lnTo>
                  <a:lnTo>
                    <a:pt x="510" y="284"/>
                  </a:lnTo>
                  <a:lnTo>
                    <a:pt x="510" y="287"/>
                  </a:lnTo>
                  <a:lnTo>
                    <a:pt x="514" y="287"/>
                  </a:lnTo>
                  <a:lnTo>
                    <a:pt x="514" y="291"/>
                  </a:lnTo>
                  <a:lnTo>
                    <a:pt x="510" y="291"/>
                  </a:lnTo>
                  <a:lnTo>
                    <a:pt x="510" y="287"/>
                  </a:lnTo>
                  <a:lnTo>
                    <a:pt x="506" y="287"/>
                  </a:lnTo>
                  <a:lnTo>
                    <a:pt x="502" y="287"/>
                  </a:lnTo>
                  <a:lnTo>
                    <a:pt x="498" y="287"/>
                  </a:lnTo>
                  <a:lnTo>
                    <a:pt x="498" y="284"/>
                  </a:lnTo>
                  <a:lnTo>
                    <a:pt x="498" y="280"/>
                  </a:lnTo>
                  <a:lnTo>
                    <a:pt x="494" y="280"/>
                  </a:lnTo>
                  <a:lnTo>
                    <a:pt x="490" y="280"/>
                  </a:lnTo>
                  <a:lnTo>
                    <a:pt x="486" y="276"/>
                  </a:lnTo>
                  <a:lnTo>
                    <a:pt x="482" y="276"/>
                  </a:lnTo>
                  <a:lnTo>
                    <a:pt x="478" y="276"/>
                  </a:lnTo>
                  <a:lnTo>
                    <a:pt x="474" y="276"/>
                  </a:lnTo>
                  <a:lnTo>
                    <a:pt x="470" y="276"/>
                  </a:lnTo>
                  <a:lnTo>
                    <a:pt x="466" y="276"/>
                  </a:lnTo>
                  <a:lnTo>
                    <a:pt x="462" y="276"/>
                  </a:lnTo>
                  <a:lnTo>
                    <a:pt x="458" y="276"/>
                  </a:lnTo>
                  <a:lnTo>
                    <a:pt x="454" y="276"/>
                  </a:lnTo>
                  <a:lnTo>
                    <a:pt x="450" y="276"/>
                  </a:lnTo>
                  <a:lnTo>
                    <a:pt x="446" y="2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7" name="Freeform 24"/>
            <p:cNvSpPr>
              <a:spLocks noEditPoints="1"/>
            </p:cNvSpPr>
            <p:nvPr>
              <p:custDataLst>
                <p:tags r:id="rId220"/>
              </p:custDataLst>
            </p:nvPr>
          </p:nvSpPr>
          <p:spPr bwMode="gray">
            <a:xfrm>
              <a:off x="5423104" y="3758023"/>
              <a:ext cx="41526" cy="47458"/>
            </a:xfrm>
            <a:custGeom>
              <a:avLst/>
              <a:gdLst/>
              <a:ahLst/>
              <a:cxnLst>
                <a:cxn ang="0">
                  <a:pos x="12" y="24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4" y="24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28" y="28"/>
                </a:cxn>
                <a:cxn ang="0">
                  <a:pos x="24" y="32"/>
                </a:cxn>
                <a:cxn ang="0">
                  <a:pos x="16" y="32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4" y="8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</a:cxnLst>
              <a:rect l="0" t="0" r="r" b="b"/>
              <a:pathLst>
                <a:path w="28" h="32">
                  <a:moveTo>
                    <a:pt x="12" y="24"/>
                  </a:moveTo>
                  <a:lnTo>
                    <a:pt x="12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close/>
                  <a:moveTo>
                    <a:pt x="24" y="4"/>
                  </a:move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0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8" name="Freeform 25"/>
            <p:cNvSpPr>
              <a:spLocks/>
            </p:cNvSpPr>
            <p:nvPr>
              <p:custDataLst>
                <p:tags r:id="rId221"/>
              </p:custDataLst>
            </p:nvPr>
          </p:nvSpPr>
          <p:spPr bwMode="gray">
            <a:xfrm>
              <a:off x="5931795" y="3367978"/>
              <a:ext cx="247671" cy="123094"/>
            </a:xfrm>
            <a:custGeom>
              <a:avLst/>
              <a:gdLst/>
              <a:ahLst/>
              <a:cxnLst>
                <a:cxn ang="0">
                  <a:pos x="80" y="59"/>
                </a:cxn>
                <a:cxn ang="0">
                  <a:pos x="72" y="63"/>
                </a:cxn>
                <a:cxn ang="0">
                  <a:pos x="72" y="71"/>
                </a:cxn>
                <a:cxn ang="0">
                  <a:pos x="64" y="75"/>
                </a:cxn>
                <a:cxn ang="0">
                  <a:pos x="56" y="79"/>
                </a:cxn>
                <a:cxn ang="0">
                  <a:pos x="44" y="79"/>
                </a:cxn>
                <a:cxn ang="0">
                  <a:pos x="40" y="79"/>
                </a:cxn>
                <a:cxn ang="0">
                  <a:pos x="32" y="75"/>
                </a:cxn>
                <a:cxn ang="0">
                  <a:pos x="32" y="75"/>
                </a:cxn>
                <a:cxn ang="0">
                  <a:pos x="24" y="75"/>
                </a:cxn>
                <a:cxn ang="0">
                  <a:pos x="16" y="71"/>
                </a:cxn>
                <a:cxn ang="0">
                  <a:pos x="8" y="75"/>
                </a:cxn>
                <a:cxn ang="0">
                  <a:pos x="0" y="71"/>
                </a:cxn>
                <a:cxn ang="0">
                  <a:pos x="0" y="67"/>
                </a:cxn>
                <a:cxn ang="0">
                  <a:pos x="8" y="63"/>
                </a:cxn>
                <a:cxn ang="0">
                  <a:pos x="20" y="63"/>
                </a:cxn>
                <a:cxn ang="0">
                  <a:pos x="20" y="67"/>
                </a:cxn>
                <a:cxn ang="0">
                  <a:pos x="24" y="59"/>
                </a:cxn>
                <a:cxn ang="0">
                  <a:pos x="36" y="63"/>
                </a:cxn>
                <a:cxn ang="0">
                  <a:pos x="48" y="55"/>
                </a:cxn>
                <a:cxn ang="0">
                  <a:pos x="52" y="55"/>
                </a:cxn>
                <a:cxn ang="0">
                  <a:pos x="56" y="47"/>
                </a:cxn>
                <a:cxn ang="0">
                  <a:pos x="52" y="47"/>
                </a:cxn>
                <a:cxn ang="0">
                  <a:pos x="44" y="39"/>
                </a:cxn>
                <a:cxn ang="0">
                  <a:pos x="36" y="31"/>
                </a:cxn>
                <a:cxn ang="0">
                  <a:pos x="32" y="39"/>
                </a:cxn>
                <a:cxn ang="0">
                  <a:pos x="32" y="43"/>
                </a:cxn>
                <a:cxn ang="0">
                  <a:pos x="24" y="35"/>
                </a:cxn>
                <a:cxn ang="0">
                  <a:pos x="12" y="35"/>
                </a:cxn>
                <a:cxn ang="0">
                  <a:pos x="16" y="27"/>
                </a:cxn>
                <a:cxn ang="0">
                  <a:pos x="24" y="23"/>
                </a:cxn>
                <a:cxn ang="0">
                  <a:pos x="24" y="19"/>
                </a:cxn>
                <a:cxn ang="0">
                  <a:pos x="28" y="8"/>
                </a:cxn>
                <a:cxn ang="0">
                  <a:pos x="40" y="8"/>
                </a:cxn>
                <a:cxn ang="0">
                  <a:pos x="52" y="8"/>
                </a:cxn>
                <a:cxn ang="0">
                  <a:pos x="60" y="12"/>
                </a:cxn>
                <a:cxn ang="0">
                  <a:pos x="64" y="12"/>
                </a:cxn>
                <a:cxn ang="0">
                  <a:pos x="64" y="0"/>
                </a:cxn>
                <a:cxn ang="0">
                  <a:pos x="76" y="0"/>
                </a:cxn>
                <a:cxn ang="0">
                  <a:pos x="87" y="4"/>
                </a:cxn>
                <a:cxn ang="0">
                  <a:pos x="95" y="8"/>
                </a:cxn>
                <a:cxn ang="0">
                  <a:pos x="107" y="4"/>
                </a:cxn>
                <a:cxn ang="0">
                  <a:pos x="119" y="4"/>
                </a:cxn>
                <a:cxn ang="0">
                  <a:pos x="131" y="4"/>
                </a:cxn>
                <a:cxn ang="0">
                  <a:pos x="143" y="8"/>
                </a:cxn>
                <a:cxn ang="0">
                  <a:pos x="151" y="12"/>
                </a:cxn>
                <a:cxn ang="0">
                  <a:pos x="159" y="15"/>
                </a:cxn>
                <a:cxn ang="0">
                  <a:pos x="167" y="19"/>
                </a:cxn>
                <a:cxn ang="0">
                  <a:pos x="159" y="23"/>
                </a:cxn>
                <a:cxn ang="0">
                  <a:pos x="151" y="27"/>
                </a:cxn>
                <a:cxn ang="0">
                  <a:pos x="143" y="31"/>
                </a:cxn>
                <a:cxn ang="0">
                  <a:pos x="135" y="39"/>
                </a:cxn>
                <a:cxn ang="0">
                  <a:pos x="127" y="43"/>
                </a:cxn>
                <a:cxn ang="0">
                  <a:pos x="115" y="43"/>
                </a:cxn>
                <a:cxn ang="0">
                  <a:pos x="111" y="55"/>
                </a:cxn>
                <a:cxn ang="0">
                  <a:pos x="107" y="55"/>
                </a:cxn>
                <a:cxn ang="0">
                  <a:pos x="95" y="59"/>
                </a:cxn>
                <a:cxn ang="0">
                  <a:pos x="91" y="51"/>
                </a:cxn>
                <a:cxn ang="0">
                  <a:pos x="83" y="55"/>
                </a:cxn>
              </a:cxnLst>
              <a:rect l="0" t="0" r="r" b="b"/>
              <a:pathLst>
                <a:path w="167" h="83">
                  <a:moveTo>
                    <a:pt x="83" y="55"/>
                  </a:moveTo>
                  <a:lnTo>
                    <a:pt x="83" y="59"/>
                  </a:lnTo>
                  <a:lnTo>
                    <a:pt x="80" y="59"/>
                  </a:lnTo>
                  <a:lnTo>
                    <a:pt x="80" y="63"/>
                  </a:lnTo>
                  <a:lnTo>
                    <a:pt x="76" y="63"/>
                  </a:lnTo>
                  <a:lnTo>
                    <a:pt x="72" y="63"/>
                  </a:lnTo>
                  <a:lnTo>
                    <a:pt x="68" y="67"/>
                  </a:lnTo>
                  <a:lnTo>
                    <a:pt x="68" y="71"/>
                  </a:lnTo>
                  <a:lnTo>
                    <a:pt x="72" y="71"/>
                  </a:lnTo>
                  <a:lnTo>
                    <a:pt x="72" y="75"/>
                  </a:lnTo>
                  <a:lnTo>
                    <a:pt x="68" y="75"/>
                  </a:lnTo>
                  <a:lnTo>
                    <a:pt x="64" y="75"/>
                  </a:lnTo>
                  <a:lnTo>
                    <a:pt x="60" y="75"/>
                  </a:lnTo>
                  <a:lnTo>
                    <a:pt x="60" y="79"/>
                  </a:lnTo>
                  <a:lnTo>
                    <a:pt x="56" y="79"/>
                  </a:lnTo>
                  <a:lnTo>
                    <a:pt x="52" y="79"/>
                  </a:lnTo>
                  <a:lnTo>
                    <a:pt x="48" y="79"/>
                  </a:lnTo>
                  <a:lnTo>
                    <a:pt x="44" y="79"/>
                  </a:lnTo>
                  <a:lnTo>
                    <a:pt x="44" y="83"/>
                  </a:lnTo>
                  <a:lnTo>
                    <a:pt x="44" y="79"/>
                  </a:lnTo>
                  <a:lnTo>
                    <a:pt x="40" y="79"/>
                  </a:lnTo>
                  <a:lnTo>
                    <a:pt x="36" y="79"/>
                  </a:lnTo>
                  <a:lnTo>
                    <a:pt x="36" y="75"/>
                  </a:lnTo>
                  <a:lnTo>
                    <a:pt x="32" y="75"/>
                  </a:lnTo>
                  <a:lnTo>
                    <a:pt x="36" y="75"/>
                  </a:lnTo>
                  <a:lnTo>
                    <a:pt x="32" y="71"/>
                  </a:lnTo>
                  <a:lnTo>
                    <a:pt x="32" y="75"/>
                  </a:lnTo>
                  <a:lnTo>
                    <a:pt x="28" y="75"/>
                  </a:lnTo>
                  <a:lnTo>
                    <a:pt x="24" y="79"/>
                  </a:lnTo>
                  <a:lnTo>
                    <a:pt x="24" y="75"/>
                  </a:lnTo>
                  <a:lnTo>
                    <a:pt x="20" y="75"/>
                  </a:lnTo>
                  <a:lnTo>
                    <a:pt x="20" y="71"/>
                  </a:lnTo>
                  <a:lnTo>
                    <a:pt x="16" y="71"/>
                  </a:lnTo>
                  <a:lnTo>
                    <a:pt x="16" y="75"/>
                  </a:lnTo>
                  <a:lnTo>
                    <a:pt x="12" y="75"/>
                  </a:lnTo>
                  <a:lnTo>
                    <a:pt x="8" y="75"/>
                  </a:lnTo>
                  <a:lnTo>
                    <a:pt x="4" y="75"/>
                  </a:lnTo>
                  <a:lnTo>
                    <a:pt x="0" y="75"/>
                  </a:lnTo>
                  <a:lnTo>
                    <a:pt x="0" y="71"/>
                  </a:lnTo>
                  <a:lnTo>
                    <a:pt x="0" y="67"/>
                  </a:lnTo>
                  <a:lnTo>
                    <a:pt x="0" y="63"/>
                  </a:lnTo>
                  <a:lnTo>
                    <a:pt x="0" y="67"/>
                  </a:lnTo>
                  <a:lnTo>
                    <a:pt x="4" y="67"/>
                  </a:lnTo>
                  <a:lnTo>
                    <a:pt x="4" y="63"/>
                  </a:lnTo>
                  <a:lnTo>
                    <a:pt x="8" y="63"/>
                  </a:lnTo>
                  <a:lnTo>
                    <a:pt x="12" y="59"/>
                  </a:lnTo>
                  <a:lnTo>
                    <a:pt x="16" y="63"/>
                  </a:lnTo>
                  <a:lnTo>
                    <a:pt x="20" y="63"/>
                  </a:lnTo>
                  <a:lnTo>
                    <a:pt x="20" y="67"/>
                  </a:lnTo>
                  <a:lnTo>
                    <a:pt x="16" y="67"/>
                  </a:lnTo>
                  <a:lnTo>
                    <a:pt x="20" y="67"/>
                  </a:lnTo>
                  <a:lnTo>
                    <a:pt x="20" y="63"/>
                  </a:lnTo>
                  <a:lnTo>
                    <a:pt x="24" y="63"/>
                  </a:lnTo>
                  <a:lnTo>
                    <a:pt x="24" y="59"/>
                  </a:lnTo>
                  <a:lnTo>
                    <a:pt x="28" y="59"/>
                  </a:lnTo>
                  <a:lnTo>
                    <a:pt x="32" y="59"/>
                  </a:lnTo>
                  <a:lnTo>
                    <a:pt x="36" y="63"/>
                  </a:lnTo>
                  <a:lnTo>
                    <a:pt x="40" y="59"/>
                  </a:lnTo>
                  <a:lnTo>
                    <a:pt x="44" y="55"/>
                  </a:lnTo>
                  <a:lnTo>
                    <a:pt x="48" y="55"/>
                  </a:lnTo>
                  <a:lnTo>
                    <a:pt x="48" y="51"/>
                  </a:lnTo>
                  <a:lnTo>
                    <a:pt x="48" y="55"/>
                  </a:lnTo>
                  <a:lnTo>
                    <a:pt x="52" y="55"/>
                  </a:lnTo>
                  <a:lnTo>
                    <a:pt x="52" y="51"/>
                  </a:lnTo>
                  <a:lnTo>
                    <a:pt x="56" y="51"/>
                  </a:lnTo>
                  <a:lnTo>
                    <a:pt x="56" y="47"/>
                  </a:lnTo>
                  <a:lnTo>
                    <a:pt x="60" y="47"/>
                  </a:lnTo>
                  <a:lnTo>
                    <a:pt x="56" y="47"/>
                  </a:lnTo>
                  <a:lnTo>
                    <a:pt x="52" y="47"/>
                  </a:lnTo>
                  <a:lnTo>
                    <a:pt x="48" y="43"/>
                  </a:lnTo>
                  <a:lnTo>
                    <a:pt x="44" y="43"/>
                  </a:lnTo>
                  <a:lnTo>
                    <a:pt x="44" y="39"/>
                  </a:lnTo>
                  <a:lnTo>
                    <a:pt x="40" y="39"/>
                  </a:lnTo>
                  <a:lnTo>
                    <a:pt x="40" y="35"/>
                  </a:lnTo>
                  <a:lnTo>
                    <a:pt x="36" y="31"/>
                  </a:lnTo>
                  <a:lnTo>
                    <a:pt x="36" y="35"/>
                  </a:lnTo>
                  <a:lnTo>
                    <a:pt x="36" y="39"/>
                  </a:lnTo>
                  <a:lnTo>
                    <a:pt x="32" y="39"/>
                  </a:lnTo>
                  <a:lnTo>
                    <a:pt x="32" y="35"/>
                  </a:lnTo>
                  <a:lnTo>
                    <a:pt x="32" y="39"/>
                  </a:lnTo>
                  <a:lnTo>
                    <a:pt x="32" y="43"/>
                  </a:lnTo>
                  <a:lnTo>
                    <a:pt x="28" y="39"/>
                  </a:lnTo>
                  <a:lnTo>
                    <a:pt x="24" y="39"/>
                  </a:lnTo>
                  <a:lnTo>
                    <a:pt x="24" y="35"/>
                  </a:lnTo>
                  <a:lnTo>
                    <a:pt x="20" y="35"/>
                  </a:lnTo>
                  <a:lnTo>
                    <a:pt x="16" y="35"/>
                  </a:lnTo>
                  <a:lnTo>
                    <a:pt x="12" y="35"/>
                  </a:lnTo>
                  <a:lnTo>
                    <a:pt x="12" y="31"/>
                  </a:lnTo>
                  <a:lnTo>
                    <a:pt x="16" y="31"/>
                  </a:lnTo>
                  <a:lnTo>
                    <a:pt x="16" y="27"/>
                  </a:lnTo>
                  <a:lnTo>
                    <a:pt x="20" y="27"/>
                  </a:lnTo>
                  <a:lnTo>
                    <a:pt x="20" y="23"/>
                  </a:lnTo>
                  <a:lnTo>
                    <a:pt x="24" y="23"/>
                  </a:lnTo>
                  <a:lnTo>
                    <a:pt x="28" y="19"/>
                  </a:lnTo>
                  <a:lnTo>
                    <a:pt x="28" y="15"/>
                  </a:lnTo>
                  <a:lnTo>
                    <a:pt x="24" y="19"/>
                  </a:lnTo>
                  <a:lnTo>
                    <a:pt x="24" y="15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5"/>
                  </a:lnTo>
                  <a:lnTo>
                    <a:pt x="64" y="15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3" y="4"/>
                  </a:lnTo>
                  <a:lnTo>
                    <a:pt x="87" y="4"/>
                  </a:lnTo>
                  <a:lnTo>
                    <a:pt x="91" y="4"/>
                  </a:lnTo>
                  <a:lnTo>
                    <a:pt x="91" y="8"/>
                  </a:lnTo>
                  <a:lnTo>
                    <a:pt x="95" y="8"/>
                  </a:lnTo>
                  <a:lnTo>
                    <a:pt x="99" y="4"/>
                  </a:lnTo>
                  <a:lnTo>
                    <a:pt x="103" y="4"/>
                  </a:lnTo>
                  <a:lnTo>
                    <a:pt x="107" y="4"/>
                  </a:lnTo>
                  <a:lnTo>
                    <a:pt x="111" y="4"/>
                  </a:lnTo>
                  <a:lnTo>
                    <a:pt x="115" y="4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7" y="4"/>
                  </a:lnTo>
                  <a:lnTo>
                    <a:pt x="131" y="4"/>
                  </a:lnTo>
                  <a:lnTo>
                    <a:pt x="135" y="4"/>
                  </a:lnTo>
                  <a:lnTo>
                    <a:pt x="139" y="4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51" y="8"/>
                  </a:lnTo>
                  <a:lnTo>
                    <a:pt x="151" y="12"/>
                  </a:lnTo>
                  <a:lnTo>
                    <a:pt x="151" y="15"/>
                  </a:lnTo>
                  <a:lnTo>
                    <a:pt x="155" y="15"/>
                  </a:lnTo>
                  <a:lnTo>
                    <a:pt x="159" y="15"/>
                  </a:lnTo>
                  <a:lnTo>
                    <a:pt x="163" y="15"/>
                  </a:lnTo>
                  <a:lnTo>
                    <a:pt x="163" y="19"/>
                  </a:lnTo>
                  <a:lnTo>
                    <a:pt x="167" y="19"/>
                  </a:lnTo>
                  <a:lnTo>
                    <a:pt x="167" y="23"/>
                  </a:lnTo>
                  <a:lnTo>
                    <a:pt x="163" y="23"/>
                  </a:lnTo>
                  <a:lnTo>
                    <a:pt x="159" y="23"/>
                  </a:lnTo>
                  <a:lnTo>
                    <a:pt x="159" y="27"/>
                  </a:lnTo>
                  <a:lnTo>
                    <a:pt x="155" y="27"/>
                  </a:lnTo>
                  <a:lnTo>
                    <a:pt x="151" y="27"/>
                  </a:lnTo>
                  <a:lnTo>
                    <a:pt x="147" y="27"/>
                  </a:lnTo>
                  <a:lnTo>
                    <a:pt x="147" y="31"/>
                  </a:lnTo>
                  <a:lnTo>
                    <a:pt x="143" y="31"/>
                  </a:lnTo>
                  <a:lnTo>
                    <a:pt x="139" y="35"/>
                  </a:lnTo>
                  <a:lnTo>
                    <a:pt x="135" y="35"/>
                  </a:lnTo>
                  <a:lnTo>
                    <a:pt x="135" y="39"/>
                  </a:lnTo>
                  <a:lnTo>
                    <a:pt x="135" y="43"/>
                  </a:lnTo>
                  <a:lnTo>
                    <a:pt x="131" y="43"/>
                  </a:lnTo>
                  <a:lnTo>
                    <a:pt x="127" y="43"/>
                  </a:lnTo>
                  <a:lnTo>
                    <a:pt x="123" y="43"/>
                  </a:lnTo>
                  <a:lnTo>
                    <a:pt x="119" y="43"/>
                  </a:lnTo>
                  <a:lnTo>
                    <a:pt x="115" y="43"/>
                  </a:lnTo>
                  <a:lnTo>
                    <a:pt x="111" y="43"/>
                  </a:lnTo>
                  <a:lnTo>
                    <a:pt x="111" y="51"/>
                  </a:lnTo>
                  <a:lnTo>
                    <a:pt x="111" y="55"/>
                  </a:lnTo>
                  <a:lnTo>
                    <a:pt x="107" y="55"/>
                  </a:lnTo>
                  <a:lnTo>
                    <a:pt x="107" y="59"/>
                  </a:lnTo>
                  <a:lnTo>
                    <a:pt x="107" y="55"/>
                  </a:lnTo>
                  <a:lnTo>
                    <a:pt x="103" y="55"/>
                  </a:lnTo>
                  <a:lnTo>
                    <a:pt x="99" y="59"/>
                  </a:lnTo>
                  <a:lnTo>
                    <a:pt x="95" y="59"/>
                  </a:lnTo>
                  <a:lnTo>
                    <a:pt x="95" y="55"/>
                  </a:lnTo>
                  <a:lnTo>
                    <a:pt x="95" y="51"/>
                  </a:lnTo>
                  <a:lnTo>
                    <a:pt x="91" y="51"/>
                  </a:lnTo>
                  <a:lnTo>
                    <a:pt x="91" y="55"/>
                  </a:lnTo>
                  <a:lnTo>
                    <a:pt x="87" y="55"/>
                  </a:lnTo>
                  <a:lnTo>
                    <a:pt x="83" y="5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9" name="Freeform 26"/>
            <p:cNvSpPr>
              <a:spLocks/>
            </p:cNvSpPr>
            <p:nvPr>
              <p:custDataLst>
                <p:tags r:id="rId222"/>
              </p:custDataLst>
            </p:nvPr>
          </p:nvSpPr>
          <p:spPr bwMode="gray">
            <a:xfrm>
              <a:off x="6622903" y="3977517"/>
              <a:ext cx="172035" cy="235807"/>
            </a:xfrm>
            <a:custGeom>
              <a:avLst/>
              <a:gdLst/>
              <a:ahLst/>
              <a:cxnLst>
                <a:cxn ang="0">
                  <a:pos x="56" y="79"/>
                </a:cxn>
                <a:cxn ang="0">
                  <a:pos x="48" y="79"/>
                </a:cxn>
                <a:cxn ang="0">
                  <a:pos x="36" y="87"/>
                </a:cxn>
                <a:cxn ang="0">
                  <a:pos x="28" y="79"/>
                </a:cxn>
                <a:cxn ang="0">
                  <a:pos x="20" y="87"/>
                </a:cxn>
                <a:cxn ang="0">
                  <a:pos x="12" y="95"/>
                </a:cxn>
                <a:cxn ang="0">
                  <a:pos x="16" y="83"/>
                </a:cxn>
                <a:cxn ang="0">
                  <a:pos x="16" y="67"/>
                </a:cxn>
                <a:cxn ang="0">
                  <a:pos x="16" y="59"/>
                </a:cxn>
                <a:cxn ang="0">
                  <a:pos x="4" y="55"/>
                </a:cxn>
                <a:cxn ang="0">
                  <a:pos x="4" y="43"/>
                </a:cxn>
                <a:cxn ang="0">
                  <a:pos x="0" y="39"/>
                </a:cxn>
                <a:cxn ang="0">
                  <a:pos x="8" y="32"/>
                </a:cxn>
                <a:cxn ang="0">
                  <a:pos x="8" y="24"/>
                </a:cxn>
                <a:cxn ang="0">
                  <a:pos x="16" y="16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0" y="4"/>
                </a:cxn>
                <a:cxn ang="0">
                  <a:pos x="32" y="0"/>
                </a:cxn>
                <a:cxn ang="0">
                  <a:pos x="40" y="12"/>
                </a:cxn>
                <a:cxn ang="0">
                  <a:pos x="40" y="20"/>
                </a:cxn>
                <a:cxn ang="0">
                  <a:pos x="44" y="28"/>
                </a:cxn>
                <a:cxn ang="0">
                  <a:pos x="52" y="36"/>
                </a:cxn>
                <a:cxn ang="0">
                  <a:pos x="64" y="32"/>
                </a:cxn>
                <a:cxn ang="0">
                  <a:pos x="72" y="43"/>
                </a:cxn>
                <a:cxn ang="0">
                  <a:pos x="68" y="55"/>
                </a:cxn>
                <a:cxn ang="0">
                  <a:pos x="60" y="55"/>
                </a:cxn>
                <a:cxn ang="0">
                  <a:pos x="56" y="59"/>
                </a:cxn>
                <a:cxn ang="0">
                  <a:pos x="68" y="71"/>
                </a:cxn>
                <a:cxn ang="0">
                  <a:pos x="76" y="79"/>
                </a:cxn>
                <a:cxn ang="0">
                  <a:pos x="84" y="87"/>
                </a:cxn>
                <a:cxn ang="0">
                  <a:pos x="92" y="95"/>
                </a:cxn>
                <a:cxn ang="0">
                  <a:pos x="96" y="107"/>
                </a:cxn>
                <a:cxn ang="0">
                  <a:pos x="104" y="111"/>
                </a:cxn>
                <a:cxn ang="0">
                  <a:pos x="112" y="119"/>
                </a:cxn>
                <a:cxn ang="0">
                  <a:pos x="108" y="131"/>
                </a:cxn>
                <a:cxn ang="0">
                  <a:pos x="112" y="139"/>
                </a:cxn>
                <a:cxn ang="0">
                  <a:pos x="108" y="151"/>
                </a:cxn>
                <a:cxn ang="0">
                  <a:pos x="96" y="151"/>
                </a:cxn>
                <a:cxn ang="0">
                  <a:pos x="92" y="155"/>
                </a:cxn>
                <a:cxn ang="0">
                  <a:pos x="84" y="155"/>
                </a:cxn>
                <a:cxn ang="0">
                  <a:pos x="76" y="155"/>
                </a:cxn>
                <a:cxn ang="0">
                  <a:pos x="80" y="143"/>
                </a:cxn>
                <a:cxn ang="0">
                  <a:pos x="84" y="135"/>
                </a:cxn>
                <a:cxn ang="0">
                  <a:pos x="80" y="123"/>
                </a:cxn>
                <a:cxn ang="0">
                  <a:pos x="72" y="111"/>
                </a:cxn>
                <a:cxn ang="0">
                  <a:pos x="68" y="103"/>
                </a:cxn>
                <a:cxn ang="0">
                  <a:pos x="68" y="95"/>
                </a:cxn>
              </a:cxnLst>
              <a:rect l="0" t="0" r="r" b="b"/>
              <a:pathLst>
                <a:path w="116" h="159">
                  <a:moveTo>
                    <a:pt x="64" y="87"/>
                  </a:moveTo>
                  <a:lnTo>
                    <a:pt x="60" y="83"/>
                  </a:lnTo>
                  <a:lnTo>
                    <a:pt x="60" y="79"/>
                  </a:lnTo>
                  <a:lnTo>
                    <a:pt x="56" y="79"/>
                  </a:lnTo>
                  <a:lnTo>
                    <a:pt x="52" y="79"/>
                  </a:lnTo>
                  <a:lnTo>
                    <a:pt x="52" y="75"/>
                  </a:lnTo>
                  <a:lnTo>
                    <a:pt x="48" y="75"/>
                  </a:lnTo>
                  <a:lnTo>
                    <a:pt x="48" y="79"/>
                  </a:lnTo>
                  <a:lnTo>
                    <a:pt x="44" y="83"/>
                  </a:lnTo>
                  <a:lnTo>
                    <a:pt x="40" y="83"/>
                  </a:lnTo>
                  <a:lnTo>
                    <a:pt x="40" y="87"/>
                  </a:lnTo>
                  <a:lnTo>
                    <a:pt x="36" y="87"/>
                  </a:lnTo>
                  <a:lnTo>
                    <a:pt x="36" y="83"/>
                  </a:lnTo>
                  <a:lnTo>
                    <a:pt x="32" y="83"/>
                  </a:lnTo>
                  <a:lnTo>
                    <a:pt x="32" y="79"/>
                  </a:lnTo>
                  <a:lnTo>
                    <a:pt x="28" y="79"/>
                  </a:lnTo>
                  <a:lnTo>
                    <a:pt x="28" y="83"/>
                  </a:lnTo>
                  <a:lnTo>
                    <a:pt x="24" y="83"/>
                  </a:lnTo>
                  <a:lnTo>
                    <a:pt x="24" y="87"/>
                  </a:lnTo>
                  <a:lnTo>
                    <a:pt x="20" y="87"/>
                  </a:lnTo>
                  <a:lnTo>
                    <a:pt x="20" y="91"/>
                  </a:lnTo>
                  <a:lnTo>
                    <a:pt x="16" y="91"/>
                  </a:lnTo>
                  <a:lnTo>
                    <a:pt x="16" y="95"/>
                  </a:lnTo>
                  <a:lnTo>
                    <a:pt x="12" y="95"/>
                  </a:lnTo>
                  <a:lnTo>
                    <a:pt x="12" y="91"/>
                  </a:lnTo>
                  <a:lnTo>
                    <a:pt x="12" y="87"/>
                  </a:lnTo>
                  <a:lnTo>
                    <a:pt x="16" y="87"/>
                  </a:lnTo>
                  <a:lnTo>
                    <a:pt x="16" y="83"/>
                  </a:lnTo>
                  <a:lnTo>
                    <a:pt x="16" y="79"/>
                  </a:lnTo>
                  <a:lnTo>
                    <a:pt x="16" y="75"/>
                  </a:lnTo>
                  <a:lnTo>
                    <a:pt x="16" y="71"/>
                  </a:lnTo>
                  <a:lnTo>
                    <a:pt x="16" y="67"/>
                  </a:lnTo>
                  <a:lnTo>
                    <a:pt x="20" y="67"/>
                  </a:lnTo>
                  <a:lnTo>
                    <a:pt x="20" y="63"/>
                  </a:lnTo>
                  <a:lnTo>
                    <a:pt x="16" y="63"/>
                  </a:lnTo>
                  <a:lnTo>
                    <a:pt x="16" y="59"/>
                  </a:lnTo>
                  <a:lnTo>
                    <a:pt x="16" y="55"/>
                  </a:lnTo>
                  <a:lnTo>
                    <a:pt x="12" y="55"/>
                  </a:lnTo>
                  <a:lnTo>
                    <a:pt x="8" y="55"/>
                  </a:lnTo>
                  <a:lnTo>
                    <a:pt x="4" y="55"/>
                  </a:lnTo>
                  <a:lnTo>
                    <a:pt x="4" y="51"/>
                  </a:lnTo>
                  <a:lnTo>
                    <a:pt x="8" y="47"/>
                  </a:lnTo>
                  <a:lnTo>
                    <a:pt x="8" y="43"/>
                  </a:lnTo>
                  <a:lnTo>
                    <a:pt x="4" y="43"/>
                  </a:lnTo>
                  <a:lnTo>
                    <a:pt x="4" y="39"/>
                  </a:lnTo>
                  <a:lnTo>
                    <a:pt x="0" y="39"/>
                  </a:lnTo>
                  <a:lnTo>
                    <a:pt x="0" y="43"/>
                  </a:lnTo>
                  <a:lnTo>
                    <a:pt x="0" y="39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8" y="36"/>
                  </a:lnTo>
                  <a:lnTo>
                    <a:pt x="64" y="39"/>
                  </a:lnTo>
                  <a:lnTo>
                    <a:pt x="68" y="39"/>
                  </a:lnTo>
                  <a:lnTo>
                    <a:pt x="72" y="43"/>
                  </a:lnTo>
                  <a:lnTo>
                    <a:pt x="72" y="47"/>
                  </a:lnTo>
                  <a:lnTo>
                    <a:pt x="72" y="51"/>
                  </a:lnTo>
                  <a:lnTo>
                    <a:pt x="68" y="51"/>
                  </a:lnTo>
                  <a:lnTo>
                    <a:pt x="68" y="55"/>
                  </a:lnTo>
                  <a:lnTo>
                    <a:pt x="64" y="55"/>
                  </a:lnTo>
                  <a:lnTo>
                    <a:pt x="64" y="51"/>
                  </a:lnTo>
                  <a:lnTo>
                    <a:pt x="60" y="51"/>
                  </a:lnTo>
                  <a:lnTo>
                    <a:pt x="60" y="55"/>
                  </a:lnTo>
                  <a:lnTo>
                    <a:pt x="60" y="51"/>
                  </a:lnTo>
                  <a:lnTo>
                    <a:pt x="60" y="55"/>
                  </a:lnTo>
                  <a:lnTo>
                    <a:pt x="60" y="59"/>
                  </a:lnTo>
                  <a:lnTo>
                    <a:pt x="56" y="59"/>
                  </a:lnTo>
                  <a:lnTo>
                    <a:pt x="60" y="63"/>
                  </a:lnTo>
                  <a:lnTo>
                    <a:pt x="64" y="63"/>
                  </a:lnTo>
                  <a:lnTo>
                    <a:pt x="68" y="67"/>
                  </a:lnTo>
                  <a:lnTo>
                    <a:pt x="68" y="71"/>
                  </a:lnTo>
                  <a:lnTo>
                    <a:pt x="72" y="71"/>
                  </a:lnTo>
                  <a:lnTo>
                    <a:pt x="76" y="71"/>
                  </a:lnTo>
                  <a:lnTo>
                    <a:pt x="76" y="75"/>
                  </a:lnTo>
                  <a:lnTo>
                    <a:pt x="76" y="79"/>
                  </a:lnTo>
                  <a:lnTo>
                    <a:pt x="80" y="79"/>
                  </a:lnTo>
                  <a:lnTo>
                    <a:pt x="80" y="83"/>
                  </a:lnTo>
                  <a:lnTo>
                    <a:pt x="84" y="83"/>
                  </a:lnTo>
                  <a:lnTo>
                    <a:pt x="84" y="87"/>
                  </a:lnTo>
                  <a:lnTo>
                    <a:pt x="84" y="91"/>
                  </a:lnTo>
                  <a:lnTo>
                    <a:pt x="88" y="91"/>
                  </a:lnTo>
                  <a:lnTo>
                    <a:pt x="88" y="95"/>
                  </a:lnTo>
                  <a:lnTo>
                    <a:pt x="92" y="95"/>
                  </a:lnTo>
                  <a:lnTo>
                    <a:pt x="92" y="99"/>
                  </a:lnTo>
                  <a:lnTo>
                    <a:pt x="96" y="99"/>
                  </a:lnTo>
                  <a:lnTo>
                    <a:pt x="96" y="103"/>
                  </a:lnTo>
                  <a:lnTo>
                    <a:pt x="96" y="107"/>
                  </a:lnTo>
                  <a:lnTo>
                    <a:pt x="96" y="111"/>
                  </a:lnTo>
                  <a:lnTo>
                    <a:pt x="100" y="115"/>
                  </a:lnTo>
                  <a:lnTo>
                    <a:pt x="100" y="111"/>
                  </a:lnTo>
                  <a:lnTo>
                    <a:pt x="104" y="111"/>
                  </a:lnTo>
                  <a:lnTo>
                    <a:pt x="104" y="115"/>
                  </a:lnTo>
                  <a:lnTo>
                    <a:pt x="108" y="115"/>
                  </a:lnTo>
                  <a:lnTo>
                    <a:pt x="108" y="119"/>
                  </a:lnTo>
                  <a:lnTo>
                    <a:pt x="112" y="119"/>
                  </a:lnTo>
                  <a:lnTo>
                    <a:pt x="112" y="123"/>
                  </a:lnTo>
                  <a:lnTo>
                    <a:pt x="108" y="123"/>
                  </a:lnTo>
                  <a:lnTo>
                    <a:pt x="108" y="127"/>
                  </a:lnTo>
                  <a:lnTo>
                    <a:pt x="108" y="131"/>
                  </a:lnTo>
                  <a:lnTo>
                    <a:pt x="112" y="131"/>
                  </a:lnTo>
                  <a:lnTo>
                    <a:pt x="112" y="135"/>
                  </a:lnTo>
                  <a:lnTo>
                    <a:pt x="116" y="135"/>
                  </a:lnTo>
                  <a:lnTo>
                    <a:pt x="112" y="139"/>
                  </a:lnTo>
                  <a:lnTo>
                    <a:pt x="112" y="143"/>
                  </a:lnTo>
                  <a:lnTo>
                    <a:pt x="112" y="147"/>
                  </a:lnTo>
                  <a:lnTo>
                    <a:pt x="108" y="147"/>
                  </a:lnTo>
                  <a:lnTo>
                    <a:pt x="108" y="151"/>
                  </a:lnTo>
                  <a:lnTo>
                    <a:pt x="100" y="155"/>
                  </a:lnTo>
                  <a:lnTo>
                    <a:pt x="100" y="151"/>
                  </a:lnTo>
                  <a:lnTo>
                    <a:pt x="96" y="147"/>
                  </a:lnTo>
                  <a:lnTo>
                    <a:pt x="96" y="151"/>
                  </a:lnTo>
                  <a:lnTo>
                    <a:pt x="92" y="151"/>
                  </a:lnTo>
                  <a:lnTo>
                    <a:pt x="88" y="151"/>
                  </a:lnTo>
                  <a:lnTo>
                    <a:pt x="88" y="155"/>
                  </a:lnTo>
                  <a:lnTo>
                    <a:pt x="92" y="155"/>
                  </a:lnTo>
                  <a:lnTo>
                    <a:pt x="92" y="159"/>
                  </a:lnTo>
                  <a:lnTo>
                    <a:pt x="88" y="159"/>
                  </a:lnTo>
                  <a:lnTo>
                    <a:pt x="84" y="159"/>
                  </a:lnTo>
                  <a:lnTo>
                    <a:pt x="84" y="155"/>
                  </a:lnTo>
                  <a:lnTo>
                    <a:pt x="80" y="155"/>
                  </a:lnTo>
                  <a:lnTo>
                    <a:pt x="80" y="159"/>
                  </a:lnTo>
                  <a:lnTo>
                    <a:pt x="80" y="155"/>
                  </a:lnTo>
                  <a:lnTo>
                    <a:pt x="76" y="155"/>
                  </a:lnTo>
                  <a:lnTo>
                    <a:pt x="76" y="151"/>
                  </a:lnTo>
                  <a:lnTo>
                    <a:pt x="80" y="151"/>
                  </a:lnTo>
                  <a:lnTo>
                    <a:pt x="80" y="147"/>
                  </a:lnTo>
                  <a:lnTo>
                    <a:pt x="80" y="143"/>
                  </a:lnTo>
                  <a:lnTo>
                    <a:pt x="84" y="143"/>
                  </a:lnTo>
                  <a:lnTo>
                    <a:pt x="84" y="139"/>
                  </a:lnTo>
                  <a:lnTo>
                    <a:pt x="80" y="139"/>
                  </a:lnTo>
                  <a:lnTo>
                    <a:pt x="84" y="135"/>
                  </a:lnTo>
                  <a:lnTo>
                    <a:pt x="84" y="131"/>
                  </a:lnTo>
                  <a:lnTo>
                    <a:pt x="84" y="127"/>
                  </a:lnTo>
                  <a:lnTo>
                    <a:pt x="80" y="127"/>
                  </a:lnTo>
                  <a:lnTo>
                    <a:pt x="80" y="123"/>
                  </a:lnTo>
                  <a:lnTo>
                    <a:pt x="76" y="123"/>
                  </a:lnTo>
                  <a:lnTo>
                    <a:pt x="76" y="119"/>
                  </a:lnTo>
                  <a:lnTo>
                    <a:pt x="72" y="115"/>
                  </a:lnTo>
                  <a:lnTo>
                    <a:pt x="72" y="111"/>
                  </a:lnTo>
                  <a:lnTo>
                    <a:pt x="68" y="111"/>
                  </a:lnTo>
                  <a:lnTo>
                    <a:pt x="72" y="111"/>
                  </a:lnTo>
                  <a:lnTo>
                    <a:pt x="72" y="107"/>
                  </a:lnTo>
                  <a:lnTo>
                    <a:pt x="68" y="103"/>
                  </a:lnTo>
                  <a:lnTo>
                    <a:pt x="72" y="103"/>
                  </a:lnTo>
                  <a:lnTo>
                    <a:pt x="72" y="99"/>
                  </a:lnTo>
                  <a:lnTo>
                    <a:pt x="72" y="95"/>
                  </a:lnTo>
                  <a:lnTo>
                    <a:pt x="68" y="95"/>
                  </a:lnTo>
                  <a:lnTo>
                    <a:pt x="68" y="91"/>
                  </a:lnTo>
                  <a:lnTo>
                    <a:pt x="64" y="91"/>
                  </a:lnTo>
                  <a:lnTo>
                    <a:pt x="64" y="8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0" name="Freeform 27"/>
            <p:cNvSpPr>
              <a:spLocks/>
            </p:cNvSpPr>
            <p:nvPr>
              <p:custDataLst>
                <p:tags r:id="rId223"/>
              </p:custDataLst>
            </p:nvPr>
          </p:nvSpPr>
          <p:spPr bwMode="gray">
            <a:xfrm>
              <a:off x="5162085" y="3627513"/>
              <a:ext cx="35594" cy="47458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6"/>
                </a:cxn>
                <a:cxn ang="0">
                  <a:pos x="12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6" y="0"/>
                </a:cxn>
                <a:cxn ang="0">
                  <a:pos x="16" y="0"/>
                </a:cxn>
              </a:cxnLst>
              <a:rect l="0" t="0" r="r" b="b"/>
              <a:pathLst>
                <a:path w="24" h="32">
                  <a:moveTo>
                    <a:pt x="16" y="0"/>
                  </a:move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1" name="Freeform 28"/>
            <p:cNvSpPr>
              <a:spLocks noEditPoints="1"/>
            </p:cNvSpPr>
            <p:nvPr>
              <p:custDataLst>
                <p:tags r:id="rId224"/>
              </p:custDataLst>
            </p:nvPr>
          </p:nvSpPr>
          <p:spPr bwMode="gray">
            <a:xfrm>
              <a:off x="6611038" y="4397224"/>
              <a:ext cx="444919" cy="177968"/>
            </a:xfrm>
            <a:custGeom>
              <a:avLst/>
              <a:gdLst/>
              <a:ahLst/>
              <a:cxnLst>
                <a:cxn ang="0">
                  <a:pos x="8" y="20"/>
                </a:cxn>
                <a:cxn ang="0">
                  <a:pos x="16" y="16"/>
                </a:cxn>
                <a:cxn ang="0">
                  <a:pos x="20" y="24"/>
                </a:cxn>
                <a:cxn ang="0">
                  <a:pos x="28" y="28"/>
                </a:cxn>
                <a:cxn ang="0">
                  <a:pos x="36" y="24"/>
                </a:cxn>
                <a:cxn ang="0">
                  <a:pos x="44" y="28"/>
                </a:cxn>
                <a:cxn ang="0">
                  <a:pos x="56" y="36"/>
                </a:cxn>
                <a:cxn ang="0">
                  <a:pos x="60" y="56"/>
                </a:cxn>
                <a:cxn ang="0">
                  <a:pos x="60" y="68"/>
                </a:cxn>
                <a:cxn ang="0">
                  <a:pos x="60" y="80"/>
                </a:cxn>
                <a:cxn ang="0">
                  <a:pos x="68" y="92"/>
                </a:cxn>
                <a:cxn ang="0">
                  <a:pos x="68" y="108"/>
                </a:cxn>
                <a:cxn ang="0">
                  <a:pos x="60" y="112"/>
                </a:cxn>
                <a:cxn ang="0">
                  <a:pos x="48" y="100"/>
                </a:cxn>
                <a:cxn ang="0">
                  <a:pos x="36" y="88"/>
                </a:cxn>
                <a:cxn ang="0">
                  <a:pos x="28" y="80"/>
                </a:cxn>
                <a:cxn ang="0">
                  <a:pos x="20" y="68"/>
                </a:cxn>
                <a:cxn ang="0">
                  <a:pos x="16" y="56"/>
                </a:cxn>
                <a:cxn ang="0">
                  <a:pos x="12" y="36"/>
                </a:cxn>
                <a:cxn ang="0">
                  <a:pos x="264" y="0"/>
                </a:cxn>
                <a:cxn ang="0">
                  <a:pos x="268" y="12"/>
                </a:cxn>
                <a:cxn ang="0">
                  <a:pos x="284" y="48"/>
                </a:cxn>
                <a:cxn ang="0">
                  <a:pos x="276" y="56"/>
                </a:cxn>
                <a:cxn ang="0">
                  <a:pos x="180" y="92"/>
                </a:cxn>
                <a:cxn ang="0">
                  <a:pos x="224" y="56"/>
                </a:cxn>
                <a:cxn ang="0">
                  <a:pos x="232" y="48"/>
                </a:cxn>
                <a:cxn ang="0">
                  <a:pos x="236" y="52"/>
                </a:cxn>
                <a:cxn ang="0">
                  <a:pos x="236" y="44"/>
                </a:cxn>
                <a:cxn ang="0">
                  <a:pos x="240" y="36"/>
                </a:cxn>
                <a:cxn ang="0">
                  <a:pos x="248" y="24"/>
                </a:cxn>
                <a:cxn ang="0">
                  <a:pos x="256" y="12"/>
                </a:cxn>
                <a:cxn ang="0">
                  <a:pos x="260" y="12"/>
                </a:cxn>
                <a:cxn ang="0">
                  <a:pos x="268" y="8"/>
                </a:cxn>
                <a:cxn ang="0">
                  <a:pos x="272" y="16"/>
                </a:cxn>
                <a:cxn ang="0">
                  <a:pos x="272" y="24"/>
                </a:cxn>
                <a:cxn ang="0">
                  <a:pos x="280" y="28"/>
                </a:cxn>
                <a:cxn ang="0">
                  <a:pos x="292" y="36"/>
                </a:cxn>
                <a:cxn ang="0">
                  <a:pos x="292" y="40"/>
                </a:cxn>
                <a:cxn ang="0">
                  <a:pos x="284" y="44"/>
                </a:cxn>
                <a:cxn ang="0">
                  <a:pos x="288" y="56"/>
                </a:cxn>
                <a:cxn ang="0">
                  <a:pos x="272" y="56"/>
                </a:cxn>
                <a:cxn ang="0">
                  <a:pos x="252" y="56"/>
                </a:cxn>
                <a:cxn ang="0">
                  <a:pos x="244" y="60"/>
                </a:cxn>
                <a:cxn ang="0">
                  <a:pos x="240" y="76"/>
                </a:cxn>
                <a:cxn ang="0">
                  <a:pos x="232" y="96"/>
                </a:cxn>
                <a:cxn ang="0">
                  <a:pos x="224" y="108"/>
                </a:cxn>
                <a:cxn ang="0">
                  <a:pos x="208" y="108"/>
                </a:cxn>
                <a:cxn ang="0">
                  <a:pos x="192" y="108"/>
                </a:cxn>
                <a:cxn ang="0">
                  <a:pos x="180" y="116"/>
                </a:cxn>
                <a:cxn ang="0">
                  <a:pos x="164" y="120"/>
                </a:cxn>
                <a:cxn ang="0">
                  <a:pos x="152" y="104"/>
                </a:cxn>
                <a:cxn ang="0">
                  <a:pos x="156" y="104"/>
                </a:cxn>
                <a:cxn ang="0">
                  <a:pos x="168" y="108"/>
                </a:cxn>
                <a:cxn ang="0">
                  <a:pos x="180" y="108"/>
                </a:cxn>
                <a:cxn ang="0">
                  <a:pos x="176" y="96"/>
                </a:cxn>
                <a:cxn ang="0">
                  <a:pos x="176" y="92"/>
                </a:cxn>
                <a:cxn ang="0">
                  <a:pos x="184" y="80"/>
                </a:cxn>
                <a:cxn ang="0">
                  <a:pos x="200" y="76"/>
                </a:cxn>
                <a:cxn ang="0">
                  <a:pos x="212" y="60"/>
                </a:cxn>
                <a:cxn ang="0">
                  <a:pos x="216" y="48"/>
                </a:cxn>
                <a:cxn ang="0">
                  <a:pos x="4" y="16"/>
                </a:cxn>
                <a:cxn ang="0">
                  <a:pos x="12" y="36"/>
                </a:cxn>
                <a:cxn ang="0">
                  <a:pos x="68" y="80"/>
                </a:cxn>
              </a:cxnLst>
              <a:rect l="0" t="0" r="r" b="b"/>
              <a:pathLst>
                <a:path w="300" h="120">
                  <a:moveTo>
                    <a:pt x="12" y="32"/>
                  </a:moveTo>
                  <a:lnTo>
                    <a:pt x="12" y="28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80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8" y="100"/>
                  </a:lnTo>
                  <a:lnTo>
                    <a:pt x="72" y="104"/>
                  </a:lnTo>
                  <a:lnTo>
                    <a:pt x="72" y="108"/>
                  </a:lnTo>
                  <a:lnTo>
                    <a:pt x="68" y="108"/>
                  </a:lnTo>
                  <a:lnTo>
                    <a:pt x="68" y="104"/>
                  </a:lnTo>
                  <a:lnTo>
                    <a:pt x="68" y="108"/>
                  </a:lnTo>
                  <a:lnTo>
                    <a:pt x="64" y="108"/>
                  </a:lnTo>
                  <a:lnTo>
                    <a:pt x="60" y="108"/>
                  </a:lnTo>
                  <a:lnTo>
                    <a:pt x="60" y="112"/>
                  </a:lnTo>
                  <a:lnTo>
                    <a:pt x="60" y="108"/>
                  </a:lnTo>
                  <a:lnTo>
                    <a:pt x="56" y="108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48" y="100"/>
                  </a:lnTo>
                  <a:lnTo>
                    <a:pt x="44" y="96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36" y="92"/>
                  </a:lnTo>
                  <a:lnTo>
                    <a:pt x="36" y="88"/>
                  </a:lnTo>
                  <a:lnTo>
                    <a:pt x="32" y="88"/>
                  </a:lnTo>
                  <a:lnTo>
                    <a:pt x="28" y="84"/>
                  </a:lnTo>
                  <a:lnTo>
                    <a:pt x="24" y="84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2"/>
                  </a:lnTo>
                  <a:close/>
                  <a:moveTo>
                    <a:pt x="260" y="4"/>
                  </a:moveTo>
                  <a:lnTo>
                    <a:pt x="264" y="0"/>
                  </a:lnTo>
                  <a:lnTo>
                    <a:pt x="260" y="4"/>
                  </a:lnTo>
                  <a:close/>
                  <a:moveTo>
                    <a:pt x="264" y="0"/>
                  </a:moveTo>
                  <a:lnTo>
                    <a:pt x="268" y="0"/>
                  </a:lnTo>
                  <a:lnTo>
                    <a:pt x="268" y="4"/>
                  </a:lnTo>
                  <a:lnTo>
                    <a:pt x="264" y="4"/>
                  </a:lnTo>
                  <a:lnTo>
                    <a:pt x="264" y="0"/>
                  </a:lnTo>
                  <a:close/>
                  <a:moveTo>
                    <a:pt x="268" y="12"/>
                  </a:moveTo>
                  <a:lnTo>
                    <a:pt x="272" y="12"/>
                  </a:lnTo>
                  <a:lnTo>
                    <a:pt x="272" y="8"/>
                  </a:lnTo>
                  <a:lnTo>
                    <a:pt x="272" y="12"/>
                  </a:lnTo>
                  <a:lnTo>
                    <a:pt x="268" y="12"/>
                  </a:lnTo>
                  <a:close/>
                  <a:moveTo>
                    <a:pt x="284" y="48"/>
                  </a:moveTo>
                  <a:lnTo>
                    <a:pt x="288" y="48"/>
                  </a:lnTo>
                  <a:lnTo>
                    <a:pt x="284" y="48"/>
                  </a:lnTo>
                  <a:close/>
                  <a:moveTo>
                    <a:pt x="276" y="56"/>
                  </a:moveTo>
                  <a:lnTo>
                    <a:pt x="272" y="56"/>
                  </a:lnTo>
                  <a:lnTo>
                    <a:pt x="276" y="56"/>
                  </a:lnTo>
                  <a:close/>
                  <a:moveTo>
                    <a:pt x="176" y="88"/>
                  </a:moveTo>
                  <a:lnTo>
                    <a:pt x="176" y="84"/>
                  </a:lnTo>
                  <a:lnTo>
                    <a:pt x="180" y="84"/>
                  </a:lnTo>
                  <a:lnTo>
                    <a:pt x="180" y="88"/>
                  </a:lnTo>
                  <a:lnTo>
                    <a:pt x="180" y="92"/>
                  </a:lnTo>
                  <a:lnTo>
                    <a:pt x="176" y="88"/>
                  </a:lnTo>
                  <a:close/>
                  <a:moveTo>
                    <a:pt x="220" y="48"/>
                  </a:moveTo>
                  <a:lnTo>
                    <a:pt x="220" y="52"/>
                  </a:lnTo>
                  <a:lnTo>
                    <a:pt x="224" y="52"/>
                  </a:lnTo>
                  <a:lnTo>
                    <a:pt x="224" y="56"/>
                  </a:lnTo>
                  <a:lnTo>
                    <a:pt x="228" y="60"/>
                  </a:lnTo>
                  <a:lnTo>
                    <a:pt x="232" y="60"/>
                  </a:lnTo>
                  <a:lnTo>
                    <a:pt x="232" y="56"/>
                  </a:lnTo>
                  <a:lnTo>
                    <a:pt x="232" y="52"/>
                  </a:lnTo>
                  <a:lnTo>
                    <a:pt x="232" y="48"/>
                  </a:lnTo>
                  <a:lnTo>
                    <a:pt x="232" y="44"/>
                  </a:lnTo>
                  <a:lnTo>
                    <a:pt x="236" y="44"/>
                  </a:lnTo>
                  <a:lnTo>
                    <a:pt x="232" y="48"/>
                  </a:lnTo>
                  <a:lnTo>
                    <a:pt x="236" y="48"/>
                  </a:lnTo>
                  <a:lnTo>
                    <a:pt x="236" y="52"/>
                  </a:lnTo>
                  <a:lnTo>
                    <a:pt x="240" y="56"/>
                  </a:lnTo>
                  <a:lnTo>
                    <a:pt x="240" y="52"/>
                  </a:lnTo>
                  <a:lnTo>
                    <a:pt x="236" y="52"/>
                  </a:lnTo>
                  <a:lnTo>
                    <a:pt x="236" y="48"/>
                  </a:lnTo>
                  <a:lnTo>
                    <a:pt x="236" y="44"/>
                  </a:lnTo>
                  <a:lnTo>
                    <a:pt x="240" y="44"/>
                  </a:lnTo>
                  <a:lnTo>
                    <a:pt x="240" y="40"/>
                  </a:lnTo>
                  <a:lnTo>
                    <a:pt x="244" y="40"/>
                  </a:lnTo>
                  <a:lnTo>
                    <a:pt x="240" y="40"/>
                  </a:lnTo>
                  <a:lnTo>
                    <a:pt x="240" y="36"/>
                  </a:lnTo>
                  <a:lnTo>
                    <a:pt x="240" y="32"/>
                  </a:lnTo>
                  <a:lnTo>
                    <a:pt x="244" y="32"/>
                  </a:lnTo>
                  <a:lnTo>
                    <a:pt x="248" y="32"/>
                  </a:lnTo>
                  <a:lnTo>
                    <a:pt x="248" y="28"/>
                  </a:lnTo>
                  <a:lnTo>
                    <a:pt x="248" y="24"/>
                  </a:lnTo>
                  <a:lnTo>
                    <a:pt x="252" y="24"/>
                  </a:lnTo>
                  <a:lnTo>
                    <a:pt x="252" y="20"/>
                  </a:lnTo>
                  <a:lnTo>
                    <a:pt x="252" y="16"/>
                  </a:lnTo>
                  <a:lnTo>
                    <a:pt x="256" y="16"/>
                  </a:lnTo>
                  <a:lnTo>
                    <a:pt x="256" y="12"/>
                  </a:lnTo>
                  <a:lnTo>
                    <a:pt x="260" y="12"/>
                  </a:lnTo>
                  <a:lnTo>
                    <a:pt x="260" y="8"/>
                  </a:lnTo>
                  <a:lnTo>
                    <a:pt x="260" y="4"/>
                  </a:lnTo>
                  <a:lnTo>
                    <a:pt x="260" y="8"/>
                  </a:lnTo>
                  <a:lnTo>
                    <a:pt x="260" y="12"/>
                  </a:lnTo>
                  <a:lnTo>
                    <a:pt x="264" y="12"/>
                  </a:lnTo>
                  <a:lnTo>
                    <a:pt x="264" y="8"/>
                  </a:lnTo>
                  <a:lnTo>
                    <a:pt x="264" y="4"/>
                  </a:lnTo>
                  <a:lnTo>
                    <a:pt x="268" y="4"/>
                  </a:lnTo>
                  <a:lnTo>
                    <a:pt x="268" y="8"/>
                  </a:lnTo>
                  <a:lnTo>
                    <a:pt x="268" y="12"/>
                  </a:lnTo>
                  <a:lnTo>
                    <a:pt x="272" y="12"/>
                  </a:lnTo>
                  <a:lnTo>
                    <a:pt x="272" y="16"/>
                  </a:lnTo>
                  <a:lnTo>
                    <a:pt x="272" y="12"/>
                  </a:lnTo>
                  <a:lnTo>
                    <a:pt x="272" y="16"/>
                  </a:lnTo>
                  <a:lnTo>
                    <a:pt x="276" y="16"/>
                  </a:lnTo>
                  <a:lnTo>
                    <a:pt x="276" y="20"/>
                  </a:lnTo>
                  <a:lnTo>
                    <a:pt x="272" y="20"/>
                  </a:lnTo>
                  <a:lnTo>
                    <a:pt x="276" y="24"/>
                  </a:lnTo>
                  <a:lnTo>
                    <a:pt x="272" y="24"/>
                  </a:lnTo>
                  <a:lnTo>
                    <a:pt x="276" y="24"/>
                  </a:lnTo>
                  <a:lnTo>
                    <a:pt x="280" y="24"/>
                  </a:lnTo>
                  <a:lnTo>
                    <a:pt x="280" y="28"/>
                  </a:lnTo>
                  <a:lnTo>
                    <a:pt x="276" y="28"/>
                  </a:lnTo>
                  <a:lnTo>
                    <a:pt x="280" y="28"/>
                  </a:lnTo>
                  <a:lnTo>
                    <a:pt x="284" y="28"/>
                  </a:lnTo>
                  <a:lnTo>
                    <a:pt x="288" y="28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292" y="36"/>
                  </a:lnTo>
                  <a:lnTo>
                    <a:pt x="296" y="36"/>
                  </a:lnTo>
                  <a:lnTo>
                    <a:pt x="300" y="36"/>
                  </a:lnTo>
                  <a:lnTo>
                    <a:pt x="300" y="40"/>
                  </a:lnTo>
                  <a:lnTo>
                    <a:pt x="296" y="40"/>
                  </a:lnTo>
                  <a:lnTo>
                    <a:pt x="292" y="40"/>
                  </a:lnTo>
                  <a:lnTo>
                    <a:pt x="292" y="44"/>
                  </a:lnTo>
                  <a:lnTo>
                    <a:pt x="288" y="44"/>
                  </a:lnTo>
                  <a:lnTo>
                    <a:pt x="284" y="44"/>
                  </a:lnTo>
                  <a:lnTo>
                    <a:pt x="284" y="40"/>
                  </a:lnTo>
                  <a:lnTo>
                    <a:pt x="284" y="44"/>
                  </a:lnTo>
                  <a:lnTo>
                    <a:pt x="280" y="44"/>
                  </a:lnTo>
                  <a:lnTo>
                    <a:pt x="284" y="48"/>
                  </a:lnTo>
                  <a:lnTo>
                    <a:pt x="288" y="48"/>
                  </a:lnTo>
                  <a:lnTo>
                    <a:pt x="288" y="52"/>
                  </a:lnTo>
                  <a:lnTo>
                    <a:pt x="288" y="56"/>
                  </a:lnTo>
                  <a:lnTo>
                    <a:pt x="284" y="56"/>
                  </a:lnTo>
                  <a:lnTo>
                    <a:pt x="280" y="56"/>
                  </a:lnTo>
                  <a:lnTo>
                    <a:pt x="276" y="56"/>
                  </a:lnTo>
                  <a:lnTo>
                    <a:pt x="276" y="52"/>
                  </a:lnTo>
                  <a:lnTo>
                    <a:pt x="272" y="56"/>
                  </a:lnTo>
                  <a:lnTo>
                    <a:pt x="268" y="56"/>
                  </a:lnTo>
                  <a:lnTo>
                    <a:pt x="264" y="56"/>
                  </a:lnTo>
                  <a:lnTo>
                    <a:pt x="260" y="56"/>
                  </a:lnTo>
                  <a:lnTo>
                    <a:pt x="256" y="56"/>
                  </a:lnTo>
                  <a:lnTo>
                    <a:pt x="252" y="56"/>
                  </a:lnTo>
                  <a:lnTo>
                    <a:pt x="248" y="56"/>
                  </a:lnTo>
                  <a:lnTo>
                    <a:pt x="248" y="52"/>
                  </a:lnTo>
                  <a:lnTo>
                    <a:pt x="248" y="56"/>
                  </a:lnTo>
                  <a:lnTo>
                    <a:pt x="244" y="56"/>
                  </a:lnTo>
                  <a:lnTo>
                    <a:pt x="244" y="60"/>
                  </a:lnTo>
                  <a:lnTo>
                    <a:pt x="244" y="64"/>
                  </a:lnTo>
                  <a:lnTo>
                    <a:pt x="244" y="68"/>
                  </a:lnTo>
                  <a:lnTo>
                    <a:pt x="244" y="72"/>
                  </a:lnTo>
                  <a:lnTo>
                    <a:pt x="240" y="72"/>
                  </a:lnTo>
                  <a:lnTo>
                    <a:pt x="240" y="76"/>
                  </a:lnTo>
                  <a:lnTo>
                    <a:pt x="240" y="80"/>
                  </a:lnTo>
                  <a:lnTo>
                    <a:pt x="236" y="80"/>
                  </a:lnTo>
                  <a:lnTo>
                    <a:pt x="236" y="88"/>
                  </a:lnTo>
                  <a:lnTo>
                    <a:pt x="232" y="92"/>
                  </a:lnTo>
                  <a:lnTo>
                    <a:pt x="232" y="96"/>
                  </a:lnTo>
                  <a:lnTo>
                    <a:pt x="232" y="100"/>
                  </a:lnTo>
                  <a:lnTo>
                    <a:pt x="228" y="100"/>
                  </a:lnTo>
                  <a:lnTo>
                    <a:pt x="228" y="104"/>
                  </a:lnTo>
                  <a:lnTo>
                    <a:pt x="228" y="108"/>
                  </a:lnTo>
                  <a:lnTo>
                    <a:pt x="224" y="108"/>
                  </a:lnTo>
                  <a:lnTo>
                    <a:pt x="220" y="108"/>
                  </a:lnTo>
                  <a:lnTo>
                    <a:pt x="216" y="108"/>
                  </a:lnTo>
                  <a:lnTo>
                    <a:pt x="216" y="112"/>
                  </a:lnTo>
                  <a:lnTo>
                    <a:pt x="212" y="112"/>
                  </a:lnTo>
                  <a:lnTo>
                    <a:pt x="208" y="108"/>
                  </a:lnTo>
                  <a:lnTo>
                    <a:pt x="204" y="108"/>
                  </a:lnTo>
                  <a:lnTo>
                    <a:pt x="204" y="104"/>
                  </a:lnTo>
                  <a:lnTo>
                    <a:pt x="200" y="104"/>
                  </a:lnTo>
                  <a:lnTo>
                    <a:pt x="196" y="104"/>
                  </a:lnTo>
                  <a:lnTo>
                    <a:pt x="192" y="108"/>
                  </a:lnTo>
                  <a:lnTo>
                    <a:pt x="192" y="112"/>
                  </a:lnTo>
                  <a:lnTo>
                    <a:pt x="188" y="112"/>
                  </a:lnTo>
                  <a:lnTo>
                    <a:pt x="188" y="116"/>
                  </a:lnTo>
                  <a:lnTo>
                    <a:pt x="184" y="116"/>
                  </a:lnTo>
                  <a:lnTo>
                    <a:pt x="180" y="116"/>
                  </a:lnTo>
                  <a:lnTo>
                    <a:pt x="176" y="116"/>
                  </a:lnTo>
                  <a:lnTo>
                    <a:pt x="172" y="116"/>
                  </a:lnTo>
                  <a:lnTo>
                    <a:pt x="168" y="116"/>
                  </a:lnTo>
                  <a:lnTo>
                    <a:pt x="168" y="120"/>
                  </a:lnTo>
                  <a:lnTo>
                    <a:pt x="164" y="120"/>
                  </a:lnTo>
                  <a:lnTo>
                    <a:pt x="164" y="116"/>
                  </a:lnTo>
                  <a:lnTo>
                    <a:pt x="160" y="112"/>
                  </a:lnTo>
                  <a:lnTo>
                    <a:pt x="156" y="112"/>
                  </a:lnTo>
                  <a:lnTo>
                    <a:pt x="156" y="108"/>
                  </a:lnTo>
                  <a:lnTo>
                    <a:pt x="152" y="104"/>
                  </a:lnTo>
                  <a:lnTo>
                    <a:pt x="152" y="100"/>
                  </a:lnTo>
                  <a:lnTo>
                    <a:pt x="152" y="96"/>
                  </a:lnTo>
                  <a:lnTo>
                    <a:pt x="152" y="100"/>
                  </a:lnTo>
                  <a:lnTo>
                    <a:pt x="156" y="100"/>
                  </a:lnTo>
                  <a:lnTo>
                    <a:pt x="156" y="104"/>
                  </a:lnTo>
                  <a:lnTo>
                    <a:pt x="160" y="104"/>
                  </a:lnTo>
                  <a:lnTo>
                    <a:pt x="164" y="100"/>
                  </a:lnTo>
                  <a:lnTo>
                    <a:pt x="164" y="104"/>
                  </a:lnTo>
                  <a:lnTo>
                    <a:pt x="168" y="104"/>
                  </a:lnTo>
                  <a:lnTo>
                    <a:pt x="168" y="108"/>
                  </a:lnTo>
                  <a:lnTo>
                    <a:pt x="168" y="104"/>
                  </a:lnTo>
                  <a:lnTo>
                    <a:pt x="172" y="104"/>
                  </a:lnTo>
                  <a:lnTo>
                    <a:pt x="172" y="108"/>
                  </a:lnTo>
                  <a:lnTo>
                    <a:pt x="176" y="108"/>
                  </a:lnTo>
                  <a:lnTo>
                    <a:pt x="180" y="108"/>
                  </a:lnTo>
                  <a:lnTo>
                    <a:pt x="176" y="108"/>
                  </a:lnTo>
                  <a:lnTo>
                    <a:pt x="172" y="108"/>
                  </a:lnTo>
                  <a:lnTo>
                    <a:pt x="172" y="104"/>
                  </a:lnTo>
                  <a:lnTo>
                    <a:pt x="176" y="100"/>
                  </a:lnTo>
                  <a:lnTo>
                    <a:pt x="176" y="96"/>
                  </a:lnTo>
                  <a:lnTo>
                    <a:pt x="180" y="96"/>
                  </a:lnTo>
                  <a:lnTo>
                    <a:pt x="176" y="96"/>
                  </a:lnTo>
                  <a:lnTo>
                    <a:pt x="176" y="92"/>
                  </a:lnTo>
                  <a:lnTo>
                    <a:pt x="176" y="88"/>
                  </a:lnTo>
                  <a:lnTo>
                    <a:pt x="176" y="92"/>
                  </a:lnTo>
                  <a:lnTo>
                    <a:pt x="180" y="92"/>
                  </a:lnTo>
                  <a:lnTo>
                    <a:pt x="180" y="88"/>
                  </a:lnTo>
                  <a:lnTo>
                    <a:pt x="180" y="84"/>
                  </a:lnTo>
                  <a:lnTo>
                    <a:pt x="184" y="84"/>
                  </a:lnTo>
                  <a:lnTo>
                    <a:pt x="184" y="80"/>
                  </a:lnTo>
                  <a:lnTo>
                    <a:pt x="188" y="80"/>
                  </a:lnTo>
                  <a:lnTo>
                    <a:pt x="192" y="80"/>
                  </a:lnTo>
                  <a:lnTo>
                    <a:pt x="196" y="80"/>
                  </a:lnTo>
                  <a:lnTo>
                    <a:pt x="200" y="80"/>
                  </a:lnTo>
                  <a:lnTo>
                    <a:pt x="200" y="76"/>
                  </a:lnTo>
                  <a:lnTo>
                    <a:pt x="204" y="76"/>
                  </a:lnTo>
                  <a:lnTo>
                    <a:pt x="208" y="72"/>
                  </a:lnTo>
                  <a:lnTo>
                    <a:pt x="208" y="68"/>
                  </a:lnTo>
                  <a:lnTo>
                    <a:pt x="212" y="64"/>
                  </a:lnTo>
                  <a:lnTo>
                    <a:pt x="212" y="60"/>
                  </a:lnTo>
                  <a:lnTo>
                    <a:pt x="216" y="60"/>
                  </a:lnTo>
                  <a:lnTo>
                    <a:pt x="216" y="56"/>
                  </a:lnTo>
                  <a:lnTo>
                    <a:pt x="220" y="52"/>
                  </a:lnTo>
                  <a:lnTo>
                    <a:pt x="216" y="52"/>
                  </a:lnTo>
                  <a:lnTo>
                    <a:pt x="216" y="48"/>
                  </a:lnTo>
                  <a:lnTo>
                    <a:pt x="220" y="48"/>
                  </a:lnTo>
                  <a:close/>
                  <a:moveTo>
                    <a:pt x="4" y="16"/>
                  </a:moveTo>
                  <a:lnTo>
                    <a:pt x="4" y="20"/>
                  </a:lnTo>
                  <a:lnTo>
                    <a:pt x="0" y="16"/>
                  </a:lnTo>
                  <a:lnTo>
                    <a:pt x="4" y="16"/>
                  </a:lnTo>
                  <a:close/>
                  <a:moveTo>
                    <a:pt x="12" y="36"/>
                  </a:moveTo>
                  <a:lnTo>
                    <a:pt x="8" y="36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2" y="36"/>
                  </a:lnTo>
                  <a:close/>
                  <a:moveTo>
                    <a:pt x="68" y="80"/>
                  </a:moveTo>
                  <a:lnTo>
                    <a:pt x="68" y="84"/>
                  </a:lnTo>
                  <a:lnTo>
                    <a:pt x="72" y="84"/>
                  </a:lnTo>
                  <a:lnTo>
                    <a:pt x="68" y="84"/>
                  </a:lnTo>
                  <a:lnTo>
                    <a:pt x="68" y="8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2" name="Freeform 29"/>
            <p:cNvSpPr>
              <a:spLocks noEditPoints="1"/>
            </p:cNvSpPr>
            <p:nvPr>
              <p:custDataLst>
                <p:tags r:id="rId225"/>
              </p:custDataLst>
            </p:nvPr>
          </p:nvSpPr>
          <p:spPr bwMode="gray">
            <a:xfrm>
              <a:off x="6014847" y="4403156"/>
              <a:ext cx="11865" cy="20762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0" y="40"/>
                </a:cxn>
                <a:cxn ang="0">
                  <a:pos x="0" y="40"/>
                </a:cxn>
                <a:cxn ang="0">
                  <a:pos x="0" y="48"/>
                </a:cxn>
                <a:cxn ang="0">
                  <a:pos x="0" y="48"/>
                </a:cxn>
                <a:cxn ang="0">
                  <a:pos x="0" y="48"/>
                </a:cxn>
                <a:cxn ang="0">
                  <a:pos x="8" y="52"/>
                </a:cxn>
                <a:cxn ang="0">
                  <a:pos x="8" y="52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8" y="76"/>
                </a:cxn>
                <a:cxn ang="0">
                  <a:pos x="8" y="76"/>
                </a:cxn>
                <a:cxn ang="0">
                  <a:pos x="4" y="84"/>
                </a:cxn>
                <a:cxn ang="0">
                  <a:pos x="4" y="88"/>
                </a:cxn>
                <a:cxn ang="0">
                  <a:pos x="4" y="84"/>
                </a:cxn>
                <a:cxn ang="0">
                  <a:pos x="8" y="96"/>
                </a:cxn>
                <a:cxn ang="0">
                  <a:pos x="8" y="96"/>
                </a:cxn>
                <a:cxn ang="0">
                  <a:pos x="8" y="96"/>
                </a:cxn>
                <a:cxn ang="0">
                  <a:pos x="8" y="124"/>
                </a:cxn>
                <a:cxn ang="0">
                  <a:pos x="8" y="124"/>
                </a:cxn>
                <a:cxn ang="0">
                  <a:pos x="0" y="124"/>
                </a:cxn>
                <a:cxn ang="0">
                  <a:pos x="0" y="124"/>
                </a:cxn>
                <a:cxn ang="0">
                  <a:pos x="8" y="136"/>
                </a:cxn>
                <a:cxn ang="0">
                  <a:pos x="8" y="136"/>
                </a:cxn>
                <a:cxn ang="0">
                  <a:pos x="8" y="136"/>
                </a:cxn>
                <a:cxn ang="0">
                  <a:pos x="0" y="140"/>
                </a:cxn>
                <a:cxn ang="0">
                  <a:pos x="0" y="140"/>
                </a:cxn>
                <a:cxn ang="0">
                  <a:pos x="0" y="140"/>
                </a:cxn>
              </a:cxnLst>
              <a:rect l="0" t="0" r="r" b="b"/>
              <a:pathLst>
                <a:path w="8" h="14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4" y="4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0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  <a:moveTo>
                    <a:pt x="0" y="20"/>
                  </a:move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close/>
                  <a:moveTo>
                    <a:pt x="8" y="24"/>
                  </a:moveTo>
                  <a:lnTo>
                    <a:pt x="8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close/>
                  <a:moveTo>
                    <a:pt x="8" y="32"/>
                  </a:move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close/>
                  <a:moveTo>
                    <a:pt x="0" y="40"/>
                  </a:move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close/>
                  <a:moveTo>
                    <a:pt x="0" y="48"/>
                  </a:move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close/>
                  <a:moveTo>
                    <a:pt x="8" y="52"/>
                  </a:move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close/>
                  <a:moveTo>
                    <a:pt x="8" y="68"/>
                  </a:move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close/>
                  <a:moveTo>
                    <a:pt x="0" y="72"/>
                  </a:move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close/>
                  <a:moveTo>
                    <a:pt x="0" y="76"/>
                  </a:move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close/>
                  <a:moveTo>
                    <a:pt x="8" y="76"/>
                  </a:move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close/>
                  <a:moveTo>
                    <a:pt x="4" y="84"/>
                  </a:moveTo>
                  <a:lnTo>
                    <a:pt x="4" y="84"/>
                  </a:lnTo>
                  <a:lnTo>
                    <a:pt x="4" y="84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4"/>
                  </a:lnTo>
                  <a:close/>
                  <a:moveTo>
                    <a:pt x="8" y="96"/>
                  </a:move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close/>
                  <a:moveTo>
                    <a:pt x="8" y="124"/>
                  </a:moveTo>
                  <a:lnTo>
                    <a:pt x="8" y="124"/>
                  </a:lnTo>
                  <a:lnTo>
                    <a:pt x="8" y="124"/>
                  </a:lnTo>
                  <a:lnTo>
                    <a:pt x="8" y="124"/>
                  </a:lnTo>
                  <a:close/>
                  <a:moveTo>
                    <a:pt x="0" y="124"/>
                  </a:moveTo>
                  <a:lnTo>
                    <a:pt x="0" y="124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4"/>
                  </a:lnTo>
                  <a:close/>
                  <a:moveTo>
                    <a:pt x="8" y="136"/>
                  </a:moveTo>
                  <a:lnTo>
                    <a:pt x="8" y="136"/>
                  </a:lnTo>
                  <a:lnTo>
                    <a:pt x="8" y="136"/>
                  </a:lnTo>
                  <a:lnTo>
                    <a:pt x="8" y="136"/>
                  </a:lnTo>
                  <a:lnTo>
                    <a:pt x="8" y="136"/>
                  </a:lnTo>
                  <a:close/>
                  <a:moveTo>
                    <a:pt x="0" y="140"/>
                  </a:move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3" name="Freeform 30"/>
            <p:cNvSpPr>
              <a:spLocks/>
            </p:cNvSpPr>
            <p:nvPr>
              <p:custDataLst>
                <p:tags r:id="rId226"/>
              </p:custDataLst>
            </p:nvPr>
          </p:nvSpPr>
          <p:spPr bwMode="gray">
            <a:xfrm>
              <a:off x="6345570" y="3077297"/>
              <a:ext cx="722252" cy="336655"/>
            </a:xfrm>
            <a:custGeom>
              <a:avLst/>
              <a:gdLst/>
              <a:ahLst/>
              <a:cxnLst>
                <a:cxn ang="0">
                  <a:pos x="427" y="144"/>
                </a:cxn>
                <a:cxn ang="0">
                  <a:pos x="403" y="152"/>
                </a:cxn>
                <a:cxn ang="0">
                  <a:pos x="383" y="160"/>
                </a:cxn>
                <a:cxn ang="0">
                  <a:pos x="359" y="164"/>
                </a:cxn>
                <a:cxn ang="0">
                  <a:pos x="363" y="188"/>
                </a:cxn>
                <a:cxn ang="0">
                  <a:pos x="347" y="200"/>
                </a:cxn>
                <a:cxn ang="0">
                  <a:pos x="331" y="211"/>
                </a:cxn>
                <a:cxn ang="0">
                  <a:pos x="299" y="211"/>
                </a:cxn>
                <a:cxn ang="0">
                  <a:pos x="271" y="223"/>
                </a:cxn>
                <a:cxn ang="0">
                  <a:pos x="243" y="223"/>
                </a:cxn>
                <a:cxn ang="0">
                  <a:pos x="215" y="211"/>
                </a:cxn>
                <a:cxn ang="0">
                  <a:pos x="191" y="204"/>
                </a:cxn>
                <a:cxn ang="0">
                  <a:pos x="163" y="208"/>
                </a:cxn>
                <a:cxn ang="0">
                  <a:pos x="136" y="204"/>
                </a:cxn>
                <a:cxn ang="0">
                  <a:pos x="120" y="188"/>
                </a:cxn>
                <a:cxn ang="0">
                  <a:pos x="104" y="172"/>
                </a:cxn>
                <a:cxn ang="0">
                  <a:pos x="88" y="160"/>
                </a:cxn>
                <a:cxn ang="0">
                  <a:pos x="64" y="156"/>
                </a:cxn>
                <a:cxn ang="0">
                  <a:pos x="44" y="144"/>
                </a:cxn>
                <a:cxn ang="0">
                  <a:pos x="52" y="120"/>
                </a:cxn>
                <a:cxn ang="0">
                  <a:pos x="40" y="104"/>
                </a:cxn>
                <a:cxn ang="0">
                  <a:pos x="28" y="92"/>
                </a:cxn>
                <a:cxn ang="0">
                  <a:pos x="8" y="80"/>
                </a:cxn>
                <a:cxn ang="0">
                  <a:pos x="4" y="64"/>
                </a:cxn>
                <a:cxn ang="0">
                  <a:pos x="20" y="56"/>
                </a:cxn>
                <a:cxn ang="0">
                  <a:pos x="28" y="52"/>
                </a:cxn>
                <a:cxn ang="0">
                  <a:pos x="44" y="40"/>
                </a:cxn>
                <a:cxn ang="0">
                  <a:pos x="60" y="32"/>
                </a:cxn>
                <a:cxn ang="0">
                  <a:pos x="80" y="28"/>
                </a:cxn>
                <a:cxn ang="0">
                  <a:pos x="100" y="36"/>
                </a:cxn>
                <a:cxn ang="0">
                  <a:pos x="116" y="48"/>
                </a:cxn>
                <a:cxn ang="0">
                  <a:pos x="144" y="52"/>
                </a:cxn>
                <a:cxn ang="0">
                  <a:pos x="159" y="40"/>
                </a:cxn>
                <a:cxn ang="0">
                  <a:pos x="156" y="12"/>
                </a:cxn>
                <a:cxn ang="0">
                  <a:pos x="167" y="4"/>
                </a:cxn>
                <a:cxn ang="0">
                  <a:pos x="187" y="8"/>
                </a:cxn>
                <a:cxn ang="0">
                  <a:pos x="211" y="12"/>
                </a:cxn>
                <a:cxn ang="0">
                  <a:pos x="219" y="32"/>
                </a:cxn>
                <a:cxn ang="0">
                  <a:pos x="235" y="44"/>
                </a:cxn>
                <a:cxn ang="0">
                  <a:pos x="259" y="36"/>
                </a:cxn>
                <a:cxn ang="0">
                  <a:pos x="279" y="40"/>
                </a:cxn>
                <a:cxn ang="0">
                  <a:pos x="307" y="48"/>
                </a:cxn>
                <a:cxn ang="0">
                  <a:pos x="327" y="60"/>
                </a:cxn>
                <a:cxn ang="0">
                  <a:pos x="355" y="64"/>
                </a:cxn>
                <a:cxn ang="0">
                  <a:pos x="379" y="56"/>
                </a:cxn>
                <a:cxn ang="0">
                  <a:pos x="395" y="44"/>
                </a:cxn>
                <a:cxn ang="0">
                  <a:pos x="415" y="44"/>
                </a:cxn>
                <a:cxn ang="0">
                  <a:pos x="439" y="48"/>
                </a:cxn>
                <a:cxn ang="0">
                  <a:pos x="427" y="72"/>
                </a:cxn>
                <a:cxn ang="0">
                  <a:pos x="423" y="92"/>
                </a:cxn>
                <a:cxn ang="0">
                  <a:pos x="443" y="96"/>
                </a:cxn>
                <a:cxn ang="0">
                  <a:pos x="467" y="92"/>
                </a:cxn>
                <a:cxn ang="0">
                  <a:pos x="487" y="112"/>
                </a:cxn>
                <a:cxn ang="0">
                  <a:pos x="471" y="116"/>
                </a:cxn>
                <a:cxn ang="0">
                  <a:pos x="451" y="124"/>
                </a:cxn>
              </a:cxnLst>
              <a:rect l="0" t="0" r="r" b="b"/>
              <a:pathLst>
                <a:path w="487" h="227">
                  <a:moveTo>
                    <a:pt x="439" y="128"/>
                  </a:moveTo>
                  <a:lnTo>
                    <a:pt x="435" y="128"/>
                  </a:lnTo>
                  <a:lnTo>
                    <a:pt x="435" y="132"/>
                  </a:lnTo>
                  <a:lnTo>
                    <a:pt x="431" y="136"/>
                  </a:lnTo>
                  <a:lnTo>
                    <a:pt x="431" y="140"/>
                  </a:lnTo>
                  <a:lnTo>
                    <a:pt x="427" y="140"/>
                  </a:lnTo>
                  <a:lnTo>
                    <a:pt x="427" y="144"/>
                  </a:lnTo>
                  <a:lnTo>
                    <a:pt x="423" y="144"/>
                  </a:lnTo>
                  <a:lnTo>
                    <a:pt x="423" y="148"/>
                  </a:lnTo>
                  <a:lnTo>
                    <a:pt x="419" y="148"/>
                  </a:lnTo>
                  <a:lnTo>
                    <a:pt x="415" y="148"/>
                  </a:lnTo>
                  <a:lnTo>
                    <a:pt x="411" y="148"/>
                  </a:lnTo>
                  <a:lnTo>
                    <a:pt x="407" y="148"/>
                  </a:lnTo>
                  <a:lnTo>
                    <a:pt x="403" y="152"/>
                  </a:lnTo>
                  <a:lnTo>
                    <a:pt x="403" y="156"/>
                  </a:lnTo>
                  <a:lnTo>
                    <a:pt x="399" y="156"/>
                  </a:lnTo>
                  <a:lnTo>
                    <a:pt x="395" y="156"/>
                  </a:lnTo>
                  <a:lnTo>
                    <a:pt x="395" y="160"/>
                  </a:lnTo>
                  <a:lnTo>
                    <a:pt x="391" y="160"/>
                  </a:lnTo>
                  <a:lnTo>
                    <a:pt x="387" y="160"/>
                  </a:lnTo>
                  <a:lnTo>
                    <a:pt x="383" y="160"/>
                  </a:lnTo>
                  <a:lnTo>
                    <a:pt x="379" y="160"/>
                  </a:lnTo>
                  <a:lnTo>
                    <a:pt x="375" y="156"/>
                  </a:lnTo>
                  <a:lnTo>
                    <a:pt x="371" y="156"/>
                  </a:lnTo>
                  <a:lnTo>
                    <a:pt x="367" y="156"/>
                  </a:lnTo>
                  <a:lnTo>
                    <a:pt x="363" y="156"/>
                  </a:lnTo>
                  <a:lnTo>
                    <a:pt x="363" y="160"/>
                  </a:lnTo>
                  <a:lnTo>
                    <a:pt x="359" y="164"/>
                  </a:lnTo>
                  <a:lnTo>
                    <a:pt x="359" y="168"/>
                  </a:lnTo>
                  <a:lnTo>
                    <a:pt x="359" y="172"/>
                  </a:lnTo>
                  <a:lnTo>
                    <a:pt x="363" y="176"/>
                  </a:lnTo>
                  <a:lnTo>
                    <a:pt x="367" y="180"/>
                  </a:lnTo>
                  <a:lnTo>
                    <a:pt x="367" y="184"/>
                  </a:lnTo>
                  <a:lnTo>
                    <a:pt x="363" y="184"/>
                  </a:lnTo>
                  <a:lnTo>
                    <a:pt x="363" y="188"/>
                  </a:lnTo>
                  <a:lnTo>
                    <a:pt x="359" y="188"/>
                  </a:lnTo>
                  <a:lnTo>
                    <a:pt x="355" y="188"/>
                  </a:lnTo>
                  <a:lnTo>
                    <a:pt x="355" y="192"/>
                  </a:lnTo>
                  <a:lnTo>
                    <a:pt x="351" y="192"/>
                  </a:lnTo>
                  <a:lnTo>
                    <a:pt x="351" y="196"/>
                  </a:lnTo>
                  <a:lnTo>
                    <a:pt x="347" y="196"/>
                  </a:lnTo>
                  <a:lnTo>
                    <a:pt x="347" y="200"/>
                  </a:lnTo>
                  <a:lnTo>
                    <a:pt x="343" y="200"/>
                  </a:lnTo>
                  <a:lnTo>
                    <a:pt x="343" y="204"/>
                  </a:lnTo>
                  <a:lnTo>
                    <a:pt x="339" y="204"/>
                  </a:lnTo>
                  <a:lnTo>
                    <a:pt x="339" y="208"/>
                  </a:lnTo>
                  <a:lnTo>
                    <a:pt x="335" y="208"/>
                  </a:lnTo>
                  <a:lnTo>
                    <a:pt x="331" y="208"/>
                  </a:lnTo>
                  <a:lnTo>
                    <a:pt x="331" y="211"/>
                  </a:lnTo>
                  <a:lnTo>
                    <a:pt x="327" y="211"/>
                  </a:lnTo>
                  <a:lnTo>
                    <a:pt x="323" y="211"/>
                  </a:lnTo>
                  <a:lnTo>
                    <a:pt x="319" y="211"/>
                  </a:lnTo>
                  <a:lnTo>
                    <a:pt x="315" y="211"/>
                  </a:lnTo>
                  <a:lnTo>
                    <a:pt x="311" y="211"/>
                  </a:lnTo>
                  <a:lnTo>
                    <a:pt x="303" y="211"/>
                  </a:lnTo>
                  <a:lnTo>
                    <a:pt x="299" y="211"/>
                  </a:lnTo>
                  <a:lnTo>
                    <a:pt x="295" y="211"/>
                  </a:lnTo>
                  <a:lnTo>
                    <a:pt x="291" y="211"/>
                  </a:lnTo>
                  <a:lnTo>
                    <a:pt x="287" y="211"/>
                  </a:lnTo>
                  <a:lnTo>
                    <a:pt x="283" y="215"/>
                  </a:lnTo>
                  <a:lnTo>
                    <a:pt x="279" y="219"/>
                  </a:lnTo>
                  <a:lnTo>
                    <a:pt x="275" y="219"/>
                  </a:lnTo>
                  <a:lnTo>
                    <a:pt x="271" y="223"/>
                  </a:lnTo>
                  <a:lnTo>
                    <a:pt x="267" y="223"/>
                  </a:lnTo>
                  <a:lnTo>
                    <a:pt x="263" y="223"/>
                  </a:lnTo>
                  <a:lnTo>
                    <a:pt x="259" y="227"/>
                  </a:lnTo>
                  <a:lnTo>
                    <a:pt x="255" y="227"/>
                  </a:lnTo>
                  <a:lnTo>
                    <a:pt x="255" y="223"/>
                  </a:lnTo>
                  <a:lnTo>
                    <a:pt x="247" y="223"/>
                  </a:lnTo>
                  <a:lnTo>
                    <a:pt x="243" y="223"/>
                  </a:lnTo>
                  <a:lnTo>
                    <a:pt x="235" y="223"/>
                  </a:lnTo>
                  <a:lnTo>
                    <a:pt x="235" y="219"/>
                  </a:lnTo>
                  <a:lnTo>
                    <a:pt x="231" y="219"/>
                  </a:lnTo>
                  <a:lnTo>
                    <a:pt x="227" y="215"/>
                  </a:lnTo>
                  <a:lnTo>
                    <a:pt x="223" y="215"/>
                  </a:lnTo>
                  <a:lnTo>
                    <a:pt x="215" y="215"/>
                  </a:lnTo>
                  <a:lnTo>
                    <a:pt x="215" y="211"/>
                  </a:lnTo>
                  <a:lnTo>
                    <a:pt x="211" y="208"/>
                  </a:lnTo>
                  <a:lnTo>
                    <a:pt x="207" y="208"/>
                  </a:lnTo>
                  <a:lnTo>
                    <a:pt x="203" y="208"/>
                  </a:lnTo>
                  <a:lnTo>
                    <a:pt x="199" y="208"/>
                  </a:lnTo>
                  <a:lnTo>
                    <a:pt x="199" y="204"/>
                  </a:lnTo>
                  <a:lnTo>
                    <a:pt x="195" y="204"/>
                  </a:lnTo>
                  <a:lnTo>
                    <a:pt x="191" y="204"/>
                  </a:lnTo>
                  <a:lnTo>
                    <a:pt x="187" y="208"/>
                  </a:lnTo>
                  <a:lnTo>
                    <a:pt x="183" y="208"/>
                  </a:lnTo>
                  <a:lnTo>
                    <a:pt x="179" y="208"/>
                  </a:lnTo>
                  <a:lnTo>
                    <a:pt x="175" y="208"/>
                  </a:lnTo>
                  <a:lnTo>
                    <a:pt x="171" y="208"/>
                  </a:lnTo>
                  <a:lnTo>
                    <a:pt x="167" y="208"/>
                  </a:lnTo>
                  <a:lnTo>
                    <a:pt x="163" y="208"/>
                  </a:lnTo>
                  <a:lnTo>
                    <a:pt x="159" y="208"/>
                  </a:lnTo>
                  <a:lnTo>
                    <a:pt x="156" y="204"/>
                  </a:lnTo>
                  <a:lnTo>
                    <a:pt x="152" y="204"/>
                  </a:lnTo>
                  <a:lnTo>
                    <a:pt x="148" y="204"/>
                  </a:lnTo>
                  <a:lnTo>
                    <a:pt x="144" y="204"/>
                  </a:lnTo>
                  <a:lnTo>
                    <a:pt x="140" y="204"/>
                  </a:lnTo>
                  <a:lnTo>
                    <a:pt x="136" y="204"/>
                  </a:lnTo>
                  <a:lnTo>
                    <a:pt x="132" y="204"/>
                  </a:lnTo>
                  <a:lnTo>
                    <a:pt x="132" y="200"/>
                  </a:lnTo>
                  <a:lnTo>
                    <a:pt x="128" y="196"/>
                  </a:lnTo>
                  <a:lnTo>
                    <a:pt x="124" y="196"/>
                  </a:lnTo>
                  <a:lnTo>
                    <a:pt x="124" y="192"/>
                  </a:lnTo>
                  <a:lnTo>
                    <a:pt x="124" y="188"/>
                  </a:lnTo>
                  <a:lnTo>
                    <a:pt x="120" y="188"/>
                  </a:lnTo>
                  <a:lnTo>
                    <a:pt x="120" y="184"/>
                  </a:lnTo>
                  <a:lnTo>
                    <a:pt x="120" y="180"/>
                  </a:lnTo>
                  <a:lnTo>
                    <a:pt x="120" y="176"/>
                  </a:lnTo>
                  <a:lnTo>
                    <a:pt x="116" y="176"/>
                  </a:lnTo>
                  <a:lnTo>
                    <a:pt x="116" y="172"/>
                  </a:lnTo>
                  <a:lnTo>
                    <a:pt x="112" y="172"/>
                  </a:lnTo>
                  <a:lnTo>
                    <a:pt x="104" y="172"/>
                  </a:lnTo>
                  <a:lnTo>
                    <a:pt x="104" y="168"/>
                  </a:lnTo>
                  <a:lnTo>
                    <a:pt x="100" y="168"/>
                  </a:lnTo>
                  <a:lnTo>
                    <a:pt x="100" y="164"/>
                  </a:lnTo>
                  <a:lnTo>
                    <a:pt x="96" y="164"/>
                  </a:lnTo>
                  <a:lnTo>
                    <a:pt x="96" y="160"/>
                  </a:lnTo>
                  <a:lnTo>
                    <a:pt x="92" y="160"/>
                  </a:lnTo>
                  <a:lnTo>
                    <a:pt x="88" y="160"/>
                  </a:lnTo>
                  <a:lnTo>
                    <a:pt x="88" y="156"/>
                  </a:lnTo>
                  <a:lnTo>
                    <a:pt x="84" y="156"/>
                  </a:lnTo>
                  <a:lnTo>
                    <a:pt x="80" y="156"/>
                  </a:lnTo>
                  <a:lnTo>
                    <a:pt x="76" y="156"/>
                  </a:lnTo>
                  <a:lnTo>
                    <a:pt x="72" y="156"/>
                  </a:lnTo>
                  <a:lnTo>
                    <a:pt x="68" y="156"/>
                  </a:lnTo>
                  <a:lnTo>
                    <a:pt x="64" y="156"/>
                  </a:lnTo>
                  <a:lnTo>
                    <a:pt x="56" y="156"/>
                  </a:lnTo>
                  <a:lnTo>
                    <a:pt x="56" y="152"/>
                  </a:lnTo>
                  <a:lnTo>
                    <a:pt x="52" y="152"/>
                  </a:lnTo>
                  <a:lnTo>
                    <a:pt x="48" y="152"/>
                  </a:lnTo>
                  <a:lnTo>
                    <a:pt x="48" y="148"/>
                  </a:lnTo>
                  <a:lnTo>
                    <a:pt x="44" y="148"/>
                  </a:lnTo>
                  <a:lnTo>
                    <a:pt x="44" y="144"/>
                  </a:lnTo>
                  <a:lnTo>
                    <a:pt x="44" y="140"/>
                  </a:lnTo>
                  <a:lnTo>
                    <a:pt x="48" y="136"/>
                  </a:lnTo>
                  <a:lnTo>
                    <a:pt x="48" y="132"/>
                  </a:lnTo>
                  <a:lnTo>
                    <a:pt x="48" y="128"/>
                  </a:lnTo>
                  <a:lnTo>
                    <a:pt x="52" y="124"/>
                  </a:lnTo>
                  <a:lnTo>
                    <a:pt x="48" y="120"/>
                  </a:lnTo>
                  <a:lnTo>
                    <a:pt x="52" y="120"/>
                  </a:lnTo>
                  <a:lnTo>
                    <a:pt x="48" y="120"/>
                  </a:lnTo>
                  <a:lnTo>
                    <a:pt x="48" y="116"/>
                  </a:lnTo>
                  <a:lnTo>
                    <a:pt x="48" y="112"/>
                  </a:lnTo>
                  <a:lnTo>
                    <a:pt x="44" y="112"/>
                  </a:lnTo>
                  <a:lnTo>
                    <a:pt x="44" y="108"/>
                  </a:lnTo>
                  <a:lnTo>
                    <a:pt x="40" y="108"/>
                  </a:lnTo>
                  <a:lnTo>
                    <a:pt x="40" y="104"/>
                  </a:lnTo>
                  <a:lnTo>
                    <a:pt x="40" y="100"/>
                  </a:lnTo>
                  <a:lnTo>
                    <a:pt x="40" y="96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96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0" y="72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4" y="64"/>
                  </a:lnTo>
                  <a:lnTo>
                    <a:pt x="8" y="64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12" y="60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20" y="56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24" y="56"/>
                  </a:lnTo>
                  <a:lnTo>
                    <a:pt x="28" y="56"/>
                  </a:lnTo>
                  <a:lnTo>
                    <a:pt x="28" y="52"/>
                  </a:lnTo>
                  <a:lnTo>
                    <a:pt x="32" y="52"/>
                  </a:lnTo>
                  <a:lnTo>
                    <a:pt x="28" y="52"/>
                  </a:lnTo>
                  <a:lnTo>
                    <a:pt x="28" y="48"/>
                  </a:lnTo>
                  <a:lnTo>
                    <a:pt x="32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40" y="44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28"/>
                  </a:lnTo>
                  <a:lnTo>
                    <a:pt x="72" y="28"/>
                  </a:lnTo>
                  <a:lnTo>
                    <a:pt x="76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32"/>
                  </a:lnTo>
                  <a:lnTo>
                    <a:pt x="84" y="32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100" y="32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0" y="44"/>
                  </a:lnTo>
                  <a:lnTo>
                    <a:pt x="104" y="44"/>
                  </a:lnTo>
                  <a:lnTo>
                    <a:pt x="104" y="48"/>
                  </a:lnTo>
                  <a:lnTo>
                    <a:pt x="108" y="44"/>
                  </a:lnTo>
                  <a:lnTo>
                    <a:pt x="112" y="48"/>
                  </a:lnTo>
                  <a:lnTo>
                    <a:pt x="116" y="48"/>
                  </a:lnTo>
                  <a:lnTo>
                    <a:pt x="120" y="48"/>
                  </a:lnTo>
                  <a:lnTo>
                    <a:pt x="124" y="48"/>
                  </a:lnTo>
                  <a:lnTo>
                    <a:pt x="128" y="48"/>
                  </a:lnTo>
                  <a:lnTo>
                    <a:pt x="132" y="48"/>
                  </a:lnTo>
                  <a:lnTo>
                    <a:pt x="136" y="48"/>
                  </a:lnTo>
                  <a:lnTo>
                    <a:pt x="140" y="48"/>
                  </a:lnTo>
                  <a:lnTo>
                    <a:pt x="144" y="52"/>
                  </a:lnTo>
                  <a:lnTo>
                    <a:pt x="148" y="52"/>
                  </a:lnTo>
                  <a:lnTo>
                    <a:pt x="148" y="48"/>
                  </a:lnTo>
                  <a:lnTo>
                    <a:pt x="152" y="48"/>
                  </a:lnTo>
                  <a:lnTo>
                    <a:pt x="156" y="48"/>
                  </a:lnTo>
                  <a:lnTo>
                    <a:pt x="156" y="44"/>
                  </a:lnTo>
                  <a:lnTo>
                    <a:pt x="159" y="44"/>
                  </a:lnTo>
                  <a:lnTo>
                    <a:pt x="159" y="40"/>
                  </a:lnTo>
                  <a:lnTo>
                    <a:pt x="159" y="36"/>
                  </a:lnTo>
                  <a:lnTo>
                    <a:pt x="156" y="32"/>
                  </a:lnTo>
                  <a:lnTo>
                    <a:pt x="156" y="28"/>
                  </a:lnTo>
                  <a:lnTo>
                    <a:pt x="152" y="24"/>
                  </a:lnTo>
                  <a:lnTo>
                    <a:pt x="156" y="20"/>
                  </a:lnTo>
                  <a:lnTo>
                    <a:pt x="156" y="16"/>
                  </a:lnTo>
                  <a:lnTo>
                    <a:pt x="156" y="12"/>
                  </a:lnTo>
                  <a:lnTo>
                    <a:pt x="159" y="12"/>
                  </a:lnTo>
                  <a:lnTo>
                    <a:pt x="159" y="16"/>
                  </a:lnTo>
                  <a:lnTo>
                    <a:pt x="159" y="12"/>
                  </a:lnTo>
                  <a:lnTo>
                    <a:pt x="159" y="8"/>
                  </a:lnTo>
                  <a:lnTo>
                    <a:pt x="163" y="8"/>
                  </a:lnTo>
                  <a:lnTo>
                    <a:pt x="167" y="8"/>
                  </a:lnTo>
                  <a:lnTo>
                    <a:pt x="167" y="4"/>
                  </a:lnTo>
                  <a:lnTo>
                    <a:pt x="167" y="0"/>
                  </a:lnTo>
                  <a:lnTo>
                    <a:pt x="171" y="0"/>
                  </a:lnTo>
                  <a:lnTo>
                    <a:pt x="175" y="4"/>
                  </a:lnTo>
                  <a:lnTo>
                    <a:pt x="179" y="4"/>
                  </a:lnTo>
                  <a:lnTo>
                    <a:pt x="183" y="4"/>
                  </a:lnTo>
                  <a:lnTo>
                    <a:pt x="183" y="8"/>
                  </a:lnTo>
                  <a:lnTo>
                    <a:pt x="187" y="8"/>
                  </a:lnTo>
                  <a:lnTo>
                    <a:pt x="191" y="8"/>
                  </a:lnTo>
                  <a:lnTo>
                    <a:pt x="195" y="8"/>
                  </a:lnTo>
                  <a:lnTo>
                    <a:pt x="199" y="12"/>
                  </a:lnTo>
                  <a:lnTo>
                    <a:pt x="203" y="12"/>
                  </a:lnTo>
                  <a:lnTo>
                    <a:pt x="207" y="16"/>
                  </a:lnTo>
                  <a:lnTo>
                    <a:pt x="207" y="12"/>
                  </a:lnTo>
                  <a:lnTo>
                    <a:pt x="211" y="12"/>
                  </a:lnTo>
                  <a:lnTo>
                    <a:pt x="211" y="16"/>
                  </a:lnTo>
                  <a:lnTo>
                    <a:pt x="215" y="16"/>
                  </a:lnTo>
                  <a:lnTo>
                    <a:pt x="219" y="16"/>
                  </a:lnTo>
                  <a:lnTo>
                    <a:pt x="219" y="20"/>
                  </a:lnTo>
                  <a:lnTo>
                    <a:pt x="219" y="24"/>
                  </a:lnTo>
                  <a:lnTo>
                    <a:pt x="219" y="28"/>
                  </a:lnTo>
                  <a:lnTo>
                    <a:pt x="219" y="32"/>
                  </a:lnTo>
                  <a:lnTo>
                    <a:pt x="219" y="36"/>
                  </a:lnTo>
                  <a:lnTo>
                    <a:pt x="223" y="36"/>
                  </a:lnTo>
                  <a:lnTo>
                    <a:pt x="227" y="36"/>
                  </a:lnTo>
                  <a:lnTo>
                    <a:pt x="227" y="40"/>
                  </a:lnTo>
                  <a:lnTo>
                    <a:pt x="231" y="40"/>
                  </a:lnTo>
                  <a:lnTo>
                    <a:pt x="235" y="40"/>
                  </a:lnTo>
                  <a:lnTo>
                    <a:pt x="235" y="44"/>
                  </a:lnTo>
                  <a:lnTo>
                    <a:pt x="239" y="44"/>
                  </a:lnTo>
                  <a:lnTo>
                    <a:pt x="243" y="44"/>
                  </a:lnTo>
                  <a:lnTo>
                    <a:pt x="247" y="44"/>
                  </a:lnTo>
                  <a:lnTo>
                    <a:pt x="251" y="44"/>
                  </a:lnTo>
                  <a:lnTo>
                    <a:pt x="251" y="40"/>
                  </a:lnTo>
                  <a:lnTo>
                    <a:pt x="255" y="40"/>
                  </a:lnTo>
                  <a:lnTo>
                    <a:pt x="259" y="36"/>
                  </a:lnTo>
                  <a:lnTo>
                    <a:pt x="263" y="40"/>
                  </a:lnTo>
                  <a:lnTo>
                    <a:pt x="263" y="36"/>
                  </a:lnTo>
                  <a:lnTo>
                    <a:pt x="267" y="36"/>
                  </a:lnTo>
                  <a:lnTo>
                    <a:pt x="271" y="36"/>
                  </a:lnTo>
                  <a:lnTo>
                    <a:pt x="275" y="36"/>
                  </a:lnTo>
                  <a:lnTo>
                    <a:pt x="275" y="40"/>
                  </a:lnTo>
                  <a:lnTo>
                    <a:pt x="279" y="40"/>
                  </a:lnTo>
                  <a:lnTo>
                    <a:pt x="283" y="40"/>
                  </a:lnTo>
                  <a:lnTo>
                    <a:pt x="287" y="40"/>
                  </a:lnTo>
                  <a:lnTo>
                    <a:pt x="291" y="44"/>
                  </a:lnTo>
                  <a:lnTo>
                    <a:pt x="295" y="48"/>
                  </a:lnTo>
                  <a:lnTo>
                    <a:pt x="299" y="48"/>
                  </a:lnTo>
                  <a:lnTo>
                    <a:pt x="303" y="48"/>
                  </a:lnTo>
                  <a:lnTo>
                    <a:pt x="307" y="48"/>
                  </a:lnTo>
                  <a:lnTo>
                    <a:pt x="307" y="52"/>
                  </a:lnTo>
                  <a:lnTo>
                    <a:pt x="307" y="56"/>
                  </a:lnTo>
                  <a:lnTo>
                    <a:pt x="311" y="60"/>
                  </a:lnTo>
                  <a:lnTo>
                    <a:pt x="315" y="60"/>
                  </a:lnTo>
                  <a:lnTo>
                    <a:pt x="319" y="60"/>
                  </a:lnTo>
                  <a:lnTo>
                    <a:pt x="323" y="60"/>
                  </a:lnTo>
                  <a:lnTo>
                    <a:pt x="327" y="60"/>
                  </a:lnTo>
                  <a:lnTo>
                    <a:pt x="331" y="64"/>
                  </a:lnTo>
                  <a:lnTo>
                    <a:pt x="335" y="64"/>
                  </a:lnTo>
                  <a:lnTo>
                    <a:pt x="339" y="64"/>
                  </a:lnTo>
                  <a:lnTo>
                    <a:pt x="343" y="64"/>
                  </a:lnTo>
                  <a:lnTo>
                    <a:pt x="347" y="64"/>
                  </a:lnTo>
                  <a:lnTo>
                    <a:pt x="351" y="64"/>
                  </a:lnTo>
                  <a:lnTo>
                    <a:pt x="355" y="64"/>
                  </a:lnTo>
                  <a:lnTo>
                    <a:pt x="355" y="60"/>
                  </a:lnTo>
                  <a:lnTo>
                    <a:pt x="359" y="60"/>
                  </a:lnTo>
                  <a:lnTo>
                    <a:pt x="363" y="60"/>
                  </a:lnTo>
                  <a:lnTo>
                    <a:pt x="367" y="60"/>
                  </a:lnTo>
                  <a:lnTo>
                    <a:pt x="371" y="60"/>
                  </a:lnTo>
                  <a:lnTo>
                    <a:pt x="375" y="56"/>
                  </a:lnTo>
                  <a:lnTo>
                    <a:pt x="379" y="56"/>
                  </a:lnTo>
                  <a:lnTo>
                    <a:pt x="379" y="60"/>
                  </a:lnTo>
                  <a:lnTo>
                    <a:pt x="379" y="56"/>
                  </a:lnTo>
                  <a:lnTo>
                    <a:pt x="383" y="56"/>
                  </a:lnTo>
                  <a:lnTo>
                    <a:pt x="387" y="52"/>
                  </a:lnTo>
                  <a:lnTo>
                    <a:pt x="387" y="48"/>
                  </a:lnTo>
                  <a:lnTo>
                    <a:pt x="391" y="48"/>
                  </a:lnTo>
                  <a:lnTo>
                    <a:pt x="395" y="44"/>
                  </a:lnTo>
                  <a:lnTo>
                    <a:pt x="399" y="44"/>
                  </a:lnTo>
                  <a:lnTo>
                    <a:pt x="399" y="40"/>
                  </a:lnTo>
                  <a:lnTo>
                    <a:pt x="403" y="40"/>
                  </a:lnTo>
                  <a:lnTo>
                    <a:pt x="407" y="40"/>
                  </a:lnTo>
                  <a:lnTo>
                    <a:pt x="411" y="40"/>
                  </a:lnTo>
                  <a:lnTo>
                    <a:pt x="411" y="44"/>
                  </a:lnTo>
                  <a:lnTo>
                    <a:pt x="415" y="44"/>
                  </a:lnTo>
                  <a:lnTo>
                    <a:pt x="415" y="48"/>
                  </a:lnTo>
                  <a:lnTo>
                    <a:pt x="419" y="48"/>
                  </a:lnTo>
                  <a:lnTo>
                    <a:pt x="423" y="48"/>
                  </a:lnTo>
                  <a:lnTo>
                    <a:pt x="427" y="48"/>
                  </a:lnTo>
                  <a:lnTo>
                    <a:pt x="431" y="48"/>
                  </a:lnTo>
                  <a:lnTo>
                    <a:pt x="435" y="48"/>
                  </a:lnTo>
                  <a:lnTo>
                    <a:pt x="439" y="48"/>
                  </a:lnTo>
                  <a:lnTo>
                    <a:pt x="439" y="52"/>
                  </a:lnTo>
                  <a:lnTo>
                    <a:pt x="435" y="56"/>
                  </a:lnTo>
                  <a:lnTo>
                    <a:pt x="435" y="60"/>
                  </a:lnTo>
                  <a:lnTo>
                    <a:pt x="435" y="64"/>
                  </a:lnTo>
                  <a:lnTo>
                    <a:pt x="431" y="64"/>
                  </a:lnTo>
                  <a:lnTo>
                    <a:pt x="431" y="68"/>
                  </a:lnTo>
                  <a:lnTo>
                    <a:pt x="427" y="72"/>
                  </a:lnTo>
                  <a:lnTo>
                    <a:pt x="431" y="72"/>
                  </a:lnTo>
                  <a:lnTo>
                    <a:pt x="427" y="76"/>
                  </a:lnTo>
                  <a:lnTo>
                    <a:pt x="423" y="80"/>
                  </a:lnTo>
                  <a:lnTo>
                    <a:pt x="427" y="84"/>
                  </a:lnTo>
                  <a:lnTo>
                    <a:pt x="423" y="88"/>
                  </a:lnTo>
                  <a:lnTo>
                    <a:pt x="419" y="88"/>
                  </a:lnTo>
                  <a:lnTo>
                    <a:pt x="423" y="92"/>
                  </a:lnTo>
                  <a:lnTo>
                    <a:pt x="427" y="96"/>
                  </a:lnTo>
                  <a:lnTo>
                    <a:pt x="431" y="96"/>
                  </a:lnTo>
                  <a:lnTo>
                    <a:pt x="431" y="92"/>
                  </a:lnTo>
                  <a:lnTo>
                    <a:pt x="435" y="96"/>
                  </a:lnTo>
                  <a:lnTo>
                    <a:pt x="439" y="92"/>
                  </a:lnTo>
                  <a:lnTo>
                    <a:pt x="443" y="92"/>
                  </a:lnTo>
                  <a:lnTo>
                    <a:pt x="443" y="96"/>
                  </a:lnTo>
                  <a:lnTo>
                    <a:pt x="447" y="100"/>
                  </a:lnTo>
                  <a:lnTo>
                    <a:pt x="451" y="96"/>
                  </a:lnTo>
                  <a:lnTo>
                    <a:pt x="451" y="92"/>
                  </a:lnTo>
                  <a:lnTo>
                    <a:pt x="455" y="92"/>
                  </a:lnTo>
                  <a:lnTo>
                    <a:pt x="459" y="92"/>
                  </a:lnTo>
                  <a:lnTo>
                    <a:pt x="463" y="92"/>
                  </a:lnTo>
                  <a:lnTo>
                    <a:pt x="467" y="92"/>
                  </a:lnTo>
                  <a:lnTo>
                    <a:pt x="471" y="96"/>
                  </a:lnTo>
                  <a:lnTo>
                    <a:pt x="475" y="100"/>
                  </a:lnTo>
                  <a:lnTo>
                    <a:pt x="479" y="100"/>
                  </a:lnTo>
                  <a:lnTo>
                    <a:pt x="479" y="104"/>
                  </a:lnTo>
                  <a:lnTo>
                    <a:pt x="479" y="108"/>
                  </a:lnTo>
                  <a:lnTo>
                    <a:pt x="483" y="108"/>
                  </a:lnTo>
                  <a:lnTo>
                    <a:pt x="487" y="112"/>
                  </a:lnTo>
                  <a:lnTo>
                    <a:pt x="487" y="116"/>
                  </a:lnTo>
                  <a:lnTo>
                    <a:pt x="487" y="120"/>
                  </a:lnTo>
                  <a:lnTo>
                    <a:pt x="483" y="120"/>
                  </a:lnTo>
                  <a:lnTo>
                    <a:pt x="479" y="120"/>
                  </a:lnTo>
                  <a:lnTo>
                    <a:pt x="475" y="120"/>
                  </a:lnTo>
                  <a:lnTo>
                    <a:pt x="471" y="120"/>
                  </a:lnTo>
                  <a:lnTo>
                    <a:pt x="471" y="116"/>
                  </a:lnTo>
                  <a:lnTo>
                    <a:pt x="471" y="120"/>
                  </a:lnTo>
                  <a:lnTo>
                    <a:pt x="467" y="120"/>
                  </a:lnTo>
                  <a:lnTo>
                    <a:pt x="463" y="120"/>
                  </a:lnTo>
                  <a:lnTo>
                    <a:pt x="459" y="120"/>
                  </a:lnTo>
                  <a:lnTo>
                    <a:pt x="455" y="120"/>
                  </a:lnTo>
                  <a:lnTo>
                    <a:pt x="455" y="124"/>
                  </a:lnTo>
                  <a:lnTo>
                    <a:pt x="451" y="124"/>
                  </a:lnTo>
                  <a:lnTo>
                    <a:pt x="451" y="120"/>
                  </a:lnTo>
                  <a:lnTo>
                    <a:pt x="451" y="124"/>
                  </a:lnTo>
                  <a:lnTo>
                    <a:pt x="447" y="124"/>
                  </a:lnTo>
                  <a:lnTo>
                    <a:pt x="447" y="128"/>
                  </a:lnTo>
                  <a:lnTo>
                    <a:pt x="443" y="128"/>
                  </a:lnTo>
                  <a:lnTo>
                    <a:pt x="439" y="1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4" name="Freeform 31"/>
            <p:cNvSpPr>
              <a:spLocks noEditPoints="1"/>
            </p:cNvSpPr>
            <p:nvPr>
              <p:custDataLst>
                <p:tags r:id="rId227"/>
              </p:custDataLst>
            </p:nvPr>
          </p:nvSpPr>
          <p:spPr bwMode="gray">
            <a:xfrm>
              <a:off x="6446418" y="3805481"/>
              <a:ext cx="200213" cy="520555"/>
            </a:xfrm>
            <a:custGeom>
              <a:avLst/>
              <a:gdLst/>
              <a:ahLst/>
              <a:cxnLst>
                <a:cxn ang="0">
                  <a:pos x="95" y="335"/>
                </a:cxn>
                <a:cxn ang="0">
                  <a:pos x="95" y="315"/>
                </a:cxn>
                <a:cxn ang="0">
                  <a:pos x="95" y="299"/>
                </a:cxn>
                <a:cxn ang="0">
                  <a:pos x="91" y="279"/>
                </a:cxn>
                <a:cxn ang="0">
                  <a:pos x="84" y="259"/>
                </a:cxn>
                <a:cxn ang="0">
                  <a:pos x="84" y="235"/>
                </a:cxn>
                <a:cxn ang="0">
                  <a:pos x="76" y="215"/>
                </a:cxn>
                <a:cxn ang="0">
                  <a:pos x="68" y="223"/>
                </a:cxn>
                <a:cxn ang="0">
                  <a:pos x="60" y="231"/>
                </a:cxn>
                <a:cxn ang="0">
                  <a:pos x="44" y="239"/>
                </a:cxn>
                <a:cxn ang="0">
                  <a:pos x="40" y="243"/>
                </a:cxn>
                <a:cxn ang="0">
                  <a:pos x="36" y="235"/>
                </a:cxn>
                <a:cxn ang="0">
                  <a:pos x="32" y="223"/>
                </a:cxn>
                <a:cxn ang="0">
                  <a:pos x="32" y="195"/>
                </a:cxn>
                <a:cxn ang="0">
                  <a:pos x="24" y="175"/>
                </a:cxn>
                <a:cxn ang="0">
                  <a:pos x="20" y="163"/>
                </a:cxn>
                <a:cxn ang="0">
                  <a:pos x="12" y="163"/>
                </a:cxn>
                <a:cxn ang="0">
                  <a:pos x="12" y="155"/>
                </a:cxn>
                <a:cxn ang="0">
                  <a:pos x="8" y="155"/>
                </a:cxn>
                <a:cxn ang="0">
                  <a:pos x="4" y="136"/>
                </a:cxn>
                <a:cxn ang="0">
                  <a:pos x="12" y="124"/>
                </a:cxn>
                <a:cxn ang="0">
                  <a:pos x="12" y="108"/>
                </a:cxn>
                <a:cxn ang="0">
                  <a:pos x="16" y="88"/>
                </a:cxn>
                <a:cxn ang="0">
                  <a:pos x="32" y="84"/>
                </a:cxn>
                <a:cxn ang="0">
                  <a:pos x="40" y="56"/>
                </a:cxn>
                <a:cxn ang="0">
                  <a:pos x="48" y="32"/>
                </a:cxn>
                <a:cxn ang="0">
                  <a:pos x="76" y="28"/>
                </a:cxn>
                <a:cxn ang="0">
                  <a:pos x="76" y="4"/>
                </a:cxn>
                <a:cxn ang="0">
                  <a:pos x="91" y="12"/>
                </a:cxn>
                <a:cxn ang="0">
                  <a:pos x="99" y="28"/>
                </a:cxn>
                <a:cxn ang="0">
                  <a:pos x="99" y="52"/>
                </a:cxn>
                <a:cxn ang="0">
                  <a:pos x="84" y="72"/>
                </a:cxn>
                <a:cxn ang="0">
                  <a:pos x="84" y="88"/>
                </a:cxn>
                <a:cxn ang="0">
                  <a:pos x="99" y="88"/>
                </a:cxn>
                <a:cxn ang="0">
                  <a:pos x="111" y="104"/>
                </a:cxn>
                <a:cxn ang="0">
                  <a:pos x="111" y="124"/>
                </a:cxn>
                <a:cxn ang="0">
                  <a:pos x="131" y="132"/>
                </a:cxn>
                <a:cxn ang="0">
                  <a:pos x="123" y="148"/>
                </a:cxn>
                <a:cxn ang="0">
                  <a:pos x="111" y="159"/>
                </a:cxn>
                <a:cxn ang="0">
                  <a:pos x="95" y="167"/>
                </a:cxn>
                <a:cxn ang="0">
                  <a:pos x="84" y="187"/>
                </a:cxn>
                <a:cxn ang="0">
                  <a:pos x="84" y="199"/>
                </a:cxn>
                <a:cxn ang="0">
                  <a:pos x="95" y="219"/>
                </a:cxn>
                <a:cxn ang="0">
                  <a:pos x="95" y="243"/>
                </a:cxn>
                <a:cxn ang="0">
                  <a:pos x="95" y="267"/>
                </a:cxn>
                <a:cxn ang="0">
                  <a:pos x="107" y="287"/>
                </a:cxn>
                <a:cxn ang="0">
                  <a:pos x="111" y="315"/>
                </a:cxn>
                <a:cxn ang="0">
                  <a:pos x="24" y="179"/>
                </a:cxn>
                <a:cxn ang="0">
                  <a:pos x="24" y="175"/>
                </a:cxn>
                <a:cxn ang="0">
                  <a:pos x="28" y="175"/>
                </a:cxn>
                <a:cxn ang="0">
                  <a:pos x="80" y="235"/>
                </a:cxn>
                <a:cxn ang="0">
                  <a:pos x="88" y="307"/>
                </a:cxn>
                <a:cxn ang="0">
                  <a:pos x="24" y="183"/>
                </a:cxn>
                <a:cxn ang="0">
                  <a:pos x="91" y="307"/>
                </a:cxn>
                <a:cxn ang="0">
                  <a:pos x="91" y="315"/>
                </a:cxn>
                <a:cxn ang="0">
                  <a:pos x="91" y="323"/>
                </a:cxn>
              </a:cxnLst>
              <a:rect l="0" t="0" r="r" b="b"/>
              <a:pathLst>
                <a:path w="135" h="351">
                  <a:moveTo>
                    <a:pt x="99" y="335"/>
                  </a:moveTo>
                  <a:lnTo>
                    <a:pt x="99" y="339"/>
                  </a:lnTo>
                  <a:lnTo>
                    <a:pt x="99" y="343"/>
                  </a:lnTo>
                  <a:lnTo>
                    <a:pt x="95" y="347"/>
                  </a:lnTo>
                  <a:lnTo>
                    <a:pt x="95" y="351"/>
                  </a:lnTo>
                  <a:lnTo>
                    <a:pt x="95" y="347"/>
                  </a:lnTo>
                  <a:lnTo>
                    <a:pt x="95" y="343"/>
                  </a:lnTo>
                  <a:lnTo>
                    <a:pt x="95" y="335"/>
                  </a:lnTo>
                  <a:lnTo>
                    <a:pt x="99" y="331"/>
                  </a:lnTo>
                  <a:lnTo>
                    <a:pt x="99" y="327"/>
                  </a:lnTo>
                  <a:lnTo>
                    <a:pt x="99" y="323"/>
                  </a:lnTo>
                  <a:lnTo>
                    <a:pt x="99" y="319"/>
                  </a:lnTo>
                  <a:lnTo>
                    <a:pt x="99" y="315"/>
                  </a:lnTo>
                  <a:lnTo>
                    <a:pt x="99" y="319"/>
                  </a:lnTo>
                  <a:lnTo>
                    <a:pt x="95" y="319"/>
                  </a:lnTo>
                  <a:lnTo>
                    <a:pt x="95" y="315"/>
                  </a:lnTo>
                  <a:lnTo>
                    <a:pt x="99" y="311"/>
                  </a:lnTo>
                  <a:lnTo>
                    <a:pt x="95" y="311"/>
                  </a:lnTo>
                  <a:lnTo>
                    <a:pt x="99" y="307"/>
                  </a:lnTo>
                  <a:lnTo>
                    <a:pt x="95" y="307"/>
                  </a:lnTo>
                  <a:lnTo>
                    <a:pt x="99" y="307"/>
                  </a:lnTo>
                  <a:lnTo>
                    <a:pt x="95" y="307"/>
                  </a:lnTo>
                  <a:lnTo>
                    <a:pt x="95" y="303"/>
                  </a:lnTo>
                  <a:lnTo>
                    <a:pt x="95" y="299"/>
                  </a:lnTo>
                  <a:lnTo>
                    <a:pt x="95" y="295"/>
                  </a:lnTo>
                  <a:lnTo>
                    <a:pt x="95" y="291"/>
                  </a:lnTo>
                  <a:lnTo>
                    <a:pt x="95" y="287"/>
                  </a:lnTo>
                  <a:lnTo>
                    <a:pt x="95" y="283"/>
                  </a:lnTo>
                  <a:lnTo>
                    <a:pt x="91" y="283"/>
                  </a:lnTo>
                  <a:lnTo>
                    <a:pt x="91" y="279"/>
                  </a:lnTo>
                  <a:lnTo>
                    <a:pt x="91" y="275"/>
                  </a:lnTo>
                  <a:lnTo>
                    <a:pt x="91" y="279"/>
                  </a:lnTo>
                  <a:lnTo>
                    <a:pt x="91" y="283"/>
                  </a:lnTo>
                  <a:lnTo>
                    <a:pt x="88" y="283"/>
                  </a:lnTo>
                  <a:lnTo>
                    <a:pt x="88" y="279"/>
                  </a:lnTo>
                  <a:lnTo>
                    <a:pt x="88" y="275"/>
                  </a:lnTo>
                  <a:lnTo>
                    <a:pt x="88" y="271"/>
                  </a:lnTo>
                  <a:lnTo>
                    <a:pt x="88" y="267"/>
                  </a:lnTo>
                  <a:lnTo>
                    <a:pt x="84" y="263"/>
                  </a:lnTo>
                  <a:lnTo>
                    <a:pt x="84" y="259"/>
                  </a:lnTo>
                  <a:lnTo>
                    <a:pt x="84" y="255"/>
                  </a:lnTo>
                  <a:lnTo>
                    <a:pt x="84" y="251"/>
                  </a:lnTo>
                  <a:lnTo>
                    <a:pt x="84" y="247"/>
                  </a:lnTo>
                  <a:lnTo>
                    <a:pt x="84" y="243"/>
                  </a:lnTo>
                  <a:lnTo>
                    <a:pt x="84" y="239"/>
                  </a:lnTo>
                  <a:lnTo>
                    <a:pt x="80" y="239"/>
                  </a:lnTo>
                  <a:lnTo>
                    <a:pt x="80" y="235"/>
                  </a:lnTo>
                  <a:lnTo>
                    <a:pt x="84" y="235"/>
                  </a:lnTo>
                  <a:lnTo>
                    <a:pt x="84" y="231"/>
                  </a:lnTo>
                  <a:lnTo>
                    <a:pt x="80" y="231"/>
                  </a:lnTo>
                  <a:lnTo>
                    <a:pt x="84" y="227"/>
                  </a:lnTo>
                  <a:lnTo>
                    <a:pt x="80" y="227"/>
                  </a:lnTo>
                  <a:lnTo>
                    <a:pt x="76" y="227"/>
                  </a:lnTo>
                  <a:lnTo>
                    <a:pt x="76" y="223"/>
                  </a:lnTo>
                  <a:lnTo>
                    <a:pt x="76" y="219"/>
                  </a:lnTo>
                  <a:lnTo>
                    <a:pt x="76" y="215"/>
                  </a:lnTo>
                  <a:lnTo>
                    <a:pt x="72" y="215"/>
                  </a:lnTo>
                  <a:lnTo>
                    <a:pt x="72" y="211"/>
                  </a:lnTo>
                  <a:lnTo>
                    <a:pt x="72" y="215"/>
                  </a:lnTo>
                  <a:lnTo>
                    <a:pt x="72" y="219"/>
                  </a:lnTo>
                  <a:lnTo>
                    <a:pt x="68" y="219"/>
                  </a:lnTo>
                  <a:lnTo>
                    <a:pt x="68" y="223"/>
                  </a:lnTo>
                  <a:lnTo>
                    <a:pt x="72" y="223"/>
                  </a:lnTo>
                  <a:lnTo>
                    <a:pt x="68" y="223"/>
                  </a:lnTo>
                  <a:lnTo>
                    <a:pt x="68" y="227"/>
                  </a:lnTo>
                  <a:lnTo>
                    <a:pt x="64" y="227"/>
                  </a:lnTo>
                  <a:lnTo>
                    <a:pt x="60" y="227"/>
                  </a:lnTo>
                  <a:lnTo>
                    <a:pt x="60" y="223"/>
                  </a:lnTo>
                  <a:lnTo>
                    <a:pt x="60" y="227"/>
                  </a:lnTo>
                  <a:lnTo>
                    <a:pt x="60" y="231"/>
                  </a:lnTo>
                  <a:lnTo>
                    <a:pt x="56" y="231"/>
                  </a:lnTo>
                  <a:lnTo>
                    <a:pt x="60" y="231"/>
                  </a:lnTo>
                  <a:lnTo>
                    <a:pt x="56" y="235"/>
                  </a:lnTo>
                  <a:lnTo>
                    <a:pt x="52" y="235"/>
                  </a:lnTo>
                  <a:lnTo>
                    <a:pt x="52" y="239"/>
                  </a:lnTo>
                  <a:lnTo>
                    <a:pt x="48" y="243"/>
                  </a:lnTo>
                  <a:lnTo>
                    <a:pt x="48" y="239"/>
                  </a:lnTo>
                  <a:lnTo>
                    <a:pt x="48" y="235"/>
                  </a:lnTo>
                  <a:lnTo>
                    <a:pt x="48" y="239"/>
                  </a:lnTo>
                  <a:lnTo>
                    <a:pt x="44" y="239"/>
                  </a:lnTo>
                  <a:lnTo>
                    <a:pt x="48" y="239"/>
                  </a:lnTo>
                  <a:lnTo>
                    <a:pt x="44" y="239"/>
                  </a:lnTo>
                  <a:lnTo>
                    <a:pt x="44" y="243"/>
                  </a:lnTo>
                  <a:lnTo>
                    <a:pt x="44" y="239"/>
                  </a:lnTo>
                  <a:lnTo>
                    <a:pt x="44" y="235"/>
                  </a:lnTo>
                  <a:lnTo>
                    <a:pt x="44" y="239"/>
                  </a:lnTo>
                  <a:lnTo>
                    <a:pt x="44" y="243"/>
                  </a:lnTo>
                  <a:lnTo>
                    <a:pt x="40" y="243"/>
                  </a:lnTo>
                  <a:lnTo>
                    <a:pt x="40" y="239"/>
                  </a:lnTo>
                  <a:lnTo>
                    <a:pt x="40" y="235"/>
                  </a:lnTo>
                  <a:lnTo>
                    <a:pt x="40" y="239"/>
                  </a:lnTo>
                  <a:lnTo>
                    <a:pt x="36" y="239"/>
                  </a:lnTo>
                  <a:lnTo>
                    <a:pt x="40" y="235"/>
                  </a:lnTo>
                  <a:lnTo>
                    <a:pt x="36" y="235"/>
                  </a:lnTo>
                  <a:lnTo>
                    <a:pt x="36" y="239"/>
                  </a:lnTo>
                  <a:lnTo>
                    <a:pt x="36" y="235"/>
                  </a:lnTo>
                  <a:lnTo>
                    <a:pt x="36" y="231"/>
                  </a:lnTo>
                  <a:lnTo>
                    <a:pt x="36" y="235"/>
                  </a:lnTo>
                  <a:lnTo>
                    <a:pt x="32" y="235"/>
                  </a:lnTo>
                  <a:lnTo>
                    <a:pt x="32" y="239"/>
                  </a:lnTo>
                  <a:lnTo>
                    <a:pt x="28" y="239"/>
                  </a:lnTo>
                  <a:lnTo>
                    <a:pt x="32" y="231"/>
                  </a:lnTo>
                  <a:lnTo>
                    <a:pt x="32" y="227"/>
                  </a:lnTo>
                  <a:lnTo>
                    <a:pt x="32" y="223"/>
                  </a:lnTo>
                  <a:lnTo>
                    <a:pt x="32" y="219"/>
                  </a:lnTo>
                  <a:lnTo>
                    <a:pt x="36" y="215"/>
                  </a:lnTo>
                  <a:lnTo>
                    <a:pt x="36" y="211"/>
                  </a:lnTo>
                  <a:lnTo>
                    <a:pt x="36" y="207"/>
                  </a:lnTo>
                  <a:lnTo>
                    <a:pt x="36" y="203"/>
                  </a:lnTo>
                  <a:lnTo>
                    <a:pt x="32" y="199"/>
                  </a:lnTo>
                  <a:lnTo>
                    <a:pt x="36" y="199"/>
                  </a:lnTo>
                  <a:lnTo>
                    <a:pt x="32" y="195"/>
                  </a:lnTo>
                  <a:lnTo>
                    <a:pt x="32" y="191"/>
                  </a:lnTo>
                  <a:lnTo>
                    <a:pt x="32" y="187"/>
                  </a:lnTo>
                  <a:lnTo>
                    <a:pt x="28" y="183"/>
                  </a:lnTo>
                  <a:lnTo>
                    <a:pt x="28" y="187"/>
                  </a:lnTo>
                  <a:lnTo>
                    <a:pt x="28" y="183"/>
                  </a:lnTo>
                  <a:lnTo>
                    <a:pt x="28" y="179"/>
                  </a:lnTo>
                  <a:lnTo>
                    <a:pt x="24" y="179"/>
                  </a:lnTo>
                  <a:lnTo>
                    <a:pt x="24" y="175"/>
                  </a:lnTo>
                  <a:lnTo>
                    <a:pt x="28" y="175"/>
                  </a:lnTo>
                  <a:lnTo>
                    <a:pt x="24" y="171"/>
                  </a:lnTo>
                  <a:lnTo>
                    <a:pt x="24" y="167"/>
                  </a:lnTo>
                  <a:lnTo>
                    <a:pt x="20" y="167"/>
                  </a:lnTo>
                  <a:lnTo>
                    <a:pt x="24" y="163"/>
                  </a:lnTo>
                  <a:lnTo>
                    <a:pt x="24" y="167"/>
                  </a:lnTo>
                  <a:lnTo>
                    <a:pt x="24" y="163"/>
                  </a:lnTo>
                  <a:lnTo>
                    <a:pt x="20" y="163"/>
                  </a:lnTo>
                  <a:lnTo>
                    <a:pt x="20" y="167"/>
                  </a:lnTo>
                  <a:lnTo>
                    <a:pt x="20" y="163"/>
                  </a:lnTo>
                  <a:lnTo>
                    <a:pt x="16" y="163"/>
                  </a:lnTo>
                  <a:lnTo>
                    <a:pt x="12" y="163"/>
                  </a:lnTo>
                  <a:lnTo>
                    <a:pt x="16" y="163"/>
                  </a:lnTo>
                  <a:lnTo>
                    <a:pt x="16" y="167"/>
                  </a:lnTo>
                  <a:lnTo>
                    <a:pt x="16" y="163"/>
                  </a:lnTo>
                  <a:lnTo>
                    <a:pt x="12" y="163"/>
                  </a:lnTo>
                  <a:lnTo>
                    <a:pt x="12" y="167"/>
                  </a:lnTo>
                  <a:lnTo>
                    <a:pt x="16" y="167"/>
                  </a:lnTo>
                  <a:lnTo>
                    <a:pt x="12" y="167"/>
                  </a:lnTo>
                  <a:lnTo>
                    <a:pt x="12" y="163"/>
                  </a:lnTo>
                  <a:lnTo>
                    <a:pt x="12" y="159"/>
                  </a:lnTo>
                  <a:lnTo>
                    <a:pt x="12" y="155"/>
                  </a:lnTo>
                  <a:lnTo>
                    <a:pt x="12" y="152"/>
                  </a:lnTo>
                  <a:lnTo>
                    <a:pt x="12" y="155"/>
                  </a:lnTo>
                  <a:lnTo>
                    <a:pt x="12" y="159"/>
                  </a:lnTo>
                  <a:lnTo>
                    <a:pt x="8" y="159"/>
                  </a:lnTo>
                  <a:lnTo>
                    <a:pt x="12" y="155"/>
                  </a:lnTo>
                  <a:lnTo>
                    <a:pt x="8" y="155"/>
                  </a:lnTo>
                  <a:lnTo>
                    <a:pt x="8" y="152"/>
                  </a:lnTo>
                  <a:lnTo>
                    <a:pt x="8" y="155"/>
                  </a:lnTo>
                  <a:lnTo>
                    <a:pt x="8" y="159"/>
                  </a:lnTo>
                  <a:lnTo>
                    <a:pt x="8" y="155"/>
                  </a:lnTo>
                  <a:lnTo>
                    <a:pt x="4" y="155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0" y="148"/>
                  </a:lnTo>
                  <a:lnTo>
                    <a:pt x="0" y="144"/>
                  </a:lnTo>
                  <a:lnTo>
                    <a:pt x="0" y="140"/>
                  </a:lnTo>
                  <a:lnTo>
                    <a:pt x="0" y="136"/>
                  </a:lnTo>
                  <a:lnTo>
                    <a:pt x="4" y="136"/>
                  </a:lnTo>
                  <a:lnTo>
                    <a:pt x="4" y="140"/>
                  </a:lnTo>
                  <a:lnTo>
                    <a:pt x="8" y="140"/>
                  </a:lnTo>
                  <a:lnTo>
                    <a:pt x="8" y="136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4" y="128"/>
                  </a:lnTo>
                  <a:lnTo>
                    <a:pt x="8" y="124"/>
                  </a:lnTo>
                  <a:lnTo>
                    <a:pt x="12" y="124"/>
                  </a:lnTo>
                  <a:lnTo>
                    <a:pt x="12" y="120"/>
                  </a:lnTo>
                  <a:lnTo>
                    <a:pt x="12" y="124"/>
                  </a:lnTo>
                  <a:lnTo>
                    <a:pt x="16" y="124"/>
                  </a:lnTo>
                  <a:lnTo>
                    <a:pt x="16" y="120"/>
                  </a:lnTo>
                  <a:lnTo>
                    <a:pt x="16" y="116"/>
                  </a:lnTo>
                  <a:lnTo>
                    <a:pt x="12" y="116"/>
                  </a:lnTo>
                  <a:lnTo>
                    <a:pt x="12" y="112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6" y="104"/>
                  </a:lnTo>
                  <a:lnTo>
                    <a:pt x="16" y="108"/>
                  </a:lnTo>
                  <a:lnTo>
                    <a:pt x="16" y="104"/>
                  </a:lnTo>
                  <a:lnTo>
                    <a:pt x="16" y="100"/>
                  </a:lnTo>
                  <a:lnTo>
                    <a:pt x="20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6" y="88"/>
                  </a:lnTo>
                  <a:lnTo>
                    <a:pt x="20" y="88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28" y="92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68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44" y="56"/>
                  </a:lnTo>
                  <a:lnTo>
                    <a:pt x="44" y="52"/>
                  </a:lnTo>
                  <a:lnTo>
                    <a:pt x="44" y="48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36"/>
                  </a:lnTo>
                  <a:lnTo>
                    <a:pt x="48" y="36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6" y="28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6" y="28"/>
                  </a:lnTo>
                  <a:lnTo>
                    <a:pt x="72" y="24"/>
                  </a:lnTo>
                  <a:lnTo>
                    <a:pt x="72" y="20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76" y="8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8"/>
                  </a:lnTo>
                  <a:lnTo>
                    <a:pt x="88" y="12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5" y="20"/>
                  </a:lnTo>
                  <a:lnTo>
                    <a:pt x="95" y="16"/>
                  </a:lnTo>
                  <a:lnTo>
                    <a:pt x="95" y="20"/>
                  </a:lnTo>
                  <a:lnTo>
                    <a:pt x="99" y="20"/>
                  </a:lnTo>
                  <a:lnTo>
                    <a:pt x="99" y="24"/>
                  </a:lnTo>
                  <a:lnTo>
                    <a:pt x="99" y="28"/>
                  </a:lnTo>
                  <a:lnTo>
                    <a:pt x="99" y="32"/>
                  </a:lnTo>
                  <a:lnTo>
                    <a:pt x="99" y="36"/>
                  </a:lnTo>
                  <a:lnTo>
                    <a:pt x="99" y="40"/>
                  </a:lnTo>
                  <a:lnTo>
                    <a:pt x="99" y="44"/>
                  </a:lnTo>
                  <a:lnTo>
                    <a:pt x="99" y="48"/>
                  </a:lnTo>
                  <a:lnTo>
                    <a:pt x="95" y="48"/>
                  </a:lnTo>
                  <a:lnTo>
                    <a:pt x="95" y="52"/>
                  </a:lnTo>
                  <a:lnTo>
                    <a:pt x="99" y="52"/>
                  </a:lnTo>
                  <a:lnTo>
                    <a:pt x="95" y="52"/>
                  </a:lnTo>
                  <a:lnTo>
                    <a:pt x="95" y="56"/>
                  </a:lnTo>
                  <a:lnTo>
                    <a:pt x="91" y="56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4" y="64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80" y="76"/>
                  </a:lnTo>
                  <a:lnTo>
                    <a:pt x="80" y="80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84" y="88"/>
                  </a:lnTo>
                  <a:lnTo>
                    <a:pt x="84" y="92"/>
                  </a:lnTo>
                  <a:lnTo>
                    <a:pt x="84" y="88"/>
                  </a:lnTo>
                  <a:lnTo>
                    <a:pt x="88" y="88"/>
                  </a:lnTo>
                  <a:lnTo>
                    <a:pt x="88" y="84"/>
                  </a:lnTo>
                  <a:lnTo>
                    <a:pt x="91" y="84"/>
                  </a:lnTo>
                  <a:lnTo>
                    <a:pt x="95" y="84"/>
                  </a:lnTo>
                  <a:lnTo>
                    <a:pt x="99" y="84"/>
                  </a:lnTo>
                  <a:lnTo>
                    <a:pt x="99" y="88"/>
                  </a:lnTo>
                  <a:lnTo>
                    <a:pt x="95" y="88"/>
                  </a:lnTo>
                  <a:lnTo>
                    <a:pt x="99" y="92"/>
                  </a:lnTo>
                  <a:lnTo>
                    <a:pt x="99" y="96"/>
                  </a:lnTo>
                  <a:lnTo>
                    <a:pt x="99" y="100"/>
                  </a:lnTo>
                  <a:lnTo>
                    <a:pt x="99" y="104"/>
                  </a:lnTo>
                  <a:lnTo>
                    <a:pt x="103" y="104"/>
                  </a:lnTo>
                  <a:lnTo>
                    <a:pt x="107" y="104"/>
                  </a:lnTo>
                  <a:lnTo>
                    <a:pt x="111" y="104"/>
                  </a:lnTo>
                  <a:lnTo>
                    <a:pt x="111" y="108"/>
                  </a:lnTo>
                  <a:lnTo>
                    <a:pt x="107" y="108"/>
                  </a:lnTo>
                  <a:lnTo>
                    <a:pt x="107" y="112"/>
                  </a:lnTo>
                  <a:lnTo>
                    <a:pt x="107" y="116"/>
                  </a:lnTo>
                  <a:lnTo>
                    <a:pt x="107" y="120"/>
                  </a:lnTo>
                  <a:lnTo>
                    <a:pt x="103" y="124"/>
                  </a:lnTo>
                  <a:lnTo>
                    <a:pt x="107" y="124"/>
                  </a:lnTo>
                  <a:lnTo>
                    <a:pt x="111" y="124"/>
                  </a:lnTo>
                  <a:lnTo>
                    <a:pt x="115" y="124"/>
                  </a:lnTo>
                  <a:lnTo>
                    <a:pt x="115" y="128"/>
                  </a:lnTo>
                  <a:lnTo>
                    <a:pt x="115" y="132"/>
                  </a:lnTo>
                  <a:lnTo>
                    <a:pt x="119" y="132"/>
                  </a:lnTo>
                  <a:lnTo>
                    <a:pt x="119" y="136"/>
                  </a:lnTo>
                  <a:lnTo>
                    <a:pt x="123" y="136"/>
                  </a:lnTo>
                  <a:lnTo>
                    <a:pt x="127" y="136"/>
                  </a:lnTo>
                  <a:lnTo>
                    <a:pt x="131" y="132"/>
                  </a:lnTo>
                  <a:lnTo>
                    <a:pt x="135" y="132"/>
                  </a:lnTo>
                  <a:lnTo>
                    <a:pt x="135" y="136"/>
                  </a:lnTo>
                  <a:lnTo>
                    <a:pt x="131" y="136"/>
                  </a:lnTo>
                  <a:lnTo>
                    <a:pt x="131" y="140"/>
                  </a:lnTo>
                  <a:lnTo>
                    <a:pt x="127" y="140"/>
                  </a:lnTo>
                  <a:lnTo>
                    <a:pt x="127" y="144"/>
                  </a:lnTo>
                  <a:lnTo>
                    <a:pt x="123" y="144"/>
                  </a:lnTo>
                  <a:lnTo>
                    <a:pt x="123" y="148"/>
                  </a:lnTo>
                  <a:lnTo>
                    <a:pt x="127" y="148"/>
                  </a:lnTo>
                  <a:lnTo>
                    <a:pt x="123" y="148"/>
                  </a:lnTo>
                  <a:lnTo>
                    <a:pt x="119" y="148"/>
                  </a:lnTo>
                  <a:lnTo>
                    <a:pt x="119" y="152"/>
                  </a:lnTo>
                  <a:lnTo>
                    <a:pt x="119" y="155"/>
                  </a:lnTo>
                  <a:lnTo>
                    <a:pt x="115" y="155"/>
                  </a:lnTo>
                  <a:lnTo>
                    <a:pt x="111" y="155"/>
                  </a:lnTo>
                  <a:lnTo>
                    <a:pt x="111" y="159"/>
                  </a:lnTo>
                  <a:lnTo>
                    <a:pt x="107" y="159"/>
                  </a:lnTo>
                  <a:lnTo>
                    <a:pt x="107" y="163"/>
                  </a:lnTo>
                  <a:lnTo>
                    <a:pt x="107" y="159"/>
                  </a:lnTo>
                  <a:lnTo>
                    <a:pt x="103" y="159"/>
                  </a:lnTo>
                  <a:lnTo>
                    <a:pt x="103" y="163"/>
                  </a:lnTo>
                  <a:lnTo>
                    <a:pt x="103" y="167"/>
                  </a:lnTo>
                  <a:lnTo>
                    <a:pt x="99" y="167"/>
                  </a:lnTo>
                  <a:lnTo>
                    <a:pt x="95" y="167"/>
                  </a:lnTo>
                  <a:lnTo>
                    <a:pt x="91" y="167"/>
                  </a:lnTo>
                  <a:lnTo>
                    <a:pt x="88" y="167"/>
                  </a:lnTo>
                  <a:lnTo>
                    <a:pt x="88" y="171"/>
                  </a:lnTo>
                  <a:lnTo>
                    <a:pt x="84" y="171"/>
                  </a:lnTo>
                  <a:lnTo>
                    <a:pt x="84" y="175"/>
                  </a:lnTo>
                  <a:lnTo>
                    <a:pt x="84" y="179"/>
                  </a:lnTo>
                  <a:lnTo>
                    <a:pt x="84" y="183"/>
                  </a:lnTo>
                  <a:lnTo>
                    <a:pt x="84" y="187"/>
                  </a:lnTo>
                  <a:lnTo>
                    <a:pt x="84" y="191"/>
                  </a:lnTo>
                  <a:lnTo>
                    <a:pt x="80" y="191"/>
                  </a:lnTo>
                  <a:lnTo>
                    <a:pt x="76" y="191"/>
                  </a:lnTo>
                  <a:lnTo>
                    <a:pt x="80" y="191"/>
                  </a:lnTo>
                  <a:lnTo>
                    <a:pt x="80" y="195"/>
                  </a:lnTo>
                  <a:lnTo>
                    <a:pt x="84" y="195"/>
                  </a:lnTo>
                  <a:lnTo>
                    <a:pt x="80" y="195"/>
                  </a:lnTo>
                  <a:lnTo>
                    <a:pt x="84" y="199"/>
                  </a:lnTo>
                  <a:lnTo>
                    <a:pt x="84" y="203"/>
                  </a:lnTo>
                  <a:lnTo>
                    <a:pt x="84" y="207"/>
                  </a:lnTo>
                  <a:lnTo>
                    <a:pt x="88" y="207"/>
                  </a:lnTo>
                  <a:lnTo>
                    <a:pt x="88" y="211"/>
                  </a:lnTo>
                  <a:lnTo>
                    <a:pt x="88" y="215"/>
                  </a:lnTo>
                  <a:lnTo>
                    <a:pt x="91" y="215"/>
                  </a:lnTo>
                  <a:lnTo>
                    <a:pt x="91" y="219"/>
                  </a:lnTo>
                  <a:lnTo>
                    <a:pt x="95" y="219"/>
                  </a:lnTo>
                  <a:lnTo>
                    <a:pt x="95" y="223"/>
                  </a:lnTo>
                  <a:lnTo>
                    <a:pt x="95" y="227"/>
                  </a:lnTo>
                  <a:lnTo>
                    <a:pt x="95" y="231"/>
                  </a:lnTo>
                  <a:lnTo>
                    <a:pt x="99" y="231"/>
                  </a:lnTo>
                  <a:lnTo>
                    <a:pt x="99" y="235"/>
                  </a:lnTo>
                  <a:lnTo>
                    <a:pt x="95" y="235"/>
                  </a:lnTo>
                  <a:lnTo>
                    <a:pt x="95" y="239"/>
                  </a:lnTo>
                  <a:lnTo>
                    <a:pt x="95" y="243"/>
                  </a:lnTo>
                  <a:lnTo>
                    <a:pt x="95" y="247"/>
                  </a:lnTo>
                  <a:lnTo>
                    <a:pt x="95" y="251"/>
                  </a:lnTo>
                  <a:lnTo>
                    <a:pt x="91" y="251"/>
                  </a:lnTo>
                  <a:lnTo>
                    <a:pt x="91" y="255"/>
                  </a:lnTo>
                  <a:lnTo>
                    <a:pt x="91" y="259"/>
                  </a:lnTo>
                  <a:lnTo>
                    <a:pt x="91" y="263"/>
                  </a:lnTo>
                  <a:lnTo>
                    <a:pt x="95" y="263"/>
                  </a:lnTo>
                  <a:lnTo>
                    <a:pt x="95" y="267"/>
                  </a:lnTo>
                  <a:lnTo>
                    <a:pt x="95" y="271"/>
                  </a:lnTo>
                  <a:lnTo>
                    <a:pt x="99" y="271"/>
                  </a:lnTo>
                  <a:lnTo>
                    <a:pt x="99" y="275"/>
                  </a:lnTo>
                  <a:lnTo>
                    <a:pt x="103" y="275"/>
                  </a:lnTo>
                  <a:lnTo>
                    <a:pt x="103" y="279"/>
                  </a:lnTo>
                  <a:lnTo>
                    <a:pt x="103" y="283"/>
                  </a:lnTo>
                  <a:lnTo>
                    <a:pt x="103" y="287"/>
                  </a:lnTo>
                  <a:lnTo>
                    <a:pt x="107" y="287"/>
                  </a:lnTo>
                  <a:lnTo>
                    <a:pt x="107" y="291"/>
                  </a:lnTo>
                  <a:lnTo>
                    <a:pt x="103" y="291"/>
                  </a:lnTo>
                  <a:lnTo>
                    <a:pt x="107" y="299"/>
                  </a:lnTo>
                  <a:lnTo>
                    <a:pt x="107" y="303"/>
                  </a:lnTo>
                  <a:lnTo>
                    <a:pt x="107" y="307"/>
                  </a:lnTo>
                  <a:lnTo>
                    <a:pt x="111" y="307"/>
                  </a:lnTo>
                  <a:lnTo>
                    <a:pt x="111" y="311"/>
                  </a:lnTo>
                  <a:lnTo>
                    <a:pt x="111" y="315"/>
                  </a:lnTo>
                  <a:lnTo>
                    <a:pt x="111" y="319"/>
                  </a:lnTo>
                  <a:lnTo>
                    <a:pt x="107" y="319"/>
                  </a:lnTo>
                  <a:lnTo>
                    <a:pt x="107" y="323"/>
                  </a:lnTo>
                  <a:lnTo>
                    <a:pt x="107" y="327"/>
                  </a:lnTo>
                  <a:lnTo>
                    <a:pt x="103" y="331"/>
                  </a:lnTo>
                  <a:lnTo>
                    <a:pt x="99" y="335"/>
                  </a:lnTo>
                  <a:close/>
                  <a:moveTo>
                    <a:pt x="24" y="175"/>
                  </a:moveTo>
                  <a:lnTo>
                    <a:pt x="24" y="179"/>
                  </a:lnTo>
                  <a:lnTo>
                    <a:pt x="28" y="179"/>
                  </a:lnTo>
                  <a:lnTo>
                    <a:pt x="28" y="183"/>
                  </a:lnTo>
                  <a:lnTo>
                    <a:pt x="24" y="183"/>
                  </a:lnTo>
                  <a:lnTo>
                    <a:pt x="20" y="179"/>
                  </a:lnTo>
                  <a:lnTo>
                    <a:pt x="20" y="175"/>
                  </a:lnTo>
                  <a:lnTo>
                    <a:pt x="24" y="175"/>
                  </a:lnTo>
                  <a:lnTo>
                    <a:pt x="24" y="179"/>
                  </a:lnTo>
                  <a:lnTo>
                    <a:pt x="24" y="175"/>
                  </a:lnTo>
                  <a:close/>
                  <a:moveTo>
                    <a:pt x="8" y="155"/>
                  </a:moveTo>
                  <a:lnTo>
                    <a:pt x="8" y="159"/>
                  </a:lnTo>
                  <a:lnTo>
                    <a:pt x="8" y="155"/>
                  </a:lnTo>
                  <a:close/>
                  <a:moveTo>
                    <a:pt x="20" y="163"/>
                  </a:moveTo>
                  <a:lnTo>
                    <a:pt x="20" y="167"/>
                  </a:lnTo>
                  <a:lnTo>
                    <a:pt x="16" y="163"/>
                  </a:lnTo>
                  <a:lnTo>
                    <a:pt x="20" y="163"/>
                  </a:lnTo>
                  <a:close/>
                  <a:moveTo>
                    <a:pt x="28" y="175"/>
                  </a:moveTo>
                  <a:lnTo>
                    <a:pt x="24" y="175"/>
                  </a:lnTo>
                  <a:lnTo>
                    <a:pt x="20" y="175"/>
                  </a:lnTo>
                  <a:lnTo>
                    <a:pt x="20" y="171"/>
                  </a:lnTo>
                  <a:lnTo>
                    <a:pt x="24" y="171"/>
                  </a:lnTo>
                  <a:lnTo>
                    <a:pt x="28" y="175"/>
                  </a:lnTo>
                  <a:close/>
                  <a:moveTo>
                    <a:pt x="80" y="227"/>
                  </a:moveTo>
                  <a:lnTo>
                    <a:pt x="80" y="231"/>
                  </a:lnTo>
                  <a:lnTo>
                    <a:pt x="80" y="235"/>
                  </a:lnTo>
                  <a:lnTo>
                    <a:pt x="80" y="231"/>
                  </a:lnTo>
                  <a:lnTo>
                    <a:pt x="80" y="227"/>
                  </a:lnTo>
                  <a:close/>
                  <a:moveTo>
                    <a:pt x="36" y="235"/>
                  </a:moveTo>
                  <a:lnTo>
                    <a:pt x="36" y="239"/>
                  </a:lnTo>
                  <a:lnTo>
                    <a:pt x="32" y="239"/>
                  </a:lnTo>
                  <a:lnTo>
                    <a:pt x="36" y="235"/>
                  </a:lnTo>
                  <a:close/>
                  <a:moveTo>
                    <a:pt x="88" y="311"/>
                  </a:moveTo>
                  <a:lnTo>
                    <a:pt x="88" y="307"/>
                  </a:lnTo>
                  <a:lnTo>
                    <a:pt x="88" y="311"/>
                  </a:lnTo>
                  <a:close/>
                  <a:moveTo>
                    <a:pt x="91" y="351"/>
                  </a:moveTo>
                  <a:lnTo>
                    <a:pt x="88" y="351"/>
                  </a:lnTo>
                  <a:lnTo>
                    <a:pt x="91" y="351"/>
                  </a:lnTo>
                  <a:lnTo>
                    <a:pt x="91" y="347"/>
                  </a:lnTo>
                  <a:lnTo>
                    <a:pt x="91" y="351"/>
                  </a:lnTo>
                  <a:close/>
                  <a:moveTo>
                    <a:pt x="20" y="183"/>
                  </a:moveTo>
                  <a:lnTo>
                    <a:pt x="24" y="183"/>
                  </a:lnTo>
                  <a:lnTo>
                    <a:pt x="24" y="187"/>
                  </a:lnTo>
                  <a:lnTo>
                    <a:pt x="20" y="187"/>
                  </a:lnTo>
                  <a:lnTo>
                    <a:pt x="20" y="183"/>
                  </a:lnTo>
                  <a:close/>
                  <a:moveTo>
                    <a:pt x="91" y="307"/>
                  </a:moveTo>
                  <a:lnTo>
                    <a:pt x="91" y="303"/>
                  </a:lnTo>
                  <a:lnTo>
                    <a:pt x="91" y="299"/>
                  </a:lnTo>
                  <a:lnTo>
                    <a:pt x="95" y="303"/>
                  </a:lnTo>
                  <a:lnTo>
                    <a:pt x="91" y="307"/>
                  </a:lnTo>
                  <a:close/>
                  <a:moveTo>
                    <a:pt x="88" y="307"/>
                  </a:moveTo>
                  <a:lnTo>
                    <a:pt x="88" y="303"/>
                  </a:lnTo>
                  <a:lnTo>
                    <a:pt x="88" y="307"/>
                  </a:lnTo>
                  <a:close/>
                  <a:moveTo>
                    <a:pt x="95" y="311"/>
                  </a:moveTo>
                  <a:lnTo>
                    <a:pt x="95" y="315"/>
                  </a:lnTo>
                  <a:lnTo>
                    <a:pt x="95" y="311"/>
                  </a:lnTo>
                  <a:close/>
                  <a:moveTo>
                    <a:pt x="91" y="319"/>
                  </a:moveTo>
                  <a:lnTo>
                    <a:pt x="91" y="315"/>
                  </a:lnTo>
                  <a:lnTo>
                    <a:pt x="95" y="315"/>
                  </a:lnTo>
                  <a:lnTo>
                    <a:pt x="95" y="319"/>
                  </a:lnTo>
                  <a:lnTo>
                    <a:pt x="91" y="319"/>
                  </a:lnTo>
                  <a:close/>
                  <a:moveTo>
                    <a:pt x="91" y="323"/>
                  </a:moveTo>
                  <a:lnTo>
                    <a:pt x="91" y="319"/>
                  </a:lnTo>
                  <a:lnTo>
                    <a:pt x="91" y="315"/>
                  </a:lnTo>
                  <a:lnTo>
                    <a:pt x="91" y="319"/>
                  </a:lnTo>
                  <a:lnTo>
                    <a:pt x="91" y="323"/>
                  </a:lnTo>
                  <a:close/>
                  <a:moveTo>
                    <a:pt x="91" y="335"/>
                  </a:moveTo>
                  <a:lnTo>
                    <a:pt x="88" y="331"/>
                  </a:lnTo>
                  <a:lnTo>
                    <a:pt x="88" y="335"/>
                  </a:lnTo>
                  <a:lnTo>
                    <a:pt x="88" y="331"/>
                  </a:lnTo>
                  <a:lnTo>
                    <a:pt x="91" y="331"/>
                  </a:lnTo>
                  <a:lnTo>
                    <a:pt x="91" y="33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5" name="Freeform 32"/>
            <p:cNvSpPr>
              <a:spLocks/>
            </p:cNvSpPr>
            <p:nvPr>
              <p:custDataLst>
                <p:tags r:id="rId228"/>
              </p:custDataLst>
            </p:nvPr>
          </p:nvSpPr>
          <p:spPr bwMode="gray">
            <a:xfrm>
              <a:off x="6173534" y="3752091"/>
              <a:ext cx="183900" cy="118645"/>
            </a:xfrm>
            <a:custGeom>
              <a:avLst/>
              <a:gdLst/>
              <a:ahLst/>
              <a:cxnLst>
                <a:cxn ang="0">
                  <a:pos x="36" y="52"/>
                </a:cxn>
                <a:cxn ang="0">
                  <a:pos x="32" y="48"/>
                </a:cxn>
                <a:cxn ang="0">
                  <a:pos x="28" y="48"/>
                </a:cxn>
                <a:cxn ang="0">
                  <a:pos x="20" y="44"/>
                </a:cxn>
                <a:cxn ang="0">
                  <a:pos x="16" y="40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8" y="0"/>
                </a:cxn>
                <a:cxn ang="0">
                  <a:pos x="36" y="8"/>
                </a:cxn>
                <a:cxn ang="0">
                  <a:pos x="44" y="12"/>
                </a:cxn>
                <a:cxn ang="0">
                  <a:pos x="48" y="16"/>
                </a:cxn>
                <a:cxn ang="0">
                  <a:pos x="52" y="24"/>
                </a:cxn>
                <a:cxn ang="0">
                  <a:pos x="56" y="24"/>
                </a:cxn>
                <a:cxn ang="0">
                  <a:pos x="60" y="24"/>
                </a:cxn>
                <a:cxn ang="0">
                  <a:pos x="64" y="28"/>
                </a:cxn>
                <a:cxn ang="0">
                  <a:pos x="68" y="32"/>
                </a:cxn>
                <a:cxn ang="0">
                  <a:pos x="72" y="36"/>
                </a:cxn>
                <a:cxn ang="0">
                  <a:pos x="76" y="36"/>
                </a:cxn>
                <a:cxn ang="0">
                  <a:pos x="76" y="40"/>
                </a:cxn>
                <a:cxn ang="0">
                  <a:pos x="80" y="40"/>
                </a:cxn>
                <a:cxn ang="0">
                  <a:pos x="88" y="44"/>
                </a:cxn>
                <a:cxn ang="0">
                  <a:pos x="88" y="48"/>
                </a:cxn>
                <a:cxn ang="0">
                  <a:pos x="92" y="44"/>
                </a:cxn>
                <a:cxn ang="0">
                  <a:pos x="96" y="48"/>
                </a:cxn>
                <a:cxn ang="0">
                  <a:pos x="100" y="44"/>
                </a:cxn>
                <a:cxn ang="0">
                  <a:pos x="104" y="48"/>
                </a:cxn>
                <a:cxn ang="0">
                  <a:pos x="108" y="48"/>
                </a:cxn>
                <a:cxn ang="0">
                  <a:pos x="116" y="52"/>
                </a:cxn>
                <a:cxn ang="0">
                  <a:pos x="116" y="48"/>
                </a:cxn>
                <a:cxn ang="0">
                  <a:pos x="120" y="48"/>
                </a:cxn>
                <a:cxn ang="0">
                  <a:pos x="124" y="52"/>
                </a:cxn>
                <a:cxn ang="0">
                  <a:pos x="120" y="60"/>
                </a:cxn>
                <a:cxn ang="0">
                  <a:pos x="120" y="68"/>
                </a:cxn>
                <a:cxn ang="0">
                  <a:pos x="120" y="76"/>
                </a:cxn>
                <a:cxn ang="0">
                  <a:pos x="120" y="76"/>
                </a:cxn>
                <a:cxn ang="0">
                  <a:pos x="116" y="76"/>
                </a:cxn>
                <a:cxn ang="0">
                  <a:pos x="112" y="76"/>
                </a:cxn>
                <a:cxn ang="0">
                  <a:pos x="104" y="76"/>
                </a:cxn>
                <a:cxn ang="0">
                  <a:pos x="96" y="76"/>
                </a:cxn>
                <a:cxn ang="0">
                  <a:pos x="92" y="72"/>
                </a:cxn>
                <a:cxn ang="0">
                  <a:pos x="84" y="72"/>
                </a:cxn>
                <a:cxn ang="0">
                  <a:pos x="84" y="68"/>
                </a:cxn>
                <a:cxn ang="0">
                  <a:pos x="80" y="72"/>
                </a:cxn>
                <a:cxn ang="0">
                  <a:pos x="72" y="64"/>
                </a:cxn>
                <a:cxn ang="0">
                  <a:pos x="68" y="64"/>
                </a:cxn>
                <a:cxn ang="0">
                  <a:pos x="68" y="60"/>
                </a:cxn>
                <a:cxn ang="0">
                  <a:pos x="60" y="56"/>
                </a:cxn>
                <a:cxn ang="0">
                  <a:pos x="56" y="60"/>
                </a:cxn>
                <a:cxn ang="0">
                  <a:pos x="52" y="56"/>
                </a:cxn>
                <a:cxn ang="0">
                  <a:pos x="48" y="60"/>
                </a:cxn>
                <a:cxn ang="0">
                  <a:pos x="48" y="56"/>
                </a:cxn>
                <a:cxn ang="0">
                  <a:pos x="40" y="56"/>
                </a:cxn>
              </a:cxnLst>
              <a:rect l="0" t="0" r="r" b="b"/>
              <a:pathLst>
                <a:path w="124" h="80">
                  <a:moveTo>
                    <a:pt x="40" y="52"/>
                  </a:moveTo>
                  <a:lnTo>
                    <a:pt x="40" y="52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2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52"/>
                  </a:lnTo>
                  <a:lnTo>
                    <a:pt x="116" y="52"/>
                  </a:lnTo>
                  <a:lnTo>
                    <a:pt x="116" y="48"/>
                  </a:lnTo>
                  <a:lnTo>
                    <a:pt x="116" y="52"/>
                  </a:lnTo>
                  <a:lnTo>
                    <a:pt x="116" y="52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4" y="48"/>
                  </a:lnTo>
                  <a:lnTo>
                    <a:pt x="124" y="48"/>
                  </a:lnTo>
                  <a:lnTo>
                    <a:pt x="124" y="52"/>
                  </a:lnTo>
                  <a:lnTo>
                    <a:pt x="124" y="52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8"/>
                  </a:lnTo>
                  <a:lnTo>
                    <a:pt x="124" y="68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80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96" y="76"/>
                  </a:lnTo>
                  <a:lnTo>
                    <a:pt x="96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6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0" y="68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68"/>
                  </a:lnTo>
                  <a:lnTo>
                    <a:pt x="72" y="68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6" name="Freeform 33"/>
            <p:cNvSpPr>
              <a:spLocks/>
            </p:cNvSpPr>
            <p:nvPr>
              <p:custDataLst>
                <p:tags r:id="rId229"/>
              </p:custDataLst>
            </p:nvPr>
          </p:nvSpPr>
          <p:spPr bwMode="gray">
            <a:xfrm>
              <a:off x="7167187" y="3373910"/>
              <a:ext cx="142374" cy="158687"/>
            </a:xfrm>
            <a:custGeom>
              <a:avLst/>
              <a:gdLst/>
              <a:ahLst/>
              <a:cxnLst>
                <a:cxn ang="0">
                  <a:pos x="48" y="79"/>
                </a:cxn>
                <a:cxn ang="0">
                  <a:pos x="56" y="83"/>
                </a:cxn>
                <a:cxn ang="0">
                  <a:pos x="60" y="87"/>
                </a:cxn>
                <a:cxn ang="0">
                  <a:pos x="60" y="91"/>
                </a:cxn>
                <a:cxn ang="0">
                  <a:pos x="60" y="95"/>
                </a:cxn>
                <a:cxn ang="0">
                  <a:pos x="56" y="95"/>
                </a:cxn>
                <a:cxn ang="0">
                  <a:pos x="44" y="95"/>
                </a:cxn>
                <a:cxn ang="0">
                  <a:pos x="40" y="99"/>
                </a:cxn>
                <a:cxn ang="0">
                  <a:pos x="36" y="107"/>
                </a:cxn>
                <a:cxn ang="0">
                  <a:pos x="28" y="103"/>
                </a:cxn>
                <a:cxn ang="0">
                  <a:pos x="24" y="107"/>
                </a:cxn>
                <a:cxn ang="0">
                  <a:pos x="20" y="103"/>
                </a:cxn>
                <a:cxn ang="0">
                  <a:pos x="20" y="103"/>
                </a:cxn>
                <a:cxn ang="0">
                  <a:pos x="16" y="107"/>
                </a:cxn>
                <a:cxn ang="0">
                  <a:pos x="16" y="103"/>
                </a:cxn>
                <a:cxn ang="0">
                  <a:pos x="12" y="103"/>
                </a:cxn>
                <a:cxn ang="0">
                  <a:pos x="12" y="103"/>
                </a:cxn>
                <a:cxn ang="0">
                  <a:pos x="12" y="99"/>
                </a:cxn>
                <a:cxn ang="0">
                  <a:pos x="4" y="99"/>
                </a:cxn>
                <a:cxn ang="0">
                  <a:pos x="8" y="91"/>
                </a:cxn>
                <a:cxn ang="0">
                  <a:pos x="16" y="87"/>
                </a:cxn>
                <a:cxn ang="0">
                  <a:pos x="20" y="91"/>
                </a:cxn>
                <a:cxn ang="0">
                  <a:pos x="12" y="87"/>
                </a:cxn>
                <a:cxn ang="0">
                  <a:pos x="12" y="79"/>
                </a:cxn>
                <a:cxn ang="0">
                  <a:pos x="16" y="75"/>
                </a:cxn>
                <a:cxn ang="0">
                  <a:pos x="16" y="71"/>
                </a:cxn>
                <a:cxn ang="0">
                  <a:pos x="4" y="67"/>
                </a:cxn>
                <a:cxn ang="0">
                  <a:pos x="4" y="63"/>
                </a:cxn>
                <a:cxn ang="0">
                  <a:pos x="0" y="59"/>
                </a:cxn>
                <a:cxn ang="0">
                  <a:pos x="4" y="55"/>
                </a:cxn>
                <a:cxn ang="0">
                  <a:pos x="12" y="47"/>
                </a:cxn>
                <a:cxn ang="0">
                  <a:pos x="20" y="47"/>
                </a:cxn>
                <a:cxn ang="0">
                  <a:pos x="28" y="35"/>
                </a:cxn>
                <a:cxn ang="0">
                  <a:pos x="32" y="31"/>
                </a:cxn>
                <a:cxn ang="0">
                  <a:pos x="36" y="27"/>
                </a:cxn>
                <a:cxn ang="0">
                  <a:pos x="40" y="27"/>
                </a:cxn>
                <a:cxn ang="0">
                  <a:pos x="52" y="31"/>
                </a:cxn>
                <a:cxn ang="0">
                  <a:pos x="56" y="31"/>
                </a:cxn>
                <a:cxn ang="0">
                  <a:pos x="60" y="27"/>
                </a:cxn>
                <a:cxn ang="0">
                  <a:pos x="60" y="19"/>
                </a:cxn>
                <a:cxn ang="0">
                  <a:pos x="64" y="19"/>
                </a:cxn>
                <a:cxn ang="0">
                  <a:pos x="72" y="19"/>
                </a:cxn>
                <a:cxn ang="0">
                  <a:pos x="76" y="11"/>
                </a:cxn>
                <a:cxn ang="0">
                  <a:pos x="80" y="8"/>
                </a:cxn>
                <a:cxn ang="0">
                  <a:pos x="84" y="0"/>
                </a:cxn>
                <a:cxn ang="0">
                  <a:pos x="88" y="4"/>
                </a:cxn>
                <a:cxn ang="0">
                  <a:pos x="96" y="11"/>
                </a:cxn>
                <a:cxn ang="0">
                  <a:pos x="96" y="15"/>
                </a:cxn>
                <a:cxn ang="0">
                  <a:pos x="88" y="19"/>
                </a:cxn>
                <a:cxn ang="0">
                  <a:pos x="80" y="27"/>
                </a:cxn>
                <a:cxn ang="0">
                  <a:pos x="80" y="31"/>
                </a:cxn>
                <a:cxn ang="0">
                  <a:pos x="80" y="39"/>
                </a:cxn>
                <a:cxn ang="0">
                  <a:pos x="80" y="43"/>
                </a:cxn>
                <a:cxn ang="0">
                  <a:pos x="72" y="51"/>
                </a:cxn>
                <a:cxn ang="0">
                  <a:pos x="68" y="51"/>
                </a:cxn>
                <a:cxn ang="0">
                  <a:pos x="56" y="59"/>
                </a:cxn>
                <a:cxn ang="0">
                  <a:pos x="52" y="63"/>
                </a:cxn>
                <a:cxn ang="0">
                  <a:pos x="48" y="71"/>
                </a:cxn>
                <a:cxn ang="0">
                  <a:pos x="48" y="75"/>
                </a:cxn>
              </a:cxnLst>
              <a:rect l="0" t="0" r="r" b="b"/>
              <a:pathLst>
                <a:path w="96" h="107">
                  <a:moveTo>
                    <a:pt x="48" y="75"/>
                  </a:moveTo>
                  <a:lnTo>
                    <a:pt x="48" y="75"/>
                  </a:lnTo>
                  <a:lnTo>
                    <a:pt x="44" y="75"/>
                  </a:lnTo>
                  <a:lnTo>
                    <a:pt x="44" y="75"/>
                  </a:lnTo>
                  <a:lnTo>
                    <a:pt x="44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2" y="95"/>
                  </a:lnTo>
                  <a:lnTo>
                    <a:pt x="48" y="95"/>
                  </a:lnTo>
                  <a:lnTo>
                    <a:pt x="48" y="95"/>
                  </a:lnTo>
                  <a:lnTo>
                    <a:pt x="48" y="95"/>
                  </a:lnTo>
                  <a:lnTo>
                    <a:pt x="44" y="95"/>
                  </a:lnTo>
                  <a:lnTo>
                    <a:pt x="44" y="95"/>
                  </a:lnTo>
                  <a:lnTo>
                    <a:pt x="44" y="95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7"/>
                  </a:lnTo>
                  <a:lnTo>
                    <a:pt x="36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28" y="103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4" y="107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4" y="107"/>
                  </a:lnTo>
                  <a:lnTo>
                    <a:pt x="24" y="107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7"/>
                  </a:lnTo>
                  <a:lnTo>
                    <a:pt x="20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8" y="103"/>
                  </a:lnTo>
                  <a:lnTo>
                    <a:pt x="8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8" y="99"/>
                  </a:lnTo>
                  <a:lnTo>
                    <a:pt x="8" y="99"/>
                  </a:lnTo>
                  <a:lnTo>
                    <a:pt x="8" y="99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8" y="99"/>
                  </a:lnTo>
                  <a:lnTo>
                    <a:pt x="8" y="99"/>
                  </a:lnTo>
                  <a:lnTo>
                    <a:pt x="8" y="95"/>
                  </a:lnTo>
                  <a:lnTo>
                    <a:pt x="8" y="95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12" y="91"/>
                  </a:lnTo>
                  <a:lnTo>
                    <a:pt x="12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12" y="67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71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12" y="51"/>
                  </a:lnTo>
                  <a:lnTo>
                    <a:pt x="8" y="51"/>
                  </a:lnTo>
                  <a:lnTo>
                    <a:pt x="12" y="51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20" y="47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8" y="39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40" y="23"/>
                  </a:lnTo>
                  <a:lnTo>
                    <a:pt x="40" y="23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4" y="27"/>
                  </a:lnTo>
                  <a:lnTo>
                    <a:pt x="44" y="31"/>
                  </a:lnTo>
                  <a:lnTo>
                    <a:pt x="48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60" y="31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56" y="27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72" y="19"/>
                  </a:lnTo>
                  <a:lnTo>
                    <a:pt x="72" y="19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1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80" y="11"/>
                  </a:lnTo>
                  <a:lnTo>
                    <a:pt x="80" y="11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4"/>
                  </a:lnTo>
                  <a:lnTo>
                    <a:pt x="84" y="4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6" y="11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88" y="15"/>
                  </a:lnTo>
                  <a:lnTo>
                    <a:pt x="88" y="19"/>
                  </a:lnTo>
                  <a:lnTo>
                    <a:pt x="84" y="19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0" y="23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4" y="31"/>
                  </a:lnTo>
                  <a:lnTo>
                    <a:pt x="84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68" y="51"/>
                  </a:lnTo>
                  <a:lnTo>
                    <a:pt x="68" y="51"/>
                  </a:lnTo>
                  <a:lnTo>
                    <a:pt x="68" y="51"/>
                  </a:lnTo>
                  <a:lnTo>
                    <a:pt x="68" y="51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4" y="55"/>
                  </a:lnTo>
                  <a:lnTo>
                    <a:pt x="64" y="59"/>
                  </a:lnTo>
                  <a:lnTo>
                    <a:pt x="60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48" y="63"/>
                  </a:lnTo>
                  <a:lnTo>
                    <a:pt x="48" y="67"/>
                  </a:lnTo>
                  <a:lnTo>
                    <a:pt x="48" y="67"/>
                  </a:lnTo>
                  <a:lnTo>
                    <a:pt x="48" y="67"/>
                  </a:lnTo>
                  <a:lnTo>
                    <a:pt x="48" y="67"/>
                  </a:lnTo>
                  <a:lnTo>
                    <a:pt x="48" y="71"/>
                  </a:lnTo>
                  <a:lnTo>
                    <a:pt x="48" y="71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1"/>
                  </a:lnTo>
                  <a:lnTo>
                    <a:pt x="48" y="71"/>
                  </a:lnTo>
                  <a:lnTo>
                    <a:pt x="48" y="7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7" name="Freeform 34"/>
            <p:cNvSpPr>
              <a:spLocks noEditPoints="1"/>
            </p:cNvSpPr>
            <p:nvPr>
              <p:custDataLst>
                <p:tags r:id="rId230"/>
              </p:custDataLst>
            </p:nvPr>
          </p:nvSpPr>
          <p:spPr bwMode="gray">
            <a:xfrm>
              <a:off x="5540266" y="3870736"/>
              <a:ext cx="177968" cy="271400"/>
            </a:xfrm>
            <a:custGeom>
              <a:avLst/>
              <a:gdLst/>
              <a:ahLst/>
              <a:cxnLst>
                <a:cxn ang="0">
                  <a:pos x="68" y="0"/>
                </a:cxn>
                <a:cxn ang="0">
                  <a:pos x="68" y="8"/>
                </a:cxn>
                <a:cxn ang="0">
                  <a:pos x="64" y="12"/>
                </a:cxn>
                <a:cxn ang="0">
                  <a:pos x="64" y="4"/>
                </a:cxn>
                <a:cxn ang="0">
                  <a:pos x="64" y="0"/>
                </a:cxn>
                <a:cxn ang="0">
                  <a:pos x="68" y="0"/>
                </a:cxn>
                <a:cxn ang="0">
                  <a:pos x="48" y="68"/>
                </a:cxn>
                <a:cxn ang="0">
                  <a:pos x="52" y="60"/>
                </a:cxn>
                <a:cxn ang="0">
                  <a:pos x="56" y="52"/>
                </a:cxn>
                <a:cxn ang="0">
                  <a:pos x="60" y="44"/>
                </a:cxn>
                <a:cxn ang="0">
                  <a:pos x="60" y="40"/>
                </a:cxn>
                <a:cxn ang="0">
                  <a:pos x="60" y="32"/>
                </a:cxn>
                <a:cxn ang="0">
                  <a:pos x="60" y="24"/>
                </a:cxn>
                <a:cxn ang="0">
                  <a:pos x="64" y="28"/>
                </a:cxn>
                <a:cxn ang="0">
                  <a:pos x="64" y="28"/>
                </a:cxn>
                <a:cxn ang="0">
                  <a:pos x="68" y="28"/>
                </a:cxn>
                <a:cxn ang="0">
                  <a:pos x="68" y="24"/>
                </a:cxn>
                <a:cxn ang="0">
                  <a:pos x="72" y="36"/>
                </a:cxn>
                <a:cxn ang="0">
                  <a:pos x="76" y="40"/>
                </a:cxn>
                <a:cxn ang="0">
                  <a:pos x="88" y="48"/>
                </a:cxn>
                <a:cxn ang="0">
                  <a:pos x="92" y="48"/>
                </a:cxn>
                <a:cxn ang="0">
                  <a:pos x="96" y="52"/>
                </a:cxn>
                <a:cxn ang="0">
                  <a:pos x="100" y="52"/>
                </a:cxn>
                <a:cxn ang="0">
                  <a:pos x="108" y="60"/>
                </a:cxn>
                <a:cxn ang="0">
                  <a:pos x="112" y="68"/>
                </a:cxn>
                <a:cxn ang="0">
                  <a:pos x="116" y="72"/>
                </a:cxn>
                <a:cxn ang="0">
                  <a:pos x="120" y="80"/>
                </a:cxn>
                <a:cxn ang="0">
                  <a:pos x="116" y="88"/>
                </a:cxn>
                <a:cxn ang="0">
                  <a:pos x="112" y="96"/>
                </a:cxn>
                <a:cxn ang="0">
                  <a:pos x="104" y="104"/>
                </a:cxn>
                <a:cxn ang="0">
                  <a:pos x="100" y="111"/>
                </a:cxn>
                <a:cxn ang="0">
                  <a:pos x="96" y="111"/>
                </a:cxn>
                <a:cxn ang="0">
                  <a:pos x="96" y="108"/>
                </a:cxn>
                <a:cxn ang="0">
                  <a:pos x="88" y="115"/>
                </a:cxn>
                <a:cxn ang="0">
                  <a:pos x="88" y="123"/>
                </a:cxn>
                <a:cxn ang="0">
                  <a:pos x="88" y="131"/>
                </a:cxn>
                <a:cxn ang="0">
                  <a:pos x="88" y="139"/>
                </a:cxn>
                <a:cxn ang="0">
                  <a:pos x="80" y="139"/>
                </a:cxn>
                <a:cxn ang="0">
                  <a:pos x="72" y="143"/>
                </a:cxn>
                <a:cxn ang="0">
                  <a:pos x="72" y="151"/>
                </a:cxn>
                <a:cxn ang="0">
                  <a:pos x="68" y="155"/>
                </a:cxn>
                <a:cxn ang="0">
                  <a:pos x="64" y="159"/>
                </a:cxn>
                <a:cxn ang="0">
                  <a:pos x="52" y="159"/>
                </a:cxn>
                <a:cxn ang="0">
                  <a:pos x="52" y="163"/>
                </a:cxn>
                <a:cxn ang="0">
                  <a:pos x="52" y="167"/>
                </a:cxn>
                <a:cxn ang="0">
                  <a:pos x="44" y="175"/>
                </a:cxn>
                <a:cxn ang="0">
                  <a:pos x="40" y="175"/>
                </a:cxn>
                <a:cxn ang="0">
                  <a:pos x="28" y="179"/>
                </a:cxn>
                <a:cxn ang="0">
                  <a:pos x="24" y="179"/>
                </a:cxn>
                <a:cxn ang="0">
                  <a:pos x="0" y="139"/>
                </a:cxn>
                <a:cxn ang="0">
                  <a:pos x="104" y="115"/>
                </a:cxn>
                <a:cxn ang="0">
                  <a:pos x="104" y="111"/>
                </a:cxn>
                <a:cxn ang="0">
                  <a:pos x="108" y="108"/>
                </a:cxn>
                <a:cxn ang="0">
                  <a:pos x="104" y="111"/>
                </a:cxn>
                <a:cxn ang="0">
                  <a:pos x="104" y="115"/>
                </a:cxn>
              </a:cxnLst>
              <a:rect l="0" t="0" r="r" b="b"/>
              <a:pathLst>
                <a:path w="120" h="183">
                  <a:moveTo>
                    <a:pt x="68" y="0"/>
                  </a:move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close/>
                  <a:moveTo>
                    <a:pt x="52" y="96"/>
                  </a:moveTo>
                  <a:lnTo>
                    <a:pt x="56" y="80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8"/>
                  </a:lnTo>
                  <a:lnTo>
                    <a:pt x="68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8" y="56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6" y="68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80"/>
                  </a:lnTo>
                  <a:lnTo>
                    <a:pt x="120" y="80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6"/>
                  </a:lnTo>
                  <a:lnTo>
                    <a:pt x="108" y="96"/>
                  </a:lnTo>
                  <a:lnTo>
                    <a:pt x="108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8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2" y="108"/>
                  </a:lnTo>
                  <a:lnTo>
                    <a:pt x="92" y="111"/>
                  </a:lnTo>
                  <a:lnTo>
                    <a:pt x="92" y="111"/>
                  </a:lnTo>
                  <a:lnTo>
                    <a:pt x="92" y="111"/>
                  </a:lnTo>
                  <a:lnTo>
                    <a:pt x="92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9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7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5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4" y="139"/>
                  </a:lnTo>
                  <a:lnTo>
                    <a:pt x="84" y="139"/>
                  </a:lnTo>
                  <a:lnTo>
                    <a:pt x="84" y="139"/>
                  </a:lnTo>
                  <a:lnTo>
                    <a:pt x="80" y="139"/>
                  </a:lnTo>
                  <a:lnTo>
                    <a:pt x="80" y="139"/>
                  </a:lnTo>
                  <a:lnTo>
                    <a:pt x="80" y="139"/>
                  </a:lnTo>
                  <a:lnTo>
                    <a:pt x="76" y="139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2" y="143"/>
                  </a:lnTo>
                  <a:lnTo>
                    <a:pt x="72" y="143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5"/>
                  </a:lnTo>
                  <a:lnTo>
                    <a:pt x="72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4" y="159"/>
                  </a:lnTo>
                  <a:lnTo>
                    <a:pt x="64" y="159"/>
                  </a:lnTo>
                  <a:lnTo>
                    <a:pt x="64" y="159"/>
                  </a:lnTo>
                  <a:lnTo>
                    <a:pt x="60" y="159"/>
                  </a:lnTo>
                  <a:lnTo>
                    <a:pt x="60" y="159"/>
                  </a:lnTo>
                  <a:lnTo>
                    <a:pt x="60" y="159"/>
                  </a:lnTo>
                  <a:lnTo>
                    <a:pt x="56" y="159"/>
                  </a:lnTo>
                  <a:lnTo>
                    <a:pt x="56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48" y="175"/>
                  </a:lnTo>
                  <a:lnTo>
                    <a:pt x="48" y="175"/>
                  </a:lnTo>
                  <a:lnTo>
                    <a:pt x="48" y="175"/>
                  </a:lnTo>
                  <a:lnTo>
                    <a:pt x="48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36" y="175"/>
                  </a:lnTo>
                  <a:lnTo>
                    <a:pt x="32" y="175"/>
                  </a:lnTo>
                  <a:lnTo>
                    <a:pt x="32" y="175"/>
                  </a:lnTo>
                  <a:lnTo>
                    <a:pt x="32" y="175"/>
                  </a:lnTo>
                  <a:lnTo>
                    <a:pt x="28" y="179"/>
                  </a:lnTo>
                  <a:lnTo>
                    <a:pt x="28" y="179"/>
                  </a:lnTo>
                  <a:lnTo>
                    <a:pt x="28" y="179"/>
                  </a:lnTo>
                  <a:lnTo>
                    <a:pt x="28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0" y="179"/>
                  </a:lnTo>
                  <a:lnTo>
                    <a:pt x="20" y="183"/>
                  </a:lnTo>
                  <a:lnTo>
                    <a:pt x="20" y="183"/>
                  </a:lnTo>
                  <a:lnTo>
                    <a:pt x="20" y="183"/>
                  </a:lnTo>
                  <a:lnTo>
                    <a:pt x="12" y="171"/>
                  </a:lnTo>
                  <a:lnTo>
                    <a:pt x="12" y="167"/>
                  </a:lnTo>
                  <a:lnTo>
                    <a:pt x="0" y="139"/>
                  </a:lnTo>
                  <a:lnTo>
                    <a:pt x="48" y="119"/>
                  </a:lnTo>
                  <a:lnTo>
                    <a:pt x="52" y="96"/>
                  </a:lnTo>
                  <a:close/>
                  <a:moveTo>
                    <a:pt x="104" y="115"/>
                  </a:move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08"/>
                  </a:lnTo>
                  <a:lnTo>
                    <a:pt x="104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8" name="Freeform 35"/>
            <p:cNvSpPr>
              <a:spLocks/>
            </p:cNvSpPr>
            <p:nvPr>
              <p:custDataLst>
                <p:tags r:id="rId231"/>
              </p:custDataLst>
            </p:nvPr>
          </p:nvSpPr>
          <p:spPr bwMode="gray">
            <a:xfrm>
              <a:off x="5741963" y="3556326"/>
              <a:ext cx="378181" cy="385597"/>
            </a:xfrm>
            <a:custGeom>
              <a:avLst/>
              <a:gdLst/>
              <a:ahLst/>
              <a:cxnLst>
                <a:cxn ang="0">
                  <a:pos x="56" y="148"/>
                </a:cxn>
                <a:cxn ang="0">
                  <a:pos x="80" y="144"/>
                </a:cxn>
                <a:cxn ang="0">
                  <a:pos x="84" y="128"/>
                </a:cxn>
                <a:cxn ang="0">
                  <a:pos x="92" y="116"/>
                </a:cxn>
                <a:cxn ang="0">
                  <a:pos x="104" y="108"/>
                </a:cxn>
                <a:cxn ang="0">
                  <a:pos x="124" y="108"/>
                </a:cxn>
                <a:cxn ang="0">
                  <a:pos x="128" y="88"/>
                </a:cxn>
                <a:cxn ang="0">
                  <a:pos x="136" y="80"/>
                </a:cxn>
                <a:cxn ang="0">
                  <a:pos x="140" y="64"/>
                </a:cxn>
                <a:cxn ang="0">
                  <a:pos x="152" y="60"/>
                </a:cxn>
                <a:cxn ang="0">
                  <a:pos x="156" y="48"/>
                </a:cxn>
                <a:cxn ang="0">
                  <a:pos x="164" y="28"/>
                </a:cxn>
                <a:cxn ang="0">
                  <a:pos x="156" y="16"/>
                </a:cxn>
                <a:cxn ang="0">
                  <a:pos x="176" y="4"/>
                </a:cxn>
                <a:cxn ang="0">
                  <a:pos x="200" y="4"/>
                </a:cxn>
                <a:cxn ang="0">
                  <a:pos x="219" y="4"/>
                </a:cxn>
                <a:cxn ang="0">
                  <a:pos x="227" y="16"/>
                </a:cxn>
                <a:cxn ang="0">
                  <a:pos x="239" y="24"/>
                </a:cxn>
                <a:cxn ang="0">
                  <a:pos x="255" y="28"/>
                </a:cxn>
                <a:cxn ang="0">
                  <a:pos x="243" y="40"/>
                </a:cxn>
                <a:cxn ang="0">
                  <a:pos x="231" y="48"/>
                </a:cxn>
                <a:cxn ang="0">
                  <a:pos x="208" y="48"/>
                </a:cxn>
                <a:cxn ang="0">
                  <a:pos x="200" y="52"/>
                </a:cxn>
                <a:cxn ang="0">
                  <a:pos x="200" y="64"/>
                </a:cxn>
                <a:cxn ang="0">
                  <a:pos x="204" y="84"/>
                </a:cxn>
                <a:cxn ang="0">
                  <a:pos x="219" y="96"/>
                </a:cxn>
                <a:cxn ang="0">
                  <a:pos x="208" y="108"/>
                </a:cxn>
                <a:cxn ang="0">
                  <a:pos x="208" y="120"/>
                </a:cxn>
                <a:cxn ang="0">
                  <a:pos x="200" y="136"/>
                </a:cxn>
                <a:cxn ang="0">
                  <a:pos x="184" y="160"/>
                </a:cxn>
                <a:cxn ang="0">
                  <a:pos x="172" y="172"/>
                </a:cxn>
                <a:cxn ang="0">
                  <a:pos x="156" y="184"/>
                </a:cxn>
                <a:cxn ang="0">
                  <a:pos x="144" y="180"/>
                </a:cxn>
                <a:cxn ang="0">
                  <a:pos x="132" y="192"/>
                </a:cxn>
                <a:cxn ang="0">
                  <a:pos x="140" y="208"/>
                </a:cxn>
                <a:cxn ang="0">
                  <a:pos x="148" y="228"/>
                </a:cxn>
                <a:cxn ang="0">
                  <a:pos x="152" y="244"/>
                </a:cxn>
                <a:cxn ang="0">
                  <a:pos x="148" y="248"/>
                </a:cxn>
                <a:cxn ang="0">
                  <a:pos x="128" y="252"/>
                </a:cxn>
                <a:cxn ang="0">
                  <a:pos x="116" y="256"/>
                </a:cxn>
                <a:cxn ang="0">
                  <a:pos x="108" y="256"/>
                </a:cxn>
                <a:cxn ang="0">
                  <a:pos x="96" y="252"/>
                </a:cxn>
                <a:cxn ang="0">
                  <a:pos x="88" y="236"/>
                </a:cxn>
                <a:cxn ang="0">
                  <a:pos x="84" y="224"/>
                </a:cxn>
                <a:cxn ang="0">
                  <a:pos x="64" y="228"/>
                </a:cxn>
                <a:cxn ang="0">
                  <a:pos x="52" y="232"/>
                </a:cxn>
                <a:cxn ang="0">
                  <a:pos x="40" y="232"/>
                </a:cxn>
                <a:cxn ang="0">
                  <a:pos x="16" y="236"/>
                </a:cxn>
                <a:cxn ang="0">
                  <a:pos x="16" y="220"/>
                </a:cxn>
                <a:cxn ang="0">
                  <a:pos x="20" y="208"/>
                </a:cxn>
                <a:cxn ang="0">
                  <a:pos x="36" y="200"/>
                </a:cxn>
                <a:cxn ang="0">
                  <a:pos x="28" y="184"/>
                </a:cxn>
                <a:cxn ang="0">
                  <a:pos x="16" y="168"/>
                </a:cxn>
                <a:cxn ang="0">
                  <a:pos x="0" y="144"/>
                </a:cxn>
                <a:cxn ang="0">
                  <a:pos x="36" y="148"/>
                </a:cxn>
              </a:cxnLst>
              <a:rect l="0" t="0" r="r" b="b"/>
              <a:pathLst>
                <a:path w="255" h="260">
                  <a:moveTo>
                    <a:pt x="36" y="148"/>
                  </a:moveTo>
                  <a:lnTo>
                    <a:pt x="40" y="148"/>
                  </a:lnTo>
                  <a:lnTo>
                    <a:pt x="44" y="148"/>
                  </a:lnTo>
                  <a:lnTo>
                    <a:pt x="48" y="152"/>
                  </a:lnTo>
                  <a:lnTo>
                    <a:pt x="52" y="148"/>
                  </a:lnTo>
                  <a:lnTo>
                    <a:pt x="56" y="148"/>
                  </a:lnTo>
                  <a:lnTo>
                    <a:pt x="60" y="148"/>
                  </a:lnTo>
                  <a:lnTo>
                    <a:pt x="64" y="148"/>
                  </a:lnTo>
                  <a:lnTo>
                    <a:pt x="68" y="148"/>
                  </a:lnTo>
                  <a:lnTo>
                    <a:pt x="72" y="144"/>
                  </a:lnTo>
                  <a:lnTo>
                    <a:pt x="76" y="144"/>
                  </a:lnTo>
                  <a:lnTo>
                    <a:pt x="80" y="144"/>
                  </a:lnTo>
                  <a:lnTo>
                    <a:pt x="84" y="140"/>
                  </a:lnTo>
                  <a:lnTo>
                    <a:pt x="80" y="140"/>
                  </a:lnTo>
                  <a:lnTo>
                    <a:pt x="80" y="136"/>
                  </a:lnTo>
                  <a:lnTo>
                    <a:pt x="84" y="136"/>
                  </a:lnTo>
                  <a:lnTo>
                    <a:pt x="84" y="132"/>
                  </a:lnTo>
                  <a:lnTo>
                    <a:pt x="84" y="128"/>
                  </a:lnTo>
                  <a:lnTo>
                    <a:pt x="84" y="120"/>
                  </a:lnTo>
                  <a:lnTo>
                    <a:pt x="88" y="120"/>
                  </a:lnTo>
                  <a:lnTo>
                    <a:pt x="88" y="116"/>
                  </a:lnTo>
                  <a:lnTo>
                    <a:pt x="92" y="116"/>
                  </a:lnTo>
                  <a:lnTo>
                    <a:pt x="92" y="112"/>
                  </a:lnTo>
                  <a:lnTo>
                    <a:pt x="92" y="116"/>
                  </a:lnTo>
                  <a:lnTo>
                    <a:pt x="96" y="116"/>
                  </a:lnTo>
                  <a:lnTo>
                    <a:pt x="100" y="116"/>
                  </a:lnTo>
                  <a:lnTo>
                    <a:pt x="104" y="116"/>
                  </a:lnTo>
                  <a:lnTo>
                    <a:pt x="104" y="112"/>
                  </a:lnTo>
                  <a:lnTo>
                    <a:pt x="100" y="108"/>
                  </a:lnTo>
                  <a:lnTo>
                    <a:pt x="104" y="108"/>
                  </a:lnTo>
                  <a:lnTo>
                    <a:pt x="108" y="108"/>
                  </a:lnTo>
                  <a:lnTo>
                    <a:pt x="112" y="104"/>
                  </a:lnTo>
                  <a:lnTo>
                    <a:pt x="116" y="104"/>
                  </a:lnTo>
                  <a:lnTo>
                    <a:pt x="120" y="104"/>
                  </a:lnTo>
                  <a:lnTo>
                    <a:pt x="120" y="108"/>
                  </a:lnTo>
                  <a:lnTo>
                    <a:pt x="124" y="108"/>
                  </a:lnTo>
                  <a:lnTo>
                    <a:pt x="124" y="104"/>
                  </a:lnTo>
                  <a:lnTo>
                    <a:pt x="128" y="104"/>
                  </a:lnTo>
                  <a:lnTo>
                    <a:pt x="128" y="100"/>
                  </a:lnTo>
                  <a:lnTo>
                    <a:pt x="128" y="96"/>
                  </a:lnTo>
                  <a:lnTo>
                    <a:pt x="128" y="92"/>
                  </a:lnTo>
                  <a:lnTo>
                    <a:pt x="128" y="88"/>
                  </a:lnTo>
                  <a:lnTo>
                    <a:pt x="132" y="88"/>
                  </a:lnTo>
                  <a:lnTo>
                    <a:pt x="132" y="84"/>
                  </a:lnTo>
                  <a:lnTo>
                    <a:pt x="128" y="84"/>
                  </a:lnTo>
                  <a:lnTo>
                    <a:pt x="132" y="84"/>
                  </a:lnTo>
                  <a:lnTo>
                    <a:pt x="132" y="80"/>
                  </a:lnTo>
                  <a:lnTo>
                    <a:pt x="136" y="80"/>
                  </a:lnTo>
                  <a:lnTo>
                    <a:pt x="140" y="76"/>
                  </a:lnTo>
                  <a:lnTo>
                    <a:pt x="144" y="76"/>
                  </a:lnTo>
                  <a:lnTo>
                    <a:pt x="144" y="72"/>
                  </a:lnTo>
                  <a:lnTo>
                    <a:pt x="140" y="72"/>
                  </a:lnTo>
                  <a:lnTo>
                    <a:pt x="140" y="68"/>
                  </a:lnTo>
                  <a:lnTo>
                    <a:pt x="140" y="64"/>
                  </a:lnTo>
                  <a:lnTo>
                    <a:pt x="136" y="64"/>
                  </a:lnTo>
                  <a:lnTo>
                    <a:pt x="136" y="60"/>
                  </a:lnTo>
                  <a:lnTo>
                    <a:pt x="140" y="60"/>
                  </a:lnTo>
                  <a:lnTo>
                    <a:pt x="144" y="60"/>
                  </a:lnTo>
                  <a:lnTo>
                    <a:pt x="148" y="60"/>
                  </a:lnTo>
                  <a:lnTo>
                    <a:pt x="152" y="60"/>
                  </a:lnTo>
                  <a:lnTo>
                    <a:pt x="156" y="60"/>
                  </a:lnTo>
                  <a:lnTo>
                    <a:pt x="156" y="56"/>
                  </a:lnTo>
                  <a:lnTo>
                    <a:pt x="156" y="52"/>
                  </a:lnTo>
                  <a:lnTo>
                    <a:pt x="152" y="52"/>
                  </a:lnTo>
                  <a:lnTo>
                    <a:pt x="152" y="48"/>
                  </a:lnTo>
                  <a:lnTo>
                    <a:pt x="156" y="48"/>
                  </a:lnTo>
                  <a:lnTo>
                    <a:pt x="156" y="44"/>
                  </a:lnTo>
                  <a:lnTo>
                    <a:pt x="160" y="44"/>
                  </a:lnTo>
                  <a:lnTo>
                    <a:pt x="160" y="40"/>
                  </a:lnTo>
                  <a:lnTo>
                    <a:pt x="164" y="36"/>
                  </a:lnTo>
                  <a:lnTo>
                    <a:pt x="164" y="32"/>
                  </a:lnTo>
                  <a:lnTo>
                    <a:pt x="164" y="28"/>
                  </a:lnTo>
                  <a:lnTo>
                    <a:pt x="160" y="28"/>
                  </a:lnTo>
                  <a:lnTo>
                    <a:pt x="164" y="24"/>
                  </a:lnTo>
                  <a:lnTo>
                    <a:pt x="160" y="24"/>
                  </a:lnTo>
                  <a:lnTo>
                    <a:pt x="160" y="20"/>
                  </a:lnTo>
                  <a:lnTo>
                    <a:pt x="156" y="20"/>
                  </a:lnTo>
                  <a:lnTo>
                    <a:pt x="156" y="16"/>
                  </a:lnTo>
                  <a:lnTo>
                    <a:pt x="160" y="16"/>
                  </a:lnTo>
                  <a:lnTo>
                    <a:pt x="164" y="12"/>
                  </a:lnTo>
                  <a:lnTo>
                    <a:pt x="168" y="8"/>
                  </a:lnTo>
                  <a:lnTo>
                    <a:pt x="172" y="8"/>
                  </a:lnTo>
                  <a:lnTo>
                    <a:pt x="172" y="4"/>
                  </a:lnTo>
                  <a:lnTo>
                    <a:pt x="176" y="4"/>
                  </a:lnTo>
                  <a:lnTo>
                    <a:pt x="180" y="4"/>
                  </a:lnTo>
                  <a:lnTo>
                    <a:pt x="184" y="4"/>
                  </a:lnTo>
                  <a:lnTo>
                    <a:pt x="188" y="0"/>
                  </a:lnTo>
                  <a:lnTo>
                    <a:pt x="192" y="0"/>
                  </a:lnTo>
                  <a:lnTo>
                    <a:pt x="196" y="0"/>
                  </a:lnTo>
                  <a:lnTo>
                    <a:pt x="200" y="4"/>
                  </a:lnTo>
                  <a:lnTo>
                    <a:pt x="204" y="0"/>
                  </a:lnTo>
                  <a:lnTo>
                    <a:pt x="208" y="0"/>
                  </a:lnTo>
                  <a:lnTo>
                    <a:pt x="211" y="0"/>
                  </a:lnTo>
                  <a:lnTo>
                    <a:pt x="215" y="0"/>
                  </a:lnTo>
                  <a:lnTo>
                    <a:pt x="219" y="0"/>
                  </a:lnTo>
                  <a:lnTo>
                    <a:pt x="219" y="4"/>
                  </a:lnTo>
                  <a:lnTo>
                    <a:pt x="223" y="4"/>
                  </a:lnTo>
                  <a:lnTo>
                    <a:pt x="227" y="4"/>
                  </a:lnTo>
                  <a:lnTo>
                    <a:pt x="227" y="8"/>
                  </a:lnTo>
                  <a:lnTo>
                    <a:pt x="227" y="12"/>
                  </a:lnTo>
                  <a:lnTo>
                    <a:pt x="231" y="16"/>
                  </a:lnTo>
                  <a:lnTo>
                    <a:pt x="227" y="16"/>
                  </a:lnTo>
                  <a:lnTo>
                    <a:pt x="227" y="20"/>
                  </a:lnTo>
                  <a:lnTo>
                    <a:pt x="231" y="20"/>
                  </a:lnTo>
                  <a:lnTo>
                    <a:pt x="231" y="24"/>
                  </a:lnTo>
                  <a:lnTo>
                    <a:pt x="235" y="24"/>
                  </a:lnTo>
                  <a:lnTo>
                    <a:pt x="239" y="20"/>
                  </a:lnTo>
                  <a:lnTo>
                    <a:pt x="239" y="24"/>
                  </a:lnTo>
                  <a:lnTo>
                    <a:pt x="239" y="28"/>
                  </a:lnTo>
                  <a:lnTo>
                    <a:pt x="243" y="28"/>
                  </a:lnTo>
                  <a:lnTo>
                    <a:pt x="247" y="28"/>
                  </a:lnTo>
                  <a:lnTo>
                    <a:pt x="251" y="32"/>
                  </a:lnTo>
                  <a:lnTo>
                    <a:pt x="255" y="32"/>
                  </a:lnTo>
                  <a:lnTo>
                    <a:pt x="255" y="28"/>
                  </a:lnTo>
                  <a:lnTo>
                    <a:pt x="255" y="32"/>
                  </a:lnTo>
                  <a:lnTo>
                    <a:pt x="251" y="32"/>
                  </a:lnTo>
                  <a:lnTo>
                    <a:pt x="251" y="36"/>
                  </a:lnTo>
                  <a:lnTo>
                    <a:pt x="247" y="36"/>
                  </a:lnTo>
                  <a:lnTo>
                    <a:pt x="243" y="36"/>
                  </a:lnTo>
                  <a:lnTo>
                    <a:pt x="243" y="40"/>
                  </a:lnTo>
                  <a:lnTo>
                    <a:pt x="243" y="44"/>
                  </a:lnTo>
                  <a:lnTo>
                    <a:pt x="243" y="48"/>
                  </a:lnTo>
                  <a:lnTo>
                    <a:pt x="239" y="48"/>
                  </a:lnTo>
                  <a:lnTo>
                    <a:pt x="239" y="44"/>
                  </a:lnTo>
                  <a:lnTo>
                    <a:pt x="235" y="44"/>
                  </a:lnTo>
                  <a:lnTo>
                    <a:pt x="231" y="48"/>
                  </a:lnTo>
                  <a:lnTo>
                    <a:pt x="227" y="48"/>
                  </a:lnTo>
                  <a:lnTo>
                    <a:pt x="223" y="52"/>
                  </a:lnTo>
                  <a:lnTo>
                    <a:pt x="223" y="48"/>
                  </a:lnTo>
                  <a:lnTo>
                    <a:pt x="219" y="48"/>
                  </a:lnTo>
                  <a:lnTo>
                    <a:pt x="215" y="48"/>
                  </a:lnTo>
                  <a:lnTo>
                    <a:pt x="208" y="48"/>
                  </a:lnTo>
                  <a:lnTo>
                    <a:pt x="208" y="44"/>
                  </a:lnTo>
                  <a:lnTo>
                    <a:pt x="204" y="44"/>
                  </a:lnTo>
                  <a:lnTo>
                    <a:pt x="200" y="48"/>
                  </a:lnTo>
                  <a:lnTo>
                    <a:pt x="196" y="48"/>
                  </a:lnTo>
                  <a:lnTo>
                    <a:pt x="196" y="52"/>
                  </a:lnTo>
                  <a:lnTo>
                    <a:pt x="200" y="52"/>
                  </a:lnTo>
                  <a:lnTo>
                    <a:pt x="200" y="56"/>
                  </a:lnTo>
                  <a:lnTo>
                    <a:pt x="196" y="60"/>
                  </a:lnTo>
                  <a:lnTo>
                    <a:pt x="200" y="60"/>
                  </a:lnTo>
                  <a:lnTo>
                    <a:pt x="204" y="60"/>
                  </a:lnTo>
                  <a:lnTo>
                    <a:pt x="204" y="64"/>
                  </a:lnTo>
                  <a:lnTo>
                    <a:pt x="200" y="64"/>
                  </a:lnTo>
                  <a:lnTo>
                    <a:pt x="200" y="68"/>
                  </a:lnTo>
                  <a:lnTo>
                    <a:pt x="204" y="68"/>
                  </a:lnTo>
                  <a:lnTo>
                    <a:pt x="200" y="72"/>
                  </a:lnTo>
                  <a:lnTo>
                    <a:pt x="200" y="76"/>
                  </a:lnTo>
                  <a:lnTo>
                    <a:pt x="204" y="80"/>
                  </a:lnTo>
                  <a:lnTo>
                    <a:pt x="204" y="84"/>
                  </a:lnTo>
                  <a:lnTo>
                    <a:pt x="208" y="84"/>
                  </a:lnTo>
                  <a:lnTo>
                    <a:pt x="208" y="88"/>
                  </a:lnTo>
                  <a:lnTo>
                    <a:pt x="211" y="92"/>
                  </a:lnTo>
                  <a:lnTo>
                    <a:pt x="215" y="92"/>
                  </a:lnTo>
                  <a:lnTo>
                    <a:pt x="219" y="92"/>
                  </a:lnTo>
                  <a:lnTo>
                    <a:pt x="219" y="96"/>
                  </a:lnTo>
                  <a:lnTo>
                    <a:pt x="219" y="100"/>
                  </a:lnTo>
                  <a:lnTo>
                    <a:pt x="215" y="100"/>
                  </a:lnTo>
                  <a:lnTo>
                    <a:pt x="211" y="100"/>
                  </a:lnTo>
                  <a:lnTo>
                    <a:pt x="208" y="100"/>
                  </a:lnTo>
                  <a:lnTo>
                    <a:pt x="208" y="104"/>
                  </a:lnTo>
                  <a:lnTo>
                    <a:pt x="208" y="108"/>
                  </a:lnTo>
                  <a:lnTo>
                    <a:pt x="208" y="112"/>
                  </a:lnTo>
                  <a:lnTo>
                    <a:pt x="208" y="116"/>
                  </a:lnTo>
                  <a:lnTo>
                    <a:pt x="208" y="120"/>
                  </a:lnTo>
                  <a:lnTo>
                    <a:pt x="208" y="116"/>
                  </a:lnTo>
                  <a:lnTo>
                    <a:pt x="211" y="116"/>
                  </a:lnTo>
                  <a:lnTo>
                    <a:pt x="208" y="120"/>
                  </a:lnTo>
                  <a:lnTo>
                    <a:pt x="204" y="120"/>
                  </a:lnTo>
                  <a:lnTo>
                    <a:pt x="204" y="124"/>
                  </a:lnTo>
                  <a:lnTo>
                    <a:pt x="200" y="128"/>
                  </a:lnTo>
                  <a:lnTo>
                    <a:pt x="196" y="132"/>
                  </a:lnTo>
                  <a:lnTo>
                    <a:pt x="200" y="132"/>
                  </a:lnTo>
                  <a:lnTo>
                    <a:pt x="200" y="136"/>
                  </a:lnTo>
                  <a:lnTo>
                    <a:pt x="196" y="140"/>
                  </a:lnTo>
                  <a:lnTo>
                    <a:pt x="192" y="140"/>
                  </a:lnTo>
                  <a:lnTo>
                    <a:pt x="188" y="144"/>
                  </a:lnTo>
                  <a:lnTo>
                    <a:pt x="188" y="148"/>
                  </a:lnTo>
                  <a:lnTo>
                    <a:pt x="184" y="156"/>
                  </a:lnTo>
                  <a:lnTo>
                    <a:pt x="184" y="160"/>
                  </a:lnTo>
                  <a:lnTo>
                    <a:pt x="180" y="160"/>
                  </a:lnTo>
                  <a:lnTo>
                    <a:pt x="176" y="160"/>
                  </a:lnTo>
                  <a:lnTo>
                    <a:pt x="176" y="164"/>
                  </a:lnTo>
                  <a:lnTo>
                    <a:pt x="172" y="164"/>
                  </a:lnTo>
                  <a:lnTo>
                    <a:pt x="172" y="168"/>
                  </a:lnTo>
                  <a:lnTo>
                    <a:pt x="172" y="172"/>
                  </a:lnTo>
                  <a:lnTo>
                    <a:pt x="168" y="176"/>
                  </a:lnTo>
                  <a:lnTo>
                    <a:pt x="168" y="180"/>
                  </a:lnTo>
                  <a:lnTo>
                    <a:pt x="164" y="180"/>
                  </a:lnTo>
                  <a:lnTo>
                    <a:pt x="160" y="180"/>
                  </a:lnTo>
                  <a:lnTo>
                    <a:pt x="156" y="180"/>
                  </a:lnTo>
                  <a:lnTo>
                    <a:pt x="156" y="184"/>
                  </a:lnTo>
                  <a:lnTo>
                    <a:pt x="152" y="184"/>
                  </a:lnTo>
                  <a:lnTo>
                    <a:pt x="148" y="184"/>
                  </a:lnTo>
                  <a:lnTo>
                    <a:pt x="148" y="180"/>
                  </a:lnTo>
                  <a:lnTo>
                    <a:pt x="148" y="176"/>
                  </a:lnTo>
                  <a:lnTo>
                    <a:pt x="144" y="176"/>
                  </a:lnTo>
                  <a:lnTo>
                    <a:pt x="144" y="180"/>
                  </a:lnTo>
                  <a:lnTo>
                    <a:pt x="140" y="180"/>
                  </a:lnTo>
                  <a:lnTo>
                    <a:pt x="140" y="184"/>
                  </a:lnTo>
                  <a:lnTo>
                    <a:pt x="140" y="188"/>
                  </a:lnTo>
                  <a:lnTo>
                    <a:pt x="136" y="188"/>
                  </a:lnTo>
                  <a:lnTo>
                    <a:pt x="136" y="192"/>
                  </a:lnTo>
                  <a:lnTo>
                    <a:pt x="132" y="192"/>
                  </a:lnTo>
                  <a:lnTo>
                    <a:pt x="132" y="196"/>
                  </a:lnTo>
                  <a:lnTo>
                    <a:pt x="132" y="200"/>
                  </a:lnTo>
                  <a:lnTo>
                    <a:pt x="132" y="204"/>
                  </a:lnTo>
                  <a:lnTo>
                    <a:pt x="136" y="204"/>
                  </a:lnTo>
                  <a:lnTo>
                    <a:pt x="140" y="204"/>
                  </a:lnTo>
                  <a:lnTo>
                    <a:pt x="140" y="208"/>
                  </a:lnTo>
                  <a:lnTo>
                    <a:pt x="140" y="212"/>
                  </a:lnTo>
                  <a:lnTo>
                    <a:pt x="140" y="216"/>
                  </a:lnTo>
                  <a:lnTo>
                    <a:pt x="140" y="220"/>
                  </a:lnTo>
                  <a:lnTo>
                    <a:pt x="144" y="224"/>
                  </a:lnTo>
                  <a:lnTo>
                    <a:pt x="148" y="224"/>
                  </a:lnTo>
                  <a:lnTo>
                    <a:pt x="148" y="228"/>
                  </a:lnTo>
                  <a:lnTo>
                    <a:pt x="148" y="232"/>
                  </a:lnTo>
                  <a:lnTo>
                    <a:pt x="152" y="232"/>
                  </a:lnTo>
                  <a:lnTo>
                    <a:pt x="152" y="236"/>
                  </a:lnTo>
                  <a:lnTo>
                    <a:pt x="152" y="240"/>
                  </a:lnTo>
                  <a:lnTo>
                    <a:pt x="156" y="244"/>
                  </a:lnTo>
                  <a:lnTo>
                    <a:pt x="152" y="244"/>
                  </a:lnTo>
                  <a:lnTo>
                    <a:pt x="152" y="248"/>
                  </a:lnTo>
                  <a:lnTo>
                    <a:pt x="156" y="248"/>
                  </a:lnTo>
                  <a:lnTo>
                    <a:pt x="152" y="248"/>
                  </a:lnTo>
                  <a:lnTo>
                    <a:pt x="152" y="252"/>
                  </a:lnTo>
                  <a:lnTo>
                    <a:pt x="148" y="252"/>
                  </a:lnTo>
                  <a:lnTo>
                    <a:pt x="148" y="248"/>
                  </a:lnTo>
                  <a:lnTo>
                    <a:pt x="144" y="248"/>
                  </a:lnTo>
                  <a:lnTo>
                    <a:pt x="140" y="248"/>
                  </a:lnTo>
                  <a:lnTo>
                    <a:pt x="140" y="252"/>
                  </a:lnTo>
                  <a:lnTo>
                    <a:pt x="136" y="252"/>
                  </a:lnTo>
                  <a:lnTo>
                    <a:pt x="132" y="252"/>
                  </a:lnTo>
                  <a:lnTo>
                    <a:pt x="128" y="252"/>
                  </a:lnTo>
                  <a:lnTo>
                    <a:pt x="124" y="252"/>
                  </a:lnTo>
                  <a:lnTo>
                    <a:pt x="124" y="248"/>
                  </a:lnTo>
                  <a:lnTo>
                    <a:pt x="120" y="248"/>
                  </a:lnTo>
                  <a:lnTo>
                    <a:pt x="120" y="252"/>
                  </a:lnTo>
                  <a:lnTo>
                    <a:pt x="120" y="256"/>
                  </a:lnTo>
                  <a:lnTo>
                    <a:pt x="116" y="256"/>
                  </a:lnTo>
                  <a:lnTo>
                    <a:pt x="112" y="256"/>
                  </a:lnTo>
                  <a:lnTo>
                    <a:pt x="112" y="260"/>
                  </a:lnTo>
                  <a:lnTo>
                    <a:pt x="112" y="256"/>
                  </a:lnTo>
                  <a:lnTo>
                    <a:pt x="112" y="260"/>
                  </a:lnTo>
                  <a:lnTo>
                    <a:pt x="108" y="260"/>
                  </a:lnTo>
                  <a:lnTo>
                    <a:pt x="108" y="256"/>
                  </a:lnTo>
                  <a:lnTo>
                    <a:pt x="108" y="260"/>
                  </a:lnTo>
                  <a:lnTo>
                    <a:pt x="108" y="256"/>
                  </a:lnTo>
                  <a:lnTo>
                    <a:pt x="104" y="260"/>
                  </a:lnTo>
                  <a:lnTo>
                    <a:pt x="100" y="260"/>
                  </a:lnTo>
                  <a:lnTo>
                    <a:pt x="100" y="256"/>
                  </a:lnTo>
                  <a:lnTo>
                    <a:pt x="96" y="252"/>
                  </a:lnTo>
                  <a:lnTo>
                    <a:pt x="96" y="248"/>
                  </a:lnTo>
                  <a:lnTo>
                    <a:pt x="96" y="244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88" y="240"/>
                  </a:lnTo>
                  <a:lnTo>
                    <a:pt x="88" y="236"/>
                  </a:lnTo>
                  <a:lnTo>
                    <a:pt x="88" y="232"/>
                  </a:lnTo>
                  <a:lnTo>
                    <a:pt x="88" y="228"/>
                  </a:lnTo>
                  <a:lnTo>
                    <a:pt x="84" y="224"/>
                  </a:lnTo>
                  <a:lnTo>
                    <a:pt x="80" y="224"/>
                  </a:lnTo>
                  <a:lnTo>
                    <a:pt x="80" y="228"/>
                  </a:lnTo>
                  <a:lnTo>
                    <a:pt x="84" y="224"/>
                  </a:lnTo>
                  <a:lnTo>
                    <a:pt x="84" y="228"/>
                  </a:lnTo>
                  <a:lnTo>
                    <a:pt x="80" y="228"/>
                  </a:lnTo>
                  <a:lnTo>
                    <a:pt x="76" y="228"/>
                  </a:lnTo>
                  <a:lnTo>
                    <a:pt x="72" y="228"/>
                  </a:lnTo>
                  <a:lnTo>
                    <a:pt x="68" y="228"/>
                  </a:lnTo>
                  <a:lnTo>
                    <a:pt x="64" y="228"/>
                  </a:lnTo>
                  <a:lnTo>
                    <a:pt x="64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52" y="232"/>
                  </a:lnTo>
                  <a:lnTo>
                    <a:pt x="48" y="232"/>
                  </a:lnTo>
                  <a:lnTo>
                    <a:pt x="48" y="228"/>
                  </a:lnTo>
                  <a:lnTo>
                    <a:pt x="48" y="232"/>
                  </a:lnTo>
                  <a:lnTo>
                    <a:pt x="44" y="228"/>
                  </a:lnTo>
                  <a:lnTo>
                    <a:pt x="40" y="228"/>
                  </a:lnTo>
                  <a:lnTo>
                    <a:pt x="40" y="232"/>
                  </a:lnTo>
                  <a:lnTo>
                    <a:pt x="36" y="232"/>
                  </a:lnTo>
                  <a:lnTo>
                    <a:pt x="32" y="232"/>
                  </a:lnTo>
                  <a:lnTo>
                    <a:pt x="28" y="232"/>
                  </a:lnTo>
                  <a:lnTo>
                    <a:pt x="24" y="232"/>
                  </a:lnTo>
                  <a:lnTo>
                    <a:pt x="20" y="232"/>
                  </a:lnTo>
                  <a:lnTo>
                    <a:pt x="16" y="236"/>
                  </a:lnTo>
                  <a:lnTo>
                    <a:pt x="12" y="236"/>
                  </a:lnTo>
                  <a:lnTo>
                    <a:pt x="12" y="232"/>
                  </a:lnTo>
                  <a:lnTo>
                    <a:pt x="12" y="228"/>
                  </a:lnTo>
                  <a:lnTo>
                    <a:pt x="12" y="224"/>
                  </a:lnTo>
                  <a:lnTo>
                    <a:pt x="12" y="220"/>
                  </a:lnTo>
                  <a:lnTo>
                    <a:pt x="16" y="220"/>
                  </a:lnTo>
                  <a:lnTo>
                    <a:pt x="16" y="216"/>
                  </a:lnTo>
                  <a:lnTo>
                    <a:pt x="16" y="212"/>
                  </a:lnTo>
                  <a:lnTo>
                    <a:pt x="20" y="212"/>
                  </a:lnTo>
                  <a:lnTo>
                    <a:pt x="20" y="208"/>
                  </a:lnTo>
                  <a:lnTo>
                    <a:pt x="20" y="212"/>
                  </a:lnTo>
                  <a:lnTo>
                    <a:pt x="20" y="208"/>
                  </a:lnTo>
                  <a:lnTo>
                    <a:pt x="24" y="208"/>
                  </a:lnTo>
                  <a:lnTo>
                    <a:pt x="28" y="208"/>
                  </a:lnTo>
                  <a:lnTo>
                    <a:pt x="28" y="204"/>
                  </a:lnTo>
                  <a:lnTo>
                    <a:pt x="32" y="204"/>
                  </a:lnTo>
                  <a:lnTo>
                    <a:pt x="36" y="204"/>
                  </a:lnTo>
                  <a:lnTo>
                    <a:pt x="36" y="200"/>
                  </a:lnTo>
                  <a:lnTo>
                    <a:pt x="36" y="196"/>
                  </a:lnTo>
                  <a:lnTo>
                    <a:pt x="36" y="192"/>
                  </a:lnTo>
                  <a:lnTo>
                    <a:pt x="32" y="192"/>
                  </a:lnTo>
                  <a:lnTo>
                    <a:pt x="28" y="192"/>
                  </a:lnTo>
                  <a:lnTo>
                    <a:pt x="28" y="188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8" y="176"/>
                  </a:lnTo>
                  <a:lnTo>
                    <a:pt x="28" y="172"/>
                  </a:lnTo>
                  <a:lnTo>
                    <a:pt x="24" y="172"/>
                  </a:lnTo>
                  <a:lnTo>
                    <a:pt x="20" y="168"/>
                  </a:lnTo>
                  <a:lnTo>
                    <a:pt x="16" y="168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8" y="156"/>
                  </a:lnTo>
                  <a:lnTo>
                    <a:pt x="8" y="152"/>
                  </a:lnTo>
                  <a:lnTo>
                    <a:pt x="4" y="144"/>
                  </a:lnTo>
                  <a:lnTo>
                    <a:pt x="0" y="144"/>
                  </a:lnTo>
                  <a:lnTo>
                    <a:pt x="4" y="144"/>
                  </a:lnTo>
                  <a:lnTo>
                    <a:pt x="12" y="148"/>
                  </a:lnTo>
                  <a:lnTo>
                    <a:pt x="16" y="148"/>
                  </a:lnTo>
                  <a:lnTo>
                    <a:pt x="20" y="148"/>
                  </a:lnTo>
                  <a:lnTo>
                    <a:pt x="24" y="152"/>
                  </a:lnTo>
                  <a:lnTo>
                    <a:pt x="36" y="14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9" name="Freeform 36"/>
            <p:cNvSpPr>
              <a:spLocks noEditPoints="1"/>
            </p:cNvSpPr>
            <p:nvPr>
              <p:custDataLst>
                <p:tags r:id="rId232"/>
              </p:custDataLst>
            </p:nvPr>
          </p:nvSpPr>
          <p:spPr bwMode="gray">
            <a:xfrm>
              <a:off x="6883922" y="4130273"/>
              <a:ext cx="23729" cy="17797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</a:cxnLst>
              <a:rect l="0" t="0" r="r" b="b"/>
              <a:pathLst>
                <a:path w="16" h="12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  <a:moveTo>
                    <a:pt x="16" y="8"/>
                  </a:move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close/>
                  <a:moveTo>
                    <a:pt x="0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0" name="Freeform 37"/>
            <p:cNvSpPr>
              <a:spLocks noEditPoints="1"/>
            </p:cNvSpPr>
            <p:nvPr>
              <p:custDataLst>
                <p:tags r:id="rId233"/>
              </p:custDataLst>
            </p:nvPr>
          </p:nvSpPr>
          <p:spPr bwMode="gray">
            <a:xfrm>
              <a:off x="7002567" y="4076882"/>
              <a:ext cx="212078" cy="379664"/>
            </a:xfrm>
            <a:custGeom>
              <a:avLst/>
              <a:gdLst/>
              <a:ahLst/>
              <a:cxnLst>
                <a:cxn ang="0">
                  <a:pos x="83" y="160"/>
                </a:cxn>
                <a:cxn ang="0">
                  <a:pos x="4" y="200"/>
                </a:cxn>
                <a:cxn ang="0">
                  <a:pos x="52" y="236"/>
                </a:cxn>
                <a:cxn ang="0">
                  <a:pos x="40" y="56"/>
                </a:cxn>
                <a:cxn ang="0">
                  <a:pos x="52" y="32"/>
                </a:cxn>
                <a:cxn ang="0">
                  <a:pos x="64" y="8"/>
                </a:cxn>
                <a:cxn ang="0">
                  <a:pos x="79" y="28"/>
                </a:cxn>
                <a:cxn ang="0">
                  <a:pos x="75" y="52"/>
                </a:cxn>
                <a:cxn ang="0">
                  <a:pos x="71" y="76"/>
                </a:cxn>
                <a:cxn ang="0">
                  <a:pos x="79" y="92"/>
                </a:cxn>
                <a:cxn ang="0">
                  <a:pos x="91" y="96"/>
                </a:cxn>
                <a:cxn ang="0">
                  <a:pos x="103" y="104"/>
                </a:cxn>
                <a:cxn ang="0">
                  <a:pos x="103" y="116"/>
                </a:cxn>
                <a:cxn ang="0">
                  <a:pos x="91" y="100"/>
                </a:cxn>
                <a:cxn ang="0">
                  <a:pos x="83" y="104"/>
                </a:cxn>
                <a:cxn ang="0">
                  <a:pos x="56" y="92"/>
                </a:cxn>
                <a:cxn ang="0">
                  <a:pos x="56" y="84"/>
                </a:cxn>
                <a:cxn ang="0">
                  <a:pos x="44" y="64"/>
                </a:cxn>
                <a:cxn ang="0">
                  <a:pos x="79" y="80"/>
                </a:cxn>
                <a:cxn ang="0">
                  <a:pos x="107" y="96"/>
                </a:cxn>
                <a:cxn ang="0">
                  <a:pos x="75" y="100"/>
                </a:cxn>
                <a:cxn ang="0">
                  <a:pos x="52" y="104"/>
                </a:cxn>
                <a:cxn ang="0">
                  <a:pos x="67" y="124"/>
                </a:cxn>
                <a:cxn ang="0">
                  <a:pos x="75" y="124"/>
                </a:cxn>
                <a:cxn ang="0">
                  <a:pos x="103" y="120"/>
                </a:cxn>
                <a:cxn ang="0">
                  <a:pos x="107" y="136"/>
                </a:cxn>
                <a:cxn ang="0">
                  <a:pos x="111" y="120"/>
                </a:cxn>
                <a:cxn ang="0">
                  <a:pos x="131" y="140"/>
                </a:cxn>
                <a:cxn ang="0">
                  <a:pos x="123" y="132"/>
                </a:cxn>
                <a:cxn ang="0">
                  <a:pos x="44" y="128"/>
                </a:cxn>
                <a:cxn ang="0">
                  <a:pos x="48" y="132"/>
                </a:cxn>
                <a:cxn ang="0">
                  <a:pos x="75" y="160"/>
                </a:cxn>
                <a:cxn ang="0">
                  <a:pos x="83" y="136"/>
                </a:cxn>
                <a:cxn ang="0">
                  <a:pos x="115" y="140"/>
                </a:cxn>
                <a:cxn ang="0">
                  <a:pos x="111" y="140"/>
                </a:cxn>
                <a:cxn ang="0">
                  <a:pos x="123" y="156"/>
                </a:cxn>
                <a:cxn ang="0">
                  <a:pos x="40" y="140"/>
                </a:cxn>
                <a:cxn ang="0">
                  <a:pos x="24" y="180"/>
                </a:cxn>
                <a:cxn ang="0">
                  <a:pos x="8" y="188"/>
                </a:cxn>
                <a:cxn ang="0">
                  <a:pos x="28" y="160"/>
                </a:cxn>
                <a:cxn ang="0">
                  <a:pos x="36" y="144"/>
                </a:cxn>
                <a:cxn ang="0">
                  <a:pos x="99" y="156"/>
                </a:cxn>
                <a:cxn ang="0">
                  <a:pos x="103" y="164"/>
                </a:cxn>
                <a:cxn ang="0">
                  <a:pos x="95" y="168"/>
                </a:cxn>
                <a:cxn ang="0">
                  <a:pos x="83" y="176"/>
                </a:cxn>
                <a:cxn ang="0">
                  <a:pos x="95" y="148"/>
                </a:cxn>
                <a:cxn ang="0">
                  <a:pos x="131" y="164"/>
                </a:cxn>
                <a:cxn ang="0">
                  <a:pos x="111" y="164"/>
                </a:cxn>
                <a:cxn ang="0">
                  <a:pos x="79" y="216"/>
                </a:cxn>
                <a:cxn ang="0">
                  <a:pos x="83" y="204"/>
                </a:cxn>
                <a:cxn ang="0">
                  <a:pos x="103" y="204"/>
                </a:cxn>
                <a:cxn ang="0">
                  <a:pos x="115" y="196"/>
                </a:cxn>
                <a:cxn ang="0">
                  <a:pos x="127" y="172"/>
                </a:cxn>
                <a:cxn ang="0">
                  <a:pos x="135" y="192"/>
                </a:cxn>
                <a:cxn ang="0">
                  <a:pos x="143" y="220"/>
                </a:cxn>
                <a:cxn ang="0">
                  <a:pos x="135" y="220"/>
                </a:cxn>
                <a:cxn ang="0">
                  <a:pos x="127" y="244"/>
                </a:cxn>
                <a:cxn ang="0">
                  <a:pos x="111" y="240"/>
                </a:cxn>
                <a:cxn ang="0">
                  <a:pos x="107" y="212"/>
                </a:cxn>
                <a:cxn ang="0">
                  <a:pos x="95" y="216"/>
                </a:cxn>
                <a:cxn ang="0">
                  <a:pos x="83" y="208"/>
                </a:cxn>
                <a:cxn ang="0">
                  <a:pos x="115" y="184"/>
                </a:cxn>
                <a:cxn ang="0">
                  <a:pos x="64" y="240"/>
                </a:cxn>
              </a:cxnLst>
              <a:rect l="0" t="0" r="r" b="b"/>
              <a:pathLst>
                <a:path w="143" h="256">
                  <a:moveTo>
                    <a:pt x="119" y="140"/>
                  </a:moveTo>
                  <a:lnTo>
                    <a:pt x="119" y="136"/>
                  </a:lnTo>
                  <a:lnTo>
                    <a:pt x="115" y="136"/>
                  </a:lnTo>
                  <a:lnTo>
                    <a:pt x="119" y="136"/>
                  </a:lnTo>
                  <a:lnTo>
                    <a:pt x="119" y="140"/>
                  </a:lnTo>
                  <a:close/>
                  <a:moveTo>
                    <a:pt x="83" y="160"/>
                  </a:moveTo>
                  <a:lnTo>
                    <a:pt x="83" y="156"/>
                  </a:lnTo>
                  <a:lnTo>
                    <a:pt x="83" y="152"/>
                  </a:lnTo>
                  <a:lnTo>
                    <a:pt x="87" y="152"/>
                  </a:lnTo>
                  <a:lnTo>
                    <a:pt x="87" y="156"/>
                  </a:lnTo>
                  <a:lnTo>
                    <a:pt x="83" y="160"/>
                  </a:lnTo>
                  <a:close/>
                  <a:moveTo>
                    <a:pt x="44" y="160"/>
                  </a:moveTo>
                  <a:lnTo>
                    <a:pt x="44" y="156"/>
                  </a:lnTo>
                  <a:lnTo>
                    <a:pt x="40" y="156"/>
                  </a:lnTo>
                  <a:lnTo>
                    <a:pt x="44" y="156"/>
                  </a:lnTo>
                  <a:lnTo>
                    <a:pt x="44" y="160"/>
                  </a:lnTo>
                  <a:close/>
                  <a:moveTo>
                    <a:pt x="99" y="184"/>
                  </a:moveTo>
                  <a:lnTo>
                    <a:pt x="99" y="180"/>
                  </a:lnTo>
                  <a:lnTo>
                    <a:pt x="99" y="184"/>
                  </a:lnTo>
                  <a:close/>
                  <a:moveTo>
                    <a:pt x="4" y="200"/>
                  </a:moveTo>
                  <a:lnTo>
                    <a:pt x="4" y="196"/>
                  </a:lnTo>
                  <a:lnTo>
                    <a:pt x="4" y="200"/>
                  </a:lnTo>
                  <a:close/>
                  <a:moveTo>
                    <a:pt x="0" y="208"/>
                  </a:moveTo>
                  <a:lnTo>
                    <a:pt x="0" y="204"/>
                  </a:lnTo>
                  <a:lnTo>
                    <a:pt x="0" y="200"/>
                  </a:lnTo>
                  <a:lnTo>
                    <a:pt x="0" y="204"/>
                  </a:lnTo>
                  <a:lnTo>
                    <a:pt x="0" y="208"/>
                  </a:lnTo>
                  <a:close/>
                  <a:moveTo>
                    <a:pt x="87" y="216"/>
                  </a:moveTo>
                  <a:lnTo>
                    <a:pt x="87" y="212"/>
                  </a:lnTo>
                  <a:lnTo>
                    <a:pt x="91" y="212"/>
                  </a:lnTo>
                  <a:lnTo>
                    <a:pt x="91" y="216"/>
                  </a:lnTo>
                  <a:lnTo>
                    <a:pt x="87" y="216"/>
                  </a:lnTo>
                  <a:close/>
                  <a:moveTo>
                    <a:pt x="52" y="236"/>
                  </a:moveTo>
                  <a:lnTo>
                    <a:pt x="52" y="232"/>
                  </a:lnTo>
                  <a:lnTo>
                    <a:pt x="56" y="232"/>
                  </a:lnTo>
                  <a:lnTo>
                    <a:pt x="56" y="236"/>
                  </a:lnTo>
                  <a:lnTo>
                    <a:pt x="52" y="236"/>
                  </a:lnTo>
                  <a:close/>
                  <a:moveTo>
                    <a:pt x="71" y="4"/>
                  </a:moveTo>
                  <a:lnTo>
                    <a:pt x="71" y="0"/>
                  </a:lnTo>
                  <a:lnTo>
                    <a:pt x="75" y="0"/>
                  </a:lnTo>
                  <a:lnTo>
                    <a:pt x="71" y="4"/>
                  </a:lnTo>
                  <a:close/>
                  <a:moveTo>
                    <a:pt x="44" y="60"/>
                  </a:moveTo>
                  <a:lnTo>
                    <a:pt x="44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4" y="48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2" y="44"/>
                  </a:lnTo>
                  <a:lnTo>
                    <a:pt x="52" y="40"/>
                  </a:lnTo>
                  <a:lnTo>
                    <a:pt x="52" y="36"/>
                  </a:lnTo>
                  <a:lnTo>
                    <a:pt x="52" y="32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60" y="4"/>
                  </a:lnTo>
                  <a:lnTo>
                    <a:pt x="60" y="8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7" y="8"/>
                  </a:lnTo>
                  <a:lnTo>
                    <a:pt x="67" y="12"/>
                  </a:lnTo>
                  <a:lnTo>
                    <a:pt x="71" y="12"/>
                  </a:lnTo>
                  <a:lnTo>
                    <a:pt x="75" y="12"/>
                  </a:lnTo>
                  <a:lnTo>
                    <a:pt x="75" y="8"/>
                  </a:lnTo>
                  <a:lnTo>
                    <a:pt x="79" y="8"/>
                  </a:lnTo>
                  <a:lnTo>
                    <a:pt x="79" y="12"/>
                  </a:lnTo>
                  <a:lnTo>
                    <a:pt x="79" y="16"/>
                  </a:lnTo>
                  <a:lnTo>
                    <a:pt x="79" y="20"/>
                  </a:lnTo>
                  <a:lnTo>
                    <a:pt x="79" y="24"/>
                  </a:lnTo>
                  <a:lnTo>
                    <a:pt x="79" y="28"/>
                  </a:lnTo>
                  <a:lnTo>
                    <a:pt x="83" y="32"/>
                  </a:lnTo>
                  <a:lnTo>
                    <a:pt x="83" y="36"/>
                  </a:lnTo>
                  <a:lnTo>
                    <a:pt x="83" y="40"/>
                  </a:lnTo>
                  <a:lnTo>
                    <a:pt x="79" y="44"/>
                  </a:lnTo>
                  <a:lnTo>
                    <a:pt x="79" y="48"/>
                  </a:lnTo>
                  <a:lnTo>
                    <a:pt x="79" y="52"/>
                  </a:lnTo>
                  <a:lnTo>
                    <a:pt x="75" y="52"/>
                  </a:lnTo>
                  <a:lnTo>
                    <a:pt x="75" y="56"/>
                  </a:lnTo>
                  <a:lnTo>
                    <a:pt x="75" y="52"/>
                  </a:lnTo>
                  <a:lnTo>
                    <a:pt x="79" y="52"/>
                  </a:lnTo>
                  <a:lnTo>
                    <a:pt x="75" y="52"/>
                  </a:lnTo>
                  <a:lnTo>
                    <a:pt x="71" y="52"/>
                  </a:lnTo>
                  <a:lnTo>
                    <a:pt x="71" y="56"/>
                  </a:lnTo>
                  <a:lnTo>
                    <a:pt x="67" y="56"/>
                  </a:lnTo>
                  <a:lnTo>
                    <a:pt x="67" y="60"/>
                  </a:lnTo>
                  <a:lnTo>
                    <a:pt x="71" y="60"/>
                  </a:lnTo>
                  <a:lnTo>
                    <a:pt x="67" y="60"/>
                  </a:lnTo>
                  <a:lnTo>
                    <a:pt x="67" y="64"/>
                  </a:lnTo>
                  <a:lnTo>
                    <a:pt x="67" y="68"/>
                  </a:lnTo>
                  <a:lnTo>
                    <a:pt x="67" y="72"/>
                  </a:lnTo>
                  <a:lnTo>
                    <a:pt x="67" y="76"/>
                  </a:lnTo>
                  <a:lnTo>
                    <a:pt x="71" y="76"/>
                  </a:lnTo>
                  <a:lnTo>
                    <a:pt x="71" y="80"/>
                  </a:lnTo>
                  <a:lnTo>
                    <a:pt x="67" y="80"/>
                  </a:lnTo>
                  <a:lnTo>
                    <a:pt x="71" y="80"/>
                  </a:lnTo>
                  <a:lnTo>
                    <a:pt x="71" y="84"/>
                  </a:lnTo>
                  <a:lnTo>
                    <a:pt x="71" y="88"/>
                  </a:lnTo>
                  <a:lnTo>
                    <a:pt x="75" y="92"/>
                  </a:lnTo>
                  <a:lnTo>
                    <a:pt x="79" y="92"/>
                  </a:lnTo>
                  <a:lnTo>
                    <a:pt x="79" y="96"/>
                  </a:lnTo>
                  <a:lnTo>
                    <a:pt x="79" y="92"/>
                  </a:lnTo>
                  <a:lnTo>
                    <a:pt x="79" y="88"/>
                  </a:lnTo>
                  <a:lnTo>
                    <a:pt x="79" y="92"/>
                  </a:lnTo>
                  <a:lnTo>
                    <a:pt x="79" y="88"/>
                  </a:lnTo>
                  <a:lnTo>
                    <a:pt x="83" y="88"/>
                  </a:lnTo>
                  <a:lnTo>
                    <a:pt x="83" y="84"/>
                  </a:lnTo>
                  <a:lnTo>
                    <a:pt x="83" y="88"/>
                  </a:lnTo>
                  <a:lnTo>
                    <a:pt x="87" y="84"/>
                  </a:lnTo>
                  <a:lnTo>
                    <a:pt x="87" y="88"/>
                  </a:lnTo>
                  <a:lnTo>
                    <a:pt x="91" y="88"/>
                  </a:lnTo>
                  <a:lnTo>
                    <a:pt x="91" y="92"/>
                  </a:lnTo>
                  <a:lnTo>
                    <a:pt x="91" y="96"/>
                  </a:lnTo>
                  <a:lnTo>
                    <a:pt x="91" y="100"/>
                  </a:lnTo>
                  <a:lnTo>
                    <a:pt x="91" y="96"/>
                  </a:lnTo>
                  <a:lnTo>
                    <a:pt x="95" y="96"/>
                  </a:lnTo>
                  <a:lnTo>
                    <a:pt x="95" y="92"/>
                  </a:lnTo>
                  <a:lnTo>
                    <a:pt x="99" y="92"/>
                  </a:lnTo>
                  <a:lnTo>
                    <a:pt x="99" y="96"/>
                  </a:lnTo>
                  <a:lnTo>
                    <a:pt x="103" y="96"/>
                  </a:lnTo>
                  <a:lnTo>
                    <a:pt x="103" y="100"/>
                  </a:lnTo>
                  <a:lnTo>
                    <a:pt x="103" y="96"/>
                  </a:lnTo>
                  <a:lnTo>
                    <a:pt x="99" y="96"/>
                  </a:lnTo>
                  <a:lnTo>
                    <a:pt x="99" y="100"/>
                  </a:lnTo>
                  <a:lnTo>
                    <a:pt x="99" y="104"/>
                  </a:lnTo>
                  <a:lnTo>
                    <a:pt x="103" y="104"/>
                  </a:lnTo>
                  <a:lnTo>
                    <a:pt x="103" y="108"/>
                  </a:lnTo>
                  <a:lnTo>
                    <a:pt x="103" y="104"/>
                  </a:lnTo>
                  <a:lnTo>
                    <a:pt x="103" y="108"/>
                  </a:lnTo>
                  <a:lnTo>
                    <a:pt x="107" y="108"/>
                  </a:lnTo>
                  <a:lnTo>
                    <a:pt x="107" y="112"/>
                  </a:lnTo>
                  <a:lnTo>
                    <a:pt x="107" y="108"/>
                  </a:lnTo>
                  <a:lnTo>
                    <a:pt x="107" y="112"/>
                  </a:lnTo>
                  <a:lnTo>
                    <a:pt x="107" y="116"/>
                  </a:lnTo>
                  <a:lnTo>
                    <a:pt x="107" y="120"/>
                  </a:lnTo>
                  <a:lnTo>
                    <a:pt x="103" y="120"/>
                  </a:lnTo>
                  <a:lnTo>
                    <a:pt x="103" y="116"/>
                  </a:lnTo>
                  <a:lnTo>
                    <a:pt x="103" y="112"/>
                  </a:lnTo>
                  <a:lnTo>
                    <a:pt x="107" y="112"/>
                  </a:lnTo>
                  <a:lnTo>
                    <a:pt x="103" y="112"/>
                  </a:lnTo>
                  <a:lnTo>
                    <a:pt x="99" y="112"/>
                  </a:lnTo>
                  <a:lnTo>
                    <a:pt x="95" y="112"/>
                  </a:lnTo>
                  <a:lnTo>
                    <a:pt x="95" y="108"/>
                  </a:lnTo>
                  <a:lnTo>
                    <a:pt x="95" y="112"/>
                  </a:lnTo>
                  <a:lnTo>
                    <a:pt x="95" y="108"/>
                  </a:lnTo>
                  <a:lnTo>
                    <a:pt x="95" y="104"/>
                  </a:lnTo>
                  <a:lnTo>
                    <a:pt x="91" y="104"/>
                  </a:lnTo>
                  <a:lnTo>
                    <a:pt x="91" y="100"/>
                  </a:lnTo>
                  <a:lnTo>
                    <a:pt x="87" y="100"/>
                  </a:lnTo>
                  <a:lnTo>
                    <a:pt x="87" y="96"/>
                  </a:lnTo>
                  <a:lnTo>
                    <a:pt x="83" y="96"/>
                  </a:lnTo>
                  <a:lnTo>
                    <a:pt x="83" y="92"/>
                  </a:lnTo>
                  <a:lnTo>
                    <a:pt x="83" y="96"/>
                  </a:lnTo>
                  <a:lnTo>
                    <a:pt x="83" y="100"/>
                  </a:lnTo>
                  <a:lnTo>
                    <a:pt x="83" y="104"/>
                  </a:lnTo>
                  <a:lnTo>
                    <a:pt x="87" y="104"/>
                  </a:lnTo>
                  <a:lnTo>
                    <a:pt x="87" y="108"/>
                  </a:lnTo>
                  <a:lnTo>
                    <a:pt x="83" y="108"/>
                  </a:lnTo>
                  <a:lnTo>
                    <a:pt x="83" y="104"/>
                  </a:lnTo>
                  <a:lnTo>
                    <a:pt x="83" y="100"/>
                  </a:lnTo>
                  <a:lnTo>
                    <a:pt x="79" y="100"/>
                  </a:lnTo>
                  <a:lnTo>
                    <a:pt x="75" y="96"/>
                  </a:lnTo>
                  <a:lnTo>
                    <a:pt x="71" y="96"/>
                  </a:lnTo>
                  <a:lnTo>
                    <a:pt x="71" y="92"/>
                  </a:lnTo>
                  <a:lnTo>
                    <a:pt x="67" y="96"/>
                  </a:lnTo>
                  <a:lnTo>
                    <a:pt x="67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56" y="92"/>
                  </a:lnTo>
                  <a:lnTo>
                    <a:pt x="56" y="96"/>
                  </a:lnTo>
                  <a:lnTo>
                    <a:pt x="56" y="92"/>
                  </a:lnTo>
                  <a:lnTo>
                    <a:pt x="56" y="88"/>
                  </a:lnTo>
                  <a:lnTo>
                    <a:pt x="60" y="84"/>
                  </a:lnTo>
                  <a:lnTo>
                    <a:pt x="60" y="80"/>
                  </a:lnTo>
                  <a:lnTo>
                    <a:pt x="56" y="80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52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2" y="84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48" y="72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4" y="60"/>
                  </a:lnTo>
                  <a:close/>
                  <a:moveTo>
                    <a:pt x="75" y="80"/>
                  </a:moveTo>
                  <a:lnTo>
                    <a:pt x="75" y="76"/>
                  </a:lnTo>
                  <a:lnTo>
                    <a:pt x="71" y="76"/>
                  </a:lnTo>
                  <a:lnTo>
                    <a:pt x="71" y="72"/>
                  </a:lnTo>
                  <a:lnTo>
                    <a:pt x="75" y="72"/>
                  </a:lnTo>
                  <a:lnTo>
                    <a:pt x="75" y="76"/>
                  </a:lnTo>
                  <a:lnTo>
                    <a:pt x="75" y="72"/>
                  </a:lnTo>
                  <a:lnTo>
                    <a:pt x="75" y="76"/>
                  </a:lnTo>
                  <a:lnTo>
                    <a:pt x="75" y="80"/>
                  </a:lnTo>
                  <a:close/>
                  <a:moveTo>
                    <a:pt x="79" y="80"/>
                  </a:moveTo>
                  <a:lnTo>
                    <a:pt x="79" y="76"/>
                  </a:lnTo>
                  <a:lnTo>
                    <a:pt x="75" y="76"/>
                  </a:lnTo>
                  <a:lnTo>
                    <a:pt x="79" y="76"/>
                  </a:lnTo>
                  <a:lnTo>
                    <a:pt x="79" y="80"/>
                  </a:lnTo>
                  <a:close/>
                  <a:moveTo>
                    <a:pt x="79" y="92"/>
                  </a:moveTo>
                  <a:lnTo>
                    <a:pt x="75" y="92"/>
                  </a:lnTo>
                  <a:lnTo>
                    <a:pt x="75" y="88"/>
                  </a:lnTo>
                  <a:lnTo>
                    <a:pt x="75" y="92"/>
                  </a:lnTo>
                  <a:lnTo>
                    <a:pt x="79" y="92"/>
                  </a:lnTo>
                  <a:close/>
                  <a:moveTo>
                    <a:pt x="107" y="100"/>
                  </a:moveTo>
                  <a:lnTo>
                    <a:pt x="107" y="96"/>
                  </a:lnTo>
                  <a:lnTo>
                    <a:pt x="107" y="92"/>
                  </a:lnTo>
                  <a:lnTo>
                    <a:pt x="111" y="92"/>
                  </a:lnTo>
                  <a:lnTo>
                    <a:pt x="111" y="96"/>
                  </a:lnTo>
                  <a:lnTo>
                    <a:pt x="111" y="100"/>
                  </a:lnTo>
                  <a:lnTo>
                    <a:pt x="107" y="100"/>
                  </a:lnTo>
                  <a:close/>
                  <a:moveTo>
                    <a:pt x="48" y="100"/>
                  </a:moveTo>
                  <a:lnTo>
                    <a:pt x="48" y="96"/>
                  </a:lnTo>
                  <a:lnTo>
                    <a:pt x="48" y="100"/>
                  </a:lnTo>
                  <a:close/>
                  <a:moveTo>
                    <a:pt x="75" y="108"/>
                  </a:moveTo>
                  <a:lnTo>
                    <a:pt x="71" y="104"/>
                  </a:lnTo>
                  <a:lnTo>
                    <a:pt x="75" y="100"/>
                  </a:lnTo>
                  <a:lnTo>
                    <a:pt x="75" y="104"/>
                  </a:lnTo>
                  <a:lnTo>
                    <a:pt x="79" y="104"/>
                  </a:lnTo>
                  <a:lnTo>
                    <a:pt x="75" y="108"/>
                  </a:lnTo>
                  <a:close/>
                  <a:moveTo>
                    <a:pt x="60" y="124"/>
                  </a:moveTo>
                  <a:lnTo>
                    <a:pt x="60" y="120"/>
                  </a:lnTo>
                  <a:lnTo>
                    <a:pt x="60" y="116"/>
                  </a:lnTo>
                  <a:lnTo>
                    <a:pt x="56" y="116"/>
                  </a:lnTo>
                  <a:lnTo>
                    <a:pt x="56" y="112"/>
                  </a:lnTo>
                  <a:lnTo>
                    <a:pt x="56" y="108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6" y="100"/>
                  </a:lnTo>
                  <a:lnTo>
                    <a:pt x="56" y="104"/>
                  </a:lnTo>
                  <a:lnTo>
                    <a:pt x="60" y="100"/>
                  </a:lnTo>
                  <a:lnTo>
                    <a:pt x="60" y="104"/>
                  </a:lnTo>
                  <a:lnTo>
                    <a:pt x="64" y="104"/>
                  </a:lnTo>
                  <a:lnTo>
                    <a:pt x="67" y="108"/>
                  </a:lnTo>
                  <a:lnTo>
                    <a:pt x="67" y="112"/>
                  </a:lnTo>
                  <a:lnTo>
                    <a:pt x="67" y="116"/>
                  </a:lnTo>
                  <a:lnTo>
                    <a:pt x="67" y="120"/>
                  </a:lnTo>
                  <a:lnTo>
                    <a:pt x="67" y="124"/>
                  </a:lnTo>
                  <a:lnTo>
                    <a:pt x="64" y="124"/>
                  </a:lnTo>
                  <a:lnTo>
                    <a:pt x="60" y="124"/>
                  </a:lnTo>
                  <a:close/>
                  <a:moveTo>
                    <a:pt x="95" y="116"/>
                  </a:moveTo>
                  <a:lnTo>
                    <a:pt x="95" y="112"/>
                  </a:lnTo>
                  <a:lnTo>
                    <a:pt x="91" y="112"/>
                  </a:lnTo>
                  <a:lnTo>
                    <a:pt x="91" y="108"/>
                  </a:lnTo>
                  <a:lnTo>
                    <a:pt x="91" y="112"/>
                  </a:lnTo>
                  <a:lnTo>
                    <a:pt x="95" y="112"/>
                  </a:lnTo>
                  <a:lnTo>
                    <a:pt x="95" y="116"/>
                  </a:lnTo>
                  <a:close/>
                  <a:moveTo>
                    <a:pt x="75" y="128"/>
                  </a:moveTo>
                  <a:lnTo>
                    <a:pt x="75" y="124"/>
                  </a:lnTo>
                  <a:lnTo>
                    <a:pt x="75" y="120"/>
                  </a:lnTo>
                  <a:lnTo>
                    <a:pt x="75" y="116"/>
                  </a:lnTo>
                  <a:lnTo>
                    <a:pt x="79" y="116"/>
                  </a:lnTo>
                  <a:lnTo>
                    <a:pt x="79" y="120"/>
                  </a:lnTo>
                  <a:lnTo>
                    <a:pt x="75" y="120"/>
                  </a:lnTo>
                  <a:lnTo>
                    <a:pt x="75" y="128"/>
                  </a:lnTo>
                  <a:close/>
                  <a:moveTo>
                    <a:pt x="103" y="124"/>
                  </a:moveTo>
                  <a:lnTo>
                    <a:pt x="103" y="120"/>
                  </a:lnTo>
                  <a:lnTo>
                    <a:pt x="99" y="120"/>
                  </a:lnTo>
                  <a:lnTo>
                    <a:pt x="99" y="116"/>
                  </a:lnTo>
                  <a:lnTo>
                    <a:pt x="103" y="120"/>
                  </a:lnTo>
                  <a:lnTo>
                    <a:pt x="103" y="124"/>
                  </a:lnTo>
                  <a:close/>
                  <a:moveTo>
                    <a:pt x="91" y="132"/>
                  </a:moveTo>
                  <a:lnTo>
                    <a:pt x="95" y="128"/>
                  </a:lnTo>
                  <a:lnTo>
                    <a:pt x="95" y="124"/>
                  </a:lnTo>
                  <a:lnTo>
                    <a:pt x="95" y="120"/>
                  </a:lnTo>
                  <a:lnTo>
                    <a:pt x="99" y="120"/>
                  </a:lnTo>
                  <a:lnTo>
                    <a:pt x="99" y="124"/>
                  </a:lnTo>
                  <a:lnTo>
                    <a:pt x="103" y="124"/>
                  </a:lnTo>
                  <a:lnTo>
                    <a:pt x="107" y="128"/>
                  </a:lnTo>
                  <a:lnTo>
                    <a:pt x="107" y="132"/>
                  </a:lnTo>
                  <a:lnTo>
                    <a:pt x="107" y="136"/>
                  </a:lnTo>
                  <a:lnTo>
                    <a:pt x="107" y="132"/>
                  </a:lnTo>
                  <a:lnTo>
                    <a:pt x="103" y="132"/>
                  </a:lnTo>
                  <a:lnTo>
                    <a:pt x="99" y="128"/>
                  </a:lnTo>
                  <a:lnTo>
                    <a:pt x="99" y="124"/>
                  </a:lnTo>
                  <a:lnTo>
                    <a:pt x="95" y="124"/>
                  </a:lnTo>
                  <a:lnTo>
                    <a:pt x="95" y="128"/>
                  </a:lnTo>
                  <a:lnTo>
                    <a:pt x="95" y="132"/>
                  </a:lnTo>
                  <a:lnTo>
                    <a:pt x="91" y="132"/>
                  </a:lnTo>
                  <a:close/>
                  <a:moveTo>
                    <a:pt x="111" y="128"/>
                  </a:moveTo>
                  <a:lnTo>
                    <a:pt x="111" y="124"/>
                  </a:lnTo>
                  <a:lnTo>
                    <a:pt x="111" y="120"/>
                  </a:lnTo>
                  <a:lnTo>
                    <a:pt x="115" y="120"/>
                  </a:lnTo>
                  <a:lnTo>
                    <a:pt x="119" y="120"/>
                  </a:lnTo>
                  <a:lnTo>
                    <a:pt x="123" y="120"/>
                  </a:lnTo>
                  <a:lnTo>
                    <a:pt x="127" y="120"/>
                  </a:lnTo>
                  <a:lnTo>
                    <a:pt x="123" y="124"/>
                  </a:lnTo>
                  <a:lnTo>
                    <a:pt x="127" y="124"/>
                  </a:lnTo>
                  <a:lnTo>
                    <a:pt x="127" y="128"/>
                  </a:lnTo>
                  <a:lnTo>
                    <a:pt x="127" y="132"/>
                  </a:lnTo>
                  <a:lnTo>
                    <a:pt x="127" y="136"/>
                  </a:lnTo>
                  <a:lnTo>
                    <a:pt x="127" y="140"/>
                  </a:lnTo>
                  <a:lnTo>
                    <a:pt x="131" y="140"/>
                  </a:lnTo>
                  <a:lnTo>
                    <a:pt x="131" y="144"/>
                  </a:lnTo>
                  <a:lnTo>
                    <a:pt x="127" y="144"/>
                  </a:lnTo>
                  <a:lnTo>
                    <a:pt x="131" y="144"/>
                  </a:lnTo>
                  <a:lnTo>
                    <a:pt x="131" y="148"/>
                  </a:lnTo>
                  <a:lnTo>
                    <a:pt x="131" y="144"/>
                  </a:lnTo>
                  <a:lnTo>
                    <a:pt x="127" y="144"/>
                  </a:lnTo>
                  <a:lnTo>
                    <a:pt x="123" y="144"/>
                  </a:lnTo>
                  <a:lnTo>
                    <a:pt x="119" y="140"/>
                  </a:lnTo>
                  <a:lnTo>
                    <a:pt x="119" y="136"/>
                  </a:lnTo>
                  <a:lnTo>
                    <a:pt x="123" y="136"/>
                  </a:lnTo>
                  <a:lnTo>
                    <a:pt x="123" y="132"/>
                  </a:lnTo>
                  <a:lnTo>
                    <a:pt x="119" y="132"/>
                  </a:lnTo>
                  <a:lnTo>
                    <a:pt x="115" y="132"/>
                  </a:lnTo>
                  <a:lnTo>
                    <a:pt x="115" y="128"/>
                  </a:lnTo>
                  <a:lnTo>
                    <a:pt x="111" y="128"/>
                  </a:lnTo>
                  <a:close/>
                  <a:moveTo>
                    <a:pt x="83" y="124"/>
                  </a:moveTo>
                  <a:lnTo>
                    <a:pt x="83" y="120"/>
                  </a:lnTo>
                  <a:lnTo>
                    <a:pt x="87" y="120"/>
                  </a:lnTo>
                  <a:lnTo>
                    <a:pt x="87" y="124"/>
                  </a:lnTo>
                  <a:lnTo>
                    <a:pt x="83" y="124"/>
                  </a:lnTo>
                  <a:close/>
                  <a:moveTo>
                    <a:pt x="48" y="128"/>
                  </a:moveTo>
                  <a:lnTo>
                    <a:pt x="44" y="128"/>
                  </a:lnTo>
                  <a:lnTo>
                    <a:pt x="44" y="124"/>
                  </a:lnTo>
                  <a:lnTo>
                    <a:pt x="48" y="124"/>
                  </a:lnTo>
                  <a:lnTo>
                    <a:pt x="48" y="128"/>
                  </a:lnTo>
                  <a:lnTo>
                    <a:pt x="48" y="124"/>
                  </a:lnTo>
                  <a:lnTo>
                    <a:pt x="52" y="128"/>
                  </a:lnTo>
                  <a:lnTo>
                    <a:pt x="48" y="128"/>
                  </a:lnTo>
                  <a:close/>
                  <a:moveTo>
                    <a:pt x="44" y="136"/>
                  </a:moveTo>
                  <a:lnTo>
                    <a:pt x="44" y="132"/>
                  </a:lnTo>
                  <a:lnTo>
                    <a:pt x="44" y="128"/>
                  </a:lnTo>
                  <a:lnTo>
                    <a:pt x="44" y="132"/>
                  </a:lnTo>
                  <a:lnTo>
                    <a:pt x="48" y="132"/>
                  </a:lnTo>
                  <a:lnTo>
                    <a:pt x="48" y="136"/>
                  </a:lnTo>
                  <a:lnTo>
                    <a:pt x="44" y="136"/>
                  </a:lnTo>
                  <a:close/>
                  <a:moveTo>
                    <a:pt x="91" y="144"/>
                  </a:moveTo>
                  <a:lnTo>
                    <a:pt x="91" y="148"/>
                  </a:lnTo>
                  <a:lnTo>
                    <a:pt x="87" y="148"/>
                  </a:lnTo>
                  <a:lnTo>
                    <a:pt x="87" y="152"/>
                  </a:lnTo>
                  <a:lnTo>
                    <a:pt x="83" y="152"/>
                  </a:lnTo>
                  <a:lnTo>
                    <a:pt x="79" y="152"/>
                  </a:lnTo>
                  <a:lnTo>
                    <a:pt x="79" y="156"/>
                  </a:lnTo>
                  <a:lnTo>
                    <a:pt x="75" y="156"/>
                  </a:lnTo>
                  <a:lnTo>
                    <a:pt x="75" y="160"/>
                  </a:lnTo>
                  <a:lnTo>
                    <a:pt x="75" y="156"/>
                  </a:lnTo>
                  <a:lnTo>
                    <a:pt x="75" y="152"/>
                  </a:lnTo>
                  <a:lnTo>
                    <a:pt x="75" y="148"/>
                  </a:lnTo>
                  <a:lnTo>
                    <a:pt x="75" y="144"/>
                  </a:lnTo>
                  <a:lnTo>
                    <a:pt x="75" y="140"/>
                  </a:lnTo>
                  <a:lnTo>
                    <a:pt x="75" y="136"/>
                  </a:lnTo>
                  <a:lnTo>
                    <a:pt x="75" y="132"/>
                  </a:lnTo>
                  <a:lnTo>
                    <a:pt x="71" y="132"/>
                  </a:lnTo>
                  <a:lnTo>
                    <a:pt x="75" y="132"/>
                  </a:lnTo>
                  <a:lnTo>
                    <a:pt x="79" y="132"/>
                  </a:lnTo>
                  <a:lnTo>
                    <a:pt x="83" y="136"/>
                  </a:lnTo>
                  <a:lnTo>
                    <a:pt x="83" y="140"/>
                  </a:lnTo>
                  <a:lnTo>
                    <a:pt x="87" y="136"/>
                  </a:lnTo>
                  <a:lnTo>
                    <a:pt x="87" y="140"/>
                  </a:lnTo>
                  <a:lnTo>
                    <a:pt x="91" y="140"/>
                  </a:lnTo>
                  <a:lnTo>
                    <a:pt x="91" y="136"/>
                  </a:lnTo>
                  <a:lnTo>
                    <a:pt x="91" y="140"/>
                  </a:lnTo>
                  <a:lnTo>
                    <a:pt x="91" y="144"/>
                  </a:lnTo>
                  <a:close/>
                  <a:moveTo>
                    <a:pt x="111" y="140"/>
                  </a:moveTo>
                  <a:lnTo>
                    <a:pt x="111" y="136"/>
                  </a:lnTo>
                  <a:lnTo>
                    <a:pt x="115" y="136"/>
                  </a:lnTo>
                  <a:lnTo>
                    <a:pt x="115" y="140"/>
                  </a:lnTo>
                  <a:lnTo>
                    <a:pt x="111" y="140"/>
                  </a:lnTo>
                  <a:close/>
                  <a:moveTo>
                    <a:pt x="115" y="156"/>
                  </a:moveTo>
                  <a:lnTo>
                    <a:pt x="119" y="156"/>
                  </a:lnTo>
                  <a:lnTo>
                    <a:pt x="119" y="152"/>
                  </a:lnTo>
                  <a:lnTo>
                    <a:pt x="115" y="152"/>
                  </a:lnTo>
                  <a:lnTo>
                    <a:pt x="115" y="148"/>
                  </a:lnTo>
                  <a:lnTo>
                    <a:pt x="115" y="152"/>
                  </a:lnTo>
                  <a:lnTo>
                    <a:pt x="111" y="152"/>
                  </a:lnTo>
                  <a:lnTo>
                    <a:pt x="111" y="148"/>
                  </a:lnTo>
                  <a:lnTo>
                    <a:pt x="111" y="144"/>
                  </a:lnTo>
                  <a:lnTo>
                    <a:pt x="111" y="140"/>
                  </a:lnTo>
                  <a:lnTo>
                    <a:pt x="111" y="136"/>
                  </a:lnTo>
                  <a:lnTo>
                    <a:pt x="115" y="140"/>
                  </a:lnTo>
                  <a:lnTo>
                    <a:pt x="115" y="144"/>
                  </a:lnTo>
                  <a:lnTo>
                    <a:pt x="115" y="140"/>
                  </a:lnTo>
                  <a:lnTo>
                    <a:pt x="119" y="140"/>
                  </a:lnTo>
                  <a:lnTo>
                    <a:pt x="119" y="144"/>
                  </a:lnTo>
                  <a:lnTo>
                    <a:pt x="123" y="148"/>
                  </a:lnTo>
                  <a:lnTo>
                    <a:pt x="119" y="148"/>
                  </a:lnTo>
                  <a:lnTo>
                    <a:pt x="119" y="152"/>
                  </a:lnTo>
                  <a:lnTo>
                    <a:pt x="123" y="152"/>
                  </a:lnTo>
                  <a:lnTo>
                    <a:pt x="123" y="156"/>
                  </a:lnTo>
                  <a:lnTo>
                    <a:pt x="123" y="160"/>
                  </a:lnTo>
                  <a:lnTo>
                    <a:pt x="123" y="164"/>
                  </a:lnTo>
                  <a:lnTo>
                    <a:pt x="123" y="160"/>
                  </a:lnTo>
                  <a:lnTo>
                    <a:pt x="119" y="160"/>
                  </a:lnTo>
                  <a:lnTo>
                    <a:pt x="119" y="164"/>
                  </a:lnTo>
                  <a:lnTo>
                    <a:pt x="115" y="164"/>
                  </a:lnTo>
                  <a:lnTo>
                    <a:pt x="119" y="160"/>
                  </a:lnTo>
                  <a:lnTo>
                    <a:pt x="115" y="160"/>
                  </a:lnTo>
                  <a:lnTo>
                    <a:pt x="115" y="156"/>
                  </a:lnTo>
                  <a:close/>
                  <a:moveTo>
                    <a:pt x="44" y="140"/>
                  </a:moveTo>
                  <a:lnTo>
                    <a:pt x="40" y="140"/>
                  </a:lnTo>
                  <a:lnTo>
                    <a:pt x="44" y="140"/>
                  </a:lnTo>
                  <a:close/>
                  <a:moveTo>
                    <a:pt x="40" y="156"/>
                  </a:moveTo>
                  <a:lnTo>
                    <a:pt x="40" y="160"/>
                  </a:lnTo>
                  <a:lnTo>
                    <a:pt x="36" y="160"/>
                  </a:lnTo>
                  <a:lnTo>
                    <a:pt x="36" y="164"/>
                  </a:lnTo>
                  <a:lnTo>
                    <a:pt x="32" y="164"/>
                  </a:lnTo>
                  <a:lnTo>
                    <a:pt x="28" y="168"/>
                  </a:lnTo>
                  <a:lnTo>
                    <a:pt x="24" y="172"/>
                  </a:lnTo>
                  <a:lnTo>
                    <a:pt x="28" y="172"/>
                  </a:lnTo>
                  <a:lnTo>
                    <a:pt x="24" y="176"/>
                  </a:lnTo>
                  <a:lnTo>
                    <a:pt x="24" y="180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6" y="184"/>
                  </a:lnTo>
                  <a:lnTo>
                    <a:pt x="16" y="188"/>
                  </a:lnTo>
                  <a:lnTo>
                    <a:pt x="12" y="188"/>
                  </a:lnTo>
                  <a:lnTo>
                    <a:pt x="12" y="192"/>
                  </a:lnTo>
                  <a:lnTo>
                    <a:pt x="8" y="192"/>
                  </a:lnTo>
                  <a:lnTo>
                    <a:pt x="4" y="196"/>
                  </a:lnTo>
                  <a:lnTo>
                    <a:pt x="4" y="192"/>
                  </a:lnTo>
                  <a:lnTo>
                    <a:pt x="4" y="188"/>
                  </a:lnTo>
                  <a:lnTo>
                    <a:pt x="8" y="188"/>
                  </a:lnTo>
                  <a:lnTo>
                    <a:pt x="12" y="184"/>
                  </a:lnTo>
                  <a:lnTo>
                    <a:pt x="12" y="180"/>
                  </a:lnTo>
                  <a:lnTo>
                    <a:pt x="16" y="180"/>
                  </a:lnTo>
                  <a:lnTo>
                    <a:pt x="20" y="172"/>
                  </a:lnTo>
                  <a:lnTo>
                    <a:pt x="24" y="172"/>
                  </a:lnTo>
                  <a:lnTo>
                    <a:pt x="24" y="168"/>
                  </a:lnTo>
                  <a:lnTo>
                    <a:pt x="28" y="164"/>
                  </a:lnTo>
                  <a:lnTo>
                    <a:pt x="28" y="168"/>
                  </a:lnTo>
                  <a:lnTo>
                    <a:pt x="28" y="164"/>
                  </a:lnTo>
                  <a:lnTo>
                    <a:pt x="32" y="160"/>
                  </a:lnTo>
                  <a:lnTo>
                    <a:pt x="28" y="160"/>
                  </a:lnTo>
                  <a:lnTo>
                    <a:pt x="32" y="160"/>
                  </a:lnTo>
                  <a:lnTo>
                    <a:pt x="36" y="156"/>
                  </a:lnTo>
                  <a:lnTo>
                    <a:pt x="36" y="152"/>
                  </a:lnTo>
                  <a:lnTo>
                    <a:pt x="32" y="152"/>
                  </a:lnTo>
                  <a:lnTo>
                    <a:pt x="32" y="148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36" y="148"/>
                  </a:lnTo>
                  <a:lnTo>
                    <a:pt x="36" y="144"/>
                  </a:lnTo>
                  <a:lnTo>
                    <a:pt x="36" y="148"/>
                  </a:lnTo>
                  <a:lnTo>
                    <a:pt x="36" y="144"/>
                  </a:lnTo>
                  <a:lnTo>
                    <a:pt x="36" y="140"/>
                  </a:lnTo>
                  <a:lnTo>
                    <a:pt x="40" y="140"/>
                  </a:lnTo>
                  <a:lnTo>
                    <a:pt x="40" y="144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40" y="152"/>
                  </a:lnTo>
                  <a:lnTo>
                    <a:pt x="40" y="156"/>
                  </a:lnTo>
                  <a:close/>
                  <a:moveTo>
                    <a:pt x="95" y="164"/>
                  </a:moveTo>
                  <a:lnTo>
                    <a:pt x="99" y="164"/>
                  </a:lnTo>
                  <a:lnTo>
                    <a:pt x="99" y="160"/>
                  </a:lnTo>
                  <a:lnTo>
                    <a:pt x="99" y="156"/>
                  </a:lnTo>
                  <a:lnTo>
                    <a:pt x="103" y="156"/>
                  </a:lnTo>
                  <a:lnTo>
                    <a:pt x="103" y="152"/>
                  </a:lnTo>
                  <a:lnTo>
                    <a:pt x="103" y="148"/>
                  </a:lnTo>
                  <a:lnTo>
                    <a:pt x="103" y="144"/>
                  </a:lnTo>
                  <a:lnTo>
                    <a:pt x="107" y="144"/>
                  </a:lnTo>
                  <a:lnTo>
                    <a:pt x="107" y="148"/>
                  </a:lnTo>
                  <a:lnTo>
                    <a:pt x="107" y="152"/>
                  </a:lnTo>
                  <a:lnTo>
                    <a:pt x="107" y="156"/>
                  </a:lnTo>
                  <a:lnTo>
                    <a:pt x="107" y="160"/>
                  </a:lnTo>
                  <a:lnTo>
                    <a:pt x="103" y="160"/>
                  </a:lnTo>
                  <a:lnTo>
                    <a:pt x="103" y="164"/>
                  </a:lnTo>
                  <a:lnTo>
                    <a:pt x="99" y="164"/>
                  </a:lnTo>
                  <a:lnTo>
                    <a:pt x="99" y="168"/>
                  </a:lnTo>
                  <a:lnTo>
                    <a:pt x="99" y="172"/>
                  </a:lnTo>
                  <a:lnTo>
                    <a:pt x="99" y="176"/>
                  </a:lnTo>
                  <a:lnTo>
                    <a:pt x="95" y="176"/>
                  </a:lnTo>
                  <a:lnTo>
                    <a:pt x="95" y="172"/>
                  </a:lnTo>
                  <a:lnTo>
                    <a:pt x="95" y="168"/>
                  </a:lnTo>
                  <a:lnTo>
                    <a:pt x="95" y="164"/>
                  </a:lnTo>
                  <a:close/>
                  <a:moveTo>
                    <a:pt x="95" y="160"/>
                  </a:moveTo>
                  <a:lnTo>
                    <a:pt x="95" y="164"/>
                  </a:lnTo>
                  <a:lnTo>
                    <a:pt x="95" y="168"/>
                  </a:lnTo>
                  <a:lnTo>
                    <a:pt x="91" y="168"/>
                  </a:lnTo>
                  <a:lnTo>
                    <a:pt x="91" y="172"/>
                  </a:lnTo>
                  <a:lnTo>
                    <a:pt x="91" y="176"/>
                  </a:lnTo>
                  <a:lnTo>
                    <a:pt x="95" y="176"/>
                  </a:lnTo>
                  <a:lnTo>
                    <a:pt x="95" y="180"/>
                  </a:lnTo>
                  <a:lnTo>
                    <a:pt x="95" y="184"/>
                  </a:lnTo>
                  <a:lnTo>
                    <a:pt x="91" y="184"/>
                  </a:lnTo>
                  <a:lnTo>
                    <a:pt x="87" y="184"/>
                  </a:lnTo>
                  <a:lnTo>
                    <a:pt x="87" y="180"/>
                  </a:lnTo>
                  <a:lnTo>
                    <a:pt x="87" y="176"/>
                  </a:lnTo>
                  <a:lnTo>
                    <a:pt x="83" y="176"/>
                  </a:lnTo>
                  <a:lnTo>
                    <a:pt x="83" y="172"/>
                  </a:lnTo>
                  <a:lnTo>
                    <a:pt x="79" y="172"/>
                  </a:lnTo>
                  <a:lnTo>
                    <a:pt x="83" y="172"/>
                  </a:lnTo>
                  <a:lnTo>
                    <a:pt x="83" y="168"/>
                  </a:lnTo>
                  <a:lnTo>
                    <a:pt x="87" y="168"/>
                  </a:lnTo>
                  <a:lnTo>
                    <a:pt x="87" y="164"/>
                  </a:lnTo>
                  <a:lnTo>
                    <a:pt x="87" y="160"/>
                  </a:lnTo>
                  <a:lnTo>
                    <a:pt x="87" y="156"/>
                  </a:lnTo>
                  <a:lnTo>
                    <a:pt x="91" y="152"/>
                  </a:lnTo>
                  <a:lnTo>
                    <a:pt x="91" y="148"/>
                  </a:lnTo>
                  <a:lnTo>
                    <a:pt x="95" y="148"/>
                  </a:lnTo>
                  <a:lnTo>
                    <a:pt x="99" y="148"/>
                  </a:lnTo>
                  <a:lnTo>
                    <a:pt x="99" y="152"/>
                  </a:lnTo>
                  <a:lnTo>
                    <a:pt x="99" y="156"/>
                  </a:lnTo>
                  <a:lnTo>
                    <a:pt x="95" y="156"/>
                  </a:lnTo>
                  <a:lnTo>
                    <a:pt x="95" y="160"/>
                  </a:lnTo>
                  <a:close/>
                  <a:moveTo>
                    <a:pt x="131" y="168"/>
                  </a:moveTo>
                  <a:lnTo>
                    <a:pt x="127" y="164"/>
                  </a:lnTo>
                  <a:lnTo>
                    <a:pt x="127" y="160"/>
                  </a:lnTo>
                  <a:lnTo>
                    <a:pt x="131" y="156"/>
                  </a:lnTo>
                  <a:lnTo>
                    <a:pt x="131" y="160"/>
                  </a:lnTo>
                  <a:lnTo>
                    <a:pt x="131" y="164"/>
                  </a:lnTo>
                  <a:lnTo>
                    <a:pt x="131" y="168"/>
                  </a:lnTo>
                  <a:close/>
                  <a:moveTo>
                    <a:pt x="115" y="164"/>
                  </a:moveTo>
                  <a:lnTo>
                    <a:pt x="115" y="168"/>
                  </a:lnTo>
                  <a:lnTo>
                    <a:pt x="115" y="172"/>
                  </a:lnTo>
                  <a:lnTo>
                    <a:pt x="111" y="172"/>
                  </a:lnTo>
                  <a:lnTo>
                    <a:pt x="107" y="172"/>
                  </a:lnTo>
                  <a:lnTo>
                    <a:pt x="103" y="172"/>
                  </a:lnTo>
                  <a:lnTo>
                    <a:pt x="103" y="168"/>
                  </a:lnTo>
                  <a:lnTo>
                    <a:pt x="107" y="168"/>
                  </a:lnTo>
                  <a:lnTo>
                    <a:pt x="107" y="164"/>
                  </a:lnTo>
                  <a:lnTo>
                    <a:pt x="111" y="164"/>
                  </a:lnTo>
                  <a:lnTo>
                    <a:pt x="115" y="164"/>
                  </a:lnTo>
                  <a:close/>
                  <a:moveTo>
                    <a:pt x="123" y="168"/>
                  </a:moveTo>
                  <a:lnTo>
                    <a:pt x="123" y="164"/>
                  </a:lnTo>
                  <a:lnTo>
                    <a:pt x="123" y="168"/>
                  </a:lnTo>
                  <a:close/>
                  <a:moveTo>
                    <a:pt x="135" y="172"/>
                  </a:moveTo>
                  <a:lnTo>
                    <a:pt x="135" y="168"/>
                  </a:lnTo>
                  <a:lnTo>
                    <a:pt x="135" y="164"/>
                  </a:lnTo>
                  <a:lnTo>
                    <a:pt x="139" y="168"/>
                  </a:lnTo>
                  <a:lnTo>
                    <a:pt x="139" y="172"/>
                  </a:lnTo>
                  <a:lnTo>
                    <a:pt x="135" y="172"/>
                  </a:lnTo>
                  <a:close/>
                  <a:moveTo>
                    <a:pt x="79" y="216"/>
                  </a:moveTo>
                  <a:lnTo>
                    <a:pt x="79" y="220"/>
                  </a:lnTo>
                  <a:lnTo>
                    <a:pt x="79" y="224"/>
                  </a:lnTo>
                  <a:lnTo>
                    <a:pt x="75" y="224"/>
                  </a:lnTo>
                  <a:lnTo>
                    <a:pt x="75" y="220"/>
                  </a:lnTo>
                  <a:lnTo>
                    <a:pt x="75" y="216"/>
                  </a:lnTo>
                  <a:lnTo>
                    <a:pt x="75" y="212"/>
                  </a:lnTo>
                  <a:lnTo>
                    <a:pt x="75" y="208"/>
                  </a:lnTo>
                  <a:lnTo>
                    <a:pt x="79" y="208"/>
                  </a:lnTo>
                  <a:lnTo>
                    <a:pt x="79" y="204"/>
                  </a:lnTo>
                  <a:lnTo>
                    <a:pt x="83" y="200"/>
                  </a:lnTo>
                  <a:lnTo>
                    <a:pt x="83" y="204"/>
                  </a:lnTo>
                  <a:lnTo>
                    <a:pt x="87" y="200"/>
                  </a:lnTo>
                  <a:lnTo>
                    <a:pt x="91" y="200"/>
                  </a:lnTo>
                  <a:lnTo>
                    <a:pt x="91" y="196"/>
                  </a:lnTo>
                  <a:lnTo>
                    <a:pt x="91" y="192"/>
                  </a:lnTo>
                  <a:lnTo>
                    <a:pt x="95" y="192"/>
                  </a:lnTo>
                  <a:lnTo>
                    <a:pt x="95" y="188"/>
                  </a:lnTo>
                  <a:lnTo>
                    <a:pt x="99" y="192"/>
                  </a:lnTo>
                  <a:lnTo>
                    <a:pt x="103" y="192"/>
                  </a:lnTo>
                  <a:lnTo>
                    <a:pt x="103" y="196"/>
                  </a:lnTo>
                  <a:lnTo>
                    <a:pt x="103" y="200"/>
                  </a:lnTo>
                  <a:lnTo>
                    <a:pt x="103" y="204"/>
                  </a:lnTo>
                  <a:lnTo>
                    <a:pt x="99" y="204"/>
                  </a:lnTo>
                  <a:lnTo>
                    <a:pt x="103" y="204"/>
                  </a:lnTo>
                  <a:lnTo>
                    <a:pt x="103" y="200"/>
                  </a:lnTo>
                  <a:lnTo>
                    <a:pt x="107" y="200"/>
                  </a:lnTo>
                  <a:lnTo>
                    <a:pt x="111" y="200"/>
                  </a:lnTo>
                  <a:lnTo>
                    <a:pt x="111" y="196"/>
                  </a:lnTo>
                  <a:lnTo>
                    <a:pt x="107" y="196"/>
                  </a:lnTo>
                  <a:lnTo>
                    <a:pt x="111" y="196"/>
                  </a:lnTo>
                  <a:lnTo>
                    <a:pt x="111" y="192"/>
                  </a:lnTo>
                  <a:lnTo>
                    <a:pt x="115" y="192"/>
                  </a:lnTo>
                  <a:lnTo>
                    <a:pt x="115" y="196"/>
                  </a:lnTo>
                  <a:lnTo>
                    <a:pt x="115" y="192"/>
                  </a:lnTo>
                  <a:lnTo>
                    <a:pt x="115" y="188"/>
                  </a:lnTo>
                  <a:lnTo>
                    <a:pt x="119" y="188"/>
                  </a:lnTo>
                  <a:lnTo>
                    <a:pt x="119" y="184"/>
                  </a:lnTo>
                  <a:lnTo>
                    <a:pt x="119" y="188"/>
                  </a:lnTo>
                  <a:lnTo>
                    <a:pt x="123" y="188"/>
                  </a:lnTo>
                  <a:lnTo>
                    <a:pt x="123" y="184"/>
                  </a:lnTo>
                  <a:lnTo>
                    <a:pt x="127" y="184"/>
                  </a:lnTo>
                  <a:lnTo>
                    <a:pt x="127" y="180"/>
                  </a:lnTo>
                  <a:lnTo>
                    <a:pt x="127" y="176"/>
                  </a:lnTo>
                  <a:lnTo>
                    <a:pt x="127" y="172"/>
                  </a:lnTo>
                  <a:lnTo>
                    <a:pt x="127" y="168"/>
                  </a:lnTo>
                  <a:lnTo>
                    <a:pt x="127" y="172"/>
                  </a:lnTo>
                  <a:lnTo>
                    <a:pt x="131" y="172"/>
                  </a:lnTo>
                  <a:lnTo>
                    <a:pt x="131" y="176"/>
                  </a:lnTo>
                  <a:lnTo>
                    <a:pt x="135" y="176"/>
                  </a:lnTo>
                  <a:lnTo>
                    <a:pt x="135" y="180"/>
                  </a:lnTo>
                  <a:lnTo>
                    <a:pt x="139" y="180"/>
                  </a:lnTo>
                  <a:lnTo>
                    <a:pt x="139" y="184"/>
                  </a:lnTo>
                  <a:lnTo>
                    <a:pt x="139" y="188"/>
                  </a:lnTo>
                  <a:lnTo>
                    <a:pt x="139" y="192"/>
                  </a:lnTo>
                  <a:lnTo>
                    <a:pt x="135" y="192"/>
                  </a:lnTo>
                  <a:lnTo>
                    <a:pt x="139" y="192"/>
                  </a:lnTo>
                  <a:lnTo>
                    <a:pt x="143" y="192"/>
                  </a:lnTo>
                  <a:lnTo>
                    <a:pt x="143" y="196"/>
                  </a:lnTo>
                  <a:lnTo>
                    <a:pt x="139" y="196"/>
                  </a:lnTo>
                  <a:lnTo>
                    <a:pt x="139" y="200"/>
                  </a:lnTo>
                  <a:lnTo>
                    <a:pt x="143" y="200"/>
                  </a:lnTo>
                  <a:lnTo>
                    <a:pt x="143" y="204"/>
                  </a:lnTo>
                  <a:lnTo>
                    <a:pt x="143" y="208"/>
                  </a:lnTo>
                  <a:lnTo>
                    <a:pt x="143" y="212"/>
                  </a:lnTo>
                  <a:lnTo>
                    <a:pt x="143" y="216"/>
                  </a:lnTo>
                  <a:lnTo>
                    <a:pt x="143" y="220"/>
                  </a:lnTo>
                  <a:lnTo>
                    <a:pt x="139" y="220"/>
                  </a:lnTo>
                  <a:lnTo>
                    <a:pt x="139" y="224"/>
                  </a:lnTo>
                  <a:lnTo>
                    <a:pt x="139" y="228"/>
                  </a:lnTo>
                  <a:lnTo>
                    <a:pt x="139" y="232"/>
                  </a:lnTo>
                  <a:lnTo>
                    <a:pt x="139" y="236"/>
                  </a:lnTo>
                  <a:lnTo>
                    <a:pt x="139" y="232"/>
                  </a:lnTo>
                  <a:lnTo>
                    <a:pt x="135" y="232"/>
                  </a:lnTo>
                  <a:lnTo>
                    <a:pt x="135" y="228"/>
                  </a:lnTo>
                  <a:lnTo>
                    <a:pt x="139" y="228"/>
                  </a:lnTo>
                  <a:lnTo>
                    <a:pt x="135" y="224"/>
                  </a:lnTo>
                  <a:lnTo>
                    <a:pt x="135" y="220"/>
                  </a:lnTo>
                  <a:lnTo>
                    <a:pt x="135" y="216"/>
                  </a:lnTo>
                  <a:lnTo>
                    <a:pt x="131" y="216"/>
                  </a:lnTo>
                  <a:lnTo>
                    <a:pt x="131" y="220"/>
                  </a:lnTo>
                  <a:lnTo>
                    <a:pt x="127" y="220"/>
                  </a:lnTo>
                  <a:lnTo>
                    <a:pt x="127" y="224"/>
                  </a:lnTo>
                  <a:lnTo>
                    <a:pt x="127" y="228"/>
                  </a:lnTo>
                  <a:lnTo>
                    <a:pt x="131" y="232"/>
                  </a:lnTo>
                  <a:lnTo>
                    <a:pt x="131" y="236"/>
                  </a:lnTo>
                  <a:lnTo>
                    <a:pt x="131" y="240"/>
                  </a:lnTo>
                  <a:lnTo>
                    <a:pt x="131" y="244"/>
                  </a:lnTo>
                  <a:lnTo>
                    <a:pt x="127" y="244"/>
                  </a:lnTo>
                  <a:lnTo>
                    <a:pt x="127" y="248"/>
                  </a:lnTo>
                  <a:lnTo>
                    <a:pt x="123" y="248"/>
                  </a:lnTo>
                  <a:lnTo>
                    <a:pt x="127" y="248"/>
                  </a:lnTo>
                  <a:lnTo>
                    <a:pt x="123" y="244"/>
                  </a:lnTo>
                  <a:lnTo>
                    <a:pt x="123" y="240"/>
                  </a:lnTo>
                  <a:lnTo>
                    <a:pt x="123" y="236"/>
                  </a:lnTo>
                  <a:lnTo>
                    <a:pt x="123" y="240"/>
                  </a:lnTo>
                  <a:lnTo>
                    <a:pt x="123" y="244"/>
                  </a:lnTo>
                  <a:lnTo>
                    <a:pt x="119" y="244"/>
                  </a:lnTo>
                  <a:lnTo>
                    <a:pt x="115" y="240"/>
                  </a:lnTo>
                  <a:lnTo>
                    <a:pt x="111" y="240"/>
                  </a:lnTo>
                  <a:lnTo>
                    <a:pt x="111" y="236"/>
                  </a:lnTo>
                  <a:lnTo>
                    <a:pt x="107" y="236"/>
                  </a:lnTo>
                  <a:lnTo>
                    <a:pt x="107" y="232"/>
                  </a:lnTo>
                  <a:lnTo>
                    <a:pt x="107" y="228"/>
                  </a:lnTo>
                  <a:lnTo>
                    <a:pt x="107" y="224"/>
                  </a:lnTo>
                  <a:lnTo>
                    <a:pt x="103" y="224"/>
                  </a:lnTo>
                  <a:lnTo>
                    <a:pt x="107" y="220"/>
                  </a:lnTo>
                  <a:lnTo>
                    <a:pt x="111" y="216"/>
                  </a:lnTo>
                  <a:lnTo>
                    <a:pt x="107" y="212"/>
                  </a:lnTo>
                  <a:lnTo>
                    <a:pt x="107" y="216"/>
                  </a:lnTo>
                  <a:lnTo>
                    <a:pt x="107" y="212"/>
                  </a:lnTo>
                  <a:lnTo>
                    <a:pt x="107" y="208"/>
                  </a:lnTo>
                  <a:lnTo>
                    <a:pt x="103" y="208"/>
                  </a:lnTo>
                  <a:lnTo>
                    <a:pt x="99" y="208"/>
                  </a:lnTo>
                  <a:lnTo>
                    <a:pt x="99" y="204"/>
                  </a:lnTo>
                  <a:lnTo>
                    <a:pt x="99" y="208"/>
                  </a:lnTo>
                  <a:lnTo>
                    <a:pt x="95" y="208"/>
                  </a:lnTo>
                  <a:lnTo>
                    <a:pt x="99" y="208"/>
                  </a:lnTo>
                  <a:lnTo>
                    <a:pt x="99" y="212"/>
                  </a:lnTo>
                  <a:lnTo>
                    <a:pt x="95" y="212"/>
                  </a:lnTo>
                  <a:lnTo>
                    <a:pt x="99" y="216"/>
                  </a:lnTo>
                  <a:lnTo>
                    <a:pt x="95" y="216"/>
                  </a:lnTo>
                  <a:lnTo>
                    <a:pt x="95" y="212"/>
                  </a:lnTo>
                  <a:lnTo>
                    <a:pt x="91" y="212"/>
                  </a:lnTo>
                  <a:lnTo>
                    <a:pt x="95" y="212"/>
                  </a:lnTo>
                  <a:lnTo>
                    <a:pt x="91" y="212"/>
                  </a:lnTo>
                  <a:lnTo>
                    <a:pt x="95" y="212"/>
                  </a:lnTo>
                  <a:lnTo>
                    <a:pt x="91" y="212"/>
                  </a:lnTo>
                  <a:lnTo>
                    <a:pt x="91" y="208"/>
                  </a:lnTo>
                  <a:lnTo>
                    <a:pt x="91" y="212"/>
                  </a:lnTo>
                  <a:lnTo>
                    <a:pt x="87" y="212"/>
                  </a:lnTo>
                  <a:lnTo>
                    <a:pt x="87" y="208"/>
                  </a:lnTo>
                  <a:lnTo>
                    <a:pt x="83" y="208"/>
                  </a:lnTo>
                  <a:lnTo>
                    <a:pt x="83" y="212"/>
                  </a:lnTo>
                  <a:lnTo>
                    <a:pt x="79" y="212"/>
                  </a:lnTo>
                  <a:lnTo>
                    <a:pt x="79" y="216"/>
                  </a:lnTo>
                  <a:close/>
                  <a:moveTo>
                    <a:pt x="135" y="176"/>
                  </a:moveTo>
                  <a:lnTo>
                    <a:pt x="135" y="172"/>
                  </a:lnTo>
                  <a:lnTo>
                    <a:pt x="135" y="176"/>
                  </a:lnTo>
                  <a:close/>
                  <a:moveTo>
                    <a:pt x="115" y="184"/>
                  </a:moveTo>
                  <a:lnTo>
                    <a:pt x="115" y="180"/>
                  </a:lnTo>
                  <a:lnTo>
                    <a:pt x="119" y="180"/>
                  </a:lnTo>
                  <a:lnTo>
                    <a:pt x="119" y="184"/>
                  </a:lnTo>
                  <a:lnTo>
                    <a:pt x="115" y="184"/>
                  </a:lnTo>
                  <a:close/>
                  <a:moveTo>
                    <a:pt x="131" y="224"/>
                  </a:moveTo>
                  <a:lnTo>
                    <a:pt x="131" y="220"/>
                  </a:lnTo>
                  <a:lnTo>
                    <a:pt x="131" y="224"/>
                  </a:lnTo>
                  <a:close/>
                  <a:moveTo>
                    <a:pt x="75" y="232"/>
                  </a:moveTo>
                  <a:lnTo>
                    <a:pt x="71" y="228"/>
                  </a:lnTo>
                  <a:lnTo>
                    <a:pt x="75" y="228"/>
                  </a:lnTo>
                  <a:lnTo>
                    <a:pt x="79" y="228"/>
                  </a:lnTo>
                  <a:lnTo>
                    <a:pt x="79" y="232"/>
                  </a:lnTo>
                  <a:lnTo>
                    <a:pt x="75" y="232"/>
                  </a:lnTo>
                  <a:close/>
                  <a:moveTo>
                    <a:pt x="64" y="244"/>
                  </a:moveTo>
                  <a:lnTo>
                    <a:pt x="64" y="240"/>
                  </a:lnTo>
                  <a:lnTo>
                    <a:pt x="60" y="244"/>
                  </a:lnTo>
                  <a:lnTo>
                    <a:pt x="60" y="240"/>
                  </a:lnTo>
                  <a:lnTo>
                    <a:pt x="64" y="240"/>
                  </a:lnTo>
                  <a:lnTo>
                    <a:pt x="67" y="240"/>
                  </a:lnTo>
                  <a:lnTo>
                    <a:pt x="64" y="244"/>
                  </a:lnTo>
                  <a:close/>
                  <a:moveTo>
                    <a:pt x="44" y="256"/>
                  </a:moveTo>
                  <a:lnTo>
                    <a:pt x="44" y="252"/>
                  </a:lnTo>
                  <a:lnTo>
                    <a:pt x="48" y="252"/>
                  </a:lnTo>
                  <a:lnTo>
                    <a:pt x="48" y="256"/>
                  </a:lnTo>
                  <a:lnTo>
                    <a:pt x="44" y="2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1" name="Freeform 38"/>
            <p:cNvSpPr>
              <a:spLocks/>
            </p:cNvSpPr>
            <p:nvPr>
              <p:custDataLst>
                <p:tags r:id="rId234"/>
              </p:custDataLst>
            </p:nvPr>
          </p:nvSpPr>
          <p:spPr bwMode="gray">
            <a:xfrm>
              <a:off x="5518020" y="3876668"/>
              <a:ext cx="16313" cy="41526"/>
            </a:xfrm>
            <a:custGeom>
              <a:avLst/>
              <a:gdLst/>
              <a:ahLst/>
              <a:cxnLst>
                <a:cxn ang="0">
                  <a:pos x="8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1" y="4"/>
                </a:cxn>
                <a:cxn ang="0">
                  <a:pos x="11" y="8"/>
                </a:cxn>
                <a:cxn ang="0">
                  <a:pos x="11" y="8"/>
                </a:cxn>
                <a:cxn ang="0">
                  <a:pos x="8" y="8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1" y="12"/>
                </a:cxn>
                <a:cxn ang="0">
                  <a:pos x="8" y="16"/>
                </a:cxn>
                <a:cxn ang="0">
                  <a:pos x="11" y="16"/>
                </a:cxn>
                <a:cxn ang="0">
                  <a:pos x="11" y="16"/>
                </a:cxn>
                <a:cxn ang="0">
                  <a:pos x="11" y="16"/>
                </a:cxn>
                <a:cxn ang="0">
                  <a:pos x="11" y="24"/>
                </a:cxn>
                <a:cxn ang="0">
                  <a:pos x="8" y="24"/>
                </a:cxn>
                <a:cxn ang="0">
                  <a:pos x="8" y="24"/>
                </a:cxn>
              </a:cxnLst>
              <a:rect l="0" t="0" r="r" b="b"/>
              <a:pathLst>
                <a:path w="11" h="28">
                  <a:moveTo>
                    <a:pt x="8" y="24"/>
                  </a:move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20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2" name="Freeform 39"/>
            <p:cNvSpPr>
              <a:spLocks noEditPoints="1"/>
            </p:cNvSpPr>
            <p:nvPr>
              <p:custDataLst>
                <p:tags r:id="rId235"/>
              </p:custDataLst>
            </p:nvPr>
          </p:nvSpPr>
          <p:spPr bwMode="gray">
            <a:xfrm>
              <a:off x="5150220" y="3698701"/>
              <a:ext cx="473097" cy="449368"/>
            </a:xfrm>
            <a:custGeom>
              <a:avLst/>
              <a:gdLst/>
              <a:ahLst/>
              <a:cxnLst>
                <a:cxn ang="0">
                  <a:pos x="248" y="259"/>
                </a:cxn>
                <a:cxn ang="0">
                  <a:pos x="200" y="283"/>
                </a:cxn>
                <a:cxn ang="0">
                  <a:pos x="184" y="287"/>
                </a:cxn>
                <a:cxn ang="0">
                  <a:pos x="152" y="283"/>
                </a:cxn>
                <a:cxn ang="0">
                  <a:pos x="140" y="283"/>
                </a:cxn>
                <a:cxn ang="0">
                  <a:pos x="132" y="291"/>
                </a:cxn>
                <a:cxn ang="0">
                  <a:pos x="128" y="303"/>
                </a:cxn>
                <a:cxn ang="0">
                  <a:pos x="120" y="295"/>
                </a:cxn>
                <a:cxn ang="0">
                  <a:pos x="120" y="287"/>
                </a:cxn>
                <a:cxn ang="0">
                  <a:pos x="112" y="275"/>
                </a:cxn>
                <a:cxn ang="0">
                  <a:pos x="104" y="267"/>
                </a:cxn>
                <a:cxn ang="0">
                  <a:pos x="104" y="255"/>
                </a:cxn>
                <a:cxn ang="0">
                  <a:pos x="96" y="243"/>
                </a:cxn>
                <a:cxn ang="0">
                  <a:pos x="88" y="235"/>
                </a:cxn>
                <a:cxn ang="0">
                  <a:pos x="80" y="227"/>
                </a:cxn>
                <a:cxn ang="0">
                  <a:pos x="72" y="220"/>
                </a:cxn>
                <a:cxn ang="0">
                  <a:pos x="68" y="204"/>
                </a:cxn>
                <a:cxn ang="0">
                  <a:pos x="68" y="188"/>
                </a:cxn>
                <a:cxn ang="0">
                  <a:pos x="68" y="180"/>
                </a:cxn>
                <a:cxn ang="0">
                  <a:pos x="60" y="164"/>
                </a:cxn>
                <a:cxn ang="0">
                  <a:pos x="48" y="152"/>
                </a:cxn>
                <a:cxn ang="0">
                  <a:pos x="44" y="148"/>
                </a:cxn>
                <a:cxn ang="0">
                  <a:pos x="40" y="136"/>
                </a:cxn>
                <a:cxn ang="0">
                  <a:pos x="36" y="128"/>
                </a:cxn>
                <a:cxn ang="0">
                  <a:pos x="28" y="120"/>
                </a:cxn>
                <a:cxn ang="0">
                  <a:pos x="24" y="104"/>
                </a:cxn>
                <a:cxn ang="0">
                  <a:pos x="16" y="96"/>
                </a:cxn>
                <a:cxn ang="0">
                  <a:pos x="12" y="84"/>
                </a:cxn>
                <a:cxn ang="0">
                  <a:pos x="4" y="76"/>
                </a:cxn>
                <a:cxn ang="0">
                  <a:pos x="4" y="60"/>
                </a:cxn>
                <a:cxn ang="0">
                  <a:pos x="24" y="60"/>
                </a:cxn>
                <a:cxn ang="0">
                  <a:pos x="40" y="44"/>
                </a:cxn>
                <a:cxn ang="0">
                  <a:pos x="48" y="24"/>
                </a:cxn>
                <a:cxn ang="0">
                  <a:pos x="40" y="12"/>
                </a:cxn>
                <a:cxn ang="0">
                  <a:pos x="60" y="8"/>
                </a:cxn>
                <a:cxn ang="0">
                  <a:pos x="84" y="4"/>
                </a:cxn>
                <a:cxn ang="0">
                  <a:pos x="128" y="32"/>
                </a:cxn>
                <a:cxn ang="0">
                  <a:pos x="176" y="60"/>
                </a:cxn>
                <a:cxn ang="0">
                  <a:pos x="196" y="64"/>
                </a:cxn>
                <a:cxn ang="0">
                  <a:pos x="212" y="72"/>
                </a:cxn>
                <a:cxn ang="0">
                  <a:pos x="216" y="84"/>
                </a:cxn>
                <a:cxn ang="0">
                  <a:pos x="220" y="92"/>
                </a:cxn>
                <a:cxn ang="0">
                  <a:pos x="220" y="92"/>
                </a:cxn>
                <a:cxn ang="0">
                  <a:pos x="228" y="104"/>
                </a:cxn>
                <a:cxn ang="0">
                  <a:pos x="236" y="112"/>
                </a:cxn>
                <a:cxn ang="0">
                  <a:pos x="236" y="120"/>
                </a:cxn>
                <a:cxn ang="0">
                  <a:pos x="240" y="132"/>
                </a:cxn>
                <a:cxn ang="0">
                  <a:pos x="248" y="144"/>
                </a:cxn>
                <a:cxn ang="0">
                  <a:pos x="256" y="152"/>
                </a:cxn>
                <a:cxn ang="0">
                  <a:pos x="259" y="156"/>
                </a:cxn>
                <a:cxn ang="0">
                  <a:pos x="315" y="212"/>
                </a:cxn>
                <a:cxn ang="0">
                  <a:pos x="112" y="291"/>
                </a:cxn>
                <a:cxn ang="0">
                  <a:pos x="108" y="295"/>
                </a:cxn>
                <a:cxn ang="0">
                  <a:pos x="116" y="295"/>
                </a:cxn>
              </a:cxnLst>
              <a:rect l="0" t="0" r="r" b="b"/>
              <a:pathLst>
                <a:path w="319" h="303">
                  <a:moveTo>
                    <a:pt x="311" y="235"/>
                  </a:moveTo>
                  <a:lnTo>
                    <a:pt x="263" y="255"/>
                  </a:lnTo>
                  <a:lnTo>
                    <a:pt x="252" y="255"/>
                  </a:lnTo>
                  <a:lnTo>
                    <a:pt x="248" y="259"/>
                  </a:lnTo>
                  <a:lnTo>
                    <a:pt x="220" y="259"/>
                  </a:lnTo>
                  <a:lnTo>
                    <a:pt x="208" y="271"/>
                  </a:lnTo>
                  <a:lnTo>
                    <a:pt x="204" y="279"/>
                  </a:lnTo>
                  <a:lnTo>
                    <a:pt x="200" y="283"/>
                  </a:lnTo>
                  <a:lnTo>
                    <a:pt x="196" y="291"/>
                  </a:lnTo>
                  <a:lnTo>
                    <a:pt x="192" y="291"/>
                  </a:lnTo>
                  <a:lnTo>
                    <a:pt x="188" y="291"/>
                  </a:lnTo>
                  <a:lnTo>
                    <a:pt x="184" y="287"/>
                  </a:lnTo>
                  <a:lnTo>
                    <a:pt x="180" y="287"/>
                  </a:lnTo>
                  <a:lnTo>
                    <a:pt x="176" y="287"/>
                  </a:lnTo>
                  <a:lnTo>
                    <a:pt x="164" y="283"/>
                  </a:lnTo>
                  <a:lnTo>
                    <a:pt x="152" y="283"/>
                  </a:lnTo>
                  <a:lnTo>
                    <a:pt x="148" y="283"/>
                  </a:lnTo>
                  <a:lnTo>
                    <a:pt x="144" y="283"/>
                  </a:lnTo>
                  <a:lnTo>
                    <a:pt x="144" y="287"/>
                  </a:lnTo>
                  <a:lnTo>
                    <a:pt x="140" y="283"/>
                  </a:lnTo>
                  <a:lnTo>
                    <a:pt x="136" y="283"/>
                  </a:lnTo>
                  <a:lnTo>
                    <a:pt x="132" y="283"/>
                  </a:lnTo>
                  <a:lnTo>
                    <a:pt x="132" y="287"/>
                  </a:lnTo>
                  <a:lnTo>
                    <a:pt x="132" y="291"/>
                  </a:lnTo>
                  <a:lnTo>
                    <a:pt x="132" y="295"/>
                  </a:lnTo>
                  <a:lnTo>
                    <a:pt x="132" y="299"/>
                  </a:lnTo>
                  <a:lnTo>
                    <a:pt x="128" y="299"/>
                  </a:lnTo>
                  <a:lnTo>
                    <a:pt x="128" y="303"/>
                  </a:lnTo>
                  <a:lnTo>
                    <a:pt x="124" y="303"/>
                  </a:lnTo>
                  <a:lnTo>
                    <a:pt x="124" y="299"/>
                  </a:lnTo>
                  <a:lnTo>
                    <a:pt x="124" y="295"/>
                  </a:lnTo>
                  <a:lnTo>
                    <a:pt x="120" y="295"/>
                  </a:lnTo>
                  <a:lnTo>
                    <a:pt x="120" y="291"/>
                  </a:lnTo>
                  <a:lnTo>
                    <a:pt x="120" y="287"/>
                  </a:lnTo>
                  <a:lnTo>
                    <a:pt x="120" y="291"/>
                  </a:lnTo>
                  <a:lnTo>
                    <a:pt x="120" y="287"/>
                  </a:lnTo>
                  <a:lnTo>
                    <a:pt x="120" y="283"/>
                  </a:lnTo>
                  <a:lnTo>
                    <a:pt x="116" y="283"/>
                  </a:lnTo>
                  <a:lnTo>
                    <a:pt x="116" y="279"/>
                  </a:lnTo>
                  <a:lnTo>
                    <a:pt x="112" y="275"/>
                  </a:lnTo>
                  <a:lnTo>
                    <a:pt x="108" y="275"/>
                  </a:lnTo>
                  <a:lnTo>
                    <a:pt x="108" y="271"/>
                  </a:lnTo>
                  <a:lnTo>
                    <a:pt x="108" y="267"/>
                  </a:lnTo>
                  <a:lnTo>
                    <a:pt x="104" y="267"/>
                  </a:lnTo>
                  <a:lnTo>
                    <a:pt x="104" y="263"/>
                  </a:lnTo>
                  <a:lnTo>
                    <a:pt x="104" y="259"/>
                  </a:lnTo>
                  <a:lnTo>
                    <a:pt x="100" y="259"/>
                  </a:lnTo>
                  <a:lnTo>
                    <a:pt x="104" y="255"/>
                  </a:lnTo>
                  <a:lnTo>
                    <a:pt x="100" y="255"/>
                  </a:lnTo>
                  <a:lnTo>
                    <a:pt x="100" y="251"/>
                  </a:lnTo>
                  <a:lnTo>
                    <a:pt x="96" y="247"/>
                  </a:lnTo>
                  <a:lnTo>
                    <a:pt x="96" y="243"/>
                  </a:lnTo>
                  <a:lnTo>
                    <a:pt x="96" y="239"/>
                  </a:lnTo>
                  <a:lnTo>
                    <a:pt x="92" y="239"/>
                  </a:lnTo>
                  <a:lnTo>
                    <a:pt x="92" y="235"/>
                  </a:lnTo>
                  <a:lnTo>
                    <a:pt x="88" y="235"/>
                  </a:lnTo>
                  <a:lnTo>
                    <a:pt x="88" y="231"/>
                  </a:lnTo>
                  <a:lnTo>
                    <a:pt x="84" y="231"/>
                  </a:lnTo>
                  <a:lnTo>
                    <a:pt x="80" y="231"/>
                  </a:lnTo>
                  <a:lnTo>
                    <a:pt x="80" y="227"/>
                  </a:lnTo>
                  <a:lnTo>
                    <a:pt x="76" y="227"/>
                  </a:lnTo>
                  <a:lnTo>
                    <a:pt x="76" y="224"/>
                  </a:lnTo>
                  <a:lnTo>
                    <a:pt x="76" y="220"/>
                  </a:lnTo>
                  <a:lnTo>
                    <a:pt x="72" y="220"/>
                  </a:lnTo>
                  <a:lnTo>
                    <a:pt x="72" y="216"/>
                  </a:lnTo>
                  <a:lnTo>
                    <a:pt x="68" y="212"/>
                  </a:lnTo>
                  <a:lnTo>
                    <a:pt x="72" y="208"/>
                  </a:lnTo>
                  <a:lnTo>
                    <a:pt x="68" y="204"/>
                  </a:lnTo>
                  <a:lnTo>
                    <a:pt x="68" y="200"/>
                  </a:lnTo>
                  <a:lnTo>
                    <a:pt x="68" y="196"/>
                  </a:lnTo>
                  <a:lnTo>
                    <a:pt x="68" y="192"/>
                  </a:lnTo>
                  <a:lnTo>
                    <a:pt x="68" y="188"/>
                  </a:lnTo>
                  <a:lnTo>
                    <a:pt x="68" y="184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8" y="180"/>
                  </a:lnTo>
                  <a:lnTo>
                    <a:pt x="64" y="176"/>
                  </a:lnTo>
                  <a:lnTo>
                    <a:pt x="64" y="172"/>
                  </a:lnTo>
                  <a:lnTo>
                    <a:pt x="60" y="168"/>
                  </a:lnTo>
                  <a:lnTo>
                    <a:pt x="60" y="164"/>
                  </a:lnTo>
                  <a:lnTo>
                    <a:pt x="56" y="160"/>
                  </a:lnTo>
                  <a:lnTo>
                    <a:pt x="52" y="156"/>
                  </a:lnTo>
                  <a:lnTo>
                    <a:pt x="48" y="156"/>
                  </a:lnTo>
                  <a:lnTo>
                    <a:pt x="48" y="152"/>
                  </a:lnTo>
                  <a:lnTo>
                    <a:pt x="48" y="156"/>
                  </a:lnTo>
                  <a:lnTo>
                    <a:pt x="44" y="156"/>
                  </a:lnTo>
                  <a:lnTo>
                    <a:pt x="44" y="152"/>
                  </a:lnTo>
                  <a:lnTo>
                    <a:pt x="44" y="148"/>
                  </a:lnTo>
                  <a:lnTo>
                    <a:pt x="40" y="148"/>
                  </a:lnTo>
                  <a:lnTo>
                    <a:pt x="40" y="144"/>
                  </a:lnTo>
                  <a:lnTo>
                    <a:pt x="40" y="140"/>
                  </a:lnTo>
                  <a:lnTo>
                    <a:pt x="40" y="136"/>
                  </a:lnTo>
                  <a:lnTo>
                    <a:pt x="40" y="132"/>
                  </a:lnTo>
                  <a:lnTo>
                    <a:pt x="36" y="128"/>
                  </a:lnTo>
                  <a:lnTo>
                    <a:pt x="36" y="124"/>
                  </a:lnTo>
                  <a:lnTo>
                    <a:pt x="36" y="128"/>
                  </a:lnTo>
                  <a:lnTo>
                    <a:pt x="32" y="128"/>
                  </a:lnTo>
                  <a:lnTo>
                    <a:pt x="32" y="124"/>
                  </a:lnTo>
                  <a:lnTo>
                    <a:pt x="32" y="120"/>
                  </a:lnTo>
                  <a:lnTo>
                    <a:pt x="28" y="120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0" y="104"/>
                  </a:lnTo>
                  <a:lnTo>
                    <a:pt x="20" y="100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24" y="60"/>
                  </a:lnTo>
                  <a:lnTo>
                    <a:pt x="28" y="56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40" y="44"/>
                  </a:lnTo>
                  <a:lnTo>
                    <a:pt x="44" y="44"/>
                  </a:lnTo>
                  <a:lnTo>
                    <a:pt x="48" y="36"/>
                  </a:lnTo>
                  <a:lnTo>
                    <a:pt x="52" y="32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0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8"/>
                  </a:lnTo>
                  <a:lnTo>
                    <a:pt x="60" y="8"/>
                  </a:lnTo>
                  <a:lnTo>
                    <a:pt x="68" y="4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104" y="16"/>
                  </a:lnTo>
                  <a:lnTo>
                    <a:pt x="116" y="20"/>
                  </a:lnTo>
                  <a:lnTo>
                    <a:pt x="128" y="32"/>
                  </a:lnTo>
                  <a:lnTo>
                    <a:pt x="128" y="36"/>
                  </a:lnTo>
                  <a:lnTo>
                    <a:pt x="140" y="44"/>
                  </a:lnTo>
                  <a:lnTo>
                    <a:pt x="156" y="60"/>
                  </a:lnTo>
                  <a:lnTo>
                    <a:pt x="176" y="60"/>
                  </a:lnTo>
                  <a:lnTo>
                    <a:pt x="180" y="60"/>
                  </a:lnTo>
                  <a:lnTo>
                    <a:pt x="184" y="60"/>
                  </a:lnTo>
                  <a:lnTo>
                    <a:pt x="188" y="60"/>
                  </a:lnTo>
                  <a:lnTo>
                    <a:pt x="196" y="64"/>
                  </a:lnTo>
                  <a:lnTo>
                    <a:pt x="200" y="68"/>
                  </a:lnTo>
                  <a:lnTo>
                    <a:pt x="200" y="72"/>
                  </a:lnTo>
                  <a:lnTo>
                    <a:pt x="208" y="72"/>
                  </a:lnTo>
                  <a:lnTo>
                    <a:pt x="212" y="72"/>
                  </a:lnTo>
                  <a:lnTo>
                    <a:pt x="212" y="76"/>
                  </a:lnTo>
                  <a:lnTo>
                    <a:pt x="212" y="80"/>
                  </a:lnTo>
                  <a:lnTo>
                    <a:pt x="216" y="80"/>
                  </a:lnTo>
                  <a:lnTo>
                    <a:pt x="216" y="84"/>
                  </a:lnTo>
                  <a:lnTo>
                    <a:pt x="216" y="88"/>
                  </a:lnTo>
                  <a:lnTo>
                    <a:pt x="216" y="84"/>
                  </a:lnTo>
                  <a:lnTo>
                    <a:pt x="216" y="88"/>
                  </a:lnTo>
                  <a:lnTo>
                    <a:pt x="220" y="92"/>
                  </a:lnTo>
                  <a:lnTo>
                    <a:pt x="220" y="88"/>
                  </a:lnTo>
                  <a:lnTo>
                    <a:pt x="220" y="92"/>
                  </a:lnTo>
                  <a:lnTo>
                    <a:pt x="224" y="92"/>
                  </a:lnTo>
                  <a:lnTo>
                    <a:pt x="220" y="92"/>
                  </a:lnTo>
                  <a:lnTo>
                    <a:pt x="224" y="96"/>
                  </a:lnTo>
                  <a:lnTo>
                    <a:pt x="224" y="100"/>
                  </a:lnTo>
                  <a:lnTo>
                    <a:pt x="228" y="100"/>
                  </a:lnTo>
                  <a:lnTo>
                    <a:pt x="228" y="104"/>
                  </a:lnTo>
                  <a:lnTo>
                    <a:pt x="232" y="104"/>
                  </a:lnTo>
                  <a:lnTo>
                    <a:pt x="236" y="104"/>
                  </a:lnTo>
                  <a:lnTo>
                    <a:pt x="236" y="108"/>
                  </a:lnTo>
                  <a:lnTo>
                    <a:pt x="236" y="112"/>
                  </a:lnTo>
                  <a:lnTo>
                    <a:pt x="240" y="116"/>
                  </a:lnTo>
                  <a:lnTo>
                    <a:pt x="236" y="120"/>
                  </a:lnTo>
                  <a:lnTo>
                    <a:pt x="236" y="116"/>
                  </a:lnTo>
                  <a:lnTo>
                    <a:pt x="236" y="120"/>
                  </a:lnTo>
                  <a:lnTo>
                    <a:pt x="236" y="124"/>
                  </a:lnTo>
                  <a:lnTo>
                    <a:pt x="240" y="128"/>
                  </a:lnTo>
                  <a:lnTo>
                    <a:pt x="236" y="128"/>
                  </a:lnTo>
                  <a:lnTo>
                    <a:pt x="240" y="132"/>
                  </a:lnTo>
                  <a:lnTo>
                    <a:pt x="244" y="132"/>
                  </a:lnTo>
                  <a:lnTo>
                    <a:pt x="244" y="136"/>
                  </a:lnTo>
                  <a:lnTo>
                    <a:pt x="244" y="140"/>
                  </a:lnTo>
                  <a:lnTo>
                    <a:pt x="248" y="144"/>
                  </a:lnTo>
                  <a:lnTo>
                    <a:pt x="248" y="148"/>
                  </a:lnTo>
                  <a:lnTo>
                    <a:pt x="252" y="148"/>
                  </a:lnTo>
                  <a:lnTo>
                    <a:pt x="256" y="148"/>
                  </a:lnTo>
                  <a:lnTo>
                    <a:pt x="256" y="152"/>
                  </a:lnTo>
                  <a:lnTo>
                    <a:pt x="256" y="156"/>
                  </a:lnTo>
                  <a:lnTo>
                    <a:pt x="256" y="152"/>
                  </a:lnTo>
                  <a:lnTo>
                    <a:pt x="256" y="156"/>
                  </a:lnTo>
                  <a:lnTo>
                    <a:pt x="259" y="156"/>
                  </a:lnTo>
                  <a:lnTo>
                    <a:pt x="275" y="180"/>
                  </a:lnTo>
                  <a:lnTo>
                    <a:pt x="311" y="184"/>
                  </a:lnTo>
                  <a:lnTo>
                    <a:pt x="319" y="196"/>
                  </a:lnTo>
                  <a:lnTo>
                    <a:pt x="315" y="212"/>
                  </a:lnTo>
                  <a:lnTo>
                    <a:pt x="311" y="235"/>
                  </a:lnTo>
                  <a:close/>
                  <a:moveTo>
                    <a:pt x="112" y="291"/>
                  </a:moveTo>
                  <a:lnTo>
                    <a:pt x="112" y="295"/>
                  </a:lnTo>
                  <a:lnTo>
                    <a:pt x="112" y="291"/>
                  </a:lnTo>
                  <a:close/>
                  <a:moveTo>
                    <a:pt x="116" y="299"/>
                  </a:moveTo>
                  <a:lnTo>
                    <a:pt x="112" y="299"/>
                  </a:lnTo>
                  <a:lnTo>
                    <a:pt x="112" y="295"/>
                  </a:lnTo>
                  <a:lnTo>
                    <a:pt x="108" y="295"/>
                  </a:lnTo>
                  <a:lnTo>
                    <a:pt x="112" y="295"/>
                  </a:lnTo>
                  <a:lnTo>
                    <a:pt x="116" y="295"/>
                  </a:lnTo>
                  <a:lnTo>
                    <a:pt x="112" y="295"/>
                  </a:lnTo>
                  <a:lnTo>
                    <a:pt x="116" y="295"/>
                  </a:lnTo>
                  <a:lnTo>
                    <a:pt x="116" y="29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3" name="Freeform 40"/>
            <p:cNvSpPr>
              <a:spLocks/>
            </p:cNvSpPr>
            <p:nvPr>
              <p:custDataLst>
                <p:tags r:id="rId236"/>
              </p:custDataLst>
            </p:nvPr>
          </p:nvSpPr>
          <p:spPr bwMode="gray">
            <a:xfrm>
              <a:off x="6700022" y="4557395"/>
              <a:ext cx="11865" cy="5932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</a:cxnLst>
              <a:rect l="0" t="0" r="r" b="b"/>
              <a:pathLst>
                <a:path w="8" h="4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4" name="Freeform 41"/>
            <p:cNvSpPr>
              <a:spLocks noEditPoints="1"/>
            </p:cNvSpPr>
            <p:nvPr>
              <p:custDataLst>
                <p:tags r:id="rId237"/>
              </p:custDataLst>
            </p:nvPr>
          </p:nvSpPr>
          <p:spPr bwMode="gray">
            <a:xfrm>
              <a:off x="7208713" y="3508868"/>
              <a:ext cx="77119" cy="160171"/>
            </a:xfrm>
            <a:custGeom>
              <a:avLst/>
              <a:gdLst/>
              <a:ahLst/>
              <a:cxnLst>
                <a:cxn ang="0">
                  <a:pos x="4" y="44"/>
                </a:cxn>
                <a:cxn ang="0">
                  <a:pos x="0" y="36"/>
                </a:cxn>
                <a:cxn ang="0">
                  <a:pos x="0" y="40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4" y="32"/>
                </a:cxn>
                <a:cxn ang="0">
                  <a:pos x="12" y="36"/>
                </a:cxn>
                <a:cxn ang="0">
                  <a:pos x="8" y="28"/>
                </a:cxn>
                <a:cxn ang="0">
                  <a:pos x="4" y="20"/>
                </a:cxn>
                <a:cxn ang="0">
                  <a:pos x="8" y="12"/>
                </a:cxn>
                <a:cxn ang="0">
                  <a:pos x="16" y="4"/>
                </a:cxn>
                <a:cxn ang="0">
                  <a:pos x="28" y="4"/>
                </a:cxn>
                <a:cxn ang="0">
                  <a:pos x="36" y="4"/>
                </a:cxn>
                <a:cxn ang="0">
                  <a:pos x="40" y="16"/>
                </a:cxn>
                <a:cxn ang="0">
                  <a:pos x="48" y="24"/>
                </a:cxn>
                <a:cxn ang="0">
                  <a:pos x="48" y="36"/>
                </a:cxn>
                <a:cxn ang="0">
                  <a:pos x="48" y="52"/>
                </a:cxn>
                <a:cxn ang="0">
                  <a:pos x="48" y="64"/>
                </a:cxn>
                <a:cxn ang="0">
                  <a:pos x="40" y="68"/>
                </a:cxn>
                <a:cxn ang="0">
                  <a:pos x="32" y="72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0" y="72"/>
                </a:cxn>
                <a:cxn ang="0">
                  <a:pos x="20" y="80"/>
                </a:cxn>
                <a:cxn ang="0">
                  <a:pos x="16" y="80"/>
                </a:cxn>
                <a:cxn ang="0">
                  <a:pos x="16" y="80"/>
                </a:cxn>
                <a:cxn ang="0">
                  <a:pos x="16" y="76"/>
                </a:cxn>
                <a:cxn ang="0">
                  <a:pos x="8" y="84"/>
                </a:cxn>
                <a:cxn ang="0">
                  <a:pos x="4" y="88"/>
                </a:cxn>
                <a:cxn ang="0">
                  <a:pos x="0" y="80"/>
                </a:cxn>
                <a:cxn ang="0">
                  <a:pos x="4" y="76"/>
                </a:cxn>
                <a:cxn ang="0">
                  <a:pos x="4" y="72"/>
                </a:cxn>
                <a:cxn ang="0">
                  <a:pos x="4" y="72"/>
                </a:cxn>
                <a:cxn ang="0">
                  <a:pos x="4" y="60"/>
                </a:cxn>
                <a:cxn ang="0">
                  <a:pos x="8" y="56"/>
                </a:cxn>
                <a:cxn ang="0">
                  <a:pos x="4" y="52"/>
                </a:cxn>
                <a:cxn ang="0">
                  <a:pos x="4" y="20"/>
                </a:cxn>
                <a:cxn ang="0">
                  <a:pos x="0" y="44"/>
                </a:cxn>
                <a:cxn ang="0">
                  <a:pos x="4" y="44"/>
                </a:cxn>
                <a:cxn ang="0">
                  <a:pos x="36" y="76"/>
                </a:cxn>
                <a:cxn ang="0">
                  <a:pos x="28" y="72"/>
                </a:cxn>
                <a:cxn ang="0">
                  <a:pos x="28" y="80"/>
                </a:cxn>
                <a:cxn ang="0">
                  <a:pos x="28" y="72"/>
                </a:cxn>
                <a:cxn ang="0">
                  <a:pos x="0" y="80"/>
                </a:cxn>
                <a:cxn ang="0">
                  <a:pos x="12" y="100"/>
                </a:cxn>
                <a:cxn ang="0">
                  <a:pos x="8" y="108"/>
                </a:cxn>
                <a:cxn ang="0">
                  <a:pos x="0" y="104"/>
                </a:cxn>
              </a:cxnLst>
              <a:rect l="0" t="0" r="r" b="b"/>
              <a:pathLst>
                <a:path w="52" h="108">
                  <a:moveTo>
                    <a:pt x="8" y="52"/>
                  </a:moveTo>
                  <a:lnTo>
                    <a:pt x="4" y="48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48" y="52"/>
                  </a:lnTo>
                  <a:lnTo>
                    <a:pt x="52" y="52"/>
                  </a:lnTo>
                  <a:lnTo>
                    <a:pt x="48" y="60"/>
                  </a:lnTo>
                  <a:lnTo>
                    <a:pt x="48" y="64"/>
                  </a:lnTo>
                  <a:lnTo>
                    <a:pt x="44" y="68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40" y="72"/>
                  </a:lnTo>
                  <a:lnTo>
                    <a:pt x="36" y="68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36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8" y="72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0" y="76"/>
                  </a:lnTo>
                  <a:lnTo>
                    <a:pt x="24" y="76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16" y="84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2" y="80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84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8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6"/>
                  </a:lnTo>
                  <a:lnTo>
                    <a:pt x="4" y="52"/>
                  </a:lnTo>
                  <a:lnTo>
                    <a:pt x="8" y="52"/>
                  </a:lnTo>
                  <a:close/>
                  <a:moveTo>
                    <a:pt x="4" y="16"/>
                  </a:moveTo>
                  <a:lnTo>
                    <a:pt x="4" y="20"/>
                  </a:lnTo>
                  <a:lnTo>
                    <a:pt x="4" y="16"/>
                  </a:lnTo>
                  <a:close/>
                  <a:moveTo>
                    <a:pt x="4" y="44"/>
                  </a:moveTo>
                  <a:lnTo>
                    <a:pt x="0" y="44"/>
                  </a:lnTo>
                  <a:lnTo>
                    <a:pt x="0" y="40"/>
                  </a:lnTo>
                  <a:lnTo>
                    <a:pt x="4" y="40"/>
                  </a:lnTo>
                  <a:lnTo>
                    <a:pt x="4" y="44"/>
                  </a:lnTo>
                  <a:close/>
                  <a:moveTo>
                    <a:pt x="40" y="72"/>
                  </a:moveTo>
                  <a:lnTo>
                    <a:pt x="40" y="76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72"/>
                  </a:lnTo>
                  <a:close/>
                  <a:moveTo>
                    <a:pt x="28" y="72"/>
                  </a:moveTo>
                  <a:lnTo>
                    <a:pt x="24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8" y="72"/>
                  </a:lnTo>
                  <a:close/>
                  <a:moveTo>
                    <a:pt x="4" y="84"/>
                  </a:moveTo>
                  <a:lnTo>
                    <a:pt x="0" y="84"/>
                  </a:lnTo>
                  <a:lnTo>
                    <a:pt x="0" y="80"/>
                  </a:lnTo>
                  <a:lnTo>
                    <a:pt x="4" y="84"/>
                  </a:lnTo>
                  <a:close/>
                  <a:moveTo>
                    <a:pt x="8" y="100"/>
                  </a:moveTo>
                  <a:lnTo>
                    <a:pt x="12" y="100"/>
                  </a:lnTo>
                  <a:lnTo>
                    <a:pt x="12" y="104"/>
                  </a:lnTo>
                  <a:lnTo>
                    <a:pt x="8" y="104"/>
                  </a:lnTo>
                  <a:lnTo>
                    <a:pt x="8" y="108"/>
                  </a:lnTo>
                  <a:lnTo>
                    <a:pt x="4" y="108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4" y="104"/>
                  </a:lnTo>
                  <a:lnTo>
                    <a:pt x="8" y="1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5" name="Freeform 42"/>
            <p:cNvSpPr>
              <a:spLocks noEditPoints="1"/>
            </p:cNvSpPr>
            <p:nvPr>
              <p:custDataLst>
                <p:tags r:id="rId238"/>
              </p:custDataLst>
            </p:nvPr>
          </p:nvSpPr>
          <p:spPr bwMode="gray">
            <a:xfrm>
              <a:off x="6943245" y="4302308"/>
              <a:ext cx="35594" cy="29661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</a:cxnLst>
              <a:rect l="0" t="0" r="r" b="b"/>
              <a:pathLst>
                <a:path w="24" h="20">
                  <a:moveTo>
                    <a:pt x="24" y="0"/>
                  </a:move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close/>
                  <a:moveTo>
                    <a:pt x="0" y="20"/>
                  </a:move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6" name="Freeform 43"/>
            <p:cNvSpPr>
              <a:spLocks noEditPoints="1"/>
            </p:cNvSpPr>
            <p:nvPr>
              <p:custDataLst>
                <p:tags r:id="rId239"/>
              </p:custDataLst>
            </p:nvPr>
          </p:nvSpPr>
          <p:spPr bwMode="gray">
            <a:xfrm>
              <a:off x="6161670" y="4326037"/>
              <a:ext cx="53390" cy="106781"/>
            </a:xfrm>
            <a:custGeom>
              <a:avLst/>
              <a:gdLst/>
              <a:ahLst/>
              <a:cxnLst>
                <a:cxn ang="0">
                  <a:pos x="4" y="16"/>
                </a:cxn>
                <a:cxn ang="0">
                  <a:pos x="0" y="16"/>
                </a:cxn>
                <a:cxn ang="0">
                  <a:pos x="32" y="60"/>
                </a:cxn>
                <a:cxn ang="0">
                  <a:pos x="32" y="64"/>
                </a:cxn>
                <a:cxn ang="0">
                  <a:pos x="28" y="68"/>
                </a:cxn>
                <a:cxn ang="0">
                  <a:pos x="20" y="72"/>
                </a:cxn>
                <a:cxn ang="0">
                  <a:pos x="16" y="72"/>
                </a:cxn>
                <a:cxn ang="0">
                  <a:pos x="8" y="72"/>
                </a:cxn>
                <a:cxn ang="0">
                  <a:pos x="8" y="64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8" y="4"/>
                </a:cxn>
                <a:cxn ang="0">
                  <a:pos x="12" y="0"/>
                </a:cxn>
                <a:cxn ang="0">
                  <a:pos x="12" y="4"/>
                </a:cxn>
                <a:cxn ang="0">
                  <a:pos x="16" y="8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20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8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28" y="32"/>
                </a:cxn>
                <a:cxn ang="0">
                  <a:pos x="32" y="40"/>
                </a:cxn>
                <a:cxn ang="0">
                  <a:pos x="32" y="40"/>
                </a:cxn>
                <a:cxn ang="0">
                  <a:pos x="32" y="44"/>
                </a:cxn>
                <a:cxn ang="0">
                  <a:pos x="36" y="44"/>
                </a:cxn>
                <a:cxn ang="0">
                  <a:pos x="36" y="48"/>
                </a:cxn>
                <a:cxn ang="0">
                  <a:pos x="36" y="56"/>
                </a:cxn>
              </a:cxnLst>
              <a:rect l="0" t="0" r="r" b="b"/>
              <a:pathLst>
                <a:path w="36" h="72">
                  <a:moveTo>
                    <a:pt x="4" y="16"/>
                  </a:move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close/>
                  <a:moveTo>
                    <a:pt x="32" y="60"/>
                  </a:move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7" name="Freeform 44"/>
            <p:cNvSpPr>
              <a:spLocks/>
            </p:cNvSpPr>
            <p:nvPr>
              <p:custDataLst>
                <p:tags r:id="rId240"/>
              </p:custDataLst>
            </p:nvPr>
          </p:nvSpPr>
          <p:spPr bwMode="gray">
            <a:xfrm>
              <a:off x="5173949" y="3544462"/>
              <a:ext cx="154239" cy="148306"/>
            </a:xfrm>
            <a:custGeom>
              <a:avLst/>
              <a:gdLst/>
              <a:ahLst/>
              <a:cxnLst>
                <a:cxn ang="0">
                  <a:pos x="0" y="84"/>
                </a:cxn>
                <a:cxn ang="0">
                  <a:pos x="4" y="80"/>
                </a:cxn>
                <a:cxn ang="0">
                  <a:pos x="4" y="80"/>
                </a:cxn>
                <a:cxn ang="0">
                  <a:pos x="4" y="76"/>
                </a:cxn>
                <a:cxn ang="0">
                  <a:pos x="12" y="72"/>
                </a:cxn>
                <a:cxn ang="0">
                  <a:pos x="12" y="72"/>
                </a:cxn>
                <a:cxn ang="0">
                  <a:pos x="16" y="64"/>
                </a:cxn>
                <a:cxn ang="0">
                  <a:pos x="12" y="60"/>
                </a:cxn>
                <a:cxn ang="0">
                  <a:pos x="12" y="56"/>
                </a:cxn>
                <a:cxn ang="0">
                  <a:pos x="8" y="56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4" y="44"/>
                </a:cxn>
                <a:cxn ang="0">
                  <a:pos x="4" y="36"/>
                </a:cxn>
                <a:cxn ang="0">
                  <a:pos x="4" y="28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12" y="24"/>
                </a:cxn>
                <a:cxn ang="0">
                  <a:pos x="16" y="24"/>
                </a:cxn>
                <a:cxn ang="0">
                  <a:pos x="16" y="20"/>
                </a:cxn>
                <a:cxn ang="0">
                  <a:pos x="16" y="12"/>
                </a:cxn>
                <a:cxn ang="0">
                  <a:pos x="24" y="16"/>
                </a:cxn>
                <a:cxn ang="0">
                  <a:pos x="32" y="12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44" y="8"/>
                </a:cxn>
                <a:cxn ang="0">
                  <a:pos x="48" y="12"/>
                </a:cxn>
                <a:cxn ang="0">
                  <a:pos x="52" y="12"/>
                </a:cxn>
                <a:cxn ang="0">
                  <a:pos x="56" y="16"/>
                </a:cxn>
                <a:cxn ang="0">
                  <a:pos x="64" y="12"/>
                </a:cxn>
                <a:cxn ang="0">
                  <a:pos x="72" y="8"/>
                </a:cxn>
                <a:cxn ang="0">
                  <a:pos x="76" y="8"/>
                </a:cxn>
                <a:cxn ang="0">
                  <a:pos x="80" y="4"/>
                </a:cxn>
                <a:cxn ang="0">
                  <a:pos x="88" y="4"/>
                </a:cxn>
                <a:cxn ang="0">
                  <a:pos x="96" y="4"/>
                </a:cxn>
                <a:cxn ang="0">
                  <a:pos x="100" y="0"/>
                </a:cxn>
                <a:cxn ang="0">
                  <a:pos x="104" y="4"/>
                </a:cxn>
                <a:cxn ang="0">
                  <a:pos x="88" y="20"/>
                </a:cxn>
                <a:cxn ang="0">
                  <a:pos x="88" y="32"/>
                </a:cxn>
                <a:cxn ang="0">
                  <a:pos x="88" y="40"/>
                </a:cxn>
                <a:cxn ang="0">
                  <a:pos x="84" y="44"/>
                </a:cxn>
                <a:cxn ang="0">
                  <a:pos x="84" y="48"/>
                </a:cxn>
                <a:cxn ang="0">
                  <a:pos x="84" y="60"/>
                </a:cxn>
                <a:cxn ang="0">
                  <a:pos x="64" y="72"/>
                </a:cxn>
                <a:cxn ang="0">
                  <a:pos x="48" y="80"/>
                </a:cxn>
                <a:cxn ang="0">
                  <a:pos x="32" y="92"/>
                </a:cxn>
                <a:cxn ang="0">
                  <a:pos x="20" y="100"/>
                </a:cxn>
                <a:cxn ang="0">
                  <a:pos x="12" y="100"/>
                </a:cxn>
                <a:cxn ang="0">
                  <a:pos x="8" y="96"/>
                </a:cxn>
                <a:cxn ang="0">
                  <a:pos x="4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88"/>
                </a:cxn>
                <a:cxn ang="0">
                  <a:pos x="0" y="84"/>
                </a:cxn>
              </a:cxnLst>
              <a:rect l="0" t="0" r="r" b="b"/>
              <a:pathLst>
                <a:path w="104" h="100">
                  <a:moveTo>
                    <a:pt x="0" y="84"/>
                  </a:move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104" y="0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96" y="16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52"/>
                  </a:lnTo>
                  <a:lnTo>
                    <a:pt x="84" y="56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76" y="64"/>
                  </a:lnTo>
                  <a:lnTo>
                    <a:pt x="72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6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80"/>
                  </a:lnTo>
                  <a:lnTo>
                    <a:pt x="48" y="80"/>
                  </a:lnTo>
                  <a:lnTo>
                    <a:pt x="44" y="84"/>
                  </a:lnTo>
                  <a:lnTo>
                    <a:pt x="40" y="84"/>
                  </a:lnTo>
                  <a:lnTo>
                    <a:pt x="36" y="88"/>
                  </a:lnTo>
                  <a:lnTo>
                    <a:pt x="32" y="92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0" y="92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8" name="Freeform 45"/>
            <p:cNvSpPr>
              <a:spLocks/>
            </p:cNvSpPr>
            <p:nvPr>
              <p:custDataLst>
                <p:tags r:id="rId241"/>
              </p:custDataLst>
            </p:nvPr>
          </p:nvSpPr>
          <p:spPr bwMode="gray">
            <a:xfrm>
              <a:off x="5890269" y="3431749"/>
              <a:ext cx="170552" cy="136442"/>
            </a:xfrm>
            <a:custGeom>
              <a:avLst/>
              <a:gdLst/>
              <a:ahLst/>
              <a:cxnLst>
                <a:cxn ang="0">
                  <a:pos x="108" y="76"/>
                </a:cxn>
                <a:cxn ang="0">
                  <a:pos x="96" y="80"/>
                </a:cxn>
                <a:cxn ang="0">
                  <a:pos x="96" y="76"/>
                </a:cxn>
                <a:cxn ang="0">
                  <a:pos x="88" y="76"/>
                </a:cxn>
                <a:cxn ang="0">
                  <a:pos x="80" y="80"/>
                </a:cxn>
                <a:cxn ang="0">
                  <a:pos x="72" y="84"/>
                </a:cxn>
                <a:cxn ang="0">
                  <a:pos x="64" y="88"/>
                </a:cxn>
                <a:cxn ang="0">
                  <a:pos x="60" y="76"/>
                </a:cxn>
                <a:cxn ang="0">
                  <a:pos x="64" y="68"/>
                </a:cxn>
                <a:cxn ang="0">
                  <a:pos x="56" y="64"/>
                </a:cxn>
                <a:cxn ang="0">
                  <a:pos x="56" y="56"/>
                </a:cxn>
                <a:cxn ang="0">
                  <a:pos x="48" y="60"/>
                </a:cxn>
                <a:cxn ang="0">
                  <a:pos x="40" y="68"/>
                </a:cxn>
                <a:cxn ang="0">
                  <a:pos x="40" y="72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12" y="80"/>
                </a:cxn>
                <a:cxn ang="0">
                  <a:pos x="4" y="80"/>
                </a:cxn>
                <a:cxn ang="0">
                  <a:pos x="8" y="72"/>
                </a:cxn>
                <a:cxn ang="0">
                  <a:pos x="12" y="60"/>
                </a:cxn>
                <a:cxn ang="0">
                  <a:pos x="12" y="56"/>
                </a:cxn>
                <a:cxn ang="0">
                  <a:pos x="12" y="48"/>
                </a:cxn>
                <a:cxn ang="0">
                  <a:pos x="4" y="44"/>
                </a:cxn>
                <a:cxn ang="0">
                  <a:pos x="0" y="36"/>
                </a:cxn>
                <a:cxn ang="0">
                  <a:pos x="8" y="28"/>
                </a:cxn>
                <a:cxn ang="0">
                  <a:pos x="16" y="32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20" y="16"/>
                </a:cxn>
                <a:cxn ang="0">
                  <a:pos x="28" y="12"/>
                </a:cxn>
                <a:cxn ang="0">
                  <a:pos x="32" y="4"/>
                </a:cxn>
                <a:cxn ang="0">
                  <a:pos x="40" y="8"/>
                </a:cxn>
                <a:cxn ang="0">
                  <a:pos x="44" y="0"/>
                </a:cxn>
                <a:cxn ang="0">
                  <a:pos x="52" y="4"/>
                </a:cxn>
                <a:cxn ang="0">
                  <a:pos x="48" y="12"/>
                </a:cxn>
                <a:cxn ang="0">
                  <a:pos x="48" y="16"/>
                </a:cxn>
                <a:cxn ang="0">
                  <a:pos x="48" y="20"/>
                </a:cxn>
                <a:cxn ang="0">
                  <a:pos x="48" y="24"/>
                </a:cxn>
                <a:cxn ang="0">
                  <a:pos x="40" y="16"/>
                </a:cxn>
                <a:cxn ang="0">
                  <a:pos x="32" y="24"/>
                </a:cxn>
                <a:cxn ang="0">
                  <a:pos x="28" y="24"/>
                </a:cxn>
                <a:cxn ang="0">
                  <a:pos x="32" y="32"/>
                </a:cxn>
                <a:cxn ang="0">
                  <a:pos x="44" y="32"/>
                </a:cxn>
                <a:cxn ang="0">
                  <a:pos x="48" y="32"/>
                </a:cxn>
                <a:cxn ang="0">
                  <a:pos x="56" y="32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72" y="40"/>
                </a:cxn>
                <a:cxn ang="0">
                  <a:pos x="80" y="36"/>
                </a:cxn>
                <a:cxn ang="0">
                  <a:pos x="88" y="32"/>
                </a:cxn>
                <a:cxn ang="0">
                  <a:pos x="96" y="36"/>
                </a:cxn>
                <a:cxn ang="0">
                  <a:pos x="96" y="44"/>
                </a:cxn>
                <a:cxn ang="0">
                  <a:pos x="100" y="52"/>
                </a:cxn>
                <a:cxn ang="0">
                  <a:pos x="108" y="52"/>
                </a:cxn>
                <a:cxn ang="0">
                  <a:pos x="111" y="60"/>
                </a:cxn>
                <a:cxn ang="0">
                  <a:pos x="115" y="68"/>
                </a:cxn>
                <a:cxn ang="0">
                  <a:pos x="115" y="72"/>
                </a:cxn>
              </a:cxnLst>
              <a:rect l="0" t="0" r="r" b="b"/>
              <a:pathLst>
                <a:path w="115" h="92">
                  <a:moveTo>
                    <a:pt x="111" y="80"/>
                  </a:moveTo>
                  <a:lnTo>
                    <a:pt x="111" y="76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0" y="76"/>
                  </a:lnTo>
                  <a:lnTo>
                    <a:pt x="96" y="80"/>
                  </a:lnTo>
                  <a:lnTo>
                    <a:pt x="92" y="80"/>
                  </a:lnTo>
                  <a:lnTo>
                    <a:pt x="92" y="76"/>
                  </a:lnTo>
                  <a:lnTo>
                    <a:pt x="96" y="76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88" y="76"/>
                  </a:lnTo>
                  <a:lnTo>
                    <a:pt x="84" y="76"/>
                  </a:lnTo>
                  <a:lnTo>
                    <a:pt x="84" y="80"/>
                  </a:lnTo>
                  <a:lnTo>
                    <a:pt x="80" y="80"/>
                  </a:lnTo>
                  <a:lnTo>
                    <a:pt x="80" y="84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68" y="88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0" y="84"/>
                  </a:lnTo>
                  <a:lnTo>
                    <a:pt x="60" y="80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2" y="52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4" y="68"/>
                  </a:lnTo>
                  <a:lnTo>
                    <a:pt x="44" y="72"/>
                  </a:lnTo>
                  <a:lnTo>
                    <a:pt x="40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44" y="20"/>
                  </a:lnTo>
                  <a:lnTo>
                    <a:pt x="40" y="16"/>
                  </a:lnTo>
                  <a:lnTo>
                    <a:pt x="36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92" y="36"/>
                  </a:lnTo>
                  <a:lnTo>
                    <a:pt x="96" y="40"/>
                  </a:lnTo>
                  <a:lnTo>
                    <a:pt x="96" y="44"/>
                  </a:lnTo>
                  <a:lnTo>
                    <a:pt x="96" y="48"/>
                  </a:lnTo>
                  <a:lnTo>
                    <a:pt x="96" y="52"/>
                  </a:lnTo>
                  <a:lnTo>
                    <a:pt x="100" y="52"/>
                  </a:lnTo>
                  <a:lnTo>
                    <a:pt x="100" y="48"/>
                  </a:lnTo>
                  <a:lnTo>
                    <a:pt x="104" y="48"/>
                  </a:lnTo>
                  <a:lnTo>
                    <a:pt x="108" y="52"/>
                  </a:lnTo>
                  <a:lnTo>
                    <a:pt x="111" y="52"/>
                  </a:lnTo>
                  <a:lnTo>
                    <a:pt x="111" y="56"/>
                  </a:lnTo>
                  <a:lnTo>
                    <a:pt x="111" y="60"/>
                  </a:lnTo>
                  <a:lnTo>
                    <a:pt x="111" y="64"/>
                  </a:lnTo>
                  <a:lnTo>
                    <a:pt x="111" y="68"/>
                  </a:lnTo>
                  <a:lnTo>
                    <a:pt x="115" y="68"/>
                  </a:lnTo>
                  <a:lnTo>
                    <a:pt x="111" y="68"/>
                  </a:lnTo>
                  <a:lnTo>
                    <a:pt x="111" y="72"/>
                  </a:lnTo>
                  <a:lnTo>
                    <a:pt x="115" y="72"/>
                  </a:lnTo>
                  <a:lnTo>
                    <a:pt x="115" y="76"/>
                  </a:lnTo>
                  <a:lnTo>
                    <a:pt x="111" y="8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9" name="Freeform 46"/>
            <p:cNvSpPr>
              <a:spLocks noEditPoints="1"/>
            </p:cNvSpPr>
            <p:nvPr>
              <p:custDataLst>
                <p:tags r:id="rId242"/>
              </p:custDataLst>
            </p:nvPr>
          </p:nvSpPr>
          <p:spPr bwMode="gray">
            <a:xfrm>
              <a:off x="6559131" y="4035356"/>
              <a:ext cx="188349" cy="409326"/>
            </a:xfrm>
            <a:custGeom>
              <a:avLst/>
              <a:gdLst/>
              <a:ahLst/>
              <a:cxnLst>
                <a:cxn ang="0">
                  <a:pos x="59" y="276"/>
                </a:cxn>
                <a:cxn ang="0">
                  <a:pos x="55" y="264"/>
                </a:cxn>
                <a:cxn ang="0">
                  <a:pos x="43" y="260"/>
                </a:cxn>
                <a:cxn ang="0">
                  <a:pos x="39" y="248"/>
                </a:cxn>
                <a:cxn ang="0">
                  <a:pos x="27" y="236"/>
                </a:cxn>
                <a:cxn ang="0">
                  <a:pos x="19" y="228"/>
                </a:cxn>
                <a:cxn ang="0">
                  <a:pos x="15" y="216"/>
                </a:cxn>
                <a:cxn ang="0">
                  <a:pos x="19" y="196"/>
                </a:cxn>
                <a:cxn ang="0">
                  <a:pos x="31" y="172"/>
                </a:cxn>
                <a:cxn ang="0">
                  <a:pos x="35" y="152"/>
                </a:cxn>
                <a:cxn ang="0">
                  <a:pos x="31" y="132"/>
                </a:cxn>
                <a:cxn ang="0">
                  <a:pos x="23" y="116"/>
                </a:cxn>
                <a:cxn ang="0">
                  <a:pos x="15" y="100"/>
                </a:cxn>
                <a:cxn ang="0">
                  <a:pos x="19" y="80"/>
                </a:cxn>
                <a:cxn ang="0">
                  <a:pos x="19" y="64"/>
                </a:cxn>
                <a:cxn ang="0">
                  <a:pos x="8" y="52"/>
                </a:cxn>
                <a:cxn ang="0">
                  <a:pos x="4" y="36"/>
                </a:cxn>
                <a:cxn ang="0">
                  <a:pos x="8" y="24"/>
                </a:cxn>
                <a:cxn ang="0">
                  <a:pos x="19" y="12"/>
                </a:cxn>
                <a:cxn ang="0">
                  <a:pos x="31" y="8"/>
                </a:cxn>
                <a:cxn ang="0">
                  <a:pos x="43" y="4"/>
                </a:cxn>
                <a:cxn ang="0">
                  <a:pos x="47" y="12"/>
                </a:cxn>
                <a:cxn ang="0">
                  <a:pos x="59" y="24"/>
                </a:cxn>
                <a:cxn ang="0">
                  <a:pos x="59" y="40"/>
                </a:cxn>
                <a:cxn ang="0">
                  <a:pos x="59" y="56"/>
                </a:cxn>
                <a:cxn ang="0">
                  <a:pos x="71" y="44"/>
                </a:cxn>
                <a:cxn ang="0">
                  <a:pos x="83" y="48"/>
                </a:cxn>
                <a:cxn ang="0">
                  <a:pos x="95" y="40"/>
                </a:cxn>
                <a:cxn ang="0">
                  <a:pos x="111" y="52"/>
                </a:cxn>
                <a:cxn ang="0">
                  <a:pos x="115" y="68"/>
                </a:cxn>
                <a:cxn ang="0">
                  <a:pos x="119" y="84"/>
                </a:cxn>
                <a:cxn ang="0">
                  <a:pos x="123" y="100"/>
                </a:cxn>
                <a:cxn ang="0">
                  <a:pos x="119" y="112"/>
                </a:cxn>
                <a:cxn ang="0">
                  <a:pos x="103" y="112"/>
                </a:cxn>
                <a:cxn ang="0">
                  <a:pos x="87" y="120"/>
                </a:cxn>
                <a:cxn ang="0">
                  <a:pos x="75" y="132"/>
                </a:cxn>
                <a:cxn ang="0">
                  <a:pos x="83" y="152"/>
                </a:cxn>
                <a:cxn ang="0">
                  <a:pos x="83" y="156"/>
                </a:cxn>
                <a:cxn ang="0">
                  <a:pos x="71" y="144"/>
                </a:cxn>
                <a:cxn ang="0">
                  <a:pos x="55" y="144"/>
                </a:cxn>
                <a:cxn ang="0">
                  <a:pos x="55" y="128"/>
                </a:cxn>
                <a:cxn ang="0">
                  <a:pos x="43" y="136"/>
                </a:cxn>
                <a:cxn ang="0">
                  <a:pos x="39" y="160"/>
                </a:cxn>
                <a:cxn ang="0">
                  <a:pos x="31" y="180"/>
                </a:cxn>
                <a:cxn ang="0">
                  <a:pos x="31" y="204"/>
                </a:cxn>
                <a:cxn ang="0">
                  <a:pos x="39" y="220"/>
                </a:cxn>
                <a:cxn ang="0">
                  <a:pos x="47" y="228"/>
                </a:cxn>
                <a:cxn ang="0">
                  <a:pos x="51" y="248"/>
                </a:cxn>
                <a:cxn ang="0">
                  <a:pos x="43" y="240"/>
                </a:cxn>
                <a:cxn ang="0">
                  <a:pos x="51" y="248"/>
                </a:cxn>
                <a:cxn ang="0">
                  <a:pos x="63" y="252"/>
                </a:cxn>
                <a:cxn ang="0">
                  <a:pos x="71" y="272"/>
                </a:cxn>
                <a:cxn ang="0">
                  <a:pos x="35" y="260"/>
                </a:cxn>
                <a:cxn ang="0">
                  <a:pos x="79" y="156"/>
                </a:cxn>
                <a:cxn ang="0">
                  <a:pos x="43" y="200"/>
                </a:cxn>
                <a:cxn ang="0">
                  <a:pos x="15" y="232"/>
                </a:cxn>
              </a:cxnLst>
              <a:rect l="0" t="0" r="r" b="b"/>
              <a:pathLst>
                <a:path w="127" h="276">
                  <a:moveTo>
                    <a:pt x="67" y="272"/>
                  </a:moveTo>
                  <a:lnTo>
                    <a:pt x="67" y="268"/>
                  </a:lnTo>
                  <a:lnTo>
                    <a:pt x="63" y="268"/>
                  </a:lnTo>
                  <a:lnTo>
                    <a:pt x="63" y="272"/>
                  </a:lnTo>
                  <a:lnTo>
                    <a:pt x="59" y="272"/>
                  </a:lnTo>
                  <a:lnTo>
                    <a:pt x="59" y="276"/>
                  </a:lnTo>
                  <a:lnTo>
                    <a:pt x="59" y="272"/>
                  </a:lnTo>
                  <a:lnTo>
                    <a:pt x="55" y="272"/>
                  </a:lnTo>
                  <a:lnTo>
                    <a:pt x="55" y="268"/>
                  </a:lnTo>
                  <a:lnTo>
                    <a:pt x="59" y="268"/>
                  </a:lnTo>
                  <a:lnTo>
                    <a:pt x="59" y="264"/>
                  </a:lnTo>
                  <a:lnTo>
                    <a:pt x="55" y="264"/>
                  </a:lnTo>
                  <a:lnTo>
                    <a:pt x="55" y="260"/>
                  </a:lnTo>
                  <a:lnTo>
                    <a:pt x="51" y="260"/>
                  </a:lnTo>
                  <a:lnTo>
                    <a:pt x="47" y="260"/>
                  </a:lnTo>
                  <a:lnTo>
                    <a:pt x="47" y="256"/>
                  </a:lnTo>
                  <a:lnTo>
                    <a:pt x="43" y="256"/>
                  </a:lnTo>
                  <a:lnTo>
                    <a:pt x="43" y="260"/>
                  </a:lnTo>
                  <a:lnTo>
                    <a:pt x="43" y="256"/>
                  </a:lnTo>
                  <a:lnTo>
                    <a:pt x="39" y="256"/>
                  </a:lnTo>
                  <a:lnTo>
                    <a:pt x="39" y="252"/>
                  </a:lnTo>
                  <a:lnTo>
                    <a:pt x="35" y="252"/>
                  </a:lnTo>
                  <a:lnTo>
                    <a:pt x="35" y="248"/>
                  </a:lnTo>
                  <a:lnTo>
                    <a:pt x="39" y="248"/>
                  </a:lnTo>
                  <a:lnTo>
                    <a:pt x="35" y="248"/>
                  </a:lnTo>
                  <a:lnTo>
                    <a:pt x="35" y="244"/>
                  </a:lnTo>
                  <a:lnTo>
                    <a:pt x="31" y="244"/>
                  </a:lnTo>
                  <a:lnTo>
                    <a:pt x="31" y="240"/>
                  </a:lnTo>
                  <a:lnTo>
                    <a:pt x="31" y="236"/>
                  </a:lnTo>
                  <a:lnTo>
                    <a:pt x="27" y="236"/>
                  </a:lnTo>
                  <a:lnTo>
                    <a:pt x="27" y="232"/>
                  </a:lnTo>
                  <a:lnTo>
                    <a:pt x="23" y="232"/>
                  </a:lnTo>
                  <a:lnTo>
                    <a:pt x="23" y="228"/>
                  </a:lnTo>
                  <a:lnTo>
                    <a:pt x="23" y="224"/>
                  </a:lnTo>
                  <a:lnTo>
                    <a:pt x="19" y="224"/>
                  </a:lnTo>
                  <a:lnTo>
                    <a:pt x="19" y="228"/>
                  </a:lnTo>
                  <a:lnTo>
                    <a:pt x="19" y="224"/>
                  </a:lnTo>
                  <a:lnTo>
                    <a:pt x="19" y="228"/>
                  </a:lnTo>
                  <a:lnTo>
                    <a:pt x="15" y="228"/>
                  </a:lnTo>
                  <a:lnTo>
                    <a:pt x="15" y="224"/>
                  </a:lnTo>
                  <a:lnTo>
                    <a:pt x="15" y="220"/>
                  </a:lnTo>
                  <a:lnTo>
                    <a:pt x="15" y="216"/>
                  </a:lnTo>
                  <a:lnTo>
                    <a:pt x="15" y="212"/>
                  </a:lnTo>
                  <a:lnTo>
                    <a:pt x="15" y="208"/>
                  </a:lnTo>
                  <a:lnTo>
                    <a:pt x="15" y="204"/>
                  </a:lnTo>
                  <a:lnTo>
                    <a:pt x="19" y="204"/>
                  </a:lnTo>
                  <a:lnTo>
                    <a:pt x="19" y="200"/>
                  </a:lnTo>
                  <a:lnTo>
                    <a:pt x="19" y="196"/>
                  </a:lnTo>
                  <a:lnTo>
                    <a:pt x="23" y="192"/>
                  </a:lnTo>
                  <a:lnTo>
                    <a:pt x="23" y="188"/>
                  </a:lnTo>
                  <a:lnTo>
                    <a:pt x="23" y="184"/>
                  </a:lnTo>
                  <a:lnTo>
                    <a:pt x="23" y="180"/>
                  </a:lnTo>
                  <a:lnTo>
                    <a:pt x="27" y="176"/>
                  </a:lnTo>
                  <a:lnTo>
                    <a:pt x="31" y="172"/>
                  </a:lnTo>
                  <a:lnTo>
                    <a:pt x="31" y="168"/>
                  </a:lnTo>
                  <a:lnTo>
                    <a:pt x="31" y="164"/>
                  </a:lnTo>
                  <a:lnTo>
                    <a:pt x="35" y="164"/>
                  </a:lnTo>
                  <a:lnTo>
                    <a:pt x="35" y="160"/>
                  </a:lnTo>
                  <a:lnTo>
                    <a:pt x="35" y="156"/>
                  </a:lnTo>
                  <a:lnTo>
                    <a:pt x="35" y="152"/>
                  </a:lnTo>
                  <a:lnTo>
                    <a:pt x="31" y="152"/>
                  </a:lnTo>
                  <a:lnTo>
                    <a:pt x="31" y="148"/>
                  </a:lnTo>
                  <a:lnTo>
                    <a:pt x="31" y="144"/>
                  </a:lnTo>
                  <a:lnTo>
                    <a:pt x="27" y="136"/>
                  </a:lnTo>
                  <a:lnTo>
                    <a:pt x="31" y="136"/>
                  </a:lnTo>
                  <a:lnTo>
                    <a:pt x="31" y="132"/>
                  </a:lnTo>
                  <a:lnTo>
                    <a:pt x="27" y="132"/>
                  </a:lnTo>
                  <a:lnTo>
                    <a:pt x="27" y="128"/>
                  </a:lnTo>
                  <a:lnTo>
                    <a:pt x="27" y="124"/>
                  </a:lnTo>
                  <a:lnTo>
                    <a:pt x="27" y="120"/>
                  </a:lnTo>
                  <a:lnTo>
                    <a:pt x="23" y="120"/>
                  </a:lnTo>
                  <a:lnTo>
                    <a:pt x="23" y="116"/>
                  </a:lnTo>
                  <a:lnTo>
                    <a:pt x="19" y="116"/>
                  </a:lnTo>
                  <a:lnTo>
                    <a:pt x="19" y="112"/>
                  </a:lnTo>
                  <a:lnTo>
                    <a:pt x="19" y="108"/>
                  </a:lnTo>
                  <a:lnTo>
                    <a:pt x="15" y="108"/>
                  </a:lnTo>
                  <a:lnTo>
                    <a:pt x="15" y="104"/>
                  </a:lnTo>
                  <a:lnTo>
                    <a:pt x="15" y="100"/>
                  </a:lnTo>
                  <a:lnTo>
                    <a:pt x="15" y="96"/>
                  </a:lnTo>
                  <a:lnTo>
                    <a:pt x="19" y="96"/>
                  </a:lnTo>
                  <a:lnTo>
                    <a:pt x="19" y="92"/>
                  </a:lnTo>
                  <a:lnTo>
                    <a:pt x="19" y="88"/>
                  </a:lnTo>
                  <a:lnTo>
                    <a:pt x="19" y="84"/>
                  </a:lnTo>
                  <a:lnTo>
                    <a:pt x="19" y="80"/>
                  </a:lnTo>
                  <a:lnTo>
                    <a:pt x="23" y="80"/>
                  </a:lnTo>
                  <a:lnTo>
                    <a:pt x="23" y="76"/>
                  </a:lnTo>
                  <a:lnTo>
                    <a:pt x="19" y="76"/>
                  </a:lnTo>
                  <a:lnTo>
                    <a:pt x="19" y="72"/>
                  </a:lnTo>
                  <a:lnTo>
                    <a:pt x="19" y="68"/>
                  </a:lnTo>
                  <a:lnTo>
                    <a:pt x="19" y="64"/>
                  </a:lnTo>
                  <a:lnTo>
                    <a:pt x="15" y="64"/>
                  </a:lnTo>
                  <a:lnTo>
                    <a:pt x="15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5" y="12"/>
                  </a:lnTo>
                  <a:lnTo>
                    <a:pt x="19" y="12"/>
                  </a:lnTo>
                  <a:lnTo>
                    <a:pt x="23" y="12"/>
                  </a:lnTo>
                  <a:lnTo>
                    <a:pt x="27" y="12"/>
                  </a:lnTo>
                  <a:lnTo>
                    <a:pt x="27" y="8"/>
                  </a:lnTo>
                  <a:lnTo>
                    <a:pt x="27" y="4"/>
                  </a:lnTo>
                  <a:lnTo>
                    <a:pt x="31" y="4"/>
                  </a:lnTo>
                  <a:lnTo>
                    <a:pt x="31" y="8"/>
                  </a:lnTo>
                  <a:lnTo>
                    <a:pt x="31" y="4"/>
                  </a:lnTo>
                  <a:lnTo>
                    <a:pt x="35" y="4"/>
                  </a:lnTo>
                  <a:lnTo>
                    <a:pt x="35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3" y="4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47" y="4"/>
                  </a:lnTo>
                  <a:lnTo>
                    <a:pt x="51" y="4"/>
                  </a:lnTo>
                  <a:lnTo>
                    <a:pt x="51" y="8"/>
                  </a:lnTo>
                  <a:lnTo>
                    <a:pt x="47" y="12"/>
                  </a:lnTo>
                  <a:lnTo>
                    <a:pt x="47" y="16"/>
                  </a:lnTo>
                  <a:lnTo>
                    <a:pt x="51" y="16"/>
                  </a:lnTo>
                  <a:lnTo>
                    <a:pt x="55" y="16"/>
                  </a:lnTo>
                  <a:lnTo>
                    <a:pt x="59" y="16"/>
                  </a:lnTo>
                  <a:lnTo>
                    <a:pt x="59" y="20"/>
                  </a:lnTo>
                  <a:lnTo>
                    <a:pt x="59" y="24"/>
                  </a:lnTo>
                  <a:lnTo>
                    <a:pt x="63" y="24"/>
                  </a:lnTo>
                  <a:lnTo>
                    <a:pt x="63" y="28"/>
                  </a:lnTo>
                  <a:lnTo>
                    <a:pt x="59" y="28"/>
                  </a:lnTo>
                  <a:lnTo>
                    <a:pt x="59" y="32"/>
                  </a:lnTo>
                  <a:lnTo>
                    <a:pt x="59" y="36"/>
                  </a:lnTo>
                  <a:lnTo>
                    <a:pt x="59" y="40"/>
                  </a:lnTo>
                  <a:lnTo>
                    <a:pt x="59" y="44"/>
                  </a:lnTo>
                  <a:lnTo>
                    <a:pt x="59" y="48"/>
                  </a:lnTo>
                  <a:lnTo>
                    <a:pt x="55" y="48"/>
                  </a:lnTo>
                  <a:lnTo>
                    <a:pt x="55" y="52"/>
                  </a:lnTo>
                  <a:lnTo>
                    <a:pt x="55" y="56"/>
                  </a:lnTo>
                  <a:lnTo>
                    <a:pt x="59" y="56"/>
                  </a:lnTo>
                  <a:lnTo>
                    <a:pt x="59" y="52"/>
                  </a:lnTo>
                  <a:lnTo>
                    <a:pt x="63" y="52"/>
                  </a:lnTo>
                  <a:lnTo>
                    <a:pt x="63" y="48"/>
                  </a:lnTo>
                  <a:lnTo>
                    <a:pt x="67" y="48"/>
                  </a:lnTo>
                  <a:lnTo>
                    <a:pt x="67" y="44"/>
                  </a:lnTo>
                  <a:lnTo>
                    <a:pt x="71" y="44"/>
                  </a:lnTo>
                  <a:lnTo>
                    <a:pt x="71" y="40"/>
                  </a:lnTo>
                  <a:lnTo>
                    <a:pt x="75" y="40"/>
                  </a:lnTo>
                  <a:lnTo>
                    <a:pt x="75" y="44"/>
                  </a:lnTo>
                  <a:lnTo>
                    <a:pt x="79" y="44"/>
                  </a:lnTo>
                  <a:lnTo>
                    <a:pt x="79" y="48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7" y="44"/>
                  </a:lnTo>
                  <a:lnTo>
                    <a:pt x="91" y="40"/>
                  </a:lnTo>
                  <a:lnTo>
                    <a:pt x="91" y="36"/>
                  </a:lnTo>
                  <a:lnTo>
                    <a:pt x="95" y="36"/>
                  </a:lnTo>
                  <a:lnTo>
                    <a:pt x="95" y="40"/>
                  </a:lnTo>
                  <a:lnTo>
                    <a:pt x="99" y="40"/>
                  </a:lnTo>
                  <a:lnTo>
                    <a:pt x="103" y="40"/>
                  </a:lnTo>
                  <a:lnTo>
                    <a:pt x="103" y="44"/>
                  </a:lnTo>
                  <a:lnTo>
                    <a:pt x="107" y="48"/>
                  </a:lnTo>
                  <a:lnTo>
                    <a:pt x="107" y="52"/>
                  </a:lnTo>
                  <a:lnTo>
                    <a:pt x="111" y="52"/>
                  </a:lnTo>
                  <a:lnTo>
                    <a:pt x="111" y="56"/>
                  </a:lnTo>
                  <a:lnTo>
                    <a:pt x="115" y="56"/>
                  </a:lnTo>
                  <a:lnTo>
                    <a:pt x="115" y="60"/>
                  </a:lnTo>
                  <a:lnTo>
                    <a:pt x="115" y="64"/>
                  </a:lnTo>
                  <a:lnTo>
                    <a:pt x="111" y="64"/>
                  </a:lnTo>
                  <a:lnTo>
                    <a:pt x="115" y="68"/>
                  </a:lnTo>
                  <a:lnTo>
                    <a:pt x="115" y="72"/>
                  </a:lnTo>
                  <a:lnTo>
                    <a:pt x="111" y="72"/>
                  </a:lnTo>
                  <a:lnTo>
                    <a:pt x="115" y="72"/>
                  </a:lnTo>
                  <a:lnTo>
                    <a:pt x="115" y="76"/>
                  </a:lnTo>
                  <a:lnTo>
                    <a:pt x="119" y="80"/>
                  </a:lnTo>
                  <a:lnTo>
                    <a:pt x="119" y="84"/>
                  </a:lnTo>
                  <a:lnTo>
                    <a:pt x="123" y="84"/>
                  </a:lnTo>
                  <a:lnTo>
                    <a:pt x="123" y="88"/>
                  </a:lnTo>
                  <a:lnTo>
                    <a:pt x="127" y="88"/>
                  </a:lnTo>
                  <a:lnTo>
                    <a:pt x="127" y="92"/>
                  </a:lnTo>
                  <a:lnTo>
                    <a:pt x="127" y="96"/>
                  </a:lnTo>
                  <a:lnTo>
                    <a:pt x="123" y="100"/>
                  </a:lnTo>
                  <a:lnTo>
                    <a:pt x="127" y="100"/>
                  </a:lnTo>
                  <a:lnTo>
                    <a:pt x="127" y="104"/>
                  </a:lnTo>
                  <a:lnTo>
                    <a:pt x="123" y="104"/>
                  </a:lnTo>
                  <a:lnTo>
                    <a:pt x="123" y="108"/>
                  </a:lnTo>
                  <a:lnTo>
                    <a:pt x="123" y="112"/>
                  </a:lnTo>
                  <a:lnTo>
                    <a:pt x="119" y="112"/>
                  </a:lnTo>
                  <a:lnTo>
                    <a:pt x="119" y="116"/>
                  </a:lnTo>
                  <a:lnTo>
                    <a:pt x="115" y="116"/>
                  </a:lnTo>
                  <a:lnTo>
                    <a:pt x="115" y="112"/>
                  </a:lnTo>
                  <a:lnTo>
                    <a:pt x="111" y="112"/>
                  </a:lnTo>
                  <a:lnTo>
                    <a:pt x="107" y="112"/>
                  </a:lnTo>
                  <a:lnTo>
                    <a:pt x="103" y="112"/>
                  </a:lnTo>
                  <a:lnTo>
                    <a:pt x="99" y="112"/>
                  </a:lnTo>
                  <a:lnTo>
                    <a:pt x="95" y="112"/>
                  </a:lnTo>
                  <a:lnTo>
                    <a:pt x="91" y="112"/>
                  </a:lnTo>
                  <a:lnTo>
                    <a:pt x="91" y="116"/>
                  </a:lnTo>
                  <a:lnTo>
                    <a:pt x="87" y="116"/>
                  </a:lnTo>
                  <a:lnTo>
                    <a:pt x="87" y="120"/>
                  </a:lnTo>
                  <a:lnTo>
                    <a:pt x="83" y="120"/>
                  </a:lnTo>
                  <a:lnTo>
                    <a:pt x="83" y="124"/>
                  </a:lnTo>
                  <a:lnTo>
                    <a:pt x="79" y="124"/>
                  </a:lnTo>
                  <a:lnTo>
                    <a:pt x="79" y="128"/>
                  </a:lnTo>
                  <a:lnTo>
                    <a:pt x="75" y="128"/>
                  </a:lnTo>
                  <a:lnTo>
                    <a:pt x="75" y="132"/>
                  </a:lnTo>
                  <a:lnTo>
                    <a:pt x="79" y="136"/>
                  </a:lnTo>
                  <a:lnTo>
                    <a:pt x="79" y="140"/>
                  </a:lnTo>
                  <a:lnTo>
                    <a:pt x="79" y="144"/>
                  </a:lnTo>
                  <a:lnTo>
                    <a:pt x="79" y="148"/>
                  </a:lnTo>
                  <a:lnTo>
                    <a:pt x="83" y="148"/>
                  </a:lnTo>
                  <a:lnTo>
                    <a:pt x="83" y="152"/>
                  </a:lnTo>
                  <a:lnTo>
                    <a:pt x="83" y="156"/>
                  </a:lnTo>
                  <a:lnTo>
                    <a:pt x="83" y="160"/>
                  </a:lnTo>
                  <a:lnTo>
                    <a:pt x="87" y="160"/>
                  </a:lnTo>
                  <a:lnTo>
                    <a:pt x="87" y="164"/>
                  </a:lnTo>
                  <a:lnTo>
                    <a:pt x="83" y="160"/>
                  </a:lnTo>
                  <a:lnTo>
                    <a:pt x="83" y="156"/>
                  </a:lnTo>
                  <a:lnTo>
                    <a:pt x="79" y="152"/>
                  </a:lnTo>
                  <a:lnTo>
                    <a:pt x="79" y="156"/>
                  </a:lnTo>
                  <a:lnTo>
                    <a:pt x="75" y="152"/>
                  </a:lnTo>
                  <a:lnTo>
                    <a:pt x="75" y="148"/>
                  </a:lnTo>
                  <a:lnTo>
                    <a:pt x="71" y="148"/>
                  </a:lnTo>
                  <a:lnTo>
                    <a:pt x="71" y="144"/>
                  </a:lnTo>
                  <a:lnTo>
                    <a:pt x="67" y="144"/>
                  </a:lnTo>
                  <a:lnTo>
                    <a:pt x="63" y="144"/>
                  </a:lnTo>
                  <a:lnTo>
                    <a:pt x="63" y="148"/>
                  </a:lnTo>
                  <a:lnTo>
                    <a:pt x="63" y="144"/>
                  </a:lnTo>
                  <a:lnTo>
                    <a:pt x="59" y="144"/>
                  </a:lnTo>
                  <a:lnTo>
                    <a:pt x="55" y="144"/>
                  </a:lnTo>
                  <a:lnTo>
                    <a:pt x="55" y="148"/>
                  </a:lnTo>
                  <a:lnTo>
                    <a:pt x="55" y="144"/>
                  </a:lnTo>
                  <a:lnTo>
                    <a:pt x="55" y="140"/>
                  </a:lnTo>
                  <a:lnTo>
                    <a:pt x="55" y="136"/>
                  </a:lnTo>
                  <a:lnTo>
                    <a:pt x="55" y="132"/>
                  </a:lnTo>
                  <a:lnTo>
                    <a:pt x="55" y="128"/>
                  </a:lnTo>
                  <a:lnTo>
                    <a:pt x="51" y="128"/>
                  </a:lnTo>
                  <a:lnTo>
                    <a:pt x="47" y="128"/>
                  </a:lnTo>
                  <a:lnTo>
                    <a:pt x="43" y="132"/>
                  </a:lnTo>
                  <a:lnTo>
                    <a:pt x="39" y="132"/>
                  </a:lnTo>
                  <a:lnTo>
                    <a:pt x="39" y="136"/>
                  </a:lnTo>
                  <a:lnTo>
                    <a:pt x="43" y="136"/>
                  </a:lnTo>
                  <a:lnTo>
                    <a:pt x="43" y="140"/>
                  </a:lnTo>
                  <a:lnTo>
                    <a:pt x="39" y="144"/>
                  </a:lnTo>
                  <a:lnTo>
                    <a:pt x="39" y="148"/>
                  </a:lnTo>
                  <a:lnTo>
                    <a:pt x="43" y="152"/>
                  </a:lnTo>
                  <a:lnTo>
                    <a:pt x="39" y="156"/>
                  </a:lnTo>
                  <a:lnTo>
                    <a:pt x="39" y="160"/>
                  </a:lnTo>
                  <a:lnTo>
                    <a:pt x="39" y="164"/>
                  </a:lnTo>
                  <a:lnTo>
                    <a:pt x="35" y="164"/>
                  </a:lnTo>
                  <a:lnTo>
                    <a:pt x="35" y="168"/>
                  </a:lnTo>
                  <a:lnTo>
                    <a:pt x="35" y="172"/>
                  </a:lnTo>
                  <a:lnTo>
                    <a:pt x="35" y="176"/>
                  </a:lnTo>
                  <a:lnTo>
                    <a:pt x="31" y="180"/>
                  </a:lnTo>
                  <a:lnTo>
                    <a:pt x="31" y="184"/>
                  </a:lnTo>
                  <a:lnTo>
                    <a:pt x="27" y="188"/>
                  </a:lnTo>
                  <a:lnTo>
                    <a:pt x="27" y="192"/>
                  </a:lnTo>
                  <a:lnTo>
                    <a:pt x="27" y="196"/>
                  </a:lnTo>
                  <a:lnTo>
                    <a:pt x="27" y="200"/>
                  </a:lnTo>
                  <a:lnTo>
                    <a:pt x="31" y="204"/>
                  </a:lnTo>
                  <a:lnTo>
                    <a:pt x="31" y="208"/>
                  </a:lnTo>
                  <a:lnTo>
                    <a:pt x="35" y="208"/>
                  </a:lnTo>
                  <a:lnTo>
                    <a:pt x="39" y="208"/>
                  </a:lnTo>
                  <a:lnTo>
                    <a:pt x="39" y="212"/>
                  </a:lnTo>
                  <a:lnTo>
                    <a:pt x="39" y="216"/>
                  </a:lnTo>
                  <a:lnTo>
                    <a:pt x="39" y="220"/>
                  </a:lnTo>
                  <a:lnTo>
                    <a:pt x="43" y="220"/>
                  </a:lnTo>
                  <a:lnTo>
                    <a:pt x="43" y="224"/>
                  </a:lnTo>
                  <a:lnTo>
                    <a:pt x="43" y="220"/>
                  </a:lnTo>
                  <a:lnTo>
                    <a:pt x="43" y="224"/>
                  </a:lnTo>
                  <a:lnTo>
                    <a:pt x="47" y="224"/>
                  </a:lnTo>
                  <a:lnTo>
                    <a:pt x="47" y="228"/>
                  </a:lnTo>
                  <a:lnTo>
                    <a:pt x="47" y="232"/>
                  </a:lnTo>
                  <a:lnTo>
                    <a:pt x="47" y="236"/>
                  </a:lnTo>
                  <a:lnTo>
                    <a:pt x="47" y="240"/>
                  </a:lnTo>
                  <a:lnTo>
                    <a:pt x="47" y="244"/>
                  </a:lnTo>
                  <a:lnTo>
                    <a:pt x="51" y="244"/>
                  </a:lnTo>
                  <a:lnTo>
                    <a:pt x="51" y="248"/>
                  </a:lnTo>
                  <a:lnTo>
                    <a:pt x="51" y="244"/>
                  </a:lnTo>
                  <a:lnTo>
                    <a:pt x="47" y="244"/>
                  </a:lnTo>
                  <a:lnTo>
                    <a:pt x="47" y="240"/>
                  </a:lnTo>
                  <a:lnTo>
                    <a:pt x="47" y="236"/>
                  </a:lnTo>
                  <a:lnTo>
                    <a:pt x="43" y="236"/>
                  </a:lnTo>
                  <a:lnTo>
                    <a:pt x="43" y="240"/>
                  </a:lnTo>
                  <a:lnTo>
                    <a:pt x="43" y="244"/>
                  </a:lnTo>
                  <a:lnTo>
                    <a:pt x="47" y="244"/>
                  </a:lnTo>
                  <a:lnTo>
                    <a:pt x="47" y="248"/>
                  </a:lnTo>
                  <a:lnTo>
                    <a:pt x="51" y="248"/>
                  </a:lnTo>
                  <a:lnTo>
                    <a:pt x="51" y="244"/>
                  </a:lnTo>
                  <a:lnTo>
                    <a:pt x="51" y="248"/>
                  </a:lnTo>
                  <a:lnTo>
                    <a:pt x="51" y="252"/>
                  </a:lnTo>
                  <a:lnTo>
                    <a:pt x="55" y="252"/>
                  </a:lnTo>
                  <a:lnTo>
                    <a:pt x="59" y="252"/>
                  </a:lnTo>
                  <a:lnTo>
                    <a:pt x="63" y="252"/>
                  </a:lnTo>
                  <a:lnTo>
                    <a:pt x="59" y="252"/>
                  </a:lnTo>
                  <a:lnTo>
                    <a:pt x="63" y="252"/>
                  </a:lnTo>
                  <a:lnTo>
                    <a:pt x="67" y="252"/>
                  </a:lnTo>
                  <a:lnTo>
                    <a:pt x="67" y="256"/>
                  </a:lnTo>
                  <a:lnTo>
                    <a:pt x="67" y="260"/>
                  </a:lnTo>
                  <a:lnTo>
                    <a:pt x="71" y="264"/>
                  </a:lnTo>
                  <a:lnTo>
                    <a:pt x="71" y="268"/>
                  </a:lnTo>
                  <a:lnTo>
                    <a:pt x="71" y="272"/>
                  </a:lnTo>
                  <a:lnTo>
                    <a:pt x="67" y="272"/>
                  </a:lnTo>
                  <a:close/>
                  <a:moveTo>
                    <a:pt x="19" y="228"/>
                  </a:moveTo>
                  <a:lnTo>
                    <a:pt x="19" y="232"/>
                  </a:lnTo>
                  <a:lnTo>
                    <a:pt x="19" y="228"/>
                  </a:lnTo>
                  <a:close/>
                  <a:moveTo>
                    <a:pt x="35" y="256"/>
                  </a:moveTo>
                  <a:lnTo>
                    <a:pt x="35" y="260"/>
                  </a:lnTo>
                  <a:lnTo>
                    <a:pt x="35" y="256"/>
                  </a:lnTo>
                  <a:close/>
                  <a:moveTo>
                    <a:pt x="79" y="156"/>
                  </a:moveTo>
                  <a:lnTo>
                    <a:pt x="79" y="160"/>
                  </a:lnTo>
                  <a:lnTo>
                    <a:pt x="75" y="160"/>
                  </a:lnTo>
                  <a:lnTo>
                    <a:pt x="75" y="156"/>
                  </a:lnTo>
                  <a:lnTo>
                    <a:pt x="79" y="156"/>
                  </a:lnTo>
                  <a:close/>
                  <a:moveTo>
                    <a:pt x="79" y="160"/>
                  </a:moveTo>
                  <a:lnTo>
                    <a:pt x="79" y="164"/>
                  </a:lnTo>
                  <a:lnTo>
                    <a:pt x="79" y="160"/>
                  </a:lnTo>
                  <a:close/>
                  <a:moveTo>
                    <a:pt x="43" y="204"/>
                  </a:moveTo>
                  <a:lnTo>
                    <a:pt x="39" y="204"/>
                  </a:lnTo>
                  <a:lnTo>
                    <a:pt x="43" y="200"/>
                  </a:lnTo>
                  <a:lnTo>
                    <a:pt x="43" y="204"/>
                  </a:lnTo>
                  <a:close/>
                  <a:moveTo>
                    <a:pt x="15" y="228"/>
                  </a:moveTo>
                  <a:lnTo>
                    <a:pt x="15" y="232"/>
                  </a:lnTo>
                  <a:lnTo>
                    <a:pt x="19" y="232"/>
                  </a:lnTo>
                  <a:lnTo>
                    <a:pt x="15" y="236"/>
                  </a:lnTo>
                  <a:lnTo>
                    <a:pt x="15" y="232"/>
                  </a:lnTo>
                  <a:lnTo>
                    <a:pt x="15" y="2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0" name="Freeform 47"/>
            <p:cNvSpPr>
              <a:spLocks noEditPoints="1"/>
            </p:cNvSpPr>
            <p:nvPr>
              <p:custDataLst>
                <p:tags r:id="rId243"/>
              </p:custDataLst>
            </p:nvPr>
          </p:nvSpPr>
          <p:spPr bwMode="gray">
            <a:xfrm>
              <a:off x="7161255" y="4816931"/>
              <a:ext cx="71187" cy="35594"/>
            </a:xfrm>
            <a:custGeom>
              <a:avLst/>
              <a:gdLst/>
              <a:ahLst/>
              <a:cxnLst>
                <a:cxn ang="0">
                  <a:pos x="24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48" y="4"/>
                </a:cxn>
                <a:cxn ang="0">
                  <a:pos x="48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32" y="16"/>
                </a:cxn>
                <a:cxn ang="0">
                  <a:pos x="32" y="16"/>
                </a:cxn>
                <a:cxn ang="0">
                  <a:pos x="32" y="16"/>
                </a:cxn>
                <a:cxn ang="0">
                  <a:pos x="28" y="16"/>
                </a:cxn>
                <a:cxn ang="0">
                  <a:pos x="28" y="16"/>
                </a:cxn>
                <a:cxn ang="0">
                  <a:pos x="28" y="16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6" y="20"/>
                </a:cxn>
                <a:cxn ang="0">
                  <a:pos x="16" y="16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8" y="8"/>
                </a:cxn>
                <a:cxn ang="0">
                  <a:pos x="32" y="8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40" y="4"/>
                </a:cxn>
                <a:cxn ang="0">
                  <a:pos x="48" y="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0" y="24"/>
                </a:cxn>
              </a:cxnLst>
              <a:rect l="0" t="0" r="r" b="b"/>
              <a:pathLst>
                <a:path w="48" h="24">
                  <a:moveTo>
                    <a:pt x="24" y="0"/>
                  </a:move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close/>
                  <a:moveTo>
                    <a:pt x="48" y="4"/>
                  </a:move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close/>
                  <a:moveTo>
                    <a:pt x="0" y="20"/>
                  </a:move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1" name="Freeform 48"/>
            <p:cNvSpPr>
              <a:spLocks noEditPoints="1"/>
            </p:cNvSpPr>
            <p:nvPr>
              <p:custDataLst>
                <p:tags r:id="rId244"/>
              </p:custDataLst>
            </p:nvPr>
          </p:nvSpPr>
          <p:spPr bwMode="gray">
            <a:xfrm>
              <a:off x="4950007" y="3396155"/>
              <a:ext cx="431571" cy="195764"/>
            </a:xfrm>
            <a:custGeom>
              <a:avLst/>
              <a:gdLst/>
              <a:ahLst/>
              <a:cxnLst>
                <a:cxn ang="0">
                  <a:pos x="24" y="4"/>
                </a:cxn>
                <a:cxn ang="0">
                  <a:pos x="36" y="8"/>
                </a:cxn>
                <a:cxn ang="0">
                  <a:pos x="51" y="24"/>
                </a:cxn>
                <a:cxn ang="0">
                  <a:pos x="28" y="24"/>
                </a:cxn>
                <a:cxn ang="0">
                  <a:pos x="16" y="40"/>
                </a:cxn>
                <a:cxn ang="0">
                  <a:pos x="8" y="40"/>
                </a:cxn>
                <a:cxn ang="0">
                  <a:pos x="16" y="32"/>
                </a:cxn>
                <a:cxn ang="0">
                  <a:pos x="12" y="20"/>
                </a:cxn>
                <a:cxn ang="0">
                  <a:pos x="8" y="56"/>
                </a:cxn>
                <a:cxn ang="0">
                  <a:pos x="16" y="40"/>
                </a:cxn>
                <a:cxn ang="0">
                  <a:pos x="32" y="40"/>
                </a:cxn>
                <a:cxn ang="0">
                  <a:pos x="43" y="36"/>
                </a:cxn>
                <a:cxn ang="0">
                  <a:pos x="51" y="36"/>
                </a:cxn>
                <a:cxn ang="0">
                  <a:pos x="63" y="32"/>
                </a:cxn>
                <a:cxn ang="0">
                  <a:pos x="51" y="24"/>
                </a:cxn>
                <a:cxn ang="0">
                  <a:pos x="71" y="20"/>
                </a:cxn>
                <a:cxn ang="0">
                  <a:pos x="87" y="20"/>
                </a:cxn>
                <a:cxn ang="0">
                  <a:pos x="103" y="8"/>
                </a:cxn>
                <a:cxn ang="0">
                  <a:pos x="123" y="4"/>
                </a:cxn>
                <a:cxn ang="0">
                  <a:pos x="143" y="8"/>
                </a:cxn>
                <a:cxn ang="0">
                  <a:pos x="159" y="8"/>
                </a:cxn>
                <a:cxn ang="0">
                  <a:pos x="167" y="16"/>
                </a:cxn>
                <a:cxn ang="0">
                  <a:pos x="183" y="24"/>
                </a:cxn>
                <a:cxn ang="0">
                  <a:pos x="199" y="24"/>
                </a:cxn>
                <a:cxn ang="0">
                  <a:pos x="223" y="24"/>
                </a:cxn>
                <a:cxn ang="0">
                  <a:pos x="243" y="12"/>
                </a:cxn>
                <a:cxn ang="0">
                  <a:pos x="259" y="12"/>
                </a:cxn>
                <a:cxn ang="0">
                  <a:pos x="275" y="28"/>
                </a:cxn>
                <a:cxn ang="0">
                  <a:pos x="275" y="44"/>
                </a:cxn>
                <a:cxn ang="0">
                  <a:pos x="287" y="56"/>
                </a:cxn>
                <a:cxn ang="0">
                  <a:pos x="283" y="64"/>
                </a:cxn>
                <a:cxn ang="0">
                  <a:pos x="283" y="84"/>
                </a:cxn>
                <a:cxn ang="0">
                  <a:pos x="291" y="104"/>
                </a:cxn>
                <a:cxn ang="0">
                  <a:pos x="279" y="100"/>
                </a:cxn>
                <a:cxn ang="0">
                  <a:pos x="259" y="100"/>
                </a:cxn>
                <a:cxn ang="0">
                  <a:pos x="247" y="104"/>
                </a:cxn>
                <a:cxn ang="0">
                  <a:pos x="227" y="108"/>
                </a:cxn>
                <a:cxn ang="0">
                  <a:pos x="203" y="112"/>
                </a:cxn>
                <a:cxn ang="0">
                  <a:pos x="187" y="112"/>
                </a:cxn>
                <a:cxn ang="0">
                  <a:pos x="167" y="112"/>
                </a:cxn>
                <a:cxn ang="0">
                  <a:pos x="159" y="128"/>
                </a:cxn>
                <a:cxn ang="0">
                  <a:pos x="155" y="124"/>
                </a:cxn>
                <a:cxn ang="0">
                  <a:pos x="155" y="112"/>
                </a:cxn>
                <a:cxn ang="0">
                  <a:pos x="135" y="112"/>
                </a:cxn>
                <a:cxn ang="0">
                  <a:pos x="123" y="124"/>
                </a:cxn>
                <a:cxn ang="0">
                  <a:pos x="107" y="124"/>
                </a:cxn>
                <a:cxn ang="0">
                  <a:pos x="91" y="116"/>
                </a:cxn>
                <a:cxn ang="0">
                  <a:pos x="75" y="112"/>
                </a:cxn>
                <a:cxn ang="0">
                  <a:pos x="67" y="124"/>
                </a:cxn>
                <a:cxn ang="0">
                  <a:pos x="55" y="116"/>
                </a:cxn>
                <a:cxn ang="0">
                  <a:pos x="43" y="112"/>
                </a:cxn>
                <a:cxn ang="0">
                  <a:pos x="36" y="112"/>
                </a:cxn>
                <a:cxn ang="0">
                  <a:pos x="28" y="116"/>
                </a:cxn>
                <a:cxn ang="0">
                  <a:pos x="32" y="108"/>
                </a:cxn>
                <a:cxn ang="0">
                  <a:pos x="28" y="104"/>
                </a:cxn>
                <a:cxn ang="0">
                  <a:pos x="28" y="88"/>
                </a:cxn>
                <a:cxn ang="0">
                  <a:pos x="16" y="80"/>
                </a:cxn>
                <a:cxn ang="0">
                  <a:pos x="24" y="80"/>
                </a:cxn>
                <a:cxn ang="0">
                  <a:pos x="20" y="68"/>
                </a:cxn>
                <a:cxn ang="0">
                  <a:pos x="32" y="32"/>
                </a:cxn>
                <a:cxn ang="0">
                  <a:pos x="4" y="40"/>
                </a:cxn>
              </a:cxnLst>
              <a:rect l="0" t="0" r="r" b="b"/>
              <a:pathLst>
                <a:path w="291" h="132">
                  <a:moveTo>
                    <a:pt x="12" y="12"/>
                  </a:moveTo>
                  <a:lnTo>
                    <a:pt x="12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9" y="12"/>
                  </a:lnTo>
                  <a:lnTo>
                    <a:pt x="39" y="16"/>
                  </a:lnTo>
                  <a:lnTo>
                    <a:pt x="43" y="16"/>
                  </a:lnTo>
                  <a:lnTo>
                    <a:pt x="47" y="20"/>
                  </a:lnTo>
                  <a:lnTo>
                    <a:pt x="51" y="20"/>
                  </a:lnTo>
                  <a:lnTo>
                    <a:pt x="51" y="24"/>
                  </a:lnTo>
                  <a:lnTo>
                    <a:pt x="47" y="24"/>
                  </a:lnTo>
                  <a:lnTo>
                    <a:pt x="43" y="24"/>
                  </a:lnTo>
                  <a:lnTo>
                    <a:pt x="39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2" y="12"/>
                  </a:lnTo>
                  <a:close/>
                  <a:moveTo>
                    <a:pt x="16" y="56"/>
                  </a:moveTo>
                  <a:lnTo>
                    <a:pt x="8" y="56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39" y="36"/>
                  </a:lnTo>
                  <a:lnTo>
                    <a:pt x="43" y="36"/>
                  </a:lnTo>
                  <a:lnTo>
                    <a:pt x="47" y="40"/>
                  </a:lnTo>
                  <a:lnTo>
                    <a:pt x="47" y="36"/>
                  </a:lnTo>
                  <a:lnTo>
                    <a:pt x="51" y="36"/>
                  </a:lnTo>
                  <a:lnTo>
                    <a:pt x="51" y="40"/>
                  </a:lnTo>
                  <a:lnTo>
                    <a:pt x="55" y="36"/>
                  </a:lnTo>
                  <a:lnTo>
                    <a:pt x="51" y="36"/>
                  </a:lnTo>
                  <a:lnTo>
                    <a:pt x="47" y="36"/>
                  </a:lnTo>
                  <a:lnTo>
                    <a:pt x="47" y="32"/>
                  </a:lnTo>
                  <a:lnTo>
                    <a:pt x="51" y="32"/>
                  </a:lnTo>
                  <a:lnTo>
                    <a:pt x="55" y="32"/>
                  </a:lnTo>
                  <a:lnTo>
                    <a:pt x="59" y="32"/>
                  </a:lnTo>
                  <a:lnTo>
                    <a:pt x="63" y="32"/>
                  </a:lnTo>
                  <a:lnTo>
                    <a:pt x="67" y="32"/>
                  </a:lnTo>
                  <a:lnTo>
                    <a:pt x="67" y="28"/>
                  </a:lnTo>
                  <a:lnTo>
                    <a:pt x="63" y="28"/>
                  </a:lnTo>
                  <a:lnTo>
                    <a:pt x="59" y="28"/>
                  </a:lnTo>
                  <a:lnTo>
                    <a:pt x="55" y="28"/>
                  </a:lnTo>
                  <a:lnTo>
                    <a:pt x="51" y="24"/>
                  </a:lnTo>
                  <a:lnTo>
                    <a:pt x="51" y="20"/>
                  </a:lnTo>
                  <a:lnTo>
                    <a:pt x="55" y="20"/>
                  </a:lnTo>
                  <a:lnTo>
                    <a:pt x="59" y="20"/>
                  </a:lnTo>
                  <a:lnTo>
                    <a:pt x="63" y="20"/>
                  </a:lnTo>
                  <a:lnTo>
                    <a:pt x="67" y="24"/>
                  </a:lnTo>
                  <a:lnTo>
                    <a:pt x="71" y="20"/>
                  </a:lnTo>
                  <a:lnTo>
                    <a:pt x="75" y="20"/>
                  </a:lnTo>
                  <a:lnTo>
                    <a:pt x="75" y="24"/>
                  </a:lnTo>
                  <a:lnTo>
                    <a:pt x="79" y="24"/>
                  </a:lnTo>
                  <a:lnTo>
                    <a:pt x="83" y="24"/>
                  </a:lnTo>
                  <a:lnTo>
                    <a:pt x="87" y="24"/>
                  </a:lnTo>
                  <a:lnTo>
                    <a:pt x="87" y="20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99" y="8"/>
                  </a:lnTo>
                  <a:lnTo>
                    <a:pt x="103" y="8"/>
                  </a:lnTo>
                  <a:lnTo>
                    <a:pt x="107" y="8"/>
                  </a:lnTo>
                  <a:lnTo>
                    <a:pt x="111" y="8"/>
                  </a:lnTo>
                  <a:lnTo>
                    <a:pt x="111" y="4"/>
                  </a:lnTo>
                  <a:lnTo>
                    <a:pt x="115" y="4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7" y="4"/>
                  </a:lnTo>
                  <a:lnTo>
                    <a:pt x="131" y="4"/>
                  </a:lnTo>
                  <a:lnTo>
                    <a:pt x="135" y="4"/>
                  </a:lnTo>
                  <a:lnTo>
                    <a:pt x="139" y="4"/>
                  </a:lnTo>
                  <a:lnTo>
                    <a:pt x="143" y="4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47" y="12"/>
                  </a:lnTo>
                  <a:lnTo>
                    <a:pt x="151" y="12"/>
                  </a:lnTo>
                  <a:lnTo>
                    <a:pt x="155" y="12"/>
                  </a:lnTo>
                  <a:lnTo>
                    <a:pt x="155" y="8"/>
                  </a:lnTo>
                  <a:lnTo>
                    <a:pt x="159" y="8"/>
                  </a:lnTo>
                  <a:lnTo>
                    <a:pt x="159" y="12"/>
                  </a:lnTo>
                  <a:lnTo>
                    <a:pt x="159" y="16"/>
                  </a:lnTo>
                  <a:lnTo>
                    <a:pt x="163" y="16"/>
                  </a:lnTo>
                  <a:lnTo>
                    <a:pt x="163" y="20"/>
                  </a:lnTo>
                  <a:lnTo>
                    <a:pt x="167" y="20"/>
                  </a:lnTo>
                  <a:lnTo>
                    <a:pt x="167" y="16"/>
                  </a:lnTo>
                  <a:lnTo>
                    <a:pt x="171" y="16"/>
                  </a:lnTo>
                  <a:lnTo>
                    <a:pt x="171" y="20"/>
                  </a:lnTo>
                  <a:lnTo>
                    <a:pt x="175" y="20"/>
                  </a:lnTo>
                  <a:lnTo>
                    <a:pt x="175" y="24"/>
                  </a:lnTo>
                  <a:lnTo>
                    <a:pt x="179" y="24"/>
                  </a:lnTo>
                  <a:lnTo>
                    <a:pt x="183" y="24"/>
                  </a:lnTo>
                  <a:lnTo>
                    <a:pt x="187" y="24"/>
                  </a:lnTo>
                  <a:lnTo>
                    <a:pt x="191" y="24"/>
                  </a:lnTo>
                  <a:lnTo>
                    <a:pt x="191" y="28"/>
                  </a:lnTo>
                  <a:lnTo>
                    <a:pt x="195" y="28"/>
                  </a:lnTo>
                  <a:lnTo>
                    <a:pt x="199" y="28"/>
                  </a:lnTo>
                  <a:lnTo>
                    <a:pt x="199" y="24"/>
                  </a:lnTo>
                  <a:lnTo>
                    <a:pt x="203" y="24"/>
                  </a:lnTo>
                  <a:lnTo>
                    <a:pt x="207" y="24"/>
                  </a:lnTo>
                  <a:lnTo>
                    <a:pt x="211" y="24"/>
                  </a:lnTo>
                  <a:lnTo>
                    <a:pt x="215" y="24"/>
                  </a:lnTo>
                  <a:lnTo>
                    <a:pt x="219" y="28"/>
                  </a:lnTo>
                  <a:lnTo>
                    <a:pt x="223" y="24"/>
                  </a:lnTo>
                  <a:lnTo>
                    <a:pt x="227" y="24"/>
                  </a:lnTo>
                  <a:lnTo>
                    <a:pt x="231" y="24"/>
                  </a:lnTo>
                  <a:lnTo>
                    <a:pt x="231" y="20"/>
                  </a:lnTo>
                  <a:lnTo>
                    <a:pt x="235" y="20"/>
                  </a:lnTo>
                  <a:lnTo>
                    <a:pt x="239" y="16"/>
                  </a:lnTo>
                  <a:lnTo>
                    <a:pt x="243" y="12"/>
                  </a:lnTo>
                  <a:lnTo>
                    <a:pt x="243" y="16"/>
                  </a:lnTo>
                  <a:lnTo>
                    <a:pt x="247" y="16"/>
                  </a:lnTo>
                  <a:lnTo>
                    <a:pt x="251" y="16"/>
                  </a:lnTo>
                  <a:lnTo>
                    <a:pt x="255" y="16"/>
                  </a:lnTo>
                  <a:lnTo>
                    <a:pt x="259" y="16"/>
                  </a:lnTo>
                  <a:lnTo>
                    <a:pt x="259" y="12"/>
                  </a:lnTo>
                  <a:lnTo>
                    <a:pt x="263" y="12"/>
                  </a:lnTo>
                  <a:lnTo>
                    <a:pt x="263" y="16"/>
                  </a:lnTo>
                  <a:lnTo>
                    <a:pt x="267" y="20"/>
                  </a:lnTo>
                  <a:lnTo>
                    <a:pt x="271" y="20"/>
                  </a:lnTo>
                  <a:lnTo>
                    <a:pt x="271" y="24"/>
                  </a:lnTo>
                  <a:lnTo>
                    <a:pt x="275" y="28"/>
                  </a:lnTo>
                  <a:lnTo>
                    <a:pt x="275" y="32"/>
                  </a:lnTo>
                  <a:lnTo>
                    <a:pt x="275" y="36"/>
                  </a:lnTo>
                  <a:lnTo>
                    <a:pt x="271" y="36"/>
                  </a:lnTo>
                  <a:lnTo>
                    <a:pt x="271" y="40"/>
                  </a:lnTo>
                  <a:lnTo>
                    <a:pt x="275" y="40"/>
                  </a:lnTo>
                  <a:lnTo>
                    <a:pt x="275" y="44"/>
                  </a:lnTo>
                  <a:lnTo>
                    <a:pt x="279" y="44"/>
                  </a:lnTo>
                  <a:lnTo>
                    <a:pt x="283" y="44"/>
                  </a:lnTo>
                  <a:lnTo>
                    <a:pt x="287" y="48"/>
                  </a:lnTo>
                  <a:lnTo>
                    <a:pt x="291" y="52"/>
                  </a:lnTo>
                  <a:lnTo>
                    <a:pt x="287" y="52"/>
                  </a:lnTo>
                  <a:lnTo>
                    <a:pt x="287" y="56"/>
                  </a:lnTo>
                  <a:lnTo>
                    <a:pt x="283" y="56"/>
                  </a:lnTo>
                  <a:lnTo>
                    <a:pt x="283" y="60"/>
                  </a:lnTo>
                  <a:lnTo>
                    <a:pt x="283" y="56"/>
                  </a:lnTo>
                  <a:lnTo>
                    <a:pt x="279" y="56"/>
                  </a:lnTo>
                  <a:lnTo>
                    <a:pt x="279" y="60"/>
                  </a:lnTo>
                  <a:lnTo>
                    <a:pt x="283" y="64"/>
                  </a:lnTo>
                  <a:lnTo>
                    <a:pt x="283" y="68"/>
                  </a:lnTo>
                  <a:lnTo>
                    <a:pt x="283" y="72"/>
                  </a:lnTo>
                  <a:lnTo>
                    <a:pt x="283" y="76"/>
                  </a:lnTo>
                  <a:lnTo>
                    <a:pt x="283" y="80"/>
                  </a:lnTo>
                  <a:lnTo>
                    <a:pt x="287" y="80"/>
                  </a:lnTo>
                  <a:lnTo>
                    <a:pt x="283" y="84"/>
                  </a:lnTo>
                  <a:lnTo>
                    <a:pt x="283" y="88"/>
                  </a:lnTo>
                  <a:lnTo>
                    <a:pt x="287" y="92"/>
                  </a:lnTo>
                  <a:lnTo>
                    <a:pt x="287" y="96"/>
                  </a:lnTo>
                  <a:lnTo>
                    <a:pt x="287" y="100"/>
                  </a:lnTo>
                  <a:lnTo>
                    <a:pt x="291" y="100"/>
                  </a:lnTo>
                  <a:lnTo>
                    <a:pt x="291" y="104"/>
                  </a:lnTo>
                  <a:lnTo>
                    <a:pt x="287" y="104"/>
                  </a:lnTo>
                  <a:lnTo>
                    <a:pt x="287" y="108"/>
                  </a:lnTo>
                  <a:lnTo>
                    <a:pt x="283" y="108"/>
                  </a:lnTo>
                  <a:lnTo>
                    <a:pt x="283" y="104"/>
                  </a:lnTo>
                  <a:lnTo>
                    <a:pt x="283" y="100"/>
                  </a:lnTo>
                  <a:lnTo>
                    <a:pt x="279" y="100"/>
                  </a:lnTo>
                  <a:lnTo>
                    <a:pt x="279" y="104"/>
                  </a:lnTo>
                  <a:lnTo>
                    <a:pt x="275" y="104"/>
                  </a:lnTo>
                  <a:lnTo>
                    <a:pt x="271" y="104"/>
                  </a:lnTo>
                  <a:lnTo>
                    <a:pt x="267" y="100"/>
                  </a:lnTo>
                  <a:lnTo>
                    <a:pt x="263" y="100"/>
                  </a:lnTo>
                  <a:lnTo>
                    <a:pt x="259" y="100"/>
                  </a:lnTo>
                  <a:lnTo>
                    <a:pt x="259" y="104"/>
                  </a:lnTo>
                  <a:lnTo>
                    <a:pt x="255" y="104"/>
                  </a:lnTo>
                  <a:lnTo>
                    <a:pt x="255" y="100"/>
                  </a:lnTo>
                  <a:lnTo>
                    <a:pt x="251" y="100"/>
                  </a:lnTo>
                  <a:lnTo>
                    <a:pt x="251" y="104"/>
                  </a:lnTo>
                  <a:lnTo>
                    <a:pt x="247" y="104"/>
                  </a:lnTo>
                  <a:lnTo>
                    <a:pt x="243" y="104"/>
                  </a:lnTo>
                  <a:lnTo>
                    <a:pt x="239" y="104"/>
                  </a:lnTo>
                  <a:lnTo>
                    <a:pt x="235" y="104"/>
                  </a:lnTo>
                  <a:lnTo>
                    <a:pt x="231" y="104"/>
                  </a:lnTo>
                  <a:lnTo>
                    <a:pt x="227" y="104"/>
                  </a:lnTo>
                  <a:lnTo>
                    <a:pt x="227" y="108"/>
                  </a:lnTo>
                  <a:lnTo>
                    <a:pt x="223" y="108"/>
                  </a:lnTo>
                  <a:lnTo>
                    <a:pt x="219" y="112"/>
                  </a:lnTo>
                  <a:lnTo>
                    <a:pt x="215" y="112"/>
                  </a:lnTo>
                  <a:lnTo>
                    <a:pt x="211" y="112"/>
                  </a:lnTo>
                  <a:lnTo>
                    <a:pt x="207" y="116"/>
                  </a:lnTo>
                  <a:lnTo>
                    <a:pt x="203" y="112"/>
                  </a:lnTo>
                  <a:lnTo>
                    <a:pt x="199" y="112"/>
                  </a:lnTo>
                  <a:lnTo>
                    <a:pt x="195" y="112"/>
                  </a:lnTo>
                  <a:lnTo>
                    <a:pt x="195" y="108"/>
                  </a:lnTo>
                  <a:lnTo>
                    <a:pt x="191" y="108"/>
                  </a:lnTo>
                  <a:lnTo>
                    <a:pt x="191" y="112"/>
                  </a:lnTo>
                  <a:lnTo>
                    <a:pt x="187" y="112"/>
                  </a:lnTo>
                  <a:lnTo>
                    <a:pt x="183" y="112"/>
                  </a:lnTo>
                  <a:lnTo>
                    <a:pt x="179" y="116"/>
                  </a:lnTo>
                  <a:lnTo>
                    <a:pt x="175" y="116"/>
                  </a:lnTo>
                  <a:lnTo>
                    <a:pt x="175" y="112"/>
                  </a:lnTo>
                  <a:lnTo>
                    <a:pt x="171" y="112"/>
                  </a:lnTo>
                  <a:lnTo>
                    <a:pt x="167" y="112"/>
                  </a:lnTo>
                  <a:lnTo>
                    <a:pt x="167" y="116"/>
                  </a:lnTo>
                  <a:lnTo>
                    <a:pt x="167" y="120"/>
                  </a:lnTo>
                  <a:lnTo>
                    <a:pt x="167" y="124"/>
                  </a:lnTo>
                  <a:lnTo>
                    <a:pt x="163" y="124"/>
                  </a:lnTo>
                  <a:lnTo>
                    <a:pt x="163" y="128"/>
                  </a:lnTo>
                  <a:lnTo>
                    <a:pt x="159" y="128"/>
                  </a:lnTo>
                  <a:lnTo>
                    <a:pt x="159" y="132"/>
                  </a:lnTo>
                  <a:lnTo>
                    <a:pt x="159" y="128"/>
                  </a:lnTo>
                  <a:lnTo>
                    <a:pt x="155" y="128"/>
                  </a:lnTo>
                  <a:lnTo>
                    <a:pt x="159" y="128"/>
                  </a:lnTo>
                  <a:lnTo>
                    <a:pt x="155" y="128"/>
                  </a:lnTo>
                  <a:lnTo>
                    <a:pt x="155" y="124"/>
                  </a:lnTo>
                  <a:lnTo>
                    <a:pt x="155" y="120"/>
                  </a:lnTo>
                  <a:lnTo>
                    <a:pt x="159" y="116"/>
                  </a:lnTo>
                  <a:lnTo>
                    <a:pt x="159" y="112"/>
                  </a:lnTo>
                  <a:lnTo>
                    <a:pt x="159" y="108"/>
                  </a:lnTo>
                  <a:lnTo>
                    <a:pt x="155" y="108"/>
                  </a:lnTo>
                  <a:lnTo>
                    <a:pt x="155" y="112"/>
                  </a:lnTo>
                  <a:lnTo>
                    <a:pt x="151" y="112"/>
                  </a:lnTo>
                  <a:lnTo>
                    <a:pt x="151" y="116"/>
                  </a:lnTo>
                  <a:lnTo>
                    <a:pt x="147" y="116"/>
                  </a:lnTo>
                  <a:lnTo>
                    <a:pt x="143" y="112"/>
                  </a:lnTo>
                  <a:lnTo>
                    <a:pt x="139" y="112"/>
                  </a:lnTo>
                  <a:lnTo>
                    <a:pt x="135" y="112"/>
                  </a:lnTo>
                  <a:lnTo>
                    <a:pt x="131" y="116"/>
                  </a:lnTo>
                  <a:lnTo>
                    <a:pt x="131" y="120"/>
                  </a:lnTo>
                  <a:lnTo>
                    <a:pt x="127" y="120"/>
                  </a:lnTo>
                  <a:lnTo>
                    <a:pt x="127" y="124"/>
                  </a:lnTo>
                  <a:lnTo>
                    <a:pt x="127" y="120"/>
                  </a:lnTo>
                  <a:lnTo>
                    <a:pt x="123" y="124"/>
                  </a:lnTo>
                  <a:lnTo>
                    <a:pt x="119" y="124"/>
                  </a:lnTo>
                  <a:lnTo>
                    <a:pt x="115" y="124"/>
                  </a:lnTo>
                  <a:lnTo>
                    <a:pt x="111" y="124"/>
                  </a:lnTo>
                  <a:lnTo>
                    <a:pt x="111" y="128"/>
                  </a:lnTo>
                  <a:lnTo>
                    <a:pt x="107" y="128"/>
                  </a:lnTo>
                  <a:lnTo>
                    <a:pt x="107" y="124"/>
                  </a:lnTo>
                  <a:lnTo>
                    <a:pt x="103" y="124"/>
                  </a:lnTo>
                  <a:lnTo>
                    <a:pt x="99" y="124"/>
                  </a:lnTo>
                  <a:lnTo>
                    <a:pt x="99" y="120"/>
                  </a:lnTo>
                  <a:lnTo>
                    <a:pt x="99" y="116"/>
                  </a:lnTo>
                  <a:lnTo>
                    <a:pt x="95" y="116"/>
                  </a:lnTo>
                  <a:lnTo>
                    <a:pt x="91" y="116"/>
                  </a:lnTo>
                  <a:lnTo>
                    <a:pt x="91" y="112"/>
                  </a:lnTo>
                  <a:lnTo>
                    <a:pt x="87" y="112"/>
                  </a:lnTo>
                  <a:lnTo>
                    <a:pt x="83" y="112"/>
                  </a:lnTo>
                  <a:lnTo>
                    <a:pt x="79" y="112"/>
                  </a:lnTo>
                  <a:lnTo>
                    <a:pt x="75" y="108"/>
                  </a:lnTo>
                  <a:lnTo>
                    <a:pt x="75" y="112"/>
                  </a:lnTo>
                  <a:lnTo>
                    <a:pt x="75" y="116"/>
                  </a:lnTo>
                  <a:lnTo>
                    <a:pt x="75" y="120"/>
                  </a:lnTo>
                  <a:lnTo>
                    <a:pt x="71" y="124"/>
                  </a:lnTo>
                  <a:lnTo>
                    <a:pt x="71" y="120"/>
                  </a:lnTo>
                  <a:lnTo>
                    <a:pt x="67" y="120"/>
                  </a:lnTo>
                  <a:lnTo>
                    <a:pt x="67" y="124"/>
                  </a:lnTo>
                  <a:lnTo>
                    <a:pt x="63" y="124"/>
                  </a:lnTo>
                  <a:lnTo>
                    <a:pt x="59" y="124"/>
                  </a:lnTo>
                  <a:lnTo>
                    <a:pt x="55" y="124"/>
                  </a:lnTo>
                  <a:lnTo>
                    <a:pt x="55" y="120"/>
                  </a:lnTo>
                  <a:lnTo>
                    <a:pt x="51" y="120"/>
                  </a:lnTo>
                  <a:lnTo>
                    <a:pt x="55" y="116"/>
                  </a:lnTo>
                  <a:lnTo>
                    <a:pt x="51" y="116"/>
                  </a:lnTo>
                  <a:lnTo>
                    <a:pt x="51" y="112"/>
                  </a:lnTo>
                  <a:lnTo>
                    <a:pt x="47" y="116"/>
                  </a:lnTo>
                  <a:lnTo>
                    <a:pt x="47" y="112"/>
                  </a:lnTo>
                  <a:lnTo>
                    <a:pt x="43" y="108"/>
                  </a:lnTo>
                  <a:lnTo>
                    <a:pt x="43" y="112"/>
                  </a:lnTo>
                  <a:lnTo>
                    <a:pt x="39" y="112"/>
                  </a:lnTo>
                  <a:lnTo>
                    <a:pt x="39" y="116"/>
                  </a:lnTo>
                  <a:lnTo>
                    <a:pt x="36" y="116"/>
                  </a:lnTo>
                  <a:lnTo>
                    <a:pt x="39" y="116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9" y="112"/>
                  </a:lnTo>
                  <a:lnTo>
                    <a:pt x="36" y="112"/>
                  </a:lnTo>
                  <a:lnTo>
                    <a:pt x="32" y="112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32" y="112"/>
                  </a:lnTo>
                  <a:lnTo>
                    <a:pt x="36" y="112"/>
                  </a:lnTo>
                  <a:lnTo>
                    <a:pt x="39" y="108"/>
                  </a:lnTo>
                  <a:lnTo>
                    <a:pt x="36" y="108"/>
                  </a:lnTo>
                  <a:lnTo>
                    <a:pt x="32" y="108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8" y="104"/>
                  </a:lnTo>
                  <a:lnTo>
                    <a:pt x="32" y="104"/>
                  </a:lnTo>
                  <a:lnTo>
                    <a:pt x="32" y="100"/>
                  </a:lnTo>
                  <a:lnTo>
                    <a:pt x="28" y="104"/>
                  </a:lnTo>
                  <a:lnTo>
                    <a:pt x="28" y="100"/>
                  </a:lnTo>
                  <a:lnTo>
                    <a:pt x="24" y="100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16" y="72"/>
                  </a:lnTo>
                  <a:lnTo>
                    <a:pt x="20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16" y="56"/>
                  </a:lnTo>
                  <a:close/>
                  <a:moveTo>
                    <a:pt x="32" y="32"/>
                  </a:moveTo>
                  <a:lnTo>
                    <a:pt x="28" y="32"/>
                  </a:lnTo>
                  <a:lnTo>
                    <a:pt x="32" y="32"/>
                  </a:lnTo>
                  <a:close/>
                  <a:moveTo>
                    <a:pt x="4" y="44"/>
                  </a:moveTo>
                  <a:lnTo>
                    <a:pt x="0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8" y="44"/>
                  </a:lnTo>
                  <a:lnTo>
                    <a:pt x="4" y="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2" name="Freeform 49"/>
            <p:cNvSpPr>
              <a:spLocks/>
            </p:cNvSpPr>
            <p:nvPr>
              <p:custDataLst>
                <p:tags r:id="rId245"/>
              </p:custDataLst>
            </p:nvPr>
          </p:nvSpPr>
          <p:spPr bwMode="gray">
            <a:xfrm>
              <a:off x="5523952" y="3379842"/>
              <a:ext cx="348520" cy="229874"/>
            </a:xfrm>
            <a:custGeom>
              <a:avLst/>
              <a:gdLst/>
              <a:ahLst/>
              <a:cxnLst>
                <a:cxn ang="0">
                  <a:pos x="223" y="107"/>
                </a:cxn>
                <a:cxn ang="0">
                  <a:pos x="215" y="115"/>
                </a:cxn>
                <a:cxn ang="0">
                  <a:pos x="207" y="123"/>
                </a:cxn>
                <a:cxn ang="0">
                  <a:pos x="203" y="135"/>
                </a:cxn>
                <a:cxn ang="0">
                  <a:pos x="191" y="139"/>
                </a:cxn>
                <a:cxn ang="0">
                  <a:pos x="183" y="143"/>
                </a:cxn>
                <a:cxn ang="0">
                  <a:pos x="179" y="151"/>
                </a:cxn>
                <a:cxn ang="0">
                  <a:pos x="167" y="155"/>
                </a:cxn>
                <a:cxn ang="0">
                  <a:pos x="155" y="151"/>
                </a:cxn>
                <a:cxn ang="0">
                  <a:pos x="151" y="139"/>
                </a:cxn>
                <a:cxn ang="0">
                  <a:pos x="147" y="127"/>
                </a:cxn>
                <a:cxn ang="0">
                  <a:pos x="135" y="119"/>
                </a:cxn>
                <a:cxn ang="0">
                  <a:pos x="123" y="107"/>
                </a:cxn>
                <a:cxn ang="0">
                  <a:pos x="115" y="107"/>
                </a:cxn>
                <a:cxn ang="0">
                  <a:pos x="99" y="99"/>
                </a:cxn>
                <a:cxn ang="0">
                  <a:pos x="91" y="95"/>
                </a:cxn>
                <a:cxn ang="0">
                  <a:pos x="79" y="91"/>
                </a:cxn>
                <a:cxn ang="0">
                  <a:pos x="67" y="95"/>
                </a:cxn>
                <a:cxn ang="0">
                  <a:pos x="59" y="103"/>
                </a:cxn>
                <a:cxn ang="0">
                  <a:pos x="47" y="111"/>
                </a:cxn>
                <a:cxn ang="0">
                  <a:pos x="31" y="107"/>
                </a:cxn>
                <a:cxn ang="0">
                  <a:pos x="19" y="103"/>
                </a:cxn>
                <a:cxn ang="0">
                  <a:pos x="11" y="95"/>
                </a:cxn>
                <a:cxn ang="0">
                  <a:pos x="4" y="79"/>
                </a:cxn>
                <a:cxn ang="0">
                  <a:pos x="7" y="63"/>
                </a:cxn>
                <a:cxn ang="0">
                  <a:pos x="7" y="43"/>
                </a:cxn>
                <a:cxn ang="0">
                  <a:pos x="7" y="27"/>
                </a:cxn>
                <a:cxn ang="0">
                  <a:pos x="23" y="15"/>
                </a:cxn>
                <a:cxn ang="0">
                  <a:pos x="35" y="11"/>
                </a:cxn>
                <a:cxn ang="0">
                  <a:pos x="47" y="11"/>
                </a:cxn>
                <a:cxn ang="0">
                  <a:pos x="59" y="23"/>
                </a:cxn>
                <a:cxn ang="0">
                  <a:pos x="67" y="31"/>
                </a:cxn>
                <a:cxn ang="0">
                  <a:pos x="79" y="31"/>
                </a:cxn>
                <a:cxn ang="0">
                  <a:pos x="91" y="27"/>
                </a:cxn>
                <a:cxn ang="0">
                  <a:pos x="87" y="15"/>
                </a:cxn>
                <a:cxn ang="0">
                  <a:pos x="99" y="11"/>
                </a:cxn>
                <a:cxn ang="0">
                  <a:pos x="107" y="7"/>
                </a:cxn>
                <a:cxn ang="0">
                  <a:pos x="111" y="4"/>
                </a:cxn>
                <a:cxn ang="0">
                  <a:pos x="119" y="4"/>
                </a:cxn>
                <a:cxn ang="0">
                  <a:pos x="131" y="7"/>
                </a:cxn>
                <a:cxn ang="0">
                  <a:pos x="139" y="19"/>
                </a:cxn>
                <a:cxn ang="0">
                  <a:pos x="139" y="27"/>
                </a:cxn>
                <a:cxn ang="0">
                  <a:pos x="151" y="31"/>
                </a:cxn>
                <a:cxn ang="0">
                  <a:pos x="163" y="39"/>
                </a:cxn>
                <a:cxn ang="0">
                  <a:pos x="171" y="47"/>
                </a:cxn>
                <a:cxn ang="0">
                  <a:pos x="175" y="59"/>
                </a:cxn>
                <a:cxn ang="0">
                  <a:pos x="187" y="67"/>
                </a:cxn>
                <a:cxn ang="0">
                  <a:pos x="195" y="75"/>
                </a:cxn>
                <a:cxn ang="0">
                  <a:pos x="203" y="83"/>
                </a:cxn>
                <a:cxn ang="0">
                  <a:pos x="219" y="91"/>
                </a:cxn>
                <a:cxn ang="0">
                  <a:pos x="227" y="95"/>
                </a:cxn>
                <a:cxn ang="0">
                  <a:pos x="235" y="103"/>
                </a:cxn>
                <a:cxn ang="0">
                  <a:pos x="231" y="111"/>
                </a:cxn>
              </a:cxnLst>
              <a:rect l="0" t="0" r="r" b="b"/>
              <a:pathLst>
                <a:path w="235" h="155">
                  <a:moveTo>
                    <a:pt x="231" y="111"/>
                  </a:moveTo>
                  <a:lnTo>
                    <a:pt x="227" y="111"/>
                  </a:lnTo>
                  <a:lnTo>
                    <a:pt x="223" y="111"/>
                  </a:lnTo>
                  <a:lnTo>
                    <a:pt x="223" y="107"/>
                  </a:lnTo>
                  <a:lnTo>
                    <a:pt x="219" y="107"/>
                  </a:lnTo>
                  <a:lnTo>
                    <a:pt x="219" y="111"/>
                  </a:lnTo>
                  <a:lnTo>
                    <a:pt x="219" y="115"/>
                  </a:lnTo>
                  <a:lnTo>
                    <a:pt x="215" y="115"/>
                  </a:lnTo>
                  <a:lnTo>
                    <a:pt x="211" y="115"/>
                  </a:lnTo>
                  <a:lnTo>
                    <a:pt x="207" y="115"/>
                  </a:lnTo>
                  <a:lnTo>
                    <a:pt x="207" y="119"/>
                  </a:lnTo>
                  <a:lnTo>
                    <a:pt x="207" y="123"/>
                  </a:lnTo>
                  <a:lnTo>
                    <a:pt x="203" y="123"/>
                  </a:lnTo>
                  <a:lnTo>
                    <a:pt x="203" y="127"/>
                  </a:lnTo>
                  <a:lnTo>
                    <a:pt x="203" y="131"/>
                  </a:lnTo>
                  <a:lnTo>
                    <a:pt x="203" y="135"/>
                  </a:lnTo>
                  <a:lnTo>
                    <a:pt x="199" y="135"/>
                  </a:lnTo>
                  <a:lnTo>
                    <a:pt x="195" y="135"/>
                  </a:lnTo>
                  <a:lnTo>
                    <a:pt x="195" y="139"/>
                  </a:lnTo>
                  <a:lnTo>
                    <a:pt x="191" y="139"/>
                  </a:lnTo>
                  <a:lnTo>
                    <a:pt x="187" y="139"/>
                  </a:lnTo>
                  <a:lnTo>
                    <a:pt x="183" y="143"/>
                  </a:lnTo>
                  <a:lnTo>
                    <a:pt x="179" y="143"/>
                  </a:lnTo>
                  <a:lnTo>
                    <a:pt x="183" y="143"/>
                  </a:lnTo>
                  <a:lnTo>
                    <a:pt x="183" y="147"/>
                  </a:lnTo>
                  <a:lnTo>
                    <a:pt x="179" y="147"/>
                  </a:lnTo>
                  <a:lnTo>
                    <a:pt x="183" y="147"/>
                  </a:lnTo>
                  <a:lnTo>
                    <a:pt x="179" y="151"/>
                  </a:lnTo>
                  <a:lnTo>
                    <a:pt x="175" y="151"/>
                  </a:lnTo>
                  <a:lnTo>
                    <a:pt x="175" y="155"/>
                  </a:lnTo>
                  <a:lnTo>
                    <a:pt x="171" y="155"/>
                  </a:lnTo>
                  <a:lnTo>
                    <a:pt x="167" y="155"/>
                  </a:lnTo>
                  <a:lnTo>
                    <a:pt x="167" y="151"/>
                  </a:lnTo>
                  <a:lnTo>
                    <a:pt x="163" y="151"/>
                  </a:lnTo>
                  <a:lnTo>
                    <a:pt x="159" y="151"/>
                  </a:lnTo>
                  <a:lnTo>
                    <a:pt x="155" y="151"/>
                  </a:lnTo>
                  <a:lnTo>
                    <a:pt x="155" y="147"/>
                  </a:lnTo>
                  <a:lnTo>
                    <a:pt x="151" y="147"/>
                  </a:lnTo>
                  <a:lnTo>
                    <a:pt x="151" y="143"/>
                  </a:lnTo>
                  <a:lnTo>
                    <a:pt x="151" y="139"/>
                  </a:lnTo>
                  <a:lnTo>
                    <a:pt x="151" y="135"/>
                  </a:lnTo>
                  <a:lnTo>
                    <a:pt x="151" y="131"/>
                  </a:lnTo>
                  <a:lnTo>
                    <a:pt x="151" y="127"/>
                  </a:lnTo>
                  <a:lnTo>
                    <a:pt x="147" y="127"/>
                  </a:lnTo>
                  <a:lnTo>
                    <a:pt x="143" y="127"/>
                  </a:lnTo>
                  <a:lnTo>
                    <a:pt x="139" y="127"/>
                  </a:lnTo>
                  <a:lnTo>
                    <a:pt x="135" y="123"/>
                  </a:lnTo>
                  <a:lnTo>
                    <a:pt x="135" y="119"/>
                  </a:lnTo>
                  <a:lnTo>
                    <a:pt x="131" y="115"/>
                  </a:lnTo>
                  <a:lnTo>
                    <a:pt x="127" y="115"/>
                  </a:lnTo>
                  <a:lnTo>
                    <a:pt x="123" y="111"/>
                  </a:lnTo>
                  <a:lnTo>
                    <a:pt x="123" y="107"/>
                  </a:lnTo>
                  <a:lnTo>
                    <a:pt x="119" y="107"/>
                  </a:lnTo>
                  <a:lnTo>
                    <a:pt x="119" y="103"/>
                  </a:lnTo>
                  <a:lnTo>
                    <a:pt x="115" y="103"/>
                  </a:lnTo>
                  <a:lnTo>
                    <a:pt x="115" y="107"/>
                  </a:lnTo>
                  <a:lnTo>
                    <a:pt x="115" y="103"/>
                  </a:lnTo>
                  <a:lnTo>
                    <a:pt x="111" y="107"/>
                  </a:lnTo>
                  <a:lnTo>
                    <a:pt x="107" y="103"/>
                  </a:lnTo>
                  <a:lnTo>
                    <a:pt x="99" y="99"/>
                  </a:lnTo>
                  <a:lnTo>
                    <a:pt x="95" y="99"/>
                  </a:lnTo>
                  <a:lnTo>
                    <a:pt x="95" y="95"/>
                  </a:lnTo>
                  <a:lnTo>
                    <a:pt x="91" y="91"/>
                  </a:lnTo>
                  <a:lnTo>
                    <a:pt x="91" y="95"/>
                  </a:lnTo>
                  <a:lnTo>
                    <a:pt x="87" y="95"/>
                  </a:lnTo>
                  <a:lnTo>
                    <a:pt x="87" y="91"/>
                  </a:lnTo>
                  <a:lnTo>
                    <a:pt x="83" y="91"/>
                  </a:lnTo>
                  <a:lnTo>
                    <a:pt x="79" y="91"/>
                  </a:lnTo>
                  <a:lnTo>
                    <a:pt x="79" y="95"/>
                  </a:lnTo>
                  <a:lnTo>
                    <a:pt x="75" y="95"/>
                  </a:lnTo>
                  <a:lnTo>
                    <a:pt x="71" y="95"/>
                  </a:lnTo>
                  <a:lnTo>
                    <a:pt x="67" y="95"/>
                  </a:lnTo>
                  <a:lnTo>
                    <a:pt x="63" y="95"/>
                  </a:lnTo>
                  <a:lnTo>
                    <a:pt x="63" y="99"/>
                  </a:lnTo>
                  <a:lnTo>
                    <a:pt x="59" y="99"/>
                  </a:lnTo>
                  <a:lnTo>
                    <a:pt x="59" y="103"/>
                  </a:lnTo>
                  <a:lnTo>
                    <a:pt x="55" y="103"/>
                  </a:lnTo>
                  <a:lnTo>
                    <a:pt x="55" y="107"/>
                  </a:lnTo>
                  <a:lnTo>
                    <a:pt x="51" y="111"/>
                  </a:lnTo>
                  <a:lnTo>
                    <a:pt x="47" y="111"/>
                  </a:lnTo>
                  <a:lnTo>
                    <a:pt x="43" y="111"/>
                  </a:lnTo>
                  <a:lnTo>
                    <a:pt x="39" y="111"/>
                  </a:lnTo>
                  <a:lnTo>
                    <a:pt x="35" y="111"/>
                  </a:lnTo>
                  <a:lnTo>
                    <a:pt x="31" y="107"/>
                  </a:lnTo>
                  <a:lnTo>
                    <a:pt x="27" y="107"/>
                  </a:lnTo>
                  <a:lnTo>
                    <a:pt x="27" y="103"/>
                  </a:lnTo>
                  <a:lnTo>
                    <a:pt x="23" y="103"/>
                  </a:lnTo>
                  <a:lnTo>
                    <a:pt x="19" y="103"/>
                  </a:lnTo>
                  <a:lnTo>
                    <a:pt x="15" y="103"/>
                  </a:lnTo>
                  <a:lnTo>
                    <a:pt x="15" y="99"/>
                  </a:lnTo>
                  <a:lnTo>
                    <a:pt x="11" y="99"/>
                  </a:lnTo>
                  <a:lnTo>
                    <a:pt x="11" y="95"/>
                  </a:lnTo>
                  <a:lnTo>
                    <a:pt x="7" y="91"/>
                  </a:lnTo>
                  <a:lnTo>
                    <a:pt x="4" y="87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5"/>
                  </a:lnTo>
                  <a:lnTo>
                    <a:pt x="7" y="71"/>
                  </a:lnTo>
                  <a:lnTo>
                    <a:pt x="7" y="67"/>
                  </a:lnTo>
                  <a:lnTo>
                    <a:pt x="7" y="63"/>
                  </a:lnTo>
                  <a:lnTo>
                    <a:pt x="7" y="59"/>
                  </a:lnTo>
                  <a:lnTo>
                    <a:pt x="7" y="51"/>
                  </a:lnTo>
                  <a:lnTo>
                    <a:pt x="7" y="47"/>
                  </a:lnTo>
                  <a:lnTo>
                    <a:pt x="7" y="43"/>
                  </a:lnTo>
                  <a:lnTo>
                    <a:pt x="7" y="39"/>
                  </a:lnTo>
                  <a:lnTo>
                    <a:pt x="4" y="35"/>
                  </a:lnTo>
                  <a:lnTo>
                    <a:pt x="0" y="31"/>
                  </a:lnTo>
                  <a:lnTo>
                    <a:pt x="7" y="27"/>
                  </a:lnTo>
                  <a:lnTo>
                    <a:pt x="11" y="27"/>
                  </a:lnTo>
                  <a:lnTo>
                    <a:pt x="15" y="23"/>
                  </a:lnTo>
                  <a:lnTo>
                    <a:pt x="19" y="19"/>
                  </a:lnTo>
                  <a:lnTo>
                    <a:pt x="23" y="15"/>
                  </a:lnTo>
                  <a:lnTo>
                    <a:pt x="27" y="15"/>
                  </a:lnTo>
                  <a:lnTo>
                    <a:pt x="27" y="11"/>
                  </a:lnTo>
                  <a:lnTo>
                    <a:pt x="31" y="11"/>
                  </a:lnTo>
                  <a:lnTo>
                    <a:pt x="35" y="11"/>
                  </a:lnTo>
                  <a:lnTo>
                    <a:pt x="39" y="7"/>
                  </a:lnTo>
                  <a:lnTo>
                    <a:pt x="43" y="7"/>
                  </a:lnTo>
                  <a:lnTo>
                    <a:pt x="47" y="7"/>
                  </a:lnTo>
                  <a:lnTo>
                    <a:pt x="47" y="11"/>
                  </a:lnTo>
                  <a:lnTo>
                    <a:pt x="51" y="11"/>
                  </a:lnTo>
                  <a:lnTo>
                    <a:pt x="55" y="15"/>
                  </a:lnTo>
                  <a:lnTo>
                    <a:pt x="59" y="19"/>
                  </a:lnTo>
                  <a:lnTo>
                    <a:pt x="59" y="23"/>
                  </a:lnTo>
                  <a:lnTo>
                    <a:pt x="63" y="23"/>
                  </a:lnTo>
                  <a:lnTo>
                    <a:pt x="63" y="27"/>
                  </a:lnTo>
                  <a:lnTo>
                    <a:pt x="63" y="31"/>
                  </a:lnTo>
                  <a:lnTo>
                    <a:pt x="67" y="31"/>
                  </a:lnTo>
                  <a:lnTo>
                    <a:pt x="71" y="31"/>
                  </a:lnTo>
                  <a:lnTo>
                    <a:pt x="71" y="27"/>
                  </a:lnTo>
                  <a:lnTo>
                    <a:pt x="75" y="31"/>
                  </a:lnTo>
                  <a:lnTo>
                    <a:pt x="79" y="31"/>
                  </a:lnTo>
                  <a:lnTo>
                    <a:pt x="83" y="31"/>
                  </a:lnTo>
                  <a:lnTo>
                    <a:pt x="87" y="31"/>
                  </a:lnTo>
                  <a:lnTo>
                    <a:pt x="91" y="31"/>
                  </a:lnTo>
                  <a:lnTo>
                    <a:pt x="91" y="27"/>
                  </a:lnTo>
                  <a:lnTo>
                    <a:pt x="87" y="27"/>
                  </a:lnTo>
                  <a:lnTo>
                    <a:pt x="87" y="23"/>
                  </a:lnTo>
                  <a:lnTo>
                    <a:pt x="87" y="19"/>
                  </a:lnTo>
                  <a:lnTo>
                    <a:pt x="87" y="15"/>
                  </a:lnTo>
                  <a:lnTo>
                    <a:pt x="91" y="15"/>
                  </a:lnTo>
                  <a:lnTo>
                    <a:pt x="91" y="11"/>
                  </a:lnTo>
                  <a:lnTo>
                    <a:pt x="95" y="11"/>
                  </a:lnTo>
                  <a:lnTo>
                    <a:pt x="99" y="11"/>
                  </a:lnTo>
                  <a:lnTo>
                    <a:pt x="103" y="11"/>
                  </a:lnTo>
                  <a:lnTo>
                    <a:pt x="103" y="7"/>
                  </a:lnTo>
                  <a:lnTo>
                    <a:pt x="103" y="4"/>
                  </a:lnTo>
                  <a:lnTo>
                    <a:pt x="107" y="7"/>
                  </a:lnTo>
                  <a:lnTo>
                    <a:pt x="111" y="7"/>
                  </a:lnTo>
                  <a:lnTo>
                    <a:pt x="107" y="4"/>
                  </a:lnTo>
                  <a:lnTo>
                    <a:pt x="107" y="0"/>
                  </a:lnTo>
                  <a:lnTo>
                    <a:pt x="111" y="4"/>
                  </a:lnTo>
                  <a:lnTo>
                    <a:pt x="111" y="0"/>
                  </a:lnTo>
                  <a:lnTo>
                    <a:pt x="115" y="0"/>
                  </a:lnTo>
                  <a:lnTo>
                    <a:pt x="115" y="4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3" y="7"/>
                  </a:lnTo>
                  <a:lnTo>
                    <a:pt x="127" y="7"/>
                  </a:lnTo>
                  <a:lnTo>
                    <a:pt x="131" y="7"/>
                  </a:lnTo>
                  <a:lnTo>
                    <a:pt x="135" y="11"/>
                  </a:lnTo>
                  <a:lnTo>
                    <a:pt x="135" y="15"/>
                  </a:lnTo>
                  <a:lnTo>
                    <a:pt x="135" y="19"/>
                  </a:lnTo>
                  <a:lnTo>
                    <a:pt x="139" y="19"/>
                  </a:lnTo>
                  <a:lnTo>
                    <a:pt x="135" y="19"/>
                  </a:lnTo>
                  <a:lnTo>
                    <a:pt x="135" y="23"/>
                  </a:lnTo>
                  <a:lnTo>
                    <a:pt x="135" y="27"/>
                  </a:lnTo>
                  <a:lnTo>
                    <a:pt x="139" y="27"/>
                  </a:lnTo>
                  <a:lnTo>
                    <a:pt x="139" y="31"/>
                  </a:lnTo>
                  <a:lnTo>
                    <a:pt x="143" y="31"/>
                  </a:lnTo>
                  <a:lnTo>
                    <a:pt x="147" y="31"/>
                  </a:lnTo>
                  <a:lnTo>
                    <a:pt x="151" y="31"/>
                  </a:lnTo>
                  <a:lnTo>
                    <a:pt x="155" y="31"/>
                  </a:lnTo>
                  <a:lnTo>
                    <a:pt x="159" y="31"/>
                  </a:lnTo>
                  <a:lnTo>
                    <a:pt x="163" y="35"/>
                  </a:lnTo>
                  <a:lnTo>
                    <a:pt x="163" y="39"/>
                  </a:lnTo>
                  <a:lnTo>
                    <a:pt x="163" y="43"/>
                  </a:lnTo>
                  <a:lnTo>
                    <a:pt x="167" y="43"/>
                  </a:lnTo>
                  <a:lnTo>
                    <a:pt x="167" y="47"/>
                  </a:lnTo>
                  <a:lnTo>
                    <a:pt x="171" y="47"/>
                  </a:lnTo>
                  <a:lnTo>
                    <a:pt x="171" y="51"/>
                  </a:lnTo>
                  <a:lnTo>
                    <a:pt x="171" y="55"/>
                  </a:lnTo>
                  <a:lnTo>
                    <a:pt x="171" y="59"/>
                  </a:lnTo>
                  <a:lnTo>
                    <a:pt x="175" y="59"/>
                  </a:lnTo>
                  <a:lnTo>
                    <a:pt x="175" y="63"/>
                  </a:lnTo>
                  <a:lnTo>
                    <a:pt x="179" y="63"/>
                  </a:lnTo>
                  <a:lnTo>
                    <a:pt x="183" y="67"/>
                  </a:lnTo>
                  <a:lnTo>
                    <a:pt x="187" y="67"/>
                  </a:lnTo>
                  <a:lnTo>
                    <a:pt x="187" y="71"/>
                  </a:lnTo>
                  <a:lnTo>
                    <a:pt x="191" y="71"/>
                  </a:lnTo>
                  <a:lnTo>
                    <a:pt x="191" y="75"/>
                  </a:lnTo>
                  <a:lnTo>
                    <a:pt x="195" y="75"/>
                  </a:lnTo>
                  <a:lnTo>
                    <a:pt x="195" y="79"/>
                  </a:lnTo>
                  <a:lnTo>
                    <a:pt x="199" y="79"/>
                  </a:lnTo>
                  <a:lnTo>
                    <a:pt x="203" y="79"/>
                  </a:lnTo>
                  <a:lnTo>
                    <a:pt x="203" y="83"/>
                  </a:lnTo>
                  <a:lnTo>
                    <a:pt x="207" y="83"/>
                  </a:lnTo>
                  <a:lnTo>
                    <a:pt x="211" y="87"/>
                  </a:lnTo>
                  <a:lnTo>
                    <a:pt x="215" y="91"/>
                  </a:lnTo>
                  <a:lnTo>
                    <a:pt x="219" y="91"/>
                  </a:lnTo>
                  <a:lnTo>
                    <a:pt x="219" y="95"/>
                  </a:lnTo>
                  <a:lnTo>
                    <a:pt x="223" y="95"/>
                  </a:lnTo>
                  <a:lnTo>
                    <a:pt x="223" y="91"/>
                  </a:lnTo>
                  <a:lnTo>
                    <a:pt x="227" y="95"/>
                  </a:lnTo>
                  <a:lnTo>
                    <a:pt x="231" y="95"/>
                  </a:lnTo>
                  <a:lnTo>
                    <a:pt x="231" y="99"/>
                  </a:lnTo>
                  <a:lnTo>
                    <a:pt x="235" y="99"/>
                  </a:lnTo>
                  <a:lnTo>
                    <a:pt x="235" y="103"/>
                  </a:lnTo>
                  <a:lnTo>
                    <a:pt x="231" y="107"/>
                  </a:lnTo>
                  <a:lnTo>
                    <a:pt x="231" y="111"/>
                  </a:lnTo>
                  <a:lnTo>
                    <a:pt x="235" y="111"/>
                  </a:lnTo>
                  <a:lnTo>
                    <a:pt x="231" y="11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3" name="Freeform 50"/>
            <p:cNvSpPr>
              <a:spLocks noEditPoints="1"/>
            </p:cNvSpPr>
            <p:nvPr>
              <p:custDataLst>
                <p:tags r:id="rId246"/>
              </p:custDataLst>
            </p:nvPr>
          </p:nvSpPr>
          <p:spPr bwMode="gray">
            <a:xfrm>
              <a:off x="5534334" y="3876668"/>
              <a:ext cx="106781" cy="94916"/>
            </a:xfrm>
            <a:custGeom>
              <a:avLst/>
              <a:gdLst/>
              <a:ahLst/>
              <a:cxnLst>
                <a:cxn ang="0">
                  <a:pos x="72" y="16"/>
                </a:cxn>
                <a:cxn ang="0">
                  <a:pos x="72" y="20"/>
                </a:cxn>
                <a:cxn ang="0">
                  <a:pos x="72" y="20"/>
                </a:cxn>
                <a:cxn ang="0">
                  <a:pos x="72" y="24"/>
                </a:cxn>
                <a:cxn ang="0">
                  <a:pos x="68" y="24"/>
                </a:cxn>
                <a:cxn ang="0">
                  <a:pos x="68" y="24"/>
                </a:cxn>
                <a:cxn ang="0">
                  <a:pos x="68" y="24"/>
                </a:cxn>
                <a:cxn ang="0">
                  <a:pos x="68" y="20"/>
                </a:cxn>
                <a:cxn ang="0">
                  <a:pos x="64" y="20"/>
                </a:cxn>
                <a:cxn ang="0">
                  <a:pos x="64" y="24"/>
                </a:cxn>
                <a:cxn ang="0">
                  <a:pos x="64" y="28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68" y="40"/>
                </a:cxn>
                <a:cxn ang="0">
                  <a:pos x="60" y="40"/>
                </a:cxn>
                <a:cxn ang="0">
                  <a:pos x="60" y="44"/>
                </a:cxn>
                <a:cxn ang="0">
                  <a:pos x="56" y="52"/>
                </a:cxn>
                <a:cxn ang="0">
                  <a:pos x="56" y="56"/>
                </a:cxn>
                <a:cxn ang="0">
                  <a:pos x="56" y="60"/>
                </a:cxn>
                <a:cxn ang="0">
                  <a:pos x="52" y="64"/>
                </a:cxn>
                <a:cxn ang="0">
                  <a:pos x="0" y="36"/>
                </a:cxn>
                <a:cxn ang="0">
                  <a:pos x="0" y="36"/>
                </a:cxn>
                <a:cxn ang="0">
                  <a:pos x="4" y="40"/>
                </a:cxn>
                <a:cxn ang="0">
                  <a:pos x="8" y="40"/>
                </a:cxn>
                <a:cxn ang="0">
                  <a:pos x="12" y="36"/>
                </a:cxn>
                <a:cxn ang="0">
                  <a:pos x="16" y="36"/>
                </a:cxn>
                <a:cxn ang="0">
                  <a:pos x="20" y="36"/>
                </a:cxn>
                <a:cxn ang="0">
                  <a:pos x="28" y="36"/>
                </a:cxn>
                <a:cxn ang="0">
                  <a:pos x="28" y="40"/>
                </a:cxn>
                <a:cxn ang="0">
                  <a:pos x="40" y="36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24"/>
                </a:cxn>
                <a:cxn ang="0">
                  <a:pos x="52" y="20"/>
                </a:cxn>
                <a:cxn ang="0">
                  <a:pos x="52" y="16"/>
                </a:cxn>
                <a:cxn ang="0">
                  <a:pos x="56" y="16"/>
                </a:cxn>
                <a:cxn ang="0">
                  <a:pos x="56" y="16"/>
                </a:cxn>
                <a:cxn ang="0">
                  <a:pos x="56" y="12"/>
                </a:cxn>
                <a:cxn ang="0">
                  <a:pos x="60" y="12"/>
                </a:cxn>
                <a:cxn ang="0">
                  <a:pos x="60" y="8"/>
                </a:cxn>
                <a:cxn ang="0">
                  <a:pos x="60" y="8"/>
                </a:cxn>
                <a:cxn ang="0">
                  <a:pos x="64" y="8"/>
                </a:cxn>
                <a:cxn ang="0">
                  <a:pos x="68" y="0"/>
                </a:cxn>
                <a:cxn ang="0">
                  <a:pos x="68" y="4"/>
                </a:cxn>
                <a:cxn ang="0">
                  <a:pos x="68" y="8"/>
                </a:cxn>
                <a:cxn ang="0">
                  <a:pos x="72" y="8"/>
                </a:cxn>
                <a:cxn ang="0">
                  <a:pos x="44" y="32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36" y="36"/>
                </a:cxn>
                <a:cxn ang="0">
                  <a:pos x="32" y="36"/>
                </a:cxn>
              </a:cxnLst>
              <a:rect l="0" t="0" r="r" b="b"/>
              <a:pathLst>
                <a:path w="72" h="64">
                  <a:moveTo>
                    <a:pt x="72" y="12"/>
                  </a:moveTo>
                  <a:lnTo>
                    <a:pt x="72" y="12"/>
                  </a:lnTo>
                  <a:lnTo>
                    <a:pt x="72" y="12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16" y="6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close/>
                  <a:moveTo>
                    <a:pt x="44" y="32"/>
                  </a:moveTo>
                  <a:lnTo>
                    <a:pt x="40" y="32"/>
                  </a:lnTo>
                  <a:lnTo>
                    <a:pt x="40" y="28"/>
                  </a:lnTo>
                  <a:lnTo>
                    <a:pt x="44" y="32"/>
                  </a:lnTo>
                  <a:close/>
                  <a:moveTo>
                    <a:pt x="32" y="36"/>
                  </a:move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4" name="Freeform 51"/>
            <p:cNvSpPr>
              <a:spLocks/>
            </p:cNvSpPr>
            <p:nvPr>
              <p:custDataLst>
                <p:tags r:id="rId247"/>
              </p:custDataLst>
            </p:nvPr>
          </p:nvSpPr>
          <p:spPr bwMode="gray">
            <a:xfrm>
              <a:off x="5635182" y="3290858"/>
              <a:ext cx="385597" cy="259536"/>
            </a:xfrm>
            <a:custGeom>
              <a:avLst/>
              <a:gdLst/>
              <a:ahLst/>
              <a:cxnLst>
                <a:cxn ang="0">
                  <a:pos x="180" y="127"/>
                </a:cxn>
                <a:cxn ang="0">
                  <a:pos x="172" y="135"/>
                </a:cxn>
                <a:cxn ang="0">
                  <a:pos x="184" y="143"/>
                </a:cxn>
                <a:cxn ang="0">
                  <a:pos x="188" y="155"/>
                </a:cxn>
                <a:cxn ang="0">
                  <a:pos x="176" y="167"/>
                </a:cxn>
                <a:cxn ang="0">
                  <a:pos x="168" y="175"/>
                </a:cxn>
                <a:cxn ang="0">
                  <a:pos x="156" y="167"/>
                </a:cxn>
                <a:cxn ang="0">
                  <a:pos x="152" y="155"/>
                </a:cxn>
                <a:cxn ang="0">
                  <a:pos x="140" y="151"/>
                </a:cxn>
                <a:cxn ang="0">
                  <a:pos x="124" y="139"/>
                </a:cxn>
                <a:cxn ang="0">
                  <a:pos x="112" y="131"/>
                </a:cxn>
                <a:cxn ang="0">
                  <a:pos x="100" y="119"/>
                </a:cxn>
                <a:cxn ang="0">
                  <a:pos x="92" y="107"/>
                </a:cxn>
                <a:cxn ang="0">
                  <a:pos x="84" y="91"/>
                </a:cxn>
                <a:cxn ang="0">
                  <a:pos x="64" y="91"/>
                </a:cxn>
                <a:cxn ang="0">
                  <a:pos x="64" y="79"/>
                </a:cxn>
                <a:cxn ang="0">
                  <a:pos x="52" y="67"/>
                </a:cxn>
                <a:cxn ang="0">
                  <a:pos x="40" y="60"/>
                </a:cxn>
                <a:cxn ang="0">
                  <a:pos x="36" y="67"/>
                </a:cxn>
                <a:cxn ang="0">
                  <a:pos x="24" y="71"/>
                </a:cxn>
                <a:cxn ang="0">
                  <a:pos x="12" y="79"/>
                </a:cxn>
                <a:cxn ang="0">
                  <a:pos x="12" y="91"/>
                </a:cxn>
                <a:cxn ang="0">
                  <a:pos x="0" y="83"/>
                </a:cxn>
                <a:cxn ang="0">
                  <a:pos x="0" y="56"/>
                </a:cxn>
                <a:cxn ang="0">
                  <a:pos x="0" y="24"/>
                </a:cxn>
                <a:cxn ang="0">
                  <a:pos x="16" y="8"/>
                </a:cxn>
                <a:cxn ang="0">
                  <a:pos x="36" y="0"/>
                </a:cxn>
                <a:cxn ang="0">
                  <a:pos x="88" y="40"/>
                </a:cxn>
                <a:cxn ang="0">
                  <a:pos x="112" y="40"/>
                </a:cxn>
                <a:cxn ang="0">
                  <a:pos x="136" y="40"/>
                </a:cxn>
                <a:cxn ang="0">
                  <a:pos x="144" y="52"/>
                </a:cxn>
                <a:cxn ang="0">
                  <a:pos x="152" y="67"/>
                </a:cxn>
                <a:cxn ang="0">
                  <a:pos x="160" y="87"/>
                </a:cxn>
                <a:cxn ang="0">
                  <a:pos x="176" y="91"/>
                </a:cxn>
                <a:cxn ang="0">
                  <a:pos x="184" y="103"/>
                </a:cxn>
                <a:cxn ang="0">
                  <a:pos x="192" y="99"/>
                </a:cxn>
                <a:cxn ang="0">
                  <a:pos x="204" y="83"/>
                </a:cxn>
                <a:cxn ang="0">
                  <a:pos x="220" y="75"/>
                </a:cxn>
                <a:cxn ang="0">
                  <a:pos x="224" y="75"/>
                </a:cxn>
                <a:cxn ang="0">
                  <a:pos x="212" y="83"/>
                </a:cxn>
                <a:cxn ang="0">
                  <a:pos x="224" y="91"/>
                </a:cxn>
                <a:cxn ang="0">
                  <a:pos x="232" y="91"/>
                </a:cxn>
                <a:cxn ang="0">
                  <a:pos x="240" y="91"/>
                </a:cxn>
                <a:cxn ang="0">
                  <a:pos x="256" y="99"/>
                </a:cxn>
                <a:cxn ang="0">
                  <a:pos x="252" y="107"/>
                </a:cxn>
                <a:cxn ang="0">
                  <a:pos x="240" y="111"/>
                </a:cxn>
                <a:cxn ang="0">
                  <a:pos x="220" y="111"/>
                </a:cxn>
                <a:cxn ang="0">
                  <a:pos x="224" y="103"/>
                </a:cxn>
                <a:cxn ang="0">
                  <a:pos x="216" y="99"/>
                </a:cxn>
                <a:cxn ang="0">
                  <a:pos x="204" y="99"/>
                </a:cxn>
                <a:cxn ang="0">
                  <a:pos x="196" y="111"/>
                </a:cxn>
                <a:cxn ang="0">
                  <a:pos x="196" y="115"/>
                </a:cxn>
              </a:cxnLst>
              <a:rect l="0" t="0" r="r" b="b"/>
              <a:pathLst>
                <a:path w="260" h="175">
                  <a:moveTo>
                    <a:pt x="188" y="119"/>
                  </a:moveTo>
                  <a:lnTo>
                    <a:pt x="188" y="123"/>
                  </a:lnTo>
                  <a:lnTo>
                    <a:pt x="188" y="127"/>
                  </a:lnTo>
                  <a:lnTo>
                    <a:pt x="184" y="127"/>
                  </a:lnTo>
                  <a:lnTo>
                    <a:pt x="180" y="127"/>
                  </a:lnTo>
                  <a:lnTo>
                    <a:pt x="180" y="123"/>
                  </a:lnTo>
                  <a:lnTo>
                    <a:pt x="176" y="123"/>
                  </a:lnTo>
                  <a:lnTo>
                    <a:pt x="172" y="127"/>
                  </a:lnTo>
                  <a:lnTo>
                    <a:pt x="172" y="131"/>
                  </a:lnTo>
                  <a:lnTo>
                    <a:pt x="172" y="135"/>
                  </a:lnTo>
                  <a:lnTo>
                    <a:pt x="176" y="135"/>
                  </a:lnTo>
                  <a:lnTo>
                    <a:pt x="176" y="139"/>
                  </a:lnTo>
                  <a:lnTo>
                    <a:pt x="180" y="139"/>
                  </a:lnTo>
                  <a:lnTo>
                    <a:pt x="184" y="139"/>
                  </a:lnTo>
                  <a:lnTo>
                    <a:pt x="184" y="143"/>
                  </a:lnTo>
                  <a:lnTo>
                    <a:pt x="180" y="143"/>
                  </a:lnTo>
                  <a:lnTo>
                    <a:pt x="180" y="147"/>
                  </a:lnTo>
                  <a:lnTo>
                    <a:pt x="184" y="151"/>
                  </a:lnTo>
                  <a:lnTo>
                    <a:pt x="184" y="155"/>
                  </a:lnTo>
                  <a:lnTo>
                    <a:pt x="188" y="155"/>
                  </a:lnTo>
                  <a:lnTo>
                    <a:pt x="184" y="155"/>
                  </a:lnTo>
                  <a:lnTo>
                    <a:pt x="184" y="159"/>
                  </a:lnTo>
                  <a:lnTo>
                    <a:pt x="180" y="163"/>
                  </a:lnTo>
                  <a:lnTo>
                    <a:pt x="180" y="167"/>
                  </a:lnTo>
                  <a:lnTo>
                    <a:pt x="176" y="167"/>
                  </a:lnTo>
                  <a:lnTo>
                    <a:pt x="176" y="171"/>
                  </a:lnTo>
                  <a:lnTo>
                    <a:pt x="176" y="175"/>
                  </a:lnTo>
                  <a:lnTo>
                    <a:pt x="172" y="171"/>
                  </a:lnTo>
                  <a:lnTo>
                    <a:pt x="172" y="175"/>
                  </a:lnTo>
                  <a:lnTo>
                    <a:pt x="168" y="175"/>
                  </a:lnTo>
                  <a:lnTo>
                    <a:pt x="168" y="171"/>
                  </a:lnTo>
                  <a:lnTo>
                    <a:pt x="164" y="171"/>
                  </a:lnTo>
                  <a:lnTo>
                    <a:pt x="160" y="171"/>
                  </a:lnTo>
                  <a:lnTo>
                    <a:pt x="156" y="171"/>
                  </a:lnTo>
                  <a:lnTo>
                    <a:pt x="156" y="167"/>
                  </a:lnTo>
                  <a:lnTo>
                    <a:pt x="160" y="163"/>
                  </a:lnTo>
                  <a:lnTo>
                    <a:pt x="160" y="159"/>
                  </a:lnTo>
                  <a:lnTo>
                    <a:pt x="156" y="159"/>
                  </a:lnTo>
                  <a:lnTo>
                    <a:pt x="156" y="155"/>
                  </a:lnTo>
                  <a:lnTo>
                    <a:pt x="152" y="155"/>
                  </a:lnTo>
                  <a:lnTo>
                    <a:pt x="148" y="151"/>
                  </a:lnTo>
                  <a:lnTo>
                    <a:pt x="148" y="155"/>
                  </a:lnTo>
                  <a:lnTo>
                    <a:pt x="144" y="155"/>
                  </a:lnTo>
                  <a:lnTo>
                    <a:pt x="144" y="151"/>
                  </a:lnTo>
                  <a:lnTo>
                    <a:pt x="140" y="151"/>
                  </a:lnTo>
                  <a:lnTo>
                    <a:pt x="136" y="147"/>
                  </a:lnTo>
                  <a:lnTo>
                    <a:pt x="132" y="143"/>
                  </a:lnTo>
                  <a:lnTo>
                    <a:pt x="128" y="143"/>
                  </a:lnTo>
                  <a:lnTo>
                    <a:pt x="128" y="139"/>
                  </a:lnTo>
                  <a:lnTo>
                    <a:pt x="124" y="139"/>
                  </a:lnTo>
                  <a:lnTo>
                    <a:pt x="120" y="139"/>
                  </a:lnTo>
                  <a:lnTo>
                    <a:pt x="120" y="135"/>
                  </a:lnTo>
                  <a:lnTo>
                    <a:pt x="116" y="135"/>
                  </a:lnTo>
                  <a:lnTo>
                    <a:pt x="116" y="131"/>
                  </a:lnTo>
                  <a:lnTo>
                    <a:pt x="112" y="131"/>
                  </a:lnTo>
                  <a:lnTo>
                    <a:pt x="112" y="127"/>
                  </a:lnTo>
                  <a:lnTo>
                    <a:pt x="108" y="127"/>
                  </a:lnTo>
                  <a:lnTo>
                    <a:pt x="104" y="123"/>
                  </a:lnTo>
                  <a:lnTo>
                    <a:pt x="100" y="123"/>
                  </a:lnTo>
                  <a:lnTo>
                    <a:pt x="100" y="119"/>
                  </a:lnTo>
                  <a:lnTo>
                    <a:pt x="96" y="119"/>
                  </a:lnTo>
                  <a:lnTo>
                    <a:pt x="96" y="115"/>
                  </a:lnTo>
                  <a:lnTo>
                    <a:pt x="96" y="111"/>
                  </a:lnTo>
                  <a:lnTo>
                    <a:pt x="96" y="107"/>
                  </a:lnTo>
                  <a:lnTo>
                    <a:pt x="92" y="107"/>
                  </a:lnTo>
                  <a:lnTo>
                    <a:pt x="92" y="103"/>
                  </a:lnTo>
                  <a:lnTo>
                    <a:pt x="88" y="103"/>
                  </a:lnTo>
                  <a:lnTo>
                    <a:pt x="88" y="99"/>
                  </a:lnTo>
                  <a:lnTo>
                    <a:pt x="88" y="95"/>
                  </a:lnTo>
                  <a:lnTo>
                    <a:pt x="84" y="91"/>
                  </a:lnTo>
                  <a:lnTo>
                    <a:pt x="80" y="91"/>
                  </a:lnTo>
                  <a:lnTo>
                    <a:pt x="76" y="91"/>
                  </a:lnTo>
                  <a:lnTo>
                    <a:pt x="72" y="91"/>
                  </a:lnTo>
                  <a:lnTo>
                    <a:pt x="68" y="91"/>
                  </a:lnTo>
                  <a:lnTo>
                    <a:pt x="64" y="91"/>
                  </a:lnTo>
                  <a:lnTo>
                    <a:pt x="64" y="87"/>
                  </a:lnTo>
                  <a:lnTo>
                    <a:pt x="60" y="87"/>
                  </a:lnTo>
                  <a:lnTo>
                    <a:pt x="60" y="83"/>
                  </a:lnTo>
                  <a:lnTo>
                    <a:pt x="60" y="79"/>
                  </a:lnTo>
                  <a:lnTo>
                    <a:pt x="64" y="79"/>
                  </a:lnTo>
                  <a:lnTo>
                    <a:pt x="60" y="79"/>
                  </a:lnTo>
                  <a:lnTo>
                    <a:pt x="60" y="75"/>
                  </a:lnTo>
                  <a:lnTo>
                    <a:pt x="60" y="71"/>
                  </a:lnTo>
                  <a:lnTo>
                    <a:pt x="56" y="67"/>
                  </a:lnTo>
                  <a:lnTo>
                    <a:pt x="52" y="67"/>
                  </a:lnTo>
                  <a:lnTo>
                    <a:pt x="48" y="67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64"/>
                  </a:lnTo>
                  <a:lnTo>
                    <a:pt x="32" y="60"/>
                  </a:lnTo>
                  <a:lnTo>
                    <a:pt x="32" y="64"/>
                  </a:lnTo>
                  <a:lnTo>
                    <a:pt x="36" y="67"/>
                  </a:lnTo>
                  <a:lnTo>
                    <a:pt x="32" y="67"/>
                  </a:lnTo>
                  <a:lnTo>
                    <a:pt x="28" y="64"/>
                  </a:lnTo>
                  <a:lnTo>
                    <a:pt x="28" y="67"/>
                  </a:lnTo>
                  <a:lnTo>
                    <a:pt x="28" y="71"/>
                  </a:lnTo>
                  <a:lnTo>
                    <a:pt x="24" y="71"/>
                  </a:lnTo>
                  <a:lnTo>
                    <a:pt x="20" y="71"/>
                  </a:lnTo>
                  <a:lnTo>
                    <a:pt x="16" y="71"/>
                  </a:lnTo>
                  <a:lnTo>
                    <a:pt x="16" y="75"/>
                  </a:lnTo>
                  <a:lnTo>
                    <a:pt x="12" y="75"/>
                  </a:lnTo>
                  <a:lnTo>
                    <a:pt x="12" y="79"/>
                  </a:lnTo>
                  <a:lnTo>
                    <a:pt x="12" y="83"/>
                  </a:lnTo>
                  <a:lnTo>
                    <a:pt x="12" y="87"/>
                  </a:lnTo>
                  <a:lnTo>
                    <a:pt x="16" y="87"/>
                  </a:lnTo>
                  <a:lnTo>
                    <a:pt x="16" y="91"/>
                  </a:lnTo>
                  <a:lnTo>
                    <a:pt x="12" y="91"/>
                  </a:lnTo>
                  <a:lnTo>
                    <a:pt x="8" y="91"/>
                  </a:lnTo>
                  <a:lnTo>
                    <a:pt x="4" y="91"/>
                  </a:lnTo>
                  <a:lnTo>
                    <a:pt x="0" y="91"/>
                  </a:lnTo>
                  <a:lnTo>
                    <a:pt x="0" y="87"/>
                  </a:lnTo>
                  <a:lnTo>
                    <a:pt x="0" y="83"/>
                  </a:lnTo>
                  <a:lnTo>
                    <a:pt x="0" y="79"/>
                  </a:lnTo>
                  <a:lnTo>
                    <a:pt x="0" y="71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16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52" y="12"/>
                  </a:lnTo>
                  <a:lnTo>
                    <a:pt x="76" y="28"/>
                  </a:lnTo>
                  <a:lnTo>
                    <a:pt x="80" y="32"/>
                  </a:lnTo>
                  <a:lnTo>
                    <a:pt x="84" y="36"/>
                  </a:lnTo>
                  <a:lnTo>
                    <a:pt x="88" y="40"/>
                  </a:lnTo>
                  <a:lnTo>
                    <a:pt x="88" y="44"/>
                  </a:lnTo>
                  <a:lnTo>
                    <a:pt x="96" y="44"/>
                  </a:lnTo>
                  <a:lnTo>
                    <a:pt x="100" y="44"/>
                  </a:lnTo>
                  <a:lnTo>
                    <a:pt x="108" y="40"/>
                  </a:lnTo>
                  <a:lnTo>
                    <a:pt x="112" y="40"/>
                  </a:lnTo>
                  <a:lnTo>
                    <a:pt x="116" y="44"/>
                  </a:lnTo>
                  <a:lnTo>
                    <a:pt x="120" y="44"/>
                  </a:lnTo>
                  <a:lnTo>
                    <a:pt x="128" y="44"/>
                  </a:lnTo>
                  <a:lnTo>
                    <a:pt x="132" y="40"/>
                  </a:lnTo>
                  <a:lnTo>
                    <a:pt x="136" y="40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0" y="48"/>
                  </a:lnTo>
                  <a:lnTo>
                    <a:pt x="144" y="48"/>
                  </a:lnTo>
                  <a:lnTo>
                    <a:pt x="144" y="52"/>
                  </a:lnTo>
                  <a:lnTo>
                    <a:pt x="148" y="56"/>
                  </a:lnTo>
                  <a:lnTo>
                    <a:pt x="152" y="56"/>
                  </a:lnTo>
                  <a:lnTo>
                    <a:pt x="152" y="60"/>
                  </a:lnTo>
                  <a:lnTo>
                    <a:pt x="152" y="64"/>
                  </a:lnTo>
                  <a:lnTo>
                    <a:pt x="152" y="67"/>
                  </a:lnTo>
                  <a:lnTo>
                    <a:pt x="152" y="71"/>
                  </a:lnTo>
                  <a:lnTo>
                    <a:pt x="152" y="75"/>
                  </a:lnTo>
                  <a:lnTo>
                    <a:pt x="156" y="75"/>
                  </a:lnTo>
                  <a:lnTo>
                    <a:pt x="160" y="79"/>
                  </a:lnTo>
                  <a:lnTo>
                    <a:pt x="160" y="87"/>
                  </a:lnTo>
                  <a:lnTo>
                    <a:pt x="160" y="91"/>
                  </a:lnTo>
                  <a:lnTo>
                    <a:pt x="164" y="91"/>
                  </a:lnTo>
                  <a:lnTo>
                    <a:pt x="168" y="91"/>
                  </a:lnTo>
                  <a:lnTo>
                    <a:pt x="172" y="91"/>
                  </a:lnTo>
                  <a:lnTo>
                    <a:pt x="176" y="91"/>
                  </a:lnTo>
                  <a:lnTo>
                    <a:pt x="180" y="91"/>
                  </a:lnTo>
                  <a:lnTo>
                    <a:pt x="180" y="95"/>
                  </a:lnTo>
                  <a:lnTo>
                    <a:pt x="184" y="95"/>
                  </a:lnTo>
                  <a:lnTo>
                    <a:pt x="180" y="99"/>
                  </a:lnTo>
                  <a:lnTo>
                    <a:pt x="184" y="103"/>
                  </a:lnTo>
                  <a:lnTo>
                    <a:pt x="188" y="103"/>
                  </a:lnTo>
                  <a:lnTo>
                    <a:pt x="192" y="103"/>
                  </a:lnTo>
                  <a:lnTo>
                    <a:pt x="188" y="103"/>
                  </a:lnTo>
                  <a:lnTo>
                    <a:pt x="188" y="99"/>
                  </a:lnTo>
                  <a:lnTo>
                    <a:pt x="192" y="99"/>
                  </a:lnTo>
                  <a:lnTo>
                    <a:pt x="192" y="95"/>
                  </a:lnTo>
                  <a:lnTo>
                    <a:pt x="196" y="91"/>
                  </a:lnTo>
                  <a:lnTo>
                    <a:pt x="196" y="87"/>
                  </a:lnTo>
                  <a:lnTo>
                    <a:pt x="200" y="87"/>
                  </a:lnTo>
                  <a:lnTo>
                    <a:pt x="204" y="83"/>
                  </a:lnTo>
                  <a:lnTo>
                    <a:pt x="208" y="83"/>
                  </a:lnTo>
                  <a:lnTo>
                    <a:pt x="212" y="79"/>
                  </a:lnTo>
                  <a:lnTo>
                    <a:pt x="216" y="75"/>
                  </a:lnTo>
                  <a:lnTo>
                    <a:pt x="216" y="71"/>
                  </a:lnTo>
                  <a:lnTo>
                    <a:pt x="220" y="75"/>
                  </a:lnTo>
                  <a:lnTo>
                    <a:pt x="220" y="71"/>
                  </a:lnTo>
                  <a:lnTo>
                    <a:pt x="224" y="71"/>
                  </a:lnTo>
                  <a:lnTo>
                    <a:pt x="228" y="67"/>
                  </a:lnTo>
                  <a:lnTo>
                    <a:pt x="228" y="71"/>
                  </a:lnTo>
                  <a:lnTo>
                    <a:pt x="224" y="75"/>
                  </a:lnTo>
                  <a:lnTo>
                    <a:pt x="220" y="75"/>
                  </a:lnTo>
                  <a:lnTo>
                    <a:pt x="220" y="79"/>
                  </a:lnTo>
                  <a:lnTo>
                    <a:pt x="216" y="79"/>
                  </a:lnTo>
                  <a:lnTo>
                    <a:pt x="216" y="83"/>
                  </a:lnTo>
                  <a:lnTo>
                    <a:pt x="212" y="83"/>
                  </a:lnTo>
                  <a:lnTo>
                    <a:pt x="212" y="87"/>
                  </a:lnTo>
                  <a:lnTo>
                    <a:pt x="216" y="87"/>
                  </a:lnTo>
                  <a:lnTo>
                    <a:pt x="220" y="87"/>
                  </a:lnTo>
                  <a:lnTo>
                    <a:pt x="224" y="87"/>
                  </a:lnTo>
                  <a:lnTo>
                    <a:pt x="224" y="91"/>
                  </a:lnTo>
                  <a:lnTo>
                    <a:pt x="228" y="91"/>
                  </a:lnTo>
                  <a:lnTo>
                    <a:pt x="232" y="95"/>
                  </a:lnTo>
                  <a:lnTo>
                    <a:pt x="232" y="91"/>
                  </a:lnTo>
                  <a:lnTo>
                    <a:pt x="232" y="87"/>
                  </a:lnTo>
                  <a:lnTo>
                    <a:pt x="232" y="91"/>
                  </a:lnTo>
                  <a:lnTo>
                    <a:pt x="236" y="91"/>
                  </a:lnTo>
                  <a:lnTo>
                    <a:pt x="236" y="87"/>
                  </a:lnTo>
                  <a:lnTo>
                    <a:pt x="236" y="83"/>
                  </a:lnTo>
                  <a:lnTo>
                    <a:pt x="240" y="87"/>
                  </a:lnTo>
                  <a:lnTo>
                    <a:pt x="240" y="91"/>
                  </a:lnTo>
                  <a:lnTo>
                    <a:pt x="244" y="91"/>
                  </a:lnTo>
                  <a:lnTo>
                    <a:pt x="244" y="95"/>
                  </a:lnTo>
                  <a:lnTo>
                    <a:pt x="248" y="95"/>
                  </a:lnTo>
                  <a:lnTo>
                    <a:pt x="252" y="99"/>
                  </a:lnTo>
                  <a:lnTo>
                    <a:pt x="256" y="99"/>
                  </a:lnTo>
                  <a:lnTo>
                    <a:pt x="260" y="99"/>
                  </a:lnTo>
                  <a:lnTo>
                    <a:pt x="256" y="99"/>
                  </a:lnTo>
                  <a:lnTo>
                    <a:pt x="256" y="103"/>
                  </a:lnTo>
                  <a:lnTo>
                    <a:pt x="252" y="103"/>
                  </a:lnTo>
                  <a:lnTo>
                    <a:pt x="252" y="107"/>
                  </a:lnTo>
                  <a:lnTo>
                    <a:pt x="248" y="107"/>
                  </a:lnTo>
                  <a:lnTo>
                    <a:pt x="248" y="103"/>
                  </a:lnTo>
                  <a:lnTo>
                    <a:pt x="248" y="107"/>
                  </a:lnTo>
                  <a:lnTo>
                    <a:pt x="244" y="107"/>
                  </a:lnTo>
                  <a:lnTo>
                    <a:pt x="240" y="111"/>
                  </a:lnTo>
                  <a:lnTo>
                    <a:pt x="236" y="115"/>
                  </a:lnTo>
                  <a:lnTo>
                    <a:pt x="232" y="111"/>
                  </a:lnTo>
                  <a:lnTo>
                    <a:pt x="228" y="111"/>
                  </a:lnTo>
                  <a:lnTo>
                    <a:pt x="224" y="111"/>
                  </a:lnTo>
                  <a:lnTo>
                    <a:pt x="220" y="111"/>
                  </a:lnTo>
                  <a:lnTo>
                    <a:pt x="216" y="111"/>
                  </a:lnTo>
                  <a:lnTo>
                    <a:pt x="216" y="107"/>
                  </a:lnTo>
                  <a:lnTo>
                    <a:pt x="220" y="107"/>
                  </a:lnTo>
                  <a:lnTo>
                    <a:pt x="220" y="103"/>
                  </a:lnTo>
                  <a:lnTo>
                    <a:pt x="224" y="103"/>
                  </a:lnTo>
                  <a:lnTo>
                    <a:pt x="224" y="99"/>
                  </a:lnTo>
                  <a:lnTo>
                    <a:pt x="220" y="99"/>
                  </a:lnTo>
                  <a:lnTo>
                    <a:pt x="220" y="95"/>
                  </a:lnTo>
                  <a:lnTo>
                    <a:pt x="216" y="95"/>
                  </a:lnTo>
                  <a:lnTo>
                    <a:pt x="216" y="99"/>
                  </a:lnTo>
                  <a:lnTo>
                    <a:pt x="212" y="99"/>
                  </a:lnTo>
                  <a:lnTo>
                    <a:pt x="212" y="103"/>
                  </a:lnTo>
                  <a:lnTo>
                    <a:pt x="208" y="103"/>
                  </a:lnTo>
                  <a:lnTo>
                    <a:pt x="204" y="103"/>
                  </a:lnTo>
                  <a:lnTo>
                    <a:pt x="204" y="99"/>
                  </a:lnTo>
                  <a:lnTo>
                    <a:pt x="200" y="99"/>
                  </a:lnTo>
                  <a:lnTo>
                    <a:pt x="200" y="103"/>
                  </a:lnTo>
                  <a:lnTo>
                    <a:pt x="200" y="107"/>
                  </a:lnTo>
                  <a:lnTo>
                    <a:pt x="200" y="111"/>
                  </a:lnTo>
                  <a:lnTo>
                    <a:pt x="196" y="111"/>
                  </a:lnTo>
                  <a:lnTo>
                    <a:pt x="192" y="111"/>
                  </a:lnTo>
                  <a:lnTo>
                    <a:pt x="188" y="111"/>
                  </a:lnTo>
                  <a:lnTo>
                    <a:pt x="188" y="115"/>
                  </a:lnTo>
                  <a:lnTo>
                    <a:pt x="192" y="115"/>
                  </a:lnTo>
                  <a:lnTo>
                    <a:pt x="196" y="115"/>
                  </a:lnTo>
                  <a:lnTo>
                    <a:pt x="192" y="115"/>
                  </a:lnTo>
                  <a:lnTo>
                    <a:pt x="192" y="119"/>
                  </a:lnTo>
                  <a:lnTo>
                    <a:pt x="188" y="1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5" name="Freeform 52"/>
            <p:cNvSpPr>
              <a:spLocks noEditPoints="1"/>
            </p:cNvSpPr>
            <p:nvPr>
              <p:custDataLst>
                <p:tags r:id="rId248"/>
              </p:custDataLst>
            </p:nvPr>
          </p:nvSpPr>
          <p:spPr bwMode="gray">
            <a:xfrm>
              <a:off x="6670361" y="3953787"/>
              <a:ext cx="160171" cy="407842"/>
            </a:xfrm>
            <a:custGeom>
              <a:avLst/>
              <a:gdLst/>
              <a:ahLst/>
              <a:cxnLst>
                <a:cxn ang="0">
                  <a:pos x="84" y="131"/>
                </a:cxn>
                <a:cxn ang="0">
                  <a:pos x="92" y="139"/>
                </a:cxn>
                <a:cxn ang="0">
                  <a:pos x="100" y="147"/>
                </a:cxn>
                <a:cxn ang="0">
                  <a:pos x="104" y="159"/>
                </a:cxn>
                <a:cxn ang="0">
                  <a:pos x="104" y="179"/>
                </a:cxn>
                <a:cxn ang="0">
                  <a:pos x="108" y="191"/>
                </a:cxn>
                <a:cxn ang="0">
                  <a:pos x="108" y="207"/>
                </a:cxn>
                <a:cxn ang="0">
                  <a:pos x="104" y="211"/>
                </a:cxn>
                <a:cxn ang="0">
                  <a:pos x="100" y="227"/>
                </a:cxn>
                <a:cxn ang="0">
                  <a:pos x="84" y="235"/>
                </a:cxn>
                <a:cxn ang="0">
                  <a:pos x="68" y="235"/>
                </a:cxn>
                <a:cxn ang="0">
                  <a:pos x="68" y="243"/>
                </a:cxn>
                <a:cxn ang="0">
                  <a:pos x="64" y="247"/>
                </a:cxn>
                <a:cxn ang="0">
                  <a:pos x="60" y="247"/>
                </a:cxn>
                <a:cxn ang="0">
                  <a:pos x="56" y="251"/>
                </a:cxn>
                <a:cxn ang="0">
                  <a:pos x="52" y="263"/>
                </a:cxn>
                <a:cxn ang="0">
                  <a:pos x="36" y="275"/>
                </a:cxn>
                <a:cxn ang="0">
                  <a:pos x="40" y="255"/>
                </a:cxn>
                <a:cxn ang="0">
                  <a:pos x="36" y="243"/>
                </a:cxn>
                <a:cxn ang="0">
                  <a:pos x="44" y="231"/>
                </a:cxn>
                <a:cxn ang="0">
                  <a:pos x="60" y="231"/>
                </a:cxn>
                <a:cxn ang="0">
                  <a:pos x="60" y="219"/>
                </a:cxn>
                <a:cxn ang="0">
                  <a:pos x="68" y="211"/>
                </a:cxn>
                <a:cxn ang="0">
                  <a:pos x="80" y="199"/>
                </a:cxn>
                <a:cxn ang="0">
                  <a:pos x="76" y="175"/>
                </a:cxn>
                <a:cxn ang="0">
                  <a:pos x="80" y="159"/>
                </a:cxn>
                <a:cxn ang="0">
                  <a:pos x="76" y="143"/>
                </a:cxn>
                <a:cxn ang="0">
                  <a:pos x="72" y="131"/>
                </a:cxn>
                <a:cxn ang="0">
                  <a:pos x="64" y="119"/>
                </a:cxn>
                <a:cxn ang="0">
                  <a:pos x="52" y="107"/>
                </a:cxn>
                <a:cxn ang="0">
                  <a:pos x="44" y="91"/>
                </a:cxn>
                <a:cxn ang="0">
                  <a:pos x="28" y="79"/>
                </a:cxn>
                <a:cxn ang="0">
                  <a:pos x="28" y="67"/>
                </a:cxn>
                <a:cxn ang="0">
                  <a:pos x="40" y="63"/>
                </a:cxn>
                <a:cxn ang="0">
                  <a:pos x="28" y="44"/>
                </a:cxn>
                <a:cxn ang="0">
                  <a:pos x="12" y="48"/>
                </a:cxn>
                <a:cxn ang="0">
                  <a:pos x="12" y="36"/>
                </a:cxn>
                <a:cxn ang="0">
                  <a:pos x="0" y="20"/>
                </a:cxn>
                <a:cxn ang="0">
                  <a:pos x="12" y="16"/>
                </a:cxn>
                <a:cxn ang="0">
                  <a:pos x="24" y="12"/>
                </a:cxn>
                <a:cxn ang="0">
                  <a:pos x="40" y="8"/>
                </a:cxn>
                <a:cxn ang="0">
                  <a:pos x="52" y="8"/>
                </a:cxn>
                <a:cxn ang="0">
                  <a:pos x="68" y="16"/>
                </a:cxn>
                <a:cxn ang="0">
                  <a:pos x="76" y="32"/>
                </a:cxn>
                <a:cxn ang="0">
                  <a:pos x="80" y="40"/>
                </a:cxn>
                <a:cxn ang="0">
                  <a:pos x="76" y="44"/>
                </a:cxn>
                <a:cxn ang="0">
                  <a:pos x="68" y="52"/>
                </a:cxn>
                <a:cxn ang="0">
                  <a:pos x="60" y="63"/>
                </a:cxn>
                <a:cxn ang="0">
                  <a:pos x="56" y="75"/>
                </a:cxn>
                <a:cxn ang="0">
                  <a:pos x="56" y="95"/>
                </a:cxn>
                <a:cxn ang="0">
                  <a:pos x="68" y="115"/>
                </a:cxn>
                <a:cxn ang="0">
                  <a:pos x="72" y="239"/>
                </a:cxn>
                <a:cxn ang="0">
                  <a:pos x="76" y="44"/>
                </a:cxn>
                <a:cxn ang="0">
                  <a:pos x="28" y="247"/>
                </a:cxn>
              </a:cxnLst>
              <a:rect l="0" t="0" r="r" b="b"/>
              <a:pathLst>
                <a:path w="108" h="275">
                  <a:moveTo>
                    <a:pt x="72" y="119"/>
                  </a:moveTo>
                  <a:lnTo>
                    <a:pt x="76" y="119"/>
                  </a:lnTo>
                  <a:lnTo>
                    <a:pt x="76" y="123"/>
                  </a:lnTo>
                  <a:lnTo>
                    <a:pt x="80" y="127"/>
                  </a:lnTo>
                  <a:lnTo>
                    <a:pt x="84" y="127"/>
                  </a:lnTo>
                  <a:lnTo>
                    <a:pt x="84" y="131"/>
                  </a:lnTo>
                  <a:lnTo>
                    <a:pt x="88" y="131"/>
                  </a:lnTo>
                  <a:lnTo>
                    <a:pt x="88" y="135"/>
                  </a:lnTo>
                  <a:lnTo>
                    <a:pt x="92" y="135"/>
                  </a:lnTo>
                  <a:lnTo>
                    <a:pt x="88" y="135"/>
                  </a:lnTo>
                  <a:lnTo>
                    <a:pt x="92" y="135"/>
                  </a:lnTo>
                  <a:lnTo>
                    <a:pt x="92" y="139"/>
                  </a:lnTo>
                  <a:lnTo>
                    <a:pt x="92" y="135"/>
                  </a:lnTo>
                  <a:lnTo>
                    <a:pt x="92" y="139"/>
                  </a:lnTo>
                  <a:lnTo>
                    <a:pt x="92" y="143"/>
                  </a:lnTo>
                  <a:lnTo>
                    <a:pt x="96" y="143"/>
                  </a:lnTo>
                  <a:lnTo>
                    <a:pt x="96" y="147"/>
                  </a:lnTo>
                  <a:lnTo>
                    <a:pt x="100" y="147"/>
                  </a:lnTo>
                  <a:lnTo>
                    <a:pt x="100" y="151"/>
                  </a:lnTo>
                  <a:lnTo>
                    <a:pt x="100" y="147"/>
                  </a:lnTo>
                  <a:lnTo>
                    <a:pt x="100" y="151"/>
                  </a:lnTo>
                  <a:lnTo>
                    <a:pt x="100" y="155"/>
                  </a:lnTo>
                  <a:lnTo>
                    <a:pt x="100" y="159"/>
                  </a:lnTo>
                  <a:lnTo>
                    <a:pt x="104" y="159"/>
                  </a:lnTo>
                  <a:lnTo>
                    <a:pt x="104" y="163"/>
                  </a:lnTo>
                  <a:lnTo>
                    <a:pt x="104" y="167"/>
                  </a:lnTo>
                  <a:lnTo>
                    <a:pt x="104" y="171"/>
                  </a:lnTo>
                  <a:lnTo>
                    <a:pt x="108" y="175"/>
                  </a:lnTo>
                  <a:lnTo>
                    <a:pt x="108" y="179"/>
                  </a:lnTo>
                  <a:lnTo>
                    <a:pt x="104" y="179"/>
                  </a:lnTo>
                  <a:lnTo>
                    <a:pt x="108" y="179"/>
                  </a:lnTo>
                  <a:lnTo>
                    <a:pt x="104" y="179"/>
                  </a:lnTo>
                  <a:lnTo>
                    <a:pt x="108" y="179"/>
                  </a:lnTo>
                  <a:lnTo>
                    <a:pt x="108" y="183"/>
                  </a:lnTo>
                  <a:lnTo>
                    <a:pt x="108" y="187"/>
                  </a:lnTo>
                  <a:lnTo>
                    <a:pt x="108" y="191"/>
                  </a:lnTo>
                  <a:lnTo>
                    <a:pt x="108" y="195"/>
                  </a:lnTo>
                  <a:lnTo>
                    <a:pt x="108" y="199"/>
                  </a:lnTo>
                  <a:lnTo>
                    <a:pt x="104" y="199"/>
                  </a:lnTo>
                  <a:lnTo>
                    <a:pt x="104" y="203"/>
                  </a:lnTo>
                  <a:lnTo>
                    <a:pt x="108" y="203"/>
                  </a:lnTo>
                  <a:lnTo>
                    <a:pt x="108" y="207"/>
                  </a:lnTo>
                  <a:lnTo>
                    <a:pt x="108" y="203"/>
                  </a:lnTo>
                  <a:lnTo>
                    <a:pt x="104" y="203"/>
                  </a:lnTo>
                  <a:lnTo>
                    <a:pt x="104" y="207"/>
                  </a:lnTo>
                  <a:lnTo>
                    <a:pt x="104" y="211"/>
                  </a:lnTo>
                  <a:lnTo>
                    <a:pt x="108" y="215"/>
                  </a:lnTo>
                  <a:lnTo>
                    <a:pt x="104" y="211"/>
                  </a:lnTo>
                  <a:lnTo>
                    <a:pt x="104" y="215"/>
                  </a:lnTo>
                  <a:lnTo>
                    <a:pt x="104" y="219"/>
                  </a:lnTo>
                  <a:lnTo>
                    <a:pt x="104" y="223"/>
                  </a:lnTo>
                  <a:lnTo>
                    <a:pt x="100" y="227"/>
                  </a:lnTo>
                  <a:lnTo>
                    <a:pt x="100" y="223"/>
                  </a:lnTo>
                  <a:lnTo>
                    <a:pt x="100" y="227"/>
                  </a:lnTo>
                  <a:lnTo>
                    <a:pt x="96" y="227"/>
                  </a:lnTo>
                  <a:lnTo>
                    <a:pt x="96" y="231"/>
                  </a:lnTo>
                  <a:lnTo>
                    <a:pt x="92" y="231"/>
                  </a:lnTo>
                  <a:lnTo>
                    <a:pt x="88" y="231"/>
                  </a:lnTo>
                  <a:lnTo>
                    <a:pt x="88" y="235"/>
                  </a:lnTo>
                  <a:lnTo>
                    <a:pt x="84" y="235"/>
                  </a:lnTo>
                  <a:lnTo>
                    <a:pt x="84" y="239"/>
                  </a:lnTo>
                  <a:lnTo>
                    <a:pt x="80" y="239"/>
                  </a:lnTo>
                  <a:lnTo>
                    <a:pt x="76" y="243"/>
                  </a:lnTo>
                  <a:lnTo>
                    <a:pt x="76" y="239"/>
                  </a:lnTo>
                  <a:lnTo>
                    <a:pt x="72" y="239"/>
                  </a:lnTo>
                  <a:lnTo>
                    <a:pt x="68" y="235"/>
                  </a:lnTo>
                  <a:lnTo>
                    <a:pt x="68" y="239"/>
                  </a:lnTo>
                  <a:lnTo>
                    <a:pt x="68" y="243"/>
                  </a:lnTo>
                  <a:lnTo>
                    <a:pt x="68" y="239"/>
                  </a:lnTo>
                  <a:lnTo>
                    <a:pt x="68" y="243"/>
                  </a:lnTo>
                  <a:lnTo>
                    <a:pt x="64" y="243"/>
                  </a:lnTo>
                  <a:lnTo>
                    <a:pt x="68" y="243"/>
                  </a:lnTo>
                  <a:lnTo>
                    <a:pt x="68" y="247"/>
                  </a:lnTo>
                  <a:lnTo>
                    <a:pt x="68" y="251"/>
                  </a:lnTo>
                  <a:lnTo>
                    <a:pt x="64" y="247"/>
                  </a:lnTo>
                  <a:lnTo>
                    <a:pt x="64" y="243"/>
                  </a:lnTo>
                  <a:lnTo>
                    <a:pt x="60" y="243"/>
                  </a:lnTo>
                  <a:lnTo>
                    <a:pt x="64" y="247"/>
                  </a:lnTo>
                  <a:lnTo>
                    <a:pt x="64" y="251"/>
                  </a:lnTo>
                  <a:lnTo>
                    <a:pt x="68" y="251"/>
                  </a:lnTo>
                  <a:lnTo>
                    <a:pt x="64" y="251"/>
                  </a:lnTo>
                  <a:lnTo>
                    <a:pt x="60" y="247"/>
                  </a:lnTo>
                  <a:lnTo>
                    <a:pt x="60" y="243"/>
                  </a:lnTo>
                  <a:lnTo>
                    <a:pt x="60" y="247"/>
                  </a:lnTo>
                  <a:lnTo>
                    <a:pt x="60" y="251"/>
                  </a:lnTo>
                  <a:lnTo>
                    <a:pt x="64" y="251"/>
                  </a:lnTo>
                  <a:lnTo>
                    <a:pt x="64" y="255"/>
                  </a:lnTo>
                  <a:lnTo>
                    <a:pt x="64" y="259"/>
                  </a:lnTo>
                  <a:lnTo>
                    <a:pt x="60" y="255"/>
                  </a:lnTo>
                  <a:lnTo>
                    <a:pt x="56" y="251"/>
                  </a:lnTo>
                  <a:lnTo>
                    <a:pt x="56" y="255"/>
                  </a:lnTo>
                  <a:lnTo>
                    <a:pt x="60" y="255"/>
                  </a:lnTo>
                  <a:lnTo>
                    <a:pt x="60" y="259"/>
                  </a:lnTo>
                  <a:lnTo>
                    <a:pt x="60" y="263"/>
                  </a:lnTo>
                  <a:lnTo>
                    <a:pt x="56" y="263"/>
                  </a:lnTo>
                  <a:lnTo>
                    <a:pt x="52" y="263"/>
                  </a:lnTo>
                  <a:lnTo>
                    <a:pt x="52" y="267"/>
                  </a:lnTo>
                  <a:lnTo>
                    <a:pt x="48" y="267"/>
                  </a:lnTo>
                  <a:lnTo>
                    <a:pt x="48" y="271"/>
                  </a:lnTo>
                  <a:lnTo>
                    <a:pt x="44" y="275"/>
                  </a:lnTo>
                  <a:lnTo>
                    <a:pt x="40" y="275"/>
                  </a:lnTo>
                  <a:lnTo>
                    <a:pt x="36" y="275"/>
                  </a:lnTo>
                  <a:lnTo>
                    <a:pt x="40" y="275"/>
                  </a:lnTo>
                  <a:lnTo>
                    <a:pt x="40" y="271"/>
                  </a:lnTo>
                  <a:lnTo>
                    <a:pt x="40" y="267"/>
                  </a:lnTo>
                  <a:lnTo>
                    <a:pt x="40" y="263"/>
                  </a:lnTo>
                  <a:lnTo>
                    <a:pt x="40" y="259"/>
                  </a:lnTo>
                  <a:lnTo>
                    <a:pt x="40" y="255"/>
                  </a:lnTo>
                  <a:lnTo>
                    <a:pt x="40" y="251"/>
                  </a:lnTo>
                  <a:lnTo>
                    <a:pt x="44" y="251"/>
                  </a:lnTo>
                  <a:lnTo>
                    <a:pt x="44" y="247"/>
                  </a:lnTo>
                  <a:lnTo>
                    <a:pt x="40" y="247"/>
                  </a:lnTo>
                  <a:lnTo>
                    <a:pt x="36" y="247"/>
                  </a:lnTo>
                  <a:lnTo>
                    <a:pt x="36" y="243"/>
                  </a:lnTo>
                  <a:lnTo>
                    <a:pt x="32" y="243"/>
                  </a:lnTo>
                  <a:lnTo>
                    <a:pt x="36" y="243"/>
                  </a:lnTo>
                  <a:lnTo>
                    <a:pt x="36" y="239"/>
                  </a:lnTo>
                  <a:lnTo>
                    <a:pt x="40" y="239"/>
                  </a:lnTo>
                  <a:lnTo>
                    <a:pt x="44" y="235"/>
                  </a:lnTo>
                  <a:lnTo>
                    <a:pt x="44" y="231"/>
                  </a:lnTo>
                  <a:lnTo>
                    <a:pt x="48" y="235"/>
                  </a:lnTo>
                  <a:lnTo>
                    <a:pt x="48" y="231"/>
                  </a:lnTo>
                  <a:lnTo>
                    <a:pt x="52" y="231"/>
                  </a:lnTo>
                  <a:lnTo>
                    <a:pt x="56" y="231"/>
                  </a:lnTo>
                  <a:lnTo>
                    <a:pt x="60" y="235"/>
                  </a:lnTo>
                  <a:lnTo>
                    <a:pt x="60" y="231"/>
                  </a:lnTo>
                  <a:lnTo>
                    <a:pt x="56" y="227"/>
                  </a:lnTo>
                  <a:lnTo>
                    <a:pt x="56" y="223"/>
                  </a:lnTo>
                  <a:lnTo>
                    <a:pt x="56" y="219"/>
                  </a:lnTo>
                  <a:lnTo>
                    <a:pt x="56" y="215"/>
                  </a:lnTo>
                  <a:lnTo>
                    <a:pt x="60" y="215"/>
                  </a:lnTo>
                  <a:lnTo>
                    <a:pt x="60" y="219"/>
                  </a:lnTo>
                  <a:lnTo>
                    <a:pt x="64" y="219"/>
                  </a:lnTo>
                  <a:lnTo>
                    <a:pt x="64" y="215"/>
                  </a:lnTo>
                  <a:lnTo>
                    <a:pt x="64" y="211"/>
                  </a:lnTo>
                  <a:lnTo>
                    <a:pt x="68" y="211"/>
                  </a:lnTo>
                  <a:lnTo>
                    <a:pt x="68" y="215"/>
                  </a:lnTo>
                  <a:lnTo>
                    <a:pt x="68" y="211"/>
                  </a:lnTo>
                  <a:lnTo>
                    <a:pt x="72" y="211"/>
                  </a:lnTo>
                  <a:lnTo>
                    <a:pt x="72" y="207"/>
                  </a:lnTo>
                  <a:lnTo>
                    <a:pt x="76" y="207"/>
                  </a:lnTo>
                  <a:lnTo>
                    <a:pt x="80" y="207"/>
                  </a:lnTo>
                  <a:lnTo>
                    <a:pt x="80" y="203"/>
                  </a:lnTo>
                  <a:lnTo>
                    <a:pt x="80" y="199"/>
                  </a:lnTo>
                  <a:lnTo>
                    <a:pt x="80" y="195"/>
                  </a:lnTo>
                  <a:lnTo>
                    <a:pt x="80" y="187"/>
                  </a:lnTo>
                  <a:lnTo>
                    <a:pt x="80" y="183"/>
                  </a:lnTo>
                  <a:lnTo>
                    <a:pt x="80" y="179"/>
                  </a:lnTo>
                  <a:lnTo>
                    <a:pt x="80" y="175"/>
                  </a:lnTo>
                  <a:lnTo>
                    <a:pt x="76" y="175"/>
                  </a:lnTo>
                  <a:lnTo>
                    <a:pt x="76" y="171"/>
                  </a:lnTo>
                  <a:lnTo>
                    <a:pt x="80" y="171"/>
                  </a:lnTo>
                  <a:lnTo>
                    <a:pt x="76" y="167"/>
                  </a:lnTo>
                  <a:lnTo>
                    <a:pt x="80" y="167"/>
                  </a:lnTo>
                  <a:lnTo>
                    <a:pt x="80" y="163"/>
                  </a:lnTo>
                  <a:lnTo>
                    <a:pt x="80" y="159"/>
                  </a:lnTo>
                  <a:lnTo>
                    <a:pt x="80" y="155"/>
                  </a:lnTo>
                  <a:lnTo>
                    <a:pt x="84" y="151"/>
                  </a:lnTo>
                  <a:lnTo>
                    <a:pt x="80" y="151"/>
                  </a:lnTo>
                  <a:lnTo>
                    <a:pt x="80" y="147"/>
                  </a:lnTo>
                  <a:lnTo>
                    <a:pt x="76" y="147"/>
                  </a:lnTo>
                  <a:lnTo>
                    <a:pt x="76" y="143"/>
                  </a:lnTo>
                  <a:lnTo>
                    <a:pt x="76" y="139"/>
                  </a:lnTo>
                  <a:lnTo>
                    <a:pt x="80" y="139"/>
                  </a:lnTo>
                  <a:lnTo>
                    <a:pt x="80" y="135"/>
                  </a:lnTo>
                  <a:lnTo>
                    <a:pt x="76" y="135"/>
                  </a:lnTo>
                  <a:lnTo>
                    <a:pt x="76" y="131"/>
                  </a:lnTo>
                  <a:lnTo>
                    <a:pt x="72" y="131"/>
                  </a:lnTo>
                  <a:lnTo>
                    <a:pt x="72" y="127"/>
                  </a:lnTo>
                  <a:lnTo>
                    <a:pt x="68" y="127"/>
                  </a:lnTo>
                  <a:lnTo>
                    <a:pt x="68" y="131"/>
                  </a:lnTo>
                  <a:lnTo>
                    <a:pt x="64" y="127"/>
                  </a:lnTo>
                  <a:lnTo>
                    <a:pt x="64" y="123"/>
                  </a:lnTo>
                  <a:lnTo>
                    <a:pt x="64" y="119"/>
                  </a:lnTo>
                  <a:lnTo>
                    <a:pt x="64" y="115"/>
                  </a:lnTo>
                  <a:lnTo>
                    <a:pt x="60" y="115"/>
                  </a:lnTo>
                  <a:lnTo>
                    <a:pt x="60" y="111"/>
                  </a:lnTo>
                  <a:lnTo>
                    <a:pt x="56" y="111"/>
                  </a:lnTo>
                  <a:lnTo>
                    <a:pt x="56" y="107"/>
                  </a:lnTo>
                  <a:lnTo>
                    <a:pt x="52" y="107"/>
                  </a:lnTo>
                  <a:lnTo>
                    <a:pt x="52" y="103"/>
                  </a:lnTo>
                  <a:lnTo>
                    <a:pt x="52" y="99"/>
                  </a:lnTo>
                  <a:lnTo>
                    <a:pt x="48" y="99"/>
                  </a:lnTo>
                  <a:lnTo>
                    <a:pt x="48" y="95"/>
                  </a:lnTo>
                  <a:lnTo>
                    <a:pt x="44" y="95"/>
                  </a:lnTo>
                  <a:lnTo>
                    <a:pt x="44" y="91"/>
                  </a:lnTo>
                  <a:lnTo>
                    <a:pt x="44" y="87"/>
                  </a:lnTo>
                  <a:lnTo>
                    <a:pt x="40" y="87"/>
                  </a:lnTo>
                  <a:lnTo>
                    <a:pt x="36" y="87"/>
                  </a:lnTo>
                  <a:lnTo>
                    <a:pt x="36" y="83"/>
                  </a:lnTo>
                  <a:lnTo>
                    <a:pt x="32" y="79"/>
                  </a:lnTo>
                  <a:lnTo>
                    <a:pt x="28" y="79"/>
                  </a:lnTo>
                  <a:lnTo>
                    <a:pt x="24" y="75"/>
                  </a:lnTo>
                  <a:lnTo>
                    <a:pt x="28" y="75"/>
                  </a:lnTo>
                  <a:lnTo>
                    <a:pt x="28" y="71"/>
                  </a:lnTo>
                  <a:lnTo>
                    <a:pt x="28" y="67"/>
                  </a:lnTo>
                  <a:lnTo>
                    <a:pt x="28" y="71"/>
                  </a:lnTo>
                  <a:lnTo>
                    <a:pt x="28" y="67"/>
                  </a:lnTo>
                  <a:lnTo>
                    <a:pt x="32" y="67"/>
                  </a:lnTo>
                  <a:lnTo>
                    <a:pt x="32" y="71"/>
                  </a:lnTo>
                  <a:lnTo>
                    <a:pt x="36" y="71"/>
                  </a:lnTo>
                  <a:lnTo>
                    <a:pt x="36" y="67"/>
                  </a:lnTo>
                  <a:lnTo>
                    <a:pt x="40" y="67"/>
                  </a:lnTo>
                  <a:lnTo>
                    <a:pt x="40" y="63"/>
                  </a:lnTo>
                  <a:lnTo>
                    <a:pt x="40" y="59"/>
                  </a:lnTo>
                  <a:lnTo>
                    <a:pt x="36" y="55"/>
                  </a:lnTo>
                  <a:lnTo>
                    <a:pt x="32" y="55"/>
                  </a:lnTo>
                  <a:lnTo>
                    <a:pt x="36" y="52"/>
                  </a:lnTo>
                  <a:lnTo>
                    <a:pt x="32" y="48"/>
                  </a:lnTo>
                  <a:lnTo>
                    <a:pt x="28" y="44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4" y="16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72" y="28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4" y="32"/>
                  </a:lnTo>
                  <a:lnTo>
                    <a:pt x="88" y="32"/>
                  </a:lnTo>
                  <a:lnTo>
                    <a:pt x="88" y="36"/>
                  </a:lnTo>
                  <a:lnTo>
                    <a:pt x="84" y="36"/>
                  </a:lnTo>
                  <a:lnTo>
                    <a:pt x="80" y="40"/>
                  </a:lnTo>
                  <a:lnTo>
                    <a:pt x="76" y="40"/>
                  </a:lnTo>
                  <a:lnTo>
                    <a:pt x="80" y="44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72" y="44"/>
                  </a:lnTo>
                  <a:lnTo>
                    <a:pt x="76" y="44"/>
                  </a:lnTo>
                  <a:lnTo>
                    <a:pt x="72" y="44"/>
                  </a:lnTo>
                  <a:lnTo>
                    <a:pt x="72" y="48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4" y="55"/>
                  </a:lnTo>
                  <a:lnTo>
                    <a:pt x="64" y="59"/>
                  </a:lnTo>
                  <a:lnTo>
                    <a:pt x="64" y="55"/>
                  </a:lnTo>
                  <a:lnTo>
                    <a:pt x="64" y="59"/>
                  </a:lnTo>
                  <a:lnTo>
                    <a:pt x="60" y="59"/>
                  </a:lnTo>
                  <a:lnTo>
                    <a:pt x="60" y="63"/>
                  </a:lnTo>
                  <a:lnTo>
                    <a:pt x="56" y="63"/>
                  </a:lnTo>
                  <a:lnTo>
                    <a:pt x="56" y="67"/>
                  </a:lnTo>
                  <a:lnTo>
                    <a:pt x="56" y="71"/>
                  </a:lnTo>
                  <a:lnTo>
                    <a:pt x="56" y="75"/>
                  </a:lnTo>
                  <a:lnTo>
                    <a:pt x="52" y="75"/>
                  </a:lnTo>
                  <a:lnTo>
                    <a:pt x="56" y="75"/>
                  </a:lnTo>
                  <a:lnTo>
                    <a:pt x="52" y="79"/>
                  </a:lnTo>
                  <a:lnTo>
                    <a:pt x="52" y="83"/>
                  </a:lnTo>
                  <a:lnTo>
                    <a:pt x="52" y="87"/>
                  </a:lnTo>
                  <a:lnTo>
                    <a:pt x="56" y="87"/>
                  </a:lnTo>
                  <a:lnTo>
                    <a:pt x="56" y="91"/>
                  </a:lnTo>
                  <a:lnTo>
                    <a:pt x="56" y="95"/>
                  </a:lnTo>
                  <a:lnTo>
                    <a:pt x="60" y="95"/>
                  </a:lnTo>
                  <a:lnTo>
                    <a:pt x="64" y="99"/>
                  </a:lnTo>
                  <a:lnTo>
                    <a:pt x="64" y="103"/>
                  </a:lnTo>
                  <a:lnTo>
                    <a:pt x="64" y="107"/>
                  </a:lnTo>
                  <a:lnTo>
                    <a:pt x="68" y="111"/>
                  </a:lnTo>
                  <a:lnTo>
                    <a:pt x="68" y="115"/>
                  </a:lnTo>
                  <a:lnTo>
                    <a:pt x="72" y="115"/>
                  </a:lnTo>
                  <a:lnTo>
                    <a:pt x="72" y="119"/>
                  </a:lnTo>
                  <a:close/>
                  <a:moveTo>
                    <a:pt x="68" y="239"/>
                  </a:moveTo>
                  <a:lnTo>
                    <a:pt x="72" y="239"/>
                  </a:lnTo>
                  <a:lnTo>
                    <a:pt x="68" y="239"/>
                  </a:lnTo>
                  <a:lnTo>
                    <a:pt x="72" y="239"/>
                  </a:lnTo>
                  <a:lnTo>
                    <a:pt x="72" y="243"/>
                  </a:lnTo>
                  <a:lnTo>
                    <a:pt x="68" y="243"/>
                  </a:lnTo>
                  <a:lnTo>
                    <a:pt x="68" y="239"/>
                  </a:lnTo>
                  <a:close/>
                  <a:moveTo>
                    <a:pt x="80" y="40"/>
                  </a:moveTo>
                  <a:lnTo>
                    <a:pt x="80" y="44"/>
                  </a:lnTo>
                  <a:lnTo>
                    <a:pt x="76" y="44"/>
                  </a:lnTo>
                  <a:lnTo>
                    <a:pt x="80" y="40"/>
                  </a:lnTo>
                  <a:close/>
                  <a:moveTo>
                    <a:pt x="72" y="48"/>
                  </a:moveTo>
                  <a:lnTo>
                    <a:pt x="72" y="52"/>
                  </a:lnTo>
                  <a:lnTo>
                    <a:pt x="72" y="48"/>
                  </a:lnTo>
                  <a:close/>
                  <a:moveTo>
                    <a:pt x="28" y="243"/>
                  </a:moveTo>
                  <a:lnTo>
                    <a:pt x="28" y="247"/>
                  </a:lnTo>
                  <a:lnTo>
                    <a:pt x="24" y="243"/>
                  </a:lnTo>
                  <a:lnTo>
                    <a:pt x="28" y="2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6" name="Freeform 53"/>
            <p:cNvSpPr>
              <a:spLocks noEditPoints="1"/>
            </p:cNvSpPr>
            <p:nvPr>
              <p:custDataLst>
                <p:tags r:id="rId249"/>
              </p:custDataLst>
            </p:nvPr>
          </p:nvSpPr>
          <p:spPr bwMode="gray">
            <a:xfrm>
              <a:off x="5156152" y="3686836"/>
              <a:ext cx="17797" cy="35594"/>
            </a:xfrm>
            <a:custGeom>
              <a:avLst/>
              <a:gdLst/>
              <a:ahLst/>
              <a:cxnLst>
                <a:cxn ang="0">
                  <a:pos x="12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</a:cxnLst>
              <a:rect l="0" t="0" r="r" b="b"/>
              <a:pathLst>
                <a:path w="12" h="24">
                  <a:moveTo>
                    <a:pt x="12" y="8"/>
                  </a:move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close/>
                  <a:moveTo>
                    <a:pt x="8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7" name="Freeform 54"/>
            <p:cNvSpPr>
              <a:spLocks noEditPoints="1"/>
            </p:cNvSpPr>
            <p:nvPr>
              <p:custDataLst>
                <p:tags r:id="rId250"/>
              </p:custDataLst>
            </p:nvPr>
          </p:nvSpPr>
          <p:spPr bwMode="gray">
            <a:xfrm>
              <a:off x="5328188" y="4076882"/>
              <a:ext cx="271400" cy="189832"/>
            </a:xfrm>
            <a:custGeom>
              <a:avLst/>
              <a:gdLst/>
              <a:ahLst/>
              <a:cxnLst>
                <a:cxn ang="0">
                  <a:pos x="68" y="100"/>
                </a:cxn>
                <a:cxn ang="0">
                  <a:pos x="60" y="104"/>
                </a:cxn>
                <a:cxn ang="0">
                  <a:pos x="48" y="104"/>
                </a:cxn>
                <a:cxn ang="0">
                  <a:pos x="44" y="108"/>
                </a:cxn>
                <a:cxn ang="0">
                  <a:pos x="44" y="112"/>
                </a:cxn>
                <a:cxn ang="0">
                  <a:pos x="40" y="116"/>
                </a:cxn>
                <a:cxn ang="0">
                  <a:pos x="36" y="116"/>
                </a:cxn>
                <a:cxn ang="0">
                  <a:pos x="32" y="116"/>
                </a:cxn>
                <a:cxn ang="0">
                  <a:pos x="28" y="116"/>
                </a:cxn>
                <a:cxn ang="0">
                  <a:pos x="20" y="116"/>
                </a:cxn>
                <a:cxn ang="0">
                  <a:pos x="16" y="116"/>
                </a:cxn>
                <a:cxn ang="0">
                  <a:pos x="16" y="108"/>
                </a:cxn>
                <a:cxn ang="0">
                  <a:pos x="12" y="100"/>
                </a:cxn>
                <a:cxn ang="0">
                  <a:pos x="12" y="96"/>
                </a:cxn>
                <a:cxn ang="0">
                  <a:pos x="12" y="88"/>
                </a:cxn>
                <a:cxn ang="0">
                  <a:pos x="8" y="76"/>
                </a:cxn>
                <a:cxn ang="0">
                  <a:pos x="8" y="72"/>
                </a:cxn>
                <a:cxn ang="0">
                  <a:pos x="4" y="68"/>
                </a:cxn>
                <a:cxn ang="0">
                  <a:pos x="4" y="64"/>
                </a:cxn>
                <a:cxn ang="0">
                  <a:pos x="4" y="60"/>
                </a:cxn>
                <a:cxn ang="0">
                  <a:pos x="8" y="52"/>
                </a:cxn>
                <a:cxn ang="0">
                  <a:pos x="8" y="48"/>
                </a:cxn>
                <a:cxn ang="0">
                  <a:pos x="12" y="44"/>
                </a:cxn>
                <a:cxn ang="0">
                  <a:pos x="12" y="28"/>
                </a:cxn>
                <a:cxn ang="0">
                  <a:pos x="16" y="28"/>
                </a:cxn>
                <a:cxn ang="0">
                  <a:pos x="20" y="28"/>
                </a:cxn>
                <a:cxn ang="0">
                  <a:pos x="32" y="28"/>
                </a:cxn>
                <a:cxn ang="0">
                  <a:pos x="64" y="32"/>
                </a:cxn>
                <a:cxn ang="0">
                  <a:pos x="84" y="24"/>
                </a:cxn>
                <a:cxn ang="0">
                  <a:pos x="155" y="28"/>
                </a:cxn>
                <a:cxn ang="0">
                  <a:pos x="159" y="44"/>
                </a:cxn>
                <a:cxn ang="0">
                  <a:pos x="151" y="48"/>
                </a:cxn>
                <a:cxn ang="0">
                  <a:pos x="147" y="52"/>
                </a:cxn>
                <a:cxn ang="0">
                  <a:pos x="143" y="64"/>
                </a:cxn>
                <a:cxn ang="0">
                  <a:pos x="136" y="68"/>
                </a:cxn>
                <a:cxn ang="0">
                  <a:pos x="128" y="72"/>
                </a:cxn>
                <a:cxn ang="0">
                  <a:pos x="120" y="72"/>
                </a:cxn>
                <a:cxn ang="0">
                  <a:pos x="112" y="76"/>
                </a:cxn>
                <a:cxn ang="0">
                  <a:pos x="100" y="84"/>
                </a:cxn>
                <a:cxn ang="0">
                  <a:pos x="96" y="92"/>
                </a:cxn>
                <a:cxn ang="0">
                  <a:pos x="88" y="92"/>
                </a:cxn>
                <a:cxn ang="0">
                  <a:pos x="84" y="92"/>
                </a:cxn>
                <a:cxn ang="0">
                  <a:pos x="84" y="92"/>
                </a:cxn>
                <a:cxn ang="0">
                  <a:pos x="80" y="96"/>
                </a:cxn>
                <a:cxn ang="0">
                  <a:pos x="72" y="100"/>
                </a:cxn>
                <a:cxn ang="0">
                  <a:pos x="147" y="124"/>
                </a:cxn>
                <a:cxn ang="0">
                  <a:pos x="147" y="124"/>
                </a:cxn>
                <a:cxn ang="0">
                  <a:pos x="147" y="124"/>
                </a:cxn>
                <a:cxn ang="0">
                  <a:pos x="151" y="128"/>
                </a:cxn>
                <a:cxn ang="0">
                  <a:pos x="4" y="64"/>
                </a:cxn>
                <a:cxn ang="0">
                  <a:pos x="4" y="68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179" y="120"/>
                </a:cxn>
                <a:cxn ang="0">
                  <a:pos x="171" y="124"/>
                </a:cxn>
                <a:cxn ang="0">
                  <a:pos x="163" y="120"/>
                </a:cxn>
                <a:cxn ang="0">
                  <a:pos x="167" y="116"/>
                </a:cxn>
                <a:cxn ang="0">
                  <a:pos x="175" y="116"/>
                </a:cxn>
              </a:cxnLst>
              <a:rect l="0" t="0" r="r" b="b"/>
              <a:pathLst>
                <a:path w="183" h="128">
                  <a:moveTo>
                    <a:pt x="72" y="100"/>
                  </a:moveTo>
                  <a:lnTo>
                    <a:pt x="72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4" y="108"/>
                  </a:lnTo>
                  <a:lnTo>
                    <a:pt x="44" y="108"/>
                  </a:lnTo>
                  <a:lnTo>
                    <a:pt x="44" y="108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6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28" y="116"/>
                  </a:lnTo>
                  <a:lnTo>
                    <a:pt x="28" y="116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16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80" y="28"/>
                  </a:lnTo>
                  <a:lnTo>
                    <a:pt x="84" y="24"/>
                  </a:lnTo>
                  <a:lnTo>
                    <a:pt x="88" y="16"/>
                  </a:lnTo>
                  <a:lnTo>
                    <a:pt x="100" y="4"/>
                  </a:lnTo>
                  <a:lnTo>
                    <a:pt x="128" y="4"/>
                  </a:lnTo>
                  <a:lnTo>
                    <a:pt x="132" y="0"/>
                  </a:lnTo>
                  <a:lnTo>
                    <a:pt x="143" y="0"/>
                  </a:lnTo>
                  <a:lnTo>
                    <a:pt x="155" y="28"/>
                  </a:lnTo>
                  <a:lnTo>
                    <a:pt x="155" y="32"/>
                  </a:lnTo>
                  <a:lnTo>
                    <a:pt x="163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47" y="48"/>
                  </a:lnTo>
                  <a:lnTo>
                    <a:pt x="147" y="52"/>
                  </a:lnTo>
                  <a:lnTo>
                    <a:pt x="147" y="56"/>
                  </a:lnTo>
                  <a:lnTo>
                    <a:pt x="147" y="56"/>
                  </a:lnTo>
                  <a:lnTo>
                    <a:pt x="147" y="60"/>
                  </a:lnTo>
                  <a:lnTo>
                    <a:pt x="147" y="60"/>
                  </a:lnTo>
                  <a:lnTo>
                    <a:pt x="147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39" y="64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36" y="68"/>
                  </a:lnTo>
                  <a:lnTo>
                    <a:pt x="136" y="68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2" y="76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4" y="80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8"/>
                  </a:lnTo>
                  <a:lnTo>
                    <a:pt x="96" y="88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0" y="92"/>
                  </a:lnTo>
                  <a:lnTo>
                    <a:pt x="80" y="92"/>
                  </a:lnTo>
                  <a:lnTo>
                    <a:pt x="80" y="92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76" y="96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2" y="100"/>
                  </a:lnTo>
                  <a:lnTo>
                    <a:pt x="72" y="100"/>
                  </a:lnTo>
                  <a:close/>
                  <a:moveTo>
                    <a:pt x="151" y="128"/>
                  </a:moveTo>
                  <a:lnTo>
                    <a:pt x="147" y="128"/>
                  </a:lnTo>
                  <a:lnTo>
                    <a:pt x="147" y="128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51" y="124"/>
                  </a:lnTo>
                  <a:lnTo>
                    <a:pt x="151" y="124"/>
                  </a:lnTo>
                  <a:lnTo>
                    <a:pt x="151" y="128"/>
                  </a:lnTo>
                  <a:lnTo>
                    <a:pt x="151" y="128"/>
                  </a:lnTo>
                  <a:lnTo>
                    <a:pt x="151" y="128"/>
                  </a:lnTo>
                  <a:close/>
                  <a:moveTo>
                    <a:pt x="4" y="68"/>
                  </a:moveTo>
                  <a:lnTo>
                    <a:pt x="4" y="68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close/>
                  <a:moveTo>
                    <a:pt x="4" y="92"/>
                  </a:move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close/>
                  <a:moveTo>
                    <a:pt x="179" y="116"/>
                  </a:moveTo>
                  <a:lnTo>
                    <a:pt x="179" y="116"/>
                  </a:lnTo>
                  <a:lnTo>
                    <a:pt x="183" y="120"/>
                  </a:lnTo>
                  <a:lnTo>
                    <a:pt x="183" y="120"/>
                  </a:lnTo>
                  <a:lnTo>
                    <a:pt x="179" y="120"/>
                  </a:lnTo>
                  <a:lnTo>
                    <a:pt x="179" y="120"/>
                  </a:lnTo>
                  <a:lnTo>
                    <a:pt x="179" y="124"/>
                  </a:lnTo>
                  <a:lnTo>
                    <a:pt x="175" y="124"/>
                  </a:lnTo>
                  <a:lnTo>
                    <a:pt x="175" y="124"/>
                  </a:lnTo>
                  <a:lnTo>
                    <a:pt x="175" y="124"/>
                  </a:lnTo>
                  <a:lnTo>
                    <a:pt x="171" y="124"/>
                  </a:lnTo>
                  <a:lnTo>
                    <a:pt x="171" y="124"/>
                  </a:lnTo>
                  <a:lnTo>
                    <a:pt x="171" y="124"/>
                  </a:lnTo>
                  <a:lnTo>
                    <a:pt x="167" y="124"/>
                  </a:lnTo>
                  <a:lnTo>
                    <a:pt x="167" y="124"/>
                  </a:lnTo>
                  <a:lnTo>
                    <a:pt x="167" y="120"/>
                  </a:lnTo>
                  <a:lnTo>
                    <a:pt x="163" y="120"/>
                  </a:lnTo>
                  <a:lnTo>
                    <a:pt x="167" y="120"/>
                  </a:lnTo>
                  <a:lnTo>
                    <a:pt x="167" y="120"/>
                  </a:lnTo>
                  <a:lnTo>
                    <a:pt x="167" y="120"/>
                  </a:lnTo>
                  <a:lnTo>
                    <a:pt x="167" y="116"/>
                  </a:lnTo>
                  <a:lnTo>
                    <a:pt x="167" y="116"/>
                  </a:lnTo>
                  <a:lnTo>
                    <a:pt x="167" y="116"/>
                  </a:lnTo>
                  <a:lnTo>
                    <a:pt x="171" y="116"/>
                  </a:lnTo>
                  <a:lnTo>
                    <a:pt x="171" y="116"/>
                  </a:lnTo>
                  <a:lnTo>
                    <a:pt x="171" y="116"/>
                  </a:lnTo>
                  <a:lnTo>
                    <a:pt x="171" y="120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9" y="116"/>
                  </a:lnTo>
                  <a:lnTo>
                    <a:pt x="179" y="1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8" name="Freeform 55"/>
            <p:cNvSpPr>
              <a:spLocks/>
            </p:cNvSpPr>
            <p:nvPr>
              <p:custDataLst>
                <p:tags r:id="rId251"/>
              </p:custDataLst>
            </p:nvPr>
          </p:nvSpPr>
          <p:spPr bwMode="gray">
            <a:xfrm>
              <a:off x="2802530" y="4248918"/>
              <a:ext cx="5932" cy="5932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</a:cxnLst>
              <a:rect l="0" t="0" r="r" b="b"/>
              <a:pathLst>
                <a:path w="4" h="4">
                  <a:moveTo>
                    <a:pt x="4" y="4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9" name="Freeform 56"/>
            <p:cNvSpPr>
              <a:spLocks noEditPoints="1"/>
            </p:cNvSpPr>
            <p:nvPr>
              <p:custDataLst>
                <p:tags r:id="rId252"/>
              </p:custDataLst>
            </p:nvPr>
          </p:nvSpPr>
          <p:spPr bwMode="gray">
            <a:xfrm>
              <a:off x="2370958" y="4088747"/>
              <a:ext cx="34110" cy="71187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15" y="4"/>
                </a:cxn>
                <a:cxn ang="0">
                  <a:pos x="19" y="4"/>
                </a:cxn>
                <a:cxn ang="0">
                  <a:pos x="19" y="4"/>
                </a:cxn>
                <a:cxn ang="0">
                  <a:pos x="19" y="8"/>
                </a:cxn>
                <a:cxn ang="0">
                  <a:pos x="15" y="12"/>
                </a:cxn>
                <a:cxn ang="0">
                  <a:pos x="15" y="12"/>
                </a:cxn>
                <a:cxn ang="0">
                  <a:pos x="15" y="12"/>
                </a:cxn>
                <a:cxn ang="0">
                  <a:pos x="15" y="16"/>
                </a:cxn>
                <a:cxn ang="0">
                  <a:pos x="15" y="16"/>
                </a:cxn>
                <a:cxn ang="0">
                  <a:pos x="15" y="16"/>
                </a:cxn>
                <a:cxn ang="0">
                  <a:pos x="15" y="20"/>
                </a:cxn>
                <a:cxn ang="0">
                  <a:pos x="15" y="24"/>
                </a:cxn>
                <a:cxn ang="0">
                  <a:pos x="15" y="24"/>
                </a:cxn>
                <a:cxn ang="0">
                  <a:pos x="15" y="24"/>
                </a:cxn>
                <a:cxn ang="0">
                  <a:pos x="15" y="28"/>
                </a:cxn>
                <a:cxn ang="0">
                  <a:pos x="15" y="28"/>
                </a:cxn>
                <a:cxn ang="0">
                  <a:pos x="15" y="28"/>
                </a:cxn>
                <a:cxn ang="0">
                  <a:pos x="15" y="32"/>
                </a:cxn>
                <a:cxn ang="0">
                  <a:pos x="15" y="36"/>
                </a:cxn>
                <a:cxn ang="0">
                  <a:pos x="15" y="36"/>
                </a:cxn>
                <a:cxn ang="0">
                  <a:pos x="15" y="36"/>
                </a:cxn>
                <a:cxn ang="0">
                  <a:pos x="12" y="40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8" y="48"/>
                </a:cxn>
                <a:cxn ang="0">
                  <a:pos x="8" y="48"/>
                </a:cxn>
                <a:cxn ang="0">
                  <a:pos x="4" y="48"/>
                </a:cxn>
                <a:cxn ang="0">
                  <a:pos x="0" y="48"/>
                </a:cxn>
                <a:cxn ang="0">
                  <a:pos x="0" y="44"/>
                </a:cxn>
                <a:cxn ang="0">
                  <a:pos x="4" y="28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5" y="0"/>
                </a:cxn>
                <a:cxn ang="0">
                  <a:pos x="15" y="0"/>
                </a:cxn>
                <a:cxn ang="0">
                  <a:pos x="19" y="8"/>
                </a:cxn>
                <a:cxn ang="0">
                  <a:pos x="19" y="12"/>
                </a:cxn>
                <a:cxn ang="0">
                  <a:pos x="19" y="12"/>
                </a:cxn>
                <a:cxn ang="0">
                  <a:pos x="19" y="12"/>
                </a:cxn>
                <a:cxn ang="0">
                  <a:pos x="19" y="12"/>
                </a:cxn>
                <a:cxn ang="0">
                  <a:pos x="23" y="8"/>
                </a:cxn>
                <a:cxn ang="0">
                  <a:pos x="23" y="8"/>
                </a:cxn>
                <a:cxn ang="0">
                  <a:pos x="19" y="8"/>
                </a:cxn>
                <a:cxn ang="0">
                  <a:pos x="19" y="24"/>
                </a:cxn>
                <a:cxn ang="0">
                  <a:pos x="19" y="24"/>
                </a:cxn>
                <a:cxn ang="0">
                  <a:pos x="23" y="16"/>
                </a:cxn>
                <a:cxn ang="0">
                  <a:pos x="23" y="20"/>
                </a:cxn>
                <a:cxn ang="0">
                  <a:pos x="23" y="20"/>
                </a:cxn>
                <a:cxn ang="0">
                  <a:pos x="23" y="20"/>
                </a:cxn>
                <a:cxn ang="0">
                  <a:pos x="23" y="20"/>
                </a:cxn>
                <a:cxn ang="0">
                  <a:pos x="19" y="20"/>
                </a:cxn>
                <a:cxn ang="0">
                  <a:pos x="19" y="24"/>
                </a:cxn>
              </a:cxnLst>
              <a:rect l="0" t="0" r="r" b="b"/>
              <a:pathLst>
                <a:path w="23" h="48">
                  <a:moveTo>
                    <a:pt x="15" y="0"/>
                  </a:moveTo>
                  <a:lnTo>
                    <a:pt x="15" y="0"/>
                  </a:lnTo>
                  <a:lnTo>
                    <a:pt x="15" y="0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4" y="40"/>
                  </a:lnTo>
                  <a:lnTo>
                    <a:pt x="4" y="28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close/>
                  <a:moveTo>
                    <a:pt x="19" y="8"/>
                  </a:moveTo>
                  <a:lnTo>
                    <a:pt x="19" y="8"/>
                  </a:lnTo>
                  <a:lnTo>
                    <a:pt x="19" y="8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19" y="8"/>
                  </a:lnTo>
                  <a:lnTo>
                    <a:pt x="19" y="8"/>
                  </a:lnTo>
                  <a:close/>
                  <a:moveTo>
                    <a:pt x="19" y="24"/>
                  </a:move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0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9" y="24"/>
                  </a:lnTo>
                  <a:lnTo>
                    <a:pt x="19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0" name="Freeform 57"/>
            <p:cNvSpPr>
              <a:spLocks/>
            </p:cNvSpPr>
            <p:nvPr>
              <p:custDataLst>
                <p:tags r:id="rId253"/>
              </p:custDataLst>
            </p:nvPr>
          </p:nvSpPr>
          <p:spPr bwMode="gray">
            <a:xfrm>
              <a:off x="2919692" y="3692768"/>
              <a:ext cx="5932" cy="5932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1" name="Freeform 58"/>
            <p:cNvSpPr>
              <a:spLocks noEditPoints="1"/>
            </p:cNvSpPr>
            <p:nvPr>
              <p:custDataLst>
                <p:tags r:id="rId254"/>
              </p:custDataLst>
            </p:nvPr>
          </p:nvSpPr>
          <p:spPr bwMode="gray">
            <a:xfrm>
              <a:off x="1211202" y="1840422"/>
              <a:ext cx="1981373" cy="1573530"/>
            </a:xfrm>
            <a:custGeom>
              <a:avLst/>
              <a:gdLst/>
              <a:ahLst/>
              <a:cxnLst>
                <a:cxn ang="0">
                  <a:pos x="734" y="595"/>
                </a:cxn>
                <a:cxn ang="0">
                  <a:pos x="929" y="858"/>
                </a:cxn>
                <a:cxn ang="0">
                  <a:pos x="1041" y="610"/>
                </a:cxn>
                <a:cxn ang="0">
                  <a:pos x="1164" y="650"/>
                </a:cxn>
                <a:cxn ang="0">
                  <a:pos x="1260" y="774"/>
                </a:cxn>
                <a:cxn ang="0">
                  <a:pos x="1109" y="898"/>
                </a:cxn>
                <a:cxn ang="0">
                  <a:pos x="1156" y="1010"/>
                </a:cxn>
                <a:cxn ang="0">
                  <a:pos x="877" y="1045"/>
                </a:cxn>
                <a:cxn ang="0">
                  <a:pos x="267" y="890"/>
                </a:cxn>
                <a:cxn ang="0">
                  <a:pos x="187" y="790"/>
                </a:cxn>
                <a:cxn ang="0">
                  <a:pos x="44" y="415"/>
                </a:cxn>
                <a:cxn ang="0">
                  <a:pos x="223" y="403"/>
                </a:cxn>
                <a:cxn ang="0">
                  <a:pos x="506" y="471"/>
                </a:cxn>
                <a:cxn ang="0">
                  <a:pos x="678" y="463"/>
                </a:cxn>
                <a:cxn ang="0">
                  <a:pos x="738" y="387"/>
                </a:cxn>
                <a:cxn ang="0">
                  <a:pos x="905" y="427"/>
                </a:cxn>
                <a:cxn ang="0">
                  <a:pos x="163" y="798"/>
                </a:cxn>
                <a:cxn ang="0">
                  <a:pos x="554" y="215"/>
                </a:cxn>
                <a:cxn ang="0">
                  <a:pos x="478" y="447"/>
                </a:cxn>
                <a:cxn ang="0">
                  <a:pos x="215" y="870"/>
                </a:cxn>
                <a:cxn ang="0">
                  <a:pos x="718" y="120"/>
                </a:cxn>
                <a:cxn ang="0">
                  <a:pos x="794" y="88"/>
                </a:cxn>
                <a:cxn ang="0">
                  <a:pos x="606" y="156"/>
                </a:cxn>
                <a:cxn ang="0">
                  <a:pos x="439" y="183"/>
                </a:cxn>
                <a:cxn ang="0">
                  <a:pos x="307" y="199"/>
                </a:cxn>
                <a:cxn ang="0">
                  <a:pos x="821" y="259"/>
                </a:cxn>
                <a:cxn ang="0">
                  <a:pos x="762" y="219"/>
                </a:cxn>
                <a:cxn ang="0">
                  <a:pos x="387" y="223"/>
                </a:cxn>
                <a:cxn ang="0">
                  <a:pos x="419" y="267"/>
                </a:cxn>
                <a:cxn ang="0">
                  <a:pos x="602" y="211"/>
                </a:cxn>
                <a:cxn ang="0">
                  <a:pos x="702" y="227"/>
                </a:cxn>
                <a:cxn ang="0">
                  <a:pos x="331" y="279"/>
                </a:cxn>
                <a:cxn ang="0">
                  <a:pos x="654" y="307"/>
                </a:cxn>
                <a:cxn ang="0">
                  <a:pos x="1045" y="555"/>
                </a:cxn>
                <a:cxn ang="0">
                  <a:pos x="1005" y="415"/>
                </a:cxn>
                <a:cxn ang="0">
                  <a:pos x="782" y="363"/>
                </a:cxn>
                <a:cxn ang="0">
                  <a:pos x="857" y="311"/>
                </a:cxn>
                <a:cxn ang="0">
                  <a:pos x="993" y="319"/>
                </a:cxn>
                <a:cxn ang="0">
                  <a:pos x="1061" y="375"/>
                </a:cxn>
                <a:cxn ang="0">
                  <a:pos x="1113" y="431"/>
                </a:cxn>
                <a:cxn ang="0">
                  <a:pos x="1200" y="487"/>
                </a:cxn>
                <a:cxn ang="0">
                  <a:pos x="1105" y="511"/>
                </a:cxn>
                <a:cxn ang="0">
                  <a:pos x="945" y="311"/>
                </a:cxn>
                <a:cxn ang="0">
                  <a:pos x="391" y="299"/>
                </a:cxn>
                <a:cxn ang="0">
                  <a:pos x="602" y="387"/>
                </a:cxn>
                <a:cxn ang="0">
                  <a:pos x="423" y="375"/>
                </a:cxn>
                <a:cxn ang="0">
                  <a:pos x="929" y="395"/>
                </a:cxn>
                <a:cxn ang="0">
                  <a:pos x="941" y="431"/>
                </a:cxn>
                <a:cxn ang="0">
                  <a:pos x="841" y="511"/>
                </a:cxn>
                <a:cxn ang="0">
                  <a:pos x="881" y="591"/>
                </a:cxn>
                <a:cxn ang="0">
                  <a:pos x="933" y="746"/>
                </a:cxn>
                <a:cxn ang="0">
                  <a:pos x="191" y="818"/>
                </a:cxn>
                <a:cxn ang="0">
                  <a:pos x="1296" y="902"/>
                </a:cxn>
                <a:cxn ang="0">
                  <a:pos x="263" y="906"/>
                </a:cxn>
                <a:cxn ang="0">
                  <a:pos x="1192" y="962"/>
                </a:cxn>
                <a:cxn ang="0">
                  <a:pos x="845" y="60"/>
                </a:cxn>
                <a:cxn ang="0">
                  <a:pos x="885" y="32"/>
                </a:cxn>
                <a:cxn ang="0">
                  <a:pos x="1077" y="4"/>
                </a:cxn>
                <a:cxn ang="0">
                  <a:pos x="1141" y="52"/>
                </a:cxn>
                <a:cxn ang="0">
                  <a:pos x="957" y="124"/>
                </a:cxn>
                <a:cxn ang="0">
                  <a:pos x="917" y="215"/>
                </a:cxn>
                <a:cxn ang="0">
                  <a:pos x="861" y="175"/>
                </a:cxn>
                <a:cxn ang="0">
                  <a:pos x="837" y="92"/>
                </a:cxn>
              </a:cxnLst>
              <a:rect l="0" t="0" r="r" b="b"/>
              <a:pathLst>
                <a:path w="1336" h="1061">
                  <a:moveTo>
                    <a:pt x="642" y="271"/>
                  </a:moveTo>
                  <a:lnTo>
                    <a:pt x="638" y="271"/>
                  </a:lnTo>
                  <a:lnTo>
                    <a:pt x="642" y="267"/>
                  </a:lnTo>
                  <a:lnTo>
                    <a:pt x="642" y="271"/>
                  </a:lnTo>
                  <a:close/>
                  <a:moveTo>
                    <a:pt x="654" y="275"/>
                  </a:moveTo>
                  <a:lnTo>
                    <a:pt x="654" y="279"/>
                  </a:lnTo>
                  <a:lnTo>
                    <a:pt x="650" y="283"/>
                  </a:lnTo>
                  <a:lnTo>
                    <a:pt x="646" y="283"/>
                  </a:lnTo>
                  <a:lnTo>
                    <a:pt x="642" y="283"/>
                  </a:lnTo>
                  <a:lnTo>
                    <a:pt x="638" y="283"/>
                  </a:lnTo>
                  <a:lnTo>
                    <a:pt x="634" y="283"/>
                  </a:lnTo>
                  <a:lnTo>
                    <a:pt x="630" y="283"/>
                  </a:lnTo>
                  <a:lnTo>
                    <a:pt x="630" y="279"/>
                  </a:lnTo>
                  <a:lnTo>
                    <a:pt x="634" y="279"/>
                  </a:lnTo>
                  <a:lnTo>
                    <a:pt x="638" y="279"/>
                  </a:lnTo>
                  <a:lnTo>
                    <a:pt x="642" y="279"/>
                  </a:lnTo>
                  <a:lnTo>
                    <a:pt x="646" y="279"/>
                  </a:lnTo>
                  <a:lnTo>
                    <a:pt x="646" y="275"/>
                  </a:lnTo>
                  <a:lnTo>
                    <a:pt x="650" y="275"/>
                  </a:lnTo>
                  <a:lnTo>
                    <a:pt x="654" y="275"/>
                  </a:lnTo>
                  <a:close/>
                  <a:moveTo>
                    <a:pt x="817" y="511"/>
                  </a:moveTo>
                  <a:lnTo>
                    <a:pt x="813" y="511"/>
                  </a:lnTo>
                  <a:lnTo>
                    <a:pt x="813" y="515"/>
                  </a:lnTo>
                  <a:lnTo>
                    <a:pt x="809" y="515"/>
                  </a:lnTo>
                  <a:lnTo>
                    <a:pt x="805" y="515"/>
                  </a:lnTo>
                  <a:lnTo>
                    <a:pt x="801" y="515"/>
                  </a:lnTo>
                  <a:lnTo>
                    <a:pt x="797" y="511"/>
                  </a:lnTo>
                  <a:lnTo>
                    <a:pt x="794" y="507"/>
                  </a:lnTo>
                  <a:lnTo>
                    <a:pt x="790" y="507"/>
                  </a:lnTo>
                  <a:lnTo>
                    <a:pt x="794" y="507"/>
                  </a:lnTo>
                  <a:lnTo>
                    <a:pt x="790" y="507"/>
                  </a:lnTo>
                  <a:lnTo>
                    <a:pt x="786" y="507"/>
                  </a:lnTo>
                  <a:lnTo>
                    <a:pt x="786" y="503"/>
                  </a:lnTo>
                  <a:lnTo>
                    <a:pt x="782" y="503"/>
                  </a:lnTo>
                  <a:lnTo>
                    <a:pt x="778" y="499"/>
                  </a:lnTo>
                  <a:lnTo>
                    <a:pt x="774" y="499"/>
                  </a:lnTo>
                  <a:lnTo>
                    <a:pt x="770" y="499"/>
                  </a:lnTo>
                  <a:lnTo>
                    <a:pt x="774" y="499"/>
                  </a:lnTo>
                  <a:lnTo>
                    <a:pt x="774" y="503"/>
                  </a:lnTo>
                  <a:lnTo>
                    <a:pt x="770" y="499"/>
                  </a:lnTo>
                  <a:lnTo>
                    <a:pt x="770" y="503"/>
                  </a:lnTo>
                  <a:lnTo>
                    <a:pt x="766" y="503"/>
                  </a:lnTo>
                  <a:lnTo>
                    <a:pt x="766" y="499"/>
                  </a:lnTo>
                  <a:lnTo>
                    <a:pt x="770" y="499"/>
                  </a:lnTo>
                  <a:lnTo>
                    <a:pt x="766" y="499"/>
                  </a:lnTo>
                  <a:lnTo>
                    <a:pt x="762" y="499"/>
                  </a:lnTo>
                  <a:lnTo>
                    <a:pt x="758" y="499"/>
                  </a:lnTo>
                  <a:lnTo>
                    <a:pt x="754" y="499"/>
                  </a:lnTo>
                  <a:lnTo>
                    <a:pt x="750" y="499"/>
                  </a:lnTo>
                  <a:lnTo>
                    <a:pt x="754" y="503"/>
                  </a:lnTo>
                  <a:lnTo>
                    <a:pt x="758" y="503"/>
                  </a:lnTo>
                  <a:lnTo>
                    <a:pt x="754" y="503"/>
                  </a:lnTo>
                  <a:lnTo>
                    <a:pt x="754" y="499"/>
                  </a:lnTo>
                  <a:lnTo>
                    <a:pt x="758" y="499"/>
                  </a:lnTo>
                  <a:lnTo>
                    <a:pt x="762" y="499"/>
                  </a:lnTo>
                  <a:lnTo>
                    <a:pt x="770" y="503"/>
                  </a:lnTo>
                  <a:lnTo>
                    <a:pt x="774" y="503"/>
                  </a:lnTo>
                  <a:lnTo>
                    <a:pt x="778" y="503"/>
                  </a:lnTo>
                  <a:lnTo>
                    <a:pt x="778" y="507"/>
                  </a:lnTo>
                  <a:lnTo>
                    <a:pt x="782" y="511"/>
                  </a:lnTo>
                  <a:lnTo>
                    <a:pt x="786" y="515"/>
                  </a:lnTo>
                  <a:lnTo>
                    <a:pt x="790" y="515"/>
                  </a:lnTo>
                  <a:lnTo>
                    <a:pt x="794" y="515"/>
                  </a:lnTo>
                  <a:lnTo>
                    <a:pt x="797" y="515"/>
                  </a:lnTo>
                  <a:lnTo>
                    <a:pt x="801" y="515"/>
                  </a:lnTo>
                  <a:lnTo>
                    <a:pt x="805" y="515"/>
                  </a:lnTo>
                  <a:lnTo>
                    <a:pt x="809" y="515"/>
                  </a:lnTo>
                  <a:lnTo>
                    <a:pt x="813" y="515"/>
                  </a:lnTo>
                  <a:lnTo>
                    <a:pt x="817" y="519"/>
                  </a:lnTo>
                  <a:lnTo>
                    <a:pt x="817" y="523"/>
                  </a:lnTo>
                  <a:lnTo>
                    <a:pt x="813" y="523"/>
                  </a:lnTo>
                  <a:lnTo>
                    <a:pt x="809" y="531"/>
                  </a:lnTo>
                  <a:lnTo>
                    <a:pt x="809" y="535"/>
                  </a:lnTo>
                  <a:lnTo>
                    <a:pt x="805" y="535"/>
                  </a:lnTo>
                  <a:lnTo>
                    <a:pt x="805" y="539"/>
                  </a:lnTo>
                  <a:lnTo>
                    <a:pt x="801" y="543"/>
                  </a:lnTo>
                  <a:lnTo>
                    <a:pt x="801" y="547"/>
                  </a:lnTo>
                  <a:lnTo>
                    <a:pt x="797" y="547"/>
                  </a:lnTo>
                  <a:lnTo>
                    <a:pt x="794" y="547"/>
                  </a:lnTo>
                  <a:lnTo>
                    <a:pt x="790" y="551"/>
                  </a:lnTo>
                  <a:lnTo>
                    <a:pt x="786" y="551"/>
                  </a:lnTo>
                  <a:lnTo>
                    <a:pt x="786" y="547"/>
                  </a:lnTo>
                  <a:lnTo>
                    <a:pt x="782" y="547"/>
                  </a:lnTo>
                  <a:lnTo>
                    <a:pt x="782" y="543"/>
                  </a:lnTo>
                  <a:lnTo>
                    <a:pt x="782" y="547"/>
                  </a:lnTo>
                  <a:lnTo>
                    <a:pt x="786" y="547"/>
                  </a:lnTo>
                  <a:lnTo>
                    <a:pt x="786" y="551"/>
                  </a:lnTo>
                  <a:lnTo>
                    <a:pt x="782" y="551"/>
                  </a:lnTo>
                  <a:lnTo>
                    <a:pt x="782" y="547"/>
                  </a:lnTo>
                  <a:lnTo>
                    <a:pt x="778" y="547"/>
                  </a:lnTo>
                  <a:lnTo>
                    <a:pt x="778" y="551"/>
                  </a:lnTo>
                  <a:lnTo>
                    <a:pt x="778" y="547"/>
                  </a:lnTo>
                  <a:lnTo>
                    <a:pt x="774" y="547"/>
                  </a:lnTo>
                  <a:lnTo>
                    <a:pt x="774" y="543"/>
                  </a:lnTo>
                  <a:lnTo>
                    <a:pt x="774" y="547"/>
                  </a:lnTo>
                  <a:lnTo>
                    <a:pt x="774" y="543"/>
                  </a:lnTo>
                  <a:lnTo>
                    <a:pt x="770" y="547"/>
                  </a:lnTo>
                  <a:lnTo>
                    <a:pt x="774" y="547"/>
                  </a:lnTo>
                  <a:lnTo>
                    <a:pt x="774" y="551"/>
                  </a:lnTo>
                  <a:lnTo>
                    <a:pt x="770" y="551"/>
                  </a:lnTo>
                  <a:lnTo>
                    <a:pt x="774" y="551"/>
                  </a:lnTo>
                  <a:lnTo>
                    <a:pt x="770" y="551"/>
                  </a:lnTo>
                  <a:lnTo>
                    <a:pt x="770" y="547"/>
                  </a:lnTo>
                  <a:lnTo>
                    <a:pt x="766" y="547"/>
                  </a:lnTo>
                  <a:lnTo>
                    <a:pt x="770" y="551"/>
                  </a:lnTo>
                  <a:lnTo>
                    <a:pt x="774" y="555"/>
                  </a:lnTo>
                  <a:lnTo>
                    <a:pt x="770" y="555"/>
                  </a:lnTo>
                  <a:lnTo>
                    <a:pt x="770" y="559"/>
                  </a:lnTo>
                  <a:lnTo>
                    <a:pt x="766" y="559"/>
                  </a:lnTo>
                  <a:lnTo>
                    <a:pt x="762" y="555"/>
                  </a:lnTo>
                  <a:lnTo>
                    <a:pt x="762" y="559"/>
                  </a:lnTo>
                  <a:lnTo>
                    <a:pt x="758" y="559"/>
                  </a:lnTo>
                  <a:lnTo>
                    <a:pt x="754" y="559"/>
                  </a:lnTo>
                  <a:lnTo>
                    <a:pt x="750" y="559"/>
                  </a:lnTo>
                  <a:lnTo>
                    <a:pt x="750" y="555"/>
                  </a:lnTo>
                  <a:lnTo>
                    <a:pt x="746" y="555"/>
                  </a:lnTo>
                  <a:lnTo>
                    <a:pt x="742" y="555"/>
                  </a:lnTo>
                  <a:lnTo>
                    <a:pt x="738" y="555"/>
                  </a:lnTo>
                  <a:lnTo>
                    <a:pt x="734" y="555"/>
                  </a:lnTo>
                  <a:lnTo>
                    <a:pt x="730" y="555"/>
                  </a:lnTo>
                  <a:lnTo>
                    <a:pt x="730" y="551"/>
                  </a:lnTo>
                  <a:lnTo>
                    <a:pt x="726" y="551"/>
                  </a:lnTo>
                  <a:lnTo>
                    <a:pt x="722" y="551"/>
                  </a:lnTo>
                  <a:lnTo>
                    <a:pt x="718" y="547"/>
                  </a:lnTo>
                  <a:lnTo>
                    <a:pt x="714" y="543"/>
                  </a:lnTo>
                  <a:lnTo>
                    <a:pt x="718" y="547"/>
                  </a:lnTo>
                  <a:lnTo>
                    <a:pt x="718" y="551"/>
                  </a:lnTo>
                  <a:lnTo>
                    <a:pt x="714" y="551"/>
                  </a:lnTo>
                  <a:lnTo>
                    <a:pt x="718" y="551"/>
                  </a:lnTo>
                  <a:lnTo>
                    <a:pt x="718" y="555"/>
                  </a:lnTo>
                  <a:lnTo>
                    <a:pt x="722" y="555"/>
                  </a:lnTo>
                  <a:lnTo>
                    <a:pt x="722" y="551"/>
                  </a:lnTo>
                  <a:lnTo>
                    <a:pt x="718" y="551"/>
                  </a:lnTo>
                  <a:lnTo>
                    <a:pt x="722" y="551"/>
                  </a:lnTo>
                  <a:lnTo>
                    <a:pt x="726" y="551"/>
                  </a:lnTo>
                  <a:lnTo>
                    <a:pt x="730" y="555"/>
                  </a:lnTo>
                  <a:lnTo>
                    <a:pt x="734" y="555"/>
                  </a:lnTo>
                  <a:lnTo>
                    <a:pt x="738" y="555"/>
                  </a:lnTo>
                  <a:lnTo>
                    <a:pt x="738" y="559"/>
                  </a:lnTo>
                  <a:lnTo>
                    <a:pt x="734" y="559"/>
                  </a:lnTo>
                  <a:lnTo>
                    <a:pt x="738" y="559"/>
                  </a:lnTo>
                  <a:lnTo>
                    <a:pt x="742" y="559"/>
                  </a:lnTo>
                  <a:lnTo>
                    <a:pt x="746" y="555"/>
                  </a:lnTo>
                  <a:lnTo>
                    <a:pt x="746" y="559"/>
                  </a:lnTo>
                  <a:lnTo>
                    <a:pt x="750" y="563"/>
                  </a:lnTo>
                  <a:lnTo>
                    <a:pt x="754" y="563"/>
                  </a:lnTo>
                  <a:lnTo>
                    <a:pt x="758" y="563"/>
                  </a:lnTo>
                  <a:lnTo>
                    <a:pt x="762" y="567"/>
                  </a:lnTo>
                  <a:lnTo>
                    <a:pt x="762" y="571"/>
                  </a:lnTo>
                  <a:lnTo>
                    <a:pt x="762" y="575"/>
                  </a:lnTo>
                  <a:lnTo>
                    <a:pt x="758" y="575"/>
                  </a:lnTo>
                  <a:lnTo>
                    <a:pt x="754" y="575"/>
                  </a:lnTo>
                  <a:lnTo>
                    <a:pt x="754" y="579"/>
                  </a:lnTo>
                  <a:lnTo>
                    <a:pt x="750" y="579"/>
                  </a:lnTo>
                  <a:lnTo>
                    <a:pt x="746" y="579"/>
                  </a:lnTo>
                  <a:lnTo>
                    <a:pt x="742" y="579"/>
                  </a:lnTo>
                  <a:lnTo>
                    <a:pt x="738" y="579"/>
                  </a:lnTo>
                  <a:lnTo>
                    <a:pt x="734" y="579"/>
                  </a:lnTo>
                  <a:lnTo>
                    <a:pt x="738" y="583"/>
                  </a:lnTo>
                  <a:lnTo>
                    <a:pt x="742" y="583"/>
                  </a:lnTo>
                  <a:lnTo>
                    <a:pt x="742" y="587"/>
                  </a:lnTo>
                  <a:lnTo>
                    <a:pt x="738" y="583"/>
                  </a:lnTo>
                  <a:lnTo>
                    <a:pt x="738" y="587"/>
                  </a:lnTo>
                  <a:lnTo>
                    <a:pt x="734" y="587"/>
                  </a:lnTo>
                  <a:lnTo>
                    <a:pt x="730" y="587"/>
                  </a:lnTo>
                  <a:lnTo>
                    <a:pt x="730" y="591"/>
                  </a:lnTo>
                  <a:lnTo>
                    <a:pt x="734" y="591"/>
                  </a:lnTo>
                  <a:lnTo>
                    <a:pt x="734" y="595"/>
                  </a:lnTo>
                  <a:lnTo>
                    <a:pt x="730" y="595"/>
                  </a:lnTo>
                  <a:lnTo>
                    <a:pt x="730" y="591"/>
                  </a:lnTo>
                  <a:lnTo>
                    <a:pt x="726" y="591"/>
                  </a:lnTo>
                  <a:lnTo>
                    <a:pt x="730" y="591"/>
                  </a:lnTo>
                  <a:lnTo>
                    <a:pt x="730" y="595"/>
                  </a:lnTo>
                  <a:lnTo>
                    <a:pt x="726" y="595"/>
                  </a:lnTo>
                  <a:lnTo>
                    <a:pt x="726" y="599"/>
                  </a:lnTo>
                  <a:lnTo>
                    <a:pt x="722" y="599"/>
                  </a:lnTo>
                  <a:lnTo>
                    <a:pt x="722" y="603"/>
                  </a:lnTo>
                  <a:lnTo>
                    <a:pt x="718" y="603"/>
                  </a:lnTo>
                  <a:lnTo>
                    <a:pt x="718" y="599"/>
                  </a:lnTo>
                  <a:lnTo>
                    <a:pt x="718" y="603"/>
                  </a:lnTo>
                  <a:lnTo>
                    <a:pt x="722" y="603"/>
                  </a:lnTo>
                  <a:lnTo>
                    <a:pt x="722" y="606"/>
                  </a:lnTo>
                  <a:lnTo>
                    <a:pt x="718" y="606"/>
                  </a:lnTo>
                  <a:lnTo>
                    <a:pt x="714" y="610"/>
                  </a:lnTo>
                  <a:lnTo>
                    <a:pt x="710" y="610"/>
                  </a:lnTo>
                  <a:lnTo>
                    <a:pt x="710" y="614"/>
                  </a:lnTo>
                  <a:lnTo>
                    <a:pt x="714" y="614"/>
                  </a:lnTo>
                  <a:lnTo>
                    <a:pt x="710" y="618"/>
                  </a:lnTo>
                  <a:lnTo>
                    <a:pt x="710" y="622"/>
                  </a:lnTo>
                  <a:lnTo>
                    <a:pt x="706" y="626"/>
                  </a:lnTo>
                  <a:lnTo>
                    <a:pt x="706" y="630"/>
                  </a:lnTo>
                  <a:lnTo>
                    <a:pt x="702" y="634"/>
                  </a:lnTo>
                  <a:lnTo>
                    <a:pt x="702" y="638"/>
                  </a:lnTo>
                  <a:lnTo>
                    <a:pt x="702" y="642"/>
                  </a:lnTo>
                  <a:lnTo>
                    <a:pt x="702" y="646"/>
                  </a:lnTo>
                  <a:lnTo>
                    <a:pt x="698" y="646"/>
                  </a:lnTo>
                  <a:lnTo>
                    <a:pt x="698" y="650"/>
                  </a:lnTo>
                  <a:lnTo>
                    <a:pt x="698" y="654"/>
                  </a:lnTo>
                  <a:lnTo>
                    <a:pt x="698" y="658"/>
                  </a:lnTo>
                  <a:lnTo>
                    <a:pt x="698" y="662"/>
                  </a:lnTo>
                  <a:lnTo>
                    <a:pt x="702" y="662"/>
                  </a:lnTo>
                  <a:lnTo>
                    <a:pt x="702" y="666"/>
                  </a:lnTo>
                  <a:lnTo>
                    <a:pt x="698" y="666"/>
                  </a:lnTo>
                  <a:lnTo>
                    <a:pt x="698" y="670"/>
                  </a:lnTo>
                  <a:lnTo>
                    <a:pt x="702" y="674"/>
                  </a:lnTo>
                  <a:lnTo>
                    <a:pt x="702" y="678"/>
                  </a:lnTo>
                  <a:lnTo>
                    <a:pt x="706" y="678"/>
                  </a:lnTo>
                  <a:lnTo>
                    <a:pt x="706" y="682"/>
                  </a:lnTo>
                  <a:lnTo>
                    <a:pt x="706" y="686"/>
                  </a:lnTo>
                  <a:lnTo>
                    <a:pt x="706" y="690"/>
                  </a:lnTo>
                  <a:lnTo>
                    <a:pt x="706" y="686"/>
                  </a:lnTo>
                  <a:lnTo>
                    <a:pt x="706" y="682"/>
                  </a:lnTo>
                  <a:lnTo>
                    <a:pt x="710" y="678"/>
                  </a:lnTo>
                  <a:lnTo>
                    <a:pt x="714" y="678"/>
                  </a:lnTo>
                  <a:lnTo>
                    <a:pt x="718" y="678"/>
                  </a:lnTo>
                  <a:lnTo>
                    <a:pt x="722" y="678"/>
                  </a:lnTo>
                  <a:lnTo>
                    <a:pt x="726" y="678"/>
                  </a:lnTo>
                  <a:lnTo>
                    <a:pt x="726" y="682"/>
                  </a:lnTo>
                  <a:lnTo>
                    <a:pt x="726" y="686"/>
                  </a:lnTo>
                  <a:lnTo>
                    <a:pt x="726" y="690"/>
                  </a:lnTo>
                  <a:lnTo>
                    <a:pt x="730" y="694"/>
                  </a:lnTo>
                  <a:lnTo>
                    <a:pt x="730" y="698"/>
                  </a:lnTo>
                  <a:lnTo>
                    <a:pt x="730" y="702"/>
                  </a:lnTo>
                  <a:lnTo>
                    <a:pt x="734" y="706"/>
                  </a:lnTo>
                  <a:lnTo>
                    <a:pt x="734" y="710"/>
                  </a:lnTo>
                  <a:lnTo>
                    <a:pt x="734" y="714"/>
                  </a:lnTo>
                  <a:lnTo>
                    <a:pt x="734" y="718"/>
                  </a:lnTo>
                  <a:lnTo>
                    <a:pt x="730" y="722"/>
                  </a:lnTo>
                  <a:lnTo>
                    <a:pt x="734" y="722"/>
                  </a:lnTo>
                  <a:lnTo>
                    <a:pt x="734" y="718"/>
                  </a:lnTo>
                  <a:lnTo>
                    <a:pt x="738" y="718"/>
                  </a:lnTo>
                  <a:lnTo>
                    <a:pt x="738" y="722"/>
                  </a:lnTo>
                  <a:lnTo>
                    <a:pt x="734" y="722"/>
                  </a:lnTo>
                  <a:lnTo>
                    <a:pt x="738" y="722"/>
                  </a:lnTo>
                  <a:lnTo>
                    <a:pt x="738" y="718"/>
                  </a:lnTo>
                  <a:lnTo>
                    <a:pt x="742" y="718"/>
                  </a:lnTo>
                  <a:lnTo>
                    <a:pt x="746" y="718"/>
                  </a:lnTo>
                  <a:lnTo>
                    <a:pt x="754" y="714"/>
                  </a:lnTo>
                  <a:lnTo>
                    <a:pt x="758" y="714"/>
                  </a:lnTo>
                  <a:lnTo>
                    <a:pt x="762" y="714"/>
                  </a:lnTo>
                  <a:lnTo>
                    <a:pt x="766" y="714"/>
                  </a:lnTo>
                  <a:lnTo>
                    <a:pt x="766" y="718"/>
                  </a:lnTo>
                  <a:lnTo>
                    <a:pt x="770" y="718"/>
                  </a:lnTo>
                  <a:lnTo>
                    <a:pt x="774" y="718"/>
                  </a:lnTo>
                  <a:lnTo>
                    <a:pt x="774" y="722"/>
                  </a:lnTo>
                  <a:lnTo>
                    <a:pt x="778" y="722"/>
                  </a:lnTo>
                  <a:lnTo>
                    <a:pt x="782" y="722"/>
                  </a:lnTo>
                  <a:lnTo>
                    <a:pt x="786" y="722"/>
                  </a:lnTo>
                  <a:lnTo>
                    <a:pt x="790" y="726"/>
                  </a:lnTo>
                  <a:lnTo>
                    <a:pt x="794" y="726"/>
                  </a:lnTo>
                  <a:lnTo>
                    <a:pt x="794" y="730"/>
                  </a:lnTo>
                  <a:lnTo>
                    <a:pt x="797" y="730"/>
                  </a:lnTo>
                  <a:lnTo>
                    <a:pt x="797" y="734"/>
                  </a:lnTo>
                  <a:lnTo>
                    <a:pt x="801" y="734"/>
                  </a:lnTo>
                  <a:lnTo>
                    <a:pt x="805" y="738"/>
                  </a:lnTo>
                  <a:lnTo>
                    <a:pt x="809" y="742"/>
                  </a:lnTo>
                  <a:lnTo>
                    <a:pt x="813" y="746"/>
                  </a:lnTo>
                  <a:lnTo>
                    <a:pt x="817" y="746"/>
                  </a:lnTo>
                  <a:lnTo>
                    <a:pt x="821" y="746"/>
                  </a:lnTo>
                  <a:lnTo>
                    <a:pt x="825" y="746"/>
                  </a:lnTo>
                  <a:lnTo>
                    <a:pt x="825" y="750"/>
                  </a:lnTo>
                  <a:lnTo>
                    <a:pt x="829" y="750"/>
                  </a:lnTo>
                  <a:lnTo>
                    <a:pt x="833" y="750"/>
                  </a:lnTo>
                  <a:lnTo>
                    <a:pt x="837" y="754"/>
                  </a:lnTo>
                  <a:lnTo>
                    <a:pt x="841" y="758"/>
                  </a:lnTo>
                  <a:lnTo>
                    <a:pt x="845" y="758"/>
                  </a:lnTo>
                  <a:lnTo>
                    <a:pt x="845" y="762"/>
                  </a:lnTo>
                  <a:lnTo>
                    <a:pt x="841" y="762"/>
                  </a:lnTo>
                  <a:lnTo>
                    <a:pt x="841" y="766"/>
                  </a:lnTo>
                  <a:lnTo>
                    <a:pt x="841" y="762"/>
                  </a:lnTo>
                  <a:lnTo>
                    <a:pt x="845" y="762"/>
                  </a:lnTo>
                  <a:lnTo>
                    <a:pt x="849" y="762"/>
                  </a:lnTo>
                  <a:lnTo>
                    <a:pt x="853" y="762"/>
                  </a:lnTo>
                  <a:lnTo>
                    <a:pt x="857" y="762"/>
                  </a:lnTo>
                  <a:lnTo>
                    <a:pt x="861" y="762"/>
                  </a:lnTo>
                  <a:lnTo>
                    <a:pt x="861" y="758"/>
                  </a:lnTo>
                  <a:lnTo>
                    <a:pt x="865" y="758"/>
                  </a:lnTo>
                  <a:lnTo>
                    <a:pt x="869" y="762"/>
                  </a:lnTo>
                  <a:lnTo>
                    <a:pt x="865" y="762"/>
                  </a:lnTo>
                  <a:lnTo>
                    <a:pt x="869" y="762"/>
                  </a:lnTo>
                  <a:lnTo>
                    <a:pt x="873" y="762"/>
                  </a:lnTo>
                  <a:lnTo>
                    <a:pt x="877" y="762"/>
                  </a:lnTo>
                  <a:lnTo>
                    <a:pt x="881" y="762"/>
                  </a:lnTo>
                  <a:lnTo>
                    <a:pt x="885" y="762"/>
                  </a:lnTo>
                  <a:lnTo>
                    <a:pt x="885" y="766"/>
                  </a:lnTo>
                  <a:lnTo>
                    <a:pt x="889" y="766"/>
                  </a:lnTo>
                  <a:lnTo>
                    <a:pt x="889" y="762"/>
                  </a:lnTo>
                  <a:lnTo>
                    <a:pt x="889" y="766"/>
                  </a:lnTo>
                  <a:lnTo>
                    <a:pt x="889" y="770"/>
                  </a:lnTo>
                  <a:lnTo>
                    <a:pt x="889" y="778"/>
                  </a:lnTo>
                  <a:lnTo>
                    <a:pt x="885" y="782"/>
                  </a:lnTo>
                  <a:lnTo>
                    <a:pt x="885" y="786"/>
                  </a:lnTo>
                  <a:lnTo>
                    <a:pt x="889" y="786"/>
                  </a:lnTo>
                  <a:lnTo>
                    <a:pt x="889" y="790"/>
                  </a:lnTo>
                  <a:lnTo>
                    <a:pt x="889" y="794"/>
                  </a:lnTo>
                  <a:lnTo>
                    <a:pt x="889" y="798"/>
                  </a:lnTo>
                  <a:lnTo>
                    <a:pt x="889" y="802"/>
                  </a:lnTo>
                  <a:lnTo>
                    <a:pt x="889" y="806"/>
                  </a:lnTo>
                  <a:lnTo>
                    <a:pt x="889" y="810"/>
                  </a:lnTo>
                  <a:lnTo>
                    <a:pt x="889" y="814"/>
                  </a:lnTo>
                  <a:lnTo>
                    <a:pt x="893" y="818"/>
                  </a:lnTo>
                  <a:lnTo>
                    <a:pt x="897" y="822"/>
                  </a:lnTo>
                  <a:lnTo>
                    <a:pt x="897" y="826"/>
                  </a:lnTo>
                  <a:lnTo>
                    <a:pt x="901" y="826"/>
                  </a:lnTo>
                  <a:lnTo>
                    <a:pt x="901" y="830"/>
                  </a:lnTo>
                  <a:lnTo>
                    <a:pt x="897" y="830"/>
                  </a:lnTo>
                  <a:lnTo>
                    <a:pt x="893" y="830"/>
                  </a:lnTo>
                  <a:lnTo>
                    <a:pt x="897" y="830"/>
                  </a:lnTo>
                  <a:lnTo>
                    <a:pt x="901" y="830"/>
                  </a:lnTo>
                  <a:lnTo>
                    <a:pt x="901" y="834"/>
                  </a:lnTo>
                  <a:lnTo>
                    <a:pt x="905" y="834"/>
                  </a:lnTo>
                  <a:lnTo>
                    <a:pt x="909" y="834"/>
                  </a:lnTo>
                  <a:lnTo>
                    <a:pt x="909" y="838"/>
                  </a:lnTo>
                  <a:lnTo>
                    <a:pt x="913" y="842"/>
                  </a:lnTo>
                  <a:lnTo>
                    <a:pt x="913" y="846"/>
                  </a:lnTo>
                  <a:lnTo>
                    <a:pt x="917" y="846"/>
                  </a:lnTo>
                  <a:lnTo>
                    <a:pt x="917" y="850"/>
                  </a:lnTo>
                  <a:lnTo>
                    <a:pt x="913" y="850"/>
                  </a:lnTo>
                  <a:lnTo>
                    <a:pt x="913" y="854"/>
                  </a:lnTo>
                  <a:lnTo>
                    <a:pt x="909" y="854"/>
                  </a:lnTo>
                  <a:lnTo>
                    <a:pt x="909" y="858"/>
                  </a:lnTo>
                  <a:lnTo>
                    <a:pt x="909" y="854"/>
                  </a:lnTo>
                  <a:lnTo>
                    <a:pt x="913" y="854"/>
                  </a:lnTo>
                  <a:lnTo>
                    <a:pt x="913" y="850"/>
                  </a:lnTo>
                  <a:lnTo>
                    <a:pt x="917" y="850"/>
                  </a:lnTo>
                  <a:lnTo>
                    <a:pt x="921" y="850"/>
                  </a:lnTo>
                  <a:lnTo>
                    <a:pt x="921" y="854"/>
                  </a:lnTo>
                  <a:lnTo>
                    <a:pt x="925" y="854"/>
                  </a:lnTo>
                  <a:lnTo>
                    <a:pt x="925" y="858"/>
                  </a:lnTo>
                  <a:lnTo>
                    <a:pt x="929" y="858"/>
                  </a:lnTo>
                  <a:lnTo>
                    <a:pt x="929" y="862"/>
                  </a:lnTo>
                  <a:lnTo>
                    <a:pt x="933" y="862"/>
                  </a:lnTo>
                  <a:lnTo>
                    <a:pt x="933" y="866"/>
                  </a:lnTo>
                  <a:lnTo>
                    <a:pt x="933" y="862"/>
                  </a:lnTo>
                  <a:lnTo>
                    <a:pt x="929" y="862"/>
                  </a:lnTo>
                  <a:lnTo>
                    <a:pt x="929" y="858"/>
                  </a:lnTo>
                  <a:lnTo>
                    <a:pt x="925" y="854"/>
                  </a:lnTo>
                  <a:lnTo>
                    <a:pt x="929" y="854"/>
                  </a:lnTo>
                  <a:lnTo>
                    <a:pt x="929" y="850"/>
                  </a:lnTo>
                  <a:lnTo>
                    <a:pt x="929" y="846"/>
                  </a:lnTo>
                  <a:lnTo>
                    <a:pt x="933" y="846"/>
                  </a:lnTo>
                  <a:lnTo>
                    <a:pt x="933" y="842"/>
                  </a:lnTo>
                  <a:lnTo>
                    <a:pt x="933" y="846"/>
                  </a:lnTo>
                  <a:lnTo>
                    <a:pt x="937" y="846"/>
                  </a:lnTo>
                  <a:lnTo>
                    <a:pt x="937" y="850"/>
                  </a:lnTo>
                  <a:lnTo>
                    <a:pt x="937" y="854"/>
                  </a:lnTo>
                  <a:lnTo>
                    <a:pt x="941" y="854"/>
                  </a:lnTo>
                  <a:lnTo>
                    <a:pt x="941" y="850"/>
                  </a:lnTo>
                  <a:lnTo>
                    <a:pt x="941" y="846"/>
                  </a:lnTo>
                  <a:lnTo>
                    <a:pt x="937" y="842"/>
                  </a:lnTo>
                  <a:lnTo>
                    <a:pt x="941" y="842"/>
                  </a:lnTo>
                  <a:lnTo>
                    <a:pt x="941" y="838"/>
                  </a:lnTo>
                  <a:lnTo>
                    <a:pt x="941" y="834"/>
                  </a:lnTo>
                  <a:lnTo>
                    <a:pt x="945" y="834"/>
                  </a:lnTo>
                  <a:lnTo>
                    <a:pt x="945" y="830"/>
                  </a:lnTo>
                  <a:lnTo>
                    <a:pt x="945" y="826"/>
                  </a:lnTo>
                  <a:lnTo>
                    <a:pt x="945" y="822"/>
                  </a:lnTo>
                  <a:lnTo>
                    <a:pt x="941" y="822"/>
                  </a:lnTo>
                  <a:lnTo>
                    <a:pt x="941" y="818"/>
                  </a:lnTo>
                  <a:lnTo>
                    <a:pt x="941" y="814"/>
                  </a:lnTo>
                  <a:lnTo>
                    <a:pt x="941" y="810"/>
                  </a:lnTo>
                  <a:lnTo>
                    <a:pt x="941" y="806"/>
                  </a:lnTo>
                  <a:lnTo>
                    <a:pt x="937" y="806"/>
                  </a:lnTo>
                  <a:lnTo>
                    <a:pt x="937" y="802"/>
                  </a:lnTo>
                  <a:lnTo>
                    <a:pt x="941" y="802"/>
                  </a:lnTo>
                  <a:lnTo>
                    <a:pt x="937" y="798"/>
                  </a:lnTo>
                  <a:lnTo>
                    <a:pt x="937" y="794"/>
                  </a:lnTo>
                  <a:lnTo>
                    <a:pt x="941" y="794"/>
                  </a:lnTo>
                  <a:lnTo>
                    <a:pt x="937" y="794"/>
                  </a:lnTo>
                  <a:lnTo>
                    <a:pt x="937" y="790"/>
                  </a:lnTo>
                  <a:lnTo>
                    <a:pt x="937" y="786"/>
                  </a:lnTo>
                  <a:lnTo>
                    <a:pt x="933" y="786"/>
                  </a:lnTo>
                  <a:lnTo>
                    <a:pt x="933" y="782"/>
                  </a:lnTo>
                  <a:lnTo>
                    <a:pt x="929" y="782"/>
                  </a:lnTo>
                  <a:lnTo>
                    <a:pt x="929" y="778"/>
                  </a:lnTo>
                  <a:lnTo>
                    <a:pt x="929" y="774"/>
                  </a:lnTo>
                  <a:lnTo>
                    <a:pt x="925" y="774"/>
                  </a:lnTo>
                  <a:lnTo>
                    <a:pt x="929" y="774"/>
                  </a:lnTo>
                  <a:lnTo>
                    <a:pt x="933" y="774"/>
                  </a:lnTo>
                  <a:lnTo>
                    <a:pt x="937" y="770"/>
                  </a:lnTo>
                  <a:lnTo>
                    <a:pt x="941" y="770"/>
                  </a:lnTo>
                  <a:lnTo>
                    <a:pt x="945" y="766"/>
                  </a:lnTo>
                  <a:lnTo>
                    <a:pt x="949" y="766"/>
                  </a:lnTo>
                  <a:lnTo>
                    <a:pt x="953" y="762"/>
                  </a:lnTo>
                  <a:lnTo>
                    <a:pt x="957" y="758"/>
                  </a:lnTo>
                  <a:lnTo>
                    <a:pt x="961" y="754"/>
                  </a:lnTo>
                  <a:lnTo>
                    <a:pt x="965" y="754"/>
                  </a:lnTo>
                  <a:lnTo>
                    <a:pt x="965" y="750"/>
                  </a:lnTo>
                  <a:lnTo>
                    <a:pt x="969" y="750"/>
                  </a:lnTo>
                  <a:lnTo>
                    <a:pt x="973" y="746"/>
                  </a:lnTo>
                  <a:lnTo>
                    <a:pt x="973" y="742"/>
                  </a:lnTo>
                  <a:lnTo>
                    <a:pt x="977" y="738"/>
                  </a:lnTo>
                  <a:lnTo>
                    <a:pt x="977" y="734"/>
                  </a:lnTo>
                  <a:lnTo>
                    <a:pt x="977" y="730"/>
                  </a:lnTo>
                  <a:lnTo>
                    <a:pt x="977" y="726"/>
                  </a:lnTo>
                  <a:lnTo>
                    <a:pt x="977" y="722"/>
                  </a:lnTo>
                  <a:lnTo>
                    <a:pt x="973" y="718"/>
                  </a:lnTo>
                  <a:lnTo>
                    <a:pt x="977" y="718"/>
                  </a:lnTo>
                  <a:lnTo>
                    <a:pt x="973" y="714"/>
                  </a:lnTo>
                  <a:lnTo>
                    <a:pt x="973" y="710"/>
                  </a:lnTo>
                  <a:lnTo>
                    <a:pt x="973" y="706"/>
                  </a:lnTo>
                  <a:lnTo>
                    <a:pt x="969" y="702"/>
                  </a:lnTo>
                  <a:lnTo>
                    <a:pt x="965" y="694"/>
                  </a:lnTo>
                  <a:lnTo>
                    <a:pt x="961" y="694"/>
                  </a:lnTo>
                  <a:lnTo>
                    <a:pt x="961" y="690"/>
                  </a:lnTo>
                  <a:lnTo>
                    <a:pt x="957" y="690"/>
                  </a:lnTo>
                  <a:lnTo>
                    <a:pt x="953" y="686"/>
                  </a:lnTo>
                  <a:lnTo>
                    <a:pt x="949" y="682"/>
                  </a:lnTo>
                  <a:lnTo>
                    <a:pt x="945" y="682"/>
                  </a:lnTo>
                  <a:lnTo>
                    <a:pt x="949" y="682"/>
                  </a:lnTo>
                  <a:lnTo>
                    <a:pt x="945" y="682"/>
                  </a:lnTo>
                  <a:lnTo>
                    <a:pt x="945" y="678"/>
                  </a:lnTo>
                  <a:lnTo>
                    <a:pt x="945" y="674"/>
                  </a:lnTo>
                  <a:lnTo>
                    <a:pt x="949" y="674"/>
                  </a:lnTo>
                  <a:lnTo>
                    <a:pt x="949" y="670"/>
                  </a:lnTo>
                  <a:lnTo>
                    <a:pt x="953" y="670"/>
                  </a:lnTo>
                  <a:lnTo>
                    <a:pt x="953" y="666"/>
                  </a:lnTo>
                  <a:lnTo>
                    <a:pt x="957" y="666"/>
                  </a:lnTo>
                  <a:lnTo>
                    <a:pt x="957" y="662"/>
                  </a:lnTo>
                  <a:lnTo>
                    <a:pt x="953" y="662"/>
                  </a:lnTo>
                  <a:lnTo>
                    <a:pt x="957" y="658"/>
                  </a:lnTo>
                  <a:lnTo>
                    <a:pt x="957" y="654"/>
                  </a:lnTo>
                  <a:lnTo>
                    <a:pt x="961" y="654"/>
                  </a:lnTo>
                  <a:lnTo>
                    <a:pt x="961" y="658"/>
                  </a:lnTo>
                  <a:lnTo>
                    <a:pt x="965" y="658"/>
                  </a:lnTo>
                  <a:lnTo>
                    <a:pt x="961" y="658"/>
                  </a:lnTo>
                  <a:lnTo>
                    <a:pt x="961" y="654"/>
                  </a:lnTo>
                  <a:lnTo>
                    <a:pt x="965" y="654"/>
                  </a:lnTo>
                  <a:lnTo>
                    <a:pt x="961" y="650"/>
                  </a:lnTo>
                  <a:lnTo>
                    <a:pt x="965" y="646"/>
                  </a:lnTo>
                  <a:lnTo>
                    <a:pt x="969" y="646"/>
                  </a:lnTo>
                  <a:lnTo>
                    <a:pt x="973" y="646"/>
                  </a:lnTo>
                  <a:lnTo>
                    <a:pt x="973" y="642"/>
                  </a:lnTo>
                  <a:lnTo>
                    <a:pt x="969" y="642"/>
                  </a:lnTo>
                  <a:lnTo>
                    <a:pt x="969" y="646"/>
                  </a:lnTo>
                  <a:lnTo>
                    <a:pt x="965" y="646"/>
                  </a:lnTo>
                  <a:lnTo>
                    <a:pt x="961" y="646"/>
                  </a:lnTo>
                  <a:lnTo>
                    <a:pt x="961" y="642"/>
                  </a:lnTo>
                  <a:lnTo>
                    <a:pt x="961" y="638"/>
                  </a:lnTo>
                  <a:lnTo>
                    <a:pt x="957" y="638"/>
                  </a:lnTo>
                  <a:lnTo>
                    <a:pt x="961" y="634"/>
                  </a:lnTo>
                  <a:lnTo>
                    <a:pt x="957" y="634"/>
                  </a:lnTo>
                  <a:lnTo>
                    <a:pt x="957" y="630"/>
                  </a:lnTo>
                  <a:lnTo>
                    <a:pt x="961" y="626"/>
                  </a:lnTo>
                  <a:lnTo>
                    <a:pt x="957" y="630"/>
                  </a:lnTo>
                  <a:lnTo>
                    <a:pt x="953" y="630"/>
                  </a:lnTo>
                  <a:lnTo>
                    <a:pt x="953" y="626"/>
                  </a:lnTo>
                  <a:lnTo>
                    <a:pt x="953" y="630"/>
                  </a:lnTo>
                  <a:lnTo>
                    <a:pt x="949" y="630"/>
                  </a:lnTo>
                  <a:lnTo>
                    <a:pt x="949" y="626"/>
                  </a:lnTo>
                  <a:lnTo>
                    <a:pt x="953" y="622"/>
                  </a:lnTo>
                  <a:lnTo>
                    <a:pt x="957" y="622"/>
                  </a:lnTo>
                  <a:lnTo>
                    <a:pt x="957" y="618"/>
                  </a:lnTo>
                  <a:lnTo>
                    <a:pt x="957" y="614"/>
                  </a:lnTo>
                  <a:lnTo>
                    <a:pt x="957" y="610"/>
                  </a:lnTo>
                  <a:lnTo>
                    <a:pt x="961" y="610"/>
                  </a:lnTo>
                  <a:lnTo>
                    <a:pt x="957" y="610"/>
                  </a:lnTo>
                  <a:lnTo>
                    <a:pt x="961" y="610"/>
                  </a:lnTo>
                  <a:lnTo>
                    <a:pt x="957" y="610"/>
                  </a:lnTo>
                  <a:lnTo>
                    <a:pt x="957" y="606"/>
                  </a:lnTo>
                  <a:lnTo>
                    <a:pt x="953" y="606"/>
                  </a:lnTo>
                  <a:lnTo>
                    <a:pt x="953" y="603"/>
                  </a:lnTo>
                  <a:lnTo>
                    <a:pt x="953" y="599"/>
                  </a:lnTo>
                  <a:lnTo>
                    <a:pt x="949" y="599"/>
                  </a:lnTo>
                  <a:lnTo>
                    <a:pt x="949" y="595"/>
                  </a:lnTo>
                  <a:lnTo>
                    <a:pt x="949" y="591"/>
                  </a:lnTo>
                  <a:lnTo>
                    <a:pt x="953" y="591"/>
                  </a:lnTo>
                  <a:lnTo>
                    <a:pt x="957" y="587"/>
                  </a:lnTo>
                  <a:lnTo>
                    <a:pt x="961" y="587"/>
                  </a:lnTo>
                  <a:lnTo>
                    <a:pt x="969" y="587"/>
                  </a:lnTo>
                  <a:lnTo>
                    <a:pt x="973" y="587"/>
                  </a:lnTo>
                  <a:lnTo>
                    <a:pt x="977" y="587"/>
                  </a:lnTo>
                  <a:lnTo>
                    <a:pt x="977" y="591"/>
                  </a:lnTo>
                  <a:lnTo>
                    <a:pt x="981" y="591"/>
                  </a:lnTo>
                  <a:lnTo>
                    <a:pt x="989" y="591"/>
                  </a:lnTo>
                  <a:lnTo>
                    <a:pt x="989" y="595"/>
                  </a:lnTo>
                  <a:lnTo>
                    <a:pt x="985" y="595"/>
                  </a:lnTo>
                  <a:lnTo>
                    <a:pt x="989" y="595"/>
                  </a:lnTo>
                  <a:lnTo>
                    <a:pt x="989" y="591"/>
                  </a:lnTo>
                  <a:lnTo>
                    <a:pt x="993" y="591"/>
                  </a:lnTo>
                  <a:lnTo>
                    <a:pt x="997" y="591"/>
                  </a:lnTo>
                  <a:lnTo>
                    <a:pt x="1001" y="595"/>
                  </a:lnTo>
                  <a:lnTo>
                    <a:pt x="1005" y="595"/>
                  </a:lnTo>
                  <a:lnTo>
                    <a:pt x="1001" y="595"/>
                  </a:lnTo>
                  <a:lnTo>
                    <a:pt x="1005" y="595"/>
                  </a:lnTo>
                  <a:lnTo>
                    <a:pt x="1009" y="595"/>
                  </a:lnTo>
                  <a:lnTo>
                    <a:pt x="1009" y="591"/>
                  </a:lnTo>
                  <a:lnTo>
                    <a:pt x="1013" y="591"/>
                  </a:lnTo>
                  <a:lnTo>
                    <a:pt x="1017" y="587"/>
                  </a:lnTo>
                  <a:lnTo>
                    <a:pt x="1021" y="587"/>
                  </a:lnTo>
                  <a:lnTo>
                    <a:pt x="1021" y="591"/>
                  </a:lnTo>
                  <a:lnTo>
                    <a:pt x="1025" y="591"/>
                  </a:lnTo>
                  <a:lnTo>
                    <a:pt x="1025" y="595"/>
                  </a:lnTo>
                  <a:lnTo>
                    <a:pt x="1029" y="595"/>
                  </a:lnTo>
                  <a:lnTo>
                    <a:pt x="1033" y="595"/>
                  </a:lnTo>
                  <a:lnTo>
                    <a:pt x="1037" y="599"/>
                  </a:lnTo>
                  <a:lnTo>
                    <a:pt x="1033" y="599"/>
                  </a:lnTo>
                  <a:lnTo>
                    <a:pt x="1033" y="603"/>
                  </a:lnTo>
                  <a:lnTo>
                    <a:pt x="1037" y="603"/>
                  </a:lnTo>
                  <a:lnTo>
                    <a:pt x="1033" y="603"/>
                  </a:lnTo>
                  <a:lnTo>
                    <a:pt x="1037" y="603"/>
                  </a:lnTo>
                  <a:lnTo>
                    <a:pt x="1041" y="603"/>
                  </a:lnTo>
                  <a:lnTo>
                    <a:pt x="1045" y="606"/>
                  </a:lnTo>
                  <a:lnTo>
                    <a:pt x="1041" y="610"/>
                  </a:lnTo>
                  <a:lnTo>
                    <a:pt x="1041" y="606"/>
                  </a:lnTo>
                  <a:lnTo>
                    <a:pt x="1041" y="610"/>
                  </a:lnTo>
                  <a:lnTo>
                    <a:pt x="1045" y="610"/>
                  </a:lnTo>
                  <a:lnTo>
                    <a:pt x="1045" y="606"/>
                  </a:lnTo>
                  <a:lnTo>
                    <a:pt x="1049" y="606"/>
                  </a:lnTo>
                  <a:lnTo>
                    <a:pt x="1049" y="610"/>
                  </a:lnTo>
                  <a:lnTo>
                    <a:pt x="1045" y="614"/>
                  </a:lnTo>
                  <a:lnTo>
                    <a:pt x="1049" y="614"/>
                  </a:lnTo>
                  <a:lnTo>
                    <a:pt x="1049" y="618"/>
                  </a:lnTo>
                  <a:lnTo>
                    <a:pt x="1053" y="618"/>
                  </a:lnTo>
                  <a:lnTo>
                    <a:pt x="1057" y="618"/>
                  </a:lnTo>
                  <a:lnTo>
                    <a:pt x="1061" y="622"/>
                  </a:lnTo>
                  <a:lnTo>
                    <a:pt x="1065" y="622"/>
                  </a:lnTo>
                  <a:lnTo>
                    <a:pt x="1069" y="622"/>
                  </a:lnTo>
                  <a:lnTo>
                    <a:pt x="1073" y="622"/>
                  </a:lnTo>
                  <a:lnTo>
                    <a:pt x="1073" y="626"/>
                  </a:lnTo>
                  <a:lnTo>
                    <a:pt x="1077" y="626"/>
                  </a:lnTo>
                  <a:lnTo>
                    <a:pt x="1081" y="626"/>
                  </a:lnTo>
                  <a:lnTo>
                    <a:pt x="1081" y="622"/>
                  </a:lnTo>
                  <a:lnTo>
                    <a:pt x="1085" y="626"/>
                  </a:lnTo>
                  <a:lnTo>
                    <a:pt x="1085" y="630"/>
                  </a:lnTo>
                  <a:lnTo>
                    <a:pt x="1081" y="630"/>
                  </a:lnTo>
                  <a:lnTo>
                    <a:pt x="1077" y="630"/>
                  </a:lnTo>
                  <a:lnTo>
                    <a:pt x="1081" y="630"/>
                  </a:lnTo>
                  <a:lnTo>
                    <a:pt x="1081" y="634"/>
                  </a:lnTo>
                  <a:lnTo>
                    <a:pt x="1077" y="634"/>
                  </a:lnTo>
                  <a:lnTo>
                    <a:pt x="1077" y="638"/>
                  </a:lnTo>
                  <a:lnTo>
                    <a:pt x="1077" y="642"/>
                  </a:lnTo>
                  <a:lnTo>
                    <a:pt x="1081" y="642"/>
                  </a:lnTo>
                  <a:lnTo>
                    <a:pt x="1081" y="646"/>
                  </a:lnTo>
                  <a:lnTo>
                    <a:pt x="1077" y="646"/>
                  </a:lnTo>
                  <a:lnTo>
                    <a:pt x="1073" y="646"/>
                  </a:lnTo>
                  <a:lnTo>
                    <a:pt x="1069" y="646"/>
                  </a:lnTo>
                  <a:lnTo>
                    <a:pt x="1065" y="646"/>
                  </a:lnTo>
                  <a:lnTo>
                    <a:pt x="1061" y="646"/>
                  </a:lnTo>
                  <a:lnTo>
                    <a:pt x="1065" y="650"/>
                  </a:lnTo>
                  <a:lnTo>
                    <a:pt x="1069" y="650"/>
                  </a:lnTo>
                  <a:lnTo>
                    <a:pt x="1073" y="650"/>
                  </a:lnTo>
                  <a:lnTo>
                    <a:pt x="1077" y="650"/>
                  </a:lnTo>
                  <a:lnTo>
                    <a:pt x="1081" y="650"/>
                  </a:lnTo>
                  <a:lnTo>
                    <a:pt x="1081" y="654"/>
                  </a:lnTo>
                  <a:lnTo>
                    <a:pt x="1081" y="658"/>
                  </a:lnTo>
                  <a:lnTo>
                    <a:pt x="1077" y="658"/>
                  </a:lnTo>
                  <a:lnTo>
                    <a:pt x="1077" y="662"/>
                  </a:lnTo>
                  <a:lnTo>
                    <a:pt x="1081" y="662"/>
                  </a:lnTo>
                  <a:lnTo>
                    <a:pt x="1077" y="662"/>
                  </a:lnTo>
                  <a:lnTo>
                    <a:pt x="1077" y="666"/>
                  </a:lnTo>
                  <a:lnTo>
                    <a:pt x="1081" y="666"/>
                  </a:lnTo>
                  <a:lnTo>
                    <a:pt x="1081" y="662"/>
                  </a:lnTo>
                  <a:lnTo>
                    <a:pt x="1085" y="662"/>
                  </a:lnTo>
                  <a:lnTo>
                    <a:pt x="1085" y="666"/>
                  </a:lnTo>
                  <a:lnTo>
                    <a:pt x="1081" y="666"/>
                  </a:lnTo>
                  <a:lnTo>
                    <a:pt x="1081" y="670"/>
                  </a:lnTo>
                  <a:lnTo>
                    <a:pt x="1085" y="670"/>
                  </a:lnTo>
                  <a:lnTo>
                    <a:pt x="1081" y="670"/>
                  </a:lnTo>
                  <a:lnTo>
                    <a:pt x="1081" y="674"/>
                  </a:lnTo>
                  <a:lnTo>
                    <a:pt x="1081" y="678"/>
                  </a:lnTo>
                  <a:lnTo>
                    <a:pt x="1077" y="674"/>
                  </a:lnTo>
                  <a:lnTo>
                    <a:pt x="1081" y="674"/>
                  </a:lnTo>
                  <a:lnTo>
                    <a:pt x="1077" y="674"/>
                  </a:lnTo>
                  <a:lnTo>
                    <a:pt x="1077" y="670"/>
                  </a:lnTo>
                  <a:lnTo>
                    <a:pt x="1077" y="674"/>
                  </a:lnTo>
                  <a:lnTo>
                    <a:pt x="1077" y="678"/>
                  </a:lnTo>
                  <a:lnTo>
                    <a:pt x="1073" y="678"/>
                  </a:lnTo>
                  <a:lnTo>
                    <a:pt x="1077" y="678"/>
                  </a:lnTo>
                  <a:lnTo>
                    <a:pt x="1077" y="682"/>
                  </a:lnTo>
                  <a:lnTo>
                    <a:pt x="1081" y="678"/>
                  </a:lnTo>
                  <a:lnTo>
                    <a:pt x="1085" y="678"/>
                  </a:lnTo>
                  <a:lnTo>
                    <a:pt x="1085" y="674"/>
                  </a:lnTo>
                  <a:lnTo>
                    <a:pt x="1089" y="674"/>
                  </a:lnTo>
                  <a:lnTo>
                    <a:pt x="1093" y="674"/>
                  </a:lnTo>
                  <a:lnTo>
                    <a:pt x="1097" y="674"/>
                  </a:lnTo>
                  <a:lnTo>
                    <a:pt x="1097" y="678"/>
                  </a:lnTo>
                  <a:lnTo>
                    <a:pt x="1101" y="678"/>
                  </a:lnTo>
                  <a:lnTo>
                    <a:pt x="1101" y="682"/>
                  </a:lnTo>
                  <a:lnTo>
                    <a:pt x="1101" y="686"/>
                  </a:lnTo>
                  <a:lnTo>
                    <a:pt x="1101" y="690"/>
                  </a:lnTo>
                  <a:lnTo>
                    <a:pt x="1101" y="694"/>
                  </a:lnTo>
                  <a:lnTo>
                    <a:pt x="1097" y="694"/>
                  </a:lnTo>
                  <a:lnTo>
                    <a:pt x="1093" y="698"/>
                  </a:lnTo>
                  <a:lnTo>
                    <a:pt x="1089" y="698"/>
                  </a:lnTo>
                  <a:lnTo>
                    <a:pt x="1085" y="698"/>
                  </a:lnTo>
                  <a:lnTo>
                    <a:pt x="1085" y="702"/>
                  </a:lnTo>
                  <a:lnTo>
                    <a:pt x="1085" y="698"/>
                  </a:lnTo>
                  <a:lnTo>
                    <a:pt x="1089" y="698"/>
                  </a:lnTo>
                  <a:lnTo>
                    <a:pt x="1093" y="698"/>
                  </a:lnTo>
                  <a:lnTo>
                    <a:pt x="1097" y="698"/>
                  </a:lnTo>
                  <a:lnTo>
                    <a:pt x="1097" y="694"/>
                  </a:lnTo>
                  <a:lnTo>
                    <a:pt x="1101" y="694"/>
                  </a:lnTo>
                  <a:lnTo>
                    <a:pt x="1101" y="690"/>
                  </a:lnTo>
                  <a:lnTo>
                    <a:pt x="1101" y="686"/>
                  </a:lnTo>
                  <a:lnTo>
                    <a:pt x="1101" y="682"/>
                  </a:lnTo>
                  <a:lnTo>
                    <a:pt x="1105" y="682"/>
                  </a:lnTo>
                  <a:lnTo>
                    <a:pt x="1105" y="686"/>
                  </a:lnTo>
                  <a:lnTo>
                    <a:pt x="1105" y="690"/>
                  </a:lnTo>
                  <a:lnTo>
                    <a:pt x="1105" y="694"/>
                  </a:lnTo>
                  <a:lnTo>
                    <a:pt x="1105" y="690"/>
                  </a:lnTo>
                  <a:lnTo>
                    <a:pt x="1109" y="690"/>
                  </a:lnTo>
                  <a:lnTo>
                    <a:pt x="1109" y="686"/>
                  </a:lnTo>
                  <a:lnTo>
                    <a:pt x="1109" y="690"/>
                  </a:lnTo>
                  <a:lnTo>
                    <a:pt x="1109" y="698"/>
                  </a:lnTo>
                  <a:lnTo>
                    <a:pt x="1109" y="694"/>
                  </a:lnTo>
                  <a:lnTo>
                    <a:pt x="1113" y="690"/>
                  </a:lnTo>
                  <a:lnTo>
                    <a:pt x="1117" y="686"/>
                  </a:lnTo>
                  <a:lnTo>
                    <a:pt x="1121" y="686"/>
                  </a:lnTo>
                  <a:lnTo>
                    <a:pt x="1125" y="686"/>
                  </a:lnTo>
                  <a:lnTo>
                    <a:pt x="1125" y="682"/>
                  </a:lnTo>
                  <a:lnTo>
                    <a:pt x="1125" y="678"/>
                  </a:lnTo>
                  <a:lnTo>
                    <a:pt x="1129" y="678"/>
                  </a:lnTo>
                  <a:lnTo>
                    <a:pt x="1129" y="674"/>
                  </a:lnTo>
                  <a:lnTo>
                    <a:pt x="1133" y="678"/>
                  </a:lnTo>
                  <a:lnTo>
                    <a:pt x="1133" y="682"/>
                  </a:lnTo>
                  <a:lnTo>
                    <a:pt x="1137" y="682"/>
                  </a:lnTo>
                  <a:lnTo>
                    <a:pt x="1133" y="686"/>
                  </a:lnTo>
                  <a:lnTo>
                    <a:pt x="1133" y="690"/>
                  </a:lnTo>
                  <a:lnTo>
                    <a:pt x="1133" y="686"/>
                  </a:lnTo>
                  <a:lnTo>
                    <a:pt x="1137" y="686"/>
                  </a:lnTo>
                  <a:lnTo>
                    <a:pt x="1137" y="682"/>
                  </a:lnTo>
                  <a:lnTo>
                    <a:pt x="1133" y="678"/>
                  </a:lnTo>
                  <a:lnTo>
                    <a:pt x="1133" y="674"/>
                  </a:lnTo>
                  <a:lnTo>
                    <a:pt x="1137" y="674"/>
                  </a:lnTo>
                  <a:lnTo>
                    <a:pt x="1137" y="678"/>
                  </a:lnTo>
                  <a:lnTo>
                    <a:pt x="1137" y="674"/>
                  </a:lnTo>
                  <a:lnTo>
                    <a:pt x="1137" y="670"/>
                  </a:lnTo>
                  <a:lnTo>
                    <a:pt x="1141" y="670"/>
                  </a:lnTo>
                  <a:lnTo>
                    <a:pt x="1141" y="674"/>
                  </a:lnTo>
                  <a:lnTo>
                    <a:pt x="1141" y="670"/>
                  </a:lnTo>
                  <a:lnTo>
                    <a:pt x="1145" y="670"/>
                  </a:lnTo>
                  <a:lnTo>
                    <a:pt x="1141" y="670"/>
                  </a:lnTo>
                  <a:lnTo>
                    <a:pt x="1141" y="666"/>
                  </a:lnTo>
                  <a:lnTo>
                    <a:pt x="1141" y="662"/>
                  </a:lnTo>
                  <a:lnTo>
                    <a:pt x="1145" y="662"/>
                  </a:lnTo>
                  <a:lnTo>
                    <a:pt x="1145" y="666"/>
                  </a:lnTo>
                  <a:lnTo>
                    <a:pt x="1145" y="662"/>
                  </a:lnTo>
                  <a:lnTo>
                    <a:pt x="1141" y="662"/>
                  </a:lnTo>
                  <a:lnTo>
                    <a:pt x="1145" y="662"/>
                  </a:lnTo>
                  <a:lnTo>
                    <a:pt x="1148" y="662"/>
                  </a:lnTo>
                  <a:lnTo>
                    <a:pt x="1145" y="662"/>
                  </a:lnTo>
                  <a:lnTo>
                    <a:pt x="1145" y="658"/>
                  </a:lnTo>
                  <a:lnTo>
                    <a:pt x="1141" y="658"/>
                  </a:lnTo>
                  <a:lnTo>
                    <a:pt x="1141" y="654"/>
                  </a:lnTo>
                  <a:lnTo>
                    <a:pt x="1145" y="654"/>
                  </a:lnTo>
                  <a:lnTo>
                    <a:pt x="1145" y="650"/>
                  </a:lnTo>
                  <a:lnTo>
                    <a:pt x="1145" y="654"/>
                  </a:lnTo>
                  <a:lnTo>
                    <a:pt x="1148" y="654"/>
                  </a:lnTo>
                  <a:lnTo>
                    <a:pt x="1148" y="650"/>
                  </a:lnTo>
                  <a:lnTo>
                    <a:pt x="1145" y="650"/>
                  </a:lnTo>
                  <a:lnTo>
                    <a:pt x="1148" y="650"/>
                  </a:lnTo>
                  <a:lnTo>
                    <a:pt x="1148" y="646"/>
                  </a:lnTo>
                  <a:lnTo>
                    <a:pt x="1152" y="642"/>
                  </a:lnTo>
                  <a:lnTo>
                    <a:pt x="1152" y="638"/>
                  </a:lnTo>
                  <a:lnTo>
                    <a:pt x="1156" y="638"/>
                  </a:lnTo>
                  <a:lnTo>
                    <a:pt x="1156" y="642"/>
                  </a:lnTo>
                  <a:lnTo>
                    <a:pt x="1152" y="642"/>
                  </a:lnTo>
                  <a:lnTo>
                    <a:pt x="1156" y="642"/>
                  </a:lnTo>
                  <a:lnTo>
                    <a:pt x="1160" y="642"/>
                  </a:lnTo>
                  <a:lnTo>
                    <a:pt x="1156" y="646"/>
                  </a:lnTo>
                  <a:lnTo>
                    <a:pt x="1152" y="646"/>
                  </a:lnTo>
                  <a:lnTo>
                    <a:pt x="1152" y="650"/>
                  </a:lnTo>
                  <a:lnTo>
                    <a:pt x="1152" y="646"/>
                  </a:lnTo>
                  <a:lnTo>
                    <a:pt x="1156" y="646"/>
                  </a:lnTo>
                  <a:lnTo>
                    <a:pt x="1160" y="646"/>
                  </a:lnTo>
                  <a:lnTo>
                    <a:pt x="1160" y="650"/>
                  </a:lnTo>
                  <a:lnTo>
                    <a:pt x="1156" y="650"/>
                  </a:lnTo>
                  <a:lnTo>
                    <a:pt x="1160" y="650"/>
                  </a:lnTo>
                  <a:lnTo>
                    <a:pt x="1160" y="646"/>
                  </a:lnTo>
                  <a:lnTo>
                    <a:pt x="1164" y="646"/>
                  </a:lnTo>
                  <a:lnTo>
                    <a:pt x="1164" y="650"/>
                  </a:lnTo>
                  <a:lnTo>
                    <a:pt x="1160" y="654"/>
                  </a:lnTo>
                  <a:lnTo>
                    <a:pt x="1164" y="654"/>
                  </a:lnTo>
                  <a:lnTo>
                    <a:pt x="1164" y="658"/>
                  </a:lnTo>
                  <a:lnTo>
                    <a:pt x="1168" y="658"/>
                  </a:lnTo>
                  <a:lnTo>
                    <a:pt x="1168" y="662"/>
                  </a:lnTo>
                  <a:lnTo>
                    <a:pt x="1164" y="662"/>
                  </a:lnTo>
                  <a:lnTo>
                    <a:pt x="1168" y="662"/>
                  </a:lnTo>
                  <a:lnTo>
                    <a:pt x="1168" y="666"/>
                  </a:lnTo>
                  <a:lnTo>
                    <a:pt x="1168" y="662"/>
                  </a:lnTo>
                  <a:lnTo>
                    <a:pt x="1172" y="662"/>
                  </a:lnTo>
                  <a:lnTo>
                    <a:pt x="1172" y="666"/>
                  </a:lnTo>
                  <a:lnTo>
                    <a:pt x="1176" y="666"/>
                  </a:lnTo>
                  <a:lnTo>
                    <a:pt x="1172" y="670"/>
                  </a:lnTo>
                  <a:lnTo>
                    <a:pt x="1168" y="670"/>
                  </a:lnTo>
                  <a:lnTo>
                    <a:pt x="1164" y="670"/>
                  </a:lnTo>
                  <a:lnTo>
                    <a:pt x="1164" y="674"/>
                  </a:lnTo>
                  <a:lnTo>
                    <a:pt x="1168" y="670"/>
                  </a:lnTo>
                  <a:lnTo>
                    <a:pt x="1172" y="670"/>
                  </a:lnTo>
                  <a:lnTo>
                    <a:pt x="1176" y="670"/>
                  </a:lnTo>
                  <a:lnTo>
                    <a:pt x="1176" y="674"/>
                  </a:lnTo>
                  <a:lnTo>
                    <a:pt x="1180" y="674"/>
                  </a:lnTo>
                  <a:lnTo>
                    <a:pt x="1180" y="678"/>
                  </a:lnTo>
                  <a:lnTo>
                    <a:pt x="1184" y="678"/>
                  </a:lnTo>
                  <a:lnTo>
                    <a:pt x="1184" y="682"/>
                  </a:lnTo>
                  <a:lnTo>
                    <a:pt x="1180" y="682"/>
                  </a:lnTo>
                  <a:lnTo>
                    <a:pt x="1176" y="686"/>
                  </a:lnTo>
                  <a:lnTo>
                    <a:pt x="1172" y="686"/>
                  </a:lnTo>
                  <a:lnTo>
                    <a:pt x="1172" y="690"/>
                  </a:lnTo>
                  <a:lnTo>
                    <a:pt x="1172" y="686"/>
                  </a:lnTo>
                  <a:lnTo>
                    <a:pt x="1176" y="686"/>
                  </a:lnTo>
                  <a:lnTo>
                    <a:pt x="1180" y="686"/>
                  </a:lnTo>
                  <a:lnTo>
                    <a:pt x="1184" y="686"/>
                  </a:lnTo>
                  <a:lnTo>
                    <a:pt x="1188" y="686"/>
                  </a:lnTo>
                  <a:lnTo>
                    <a:pt x="1184" y="686"/>
                  </a:lnTo>
                  <a:lnTo>
                    <a:pt x="1184" y="690"/>
                  </a:lnTo>
                  <a:lnTo>
                    <a:pt x="1188" y="690"/>
                  </a:lnTo>
                  <a:lnTo>
                    <a:pt x="1184" y="690"/>
                  </a:lnTo>
                  <a:lnTo>
                    <a:pt x="1184" y="694"/>
                  </a:lnTo>
                  <a:lnTo>
                    <a:pt x="1184" y="690"/>
                  </a:lnTo>
                  <a:lnTo>
                    <a:pt x="1180" y="694"/>
                  </a:lnTo>
                  <a:lnTo>
                    <a:pt x="1176" y="694"/>
                  </a:lnTo>
                  <a:lnTo>
                    <a:pt x="1176" y="698"/>
                  </a:lnTo>
                  <a:lnTo>
                    <a:pt x="1180" y="694"/>
                  </a:lnTo>
                  <a:lnTo>
                    <a:pt x="1184" y="694"/>
                  </a:lnTo>
                  <a:lnTo>
                    <a:pt x="1188" y="694"/>
                  </a:lnTo>
                  <a:lnTo>
                    <a:pt x="1188" y="690"/>
                  </a:lnTo>
                  <a:lnTo>
                    <a:pt x="1188" y="694"/>
                  </a:lnTo>
                  <a:lnTo>
                    <a:pt x="1192" y="694"/>
                  </a:lnTo>
                  <a:lnTo>
                    <a:pt x="1188" y="694"/>
                  </a:lnTo>
                  <a:lnTo>
                    <a:pt x="1188" y="698"/>
                  </a:lnTo>
                  <a:lnTo>
                    <a:pt x="1188" y="694"/>
                  </a:lnTo>
                  <a:lnTo>
                    <a:pt x="1188" y="698"/>
                  </a:lnTo>
                  <a:lnTo>
                    <a:pt x="1184" y="698"/>
                  </a:lnTo>
                  <a:lnTo>
                    <a:pt x="1188" y="698"/>
                  </a:lnTo>
                  <a:lnTo>
                    <a:pt x="1192" y="698"/>
                  </a:lnTo>
                  <a:lnTo>
                    <a:pt x="1192" y="702"/>
                  </a:lnTo>
                  <a:lnTo>
                    <a:pt x="1196" y="702"/>
                  </a:lnTo>
                  <a:lnTo>
                    <a:pt x="1196" y="706"/>
                  </a:lnTo>
                  <a:lnTo>
                    <a:pt x="1192" y="706"/>
                  </a:lnTo>
                  <a:lnTo>
                    <a:pt x="1192" y="710"/>
                  </a:lnTo>
                  <a:lnTo>
                    <a:pt x="1188" y="710"/>
                  </a:lnTo>
                  <a:lnTo>
                    <a:pt x="1188" y="706"/>
                  </a:lnTo>
                  <a:lnTo>
                    <a:pt x="1188" y="710"/>
                  </a:lnTo>
                  <a:lnTo>
                    <a:pt x="1192" y="710"/>
                  </a:lnTo>
                  <a:lnTo>
                    <a:pt x="1196" y="710"/>
                  </a:lnTo>
                  <a:lnTo>
                    <a:pt x="1196" y="714"/>
                  </a:lnTo>
                  <a:lnTo>
                    <a:pt x="1196" y="718"/>
                  </a:lnTo>
                  <a:lnTo>
                    <a:pt x="1200" y="718"/>
                  </a:lnTo>
                  <a:lnTo>
                    <a:pt x="1204" y="718"/>
                  </a:lnTo>
                  <a:lnTo>
                    <a:pt x="1204" y="722"/>
                  </a:lnTo>
                  <a:lnTo>
                    <a:pt x="1200" y="722"/>
                  </a:lnTo>
                  <a:lnTo>
                    <a:pt x="1200" y="726"/>
                  </a:lnTo>
                  <a:lnTo>
                    <a:pt x="1196" y="726"/>
                  </a:lnTo>
                  <a:lnTo>
                    <a:pt x="1200" y="726"/>
                  </a:lnTo>
                  <a:lnTo>
                    <a:pt x="1196" y="726"/>
                  </a:lnTo>
                  <a:lnTo>
                    <a:pt x="1200" y="726"/>
                  </a:lnTo>
                  <a:lnTo>
                    <a:pt x="1200" y="730"/>
                  </a:lnTo>
                  <a:lnTo>
                    <a:pt x="1196" y="730"/>
                  </a:lnTo>
                  <a:lnTo>
                    <a:pt x="1196" y="726"/>
                  </a:lnTo>
                  <a:lnTo>
                    <a:pt x="1192" y="726"/>
                  </a:lnTo>
                  <a:lnTo>
                    <a:pt x="1188" y="726"/>
                  </a:lnTo>
                  <a:lnTo>
                    <a:pt x="1192" y="726"/>
                  </a:lnTo>
                  <a:lnTo>
                    <a:pt x="1192" y="722"/>
                  </a:lnTo>
                  <a:lnTo>
                    <a:pt x="1188" y="722"/>
                  </a:lnTo>
                  <a:lnTo>
                    <a:pt x="1188" y="726"/>
                  </a:lnTo>
                  <a:lnTo>
                    <a:pt x="1192" y="726"/>
                  </a:lnTo>
                  <a:lnTo>
                    <a:pt x="1196" y="730"/>
                  </a:lnTo>
                  <a:lnTo>
                    <a:pt x="1192" y="730"/>
                  </a:lnTo>
                  <a:lnTo>
                    <a:pt x="1196" y="730"/>
                  </a:lnTo>
                  <a:lnTo>
                    <a:pt x="1200" y="730"/>
                  </a:lnTo>
                  <a:lnTo>
                    <a:pt x="1200" y="734"/>
                  </a:lnTo>
                  <a:lnTo>
                    <a:pt x="1196" y="734"/>
                  </a:lnTo>
                  <a:lnTo>
                    <a:pt x="1196" y="730"/>
                  </a:lnTo>
                  <a:lnTo>
                    <a:pt x="1192" y="734"/>
                  </a:lnTo>
                  <a:lnTo>
                    <a:pt x="1196" y="734"/>
                  </a:lnTo>
                  <a:lnTo>
                    <a:pt x="1192" y="734"/>
                  </a:lnTo>
                  <a:lnTo>
                    <a:pt x="1196" y="734"/>
                  </a:lnTo>
                  <a:lnTo>
                    <a:pt x="1200" y="734"/>
                  </a:lnTo>
                  <a:lnTo>
                    <a:pt x="1200" y="738"/>
                  </a:lnTo>
                  <a:lnTo>
                    <a:pt x="1196" y="738"/>
                  </a:lnTo>
                  <a:lnTo>
                    <a:pt x="1192" y="738"/>
                  </a:lnTo>
                  <a:lnTo>
                    <a:pt x="1196" y="738"/>
                  </a:lnTo>
                  <a:lnTo>
                    <a:pt x="1200" y="738"/>
                  </a:lnTo>
                  <a:lnTo>
                    <a:pt x="1204" y="738"/>
                  </a:lnTo>
                  <a:lnTo>
                    <a:pt x="1204" y="742"/>
                  </a:lnTo>
                  <a:lnTo>
                    <a:pt x="1208" y="742"/>
                  </a:lnTo>
                  <a:lnTo>
                    <a:pt x="1204" y="742"/>
                  </a:lnTo>
                  <a:lnTo>
                    <a:pt x="1204" y="746"/>
                  </a:lnTo>
                  <a:lnTo>
                    <a:pt x="1208" y="746"/>
                  </a:lnTo>
                  <a:lnTo>
                    <a:pt x="1212" y="746"/>
                  </a:lnTo>
                  <a:lnTo>
                    <a:pt x="1216" y="746"/>
                  </a:lnTo>
                  <a:lnTo>
                    <a:pt x="1216" y="750"/>
                  </a:lnTo>
                  <a:lnTo>
                    <a:pt x="1212" y="750"/>
                  </a:lnTo>
                  <a:lnTo>
                    <a:pt x="1216" y="750"/>
                  </a:lnTo>
                  <a:lnTo>
                    <a:pt x="1216" y="746"/>
                  </a:lnTo>
                  <a:lnTo>
                    <a:pt x="1216" y="750"/>
                  </a:lnTo>
                  <a:lnTo>
                    <a:pt x="1216" y="754"/>
                  </a:lnTo>
                  <a:lnTo>
                    <a:pt x="1216" y="750"/>
                  </a:lnTo>
                  <a:lnTo>
                    <a:pt x="1220" y="750"/>
                  </a:lnTo>
                  <a:lnTo>
                    <a:pt x="1216" y="750"/>
                  </a:lnTo>
                  <a:lnTo>
                    <a:pt x="1216" y="754"/>
                  </a:lnTo>
                  <a:lnTo>
                    <a:pt x="1220" y="754"/>
                  </a:lnTo>
                  <a:lnTo>
                    <a:pt x="1220" y="758"/>
                  </a:lnTo>
                  <a:lnTo>
                    <a:pt x="1216" y="758"/>
                  </a:lnTo>
                  <a:lnTo>
                    <a:pt x="1220" y="758"/>
                  </a:lnTo>
                  <a:lnTo>
                    <a:pt x="1220" y="754"/>
                  </a:lnTo>
                  <a:lnTo>
                    <a:pt x="1224" y="754"/>
                  </a:lnTo>
                  <a:lnTo>
                    <a:pt x="1224" y="758"/>
                  </a:lnTo>
                  <a:lnTo>
                    <a:pt x="1220" y="758"/>
                  </a:lnTo>
                  <a:lnTo>
                    <a:pt x="1220" y="762"/>
                  </a:lnTo>
                  <a:lnTo>
                    <a:pt x="1216" y="762"/>
                  </a:lnTo>
                  <a:lnTo>
                    <a:pt x="1220" y="762"/>
                  </a:lnTo>
                  <a:lnTo>
                    <a:pt x="1216" y="766"/>
                  </a:lnTo>
                  <a:lnTo>
                    <a:pt x="1220" y="766"/>
                  </a:lnTo>
                  <a:lnTo>
                    <a:pt x="1220" y="762"/>
                  </a:lnTo>
                  <a:lnTo>
                    <a:pt x="1224" y="762"/>
                  </a:lnTo>
                  <a:lnTo>
                    <a:pt x="1224" y="766"/>
                  </a:lnTo>
                  <a:lnTo>
                    <a:pt x="1220" y="766"/>
                  </a:lnTo>
                  <a:lnTo>
                    <a:pt x="1224" y="766"/>
                  </a:lnTo>
                  <a:lnTo>
                    <a:pt x="1224" y="762"/>
                  </a:lnTo>
                  <a:lnTo>
                    <a:pt x="1228" y="762"/>
                  </a:lnTo>
                  <a:lnTo>
                    <a:pt x="1228" y="758"/>
                  </a:lnTo>
                  <a:lnTo>
                    <a:pt x="1228" y="762"/>
                  </a:lnTo>
                  <a:lnTo>
                    <a:pt x="1224" y="762"/>
                  </a:lnTo>
                  <a:lnTo>
                    <a:pt x="1224" y="766"/>
                  </a:lnTo>
                  <a:lnTo>
                    <a:pt x="1228" y="766"/>
                  </a:lnTo>
                  <a:lnTo>
                    <a:pt x="1232" y="762"/>
                  </a:lnTo>
                  <a:lnTo>
                    <a:pt x="1232" y="766"/>
                  </a:lnTo>
                  <a:lnTo>
                    <a:pt x="1228" y="770"/>
                  </a:lnTo>
                  <a:lnTo>
                    <a:pt x="1228" y="774"/>
                  </a:lnTo>
                  <a:lnTo>
                    <a:pt x="1228" y="770"/>
                  </a:lnTo>
                  <a:lnTo>
                    <a:pt x="1232" y="770"/>
                  </a:lnTo>
                  <a:lnTo>
                    <a:pt x="1236" y="766"/>
                  </a:lnTo>
                  <a:lnTo>
                    <a:pt x="1236" y="762"/>
                  </a:lnTo>
                  <a:lnTo>
                    <a:pt x="1240" y="762"/>
                  </a:lnTo>
                  <a:lnTo>
                    <a:pt x="1236" y="762"/>
                  </a:lnTo>
                  <a:lnTo>
                    <a:pt x="1236" y="766"/>
                  </a:lnTo>
                  <a:lnTo>
                    <a:pt x="1240" y="766"/>
                  </a:lnTo>
                  <a:lnTo>
                    <a:pt x="1240" y="762"/>
                  </a:lnTo>
                  <a:lnTo>
                    <a:pt x="1240" y="766"/>
                  </a:lnTo>
                  <a:lnTo>
                    <a:pt x="1240" y="770"/>
                  </a:lnTo>
                  <a:lnTo>
                    <a:pt x="1244" y="770"/>
                  </a:lnTo>
                  <a:lnTo>
                    <a:pt x="1248" y="774"/>
                  </a:lnTo>
                  <a:lnTo>
                    <a:pt x="1248" y="770"/>
                  </a:lnTo>
                  <a:lnTo>
                    <a:pt x="1252" y="770"/>
                  </a:lnTo>
                  <a:lnTo>
                    <a:pt x="1252" y="774"/>
                  </a:lnTo>
                  <a:lnTo>
                    <a:pt x="1256" y="774"/>
                  </a:lnTo>
                  <a:lnTo>
                    <a:pt x="1260" y="774"/>
                  </a:lnTo>
                  <a:lnTo>
                    <a:pt x="1264" y="774"/>
                  </a:lnTo>
                  <a:lnTo>
                    <a:pt x="1264" y="778"/>
                  </a:lnTo>
                  <a:lnTo>
                    <a:pt x="1260" y="778"/>
                  </a:lnTo>
                  <a:lnTo>
                    <a:pt x="1264" y="778"/>
                  </a:lnTo>
                  <a:lnTo>
                    <a:pt x="1264" y="782"/>
                  </a:lnTo>
                  <a:lnTo>
                    <a:pt x="1260" y="782"/>
                  </a:lnTo>
                  <a:lnTo>
                    <a:pt x="1256" y="782"/>
                  </a:lnTo>
                  <a:lnTo>
                    <a:pt x="1252" y="782"/>
                  </a:lnTo>
                  <a:lnTo>
                    <a:pt x="1256" y="782"/>
                  </a:lnTo>
                  <a:lnTo>
                    <a:pt x="1252" y="786"/>
                  </a:lnTo>
                  <a:lnTo>
                    <a:pt x="1248" y="786"/>
                  </a:lnTo>
                  <a:lnTo>
                    <a:pt x="1244" y="786"/>
                  </a:lnTo>
                  <a:lnTo>
                    <a:pt x="1240" y="786"/>
                  </a:lnTo>
                  <a:lnTo>
                    <a:pt x="1236" y="790"/>
                  </a:lnTo>
                  <a:lnTo>
                    <a:pt x="1232" y="790"/>
                  </a:lnTo>
                  <a:lnTo>
                    <a:pt x="1236" y="790"/>
                  </a:lnTo>
                  <a:lnTo>
                    <a:pt x="1240" y="790"/>
                  </a:lnTo>
                  <a:lnTo>
                    <a:pt x="1244" y="786"/>
                  </a:lnTo>
                  <a:lnTo>
                    <a:pt x="1248" y="786"/>
                  </a:lnTo>
                  <a:lnTo>
                    <a:pt x="1248" y="790"/>
                  </a:lnTo>
                  <a:lnTo>
                    <a:pt x="1244" y="790"/>
                  </a:lnTo>
                  <a:lnTo>
                    <a:pt x="1240" y="790"/>
                  </a:lnTo>
                  <a:lnTo>
                    <a:pt x="1236" y="790"/>
                  </a:lnTo>
                  <a:lnTo>
                    <a:pt x="1236" y="794"/>
                  </a:lnTo>
                  <a:lnTo>
                    <a:pt x="1232" y="794"/>
                  </a:lnTo>
                  <a:lnTo>
                    <a:pt x="1228" y="794"/>
                  </a:lnTo>
                  <a:lnTo>
                    <a:pt x="1224" y="794"/>
                  </a:lnTo>
                  <a:lnTo>
                    <a:pt x="1224" y="798"/>
                  </a:lnTo>
                  <a:lnTo>
                    <a:pt x="1224" y="802"/>
                  </a:lnTo>
                  <a:lnTo>
                    <a:pt x="1220" y="798"/>
                  </a:lnTo>
                  <a:lnTo>
                    <a:pt x="1216" y="798"/>
                  </a:lnTo>
                  <a:lnTo>
                    <a:pt x="1212" y="794"/>
                  </a:lnTo>
                  <a:lnTo>
                    <a:pt x="1212" y="798"/>
                  </a:lnTo>
                  <a:lnTo>
                    <a:pt x="1216" y="798"/>
                  </a:lnTo>
                  <a:lnTo>
                    <a:pt x="1220" y="798"/>
                  </a:lnTo>
                  <a:lnTo>
                    <a:pt x="1220" y="802"/>
                  </a:lnTo>
                  <a:lnTo>
                    <a:pt x="1224" y="802"/>
                  </a:lnTo>
                  <a:lnTo>
                    <a:pt x="1220" y="806"/>
                  </a:lnTo>
                  <a:lnTo>
                    <a:pt x="1224" y="806"/>
                  </a:lnTo>
                  <a:lnTo>
                    <a:pt x="1220" y="806"/>
                  </a:lnTo>
                  <a:lnTo>
                    <a:pt x="1224" y="806"/>
                  </a:lnTo>
                  <a:lnTo>
                    <a:pt x="1224" y="802"/>
                  </a:lnTo>
                  <a:lnTo>
                    <a:pt x="1228" y="802"/>
                  </a:lnTo>
                  <a:lnTo>
                    <a:pt x="1232" y="802"/>
                  </a:lnTo>
                  <a:lnTo>
                    <a:pt x="1232" y="798"/>
                  </a:lnTo>
                  <a:lnTo>
                    <a:pt x="1236" y="798"/>
                  </a:lnTo>
                  <a:lnTo>
                    <a:pt x="1240" y="798"/>
                  </a:lnTo>
                  <a:lnTo>
                    <a:pt x="1240" y="794"/>
                  </a:lnTo>
                  <a:lnTo>
                    <a:pt x="1244" y="794"/>
                  </a:lnTo>
                  <a:lnTo>
                    <a:pt x="1248" y="790"/>
                  </a:lnTo>
                  <a:lnTo>
                    <a:pt x="1252" y="790"/>
                  </a:lnTo>
                  <a:lnTo>
                    <a:pt x="1256" y="790"/>
                  </a:lnTo>
                  <a:lnTo>
                    <a:pt x="1260" y="790"/>
                  </a:lnTo>
                  <a:lnTo>
                    <a:pt x="1256" y="786"/>
                  </a:lnTo>
                  <a:lnTo>
                    <a:pt x="1252" y="786"/>
                  </a:lnTo>
                  <a:lnTo>
                    <a:pt x="1248" y="786"/>
                  </a:lnTo>
                  <a:lnTo>
                    <a:pt x="1252" y="786"/>
                  </a:lnTo>
                  <a:lnTo>
                    <a:pt x="1256" y="786"/>
                  </a:lnTo>
                  <a:lnTo>
                    <a:pt x="1260" y="786"/>
                  </a:lnTo>
                  <a:lnTo>
                    <a:pt x="1264" y="786"/>
                  </a:lnTo>
                  <a:lnTo>
                    <a:pt x="1264" y="790"/>
                  </a:lnTo>
                  <a:lnTo>
                    <a:pt x="1268" y="794"/>
                  </a:lnTo>
                  <a:lnTo>
                    <a:pt x="1268" y="798"/>
                  </a:lnTo>
                  <a:lnTo>
                    <a:pt x="1264" y="798"/>
                  </a:lnTo>
                  <a:lnTo>
                    <a:pt x="1268" y="802"/>
                  </a:lnTo>
                  <a:lnTo>
                    <a:pt x="1264" y="802"/>
                  </a:lnTo>
                  <a:lnTo>
                    <a:pt x="1268" y="802"/>
                  </a:lnTo>
                  <a:lnTo>
                    <a:pt x="1268" y="798"/>
                  </a:lnTo>
                  <a:lnTo>
                    <a:pt x="1272" y="798"/>
                  </a:lnTo>
                  <a:lnTo>
                    <a:pt x="1276" y="798"/>
                  </a:lnTo>
                  <a:lnTo>
                    <a:pt x="1276" y="794"/>
                  </a:lnTo>
                  <a:lnTo>
                    <a:pt x="1280" y="794"/>
                  </a:lnTo>
                  <a:lnTo>
                    <a:pt x="1280" y="798"/>
                  </a:lnTo>
                  <a:lnTo>
                    <a:pt x="1276" y="798"/>
                  </a:lnTo>
                  <a:lnTo>
                    <a:pt x="1280" y="798"/>
                  </a:lnTo>
                  <a:lnTo>
                    <a:pt x="1284" y="798"/>
                  </a:lnTo>
                  <a:lnTo>
                    <a:pt x="1288" y="802"/>
                  </a:lnTo>
                  <a:lnTo>
                    <a:pt x="1284" y="802"/>
                  </a:lnTo>
                  <a:lnTo>
                    <a:pt x="1288" y="802"/>
                  </a:lnTo>
                  <a:lnTo>
                    <a:pt x="1284" y="806"/>
                  </a:lnTo>
                  <a:lnTo>
                    <a:pt x="1288" y="806"/>
                  </a:lnTo>
                  <a:lnTo>
                    <a:pt x="1288" y="810"/>
                  </a:lnTo>
                  <a:lnTo>
                    <a:pt x="1288" y="814"/>
                  </a:lnTo>
                  <a:lnTo>
                    <a:pt x="1284" y="814"/>
                  </a:lnTo>
                  <a:lnTo>
                    <a:pt x="1288" y="814"/>
                  </a:lnTo>
                  <a:lnTo>
                    <a:pt x="1288" y="818"/>
                  </a:lnTo>
                  <a:lnTo>
                    <a:pt x="1284" y="818"/>
                  </a:lnTo>
                  <a:lnTo>
                    <a:pt x="1288" y="822"/>
                  </a:lnTo>
                  <a:lnTo>
                    <a:pt x="1284" y="822"/>
                  </a:lnTo>
                  <a:lnTo>
                    <a:pt x="1288" y="822"/>
                  </a:lnTo>
                  <a:lnTo>
                    <a:pt x="1284" y="822"/>
                  </a:lnTo>
                  <a:lnTo>
                    <a:pt x="1280" y="822"/>
                  </a:lnTo>
                  <a:lnTo>
                    <a:pt x="1284" y="822"/>
                  </a:lnTo>
                  <a:lnTo>
                    <a:pt x="1288" y="826"/>
                  </a:lnTo>
                  <a:lnTo>
                    <a:pt x="1292" y="826"/>
                  </a:lnTo>
                  <a:lnTo>
                    <a:pt x="1288" y="830"/>
                  </a:lnTo>
                  <a:lnTo>
                    <a:pt x="1288" y="826"/>
                  </a:lnTo>
                  <a:lnTo>
                    <a:pt x="1284" y="826"/>
                  </a:lnTo>
                  <a:lnTo>
                    <a:pt x="1288" y="826"/>
                  </a:lnTo>
                  <a:lnTo>
                    <a:pt x="1288" y="830"/>
                  </a:lnTo>
                  <a:lnTo>
                    <a:pt x="1292" y="830"/>
                  </a:lnTo>
                  <a:lnTo>
                    <a:pt x="1292" y="834"/>
                  </a:lnTo>
                  <a:lnTo>
                    <a:pt x="1288" y="838"/>
                  </a:lnTo>
                  <a:lnTo>
                    <a:pt x="1284" y="838"/>
                  </a:lnTo>
                  <a:lnTo>
                    <a:pt x="1284" y="842"/>
                  </a:lnTo>
                  <a:lnTo>
                    <a:pt x="1280" y="842"/>
                  </a:lnTo>
                  <a:lnTo>
                    <a:pt x="1276" y="846"/>
                  </a:lnTo>
                  <a:lnTo>
                    <a:pt x="1272" y="846"/>
                  </a:lnTo>
                  <a:lnTo>
                    <a:pt x="1272" y="850"/>
                  </a:lnTo>
                  <a:lnTo>
                    <a:pt x="1268" y="850"/>
                  </a:lnTo>
                  <a:lnTo>
                    <a:pt x="1268" y="846"/>
                  </a:lnTo>
                  <a:lnTo>
                    <a:pt x="1264" y="846"/>
                  </a:lnTo>
                  <a:lnTo>
                    <a:pt x="1264" y="850"/>
                  </a:lnTo>
                  <a:lnTo>
                    <a:pt x="1260" y="850"/>
                  </a:lnTo>
                  <a:lnTo>
                    <a:pt x="1260" y="846"/>
                  </a:lnTo>
                  <a:lnTo>
                    <a:pt x="1256" y="850"/>
                  </a:lnTo>
                  <a:lnTo>
                    <a:pt x="1252" y="854"/>
                  </a:lnTo>
                  <a:lnTo>
                    <a:pt x="1248" y="850"/>
                  </a:lnTo>
                  <a:lnTo>
                    <a:pt x="1248" y="854"/>
                  </a:lnTo>
                  <a:lnTo>
                    <a:pt x="1244" y="854"/>
                  </a:lnTo>
                  <a:lnTo>
                    <a:pt x="1248" y="854"/>
                  </a:lnTo>
                  <a:lnTo>
                    <a:pt x="1244" y="858"/>
                  </a:lnTo>
                  <a:lnTo>
                    <a:pt x="1240" y="858"/>
                  </a:lnTo>
                  <a:lnTo>
                    <a:pt x="1240" y="862"/>
                  </a:lnTo>
                  <a:lnTo>
                    <a:pt x="1240" y="866"/>
                  </a:lnTo>
                  <a:lnTo>
                    <a:pt x="1240" y="862"/>
                  </a:lnTo>
                  <a:lnTo>
                    <a:pt x="1236" y="866"/>
                  </a:lnTo>
                  <a:lnTo>
                    <a:pt x="1232" y="866"/>
                  </a:lnTo>
                  <a:lnTo>
                    <a:pt x="1232" y="870"/>
                  </a:lnTo>
                  <a:lnTo>
                    <a:pt x="1228" y="870"/>
                  </a:lnTo>
                  <a:lnTo>
                    <a:pt x="1228" y="874"/>
                  </a:lnTo>
                  <a:lnTo>
                    <a:pt x="1224" y="874"/>
                  </a:lnTo>
                  <a:lnTo>
                    <a:pt x="1220" y="874"/>
                  </a:lnTo>
                  <a:lnTo>
                    <a:pt x="1216" y="874"/>
                  </a:lnTo>
                  <a:lnTo>
                    <a:pt x="1216" y="878"/>
                  </a:lnTo>
                  <a:lnTo>
                    <a:pt x="1216" y="874"/>
                  </a:lnTo>
                  <a:lnTo>
                    <a:pt x="1212" y="878"/>
                  </a:lnTo>
                  <a:lnTo>
                    <a:pt x="1208" y="878"/>
                  </a:lnTo>
                  <a:lnTo>
                    <a:pt x="1204" y="878"/>
                  </a:lnTo>
                  <a:lnTo>
                    <a:pt x="1200" y="878"/>
                  </a:lnTo>
                  <a:lnTo>
                    <a:pt x="1196" y="878"/>
                  </a:lnTo>
                  <a:lnTo>
                    <a:pt x="1196" y="874"/>
                  </a:lnTo>
                  <a:lnTo>
                    <a:pt x="1192" y="874"/>
                  </a:lnTo>
                  <a:lnTo>
                    <a:pt x="1188" y="874"/>
                  </a:lnTo>
                  <a:lnTo>
                    <a:pt x="1184" y="874"/>
                  </a:lnTo>
                  <a:lnTo>
                    <a:pt x="1176" y="874"/>
                  </a:lnTo>
                  <a:lnTo>
                    <a:pt x="1172" y="874"/>
                  </a:lnTo>
                  <a:lnTo>
                    <a:pt x="1168" y="874"/>
                  </a:lnTo>
                  <a:lnTo>
                    <a:pt x="1164" y="874"/>
                  </a:lnTo>
                  <a:lnTo>
                    <a:pt x="1160" y="874"/>
                  </a:lnTo>
                  <a:lnTo>
                    <a:pt x="1156" y="874"/>
                  </a:lnTo>
                  <a:lnTo>
                    <a:pt x="1152" y="874"/>
                  </a:lnTo>
                  <a:lnTo>
                    <a:pt x="1148" y="874"/>
                  </a:lnTo>
                  <a:lnTo>
                    <a:pt x="1145" y="874"/>
                  </a:lnTo>
                  <a:lnTo>
                    <a:pt x="1141" y="874"/>
                  </a:lnTo>
                  <a:lnTo>
                    <a:pt x="1137" y="874"/>
                  </a:lnTo>
                  <a:lnTo>
                    <a:pt x="1133" y="874"/>
                  </a:lnTo>
                  <a:lnTo>
                    <a:pt x="1133" y="878"/>
                  </a:lnTo>
                  <a:lnTo>
                    <a:pt x="1129" y="878"/>
                  </a:lnTo>
                  <a:lnTo>
                    <a:pt x="1129" y="874"/>
                  </a:lnTo>
                  <a:lnTo>
                    <a:pt x="1125" y="878"/>
                  </a:lnTo>
                  <a:lnTo>
                    <a:pt x="1121" y="882"/>
                  </a:lnTo>
                  <a:lnTo>
                    <a:pt x="1121" y="886"/>
                  </a:lnTo>
                  <a:lnTo>
                    <a:pt x="1117" y="886"/>
                  </a:lnTo>
                  <a:lnTo>
                    <a:pt x="1117" y="890"/>
                  </a:lnTo>
                  <a:lnTo>
                    <a:pt x="1117" y="894"/>
                  </a:lnTo>
                  <a:lnTo>
                    <a:pt x="1113" y="894"/>
                  </a:lnTo>
                  <a:lnTo>
                    <a:pt x="1109" y="898"/>
                  </a:lnTo>
                  <a:lnTo>
                    <a:pt x="1105" y="898"/>
                  </a:lnTo>
                  <a:lnTo>
                    <a:pt x="1101" y="898"/>
                  </a:lnTo>
                  <a:lnTo>
                    <a:pt x="1101" y="902"/>
                  </a:lnTo>
                  <a:lnTo>
                    <a:pt x="1097" y="902"/>
                  </a:lnTo>
                  <a:lnTo>
                    <a:pt x="1093" y="906"/>
                  </a:lnTo>
                  <a:lnTo>
                    <a:pt x="1089" y="910"/>
                  </a:lnTo>
                  <a:lnTo>
                    <a:pt x="1089" y="914"/>
                  </a:lnTo>
                  <a:lnTo>
                    <a:pt x="1085" y="914"/>
                  </a:lnTo>
                  <a:lnTo>
                    <a:pt x="1085" y="918"/>
                  </a:lnTo>
                  <a:lnTo>
                    <a:pt x="1081" y="918"/>
                  </a:lnTo>
                  <a:lnTo>
                    <a:pt x="1081" y="922"/>
                  </a:lnTo>
                  <a:lnTo>
                    <a:pt x="1077" y="922"/>
                  </a:lnTo>
                  <a:lnTo>
                    <a:pt x="1073" y="918"/>
                  </a:lnTo>
                  <a:lnTo>
                    <a:pt x="1069" y="918"/>
                  </a:lnTo>
                  <a:lnTo>
                    <a:pt x="1065" y="918"/>
                  </a:lnTo>
                  <a:lnTo>
                    <a:pt x="1065" y="914"/>
                  </a:lnTo>
                  <a:lnTo>
                    <a:pt x="1061" y="914"/>
                  </a:lnTo>
                  <a:lnTo>
                    <a:pt x="1057" y="914"/>
                  </a:lnTo>
                  <a:lnTo>
                    <a:pt x="1061" y="914"/>
                  </a:lnTo>
                  <a:lnTo>
                    <a:pt x="1061" y="918"/>
                  </a:lnTo>
                  <a:lnTo>
                    <a:pt x="1065" y="918"/>
                  </a:lnTo>
                  <a:lnTo>
                    <a:pt x="1069" y="918"/>
                  </a:lnTo>
                  <a:lnTo>
                    <a:pt x="1073" y="918"/>
                  </a:lnTo>
                  <a:lnTo>
                    <a:pt x="1077" y="922"/>
                  </a:lnTo>
                  <a:lnTo>
                    <a:pt x="1077" y="926"/>
                  </a:lnTo>
                  <a:lnTo>
                    <a:pt x="1077" y="930"/>
                  </a:lnTo>
                  <a:lnTo>
                    <a:pt x="1073" y="930"/>
                  </a:lnTo>
                  <a:lnTo>
                    <a:pt x="1073" y="934"/>
                  </a:lnTo>
                  <a:lnTo>
                    <a:pt x="1073" y="938"/>
                  </a:lnTo>
                  <a:lnTo>
                    <a:pt x="1069" y="938"/>
                  </a:lnTo>
                  <a:lnTo>
                    <a:pt x="1065" y="938"/>
                  </a:lnTo>
                  <a:lnTo>
                    <a:pt x="1065" y="942"/>
                  </a:lnTo>
                  <a:lnTo>
                    <a:pt x="1065" y="946"/>
                  </a:lnTo>
                  <a:lnTo>
                    <a:pt x="1061" y="946"/>
                  </a:lnTo>
                  <a:lnTo>
                    <a:pt x="1057" y="950"/>
                  </a:lnTo>
                  <a:lnTo>
                    <a:pt x="1053" y="954"/>
                  </a:lnTo>
                  <a:lnTo>
                    <a:pt x="1057" y="950"/>
                  </a:lnTo>
                  <a:lnTo>
                    <a:pt x="1061" y="950"/>
                  </a:lnTo>
                  <a:lnTo>
                    <a:pt x="1065" y="950"/>
                  </a:lnTo>
                  <a:lnTo>
                    <a:pt x="1065" y="946"/>
                  </a:lnTo>
                  <a:lnTo>
                    <a:pt x="1069" y="946"/>
                  </a:lnTo>
                  <a:lnTo>
                    <a:pt x="1069" y="942"/>
                  </a:lnTo>
                  <a:lnTo>
                    <a:pt x="1073" y="938"/>
                  </a:lnTo>
                  <a:lnTo>
                    <a:pt x="1073" y="934"/>
                  </a:lnTo>
                  <a:lnTo>
                    <a:pt x="1077" y="934"/>
                  </a:lnTo>
                  <a:lnTo>
                    <a:pt x="1081" y="930"/>
                  </a:lnTo>
                  <a:lnTo>
                    <a:pt x="1081" y="926"/>
                  </a:lnTo>
                  <a:lnTo>
                    <a:pt x="1085" y="926"/>
                  </a:lnTo>
                  <a:lnTo>
                    <a:pt x="1085" y="922"/>
                  </a:lnTo>
                  <a:lnTo>
                    <a:pt x="1089" y="922"/>
                  </a:lnTo>
                  <a:lnTo>
                    <a:pt x="1089" y="918"/>
                  </a:lnTo>
                  <a:lnTo>
                    <a:pt x="1093" y="918"/>
                  </a:lnTo>
                  <a:lnTo>
                    <a:pt x="1097" y="914"/>
                  </a:lnTo>
                  <a:lnTo>
                    <a:pt x="1101" y="914"/>
                  </a:lnTo>
                  <a:lnTo>
                    <a:pt x="1101" y="910"/>
                  </a:lnTo>
                  <a:lnTo>
                    <a:pt x="1105" y="910"/>
                  </a:lnTo>
                  <a:lnTo>
                    <a:pt x="1109" y="906"/>
                  </a:lnTo>
                  <a:lnTo>
                    <a:pt x="1113" y="906"/>
                  </a:lnTo>
                  <a:lnTo>
                    <a:pt x="1117" y="906"/>
                  </a:lnTo>
                  <a:lnTo>
                    <a:pt x="1117" y="902"/>
                  </a:lnTo>
                  <a:lnTo>
                    <a:pt x="1121" y="902"/>
                  </a:lnTo>
                  <a:lnTo>
                    <a:pt x="1125" y="902"/>
                  </a:lnTo>
                  <a:lnTo>
                    <a:pt x="1129" y="898"/>
                  </a:lnTo>
                  <a:lnTo>
                    <a:pt x="1133" y="898"/>
                  </a:lnTo>
                  <a:lnTo>
                    <a:pt x="1137" y="898"/>
                  </a:lnTo>
                  <a:lnTo>
                    <a:pt x="1141" y="898"/>
                  </a:lnTo>
                  <a:lnTo>
                    <a:pt x="1145" y="898"/>
                  </a:lnTo>
                  <a:lnTo>
                    <a:pt x="1148" y="898"/>
                  </a:lnTo>
                  <a:lnTo>
                    <a:pt x="1152" y="898"/>
                  </a:lnTo>
                  <a:lnTo>
                    <a:pt x="1156" y="902"/>
                  </a:lnTo>
                  <a:lnTo>
                    <a:pt x="1160" y="902"/>
                  </a:lnTo>
                  <a:lnTo>
                    <a:pt x="1160" y="906"/>
                  </a:lnTo>
                  <a:lnTo>
                    <a:pt x="1164" y="910"/>
                  </a:lnTo>
                  <a:lnTo>
                    <a:pt x="1160" y="906"/>
                  </a:lnTo>
                  <a:lnTo>
                    <a:pt x="1156" y="906"/>
                  </a:lnTo>
                  <a:lnTo>
                    <a:pt x="1160" y="906"/>
                  </a:lnTo>
                  <a:lnTo>
                    <a:pt x="1160" y="910"/>
                  </a:lnTo>
                  <a:lnTo>
                    <a:pt x="1164" y="910"/>
                  </a:lnTo>
                  <a:lnTo>
                    <a:pt x="1160" y="910"/>
                  </a:lnTo>
                  <a:lnTo>
                    <a:pt x="1160" y="914"/>
                  </a:lnTo>
                  <a:lnTo>
                    <a:pt x="1160" y="918"/>
                  </a:lnTo>
                  <a:lnTo>
                    <a:pt x="1156" y="918"/>
                  </a:lnTo>
                  <a:lnTo>
                    <a:pt x="1152" y="918"/>
                  </a:lnTo>
                  <a:lnTo>
                    <a:pt x="1152" y="922"/>
                  </a:lnTo>
                  <a:lnTo>
                    <a:pt x="1148" y="922"/>
                  </a:lnTo>
                  <a:lnTo>
                    <a:pt x="1148" y="926"/>
                  </a:lnTo>
                  <a:lnTo>
                    <a:pt x="1145" y="926"/>
                  </a:lnTo>
                  <a:lnTo>
                    <a:pt x="1141" y="926"/>
                  </a:lnTo>
                  <a:lnTo>
                    <a:pt x="1141" y="922"/>
                  </a:lnTo>
                  <a:lnTo>
                    <a:pt x="1137" y="922"/>
                  </a:lnTo>
                  <a:lnTo>
                    <a:pt x="1133" y="922"/>
                  </a:lnTo>
                  <a:lnTo>
                    <a:pt x="1129" y="922"/>
                  </a:lnTo>
                  <a:lnTo>
                    <a:pt x="1125" y="926"/>
                  </a:lnTo>
                  <a:lnTo>
                    <a:pt x="1121" y="926"/>
                  </a:lnTo>
                  <a:lnTo>
                    <a:pt x="1125" y="926"/>
                  </a:lnTo>
                  <a:lnTo>
                    <a:pt x="1129" y="922"/>
                  </a:lnTo>
                  <a:lnTo>
                    <a:pt x="1133" y="926"/>
                  </a:lnTo>
                  <a:lnTo>
                    <a:pt x="1137" y="926"/>
                  </a:lnTo>
                  <a:lnTo>
                    <a:pt x="1141" y="930"/>
                  </a:lnTo>
                  <a:lnTo>
                    <a:pt x="1141" y="934"/>
                  </a:lnTo>
                  <a:lnTo>
                    <a:pt x="1145" y="930"/>
                  </a:lnTo>
                  <a:lnTo>
                    <a:pt x="1148" y="930"/>
                  </a:lnTo>
                  <a:lnTo>
                    <a:pt x="1152" y="930"/>
                  </a:lnTo>
                  <a:lnTo>
                    <a:pt x="1156" y="930"/>
                  </a:lnTo>
                  <a:lnTo>
                    <a:pt x="1152" y="930"/>
                  </a:lnTo>
                  <a:lnTo>
                    <a:pt x="1152" y="934"/>
                  </a:lnTo>
                  <a:lnTo>
                    <a:pt x="1152" y="938"/>
                  </a:lnTo>
                  <a:lnTo>
                    <a:pt x="1148" y="942"/>
                  </a:lnTo>
                  <a:lnTo>
                    <a:pt x="1145" y="946"/>
                  </a:lnTo>
                  <a:lnTo>
                    <a:pt x="1148" y="946"/>
                  </a:lnTo>
                  <a:lnTo>
                    <a:pt x="1152" y="946"/>
                  </a:lnTo>
                  <a:lnTo>
                    <a:pt x="1152" y="950"/>
                  </a:lnTo>
                  <a:lnTo>
                    <a:pt x="1152" y="954"/>
                  </a:lnTo>
                  <a:lnTo>
                    <a:pt x="1156" y="958"/>
                  </a:lnTo>
                  <a:lnTo>
                    <a:pt x="1156" y="962"/>
                  </a:lnTo>
                  <a:lnTo>
                    <a:pt x="1160" y="962"/>
                  </a:lnTo>
                  <a:lnTo>
                    <a:pt x="1164" y="966"/>
                  </a:lnTo>
                  <a:lnTo>
                    <a:pt x="1168" y="966"/>
                  </a:lnTo>
                  <a:lnTo>
                    <a:pt x="1164" y="966"/>
                  </a:lnTo>
                  <a:lnTo>
                    <a:pt x="1164" y="970"/>
                  </a:lnTo>
                  <a:lnTo>
                    <a:pt x="1168" y="970"/>
                  </a:lnTo>
                  <a:lnTo>
                    <a:pt x="1168" y="974"/>
                  </a:lnTo>
                  <a:lnTo>
                    <a:pt x="1172" y="970"/>
                  </a:lnTo>
                  <a:lnTo>
                    <a:pt x="1172" y="974"/>
                  </a:lnTo>
                  <a:lnTo>
                    <a:pt x="1176" y="974"/>
                  </a:lnTo>
                  <a:lnTo>
                    <a:pt x="1180" y="974"/>
                  </a:lnTo>
                  <a:lnTo>
                    <a:pt x="1184" y="974"/>
                  </a:lnTo>
                  <a:lnTo>
                    <a:pt x="1188" y="974"/>
                  </a:lnTo>
                  <a:lnTo>
                    <a:pt x="1188" y="978"/>
                  </a:lnTo>
                  <a:lnTo>
                    <a:pt x="1192" y="974"/>
                  </a:lnTo>
                  <a:lnTo>
                    <a:pt x="1196" y="974"/>
                  </a:lnTo>
                  <a:lnTo>
                    <a:pt x="1196" y="970"/>
                  </a:lnTo>
                  <a:lnTo>
                    <a:pt x="1196" y="974"/>
                  </a:lnTo>
                  <a:lnTo>
                    <a:pt x="1200" y="978"/>
                  </a:lnTo>
                  <a:lnTo>
                    <a:pt x="1200" y="974"/>
                  </a:lnTo>
                  <a:lnTo>
                    <a:pt x="1204" y="974"/>
                  </a:lnTo>
                  <a:lnTo>
                    <a:pt x="1204" y="978"/>
                  </a:lnTo>
                  <a:lnTo>
                    <a:pt x="1208" y="978"/>
                  </a:lnTo>
                  <a:lnTo>
                    <a:pt x="1208" y="982"/>
                  </a:lnTo>
                  <a:lnTo>
                    <a:pt x="1204" y="982"/>
                  </a:lnTo>
                  <a:lnTo>
                    <a:pt x="1208" y="982"/>
                  </a:lnTo>
                  <a:lnTo>
                    <a:pt x="1212" y="982"/>
                  </a:lnTo>
                  <a:lnTo>
                    <a:pt x="1212" y="986"/>
                  </a:lnTo>
                  <a:lnTo>
                    <a:pt x="1208" y="986"/>
                  </a:lnTo>
                  <a:lnTo>
                    <a:pt x="1204" y="986"/>
                  </a:lnTo>
                  <a:lnTo>
                    <a:pt x="1200" y="986"/>
                  </a:lnTo>
                  <a:lnTo>
                    <a:pt x="1200" y="990"/>
                  </a:lnTo>
                  <a:lnTo>
                    <a:pt x="1196" y="990"/>
                  </a:lnTo>
                  <a:lnTo>
                    <a:pt x="1192" y="990"/>
                  </a:lnTo>
                  <a:lnTo>
                    <a:pt x="1188" y="994"/>
                  </a:lnTo>
                  <a:lnTo>
                    <a:pt x="1184" y="994"/>
                  </a:lnTo>
                  <a:lnTo>
                    <a:pt x="1180" y="998"/>
                  </a:lnTo>
                  <a:lnTo>
                    <a:pt x="1180" y="994"/>
                  </a:lnTo>
                  <a:lnTo>
                    <a:pt x="1180" y="998"/>
                  </a:lnTo>
                  <a:lnTo>
                    <a:pt x="1176" y="998"/>
                  </a:lnTo>
                  <a:lnTo>
                    <a:pt x="1172" y="998"/>
                  </a:lnTo>
                  <a:lnTo>
                    <a:pt x="1168" y="998"/>
                  </a:lnTo>
                  <a:lnTo>
                    <a:pt x="1172" y="998"/>
                  </a:lnTo>
                  <a:lnTo>
                    <a:pt x="1172" y="1002"/>
                  </a:lnTo>
                  <a:lnTo>
                    <a:pt x="1164" y="1002"/>
                  </a:lnTo>
                  <a:lnTo>
                    <a:pt x="1164" y="998"/>
                  </a:lnTo>
                  <a:lnTo>
                    <a:pt x="1164" y="1002"/>
                  </a:lnTo>
                  <a:lnTo>
                    <a:pt x="1164" y="998"/>
                  </a:lnTo>
                  <a:lnTo>
                    <a:pt x="1160" y="998"/>
                  </a:lnTo>
                  <a:lnTo>
                    <a:pt x="1160" y="1002"/>
                  </a:lnTo>
                  <a:lnTo>
                    <a:pt x="1160" y="1006"/>
                  </a:lnTo>
                  <a:lnTo>
                    <a:pt x="1156" y="1006"/>
                  </a:lnTo>
                  <a:lnTo>
                    <a:pt x="1156" y="1010"/>
                  </a:lnTo>
                  <a:lnTo>
                    <a:pt x="1152" y="1014"/>
                  </a:lnTo>
                  <a:lnTo>
                    <a:pt x="1148" y="1018"/>
                  </a:lnTo>
                  <a:lnTo>
                    <a:pt x="1145" y="1018"/>
                  </a:lnTo>
                  <a:lnTo>
                    <a:pt x="1145" y="1022"/>
                  </a:lnTo>
                  <a:lnTo>
                    <a:pt x="1141" y="1022"/>
                  </a:lnTo>
                  <a:lnTo>
                    <a:pt x="1137" y="1022"/>
                  </a:lnTo>
                  <a:lnTo>
                    <a:pt x="1137" y="1018"/>
                  </a:lnTo>
                  <a:lnTo>
                    <a:pt x="1137" y="1014"/>
                  </a:lnTo>
                  <a:lnTo>
                    <a:pt x="1137" y="1018"/>
                  </a:lnTo>
                  <a:lnTo>
                    <a:pt x="1133" y="1018"/>
                  </a:lnTo>
                  <a:lnTo>
                    <a:pt x="1133" y="1014"/>
                  </a:lnTo>
                  <a:lnTo>
                    <a:pt x="1133" y="1010"/>
                  </a:lnTo>
                  <a:lnTo>
                    <a:pt x="1133" y="1006"/>
                  </a:lnTo>
                  <a:lnTo>
                    <a:pt x="1133" y="1002"/>
                  </a:lnTo>
                  <a:lnTo>
                    <a:pt x="1137" y="1002"/>
                  </a:lnTo>
                  <a:lnTo>
                    <a:pt x="1137" y="998"/>
                  </a:lnTo>
                  <a:lnTo>
                    <a:pt x="1137" y="1002"/>
                  </a:lnTo>
                  <a:lnTo>
                    <a:pt x="1133" y="1002"/>
                  </a:lnTo>
                  <a:lnTo>
                    <a:pt x="1137" y="998"/>
                  </a:lnTo>
                  <a:lnTo>
                    <a:pt x="1141" y="998"/>
                  </a:lnTo>
                  <a:lnTo>
                    <a:pt x="1141" y="994"/>
                  </a:lnTo>
                  <a:lnTo>
                    <a:pt x="1141" y="998"/>
                  </a:lnTo>
                  <a:lnTo>
                    <a:pt x="1141" y="994"/>
                  </a:lnTo>
                  <a:lnTo>
                    <a:pt x="1145" y="990"/>
                  </a:lnTo>
                  <a:lnTo>
                    <a:pt x="1148" y="990"/>
                  </a:lnTo>
                  <a:lnTo>
                    <a:pt x="1152" y="990"/>
                  </a:lnTo>
                  <a:lnTo>
                    <a:pt x="1152" y="986"/>
                  </a:lnTo>
                  <a:lnTo>
                    <a:pt x="1156" y="986"/>
                  </a:lnTo>
                  <a:lnTo>
                    <a:pt x="1160" y="986"/>
                  </a:lnTo>
                  <a:lnTo>
                    <a:pt x="1160" y="982"/>
                  </a:lnTo>
                  <a:lnTo>
                    <a:pt x="1156" y="982"/>
                  </a:lnTo>
                  <a:lnTo>
                    <a:pt x="1160" y="982"/>
                  </a:lnTo>
                  <a:lnTo>
                    <a:pt x="1160" y="986"/>
                  </a:lnTo>
                  <a:lnTo>
                    <a:pt x="1160" y="990"/>
                  </a:lnTo>
                  <a:lnTo>
                    <a:pt x="1160" y="986"/>
                  </a:lnTo>
                  <a:lnTo>
                    <a:pt x="1164" y="990"/>
                  </a:lnTo>
                  <a:lnTo>
                    <a:pt x="1160" y="986"/>
                  </a:lnTo>
                  <a:lnTo>
                    <a:pt x="1164" y="986"/>
                  </a:lnTo>
                  <a:lnTo>
                    <a:pt x="1168" y="982"/>
                  </a:lnTo>
                  <a:lnTo>
                    <a:pt x="1172" y="982"/>
                  </a:lnTo>
                  <a:lnTo>
                    <a:pt x="1176" y="982"/>
                  </a:lnTo>
                  <a:lnTo>
                    <a:pt x="1168" y="982"/>
                  </a:lnTo>
                  <a:lnTo>
                    <a:pt x="1164" y="982"/>
                  </a:lnTo>
                  <a:lnTo>
                    <a:pt x="1160" y="982"/>
                  </a:lnTo>
                  <a:lnTo>
                    <a:pt x="1156" y="982"/>
                  </a:lnTo>
                  <a:lnTo>
                    <a:pt x="1152" y="982"/>
                  </a:lnTo>
                  <a:lnTo>
                    <a:pt x="1152" y="978"/>
                  </a:lnTo>
                  <a:lnTo>
                    <a:pt x="1156" y="978"/>
                  </a:lnTo>
                  <a:lnTo>
                    <a:pt x="1156" y="974"/>
                  </a:lnTo>
                  <a:lnTo>
                    <a:pt x="1160" y="974"/>
                  </a:lnTo>
                  <a:lnTo>
                    <a:pt x="1160" y="970"/>
                  </a:lnTo>
                  <a:lnTo>
                    <a:pt x="1160" y="974"/>
                  </a:lnTo>
                  <a:lnTo>
                    <a:pt x="1156" y="974"/>
                  </a:lnTo>
                  <a:lnTo>
                    <a:pt x="1156" y="970"/>
                  </a:lnTo>
                  <a:lnTo>
                    <a:pt x="1156" y="966"/>
                  </a:lnTo>
                  <a:lnTo>
                    <a:pt x="1152" y="966"/>
                  </a:lnTo>
                  <a:lnTo>
                    <a:pt x="1152" y="970"/>
                  </a:lnTo>
                  <a:lnTo>
                    <a:pt x="1156" y="970"/>
                  </a:lnTo>
                  <a:lnTo>
                    <a:pt x="1156" y="974"/>
                  </a:lnTo>
                  <a:lnTo>
                    <a:pt x="1152" y="978"/>
                  </a:lnTo>
                  <a:lnTo>
                    <a:pt x="1148" y="978"/>
                  </a:lnTo>
                  <a:lnTo>
                    <a:pt x="1145" y="982"/>
                  </a:lnTo>
                  <a:lnTo>
                    <a:pt x="1141" y="982"/>
                  </a:lnTo>
                  <a:lnTo>
                    <a:pt x="1137" y="986"/>
                  </a:lnTo>
                  <a:lnTo>
                    <a:pt x="1133" y="982"/>
                  </a:lnTo>
                  <a:lnTo>
                    <a:pt x="1137" y="982"/>
                  </a:lnTo>
                  <a:lnTo>
                    <a:pt x="1133" y="982"/>
                  </a:lnTo>
                  <a:lnTo>
                    <a:pt x="1133" y="986"/>
                  </a:lnTo>
                  <a:lnTo>
                    <a:pt x="1129" y="990"/>
                  </a:lnTo>
                  <a:lnTo>
                    <a:pt x="1129" y="986"/>
                  </a:lnTo>
                  <a:lnTo>
                    <a:pt x="1125" y="986"/>
                  </a:lnTo>
                  <a:lnTo>
                    <a:pt x="1125" y="990"/>
                  </a:lnTo>
                  <a:lnTo>
                    <a:pt x="1121" y="986"/>
                  </a:lnTo>
                  <a:lnTo>
                    <a:pt x="1117" y="986"/>
                  </a:lnTo>
                  <a:lnTo>
                    <a:pt x="1113" y="986"/>
                  </a:lnTo>
                  <a:lnTo>
                    <a:pt x="1113" y="982"/>
                  </a:lnTo>
                  <a:lnTo>
                    <a:pt x="1113" y="978"/>
                  </a:lnTo>
                  <a:lnTo>
                    <a:pt x="1109" y="978"/>
                  </a:lnTo>
                  <a:lnTo>
                    <a:pt x="1109" y="974"/>
                  </a:lnTo>
                  <a:lnTo>
                    <a:pt x="1109" y="970"/>
                  </a:lnTo>
                  <a:lnTo>
                    <a:pt x="1109" y="962"/>
                  </a:lnTo>
                  <a:lnTo>
                    <a:pt x="1109" y="950"/>
                  </a:lnTo>
                  <a:lnTo>
                    <a:pt x="1109" y="946"/>
                  </a:lnTo>
                  <a:lnTo>
                    <a:pt x="1105" y="946"/>
                  </a:lnTo>
                  <a:lnTo>
                    <a:pt x="1105" y="942"/>
                  </a:lnTo>
                  <a:lnTo>
                    <a:pt x="1101" y="938"/>
                  </a:lnTo>
                  <a:lnTo>
                    <a:pt x="1097" y="942"/>
                  </a:lnTo>
                  <a:lnTo>
                    <a:pt x="1093" y="942"/>
                  </a:lnTo>
                  <a:lnTo>
                    <a:pt x="1089" y="942"/>
                  </a:lnTo>
                  <a:lnTo>
                    <a:pt x="1089" y="938"/>
                  </a:lnTo>
                  <a:lnTo>
                    <a:pt x="1085" y="938"/>
                  </a:lnTo>
                  <a:lnTo>
                    <a:pt x="1085" y="942"/>
                  </a:lnTo>
                  <a:lnTo>
                    <a:pt x="1081" y="946"/>
                  </a:lnTo>
                  <a:lnTo>
                    <a:pt x="1077" y="946"/>
                  </a:lnTo>
                  <a:lnTo>
                    <a:pt x="1077" y="950"/>
                  </a:lnTo>
                  <a:lnTo>
                    <a:pt x="1073" y="954"/>
                  </a:lnTo>
                  <a:lnTo>
                    <a:pt x="1073" y="958"/>
                  </a:lnTo>
                  <a:lnTo>
                    <a:pt x="1073" y="962"/>
                  </a:lnTo>
                  <a:lnTo>
                    <a:pt x="1069" y="962"/>
                  </a:lnTo>
                  <a:lnTo>
                    <a:pt x="1069" y="966"/>
                  </a:lnTo>
                  <a:lnTo>
                    <a:pt x="1069" y="970"/>
                  </a:lnTo>
                  <a:lnTo>
                    <a:pt x="1069" y="974"/>
                  </a:lnTo>
                  <a:lnTo>
                    <a:pt x="1065" y="974"/>
                  </a:lnTo>
                  <a:lnTo>
                    <a:pt x="1065" y="978"/>
                  </a:lnTo>
                  <a:lnTo>
                    <a:pt x="1065" y="982"/>
                  </a:lnTo>
                  <a:lnTo>
                    <a:pt x="1061" y="986"/>
                  </a:lnTo>
                  <a:lnTo>
                    <a:pt x="1057" y="982"/>
                  </a:lnTo>
                  <a:lnTo>
                    <a:pt x="1057" y="986"/>
                  </a:lnTo>
                  <a:lnTo>
                    <a:pt x="1057" y="982"/>
                  </a:lnTo>
                  <a:lnTo>
                    <a:pt x="1053" y="982"/>
                  </a:lnTo>
                  <a:lnTo>
                    <a:pt x="1053" y="986"/>
                  </a:lnTo>
                  <a:lnTo>
                    <a:pt x="1053" y="990"/>
                  </a:lnTo>
                  <a:lnTo>
                    <a:pt x="1049" y="990"/>
                  </a:lnTo>
                  <a:lnTo>
                    <a:pt x="1045" y="990"/>
                  </a:lnTo>
                  <a:lnTo>
                    <a:pt x="1041" y="990"/>
                  </a:lnTo>
                  <a:lnTo>
                    <a:pt x="1037" y="990"/>
                  </a:lnTo>
                  <a:lnTo>
                    <a:pt x="1033" y="990"/>
                  </a:lnTo>
                  <a:lnTo>
                    <a:pt x="1029" y="990"/>
                  </a:lnTo>
                  <a:lnTo>
                    <a:pt x="1025" y="990"/>
                  </a:lnTo>
                  <a:lnTo>
                    <a:pt x="1021" y="990"/>
                  </a:lnTo>
                  <a:lnTo>
                    <a:pt x="1017" y="990"/>
                  </a:lnTo>
                  <a:lnTo>
                    <a:pt x="1009" y="990"/>
                  </a:lnTo>
                  <a:lnTo>
                    <a:pt x="1005" y="990"/>
                  </a:lnTo>
                  <a:lnTo>
                    <a:pt x="1001" y="990"/>
                  </a:lnTo>
                  <a:lnTo>
                    <a:pt x="997" y="990"/>
                  </a:lnTo>
                  <a:lnTo>
                    <a:pt x="997" y="994"/>
                  </a:lnTo>
                  <a:lnTo>
                    <a:pt x="993" y="994"/>
                  </a:lnTo>
                  <a:lnTo>
                    <a:pt x="989" y="998"/>
                  </a:lnTo>
                  <a:lnTo>
                    <a:pt x="989" y="1002"/>
                  </a:lnTo>
                  <a:lnTo>
                    <a:pt x="985" y="1002"/>
                  </a:lnTo>
                  <a:lnTo>
                    <a:pt x="985" y="1006"/>
                  </a:lnTo>
                  <a:lnTo>
                    <a:pt x="981" y="1006"/>
                  </a:lnTo>
                  <a:lnTo>
                    <a:pt x="977" y="1010"/>
                  </a:lnTo>
                  <a:lnTo>
                    <a:pt x="977" y="1014"/>
                  </a:lnTo>
                  <a:lnTo>
                    <a:pt x="973" y="1014"/>
                  </a:lnTo>
                  <a:lnTo>
                    <a:pt x="973" y="1018"/>
                  </a:lnTo>
                  <a:lnTo>
                    <a:pt x="969" y="1018"/>
                  </a:lnTo>
                  <a:lnTo>
                    <a:pt x="965" y="1018"/>
                  </a:lnTo>
                  <a:lnTo>
                    <a:pt x="961" y="1018"/>
                  </a:lnTo>
                  <a:lnTo>
                    <a:pt x="957" y="1018"/>
                  </a:lnTo>
                  <a:lnTo>
                    <a:pt x="953" y="1018"/>
                  </a:lnTo>
                  <a:lnTo>
                    <a:pt x="949" y="1018"/>
                  </a:lnTo>
                  <a:lnTo>
                    <a:pt x="941" y="1018"/>
                  </a:lnTo>
                  <a:lnTo>
                    <a:pt x="937" y="1022"/>
                  </a:lnTo>
                  <a:lnTo>
                    <a:pt x="937" y="1026"/>
                  </a:lnTo>
                  <a:lnTo>
                    <a:pt x="937" y="1030"/>
                  </a:lnTo>
                  <a:lnTo>
                    <a:pt x="937" y="1034"/>
                  </a:lnTo>
                  <a:lnTo>
                    <a:pt x="941" y="1034"/>
                  </a:lnTo>
                  <a:lnTo>
                    <a:pt x="937" y="1034"/>
                  </a:lnTo>
                  <a:lnTo>
                    <a:pt x="937" y="1038"/>
                  </a:lnTo>
                  <a:lnTo>
                    <a:pt x="933" y="1038"/>
                  </a:lnTo>
                  <a:lnTo>
                    <a:pt x="929" y="1042"/>
                  </a:lnTo>
                  <a:lnTo>
                    <a:pt x="925" y="1042"/>
                  </a:lnTo>
                  <a:lnTo>
                    <a:pt x="921" y="1045"/>
                  </a:lnTo>
                  <a:lnTo>
                    <a:pt x="913" y="1045"/>
                  </a:lnTo>
                  <a:lnTo>
                    <a:pt x="909" y="1049"/>
                  </a:lnTo>
                  <a:lnTo>
                    <a:pt x="905" y="1049"/>
                  </a:lnTo>
                  <a:lnTo>
                    <a:pt x="901" y="1049"/>
                  </a:lnTo>
                  <a:lnTo>
                    <a:pt x="897" y="1053"/>
                  </a:lnTo>
                  <a:lnTo>
                    <a:pt x="893" y="1053"/>
                  </a:lnTo>
                  <a:lnTo>
                    <a:pt x="889" y="1057"/>
                  </a:lnTo>
                  <a:lnTo>
                    <a:pt x="885" y="1061"/>
                  </a:lnTo>
                  <a:lnTo>
                    <a:pt x="881" y="1061"/>
                  </a:lnTo>
                  <a:lnTo>
                    <a:pt x="877" y="1057"/>
                  </a:lnTo>
                  <a:lnTo>
                    <a:pt x="877" y="1053"/>
                  </a:lnTo>
                  <a:lnTo>
                    <a:pt x="873" y="1053"/>
                  </a:lnTo>
                  <a:lnTo>
                    <a:pt x="877" y="1049"/>
                  </a:lnTo>
                  <a:lnTo>
                    <a:pt x="877" y="1045"/>
                  </a:lnTo>
                  <a:lnTo>
                    <a:pt x="881" y="1045"/>
                  </a:lnTo>
                  <a:lnTo>
                    <a:pt x="881" y="1042"/>
                  </a:lnTo>
                  <a:lnTo>
                    <a:pt x="885" y="1042"/>
                  </a:lnTo>
                  <a:lnTo>
                    <a:pt x="885" y="1038"/>
                  </a:lnTo>
                  <a:lnTo>
                    <a:pt x="885" y="1034"/>
                  </a:lnTo>
                  <a:lnTo>
                    <a:pt x="885" y="1030"/>
                  </a:lnTo>
                  <a:lnTo>
                    <a:pt x="889" y="1030"/>
                  </a:lnTo>
                  <a:lnTo>
                    <a:pt x="889" y="1026"/>
                  </a:lnTo>
                  <a:lnTo>
                    <a:pt x="889" y="1022"/>
                  </a:lnTo>
                  <a:lnTo>
                    <a:pt x="889" y="1014"/>
                  </a:lnTo>
                  <a:lnTo>
                    <a:pt x="889" y="1002"/>
                  </a:lnTo>
                  <a:lnTo>
                    <a:pt x="885" y="994"/>
                  </a:lnTo>
                  <a:lnTo>
                    <a:pt x="885" y="982"/>
                  </a:lnTo>
                  <a:lnTo>
                    <a:pt x="881" y="982"/>
                  </a:lnTo>
                  <a:lnTo>
                    <a:pt x="877" y="978"/>
                  </a:lnTo>
                  <a:lnTo>
                    <a:pt x="873" y="974"/>
                  </a:lnTo>
                  <a:lnTo>
                    <a:pt x="869" y="974"/>
                  </a:lnTo>
                  <a:lnTo>
                    <a:pt x="869" y="970"/>
                  </a:lnTo>
                  <a:lnTo>
                    <a:pt x="869" y="966"/>
                  </a:lnTo>
                  <a:lnTo>
                    <a:pt x="865" y="966"/>
                  </a:lnTo>
                  <a:lnTo>
                    <a:pt x="861" y="966"/>
                  </a:lnTo>
                  <a:lnTo>
                    <a:pt x="861" y="962"/>
                  </a:lnTo>
                  <a:lnTo>
                    <a:pt x="861" y="958"/>
                  </a:lnTo>
                  <a:lnTo>
                    <a:pt x="857" y="958"/>
                  </a:lnTo>
                  <a:lnTo>
                    <a:pt x="853" y="958"/>
                  </a:lnTo>
                  <a:lnTo>
                    <a:pt x="849" y="954"/>
                  </a:lnTo>
                  <a:lnTo>
                    <a:pt x="849" y="950"/>
                  </a:lnTo>
                  <a:lnTo>
                    <a:pt x="841" y="946"/>
                  </a:lnTo>
                  <a:lnTo>
                    <a:pt x="841" y="942"/>
                  </a:lnTo>
                  <a:lnTo>
                    <a:pt x="837" y="942"/>
                  </a:lnTo>
                  <a:lnTo>
                    <a:pt x="833" y="942"/>
                  </a:lnTo>
                  <a:lnTo>
                    <a:pt x="833" y="938"/>
                  </a:lnTo>
                  <a:lnTo>
                    <a:pt x="829" y="938"/>
                  </a:lnTo>
                  <a:lnTo>
                    <a:pt x="825" y="934"/>
                  </a:lnTo>
                  <a:lnTo>
                    <a:pt x="821" y="934"/>
                  </a:lnTo>
                  <a:lnTo>
                    <a:pt x="817" y="930"/>
                  </a:lnTo>
                  <a:lnTo>
                    <a:pt x="813" y="930"/>
                  </a:lnTo>
                  <a:lnTo>
                    <a:pt x="813" y="926"/>
                  </a:lnTo>
                  <a:lnTo>
                    <a:pt x="809" y="926"/>
                  </a:lnTo>
                  <a:lnTo>
                    <a:pt x="797" y="918"/>
                  </a:lnTo>
                  <a:lnTo>
                    <a:pt x="794" y="918"/>
                  </a:lnTo>
                  <a:lnTo>
                    <a:pt x="790" y="918"/>
                  </a:lnTo>
                  <a:lnTo>
                    <a:pt x="786" y="922"/>
                  </a:lnTo>
                  <a:lnTo>
                    <a:pt x="782" y="926"/>
                  </a:lnTo>
                  <a:lnTo>
                    <a:pt x="778" y="926"/>
                  </a:lnTo>
                  <a:lnTo>
                    <a:pt x="774" y="926"/>
                  </a:lnTo>
                  <a:lnTo>
                    <a:pt x="770" y="926"/>
                  </a:lnTo>
                  <a:lnTo>
                    <a:pt x="770" y="922"/>
                  </a:lnTo>
                  <a:lnTo>
                    <a:pt x="766" y="922"/>
                  </a:lnTo>
                  <a:lnTo>
                    <a:pt x="762" y="922"/>
                  </a:lnTo>
                  <a:lnTo>
                    <a:pt x="758" y="922"/>
                  </a:lnTo>
                  <a:lnTo>
                    <a:pt x="758" y="918"/>
                  </a:lnTo>
                  <a:lnTo>
                    <a:pt x="758" y="922"/>
                  </a:lnTo>
                  <a:lnTo>
                    <a:pt x="754" y="922"/>
                  </a:lnTo>
                  <a:lnTo>
                    <a:pt x="750" y="922"/>
                  </a:lnTo>
                  <a:lnTo>
                    <a:pt x="750" y="926"/>
                  </a:lnTo>
                  <a:lnTo>
                    <a:pt x="750" y="922"/>
                  </a:lnTo>
                  <a:lnTo>
                    <a:pt x="746" y="922"/>
                  </a:lnTo>
                  <a:lnTo>
                    <a:pt x="742" y="922"/>
                  </a:lnTo>
                  <a:lnTo>
                    <a:pt x="742" y="918"/>
                  </a:lnTo>
                  <a:lnTo>
                    <a:pt x="738" y="918"/>
                  </a:lnTo>
                  <a:lnTo>
                    <a:pt x="738" y="922"/>
                  </a:lnTo>
                  <a:lnTo>
                    <a:pt x="734" y="918"/>
                  </a:lnTo>
                  <a:lnTo>
                    <a:pt x="734" y="914"/>
                  </a:lnTo>
                  <a:lnTo>
                    <a:pt x="730" y="914"/>
                  </a:lnTo>
                  <a:lnTo>
                    <a:pt x="726" y="910"/>
                  </a:lnTo>
                  <a:lnTo>
                    <a:pt x="722" y="910"/>
                  </a:lnTo>
                  <a:lnTo>
                    <a:pt x="718" y="914"/>
                  </a:lnTo>
                  <a:lnTo>
                    <a:pt x="714" y="914"/>
                  </a:lnTo>
                  <a:lnTo>
                    <a:pt x="714" y="910"/>
                  </a:lnTo>
                  <a:lnTo>
                    <a:pt x="710" y="910"/>
                  </a:lnTo>
                  <a:lnTo>
                    <a:pt x="706" y="910"/>
                  </a:lnTo>
                  <a:lnTo>
                    <a:pt x="702" y="910"/>
                  </a:lnTo>
                  <a:lnTo>
                    <a:pt x="702" y="906"/>
                  </a:lnTo>
                  <a:lnTo>
                    <a:pt x="702" y="902"/>
                  </a:lnTo>
                  <a:lnTo>
                    <a:pt x="698" y="902"/>
                  </a:lnTo>
                  <a:lnTo>
                    <a:pt x="698" y="898"/>
                  </a:lnTo>
                  <a:lnTo>
                    <a:pt x="698" y="894"/>
                  </a:lnTo>
                  <a:lnTo>
                    <a:pt x="694" y="894"/>
                  </a:lnTo>
                  <a:lnTo>
                    <a:pt x="694" y="898"/>
                  </a:lnTo>
                  <a:lnTo>
                    <a:pt x="694" y="902"/>
                  </a:lnTo>
                  <a:lnTo>
                    <a:pt x="690" y="902"/>
                  </a:lnTo>
                  <a:lnTo>
                    <a:pt x="662" y="902"/>
                  </a:lnTo>
                  <a:lnTo>
                    <a:pt x="658" y="902"/>
                  </a:lnTo>
                  <a:lnTo>
                    <a:pt x="654" y="902"/>
                  </a:lnTo>
                  <a:lnTo>
                    <a:pt x="650" y="902"/>
                  </a:lnTo>
                  <a:lnTo>
                    <a:pt x="646" y="902"/>
                  </a:lnTo>
                  <a:lnTo>
                    <a:pt x="642" y="902"/>
                  </a:lnTo>
                  <a:lnTo>
                    <a:pt x="638" y="902"/>
                  </a:lnTo>
                  <a:lnTo>
                    <a:pt x="630" y="902"/>
                  </a:lnTo>
                  <a:lnTo>
                    <a:pt x="622" y="902"/>
                  </a:lnTo>
                  <a:lnTo>
                    <a:pt x="614" y="902"/>
                  </a:lnTo>
                  <a:lnTo>
                    <a:pt x="602" y="902"/>
                  </a:lnTo>
                  <a:lnTo>
                    <a:pt x="598" y="902"/>
                  </a:lnTo>
                  <a:lnTo>
                    <a:pt x="586" y="902"/>
                  </a:lnTo>
                  <a:lnTo>
                    <a:pt x="582" y="902"/>
                  </a:lnTo>
                  <a:lnTo>
                    <a:pt x="578" y="902"/>
                  </a:lnTo>
                  <a:lnTo>
                    <a:pt x="574" y="902"/>
                  </a:lnTo>
                  <a:lnTo>
                    <a:pt x="570" y="902"/>
                  </a:lnTo>
                  <a:lnTo>
                    <a:pt x="566" y="902"/>
                  </a:lnTo>
                  <a:lnTo>
                    <a:pt x="562" y="902"/>
                  </a:lnTo>
                  <a:lnTo>
                    <a:pt x="558" y="902"/>
                  </a:lnTo>
                  <a:lnTo>
                    <a:pt x="554" y="902"/>
                  </a:lnTo>
                  <a:lnTo>
                    <a:pt x="546" y="902"/>
                  </a:lnTo>
                  <a:lnTo>
                    <a:pt x="542" y="902"/>
                  </a:lnTo>
                  <a:lnTo>
                    <a:pt x="534" y="902"/>
                  </a:lnTo>
                  <a:lnTo>
                    <a:pt x="530" y="902"/>
                  </a:lnTo>
                  <a:lnTo>
                    <a:pt x="526" y="902"/>
                  </a:lnTo>
                  <a:lnTo>
                    <a:pt x="522" y="902"/>
                  </a:lnTo>
                  <a:lnTo>
                    <a:pt x="518" y="902"/>
                  </a:lnTo>
                  <a:lnTo>
                    <a:pt x="510" y="902"/>
                  </a:lnTo>
                  <a:lnTo>
                    <a:pt x="506" y="902"/>
                  </a:lnTo>
                  <a:lnTo>
                    <a:pt x="502" y="902"/>
                  </a:lnTo>
                  <a:lnTo>
                    <a:pt x="498" y="902"/>
                  </a:lnTo>
                  <a:lnTo>
                    <a:pt x="494" y="902"/>
                  </a:lnTo>
                  <a:lnTo>
                    <a:pt x="490" y="902"/>
                  </a:lnTo>
                  <a:lnTo>
                    <a:pt x="486" y="902"/>
                  </a:lnTo>
                  <a:lnTo>
                    <a:pt x="478" y="902"/>
                  </a:lnTo>
                  <a:lnTo>
                    <a:pt x="474" y="902"/>
                  </a:lnTo>
                  <a:lnTo>
                    <a:pt x="470" y="902"/>
                  </a:lnTo>
                  <a:lnTo>
                    <a:pt x="466" y="902"/>
                  </a:lnTo>
                  <a:lnTo>
                    <a:pt x="462" y="902"/>
                  </a:lnTo>
                  <a:lnTo>
                    <a:pt x="458" y="902"/>
                  </a:lnTo>
                  <a:lnTo>
                    <a:pt x="446" y="902"/>
                  </a:lnTo>
                  <a:lnTo>
                    <a:pt x="442" y="902"/>
                  </a:lnTo>
                  <a:lnTo>
                    <a:pt x="439" y="902"/>
                  </a:lnTo>
                  <a:lnTo>
                    <a:pt x="435" y="902"/>
                  </a:lnTo>
                  <a:lnTo>
                    <a:pt x="431" y="902"/>
                  </a:lnTo>
                  <a:lnTo>
                    <a:pt x="423" y="902"/>
                  </a:lnTo>
                  <a:lnTo>
                    <a:pt x="419" y="902"/>
                  </a:lnTo>
                  <a:lnTo>
                    <a:pt x="415" y="902"/>
                  </a:lnTo>
                  <a:lnTo>
                    <a:pt x="407" y="902"/>
                  </a:lnTo>
                  <a:lnTo>
                    <a:pt x="403" y="902"/>
                  </a:lnTo>
                  <a:lnTo>
                    <a:pt x="399" y="902"/>
                  </a:lnTo>
                  <a:lnTo>
                    <a:pt x="395" y="902"/>
                  </a:lnTo>
                  <a:lnTo>
                    <a:pt x="391" y="902"/>
                  </a:lnTo>
                  <a:lnTo>
                    <a:pt x="387" y="902"/>
                  </a:lnTo>
                  <a:lnTo>
                    <a:pt x="383" y="902"/>
                  </a:lnTo>
                  <a:lnTo>
                    <a:pt x="379" y="902"/>
                  </a:lnTo>
                  <a:lnTo>
                    <a:pt x="363" y="902"/>
                  </a:lnTo>
                  <a:lnTo>
                    <a:pt x="359" y="902"/>
                  </a:lnTo>
                  <a:lnTo>
                    <a:pt x="355" y="902"/>
                  </a:lnTo>
                  <a:lnTo>
                    <a:pt x="351" y="902"/>
                  </a:lnTo>
                  <a:lnTo>
                    <a:pt x="347" y="902"/>
                  </a:lnTo>
                  <a:lnTo>
                    <a:pt x="343" y="902"/>
                  </a:lnTo>
                  <a:lnTo>
                    <a:pt x="335" y="902"/>
                  </a:lnTo>
                  <a:lnTo>
                    <a:pt x="331" y="902"/>
                  </a:lnTo>
                  <a:lnTo>
                    <a:pt x="327" y="902"/>
                  </a:lnTo>
                  <a:lnTo>
                    <a:pt x="319" y="902"/>
                  </a:lnTo>
                  <a:lnTo>
                    <a:pt x="315" y="902"/>
                  </a:lnTo>
                  <a:lnTo>
                    <a:pt x="311" y="902"/>
                  </a:lnTo>
                  <a:lnTo>
                    <a:pt x="303" y="902"/>
                  </a:lnTo>
                  <a:lnTo>
                    <a:pt x="287" y="902"/>
                  </a:lnTo>
                  <a:lnTo>
                    <a:pt x="283" y="902"/>
                  </a:lnTo>
                  <a:lnTo>
                    <a:pt x="279" y="902"/>
                  </a:lnTo>
                  <a:lnTo>
                    <a:pt x="275" y="902"/>
                  </a:lnTo>
                  <a:lnTo>
                    <a:pt x="271" y="902"/>
                  </a:lnTo>
                  <a:lnTo>
                    <a:pt x="267" y="902"/>
                  </a:lnTo>
                  <a:lnTo>
                    <a:pt x="267" y="898"/>
                  </a:lnTo>
                  <a:lnTo>
                    <a:pt x="271" y="898"/>
                  </a:lnTo>
                  <a:lnTo>
                    <a:pt x="275" y="898"/>
                  </a:lnTo>
                  <a:lnTo>
                    <a:pt x="275" y="894"/>
                  </a:lnTo>
                  <a:lnTo>
                    <a:pt x="271" y="894"/>
                  </a:lnTo>
                  <a:lnTo>
                    <a:pt x="271" y="898"/>
                  </a:lnTo>
                  <a:lnTo>
                    <a:pt x="267" y="894"/>
                  </a:lnTo>
                  <a:lnTo>
                    <a:pt x="267" y="890"/>
                  </a:lnTo>
                  <a:lnTo>
                    <a:pt x="271" y="886"/>
                  </a:lnTo>
                  <a:lnTo>
                    <a:pt x="267" y="890"/>
                  </a:lnTo>
                  <a:lnTo>
                    <a:pt x="263" y="890"/>
                  </a:lnTo>
                  <a:lnTo>
                    <a:pt x="263" y="894"/>
                  </a:lnTo>
                  <a:lnTo>
                    <a:pt x="259" y="894"/>
                  </a:lnTo>
                  <a:lnTo>
                    <a:pt x="259" y="890"/>
                  </a:lnTo>
                  <a:lnTo>
                    <a:pt x="255" y="890"/>
                  </a:lnTo>
                  <a:lnTo>
                    <a:pt x="255" y="886"/>
                  </a:lnTo>
                  <a:lnTo>
                    <a:pt x="259" y="886"/>
                  </a:lnTo>
                  <a:lnTo>
                    <a:pt x="259" y="890"/>
                  </a:lnTo>
                  <a:lnTo>
                    <a:pt x="263" y="890"/>
                  </a:lnTo>
                  <a:lnTo>
                    <a:pt x="263" y="886"/>
                  </a:lnTo>
                  <a:lnTo>
                    <a:pt x="263" y="890"/>
                  </a:lnTo>
                  <a:lnTo>
                    <a:pt x="259" y="890"/>
                  </a:lnTo>
                  <a:lnTo>
                    <a:pt x="259" y="886"/>
                  </a:lnTo>
                  <a:lnTo>
                    <a:pt x="259" y="882"/>
                  </a:lnTo>
                  <a:lnTo>
                    <a:pt x="259" y="878"/>
                  </a:lnTo>
                  <a:lnTo>
                    <a:pt x="255" y="878"/>
                  </a:lnTo>
                  <a:lnTo>
                    <a:pt x="259" y="878"/>
                  </a:lnTo>
                  <a:lnTo>
                    <a:pt x="259" y="882"/>
                  </a:lnTo>
                  <a:lnTo>
                    <a:pt x="255" y="882"/>
                  </a:lnTo>
                  <a:lnTo>
                    <a:pt x="259" y="882"/>
                  </a:lnTo>
                  <a:lnTo>
                    <a:pt x="259" y="886"/>
                  </a:lnTo>
                  <a:lnTo>
                    <a:pt x="255" y="886"/>
                  </a:lnTo>
                  <a:lnTo>
                    <a:pt x="255" y="882"/>
                  </a:lnTo>
                  <a:lnTo>
                    <a:pt x="255" y="886"/>
                  </a:lnTo>
                  <a:lnTo>
                    <a:pt x="251" y="886"/>
                  </a:lnTo>
                  <a:lnTo>
                    <a:pt x="247" y="886"/>
                  </a:lnTo>
                  <a:lnTo>
                    <a:pt x="247" y="882"/>
                  </a:lnTo>
                  <a:lnTo>
                    <a:pt x="243" y="882"/>
                  </a:lnTo>
                  <a:lnTo>
                    <a:pt x="243" y="878"/>
                  </a:lnTo>
                  <a:lnTo>
                    <a:pt x="247" y="882"/>
                  </a:lnTo>
                  <a:lnTo>
                    <a:pt x="247" y="878"/>
                  </a:lnTo>
                  <a:lnTo>
                    <a:pt x="247" y="874"/>
                  </a:lnTo>
                  <a:lnTo>
                    <a:pt x="247" y="870"/>
                  </a:lnTo>
                  <a:lnTo>
                    <a:pt x="247" y="874"/>
                  </a:lnTo>
                  <a:lnTo>
                    <a:pt x="247" y="870"/>
                  </a:lnTo>
                  <a:lnTo>
                    <a:pt x="251" y="870"/>
                  </a:lnTo>
                  <a:lnTo>
                    <a:pt x="247" y="870"/>
                  </a:lnTo>
                  <a:lnTo>
                    <a:pt x="247" y="874"/>
                  </a:lnTo>
                  <a:lnTo>
                    <a:pt x="243" y="874"/>
                  </a:lnTo>
                  <a:lnTo>
                    <a:pt x="239" y="874"/>
                  </a:lnTo>
                  <a:lnTo>
                    <a:pt x="239" y="870"/>
                  </a:lnTo>
                  <a:lnTo>
                    <a:pt x="243" y="870"/>
                  </a:lnTo>
                  <a:lnTo>
                    <a:pt x="243" y="866"/>
                  </a:lnTo>
                  <a:lnTo>
                    <a:pt x="243" y="862"/>
                  </a:lnTo>
                  <a:lnTo>
                    <a:pt x="243" y="866"/>
                  </a:lnTo>
                  <a:lnTo>
                    <a:pt x="243" y="870"/>
                  </a:lnTo>
                  <a:lnTo>
                    <a:pt x="239" y="870"/>
                  </a:lnTo>
                  <a:lnTo>
                    <a:pt x="235" y="870"/>
                  </a:lnTo>
                  <a:lnTo>
                    <a:pt x="235" y="866"/>
                  </a:lnTo>
                  <a:lnTo>
                    <a:pt x="231" y="866"/>
                  </a:lnTo>
                  <a:lnTo>
                    <a:pt x="231" y="870"/>
                  </a:lnTo>
                  <a:lnTo>
                    <a:pt x="227" y="870"/>
                  </a:lnTo>
                  <a:lnTo>
                    <a:pt x="223" y="870"/>
                  </a:lnTo>
                  <a:lnTo>
                    <a:pt x="223" y="866"/>
                  </a:lnTo>
                  <a:lnTo>
                    <a:pt x="227" y="866"/>
                  </a:lnTo>
                  <a:lnTo>
                    <a:pt x="231" y="866"/>
                  </a:lnTo>
                  <a:lnTo>
                    <a:pt x="235" y="862"/>
                  </a:lnTo>
                  <a:lnTo>
                    <a:pt x="235" y="858"/>
                  </a:lnTo>
                  <a:lnTo>
                    <a:pt x="231" y="858"/>
                  </a:lnTo>
                  <a:lnTo>
                    <a:pt x="231" y="862"/>
                  </a:lnTo>
                  <a:lnTo>
                    <a:pt x="231" y="866"/>
                  </a:lnTo>
                  <a:lnTo>
                    <a:pt x="227" y="866"/>
                  </a:lnTo>
                  <a:lnTo>
                    <a:pt x="223" y="866"/>
                  </a:lnTo>
                  <a:lnTo>
                    <a:pt x="223" y="862"/>
                  </a:lnTo>
                  <a:lnTo>
                    <a:pt x="219" y="862"/>
                  </a:lnTo>
                  <a:lnTo>
                    <a:pt x="223" y="862"/>
                  </a:lnTo>
                  <a:lnTo>
                    <a:pt x="223" y="858"/>
                  </a:lnTo>
                  <a:lnTo>
                    <a:pt x="223" y="862"/>
                  </a:lnTo>
                  <a:lnTo>
                    <a:pt x="219" y="858"/>
                  </a:lnTo>
                  <a:lnTo>
                    <a:pt x="219" y="862"/>
                  </a:lnTo>
                  <a:lnTo>
                    <a:pt x="215" y="862"/>
                  </a:lnTo>
                  <a:lnTo>
                    <a:pt x="211" y="862"/>
                  </a:lnTo>
                  <a:lnTo>
                    <a:pt x="207" y="862"/>
                  </a:lnTo>
                  <a:lnTo>
                    <a:pt x="211" y="862"/>
                  </a:lnTo>
                  <a:lnTo>
                    <a:pt x="207" y="862"/>
                  </a:lnTo>
                  <a:lnTo>
                    <a:pt x="203" y="858"/>
                  </a:lnTo>
                  <a:lnTo>
                    <a:pt x="207" y="858"/>
                  </a:lnTo>
                  <a:lnTo>
                    <a:pt x="211" y="858"/>
                  </a:lnTo>
                  <a:lnTo>
                    <a:pt x="215" y="858"/>
                  </a:lnTo>
                  <a:lnTo>
                    <a:pt x="215" y="854"/>
                  </a:lnTo>
                  <a:lnTo>
                    <a:pt x="215" y="858"/>
                  </a:lnTo>
                  <a:lnTo>
                    <a:pt x="211" y="858"/>
                  </a:lnTo>
                  <a:lnTo>
                    <a:pt x="207" y="858"/>
                  </a:lnTo>
                  <a:lnTo>
                    <a:pt x="203" y="854"/>
                  </a:lnTo>
                  <a:lnTo>
                    <a:pt x="203" y="858"/>
                  </a:lnTo>
                  <a:lnTo>
                    <a:pt x="199" y="854"/>
                  </a:lnTo>
                  <a:lnTo>
                    <a:pt x="203" y="850"/>
                  </a:lnTo>
                  <a:lnTo>
                    <a:pt x="207" y="854"/>
                  </a:lnTo>
                  <a:lnTo>
                    <a:pt x="207" y="850"/>
                  </a:lnTo>
                  <a:lnTo>
                    <a:pt x="211" y="850"/>
                  </a:lnTo>
                  <a:lnTo>
                    <a:pt x="207" y="850"/>
                  </a:lnTo>
                  <a:lnTo>
                    <a:pt x="203" y="850"/>
                  </a:lnTo>
                  <a:lnTo>
                    <a:pt x="199" y="850"/>
                  </a:lnTo>
                  <a:lnTo>
                    <a:pt x="203" y="850"/>
                  </a:lnTo>
                  <a:lnTo>
                    <a:pt x="203" y="846"/>
                  </a:lnTo>
                  <a:lnTo>
                    <a:pt x="207" y="842"/>
                  </a:lnTo>
                  <a:lnTo>
                    <a:pt x="211" y="842"/>
                  </a:lnTo>
                  <a:lnTo>
                    <a:pt x="215" y="846"/>
                  </a:lnTo>
                  <a:lnTo>
                    <a:pt x="215" y="842"/>
                  </a:lnTo>
                  <a:lnTo>
                    <a:pt x="219" y="842"/>
                  </a:lnTo>
                  <a:lnTo>
                    <a:pt x="215" y="842"/>
                  </a:lnTo>
                  <a:lnTo>
                    <a:pt x="211" y="842"/>
                  </a:lnTo>
                  <a:lnTo>
                    <a:pt x="207" y="842"/>
                  </a:lnTo>
                  <a:lnTo>
                    <a:pt x="203" y="842"/>
                  </a:lnTo>
                  <a:lnTo>
                    <a:pt x="207" y="842"/>
                  </a:lnTo>
                  <a:lnTo>
                    <a:pt x="207" y="838"/>
                  </a:lnTo>
                  <a:lnTo>
                    <a:pt x="203" y="842"/>
                  </a:lnTo>
                  <a:lnTo>
                    <a:pt x="203" y="846"/>
                  </a:lnTo>
                  <a:lnTo>
                    <a:pt x="203" y="850"/>
                  </a:lnTo>
                  <a:lnTo>
                    <a:pt x="199" y="850"/>
                  </a:lnTo>
                  <a:lnTo>
                    <a:pt x="199" y="846"/>
                  </a:lnTo>
                  <a:lnTo>
                    <a:pt x="199" y="842"/>
                  </a:lnTo>
                  <a:lnTo>
                    <a:pt x="199" y="838"/>
                  </a:lnTo>
                  <a:lnTo>
                    <a:pt x="203" y="838"/>
                  </a:lnTo>
                  <a:lnTo>
                    <a:pt x="203" y="834"/>
                  </a:lnTo>
                  <a:lnTo>
                    <a:pt x="203" y="830"/>
                  </a:lnTo>
                  <a:lnTo>
                    <a:pt x="207" y="830"/>
                  </a:lnTo>
                  <a:lnTo>
                    <a:pt x="211" y="830"/>
                  </a:lnTo>
                  <a:lnTo>
                    <a:pt x="215" y="834"/>
                  </a:lnTo>
                  <a:lnTo>
                    <a:pt x="215" y="838"/>
                  </a:lnTo>
                  <a:lnTo>
                    <a:pt x="215" y="834"/>
                  </a:lnTo>
                  <a:lnTo>
                    <a:pt x="215" y="830"/>
                  </a:lnTo>
                  <a:lnTo>
                    <a:pt x="211" y="830"/>
                  </a:lnTo>
                  <a:lnTo>
                    <a:pt x="215" y="826"/>
                  </a:lnTo>
                  <a:lnTo>
                    <a:pt x="211" y="826"/>
                  </a:lnTo>
                  <a:lnTo>
                    <a:pt x="211" y="830"/>
                  </a:lnTo>
                  <a:lnTo>
                    <a:pt x="207" y="826"/>
                  </a:lnTo>
                  <a:lnTo>
                    <a:pt x="207" y="822"/>
                  </a:lnTo>
                  <a:lnTo>
                    <a:pt x="211" y="822"/>
                  </a:lnTo>
                  <a:lnTo>
                    <a:pt x="211" y="818"/>
                  </a:lnTo>
                  <a:lnTo>
                    <a:pt x="211" y="822"/>
                  </a:lnTo>
                  <a:lnTo>
                    <a:pt x="207" y="822"/>
                  </a:lnTo>
                  <a:lnTo>
                    <a:pt x="207" y="826"/>
                  </a:lnTo>
                  <a:lnTo>
                    <a:pt x="203" y="826"/>
                  </a:lnTo>
                  <a:lnTo>
                    <a:pt x="203" y="830"/>
                  </a:lnTo>
                  <a:lnTo>
                    <a:pt x="199" y="830"/>
                  </a:lnTo>
                  <a:lnTo>
                    <a:pt x="199" y="826"/>
                  </a:lnTo>
                  <a:lnTo>
                    <a:pt x="195" y="830"/>
                  </a:lnTo>
                  <a:lnTo>
                    <a:pt x="195" y="826"/>
                  </a:lnTo>
                  <a:lnTo>
                    <a:pt x="199" y="822"/>
                  </a:lnTo>
                  <a:lnTo>
                    <a:pt x="195" y="822"/>
                  </a:lnTo>
                  <a:lnTo>
                    <a:pt x="195" y="826"/>
                  </a:lnTo>
                  <a:lnTo>
                    <a:pt x="191" y="830"/>
                  </a:lnTo>
                  <a:lnTo>
                    <a:pt x="191" y="826"/>
                  </a:lnTo>
                  <a:lnTo>
                    <a:pt x="191" y="822"/>
                  </a:lnTo>
                  <a:lnTo>
                    <a:pt x="195" y="822"/>
                  </a:lnTo>
                  <a:lnTo>
                    <a:pt x="195" y="818"/>
                  </a:lnTo>
                  <a:lnTo>
                    <a:pt x="195" y="814"/>
                  </a:lnTo>
                  <a:lnTo>
                    <a:pt x="195" y="818"/>
                  </a:lnTo>
                  <a:lnTo>
                    <a:pt x="191" y="818"/>
                  </a:lnTo>
                  <a:lnTo>
                    <a:pt x="187" y="814"/>
                  </a:lnTo>
                  <a:lnTo>
                    <a:pt x="187" y="810"/>
                  </a:lnTo>
                  <a:lnTo>
                    <a:pt x="183" y="806"/>
                  </a:lnTo>
                  <a:lnTo>
                    <a:pt x="183" y="802"/>
                  </a:lnTo>
                  <a:lnTo>
                    <a:pt x="187" y="802"/>
                  </a:lnTo>
                  <a:lnTo>
                    <a:pt x="187" y="806"/>
                  </a:lnTo>
                  <a:lnTo>
                    <a:pt x="191" y="802"/>
                  </a:lnTo>
                  <a:lnTo>
                    <a:pt x="195" y="802"/>
                  </a:lnTo>
                  <a:lnTo>
                    <a:pt x="195" y="806"/>
                  </a:lnTo>
                  <a:lnTo>
                    <a:pt x="199" y="806"/>
                  </a:lnTo>
                  <a:lnTo>
                    <a:pt x="195" y="806"/>
                  </a:lnTo>
                  <a:lnTo>
                    <a:pt x="195" y="802"/>
                  </a:lnTo>
                  <a:lnTo>
                    <a:pt x="191" y="802"/>
                  </a:lnTo>
                  <a:lnTo>
                    <a:pt x="187" y="802"/>
                  </a:lnTo>
                  <a:lnTo>
                    <a:pt x="183" y="798"/>
                  </a:lnTo>
                  <a:lnTo>
                    <a:pt x="183" y="794"/>
                  </a:lnTo>
                  <a:lnTo>
                    <a:pt x="187" y="794"/>
                  </a:lnTo>
                  <a:lnTo>
                    <a:pt x="187" y="790"/>
                  </a:lnTo>
                  <a:lnTo>
                    <a:pt x="183" y="794"/>
                  </a:lnTo>
                  <a:lnTo>
                    <a:pt x="179" y="798"/>
                  </a:lnTo>
                  <a:lnTo>
                    <a:pt x="179" y="802"/>
                  </a:lnTo>
                  <a:lnTo>
                    <a:pt x="175" y="806"/>
                  </a:lnTo>
                  <a:lnTo>
                    <a:pt x="175" y="802"/>
                  </a:lnTo>
                  <a:lnTo>
                    <a:pt x="171" y="802"/>
                  </a:lnTo>
                  <a:lnTo>
                    <a:pt x="171" y="798"/>
                  </a:lnTo>
                  <a:lnTo>
                    <a:pt x="167" y="794"/>
                  </a:lnTo>
                  <a:lnTo>
                    <a:pt x="163" y="794"/>
                  </a:lnTo>
                  <a:lnTo>
                    <a:pt x="163" y="790"/>
                  </a:lnTo>
                  <a:lnTo>
                    <a:pt x="163" y="786"/>
                  </a:lnTo>
                  <a:lnTo>
                    <a:pt x="167" y="786"/>
                  </a:lnTo>
                  <a:lnTo>
                    <a:pt x="171" y="786"/>
                  </a:lnTo>
                  <a:lnTo>
                    <a:pt x="175" y="786"/>
                  </a:lnTo>
                  <a:lnTo>
                    <a:pt x="171" y="786"/>
                  </a:lnTo>
                  <a:lnTo>
                    <a:pt x="167" y="786"/>
                  </a:lnTo>
                  <a:lnTo>
                    <a:pt x="163" y="786"/>
                  </a:lnTo>
                  <a:lnTo>
                    <a:pt x="163" y="782"/>
                  </a:lnTo>
                  <a:lnTo>
                    <a:pt x="159" y="782"/>
                  </a:lnTo>
                  <a:lnTo>
                    <a:pt x="159" y="778"/>
                  </a:lnTo>
                  <a:lnTo>
                    <a:pt x="159" y="774"/>
                  </a:lnTo>
                  <a:lnTo>
                    <a:pt x="159" y="778"/>
                  </a:lnTo>
                  <a:lnTo>
                    <a:pt x="163" y="778"/>
                  </a:lnTo>
                  <a:lnTo>
                    <a:pt x="163" y="782"/>
                  </a:lnTo>
                  <a:lnTo>
                    <a:pt x="167" y="782"/>
                  </a:lnTo>
                  <a:lnTo>
                    <a:pt x="163" y="778"/>
                  </a:lnTo>
                  <a:lnTo>
                    <a:pt x="159" y="778"/>
                  </a:lnTo>
                  <a:lnTo>
                    <a:pt x="159" y="774"/>
                  </a:lnTo>
                  <a:lnTo>
                    <a:pt x="163" y="774"/>
                  </a:lnTo>
                  <a:lnTo>
                    <a:pt x="167" y="774"/>
                  </a:lnTo>
                  <a:lnTo>
                    <a:pt x="167" y="778"/>
                  </a:lnTo>
                  <a:lnTo>
                    <a:pt x="167" y="774"/>
                  </a:lnTo>
                  <a:lnTo>
                    <a:pt x="163" y="774"/>
                  </a:lnTo>
                  <a:lnTo>
                    <a:pt x="163" y="770"/>
                  </a:lnTo>
                  <a:lnTo>
                    <a:pt x="163" y="766"/>
                  </a:lnTo>
                  <a:lnTo>
                    <a:pt x="167" y="766"/>
                  </a:lnTo>
                  <a:lnTo>
                    <a:pt x="171" y="766"/>
                  </a:lnTo>
                  <a:lnTo>
                    <a:pt x="167" y="766"/>
                  </a:lnTo>
                  <a:lnTo>
                    <a:pt x="167" y="762"/>
                  </a:lnTo>
                  <a:lnTo>
                    <a:pt x="171" y="758"/>
                  </a:lnTo>
                  <a:lnTo>
                    <a:pt x="175" y="758"/>
                  </a:lnTo>
                  <a:lnTo>
                    <a:pt x="175" y="754"/>
                  </a:lnTo>
                  <a:lnTo>
                    <a:pt x="171" y="758"/>
                  </a:lnTo>
                  <a:lnTo>
                    <a:pt x="171" y="754"/>
                  </a:lnTo>
                  <a:lnTo>
                    <a:pt x="171" y="758"/>
                  </a:lnTo>
                  <a:lnTo>
                    <a:pt x="167" y="754"/>
                  </a:lnTo>
                  <a:lnTo>
                    <a:pt x="171" y="754"/>
                  </a:lnTo>
                  <a:lnTo>
                    <a:pt x="171" y="758"/>
                  </a:lnTo>
                  <a:lnTo>
                    <a:pt x="167" y="762"/>
                  </a:lnTo>
                  <a:lnTo>
                    <a:pt x="167" y="766"/>
                  </a:lnTo>
                  <a:lnTo>
                    <a:pt x="163" y="766"/>
                  </a:lnTo>
                  <a:lnTo>
                    <a:pt x="163" y="762"/>
                  </a:lnTo>
                  <a:lnTo>
                    <a:pt x="167" y="762"/>
                  </a:lnTo>
                  <a:lnTo>
                    <a:pt x="167" y="758"/>
                  </a:lnTo>
                  <a:lnTo>
                    <a:pt x="163" y="754"/>
                  </a:lnTo>
                  <a:lnTo>
                    <a:pt x="163" y="750"/>
                  </a:lnTo>
                  <a:lnTo>
                    <a:pt x="163" y="746"/>
                  </a:lnTo>
                  <a:lnTo>
                    <a:pt x="167" y="746"/>
                  </a:lnTo>
                  <a:lnTo>
                    <a:pt x="167" y="742"/>
                  </a:lnTo>
                  <a:lnTo>
                    <a:pt x="163" y="742"/>
                  </a:lnTo>
                  <a:lnTo>
                    <a:pt x="159" y="742"/>
                  </a:lnTo>
                  <a:lnTo>
                    <a:pt x="159" y="738"/>
                  </a:lnTo>
                  <a:lnTo>
                    <a:pt x="155" y="738"/>
                  </a:lnTo>
                  <a:lnTo>
                    <a:pt x="155" y="734"/>
                  </a:lnTo>
                  <a:lnTo>
                    <a:pt x="151" y="734"/>
                  </a:lnTo>
                  <a:lnTo>
                    <a:pt x="147" y="734"/>
                  </a:lnTo>
                  <a:lnTo>
                    <a:pt x="147" y="730"/>
                  </a:lnTo>
                  <a:lnTo>
                    <a:pt x="143" y="730"/>
                  </a:lnTo>
                  <a:lnTo>
                    <a:pt x="139" y="730"/>
                  </a:lnTo>
                  <a:lnTo>
                    <a:pt x="139" y="726"/>
                  </a:lnTo>
                  <a:lnTo>
                    <a:pt x="135" y="722"/>
                  </a:lnTo>
                  <a:lnTo>
                    <a:pt x="135" y="718"/>
                  </a:lnTo>
                  <a:lnTo>
                    <a:pt x="131" y="718"/>
                  </a:lnTo>
                  <a:lnTo>
                    <a:pt x="131" y="714"/>
                  </a:lnTo>
                  <a:lnTo>
                    <a:pt x="131" y="710"/>
                  </a:lnTo>
                  <a:lnTo>
                    <a:pt x="127" y="710"/>
                  </a:lnTo>
                  <a:lnTo>
                    <a:pt x="127" y="706"/>
                  </a:lnTo>
                  <a:lnTo>
                    <a:pt x="123" y="702"/>
                  </a:lnTo>
                  <a:lnTo>
                    <a:pt x="123" y="698"/>
                  </a:lnTo>
                  <a:lnTo>
                    <a:pt x="119" y="698"/>
                  </a:lnTo>
                  <a:lnTo>
                    <a:pt x="119" y="694"/>
                  </a:lnTo>
                  <a:lnTo>
                    <a:pt x="119" y="690"/>
                  </a:lnTo>
                  <a:lnTo>
                    <a:pt x="115" y="690"/>
                  </a:lnTo>
                  <a:lnTo>
                    <a:pt x="115" y="686"/>
                  </a:lnTo>
                  <a:lnTo>
                    <a:pt x="111" y="682"/>
                  </a:lnTo>
                  <a:lnTo>
                    <a:pt x="107" y="682"/>
                  </a:lnTo>
                  <a:lnTo>
                    <a:pt x="107" y="678"/>
                  </a:lnTo>
                  <a:lnTo>
                    <a:pt x="103" y="678"/>
                  </a:lnTo>
                  <a:lnTo>
                    <a:pt x="103" y="674"/>
                  </a:lnTo>
                  <a:lnTo>
                    <a:pt x="99" y="674"/>
                  </a:lnTo>
                  <a:lnTo>
                    <a:pt x="99" y="670"/>
                  </a:lnTo>
                  <a:lnTo>
                    <a:pt x="95" y="670"/>
                  </a:lnTo>
                  <a:lnTo>
                    <a:pt x="95" y="666"/>
                  </a:lnTo>
                  <a:lnTo>
                    <a:pt x="91" y="666"/>
                  </a:lnTo>
                  <a:lnTo>
                    <a:pt x="88" y="662"/>
                  </a:lnTo>
                  <a:lnTo>
                    <a:pt x="91" y="662"/>
                  </a:lnTo>
                  <a:lnTo>
                    <a:pt x="91" y="658"/>
                  </a:lnTo>
                  <a:lnTo>
                    <a:pt x="88" y="658"/>
                  </a:lnTo>
                  <a:lnTo>
                    <a:pt x="84" y="654"/>
                  </a:lnTo>
                  <a:lnTo>
                    <a:pt x="80" y="654"/>
                  </a:lnTo>
                  <a:lnTo>
                    <a:pt x="76" y="654"/>
                  </a:lnTo>
                  <a:lnTo>
                    <a:pt x="76" y="658"/>
                  </a:lnTo>
                  <a:lnTo>
                    <a:pt x="72" y="658"/>
                  </a:lnTo>
                  <a:lnTo>
                    <a:pt x="72" y="662"/>
                  </a:lnTo>
                  <a:lnTo>
                    <a:pt x="68" y="662"/>
                  </a:lnTo>
                  <a:lnTo>
                    <a:pt x="68" y="666"/>
                  </a:lnTo>
                  <a:lnTo>
                    <a:pt x="68" y="670"/>
                  </a:lnTo>
                  <a:lnTo>
                    <a:pt x="64" y="670"/>
                  </a:lnTo>
                  <a:lnTo>
                    <a:pt x="60" y="670"/>
                  </a:lnTo>
                  <a:lnTo>
                    <a:pt x="56" y="670"/>
                  </a:lnTo>
                  <a:lnTo>
                    <a:pt x="56" y="674"/>
                  </a:lnTo>
                  <a:lnTo>
                    <a:pt x="52" y="674"/>
                  </a:lnTo>
                  <a:lnTo>
                    <a:pt x="52" y="670"/>
                  </a:lnTo>
                  <a:lnTo>
                    <a:pt x="52" y="666"/>
                  </a:lnTo>
                  <a:lnTo>
                    <a:pt x="48" y="662"/>
                  </a:lnTo>
                  <a:lnTo>
                    <a:pt x="44" y="658"/>
                  </a:lnTo>
                  <a:lnTo>
                    <a:pt x="40" y="658"/>
                  </a:lnTo>
                  <a:lnTo>
                    <a:pt x="36" y="654"/>
                  </a:lnTo>
                  <a:lnTo>
                    <a:pt x="36" y="650"/>
                  </a:lnTo>
                  <a:lnTo>
                    <a:pt x="32" y="650"/>
                  </a:lnTo>
                  <a:lnTo>
                    <a:pt x="28" y="646"/>
                  </a:lnTo>
                  <a:lnTo>
                    <a:pt x="28" y="642"/>
                  </a:lnTo>
                  <a:lnTo>
                    <a:pt x="28" y="638"/>
                  </a:lnTo>
                  <a:lnTo>
                    <a:pt x="24" y="638"/>
                  </a:lnTo>
                  <a:lnTo>
                    <a:pt x="20" y="638"/>
                  </a:lnTo>
                  <a:lnTo>
                    <a:pt x="20" y="642"/>
                  </a:lnTo>
                  <a:lnTo>
                    <a:pt x="16" y="642"/>
                  </a:lnTo>
                  <a:lnTo>
                    <a:pt x="8" y="642"/>
                  </a:lnTo>
                  <a:lnTo>
                    <a:pt x="0" y="642"/>
                  </a:lnTo>
                  <a:lnTo>
                    <a:pt x="0" y="638"/>
                  </a:lnTo>
                  <a:lnTo>
                    <a:pt x="0" y="626"/>
                  </a:lnTo>
                  <a:lnTo>
                    <a:pt x="0" y="583"/>
                  </a:lnTo>
                  <a:lnTo>
                    <a:pt x="0" y="571"/>
                  </a:lnTo>
                  <a:lnTo>
                    <a:pt x="0" y="555"/>
                  </a:lnTo>
                  <a:lnTo>
                    <a:pt x="0" y="551"/>
                  </a:lnTo>
                  <a:lnTo>
                    <a:pt x="0" y="543"/>
                  </a:lnTo>
                  <a:lnTo>
                    <a:pt x="0" y="519"/>
                  </a:lnTo>
                  <a:lnTo>
                    <a:pt x="0" y="507"/>
                  </a:lnTo>
                  <a:lnTo>
                    <a:pt x="0" y="495"/>
                  </a:lnTo>
                  <a:lnTo>
                    <a:pt x="0" y="483"/>
                  </a:lnTo>
                  <a:lnTo>
                    <a:pt x="0" y="479"/>
                  </a:lnTo>
                  <a:lnTo>
                    <a:pt x="0" y="475"/>
                  </a:lnTo>
                  <a:lnTo>
                    <a:pt x="0" y="471"/>
                  </a:lnTo>
                  <a:lnTo>
                    <a:pt x="0" y="463"/>
                  </a:lnTo>
                  <a:lnTo>
                    <a:pt x="0" y="459"/>
                  </a:lnTo>
                  <a:lnTo>
                    <a:pt x="0" y="451"/>
                  </a:lnTo>
                  <a:lnTo>
                    <a:pt x="0" y="447"/>
                  </a:lnTo>
                  <a:lnTo>
                    <a:pt x="0" y="443"/>
                  </a:lnTo>
                  <a:lnTo>
                    <a:pt x="0" y="439"/>
                  </a:lnTo>
                  <a:lnTo>
                    <a:pt x="0" y="431"/>
                  </a:lnTo>
                  <a:lnTo>
                    <a:pt x="0" y="419"/>
                  </a:lnTo>
                  <a:lnTo>
                    <a:pt x="0" y="407"/>
                  </a:lnTo>
                  <a:lnTo>
                    <a:pt x="0" y="403"/>
                  </a:lnTo>
                  <a:lnTo>
                    <a:pt x="0" y="399"/>
                  </a:lnTo>
                  <a:lnTo>
                    <a:pt x="4" y="399"/>
                  </a:lnTo>
                  <a:lnTo>
                    <a:pt x="4" y="403"/>
                  </a:lnTo>
                  <a:lnTo>
                    <a:pt x="8" y="403"/>
                  </a:lnTo>
                  <a:lnTo>
                    <a:pt x="12" y="403"/>
                  </a:lnTo>
                  <a:lnTo>
                    <a:pt x="16" y="403"/>
                  </a:lnTo>
                  <a:lnTo>
                    <a:pt x="20" y="403"/>
                  </a:lnTo>
                  <a:lnTo>
                    <a:pt x="24" y="403"/>
                  </a:lnTo>
                  <a:lnTo>
                    <a:pt x="28" y="403"/>
                  </a:lnTo>
                  <a:lnTo>
                    <a:pt x="28" y="407"/>
                  </a:lnTo>
                  <a:lnTo>
                    <a:pt x="32" y="407"/>
                  </a:lnTo>
                  <a:lnTo>
                    <a:pt x="36" y="411"/>
                  </a:lnTo>
                  <a:lnTo>
                    <a:pt x="40" y="411"/>
                  </a:lnTo>
                  <a:lnTo>
                    <a:pt x="40" y="415"/>
                  </a:lnTo>
                  <a:lnTo>
                    <a:pt x="44" y="415"/>
                  </a:lnTo>
                  <a:lnTo>
                    <a:pt x="48" y="415"/>
                  </a:lnTo>
                  <a:lnTo>
                    <a:pt x="52" y="419"/>
                  </a:lnTo>
                  <a:lnTo>
                    <a:pt x="56" y="419"/>
                  </a:lnTo>
                  <a:lnTo>
                    <a:pt x="60" y="419"/>
                  </a:lnTo>
                  <a:lnTo>
                    <a:pt x="64" y="423"/>
                  </a:lnTo>
                  <a:lnTo>
                    <a:pt x="68" y="419"/>
                  </a:lnTo>
                  <a:lnTo>
                    <a:pt x="72" y="419"/>
                  </a:lnTo>
                  <a:lnTo>
                    <a:pt x="72" y="423"/>
                  </a:lnTo>
                  <a:lnTo>
                    <a:pt x="76" y="423"/>
                  </a:lnTo>
                  <a:lnTo>
                    <a:pt x="80" y="423"/>
                  </a:lnTo>
                  <a:lnTo>
                    <a:pt x="84" y="423"/>
                  </a:lnTo>
                  <a:lnTo>
                    <a:pt x="84" y="427"/>
                  </a:lnTo>
                  <a:lnTo>
                    <a:pt x="88" y="427"/>
                  </a:lnTo>
                  <a:lnTo>
                    <a:pt x="84" y="423"/>
                  </a:lnTo>
                  <a:lnTo>
                    <a:pt x="80" y="423"/>
                  </a:lnTo>
                  <a:lnTo>
                    <a:pt x="80" y="419"/>
                  </a:lnTo>
                  <a:lnTo>
                    <a:pt x="84" y="419"/>
                  </a:lnTo>
                  <a:lnTo>
                    <a:pt x="88" y="419"/>
                  </a:lnTo>
                  <a:lnTo>
                    <a:pt x="91" y="423"/>
                  </a:lnTo>
                  <a:lnTo>
                    <a:pt x="91" y="419"/>
                  </a:lnTo>
                  <a:lnTo>
                    <a:pt x="95" y="419"/>
                  </a:lnTo>
                  <a:lnTo>
                    <a:pt x="95" y="423"/>
                  </a:lnTo>
                  <a:lnTo>
                    <a:pt x="99" y="427"/>
                  </a:lnTo>
                  <a:lnTo>
                    <a:pt x="103" y="427"/>
                  </a:lnTo>
                  <a:lnTo>
                    <a:pt x="99" y="427"/>
                  </a:lnTo>
                  <a:lnTo>
                    <a:pt x="99" y="423"/>
                  </a:lnTo>
                  <a:lnTo>
                    <a:pt x="95" y="419"/>
                  </a:lnTo>
                  <a:lnTo>
                    <a:pt x="95" y="415"/>
                  </a:lnTo>
                  <a:lnTo>
                    <a:pt x="99" y="415"/>
                  </a:lnTo>
                  <a:lnTo>
                    <a:pt x="103" y="411"/>
                  </a:lnTo>
                  <a:lnTo>
                    <a:pt x="107" y="411"/>
                  </a:lnTo>
                  <a:lnTo>
                    <a:pt x="111" y="407"/>
                  </a:lnTo>
                  <a:lnTo>
                    <a:pt x="115" y="407"/>
                  </a:lnTo>
                  <a:lnTo>
                    <a:pt x="119" y="407"/>
                  </a:lnTo>
                  <a:lnTo>
                    <a:pt x="119" y="403"/>
                  </a:lnTo>
                  <a:lnTo>
                    <a:pt x="123" y="399"/>
                  </a:lnTo>
                  <a:lnTo>
                    <a:pt x="127" y="399"/>
                  </a:lnTo>
                  <a:lnTo>
                    <a:pt x="131" y="399"/>
                  </a:lnTo>
                  <a:lnTo>
                    <a:pt x="127" y="399"/>
                  </a:lnTo>
                  <a:lnTo>
                    <a:pt x="131" y="399"/>
                  </a:lnTo>
                  <a:lnTo>
                    <a:pt x="135" y="399"/>
                  </a:lnTo>
                  <a:lnTo>
                    <a:pt x="139" y="399"/>
                  </a:lnTo>
                  <a:lnTo>
                    <a:pt x="139" y="395"/>
                  </a:lnTo>
                  <a:lnTo>
                    <a:pt x="143" y="395"/>
                  </a:lnTo>
                  <a:lnTo>
                    <a:pt x="143" y="391"/>
                  </a:lnTo>
                  <a:lnTo>
                    <a:pt x="147" y="391"/>
                  </a:lnTo>
                  <a:lnTo>
                    <a:pt x="147" y="395"/>
                  </a:lnTo>
                  <a:lnTo>
                    <a:pt x="151" y="395"/>
                  </a:lnTo>
                  <a:lnTo>
                    <a:pt x="151" y="391"/>
                  </a:lnTo>
                  <a:lnTo>
                    <a:pt x="151" y="387"/>
                  </a:lnTo>
                  <a:lnTo>
                    <a:pt x="155" y="387"/>
                  </a:lnTo>
                  <a:lnTo>
                    <a:pt x="159" y="387"/>
                  </a:lnTo>
                  <a:lnTo>
                    <a:pt x="163" y="391"/>
                  </a:lnTo>
                  <a:lnTo>
                    <a:pt x="167" y="387"/>
                  </a:lnTo>
                  <a:lnTo>
                    <a:pt x="167" y="383"/>
                  </a:lnTo>
                  <a:lnTo>
                    <a:pt x="171" y="383"/>
                  </a:lnTo>
                  <a:lnTo>
                    <a:pt x="175" y="387"/>
                  </a:lnTo>
                  <a:lnTo>
                    <a:pt x="175" y="391"/>
                  </a:lnTo>
                  <a:lnTo>
                    <a:pt x="171" y="391"/>
                  </a:lnTo>
                  <a:lnTo>
                    <a:pt x="167" y="395"/>
                  </a:lnTo>
                  <a:lnTo>
                    <a:pt x="163" y="395"/>
                  </a:lnTo>
                  <a:lnTo>
                    <a:pt x="159" y="395"/>
                  </a:lnTo>
                  <a:lnTo>
                    <a:pt x="159" y="399"/>
                  </a:lnTo>
                  <a:lnTo>
                    <a:pt x="155" y="399"/>
                  </a:lnTo>
                  <a:lnTo>
                    <a:pt x="151" y="403"/>
                  </a:lnTo>
                  <a:lnTo>
                    <a:pt x="151" y="399"/>
                  </a:lnTo>
                  <a:lnTo>
                    <a:pt x="147" y="399"/>
                  </a:lnTo>
                  <a:lnTo>
                    <a:pt x="147" y="403"/>
                  </a:lnTo>
                  <a:lnTo>
                    <a:pt x="143" y="403"/>
                  </a:lnTo>
                  <a:lnTo>
                    <a:pt x="139" y="403"/>
                  </a:lnTo>
                  <a:lnTo>
                    <a:pt x="135" y="403"/>
                  </a:lnTo>
                  <a:lnTo>
                    <a:pt x="135" y="407"/>
                  </a:lnTo>
                  <a:lnTo>
                    <a:pt x="131" y="411"/>
                  </a:lnTo>
                  <a:lnTo>
                    <a:pt x="127" y="411"/>
                  </a:lnTo>
                  <a:lnTo>
                    <a:pt x="123" y="411"/>
                  </a:lnTo>
                  <a:lnTo>
                    <a:pt x="123" y="415"/>
                  </a:lnTo>
                  <a:lnTo>
                    <a:pt x="119" y="415"/>
                  </a:lnTo>
                  <a:lnTo>
                    <a:pt x="119" y="419"/>
                  </a:lnTo>
                  <a:lnTo>
                    <a:pt x="115" y="419"/>
                  </a:lnTo>
                  <a:lnTo>
                    <a:pt x="119" y="419"/>
                  </a:lnTo>
                  <a:lnTo>
                    <a:pt x="115" y="419"/>
                  </a:lnTo>
                  <a:lnTo>
                    <a:pt x="115" y="423"/>
                  </a:lnTo>
                  <a:lnTo>
                    <a:pt x="115" y="419"/>
                  </a:lnTo>
                  <a:lnTo>
                    <a:pt x="111" y="423"/>
                  </a:lnTo>
                  <a:lnTo>
                    <a:pt x="115" y="423"/>
                  </a:lnTo>
                  <a:lnTo>
                    <a:pt x="119" y="427"/>
                  </a:lnTo>
                  <a:lnTo>
                    <a:pt x="123" y="427"/>
                  </a:lnTo>
                  <a:lnTo>
                    <a:pt x="119" y="427"/>
                  </a:lnTo>
                  <a:lnTo>
                    <a:pt x="115" y="423"/>
                  </a:lnTo>
                  <a:lnTo>
                    <a:pt x="119" y="423"/>
                  </a:lnTo>
                  <a:lnTo>
                    <a:pt x="115" y="423"/>
                  </a:lnTo>
                  <a:lnTo>
                    <a:pt x="119" y="423"/>
                  </a:lnTo>
                  <a:lnTo>
                    <a:pt x="123" y="423"/>
                  </a:lnTo>
                  <a:lnTo>
                    <a:pt x="127" y="423"/>
                  </a:lnTo>
                  <a:lnTo>
                    <a:pt x="131" y="423"/>
                  </a:lnTo>
                  <a:lnTo>
                    <a:pt x="127" y="419"/>
                  </a:lnTo>
                  <a:lnTo>
                    <a:pt x="127" y="423"/>
                  </a:lnTo>
                  <a:lnTo>
                    <a:pt x="123" y="423"/>
                  </a:lnTo>
                  <a:lnTo>
                    <a:pt x="123" y="419"/>
                  </a:lnTo>
                  <a:lnTo>
                    <a:pt x="123" y="415"/>
                  </a:lnTo>
                  <a:lnTo>
                    <a:pt x="127" y="415"/>
                  </a:lnTo>
                  <a:lnTo>
                    <a:pt x="131" y="415"/>
                  </a:lnTo>
                  <a:lnTo>
                    <a:pt x="131" y="411"/>
                  </a:lnTo>
                  <a:lnTo>
                    <a:pt x="131" y="415"/>
                  </a:lnTo>
                  <a:lnTo>
                    <a:pt x="131" y="411"/>
                  </a:lnTo>
                  <a:lnTo>
                    <a:pt x="135" y="411"/>
                  </a:lnTo>
                  <a:lnTo>
                    <a:pt x="139" y="411"/>
                  </a:lnTo>
                  <a:lnTo>
                    <a:pt x="139" y="407"/>
                  </a:lnTo>
                  <a:lnTo>
                    <a:pt x="135" y="407"/>
                  </a:lnTo>
                  <a:lnTo>
                    <a:pt x="139" y="407"/>
                  </a:lnTo>
                  <a:lnTo>
                    <a:pt x="143" y="407"/>
                  </a:lnTo>
                  <a:lnTo>
                    <a:pt x="147" y="403"/>
                  </a:lnTo>
                  <a:lnTo>
                    <a:pt x="147" y="407"/>
                  </a:lnTo>
                  <a:lnTo>
                    <a:pt x="143" y="411"/>
                  </a:lnTo>
                  <a:lnTo>
                    <a:pt x="147" y="411"/>
                  </a:lnTo>
                  <a:lnTo>
                    <a:pt x="147" y="407"/>
                  </a:lnTo>
                  <a:lnTo>
                    <a:pt x="147" y="403"/>
                  </a:lnTo>
                  <a:lnTo>
                    <a:pt x="147" y="407"/>
                  </a:lnTo>
                  <a:lnTo>
                    <a:pt x="151" y="407"/>
                  </a:lnTo>
                  <a:lnTo>
                    <a:pt x="151" y="403"/>
                  </a:lnTo>
                  <a:lnTo>
                    <a:pt x="147" y="403"/>
                  </a:lnTo>
                  <a:lnTo>
                    <a:pt x="151" y="403"/>
                  </a:lnTo>
                  <a:lnTo>
                    <a:pt x="151" y="407"/>
                  </a:lnTo>
                  <a:lnTo>
                    <a:pt x="147" y="411"/>
                  </a:lnTo>
                  <a:lnTo>
                    <a:pt x="151" y="407"/>
                  </a:lnTo>
                  <a:lnTo>
                    <a:pt x="151" y="403"/>
                  </a:lnTo>
                  <a:lnTo>
                    <a:pt x="151" y="407"/>
                  </a:lnTo>
                  <a:lnTo>
                    <a:pt x="151" y="411"/>
                  </a:lnTo>
                  <a:lnTo>
                    <a:pt x="151" y="407"/>
                  </a:lnTo>
                  <a:lnTo>
                    <a:pt x="151" y="411"/>
                  </a:lnTo>
                  <a:lnTo>
                    <a:pt x="151" y="415"/>
                  </a:lnTo>
                  <a:lnTo>
                    <a:pt x="151" y="411"/>
                  </a:lnTo>
                  <a:lnTo>
                    <a:pt x="155" y="407"/>
                  </a:lnTo>
                  <a:lnTo>
                    <a:pt x="159" y="403"/>
                  </a:lnTo>
                  <a:lnTo>
                    <a:pt x="159" y="399"/>
                  </a:lnTo>
                  <a:lnTo>
                    <a:pt x="163" y="399"/>
                  </a:lnTo>
                  <a:lnTo>
                    <a:pt x="167" y="399"/>
                  </a:lnTo>
                  <a:lnTo>
                    <a:pt x="171" y="395"/>
                  </a:lnTo>
                  <a:lnTo>
                    <a:pt x="175" y="395"/>
                  </a:lnTo>
                  <a:lnTo>
                    <a:pt x="179" y="395"/>
                  </a:lnTo>
                  <a:lnTo>
                    <a:pt x="179" y="391"/>
                  </a:lnTo>
                  <a:lnTo>
                    <a:pt x="183" y="391"/>
                  </a:lnTo>
                  <a:lnTo>
                    <a:pt x="183" y="395"/>
                  </a:lnTo>
                  <a:lnTo>
                    <a:pt x="179" y="395"/>
                  </a:lnTo>
                  <a:lnTo>
                    <a:pt x="179" y="399"/>
                  </a:lnTo>
                  <a:lnTo>
                    <a:pt x="183" y="399"/>
                  </a:lnTo>
                  <a:lnTo>
                    <a:pt x="187" y="395"/>
                  </a:lnTo>
                  <a:lnTo>
                    <a:pt x="191" y="391"/>
                  </a:lnTo>
                  <a:lnTo>
                    <a:pt x="191" y="387"/>
                  </a:lnTo>
                  <a:lnTo>
                    <a:pt x="195" y="387"/>
                  </a:lnTo>
                  <a:lnTo>
                    <a:pt x="199" y="387"/>
                  </a:lnTo>
                  <a:lnTo>
                    <a:pt x="203" y="383"/>
                  </a:lnTo>
                  <a:lnTo>
                    <a:pt x="199" y="383"/>
                  </a:lnTo>
                  <a:lnTo>
                    <a:pt x="195" y="383"/>
                  </a:lnTo>
                  <a:lnTo>
                    <a:pt x="199" y="379"/>
                  </a:lnTo>
                  <a:lnTo>
                    <a:pt x="195" y="379"/>
                  </a:lnTo>
                  <a:lnTo>
                    <a:pt x="195" y="375"/>
                  </a:lnTo>
                  <a:lnTo>
                    <a:pt x="199" y="375"/>
                  </a:lnTo>
                  <a:lnTo>
                    <a:pt x="199" y="379"/>
                  </a:lnTo>
                  <a:lnTo>
                    <a:pt x="203" y="379"/>
                  </a:lnTo>
                  <a:lnTo>
                    <a:pt x="207" y="383"/>
                  </a:lnTo>
                  <a:lnTo>
                    <a:pt x="211" y="383"/>
                  </a:lnTo>
                  <a:lnTo>
                    <a:pt x="211" y="387"/>
                  </a:lnTo>
                  <a:lnTo>
                    <a:pt x="211" y="391"/>
                  </a:lnTo>
                  <a:lnTo>
                    <a:pt x="215" y="395"/>
                  </a:lnTo>
                  <a:lnTo>
                    <a:pt x="215" y="399"/>
                  </a:lnTo>
                  <a:lnTo>
                    <a:pt x="219" y="399"/>
                  </a:lnTo>
                  <a:lnTo>
                    <a:pt x="223" y="403"/>
                  </a:lnTo>
                  <a:lnTo>
                    <a:pt x="223" y="407"/>
                  </a:lnTo>
                  <a:lnTo>
                    <a:pt x="227" y="407"/>
                  </a:lnTo>
                  <a:lnTo>
                    <a:pt x="235" y="407"/>
                  </a:lnTo>
                  <a:lnTo>
                    <a:pt x="235" y="411"/>
                  </a:lnTo>
                  <a:lnTo>
                    <a:pt x="235" y="407"/>
                  </a:lnTo>
                  <a:lnTo>
                    <a:pt x="239" y="407"/>
                  </a:lnTo>
                  <a:lnTo>
                    <a:pt x="235" y="407"/>
                  </a:lnTo>
                  <a:lnTo>
                    <a:pt x="231" y="407"/>
                  </a:lnTo>
                  <a:lnTo>
                    <a:pt x="235" y="403"/>
                  </a:lnTo>
                  <a:lnTo>
                    <a:pt x="239" y="403"/>
                  </a:lnTo>
                  <a:lnTo>
                    <a:pt x="235" y="399"/>
                  </a:lnTo>
                  <a:lnTo>
                    <a:pt x="239" y="399"/>
                  </a:lnTo>
                  <a:lnTo>
                    <a:pt x="243" y="399"/>
                  </a:lnTo>
                  <a:lnTo>
                    <a:pt x="239" y="399"/>
                  </a:lnTo>
                  <a:lnTo>
                    <a:pt x="239" y="395"/>
                  </a:lnTo>
                  <a:lnTo>
                    <a:pt x="243" y="395"/>
                  </a:lnTo>
                  <a:lnTo>
                    <a:pt x="243" y="391"/>
                  </a:lnTo>
                  <a:lnTo>
                    <a:pt x="247" y="391"/>
                  </a:lnTo>
                  <a:lnTo>
                    <a:pt x="243" y="391"/>
                  </a:lnTo>
                  <a:lnTo>
                    <a:pt x="239" y="391"/>
                  </a:lnTo>
                  <a:lnTo>
                    <a:pt x="243" y="387"/>
                  </a:lnTo>
                  <a:lnTo>
                    <a:pt x="243" y="391"/>
                  </a:lnTo>
                  <a:lnTo>
                    <a:pt x="247" y="387"/>
                  </a:lnTo>
                  <a:lnTo>
                    <a:pt x="247" y="391"/>
                  </a:lnTo>
                  <a:lnTo>
                    <a:pt x="251" y="391"/>
                  </a:lnTo>
                  <a:lnTo>
                    <a:pt x="251" y="387"/>
                  </a:lnTo>
                  <a:lnTo>
                    <a:pt x="247" y="387"/>
                  </a:lnTo>
                  <a:lnTo>
                    <a:pt x="251" y="387"/>
                  </a:lnTo>
                  <a:lnTo>
                    <a:pt x="251" y="391"/>
                  </a:lnTo>
                  <a:lnTo>
                    <a:pt x="251" y="395"/>
                  </a:lnTo>
                  <a:lnTo>
                    <a:pt x="251" y="399"/>
                  </a:lnTo>
                  <a:lnTo>
                    <a:pt x="255" y="399"/>
                  </a:lnTo>
                  <a:lnTo>
                    <a:pt x="255" y="403"/>
                  </a:lnTo>
                  <a:lnTo>
                    <a:pt x="251" y="403"/>
                  </a:lnTo>
                  <a:lnTo>
                    <a:pt x="247" y="407"/>
                  </a:lnTo>
                  <a:lnTo>
                    <a:pt x="251" y="407"/>
                  </a:lnTo>
                  <a:lnTo>
                    <a:pt x="255" y="407"/>
                  </a:lnTo>
                  <a:lnTo>
                    <a:pt x="259" y="407"/>
                  </a:lnTo>
                  <a:lnTo>
                    <a:pt x="263" y="407"/>
                  </a:lnTo>
                  <a:lnTo>
                    <a:pt x="267" y="407"/>
                  </a:lnTo>
                  <a:lnTo>
                    <a:pt x="267" y="403"/>
                  </a:lnTo>
                  <a:lnTo>
                    <a:pt x="271" y="403"/>
                  </a:lnTo>
                  <a:lnTo>
                    <a:pt x="271" y="399"/>
                  </a:lnTo>
                  <a:lnTo>
                    <a:pt x="271" y="395"/>
                  </a:lnTo>
                  <a:lnTo>
                    <a:pt x="275" y="395"/>
                  </a:lnTo>
                  <a:lnTo>
                    <a:pt x="279" y="395"/>
                  </a:lnTo>
                  <a:lnTo>
                    <a:pt x="283" y="395"/>
                  </a:lnTo>
                  <a:lnTo>
                    <a:pt x="287" y="395"/>
                  </a:lnTo>
                  <a:lnTo>
                    <a:pt x="291" y="395"/>
                  </a:lnTo>
                  <a:lnTo>
                    <a:pt x="295" y="399"/>
                  </a:lnTo>
                  <a:lnTo>
                    <a:pt x="299" y="399"/>
                  </a:lnTo>
                  <a:lnTo>
                    <a:pt x="303" y="399"/>
                  </a:lnTo>
                  <a:lnTo>
                    <a:pt x="303" y="403"/>
                  </a:lnTo>
                  <a:lnTo>
                    <a:pt x="307" y="403"/>
                  </a:lnTo>
                  <a:lnTo>
                    <a:pt x="311" y="407"/>
                  </a:lnTo>
                  <a:lnTo>
                    <a:pt x="315" y="407"/>
                  </a:lnTo>
                  <a:lnTo>
                    <a:pt x="319" y="407"/>
                  </a:lnTo>
                  <a:lnTo>
                    <a:pt x="323" y="411"/>
                  </a:lnTo>
                  <a:lnTo>
                    <a:pt x="327" y="411"/>
                  </a:lnTo>
                  <a:lnTo>
                    <a:pt x="331" y="411"/>
                  </a:lnTo>
                  <a:lnTo>
                    <a:pt x="335" y="411"/>
                  </a:lnTo>
                  <a:lnTo>
                    <a:pt x="339" y="411"/>
                  </a:lnTo>
                  <a:lnTo>
                    <a:pt x="339" y="415"/>
                  </a:lnTo>
                  <a:lnTo>
                    <a:pt x="343" y="415"/>
                  </a:lnTo>
                  <a:lnTo>
                    <a:pt x="347" y="415"/>
                  </a:lnTo>
                  <a:lnTo>
                    <a:pt x="347" y="419"/>
                  </a:lnTo>
                  <a:lnTo>
                    <a:pt x="351" y="419"/>
                  </a:lnTo>
                  <a:lnTo>
                    <a:pt x="355" y="419"/>
                  </a:lnTo>
                  <a:lnTo>
                    <a:pt x="359" y="419"/>
                  </a:lnTo>
                  <a:lnTo>
                    <a:pt x="359" y="423"/>
                  </a:lnTo>
                  <a:lnTo>
                    <a:pt x="363" y="419"/>
                  </a:lnTo>
                  <a:lnTo>
                    <a:pt x="367" y="423"/>
                  </a:lnTo>
                  <a:lnTo>
                    <a:pt x="371" y="423"/>
                  </a:lnTo>
                  <a:lnTo>
                    <a:pt x="375" y="423"/>
                  </a:lnTo>
                  <a:lnTo>
                    <a:pt x="379" y="423"/>
                  </a:lnTo>
                  <a:lnTo>
                    <a:pt x="375" y="423"/>
                  </a:lnTo>
                  <a:lnTo>
                    <a:pt x="375" y="419"/>
                  </a:lnTo>
                  <a:lnTo>
                    <a:pt x="379" y="419"/>
                  </a:lnTo>
                  <a:lnTo>
                    <a:pt x="383" y="419"/>
                  </a:lnTo>
                  <a:lnTo>
                    <a:pt x="379" y="419"/>
                  </a:lnTo>
                  <a:lnTo>
                    <a:pt x="383" y="419"/>
                  </a:lnTo>
                  <a:lnTo>
                    <a:pt x="387" y="419"/>
                  </a:lnTo>
                  <a:lnTo>
                    <a:pt x="391" y="423"/>
                  </a:lnTo>
                  <a:lnTo>
                    <a:pt x="395" y="423"/>
                  </a:lnTo>
                  <a:lnTo>
                    <a:pt x="399" y="423"/>
                  </a:lnTo>
                  <a:lnTo>
                    <a:pt x="399" y="427"/>
                  </a:lnTo>
                  <a:lnTo>
                    <a:pt x="403" y="427"/>
                  </a:lnTo>
                  <a:lnTo>
                    <a:pt x="403" y="431"/>
                  </a:lnTo>
                  <a:lnTo>
                    <a:pt x="407" y="431"/>
                  </a:lnTo>
                  <a:lnTo>
                    <a:pt x="407" y="439"/>
                  </a:lnTo>
                  <a:lnTo>
                    <a:pt x="403" y="439"/>
                  </a:lnTo>
                  <a:lnTo>
                    <a:pt x="399" y="439"/>
                  </a:lnTo>
                  <a:lnTo>
                    <a:pt x="395" y="439"/>
                  </a:lnTo>
                  <a:lnTo>
                    <a:pt x="391" y="439"/>
                  </a:lnTo>
                  <a:lnTo>
                    <a:pt x="391" y="443"/>
                  </a:lnTo>
                  <a:lnTo>
                    <a:pt x="391" y="447"/>
                  </a:lnTo>
                  <a:lnTo>
                    <a:pt x="387" y="447"/>
                  </a:lnTo>
                  <a:lnTo>
                    <a:pt x="391" y="447"/>
                  </a:lnTo>
                  <a:lnTo>
                    <a:pt x="391" y="451"/>
                  </a:lnTo>
                  <a:lnTo>
                    <a:pt x="395" y="451"/>
                  </a:lnTo>
                  <a:lnTo>
                    <a:pt x="399" y="451"/>
                  </a:lnTo>
                  <a:lnTo>
                    <a:pt x="403" y="451"/>
                  </a:lnTo>
                  <a:lnTo>
                    <a:pt x="407" y="451"/>
                  </a:lnTo>
                  <a:lnTo>
                    <a:pt x="411" y="451"/>
                  </a:lnTo>
                  <a:lnTo>
                    <a:pt x="415" y="451"/>
                  </a:lnTo>
                  <a:lnTo>
                    <a:pt x="419" y="451"/>
                  </a:lnTo>
                  <a:lnTo>
                    <a:pt x="423" y="451"/>
                  </a:lnTo>
                  <a:lnTo>
                    <a:pt x="423" y="455"/>
                  </a:lnTo>
                  <a:lnTo>
                    <a:pt x="427" y="455"/>
                  </a:lnTo>
                  <a:lnTo>
                    <a:pt x="431" y="455"/>
                  </a:lnTo>
                  <a:lnTo>
                    <a:pt x="435" y="455"/>
                  </a:lnTo>
                  <a:lnTo>
                    <a:pt x="435" y="451"/>
                  </a:lnTo>
                  <a:lnTo>
                    <a:pt x="439" y="451"/>
                  </a:lnTo>
                  <a:lnTo>
                    <a:pt x="442" y="451"/>
                  </a:lnTo>
                  <a:lnTo>
                    <a:pt x="446" y="451"/>
                  </a:lnTo>
                  <a:lnTo>
                    <a:pt x="450" y="451"/>
                  </a:lnTo>
                  <a:lnTo>
                    <a:pt x="454" y="451"/>
                  </a:lnTo>
                  <a:lnTo>
                    <a:pt x="458" y="451"/>
                  </a:lnTo>
                  <a:lnTo>
                    <a:pt x="458" y="447"/>
                  </a:lnTo>
                  <a:lnTo>
                    <a:pt x="462" y="447"/>
                  </a:lnTo>
                  <a:lnTo>
                    <a:pt x="466" y="447"/>
                  </a:lnTo>
                  <a:lnTo>
                    <a:pt x="466" y="443"/>
                  </a:lnTo>
                  <a:lnTo>
                    <a:pt x="470" y="447"/>
                  </a:lnTo>
                  <a:lnTo>
                    <a:pt x="470" y="451"/>
                  </a:lnTo>
                  <a:lnTo>
                    <a:pt x="470" y="447"/>
                  </a:lnTo>
                  <a:lnTo>
                    <a:pt x="470" y="451"/>
                  </a:lnTo>
                  <a:lnTo>
                    <a:pt x="474" y="451"/>
                  </a:lnTo>
                  <a:lnTo>
                    <a:pt x="474" y="455"/>
                  </a:lnTo>
                  <a:lnTo>
                    <a:pt x="474" y="451"/>
                  </a:lnTo>
                  <a:lnTo>
                    <a:pt x="478" y="451"/>
                  </a:lnTo>
                  <a:lnTo>
                    <a:pt x="482" y="451"/>
                  </a:lnTo>
                  <a:lnTo>
                    <a:pt x="482" y="455"/>
                  </a:lnTo>
                  <a:lnTo>
                    <a:pt x="486" y="459"/>
                  </a:lnTo>
                  <a:lnTo>
                    <a:pt x="482" y="459"/>
                  </a:lnTo>
                  <a:lnTo>
                    <a:pt x="486" y="459"/>
                  </a:lnTo>
                  <a:lnTo>
                    <a:pt x="486" y="463"/>
                  </a:lnTo>
                  <a:lnTo>
                    <a:pt x="486" y="459"/>
                  </a:lnTo>
                  <a:lnTo>
                    <a:pt x="486" y="455"/>
                  </a:lnTo>
                  <a:lnTo>
                    <a:pt x="490" y="455"/>
                  </a:lnTo>
                  <a:lnTo>
                    <a:pt x="490" y="459"/>
                  </a:lnTo>
                  <a:lnTo>
                    <a:pt x="490" y="463"/>
                  </a:lnTo>
                  <a:lnTo>
                    <a:pt x="494" y="463"/>
                  </a:lnTo>
                  <a:lnTo>
                    <a:pt x="490" y="459"/>
                  </a:lnTo>
                  <a:lnTo>
                    <a:pt x="494" y="459"/>
                  </a:lnTo>
                  <a:lnTo>
                    <a:pt x="498" y="463"/>
                  </a:lnTo>
                  <a:lnTo>
                    <a:pt x="498" y="467"/>
                  </a:lnTo>
                  <a:lnTo>
                    <a:pt x="502" y="467"/>
                  </a:lnTo>
                  <a:lnTo>
                    <a:pt x="502" y="471"/>
                  </a:lnTo>
                  <a:lnTo>
                    <a:pt x="498" y="471"/>
                  </a:lnTo>
                  <a:lnTo>
                    <a:pt x="494" y="471"/>
                  </a:lnTo>
                  <a:lnTo>
                    <a:pt x="490" y="471"/>
                  </a:lnTo>
                  <a:lnTo>
                    <a:pt x="490" y="467"/>
                  </a:lnTo>
                  <a:lnTo>
                    <a:pt x="490" y="471"/>
                  </a:lnTo>
                  <a:lnTo>
                    <a:pt x="494" y="471"/>
                  </a:lnTo>
                  <a:lnTo>
                    <a:pt x="498" y="471"/>
                  </a:lnTo>
                  <a:lnTo>
                    <a:pt x="498" y="475"/>
                  </a:lnTo>
                  <a:lnTo>
                    <a:pt x="498" y="479"/>
                  </a:lnTo>
                  <a:lnTo>
                    <a:pt x="502" y="479"/>
                  </a:lnTo>
                  <a:lnTo>
                    <a:pt x="502" y="483"/>
                  </a:lnTo>
                  <a:lnTo>
                    <a:pt x="506" y="483"/>
                  </a:lnTo>
                  <a:lnTo>
                    <a:pt x="506" y="487"/>
                  </a:lnTo>
                  <a:lnTo>
                    <a:pt x="510" y="487"/>
                  </a:lnTo>
                  <a:lnTo>
                    <a:pt x="506" y="483"/>
                  </a:lnTo>
                  <a:lnTo>
                    <a:pt x="506" y="479"/>
                  </a:lnTo>
                  <a:lnTo>
                    <a:pt x="502" y="479"/>
                  </a:lnTo>
                  <a:lnTo>
                    <a:pt x="502" y="475"/>
                  </a:lnTo>
                  <a:lnTo>
                    <a:pt x="502" y="471"/>
                  </a:lnTo>
                  <a:lnTo>
                    <a:pt x="506" y="471"/>
                  </a:lnTo>
                  <a:lnTo>
                    <a:pt x="502" y="471"/>
                  </a:lnTo>
                  <a:lnTo>
                    <a:pt x="506" y="471"/>
                  </a:lnTo>
                  <a:lnTo>
                    <a:pt x="506" y="475"/>
                  </a:lnTo>
                  <a:lnTo>
                    <a:pt x="506" y="471"/>
                  </a:lnTo>
                  <a:lnTo>
                    <a:pt x="502" y="471"/>
                  </a:lnTo>
                  <a:lnTo>
                    <a:pt x="506" y="475"/>
                  </a:lnTo>
                  <a:lnTo>
                    <a:pt x="506" y="471"/>
                  </a:lnTo>
                  <a:lnTo>
                    <a:pt x="510" y="471"/>
                  </a:lnTo>
                  <a:lnTo>
                    <a:pt x="510" y="475"/>
                  </a:lnTo>
                  <a:lnTo>
                    <a:pt x="514" y="475"/>
                  </a:lnTo>
                  <a:lnTo>
                    <a:pt x="510" y="475"/>
                  </a:lnTo>
                  <a:lnTo>
                    <a:pt x="510" y="471"/>
                  </a:lnTo>
                  <a:lnTo>
                    <a:pt x="510" y="467"/>
                  </a:lnTo>
                  <a:lnTo>
                    <a:pt x="506" y="467"/>
                  </a:lnTo>
                  <a:lnTo>
                    <a:pt x="502" y="463"/>
                  </a:lnTo>
                  <a:lnTo>
                    <a:pt x="506" y="459"/>
                  </a:lnTo>
                  <a:lnTo>
                    <a:pt x="502" y="455"/>
                  </a:lnTo>
                  <a:lnTo>
                    <a:pt x="498" y="455"/>
                  </a:lnTo>
                  <a:lnTo>
                    <a:pt x="498" y="451"/>
                  </a:lnTo>
                  <a:lnTo>
                    <a:pt x="498" y="447"/>
                  </a:lnTo>
                  <a:lnTo>
                    <a:pt x="502" y="447"/>
                  </a:lnTo>
                  <a:lnTo>
                    <a:pt x="498" y="443"/>
                  </a:lnTo>
                  <a:lnTo>
                    <a:pt x="502" y="443"/>
                  </a:lnTo>
                  <a:lnTo>
                    <a:pt x="506" y="443"/>
                  </a:lnTo>
                  <a:lnTo>
                    <a:pt x="510" y="443"/>
                  </a:lnTo>
                  <a:lnTo>
                    <a:pt x="514" y="443"/>
                  </a:lnTo>
                  <a:lnTo>
                    <a:pt x="518" y="443"/>
                  </a:lnTo>
                  <a:lnTo>
                    <a:pt x="518" y="439"/>
                  </a:lnTo>
                  <a:lnTo>
                    <a:pt x="522" y="439"/>
                  </a:lnTo>
                  <a:lnTo>
                    <a:pt x="522" y="435"/>
                  </a:lnTo>
                  <a:lnTo>
                    <a:pt x="526" y="435"/>
                  </a:lnTo>
                  <a:lnTo>
                    <a:pt x="534" y="435"/>
                  </a:lnTo>
                  <a:lnTo>
                    <a:pt x="534" y="431"/>
                  </a:lnTo>
                  <a:lnTo>
                    <a:pt x="534" y="427"/>
                  </a:lnTo>
                  <a:lnTo>
                    <a:pt x="530" y="427"/>
                  </a:lnTo>
                  <a:lnTo>
                    <a:pt x="526" y="431"/>
                  </a:lnTo>
                  <a:lnTo>
                    <a:pt x="522" y="431"/>
                  </a:lnTo>
                  <a:lnTo>
                    <a:pt x="518" y="431"/>
                  </a:lnTo>
                  <a:lnTo>
                    <a:pt x="522" y="435"/>
                  </a:lnTo>
                  <a:lnTo>
                    <a:pt x="518" y="435"/>
                  </a:lnTo>
                  <a:lnTo>
                    <a:pt x="514" y="435"/>
                  </a:lnTo>
                  <a:lnTo>
                    <a:pt x="510" y="439"/>
                  </a:lnTo>
                  <a:lnTo>
                    <a:pt x="510" y="435"/>
                  </a:lnTo>
                  <a:lnTo>
                    <a:pt x="506" y="435"/>
                  </a:lnTo>
                  <a:lnTo>
                    <a:pt x="502" y="435"/>
                  </a:lnTo>
                  <a:lnTo>
                    <a:pt x="502" y="439"/>
                  </a:lnTo>
                  <a:lnTo>
                    <a:pt x="506" y="439"/>
                  </a:lnTo>
                  <a:lnTo>
                    <a:pt x="502" y="439"/>
                  </a:lnTo>
                  <a:lnTo>
                    <a:pt x="498" y="439"/>
                  </a:lnTo>
                  <a:lnTo>
                    <a:pt x="494" y="439"/>
                  </a:lnTo>
                  <a:lnTo>
                    <a:pt x="494" y="443"/>
                  </a:lnTo>
                  <a:lnTo>
                    <a:pt x="494" y="439"/>
                  </a:lnTo>
                  <a:lnTo>
                    <a:pt x="494" y="443"/>
                  </a:lnTo>
                  <a:lnTo>
                    <a:pt x="494" y="439"/>
                  </a:lnTo>
                  <a:lnTo>
                    <a:pt x="494" y="435"/>
                  </a:lnTo>
                  <a:lnTo>
                    <a:pt x="490" y="435"/>
                  </a:lnTo>
                  <a:lnTo>
                    <a:pt x="490" y="439"/>
                  </a:lnTo>
                  <a:lnTo>
                    <a:pt x="486" y="439"/>
                  </a:lnTo>
                  <a:lnTo>
                    <a:pt x="486" y="435"/>
                  </a:lnTo>
                  <a:lnTo>
                    <a:pt x="490" y="435"/>
                  </a:lnTo>
                  <a:lnTo>
                    <a:pt x="490" y="431"/>
                  </a:lnTo>
                  <a:lnTo>
                    <a:pt x="494" y="431"/>
                  </a:lnTo>
                  <a:lnTo>
                    <a:pt x="494" y="427"/>
                  </a:lnTo>
                  <a:lnTo>
                    <a:pt x="498" y="427"/>
                  </a:lnTo>
                  <a:lnTo>
                    <a:pt x="502" y="427"/>
                  </a:lnTo>
                  <a:lnTo>
                    <a:pt x="506" y="427"/>
                  </a:lnTo>
                  <a:lnTo>
                    <a:pt x="510" y="427"/>
                  </a:lnTo>
                  <a:lnTo>
                    <a:pt x="514" y="423"/>
                  </a:lnTo>
                  <a:lnTo>
                    <a:pt x="518" y="423"/>
                  </a:lnTo>
                  <a:lnTo>
                    <a:pt x="526" y="419"/>
                  </a:lnTo>
                  <a:lnTo>
                    <a:pt x="530" y="423"/>
                  </a:lnTo>
                  <a:lnTo>
                    <a:pt x="534" y="423"/>
                  </a:lnTo>
                  <a:lnTo>
                    <a:pt x="538" y="427"/>
                  </a:lnTo>
                  <a:lnTo>
                    <a:pt x="538" y="431"/>
                  </a:lnTo>
                  <a:lnTo>
                    <a:pt x="534" y="435"/>
                  </a:lnTo>
                  <a:lnTo>
                    <a:pt x="538" y="435"/>
                  </a:lnTo>
                  <a:lnTo>
                    <a:pt x="542" y="439"/>
                  </a:lnTo>
                  <a:lnTo>
                    <a:pt x="542" y="435"/>
                  </a:lnTo>
                  <a:lnTo>
                    <a:pt x="546" y="435"/>
                  </a:lnTo>
                  <a:lnTo>
                    <a:pt x="546" y="439"/>
                  </a:lnTo>
                  <a:lnTo>
                    <a:pt x="550" y="439"/>
                  </a:lnTo>
                  <a:lnTo>
                    <a:pt x="550" y="443"/>
                  </a:lnTo>
                  <a:lnTo>
                    <a:pt x="554" y="443"/>
                  </a:lnTo>
                  <a:lnTo>
                    <a:pt x="558" y="443"/>
                  </a:lnTo>
                  <a:lnTo>
                    <a:pt x="562" y="443"/>
                  </a:lnTo>
                  <a:lnTo>
                    <a:pt x="566" y="443"/>
                  </a:lnTo>
                  <a:lnTo>
                    <a:pt x="566" y="439"/>
                  </a:lnTo>
                  <a:lnTo>
                    <a:pt x="570" y="439"/>
                  </a:lnTo>
                  <a:lnTo>
                    <a:pt x="570" y="443"/>
                  </a:lnTo>
                  <a:lnTo>
                    <a:pt x="570" y="447"/>
                  </a:lnTo>
                  <a:lnTo>
                    <a:pt x="574" y="447"/>
                  </a:lnTo>
                  <a:lnTo>
                    <a:pt x="578" y="451"/>
                  </a:lnTo>
                  <a:lnTo>
                    <a:pt x="582" y="451"/>
                  </a:lnTo>
                  <a:lnTo>
                    <a:pt x="586" y="451"/>
                  </a:lnTo>
                  <a:lnTo>
                    <a:pt x="590" y="451"/>
                  </a:lnTo>
                  <a:lnTo>
                    <a:pt x="594" y="451"/>
                  </a:lnTo>
                  <a:lnTo>
                    <a:pt x="598" y="455"/>
                  </a:lnTo>
                  <a:lnTo>
                    <a:pt x="598" y="451"/>
                  </a:lnTo>
                  <a:lnTo>
                    <a:pt x="602" y="451"/>
                  </a:lnTo>
                  <a:lnTo>
                    <a:pt x="606" y="451"/>
                  </a:lnTo>
                  <a:lnTo>
                    <a:pt x="610" y="451"/>
                  </a:lnTo>
                  <a:lnTo>
                    <a:pt x="614" y="447"/>
                  </a:lnTo>
                  <a:lnTo>
                    <a:pt x="618" y="447"/>
                  </a:lnTo>
                  <a:lnTo>
                    <a:pt x="618" y="451"/>
                  </a:lnTo>
                  <a:lnTo>
                    <a:pt x="622" y="451"/>
                  </a:lnTo>
                  <a:lnTo>
                    <a:pt x="626" y="451"/>
                  </a:lnTo>
                  <a:lnTo>
                    <a:pt x="630" y="451"/>
                  </a:lnTo>
                  <a:lnTo>
                    <a:pt x="634" y="451"/>
                  </a:lnTo>
                  <a:lnTo>
                    <a:pt x="638" y="451"/>
                  </a:lnTo>
                  <a:lnTo>
                    <a:pt x="642" y="451"/>
                  </a:lnTo>
                  <a:lnTo>
                    <a:pt x="646" y="451"/>
                  </a:lnTo>
                  <a:lnTo>
                    <a:pt x="642" y="447"/>
                  </a:lnTo>
                  <a:lnTo>
                    <a:pt x="638" y="447"/>
                  </a:lnTo>
                  <a:lnTo>
                    <a:pt x="638" y="443"/>
                  </a:lnTo>
                  <a:lnTo>
                    <a:pt x="642" y="443"/>
                  </a:lnTo>
                  <a:lnTo>
                    <a:pt x="646" y="447"/>
                  </a:lnTo>
                  <a:lnTo>
                    <a:pt x="650" y="451"/>
                  </a:lnTo>
                  <a:lnTo>
                    <a:pt x="654" y="455"/>
                  </a:lnTo>
                  <a:lnTo>
                    <a:pt x="658" y="455"/>
                  </a:lnTo>
                  <a:lnTo>
                    <a:pt x="662" y="455"/>
                  </a:lnTo>
                  <a:lnTo>
                    <a:pt x="662" y="451"/>
                  </a:lnTo>
                  <a:lnTo>
                    <a:pt x="662" y="447"/>
                  </a:lnTo>
                  <a:lnTo>
                    <a:pt x="658" y="447"/>
                  </a:lnTo>
                  <a:lnTo>
                    <a:pt x="654" y="443"/>
                  </a:lnTo>
                  <a:lnTo>
                    <a:pt x="654" y="447"/>
                  </a:lnTo>
                  <a:lnTo>
                    <a:pt x="650" y="447"/>
                  </a:lnTo>
                  <a:lnTo>
                    <a:pt x="650" y="451"/>
                  </a:lnTo>
                  <a:lnTo>
                    <a:pt x="646" y="447"/>
                  </a:lnTo>
                  <a:lnTo>
                    <a:pt x="646" y="443"/>
                  </a:lnTo>
                  <a:lnTo>
                    <a:pt x="642" y="439"/>
                  </a:lnTo>
                  <a:lnTo>
                    <a:pt x="642" y="443"/>
                  </a:lnTo>
                  <a:lnTo>
                    <a:pt x="646" y="443"/>
                  </a:lnTo>
                  <a:lnTo>
                    <a:pt x="646" y="439"/>
                  </a:lnTo>
                  <a:lnTo>
                    <a:pt x="642" y="439"/>
                  </a:lnTo>
                  <a:lnTo>
                    <a:pt x="642" y="435"/>
                  </a:lnTo>
                  <a:lnTo>
                    <a:pt x="638" y="435"/>
                  </a:lnTo>
                  <a:lnTo>
                    <a:pt x="642" y="435"/>
                  </a:lnTo>
                  <a:lnTo>
                    <a:pt x="646" y="435"/>
                  </a:lnTo>
                  <a:lnTo>
                    <a:pt x="650" y="435"/>
                  </a:lnTo>
                  <a:lnTo>
                    <a:pt x="654" y="435"/>
                  </a:lnTo>
                  <a:lnTo>
                    <a:pt x="650" y="435"/>
                  </a:lnTo>
                  <a:lnTo>
                    <a:pt x="650" y="431"/>
                  </a:lnTo>
                  <a:lnTo>
                    <a:pt x="654" y="431"/>
                  </a:lnTo>
                  <a:lnTo>
                    <a:pt x="658" y="435"/>
                  </a:lnTo>
                  <a:lnTo>
                    <a:pt x="658" y="431"/>
                  </a:lnTo>
                  <a:lnTo>
                    <a:pt x="662" y="431"/>
                  </a:lnTo>
                  <a:lnTo>
                    <a:pt x="662" y="435"/>
                  </a:lnTo>
                  <a:lnTo>
                    <a:pt x="666" y="435"/>
                  </a:lnTo>
                  <a:lnTo>
                    <a:pt x="666" y="439"/>
                  </a:lnTo>
                  <a:lnTo>
                    <a:pt x="670" y="439"/>
                  </a:lnTo>
                  <a:lnTo>
                    <a:pt x="674" y="439"/>
                  </a:lnTo>
                  <a:lnTo>
                    <a:pt x="674" y="435"/>
                  </a:lnTo>
                  <a:lnTo>
                    <a:pt x="674" y="439"/>
                  </a:lnTo>
                  <a:lnTo>
                    <a:pt x="670" y="443"/>
                  </a:lnTo>
                  <a:lnTo>
                    <a:pt x="674" y="443"/>
                  </a:lnTo>
                  <a:lnTo>
                    <a:pt x="674" y="439"/>
                  </a:lnTo>
                  <a:lnTo>
                    <a:pt x="678" y="439"/>
                  </a:lnTo>
                  <a:lnTo>
                    <a:pt x="682" y="439"/>
                  </a:lnTo>
                  <a:lnTo>
                    <a:pt x="678" y="439"/>
                  </a:lnTo>
                  <a:lnTo>
                    <a:pt x="682" y="443"/>
                  </a:lnTo>
                  <a:lnTo>
                    <a:pt x="678" y="443"/>
                  </a:lnTo>
                  <a:lnTo>
                    <a:pt x="678" y="447"/>
                  </a:lnTo>
                  <a:lnTo>
                    <a:pt x="678" y="451"/>
                  </a:lnTo>
                  <a:lnTo>
                    <a:pt x="678" y="455"/>
                  </a:lnTo>
                  <a:lnTo>
                    <a:pt x="674" y="455"/>
                  </a:lnTo>
                  <a:lnTo>
                    <a:pt x="674" y="459"/>
                  </a:lnTo>
                  <a:lnTo>
                    <a:pt x="678" y="459"/>
                  </a:lnTo>
                  <a:lnTo>
                    <a:pt x="678" y="463"/>
                  </a:lnTo>
                  <a:lnTo>
                    <a:pt x="678" y="467"/>
                  </a:lnTo>
                  <a:lnTo>
                    <a:pt x="682" y="463"/>
                  </a:lnTo>
                  <a:lnTo>
                    <a:pt x="686" y="463"/>
                  </a:lnTo>
                  <a:lnTo>
                    <a:pt x="686" y="467"/>
                  </a:lnTo>
                  <a:lnTo>
                    <a:pt x="682" y="467"/>
                  </a:lnTo>
                  <a:lnTo>
                    <a:pt x="686" y="467"/>
                  </a:lnTo>
                  <a:lnTo>
                    <a:pt x="690" y="467"/>
                  </a:lnTo>
                  <a:lnTo>
                    <a:pt x="690" y="471"/>
                  </a:lnTo>
                  <a:lnTo>
                    <a:pt x="686" y="471"/>
                  </a:lnTo>
                  <a:lnTo>
                    <a:pt x="682" y="471"/>
                  </a:lnTo>
                  <a:lnTo>
                    <a:pt x="678" y="471"/>
                  </a:lnTo>
                  <a:lnTo>
                    <a:pt x="674" y="471"/>
                  </a:lnTo>
                  <a:lnTo>
                    <a:pt x="674" y="467"/>
                  </a:lnTo>
                  <a:lnTo>
                    <a:pt x="674" y="471"/>
                  </a:lnTo>
                  <a:lnTo>
                    <a:pt x="678" y="471"/>
                  </a:lnTo>
                  <a:lnTo>
                    <a:pt x="678" y="475"/>
                  </a:lnTo>
                  <a:lnTo>
                    <a:pt x="682" y="475"/>
                  </a:lnTo>
                  <a:lnTo>
                    <a:pt x="682" y="479"/>
                  </a:lnTo>
                  <a:lnTo>
                    <a:pt x="686" y="479"/>
                  </a:lnTo>
                  <a:lnTo>
                    <a:pt x="682" y="475"/>
                  </a:lnTo>
                  <a:lnTo>
                    <a:pt x="678" y="475"/>
                  </a:lnTo>
                  <a:lnTo>
                    <a:pt x="678" y="471"/>
                  </a:lnTo>
                  <a:lnTo>
                    <a:pt x="682" y="471"/>
                  </a:lnTo>
                  <a:lnTo>
                    <a:pt x="686" y="471"/>
                  </a:lnTo>
                  <a:lnTo>
                    <a:pt x="686" y="475"/>
                  </a:lnTo>
                  <a:lnTo>
                    <a:pt x="690" y="475"/>
                  </a:lnTo>
                  <a:lnTo>
                    <a:pt x="694" y="471"/>
                  </a:lnTo>
                  <a:lnTo>
                    <a:pt x="690" y="471"/>
                  </a:lnTo>
                  <a:lnTo>
                    <a:pt x="690" y="467"/>
                  </a:lnTo>
                  <a:lnTo>
                    <a:pt x="694" y="463"/>
                  </a:lnTo>
                  <a:lnTo>
                    <a:pt x="690" y="463"/>
                  </a:lnTo>
                  <a:lnTo>
                    <a:pt x="690" y="459"/>
                  </a:lnTo>
                  <a:lnTo>
                    <a:pt x="690" y="455"/>
                  </a:lnTo>
                  <a:lnTo>
                    <a:pt x="686" y="455"/>
                  </a:lnTo>
                  <a:lnTo>
                    <a:pt x="686" y="451"/>
                  </a:lnTo>
                  <a:lnTo>
                    <a:pt x="690" y="447"/>
                  </a:lnTo>
                  <a:lnTo>
                    <a:pt x="686" y="447"/>
                  </a:lnTo>
                  <a:lnTo>
                    <a:pt x="690" y="447"/>
                  </a:lnTo>
                  <a:lnTo>
                    <a:pt x="690" y="443"/>
                  </a:lnTo>
                  <a:lnTo>
                    <a:pt x="694" y="443"/>
                  </a:lnTo>
                  <a:lnTo>
                    <a:pt x="698" y="443"/>
                  </a:lnTo>
                  <a:lnTo>
                    <a:pt x="702" y="443"/>
                  </a:lnTo>
                  <a:lnTo>
                    <a:pt x="706" y="439"/>
                  </a:lnTo>
                  <a:lnTo>
                    <a:pt x="710" y="439"/>
                  </a:lnTo>
                  <a:lnTo>
                    <a:pt x="710" y="435"/>
                  </a:lnTo>
                  <a:lnTo>
                    <a:pt x="706" y="435"/>
                  </a:lnTo>
                  <a:lnTo>
                    <a:pt x="710" y="435"/>
                  </a:lnTo>
                  <a:lnTo>
                    <a:pt x="710" y="431"/>
                  </a:lnTo>
                  <a:lnTo>
                    <a:pt x="714" y="431"/>
                  </a:lnTo>
                  <a:lnTo>
                    <a:pt x="718" y="431"/>
                  </a:lnTo>
                  <a:lnTo>
                    <a:pt x="718" y="427"/>
                  </a:lnTo>
                  <a:lnTo>
                    <a:pt x="714" y="427"/>
                  </a:lnTo>
                  <a:lnTo>
                    <a:pt x="714" y="423"/>
                  </a:lnTo>
                  <a:lnTo>
                    <a:pt x="718" y="423"/>
                  </a:lnTo>
                  <a:lnTo>
                    <a:pt x="718" y="419"/>
                  </a:lnTo>
                  <a:lnTo>
                    <a:pt x="714" y="419"/>
                  </a:lnTo>
                  <a:lnTo>
                    <a:pt x="710" y="419"/>
                  </a:lnTo>
                  <a:lnTo>
                    <a:pt x="710" y="423"/>
                  </a:lnTo>
                  <a:lnTo>
                    <a:pt x="714" y="423"/>
                  </a:lnTo>
                  <a:lnTo>
                    <a:pt x="714" y="419"/>
                  </a:lnTo>
                  <a:lnTo>
                    <a:pt x="714" y="423"/>
                  </a:lnTo>
                  <a:lnTo>
                    <a:pt x="710" y="423"/>
                  </a:lnTo>
                  <a:lnTo>
                    <a:pt x="706" y="427"/>
                  </a:lnTo>
                  <a:lnTo>
                    <a:pt x="702" y="427"/>
                  </a:lnTo>
                  <a:lnTo>
                    <a:pt x="702" y="423"/>
                  </a:lnTo>
                  <a:lnTo>
                    <a:pt x="702" y="419"/>
                  </a:lnTo>
                  <a:lnTo>
                    <a:pt x="706" y="419"/>
                  </a:lnTo>
                  <a:lnTo>
                    <a:pt x="710" y="415"/>
                  </a:lnTo>
                  <a:lnTo>
                    <a:pt x="706" y="415"/>
                  </a:lnTo>
                  <a:lnTo>
                    <a:pt x="706" y="411"/>
                  </a:lnTo>
                  <a:lnTo>
                    <a:pt x="710" y="407"/>
                  </a:lnTo>
                  <a:lnTo>
                    <a:pt x="714" y="407"/>
                  </a:lnTo>
                  <a:lnTo>
                    <a:pt x="718" y="407"/>
                  </a:lnTo>
                  <a:lnTo>
                    <a:pt x="714" y="407"/>
                  </a:lnTo>
                  <a:lnTo>
                    <a:pt x="714" y="411"/>
                  </a:lnTo>
                  <a:lnTo>
                    <a:pt x="714" y="415"/>
                  </a:lnTo>
                  <a:lnTo>
                    <a:pt x="718" y="411"/>
                  </a:lnTo>
                  <a:lnTo>
                    <a:pt x="722" y="407"/>
                  </a:lnTo>
                  <a:lnTo>
                    <a:pt x="718" y="407"/>
                  </a:lnTo>
                  <a:lnTo>
                    <a:pt x="718" y="403"/>
                  </a:lnTo>
                  <a:lnTo>
                    <a:pt x="714" y="403"/>
                  </a:lnTo>
                  <a:lnTo>
                    <a:pt x="714" y="407"/>
                  </a:lnTo>
                  <a:lnTo>
                    <a:pt x="710" y="407"/>
                  </a:lnTo>
                  <a:lnTo>
                    <a:pt x="706" y="407"/>
                  </a:lnTo>
                  <a:lnTo>
                    <a:pt x="706" y="403"/>
                  </a:lnTo>
                  <a:lnTo>
                    <a:pt x="702" y="403"/>
                  </a:lnTo>
                  <a:lnTo>
                    <a:pt x="702" y="399"/>
                  </a:lnTo>
                  <a:lnTo>
                    <a:pt x="698" y="399"/>
                  </a:lnTo>
                  <a:lnTo>
                    <a:pt x="702" y="403"/>
                  </a:lnTo>
                  <a:lnTo>
                    <a:pt x="698" y="403"/>
                  </a:lnTo>
                  <a:lnTo>
                    <a:pt x="694" y="403"/>
                  </a:lnTo>
                  <a:lnTo>
                    <a:pt x="694" y="399"/>
                  </a:lnTo>
                  <a:lnTo>
                    <a:pt x="690" y="399"/>
                  </a:lnTo>
                  <a:lnTo>
                    <a:pt x="686" y="399"/>
                  </a:lnTo>
                  <a:lnTo>
                    <a:pt x="686" y="395"/>
                  </a:lnTo>
                  <a:lnTo>
                    <a:pt x="682" y="395"/>
                  </a:lnTo>
                  <a:lnTo>
                    <a:pt x="678" y="395"/>
                  </a:lnTo>
                  <a:lnTo>
                    <a:pt x="678" y="391"/>
                  </a:lnTo>
                  <a:lnTo>
                    <a:pt x="674" y="391"/>
                  </a:lnTo>
                  <a:lnTo>
                    <a:pt x="674" y="387"/>
                  </a:lnTo>
                  <a:lnTo>
                    <a:pt x="674" y="383"/>
                  </a:lnTo>
                  <a:lnTo>
                    <a:pt x="678" y="375"/>
                  </a:lnTo>
                  <a:lnTo>
                    <a:pt x="682" y="375"/>
                  </a:lnTo>
                  <a:lnTo>
                    <a:pt x="678" y="375"/>
                  </a:lnTo>
                  <a:lnTo>
                    <a:pt x="682" y="371"/>
                  </a:lnTo>
                  <a:lnTo>
                    <a:pt x="678" y="371"/>
                  </a:lnTo>
                  <a:lnTo>
                    <a:pt x="678" y="375"/>
                  </a:lnTo>
                  <a:lnTo>
                    <a:pt x="674" y="371"/>
                  </a:lnTo>
                  <a:lnTo>
                    <a:pt x="670" y="371"/>
                  </a:lnTo>
                  <a:lnTo>
                    <a:pt x="670" y="367"/>
                  </a:lnTo>
                  <a:lnTo>
                    <a:pt x="674" y="367"/>
                  </a:lnTo>
                  <a:lnTo>
                    <a:pt x="674" y="363"/>
                  </a:lnTo>
                  <a:lnTo>
                    <a:pt x="674" y="359"/>
                  </a:lnTo>
                  <a:lnTo>
                    <a:pt x="674" y="363"/>
                  </a:lnTo>
                  <a:lnTo>
                    <a:pt x="674" y="359"/>
                  </a:lnTo>
                  <a:lnTo>
                    <a:pt x="674" y="355"/>
                  </a:lnTo>
                  <a:lnTo>
                    <a:pt x="678" y="355"/>
                  </a:lnTo>
                  <a:lnTo>
                    <a:pt x="678" y="351"/>
                  </a:lnTo>
                  <a:lnTo>
                    <a:pt x="682" y="351"/>
                  </a:lnTo>
                  <a:lnTo>
                    <a:pt x="682" y="355"/>
                  </a:lnTo>
                  <a:lnTo>
                    <a:pt x="686" y="355"/>
                  </a:lnTo>
                  <a:lnTo>
                    <a:pt x="690" y="355"/>
                  </a:lnTo>
                  <a:lnTo>
                    <a:pt x="686" y="351"/>
                  </a:lnTo>
                  <a:lnTo>
                    <a:pt x="682" y="351"/>
                  </a:lnTo>
                  <a:lnTo>
                    <a:pt x="682" y="347"/>
                  </a:lnTo>
                  <a:lnTo>
                    <a:pt x="686" y="347"/>
                  </a:lnTo>
                  <a:lnTo>
                    <a:pt x="686" y="343"/>
                  </a:lnTo>
                  <a:lnTo>
                    <a:pt x="690" y="343"/>
                  </a:lnTo>
                  <a:lnTo>
                    <a:pt x="694" y="339"/>
                  </a:lnTo>
                  <a:lnTo>
                    <a:pt x="698" y="339"/>
                  </a:lnTo>
                  <a:lnTo>
                    <a:pt x="702" y="339"/>
                  </a:lnTo>
                  <a:lnTo>
                    <a:pt x="698" y="339"/>
                  </a:lnTo>
                  <a:lnTo>
                    <a:pt x="694" y="339"/>
                  </a:lnTo>
                  <a:lnTo>
                    <a:pt x="698" y="335"/>
                  </a:lnTo>
                  <a:lnTo>
                    <a:pt x="702" y="335"/>
                  </a:lnTo>
                  <a:lnTo>
                    <a:pt x="706" y="339"/>
                  </a:lnTo>
                  <a:lnTo>
                    <a:pt x="702" y="339"/>
                  </a:lnTo>
                  <a:lnTo>
                    <a:pt x="702" y="343"/>
                  </a:lnTo>
                  <a:lnTo>
                    <a:pt x="702" y="339"/>
                  </a:lnTo>
                  <a:lnTo>
                    <a:pt x="706" y="339"/>
                  </a:lnTo>
                  <a:lnTo>
                    <a:pt x="706" y="343"/>
                  </a:lnTo>
                  <a:lnTo>
                    <a:pt x="710" y="343"/>
                  </a:lnTo>
                  <a:lnTo>
                    <a:pt x="714" y="343"/>
                  </a:lnTo>
                  <a:lnTo>
                    <a:pt x="714" y="347"/>
                  </a:lnTo>
                  <a:lnTo>
                    <a:pt x="718" y="347"/>
                  </a:lnTo>
                  <a:lnTo>
                    <a:pt x="722" y="351"/>
                  </a:lnTo>
                  <a:lnTo>
                    <a:pt x="726" y="355"/>
                  </a:lnTo>
                  <a:lnTo>
                    <a:pt x="726" y="359"/>
                  </a:lnTo>
                  <a:lnTo>
                    <a:pt x="730" y="359"/>
                  </a:lnTo>
                  <a:lnTo>
                    <a:pt x="730" y="363"/>
                  </a:lnTo>
                  <a:lnTo>
                    <a:pt x="726" y="367"/>
                  </a:lnTo>
                  <a:lnTo>
                    <a:pt x="730" y="367"/>
                  </a:lnTo>
                  <a:lnTo>
                    <a:pt x="730" y="371"/>
                  </a:lnTo>
                  <a:lnTo>
                    <a:pt x="734" y="371"/>
                  </a:lnTo>
                  <a:lnTo>
                    <a:pt x="738" y="375"/>
                  </a:lnTo>
                  <a:lnTo>
                    <a:pt x="738" y="379"/>
                  </a:lnTo>
                  <a:lnTo>
                    <a:pt x="742" y="379"/>
                  </a:lnTo>
                  <a:lnTo>
                    <a:pt x="742" y="383"/>
                  </a:lnTo>
                  <a:lnTo>
                    <a:pt x="742" y="379"/>
                  </a:lnTo>
                  <a:lnTo>
                    <a:pt x="746" y="379"/>
                  </a:lnTo>
                  <a:lnTo>
                    <a:pt x="746" y="383"/>
                  </a:lnTo>
                  <a:lnTo>
                    <a:pt x="750" y="387"/>
                  </a:lnTo>
                  <a:lnTo>
                    <a:pt x="746" y="387"/>
                  </a:lnTo>
                  <a:lnTo>
                    <a:pt x="742" y="387"/>
                  </a:lnTo>
                  <a:lnTo>
                    <a:pt x="738" y="383"/>
                  </a:lnTo>
                  <a:lnTo>
                    <a:pt x="738" y="387"/>
                  </a:lnTo>
                  <a:lnTo>
                    <a:pt x="734" y="387"/>
                  </a:lnTo>
                  <a:lnTo>
                    <a:pt x="738" y="387"/>
                  </a:lnTo>
                  <a:lnTo>
                    <a:pt x="742" y="387"/>
                  </a:lnTo>
                  <a:lnTo>
                    <a:pt x="742" y="391"/>
                  </a:lnTo>
                  <a:lnTo>
                    <a:pt x="738" y="391"/>
                  </a:lnTo>
                  <a:lnTo>
                    <a:pt x="734" y="395"/>
                  </a:lnTo>
                  <a:lnTo>
                    <a:pt x="730" y="399"/>
                  </a:lnTo>
                  <a:lnTo>
                    <a:pt x="734" y="399"/>
                  </a:lnTo>
                  <a:lnTo>
                    <a:pt x="730" y="399"/>
                  </a:lnTo>
                  <a:lnTo>
                    <a:pt x="726" y="399"/>
                  </a:lnTo>
                  <a:lnTo>
                    <a:pt x="730" y="399"/>
                  </a:lnTo>
                  <a:lnTo>
                    <a:pt x="734" y="399"/>
                  </a:lnTo>
                  <a:lnTo>
                    <a:pt x="738" y="399"/>
                  </a:lnTo>
                  <a:lnTo>
                    <a:pt x="742" y="403"/>
                  </a:lnTo>
                  <a:lnTo>
                    <a:pt x="738" y="403"/>
                  </a:lnTo>
                  <a:lnTo>
                    <a:pt x="738" y="399"/>
                  </a:lnTo>
                  <a:lnTo>
                    <a:pt x="738" y="403"/>
                  </a:lnTo>
                  <a:lnTo>
                    <a:pt x="742" y="403"/>
                  </a:lnTo>
                  <a:lnTo>
                    <a:pt x="746" y="403"/>
                  </a:lnTo>
                  <a:lnTo>
                    <a:pt x="750" y="399"/>
                  </a:lnTo>
                  <a:lnTo>
                    <a:pt x="754" y="399"/>
                  </a:lnTo>
                  <a:lnTo>
                    <a:pt x="750" y="403"/>
                  </a:lnTo>
                  <a:lnTo>
                    <a:pt x="754" y="403"/>
                  </a:lnTo>
                  <a:lnTo>
                    <a:pt x="758" y="403"/>
                  </a:lnTo>
                  <a:lnTo>
                    <a:pt x="762" y="403"/>
                  </a:lnTo>
                  <a:lnTo>
                    <a:pt x="766" y="403"/>
                  </a:lnTo>
                  <a:lnTo>
                    <a:pt x="766" y="407"/>
                  </a:lnTo>
                  <a:lnTo>
                    <a:pt x="762" y="407"/>
                  </a:lnTo>
                  <a:lnTo>
                    <a:pt x="758" y="407"/>
                  </a:lnTo>
                  <a:lnTo>
                    <a:pt x="758" y="411"/>
                  </a:lnTo>
                  <a:lnTo>
                    <a:pt x="754" y="411"/>
                  </a:lnTo>
                  <a:lnTo>
                    <a:pt x="750" y="411"/>
                  </a:lnTo>
                  <a:lnTo>
                    <a:pt x="750" y="407"/>
                  </a:lnTo>
                  <a:lnTo>
                    <a:pt x="750" y="411"/>
                  </a:lnTo>
                  <a:lnTo>
                    <a:pt x="754" y="411"/>
                  </a:lnTo>
                  <a:lnTo>
                    <a:pt x="758" y="411"/>
                  </a:lnTo>
                  <a:lnTo>
                    <a:pt x="758" y="415"/>
                  </a:lnTo>
                  <a:lnTo>
                    <a:pt x="762" y="415"/>
                  </a:lnTo>
                  <a:lnTo>
                    <a:pt x="762" y="419"/>
                  </a:lnTo>
                  <a:lnTo>
                    <a:pt x="766" y="419"/>
                  </a:lnTo>
                  <a:lnTo>
                    <a:pt x="766" y="423"/>
                  </a:lnTo>
                  <a:lnTo>
                    <a:pt x="762" y="423"/>
                  </a:lnTo>
                  <a:lnTo>
                    <a:pt x="766" y="427"/>
                  </a:lnTo>
                  <a:lnTo>
                    <a:pt x="766" y="431"/>
                  </a:lnTo>
                  <a:lnTo>
                    <a:pt x="762" y="431"/>
                  </a:lnTo>
                  <a:lnTo>
                    <a:pt x="762" y="435"/>
                  </a:lnTo>
                  <a:lnTo>
                    <a:pt x="766" y="435"/>
                  </a:lnTo>
                  <a:lnTo>
                    <a:pt x="766" y="439"/>
                  </a:lnTo>
                  <a:lnTo>
                    <a:pt x="770" y="439"/>
                  </a:lnTo>
                  <a:lnTo>
                    <a:pt x="770" y="435"/>
                  </a:lnTo>
                  <a:lnTo>
                    <a:pt x="774" y="435"/>
                  </a:lnTo>
                  <a:lnTo>
                    <a:pt x="774" y="431"/>
                  </a:lnTo>
                  <a:lnTo>
                    <a:pt x="774" y="427"/>
                  </a:lnTo>
                  <a:lnTo>
                    <a:pt x="778" y="423"/>
                  </a:lnTo>
                  <a:lnTo>
                    <a:pt x="774" y="419"/>
                  </a:lnTo>
                  <a:lnTo>
                    <a:pt x="778" y="419"/>
                  </a:lnTo>
                  <a:lnTo>
                    <a:pt x="778" y="415"/>
                  </a:lnTo>
                  <a:lnTo>
                    <a:pt x="782" y="415"/>
                  </a:lnTo>
                  <a:lnTo>
                    <a:pt x="782" y="411"/>
                  </a:lnTo>
                  <a:lnTo>
                    <a:pt x="786" y="411"/>
                  </a:lnTo>
                  <a:lnTo>
                    <a:pt x="790" y="415"/>
                  </a:lnTo>
                  <a:lnTo>
                    <a:pt x="794" y="415"/>
                  </a:lnTo>
                  <a:lnTo>
                    <a:pt x="794" y="419"/>
                  </a:lnTo>
                  <a:lnTo>
                    <a:pt x="797" y="419"/>
                  </a:lnTo>
                  <a:lnTo>
                    <a:pt x="801" y="423"/>
                  </a:lnTo>
                  <a:lnTo>
                    <a:pt x="801" y="427"/>
                  </a:lnTo>
                  <a:lnTo>
                    <a:pt x="801" y="431"/>
                  </a:lnTo>
                  <a:lnTo>
                    <a:pt x="805" y="431"/>
                  </a:lnTo>
                  <a:lnTo>
                    <a:pt x="805" y="435"/>
                  </a:lnTo>
                  <a:lnTo>
                    <a:pt x="805" y="439"/>
                  </a:lnTo>
                  <a:lnTo>
                    <a:pt x="801" y="439"/>
                  </a:lnTo>
                  <a:lnTo>
                    <a:pt x="797" y="435"/>
                  </a:lnTo>
                  <a:lnTo>
                    <a:pt x="797" y="439"/>
                  </a:lnTo>
                  <a:lnTo>
                    <a:pt x="797" y="443"/>
                  </a:lnTo>
                  <a:lnTo>
                    <a:pt x="797" y="447"/>
                  </a:lnTo>
                  <a:lnTo>
                    <a:pt x="797" y="451"/>
                  </a:lnTo>
                  <a:lnTo>
                    <a:pt x="797" y="455"/>
                  </a:lnTo>
                  <a:lnTo>
                    <a:pt x="801" y="455"/>
                  </a:lnTo>
                  <a:lnTo>
                    <a:pt x="805" y="455"/>
                  </a:lnTo>
                  <a:lnTo>
                    <a:pt x="805" y="459"/>
                  </a:lnTo>
                  <a:lnTo>
                    <a:pt x="809" y="459"/>
                  </a:lnTo>
                  <a:lnTo>
                    <a:pt x="809" y="463"/>
                  </a:lnTo>
                  <a:lnTo>
                    <a:pt x="809" y="467"/>
                  </a:lnTo>
                  <a:lnTo>
                    <a:pt x="813" y="467"/>
                  </a:lnTo>
                  <a:lnTo>
                    <a:pt x="817" y="467"/>
                  </a:lnTo>
                  <a:lnTo>
                    <a:pt x="817" y="463"/>
                  </a:lnTo>
                  <a:lnTo>
                    <a:pt x="817" y="459"/>
                  </a:lnTo>
                  <a:lnTo>
                    <a:pt x="821" y="459"/>
                  </a:lnTo>
                  <a:lnTo>
                    <a:pt x="821" y="463"/>
                  </a:lnTo>
                  <a:lnTo>
                    <a:pt x="825" y="463"/>
                  </a:lnTo>
                  <a:lnTo>
                    <a:pt x="825" y="459"/>
                  </a:lnTo>
                  <a:lnTo>
                    <a:pt x="825" y="455"/>
                  </a:lnTo>
                  <a:lnTo>
                    <a:pt x="825" y="451"/>
                  </a:lnTo>
                  <a:lnTo>
                    <a:pt x="829" y="447"/>
                  </a:lnTo>
                  <a:lnTo>
                    <a:pt x="833" y="443"/>
                  </a:lnTo>
                  <a:lnTo>
                    <a:pt x="833" y="439"/>
                  </a:lnTo>
                  <a:lnTo>
                    <a:pt x="833" y="435"/>
                  </a:lnTo>
                  <a:lnTo>
                    <a:pt x="837" y="435"/>
                  </a:lnTo>
                  <a:lnTo>
                    <a:pt x="837" y="431"/>
                  </a:lnTo>
                  <a:lnTo>
                    <a:pt x="837" y="427"/>
                  </a:lnTo>
                  <a:lnTo>
                    <a:pt x="837" y="423"/>
                  </a:lnTo>
                  <a:lnTo>
                    <a:pt x="837" y="427"/>
                  </a:lnTo>
                  <a:lnTo>
                    <a:pt x="841" y="427"/>
                  </a:lnTo>
                  <a:lnTo>
                    <a:pt x="841" y="423"/>
                  </a:lnTo>
                  <a:lnTo>
                    <a:pt x="837" y="423"/>
                  </a:lnTo>
                  <a:lnTo>
                    <a:pt x="841" y="423"/>
                  </a:lnTo>
                  <a:lnTo>
                    <a:pt x="841" y="427"/>
                  </a:lnTo>
                  <a:lnTo>
                    <a:pt x="845" y="427"/>
                  </a:lnTo>
                  <a:lnTo>
                    <a:pt x="845" y="423"/>
                  </a:lnTo>
                  <a:lnTo>
                    <a:pt x="849" y="423"/>
                  </a:lnTo>
                  <a:lnTo>
                    <a:pt x="849" y="427"/>
                  </a:lnTo>
                  <a:lnTo>
                    <a:pt x="849" y="423"/>
                  </a:lnTo>
                  <a:lnTo>
                    <a:pt x="845" y="423"/>
                  </a:lnTo>
                  <a:lnTo>
                    <a:pt x="845" y="419"/>
                  </a:lnTo>
                  <a:lnTo>
                    <a:pt x="849" y="419"/>
                  </a:lnTo>
                  <a:lnTo>
                    <a:pt x="845" y="419"/>
                  </a:lnTo>
                  <a:lnTo>
                    <a:pt x="849" y="419"/>
                  </a:lnTo>
                  <a:lnTo>
                    <a:pt x="853" y="419"/>
                  </a:lnTo>
                  <a:lnTo>
                    <a:pt x="849" y="415"/>
                  </a:lnTo>
                  <a:lnTo>
                    <a:pt x="845" y="415"/>
                  </a:lnTo>
                  <a:lnTo>
                    <a:pt x="841" y="415"/>
                  </a:lnTo>
                  <a:lnTo>
                    <a:pt x="845" y="415"/>
                  </a:lnTo>
                  <a:lnTo>
                    <a:pt x="841" y="411"/>
                  </a:lnTo>
                  <a:lnTo>
                    <a:pt x="841" y="407"/>
                  </a:lnTo>
                  <a:lnTo>
                    <a:pt x="837" y="407"/>
                  </a:lnTo>
                  <a:lnTo>
                    <a:pt x="837" y="399"/>
                  </a:lnTo>
                  <a:lnTo>
                    <a:pt x="841" y="395"/>
                  </a:lnTo>
                  <a:lnTo>
                    <a:pt x="841" y="399"/>
                  </a:lnTo>
                  <a:lnTo>
                    <a:pt x="841" y="395"/>
                  </a:lnTo>
                  <a:lnTo>
                    <a:pt x="837" y="395"/>
                  </a:lnTo>
                  <a:lnTo>
                    <a:pt x="841" y="395"/>
                  </a:lnTo>
                  <a:lnTo>
                    <a:pt x="845" y="395"/>
                  </a:lnTo>
                  <a:lnTo>
                    <a:pt x="845" y="399"/>
                  </a:lnTo>
                  <a:lnTo>
                    <a:pt x="849" y="395"/>
                  </a:lnTo>
                  <a:lnTo>
                    <a:pt x="853" y="395"/>
                  </a:lnTo>
                  <a:lnTo>
                    <a:pt x="857" y="395"/>
                  </a:lnTo>
                  <a:lnTo>
                    <a:pt x="861" y="395"/>
                  </a:lnTo>
                  <a:lnTo>
                    <a:pt x="861" y="399"/>
                  </a:lnTo>
                  <a:lnTo>
                    <a:pt x="865" y="399"/>
                  </a:lnTo>
                  <a:lnTo>
                    <a:pt x="869" y="399"/>
                  </a:lnTo>
                  <a:lnTo>
                    <a:pt x="873" y="399"/>
                  </a:lnTo>
                  <a:lnTo>
                    <a:pt x="877" y="399"/>
                  </a:lnTo>
                  <a:lnTo>
                    <a:pt x="881" y="399"/>
                  </a:lnTo>
                  <a:lnTo>
                    <a:pt x="885" y="399"/>
                  </a:lnTo>
                  <a:lnTo>
                    <a:pt x="889" y="399"/>
                  </a:lnTo>
                  <a:lnTo>
                    <a:pt x="889" y="403"/>
                  </a:lnTo>
                  <a:lnTo>
                    <a:pt x="885" y="403"/>
                  </a:lnTo>
                  <a:lnTo>
                    <a:pt x="885" y="399"/>
                  </a:lnTo>
                  <a:lnTo>
                    <a:pt x="881" y="403"/>
                  </a:lnTo>
                  <a:lnTo>
                    <a:pt x="885" y="403"/>
                  </a:lnTo>
                  <a:lnTo>
                    <a:pt x="881" y="403"/>
                  </a:lnTo>
                  <a:lnTo>
                    <a:pt x="877" y="403"/>
                  </a:lnTo>
                  <a:lnTo>
                    <a:pt x="873" y="403"/>
                  </a:lnTo>
                  <a:lnTo>
                    <a:pt x="877" y="403"/>
                  </a:lnTo>
                  <a:lnTo>
                    <a:pt x="881" y="403"/>
                  </a:lnTo>
                  <a:lnTo>
                    <a:pt x="889" y="407"/>
                  </a:lnTo>
                  <a:lnTo>
                    <a:pt x="889" y="411"/>
                  </a:lnTo>
                  <a:lnTo>
                    <a:pt x="893" y="411"/>
                  </a:lnTo>
                  <a:lnTo>
                    <a:pt x="897" y="411"/>
                  </a:lnTo>
                  <a:lnTo>
                    <a:pt x="901" y="411"/>
                  </a:lnTo>
                  <a:lnTo>
                    <a:pt x="901" y="415"/>
                  </a:lnTo>
                  <a:lnTo>
                    <a:pt x="897" y="419"/>
                  </a:lnTo>
                  <a:lnTo>
                    <a:pt x="893" y="419"/>
                  </a:lnTo>
                  <a:lnTo>
                    <a:pt x="893" y="423"/>
                  </a:lnTo>
                  <a:lnTo>
                    <a:pt x="893" y="419"/>
                  </a:lnTo>
                  <a:lnTo>
                    <a:pt x="897" y="419"/>
                  </a:lnTo>
                  <a:lnTo>
                    <a:pt x="897" y="423"/>
                  </a:lnTo>
                  <a:lnTo>
                    <a:pt x="901" y="423"/>
                  </a:lnTo>
                  <a:lnTo>
                    <a:pt x="905" y="423"/>
                  </a:lnTo>
                  <a:lnTo>
                    <a:pt x="905" y="427"/>
                  </a:lnTo>
                  <a:lnTo>
                    <a:pt x="901" y="427"/>
                  </a:lnTo>
                  <a:lnTo>
                    <a:pt x="897" y="431"/>
                  </a:lnTo>
                  <a:lnTo>
                    <a:pt x="893" y="431"/>
                  </a:lnTo>
                  <a:lnTo>
                    <a:pt x="893" y="435"/>
                  </a:lnTo>
                  <a:lnTo>
                    <a:pt x="893" y="431"/>
                  </a:lnTo>
                  <a:lnTo>
                    <a:pt x="889" y="431"/>
                  </a:lnTo>
                  <a:lnTo>
                    <a:pt x="885" y="431"/>
                  </a:lnTo>
                  <a:lnTo>
                    <a:pt x="881" y="431"/>
                  </a:lnTo>
                  <a:lnTo>
                    <a:pt x="885" y="431"/>
                  </a:lnTo>
                  <a:lnTo>
                    <a:pt x="885" y="435"/>
                  </a:lnTo>
                  <a:lnTo>
                    <a:pt x="885" y="439"/>
                  </a:lnTo>
                  <a:lnTo>
                    <a:pt x="889" y="439"/>
                  </a:lnTo>
                  <a:lnTo>
                    <a:pt x="889" y="443"/>
                  </a:lnTo>
                  <a:lnTo>
                    <a:pt x="889" y="439"/>
                  </a:lnTo>
                  <a:lnTo>
                    <a:pt x="893" y="439"/>
                  </a:lnTo>
                  <a:lnTo>
                    <a:pt x="893" y="443"/>
                  </a:lnTo>
                  <a:lnTo>
                    <a:pt x="889" y="443"/>
                  </a:lnTo>
                  <a:lnTo>
                    <a:pt x="889" y="447"/>
                  </a:lnTo>
                  <a:lnTo>
                    <a:pt x="893" y="447"/>
                  </a:lnTo>
                  <a:lnTo>
                    <a:pt x="893" y="451"/>
                  </a:lnTo>
                  <a:lnTo>
                    <a:pt x="897" y="451"/>
                  </a:lnTo>
                  <a:lnTo>
                    <a:pt x="897" y="455"/>
                  </a:lnTo>
                  <a:lnTo>
                    <a:pt x="901" y="455"/>
                  </a:lnTo>
                  <a:lnTo>
                    <a:pt x="905" y="459"/>
                  </a:lnTo>
                  <a:lnTo>
                    <a:pt x="901" y="459"/>
                  </a:lnTo>
                  <a:lnTo>
                    <a:pt x="901" y="463"/>
                  </a:lnTo>
                  <a:lnTo>
                    <a:pt x="901" y="467"/>
                  </a:lnTo>
                  <a:lnTo>
                    <a:pt x="901" y="471"/>
                  </a:lnTo>
                  <a:lnTo>
                    <a:pt x="897" y="471"/>
                  </a:lnTo>
                  <a:lnTo>
                    <a:pt x="893" y="471"/>
                  </a:lnTo>
                  <a:lnTo>
                    <a:pt x="893" y="475"/>
                  </a:lnTo>
                  <a:lnTo>
                    <a:pt x="889" y="479"/>
                  </a:lnTo>
                  <a:lnTo>
                    <a:pt x="885" y="479"/>
                  </a:lnTo>
                  <a:lnTo>
                    <a:pt x="885" y="483"/>
                  </a:lnTo>
                  <a:lnTo>
                    <a:pt x="881" y="483"/>
                  </a:lnTo>
                  <a:lnTo>
                    <a:pt x="877" y="483"/>
                  </a:lnTo>
                  <a:lnTo>
                    <a:pt x="877" y="487"/>
                  </a:lnTo>
                  <a:lnTo>
                    <a:pt x="873" y="487"/>
                  </a:lnTo>
                  <a:lnTo>
                    <a:pt x="869" y="487"/>
                  </a:lnTo>
                  <a:lnTo>
                    <a:pt x="865" y="483"/>
                  </a:lnTo>
                  <a:lnTo>
                    <a:pt x="861" y="483"/>
                  </a:lnTo>
                  <a:lnTo>
                    <a:pt x="861" y="479"/>
                  </a:lnTo>
                  <a:lnTo>
                    <a:pt x="865" y="475"/>
                  </a:lnTo>
                  <a:lnTo>
                    <a:pt x="861" y="475"/>
                  </a:lnTo>
                  <a:lnTo>
                    <a:pt x="861" y="479"/>
                  </a:lnTo>
                  <a:lnTo>
                    <a:pt x="857" y="479"/>
                  </a:lnTo>
                  <a:lnTo>
                    <a:pt x="857" y="475"/>
                  </a:lnTo>
                  <a:lnTo>
                    <a:pt x="857" y="471"/>
                  </a:lnTo>
                  <a:lnTo>
                    <a:pt x="853" y="471"/>
                  </a:lnTo>
                  <a:lnTo>
                    <a:pt x="849" y="471"/>
                  </a:lnTo>
                  <a:lnTo>
                    <a:pt x="853" y="471"/>
                  </a:lnTo>
                  <a:lnTo>
                    <a:pt x="849" y="471"/>
                  </a:lnTo>
                  <a:lnTo>
                    <a:pt x="845" y="471"/>
                  </a:lnTo>
                  <a:lnTo>
                    <a:pt x="845" y="475"/>
                  </a:lnTo>
                  <a:lnTo>
                    <a:pt x="849" y="475"/>
                  </a:lnTo>
                  <a:lnTo>
                    <a:pt x="849" y="471"/>
                  </a:lnTo>
                  <a:lnTo>
                    <a:pt x="853" y="471"/>
                  </a:lnTo>
                  <a:lnTo>
                    <a:pt x="853" y="475"/>
                  </a:lnTo>
                  <a:lnTo>
                    <a:pt x="849" y="475"/>
                  </a:lnTo>
                  <a:lnTo>
                    <a:pt x="853" y="475"/>
                  </a:lnTo>
                  <a:lnTo>
                    <a:pt x="857" y="479"/>
                  </a:lnTo>
                  <a:lnTo>
                    <a:pt x="861" y="479"/>
                  </a:lnTo>
                  <a:lnTo>
                    <a:pt x="861" y="483"/>
                  </a:lnTo>
                  <a:lnTo>
                    <a:pt x="861" y="487"/>
                  </a:lnTo>
                  <a:lnTo>
                    <a:pt x="865" y="487"/>
                  </a:lnTo>
                  <a:lnTo>
                    <a:pt x="865" y="491"/>
                  </a:lnTo>
                  <a:lnTo>
                    <a:pt x="865" y="495"/>
                  </a:lnTo>
                  <a:lnTo>
                    <a:pt x="861" y="491"/>
                  </a:lnTo>
                  <a:lnTo>
                    <a:pt x="857" y="491"/>
                  </a:lnTo>
                  <a:lnTo>
                    <a:pt x="857" y="487"/>
                  </a:lnTo>
                  <a:lnTo>
                    <a:pt x="853" y="487"/>
                  </a:lnTo>
                  <a:lnTo>
                    <a:pt x="853" y="491"/>
                  </a:lnTo>
                  <a:lnTo>
                    <a:pt x="857" y="491"/>
                  </a:lnTo>
                  <a:lnTo>
                    <a:pt x="857" y="495"/>
                  </a:lnTo>
                  <a:lnTo>
                    <a:pt x="853" y="495"/>
                  </a:lnTo>
                  <a:lnTo>
                    <a:pt x="853" y="491"/>
                  </a:lnTo>
                  <a:lnTo>
                    <a:pt x="849" y="491"/>
                  </a:lnTo>
                  <a:lnTo>
                    <a:pt x="845" y="491"/>
                  </a:lnTo>
                  <a:lnTo>
                    <a:pt x="841" y="491"/>
                  </a:lnTo>
                  <a:lnTo>
                    <a:pt x="841" y="487"/>
                  </a:lnTo>
                  <a:lnTo>
                    <a:pt x="841" y="483"/>
                  </a:lnTo>
                  <a:lnTo>
                    <a:pt x="837" y="483"/>
                  </a:lnTo>
                  <a:lnTo>
                    <a:pt x="833" y="483"/>
                  </a:lnTo>
                  <a:lnTo>
                    <a:pt x="829" y="483"/>
                  </a:lnTo>
                  <a:lnTo>
                    <a:pt x="821" y="483"/>
                  </a:lnTo>
                  <a:lnTo>
                    <a:pt x="821" y="487"/>
                  </a:lnTo>
                  <a:lnTo>
                    <a:pt x="821" y="491"/>
                  </a:lnTo>
                  <a:lnTo>
                    <a:pt x="825" y="491"/>
                  </a:lnTo>
                  <a:lnTo>
                    <a:pt x="829" y="491"/>
                  </a:lnTo>
                  <a:lnTo>
                    <a:pt x="833" y="491"/>
                  </a:lnTo>
                  <a:lnTo>
                    <a:pt x="833" y="495"/>
                  </a:lnTo>
                  <a:lnTo>
                    <a:pt x="829" y="499"/>
                  </a:lnTo>
                  <a:lnTo>
                    <a:pt x="825" y="499"/>
                  </a:lnTo>
                  <a:lnTo>
                    <a:pt x="825" y="503"/>
                  </a:lnTo>
                  <a:lnTo>
                    <a:pt x="825" y="507"/>
                  </a:lnTo>
                  <a:lnTo>
                    <a:pt x="821" y="507"/>
                  </a:lnTo>
                  <a:lnTo>
                    <a:pt x="817" y="507"/>
                  </a:lnTo>
                  <a:lnTo>
                    <a:pt x="817" y="511"/>
                  </a:lnTo>
                  <a:close/>
                  <a:moveTo>
                    <a:pt x="435" y="379"/>
                  </a:moveTo>
                  <a:lnTo>
                    <a:pt x="439" y="383"/>
                  </a:lnTo>
                  <a:lnTo>
                    <a:pt x="442" y="383"/>
                  </a:lnTo>
                  <a:lnTo>
                    <a:pt x="439" y="383"/>
                  </a:lnTo>
                  <a:lnTo>
                    <a:pt x="435" y="383"/>
                  </a:lnTo>
                  <a:lnTo>
                    <a:pt x="435" y="379"/>
                  </a:lnTo>
                  <a:close/>
                  <a:moveTo>
                    <a:pt x="598" y="411"/>
                  </a:moveTo>
                  <a:lnTo>
                    <a:pt x="598" y="415"/>
                  </a:lnTo>
                  <a:lnTo>
                    <a:pt x="594" y="415"/>
                  </a:lnTo>
                  <a:lnTo>
                    <a:pt x="594" y="411"/>
                  </a:lnTo>
                  <a:lnTo>
                    <a:pt x="598" y="411"/>
                  </a:lnTo>
                  <a:close/>
                  <a:moveTo>
                    <a:pt x="1129" y="439"/>
                  </a:moveTo>
                  <a:lnTo>
                    <a:pt x="1125" y="439"/>
                  </a:lnTo>
                  <a:lnTo>
                    <a:pt x="1129" y="439"/>
                  </a:lnTo>
                  <a:lnTo>
                    <a:pt x="1133" y="439"/>
                  </a:lnTo>
                  <a:lnTo>
                    <a:pt x="1129" y="439"/>
                  </a:lnTo>
                  <a:close/>
                  <a:moveTo>
                    <a:pt x="498" y="447"/>
                  </a:moveTo>
                  <a:lnTo>
                    <a:pt x="494" y="447"/>
                  </a:lnTo>
                  <a:lnTo>
                    <a:pt x="498" y="447"/>
                  </a:lnTo>
                  <a:close/>
                  <a:moveTo>
                    <a:pt x="1164" y="455"/>
                  </a:moveTo>
                  <a:lnTo>
                    <a:pt x="1168" y="455"/>
                  </a:lnTo>
                  <a:lnTo>
                    <a:pt x="1168" y="459"/>
                  </a:lnTo>
                  <a:lnTo>
                    <a:pt x="1164" y="459"/>
                  </a:lnTo>
                  <a:lnTo>
                    <a:pt x="1164" y="455"/>
                  </a:lnTo>
                  <a:close/>
                  <a:moveTo>
                    <a:pt x="1065" y="579"/>
                  </a:moveTo>
                  <a:lnTo>
                    <a:pt x="1069" y="583"/>
                  </a:lnTo>
                  <a:lnTo>
                    <a:pt x="1073" y="583"/>
                  </a:lnTo>
                  <a:lnTo>
                    <a:pt x="1069" y="587"/>
                  </a:lnTo>
                  <a:lnTo>
                    <a:pt x="1065" y="587"/>
                  </a:lnTo>
                  <a:lnTo>
                    <a:pt x="1061" y="587"/>
                  </a:lnTo>
                  <a:lnTo>
                    <a:pt x="1061" y="583"/>
                  </a:lnTo>
                  <a:lnTo>
                    <a:pt x="1061" y="579"/>
                  </a:lnTo>
                  <a:lnTo>
                    <a:pt x="1057" y="579"/>
                  </a:lnTo>
                  <a:lnTo>
                    <a:pt x="1061" y="579"/>
                  </a:lnTo>
                  <a:lnTo>
                    <a:pt x="1065" y="579"/>
                  </a:lnTo>
                  <a:close/>
                  <a:moveTo>
                    <a:pt x="1160" y="638"/>
                  </a:moveTo>
                  <a:lnTo>
                    <a:pt x="1156" y="638"/>
                  </a:lnTo>
                  <a:lnTo>
                    <a:pt x="1156" y="642"/>
                  </a:lnTo>
                  <a:lnTo>
                    <a:pt x="1160" y="642"/>
                  </a:lnTo>
                  <a:lnTo>
                    <a:pt x="1156" y="642"/>
                  </a:lnTo>
                  <a:lnTo>
                    <a:pt x="1156" y="638"/>
                  </a:lnTo>
                  <a:lnTo>
                    <a:pt x="1152" y="638"/>
                  </a:lnTo>
                  <a:lnTo>
                    <a:pt x="1152" y="634"/>
                  </a:lnTo>
                  <a:lnTo>
                    <a:pt x="1156" y="634"/>
                  </a:lnTo>
                  <a:lnTo>
                    <a:pt x="1156" y="638"/>
                  </a:lnTo>
                  <a:lnTo>
                    <a:pt x="1160" y="638"/>
                  </a:lnTo>
                  <a:close/>
                  <a:moveTo>
                    <a:pt x="921" y="654"/>
                  </a:moveTo>
                  <a:lnTo>
                    <a:pt x="921" y="658"/>
                  </a:lnTo>
                  <a:lnTo>
                    <a:pt x="917" y="658"/>
                  </a:lnTo>
                  <a:lnTo>
                    <a:pt x="917" y="654"/>
                  </a:lnTo>
                  <a:lnTo>
                    <a:pt x="921" y="654"/>
                  </a:lnTo>
                  <a:close/>
                  <a:moveTo>
                    <a:pt x="1208" y="730"/>
                  </a:moveTo>
                  <a:lnTo>
                    <a:pt x="1208" y="726"/>
                  </a:lnTo>
                  <a:lnTo>
                    <a:pt x="1208" y="730"/>
                  </a:lnTo>
                  <a:close/>
                  <a:moveTo>
                    <a:pt x="1200" y="730"/>
                  </a:moveTo>
                  <a:lnTo>
                    <a:pt x="1204" y="730"/>
                  </a:lnTo>
                  <a:lnTo>
                    <a:pt x="1208" y="734"/>
                  </a:lnTo>
                  <a:lnTo>
                    <a:pt x="1204" y="734"/>
                  </a:lnTo>
                  <a:lnTo>
                    <a:pt x="1200" y="734"/>
                  </a:lnTo>
                  <a:lnTo>
                    <a:pt x="1204" y="734"/>
                  </a:lnTo>
                  <a:lnTo>
                    <a:pt x="1204" y="730"/>
                  </a:lnTo>
                  <a:lnTo>
                    <a:pt x="1200" y="730"/>
                  </a:lnTo>
                  <a:close/>
                  <a:moveTo>
                    <a:pt x="171" y="810"/>
                  </a:moveTo>
                  <a:lnTo>
                    <a:pt x="171" y="806"/>
                  </a:lnTo>
                  <a:lnTo>
                    <a:pt x="167" y="806"/>
                  </a:lnTo>
                  <a:lnTo>
                    <a:pt x="167" y="802"/>
                  </a:lnTo>
                  <a:lnTo>
                    <a:pt x="167" y="798"/>
                  </a:lnTo>
                  <a:lnTo>
                    <a:pt x="163" y="798"/>
                  </a:lnTo>
                  <a:lnTo>
                    <a:pt x="167" y="798"/>
                  </a:lnTo>
                  <a:lnTo>
                    <a:pt x="163" y="798"/>
                  </a:lnTo>
                  <a:lnTo>
                    <a:pt x="163" y="794"/>
                  </a:lnTo>
                  <a:lnTo>
                    <a:pt x="167" y="794"/>
                  </a:lnTo>
                  <a:lnTo>
                    <a:pt x="167" y="798"/>
                  </a:lnTo>
                  <a:lnTo>
                    <a:pt x="171" y="802"/>
                  </a:lnTo>
                  <a:lnTo>
                    <a:pt x="175" y="802"/>
                  </a:lnTo>
                  <a:lnTo>
                    <a:pt x="175" y="806"/>
                  </a:lnTo>
                  <a:lnTo>
                    <a:pt x="175" y="810"/>
                  </a:lnTo>
                  <a:lnTo>
                    <a:pt x="171" y="810"/>
                  </a:lnTo>
                  <a:close/>
                  <a:moveTo>
                    <a:pt x="179" y="818"/>
                  </a:moveTo>
                  <a:lnTo>
                    <a:pt x="179" y="814"/>
                  </a:lnTo>
                  <a:lnTo>
                    <a:pt x="183" y="814"/>
                  </a:lnTo>
                  <a:lnTo>
                    <a:pt x="183" y="810"/>
                  </a:lnTo>
                  <a:lnTo>
                    <a:pt x="179" y="810"/>
                  </a:lnTo>
                  <a:lnTo>
                    <a:pt x="183" y="810"/>
                  </a:lnTo>
                  <a:lnTo>
                    <a:pt x="183" y="814"/>
                  </a:lnTo>
                  <a:lnTo>
                    <a:pt x="179" y="814"/>
                  </a:lnTo>
                  <a:lnTo>
                    <a:pt x="179" y="810"/>
                  </a:lnTo>
                  <a:lnTo>
                    <a:pt x="179" y="806"/>
                  </a:lnTo>
                  <a:lnTo>
                    <a:pt x="183" y="806"/>
                  </a:lnTo>
                  <a:lnTo>
                    <a:pt x="183" y="810"/>
                  </a:lnTo>
                  <a:lnTo>
                    <a:pt x="187" y="810"/>
                  </a:lnTo>
                  <a:lnTo>
                    <a:pt x="187" y="814"/>
                  </a:lnTo>
                  <a:lnTo>
                    <a:pt x="187" y="822"/>
                  </a:lnTo>
                  <a:lnTo>
                    <a:pt x="183" y="822"/>
                  </a:lnTo>
                  <a:lnTo>
                    <a:pt x="183" y="818"/>
                  </a:lnTo>
                  <a:lnTo>
                    <a:pt x="187" y="818"/>
                  </a:lnTo>
                  <a:lnTo>
                    <a:pt x="187" y="814"/>
                  </a:lnTo>
                  <a:lnTo>
                    <a:pt x="183" y="818"/>
                  </a:lnTo>
                  <a:lnTo>
                    <a:pt x="183" y="822"/>
                  </a:lnTo>
                  <a:lnTo>
                    <a:pt x="179" y="822"/>
                  </a:lnTo>
                  <a:lnTo>
                    <a:pt x="179" y="818"/>
                  </a:lnTo>
                  <a:close/>
                  <a:moveTo>
                    <a:pt x="147" y="834"/>
                  </a:moveTo>
                  <a:lnTo>
                    <a:pt x="143" y="830"/>
                  </a:lnTo>
                  <a:lnTo>
                    <a:pt x="143" y="826"/>
                  </a:lnTo>
                  <a:lnTo>
                    <a:pt x="139" y="826"/>
                  </a:lnTo>
                  <a:lnTo>
                    <a:pt x="135" y="822"/>
                  </a:lnTo>
                  <a:lnTo>
                    <a:pt x="135" y="818"/>
                  </a:lnTo>
                  <a:lnTo>
                    <a:pt x="131" y="818"/>
                  </a:lnTo>
                  <a:lnTo>
                    <a:pt x="131" y="814"/>
                  </a:lnTo>
                  <a:lnTo>
                    <a:pt x="135" y="814"/>
                  </a:lnTo>
                  <a:lnTo>
                    <a:pt x="131" y="814"/>
                  </a:lnTo>
                  <a:lnTo>
                    <a:pt x="127" y="814"/>
                  </a:lnTo>
                  <a:lnTo>
                    <a:pt x="127" y="810"/>
                  </a:lnTo>
                  <a:lnTo>
                    <a:pt x="131" y="810"/>
                  </a:lnTo>
                  <a:lnTo>
                    <a:pt x="135" y="810"/>
                  </a:lnTo>
                  <a:lnTo>
                    <a:pt x="135" y="806"/>
                  </a:lnTo>
                  <a:lnTo>
                    <a:pt x="139" y="806"/>
                  </a:lnTo>
                  <a:lnTo>
                    <a:pt x="139" y="810"/>
                  </a:lnTo>
                  <a:lnTo>
                    <a:pt x="143" y="814"/>
                  </a:lnTo>
                  <a:lnTo>
                    <a:pt x="139" y="814"/>
                  </a:lnTo>
                  <a:lnTo>
                    <a:pt x="139" y="810"/>
                  </a:lnTo>
                  <a:lnTo>
                    <a:pt x="135" y="810"/>
                  </a:lnTo>
                  <a:lnTo>
                    <a:pt x="135" y="814"/>
                  </a:lnTo>
                  <a:lnTo>
                    <a:pt x="139" y="814"/>
                  </a:lnTo>
                  <a:lnTo>
                    <a:pt x="143" y="814"/>
                  </a:lnTo>
                  <a:lnTo>
                    <a:pt x="139" y="814"/>
                  </a:lnTo>
                  <a:lnTo>
                    <a:pt x="139" y="818"/>
                  </a:lnTo>
                  <a:lnTo>
                    <a:pt x="139" y="814"/>
                  </a:lnTo>
                  <a:lnTo>
                    <a:pt x="135" y="814"/>
                  </a:lnTo>
                  <a:lnTo>
                    <a:pt x="139" y="818"/>
                  </a:lnTo>
                  <a:lnTo>
                    <a:pt x="139" y="822"/>
                  </a:lnTo>
                  <a:lnTo>
                    <a:pt x="143" y="822"/>
                  </a:lnTo>
                  <a:lnTo>
                    <a:pt x="143" y="826"/>
                  </a:lnTo>
                  <a:lnTo>
                    <a:pt x="147" y="826"/>
                  </a:lnTo>
                  <a:lnTo>
                    <a:pt x="147" y="830"/>
                  </a:lnTo>
                  <a:lnTo>
                    <a:pt x="151" y="830"/>
                  </a:lnTo>
                  <a:lnTo>
                    <a:pt x="147" y="834"/>
                  </a:lnTo>
                  <a:close/>
                  <a:moveTo>
                    <a:pt x="195" y="830"/>
                  </a:moveTo>
                  <a:lnTo>
                    <a:pt x="195" y="834"/>
                  </a:lnTo>
                  <a:lnTo>
                    <a:pt x="191" y="834"/>
                  </a:lnTo>
                  <a:lnTo>
                    <a:pt x="191" y="830"/>
                  </a:lnTo>
                  <a:lnTo>
                    <a:pt x="195" y="830"/>
                  </a:lnTo>
                  <a:close/>
                  <a:moveTo>
                    <a:pt x="195" y="834"/>
                  </a:moveTo>
                  <a:lnTo>
                    <a:pt x="195" y="838"/>
                  </a:lnTo>
                  <a:lnTo>
                    <a:pt x="195" y="842"/>
                  </a:lnTo>
                  <a:lnTo>
                    <a:pt x="191" y="838"/>
                  </a:lnTo>
                  <a:lnTo>
                    <a:pt x="195" y="834"/>
                  </a:lnTo>
                  <a:close/>
                  <a:moveTo>
                    <a:pt x="945" y="8"/>
                  </a:moveTo>
                  <a:lnTo>
                    <a:pt x="949" y="4"/>
                  </a:lnTo>
                  <a:lnTo>
                    <a:pt x="953" y="8"/>
                  </a:lnTo>
                  <a:lnTo>
                    <a:pt x="949" y="8"/>
                  </a:lnTo>
                  <a:lnTo>
                    <a:pt x="945" y="8"/>
                  </a:lnTo>
                  <a:close/>
                  <a:moveTo>
                    <a:pt x="746" y="52"/>
                  </a:moveTo>
                  <a:lnTo>
                    <a:pt x="742" y="52"/>
                  </a:lnTo>
                  <a:lnTo>
                    <a:pt x="742" y="48"/>
                  </a:lnTo>
                  <a:lnTo>
                    <a:pt x="746" y="48"/>
                  </a:lnTo>
                  <a:lnTo>
                    <a:pt x="746" y="52"/>
                  </a:lnTo>
                  <a:close/>
                  <a:moveTo>
                    <a:pt x="1125" y="52"/>
                  </a:moveTo>
                  <a:lnTo>
                    <a:pt x="1121" y="52"/>
                  </a:lnTo>
                  <a:lnTo>
                    <a:pt x="1121" y="48"/>
                  </a:lnTo>
                  <a:lnTo>
                    <a:pt x="1125" y="48"/>
                  </a:lnTo>
                  <a:lnTo>
                    <a:pt x="1129" y="48"/>
                  </a:lnTo>
                  <a:lnTo>
                    <a:pt x="1129" y="52"/>
                  </a:lnTo>
                  <a:lnTo>
                    <a:pt x="1125" y="52"/>
                  </a:lnTo>
                  <a:close/>
                  <a:moveTo>
                    <a:pt x="694" y="80"/>
                  </a:moveTo>
                  <a:lnTo>
                    <a:pt x="698" y="80"/>
                  </a:lnTo>
                  <a:lnTo>
                    <a:pt x="694" y="80"/>
                  </a:lnTo>
                  <a:lnTo>
                    <a:pt x="690" y="80"/>
                  </a:lnTo>
                  <a:lnTo>
                    <a:pt x="686" y="80"/>
                  </a:lnTo>
                  <a:lnTo>
                    <a:pt x="682" y="80"/>
                  </a:lnTo>
                  <a:lnTo>
                    <a:pt x="678" y="80"/>
                  </a:lnTo>
                  <a:lnTo>
                    <a:pt x="682" y="80"/>
                  </a:lnTo>
                  <a:lnTo>
                    <a:pt x="690" y="80"/>
                  </a:lnTo>
                  <a:lnTo>
                    <a:pt x="694" y="80"/>
                  </a:lnTo>
                  <a:close/>
                  <a:moveTo>
                    <a:pt x="833" y="128"/>
                  </a:moveTo>
                  <a:lnTo>
                    <a:pt x="837" y="128"/>
                  </a:lnTo>
                  <a:lnTo>
                    <a:pt x="841" y="128"/>
                  </a:lnTo>
                  <a:lnTo>
                    <a:pt x="845" y="128"/>
                  </a:lnTo>
                  <a:lnTo>
                    <a:pt x="845" y="132"/>
                  </a:lnTo>
                  <a:lnTo>
                    <a:pt x="841" y="132"/>
                  </a:lnTo>
                  <a:lnTo>
                    <a:pt x="837" y="132"/>
                  </a:lnTo>
                  <a:lnTo>
                    <a:pt x="833" y="132"/>
                  </a:lnTo>
                  <a:lnTo>
                    <a:pt x="829" y="136"/>
                  </a:lnTo>
                  <a:lnTo>
                    <a:pt x="825" y="136"/>
                  </a:lnTo>
                  <a:lnTo>
                    <a:pt x="825" y="132"/>
                  </a:lnTo>
                  <a:lnTo>
                    <a:pt x="829" y="132"/>
                  </a:lnTo>
                  <a:lnTo>
                    <a:pt x="829" y="128"/>
                  </a:lnTo>
                  <a:lnTo>
                    <a:pt x="833" y="128"/>
                  </a:lnTo>
                  <a:close/>
                  <a:moveTo>
                    <a:pt x="1009" y="140"/>
                  </a:moveTo>
                  <a:lnTo>
                    <a:pt x="1005" y="140"/>
                  </a:lnTo>
                  <a:lnTo>
                    <a:pt x="1001" y="140"/>
                  </a:lnTo>
                  <a:lnTo>
                    <a:pt x="1005" y="140"/>
                  </a:lnTo>
                  <a:lnTo>
                    <a:pt x="1005" y="136"/>
                  </a:lnTo>
                  <a:lnTo>
                    <a:pt x="1005" y="140"/>
                  </a:lnTo>
                  <a:lnTo>
                    <a:pt x="1009" y="140"/>
                  </a:lnTo>
                  <a:lnTo>
                    <a:pt x="1013" y="140"/>
                  </a:lnTo>
                  <a:lnTo>
                    <a:pt x="1009" y="140"/>
                  </a:lnTo>
                  <a:close/>
                  <a:moveTo>
                    <a:pt x="801" y="148"/>
                  </a:moveTo>
                  <a:lnTo>
                    <a:pt x="797" y="152"/>
                  </a:lnTo>
                  <a:lnTo>
                    <a:pt x="797" y="156"/>
                  </a:lnTo>
                  <a:lnTo>
                    <a:pt x="797" y="152"/>
                  </a:lnTo>
                  <a:lnTo>
                    <a:pt x="794" y="152"/>
                  </a:lnTo>
                  <a:lnTo>
                    <a:pt x="797" y="152"/>
                  </a:lnTo>
                  <a:lnTo>
                    <a:pt x="797" y="148"/>
                  </a:lnTo>
                  <a:lnTo>
                    <a:pt x="801" y="148"/>
                  </a:lnTo>
                  <a:close/>
                  <a:moveTo>
                    <a:pt x="594" y="156"/>
                  </a:moveTo>
                  <a:lnTo>
                    <a:pt x="590" y="156"/>
                  </a:lnTo>
                  <a:lnTo>
                    <a:pt x="594" y="156"/>
                  </a:lnTo>
                  <a:close/>
                  <a:moveTo>
                    <a:pt x="957" y="164"/>
                  </a:moveTo>
                  <a:lnTo>
                    <a:pt x="961" y="164"/>
                  </a:lnTo>
                  <a:lnTo>
                    <a:pt x="961" y="168"/>
                  </a:lnTo>
                  <a:lnTo>
                    <a:pt x="957" y="168"/>
                  </a:lnTo>
                  <a:lnTo>
                    <a:pt x="953" y="168"/>
                  </a:lnTo>
                  <a:lnTo>
                    <a:pt x="957" y="168"/>
                  </a:lnTo>
                  <a:lnTo>
                    <a:pt x="957" y="164"/>
                  </a:lnTo>
                  <a:close/>
                  <a:moveTo>
                    <a:pt x="841" y="175"/>
                  </a:moveTo>
                  <a:lnTo>
                    <a:pt x="845" y="175"/>
                  </a:lnTo>
                  <a:lnTo>
                    <a:pt x="849" y="175"/>
                  </a:lnTo>
                  <a:lnTo>
                    <a:pt x="845" y="179"/>
                  </a:lnTo>
                  <a:lnTo>
                    <a:pt x="845" y="175"/>
                  </a:lnTo>
                  <a:lnTo>
                    <a:pt x="841" y="175"/>
                  </a:lnTo>
                  <a:lnTo>
                    <a:pt x="837" y="175"/>
                  </a:lnTo>
                  <a:lnTo>
                    <a:pt x="841" y="175"/>
                  </a:lnTo>
                  <a:close/>
                  <a:moveTo>
                    <a:pt x="861" y="207"/>
                  </a:moveTo>
                  <a:lnTo>
                    <a:pt x="865" y="207"/>
                  </a:lnTo>
                  <a:lnTo>
                    <a:pt x="861" y="207"/>
                  </a:lnTo>
                  <a:close/>
                  <a:moveTo>
                    <a:pt x="578" y="211"/>
                  </a:moveTo>
                  <a:lnTo>
                    <a:pt x="582" y="215"/>
                  </a:lnTo>
                  <a:lnTo>
                    <a:pt x="578" y="219"/>
                  </a:lnTo>
                  <a:lnTo>
                    <a:pt x="574" y="219"/>
                  </a:lnTo>
                  <a:lnTo>
                    <a:pt x="570" y="219"/>
                  </a:lnTo>
                  <a:lnTo>
                    <a:pt x="566" y="219"/>
                  </a:lnTo>
                  <a:lnTo>
                    <a:pt x="562" y="219"/>
                  </a:lnTo>
                  <a:lnTo>
                    <a:pt x="558" y="219"/>
                  </a:lnTo>
                  <a:lnTo>
                    <a:pt x="562" y="219"/>
                  </a:lnTo>
                  <a:lnTo>
                    <a:pt x="558" y="219"/>
                  </a:lnTo>
                  <a:lnTo>
                    <a:pt x="554" y="219"/>
                  </a:lnTo>
                  <a:lnTo>
                    <a:pt x="554" y="215"/>
                  </a:lnTo>
                  <a:lnTo>
                    <a:pt x="558" y="215"/>
                  </a:lnTo>
                  <a:lnTo>
                    <a:pt x="562" y="215"/>
                  </a:lnTo>
                  <a:lnTo>
                    <a:pt x="566" y="211"/>
                  </a:lnTo>
                  <a:lnTo>
                    <a:pt x="570" y="211"/>
                  </a:lnTo>
                  <a:lnTo>
                    <a:pt x="574" y="211"/>
                  </a:lnTo>
                  <a:lnTo>
                    <a:pt x="578" y="211"/>
                  </a:lnTo>
                  <a:close/>
                  <a:moveTo>
                    <a:pt x="941" y="219"/>
                  </a:moveTo>
                  <a:lnTo>
                    <a:pt x="937" y="219"/>
                  </a:lnTo>
                  <a:lnTo>
                    <a:pt x="937" y="223"/>
                  </a:lnTo>
                  <a:lnTo>
                    <a:pt x="941" y="223"/>
                  </a:lnTo>
                  <a:lnTo>
                    <a:pt x="941" y="227"/>
                  </a:lnTo>
                  <a:lnTo>
                    <a:pt x="937" y="227"/>
                  </a:lnTo>
                  <a:lnTo>
                    <a:pt x="937" y="223"/>
                  </a:lnTo>
                  <a:lnTo>
                    <a:pt x="933" y="223"/>
                  </a:lnTo>
                  <a:lnTo>
                    <a:pt x="933" y="227"/>
                  </a:lnTo>
                  <a:lnTo>
                    <a:pt x="929" y="227"/>
                  </a:lnTo>
                  <a:lnTo>
                    <a:pt x="929" y="223"/>
                  </a:lnTo>
                  <a:lnTo>
                    <a:pt x="925" y="223"/>
                  </a:lnTo>
                  <a:lnTo>
                    <a:pt x="929" y="223"/>
                  </a:lnTo>
                  <a:lnTo>
                    <a:pt x="933" y="219"/>
                  </a:lnTo>
                  <a:lnTo>
                    <a:pt x="937" y="219"/>
                  </a:lnTo>
                  <a:lnTo>
                    <a:pt x="937" y="215"/>
                  </a:lnTo>
                  <a:lnTo>
                    <a:pt x="941" y="219"/>
                  </a:lnTo>
                  <a:close/>
                  <a:moveTo>
                    <a:pt x="303" y="223"/>
                  </a:moveTo>
                  <a:lnTo>
                    <a:pt x="303" y="227"/>
                  </a:lnTo>
                  <a:lnTo>
                    <a:pt x="299" y="227"/>
                  </a:lnTo>
                  <a:lnTo>
                    <a:pt x="303" y="227"/>
                  </a:lnTo>
                  <a:lnTo>
                    <a:pt x="303" y="223"/>
                  </a:lnTo>
                  <a:close/>
                  <a:moveTo>
                    <a:pt x="279" y="223"/>
                  </a:moveTo>
                  <a:lnTo>
                    <a:pt x="283" y="223"/>
                  </a:lnTo>
                  <a:lnTo>
                    <a:pt x="279" y="223"/>
                  </a:lnTo>
                  <a:lnTo>
                    <a:pt x="275" y="223"/>
                  </a:lnTo>
                  <a:lnTo>
                    <a:pt x="279" y="223"/>
                  </a:lnTo>
                  <a:close/>
                  <a:moveTo>
                    <a:pt x="570" y="223"/>
                  </a:moveTo>
                  <a:lnTo>
                    <a:pt x="566" y="227"/>
                  </a:lnTo>
                  <a:lnTo>
                    <a:pt x="562" y="227"/>
                  </a:lnTo>
                  <a:lnTo>
                    <a:pt x="562" y="223"/>
                  </a:lnTo>
                  <a:lnTo>
                    <a:pt x="566" y="223"/>
                  </a:lnTo>
                  <a:lnTo>
                    <a:pt x="570" y="223"/>
                  </a:lnTo>
                  <a:close/>
                  <a:moveTo>
                    <a:pt x="614" y="235"/>
                  </a:moveTo>
                  <a:lnTo>
                    <a:pt x="614" y="231"/>
                  </a:lnTo>
                  <a:lnTo>
                    <a:pt x="610" y="235"/>
                  </a:lnTo>
                  <a:lnTo>
                    <a:pt x="606" y="235"/>
                  </a:lnTo>
                  <a:lnTo>
                    <a:pt x="606" y="231"/>
                  </a:lnTo>
                  <a:lnTo>
                    <a:pt x="610" y="231"/>
                  </a:lnTo>
                  <a:lnTo>
                    <a:pt x="614" y="231"/>
                  </a:lnTo>
                  <a:lnTo>
                    <a:pt x="618" y="231"/>
                  </a:lnTo>
                  <a:lnTo>
                    <a:pt x="618" y="235"/>
                  </a:lnTo>
                  <a:lnTo>
                    <a:pt x="614" y="235"/>
                  </a:lnTo>
                  <a:close/>
                  <a:moveTo>
                    <a:pt x="921" y="319"/>
                  </a:moveTo>
                  <a:lnTo>
                    <a:pt x="925" y="323"/>
                  </a:lnTo>
                  <a:lnTo>
                    <a:pt x="921" y="323"/>
                  </a:lnTo>
                  <a:lnTo>
                    <a:pt x="921" y="319"/>
                  </a:lnTo>
                  <a:close/>
                  <a:moveTo>
                    <a:pt x="929" y="323"/>
                  </a:moveTo>
                  <a:lnTo>
                    <a:pt x="933" y="323"/>
                  </a:lnTo>
                  <a:lnTo>
                    <a:pt x="933" y="327"/>
                  </a:lnTo>
                  <a:lnTo>
                    <a:pt x="929" y="327"/>
                  </a:lnTo>
                  <a:lnTo>
                    <a:pt x="929" y="323"/>
                  </a:lnTo>
                  <a:close/>
                  <a:moveTo>
                    <a:pt x="937" y="323"/>
                  </a:moveTo>
                  <a:lnTo>
                    <a:pt x="941" y="323"/>
                  </a:lnTo>
                  <a:lnTo>
                    <a:pt x="941" y="327"/>
                  </a:lnTo>
                  <a:lnTo>
                    <a:pt x="937" y="327"/>
                  </a:lnTo>
                  <a:lnTo>
                    <a:pt x="937" y="323"/>
                  </a:lnTo>
                  <a:close/>
                  <a:moveTo>
                    <a:pt x="829" y="327"/>
                  </a:moveTo>
                  <a:lnTo>
                    <a:pt x="833" y="327"/>
                  </a:lnTo>
                  <a:lnTo>
                    <a:pt x="833" y="331"/>
                  </a:lnTo>
                  <a:lnTo>
                    <a:pt x="833" y="327"/>
                  </a:lnTo>
                  <a:lnTo>
                    <a:pt x="829" y="327"/>
                  </a:lnTo>
                  <a:close/>
                  <a:moveTo>
                    <a:pt x="690" y="339"/>
                  </a:moveTo>
                  <a:lnTo>
                    <a:pt x="690" y="343"/>
                  </a:lnTo>
                  <a:lnTo>
                    <a:pt x="690" y="339"/>
                  </a:lnTo>
                  <a:close/>
                  <a:moveTo>
                    <a:pt x="670" y="355"/>
                  </a:moveTo>
                  <a:lnTo>
                    <a:pt x="674" y="355"/>
                  </a:lnTo>
                  <a:lnTo>
                    <a:pt x="674" y="359"/>
                  </a:lnTo>
                  <a:lnTo>
                    <a:pt x="670" y="359"/>
                  </a:lnTo>
                  <a:lnTo>
                    <a:pt x="670" y="355"/>
                  </a:lnTo>
                  <a:close/>
                  <a:moveTo>
                    <a:pt x="359" y="375"/>
                  </a:moveTo>
                  <a:lnTo>
                    <a:pt x="363" y="375"/>
                  </a:lnTo>
                  <a:lnTo>
                    <a:pt x="359" y="375"/>
                  </a:lnTo>
                  <a:close/>
                  <a:moveTo>
                    <a:pt x="375" y="375"/>
                  </a:moveTo>
                  <a:lnTo>
                    <a:pt x="371" y="375"/>
                  </a:lnTo>
                  <a:lnTo>
                    <a:pt x="375" y="375"/>
                  </a:lnTo>
                  <a:close/>
                  <a:moveTo>
                    <a:pt x="662" y="391"/>
                  </a:moveTo>
                  <a:lnTo>
                    <a:pt x="662" y="395"/>
                  </a:lnTo>
                  <a:lnTo>
                    <a:pt x="658" y="395"/>
                  </a:lnTo>
                  <a:lnTo>
                    <a:pt x="658" y="391"/>
                  </a:lnTo>
                  <a:lnTo>
                    <a:pt x="662" y="391"/>
                  </a:lnTo>
                  <a:close/>
                  <a:moveTo>
                    <a:pt x="750" y="399"/>
                  </a:moveTo>
                  <a:lnTo>
                    <a:pt x="746" y="395"/>
                  </a:lnTo>
                  <a:lnTo>
                    <a:pt x="750" y="395"/>
                  </a:lnTo>
                  <a:lnTo>
                    <a:pt x="750" y="399"/>
                  </a:lnTo>
                  <a:close/>
                  <a:moveTo>
                    <a:pt x="678" y="403"/>
                  </a:moveTo>
                  <a:lnTo>
                    <a:pt x="678" y="407"/>
                  </a:lnTo>
                  <a:lnTo>
                    <a:pt x="674" y="407"/>
                  </a:lnTo>
                  <a:lnTo>
                    <a:pt x="670" y="403"/>
                  </a:lnTo>
                  <a:lnTo>
                    <a:pt x="674" y="403"/>
                  </a:lnTo>
                  <a:lnTo>
                    <a:pt x="678" y="403"/>
                  </a:lnTo>
                  <a:close/>
                  <a:moveTo>
                    <a:pt x="770" y="407"/>
                  </a:moveTo>
                  <a:lnTo>
                    <a:pt x="766" y="411"/>
                  </a:lnTo>
                  <a:lnTo>
                    <a:pt x="766" y="407"/>
                  </a:lnTo>
                  <a:lnTo>
                    <a:pt x="770" y="407"/>
                  </a:lnTo>
                  <a:close/>
                  <a:moveTo>
                    <a:pt x="88" y="411"/>
                  </a:moveTo>
                  <a:lnTo>
                    <a:pt x="84" y="411"/>
                  </a:lnTo>
                  <a:lnTo>
                    <a:pt x="84" y="407"/>
                  </a:lnTo>
                  <a:lnTo>
                    <a:pt x="88" y="407"/>
                  </a:lnTo>
                  <a:lnTo>
                    <a:pt x="88" y="411"/>
                  </a:lnTo>
                  <a:close/>
                  <a:moveTo>
                    <a:pt x="762" y="411"/>
                  </a:moveTo>
                  <a:lnTo>
                    <a:pt x="762" y="407"/>
                  </a:lnTo>
                  <a:lnTo>
                    <a:pt x="766" y="411"/>
                  </a:lnTo>
                  <a:lnTo>
                    <a:pt x="762" y="411"/>
                  </a:lnTo>
                  <a:close/>
                  <a:moveTo>
                    <a:pt x="618" y="415"/>
                  </a:moveTo>
                  <a:lnTo>
                    <a:pt x="622" y="419"/>
                  </a:lnTo>
                  <a:lnTo>
                    <a:pt x="618" y="419"/>
                  </a:lnTo>
                  <a:lnTo>
                    <a:pt x="618" y="415"/>
                  </a:lnTo>
                  <a:close/>
                  <a:moveTo>
                    <a:pt x="614" y="419"/>
                  </a:moveTo>
                  <a:lnTo>
                    <a:pt x="618" y="419"/>
                  </a:lnTo>
                  <a:lnTo>
                    <a:pt x="618" y="423"/>
                  </a:lnTo>
                  <a:lnTo>
                    <a:pt x="614" y="423"/>
                  </a:lnTo>
                  <a:lnTo>
                    <a:pt x="614" y="427"/>
                  </a:lnTo>
                  <a:lnTo>
                    <a:pt x="610" y="423"/>
                  </a:lnTo>
                  <a:lnTo>
                    <a:pt x="610" y="419"/>
                  </a:lnTo>
                  <a:lnTo>
                    <a:pt x="610" y="415"/>
                  </a:lnTo>
                  <a:lnTo>
                    <a:pt x="614" y="415"/>
                  </a:lnTo>
                  <a:lnTo>
                    <a:pt x="614" y="419"/>
                  </a:lnTo>
                  <a:close/>
                  <a:moveTo>
                    <a:pt x="774" y="419"/>
                  </a:moveTo>
                  <a:lnTo>
                    <a:pt x="770" y="419"/>
                  </a:lnTo>
                  <a:lnTo>
                    <a:pt x="774" y="419"/>
                  </a:lnTo>
                  <a:close/>
                  <a:moveTo>
                    <a:pt x="774" y="427"/>
                  </a:moveTo>
                  <a:lnTo>
                    <a:pt x="770" y="427"/>
                  </a:lnTo>
                  <a:lnTo>
                    <a:pt x="770" y="423"/>
                  </a:lnTo>
                  <a:lnTo>
                    <a:pt x="774" y="423"/>
                  </a:lnTo>
                  <a:lnTo>
                    <a:pt x="774" y="427"/>
                  </a:lnTo>
                  <a:close/>
                  <a:moveTo>
                    <a:pt x="1097" y="423"/>
                  </a:moveTo>
                  <a:lnTo>
                    <a:pt x="1101" y="423"/>
                  </a:lnTo>
                  <a:lnTo>
                    <a:pt x="1105" y="423"/>
                  </a:lnTo>
                  <a:lnTo>
                    <a:pt x="1109" y="427"/>
                  </a:lnTo>
                  <a:lnTo>
                    <a:pt x="1105" y="427"/>
                  </a:lnTo>
                  <a:lnTo>
                    <a:pt x="1105" y="423"/>
                  </a:lnTo>
                  <a:lnTo>
                    <a:pt x="1101" y="423"/>
                  </a:lnTo>
                  <a:lnTo>
                    <a:pt x="1097" y="423"/>
                  </a:lnTo>
                  <a:close/>
                  <a:moveTo>
                    <a:pt x="458" y="431"/>
                  </a:moveTo>
                  <a:lnTo>
                    <a:pt x="454" y="431"/>
                  </a:lnTo>
                  <a:lnTo>
                    <a:pt x="450" y="431"/>
                  </a:lnTo>
                  <a:lnTo>
                    <a:pt x="454" y="431"/>
                  </a:lnTo>
                  <a:lnTo>
                    <a:pt x="458" y="431"/>
                  </a:lnTo>
                  <a:close/>
                  <a:moveTo>
                    <a:pt x="893" y="435"/>
                  </a:moveTo>
                  <a:lnTo>
                    <a:pt x="889" y="435"/>
                  </a:lnTo>
                  <a:lnTo>
                    <a:pt x="893" y="435"/>
                  </a:lnTo>
                  <a:close/>
                  <a:moveTo>
                    <a:pt x="446" y="435"/>
                  </a:moveTo>
                  <a:lnTo>
                    <a:pt x="446" y="439"/>
                  </a:lnTo>
                  <a:lnTo>
                    <a:pt x="442" y="439"/>
                  </a:lnTo>
                  <a:lnTo>
                    <a:pt x="442" y="435"/>
                  </a:lnTo>
                  <a:lnTo>
                    <a:pt x="446" y="435"/>
                  </a:lnTo>
                  <a:close/>
                  <a:moveTo>
                    <a:pt x="474" y="439"/>
                  </a:moveTo>
                  <a:lnTo>
                    <a:pt x="470" y="439"/>
                  </a:lnTo>
                  <a:lnTo>
                    <a:pt x="470" y="443"/>
                  </a:lnTo>
                  <a:lnTo>
                    <a:pt x="470" y="439"/>
                  </a:lnTo>
                  <a:lnTo>
                    <a:pt x="474" y="439"/>
                  </a:lnTo>
                  <a:close/>
                  <a:moveTo>
                    <a:pt x="554" y="439"/>
                  </a:moveTo>
                  <a:lnTo>
                    <a:pt x="554" y="443"/>
                  </a:lnTo>
                  <a:lnTo>
                    <a:pt x="550" y="443"/>
                  </a:lnTo>
                  <a:lnTo>
                    <a:pt x="550" y="439"/>
                  </a:lnTo>
                  <a:lnTo>
                    <a:pt x="554" y="439"/>
                  </a:lnTo>
                  <a:close/>
                  <a:moveTo>
                    <a:pt x="470" y="443"/>
                  </a:moveTo>
                  <a:lnTo>
                    <a:pt x="466" y="443"/>
                  </a:lnTo>
                  <a:lnTo>
                    <a:pt x="470" y="443"/>
                  </a:lnTo>
                  <a:close/>
                  <a:moveTo>
                    <a:pt x="478" y="443"/>
                  </a:moveTo>
                  <a:lnTo>
                    <a:pt x="478" y="447"/>
                  </a:lnTo>
                  <a:lnTo>
                    <a:pt x="478" y="443"/>
                  </a:lnTo>
                  <a:lnTo>
                    <a:pt x="474" y="443"/>
                  </a:lnTo>
                  <a:lnTo>
                    <a:pt x="478" y="443"/>
                  </a:lnTo>
                  <a:close/>
                  <a:moveTo>
                    <a:pt x="494" y="447"/>
                  </a:moveTo>
                  <a:lnTo>
                    <a:pt x="490" y="447"/>
                  </a:lnTo>
                  <a:lnTo>
                    <a:pt x="494" y="447"/>
                  </a:lnTo>
                  <a:close/>
                  <a:moveTo>
                    <a:pt x="662" y="451"/>
                  </a:moveTo>
                  <a:lnTo>
                    <a:pt x="662" y="455"/>
                  </a:lnTo>
                  <a:lnTo>
                    <a:pt x="658" y="455"/>
                  </a:lnTo>
                  <a:lnTo>
                    <a:pt x="658" y="451"/>
                  </a:lnTo>
                  <a:lnTo>
                    <a:pt x="662" y="451"/>
                  </a:lnTo>
                  <a:close/>
                  <a:moveTo>
                    <a:pt x="498" y="459"/>
                  </a:moveTo>
                  <a:lnTo>
                    <a:pt x="498" y="455"/>
                  </a:lnTo>
                  <a:lnTo>
                    <a:pt x="498" y="459"/>
                  </a:lnTo>
                  <a:close/>
                  <a:moveTo>
                    <a:pt x="498" y="459"/>
                  </a:moveTo>
                  <a:lnTo>
                    <a:pt x="494" y="459"/>
                  </a:lnTo>
                  <a:lnTo>
                    <a:pt x="494" y="455"/>
                  </a:lnTo>
                  <a:lnTo>
                    <a:pt x="498" y="455"/>
                  </a:lnTo>
                  <a:lnTo>
                    <a:pt x="498" y="459"/>
                  </a:lnTo>
                  <a:close/>
                  <a:moveTo>
                    <a:pt x="1172" y="463"/>
                  </a:moveTo>
                  <a:lnTo>
                    <a:pt x="1168" y="463"/>
                  </a:lnTo>
                  <a:lnTo>
                    <a:pt x="1172" y="463"/>
                  </a:lnTo>
                  <a:lnTo>
                    <a:pt x="1176" y="463"/>
                  </a:lnTo>
                  <a:lnTo>
                    <a:pt x="1172" y="463"/>
                  </a:lnTo>
                  <a:close/>
                  <a:moveTo>
                    <a:pt x="690" y="463"/>
                  </a:moveTo>
                  <a:lnTo>
                    <a:pt x="690" y="467"/>
                  </a:lnTo>
                  <a:lnTo>
                    <a:pt x="686" y="467"/>
                  </a:lnTo>
                  <a:lnTo>
                    <a:pt x="686" y="463"/>
                  </a:lnTo>
                  <a:lnTo>
                    <a:pt x="690" y="463"/>
                  </a:lnTo>
                  <a:close/>
                  <a:moveTo>
                    <a:pt x="506" y="467"/>
                  </a:moveTo>
                  <a:lnTo>
                    <a:pt x="506" y="471"/>
                  </a:lnTo>
                  <a:lnTo>
                    <a:pt x="506" y="467"/>
                  </a:lnTo>
                  <a:close/>
                  <a:moveTo>
                    <a:pt x="1180" y="471"/>
                  </a:moveTo>
                  <a:lnTo>
                    <a:pt x="1176" y="471"/>
                  </a:lnTo>
                  <a:lnTo>
                    <a:pt x="1180" y="471"/>
                  </a:lnTo>
                  <a:close/>
                  <a:moveTo>
                    <a:pt x="502" y="471"/>
                  </a:moveTo>
                  <a:lnTo>
                    <a:pt x="502" y="475"/>
                  </a:lnTo>
                  <a:lnTo>
                    <a:pt x="498" y="475"/>
                  </a:lnTo>
                  <a:lnTo>
                    <a:pt x="502" y="471"/>
                  </a:lnTo>
                  <a:close/>
                  <a:moveTo>
                    <a:pt x="1192" y="491"/>
                  </a:moveTo>
                  <a:lnTo>
                    <a:pt x="1188" y="491"/>
                  </a:lnTo>
                  <a:lnTo>
                    <a:pt x="1192" y="491"/>
                  </a:lnTo>
                  <a:close/>
                  <a:moveTo>
                    <a:pt x="1021" y="535"/>
                  </a:moveTo>
                  <a:lnTo>
                    <a:pt x="1021" y="539"/>
                  </a:lnTo>
                  <a:lnTo>
                    <a:pt x="1021" y="543"/>
                  </a:lnTo>
                  <a:lnTo>
                    <a:pt x="1021" y="539"/>
                  </a:lnTo>
                  <a:lnTo>
                    <a:pt x="1017" y="539"/>
                  </a:lnTo>
                  <a:lnTo>
                    <a:pt x="1021" y="535"/>
                  </a:lnTo>
                  <a:lnTo>
                    <a:pt x="1017" y="535"/>
                  </a:lnTo>
                  <a:lnTo>
                    <a:pt x="1021" y="535"/>
                  </a:lnTo>
                  <a:close/>
                  <a:moveTo>
                    <a:pt x="1009" y="535"/>
                  </a:moveTo>
                  <a:lnTo>
                    <a:pt x="1009" y="539"/>
                  </a:lnTo>
                  <a:lnTo>
                    <a:pt x="1013" y="539"/>
                  </a:lnTo>
                  <a:lnTo>
                    <a:pt x="1009" y="539"/>
                  </a:lnTo>
                  <a:lnTo>
                    <a:pt x="1009" y="535"/>
                  </a:lnTo>
                  <a:close/>
                  <a:moveTo>
                    <a:pt x="1152" y="539"/>
                  </a:moveTo>
                  <a:lnTo>
                    <a:pt x="1152" y="543"/>
                  </a:lnTo>
                  <a:lnTo>
                    <a:pt x="1152" y="539"/>
                  </a:lnTo>
                  <a:lnTo>
                    <a:pt x="1148" y="539"/>
                  </a:lnTo>
                  <a:lnTo>
                    <a:pt x="1152" y="539"/>
                  </a:lnTo>
                  <a:close/>
                  <a:moveTo>
                    <a:pt x="1017" y="539"/>
                  </a:moveTo>
                  <a:lnTo>
                    <a:pt x="1017" y="543"/>
                  </a:lnTo>
                  <a:lnTo>
                    <a:pt x="1017" y="539"/>
                  </a:lnTo>
                  <a:close/>
                  <a:moveTo>
                    <a:pt x="1148" y="539"/>
                  </a:moveTo>
                  <a:lnTo>
                    <a:pt x="1152" y="543"/>
                  </a:lnTo>
                  <a:lnTo>
                    <a:pt x="1148" y="543"/>
                  </a:lnTo>
                  <a:lnTo>
                    <a:pt x="1148" y="539"/>
                  </a:lnTo>
                  <a:close/>
                  <a:moveTo>
                    <a:pt x="1156" y="551"/>
                  </a:moveTo>
                  <a:lnTo>
                    <a:pt x="1156" y="555"/>
                  </a:lnTo>
                  <a:lnTo>
                    <a:pt x="1160" y="555"/>
                  </a:lnTo>
                  <a:lnTo>
                    <a:pt x="1160" y="559"/>
                  </a:lnTo>
                  <a:lnTo>
                    <a:pt x="1156" y="559"/>
                  </a:lnTo>
                  <a:lnTo>
                    <a:pt x="1156" y="555"/>
                  </a:lnTo>
                  <a:lnTo>
                    <a:pt x="1152" y="555"/>
                  </a:lnTo>
                  <a:lnTo>
                    <a:pt x="1152" y="551"/>
                  </a:lnTo>
                  <a:lnTo>
                    <a:pt x="1156" y="551"/>
                  </a:lnTo>
                  <a:close/>
                  <a:moveTo>
                    <a:pt x="1160" y="551"/>
                  </a:moveTo>
                  <a:lnTo>
                    <a:pt x="1160" y="555"/>
                  </a:lnTo>
                  <a:lnTo>
                    <a:pt x="1160" y="551"/>
                  </a:lnTo>
                  <a:close/>
                  <a:moveTo>
                    <a:pt x="1164" y="555"/>
                  </a:moveTo>
                  <a:lnTo>
                    <a:pt x="1164" y="559"/>
                  </a:lnTo>
                  <a:lnTo>
                    <a:pt x="1160" y="559"/>
                  </a:lnTo>
                  <a:lnTo>
                    <a:pt x="1160" y="555"/>
                  </a:lnTo>
                  <a:lnTo>
                    <a:pt x="1164" y="555"/>
                  </a:lnTo>
                  <a:close/>
                  <a:moveTo>
                    <a:pt x="1160" y="559"/>
                  </a:moveTo>
                  <a:lnTo>
                    <a:pt x="1164" y="559"/>
                  </a:lnTo>
                  <a:lnTo>
                    <a:pt x="1164" y="563"/>
                  </a:lnTo>
                  <a:lnTo>
                    <a:pt x="1160" y="563"/>
                  </a:lnTo>
                  <a:lnTo>
                    <a:pt x="1160" y="559"/>
                  </a:lnTo>
                  <a:close/>
                  <a:moveTo>
                    <a:pt x="762" y="559"/>
                  </a:moveTo>
                  <a:lnTo>
                    <a:pt x="762" y="563"/>
                  </a:lnTo>
                  <a:lnTo>
                    <a:pt x="758" y="563"/>
                  </a:lnTo>
                  <a:lnTo>
                    <a:pt x="758" y="559"/>
                  </a:lnTo>
                  <a:lnTo>
                    <a:pt x="762" y="559"/>
                  </a:lnTo>
                  <a:close/>
                  <a:moveTo>
                    <a:pt x="953" y="583"/>
                  </a:moveTo>
                  <a:lnTo>
                    <a:pt x="957" y="583"/>
                  </a:lnTo>
                  <a:lnTo>
                    <a:pt x="957" y="587"/>
                  </a:lnTo>
                  <a:lnTo>
                    <a:pt x="953" y="587"/>
                  </a:lnTo>
                  <a:lnTo>
                    <a:pt x="953" y="583"/>
                  </a:lnTo>
                  <a:close/>
                  <a:moveTo>
                    <a:pt x="738" y="591"/>
                  </a:moveTo>
                  <a:lnTo>
                    <a:pt x="734" y="591"/>
                  </a:lnTo>
                  <a:lnTo>
                    <a:pt x="738" y="591"/>
                  </a:lnTo>
                  <a:close/>
                  <a:moveTo>
                    <a:pt x="1141" y="603"/>
                  </a:moveTo>
                  <a:lnTo>
                    <a:pt x="1141" y="606"/>
                  </a:lnTo>
                  <a:lnTo>
                    <a:pt x="1137" y="606"/>
                  </a:lnTo>
                  <a:lnTo>
                    <a:pt x="1137" y="603"/>
                  </a:lnTo>
                  <a:lnTo>
                    <a:pt x="1141" y="603"/>
                  </a:lnTo>
                  <a:close/>
                  <a:moveTo>
                    <a:pt x="1164" y="650"/>
                  </a:moveTo>
                  <a:lnTo>
                    <a:pt x="1164" y="654"/>
                  </a:lnTo>
                  <a:lnTo>
                    <a:pt x="1160" y="654"/>
                  </a:lnTo>
                  <a:lnTo>
                    <a:pt x="1164" y="650"/>
                  </a:lnTo>
                  <a:close/>
                  <a:moveTo>
                    <a:pt x="1196" y="710"/>
                  </a:moveTo>
                  <a:lnTo>
                    <a:pt x="1196" y="706"/>
                  </a:lnTo>
                  <a:lnTo>
                    <a:pt x="1200" y="706"/>
                  </a:lnTo>
                  <a:lnTo>
                    <a:pt x="1196" y="710"/>
                  </a:lnTo>
                  <a:close/>
                  <a:moveTo>
                    <a:pt x="1200" y="706"/>
                  </a:moveTo>
                  <a:lnTo>
                    <a:pt x="1200" y="710"/>
                  </a:lnTo>
                  <a:lnTo>
                    <a:pt x="1196" y="710"/>
                  </a:lnTo>
                  <a:lnTo>
                    <a:pt x="1200" y="710"/>
                  </a:lnTo>
                  <a:lnTo>
                    <a:pt x="1200" y="706"/>
                  </a:lnTo>
                  <a:close/>
                  <a:moveTo>
                    <a:pt x="925" y="722"/>
                  </a:moveTo>
                  <a:lnTo>
                    <a:pt x="925" y="726"/>
                  </a:lnTo>
                  <a:lnTo>
                    <a:pt x="925" y="722"/>
                  </a:lnTo>
                  <a:close/>
                  <a:moveTo>
                    <a:pt x="1212" y="746"/>
                  </a:moveTo>
                  <a:lnTo>
                    <a:pt x="1216" y="746"/>
                  </a:lnTo>
                  <a:lnTo>
                    <a:pt x="1212" y="746"/>
                  </a:lnTo>
                  <a:close/>
                  <a:moveTo>
                    <a:pt x="1256" y="770"/>
                  </a:moveTo>
                  <a:lnTo>
                    <a:pt x="1256" y="774"/>
                  </a:lnTo>
                  <a:lnTo>
                    <a:pt x="1252" y="774"/>
                  </a:lnTo>
                  <a:lnTo>
                    <a:pt x="1252" y="770"/>
                  </a:lnTo>
                  <a:lnTo>
                    <a:pt x="1256" y="770"/>
                  </a:lnTo>
                  <a:close/>
                  <a:moveTo>
                    <a:pt x="159" y="770"/>
                  </a:moveTo>
                  <a:lnTo>
                    <a:pt x="159" y="774"/>
                  </a:lnTo>
                  <a:lnTo>
                    <a:pt x="155" y="774"/>
                  </a:lnTo>
                  <a:lnTo>
                    <a:pt x="159" y="770"/>
                  </a:lnTo>
                  <a:close/>
                  <a:moveTo>
                    <a:pt x="1288" y="802"/>
                  </a:moveTo>
                  <a:lnTo>
                    <a:pt x="1292" y="802"/>
                  </a:lnTo>
                  <a:lnTo>
                    <a:pt x="1288" y="806"/>
                  </a:lnTo>
                  <a:lnTo>
                    <a:pt x="1288" y="802"/>
                  </a:lnTo>
                  <a:close/>
                  <a:moveTo>
                    <a:pt x="187" y="818"/>
                  </a:moveTo>
                  <a:lnTo>
                    <a:pt x="191" y="818"/>
                  </a:lnTo>
                  <a:lnTo>
                    <a:pt x="187" y="822"/>
                  </a:lnTo>
                  <a:lnTo>
                    <a:pt x="187" y="818"/>
                  </a:lnTo>
                  <a:close/>
                  <a:moveTo>
                    <a:pt x="195" y="830"/>
                  </a:moveTo>
                  <a:lnTo>
                    <a:pt x="199" y="830"/>
                  </a:lnTo>
                  <a:lnTo>
                    <a:pt x="195" y="830"/>
                  </a:lnTo>
                  <a:close/>
                  <a:moveTo>
                    <a:pt x="191" y="834"/>
                  </a:moveTo>
                  <a:lnTo>
                    <a:pt x="191" y="830"/>
                  </a:lnTo>
                  <a:lnTo>
                    <a:pt x="191" y="834"/>
                  </a:lnTo>
                  <a:close/>
                  <a:moveTo>
                    <a:pt x="195" y="834"/>
                  </a:moveTo>
                  <a:lnTo>
                    <a:pt x="199" y="834"/>
                  </a:lnTo>
                  <a:lnTo>
                    <a:pt x="195" y="834"/>
                  </a:lnTo>
                  <a:close/>
                  <a:moveTo>
                    <a:pt x="215" y="862"/>
                  </a:moveTo>
                  <a:lnTo>
                    <a:pt x="211" y="862"/>
                  </a:lnTo>
                  <a:lnTo>
                    <a:pt x="215" y="862"/>
                  </a:lnTo>
                  <a:lnTo>
                    <a:pt x="219" y="862"/>
                  </a:lnTo>
                  <a:lnTo>
                    <a:pt x="215" y="862"/>
                  </a:lnTo>
                  <a:close/>
                  <a:moveTo>
                    <a:pt x="1296" y="862"/>
                  </a:moveTo>
                  <a:lnTo>
                    <a:pt x="1292" y="866"/>
                  </a:lnTo>
                  <a:lnTo>
                    <a:pt x="1292" y="862"/>
                  </a:lnTo>
                  <a:lnTo>
                    <a:pt x="1296" y="862"/>
                  </a:lnTo>
                  <a:close/>
                  <a:moveTo>
                    <a:pt x="211" y="866"/>
                  </a:moveTo>
                  <a:lnTo>
                    <a:pt x="215" y="866"/>
                  </a:lnTo>
                  <a:lnTo>
                    <a:pt x="211" y="866"/>
                  </a:lnTo>
                  <a:close/>
                  <a:moveTo>
                    <a:pt x="223" y="866"/>
                  </a:moveTo>
                  <a:lnTo>
                    <a:pt x="223" y="870"/>
                  </a:lnTo>
                  <a:lnTo>
                    <a:pt x="219" y="870"/>
                  </a:lnTo>
                  <a:lnTo>
                    <a:pt x="215" y="870"/>
                  </a:lnTo>
                  <a:lnTo>
                    <a:pt x="219" y="870"/>
                  </a:lnTo>
                  <a:lnTo>
                    <a:pt x="223" y="866"/>
                  </a:lnTo>
                  <a:close/>
                  <a:moveTo>
                    <a:pt x="235" y="870"/>
                  </a:moveTo>
                  <a:lnTo>
                    <a:pt x="235" y="874"/>
                  </a:lnTo>
                  <a:lnTo>
                    <a:pt x="235" y="870"/>
                  </a:lnTo>
                  <a:close/>
                  <a:moveTo>
                    <a:pt x="239" y="870"/>
                  </a:moveTo>
                  <a:lnTo>
                    <a:pt x="239" y="874"/>
                  </a:lnTo>
                  <a:lnTo>
                    <a:pt x="239" y="878"/>
                  </a:lnTo>
                  <a:lnTo>
                    <a:pt x="239" y="874"/>
                  </a:lnTo>
                  <a:lnTo>
                    <a:pt x="235" y="874"/>
                  </a:lnTo>
                  <a:lnTo>
                    <a:pt x="239" y="870"/>
                  </a:lnTo>
                  <a:close/>
                  <a:moveTo>
                    <a:pt x="247" y="874"/>
                  </a:moveTo>
                  <a:lnTo>
                    <a:pt x="247" y="878"/>
                  </a:lnTo>
                  <a:lnTo>
                    <a:pt x="243" y="874"/>
                  </a:lnTo>
                  <a:lnTo>
                    <a:pt x="247" y="874"/>
                  </a:lnTo>
                  <a:close/>
                  <a:moveTo>
                    <a:pt x="243" y="874"/>
                  </a:moveTo>
                  <a:lnTo>
                    <a:pt x="247" y="878"/>
                  </a:lnTo>
                  <a:lnTo>
                    <a:pt x="243" y="878"/>
                  </a:lnTo>
                  <a:lnTo>
                    <a:pt x="243" y="874"/>
                  </a:lnTo>
                  <a:close/>
                  <a:moveTo>
                    <a:pt x="243" y="874"/>
                  </a:moveTo>
                  <a:lnTo>
                    <a:pt x="243" y="878"/>
                  </a:lnTo>
                  <a:lnTo>
                    <a:pt x="243" y="882"/>
                  </a:lnTo>
                  <a:lnTo>
                    <a:pt x="243" y="878"/>
                  </a:lnTo>
                  <a:lnTo>
                    <a:pt x="239" y="878"/>
                  </a:lnTo>
                  <a:lnTo>
                    <a:pt x="243" y="878"/>
                  </a:lnTo>
                  <a:lnTo>
                    <a:pt x="243" y="874"/>
                  </a:lnTo>
                  <a:close/>
                  <a:moveTo>
                    <a:pt x="255" y="886"/>
                  </a:moveTo>
                  <a:lnTo>
                    <a:pt x="255" y="890"/>
                  </a:lnTo>
                  <a:lnTo>
                    <a:pt x="255" y="886"/>
                  </a:lnTo>
                  <a:close/>
                  <a:moveTo>
                    <a:pt x="1316" y="886"/>
                  </a:moveTo>
                  <a:lnTo>
                    <a:pt x="1316" y="890"/>
                  </a:lnTo>
                  <a:lnTo>
                    <a:pt x="1312" y="890"/>
                  </a:lnTo>
                  <a:lnTo>
                    <a:pt x="1312" y="886"/>
                  </a:lnTo>
                  <a:lnTo>
                    <a:pt x="1316" y="886"/>
                  </a:lnTo>
                  <a:close/>
                  <a:moveTo>
                    <a:pt x="1308" y="890"/>
                  </a:moveTo>
                  <a:lnTo>
                    <a:pt x="1304" y="894"/>
                  </a:lnTo>
                  <a:lnTo>
                    <a:pt x="1304" y="890"/>
                  </a:lnTo>
                  <a:lnTo>
                    <a:pt x="1308" y="890"/>
                  </a:lnTo>
                  <a:close/>
                  <a:moveTo>
                    <a:pt x="267" y="890"/>
                  </a:moveTo>
                  <a:lnTo>
                    <a:pt x="267" y="894"/>
                  </a:lnTo>
                  <a:lnTo>
                    <a:pt x="263" y="894"/>
                  </a:lnTo>
                  <a:lnTo>
                    <a:pt x="267" y="894"/>
                  </a:lnTo>
                  <a:lnTo>
                    <a:pt x="267" y="890"/>
                  </a:lnTo>
                  <a:close/>
                  <a:moveTo>
                    <a:pt x="227" y="898"/>
                  </a:moveTo>
                  <a:lnTo>
                    <a:pt x="231" y="898"/>
                  </a:lnTo>
                  <a:lnTo>
                    <a:pt x="231" y="902"/>
                  </a:lnTo>
                  <a:lnTo>
                    <a:pt x="227" y="902"/>
                  </a:lnTo>
                  <a:lnTo>
                    <a:pt x="227" y="898"/>
                  </a:lnTo>
                  <a:close/>
                  <a:moveTo>
                    <a:pt x="1324" y="922"/>
                  </a:moveTo>
                  <a:lnTo>
                    <a:pt x="1320" y="922"/>
                  </a:lnTo>
                  <a:lnTo>
                    <a:pt x="1316" y="922"/>
                  </a:lnTo>
                  <a:lnTo>
                    <a:pt x="1320" y="922"/>
                  </a:lnTo>
                  <a:lnTo>
                    <a:pt x="1324" y="922"/>
                  </a:lnTo>
                  <a:close/>
                  <a:moveTo>
                    <a:pt x="1288" y="934"/>
                  </a:moveTo>
                  <a:lnTo>
                    <a:pt x="1284" y="934"/>
                  </a:lnTo>
                  <a:lnTo>
                    <a:pt x="1288" y="934"/>
                  </a:lnTo>
                  <a:close/>
                  <a:moveTo>
                    <a:pt x="1316" y="934"/>
                  </a:moveTo>
                  <a:lnTo>
                    <a:pt x="1312" y="934"/>
                  </a:lnTo>
                  <a:lnTo>
                    <a:pt x="1312" y="938"/>
                  </a:lnTo>
                  <a:lnTo>
                    <a:pt x="1312" y="934"/>
                  </a:lnTo>
                  <a:lnTo>
                    <a:pt x="1316" y="934"/>
                  </a:lnTo>
                  <a:close/>
                  <a:moveTo>
                    <a:pt x="790" y="156"/>
                  </a:moveTo>
                  <a:lnTo>
                    <a:pt x="786" y="156"/>
                  </a:lnTo>
                  <a:lnTo>
                    <a:pt x="782" y="156"/>
                  </a:lnTo>
                  <a:lnTo>
                    <a:pt x="782" y="152"/>
                  </a:lnTo>
                  <a:lnTo>
                    <a:pt x="778" y="148"/>
                  </a:lnTo>
                  <a:lnTo>
                    <a:pt x="774" y="148"/>
                  </a:lnTo>
                  <a:lnTo>
                    <a:pt x="774" y="144"/>
                  </a:lnTo>
                  <a:lnTo>
                    <a:pt x="770" y="144"/>
                  </a:lnTo>
                  <a:lnTo>
                    <a:pt x="770" y="148"/>
                  </a:lnTo>
                  <a:lnTo>
                    <a:pt x="774" y="148"/>
                  </a:lnTo>
                  <a:lnTo>
                    <a:pt x="774" y="152"/>
                  </a:lnTo>
                  <a:lnTo>
                    <a:pt x="778" y="152"/>
                  </a:lnTo>
                  <a:lnTo>
                    <a:pt x="782" y="156"/>
                  </a:lnTo>
                  <a:lnTo>
                    <a:pt x="778" y="156"/>
                  </a:lnTo>
                  <a:lnTo>
                    <a:pt x="774" y="156"/>
                  </a:lnTo>
                  <a:lnTo>
                    <a:pt x="774" y="152"/>
                  </a:lnTo>
                  <a:lnTo>
                    <a:pt x="770" y="152"/>
                  </a:lnTo>
                  <a:lnTo>
                    <a:pt x="766" y="152"/>
                  </a:lnTo>
                  <a:lnTo>
                    <a:pt x="762" y="152"/>
                  </a:lnTo>
                  <a:lnTo>
                    <a:pt x="766" y="152"/>
                  </a:lnTo>
                  <a:lnTo>
                    <a:pt x="766" y="156"/>
                  </a:lnTo>
                  <a:lnTo>
                    <a:pt x="762" y="156"/>
                  </a:lnTo>
                  <a:lnTo>
                    <a:pt x="758" y="156"/>
                  </a:lnTo>
                  <a:lnTo>
                    <a:pt x="754" y="156"/>
                  </a:lnTo>
                  <a:lnTo>
                    <a:pt x="750" y="156"/>
                  </a:lnTo>
                  <a:lnTo>
                    <a:pt x="746" y="156"/>
                  </a:lnTo>
                  <a:lnTo>
                    <a:pt x="742" y="156"/>
                  </a:lnTo>
                  <a:lnTo>
                    <a:pt x="738" y="156"/>
                  </a:lnTo>
                  <a:lnTo>
                    <a:pt x="738" y="152"/>
                  </a:lnTo>
                  <a:lnTo>
                    <a:pt x="734" y="152"/>
                  </a:lnTo>
                  <a:lnTo>
                    <a:pt x="726" y="148"/>
                  </a:lnTo>
                  <a:lnTo>
                    <a:pt x="730" y="148"/>
                  </a:lnTo>
                  <a:lnTo>
                    <a:pt x="734" y="148"/>
                  </a:lnTo>
                  <a:lnTo>
                    <a:pt x="734" y="144"/>
                  </a:lnTo>
                  <a:lnTo>
                    <a:pt x="738" y="144"/>
                  </a:lnTo>
                  <a:lnTo>
                    <a:pt x="742" y="144"/>
                  </a:lnTo>
                  <a:lnTo>
                    <a:pt x="746" y="144"/>
                  </a:lnTo>
                  <a:lnTo>
                    <a:pt x="742" y="144"/>
                  </a:lnTo>
                  <a:lnTo>
                    <a:pt x="738" y="144"/>
                  </a:lnTo>
                  <a:lnTo>
                    <a:pt x="734" y="144"/>
                  </a:lnTo>
                  <a:lnTo>
                    <a:pt x="730" y="144"/>
                  </a:lnTo>
                  <a:lnTo>
                    <a:pt x="726" y="144"/>
                  </a:lnTo>
                  <a:lnTo>
                    <a:pt x="722" y="144"/>
                  </a:lnTo>
                  <a:lnTo>
                    <a:pt x="718" y="144"/>
                  </a:lnTo>
                  <a:lnTo>
                    <a:pt x="714" y="140"/>
                  </a:lnTo>
                  <a:lnTo>
                    <a:pt x="714" y="136"/>
                  </a:lnTo>
                  <a:lnTo>
                    <a:pt x="718" y="136"/>
                  </a:lnTo>
                  <a:lnTo>
                    <a:pt x="718" y="140"/>
                  </a:lnTo>
                  <a:lnTo>
                    <a:pt x="722" y="140"/>
                  </a:lnTo>
                  <a:lnTo>
                    <a:pt x="726" y="140"/>
                  </a:lnTo>
                  <a:lnTo>
                    <a:pt x="722" y="136"/>
                  </a:lnTo>
                  <a:lnTo>
                    <a:pt x="718" y="136"/>
                  </a:lnTo>
                  <a:lnTo>
                    <a:pt x="714" y="136"/>
                  </a:lnTo>
                  <a:lnTo>
                    <a:pt x="710" y="136"/>
                  </a:lnTo>
                  <a:lnTo>
                    <a:pt x="710" y="132"/>
                  </a:lnTo>
                  <a:lnTo>
                    <a:pt x="706" y="132"/>
                  </a:lnTo>
                  <a:lnTo>
                    <a:pt x="710" y="132"/>
                  </a:lnTo>
                  <a:lnTo>
                    <a:pt x="714" y="128"/>
                  </a:lnTo>
                  <a:lnTo>
                    <a:pt x="714" y="132"/>
                  </a:lnTo>
                  <a:lnTo>
                    <a:pt x="714" y="128"/>
                  </a:lnTo>
                  <a:lnTo>
                    <a:pt x="718" y="128"/>
                  </a:lnTo>
                  <a:lnTo>
                    <a:pt x="722" y="128"/>
                  </a:lnTo>
                  <a:lnTo>
                    <a:pt x="722" y="124"/>
                  </a:lnTo>
                  <a:lnTo>
                    <a:pt x="722" y="128"/>
                  </a:lnTo>
                  <a:lnTo>
                    <a:pt x="726" y="128"/>
                  </a:lnTo>
                  <a:lnTo>
                    <a:pt x="730" y="128"/>
                  </a:lnTo>
                  <a:lnTo>
                    <a:pt x="734" y="128"/>
                  </a:lnTo>
                  <a:lnTo>
                    <a:pt x="738" y="128"/>
                  </a:lnTo>
                  <a:lnTo>
                    <a:pt x="742" y="128"/>
                  </a:lnTo>
                  <a:lnTo>
                    <a:pt x="746" y="124"/>
                  </a:lnTo>
                  <a:lnTo>
                    <a:pt x="750" y="124"/>
                  </a:lnTo>
                  <a:lnTo>
                    <a:pt x="754" y="124"/>
                  </a:lnTo>
                  <a:lnTo>
                    <a:pt x="758" y="124"/>
                  </a:lnTo>
                  <a:lnTo>
                    <a:pt x="762" y="124"/>
                  </a:lnTo>
                  <a:lnTo>
                    <a:pt x="766" y="124"/>
                  </a:lnTo>
                  <a:lnTo>
                    <a:pt x="762" y="124"/>
                  </a:lnTo>
                  <a:lnTo>
                    <a:pt x="758" y="124"/>
                  </a:lnTo>
                  <a:lnTo>
                    <a:pt x="754" y="124"/>
                  </a:lnTo>
                  <a:lnTo>
                    <a:pt x="750" y="124"/>
                  </a:lnTo>
                  <a:lnTo>
                    <a:pt x="742" y="124"/>
                  </a:lnTo>
                  <a:lnTo>
                    <a:pt x="738" y="124"/>
                  </a:lnTo>
                  <a:lnTo>
                    <a:pt x="734" y="124"/>
                  </a:lnTo>
                  <a:lnTo>
                    <a:pt x="730" y="124"/>
                  </a:lnTo>
                  <a:lnTo>
                    <a:pt x="734" y="124"/>
                  </a:lnTo>
                  <a:lnTo>
                    <a:pt x="734" y="120"/>
                  </a:lnTo>
                  <a:lnTo>
                    <a:pt x="738" y="120"/>
                  </a:lnTo>
                  <a:lnTo>
                    <a:pt x="742" y="124"/>
                  </a:lnTo>
                  <a:lnTo>
                    <a:pt x="742" y="120"/>
                  </a:lnTo>
                  <a:lnTo>
                    <a:pt x="746" y="120"/>
                  </a:lnTo>
                  <a:lnTo>
                    <a:pt x="750" y="120"/>
                  </a:lnTo>
                  <a:lnTo>
                    <a:pt x="754" y="120"/>
                  </a:lnTo>
                  <a:lnTo>
                    <a:pt x="750" y="120"/>
                  </a:lnTo>
                  <a:lnTo>
                    <a:pt x="746" y="120"/>
                  </a:lnTo>
                  <a:lnTo>
                    <a:pt x="742" y="120"/>
                  </a:lnTo>
                  <a:lnTo>
                    <a:pt x="738" y="120"/>
                  </a:lnTo>
                  <a:lnTo>
                    <a:pt x="734" y="120"/>
                  </a:lnTo>
                  <a:lnTo>
                    <a:pt x="738" y="120"/>
                  </a:lnTo>
                  <a:lnTo>
                    <a:pt x="738" y="116"/>
                  </a:lnTo>
                  <a:lnTo>
                    <a:pt x="734" y="116"/>
                  </a:lnTo>
                  <a:lnTo>
                    <a:pt x="730" y="116"/>
                  </a:lnTo>
                  <a:lnTo>
                    <a:pt x="730" y="120"/>
                  </a:lnTo>
                  <a:lnTo>
                    <a:pt x="726" y="120"/>
                  </a:lnTo>
                  <a:lnTo>
                    <a:pt x="726" y="116"/>
                  </a:lnTo>
                  <a:lnTo>
                    <a:pt x="726" y="120"/>
                  </a:lnTo>
                  <a:lnTo>
                    <a:pt x="722" y="120"/>
                  </a:lnTo>
                  <a:lnTo>
                    <a:pt x="722" y="116"/>
                  </a:lnTo>
                  <a:lnTo>
                    <a:pt x="718" y="120"/>
                  </a:lnTo>
                  <a:lnTo>
                    <a:pt x="714" y="124"/>
                  </a:lnTo>
                  <a:lnTo>
                    <a:pt x="710" y="124"/>
                  </a:lnTo>
                  <a:lnTo>
                    <a:pt x="706" y="124"/>
                  </a:lnTo>
                  <a:lnTo>
                    <a:pt x="710" y="120"/>
                  </a:lnTo>
                  <a:lnTo>
                    <a:pt x="706" y="120"/>
                  </a:lnTo>
                  <a:lnTo>
                    <a:pt x="702" y="120"/>
                  </a:lnTo>
                  <a:lnTo>
                    <a:pt x="706" y="120"/>
                  </a:lnTo>
                  <a:lnTo>
                    <a:pt x="702" y="120"/>
                  </a:lnTo>
                  <a:lnTo>
                    <a:pt x="698" y="120"/>
                  </a:lnTo>
                  <a:lnTo>
                    <a:pt x="698" y="124"/>
                  </a:lnTo>
                  <a:lnTo>
                    <a:pt x="694" y="124"/>
                  </a:lnTo>
                  <a:lnTo>
                    <a:pt x="690" y="120"/>
                  </a:lnTo>
                  <a:lnTo>
                    <a:pt x="686" y="120"/>
                  </a:lnTo>
                  <a:lnTo>
                    <a:pt x="686" y="116"/>
                  </a:lnTo>
                  <a:lnTo>
                    <a:pt x="686" y="112"/>
                  </a:lnTo>
                  <a:lnTo>
                    <a:pt x="690" y="112"/>
                  </a:lnTo>
                  <a:lnTo>
                    <a:pt x="694" y="112"/>
                  </a:lnTo>
                  <a:lnTo>
                    <a:pt x="698" y="112"/>
                  </a:lnTo>
                  <a:lnTo>
                    <a:pt x="702" y="112"/>
                  </a:lnTo>
                  <a:lnTo>
                    <a:pt x="706" y="112"/>
                  </a:lnTo>
                  <a:lnTo>
                    <a:pt x="706" y="108"/>
                  </a:lnTo>
                  <a:lnTo>
                    <a:pt x="702" y="108"/>
                  </a:lnTo>
                  <a:lnTo>
                    <a:pt x="698" y="112"/>
                  </a:lnTo>
                  <a:lnTo>
                    <a:pt x="694" y="112"/>
                  </a:lnTo>
                  <a:lnTo>
                    <a:pt x="690" y="112"/>
                  </a:lnTo>
                  <a:lnTo>
                    <a:pt x="686" y="112"/>
                  </a:lnTo>
                  <a:lnTo>
                    <a:pt x="682" y="112"/>
                  </a:lnTo>
                  <a:lnTo>
                    <a:pt x="682" y="108"/>
                  </a:lnTo>
                  <a:lnTo>
                    <a:pt x="678" y="108"/>
                  </a:lnTo>
                  <a:lnTo>
                    <a:pt x="674" y="104"/>
                  </a:lnTo>
                  <a:lnTo>
                    <a:pt x="670" y="104"/>
                  </a:lnTo>
                  <a:lnTo>
                    <a:pt x="674" y="104"/>
                  </a:lnTo>
                  <a:lnTo>
                    <a:pt x="678" y="104"/>
                  </a:lnTo>
                  <a:lnTo>
                    <a:pt x="674" y="100"/>
                  </a:lnTo>
                  <a:lnTo>
                    <a:pt x="670" y="100"/>
                  </a:lnTo>
                  <a:lnTo>
                    <a:pt x="674" y="100"/>
                  </a:lnTo>
                  <a:lnTo>
                    <a:pt x="670" y="100"/>
                  </a:lnTo>
                  <a:lnTo>
                    <a:pt x="670" y="96"/>
                  </a:lnTo>
                  <a:lnTo>
                    <a:pt x="674" y="96"/>
                  </a:lnTo>
                  <a:lnTo>
                    <a:pt x="678" y="96"/>
                  </a:lnTo>
                  <a:lnTo>
                    <a:pt x="682" y="96"/>
                  </a:lnTo>
                  <a:lnTo>
                    <a:pt x="682" y="100"/>
                  </a:lnTo>
                  <a:lnTo>
                    <a:pt x="686" y="100"/>
                  </a:lnTo>
                  <a:lnTo>
                    <a:pt x="690" y="100"/>
                  </a:lnTo>
                  <a:lnTo>
                    <a:pt x="694" y="100"/>
                  </a:lnTo>
                  <a:lnTo>
                    <a:pt x="698" y="100"/>
                  </a:lnTo>
                  <a:lnTo>
                    <a:pt x="702" y="100"/>
                  </a:lnTo>
                  <a:lnTo>
                    <a:pt x="706" y="100"/>
                  </a:lnTo>
                  <a:lnTo>
                    <a:pt x="702" y="100"/>
                  </a:lnTo>
                  <a:lnTo>
                    <a:pt x="698" y="96"/>
                  </a:lnTo>
                  <a:lnTo>
                    <a:pt x="702" y="96"/>
                  </a:lnTo>
                  <a:lnTo>
                    <a:pt x="706" y="96"/>
                  </a:lnTo>
                  <a:lnTo>
                    <a:pt x="710" y="96"/>
                  </a:lnTo>
                  <a:lnTo>
                    <a:pt x="706" y="96"/>
                  </a:lnTo>
                  <a:lnTo>
                    <a:pt x="702" y="92"/>
                  </a:lnTo>
                  <a:lnTo>
                    <a:pt x="702" y="96"/>
                  </a:lnTo>
                  <a:lnTo>
                    <a:pt x="698" y="96"/>
                  </a:lnTo>
                  <a:lnTo>
                    <a:pt x="694" y="96"/>
                  </a:lnTo>
                  <a:lnTo>
                    <a:pt x="690" y="96"/>
                  </a:lnTo>
                  <a:lnTo>
                    <a:pt x="686" y="96"/>
                  </a:lnTo>
                  <a:lnTo>
                    <a:pt x="686" y="92"/>
                  </a:lnTo>
                  <a:lnTo>
                    <a:pt x="690" y="92"/>
                  </a:lnTo>
                  <a:lnTo>
                    <a:pt x="694" y="92"/>
                  </a:lnTo>
                  <a:lnTo>
                    <a:pt x="690" y="92"/>
                  </a:lnTo>
                  <a:lnTo>
                    <a:pt x="686" y="92"/>
                  </a:lnTo>
                  <a:lnTo>
                    <a:pt x="682" y="92"/>
                  </a:lnTo>
                  <a:lnTo>
                    <a:pt x="682" y="96"/>
                  </a:lnTo>
                  <a:lnTo>
                    <a:pt x="682" y="92"/>
                  </a:lnTo>
                  <a:lnTo>
                    <a:pt x="678" y="92"/>
                  </a:lnTo>
                  <a:lnTo>
                    <a:pt x="674" y="92"/>
                  </a:lnTo>
                  <a:lnTo>
                    <a:pt x="670" y="88"/>
                  </a:lnTo>
                  <a:lnTo>
                    <a:pt x="674" y="88"/>
                  </a:lnTo>
                  <a:lnTo>
                    <a:pt x="678" y="88"/>
                  </a:lnTo>
                  <a:lnTo>
                    <a:pt x="682" y="88"/>
                  </a:lnTo>
                  <a:lnTo>
                    <a:pt x="686" y="88"/>
                  </a:lnTo>
                  <a:lnTo>
                    <a:pt x="690" y="88"/>
                  </a:lnTo>
                  <a:lnTo>
                    <a:pt x="686" y="88"/>
                  </a:lnTo>
                  <a:lnTo>
                    <a:pt x="682" y="84"/>
                  </a:lnTo>
                  <a:lnTo>
                    <a:pt x="682" y="80"/>
                  </a:lnTo>
                  <a:lnTo>
                    <a:pt x="686" y="80"/>
                  </a:lnTo>
                  <a:lnTo>
                    <a:pt x="690" y="80"/>
                  </a:lnTo>
                  <a:lnTo>
                    <a:pt x="694" y="80"/>
                  </a:lnTo>
                  <a:lnTo>
                    <a:pt x="698" y="80"/>
                  </a:lnTo>
                  <a:lnTo>
                    <a:pt x="698" y="84"/>
                  </a:lnTo>
                  <a:lnTo>
                    <a:pt x="702" y="84"/>
                  </a:lnTo>
                  <a:lnTo>
                    <a:pt x="706" y="84"/>
                  </a:lnTo>
                  <a:lnTo>
                    <a:pt x="710" y="84"/>
                  </a:lnTo>
                  <a:lnTo>
                    <a:pt x="714" y="84"/>
                  </a:lnTo>
                  <a:lnTo>
                    <a:pt x="710" y="84"/>
                  </a:lnTo>
                  <a:lnTo>
                    <a:pt x="710" y="80"/>
                  </a:lnTo>
                  <a:lnTo>
                    <a:pt x="706" y="80"/>
                  </a:lnTo>
                  <a:lnTo>
                    <a:pt x="702" y="80"/>
                  </a:lnTo>
                  <a:lnTo>
                    <a:pt x="706" y="80"/>
                  </a:lnTo>
                  <a:lnTo>
                    <a:pt x="710" y="80"/>
                  </a:lnTo>
                  <a:lnTo>
                    <a:pt x="710" y="76"/>
                  </a:lnTo>
                  <a:lnTo>
                    <a:pt x="706" y="76"/>
                  </a:lnTo>
                  <a:lnTo>
                    <a:pt x="702" y="76"/>
                  </a:lnTo>
                  <a:lnTo>
                    <a:pt x="698" y="76"/>
                  </a:lnTo>
                  <a:lnTo>
                    <a:pt x="694" y="76"/>
                  </a:lnTo>
                  <a:lnTo>
                    <a:pt x="690" y="76"/>
                  </a:lnTo>
                  <a:lnTo>
                    <a:pt x="686" y="76"/>
                  </a:lnTo>
                  <a:lnTo>
                    <a:pt x="690" y="72"/>
                  </a:lnTo>
                  <a:lnTo>
                    <a:pt x="694" y="72"/>
                  </a:lnTo>
                  <a:lnTo>
                    <a:pt x="690" y="72"/>
                  </a:lnTo>
                  <a:lnTo>
                    <a:pt x="694" y="68"/>
                  </a:lnTo>
                  <a:lnTo>
                    <a:pt x="698" y="68"/>
                  </a:lnTo>
                  <a:lnTo>
                    <a:pt x="702" y="68"/>
                  </a:lnTo>
                  <a:lnTo>
                    <a:pt x="706" y="68"/>
                  </a:lnTo>
                  <a:lnTo>
                    <a:pt x="710" y="68"/>
                  </a:lnTo>
                  <a:lnTo>
                    <a:pt x="714" y="68"/>
                  </a:lnTo>
                  <a:lnTo>
                    <a:pt x="710" y="68"/>
                  </a:lnTo>
                  <a:lnTo>
                    <a:pt x="706" y="64"/>
                  </a:lnTo>
                  <a:lnTo>
                    <a:pt x="710" y="64"/>
                  </a:lnTo>
                  <a:lnTo>
                    <a:pt x="714" y="64"/>
                  </a:lnTo>
                  <a:lnTo>
                    <a:pt x="718" y="68"/>
                  </a:lnTo>
                  <a:lnTo>
                    <a:pt x="722" y="68"/>
                  </a:lnTo>
                  <a:lnTo>
                    <a:pt x="722" y="64"/>
                  </a:lnTo>
                  <a:lnTo>
                    <a:pt x="726" y="64"/>
                  </a:lnTo>
                  <a:lnTo>
                    <a:pt x="722" y="60"/>
                  </a:lnTo>
                  <a:lnTo>
                    <a:pt x="718" y="60"/>
                  </a:lnTo>
                  <a:lnTo>
                    <a:pt x="714" y="64"/>
                  </a:lnTo>
                  <a:lnTo>
                    <a:pt x="710" y="64"/>
                  </a:lnTo>
                  <a:lnTo>
                    <a:pt x="710" y="60"/>
                  </a:lnTo>
                  <a:lnTo>
                    <a:pt x="706" y="60"/>
                  </a:lnTo>
                  <a:lnTo>
                    <a:pt x="706" y="56"/>
                  </a:lnTo>
                  <a:lnTo>
                    <a:pt x="710" y="56"/>
                  </a:lnTo>
                  <a:lnTo>
                    <a:pt x="714" y="56"/>
                  </a:lnTo>
                  <a:lnTo>
                    <a:pt x="718" y="60"/>
                  </a:lnTo>
                  <a:lnTo>
                    <a:pt x="718" y="56"/>
                  </a:lnTo>
                  <a:lnTo>
                    <a:pt x="722" y="56"/>
                  </a:lnTo>
                  <a:lnTo>
                    <a:pt x="726" y="56"/>
                  </a:lnTo>
                  <a:lnTo>
                    <a:pt x="726" y="60"/>
                  </a:lnTo>
                  <a:lnTo>
                    <a:pt x="730" y="60"/>
                  </a:lnTo>
                  <a:lnTo>
                    <a:pt x="734" y="60"/>
                  </a:lnTo>
                  <a:lnTo>
                    <a:pt x="738" y="60"/>
                  </a:lnTo>
                  <a:lnTo>
                    <a:pt x="742" y="60"/>
                  </a:lnTo>
                  <a:lnTo>
                    <a:pt x="742" y="64"/>
                  </a:lnTo>
                  <a:lnTo>
                    <a:pt x="746" y="64"/>
                  </a:lnTo>
                  <a:lnTo>
                    <a:pt x="746" y="68"/>
                  </a:lnTo>
                  <a:lnTo>
                    <a:pt x="742" y="68"/>
                  </a:lnTo>
                  <a:lnTo>
                    <a:pt x="746" y="68"/>
                  </a:lnTo>
                  <a:lnTo>
                    <a:pt x="750" y="68"/>
                  </a:lnTo>
                  <a:lnTo>
                    <a:pt x="750" y="72"/>
                  </a:lnTo>
                  <a:lnTo>
                    <a:pt x="754" y="76"/>
                  </a:lnTo>
                  <a:lnTo>
                    <a:pt x="758" y="76"/>
                  </a:lnTo>
                  <a:lnTo>
                    <a:pt x="762" y="76"/>
                  </a:lnTo>
                  <a:lnTo>
                    <a:pt x="762" y="80"/>
                  </a:lnTo>
                  <a:lnTo>
                    <a:pt x="762" y="84"/>
                  </a:lnTo>
                  <a:lnTo>
                    <a:pt x="766" y="84"/>
                  </a:lnTo>
                  <a:lnTo>
                    <a:pt x="770" y="84"/>
                  </a:lnTo>
                  <a:lnTo>
                    <a:pt x="774" y="84"/>
                  </a:lnTo>
                  <a:lnTo>
                    <a:pt x="778" y="84"/>
                  </a:lnTo>
                  <a:lnTo>
                    <a:pt x="782" y="84"/>
                  </a:lnTo>
                  <a:lnTo>
                    <a:pt x="786" y="84"/>
                  </a:lnTo>
                  <a:lnTo>
                    <a:pt x="786" y="88"/>
                  </a:lnTo>
                  <a:lnTo>
                    <a:pt x="782" y="88"/>
                  </a:lnTo>
                  <a:lnTo>
                    <a:pt x="786" y="88"/>
                  </a:lnTo>
                  <a:lnTo>
                    <a:pt x="786" y="92"/>
                  </a:lnTo>
                  <a:lnTo>
                    <a:pt x="782" y="92"/>
                  </a:lnTo>
                  <a:lnTo>
                    <a:pt x="786" y="92"/>
                  </a:lnTo>
                  <a:lnTo>
                    <a:pt x="786" y="96"/>
                  </a:lnTo>
                  <a:lnTo>
                    <a:pt x="790" y="96"/>
                  </a:lnTo>
                  <a:lnTo>
                    <a:pt x="794" y="96"/>
                  </a:lnTo>
                  <a:lnTo>
                    <a:pt x="797" y="96"/>
                  </a:lnTo>
                  <a:lnTo>
                    <a:pt x="797" y="92"/>
                  </a:lnTo>
                  <a:lnTo>
                    <a:pt x="794" y="92"/>
                  </a:lnTo>
                  <a:lnTo>
                    <a:pt x="790" y="88"/>
                  </a:lnTo>
                  <a:lnTo>
                    <a:pt x="794" y="88"/>
                  </a:lnTo>
                  <a:lnTo>
                    <a:pt x="797" y="88"/>
                  </a:lnTo>
                  <a:lnTo>
                    <a:pt x="801" y="88"/>
                  </a:lnTo>
                  <a:lnTo>
                    <a:pt x="805" y="88"/>
                  </a:lnTo>
                  <a:lnTo>
                    <a:pt x="809" y="92"/>
                  </a:lnTo>
                  <a:lnTo>
                    <a:pt x="809" y="96"/>
                  </a:lnTo>
                  <a:lnTo>
                    <a:pt x="805" y="96"/>
                  </a:lnTo>
                  <a:lnTo>
                    <a:pt x="801" y="96"/>
                  </a:lnTo>
                  <a:lnTo>
                    <a:pt x="801" y="100"/>
                  </a:lnTo>
                  <a:lnTo>
                    <a:pt x="805" y="100"/>
                  </a:lnTo>
                  <a:lnTo>
                    <a:pt x="805" y="96"/>
                  </a:lnTo>
                  <a:lnTo>
                    <a:pt x="809" y="96"/>
                  </a:lnTo>
                  <a:lnTo>
                    <a:pt x="813" y="96"/>
                  </a:lnTo>
                  <a:lnTo>
                    <a:pt x="813" y="100"/>
                  </a:lnTo>
                  <a:lnTo>
                    <a:pt x="817" y="100"/>
                  </a:lnTo>
                  <a:lnTo>
                    <a:pt x="813" y="104"/>
                  </a:lnTo>
                  <a:lnTo>
                    <a:pt x="809" y="104"/>
                  </a:lnTo>
                  <a:lnTo>
                    <a:pt x="813" y="104"/>
                  </a:lnTo>
                  <a:lnTo>
                    <a:pt x="817" y="104"/>
                  </a:lnTo>
                  <a:lnTo>
                    <a:pt x="817" y="108"/>
                  </a:lnTo>
                  <a:lnTo>
                    <a:pt x="813" y="112"/>
                  </a:lnTo>
                  <a:lnTo>
                    <a:pt x="809" y="112"/>
                  </a:lnTo>
                  <a:lnTo>
                    <a:pt x="809" y="116"/>
                  </a:lnTo>
                  <a:lnTo>
                    <a:pt x="813" y="116"/>
                  </a:lnTo>
                  <a:lnTo>
                    <a:pt x="813" y="112"/>
                  </a:lnTo>
                  <a:lnTo>
                    <a:pt x="817" y="112"/>
                  </a:lnTo>
                  <a:lnTo>
                    <a:pt x="821" y="112"/>
                  </a:lnTo>
                  <a:lnTo>
                    <a:pt x="817" y="116"/>
                  </a:lnTo>
                  <a:lnTo>
                    <a:pt x="821" y="116"/>
                  </a:lnTo>
                  <a:lnTo>
                    <a:pt x="821" y="112"/>
                  </a:lnTo>
                  <a:lnTo>
                    <a:pt x="825" y="112"/>
                  </a:lnTo>
                  <a:lnTo>
                    <a:pt x="829" y="112"/>
                  </a:lnTo>
                  <a:lnTo>
                    <a:pt x="833" y="116"/>
                  </a:lnTo>
                  <a:lnTo>
                    <a:pt x="829" y="116"/>
                  </a:lnTo>
                  <a:lnTo>
                    <a:pt x="833" y="116"/>
                  </a:lnTo>
                  <a:lnTo>
                    <a:pt x="833" y="112"/>
                  </a:lnTo>
                  <a:lnTo>
                    <a:pt x="837" y="112"/>
                  </a:lnTo>
                  <a:lnTo>
                    <a:pt x="841" y="116"/>
                  </a:lnTo>
                  <a:lnTo>
                    <a:pt x="841" y="120"/>
                  </a:lnTo>
                  <a:lnTo>
                    <a:pt x="845" y="120"/>
                  </a:lnTo>
                  <a:lnTo>
                    <a:pt x="849" y="120"/>
                  </a:lnTo>
                  <a:lnTo>
                    <a:pt x="849" y="124"/>
                  </a:lnTo>
                  <a:lnTo>
                    <a:pt x="845" y="124"/>
                  </a:lnTo>
                  <a:lnTo>
                    <a:pt x="841" y="124"/>
                  </a:lnTo>
                  <a:lnTo>
                    <a:pt x="837" y="128"/>
                  </a:lnTo>
                  <a:lnTo>
                    <a:pt x="833" y="128"/>
                  </a:lnTo>
                  <a:lnTo>
                    <a:pt x="829" y="128"/>
                  </a:lnTo>
                  <a:lnTo>
                    <a:pt x="825" y="128"/>
                  </a:lnTo>
                  <a:lnTo>
                    <a:pt x="821" y="132"/>
                  </a:lnTo>
                  <a:lnTo>
                    <a:pt x="817" y="132"/>
                  </a:lnTo>
                  <a:lnTo>
                    <a:pt x="817" y="128"/>
                  </a:lnTo>
                  <a:lnTo>
                    <a:pt x="817" y="132"/>
                  </a:lnTo>
                  <a:lnTo>
                    <a:pt x="817" y="136"/>
                  </a:lnTo>
                  <a:lnTo>
                    <a:pt x="813" y="136"/>
                  </a:lnTo>
                  <a:lnTo>
                    <a:pt x="809" y="140"/>
                  </a:lnTo>
                  <a:lnTo>
                    <a:pt x="809" y="144"/>
                  </a:lnTo>
                  <a:lnTo>
                    <a:pt x="805" y="144"/>
                  </a:lnTo>
                  <a:lnTo>
                    <a:pt x="805" y="140"/>
                  </a:lnTo>
                  <a:lnTo>
                    <a:pt x="801" y="140"/>
                  </a:lnTo>
                  <a:lnTo>
                    <a:pt x="801" y="136"/>
                  </a:lnTo>
                  <a:lnTo>
                    <a:pt x="801" y="132"/>
                  </a:lnTo>
                  <a:lnTo>
                    <a:pt x="805" y="132"/>
                  </a:lnTo>
                  <a:lnTo>
                    <a:pt x="805" y="128"/>
                  </a:lnTo>
                  <a:lnTo>
                    <a:pt x="801" y="132"/>
                  </a:lnTo>
                  <a:lnTo>
                    <a:pt x="797" y="132"/>
                  </a:lnTo>
                  <a:lnTo>
                    <a:pt x="797" y="136"/>
                  </a:lnTo>
                  <a:lnTo>
                    <a:pt x="797" y="140"/>
                  </a:lnTo>
                  <a:lnTo>
                    <a:pt x="801" y="140"/>
                  </a:lnTo>
                  <a:lnTo>
                    <a:pt x="801" y="144"/>
                  </a:lnTo>
                  <a:lnTo>
                    <a:pt x="801" y="148"/>
                  </a:lnTo>
                  <a:lnTo>
                    <a:pt x="797" y="148"/>
                  </a:lnTo>
                  <a:lnTo>
                    <a:pt x="797" y="144"/>
                  </a:lnTo>
                  <a:lnTo>
                    <a:pt x="794" y="144"/>
                  </a:lnTo>
                  <a:lnTo>
                    <a:pt x="790" y="144"/>
                  </a:lnTo>
                  <a:lnTo>
                    <a:pt x="794" y="148"/>
                  </a:lnTo>
                  <a:lnTo>
                    <a:pt x="794" y="152"/>
                  </a:lnTo>
                  <a:lnTo>
                    <a:pt x="790" y="152"/>
                  </a:lnTo>
                  <a:lnTo>
                    <a:pt x="790" y="156"/>
                  </a:lnTo>
                  <a:close/>
                  <a:moveTo>
                    <a:pt x="638" y="112"/>
                  </a:moveTo>
                  <a:lnTo>
                    <a:pt x="638" y="108"/>
                  </a:lnTo>
                  <a:lnTo>
                    <a:pt x="634" y="108"/>
                  </a:lnTo>
                  <a:lnTo>
                    <a:pt x="630" y="108"/>
                  </a:lnTo>
                  <a:lnTo>
                    <a:pt x="630" y="104"/>
                  </a:lnTo>
                  <a:lnTo>
                    <a:pt x="626" y="104"/>
                  </a:lnTo>
                  <a:lnTo>
                    <a:pt x="622" y="104"/>
                  </a:lnTo>
                  <a:lnTo>
                    <a:pt x="618" y="104"/>
                  </a:lnTo>
                  <a:lnTo>
                    <a:pt x="618" y="100"/>
                  </a:lnTo>
                  <a:lnTo>
                    <a:pt x="618" y="96"/>
                  </a:lnTo>
                  <a:lnTo>
                    <a:pt x="622" y="96"/>
                  </a:lnTo>
                  <a:lnTo>
                    <a:pt x="626" y="96"/>
                  </a:lnTo>
                  <a:lnTo>
                    <a:pt x="630" y="96"/>
                  </a:lnTo>
                  <a:lnTo>
                    <a:pt x="634" y="96"/>
                  </a:lnTo>
                  <a:lnTo>
                    <a:pt x="638" y="96"/>
                  </a:lnTo>
                  <a:lnTo>
                    <a:pt x="638" y="100"/>
                  </a:lnTo>
                  <a:lnTo>
                    <a:pt x="642" y="108"/>
                  </a:lnTo>
                  <a:lnTo>
                    <a:pt x="638" y="108"/>
                  </a:lnTo>
                  <a:lnTo>
                    <a:pt x="638" y="112"/>
                  </a:lnTo>
                  <a:close/>
                  <a:moveTo>
                    <a:pt x="562" y="140"/>
                  </a:moveTo>
                  <a:lnTo>
                    <a:pt x="562" y="136"/>
                  </a:lnTo>
                  <a:lnTo>
                    <a:pt x="562" y="140"/>
                  </a:lnTo>
                  <a:lnTo>
                    <a:pt x="558" y="140"/>
                  </a:lnTo>
                  <a:lnTo>
                    <a:pt x="558" y="136"/>
                  </a:lnTo>
                  <a:lnTo>
                    <a:pt x="562" y="136"/>
                  </a:lnTo>
                  <a:lnTo>
                    <a:pt x="562" y="132"/>
                  </a:lnTo>
                  <a:lnTo>
                    <a:pt x="558" y="132"/>
                  </a:lnTo>
                  <a:lnTo>
                    <a:pt x="554" y="132"/>
                  </a:lnTo>
                  <a:lnTo>
                    <a:pt x="550" y="132"/>
                  </a:lnTo>
                  <a:lnTo>
                    <a:pt x="550" y="136"/>
                  </a:lnTo>
                  <a:lnTo>
                    <a:pt x="546" y="136"/>
                  </a:lnTo>
                  <a:lnTo>
                    <a:pt x="542" y="136"/>
                  </a:lnTo>
                  <a:lnTo>
                    <a:pt x="546" y="132"/>
                  </a:lnTo>
                  <a:lnTo>
                    <a:pt x="550" y="132"/>
                  </a:lnTo>
                  <a:lnTo>
                    <a:pt x="546" y="128"/>
                  </a:lnTo>
                  <a:lnTo>
                    <a:pt x="542" y="128"/>
                  </a:lnTo>
                  <a:lnTo>
                    <a:pt x="542" y="132"/>
                  </a:lnTo>
                  <a:lnTo>
                    <a:pt x="538" y="132"/>
                  </a:lnTo>
                  <a:lnTo>
                    <a:pt x="534" y="132"/>
                  </a:lnTo>
                  <a:lnTo>
                    <a:pt x="534" y="128"/>
                  </a:lnTo>
                  <a:lnTo>
                    <a:pt x="538" y="120"/>
                  </a:lnTo>
                  <a:lnTo>
                    <a:pt x="542" y="120"/>
                  </a:lnTo>
                  <a:lnTo>
                    <a:pt x="546" y="120"/>
                  </a:lnTo>
                  <a:lnTo>
                    <a:pt x="550" y="120"/>
                  </a:lnTo>
                  <a:lnTo>
                    <a:pt x="554" y="120"/>
                  </a:lnTo>
                  <a:lnTo>
                    <a:pt x="558" y="120"/>
                  </a:lnTo>
                  <a:lnTo>
                    <a:pt x="562" y="120"/>
                  </a:lnTo>
                  <a:lnTo>
                    <a:pt x="566" y="120"/>
                  </a:lnTo>
                  <a:lnTo>
                    <a:pt x="570" y="120"/>
                  </a:lnTo>
                  <a:lnTo>
                    <a:pt x="574" y="124"/>
                  </a:lnTo>
                  <a:lnTo>
                    <a:pt x="578" y="124"/>
                  </a:lnTo>
                  <a:lnTo>
                    <a:pt x="578" y="128"/>
                  </a:lnTo>
                  <a:lnTo>
                    <a:pt x="582" y="128"/>
                  </a:lnTo>
                  <a:lnTo>
                    <a:pt x="578" y="132"/>
                  </a:lnTo>
                  <a:lnTo>
                    <a:pt x="582" y="136"/>
                  </a:lnTo>
                  <a:lnTo>
                    <a:pt x="582" y="132"/>
                  </a:lnTo>
                  <a:lnTo>
                    <a:pt x="586" y="132"/>
                  </a:lnTo>
                  <a:lnTo>
                    <a:pt x="590" y="128"/>
                  </a:lnTo>
                  <a:lnTo>
                    <a:pt x="594" y="128"/>
                  </a:lnTo>
                  <a:lnTo>
                    <a:pt x="598" y="128"/>
                  </a:lnTo>
                  <a:lnTo>
                    <a:pt x="602" y="132"/>
                  </a:lnTo>
                  <a:lnTo>
                    <a:pt x="606" y="132"/>
                  </a:lnTo>
                  <a:lnTo>
                    <a:pt x="602" y="136"/>
                  </a:lnTo>
                  <a:lnTo>
                    <a:pt x="606" y="136"/>
                  </a:lnTo>
                  <a:lnTo>
                    <a:pt x="610" y="136"/>
                  </a:lnTo>
                  <a:lnTo>
                    <a:pt x="614" y="136"/>
                  </a:lnTo>
                  <a:lnTo>
                    <a:pt x="614" y="140"/>
                  </a:lnTo>
                  <a:lnTo>
                    <a:pt x="618" y="140"/>
                  </a:lnTo>
                  <a:lnTo>
                    <a:pt x="622" y="140"/>
                  </a:lnTo>
                  <a:lnTo>
                    <a:pt x="618" y="144"/>
                  </a:lnTo>
                  <a:lnTo>
                    <a:pt x="622" y="144"/>
                  </a:lnTo>
                  <a:lnTo>
                    <a:pt x="626" y="144"/>
                  </a:lnTo>
                  <a:lnTo>
                    <a:pt x="626" y="148"/>
                  </a:lnTo>
                  <a:lnTo>
                    <a:pt x="622" y="148"/>
                  </a:lnTo>
                  <a:lnTo>
                    <a:pt x="622" y="152"/>
                  </a:lnTo>
                  <a:lnTo>
                    <a:pt x="626" y="152"/>
                  </a:lnTo>
                  <a:lnTo>
                    <a:pt x="626" y="156"/>
                  </a:lnTo>
                  <a:lnTo>
                    <a:pt x="630" y="156"/>
                  </a:lnTo>
                  <a:lnTo>
                    <a:pt x="634" y="156"/>
                  </a:lnTo>
                  <a:lnTo>
                    <a:pt x="634" y="160"/>
                  </a:lnTo>
                  <a:lnTo>
                    <a:pt x="638" y="160"/>
                  </a:lnTo>
                  <a:lnTo>
                    <a:pt x="634" y="160"/>
                  </a:lnTo>
                  <a:lnTo>
                    <a:pt x="634" y="164"/>
                  </a:lnTo>
                  <a:lnTo>
                    <a:pt x="630" y="168"/>
                  </a:lnTo>
                  <a:lnTo>
                    <a:pt x="626" y="168"/>
                  </a:lnTo>
                  <a:lnTo>
                    <a:pt x="622" y="168"/>
                  </a:lnTo>
                  <a:lnTo>
                    <a:pt x="618" y="168"/>
                  </a:lnTo>
                  <a:lnTo>
                    <a:pt x="614" y="168"/>
                  </a:lnTo>
                  <a:lnTo>
                    <a:pt x="610" y="164"/>
                  </a:lnTo>
                  <a:lnTo>
                    <a:pt x="606" y="160"/>
                  </a:lnTo>
                  <a:lnTo>
                    <a:pt x="606" y="156"/>
                  </a:lnTo>
                  <a:lnTo>
                    <a:pt x="602" y="156"/>
                  </a:lnTo>
                  <a:lnTo>
                    <a:pt x="598" y="156"/>
                  </a:lnTo>
                  <a:lnTo>
                    <a:pt x="594" y="152"/>
                  </a:lnTo>
                  <a:lnTo>
                    <a:pt x="586" y="152"/>
                  </a:lnTo>
                  <a:lnTo>
                    <a:pt x="582" y="152"/>
                  </a:lnTo>
                  <a:lnTo>
                    <a:pt x="582" y="156"/>
                  </a:lnTo>
                  <a:lnTo>
                    <a:pt x="578" y="156"/>
                  </a:lnTo>
                  <a:lnTo>
                    <a:pt x="578" y="152"/>
                  </a:lnTo>
                  <a:lnTo>
                    <a:pt x="574" y="152"/>
                  </a:lnTo>
                  <a:lnTo>
                    <a:pt x="570" y="152"/>
                  </a:lnTo>
                  <a:lnTo>
                    <a:pt x="566" y="152"/>
                  </a:lnTo>
                  <a:lnTo>
                    <a:pt x="562" y="152"/>
                  </a:lnTo>
                  <a:lnTo>
                    <a:pt x="562" y="156"/>
                  </a:lnTo>
                  <a:lnTo>
                    <a:pt x="558" y="156"/>
                  </a:lnTo>
                  <a:lnTo>
                    <a:pt x="554" y="156"/>
                  </a:lnTo>
                  <a:lnTo>
                    <a:pt x="554" y="152"/>
                  </a:lnTo>
                  <a:lnTo>
                    <a:pt x="550" y="152"/>
                  </a:lnTo>
                  <a:lnTo>
                    <a:pt x="546" y="152"/>
                  </a:lnTo>
                  <a:lnTo>
                    <a:pt x="546" y="148"/>
                  </a:lnTo>
                  <a:lnTo>
                    <a:pt x="542" y="148"/>
                  </a:lnTo>
                  <a:lnTo>
                    <a:pt x="542" y="144"/>
                  </a:lnTo>
                  <a:lnTo>
                    <a:pt x="546" y="144"/>
                  </a:lnTo>
                  <a:lnTo>
                    <a:pt x="550" y="144"/>
                  </a:lnTo>
                  <a:lnTo>
                    <a:pt x="554" y="144"/>
                  </a:lnTo>
                  <a:lnTo>
                    <a:pt x="558" y="144"/>
                  </a:lnTo>
                  <a:lnTo>
                    <a:pt x="562" y="144"/>
                  </a:lnTo>
                  <a:lnTo>
                    <a:pt x="566" y="148"/>
                  </a:lnTo>
                  <a:lnTo>
                    <a:pt x="566" y="144"/>
                  </a:lnTo>
                  <a:lnTo>
                    <a:pt x="570" y="144"/>
                  </a:lnTo>
                  <a:lnTo>
                    <a:pt x="566" y="144"/>
                  </a:lnTo>
                  <a:lnTo>
                    <a:pt x="562" y="144"/>
                  </a:lnTo>
                  <a:lnTo>
                    <a:pt x="558" y="144"/>
                  </a:lnTo>
                  <a:lnTo>
                    <a:pt x="562" y="140"/>
                  </a:lnTo>
                  <a:lnTo>
                    <a:pt x="566" y="140"/>
                  </a:lnTo>
                  <a:lnTo>
                    <a:pt x="570" y="140"/>
                  </a:lnTo>
                  <a:lnTo>
                    <a:pt x="570" y="136"/>
                  </a:lnTo>
                  <a:lnTo>
                    <a:pt x="566" y="136"/>
                  </a:lnTo>
                  <a:lnTo>
                    <a:pt x="566" y="140"/>
                  </a:lnTo>
                  <a:lnTo>
                    <a:pt x="562" y="140"/>
                  </a:lnTo>
                  <a:close/>
                  <a:moveTo>
                    <a:pt x="666" y="168"/>
                  </a:moveTo>
                  <a:lnTo>
                    <a:pt x="662" y="164"/>
                  </a:lnTo>
                  <a:lnTo>
                    <a:pt x="666" y="164"/>
                  </a:lnTo>
                  <a:lnTo>
                    <a:pt x="662" y="164"/>
                  </a:lnTo>
                  <a:lnTo>
                    <a:pt x="658" y="164"/>
                  </a:lnTo>
                  <a:lnTo>
                    <a:pt x="658" y="160"/>
                  </a:lnTo>
                  <a:lnTo>
                    <a:pt x="654" y="160"/>
                  </a:lnTo>
                  <a:lnTo>
                    <a:pt x="658" y="160"/>
                  </a:lnTo>
                  <a:lnTo>
                    <a:pt x="662" y="160"/>
                  </a:lnTo>
                  <a:lnTo>
                    <a:pt x="666" y="160"/>
                  </a:lnTo>
                  <a:lnTo>
                    <a:pt x="666" y="156"/>
                  </a:lnTo>
                  <a:lnTo>
                    <a:pt x="662" y="156"/>
                  </a:lnTo>
                  <a:lnTo>
                    <a:pt x="658" y="156"/>
                  </a:lnTo>
                  <a:lnTo>
                    <a:pt x="654" y="156"/>
                  </a:lnTo>
                  <a:lnTo>
                    <a:pt x="654" y="152"/>
                  </a:lnTo>
                  <a:lnTo>
                    <a:pt x="650" y="152"/>
                  </a:lnTo>
                  <a:lnTo>
                    <a:pt x="650" y="148"/>
                  </a:lnTo>
                  <a:lnTo>
                    <a:pt x="646" y="148"/>
                  </a:lnTo>
                  <a:lnTo>
                    <a:pt x="646" y="144"/>
                  </a:lnTo>
                  <a:lnTo>
                    <a:pt x="650" y="144"/>
                  </a:lnTo>
                  <a:lnTo>
                    <a:pt x="646" y="144"/>
                  </a:lnTo>
                  <a:lnTo>
                    <a:pt x="646" y="140"/>
                  </a:lnTo>
                  <a:lnTo>
                    <a:pt x="646" y="136"/>
                  </a:lnTo>
                  <a:lnTo>
                    <a:pt x="650" y="136"/>
                  </a:lnTo>
                  <a:lnTo>
                    <a:pt x="654" y="136"/>
                  </a:lnTo>
                  <a:lnTo>
                    <a:pt x="658" y="136"/>
                  </a:lnTo>
                  <a:lnTo>
                    <a:pt x="658" y="140"/>
                  </a:lnTo>
                  <a:lnTo>
                    <a:pt x="662" y="140"/>
                  </a:lnTo>
                  <a:lnTo>
                    <a:pt x="666" y="140"/>
                  </a:lnTo>
                  <a:lnTo>
                    <a:pt x="670" y="140"/>
                  </a:lnTo>
                  <a:lnTo>
                    <a:pt x="674" y="140"/>
                  </a:lnTo>
                  <a:lnTo>
                    <a:pt x="674" y="144"/>
                  </a:lnTo>
                  <a:lnTo>
                    <a:pt x="678" y="144"/>
                  </a:lnTo>
                  <a:lnTo>
                    <a:pt x="682" y="148"/>
                  </a:lnTo>
                  <a:lnTo>
                    <a:pt x="686" y="148"/>
                  </a:lnTo>
                  <a:lnTo>
                    <a:pt x="686" y="144"/>
                  </a:lnTo>
                  <a:lnTo>
                    <a:pt x="686" y="148"/>
                  </a:lnTo>
                  <a:lnTo>
                    <a:pt x="690" y="148"/>
                  </a:lnTo>
                  <a:lnTo>
                    <a:pt x="694" y="148"/>
                  </a:lnTo>
                  <a:lnTo>
                    <a:pt x="698" y="148"/>
                  </a:lnTo>
                  <a:lnTo>
                    <a:pt x="698" y="152"/>
                  </a:lnTo>
                  <a:lnTo>
                    <a:pt x="694" y="152"/>
                  </a:lnTo>
                  <a:lnTo>
                    <a:pt x="690" y="156"/>
                  </a:lnTo>
                  <a:lnTo>
                    <a:pt x="694" y="156"/>
                  </a:lnTo>
                  <a:lnTo>
                    <a:pt x="698" y="156"/>
                  </a:lnTo>
                  <a:lnTo>
                    <a:pt x="698" y="160"/>
                  </a:lnTo>
                  <a:lnTo>
                    <a:pt x="694" y="160"/>
                  </a:lnTo>
                  <a:lnTo>
                    <a:pt x="694" y="164"/>
                  </a:lnTo>
                  <a:lnTo>
                    <a:pt x="690" y="164"/>
                  </a:lnTo>
                  <a:lnTo>
                    <a:pt x="686" y="164"/>
                  </a:lnTo>
                  <a:lnTo>
                    <a:pt x="682" y="164"/>
                  </a:lnTo>
                  <a:lnTo>
                    <a:pt x="678" y="164"/>
                  </a:lnTo>
                  <a:lnTo>
                    <a:pt x="674" y="168"/>
                  </a:lnTo>
                  <a:lnTo>
                    <a:pt x="674" y="164"/>
                  </a:lnTo>
                  <a:lnTo>
                    <a:pt x="670" y="164"/>
                  </a:lnTo>
                  <a:lnTo>
                    <a:pt x="670" y="168"/>
                  </a:lnTo>
                  <a:lnTo>
                    <a:pt x="674" y="164"/>
                  </a:lnTo>
                  <a:lnTo>
                    <a:pt x="674" y="168"/>
                  </a:lnTo>
                  <a:lnTo>
                    <a:pt x="670" y="168"/>
                  </a:lnTo>
                  <a:lnTo>
                    <a:pt x="666" y="168"/>
                  </a:lnTo>
                  <a:close/>
                  <a:moveTo>
                    <a:pt x="470" y="152"/>
                  </a:moveTo>
                  <a:lnTo>
                    <a:pt x="466" y="152"/>
                  </a:lnTo>
                  <a:lnTo>
                    <a:pt x="462" y="152"/>
                  </a:lnTo>
                  <a:lnTo>
                    <a:pt x="458" y="152"/>
                  </a:lnTo>
                  <a:lnTo>
                    <a:pt x="454" y="152"/>
                  </a:lnTo>
                  <a:lnTo>
                    <a:pt x="450" y="148"/>
                  </a:lnTo>
                  <a:lnTo>
                    <a:pt x="450" y="152"/>
                  </a:lnTo>
                  <a:lnTo>
                    <a:pt x="446" y="152"/>
                  </a:lnTo>
                  <a:lnTo>
                    <a:pt x="442" y="152"/>
                  </a:lnTo>
                  <a:lnTo>
                    <a:pt x="439" y="152"/>
                  </a:lnTo>
                  <a:lnTo>
                    <a:pt x="435" y="152"/>
                  </a:lnTo>
                  <a:lnTo>
                    <a:pt x="431" y="152"/>
                  </a:lnTo>
                  <a:lnTo>
                    <a:pt x="427" y="152"/>
                  </a:lnTo>
                  <a:lnTo>
                    <a:pt x="423" y="152"/>
                  </a:lnTo>
                  <a:lnTo>
                    <a:pt x="419" y="152"/>
                  </a:lnTo>
                  <a:lnTo>
                    <a:pt x="419" y="148"/>
                  </a:lnTo>
                  <a:lnTo>
                    <a:pt x="423" y="148"/>
                  </a:lnTo>
                  <a:lnTo>
                    <a:pt x="427" y="148"/>
                  </a:lnTo>
                  <a:lnTo>
                    <a:pt x="431" y="148"/>
                  </a:lnTo>
                  <a:lnTo>
                    <a:pt x="435" y="144"/>
                  </a:lnTo>
                  <a:lnTo>
                    <a:pt x="439" y="144"/>
                  </a:lnTo>
                  <a:lnTo>
                    <a:pt x="442" y="144"/>
                  </a:lnTo>
                  <a:lnTo>
                    <a:pt x="446" y="144"/>
                  </a:lnTo>
                  <a:lnTo>
                    <a:pt x="450" y="140"/>
                  </a:lnTo>
                  <a:lnTo>
                    <a:pt x="454" y="140"/>
                  </a:lnTo>
                  <a:lnTo>
                    <a:pt x="458" y="140"/>
                  </a:lnTo>
                  <a:lnTo>
                    <a:pt x="462" y="140"/>
                  </a:lnTo>
                  <a:lnTo>
                    <a:pt x="466" y="140"/>
                  </a:lnTo>
                  <a:lnTo>
                    <a:pt x="470" y="140"/>
                  </a:lnTo>
                  <a:lnTo>
                    <a:pt x="474" y="144"/>
                  </a:lnTo>
                  <a:lnTo>
                    <a:pt x="478" y="144"/>
                  </a:lnTo>
                  <a:lnTo>
                    <a:pt x="478" y="148"/>
                  </a:lnTo>
                  <a:lnTo>
                    <a:pt x="478" y="152"/>
                  </a:lnTo>
                  <a:lnTo>
                    <a:pt x="474" y="152"/>
                  </a:lnTo>
                  <a:lnTo>
                    <a:pt x="470" y="152"/>
                  </a:lnTo>
                  <a:close/>
                  <a:moveTo>
                    <a:pt x="702" y="152"/>
                  </a:moveTo>
                  <a:lnTo>
                    <a:pt x="706" y="156"/>
                  </a:lnTo>
                  <a:lnTo>
                    <a:pt x="702" y="156"/>
                  </a:lnTo>
                  <a:lnTo>
                    <a:pt x="702" y="152"/>
                  </a:lnTo>
                  <a:close/>
                  <a:moveTo>
                    <a:pt x="578" y="152"/>
                  </a:moveTo>
                  <a:lnTo>
                    <a:pt x="578" y="156"/>
                  </a:lnTo>
                  <a:lnTo>
                    <a:pt x="574" y="156"/>
                  </a:lnTo>
                  <a:lnTo>
                    <a:pt x="574" y="160"/>
                  </a:lnTo>
                  <a:lnTo>
                    <a:pt x="570" y="160"/>
                  </a:lnTo>
                  <a:lnTo>
                    <a:pt x="570" y="156"/>
                  </a:lnTo>
                  <a:lnTo>
                    <a:pt x="574" y="156"/>
                  </a:lnTo>
                  <a:lnTo>
                    <a:pt x="574" y="152"/>
                  </a:lnTo>
                  <a:lnTo>
                    <a:pt x="578" y="152"/>
                  </a:lnTo>
                  <a:close/>
                  <a:moveTo>
                    <a:pt x="470" y="160"/>
                  </a:moveTo>
                  <a:lnTo>
                    <a:pt x="474" y="160"/>
                  </a:lnTo>
                  <a:lnTo>
                    <a:pt x="474" y="164"/>
                  </a:lnTo>
                  <a:lnTo>
                    <a:pt x="470" y="164"/>
                  </a:lnTo>
                  <a:lnTo>
                    <a:pt x="466" y="164"/>
                  </a:lnTo>
                  <a:lnTo>
                    <a:pt x="462" y="164"/>
                  </a:lnTo>
                  <a:lnTo>
                    <a:pt x="458" y="164"/>
                  </a:lnTo>
                  <a:lnTo>
                    <a:pt x="454" y="164"/>
                  </a:lnTo>
                  <a:lnTo>
                    <a:pt x="454" y="168"/>
                  </a:lnTo>
                  <a:lnTo>
                    <a:pt x="458" y="168"/>
                  </a:lnTo>
                  <a:lnTo>
                    <a:pt x="462" y="168"/>
                  </a:lnTo>
                  <a:lnTo>
                    <a:pt x="466" y="168"/>
                  </a:lnTo>
                  <a:lnTo>
                    <a:pt x="466" y="171"/>
                  </a:lnTo>
                  <a:lnTo>
                    <a:pt x="466" y="175"/>
                  </a:lnTo>
                  <a:lnTo>
                    <a:pt x="462" y="175"/>
                  </a:lnTo>
                  <a:lnTo>
                    <a:pt x="462" y="179"/>
                  </a:lnTo>
                  <a:lnTo>
                    <a:pt x="454" y="179"/>
                  </a:lnTo>
                  <a:lnTo>
                    <a:pt x="450" y="179"/>
                  </a:lnTo>
                  <a:lnTo>
                    <a:pt x="446" y="179"/>
                  </a:lnTo>
                  <a:lnTo>
                    <a:pt x="442" y="179"/>
                  </a:lnTo>
                  <a:lnTo>
                    <a:pt x="439" y="183"/>
                  </a:lnTo>
                  <a:lnTo>
                    <a:pt x="435" y="183"/>
                  </a:lnTo>
                  <a:lnTo>
                    <a:pt x="431" y="179"/>
                  </a:lnTo>
                  <a:lnTo>
                    <a:pt x="427" y="179"/>
                  </a:lnTo>
                  <a:lnTo>
                    <a:pt x="423" y="175"/>
                  </a:lnTo>
                  <a:lnTo>
                    <a:pt x="419" y="175"/>
                  </a:lnTo>
                  <a:lnTo>
                    <a:pt x="423" y="171"/>
                  </a:lnTo>
                  <a:lnTo>
                    <a:pt x="419" y="168"/>
                  </a:lnTo>
                  <a:lnTo>
                    <a:pt x="419" y="164"/>
                  </a:lnTo>
                  <a:lnTo>
                    <a:pt x="423" y="164"/>
                  </a:lnTo>
                  <a:lnTo>
                    <a:pt x="427" y="164"/>
                  </a:lnTo>
                  <a:lnTo>
                    <a:pt x="431" y="164"/>
                  </a:lnTo>
                  <a:lnTo>
                    <a:pt x="431" y="160"/>
                  </a:lnTo>
                  <a:lnTo>
                    <a:pt x="435" y="160"/>
                  </a:lnTo>
                  <a:lnTo>
                    <a:pt x="439" y="160"/>
                  </a:lnTo>
                  <a:lnTo>
                    <a:pt x="442" y="160"/>
                  </a:lnTo>
                  <a:lnTo>
                    <a:pt x="446" y="160"/>
                  </a:lnTo>
                  <a:lnTo>
                    <a:pt x="450" y="160"/>
                  </a:lnTo>
                  <a:lnTo>
                    <a:pt x="454" y="160"/>
                  </a:lnTo>
                  <a:lnTo>
                    <a:pt x="458" y="160"/>
                  </a:lnTo>
                  <a:lnTo>
                    <a:pt x="462" y="160"/>
                  </a:lnTo>
                  <a:lnTo>
                    <a:pt x="466" y="160"/>
                  </a:lnTo>
                  <a:lnTo>
                    <a:pt x="470" y="160"/>
                  </a:lnTo>
                  <a:close/>
                  <a:moveTo>
                    <a:pt x="407" y="171"/>
                  </a:moveTo>
                  <a:lnTo>
                    <a:pt x="403" y="171"/>
                  </a:lnTo>
                  <a:lnTo>
                    <a:pt x="403" y="168"/>
                  </a:lnTo>
                  <a:lnTo>
                    <a:pt x="399" y="168"/>
                  </a:lnTo>
                  <a:lnTo>
                    <a:pt x="395" y="168"/>
                  </a:lnTo>
                  <a:lnTo>
                    <a:pt x="391" y="164"/>
                  </a:lnTo>
                  <a:lnTo>
                    <a:pt x="395" y="164"/>
                  </a:lnTo>
                  <a:lnTo>
                    <a:pt x="399" y="160"/>
                  </a:lnTo>
                  <a:lnTo>
                    <a:pt x="403" y="160"/>
                  </a:lnTo>
                  <a:lnTo>
                    <a:pt x="407" y="164"/>
                  </a:lnTo>
                  <a:lnTo>
                    <a:pt x="411" y="164"/>
                  </a:lnTo>
                  <a:lnTo>
                    <a:pt x="415" y="164"/>
                  </a:lnTo>
                  <a:lnTo>
                    <a:pt x="415" y="168"/>
                  </a:lnTo>
                  <a:lnTo>
                    <a:pt x="411" y="168"/>
                  </a:lnTo>
                  <a:lnTo>
                    <a:pt x="411" y="171"/>
                  </a:lnTo>
                  <a:lnTo>
                    <a:pt x="407" y="171"/>
                  </a:lnTo>
                  <a:close/>
                  <a:moveTo>
                    <a:pt x="594" y="164"/>
                  </a:moveTo>
                  <a:lnTo>
                    <a:pt x="598" y="164"/>
                  </a:lnTo>
                  <a:lnTo>
                    <a:pt x="598" y="168"/>
                  </a:lnTo>
                  <a:lnTo>
                    <a:pt x="602" y="168"/>
                  </a:lnTo>
                  <a:lnTo>
                    <a:pt x="606" y="168"/>
                  </a:lnTo>
                  <a:lnTo>
                    <a:pt x="606" y="171"/>
                  </a:lnTo>
                  <a:lnTo>
                    <a:pt x="602" y="171"/>
                  </a:lnTo>
                  <a:lnTo>
                    <a:pt x="598" y="171"/>
                  </a:lnTo>
                  <a:lnTo>
                    <a:pt x="594" y="171"/>
                  </a:lnTo>
                  <a:lnTo>
                    <a:pt x="590" y="171"/>
                  </a:lnTo>
                  <a:lnTo>
                    <a:pt x="586" y="171"/>
                  </a:lnTo>
                  <a:lnTo>
                    <a:pt x="582" y="168"/>
                  </a:lnTo>
                  <a:lnTo>
                    <a:pt x="582" y="164"/>
                  </a:lnTo>
                  <a:lnTo>
                    <a:pt x="586" y="164"/>
                  </a:lnTo>
                  <a:lnTo>
                    <a:pt x="590" y="164"/>
                  </a:lnTo>
                  <a:lnTo>
                    <a:pt x="594" y="164"/>
                  </a:lnTo>
                  <a:close/>
                  <a:moveTo>
                    <a:pt x="722" y="171"/>
                  </a:moveTo>
                  <a:lnTo>
                    <a:pt x="726" y="171"/>
                  </a:lnTo>
                  <a:lnTo>
                    <a:pt x="722" y="171"/>
                  </a:lnTo>
                  <a:lnTo>
                    <a:pt x="718" y="175"/>
                  </a:lnTo>
                  <a:lnTo>
                    <a:pt x="718" y="179"/>
                  </a:lnTo>
                  <a:lnTo>
                    <a:pt x="714" y="179"/>
                  </a:lnTo>
                  <a:lnTo>
                    <a:pt x="706" y="179"/>
                  </a:lnTo>
                  <a:lnTo>
                    <a:pt x="706" y="175"/>
                  </a:lnTo>
                  <a:lnTo>
                    <a:pt x="698" y="175"/>
                  </a:lnTo>
                  <a:lnTo>
                    <a:pt x="694" y="175"/>
                  </a:lnTo>
                  <a:lnTo>
                    <a:pt x="694" y="179"/>
                  </a:lnTo>
                  <a:lnTo>
                    <a:pt x="690" y="175"/>
                  </a:lnTo>
                  <a:lnTo>
                    <a:pt x="686" y="175"/>
                  </a:lnTo>
                  <a:lnTo>
                    <a:pt x="682" y="175"/>
                  </a:lnTo>
                  <a:lnTo>
                    <a:pt x="678" y="175"/>
                  </a:lnTo>
                  <a:lnTo>
                    <a:pt x="674" y="171"/>
                  </a:lnTo>
                  <a:lnTo>
                    <a:pt x="678" y="171"/>
                  </a:lnTo>
                  <a:lnTo>
                    <a:pt x="678" y="168"/>
                  </a:lnTo>
                  <a:lnTo>
                    <a:pt x="682" y="168"/>
                  </a:lnTo>
                  <a:lnTo>
                    <a:pt x="686" y="168"/>
                  </a:lnTo>
                  <a:lnTo>
                    <a:pt x="690" y="168"/>
                  </a:lnTo>
                  <a:lnTo>
                    <a:pt x="694" y="168"/>
                  </a:lnTo>
                  <a:lnTo>
                    <a:pt x="698" y="168"/>
                  </a:lnTo>
                  <a:lnTo>
                    <a:pt x="702" y="168"/>
                  </a:lnTo>
                  <a:lnTo>
                    <a:pt x="706" y="168"/>
                  </a:lnTo>
                  <a:lnTo>
                    <a:pt x="710" y="168"/>
                  </a:lnTo>
                  <a:lnTo>
                    <a:pt x="714" y="168"/>
                  </a:lnTo>
                  <a:lnTo>
                    <a:pt x="718" y="168"/>
                  </a:lnTo>
                  <a:lnTo>
                    <a:pt x="722" y="168"/>
                  </a:lnTo>
                  <a:lnTo>
                    <a:pt x="722" y="171"/>
                  </a:lnTo>
                  <a:close/>
                  <a:moveTo>
                    <a:pt x="534" y="168"/>
                  </a:moveTo>
                  <a:lnTo>
                    <a:pt x="538" y="171"/>
                  </a:lnTo>
                  <a:lnTo>
                    <a:pt x="542" y="171"/>
                  </a:lnTo>
                  <a:lnTo>
                    <a:pt x="542" y="175"/>
                  </a:lnTo>
                  <a:lnTo>
                    <a:pt x="546" y="175"/>
                  </a:lnTo>
                  <a:lnTo>
                    <a:pt x="546" y="179"/>
                  </a:lnTo>
                  <a:lnTo>
                    <a:pt x="542" y="179"/>
                  </a:lnTo>
                  <a:lnTo>
                    <a:pt x="546" y="179"/>
                  </a:lnTo>
                  <a:lnTo>
                    <a:pt x="550" y="179"/>
                  </a:lnTo>
                  <a:lnTo>
                    <a:pt x="550" y="183"/>
                  </a:lnTo>
                  <a:lnTo>
                    <a:pt x="554" y="183"/>
                  </a:lnTo>
                  <a:lnTo>
                    <a:pt x="554" y="187"/>
                  </a:lnTo>
                  <a:lnTo>
                    <a:pt x="550" y="187"/>
                  </a:lnTo>
                  <a:lnTo>
                    <a:pt x="546" y="187"/>
                  </a:lnTo>
                  <a:lnTo>
                    <a:pt x="542" y="187"/>
                  </a:lnTo>
                  <a:lnTo>
                    <a:pt x="538" y="183"/>
                  </a:lnTo>
                  <a:lnTo>
                    <a:pt x="534" y="183"/>
                  </a:lnTo>
                  <a:lnTo>
                    <a:pt x="534" y="179"/>
                  </a:lnTo>
                  <a:lnTo>
                    <a:pt x="534" y="175"/>
                  </a:lnTo>
                  <a:lnTo>
                    <a:pt x="530" y="171"/>
                  </a:lnTo>
                  <a:lnTo>
                    <a:pt x="526" y="171"/>
                  </a:lnTo>
                  <a:lnTo>
                    <a:pt x="526" y="168"/>
                  </a:lnTo>
                  <a:lnTo>
                    <a:pt x="530" y="168"/>
                  </a:lnTo>
                  <a:lnTo>
                    <a:pt x="534" y="168"/>
                  </a:lnTo>
                  <a:close/>
                  <a:moveTo>
                    <a:pt x="766" y="183"/>
                  </a:moveTo>
                  <a:lnTo>
                    <a:pt x="762" y="183"/>
                  </a:lnTo>
                  <a:lnTo>
                    <a:pt x="758" y="183"/>
                  </a:lnTo>
                  <a:lnTo>
                    <a:pt x="754" y="179"/>
                  </a:lnTo>
                  <a:lnTo>
                    <a:pt x="754" y="175"/>
                  </a:lnTo>
                  <a:lnTo>
                    <a:pt x="754" y="171"/>
                  </a:lnTo>
                  <a:lnTo>
                    <a:pt x="758" y="171"/>
                  </a:lnTo>
                  <a:lnTo>
                    <a:pt x="762" y="171"/>
                  </a:lnTo>
                  <a:lnTo>
                    <a:pt x="766" y="171"/>
                  </a:lnTo>
                  <a:lnTo>
                    <a:pt x="770" y="171"/>
                  </a:lnTo>
                  <a:lnTo>
                    <a:pt x="770" y="175"/>
                  </a:lnTo>
                  <a:lnTo>
                    <a:pt x="774" y="175"/>
                  </a:lnTo>
                  <a:lnTo>
                    <a:pt x="778" y="179"/>
                  </a:lnTo>
                  <a:lnTo>
                    <a:pt x="778" y="183"/>
                  </a:lnTo>
                  <a:lnTo>
                    <a:pt x="774" y="183"/>
                  </a:lnTo>
                  <a:lnTo>
                    <a:pt x="770" y="183"/>
                  </a:lnTo>
                  <a:lnTo>
                    <a:pt x="766" y="183"/>
                  </a:lnTo>
                  <a:close/>
                  <a:moveTo>
                    <a:pt x="315" y="227"/>
                  </a:moveTo>
                  <a:lnTo>
                    <a:pt x="315" y="223"/>
                  </a:lnTo>
                  <a:lnTo>
                    <a:pt x="315" y="227"/>
                  </a:lnTo>
                  <a:lnTo>
                    <a:pt x="311" y="227"/>
                  </a:lnTo>
                  <a:lnTo>
                    <a:pt x="311" y="223"/>
                  </a:lnTo>
                  <a:lnTo>
                    <a:pt x="311" y="219"/>
                  </a:lnTo>
                  <a:lnTo>
                    <a:pt x="307" y="219"/>
                  </a:lnTo>
                  <a:lnTo>
                    <a:pt x="307" y="223"/>
                  </a:lnTo>
                  <a:lnTo>
                    <a:pt x="307" y="219"/>
                  </a:lnTo>
                  <a:lnTo>
                    <a:pt x="307" y="215"/>
                  </a:lnTo>
                  <a:lnTo>
                    <a:pt x="303" y="215"/>
                  </a:lnTo>
                  <a:lnTo>
                    <a:pt x="303" y="219"/>
                  </a:lnTo>
                  <a:lnTo>
                    <a:pt x="303" y="223"/>
                  </a:lnTo>
                  <a:lnTo>
                    <a:pt x="303" y="219"/>
                  </a:lnTo>
                  <a:lnTo>
                    <a:pt x="299" y="219"/>
                  </a:lnTo>
                  <a:lnTo>
                    <a:pt x="299" y="223"/>
                  </a:lnTo>
                  <a:lnTo>
                    <a:pt x="295" y="223"/>
                  </a:lnTo>
                  <a:lnTo>
                    <a:pt x="295" y="219"/>
                  </a:lnTo>
                  <a:lnTo>
                    <a:pt x="291" y="219"/>
                  </a:lnTo>
                  <a:lnTo>
                    <a:pt x="283" y="219"/>
                  </a:lnTo>
                  <a:lnTo>
                    <a:pt x="283" y="223"/>
                  </a:lnTo>
                  <a:lnTo>
                    <a:pt x="279" y="223"/>
                  </a:lnTo>
                  <a:lnTo>
                    <a:pt x="275" y="223"/>
                  </a:lnTo>
                  <a:lnTo>
                    <a:pt x="279" y="223"/>
                  </a:lnTo>
                  <a:lnTo>
                    <a:pt x="279" y="219"/>
                  </a:lnTo>
                  <a:lnTo>
                    <a:pt x="279" y="215"/>
                  </a:lnTo>
                  <a:lnTo>
                    <a:pt x="279" y="219"/>
                  </a:lnTo>
                  <a:lnTo>
                    <a:pt x="275" y="219"/>
                  </a:lnTo>
                  <a:lnTo>
                    <a:pt x="279" y="215"/>
                  </a:lnTo>
                  <a:lnTo>
                    <a:pt x="275" y="215"/>
                  </a:lnTo>
                  <a:lnTo>
                    <a:pt x="275" y="219"/>
                  </a:lnTo>
                  <a:lnTo>
                    <a:pt x="271" y="219"/>
                  </a:lnTo>
                  <a:lnTo>
                    <a:pt x="271" y="215"/>
                  </a:lnTo>
                  <a:lnTo>
                    <a:pt x="275" y="215"/>
                  </a:lnTo>
                  <a:lnTo>
                    <a:pt x="279" y="211"/>
                  </a:lnTo>
                  <a:lnTo>
                    <a:pt x="283" y="207"/>
                  </a:lnTo>
                  <a:lnTo>
                    <a:pt x="287" y="207"/>
                  </a:lnTo>
                  <a:lnTo>
                    <a:pt x="291" y="207"/>
                  </a:lnTo>
                  <a:lnTo>
                    <a:pt x="295" y="207"/>
                  </a:lnTo>
                  <a:lnTo>
                    <a:pt x="299" y="203"/>
                  </a:lnTo>
                  <a:lnTo>
                    <a:pt x="299" y="199"/>
                  </a:lnTo>
                  <a:lnTo>
                    <a:pt x="303" y="199"/>
                  </a:lnTo>
                  <a:lnTo>
                    <a:pt x="307" y="199"/>
                  </a:lnTo>
                  <a:lnTo>
                    <a:pt x="311" y="195"/>
                  </a:lnTo>
                  <a:lnTo>
                    <a:pt x="315" y="191"/>
                  </a:lnTo>
                  <a:lnTo>
                    <a:pt x="319" y="191"/>
                  </a:lnTo>
                  <a:lnTo>
                    <a:pt x="319" y="187"/>
                  </a:lnTo>
                  <a:lnTo>
                    <a:pt x="323" y="187"/>
                  </a:lnTo>
                  <a:lnTo>
                    <a:pt x="327" y="187"/>
                  </a:lnTo>
                  <a:lnTo>
                    <a:pt x="327" y="183"/>
                  </a:lnTo>
                  <a:lnTo>
                    <a:pt x="331" y="183"/>
                  </a:lnTo>
                  <a:lnTo>
                    <a:pt x="335" y="183"/>
                  </a:lnTo>
                  <a:lnTo>
                    <a:pt x="335" y="179"/>
                  </a:lnTo>
                  <a:lnTo>
                    <a:pt x="339" y="179"/>
                  </a:lnTo>
                  <a:lnTo>
                    <a:pt x="343" y="179"/>
                  </a:lnTo>
                  <a:lnTo>
                    <a:pt x="347" y="179"/>
                  </a:lnTo>
                  <a:lnTo>
                    <a:pt x="351" y="179"/>
                  </a:lnTo>
                  <a:lnTo>
                    <a:pt x="355" y="183"/>
                  </a:lnTo>
                  <a:lnTo>
                    <a:pt x="359" y="183"/>
                  </a:lnTo>
                  <a:lnTo>
                    <a:pt x="363" y="183"/>
                  </a:lnTo>
                  <a:lnTo>
                    <a:pt x="363" y="179"/>
                  </a:lnTo>
                  <a:lnTo>
                    <a:pt x="359" y="179"/>
                  </a:lnTo>
                  <a:lnTo>
                    <a:pt x="363" y="179"/>
                  </a:lnTo>
                  <a:lnTo>
                    <a:pt x="363" y="183"/>
                  </a:lnTo>
                  <a:lnTo>
                    <a:pt x="367" y="183"/>
                  </a:lnTo>
                  <a:lnTo>
                    <a:pt x="367" y="179"/>
                  </a:lnTo>
                  <a:lnTo>
                    <a:pt x="363" y="179"/>
                  </a:lnTo>
                  <a:lnTo>
                    <a:pt x="359" y="179"/>
                  </a:lnTo>
                  <a:lnTo>
                    <a:pt x="363" y="175"/>
                  </a:lnTo>
                  <a:lnTo>
                    <a:pt x="367" y="175"/>
                  </a:lnTo>
                  <a:lnTo>
                    <a:pt x="363" y="175"/>
                  </a:lnTo>
                  <a:lnTo>
                    <a:pt x="367" y="175"/>
                  </a:lnTo>
                  <a:lnTo>
                    <a:pt x="371" y="175"/>
                  </a:lnTo>
                  <a:lnTo>
                    <a:pt x="375" y="175"/>
                  </a:lnTo>
                  <a:lnTo>
                    <a:pt x="379" y="179"/>
                  </a:lnTo>
                  <a:lnTo>
                    <a:pt x="387" y="179"/>
                  </a:lnTo>
                  <a:lnTo>
                    <a:pt x="387" y="183"/>
                  </a:lnTo>
                  <a:lnTo>
                    <a:pt x="383" y="183"/>
                  </a:lnTo>
                  <a:lnTo>
                    <a:pt x="379" y="183"/>
                  </a:lnTo>
                  <a:lnTo>
                    <a:pt x="375" y="187"/>
                  </a:lnTo>
                  <a:lnTo>
                    <a:pt x="375" y="191"/>
                  </a:lnTo>
                  <a:lnTo>
                    <a:pt x="379" y="191"/>
                  </a:lnTo>
                  <a:lnTo>
                    <a:pt x="383" y="191"/>
                  </a:lnTo>
                  <a:lnTo>
                    <a:pt x="383" y="195"/>
                  </a:lnTo>
                  <a:lnTo>
                    <a:pt x="379" y="195"/>
                  </a:lnTo>
                  <a:lnTo>
                    <a:pt x="375" y="195"/>
                  </a:lnTo>
                  <a:lnTo>
                    <a:pt x="375" y="191"/>
                  </a:lnTo>
                  <a:lnTo>
                    <a:pt x="371" y="191"/>
                  </a:lnTo>
                  <a:lnTo>
                    <a:pt x="371" y="195"/>
                  </a:lnTo>
                  <a:lnTo>
                    <a:pt x="375" y="195"/>
                  </a:lnTo>
                  <a:lnTo>
                    <a:pt x="379" y="195"/>
                  </a:lnTo>
                  <a:lnTo>
                    <a:pt x="379" y="199"/>
                  </a:lnTo>
                  <a:lnTo>
                    <a:pt x="379" y="203"/>
                  </a:lnTo>
                  <a:lnTo>
                    <a:pt x="375" y="203"/>
                  </a:lnTo>
                  <a:lnTo>
                    <a:pt x="371" y="203"/>
                  </a:lnTo>
                  <a:lnTo>
                    <a:pt x="367" y="203"/>
                  </a:lnTo>
                  <a:lnTo>
                    <a:pt x="363" y="203"/>
                  </a:lnTo>
                  <a:lnTo>
                    <a:pt x="363" y="207"/>
                  </a:lnTo>
                  <a:lnTo>
                    <a:pt x="363" y="211"/>
                  </a:lnTo>
                  <a:lnTo>
                    <a:pt x="359" y="211"/>
                  </a:lnTo>
                  <a:lnTo>
                    <a:pt x="355" y="211"/>
                  </a:lnTo>
                  <a:lnTo>
                    <a:pt x="351" y="211"/>
                  </a:lnTo>
                  <a:lnTo>
                    <a:pt x="347" y="207"/>
                  </a:lnTo>
                  <a:lnTo>
                    <a:pt x="347" y="203"/>
                  </a:lnTo>
                  <a:lnTo>
                    <a:pt x="347" y="199"/>
                  </a:lnTo>
                  <a:lnTo>
                    <a:pt x="351" y="199"/>
                  </a:lnTo>
                  <a:lnTo>
                    <a:pt x="351" y="195"/>
                  </a:lnTo>
                  <a:lnTo>
                    <a:pt x="347" y="199"/>
                  </a:lnTo>
                  <a:lnTo>
                    <a:pt x="343" y="199"/>
                  </a:lnTo>
                  <a:lnTo>
                    <a:pt x="339" y="199"/>
                  </a:lnTo>
                  <a:lnTo>
                    <a:pt x="343" y="199"/>
                  </a:lnTo>
                  <a:lnTo>
                    <a:pt x="343" y="203"/>
                  </a:lnTo>
                  <a:lnTo>
                    <a:pt x="339" y="207"/>
                  </a:lnTo>
                  <a:lnTo>
                    <a:pt x="335" y="203"/>
                  </a:lnTo>
                  <a:lnTo>
                    <a:pt x="335" y="207"/>
                  </a:lnTo>
                  <a:lnTo>
                    <a:pt x="339" y="207"/>
                  </a:lnTo>
                  <a:lnTo>
                    <a:pt x="339" y="211"/>
                  </a:lnTo>
                  <a:lnTo>
                    <a:pt x="335" y="211"/>
                  </a:lnTo>
                  <a:lnTo>
                    <a:pt x="335" y="215"/>
                  </a:lnTo>
                  <a:lnTo>
                    <a:pt x="331" y="219"/>
                  </a:lnTo>
                  <a:lnTo>
                    <a:pt x="327" y="219"/>
                  </a:lnTo>
                  <a:lnTo>
                    <a:pt x="327" y="215"/>
                  </a:lnTo>
                  <a:lnTo>
                    <a:pt x="323" y="211"/>
                  </a:lnTo>
                  <a:lnTo>
                    <a:pt x="323" y="215"/>
                  </a:lnTo>
                  <a:lnTo>
                    <a:pt x="323" y="219"/>
                  </a:lnTo>
                  <a:lnTo>
                    <a:pt x="319" y="219"/>
                  </a:lnTo>
                  <a:lnTo>
                    <a:pt x="323" y="219"/>
                  </a:lnTo>
                  <a:lnTo>
                    <a:pt x="327" y="219"/>
                  </a:lnTo>
                  <a:lnTo>
                    <a:pt x="327" y="223"/>
                  </a:lnTo>
                  <a:lnTo>
                    <a:pt x="323" y="223"/>
                  </a:lnTo>
                  <a:lnTo>
                    <a:pt x="323" y="219"/>
                  </a:lnTo>
                  <a:lnTo>
                    <a:pt x="323" y="223"/>
                  </a:lnTo>
                  <a:lnTo>
                    <a:pt x="319" y="223"/>
                  </a:lnTo>
                  <a:lnTo>
                    <a:pt x="319" y="227"/>
                  </a:lnTo>
                  <a:lnTo>
                    <a:pt x="315" y="227"/>
                  </a:lnTo>
                  <a:close/>
                  <a:moveTo>
                    <a:pt x="754" y="183"/>
                  </a:moveTo>
                  <a:lnTo>
                    <a:pt x="758" y="183"/>
                  </a:lnTo>
                  <a:lnTo>
                    <a:pt x="762" y="183"/>
                  </a:lnTo>
                  <a:lnTo>
                    <a:pt x="762" y="187"/>
                  </a:lnTo>
                  <a:lnTo>
                    <a:pt x="758" y="187"/>
                  </a:lnTo>
                  <a:lnTo>
                    <a:pt x="754" y="187"/>
                  </a:lnTo>
                  <a:lnTo>
                    <a:pt x="754" y="183"/>
                  </a:lnTo>
                  <a:close/>
                  <a:moveTo>
                    <a:pt x="690" y="183"/>
                  </a:moveTo>
                  <a:lnTo>
                    <a:pt x="694" y="183"/>
                  </a:lnTo>
                  <a:lnTo>
                    <a:pt x="694" y="187"/>
                  </a:lnTo>
                  <a:lnTo>
                    <a:pt x="690" y="187"/>
                  </a:lnTo>
                  <a:lnTo>
                    <a:pt x="686" y="183"/>
                  </a:lnTo>
                  <a:lnTo>
                    <a:pt x="690" y="183"/>
                  </a:lnTo>
                  <a:close/>
                  <a:moveTo>
                    <a:pt x="558" y="187"/>
                  </a:moveTo>
                  <a:lnTo>
                    <a:pt x="554" y="187"/>
                  </a:lnTo>
                  <a:lnTo>
                    <a:pt x="558" y="187"/>
                  </a:lnTo>
                  <a:close/>
                  <a:moveTo>
                    <a:pt x="411" y="187"/>
                  </a:moveTo>
                  <a:lnTo>
                    <a:pt x="415" y="187"/>
                  </a:lnTo>
                  <a:lnTo>
                    <a:pt x="411" y="187"/>
                  </a:lnTo>
                  <a:close/>
                  <a:moveTo>
                    <a:pt x="917" y="251"/>
                  </a:moveTo>
                  <a:lnTo>
                    <a:pt x="921" y="251"/>
                  </a:lnTo>
                  <a:lnTo>
                    <a:pt x="917" y="251"/>
                  </a:lnTo>
                  <a:lnTo>
                    <a:pt x="921" y="251"/>
                  </a:lnTo>
                  <a:lnTo>
                    <a:pt x="925" y="251"/>
                  </a:lnTo>
                  <a:lnTo>
                    <a:pt x="929" y="251"/>
                  </a:lnTo>
                  <a:lnTo>
                    <a:pt x="933" y="251"/>
                  </a:lnTo>
                  <a:lnTo>
                    <a:pt x="933" y="255"/>
                  </a:lnTo>
                  <a:lnTo>
                    <a:pt x="929" y="255"/>
                  </a:lnTo>
                  <a:lnTo>
                    <a:pt x="925" y="255"/>
                  </a:lnTo>
                  <a:lnTo>
                    <a:pt x="921" y="255"/>
                  </a:lnTo>
                  <a:lnTo>
                    <a:pt x="917" y="255"/>
                  </a:lnTo>
                  <a:lnTo>
                    <a:pt x="917" y="251"/>
                  </a:lnTo>
                  <a:lnTo>
                    <a:pt x="917" y="255"/>
                  </a:lnTo>
                  <a:lnTo>
                    <a:pt x="921" y="255"/>
                  </a:lnTo>
                  <a:lnTo>
                    <a:pt x="921" y="259"/>
                  </a:lnTo>
                  <a:lnTo>
                    <a:pt x="921" y="263"/>
                  </a:lnTo>
                  <a:lnTo>
                    <a:pt x="917" y="263"/>
                  </a:lnTo>
                  <a:lnTo>
                    <a:pt x="913" y="263"/>
                  </a:lnTo>
                  <a:lnTo>
                    <a:pt x="909" y="263"/>
                  </a:lnTo>
                  <a:lnTo>
                    <a:pt x="905" y="263"/>
                  </a:lnTo>
                  <a:lnTo>
                    <a:pt x="901" y="263"/>
                  </a:lnTo>
                  <a:lnTo>
                    <a:pt x="897" y="263"/>
                  </a:lnTo>
                  <a:lnTo>
                    <a:pt x="897" y="267"/>
                  </a:lnTo>
                  <a:lnTo>
                    <a:pt x="893" y="267"/>
                  </a:lnTo>
                  <a:lnTo>
                    <a:pt x="889" y="263"/>
                  </a:lnTo>
                  <a:lnTo>
                    <a:pt x="885" y="263"/>
                  </a:lnTo>
                  <a:lnTo>
                    <a:pt x="881" y="263"/>
                  </a:lnTo>
                  <a:lnTo>
                    <a:pt x="877" y="263"/>
                  </a:lnTo>
                  <a:lnTo>
                    <a:pt x="877" y="259"/>
                  </a:lnTo>
                  <a:lnTo>
                    <a:pt x="877" y="255"/>
                  </a:lnTo>
                  <a:lnTo>
                    <a:pt x="873" y="255"/>
                  </a:lnTo>
                  <a:lnTo>
                    <a:pt x="869" y="251"/>
                  </a:lnTo>
                  <a:lnTo>
                    <a:pt x="869" y="255"/>
                  </a:lnTo>
                  <a:lnTo>
                    <a:pt x="873" y="255"/>
                  </a:lnTo>
                  <a:lnTo>
                    <a:pt x="873" y="259"/>
                  </a:lnTo>
                  <a:lnTo>
                    <a:pt x="869" y="263"/>
                  </a:lnTo>
                  <a:lnTo>
                    <a:pt x="865" y="263"/>
                  </a:lnTo>
                  <a:lnTo>
                    <a:pt x="861" y="263"/>
                  </a:lnTo>
                  <a:lnTo>
                    <a:pt x="857" y="263"/>
                  </a:lnTo>
                  <a:lnTo>
                    <a:pt x="853" y="263"/>
                  </a:lnTo>
                  <a:lnTo>
                    <a:pt x="849" y="263"/>
                  </a:lnTo>
                  <a:lnTo>
                    <a:pt x="845" y="263"/>
                  </a:lnTo>
                  <a:lnTo>
                    <a:pt x="849" y="259"/>
                  </a:lnTo>
                  <a:lnTo>
                    <a:pt x="845" y="259"/>
                  </a:lnTo>
                  <a:lnTo>
                    <a:pt x="845" y="263"/>
                  </a:lnTo>
                  <a:lnTo>
                    <a:pt x="841" y="263"/>
                  </a:lnTo>
                  <a:lnTo>
                    <a:pt x="841" y="259"/>
                  </a:lnTo>
                  <a:lnTo>
                    <a:pt x="837" y="259"/>
                  </a:lnTo>
                  <a:lnTo>
                    <a:pt x="837" y="263"/>
                  </a:lnTo>
                  <a:lnTo>
                    <a:pt x="841" y="263"/>
                  </a:lnTo>
                  <a:lnTo>
                    <a:pt x="837" y="263"/>
                  </a:lnTo>
                  <a:lnTo>
                    <a:pt x="833" y="263"/>
                  </a:lnTo>
                  <a:lnTo>
                    <a:pt x="829" y="263"/>
                  </a:lnTo>
                  <a:lnTo>
                    <a:pt x="825" y="263"/>
                  </a:lnTo>
                  <a:lnTo>
                    <a:pt x="821" y="263"/>
                  </a:lnTo>
                  <a:lnTo>
                    <a:pt x="821" y="259"/>
                  </a:lnTo>
                  <a:lnTo>
                    <a:pt x="821" y="263"/>
                  </a:lnTo>
                  <a:lnTo>
                    <a:pt x="821" y="267"/>
                  </a:lnTo>
                  <a:lnTo>
                    <a:pt x="817" y="267"/>
                  </a:lnTo>
                  <a:lnTo>
                    <a:pt x="813" y="267"/>
                  </a:lnTo>
                  <a:lnTo>
                    <a:pt x="813" y="263"/>
                  </a:lnTo>
                  <a:lnTo>
                    <a:pt x="809" y="267"/>
                  </a:lnTo>
                  <a:lnTo>
                    <a:pt x="805" y="267"/>
                  </a:lnTo>
                  <a:lnTo>
                    <a:pt x="805" y="263"/>
                  </a:lnTo>
                  <a:lnTo>
                    <a:pt x="805" y="267"/>
                  </a:lnTo>
                  <a:lnTo>
                    <a:pt x="801" y="267"/>
                  </a:lnTo>
                  <a:lnTo>
                    <a:pt x="797" y="263"/>
                  </a:lnTo>
                  <a:lnTo>
                    <a:pt x="794" y="263"/>
                  </a:lnTo>
                  <a:lnTo>
                    <a:pt x="797" y="259"/>
                  </a:lnTo>
                  <a:lnTo>
                    <a:pt x="797" y="255"/>
                  </a:lnTo>
                  <a:lnTo>
                    <a:pt x="794" y="255"/>
                  </a:lnTo>
                  <a:lnTo>
                    <a:pt x="794" y="251"/>
                  </a:lnTo>
                  <a:lnTo>
                    <a:pt x="794" y="255"/>
                  </a:lnTo>
                  <a:lnTo>
                    <a:pt x="790" y="255"/>
                  </a:lnTo>
                  <a:lnTo>
                    <a:pt x="790" y="259"/>
                  </a:lnTo>
                  <a:lnTo>
                    <a:pt x="790" y="255"/>
                  </a:lnTo>
                  <a:lnTo>
                    <a:pt x="786" y="255"/>
                  </a:lnTo>
                  <a:lnTo>
                    <a:pt x="786" y="259"/>
                  </a:lnTo>
                  <a:lnTo>
                    <a:pt x="782" y="259"/>
                  </a:lnTo>
                  <a:lnTo>
                    <a:pt x="782" y="255"/>
                  </a:lnTo>
                  <a:lnTo>
                    <a:pt x="782" y="259"/>
                  </a:lnTo>
                  <a:lnTo>
                    <a:pt x="786" y="259"/>
                  </a:lnTo>
                  <a:lnTo>
                    <a:pt x="786" y="263"/>
                  </a:lnTo>
                  <a:lnTo>
                    <a:pt x="782" y="263"/>
                  </a:lnTo>
                  <a:lnTo>
                    <a:pt x="778" y="263"/>
                  </a:lnTo>
                  <a:lnTo>
                    <a:pt x="774" y="263"/>
                  </a:lnTo>
                  <a:lnTo>
                    <a:pt x="770" y="263"/>
                  </a:lnTo>
                  <a:lnTo>
                    <a:pt x="766" y="263"/>
                  </a:lnTo>
                  <a:lnTo>
                    <a:pt x="762" y="263"/>
                  </a:lnTo>
                  <a:lnTo>
                    <a:pt x="762" y="259"/>
                  </a:lnTo>
                  <a:lnTo>
                    <a:pt x="758" y="259"/>
                  </a:lnTo>
                  <a:lnTo>
                    <a:pt x="758" y="255"/>
                  </a:lnTo>
                  <a:lnTo>
                    <a:pt x="762" y="255"/>
                  </a:lnTo>
                  <a:lnTo>
                    <a:pt x="758" y="255"/>
                  </a:lnTo>
                  <a:lnTo>
                    <a:pt x="754" y="255"/>
                  </a:lnTo>
                  <a:lnTo>
                    <a:pt x="754" y="259"/>
                  </a:lnTo>
                  <a:lnTo>
                    <a:pt x="754" y="255"/>
                  </a:lnTo>
                  <a:lnTo>
                    <a:pt x="754" y="259"/>
                  </a:lnTo>
                  <a:lnTo>
                    <a:pt x="750" y="259"/>
                  </a:lnTo>
                  <a:lnTo>
                    <a:pt x="746" y="259"/>
                  </a:lnTo>
                  <a:lnTo>
                    <a:pt x="742" y="259"/>
                  </a:lnTo>
                  <a:lnTo>
                    <a:pt x="742" y="255"/>
                  </a:lnTo>
                  <a:lnTo>
                    <a:pt x="742" y="251"/>
                  </a:lnTo>
                  <a:lnTo>
                    <a:pt x="738" y="251"/>
                  </a:lnTo>
                  <a:lnTo>
                    <a:pt x="738" y="247"/>
                  </a:lnTo>
                  <a:lnTo>
                    <a:pt x="742" y="247"/>
                  </a:lnTo>
                  <a:lnTo>
                    <a:pt x="738" y="247"/>
                  </a:lnTo>
                  <a:lnTo>
                    <a:pt x="734" y="243"/>
                  </a:lnTo>
                  <a:lnTo>
                    <a:pt x="734" y="239"/>
                  </a:lnTo>
                  <a:lnTo>
                    <a:pt x="734" y="235"/>
                  </a:lnTo>
                  <a:lnTo>
                    <a:pt x="738" y="235"/>
                  </a:lnTo>
                  <a:lnTo>
                    <a:pt x="742" y="235"/>
                  </a:lnTo>
                  <a:lnTo>
                    <a:pt x="742" y="231"/>
                  </a:lnTo>
                  <a:lnTo>
                    <a:pt x="738" y="227"/>
                  </a:lnTo>
                  <a:lnTo>
                    <a:pt x="738" y="223"/>
                  </a:lnTo>
                  <a:lnTo>
                    <a:pt x="734" y="223"/>
                  </a:lnTo>
                  <a:lnTo>
                    <a:pt x="734" y="219"/>
                  </a:lnTo>
                  <a:lnTo>
                    <a:pt x="730" y="219"/>
                  </a:lnTo>
                  <a:lnTo>
                    <a:pt x="730" y="215"/>
                  </a:lnTo>
                  <a:lnTo>
                    <a:pt x="726" y="215"/>
                  </a:lnTo>
                  <a:lnTo>
                    <a:pt x="726" y="211"/>
                  </a:lnTo>
                  <a:lnTo>
                    <a:pt x="722" y="211"/>
                  </a:lnTo>
                  <a:lnTo>
                    <a:pt x="718" y="211"/>
                  </a:lnTo>
                  <a:lnTo>
                    <a:pt x="714" y="211"/>
                  </a:lnTo>
                  <a:lnTo>
                    <a:pt x="714" y="215"/>
                  </a:lnTo>
                  <a:lnTo>
                    <a:pt x="710" y="211"/>
                  </a:lnTo>
                  <a:lnTo>
                    <a:pt x="706" y="211"/>
                  </a:lnTo>
                  <a:lnTo>
                    <a:pt x="702" y="211"/>
                  </a:lnTo>
                  <a:lnTo>
                    <a:pt x="698" y="211"/>
                  </a:lnTo>
                  <a:lnTo>
                    <a:pt x="694" y="215"/>
                  </a:lnTo>
                  <a:lnTo>
                    <a:pt x="690" y="215"/>
                  </a:lnTo>
                  <a:lnTo>
                    <a:pt x="690" y="211"/>
                  </a:lnTo>
                  <a:lnTo>
                    <a:pt x="694" y="211"/>
                  </a:lnTo>
                  <a:lnTo>
                    <a:pt x="698" y="211"/>
                  </a:lnTo>
                  <a:lnTo>
                    <a:pt x="694" y="211"/>
                  </a:lnTo>
                  <a:lnTo>
                    <a:pt x="690" y="211"/>
                  </a:lnTo>
                  <a:lnTo>
                    <a:pt x="686" y="211"/>
                  </a:lnTo>
                  <a:lnTo>
                    <a:pt x="686" y="207"/>
                  </a:lnTo>
                  <a:lnTo>
                    <a:pt x="682" y="207"/>
                  </a:lnTo>
                  <a:lnTo>
                    <a:pt x="678" y="207"/>
                  </a:lnTo>
                  <a:lnTo>
                    <a:pt x="682" y="207"/>
                  </a:lnTo>
                  <a:lnTo>
                    <a:pt x="686" y="207"/>
                  </a:lnTo>
                  <a:lnTo>
                    <a:pt x="686" y="203"/>
                  </a:lnTo>
                  <a:lnTo>
                    <a:pt x="682" y="203"/>
                  </a:lnTo>
                  <a:lnTo>
                    <a:pt x="678" y="203"/>
                  </a:lnTo>
                  <a:lnTo>
                    <a:pt x="674" y="203"/>
                  </a:lnTo>
                  <a:lnTo>
                    <a:pt x="674" y="199"/>
                  </a:lnTo>
                  <a:lnTo>
                    <a:pt x="670" y="199"/>
                  </a:lnTo>
                  <a:lnTo>
                    <a:pt x="666" y="199"/>
                  </a:lnTo>
                  <a:lnTo>
                    <a:pt x="666" y="195"/>
                  </a:lnTo>
                  <a:lnTo>
                    <a:pt x="670" y="199"/>
                  </a:lnTo>
                  <a:lnTo>
                    <a:pt x="674" y="199"/>
                  </a:lnTo>
                  <a:lnTo>
                    <a:pt x="678" y="199"/>
                  </a:lnTo>
                  <a:lnTo>
                    <a:pt x="674" y="195"/>
                  </a:lnTo>
                  <a:lnTo>
                    <a:pt x="670" y="195"/>
                  </a:lnTo>
                  <a:lnTo>
                    <a:pt x="666" y="195"/>
                  </a:lnTo>
                  <a:lnTo>
                    <a:pt x="670" y="191"/>
                  </a:lnTo>
                  <a:lnTo>
                    <a:pt x="674" y="191"/>
                  </a:lnTo>
                  <a:lnTo>
                    <a:pt x="678" y="191"/>
                  </a:lnTo>
                  <a:lnTo>
                    <a:pt x="682" y="191"/>
                  </a:lnTo>
                  <a:lnTo>
                    <a:pt x="686" y="187"/>
                  </a:lnTo>
                  <a:lnTo>
                    <a:pt x="686" y="191"/>
                  </a:lnTo>
                  <a:lnTo>
                    <a:pt x="690" y="191"/>
                  </a:lnTo>
                  <a:lnTo>
                    <a:pt x="694" y="191"/>
                  </a:lnTo>
                  <a:lnTo>
                    <a:pt x="698" y="191"/>
                  </a:lnTo>
                  <a:lnTo>
                    <a:pt x="702" y="191"/>
                  </a:lnTo>
                  <a:lnTo>
                    <a:pt x="706" y="195"/>
                  </a:lnTo>
                  <a:lnTo>
                    <a:pt x="710" y="195"/>
                  </a:lnTo>
                  <a:lnTo>
                    <a:pt x="710" y="191"/>
                  </a:lnTo>
                  <a:lnTo>
                    <a:pt x="714" y="191"/>
                  </a:lnTo>
                  <a:lnTo>
                    <a:pt x="714" y="195"/>
                  </a:lnTo>
                  <a:lnTo>
                    <a:pt x="718" y="195"/>
                  </a:lnTo>
                  <a:lnTo>
                    <a:pt x="722" y="199"/>
                  </a:lnTo>
                  <a:lnTo>
                    <a:pt x="722" y="203"/>
                  </a:lnTo>
                  <a:lnTo>
                    <a:pt x="718" y="207"/>
                  </a:lnTo>
                  <a:lnTo>
                    <a:pt x="718" y="211"/>
                  </a:lnTo>
                  <a:lnTo>
                    <a:pt x="718" y="207"/>
                  </a:lnTo>
                  <a:lnTo>
                    <a:pt x="722" y="207"/>
                  </a:lnTo>
                  <a:lnTo>
                    <a:pt x="726" y="203"/>
                  </a:lnTo>
                  <a:lnTo>
                    <a:pt x="730" y="203"/>
                  </a:lnTo>
                  <a:lnTo>
                    <a:pt x="734" y="203"/>
                  </a:lnTo>
                  <a:lnTo>
                    <a:pt x="738" y="203"/>
                  </a:lnTo>
                  <a:lnTo>
                    <a:pt x="742" y="203"/>
                  </a:lnTo>
                  <a:lnTo>
                    <a:pt x="742" y="199"/>
                  </a:lnTo>
                  <a:lnTo>
                    <a:pt x="746" y="199"/>
                  </a:lnTo>
                  <a:lnTo>
                    <a:pt x="750" y="199"/>
                  </a:lnTo>
                  <a:lnTo>
                    <a:pt x="754" y="199"/>
                  </a:lnTo>
                  <a:lnTo>
                    <a:pt x="758" y="203"/>
                  </a:lnTo>
                  <a:lnTo>
                    <a:pt x="762" y="203"/>
                  </a:lnTo>
                  <a:lnTo>
                    <a:pt x="766" y="203"/>
                  </a:lnTo>
                  <a:lnTo>
                    <a:pt x="766" y="207"/>
                  </a:lnTo>
                  <a:lnTo>
                    <a:pt x="762" y="207"/>
                  </a:lnTo>
                  <a:lnTo>
                    <a:pt x="758" y="207"/>
                  </a:lnTo>
                  <a:lnTo>
                    <a:pt x="754" y="207"/>
                  </a:lnTo>
                  <a:lnTo>
                    <a:pt x="750" y="207"/>
                  </a:lnTo>
                  <a:lnTo>
                    <a:pt x="754" y="207"/>
                  </a:lnTo>
                  <a:lnTo>
                    <a:pt x="758" y="207"/>
                  </a:lnTo>
                  <a:lnTo>
                    <a:pt x="762" y="207"/>
                  </a:lnTo>
                  <a:lnTo>
                    <a:pt x="766" y="207"/>
                  </a:lnTo>
                  <a:lnTo>
                    <a:pt x="766" y="211"/>
                  </a:lnTo>
                  <a:lnTo>
                    <a:pt x="770" y="211"/>
                  </a:lnTo>
                  <a:lnTo>
                    <a:pt x="774" y="211"/>
                  </a:lnTo>
                  <a:lnTo>
                    <a:pt x="778" y="211"/>
                  </a:lnTo>
                  <a:lnTo>
                    <a:pt x="782" y="211"/>
                  </a:lnTo>
                  <a:lnTo>
                    <a:pt x="786" y="215"/>
                  </a:lnTo>
                  <a:lnTo>
                    <a:pt x="782" y="215"/>
                  </a:lnTo>
                  <a:lnTo>
                    <a:pt x="778" y="215"/>
                  </a:lnTo>
                  <a:lnTo>
                    <a:pt x="774" y="215"/>
                  </a:lnTo>
                  <a:lnTo>
                    <a:pt x="766" y="215"/>
                  </a:lnTo>
                  <a:lnTo>
                    <a:pt x="770" y="215"/>
                  </a:lnTo>
                  <a:lnTo>
                    <a:pt x="766" y="215"/>
                  </a:lnTo>
                  <a:lnTo>
                    <a:pt x="762" y="215"/>
                  </a:lnTo>
                  <a:lnTo>
                    <a:pt x="758" y="215"/>
                  </a:lnTo>
                  <a:lnTo>
                    <a:pt x="754" y="215"/>
                  </a:lnTo>
                  <a:lnTo>
                    <a:pt x="750" y="215"/>
                  </a:lnTo>
                  <a:lnTo>
                    <a:pt x="750" y="211"/>
                  </a:lnTo>
                  <a:lnTo>
                    <a:pt x="746" y="211"/>
                  </a:lnTo>
                  <a:lnTo>
                    <a:pt x="746" y="215"/>
                  </a:lnTo>
                  <a:lnTo>
                    <a:pt x="750" y="215"/>
                  </a:lnTo>
                  <a:lnTo>
                    <a:pt x="754" y="215"/>
                  </a:lnTo>
                  <a:lnTo>
                    <a:pt x="758" y="215"/>
                  </a:lnTo>
                  <a:lnTo>
                    <a:pt x="762" y="219"/>
                  </a:lnTo>
                  <a:lnTo>
                    <a:pt x="758" y="219"/>
                  </a:lnTo>
                  <a:lnTo>
                    <a:pt x="762" y="219"/>
                  </a:lnTo>
                  <a:lnTo>
                    <a:pt x="766" y="219"/>
                  </a:lnTo>
                  <a:lnTo>
                    <a:pt x="770" y="219"/>
                  </a:lnTo>
                  <a:lnTo>
                    <a:pt x="766" y="219"/>
                  </a:lnTo>
                  <a:lnTo>
                    <a:pt x="762" y="219"/>
                  </a:lnTo>
                  <a:lnTo>
                    <a:pt x="758" y="219"/>
                  </a:lnTo>
                  <a:lnTo>
                    <a:pt x="754" y="219"/>
                  </a:lnTo>
                  <a:lnTo>
                    <a:pt x="758" y="223"/>
                  </a:lnTo>
                  <a:lnTo>
                    <a:pt x="754" y="223"/>
                  </a:lnTo>
                  <a:lnTo>
                    <a:pt x="754" y="227"/>
                  </a:lnTo>
                  <a:lnTo>
                    <a:pt x="754" y="223"/>
                  </a:lnTo>
                  <a:lnTo>
                    <a:pt x="758" y="223"/>
                  </a:lnTo>
                  <a:lnTo>
                    <a:pt x="758" y="219"/>
                  </a:lnTo>
                  <a:lnTo>
                    <a:pt x="762" y="219"/>
                  </a:lnTo>
                  <a:lnTo>
                    <a:pt x="762" y="223"/>
                  </a:lnTo>
                  <a:lnTo>
                    <a:pt x="766" y="223"/>
                  </a:lnTo>
                  <a:lnTo>
                    <a:pt x="762" y="223"/>
                  </a:lnTo>
                  <a:lnTo>
                    <a:pt x="766" y="223"/>
                  </a:lnTo>
                  <a:lnTo>
                    <a:pt x="770" y="223"/>
                  </a:lnTo>
                  <a:lnTo>
                    <a:pt x="770" y="219"/>
                  </a:lnTo>
                  <a:lnTo>
                    <a:pt x="774" y="219"/>
                  </a:lnTo>
                  <a:lnTo>
                    <a:pt x="774" y="223"/>
                  </a:lnTo>
                  <a:lnTo>
                    <a:pt x="778" y="223"/>
                  </a:lnTo>
                  <a:lnTo>
                    <a:pt x="774" y="227"/>
                  </a:lnTo>
                  <a:lnTo>
                    <a:pt x="778" y="227"/>
                  </a:lnTo>
                  <a:lnTo>
                    <a:pt x="778" y="223"/>
                  </a:lnTo>
                  <a:lnTo>
                    <a:pt x="782" y="227"/>
                  </a:lnTo>
                  <a:lnTo>
                    <a:pt x="786" y="227"/>
                  </a:lnTo>
                  <a:lnTo>
                    <a:pt x="782" y="231"/>
                  </a:lnTo>
                  <a:lnTo>
                    <a:pt x="778" y="231"/>
                  </a:lnTo>
                  <a:lnTo>
                    <a:pt x="774" y="235"/>
                  </a:lnTo>
                  <a:lnTo>
                    <a:pt x="778" y="231"/>
                  </a:lnTo>
                  <a:lnTo>
                    <a:pt x="778" y="235"/>
                  </a:lnTo>
                  <a:lnTo>
                    <a:pt x="778" y="231"/>
                  </a:lnTo>
                  <a:lnTo>
                    <a:pt x="782" y="231"/>
                  </a:lnTo>
                  <a:lnTo>
                    <a:pt x="786" y="235"/>
                  </a:lnTo>
                  <a:lnTo>
                    <a:pt x="786" y="239"/>
                  </a:lnTo>
                  <a:lnTo>
                    <a:pt x="790" y="239"/>
                  </a:lnTo>
                  <a:lnTo>
                    <a:pt x="790" y="235"/>
                  </a:lnTo>
                  <a:lnTo>
                    <a:pt x="790" y="231"/>
                  </a:lnTo>
                  <a:lnTo>
                    <a:pt x="794" y="231"/>
                  </a:lnTo>
                  <a:lnTo>
                    <a:pt x="797" y="231"/>
                  </a:lnTo>
                  <a:lnTo>
                    <a:pt x="797" y="235"/>
                  </a:lnTo>
                  <a:lnTo>
                    <a:pt x="801" y="235"/>
                  </a:lnTo>
                  <a:lnTo>
                    <a:pt x="805" y="235"/>
                  </a:lnTo>
                  <a:lnTo>
                    <a:pt x="809" y="235"/>
                  </a:lnTo>
                  <a:lnTo>
                    <a:pt x="809" y="231"/>
                  </a:lnTo>
                  <a:lnTo>
                    <a:pt x="813" y="231"/>
                  </a:lnTo>
                  <a:lnTo>
                    <a:pt x="817" y="231"/>
                  </a:lnTo>
                  <a:lnTo>
                    <a:pt x="817" y="235"/>
                  </a:lnTo>
                  <a:lnTo>
                    <a:pt x="821" y="235"/>
                  </a:lnTo>
                  <a:lnTo>
                    <a:pt x="825" y="235"/>
                  </a:lnTo>
                  <a:lnTo>
                    <a:pt x="825" y="239"/>
                  </a:lnTo>
                  <a:lnTo>
                    <a:pt x="821" y="239"/>
                  </a:lnTo>
                  <a:lnTo>
                    <a:pt x="825" y="239"/>
                  </a:lnTo>
                  <a:lnTo>
                    <a:pt x="829" y="239"/>
                  </a:lnTo>
                  <a:lnTo>
                    <a:pt x="833" y="239"/>
                  </a:lnTo>
                  <a:lnTo>
                    <a:pt x="837" y="239"/>
                  </a:lnTo>
                  <a:lnTo>
                    <a:pt x="833" y="235"/>
                  </a:lnTo>
                  <a:lnTo>
                    <a:pt x="829" y="235"/>
                  </a:lnTo>
                  <a:lnTo>
                    <a:pt x="833" y="235"/>
                  </a:lnTo>
                  <a:lnTo>
                    <a:pt x="837" y="235"/>
                  </a:lnTo>
                  <a:lnTo>
                    <a:pt x="841" y="235"/>
                  </a:lnTo>
                  <a:lnTo>
                    <a:pt x="845" y="231"/>
                  </a:lnTo>
                  <a:lnTo>
                    <a:pt x="849" y="231"/>
                  </a:lnTo>
                  <a:lnTo>
                    <a:pt x="853" y="231"/>
                  </a:lnTo>
                  <a:lnTo>
                    <a:pt x="857" y="231"/>
                  </a:lnTo>
                  <a:lnTo>
                    <a:pt x="861" y="227"/>
                  </a:lnTo>
                  <a:lnTo>
                    <a:pt x="865" y="227"/>
                  </a:lnTo>
                  <a:lnTo>
                    <a:pt x="869" y="227"/>
                  </a:lnTo>
                  <a:lnTo>
                    <a:pt x="873" y="227"/>
                  </a:lnTo>
                  <a:lnTo>
                    <a:pt x="877" y="227"/>
                  </a:lnTo>
                  <a:lnTo>
                    <a:pt x="881" y="227"/>
                  </a:lnTo>
                  <a:lnTo>
                    <a:pt x="885" y="227"/>
                  </a:lnTo>
                  <a:lnTo>
                    <a:pt x="889" y="227"/>
                  </a:lnTo>
                  <a:lnTo>
                    <a:pt x="893" y="227"/>
                  </a:lnTo>
                  <a:lnTo>
                    <a:pt x="897" y="227"/>
                  </a:lnTo>
                  <a:lnTo>
                    <a:pt x="901" y="227"/>
                  </a:lnTo>
                  <a:lnTo>
                    <a:pt x="905" y="227"/>
                  </a:lnTo>
                  <a:lnTo>
                    <a:pt x="905" y="231"/>
                  </a:lnTo>
                  <a:lnTo>
                    <a:pt x="909" y="231"/>
                  </a:lnTo>
                  <a:lnTo>
                    <a:pt x="913" y="231"/>
                  </a:lnTo>
                  <a:lnTo>
                    <a:pt x="917" y="231"/>
                  </a:lnTo>
                  <a:lnTo>
                    <a:pt x="921" y="231"/>
                  </a:lnTo>
                  <a:lnTo>
                    <a:pt x="925" y="235"/>
                  </a:lnTo>
                  <a:lnTo>
                    <a:pt x="921" y="235"/>
                  </a:lnTo>
                  <a:lnTo>
                    <a:pt x="917" y="235"/>
                  </a:lnTo>
                  <a:lnTo>
                    <a:pt x="921" y="235"/>
                  </a:lnTo>
                  <a:lnTo>
                    <a:pt x="925" y="235"/>
                  </a:lnTo>
                  <a:lnTo>
                    <a:pt x="929" y="235"/>
                  </a:lnTo>
                  <a:lnTo>
                    <a:pt x="929" y="239"/>
                  </a:lnTo>
                  <a:lnTo>
                    <a:pt x="929" y="243"/>
                  </a:lnTo>
                  <a:lnTo>
                    <a:pt x="933" y="243"/>
                  </a:lnTo>
                  <a:lnTo>
                    <a:pt x="929" y="243"/>
                  </a:lnTo>
                  <a:lnTo>
                    <a:pt x="925" y="247"/>
                  </a:lnTo>
                  <a:lnTo>
                    <a:pt x="925" y="243"/>
                  </a:lnTo>
                  <a:lnTo>
                    <a:pt x="925" y="247"/>
                  </a:lnTo>
                  <a:lnTo>
                    <a:pt x="921" y="247"/>
                  </a:lnTo>
                  <a:lnTo>
                    <a:pt x="917" y="247"/>
                  </a:lnTo>
                  <a:lnTo>
                    <a:pt x="917" y="251"/>
                  </a:lnTo>
                  <a:close/>
                  <a:moveTo>
                    <a:pt x="662" y="191"/>
                  </a:moveTo>
                  <a:lnTo>
                    <a:pt x="666" y="191"/>
                  </a:lnTo>
                  <a:lnTo>
                    <a:pt x="662" y="191"/>
                  </a:lnTo>
                  <a:lnTo>
                    <a:pt x="658" y="191"/>
                  </a:lnTo>
                  <a:lnTo>
                    <a:pt x="662" y="191"/>
                  </a:lnTo>
                  <a:close/>
                  <a:moveTo>
                    <a:pt x="407" y="199"/>
                  </a:moveTo>
                  <a:lnTo>
                    <a:pt x="399" y="199"/>
                  </a:lnTo>
                  <a:lnTo>
                    <a:pt x="395" y="199"/>
                  </a:lnTo>
                  <a:lnTo>
                    <a:pt x="395" y="195"/>
                  </a:lnTo>
                  <a:lnTo>
                    <a:pt x="399" y="195"/>
                  </a:lnTo>
                  <a:lnTo>
                    <a:pt x="403" y="195"/>
                  </a:lnTo>
                  <a:lnTo>
                    <a:pt x="407" y="195"/>
                  </a:lnTo>
                  <a:lnTo>
                    <a:pt x="411" y="195"/>
                  </a:lnTo>
                  <a:lnTo>
                    <a:pt x="415" y="195"/>
                  </a:lnTo>
                  <a:lnTo>
                    <a:pt x="415" y="199"/>
                  </a:lnTo>
                  <a:lnTo>
                    <a:pt x="411" y="199"/>
                  </a:lnTo>
                  <a:lnTo>
                    <a:pt x="407" y="199"/>
                  </a:lnTo>
                  <a:close/>
                  <a:moveTo>
                    <a:pt x="395" y="251"/>
                  </a:moveTo>
                  <a:lnTo>
                    <a:pt x="391" y="251"/>
                  </a:lnTo>
                  <a:lnTo>
                    <a:pt x="391" y="247"/>
                  </a:lnTo>
                  <a:lnTo>
                    <a:pt x="391" y="243"/>
                  </a:lnTo>
                  <a:lnTo>
                    <a:pt x="391" y="247"/>
                  </a:lnTo>
                  <a:lnTo>
                    <a:pt x="387" y="247"/>
                  </a:lnTo>
                  <a:lnTo>
                    <a:pt x="383" y="247"/>
                  </a:lnTo>
                  <a:lnTo>
                    <a:pt x="387" y="247"/>
                  </a:lnTo>
                  <a:lnTo>
                    <a:pt x="387" y="251"/>
                  </a:lnTo>
                  <a:lnTo>
                    <a:pt x="383" y="251"/>
                  </a:lnTo>
                  <a:lnTo>
                    <a:pt x="379" y="251"/>
                  </a:lnTo>
                  <a:lnTo>
                    <a:pt x="375" y="247"/>
                  </a:lnTo>
                  <a:lnTo>
                    <a:pt x="375" y="243"/>
                  </a:lnTo>
                  <a:lnTo>
                    <a:pt x="371" y="243"/>
                  </a:lnTo>
                  <a:lnTo>
                    <a:pt x="367" y="247"/>
                  </a:lnTo>
                  <a:lnTo>
                    <a:pt x="359" y="247"/>
                  </a:lnTo>
                  <a:lnTo>
                    <a:pt x="359" y="243"/>
                  </a:lnTo>
                  <a:lnTo>
                    <a:pt x="355" y="243"/>
                  </a:lnTo>
                  <a:lnTo>
                    <a:pt x="351" y="243"/>
                  </a:lnTo>
                  <a:lnTo>
                    <a:pt x="355" y="239"/>
                  </a:lnTo>
                  <a:lnTo>
                    <a:pt x="359" y="239"/>
                  </a:lnTo>
                  <a:lnTo>
                    <a:pt x="359" y="235"/>
                  </a:lnTo>
                  <a:lnTo>
                    <a:pt x="363" y="235"/>
                  </a:lnTo>
                  <a:lnTo>
                    <a:pt x="367" y="235"/>
                  </a:lnTo>
                  <a:lnTo>
                    <a:pt x="375" y="235"/>
                  </a:lnTo>
                  <a:lnTo>
                    <a:pt x="379" y="235"/>
                  </a:lnTo>
                  <a:lnTo>
                    <a:pt x="383" y="235"/>
                  </a:lnTo>
                  <a:lnTo>
                    <a:pt x="383" y="231"/>
                  </a:lnTo>
                  <a:lnTo>
                    <a:pt x="387" y="231"/>
                  </a:lnTo>
                  <a:lnTo>
                    <a:pt x="391" y="231"/>
                  </a:lnTo>
                  <a:lnTo>
                    <a:pt x="395" y="231"/>
                  </a:lnTo>
                  <a:lnTo>
                    <a:pt x="391" y="231"/>
                  </a:lnTo>
                  <a:lnTo>
                    <a:pt x="387" y="231"/>
                  </a:lnTo>
                  <a:lnTo>
                    <a:pt x="383" y="231"/>
                  </a:lnTo>
                  <a:lnTo>
                    <a:pt x="379" y="231"/>
                  </a:lnTo>
                  <a:lnTo>
                    <a:pt x="375" y="231"/>
                  </a:lnTo>
                  <a:lnTo>
                    <a:pt x="375" y="235"/>
                  </a:lnTo>
                  <a:lnTo>
                    <a:pt x="371" y="235"/>
                  </a:lnTo>
                  <a:lnTo>
                    <a:pt x="367" y="235"/>
                  </a:lnTo>
                  <a:lnTo>
                    <a:pt x="359" y="235"/>
                  </a:lnTo>
                  <a:lnTo>
                    <a:pt x="359" y="231"/>
                  </a:lnTo>
                  <a:lnTo>
                    <a:pt x="363" y="231"/>
                  </a:lnTo>
                  <a:lnTo>
                    <a:pt x="363" y="227"/>
                  </a:lnTo>
                  <a:lnTo>
                    <a:pt x="367" y="227"/>
                  </a:lnTo>
                  <a:lnTo>
                    <a:pt x="371" y="227"/>
                  </a:lnTo>
                  <a:lnTo>
                    <a:pt x="375" y="227"/>
                  </a:lnTo>
                  <a:lnTo>
                    <a:pt x="379" y="227"/>
                  </a:lnTo>
                  <a:lnTo>
                    <a:pt x="383" y="227"/>
                  </a:lnTo>
                  <a:lnTo>
                    <a:pt x="383" y="223"/>
                  </a:lnTo>
                  <a:lnTo>
                    <a:pt x="383" y="227"/>
                  </a:lnTo>
                  <a:lnTo>
                    <a:pt x="387" y="227"/>
                  </a:lnTo>
                  <a:lnTo>
                    <a:pt x="387" y="223"/>
                  </a:lnTo>
                  <a:lnTo>
                    <a:pt x="391" y="223"/>
                  </a:lnTo>
                  <a:lnTo>
                    <a:pt x="395" y="223"/>
                  </a:lnTo>
                  <a:lnTo>
                    <a:pt x="391" y="223"/>
                  </a:lnTo>
                  <a:lnTo>
                    <a:pt x="387" y="223"/>
                  </a:lnTo>
                  <a:lnTo>
                    <a:pt x="383" y="223"/>
                  </a:lnTo>
                  <a:lnTo>
                    <a:pt x="379" y="223"/>
                  </a:lnTo>
                  <a:lnTo>
                    <a:pt x="375" y="223"/>
                  </a:lnTo>
                  <a:lnTo>
                    <a:pt x="371" y="223"/>
                  </a:lnTo>
                  <a:lnTo>
                    <a:pt x="367" y="223"/>
                  </a:lnTo>
                  <a:lnTo>
                    <a:pt x="371" y="223"/>
                  </a:lnTo>
                  <a:lnTo>
                    <a:pt x="371" y="219"/>
                  </a:lnTo>
                  <a:lnTo>
                    <a:pt x="367" y="219"/>
                  </a:lnTo>
                  <a:lnTo>
                    <a:pt x="371" y="215"/>
                  </a:lnTo>
                  <a:lnTo>
                    <a:pt x="375" y="215"/>
                  </a:lnTo>
                  <a:lnTo>
                    <a:pt x="379" y="215"/>
                  </a:lnTo>
                  <a:lnTo>
                    <a:pt x="383" y="215"/>
                  </a:lnTo>
                  <a:lnTo>
                    <a:pt x="387" y="215"/>
                  </a:lnTo>
                  <a:lnTo>
                    <a:pt x="391" y="215"/>
                  </a:lnTo>
                  <a:lnTo>
                    <a:pt x="395" y="215"/>
                  </a:lnTo>
                  <a:lnTo>
                    <a:pt x="399" y="215"/>
                  </a:lnTo>
                  <a:lnTo>
                    <a:pt x="395" y="215"/>
                  </a:lnTo>
                  <a:lnTo>
                    <a:pt x="391" y="215"/>
                  </a:lnTo>
                  <a:lnTo>
                    <a:pt x="387" y="215"/>
                  </a:lnTo>
                  <a:lnTo>
                    <a:pt x="383" y="215"/>
                  </a:lnTo>
                  <a:lnTo>
                    <a:pt x="379" y="215"/>
                  </a:lnTo>
                  <a:lnTo>
                    <a:pt x="379" y="211"/>
                  </a:lnTo>
                  <a:lnTo>
                    <a:pt x="383" y="207"/>
                  </a:lnTo>
                  <a:lnTo>
                    <a:pt x="387" y="207"/>
                  </a:lnTo>
                  <a:lnTo>
                    <a:pt x="391" y="207"/>
                  </a:lnTo>
                  <a:lnTo>
                    <a:pt x="395" y="207"/>
                  </a:lnTo>
                  <a:lnTo>
                    <a:pt x="399" y="207"/>
                  </a:lnTo>
                  <a:lnTo>
                    <a:pt x="403" y="207"/>
                  </a:lnTo>
                  <a:lnTo>
                    <a:pt x="407" y="207"/>
                  </a:lnTo>
                  <a:lnTo>
                    <a:pt x="407" y="211"/>
                  </a:lnTo>
                  <a:lnTo>
                    <a:pt x="407" y="215"/>
                  </a:lnTo>
                  <a:lnTo>
                    <a:pt x="411" y="215"/>
                  </a:lnTo>
                  <a:lnTo>
                    <a:pt x="415" y="215"/>
                  </a:lnTo>
                  <a:lnTo>
                    <a:pt x="419" y="211"/>
                  </a:lnTo>
                  <a:lnTo>
                    <a:pt x="423" y="211"/>
                  </a:lnTo>
                  <a:lnTo>
                    <a:pt x="427" y="211"/>
                  </a:lnTo>
                  <a:lnTo>
                    <a:pt x="427" y="215"/>
                  </a:lnTo>
                  <a:lnTo>
                    <a:pt x="431" y="215"/>
                  </a:lnTo>
                  <a:lnTo>
                    <a:pt x="431" y="219"/>
                  </a:lnTo>
                  <a:lnTo>
                    <a:pt x="435" y="219"/>
                  </a:lnTo>
                  <a:lnTo>
                    <a:pt x="439" y="219"/>
                  </a:lnTo>
                  <a:lnTo>
                    <a:pt x="439" y="223"/>
                  </a:lnTo>
                  <a:lnTo>
                    <a:pt x="442" y="223"/>
                  </a:lnTo>
                  <a:lnTo>
                    <a:pt x="439" y="223"/>
                  </a:lnTo>
                  <a:lnTo>
                    <a:pt x="435" y="223"/>
                  </a:lnTo>
                  <a:lnTo>
                    <a:pt x="435" y="227"/>
                  </a:lnTo>
                  <a:lnTo>
                    <a:pt x="439" y="227"/>
                  </a:lnTo>
                  <a:lnTo>
                    <a:pt x="442" y="227"/>
                  </a:lnTo>
                  <a:lnTo>
                    <a:pt x="446" y="227"/>
                  </a:lnTo>
                  <a:lnTo>
                    <a:pt x="446" y="231"/>
                  </a:lnTo>
                  <a:lnTo>
                    <a:pt x="446" y="235"/>
                  </a:lnTo>
                  <a:lnTo>
                    <a:pt x="450" y="235"/>
                  </a:lnTo>
                  <a:lnTo>
                    <a:pt x="454" y="235"/>
                  </a:lnTo>
                  <a:lnTo>
                    <a:pt x="458" y="235"/>
                  </a:lnTo>
                  <a:lnTo>
                    <a:pt x="462" y="235"/>
                  </a:lnTo>
                  <a:lnTo>
                    <a:pt x="466" y="235"/>
                  </a:lnTo>
                  <a:lnTo>
                    <a:pt x="470" y="235"/>
                  </a:lnTo>
                  <a:lnTo>
                    <a:pt x="474" y="235"/>
                  </a:lnTo>
                  <a:lnTo>
                    <a:pt x="478" y="235"/>
                  </a:lnTo>
                  <a:lnTo>
                    <a:pt x="482" y="235"/>
                  </a:lnTo>
                  <a:lnTo>
                    <a:pt x="486" y="235"/>
                  </a:lnTo>
                  <a:lnTo>
                    <a:pt x="486" y="231"/>
                  </a:lnTo>
                  <a:lnTo>
                    <a:pt x="482" y="227"/>
                  </a:lnTo>
                  <a:lnTo>
                    <a:pt x="478" y="227"/>
                  </a:lnTo>
                  <a:lnTo>
                    <a:pt x="474" y="227"/>
                  </a:lnTo>
                  <a:lnTo>
                    <a:pt x="474" y="223"/>
                  </a:lnTo>
                  <a:lnTo>
                    <a:pt x="470" y="223"/>
                  </a:lnTo>
                  <a:lnTo>
                    <a:pt x="466" y="223"/>
                  </a:lnTo>
                  <a:lnTo>
                    <a:pt x="470" y="223"/>
                  </a:lnTo>
                  <a:lnTo>
                    <a:pt x="474" y="223"/>
                  </a:lnTo>
                  <a:lnTo>
                    <a:pt x="478" y="219"/>
                  </a:lnTo>
                  <a:lnTo>
                    <a:pt x="478" y="215"/>
                  </a:lnTo>
                  <a:lnTo>
                    <a:pt x="474" y="215"/>
                  </a:lnTo>
                  <a:lnTo>
                    <a:pt x="470" y="215"/>
                  </a:lnTo>
                  <a:lnTo>
                    <a:pt x="466" y="215"/>
                  </a:lnTo>
                  <a:lnTo>
                    <a:pt x="466" y="211"/>
                  </a:lnTo>
                  <a:lnTo>
                    <a:pt x="462" y="211"/>
                  </a:lnTo>
                  <a:lnTo>
                    <a:pt x="462" y="207"/>
                  </a:lnTo>
                  <a:lnTo>
                    <a:pt x="466" y="207"/>
                  </a:lnTo>
                  <a:lnTo>
                    <a:pt x="470" y="207"/>
                  </a:lnTo>
                  <a:lnTo>
                    <a:pt x="474" y="207"/>
                  </a:lnTo>
                  <a:lnTo>
                    <a:pt x="474" y="203"/>
                  </a:lnTo>
                  <a:lnTo>
                    <a:pt x="470" y="203"/>
                  </a:lnTo>
                  <a:lnTo>
                    <a:pt x="474" y="203"/>
                  </a:lnTo>
                  <a:lnTo>
                    <a:pt x="474" y="199"/>
                  </a:lnTo>
                  <a:lnTo>
                    <a:pt x="478" y="195"/>
                  </a:lnTo>
                  <a:lnTo>
                    <a:pt x="482" y="195"/>
                  </a:lnTo>
                  <a:lnTo>
                    <a:pt x="486" y="195"/>
                  </a:lnTo>
                  <a:lnTo>
                    <a:pt x="490" y="195"/>
                  </a:lnTo>
                  <a:lnTo>
                    <a:pt x="490" y="199"/>
                  </a:lnTo>
                  <a:lnTo>
                    <a:pt x="490" y="203"/>
                  </a:lnTo>
                  <a:lnTo>
                    <a:pt x="486" y="203"/>
                  </a:lnTo>
                  <a:lnTo>
                    <a:pt x="490" y="203"/>
                  </a:lnTo>
                  <a:lnTo>
                    <a:pt x="490" y="207"/>
                  </a:lnTo>
                  <a:lnTo>
                    <a:pt x="494" y="207"/>
                  </a:lnTo>
                  <a:lnTo>
                    <a:pt x="494" y="211"/>
                  </a:lnTo>
                  <a:lnTo>
                    <a:pt x="498" y="211"/>
                  </a:lnTo>
                  <a:lnTo>
                    <a:pt x="494" y="215"/>
                  </a:lnTo>
                  <a:lnTo>
                    <a:pt x="494" y="219"/>
                  </a:lnTo>
                  <a:lnTo>
                    <a:pt x="498" y="219"/>
                  </a:lnTo>
                  <a:lnTo>
                    <a:pt x="502" y="219"/>
                  </a:lnTo>
                  <a:lnTo>
                    <a:pt x="506" y="219"/>
                  </a:lnTo>
                  <a:lnTo>
                    <a:pt x="502" y="223"/>
                  </a:lnTo>
                  <a:lnTo>
                    <a:pt x="498" y="223"/>
                  </a:lnTo>
                  <a:lnTo>
                    <a:pt x="498" y="227"/>
                  </a:lnTo>
                  <a:lnTo>
                    <a:pt x="502" y="227"/>
                  </a:lnTo>
                  <a:lnTo>
                    <a:pt x="502" y="223"/>
                  </a:lnTo>
                  <a:lnTo>
                    <a:pt x="506" y="223"/>
                  </a:lnTo>
                  <a:lnTo>
                    <a:pt x="510" y="223"/>
                  </a:lnTo>
                  <a:lnTo>
                    <a:pt x="514" y="223"/>
                  </a:lnTo>
                  <a:lnTo>
                    <a:pt x="514" y="227"/>
                  </a:lnTo>
                  <a:lnTo>
                    <a:pt x="518" y="227"/>
                  </a:lnTo>
                  <a:lnTo>
                    <a:pt x="514" y="227"/>
                  </a:lnTo>
                  <a:lnTo>
                    <a:pt x="514" y="223"/>
                  </a:lnTo>
                  <a:lnTo>
                    <a:pt x="518" y="219"/>
                  </a:lnTo>
                  <a:lnTo>
                    <a:pt x="522" y="219"/>
                  </a:lnTo>
                  <a:lnTo>
                    <a:pt x="526" y="219"/>
                  </a:lnTo>
                  <a:lnTo>
                    <a:pt x="530" y="219"/>
                  </a:lnTo>
                  <a:lnTo>
                    <a:pt x="534" y="223"/>
                  </a:lnTo>
                  <a:lnTo>
                    <a:pt x="538" y="223"/>
                  </a:lnTo>
                  <a:lnTo>
                    <a:pt x="538" y="227"/>
                  </a:lnTo>
                  <a:lnTo>
                    <a:pt x="538" y="231"/>
                  </a:lnTo>
                  <a:lnTo>
                    <a:pt x="538" y="235"/>
                  </a:lnTo>
                  <a:lnTo>
                    <a:pt x="534" y="235"/>
                  </a:lnTo>
                  <a:lnTo>
                    <a:pt x="534" y="239"/>
                  </a:lnTo>
                  <a:lnTo>
                    <a:pt x="534" y="243"/>
                  </a:lnTo>
                  <a:lnTo>
                    <a:pt x="530" y="243"/>
                  </a:lnTo>
                  <a:lnTo>
                    <a:pt x="530" y="247"/>
                  </a:lnTo>
                  <a:lnTo>
                    <a:pt x="526" y="247"/>
                  </a:lnTo>
                  <a:lnTo>
                    <a:pt x="530" y="247"/>
                  </a:lnTo>
                  <a:lnTo>
                    <a:pt x="526" y="251"/>
                  </a:lnTo>
                  <a:lnTo>
                    <a:pt x="522" y="251"/>
                  </a:lnTo>
                  <a:lnTo>
                    <a:pt x="518" y="251"/>
                  </a:lnTo>
                  <a:lnTo>
                    <a:pt x="514" y="251"/>
                  </a:lnTo>
                  <a:lnTo>
                    <a:pt x="510" y="251"/>
                  </a:lnTo>
                  <a:lnTo>
                    <a:pt x="506" y="251"/>
                  </a:lnTo>
                  <a:lnTo>
                    <a:pt x="502" y="251"/>
                  </a:lnTo>
                  <a:lnTo>
                    <a:pt x="502" y="247"/>
                  </a:lnTo>
                  <a:lnTo>
                    <a:pt x="502" y="251"/>
                  </a:lnTo>
                  <a:lnTo>
                    <a:pt x="498" y="251"/>
                  </a:lnTo>
                  <a:lnTo>
                    <a:pt x="494" y="251"/>
                  </a:lnTo>
                  <a:lnTo>
                    <a:pt x="490" y="251"/>
                  </a:lnTo>
                  <a:lnTo>
                    <a:pt x="486" y="251"/>
                  </a:lnTo>
                  <a:lnTo>
                    <a:pt x="490" y="251"/>
                  </a:lnTo>
                  <a:lnTo>
                    <a:pt x="490" y="247"/>
                  </a:lnTo>
                  <a:lnTo>
                    <a:pt x="486" y="247"/>
                  </a:lnTo>
                  <a:lnTo>
                    <a:pt x="482" y="251"/>
                  </a:lnTo>
                  <a:lnTo>
                    <a:pt x="478" y="251"/>
                  </a:lnTo>
                  <a:lnTo>
                    <a:pt x="474" y="255"/>
                  </a:lnTo>
                  <a:lnTo>
                    <a:pt x="470" y="255"/>
                  </a:lnTo>
                  <a:lnTo>
                    <a:pt x="466" y="255"/>
                  </a:lnTo>
                  <a:lnTo>
                    <a:pt x="462" y="255"/>
                  </a:lnTo>
                  <a:lnTo>
                    <a:pt x="458" y="255"/>
                  </a:lnTo>
                  <a:lnTo>
                    <a:pt x="458" y="259"/>
                  </a:lnTo>
                  <a:lnTo>
                    <a:pt x="454" y="259"/>
                  </a:lnTo>
                  <a:lnTo>
                    <a:pt x="450" y="263"/>
                  </a:lnTo>
                  <a:lnTo>
                    <a:pt x="446" y="263"/>
                  </a:lnTo>
                  <a:lnTo>
                    <a:pt x="442" y="263"/>
                  </a:lnTo>
                  <a:lnTo>
                    <a:pt x="439" y="267"/>
                  </a:lnTo>
                  <a:lnTo>
                    <a:pt x="435" y="267"/>
                  </a:lnTo>
                  <a:lnTo>
                    <a:pt x="431" y="267"/>
                  </a:lnTo>
                  <a:lnTo>
                    <a:pt x="427" y="267"/>
                  </a:lnTo>
                  <a:lnTo>
                    <a:pt x="423" y="267"/>
                  </a:lnTo>
                  <a:lnTo>
                    <a:pt x="419" y="267"/>
                  </a:lnTo>
                  <a:lnTo>
                    <a:pt x="415" y="267"/>
                  </a:lnTo>
                  <a:lnTo>
                    <a:pt x="411" y="263"/>
                  </a:lnTo>
                  <a:lnTo>
                    <a:pt x="407" y="263"/>
                  </a:lnTo>
                  <a:lnTo>
                    <a:pt x="403" y="263"/>
                  </a:lnTo>
                  <a:lnTo>
                    <a:pt x="403" y="259"/>
                  </a:lnTo>
                  <a:lnTo>
                    <a:pt x="407" y="255"/>
                  </a:lnTo>
                  <a:lnTo>
                    <a:pt x="411" y="255"/>
                  </a:lnTo>
                  <a:lnTo>
                    <a:pt x="415" y="255"/>
                  </a:lnTo>
                  <a:lnTo>
                    <a:pt x="419" y="255"/>
                  </a:lnTo>
                  <a:lnTo>
                    <a:pt x="419" y="251"/>
                  </a:lnTo>
                  <a:lnTo>
                    <a:pt x="423" y="251"/>
                  </a:lnTo>
                  <a:lnTo>
                    <a:pt x="427" y="251"/>
                  </a:lnTo>
                  <a:lnTo>
                    <a:pt x="431" y="251"/>
                  </a:lnTo>
                  <a:lnTo>
                    <a:pt x="435" y="251"/>
                  </a:lnTo>
                  <a:lnTo>
                    <a:pt x="439" y="251"/>
                  </a:lnTo>
                  <a:lnTo>
                    <a:pt x="442" y="251"/>
                  </a:lnTo>
                  <a:lnTo>
                    <a:pt x="446" y="251"/>
                  </a:lnTo>
                  <a:lnTo>
                    <a:pt x="450" y="247"/>
                  </a:lnTo>
                  <a:lnTo>
                    <a:pt x="454" y="243"/>
                  </a:lnTo>
                  <a:lnTo>
                    <a:pt x="450" y="243"/>
                  </a:lnTo>
                  <a:lnTo>
                    <a:pt x="446" y="243"/>
                  </a:lnTo>
                  <a:lnTo>
                    <a:pt x="446" y="247"/>
                  </a:lnTo>
                  <a:lnTo>
                    <a:pt x="442" y="247"/>
                  </a:lnTo>
                  <a:lnTo>
                    <a:pt x="442" y="243"/>
                  </a:lnTo>
                  <a:lnTo>
                    <a:pt x="439" y="247"/>
                  </a:lnTo>
                  <a:lnTo>
                    <a:pt x="435" y="247"/>
                  </a:lnTo>
                  <a:lnTo>
                    <a:pt x="431" y="247"/>
                  </a:lnTo>
                  <a:lnTo>
                    <a:pt x="435" y="243"/>
                  </a:lnTo>
                  <a:lnTo>
                    <a:pt x="431" y="243"/>
                  </a:lnTo>
                  <a:lnTo>
                    <a:pt x="427" y="243"/>
                  </a:lnTo>
                  <a:lnTo>
                    <a:pt x="427" y="247"/>
                  </a:lnTo>
                  <a:lnTo>
                    <a:pt x="423" y="247"/>
                  </a:lnTo>
                  <a:lnTo>
                    <a:pt x="419" y="247"/>
                  </a:lnTo>
                  <a:lnTo>
                    <a:pt x="415" y="247"/>
                  </a:lnTo>
                  <a:lnTo>
                    <a:pt x="411" y="247"/>
                  </a:lnTo>
                  <a:lnTo>
                    <a:pt x="407" y="247"/>
                  </a:lnTo>
                  <a:lnTo>
                    <a:pt x="411" y="243"/>
                  </a:lnTo>
                  <a:lnTo>
                    <a:pt x="411" y="239"/>
                  </a:lnTo>
                  <a:lnTo>
                    <a:pt x="415" y="239"/>
                  </a:lnTo>
                  <a:lnTo>
                    <a:pt x="419" y="239"/>
                  </a:lnTo>
                  <a:lnTo>
                    <a:pt x="415" y="239"/>
                  </a:lnTo>
                  <a:lnTo>
                    <a:pt x="411" y="239"/>
                  </a:lnTo>
                  <a:lnTo>
                    <a:pt x="407" y="239"/>
                  </a:lnTo>
                  <a:lnTo>
                    <a:pt x="407" y="235"/>
                  </a:lnTo>
                  <a:lnTo>
                    <a:pt x="407" y="239"/>
                  </a:lnTo>
                  <a:lnTo>
                    <a:pt x="407" y="243"/>
                  </a:lnTo>
                  <a:lnTo>
                    <a:pt x="403" y="243"/>
                  </a:lnTo>
                  <a:lnTo>
                    <a:pt x="399" y="239"/>
                  </a:lnTo>
                  <a:lnTo>
                    <a:pt x="399" y="243"/>
                  </a:lnTo>
                  <a:lnTo>
                    <a:pt x="403" y="243"/>
                  </a:lnTo>
                  <a:lnTo>
                    <a:pt x="403" y="247"/>
                  </a:lnTo>
                  <a:lnTo>
                    <a:pt x="399" y="247"/>
                  </a:lnTo>
                  <a:lnTo>
                    <a:pt x="399" y="251"/>
                  </a:lnTo>
                  <a:lnTo>
                    <a:pt x="395" y="251"/>
                  </a:lnTo>
                  <a:close/>
                  <a:moveTo>
                    <a:pt x="774" y="207"/>
                  </a:moveTo>
                  <a:lnTo>
                    <a:pt x="770" y="207"/>
                  </a:lnTo>
                  <a:lnTo>
                    <a:pt x="770" y="203"/>
                  </a:lnTo>
                  <a:lnTo>
                    <a:pt x="766" y="203"/>
                  </a:lnTo>
                  <a:lnTo>
                    <a:pt x="766" y="199"/>
                  </a:lnTo>
                  <a:lnTo>
                    <a:pt x="762" y="199"/>
                  </a:lnTo>
                  <a:lnTo>
                    <a:pt x="766" y="199"/>
                  </a:lnTo>
                  <a:lnTo>
                    <a:pt x="766" y="195"/>
                  </a:lnTo>
                  <a:lnTo>
                    <a:pt x="770" y="195"/>
                  </a:lnTo>
                  <a:lnTo>
                    <a:pt x="774" y="195"/>
                  </a:lnTo>
                  <a:lnTo>
                    <a:pt x="774" y="199"/>
                  </a:lnTo>
                  <a:lnTo>
                    <a:pt x="778" y="199"/>
                  </a:lnTo>
                  <a:lnTo>
                    <a:pt x="774" y="199"/>
                  </a:lnTo>
                  <a:lnTo>
                    <a:pt x="774" y="203"/>
                  </a:lnTo>
                  <a:lnTo>
                    <a:pt x="774" y="207"/>
                  </a:lnTo>
                  <a:lnTo>
                    <a:pt x="778" y="207"/>
                  </a:lnTo>
                  <a:lnTo>
                    <a:pt x="774" y="207"/>
                  </a:lnTo>
                  <a:close/>
                  <a:moveTo>
                    <a:pt x="614" y="199"/>
                  </a:moveTo>
                  <a:lnTo>
                    <a:pt x="610" y="203"/>
                  </a:lnTo>
                  <a:lnTo>
                    <a:pt x="606" y="203"/>
                  </a:lnTo>
                  <a:lnTo>
                    <a:pt x="602" y="203"/>
                  </a:lnTo>
                  <a:lnTo>
                    <a:pt x="598" y="203"/>
                  </a:lnTo>
                  <a:lnTo>
                    <a:pt x="594" y="203"/>
                  </a:lnTo>
                  <a:lnTo>
                    <a:pt x="598" y="203"/>
                  </a:lnTo>
                  <a:lnTo>
                    <a:pt x="602" y="203"/>
                  </a:lnTo>
                  <a:lnTo>
                    <a:pt x="602" y="199"/>
                  </a:lnTo>
                  <a:lnTo>
                    <a:pt x="606" y="199"/>
                  </a:lnTo>
                  <a:lnTo>
                    <a:pt x="610" y="199"/>
                  </a:lnTo>
                  <a:lnTo>
                    <a:pt x="614" y="199"/>
                  </a:lnTo>
                  <a:lnTo>
                    <a:pt x="618" y="199"/>
                  </a:lnTo>
                  <a:lnTo>
                    <a:pt x="614" y="199"/>
                  </a:lnTo>
                  <a:close/>
                  <a:moveTo>
                    <a:pt x="626" y="199"/>
                  </a:moveTo>
                  <a:lnTo>
                    <a:pt x="630" y="199"/>
                  </a:lnTo>
                  <a:lnTo>
                    <a:pt x="626" y="199"/>
                  </a:lnTo>
                  <a:lnTo>
                    <a:pt x="622" y="199"/>
                  </a:lnTo>
                  <a:lnTo>
                    <a:pt x="618" y="199"/>
                  </a:lnTo>
                  <a:lnTo>
                    <a:pt x="622" y="199"/>
                  </a:lnTo>
                  <a:lnTo>
                    <a:pt x="626" y="199"/>
                  </a:lnTo>
                  <a:close/>
                  <a:moveTo>
                    <a:pt x="626" y="251"/>
                  </a:moveTo>
                  <a:lnTo>
                    <a:pt x="622" y="251"/>
                  </a:lnTo>
                  <a:lnTo>
                    <a:pt x="618" y="251"/>
                  </a:lnTo>
                  <a:lnTo>
                    <a:pt x="614" y="251"/>
                  </a:lnTo>
                  <a:lnTo>
                    <a:pt x="614" y="247"/>
                  </a:lnTo>
                  <a:lnTo>
                    <a:pt x="614" y="243"/>
                  </a:lnTo>
                  <a:lnTo>
                    <a:pt x="610" y="243"/>
                  </a:lnTo>
                  <a:lnTo>
                    <a:pt x="614" y="243"/>
                  </a:lnTo>
                  <a:lnTo>
                    <a:pt x="618" y="243"/>
                  </a:lnTo>
                  <a:lnTo>
                    <a:pt x="622" y="243"/>
                  </a:lnTo>
                  <a:lnTo>
                    <a:pt x="618" y="243"/>
                  </a:lnTo>
                  <a:lnTo>
                    <a:pt x="614" y="243"/>
                  </a:lnTo>
                  <a:lnTo>
                    <a:pt x="618" y="239"/>
                  </a:lnTo>
                  <a:lnTo>
                    <a:pt x="614" y="239"/>
                  </a:lnTo>
                  <a:lnTo>
                    <a:pt x="614" y="243"/>
                  </a:lnTo>
                  <a:lnTo>
                    <a:pt x="610" y="239"/>
                  </a:lnTo>
                  <a:lnTo>
                    <a:pt x="614" y="239"/>
                  </a:lnTo>
                  <a:lnTo>
                    <a:pt x="610" y="239"/>
                  </a:lnTo>
                  <a:lnTo>
                    <a:pt x="614" y="235"/>
                  </a:lnTo>
                  <a:lnTo>
                    <a:pt x="618" y="235"/>
                  </a:lnTo>
                  <a:lnTo>
                    <a:pt x="614" y="235"/>
                  </a:lnTo>
                  <a:lnTo>
                    <a:pt x="618" y="235"/>
                  </a:lnTo>
                  <a:lnTo>
                    <a:pt x="622" y="235"/>
                  </a:lnTo>
                  <a:lnTo>
                    <a:pt x="618" y="235"/>
                  </a:lnTo>
                  <a:lnTo>
                    <a:pt x="622" y="231"/>
                  </a:lnTo>
                  <a:lnTo>
                    <a:pt x="626" y="231"/>
                  </a:lnTo>
                  <a:lnTo>
                    <a:pt x="622" y="231"/>
                  </a:lnTo>
                  <a:lnTo>
                    <a:pt x="630" y="231"/>
                  </a:lnTo>
                  <a:lnTo>
                    <a:pt x="634" y="231"/>
                  </a:lnTo>
                  <a:lnTo>
                    <a:pt x="638" y="231"/>
                  </a:lnTo>
                  <a:lnTo>
                    <a:pt x="634" y="231"/>
                  </a:lnTo>
                  <a:lnTo>
                    <a:pt x="630" y="231"/>
                  </a:lnTo>
                  <a:lnTo>
                    <a:pt x="626" y="231"/>
                  </a:lnTo>
                  <a:lnTo>
                    <a:pt x="622" y="231"/>
                  </a:lnTo>
                  <a:lnTo>
                    <a:pt x="618" y="231"/>
                  </a:lnTo>
                  <a:lnTo>
                    <a:pt x="614" y="231"/>
                  </a:lnTo>
                  <a:lnTo>
                    <a:pt x="610" y="231"/>
                  </a:lnTo>
                  <a:lnTo>
                    <a:pt x="606" y="231"/>
                  </a:lnTo>
                  <a:lnTo>
                    <a:pt x="602" y="231"/>
                  </a:lnTo>
                  <a:lnTo>
                    <a:pt x="598" y="231"/>
                  </a:lnTo>
                  <a:lnTo>
                    <a:pt x="594" y="235"/>
                  </a:lnTo>
                  <a:lnTo>
                    <a:pt x="590" y="235"/>
                  </a:lnTo>
                  <a:lnTo>
                    <a:pt x="586" y="235"/>
                  </a:lnTo>
                  <a:lnTo>
                    <a:pt x="582" y="235"/>
                  </a:lnTo>
                  <a:lnTo>
                    <a:pt x="578" y="235"/>
                  </a:lnTo>
                  <a:lnTo>
                    <a:pt x="578" y="231"/>
                  </a:lnTo>
                  <a:lnTo>
                    <a:pt x="582" y="227"/>
                  </a:lnTo>
                  <a:lnTo>
                    <a:pt x="586" y="227"/>
                  </a:lnTo>
                  <a:lnTo>
                    <a:pt x="586" y="231"/>
                  </a:lnTo>
                  <a:lnTo>
                    <a:pt x="590" y="231"/>
                  </a:lnTo>
                  <a:lnTo>
                    <a:pt x="590" y="227"/>
                  </a:lnTo>
                  <a:lnTo>
                    <a:pt x="586" y="227"/>
                  </a:lnTo>
                  <a:lnTo>
                    <a:pt x="586" y="223"/>
                  </a:lnTo>
                  <a:lnTo>
                    <a:pt x="590" y="223"/>
                  </a:lnTo>
                  <a:lnTo>
                    <a:pt x="594" y="223"/>
                  </a:lnTo>
                  <a:lnTo>
                    <a:pt x="598" y="227"/>
                  </a:lnTo>
                  <a:lnTo>
                    <a:pt x="602" y="227"/>
                  </a:lnTo>
                  <a:lnTo>
                    <a:pt x="598" y="227"/>
                  </a:lnTo>
                  <a:lnTo>
                    <a:pt x="598" y="223"/>
                  </a:lnTo>
                  <a:lnTo>
                    <a:pt x="602" y="219"/>
                  </a:lnTo>
                  <a:lnTo>
                    <a:pt x="598" y="219"/>
                  </a:lnTo>
                  <a:lnTo>
                    <a:pt x="594" y="223"/>
                  </a:lnTo>
                  <a:lnTo>
                    <a:pt x="594" y="219"/>
                  </a:lnTo>
                  <a:lnTo>
                    <a:pt x="590" y="219"/>
                  </a:lnTo>
                  <a:lnTo>
                    <a:pt x="594" y="215"/>
                  </a:lnTo>
                  <a:lnTo>
                    <a:pt x="598" y="215"/>
                  </a:lnTo>
                  <a:lnTo>
                    <a:pt x="594" y="215"/>
                  </a:lnTo>
                  <a:lnTo>
                    <a:pt x="590" y="215"/>
                  </a:lnTo>
                  <a:lnTo>
                    <a:pt x="586" y="215"/>
                  </a:lnTo>
                  <a:lnTo>
                    <a:pt x="590" y="215"/>
                  </a:lnTo>
                  <a:lnTo>
                    <a:pt x="590" y="211"/>
                  </a:lnTo>
                  <a:lnTo>
                    <a:pt x="590" y="207"/>
                  </a:lnTo>
                  <a:lnTo>
                    <a:pt x="594" y="207"/>
                  </a:lnTo>
                  <a:lnTo>
                    <a:pt x="598" y="207"/>
                  </a:lnTo>
                  <a:lnTo>
                    <a:pt x="602" y="207"/>
                  </a:lnTo>
                  <a:lnTo>
                    <a:pt x="602" y="211"/>
                  </a:lnTo>
                  <a:lnTo>
                    <a:pt x="606" y="215"/>
                  </a:lnTo>
                  <a:lnTo>
                    <a:pt x="610" y="215"/>
                  </a:lnTo>
                  <a:lnTo>
                    <a:pt x="614" y="219"/>
                  </a:lnTo>
                  <a:lnTo>
                    <a:pt x="618" y="223"/>
                  </a:lnTo>
                  <a:lnTo>
                    <a:pt x="622" y="223"/>
                  </a:lnTo>
                  <a:lnTo>
                    <a:pt x="626" y="223"/>
                  </a:lnTo>
                  <a:lnTo>
                    <a:pt x="630" y="223"/>
                  </a:lnTo>
                  <a:lnTo>
                    <a:pt x="626" y="223"/>
                  </a:lnTo>
                  <a:lnTo>
                    <a:pt x="622" y="223"/>
                  </a:lnTo>
                  <a:lnTo>
                    <a:pt x="618" y="219"/>
                  </a:lnTo>
                  <a:lnTo>
                    <a:pt x="618" y="215"/>
                  </a:lnTo>
                  <a:lnTo>
                    <a:pt x="622" y="215"/>
                  </a:lnTo>
                  <a:lnTo>
                    <a:pt x="626" y="219"/>
                  </a:lnTo>
                  <a:lnTo>
                    <a:pt x="626" y="215"/>
                  </a:lnTo>
                  <a:lnTo>
                    <a:pt x="630" y="215"/>
                  </a:lnTo>
                  <a:lnTo>
                    <a:pt x="626" y="215"/>
                  </a:lnTo>
                  <a:lnTo>
                    <a:pt x="622" y="215"/>
                  </a:lnTo>
                  <a:lnTo>
                    <a:pt x="618" y="215"/>
                  </a:lnTo>
                  <a:lnTo>
                    <a:pt x="614" y="215"/>
                  </a:lnTo>
                  <a:lnTo>
                    <a:pt x="614" y="211"/>
                  </a:lnTo>
                  <a:lnTo>
                    <a:pt x="618" y="211"/>
                  </a:lnTo>
                  <a:lnTo>
                    <a:pt x="622" y="211"/>
                  </a:lnTo>
                  <a:lnTo>
                    <a:pt x="618" y="211"/>
                  </a:lnTo>
                  <a:lnTo>
                    <a:pt x="614" y="211"/>
                  </a:lnTo>
                  <a:lnTo>
                    <a:pt x="610" y="211"/>
                  </a:lnTo>
                  <a:lnTo>
                    <a:pt x="606" y="207"/>
                  </a:lnTo>
                  <a:lnTo>
                    <a:pt x="610" y="203"/>
                  </a:lnTo>
                  <a:lnTo>
                    <a:pt x="614" y="203"/>
                  </a:lnTo>
                  <a:lnTo>
                    <a:pt x="618" y="203"/>
                  </a:lnTo>
                  <a:lnTo>
                    <a:pt x="622" y="203"/>
                  </a:lnTo>
                  <a:lnTo>
                    <a:pt x="626" y="203"/>
                  </a:lnTo>
                  <a:lnTo>
                    <a:pt x="630" y="203"/>
                  </a:lnTo>
                  <a:lnTo>
                    <a:pt x="630" y="207"/>
                  </a:lnTo>
                  <a:lnTo>
                    <a:pt x="634" y="207"/>
                  </a:lnTo>
                  <a:lnTo>
                    <a:pt x="638" y="207"/>
                  </a:lnTo>
                  <a:lnTo>
                    <a:pt x="634" y="207"/>
                  </a:lnTo>
                  <a:lnTo>
                    <a:pt x="634" y="203"/>
                  </a:lnTo>
                  <a:lnTo>
                    <a:pt x="638" y="203"/>
                  </a:lnTo>
                  <a:lnTo>
                    <a:pt x="642" y="203"/>
                  </a:lnTo>
                  <a:lnTo>
                    <a:pt x="638" y="203"/>
                  </a:lnTo>
                  <a:lnTo>
                    <a:pt x="638" y="199"/>
                  </a:lnTo>
                  <a:lnTo>
                    <a:pt x="642" y="199"/>
                  </a:lnTo>
                  <a:lnTo>
                    <a:pt x="646" y="199"/>
                  </a:lnTo>
                  <a:lnTo>
                    <a:pt x="646" y="203"/>
                  </a:lnTo>
                  <a:lnTo>
                    <a:pt x="650" y="203"/>
                  </a:lnTo>
                  <a:lnTo>
                    <a:pt x="650" y="207"/>
                  </a:lnTo>
                  <a:lnTo>
                    <a:pt x="654" y="207"/>
                  </a:lnTo>
                  <a:lnTo>
                    <a:pt x="654" y="211"/>
                  </a:lnTo>
                  <a:lnTo>
                    <a:pt x="654" y="215"/>
                  </a:lnTo>
                  <a:lnTo>
                    <a:pt x="658" y="215"/>
                  </a:lnTo>
                  <a:lnTo>
                    <a:pt x="658" y="219"/>
                  </a:lnTo>
                  <a:lnTo>
                    <a:pt x="654" y="223"/>
                  </a:lnTo>
                  <a:lnTo>
                    <a:pt x="658" y="223"/>
                  </a:lnTo>
                  <a:lnTo>
                    <a:pt x="658" y="227"/>
                  </a:lnTo>
                  <a:lnTo>
                    <a:pt x="654" y="227"/>
                  </a:lnTo>
                  <a:lnTo>
                    <a:pt x="650" y="227"/>
                  </a:lnTo>
                  <a:lnTo>
                    <a:pt x="654" y="227"/>
                  </a:lnTo>
                  <a:lnTo>
                    <a:pt x="658" y="231"/>
                  </a:lnTo>
                  <a:lnTo>
                    <a:pt x="658" y="235"/>
                  </a:lnTo>
                  <a:lnTo>
                    <a:pt x="658" y="239"/>
                  </a:lnTo>
                  <a:lnTo>
                    <a:pt x="662" y="239"/>
                  </a:lnTo>
                  <a:lnTo>
                    <a:pt x="658" y="239"/>
                  </a:lnTo>
                  <a:lnTo>
                    <a:pt x="658" y="235"/>
                  </a:lnTo>
                  <a:lnTo>
                    <a:pt x="654" y="235"/>
                  </a:lnTo>
                  <a:lnTo>
                    <a:pt x="650" y="235"/>
                  </a:lnTo>
                  <a:lnTo>
                    <a:pt x="654" y="239"/>
                  </a:lnTo>
                  <a:lnTo>
                    <a:pt x="650" y="239"/>
                  </a:lnTo>
                  <a:lnTo>
                    <a:pt x="654" y="239"/>
                  </a:lnTo>
                  <a:lnTo>
                    <a:pt x="650" y="239"/>
                  </a:lnTo>
                  <a:lnTo>
                    <a:pt x="646" y="239"/>
                  </a:lnTo>
                  <a:lnTo>
                    <a:pt x="650" y="243"/>
                  </a:lnTo>
                  <a:lnTo>
                    <a:pt x="654" y="243"/>
                  </a:lnTo>
                  <a:lnTo>
                    <a:pt x="654" y="247"/>
                  </a:lnTo>
                  <a:lnTo>
                    <a:pt x="658" y="247"/>
                  </a:lnTo>
                  <a:lnTo>
                    <a:pt x="654" y="247"/>
                  </a:lnTo>
                  <a:lnTo>
                    <a:pt x="650" y="243"/>
                  </a:lnTo>
                  <a:lnTo>
                    <a:pt x="650" y="247"/>
                  </a:lnTo>
                  <a:lnTo>
                    <a:pt x="650" y="251"/>
                  </a:lnTo>
                  <a:lnTo>
                    <a:pt x="646" y="251"/>
                  </a:lnTo>
                  <a:lnTo>
                    <a:pt x="642" y="251"/>
                  </a:lnTo>
                  <a:lnTo>
                    <a:pt x="638" y="251"/>
                  </a:lnTo>
                  <a:lnTo>
                    <a:pt x="634" y="251"/>
                  </a:lnTo>
                  <a:lnTo>
                    <a:pt x="630" y="251"/>
                  </a:lnTo>
                  <a:lnTo>
                    <a:pt x="630" y="247"/>
                  </a:lnTo>
                  <a:lnTo>
                    <a:pt x="626" y="247"/>
                  </a:lnTo>
                  <a:lnTo>
                    <a:pt x="626" y="251"/>
                  </a:lnTo>
                  <a:lnTo>
                    <a:pt x="630" y="251"/>
                  </a:lnTo>
                  <a:lnTo>
                    <a:pt x="626" y="251"/>
                  </a:lnTo>
                  <a:close/>
                  <a:moveTo>
                    <a:pt x="558" y="199"/>
                  </a:moveTo>
                  <a:lnTo>
                    <a:pt x="558" y="203"/>
                  </a:lnTo>
                  <a:lnTo>
                    <a:pt x="562" y="203"/>
                  </a:lnTo>
                  <a:lnTo>
                    <a:pt x="558" y="203"/>
                  </a:lnTo>
                  <a:lnTo>
                    <a:pt x="562" y="203"/>
                  </a:lnTo>
                  <a:lnTo>
                    <a:pt x="566" y="203"/>
                  </a:lnTo>
                  <a:lnTo>
                    <a:pt x="566" y="207"/>
                  </a:lnTo>
                  <a:lnTo>
                    <a:pt x="570" y="207"/>
                  </a:lnTo>
                  <a:lnTo>
                    <a:pt x="574" y="207"/>
                  </a:lnTo>
                  <a:lnTo>
                    <a:pt x="574" y="211"/>
                  </a:lnTo>
                  <a:lnTo>
                    <a:pt x="570" y="211"/>
                  </a:lnTo>
                  <a:lnTo>
                    <a:pt x="566" y="211"/>
                  </a:lnTo>
                  <a:lnTo>
                    <a:pt x="562" y="211"/>
                  </a:lnTo>
                  <a:lnTo>
                    <a:pt x="558" y="211"/>
                  </a:lnTo>
                  <a:lnTo>
                    <a:pt x="554" y="211"/>
                  </a:lnTo>
                  <a:lnTo>
                    <a:pt x="554" y="207"/>
                  </a:lnTo>
                  <a:lnTo>
                    <a:pt x="550" y="207"/>
                  </a:lnTo>
                  <a:lnTo>
                    <a:pt x="550" y="203"/>
                  </a:lnTo>
                  <a:lnTo>
                    <a:pt x="554" y="203"/>
                  </a:lnTo>
                  <a:lnTo>
                    <a:pt x="554" y="199"/>
                  </a:lnTo>
                  <a:lnTo>
                    <a:pt x="558" y="199"/>
                  </a:lnTo>
                  <a:close/>
                  <a:moveTo>
                    <a:pt x="698" y="215"/>
                  </a:moveTo>
                  <a:lnTo>
                    <a:pt x="698" y="219"/>
                  </a:lnTo>
                  <a:lnTo>
                    <a:pt x="694" y="219"/>
                  </a:lnTo>
                  <a:lnTo>
                    <a:pt x="698" y="219"/>
                  </a:lnTo>
                  <a:lnTo>
                    <a:pt x="698" y="215"/>
                  </a:lnTo>
                  <a:close/>
                  <a:moveTo>
                    <a:pt x="355" y="219"/>
                  </a:moveTo>
                  <a:lnTo>
                    <a:pt x="355" y="223"/>
                  </a:lnTo>
                  <a:lnTo>
                    <a:pt x="351" y="223"/>
                  </a:lnTo>
                  <a:lnTo>
                    <a:pt x="347" y="227"/>
                  </a:lnTo>
                  <a:lnTo>
                    <a:pt x="347" y="231"/>
                  </a:lnTo>
                  <a:lnTo>
                    <a:pt x="343" y="231"/>
                  </a:lnTo>
                  <a:lnTo>
                    <a:pt x="343" y="235"/>
                  </a:lnTo>
                  <a:lnTo>
                    <a:pt x="339" y="235"/>
                  </a:lnTo>
                  <a:lnTo>
                    <a:pt x="335" y="235"/>
                  </a:lnTo>
                  <a:lnTo>
                    <a:pt x="331" y="235"/>
                  </a:lnTo>
                  <a:lnTo>
                    <a:pt x="327" y="231"/>
                  </a:lnTo>
                  <a:lnTo>
                    <a:pt x="331" y="231"/>
                  </a:lnTo>
                  <a:lnTo>
                    <a:pt x="331" y="227"/>
                  </a:lnTo>
                  <a:lnTo>
                    <a:pt x="335" y="227"/>
                  </a:lnTo>
                  <a:lnTo>
                    <a:pt x="335" y="223"/>
                  </a:lnTo>
                  <a:lnTo>
                    <a:pt x="339" y="223"/>
                  </a:lnTo>
                  <a:lnTo>
                    <a:pt x="343" y="223"/>
                  </a:lnTo>
                  <a:lnTo>
                    <a:pt x="347" y="223"/>
                  </a:lnTo>
                  <a:lnTo>
                    <a:pt x="347" y="219"/>
                  </a:lnTo>
                  <a:lnTo>
                    <a:pt x="351" y="219"/>
                  </a:lnTo>
                  <a:lnTo>
                    <a:pt x="355" y="219"/>
                  </a:lnTo>
                  <a:close/>
                  <a:moveTo>
                    <a:pt x="586" y="219"/>
                  </a:moveTo>
                  <a:lnTo>
                    <a:pt x="582" y="219"/>
                  </a:lnTo>
                  <a:lnTo>
                    <a:pt x="578" y="223"/>
                  </a:lnTo>
                  <a:lnTo>
                    <a:pt x="574" y="223"/>
                  </a:lnTo>
                  <a:lnTo>
                    <a:pt x="570" y="223"/>
                  </a:lnTo>
                  <a:lnTo>
                    <a:pt x="566" y="223"/>
                  </a:lnTo>
                  <a:lnTo>
                    <a:pt x="562" y="223"/>
                  </a:lnTo>
                  <a:lnTo>
                    <a:pt x="558" y="223"/>
                  </a:lnTo>
                  <a:lnTo>
                    <a:pt x="562" y="223"/>
                  </a:lnTo>
                  <a:lnTo>
                    <a:pt x="566" y="223"/>
                  </a:lnTo>
                  <a:lnTo>
                    <a:pt x="566" y="219"/>
                  </a:lnTo>
                  <a:lnTo>
                    <a:pt x="570" y="219"/>
                  </a:lnTo>
                  <a:lnTo>
                    <a:pt x="574" y="219"/>
                  </a:lnTo>
                  <a:lnTo>
                    <a:pt x="578" y="219"/>
                  </a:lnTo>
                  <a:lnTo>
                    <a:pt x="582" y="219"/>
                  </a:lnTo>
                  <a:lnTo>
                    <a:pt x="586" y="219"/>
                  </a:lnTo>
                  <a:close/>
                  <a:moveTo>
                    <a:pt x="590" y="223"/>
                  </a:moveTo>
                  <a:lnTo>
                    <a:pt x="586" y="223"/>
                  </a:lnTo>
                  <a:lnTo>
                    <a:pt x="582" y="223"/>
                  </a:lnTo>
                  <a:lnTo>
                    <a:pt x="582" y="227"/>
                  </a:lnTo>
                  <a:lnTo>
                    <a:pt x="578" y="227"/>
                  </a:lnTo>
                  <a:lnTo>
                    <a:pt x="574" y="227"/>
                  </a:lnTo>
                  <a:lnTo>
                    <a:pt x="570" y="227"/>
                  </a:lnTo>
                  <a:lnTo>
                    <a:pt x="574" y="223"/>
                  </a:lnTo>
                  <a:lnTo>
                    <a:pt x="578" y="223"/>
                  </a:lnTo>
                  <a:lnTo>
                    <a:pt x="582" y="223"/>
                  </a:lnTo>
                  <a:lnTo>
                    <a:pt x="586" y="223"/>
                  </a:lnTo>
                  <a:lnTo>
                    <a:pt x="586" y="219"/>
                  </a:lnTo>
                  <a:lnTo>
                    <a:pt x="590" y="223"/>
                  </a:lnTo>
                  <a:close/>
                  <a:moveTo>
                    <a:pt x="702" y="223"/>
                  </a:moveTo>
                  <a:lnTo>
                    <a:pt x="706" y="223"/>
                  </a:lnTo>
                  <a:lnTo>
                    <a:pt x="706" y="227"/>
                  </a:lnTo>
                  <a:lnTo>
                    <a:pt x="702" y="227"/>
                  </a:lnTo>
                  <a:lnTo>
                    <a:pt x="698" y="227"/>
                  </a:lnTo>
                  <a:lnTo>
                    <a:pt x="698" y="223"/>
                  </a:lnTo>
                  <a:lnTo>
                    <a:pt x="702" y="223"/>
                  </a:lnTo>
                  <a:lnTo>
                    <a:pt x="702" y="219"/>
                  </a:lnTo>
                  <a:lnTo>
                    <a:pt x="702" y="223"/>
                  </a:lnTo>
                  <a:close/>
                  <a:moveTo>
                    <a:pt x="674" y="227"/>
                  </a:moveTo>
                  <a:lnTo>
                    <a:pt x="670" y="227"/>
                  </a:lnTo>
                  <a:lnTo>
                    <a:pt x="674" y="227"/>
                  </a:lnTo>
                  <a:close/>
                  <a:moveTo>
                    <a:pt x="682" y="231"/>
                  </a:moveTo>
                  <a:lnTo>
                    <a:pt x="682" y="235"/>
                  </a:lnTo>
                  <a:lnTo>
                    <a:pt x="678" y="235"/>
                  </a:lnTo>
                  <a:lnTo>
                    <a:pt x="674" y="235"/>
                  </a:lnTo>
                  <a:lnTo>
                    <a:pt x="670" y="239"/>
                  </a:lnTo>
                  <a:lnTo>
                    <a:pt x="666" y="239"/>
                  </a:lnTo>
                  <a:lnTo>
                    <a:pt x="666" y="235"/>
                  </a:lnTo>
                  <a:lnTo>
                    <a:pt x="670" y="235"/>
                  </a:lnTo>
                  <a:lnTo>
                    <a:pt x="674" y="231"/>
                  </a:lnTo>
                  <a:lnTo>
                    <a:pt x="678" y="231"/>
                  </a:lnTo>
                  <a:lnTo>
                    <a:pt x="682" y="231"/>
                  </a:lnTo>
                  <a:close/>
                  <a:moveTo>
                    <a:pt x="682" y="255"/>
                  </a:moveTo>
                  <a:lnTo>
                    <a:pt x="678" y="251"/>
                  </a:lnTo>
                  <a:lnTo>
                    <a:pt x="674" y="251"/>
                  </a:lnTo>
                  <a:lnTo>
                    <a:pt x="670" y="251"/>
                  </a:lnTo>
                  <a:lnTo>
                    <a:pt x="670" y="247"/>
                  </a:lnTo>
                  <a:lnTo>
                    <a:pt x="674" y="247"/>
                  </a:lnTo>
                  <a:lnTo>
                    <a:pt x="674" y="243"/>
                  </a:lnTo>
                  <a:lnTo>
                    <a:pt x="678" y="243"/>
                  </a:lnTo>
                  <a:lnTo>
                    <a:pt x="682" y="243"/>
                  </a:lnTo>
                  <a:lnTo>
                    <a:pt x="678" y="239"/>
                  </a:lnTo>
                  <a:lnTo>
                    <a:pt x="682" y="239"/>
                  </a:lnTo>
                  <a:lnTo>
                    <a:pt x="678" y="239"/>
                  </a:lnTo>
                  <a:lnTo>
                    <a:pt x="682" y="239"/>
                  </a:lnTo>
                  <a:lnTo>
                    <a:pt x="686" y="239"/>
                  </a:lnTo>
                  <a:lnTo>
                    <a:pt x="682" y="239"/>
                  </a:lnTo>
                  <a:lnTo>
                    <a:pt x="682" y="235"/>
                  </a:lnTo>
                  <a:lnTo>
                    <a:pt x="686" y="235"/>
                  </a:lnTo>
                  <a:lnTo>
                    <a:pt x="690" y="235"/>
                  </a:lnTo>
                  <a:lnTo>
                    <a:pt x="690" y="231"/>
                  </a:lnTo>
                  <a:lnTo>
                    <a:pt x="694" y="231"/>
                  </a:lnTo>
                  <a:lnTo>
                    <a:pt x="698" y="231"/>
                  </a:lnTo>
                  <a:lnTo>
                    <a:pt x="702" y="231"/>
                  </a:lnTo>
                  <a:lnTo>
                    <a:pt x="706" y="231"/>
                  </a:lnTo>
                  <a:lnTo>
                    <a:pt x="706" y="235"/>
                  </a:lnTo>
                  <a:lnTo>
                    <a:pt x="710" y="235"/>
                  </a:lnTo>
                  <a:lnTo>
                    <a:pt x="710" y="239"/>
                  </a:lnTo>
                  <a:lnTo>
                    <a:pt x="714" y="239"/>
                  </a:lnTo>
                  <a:lnTo>
                    <a:pt x="718" y="243"/>
                  </a:lnTo>
                  <a:lnTo>
                    <a:pt x="718" y="247"/>
                  </a:lnTo>
                  <a:lnTo>
                    <a:pt x="718" y="251"/>
                  </a:lnTo>
                  <a:lnTo>
                    <a:pt x="722" y="255"/>
                  </a:lnTo>
                  <a:lnTo>
                    <a:pt x="718" y="259"/>
                  </a:lnTo>
                  <a:lnTo>
                    <a:pt x="714" y="259"/>
                  </a:lnTo>
                  <a:lnTo>
                    <a:pt x="710" y="259"/>
                  </a:lnTo>
                  <a:lnTo>
                    <a:pt x="706" y="259"/>
                  </a:lnTo>
                  <a:lnTo>
                    <a:pt x="702" y="259"/>
                  </a:lnTo>
                  <a:lnTo>
                    <a:pt x="694" y="259"/>
                  </a:lnTo>
                  <a:lnTo>
                    <a:pt x="690" y="255"/>
                  </a:lnTo>
                  <a:lnTo>
                    <a:pt x="686" y="255"/>
                  </a:lnTo>
                  <a:lnTo>
                    <a:pt x="682" y="255"/>
                  </a:lnTo>
                  <a:close/>
                  <a:moveTo>
                    <a:pt x="558" y="239"/>
                  </a:moveTo>
                  <a:lnTo>
                    <a:pt x="562" y="239"/>
                  </a:lnTo>
                  <a:lnTo>
                    <a:pt x="562" y="243"/>
                  </a:lnTo>
                  <a:lnTo>
                    <a:pt x="566" y="247"/>
                  </a:lnTo>
                  <a:lnTo>
                    <a:pt x="562" y="247"/>
                  </a:lnTo>
                  <a:lnTo>
                    <a:pt x="554" y="251"/>
                  </a:lnTo>
                  <a:lnTo>
                    <a:pt x="550" y="247"/>
                  </a:lnTo>
                  <a:lnTo>
                    <a:pt x="546" y="247"/>
                  </a:lnTo>
                  <a:lnTo>
                    <a:pt x="546" y="243"/>
                  </a:lnTo>
                  <a:lnTo>
                    <a:pt x="550" y="243"/>
                  </a:lnTo>
                  <a:lnTo>
                    <a:pt x="546" y="243"/>
                  </a:lnTo>
                  <a:lnTo>
                    <a:pt x="550" y="239"/>
                  </a:lnTo>
                  <a:lnTo>
                    <a:pt x="554" y="239"/>
                  </a:lnTo>
                  <a:lnTo>
                    <a:pt x="558" y="239"/>
                  </a:lnTo>
                  <a:close/>
                  <a:moveTo>
                    <a:pt x="686" y="259"/>
                  </a:moveTo>
                  <a:lnTo>
                    <a:pt x="690" y="259"/>
                  </a:lnTo>
                  <a:lnTo>
                    <a:pt x="690" y="263"/>
                  </a:lnTo>
                  <a:lnTo>
                    <a:pt x="694" y="263"/>
                  </a:lnTo>
                  <a:lnTo>
                    <a:pt x="690" y="263"/>
                  </a:lnTo>
                  <a:lnTo>
                    <a:pt x="686" y="263"/>
                  </a:lnTo>
                  <a:lnTo>
                    <a:pt x="682" y="263"/>
                  </a:lnTo>
                  <a:lnTo>
                    <a:pt x="686" y="259"/>
                  </a:lnTo>
                  <a:close/>
                  <a:moveTo>
                    <a:pt x="662" y="259"/>
                  </a:moveTo>
                  <a:lnTo>
                    <a:pt x="662" y="263"/>
                  </a:lnTo>
                  <a:lnTo>
                    <a:pt x="658" y="263"/>
                  </a:lnTo>
                  <a:lnTo>
                    <a:pt x="658" y="267"/>
                  </a:lnTo>
                  <a:lnTo>
                    <a:pt x="654" y="267"/>
                  </a:lnTo>
                  <a:lnTo>
                    <a:pt x="654" y="263"/>
                  </a:lnTo>
                  <a:lnTo>
                    <a:pt x="658" y="263"/>
                  </a:lnTo>
                  <a:lnTo>
                    <a:pt x="658" y="259"/>
                  </a:lnTo>
                  <a:lnTo>
                    <a:pt x="662" y="259"/>
                  </a:lnTo>
                  <a:close/>
                  <a:moveTo>
                    <a:pt x="267" y="355"/>
                  </a:moveTo>
                  <a:lnTo>
                    <a:pt x="263" y="355"/>
                  </a:lnTo>
                  <a:lnTo>
                    <a:pt x="263" y="351"/>
                  </a:lnTo>
                  <a:lnTo>
                    <a:pt x="259" y="347"/>
                  </a:lnTo>
                  <a:lnTo>
                    <a:pt x="259" y="343"/>
                  </a:lnTo>
                  <a:lnTo>
                    <a:pt x="255" y="343"/>
                  </a:lnTo>
                  <a:lnTo>
                    <a:pt x="251" y="343"/>
                  </a:lnTo>
                  <a:lnTo>
                    <a:pt x="247" y="343"/>
                  </a:lnTo>
                  <a:lnTo>
                    <a:pt x="247" y="339"/>
                  </a:lnTo>
                  <a:lnTo>
                    <a:pt x="243" y="339"/>
                  </a:lnTo>
                  <a:lnTo>
                    <a:pt x="239" y="339"/>
                  </a:lnTo>
                  <a:lnTo>
                    <a:pt x="239" y="335"/>
                  </a:lnTo>
                  <a:lnTo>
                    <a:pt x="243" y="339"/>
                  </a:lnTo>
                  <a:lnTo>
                    <a:pt x="243" y="335"/>
                  </a:lnTo>
                  <a:lnTo>
                    <a:pt x="239" y="335"/>
                  </a:lnTo>
                  <a:lnTo>
                    <a:pt x="235" y="335"/>
                  </a:lnTo>
                  <a:lnTo>
                    <a:pt x="231" y="335"/>
                  </a:lnTo>
                  <a:lnTo>
                    <a:pt x="227" y="335"/>
                  </a:lnTo>
                  <a:lnTo>
                    <a:pt x="231" y="335"/>
                  </a:lnTo>
                  <a:lnTo>
                    <a:pt x="231" y="331"/>
                  </a:lnTo>
                  <a:lnTo>
                    <a:pt x="231" y="327"/>
                  </a:lnTo>
                  <a:lnTo>
                    <a:pt x="235" y="327"/>
                  </a:lnTo>
                  <a:lnTo>
                    <a:pt x="235" y="323"/>
                  </a:lnTo>
                  <a:lnTo>
                    <a:pt x="239" y="323"/>
                  </a:lnTo>
                  <a:lnTo>
                    <a:pt x="239" y="319"/>
                  </a:lnTo>
                  <a:lnTo>
                    <a:pt x="243" y="319"/>
                  </a:lnTo>
                  <a:lnTo>
                    <a:pt x="243" y="315"/>
                  </a:lnTo>
                  <a:lnTo>
                    <a:pt x="243" y="311"/>
                  </a:lnTo>
                  <a:lnTo>
                    <a:pt x="247" y="311"/>
                  </a:lnTo>
                  <a:lnTo>
                    <a:pt x="251" y="311"/>
                  </a:lnTo>
                  <a:lnTo>
                    <a:pt x="251" y="307"/>
                  </a:lnTo>
                  <a:lnTo>
                    <a:pt x="247" y="307"/>
                  </a:lnTo>
                  <a:lnTo>
                    <a:pt x="243" y="307"/>
                  </a:lnTo>
                  <a:lnTo>
                    <a:pt x="243" y="303"/>
                  </a:lnTo>
                  <a:lnTo>
                    <a:pt x="247" y="303"/>
                  </a:lnTo>
                  <a:lnTo>
                    <a:pt x="247" y="299"/>
                  </a:lnTo>
                  <a:lnTo>
                    <a:pt x="251" y="299"/>
                  </a:lnTo>
                  <a:lnTo>
                    <a:pt x="251" y="295"/>
                  </a:lnTo>
                  <a:lnTo>
                    <a:pt x="255" y="295"/>
                  </a:lnTo>
                  <a:lnTo>
                    <a:pt x="255" y="291"/>
                  </a:lnTo>
                  <a:lnTo>
                    <a:pt x="255" y="287"/>
                  </a:lnTo>
                  <a:lnTo>
                    <a:pt x="259" y="287"/>
                  </a:lnTo>
                  <a:lnTo>
                    <a:pt x="259" y="283"/>
                  </a:lnTo>
                  <a:lnTo>
                    <a:pt x="255" y="283"/>
                  </a:lnTo>
                  <a:lnTo>
                    <a:pt x="251" y="279"/>
                  </a:lnTo>
                  <a:lnTo>
                    <a:pt x="251" y="275"/>
                  </a:lnTo>
                  <a:lnTo>
                    <a:pt x="247" y="271"/>
                  </a:lnTo>
                  <a:lnTo>
                    <a:pt x="243" y="271"/>
                  </a:lnTo>
                  <a:lnTo>
                    <a:pt x="247" y="267"/>
                  </a:lnTo>
                  <a:lnTo>
                    <a:pt x="251" y="267"/>
                  </a:lnTo>
                  <a:lnTo>
                    <a:pt x="255" y="267"/>
                  </a:lnTo>
                  <a:lnTo>
                    <a:pt x="259" y="267"/>
                  </a:lnTo>
                  <a:lnTo>
                    <a:pt x="263" y="267"/>
                  </a:lnTo>
                  <a:lnTo>
                    <a:pt x="267" y="267"/>
                  </a:lnTo>
                  <a:lnTo>
                    <a:pt x="271" y="267"/>
                  </a:lnTo>
                  <a:lnTo>
                    <a:pt x="275" y="267"/>
                  </a:lnTo>
                  <a:lnTo>
                    <a:pt x="279" y="267"/>
                  </a:lnTo>
                  <a:lnTo>
                    <a:pt x="283" y="267"/>
                  </a:lnTo>
                  <a:lnTo>
                    <a:pt x="287" y="263"/>
                  </a:lnTo>
                  <a:lnTo>
                    <a:pt x="291" y="263"/>
                  </a:lnTo>
                  <a:lnTo>
                    <a:pt x="295" y="263"/>
                  </a:lnTo>
                  <a:lnTo>
                    <a:pt x="299" y="263"/>
                  </a:lnTo>
                  <a:lnTo>
                    <a:pt x="303" y="263"/>
                  </a:lnTo>
                  <a:lnTo>
                    <a:pt x="303" y="267"/>
                  </a:lnTo>
                  <a:lnTo>
                    <a:pt x="307" y="267"/>
                  </a:lnTo>
                  <a:lnTo>
                    <a:pt x="311" y="271"/>
                  </a:lnTo>
                  <a:lnTo>
                    <a:pt x="315" y="271"/>
                  </a:lnTo>
                  <a:lnTo>
                    <a:pt x="319" y="271"/>
                  </a:lnTo>
                  <a:lnTo>
                    <a:pt x="323" y="271"/>
                  </a:lnTo>
                  <a:lnTo>
                    <a:pt x="323" y="275"/>
                  </a:lnTo>
                  <a:lnTo>
                    <a:pt x="319" y="275"/>
                  </a:lnTo>
                  <a:lnTo>
                    <a:pt x="319" y="279"/>
                  </a:lnTo>
                  <a:lnTo>
                    <a:pt x="323" y="279"/>
                  </a:lnTo>
                  <a:lnTo>
                    <a:pt x="323" y="275"/>
                  </a:lnTo>
                  <a:lnTo>
                    <a:pt x="327" y="271"/>
                  </a:lnTo>
                  <a:lnTo>
                    <a:pt x="331" y="271"/>
                  </a:lnTo>
                  <a:lnTo>
                    <a:pt x="331" y="275"/>
                  </a:lnTo>
                  <a:lnTo>
                    <a:pt x="331" y="279"/>
                  </a:lnTo>
                  <a:lnTo>
                    <a:pt x="335" y="279"/>
                  </a:lnTo>
                  <a:lnTo>
                    <a:pt x="335" y="275"/>
                  </a:lnTo>
                  <a:lnTo>
                    <a:pt x="335" y="271"/>
                  </a:lnTo>
                  <a:lnTo>
                    <a:pt x="339" y="271"/>
                  </a:lnTo>
                  <a:lnTo>
                    <a:pt x="347" y="271"/>
                  </a:lnTo>
                  <a:lnTo>
                    <a:pt x="351" y="271"/>
                  </a:lnTo>
                  <a:lnTo>
                    <a:pt x="355" y="271"/>
                  </a:lnTo>
                  <a:lnTo>
                    <a:pt x="359" y="271"/>
                  </a:lnTo>
                  <a:lnTo>
                    <a:pt x="359" y="275"/>
                  </a:lnTo>
                  <a:lnTo>
                    <a:pt x="367" y="275"/>
                  </a:lnTo>
                  <a:lnTo>
                    <a:pt x="367" y="279"/>
                  </a:lnTo>
                  <a:lnTo>
                    <a:pt x="371" y="279"/>
                  </a:lnTo>
                  <a:lnTo>
                    <a:pt x="371" y="283"/>
                  </a:lnTo>
                  <a:lnTo>
                    <a:pt x="375" y="283"/>
                  </a:lnTo>
                  <a:lnTo>
                    <a:pt x="379" y="283"/>
                  </a:lnTo>
                  <a:lnTo>
                    <a:pt x="379" y="287"/>
                  </a:lnTo>
                  <a:lnTo>
                    <a:pt x="383" y="287"/>
                  </a:lnTo>
                  <a:lnTo>
                    <a:pt x="387" y="291"/>
                  </a:lnTo>
                  <a:lnTo>
                    <a:pt x="387" y="295"/>
                  </a:lnTo>
                  <a:lnTo>
                    <a:pt x="383" y="295"/>
                  </a:lnTo>
                  <a:lnTo>
                    <a:pt x="379" y="299"/>
                  </a:lnTo>
                  <a:lnTo>
                    <a:pt x="375" y="299"/>
                  </a:lnTo>
                  <a:lnTo>
                    <a:pt x="371" y="299"/>
                  </a:lnTo>
                  <a:lnTo>
                    <a:pt x="367" y="303"/>
                  </a:lnTo>
                  <a:lnTo>
                    <a:pt x="363" y="303"/>
                  </a:lnTo>
                  <a:lnTo>
                    <a:pt x="359" y="303"/>
                  </a:lnTo>
                  <a:lnTo>
                    <a:pt x="359" y="307"/>
                  </a:lnTo>
                  <a:lnTo>
                    <a:pt x="355" y="307"/>
                  </a:lnTo>
                  <a:lnTo>
                    <a:pt x="351" y="307"/>
                  </a:lnTo>
                  <a:lnTo>
                    <a:pt x="351" y="311"/>
                  </a:lnTo>
                  <a:lnTo>
                    <a:pt x="347" y="311"/>
                  </a:lnTo>
                  <a:lnTo>
                    <a:pt x="343" y="311"/>
                  </a:lnTo>
                  <a:lnTo>
                    <a:pt x="339" y="315"/>
                  </a:lnTo>
                  <a:lnTo>
                    <a:pt x="335" y="315"/>
                  </a:lnTo>
                  <a:lnTo>
                    <a:pt x="331" y="319"/>
                  </a:lnTo>
                  <a:lnTo>
                    <a:pt x="327" y="323"/>
                  </a:lnTo>
                  <a:lnTo>
                    <a:pt x="327" y="327"/>
                  </a:lnTo>
                  <a:lnTo>
                    <a:pt x="323" y="327"/>
                  </a:lnTo>
                  <a:lnTo>
                    <a:pt x="323" y="331"/>
                  </a:lnTo>
                  <a:lnTo>
                    <a:pt x="319" y="331"/>
                  </a:lnTo>
                  <a:lnTo>
                    <a:pt x="315" y="327"/>
                  </a:lnTo>
                  <a:lnTo>
                    <a:pt x="315" y="331"/>
                  </a:lnTo>
                  <a:lnTo>
                    <a:pt x="315" y="335"/>
                  </a:lnTo>
                  <a:lnTo>
                    <a:pt x="311" y="335"/>
                  </a:lnTo>
                  <a:lnTo>
                    <a:pt x="311" y="339"/>
                  </a:lnTo>
                  <a:lnTo>
                    <a:pt x="311" y="343"/>
                  </a:lnTo>
                  <a:lnTo>
                    <a:pt x="311" y="347"/>
                  </a:lnTo>
                  <a:lnTo>
                    <a:pt x="307" y="351"/>
                  </a:lnTo>
                  <a:lnTo>
                    <a:pt x="303" y="351"/>
                  </a:lnTo>
                  <a:lnTo>
                    <a:pt x="299" y="351"/>
                  </a:lnTo>
                  <a:lnTo>
                    <a:pt x="295" y="351"/>
                  </a:lnTo>
                  <a:lnTo>
                    <a:pt x="291" y="351"/>
                  </a:lnTo>
                  <a:lnTo>
                    <a:pt x="287" y="351"/>
                  </a:lnTo>
                  <a:lnTo>
                    <a:pt x="287" y="355"/>
                  </a:lnTo>
                  <a:lnTo>
                    <a:pt x="283" y="355"/>
                  </a:lnTo>
                  <a:lnTo>
                    <a:pt x="283" y="359"/>
                  </a:lnTo>
                  <a:lnTo>
                    <a:pt x="279" y="359"/>
                  </a:lnTo>
                  <a:lnTo>
                    <a:pt x="275" y="359"/>
                  </a:lnTo>
                  <a:lnTo>
                    <a:pt x="275" y="363"/>
                  </a:lnTo>
                  <a:lnTo>
                    <a:pt x="271" y="363"/>
                  </a:lnTo>
                  <a:lnTo>
                    <a:pt x="271" y="359"/>
                  </a:lnTo>
                  <a:lnTo>
                    <a:pt x="267" y="359"/>
                  </a:lnTo>
                  <a:lnTo>
                    <a:pt x="267" y="355"/>
                  </a:lnTo>
                  <a:close/>
                  <a:moveTo>
                    <a:pt x="754" y="299"/>
                  </a:moveTo>
                  <a:lnTo>
                    <a:pt x="750" y="303"/>
                  </a:lnTo>
                  <a:lnTo>
                    <a:pt x="750" y="307"/>
                  </a:lnTo>
                  <a:lnTo>
                    <a:pt x="746" y="307"/>
                  </a:lnTo>
                  <a:lnTo>
                    <a:pt x="746" y="311"/>
                  </a:lnTo>
                  <a:lnTo>
                    <a:pt x="742" y="311"/>
                  </a:lnTo>
                  <a:lnTo>
                    <a:pt x="742" y="315"/>
                  </a:lnTo>
                  <a:lnTo>
                    <a:pt x="738" y="315"/>
                  </a:lnTo>
                  <a:lnTo>
                    <a:pt x="734" y="315"/>
                  </a:lnTo>
                  <a:lnTo>
                    <a:pt x="730" y="315"/>
                  </a:lnTo>
                  <a:lnTo>
                    <a:pt x="726" y="315"/>
                  </a:lnTo>
                  <a:lnTo>
                    <a:pt x="722" y="315"/>
                  </a:lnTo>
                  <a:lnTo>
                    <a:pt x="722" y="311"/>
                  </a:lnTo>
                  <a:lnTo>
                    <a:pt x="722" y="315"/>
                  </a:lnTo>
                  <a:lnTo>
                    <a:pt x="718" y="315"/>
                  </a:lnTo>
                  <a:lnTo>
                    <a:pt x="714" y="315"/>
                  </a:lnTo>
                  <a:lnTo>
                    <a:pt x="710" y="315"/>
                  </a:lnTo>
                  <a:lnTo>
                    <a:pt x="706" y="315"/>
                  </a:lnTo>
                  <a:lnTo>
                    <a:pt x="710" y="315"/>
                  </a:lnTo>
                  <a:lnTo>
                    <a:pt x="714" y="315"/>
                  </a:lnTo>
                  <a:lnTo>
                    <a:pt x="714" y="319"/>
                  </a:lnTo>
                  <a:lnTo>
                    <a:pt x="718" y="319"/>
                  </a:lnTo>
                  <a:lnTo>
                    <a:pt x="718" y="323"/>
                  </a:lnTo>
                  <a:lnTo>
                    <a:pt x="718" y="327"/>
                  </a:lnTo>
                  <a:lnTo>
                    <a:pt x="714" y="327"/>
                  </a:lnTo>
                  <a:lnTo>
                    <a:pt x="710" y="331"/>
                  </a:lnTo>
                  <a:lnTo>
                    <a:pt x="710" y="335"/>
                  </a:lnTo>
                  <a:lnTo>
                    <a:pt x="706" y="335"/>
                  </a:lnTo>
                  <a:lnTo>
                    <a:pt x="698" y="335"/>
                  </a:lnTo>
                  <a:lnTo>
                    <a:pt x="694" y="335"/>
                  </a:lnTo>
                  <a:lnTo>
                    <a:pt x="694" y="331"/>
                  </a:lnTo>
                  <a:lnTo>
                    <a:pt x="698" y="331"/>
                  </a:lnTo>
                  <a:lnTo>
                    <a:pt x="694" y="331"/>
                  </a:lnTo>
                  <a:lnTo>
                    <a:pt x="694" y="327"/>
                  </a:lnTo>
                  <a:lnTo>
                    <a:pt x="694" y="323"/>
                  </a:lnTo>
                  <a:lnTo>
                    <a:pt x="694" y="319"/>
                  </a:lnTo>
                  <a:lnTo>
                    <a:pt x="690" y="319"/>
                  </a:lnTo>
                  <a:lnTo>
                    <a:pt x="690" y="315"/>
                  </a:lnTo>
                  <a:lnTo>
                    <a:pt x="686" y="315"/>
                  </a:lnTo>
                  <a:lnTo>
                    <a:pt x="686" y="311"/>
                  </a:lnTo>
                  <a:lnTo>
                    <a:pt x="686" y="307"/>
                  </a:lnTo>
                  <a:lnTo>
                    <a:pt x="686" y="303"/>
                  </a:lnTo>
                  <a:lnTo>
                    <a:pt x="686" y="299"/>
                  </a:lnTo>
                  <a:lnTo>
                    <a:pt x="686" y="295"/>
                  </a:lnTo>
                  <a:lnTo>
                    <a:pt x="686" y="291"/>
                  </a:lnTo>
                  <a:lnTo>
                    <a:pt x="686" y="287"/>
                  </a:lnTo>
                  <a:lnTo>
                    <a:pt x="690" y="287"/>
                  </a:lnTo>
                  <a:lnTo>
                    <a:pt x="694" y="287"/>
                  </a:lnTo>
                  <a:lnTo>
                    <a:pt x="698" y="287"/>
                  </a:lnTo>
                  <a:lnTo>
                    <a:pt x="702" y="287"/>
                  </a:lnTo>
                  <a:lnTo>
                    <a:pt x="698" y="287"/>
                  </a:lnTo>
                  <a:lnTo>
                    <a:pt x="694" y="287"/>
                  </a:lnTo>
                  <a:lnTo>
                    <a:pt x="694" y="283"/>
                  </a:lnTo>
                  <a:lnTo>
                    <a:pt x="698" y="283"/>
                  </a:lnTo>
                  <a:lnTo>
                    <a:pt x="694" y="283"/>
                  </a:lnTo>
                  <a:lnTo>
                    <a:pt x="690" y="283"/>
                  </a:lnTo>
                  <a:lnTo>
                    <a:pt x="690" y="279"/>
                  </a:lnTo>
                  <a:lnTo>
                    <a:pt x="694" y="279"/>
                  </a:lnTo>
                  <a:lnTo>
                    <a:pt x="698" y="279"/>
                  </a:lnTo>
                  <a:lnTo>
                    <a:pt x="698" y="275"/>
                  </a:lnTo>
                  <a:lnTo>
                    <a:pt x="702" y="275"/>
                  </a:lnTo>
                  <a:lnTo>
                    <a:pt x="706" y="275"/>
                  </a:lnTo>
                  <a:lnTo>
                    <a:pt x="710" y="275"/>
                  </a:lnTo>
                  <a:lnTo>
                    <a:pt x="714" y="275"/>
                  </a:lnTo>
                  <a:lnTo>
                    <a:pt x="718" y="275"/>
                  </a:lnTo>
                  <a:lnTo>
                    <a:pt x="722" y="275"/>
                  </a:lnTo>
                  <a:lnTo>
                    <a:pt x="726" y="275"/>
                  </a:lnTo>
                  <a:lnTo>
                    <a:pt x="730" y="275"/>
                  </a:lnTo>
                  <a:lnTo>
                    <a:pt x="734" y="279"/>
                  </a:lnTo>
                  <a:lnTo>
                    <a:pt x="738" y="279"/>
                  </a:lnTo>
                  <a:lnTo>
                    <a:pt x="742" y="279"/>
                  </a:lnTo>
                  <a:lnTo>
                    <a:pt x="750" y="279"/>
                  </a:lnTo>
                  <a:lnTo>
                    <a:pt x="754" y="279"/>
                  </a:lnTo>
                  <a:lnTo>
                    <a:pt x="762" y="279"/>
                  </a:lnTo>
                  <a:lnTo>
                    <a:pt x="766" y="283"/>
                  </a:lnTo>
                  <a:lnTo>
                    <a:pt x="766" y="279"/>
                  </a:lnTo>
                  <a:lnTo>
                    <a:pt x="770" y="283"/>
                  </a:lnTo>
                  <a:lnTo>
                    <a:pt x="766" y="283"/>
                  </a:lnTo>
                  <a:lnTo>
                    <a:pt x="766" y="287"/>
                  </a:lnTo>
                  <a:lnTo>
                    <a:pt x="762" y="287"/>
                  </a:lnTo>
                  <a:lnTo>
                    <a:pt x="762" y="291"/>
                  </a:lnTo>
                  <a:lnTo>
                    <a:pt x="758" y="291"/>
                  </a:lnTo>
                  <a:lnTo>
                    <a:pt x="758" y="295"/>
                  </a:lnTo>
                  <a:lnTo>
                    <a:pt x="754" y="295"/>
                  </a:lnTo>
                  <a:lnTo>
                    <a:pt x="754" y="299"/>
                  </a:lnTo>
                  <a:close/>
                  <a:moveTo>
                    <a:pt x="770" y="279"/>
                  </a:moveTo>
                  <a:lnTo>
                    <a:pt x="766" y="279"/>
                  </a:lnTo>
                  <a:lnTo>
                    <a:pt x="770" y="279"/>
                  </a:lnTo>
                  <a:lnTo>
                    <a:pt x="770" y="275"/>
                  </a:lnTo>
                  <a:lnTo>
                    <a:pt x="774" y="275"/>
                  </a:lnTo>
                  <a:lnTo>
                    <a:pt x="774" y="279"/>
                  </a:lnTo>
                  <a:lnTo>
                    <a:pt x="770" y="279"/>
                  </a:lnTo>
                  <a:close/>
                  <a:moveTo>
                    <a:pt x="662" y="295"/>
                  </a:moveTo>
                  <a:lnTo>
                    <a:pt x="662" y="299"/>
                  </a:lnTo>
                  <a:lnTo>
                    <a:pt x="658" y="299"/>
                  </a:lnTo>
                  <a:lnTo>
                    <a:pt x="654" y="299"/>
                  </a:lnTo>
                  <a:lnTo>
                    <a:pt x="650" y="303"/>
                  </a:lnTo>
                  <a:lnTo>
                    <a:pt x="646" y="303"/>
                  </a:lnTo>
                  <a:lnTo>
                    <a:pt x="646" y="307"/>
                  </a:lnTo>
                  <a:lnTo>
                    <a:pt x="642" y="307"/>
                  </a:lnTo>
                  <a:lnTo>
                    <a:pt x="642" y="311"/>
                  </a:lnTo>
                  <a:lnTo>
                    <a:pt x="646" y="311"/>
                  </a:lnTo>
                  <a:lnTo>
                    <a:pt x="646" y="307"/>
                  </a:lnTo>
                  <a:lnTo>
                    <a:pt x="650" y="307"/>
                  </a:lnTo>
                  <a:lnTo>
                    <a:pt x="654" y="307"/>
                  </a:lnTo>
                  <a:lnTo>
                    <a:pt x="658" y="307"/>
                  </a:lnTo>
                  <a:lnTo>
                    <a:pt x="662" y="307"/>
                  </a:lnTo>
                  <a:lnTo>
                    <a:pt x="662" y="311"/>
                  </a:lnTo>
                  <a:lnTo>
                    <a:pt x="666" y="315"/>
                  </a:lnTo>
                  <a:lnTo>
                    <a:pt x="662" y="315"/>
                  </a:lnTo>
                  <a:lnTo>
                    <a:pt x="662" y="319"/>
                  </a:lnTo>
                  <a:lnTo>
                    <a:pt x="666" y="319"/>
                  </a:lnTo>
                  <a:lnTo>
                    <a:pt x="666" y="315"/>
                  </a:lnTo>
                  <a:lnTo>
                    <a:pt x="670" y="315"/>
                  </a:lnTo>
                  <a:lnTo>
                    <a:pt x="674" y="315"/>
                  </a:lnTo>
                  <a:lnTo>
                    <a:pt x="674" y="319"/>
                  </a:lnTo>
                  <a:lnTo>
                    <a:pt x="674" y="323"/>
                  </a:lnTo>
                  <a:lnTo>
                    <a:pt x="678" y="323"/>
                  </a:lnTo>
                  <a:lnTo>
                    <a:pt x="674" y="327"/>
                  </a:lnTo>
                  <a:lnTo>
                    <a:pt x="670" y="327"/>
                  </a:lnTo>
                  <a:lnTo>
                    <a:pt x="666" y="327"/>
                  </a:lnTo>
                  <a:lnTo>
                    <a:pt x="670" y="327"/>
                  </a:lnTo>
                  <a:lnTo>
                    <a:pt x="674" y="327"/>
                  </a:lnTo>
                  <a:lnTo>
                    <a:pt x="674" y="331"/>
                  </a:lnTo>
                  <a:lnTo>
                    <a:pt x="674" y="335"/>
                  </a:lnTo>
                  <a:lnTo>
                    <a:pt x="670" y="335"/>
                  </a:lnTo>
                  <a:lnTo>
                    <a:pt x="666" y="335"/>
                  </a:lnTo>
                  <a:lnTo>
                    <a:pt x="670" y="335"/>
                  </a:lnTo>
                  <a:lnTo>
                    <a:pt x="674" y="335"/>
                  </a:lnTo>
                  <a:lnTo>
                    <a:pt x="670" y="335"/>
                  </a:lnTo>
                  <a:lnTo>
                    <a:pt x="670" y="339"/>
                  </a:lnTo>
                  <a:lnTo>
                    <a:pt x="674" y="339"/>
                  </a:lnTo>
                  <a:lnTo>
                    <a:pt x="670" y="339"/>
                  </a:lnTo>
                  <a:lnTo>
                    <a:pt x="670" y="343"/>
                  </a:lnTo>
                  <a:lnTo>
                    <a:pt x="670" y="339"/>
                  </a:lnTo>
                  <a:lnTo>
                    <a:pt x="666" y="343"/>
                  </a:lnTo>
                  <a:lnTo>
                    <a:pt x="662" y="343"/>
                  </a:lnTo>
                  <a:lnTo>
                    <a:pt x="658" y="347"/>
                  </a:lnTo>
                  <a:lnTo>
                    <a:pt x="654" y="347"/>
                  </a:lnTo>
                  <a:lnTo>
                    <a:pt x="650" y="343"/>
                  </a:lnTo>
                  <a:lnTo>
                    <a:pt x="650" y="347"/>
                  </a:lnTo>
                  <a:lnTo>
                    <a:pt x="646" y="347"/>
                  </a:lnTo>
                  <a:lnTo>
                    <a:pt x="646" y="343"/>
                  </a:lnTo>
                  <a:lnTo>
                    <a:pt x="646" y="339"/>
                  </a:lnTo>
                  <a:lnTo>
                    <a:pt x="642" y="343"/>
                  </a:lnTo>
                  <a:lnTo>
                    <a:pt x="646" y="347"/>
                  </a:lnTo>
                  <a:lnTo>
                    <a:pt x="650" y="347"/>
                  </a:lnTo>
                  <a:lnTo>
                    <a:pt x="650" y="351"/>
                  </a:lnTo>
                  <a:lnTo>
                    <a:pt x="646" y="351"/>
                  </a:lnTo>
                  <a:lnTo>
                    <a:pt x="642" y="355"/>
                  </a:lnTo>
                  <a:lnTo>
                    <a:pt x="638" y="355"/>
                  </a:lnTo>
                  <a:lnTo>
                    <a:pt x="634" y="351"/>
                  </a:lnTo>
                  <a:lnTo>
                    <a:pt x="634" y="355"/>
                  </a:lnTo>
                  <a:lnTo>
                    <a:pt x="630" y="355"/>
                  </a:lnTo>
                  <a:lnTo>
                    <a:pt x="630" y="351"/>
                  </a:lnTo>
                  <a:lnTo>
                    <a:pt x="630" y="347"/>
                  </a:lnTo>
                  <a:lnTo>
                    <a:pt x="626" y="347"/>
                  </a:lnTo>
                  <a:lnTo>
                    <a:pt x="626" y="343"/>
                  </a:lnTo>
                  <a:lnTo>
                    <a:pt x="622" y="339"/>
                  </a:lnTo>
                  <a:lnTo>
                    <a:pt x="618" y="339"/>
                  </a:lnTo>
                  <a:lnTo>
                    <a:pt x="614" y="335"/>
                  </a:lnTo>
                  <a:lnTo>
                    <a:pt x="610" y="331"/>
                  </a:lnTo>
                  <a:lnTo>
                    <a:pt x="606" y="331"/>
                  </a:lnTo>
                  <a:lnTo>
                    <a:pt x="606" y="327"/>
                  </a:lnTo>
                  <a:lnTo>
                    <a:pt x="602" y="327"/>
                  </a:lnTo>
                  <a:lnTo>
                    <a:pt x="598" y="327"/>
                  </a:lnTo>
                  <a:lnTo>
                    <a:pt x="594" y="327"/>
                  </a:lnTo>
                  <a:lnTo>
                    <a:pt x="590" y="327"/>
                  </a:lnTo>
                  <a:lnTo>
                    <a:pt x="590" y="323"/>
                  </a:lnTo>
                  <a:lnTo>
                    <a:pt x="590" y="319"/>
                  </a:lnTo>
                  <a:lnTo>
                    <a:pt x="586" y="319"/>
                  </a:lnTo>
                  <a:lnTo>
                    <a:pt x="582" y="319"/>
                  </a:lnTo>
                  <a:lnTo>
                    <a:pt x="582" y="315"/>
                  </a:lnTo>
                  <a:lnTo>
                    <a:pt x="578" y="315"/>
                  </a:lnTo>
                  <a:lnTo>
                    <a:pt x="578" y="311"/>
                  </a:lnTo>
                  <a:lnTo>
                    <a:pt x="582" y="311"/>
                  </a:lnTo>
                  <a:lnTo>
                    <a:pt x="582" y="307"/>
                  </a:lnTo>
                  <a:lnTo>
                    <a:pt x="586" y="307"/>
                  </a:lnTo>
                  <a:lnTo>
                    <a:pt x="586" y="303"/>
                  </a:lnTo>
                  <a:lnTo>
                    <a:pt x="590" y="303"/>
                  </a:lnTo>
                  <a:lnTo>
                    <a:pt x="590" y="307"/>
                  </a:lnTo>
                  <a:lnTo>
                    <a:pt x="594" y="307"/>
                  </a:lnTo>
                  <a:lnTo>
                    <a:pt x="594" y="311"/>
                  </a:lnTo>
                  <a:lnTo>
                    <a:pt x="598" y="311"/>
                  </a:lnTo>
                  <a:lnTo>
                    <a:pt x="598" y="315"/>
                  </a:lnTo>
                  <a:lnTo>
                    <a:pt x="602" y="315"/>
                  </a:lnTo>
                  <a:lnTo>
                    <a:pt x="606" y="315"/>
                  </a:lnTo>
                  <a:lnTo>
                    <a:pt x="610" y="315"/>
                  </a:lnTo>
                  <a:lnTo>
                    <a:pt x="614" y="315"/>
                  </a:lnTo>
                  <a:lnTo>
                    <a:pt x="614" y="311"/>
                  </a:lnTo>
                  <a:lnTo>
                    <a:pt x="614" y="307"/>
                  </a:lnTo>
                  <a:lnTo>
                    <a:pt x="614" y="311"/>
                  </a:lnTo>
                  <a:lnTo>
                    <a:pt x="618" y="311"/>
                  </a:lnTo>
                  <a:lnTo>
                    <a:pt x="618" y="307"/>
                  </a:lnTo>
                  <a:lnTo>
                    <a:pt x="618" y="303"/>
                  </a:lnTo>
                  <a:lnTo>
                    <a:pt x="614" y="303"/>
                  </a:lnTo>
                  <a:lnTo>
                    <a:pt x="610" y="303"/>
                  </a:lnTo>
                  <a:lnTo>
                    <a:pt x="614" y="299"/>
                  </a:lnTo>
                  <a:lnTo>
                    <a:pt x="618" y="303"/>
                  </a:lnTo>
                  <a:lnTo>
                    <a:pt x="622" y="303"/>
                  </a:lnTo>
                  <a:lnTo>
                    <a:pt x="618" y="299"/>
                  </a:lnTo>
                  <a:lnTo>
                    <a:pt x="614" y="299"/>
                  </a:lnTo>
                  <a:lnTo>
                    <a:pt x="614" y="295"/>
                  </a:lnTo>
                  <a:lnTo>
                    <a:pt x="614" y="299"/>
                  </a:lnTo>
                  <a:lnTo>
                    <a:pt x="610" y="299"/>
                  </a:lnTo>
                  <a:lnTo>
                    <a:pt x="606" y="299"/>
                  </a:lnTo>
                  <a:lnTo>
                    <a:pt x="602" y="295"/>
                  </a:lnTo>
                  <a:lnTo>
                    <a:pt x="598" y="295"/>
                  </a:lnTo>
                  <a:lnTo>
                    <a:pt x="594" y="295"/>
                  </a:lnTo>
                  <a:lnTo>
                    <a:pt x="598" y="291"/>
                  </a:lnTo>
                  <a:lnTo>
                    <a:pt x="602" y="291"/>
                  </a:lnTo>
                  <a:lnTo>
                    <a:pt x="606" y="291"/>
                  </a:lnTo>
                  <a:lnTo>
                    <a:pt x="610" y="291"/>
                  </a:lnTo>
                  <a:lnTo>
                    <a:pt x="610" y="295"/>
                  </a:lnTo>
                  <a:lnTo>
                    <a:pt x="614" y="295"/>
                  </a:lnTo>
                  <a:lnTo>
                    <a:pt x="610" y="295"/>
                  </a:lnTo>
                  <a:lnTo>
                    <a:pt x="610" y="291"/>
                  </a:lnTo>
                  <a:lnTo>
                    <a:pt x="606" y="291"/>
                  </a:lnTo>
                  <a:lnTo>
                    <a:pt x="606" y="287"/>
                  </a:lnTo>
                  <a:lnTo>
                    <a:pt x="602" y="287"/>
                  </a:lnTo>
                  <a:lnTo>
                    <a:pt x="606" y="283"/>
                  </a:lnTo>
                  <a:lnTo>
                    <a:pt x="610" y="283"/>
                  </a:lnTo>
                  <a:lnTo>
                    <a:pt x="614" y="283"/>
                  </a:lnTo>
                  <a:lnTo>
                    <a:pt x="618" y="287"/>
                  </a:lnTo>
                  <a:lnTo>
                    <a:pt x="622" y="283"/>
                  </a:lnTo>
                  <a:lnTo>
                    <a:pt x="618" y="283"/>
                  </a:lnTo>
                  <a:lnTo>
                    <a:pt x="614" y="283"/>
                  </a:lnTo>
                  <a:lnTo>
                    <a:pt x="618" y="283"/>
                  </a:lnTo>
                  <a:lnTo>
                    <a:pt x="618" y="279"/>
                  </a:lnTo>
                  <a:lnTo>
                    <a:pt x="622" y="279"/>
                  </a:lnTo>
                  <a:lnTo>
                    <a:pt x="622" y="283"/>
                  </a:lnTo>
                  <a:lnTo>
                    <a:pt x="626" y="283"/>
                  </a:lnTo>
                  <a:lnTo>
                    <a:pt x="630" y="287"/>
                  </a:lnTo>
                  <a:lnTo>
                    <a:pt x="634" y="287"/>
                  </a:lnTo>
                  <a:lnTo>
                    <a:pt x="638" y="287"/>
                  </a:lnTo>
                  <a:lnTo>
                    <a:pt x="642" y="287"/>
                  </a:lnTo>
                  <a:lnTo>
                    <a:pt x="642" y="283"/>
                  </a:lnTo>
                  <a:lnTo>
                    <a:pt x="646" y="283"/>
                  </a:lnTo>
                  <a:lnTo>
                    <a:pt x="650" y="283"/>
                  </a:lnTo>
                  <a:lnTo>
                    <a:pt x="654" y="283"/>
                  </a:lnTo>
                  <a:lnTo>
                    <a:pt x="658" y="283"/>
                  </a:lnTo>
                  <a:lnTo>
                    <a:pt x="662" y="283"/>
                  </a:lnTo>
                  <a:lnTo>
                    <a:pt x="666" y="287"/>
                  </a:lnTo>
                  <a:lnTo>
                    <a:pt x="666" y="291"/>
                  </a:lnTo>
                  <a:lnTo>
                    <a:pt x="662" y="291"/>
                  </a:lnTo>
                  <a:lnTo>
                    <a:pt x="658" y="291"/>
                  </a:lnTo>
                  <a:lnTo>
                    <a:pt x="654" y="295"/>
                  </a:lnTo>
                  <a:lnTo>
                    <a:pt x="658" y="295"/>
                  </a:lnTo>
                  <a:lnTo>
                    <a:pt x="662" y="295"/>
                  </a:lnTo>
                  <a:close/>
                  <a:moveTo>
                    <a:pt x="1073" y="579"/>
                  </a:moveTo>
                  <a:lnTo>
                    <a:pt x="1069" y="579"/>
                  </a:lnTo>
                  <a:lnTo>
                    <a:pt x="1065" y="579"/>
                  </a:lnTo>
                  <a:lnTo>
                    <a:pt x="1061" y="575"/>
                  </a:lnTo>
                  <a:lnTo>
                    <a:pt x="1057" y="575"/>
                  </a:lnTo>
                  <a:lnTo>
                    <a:pt x="1061" y="575"/>
                  </a:lnTo>
                  <a:lnTo>
                    <a:pt x="1061" y="571"/>
                  </a:lnTo>
                  <a:lnTo>
                    <a:pt x="1057" y="571"/>
                  </a:lnTo>
                  <a:lnTo>
                    <a:pt x="1057" y="575"/>
                  </a:lnTo>
                  <a:lnTo>
                    <a:pt x="1053" y="571"/>
                  </a:lnTo>
                  <a:lnTo>
                    <a:pt x="1049" y="571"/>
                  </a:lnTo>
                  <a:lnTo>
                    <a:pt x="1049" y="567"/>
                  </a:lnTo>
                  <a:lnTo>
                    <a:pt x="1049" y="563"/>
                  </a:lnTo>
                  <a:lnTo>
                    <a:pt x="1045" y="563"/>
                  </a:lnTo>
                  <a:lnTo>
                    <a:pt x="1041" y="563"/>
                  </a:lnTo>
                  <a:lnTo>
                    <a:pt x="1045" y="563"/>
                  </a:lnTo>
                  <a:lnTo>
                    <a:pt x="1049" y="563"/>
                  </a:lnTo>
                  <a:lnTo>
                    <a:pt x="1053" y="563"/>
                  </a:lnTo>
                  <a:lnTo>
                    <a:pt x="1053" y="559"/>
                  </a:lnTo>
                  <a:lnTo>
                    <a:pt x="1057" y="559"/>
                  </a:lnTo>
                  <a:lnTo>
                    <a:pt x="1053" y="559"/>
                  </a:lnTo>
                  <a:lnTo>
                    <a:pt x="1049" y="559"/>
                  </a:lnTo>
                  <a:lnTo>
                    <a:pt x="1049" y="555"/>
                  </a:lnTo>
                  <a:lnTo>
                    <a:pt x="1045" y="555"/>
                  </a:lnTo>
                  <a:lnTo>
                    <a:pt x="1045" y="559"/>
                  </a:lnTo>
                  <a:lnTo>
                    <a:pt x="1041" y="555"/>
                  </a:lnTo>
                  <a:lnTo>
                    <a:pt x="1041" y="559"/>
                  </a:lnTo>
                  <a:lnTo>
                    <a:pt x="1037" y="555"/>
                  </a:lnTo>
                  <a:lnTo>
                    <a:pt x="1041" y="555"/>
                  </a:lnTo>
                  <a:lnTo>
                    <a:pt x="1041" y="551"/>
                  </a:lnTo>
                  <a:lnTo>
                    <a:pt x="1037" y="551"/>
                  </a:lnTo>
                  <a:lnTo>
                    <a:pt x="1037" y="555"/>
                  </a:lnTo>
                  <a:lnTo>
                    <a:pt x="1037" y="551"/>
                  </a:lnTo>
                  <a:lnTo>
                    <a:pt x="1033" y="551"/>
                  </a:lnTo>
                  <a:lnTo>
                    <a:pt x="1037" y="547"/>
                  </a:lnTo>
                  <a:lnTo>
                    <a:pt x="1033" y="547"/>
                  </a:lnTo>
                  <a:lnTo>
                    <a:pt x="1033" y="551"/>
                  </a:lnTo>
                  <a:lnTo>
                    <a:pt x="1033" y="547"/>
                  </a:lnTo>
                  <a:lnTo>
                    <a:pt x="1029" y="547"/>
                  </a:lnTo>
                  <a:lnTo>
                    <a:pt x="1029" y="543"/>
                  </a:lnTo>
                  <a:lnTo>
                    <a:pt x="1025" y="543"/>
                  </a:lnTo>
                  <a:lnTo>
                    <a:pt x="1021" y="539"/>
                  </a:lnTo>
                  <a:lnTo>
                    <a:pt x="1025" y="535"/>
                  </a:lnTo>
                  <a:lnTo>
                    <a:pt x="1025" y="531"/>
                  </a:lnTo>
                  <a:lnTo>
                    <a:pt x="1025" y="535"/>
                  </a:lnTo>
                  <a:lnTo>
                    <a:pt x="1021" y="535"/>
                  </a:lnTo>
                  <a:lnTo>
                    <a:pt x="1021" y="531"/>
                  </a:lnTo>
                  <a:lnTo>
                    <a:pt x="1017" y="531"/>
                  </a:lnTo>
                  <a:lnTo>
                    <a:pt x="1017" y="535"/>
                  </a:lnTo>
                  <a:lnTo>
                    <a:pt x="1013" y="535"/>
                  </a:lnTo>
                  <a:lnTo>
                    <a:pt x="1017" y="535"/>
                  </a:lnTo>
                  <a:lnTo>
                    <a:pt x="1013" y="539"/>
                  </a:lnTo>
                  <a:lnTo>
                    <a:pt x="1013" y="535"/>
                  </a:lnTo>
                  <a:lnTo>
                    <a:pt x="1013" y="531"/>
                  </a:lnTo>
                  <a:lnTo>
                    <a:pt x="1009" y="531"/>
                  </a:lnTo>
                  <a:lnTo>
                    <a:pt x="1009" y="535"/>
                  </a:lnTo>
                  <a:lnTo>
                    <a:pt x="1005" y="535"/>
                  </a:lnTo>
                  <a:lnTo>
                    <a:pt x="1005" y="531"/>
                  </a:lnTo>
                  <a:lnTo>
                    <a:pt x="1005" y="527"/>
                  </a:lnTo>
                  <a:lnTo>
                    <a:pt x="1001" y="527"/>
                  </a:lnTo>
                  <a:lnTo>
                    <a:pt x="1001" y="531"/>
                  </a:lnTo>
                  <a:lnTo>
                    <a:pt x="1001" y="527"/>
                  </a:lnTo>
                  <a:lnTo>
                    <a:pt x="997" y="527"/>
                  </a:lnTo>
                  <a:lnTo>
                    <a:pt x="1001" y="531"/>
                  </a:lnTo>
                  <a:lnTo>
                    <a:pt x="1005" y="531"/>
                  </a:lnTo>
                  <a:lnTo>
                    <a:pt x="1005" y="535"/>
                  </a:lnTo>
                  <a:lnTo>
                    <a:pt x="1005" y="539"/>
                  </a:lnTo>
                  <a:lnTo>
                    <a:pt x="1001" y="539"/>
                  </a:lnTo>
                  <a:lnTo>
                    <a:pt x="997" y="539"/>
                  </a:lnTo>
                  <a:lnTo>
                    <a:pt x="997" y="535"/>
                  </a:lnTo>
                  <a:lnTo>
                    <a:pt x="997" y="539"/>
                  </a:lnTo>
                  <a:lnTo>
                    <a:pt x="993" y="539"/>
                  </a:lnTo>
                  <a:lnTo>
                    <a:pt x="993" y="535"/>
                  </a:lnTo>
                  <a:lnTo>
                    <a:pt x="989" y="535"/>
                  </a:lnTo>
                  <a:lnTo>
                    <a:pt x="985" y="535"/>
                  </a:lnTo>
                  <a:lnTo>
                    <a:pt x="989" y="535"/>
                  </a:lnTo>
                  <a:lnTo>
                    <a:pt x="989" y="539"/>
                  </a:lnTo>
                  <a:lnTo>
                    <a:pt x="985" y="539"/>
                  </a:lnTo>
                  <a:lnTo>
                    <a:pt x="985" y="535"/>
                  </a:lnTo>
                  <a:lnTo>
                    <a:pt x="989" y="539"/>
                  </a:lnTo>
                  <a:lnTo>
                    <a:pt x="985" y="539"/>
                  </a:lnTo>
                  <a:lnTo>
                    <a:pt x="981" y="539"/>
                  </a:lnTo>
                  <a:lnTo>
                    <a:pt x="981" y="543"/>
                  </a:lnTo>
                  <a:lnTo>
                    <a:pt x="977" y="543"/>
                  </a:lnTo>
                  <a:lnTo>
                    <a:pt x="973" y="543"/>
                  </a:lnTo>
                  <a:lnTo>
                    <a:pt x="969" y="543"/>
                  </a:lnTo>
                  <a:lnTo>
                    <a:pt x="965" y="543"/>
                  </a:lnTo>
                  <a:lnTo>
                    <a:pt x="961" y="543"/>
                  </a:lnTo>
                  <a:lnTo>
                    <a:pt x="961" y="539"/>
                  </a:lnTo>
                  <a:lnTo>
                    <a:pt x="957" y="539"/>
                  </a:lnTo>
                  <a:lnTo>
                    <a:pt x="953" y="539"/>
                  </a:lnTo>
                  <a:lnTo>
                    <a:pt x="949" y="535"/>
                  </a:lnTo>
                  <a:lnTo>
                    <a:pt x="949" y="531"/>
                  </a:lnTo>
                  <a:lnTo>
                    <a:pt x="953" y="527"/>
                  </a:lnTo>
                  <a:lnTo>
                    <a:pt x="949" y="523"/>
                  </a:lnTo>
                  <a:lnTo>
                    <a:pt x="953" y="523"/>
                  </a:lnTo>
                  <a:lnTo>
                    <a:pt x="957" y="519"/>
                  </a:lnTo>
                  <a:lnTo>
                    <a:pt x="961" y="519"/>
                  </a:lnTo>
                  <a:lnTo>
                    <a:pt x="965" y="519"/>
                  </a:lnTo>
                  <a:lnTo>
                    <a:pt x="961" y="515"/>
                  </a:lnTo>
                  <a:lnTo>
                    <a:pt x="965" y="515"/>
                  </a:lnTo>
                  <a:lnTo>
                    <a:pt x="961" y="511"/>
                  </a:lnTo>
                  <a:lnTo>
                    <a:pt x="965" y="511"/>
                  </a:lnTo>
                  <a:lnTo>
                    <a:pt x="969" y="511"/>
                  </a:lnTo>
                  <a:lnTo>
                    <a:pt x="973" y="515"/>
                  </a:lnTo>
                  <a:lnTo>
                    <a:pt x="977" y="515"/>
                  </a:lnTo>
                  <a:lnTo>
                    <a:pt x="981" y="515"/>
                  </a:lnTo>
                  <a:lnTo>
                    <a:pt x="985" y="515"/>
                  </a:lnTo>
                  <a:lnTo>
                    <a:pt x="985" y="519"/>
                  </a:lnTo>
                  <a:lnTo>
                    <a:pt x="989" y="519"/>
                  </a:lnTo>
                  <a:lnTo>
                    <a:pt x="993" y="523"/>
                  </a:lnTo>
                  <a:lnTo>
                    <a:pt x="989" y="523"/>
                  </a:lnTo>
                  <a:lnTo>
                    <a:pt x="989" y="527"/>
                  </a:lnTo>
                  <a:lnTo>
                    <a:pt x="993" y="527"/>
                  </a:lnTo>
                  <a:lnTo>
                    <a:pt x="993" y="531"/>
                  </a:lnTo>
                  <a:lnTo>
                    <a:pt x="993" y="527"/>
                  </a:lnTo>
                  <a:lnTo>
                    <a:pt x="989" y="527"/>
                  </a:lnTo>
                  <a:lnTo>
                    <a:pt x="993" y="527"/>
                  </a:lnTo>
                  <a:lnTo>
                    <a:pt x="993" y="523"/>
                  </a:lnTo>
                  <a:lnTo>
                    <a:pt x="997" y="523"/>
                  </a:lnTo>
                  <a:lnTo>
                    <a:pt x="997" y="519"/>
                  </a:lnTo>
                  <a:lnTo>
                    <a:pt x="993" y="519"/>
                  </a:lnTo>
                  <a:lnTo>
                    <a:pt x="993" y="523"/>
                  </a:lnTo>
                  <a:lnTo>
                    <a:pt x="993" y="519"/>
                  </a:lnTo>
                  <a:lnTo>
                    <a:pt x="989" y="519"/>
                  </a:lnTo>
                  <a:lnTo>
                    <a:pt x="985" y="519"/>
                  </a:lnTo>
                  <a:lnTo>
                    <a:pt x="985" y="515"/>
                  </a:lnTo>
                  <a:lnTo>
                    <a:pt x="989" y="515"/>
                  </a:lnTo>
                  <a:lnTo>
                    <a:pt x="993" y="515"/>
                  </a:lnTo>
                  <a:lnTo>
                    <a:pt x="997" y="515"/>
                  </a:lnTo>
                  <a:lnTo>
                    <a:pt x="1001" y="515"/>
                  </a:lnTo>
                  <a:lnTo>
                    <a:pt x="1005" y="515"/>
                  </a:lnTo>
                  <a:lnTo>
                    <a:pt x="1009" y="511"/>
                  </a:lnTo>
                  <a:lnTo>
                    <a:pt x="1013" y="511"/>
                  </a:lnTo>
                  <a:lnTo>
                    <a:pt x="1017" y="511"/>
                  </a:lnTo>
                  <a:lnTo>
                    <a:pt x="1021" y="511"/>
                  </a:lnTo>
                  <a:lnTo>
                    <a:pt x="1021" y="507"/>
                  </a:lnTo>
                  <a:lnTo>
                    <a:pt x="1017" y="507"/>
                  </a:lnTo>
                  <a:lnTo>
                    <a:pt x="1017" y="503"/>
                  </a:lnTo>
                  <a:lnTo>
                    <a:pt x="1013" y="503"/>
                  </a:lnTo>
                  <a:lnTo>
                    <a:pt x="1013" y="499"/>
                  </a:lnTo>
                  <a:lnTo>
                    <a:pt x="1009" y="499"/>
                  </a:lnTo>
                  <a:lnTo>
                    <a:pt x="1009" y="495"/>
                  </a:lnTo>
                  <a:lnTo>
                    <a:pt x="1005" y="495"/>
                  </a:lnTo>
                  <a:lnTo>
                    <a:pt x="1009" y="491"/>
                  </a:lnTo>
                  <a:lnTo>
                    <a:pt x="1013" y="491"/>
                  </a:lnTo>
                  <a:lnTo>
                    <a:pt x="1017" y="487"/>
                  </a:lnTo>
                  <a:lnTo>
                    <a:pt x="1021" y="483"/>
                  </a:lnTo>
                  <a:lnTo>
                    <a:pt x="1025" y="479"/>
                  </a:lnTo>
                  <a:lnTo>
                    <a:pt x="1029" y="479"/>
                  </a:lnTo>
                  <a:lnTo>
                    <a:pt x="1029" y="475"/>
                  </a:lnTo>
                  <a:lnTo>
                    <a:pt x="1033" y="471"/>
                  </a:lnTo>
                  <a:lnTo>
                    <a:pt x="1037" y="471"/>
                  </a:lnTo>
                  <a:lnTo>
                    <a:pt x="1037" y="467"/>
                  </a:lnTo>
                  <a:lnTo>
                    <a:pt x="1041" y="467"/>
                  </a:lnTo>
                  <a:lnTo>
                    <a:pt x="1041" y="463"/>
                  </a:lnTo>
                  <a:lnTo>
                    <a:pt x="1037" y="463"/>
                  </a:lnTo>
                  <a:lnTo>
                    <a:pt x="1037" y="459"/>
                  </a:lnTo>
                  <a:lnTo>
                    <a:pt x="1037" y="455"/>
                  </a:lnTo>
                  <a:lnTo>
                    <a:pt x="1033" y="455"/>
                  </a:lnTo>
                  <a:lnTo>
                    <a:pt x="1033" y="451"/>
                  </a:lnTo>
                  <a:lnTo>
                    <a:pt x="1037" y="451"/>
                  </a:lnTo>
                  <a:lnTo>
                    <a:pt x="1033" y="451"/>
                  </a:lnTo>
                  <a:lnTo>
                    <a:pt x="1033" y="447"/>
                  </a:lnTo>
                  <a:lnTo>
                    <a:pt x="1029" y="447"/>
                  </a:lnTo>
                  <a:lnTo>
                    <a:pt x="1029" y="443"/>
                  </a:lnTo>
                  <a:lnTo>
                    <a:pt x="1029" y="439"/>
                  </a:lnTo>
                  <a:lnTo>
                    <a:pt x="1025" y="439"/>
                  </a:lnTo>
                  <a:lnTo>
                    <a:pt x="1021" y="439"/>
                  </a:lnTo>
                  <a:lnTo>
                    <a:pt x="1021" y="435"/>
                  </a:lnTo>
                  <a:lnTo>
                    <a:pt x="1025" y="435"/>
                  </a:lnTo>
                  <a:lnTo>
                    <a:pt x="1021" y="435"/>
                  </a:lnTo>
                  <a:lnTo>
                    <a:pt x="1021" y="439"/>
                  </a:lnTo>
                  <a:lnTo>
                    <a:pt x="1017" y="435"/>
                  </a:lnTo>
                  <a:lnTo>
                    <a:pt x="1017" y="431"/>
                  </a:lnTo>
                  <a:lnTo>
                    <a:pt x="1017" y="427"/>
                  </a:lnTo>
                  <a:lnTo>
                    <a:pt x="1013" y="427"/>
                  </a:lnTo>
                  <a:lnTo>
                    <a:pt x="1017" y="431"/>
                  </a:lnTo>
                  <a:lnTo>
                    <a:pt x="1013" y="431"/>
                  </a:lnTo>
                  <a:lnTo>
                    <a:pt x="1009" y="431"/>
                  </a:lnTo>
                  <a:lnTo>
                    <a:pt x="1005" y="427"/>
                  </a:lnTo>
                  <a:lnTo>
                    <a:pt x="1001" y="427"/>
                  </a:lnTo>
                  <a:lnTo>
                    <a:pt x="1001" y="423"/>
                  </a:lnTo>
                  <a:lnTo>
                    <a:pt x="1005" y="423"/>
                  </a:lnTo>
                  <a:lnTo>
                    <a:pt x="1001" y="423"/>
                  </a:lnTo>
                  <a:lnTo>
                    <a:pt x="1005" y="423"/>
                  </a:lnTo>
                  <a:lnTo>
                    <a:pt x="1001" y="423"/>
                  </a:lnTo>
                  <a:lnTo>
                    <a:pt x="1001" y="419"/>
                  </a:lnTo>
                  <a:lnTo>
                    <a:pt x="997" y="419"/>
                  </a:lnTo>
                  <a:lnTo>
                    <a:pt x="1001" y="419"/>
                  </a:lnTo>
                  <a:lnTo>
                    <a:pt x="1005" y="419"/>
                  </a:lnTo>
                  <a:lnTo>
                    <a:pt x="1005" y="415"/>
                  </a:lnTo>
                  <a:lnTo>
                    <a:pt x="1001" y="415"/>
                  </a:lnTo>
                  <a:lnTo>
                    <a:pt x="997" y="419"/>
                  </a:lnTo>
                  <a:lnTo>
                    <a:pt x="993" y="419"/>
                  </a:lnTo>
                  <a:lnTo>
                    <a:pt x="989" y="419"/>
                  </a:lnTo>
                  <a:lnTo>
                    <a:pt x="989" y="423"/>
                  </a:lnTo>
                  <a:lnTo>
                    <a:pt x="985" y="423"/>
                  </a:lnTo>
                  <a:lnTo>
                    <a:pt x="981" y="423"/>
                  </a:lnTo>
                  <a:lnTo>
                    <a:pt x="981" y="427"/>
                  </a:lnTo>
                  <a:lnTo>
                    <a:pt x="977" y="427"/>
                  </a:lnTo>
                  <a:lnTo>
                    <a:pt x="973" y="427"/>
                  </a:lnTo>
                  <a:lnTo>
                    <a:pt x="973" y="423"/>
                  </a:lnTo>
                  <a:lnTo>
                    <a:pt x="977" y="423"/>
                  </a:lnTo>
                  <a:lnTo>
                    <a:pt x="973" y="423"/>
                  </a:lnTo>
                  <a:lnTo>
                    <a:pt x="973" y="419"/>
                  </a:lnTo>
                  <a:lnTo>
                    <a:pt x="977" y="415"/>
                  </a:lnTo>
                  <a:lnTo>
                    <a:pt x="981" y="415"/>
                  </a:lnTo>
                  <a:lnTo>
                    <a:pt x="981" y="419"/>
                  </a:lnTo>
                  <a:lnTo>
                    <a:pt x="985" y="419"/>
                  </a:lnTo>
                  <a:lnTo>
                    <a:pt x="985" y="415"/>
                  </a:lnTo>
                  <a:lnTo>
                    <a:pt x="989" y="415"/>
                  </a:lnTo>
                  <a:lnTo>
                    <a:pt x="989" y="411"/>
                  </a:lnTo>
                  <a:lnTo>
                    <a:pt x="985" y="411"/>
                  </a:lnTo>
                  <a:lnTo>
                    <a:pt x="985" y="407"/>
                  </a:lnTo>
                  <a:lnTo>
                    <a:pt x="981" y="407"/>
                  </a:lnTo>
                  <a:lnTo>
                    <a:pt x="977" y="407"/>
                  </a:lnTo>
                  <a:lnTo>
                    <a:pt x="973" y="403"/>
                  </a:lnTo>
                  <a:lnTo>
                    <a:pt x="977" y="399"/>
                  </a:lnTo>
                  <a:lnTo>
                    <a:pt x="981" y="399"/>
                  </a:lnTo>
                  <a:lnTo>
                    <a:pt x="977" y="399"/>
                  </a:lnTo>
                  <a:lnTo>
                    <a:pt x="973" y="399"/>
                  </a:lnTo>
                  <a:lnTo>
                    <a:pt x="977" y="399"/>
                  </a:lnTo>
                  <a:lnTo>
                    <a:pt x="973" y="403"/>
                  </a:lnTo>
                  <a:lnTo>
                    <a:pt x="969" y="403"/>
                  </a:lnTo>
                  <a:lnTo>
                    <a:pt x="965" y="399"/>
                  </a:lnTo>
                  <a:lnTo>
                    <a:pt x="969" y="399"/>
                  </a:lnTo>
                  <a:lnTo>
                    <a:pt x="973" y="399"/>
                  </a:lnTo>
                  <a:lnTo>
                    <a:pt x="969" y="395"/>
                  </a:lnTo>
                  <a:lnTo>
                    <a:pt x="965" y="395"/>
                  </a:lnTo>
                  <a:lnTo>
                    <a:pt x="969" y="391"/>
                  </a:lnTo>
                  <a:lnTo>
                    <a:pt x="965" y="391"/>
                  </a:lnTo>
                  <a:lnTo>
                    <a:pt x="965" y="395"/>
                  </a:lnTo>
                  <a:lnTo>
                    <a:pt x="961" y="395"/>
                  </a:lnTo>
                  <a:lnTo>
                    <a:pt x="961" y="399"/>
                  </a:lnTo>
                  <a:lnTo>
                    <a:pt x="957" y="399"/>
                  </a:lnTo>
                  <a:lnTo>
                    <a:pt x="957" y="395"/>
                  </a:lnTo>
                  <a:lnTo>
                    <a:pt x="957" y="391"/>
                  </a:lnTo>
                  <a:lnTo>
                    <a:pt x="957" y="387"/>
                  </a:lnTo>
                  <a:lnTo>
                    <a:pt x="957" y="383"/>
                  </a:lnTo>
                  <a:lnTo>
                    <a:pt x="953" y="383"/>
                  </a:lnTo>
                  <a:lnTo>
                    <a:pt x="949" y="383"/>
                  </a:lnTo>
                  <a:lnTo>
                    <a:pt x="949" y="387"/>
                  </a:lnTo>
                  <a:lnTo>
                    <a:pt x="945" y="383"/>
                  </a:lnTo>
                  <a:lnTo>
                    <a:pt x="945" y="379"/>
                  </a:lnTo>
                  <a:lnTo>
                    <a:pt x="945" y="383"/>
                  </a:lnTo>
                  <a:lnTo>
                    <a:pt x="941" y="379"/>
                  </a:lnTo>
                  <a:lnTo>
                    <a:pt x="937" y="379"/>
                  </a:lnTo>
                  <a:lnTo>
                    <a:pt x="937" y="375"/>
                  </a:lnTo>
                  <a:lnTo>
                    <a:pt x="941" y="375"/>
                  </a:lnTo>
                  <a:lnTo>
                    <a:pt x="937" y="375"/>
                  </a:lnTo>
                  <a:lnTo>
                    <a:pt x="937" y="371"/>
                  </a:lnTo>
                  <a:lnTo>
                    <a:pt x="937" y="375"/>
                  </a:lnTo>
                  <a:lnTo>
                    <a:pt x="937" y="379"/>
                  </a:lnTo>
                  <a:lnTo>
                    <a:pt x="933" y="379"/>
                  </a:lnTo>
                  <a:lnTo>
                    <a:pt x="929" y="379"/>
                  </a:lnTo>
                  <a:lnTo>
                    <a:pt x="933" y="379"/>
                  </a:lnTo>
                  <a:lnTo>
                    <a:pt x="933" y="383"/>
                  </a:lnTo>
                  <a:lnTo>
                    <a:pt x="937" y="383"/>
                  </a:lnTo>
                  <a:lnTo>
                    <a:pt x="941" y="383"/>
                  </a:lnTo>
                  <a:lnTo>
                    <a:pt x="941" y="387"/>
                  </a:lnTo>
                  <a:lnTo>
                    <a:pt x="941" y="391"/>
                  </a:lnTo>
                  <a:lnTo>
                    <a:pt x="941" y="395"/>
                  </a:lnTo>
                  <a:lnTo>
                    <a:pt x="937" y="395"/>
                  </a:lnTo>
                  <a:lnTo>
                    <a:pt x="933" y="395"/>
                  </a:lnTo>
                  <a:lnTo>
                    <a:pt x="929" y="395"/>
                  </a:lnTo>
                  <a:lnTo>
                    <a:pt x="925" y="395"/>
                  </a:lnTo>
                  <a:lnTo>
                    <a:pt x="925" y="391"/>
                  </a:lnTo>
                  <a:lnTo>
                    <a:pt x="921" y="391"/>
                  </a:lnTo>
                  <a:lnTo>
                    <a:pt x="917" y="391"/>
                  </a:lnTo>
                  <a:lnTo>
                    <a:pt x="913" y="391"/>
                  </a:lnTo>
                  <a:lnTo>
                    <a:pt x="909" y="391"/>
                  </a:lnTo>
                  <a:lnTo>
                    <a:pt x="909" y="387"/>
                  </a:lnTo>
                  <a:lnTo>
                    <a:pt x="905" y="387"/>
                  </a:lnTo>
                  <a:lnTo>
                    <a:pt x="901" y="387"/>
                  </a:lnTo>
                  <a:lnTo>
                    <a:pt x="897" y="387"/>
                  </a:lnTo>
                  <a:lnTo>
                    <a:pt x="897" y="391"/>
                  </a:lnTo>
                  <a:lnTo>
                    <a:pt x="901" y="391"/>
                  </a:lnTo>
                  <a:lnTo>
                    <a:pt x="905" y="391"/>
                  </a:lnTo>
                  <a:lnTo>
                    <a:pt x="905" y="395"/>
                  </a:lnTo>
                  <a:lnTo>
                    <a:pt x="909" y="395"/>
                  </a:lnTo>
                  <a:lnTo>
                    <a:pt x="913" y="399"/>
                  </a:lnTo>
                  <a:lnTo>
                    <a:pt x="909" y="399"/>
                  </a:lnTo>
                  <a:lnTo>
                    <a:pt x="905" y="399"/>
                  </a:lnTo>
                  <a:lnTo>
                    <a:pt x="905" y="395"/>
                  </a:lnTo>
                  <a:lnTo>
                    <a:pt x="901" y="395"/>
                  </a:lnTo>
                  <a:lnTo>
                    <a:pt x="901" y="391"/>
                  </a:lnTo>
                  <a:lnTo>
                    <a:pt x="897" y="391"/>
                  </a:lnTo>
                  <a:lnTo>
                    <a:pt x="893" y="391"/>
                  </a:lnTo>
                  <a:lnTo>
                    <a:pt x="893" y="387"/>
                  </a:lnTo>
                  <a:lnTo>
                    <a:pt x="889" y="387"/>
                  </a:lnTo>
                  <a:lnTo>
                    <a:pt x="885" y="387"/>
                  </a:lnTo>
                  <a:lnTo>
                    <a:pt x="881" y="383"/>
                  </a:lnTo>
                  <a:lnTo>
                    <a:pt x="877" y="383"/>
                  </a:lnTo>
                  <a:lnTo>
                    <a:pt x="881" y="383"/>
                  </a:lnTo>
                  <a:lnTo>
                    <a:pt x="881" y="387"/>
                  </a:lnTo>
                  <a:lnTo>
                    <a:pt x="885" y="387"/>
                  </a:lnTo>
                  <a:lnTo>
                    <a:pt x="889" y="387"/>
                  </a:lnTo>
                  <a:lnTo>
                    <a:pt x="893" y="391"/>
                  </a:lnTo>
                  <a:lnTo>
                    <a:pt x="897" y="391"/>
                  </a:lnTo>
                  <a:lnTo>
                    <a:pt x="897" y="395"/>
                  </a:lnTo>
                  <a:lnTo>
                    <a:pt x="893" y="395"/>
                  </a:lnTo>
                  <a:lnTo>
                    <a:pt x="889" y="395"/>
                  </a:lnTo>
                  <a:lnTo>
                    <a:pt x="885" y="395"/>
                  </a:lnTo>
                  <a:lnTo>
                    <a:pt x="881" y="395"/>
                  </a:lnTo>
                  <a:lnTo>
                    <a:pt x="877" y="391"/>
                  </a:lnTo>
                  <a:lnTo>
                    <a:pt x="873" y="391"/>
                  </a:lnTo>
                  <a:lnTo>
                    <a:pt x="869" y="391"/>
                  </a:lnTo>
                  <a:lnTo>
                    <a:pt x="865" y="391"/>
                  </a:lnTo>
                  <a:lnTo>
                    <a:pt x="861" y="391"/>
                  </a:lnTo>
                  <a:lnTo>
                    <a:pt x="857" y="391"/>
                  </a:lnTo>
                  <a:lnTo>
                    <a:pt x="853" y="391"/>
                  </a:lnTo>
                  <a:lnTo>
                    <a:pt x="849" y="391"/>
                  </a:lnTo>
                  <a:lnTo>
                    <a:pt x="845" y="387"/>
                  </a:lnTo>
                  <a:lnTo>
                    <a:pt x="841" y="387"/>
                  </a:lnTo>
                  <a:lnTo>
                    <a:pt x="837" y="387"/>
                  </a:lnTo>
                  <a:lnTo>
                    <a:pt x="833" y="387"/>
                  </a:lnTo>
                  <a:lnTo>
                    <a:pt x="833" y="391"/>
                  </a:lnTo>
                  <a:lnTo>
                    <a:pt x="837" y="387"/>
                  </a:lnTo>
                  <a:lnTo>
                    <a:pt x="841" y="391"/>
                  </a:lnTo>
                  <a:lnTo>
                    <a:pt x="845" y="391"/>
                  </a:lnTo>
                  <a:lnTo>
                    <a:pt x="841" y="391"/>
                  </a:lnTo>
                  <a:lnTo>
                    <a:pt x="837" y="391"/>
                  </a:lnTo>
                  <a:lnTo>
                    <a:pt x="833" y="391"/>
                  </a:lnTo>
                  <a:lnTo>
                    <a:pt x="829" y="391"/>
                  </a:lnTo>
                  <a:lnTo>
                    <a:pt x="829" y="387"/>
                  </a:lnTo>
                  <a:lnTo>
                    <a:pt x="825" y="387"/>
                  </a:lnTo>
                  <a:lnTo>
                    <a:pt x="825" y="383"/>
                  </a:lnTo>
                  <a:lnTo>
                    <a:pt x="821" y="379"/>
                  </a:lnTo>
                  <a:lnTo>
                    <a:pt x="825" y="379"/>
                  </a:lnTo>
                  <a:lnTo>
                    <a:pt x="829" y="379"/>
                  </a:lnTo>
                  <a:lnTo>
                    <a:pt x="825" y="379"/>
                  </a:lnTo>
                  <a:lnTo>
                    <a:pt x="825" y="375"/>
                  </a:lnTo>
                  <a:lnTo>
                    <a:pt x="825" y="379"/>
                  </a:lnTo>
                  <a:lnTo>
                    <a:pt x="821" y="379"/>
                  </a:lnTo>
                  <a:lnTo>
                    <a:pt x="821" y="383"/>
                  </a:lnTo>
                  <a:lnTo>
                    <a:pt x="817" y="383"/>
                  </a:lnTo>
                  <a:lnTo>
                    <a:pt x="817" y="379"/>
                  </a:lnTo>
                  <a:lnTo>
                    <a:pt x="813" y="379"/>
                  </a:lnTo>
                  <a:lnTo>
                    <a:pt x="817" y="379"/>
                  </a:lnTo>
                  <a:lnTo>
                    <a:pt x="817" y="383"/>
                  </a:lnTo>
                  <a:lnTo>
                    <a:pt x="813" y="383"/>
                  </a:lnTo>
                  <a:lnTo>
                    <a:pt x="809" y="383"/>
                  </a:lnTo>
                  <a:lnTo>
                    <a:pt x="805" y="383"/>
                  </a:lnTo>
                  <a:lnTo>
                    <a:pt x="809" y="383"/>
                  </a:lnTo>
                  <a:lnTo>
                    <a:pt x="805" y="383"/>
                  </a:lnTo>
                  <a:lnTo>
                    <a:pt x="801" y="383"/>
                  </a:lnTo>
                  <a:lnTo>
                    <a:pt x="797" y="383"/>
                  </a:lnTo>
                  <a:lnTo>
                    <a:pt x="801" y="383"/>
                  </a:lnTo>
                  <a:lnTo>
                    <a:pt x="801" y="379"/>
                  </a:lnTo>
                  <a:lnTo>
                    <a:pt x="797" y="379"/>
                  </a:lnTo>
                  <a:lnTo>
                    <a:pt x="794" y="379"/>
                  </a:lnTo>
                  <a:lnTo>
                    <a:pt x="790" y="379"/>
                  </a:lnTo>
                  <a:lnTo>
                    <a:pt x="790" y="375"/>
                  </a:lnTo>
                  <a:lnTo>
                    <a:pt x="786" y="375"/>
                  </a:lnTo>
                  <a:lnTo>
                    <a:pt x="786" y="371"/>
                  </a:lnTo>
                  <a:lnTo>
                    <a:pt x="782" y="371"/>
                  </a:lnTo>
                  <a:lnTo>
                    <a:pt x="782" y="367"/>
                  </a:lnTo>
                  <a:lnTo>
                    <a:pt x="786" y="363"/>
                  </a:lnTo>
                  <a:lnTo>
                    <a:pt x="782" y="363"/>
                  </a:lnTo>
                  <a:lnTo>
                    <a:pt x="778" y="363"/>
                  </a:lnTo>
                  <a:lnTo>
                    <a:pt x="778" y="359"/>
                  </a:lnTo>
                  <a:lnTo>
                    <a:pt x="782" y="363"/>
                  </a:lnTo>
                  <a:lnTo>
                    <a:pt x="786" y="363"/>
                  </a:lnTo>
                  <a:lnTo>
                    <a:pt x="790" y="363"/>
                  </a:lnTo>
                  <a:lnTo>
                    <a:pt x="794" y="363"/>
                  </a:lnTo>
                  <a:lnTo>
                    <a:pt x="797" y="363"/>
                  </a:lnTo>
                  <a:lnTo>
                    <a:pt x="801" y="367"/>
                  </a:lnTo>
                  <a:lnTo>
                    <a:pt x="805" y="363"/>
                  </a:lnTo>
                  <a:lnTo>
                    <a:pt x="809" y="363"/>
                  </a:lnTo>
                  <a:lnTo>
                    <a:pt x="813" y="363"/>
                  </a:lnTo>
                  <a:lnTo>
                    <a:pt x="817" y="363"/>
                  </a:lnTo>
                  <a:lnTo>
                    <a:pt x="813" y="363"/>
                  </a:lnTo>
                  <a:lnTo>
                    <a:pt x="809" y="363"/>
                  </a:lnTo>
                  <a:lnTo>
                    <a:pt x="809" y="359"/>
                  </a:lnTo>
                  <a:lnTo>
                    <a:pt x="805" y="359"/>
                  </a:lnTo>
                  <a:lnTo>
                    <a:pt x="805" y="355"/>
                  </a:lnTo>
                  <a:lnTo>
                    <a:pt x="801" y="355"/>
                  </a:lnTo>
                  <a:lnTo>
                    <a:pt x="801" y="359"/>
                  </a:lnTo>
                  <a:lnTo>
                    <a:pt x="797" y="355"/>
                  </a:lnTo>
                  <a:lnTo>
                    <a:pt x="794" y="355"/>
                  </a:lnTo>
                  <a:lnTo>
                    <a:pt x="790" y="355"/>
                  </a:lnTo>
                  <a:lnTo>
                    <a:pt x="786" y="355"/>
                  </a:lnTo>
                  <a:lnTo>
                    <a:pt x="782" y="355"/>
                  </a:lnTo>
                  <a:lnTo>
                    <a:pt x="778" y="355"/>
                  </a:lnTo>
                  <a:lnTo>
                    <a:pt x="774" y="355"/>
                  </a:lnTo>
                  <a:lnTo>
                    <a:pt x="774" y="351"/>
                  </a:lnTo>
                  <a:lnTo>
                    <a:pt x="770" y="347"/>
                  </a:lnTo>
                  <a:lnTo>
                    <a:pt x="774" y="347"/>
                  </a:lnTo>
                  <a:lnTo>
                    <a:pt x="774" y="343"/>
                  </a:lnTo>
                  <a:lnTo>
                    <a:pt x="774" y="339"/>
                  </a:lnTo>
                  <a:lnTo>
                    <a:pt x="770" y="339"/>
                  </a:lnTo>
                  <a:lnTo>
                    <a:pt x="770" y="335"/>
                  </a:lnTo>
                  <a:lnTo>
                    <a:pt x="774" y="335"/>
                  </a:lnTo>
                  <a:lnTo>
                    <a:pt x="774" y="331"/>
                  </a:lnTo>
                  <a:lnTo>
                    <a:pt x="778" y="331"/>
                  </a:lnTo>
                  <a:lnTo>
                    <a:pt x="774" y="331"/>
                  </a:lnTo>
                  <a:lnTo>
                    <a:pt x="774" y="327"/>
                  </a:lnTo>
                  <a:lnTo>
                    <a:pt x="774" y="323"/>
                  </a:lnTo>
                  <a:lnTo>
                    <a:pt x="774" y="319"/>
                  </a:lnTo>
                  <a:lnTo>
                    <a:pt x="778" y="319"/>
                  </a:lnTo>
                  <a:lnTo>
                    <a:pt x="778" y="315"/>
                  </a:lnTo>
                  <a:lnTo>
                    <a:pt x="782" y="315"/>
                  </a:lnTo>
                  <a:lnTo>
                    <a:pt x="782" y="307"/>
                  </a:lnTo>
                  <a:lnTo>
                    <a:pt x="782" y="303"/>
                  </a:lnTo>
                  <a:lnTo>
                    <a:pt x="786" y="299"/>
                  </a:lnTo>
                  <a:lnTo>
                    <a:pt x="790" y="299"/>
                  </a:lnTo>
                  <a:lnTo>
                    <a:pt x="790" y="295"/>
                  </a:lnTo>
                  <a:lnTo>
                    <a:pt x="794" y="295"/>
                  </a:lnTo>
                  <a:lnTo>
                    <a:pt x="794" y="291"/>
                  </a:lnTo>
                  <a:lnTo>
                    <a:pt x="797" y="291"/>
                  </a:lnTo>
                  <a:lnTo>
                    <a:pt x="801" y="291"/>
                  </a:lnTo>
                  <a:lnTo>
                    <a:pt x="801" y="287"/>
                  </a:lnTo>
                  <a:lnTo>
                    <a:pt x="805" y="287"/>
                  </a:lnTo>
                  <a:lnTo>
                    <a:pt x="809" y="287"/>
                  </a:lnTo>
                  <a:lnTo>
                    <a:pt x="813" y="283"/>
                  </a:lnTo>
                  <a:lnTo>
                    <a:pt x="817" y="283"/>
                  </a:lnTo>
                  <a:lnTo>
                    <a:pt x="821" y="283"/>
                  </a:lnTo>
                  <a:lnTo>
                    <a:pt x="825" y="283"/>
                  </a:lnTo>
                  <a:lnTo>
                    <a:pt x="829" y="283"/>
                  </a:lnTo>
                  <a:lnTo>
                    <a:pt x="837" y="283"/>
                  </a:lnTo>
                  <a:lnTo>
                    <a:pt x="841" y="283"/>
                  </a:lnTo>
                  <a:lnTo>
                    <a:pt x="845" y="283"/>
                  </a:lnTo>
                  <a:lnTo>
                    <a:pt x="849" y="287"/>
                  </a:lnTo>
                  <a:lnTo>
                    <a:pt x="845" y="287"/>
                  </a:lnTo>
                  <a:lnTo>
                    <a:pt x="841" y="291"/>
                  </a:lnTo>
                  <a:lnTo>
                    <a:pt x="837" y="295"/>
                  </a:lnTo>
                  <a:lnTo>
                    <a:pt x="833" y="295"/>
                  </a:lnTo>
                  <a:lnTo>
                    <a:pt x="833" y="299"/>
                  </a:lnTo>
                  <a:lnTo>
                    <a:pt x="829" y="299"/>
                  </a:lnTo>
                  <a:lnTo>
                    <a:pt x="829" y="303"/>
                  </a:lnTo>
                  <a:lnTo>
                    <a:pt x="829" y="307"/>
                  </a:lnTo>
                  <a:lnTo>
                    <a:pt x="825" y="307"/>
                  </a:lnTo>
                  <a:lnTo>
                    <a:pt x="821" y="311"/>
                  </a:lnTo>
                  <a:lnTo>
                    <a:pt x="821" y="315"/>
                  </a:lnTo>
                  <a:lnTo>
                    <a:pt x="821" y="319"/>
                  </a:lnTo>
                  <a:lnTo>
                    <a:pt x="825" y="319"/>
                  </a:lnTo>
                  <a:lnTo>
                    <a:pt x="825" y="323"/>
                  </a:lnTo>
                  <a:lnTo>
                    <a:pt x="829" y="323"/>
                  </a:lnTo>
                  <a:lnTo>
                    <a:pt x="825" y="327"/>
                  </a:lnTo>
                  <a:lnTo>
                    <a:pt x="825" y="331"/>
                  </a:lnTo>
                  <a:lnTo>
                    <a:pt x="825" y="335"/>
                  </a:lnTo>
                  <a:lnTo>
                    <a:pt x="829" y="339"/>
                  </a:lnTo>
                  <a:lnTo>
                    <a:pt x="829" y="343"/>
                  </a:lnTo>
                  <a:lnTo>
                    <a:pt x="833" y="343"/>
                  </a:lnTo>
                  <a:lnTo>
                    <a:pt x="841" y="351"/>
                  </a:lnTo>
                  <a:lnTo>
                    <a:pt x="845" y="351"/>
                  </a:lnTo>
                  <a:lnTo>
                    <a:pt x="849" y="351"/>
                  </a:lnTo>
                  <a:lnTo>
                    <a:pt x="849" y="355"/>
                  </a:lnTo>
                  <a:lnTo>
                    <a:pt x="845" y="355"/>
                  </a:lnTo>
                  <a:lnTo>
                    <a:pt x="841" y="359"/>
                  </a:lnTo>
                  <a:lnTo>
                    <a:pt x="837" y="359"/>
                  </a:lnTo>
                  <a:lnTo>
                    <a:pt x="833" y="359"/>
                  </a:lnTo>
                  <a:lnTo>
                    <a:pt x="829" y="359"/>
                  </a:lnTo>
                  <a:lnTo>
                    <a:pt x="829" y="363"/>
                  </a:lnTo>
                  <a:lnTo>
                    <a:pt x="825" y="363"/>
                  </a:lnTo>
                  <a:lnTo>
                    <a:pt x="821" y="363"/>
                  </a:lnTo>
                  <a:lnTo>
                    <a:pt x="825" y="363"/>
                  </a:lnTo>
                  <a:lnTo>
                    <a:pt x="829" y="363"/>
                  </a:lnTo>
                  <a:lnTo>
                    <a:pt x="833" y="363"/>
                  </a:lnTo>
                  <a:lnTo>
                    <a:pt x="833" y="359"/>
                  </a:lnTo>
                  <a:lnTo>
                    <a:pt x="837" y="359"/>
                  </a:lnTo>
                  <a:lnTo>
                    <a:pt x="841" y="359"/>
                  </a:lnTo>
                  <a:lnTo>
                    <a:pt x="845" y="359"/>
                  </a:lnTo>
                  <a:lnTo>
                    <a:pt x="849" y="359"/>
                  </a:lnTo>
                  <a:lnTo>
                    <a:pt x="849" y="363"/>
                  </a:lnTo>
                  <a:lnTo>
                    <a:pt x="849" y="359"/>
                  </a:lnTo>
                  <a:lnTo>
                    <a:pt x="845" y="359"/>
                  </a:lnTo>
                  <a:lnTo>
                    <a:pt x="845" y="363"/>
                  </a:lnTo>
                  <a:lnTo>
                    <a:pt x="849" y="363"/>
                  </a:lnTo>
                  <a:lnTo>
                    <a:pt x="849" y="367"/>
                  </a:lnTo>
                  <a:lnTo>
                    <a:pt x="849" y="363"/>
                  </a:lnTo>
                  <a:lnTo>
                    <a:pt x="849" y="359"/>
                  </a:lnTo>
                  <a:lnTo>
                    <a:pt x="849" y="355"/>
                  </a:lnTo>
                  <a:lnTo>
                    <a:pt x="849" y="351"/>
                  </a:lnTo>
                  <a:lnTo>
                    <a:pt x="853" y="351"/>
                  </a:lnTo>
                  <a:lnTo>
                    <a:pt x="853" y="347"/>
                  </a:lnTo>
                  <a:lnTo>
                    <a:pt x="853" y="343"/>
                  </a:lnTo>
                  <a:lnTo>
                    <a:pt x="849" y="343"/>
                  </a:lnTo>
                  <a:lnTo>
                    <a:pt x="849" y="347"/>
                  </a:lnTo>
                  <a:lnTo>
                    <a:pt x="845" y="347"/>
                  </a:lnTo>
                  <a:lnTo>
                    <a:pt x="845" y="343"/>
                  </a:lnTo>
                  <a:lnTo>
                    <a:pt x="841" y="343"/>
                  </a:lnTo>
                  <a:lnTo>
                    <a:pt x="837" y="343"/>
                  </a:lnTo>
                  <a:lnTo>
                    <a:pt x="841" y="343"/>
                  </a:lnTo>
                  <a:lnTo>
                    <a:pt x="841" y="339"/>
                  </a:lnTo>
                  <a:lnTo>
                    <a:pt x="837" y="339"/>
                  </a:lnTo>
                  <a:lnTo>
                    <a:pt x="833" y="335"/>
                  </a:lnTo>
                  <a:lnTo>
                    <a:pt x="829" y="335"/>
                  </a:lnTo>
                  <a:lnTo>
                    <a:pt x="833" y="335"/>
                  </a:lnTo>
                  <a:lnTo>
                    <a:pt x="837" y="335"/>
                  </a:lnTo>
                  <a:lnTo>
                    <a:pt x="841" y="335"/>
                  </a:lnTo>
                  <a:lnTo>
                    <a:pt x="841" y="331"/>
                  </a:lnTo>
                  <a:lnTo>
                    <a:pt x="841" y="327"/>
                  </a:lnTo>
                  <a:lnTo>
                    <a:pt x="845" y="327"/>
                  </a:lnTo>
                  <a:lnTo>
                    <a:pt x="849" y="327"/>
                  </a:lnTo>
                  <a:lnTo>
                    <a:pt x="849" y="331"/>
                  </a:lnTo>
                  <a:lnTo>
                    <a:pt x="853" y="331"/>
                  </a:lnTo>
                  <a:lnTo>
                    <a:pt x="857" y="335"/>
                  </a:lnTo>
                  <a:lnTo>
                    <a:pt x="857" y="339"/>
                  </a:lnTo>
                  <a:lnTo>
                    <a:pt x="861" y="339"/>
                  </a:lnTo>
                  <a:lnTo>
                    <a:pt x="861" y="335"/>
                  </a:lnTo>
                  <a:lnTo>
                    <a:pt x="857" y="335"/>
                  </a:lnTo>
                  <a:lnTo>
                    <a:pt x="857" y="331"/>
                  </a:lnTo>
                  <a:lnTo>
                    <a:pt x="853" y="331"/>
                  </a:lnTo>
                  <a:lnTo>
                    <a:pt x="849" y="331"/>
                  </a:lnTo>
                  <a:lnTo>
                    <a:pt x="849" y="327"/>
                  </a:lnTo>
                  <a:lnTo>
                    <a:pt x="853" y="327"/>
                  </a:lnTo>
                  <a:lnTo>
                    <a:pt x="857" y="323"/>
                  </a:lnTo>
                  <a:lnTo>
                    <a:pt x="853" y="323"/>
                  </a:lnTo>
                  <a:lnTo>
                    <a:pt x="853" y="327"/>
                  </a:lnTo>
                  <a:lnTo>
                    <a:pt x="849" y="327"/>
                  </a:lnTo>
                  <a:lnTo>
                    <a:pt x="849" y="323"/>
                  </a:lnTo>
                  <a:lnTo>
                    <a:pt x="845" y="323"/>
                  </a:lnTo>
                  <a:lnTo>
                    <a:pt x="845" y="327"/>
                  </a:lnTo>
                  <a:lnTo>
                    <a:pt x="841" y="323"/>
                  </a:lnTo>
                  <a:lnTo>
                    <a:pt x="837" y="323"/>
                  </a:lnTo>
                  <a:lnTo>
                    <a:pt x="837" y="319"/>
                  </a:lnTo>
                  <a:lnTo>
                    <a:pt x="841" y="319"/>
                  </a:lnTo>
                  <a:lnTo>
                    <a:pt x="837" y="319"/>
                  </a:lnTo>
                  <a:lnTo>
                    <a:pt x="837" y="315"/>
                  </a:lnTo>
                  <a:lnTo>
                    <a:pt x="837" y="311"/>
                  </a:lnTo>
                  <a:lnTo>
                    <a:pt x="837" y="307"/>
                  </a:lnTo>
                  <a:lnTo>
                    <a:pt x="841" y="307"/>
                  </a:lnTo>
                  <a:lnTo>
                    <a:pt x="845" y="311"/>
                  </a:lnTo>
                  <a:lnTo>
                    <a:pt x="849" y="311"/>
                  </a:lnTo>
                  <a:lnTo>
                    <a:pt x="853" y="311"/>
                  </a:lnTo>
                  <a:lnTo>
                    <a:pt x="857" y="311"/>
                  </a:lnTo>
                  <a:lnTo>
                    <a:pt x="857" y="315"/>
                  </a:lnTo>
                  <a:lnTo>
                    <a:pt x="861" y="315"/>
                  </a:lnTo>
                  <a:lnTo>
                    <a:pt x="857" y="315"/>
                  </a:lnTo>
                  <a:lnTo>
                    <a:pt x="857" y="311"/>
                  </a:lnTo>
                  <a:lnTo>
                    <a:pt x="853" y="311"/>
                  </a:lnTo>
                  <a:lnTo>
                    <a:pt x="849" y="311"/>
                  </a:lnTo>
                  <a:lnTo>
                    <a:pt x="849" y="307"/>
                  </a:lnTo>
                  <a:lnTo>
                    <a:pt x="845" y="307"/>
                  </a:lnTo>
                  <a:lnTo>
                    <a:pt x="837" y="307"/>
                  </a:lnTo>
                  <a:lnTo>
                    <a:pt x="841" y="303"/>
                  </a:lnTo>
                  <a:lnTo>
                    <a:pt x="841" y="307"/>
                  </a:lnTo>
                  <a:lnTo>
                    <a:pt x="845" y="307"/>
                  </a:lnTo>
                  <a:lnTo>
                    <a:pt x="845" y="303"/>
                  </a:lnTo>
                  <a:lnTo>
                    <a:pt x="849" y="303"/>
                  </a:lnTo>
                  <a:lnTo>
                    <a:pt x="849" y="307"/>
                  </a:lnTo>
                  <a:lnTo>
                    <a:pt x="853" y="307"/>
                  </a:lnTo>
                  <a:lnTo>
                    <a:pt x="857" y="307"/>
                  </a:lnTo>
                  <a:lnTo>
                    <a:pt x="861" y="307"/>
                  </a:lnTo>
                  <a:lnTo>
                    <a:pt x="865" y="307"/>
                  </a:lnTo>
                  <a:lnTo>
                    <a:pt x="869" y="307"/>
                  </a:lnTo>
                  <a:lnTo>
                    <a:pt x="865" y="307"/>
                  </a:lnTo>
                  <a:lnTo>
                    <a:pt x="861" y="307"/>
                  </a:lnTo>
                  <a:lnTo>
                    <a:pt x="857" y="307"/>
                  </a:lnTo>
                  <a:lnTo>
                    <a:pt x="857" y="303"/>
                  </a:lnTo>
                  <a:lnTo>
                    <a:pt x="853" y="303"/>
                  </a:lnTo>
                  <a:lnTo>
                    <a:pt x="849" y="303"/>
                  </a:lnTo>
                  <a:lnTo>
                    <a:pt x="845" y="303"/>
                  </a:lnTo>
                  <a:lnTo>
                    <a:pt x="845" y="299"/>
                  </a:lnTo>
                  <a:lnTo>
                    <a:pt x="849" y="299"/>
                  </a:lnTo>
                  <a:lnTo>
                    <a:pt x="849" y="295"/>
                  </a:lnTo>
                  <a:lnTo>
                    <a:pt x="853" y="299"/>
                  </a:lnTo>
                  <a:lnTo>
                    <a:pt x="857" y="299"/>
                  </a:lnTo>
                  <a:lnTo>
                    <a:pt x="853" y="299"/>
                  </a:lnTo>
                  <a:lnTo>
                    <a:pt x="853" y="295"/>
                  </a:lnTo>
                  <a:lnTo>
                    <a:pt x="857" y="295"/>
                  </a:lnTo>
                  <a:lnTo>
                    <a:pt x="861" y="295"/>
                  </a:lnTo>
                  <a:lnTo>
                    <a:pt x="865" y="295"/>
                  </a:lnTo>
                  <a:lnTo>
                    <a:pt x="865" y="299"/>
                  </a:lnTo>
                  <a:lnTo>
                    <a:pt x="869" y="299"/>
                  </a:lnTo>
                  <a:lnTo>
                    <a:pt x="869" y="295"/>
                  </a:lnTo>
                  <a:lnTo>
                    <a:pt x="865" y="295"/>
                  </a:lnTo>
                  <a:lnTo>
                    <a:pt x="861" y="295"/>
                  </a:lnTo>
                  <a:lnTo>
                    <a:pt x="861" y="291"/>
                  </a:lnTo>
                  <a:lnTo>
                    <a:pt x="865" y="291"/>
                  </a:lnTo>
                  <a:lnTo>
                    <a:pt x="869" y="291"/>
                  </a:lnTo>
                  <a:lnTo>
                    <a:pt x="873" y="287"/>
                  </a:lnTo>
                  <a:lnTo>
                    <a:pt x="877" y="287"/>
                  </a:lnTo>
                  <a:lnTo>
                    <a:pt x="881" y="287"/>
                  </a:lnTo>
                  <a:lnTo>
                    <a:pt x="885" y="287"/>
                  </a:lnTo>
                  <a:lnTo>
                    <a:pt x="889" y="287"/>
                  </a:lnTo>
                  <a:lnTo>
                    <a:pt x="893" y="287"/>
                  </a:lnTo>
                  <a:lnTo>
                    <a:pt x="897" y="287"/>
                  </a:lnTo>
                  <a:lnTo>
                    <a:pt x="901" y="287"/>
                  </a:lnTo>
                  <a:lnTo>
                    <a:pt x="905" y="291"/>
                  </a:lnTo>
                  <a:lnTo>
                    <a:pt x="905" y="295"/>
                  </a:lnTo>
                  <a:lnTo>
                    <a:pt x="905" y="299"/>
                  </a:lnTo>
                  <a:lnTo>
                    <a:pt x="909" y="303"/>
                  </a:lnTo>
                  <a:lnTo>
                    <a:pt x="913" y="303"/>
                  </a:lnTo>
                  <a:lnTo>
                    <a:pt x="913" y="307"/>
                  </a:lnTo>
                  <a:lnTo>
                    <a:pt x="913" y="311"/>
                  </a:lnTo>
                  <a:lnTo>
                    <a:pt x="917" y="311"/>
                  </a:lnTo>
                  <a:lnTo>
                    <a:pt x="917" y="315"/>
                  </a:lnTo>
                  <a:lnTo>
                    <a:pt x="913" y="319"/>
                  </a:lnTo>
                  <a:lnTo>
                    <a:pt x="909" y="323"/>
                  </a:lnTo>
                  <a:lnTo>
                    <a:pt x="905" y="327"/>
                  </a:lnTo>
                  <a:lnTo>
                    <a:pt x="901" y="327"/>
                  </a:lnTo>
                  <a:lnTo>
                    <a:pt x="905" y="327"/>
                  </a:lnTo>
                  <a:lnTo>
                    <a:pt x="909" y="323"/>
                  </a:lnTo>
                  <a:lnTo>
                    <a:pt x="913" y="323"/>
                  </a:lnTo>
                  <a:lnTo>
                    <a:pt x="917" y="323"/>
                  </a:lnTo>
                  <a:lnTo>
                    <a:pt x="913" y="323"/>
                  </a:lnTo>
                  <a:lnTo>
                    <a:pt x="913" y="327"/>
                  </a:lnTo>
                  <a:lnTo>
                    <a:pt x="909" y="327"/>
                  </a:lnTo>
                  <a:lnTo>
                    <a:pt x="909" y="331"/>
                  </a:lnTo>
                  <a:lnTo>
                    <a:pt x="913" y="331"/>
                  </a:lnTo>
                  <a:lnTo>
                    <a:pt x="913" y="335"/>
                  </a:lnTo>
                  <a:lnTo>
                    <a:pt x="913" y="331"/>
                  </a:lnTo>
                  <a:lnTo>
                    <a:pt x="909" y="335"/>
                  </a:lnTo>
                  <a:lnTo>
                    <a:pt x="905" y="335"/>
                  </a:lnTo>
                  <a:lnTo>
                    <a:pt x="909" y="335"/>
                  </a:lnTo>
                  <a:lnTo>
                    <a:pt x="909" y="339"/>
                  </a:lnTo>
                  <a:lnTo>
                    <a:pt x="913" y="339"/>
                  </a:lnTo>
                  <a:lnTo>
                    <a:pt x="913" y="335"/>
                  </a:lnTo>
                  <a:lnTo>
                    <a:pt x="917" y="335"/>
                  </a:lnTo>
                  <a:lnTo>
                    <a:pt x="917" y="331"/>
                  </a:lnTo>
                  <a:lnTo>
                    <a:pt x="921" y="331"/>
                  </a:lnTo>
                  <a:lnTo>
                    <a:pt x="917" y="331"/>
                  </a:lnTo>
                  <a:lnTo>
                    <a:pt x="917" y="327"/>
                  </a:lnTo>
                  <a:lnTo>
                    <a:pt x="921" y="327"/>
                  </a:lnTo>
                  <a:lnTo>
                    <a:pt x="921" y="331"/>
                  </a:lnTo>
                  <a:lnTo>
                    <a:pt x="925" y="331"/>
                  </a:lnTo>
                  <a:lnTo>
                    <a:pt x="929" y="331"/>
                  </a:lnTo>
                  <a:lnTo>
                    <a:pt x="925" y="331"/>
                  </a:lnTo>
                  <a:lnTo>
                    <a:pt x="921" y="327"/>
                  </a:lnTo>
                  <a:lnTo>
                    <a:pt x="921" y="323"/>
                  </a:lnTo>
                  <a:lnTo>
                    <a:pt x="925" y="323"/>
                  </a:lnTo>
                  <a:lnTo>
                    <a:pt x="929" y="323"/>
                  </a:lnTo>
                  <a:lnTo>
                    <a:pt x="925" y="323"/>
                  </a:lnTo>
                  <a:lnTo>
                    <a:pt x="929" y="323"/>
                  </a:lnTo>
                  <a:lnTo>
                    <a:pt x="929" y="327"/>
                  </a:lnTo>
                  <a:lnTo>
                    <a:pt x="925" y="327"/>
                  </a:lnTo>
                  <a:lnTo>
                    <a:pt x="925" y="331"/>
                  </a:lnTo>
                  <a:lnTo>
                    <a:pt x="929" y="331"/>
                  </a:lnTo>
                  <a:lnTo>
                    <a:pt x="929" y="327"/>
                  </a:lnTo>
                  <a:lnTo>
                    <a:pt x="933" y="323"/>
                  </a:lnTo>
                  <a:lnTo>
                    <a:pt x="937" y="327"/>
                  </a:lnTo>
                  <a:lnTo>
                    <a:pt x="937" y="331"/>
                  </a:lnTo>
                  <a:lnTo>
                    <a:pt x="937" y="335"/>
                  </a:lnTo>
                  <a:lnTo>
                    <a:pt x="933" y="335"/>
                  </a:lnTo>
                  <a:lnTo>
                    <a:pt x="937" y="335"/>
                  </a:lnTo>
                  <a:lnTo>
                    <a:pt x="941" y="339"/>
                  </a:lnTo>
                  <a:lnTo>
                    <a:pt x="945" y="339"/>
                  </a:lnTo>
                  <a:lnTo>
                    <a:pt x="941" y="335"/>
                  </a:lnTo>
                  <a:lnTo>
                    <a:pt x="941" y="331"/>
                  </a:lnTo>
                  <a:lnTo>
                    <a:pt x="945" y="331"/>
                  </a:lnTo>
                  <a:lnTo>
                    <a:pt x="945" y="335"/>
                  </a:lnTo>
                  <a:lnTo>
                    <a:pt x="949" y="335"/>
                  </a:lnTo>
                  <a:lnTo>
                    <a:pt x="949" y="339"/>
                  </a:lnTo>
                  <a:lnTo>
                    <a:pt x="953" y="339"/>
                  </a:lnTo>
                  <a:lnTo>
                    <a:pt x="953" y="343"/>
                  </a:lnTo>
                  <a:lnTo>
                    <a:pt x="953" y="339"/>
                  </a:lnTo>
                  <a:lnTo>
                    <a:pt x="949" y="339"/>
                  </a:lnTo>
                  <a:lnTo>
                    <a:pt x="949" y="335"/>
                  </a:lnTo>
                  <a:lnTo>
                    <a:pt x="953" y="339"/>
                  </a:lnTo>
                  <a:lnTo>
                    <a:pt x="957" y="343"/>
                  </a:lnTo>
                  <a:lnTo>
                    <a:pt x="957" y="339"/>
                  </a:lnTo>
                  <a:lnTo>
                    <a:pt x="953" y="339"/>
                  </a:lnTo>
                  <a:lnTo>
                    <a:pt x="953" y="335"/>
                  </a:lnTo>
                  <a:lnTo>
                    <a:pt x="949" y="335"/>
                  </a:lnTo>
                  <a:lnTo>
                    <a:pt x="949" y="331"/>
                  </a:lnTo>
                  <a:lnTo>
                    <a:pt x="945" y="331"/>
                  </a:lnTo>
                  <a:lnTo>
                    <a:pt x="941" y="331"/>
                  </a:lnTo>
                  <a:lnTo>
                    <a:pt x="941" y="327"/>
                  </a:lnTo>
                  <a:lnTo>
                    <a:pt x="945" y="327"/>
                  </a:lnTo>
                  <a:lnTo>
                    <a:pt x="945" y="331"/>
                  </a:lnTo>
                  <a:lnTo>
                    <a:pt x="949" y="331"/>
                  </a:lnTo>
                  <a:lnTo>
                    <a:pt x="945" y="331"/>
                  </a:lnTo>
                  <a:lnTo>
                    <a:pt x="945" y="327"/>
                  </a:lnTo>
                  <a:lnTo>
                    <a:pt x="949" y="327"/>
                  </a:lnTo>
                  <a:lnTo>
                    <a:pt x="953" y="327"/>
                  </a:lnTo>
                  <a:lnTo>
                    <a:pt x="957" y="327"/>
                  </a:lnTo>
                  <a:lnTo>
                    <a:pt x="957" y="331"/>
                  </a:lnTo>
                  <a:lnTo>
                    <a:pt x="961" y="331"/>
                  </a:lnTo>
                  <a:lnTo>
                    <a:pt x="965" y="331"/>
                  </a:lnTo>
                  <a:lnTo>
                    <a:pt x="969" y="331"/>
                  </a:lnTo>
                  <a:lnTo>
                    <a:pt x="965" y="331"/>
                  </a:lnTo>
                  <a:lnTo>
                    <a:pt x="961" y="331"/>
                  </a:lnTo>
                  <a:lnTo>
                    <a:pt x="957" y="331"/>
                  </a:lnTo>
                  <a:lnTo>
                    <a:pt x="957" y="327"/>
                  </a:lnTo>
                  <a:lnTo>
                    <a:pt x="953" y="327"/>
                  </a:lnTo>
                  <a:lnTo>
                    <a:pt x="949" y="327"/>
                  </a:lnTo>
                  <a:lnTo>
                    <a:pt x="945" y="323"/>
                  </a:lnTo>
                  <a:lnTo>
                    <a:pt x="945" y="319"/>
                  </a:lnTo>
                  <a:lnTo>
                    <a:pt x="949" y="319"/>
                  </a:lnTo>
                  <a:lnTo>
                    <a:pt x="953" y="315"/>
                  </a:lnTo>
                  <a:lnTo>
                    <a:pt x="957" y="315"/>
                  </a:lnTo>
                  <a:lnTo>
                    <a:pt x="961" y="315"/>
                  </a:lnTo>
                  <a:lnTo>
                    <a:pt x="965" y="315"/>
                  </a:lnTo>
                  <a:lnTo>
                    <a:pt x="969" y="315"/>
                  </a:lnTo>
                  <a:lnTo>
                    <a:pt x="973" y="315"/>
                  </a:lnTo>
                  <a:lnTo>
                    <a:pt x="973" y="319"/>
                  </a:lnTo>
                  <a:lnTo>
                    <a:pt x="977" y="319"/>
                  </a:lnTo>
                  <a:lnTo>
                    <a:pt x="981" y="319"/>
                  </a:lnTo>
                  <a:lnTo>
                    <a:pt x="981" y="323"/>
                  </a:lnTo>
                  <a:lnTo>
                    <a:pt x="981" y="319"/>
                  </a:lnTo>
                  <a:lnTo>
                    <a:pt x="985" y="319"/>
                  </a:lnTo>
                  <a:lnTo>
                    <a:pt x="989" y="319"/>
                  </a:lnTo>
                  <a:lnTo>
                    <a:pt x="993" y="319"/>
                  </a:lnTo>
                  <a:lnTo>
                    <a:pt x="993" y="323"/>
                  </a:lnTo>
                  <a:lnTo>
                    <a:pt x="997" y="323"/>
                  </a:lnTo>
                  <a:lnTo>
                    <a:pt x="997" y="327"/>
                  </a:lnTo>
                  <a:lnTo>
                    <a:pt x="1001" y="327"/>
                  </a:lnTo>
                  <a:lnTo>
                    <a:pt x="997" y="331"/>
                  </a:lnTo>
                  <a:lnTo>
                    <a:pt x="993" y="331"/>
                  </a:lnTo>
                  <a:lnTo>
                    <a:pt x="989" y="331"/>
                  </a:lnTo>
                  <a:lnTo>
                    <a:pt x="985" y="331"/>
                  </a:lnTo>
                  <a:lnTo>
                    <a:pt x="985" y="335"/>
                  </a:lnTo>
                  <a:lnTo>
                    <a:pt x="981" y="335"/>
                  </a:lnTo>
                  <a:lnTo>
                    <a:pt x="977" y="339"/>
                  </a:lnTo>
                  <a:lnTo>
                    <a:pt x="981" y="335"/>
                  </a:lnTo>
                  <a:lnTo>
                    <a:pt x="985" y="335"/>
                  </a:lnTo>
                  <a:lnTo>
                    <a:pt x="985" y="331"/>
                  </a:lnTo>
                  <a:lnTo>
                    <a:pt x="989" y="331"/>
                  </a:lnTo>
                  <a:lnTo>
                    <a:pt x="993" y="331"/>
                  </a:lnTo>
                  <a:lnTo>
                    <a:pt x="997" y="335"/>
                  </a:lnTo>
                  <a:lnTo>
                    <a:pt x="993" y="335"/>
                  </a:lnTo>
                  <a:lnTo>
                    <a:pt x="989" y="335"/>
                  </a:lnTo>
                  <a:lnTo>
                    <a:pt x="989" y="339"/>
                  </a:lnTo>
                  <a:lnTo>
                    <a:pt x="985" y="343"/>
                  </a:lnTo>
                  <a:lnTo>
                    <a:pt x="981" y="343"/>
                  </a:lnTo>
                  <a:lnTo>
                    <a:pt x="985" y="343"/>
                  </a:lnTo>
                  <a:lnTo>
                    <a:pt x="989" y="339"/>
                  </a:lnTo>
                  <a:lnTo>
                    <a:pt x="989" y="335"/>
                  </a:lnTo>
                  <a:lnTo>
                    <a:pt x="993" y="335"/>
                  </a:lnTo>
                  <a:lnTo>
                    <a:pt x="997" y="335"/>
                  </a:lnTo>
                  <a:lnTo>
                    <a:pt x="997" y="331"/>
                  </a:lnTo>
                  <a:lnTo>
                    <a:pt x="1001" y="331"/>
                  </a:lnTo>
                  <a:lnTo>
                    <a:pt x="1005" y="331"/>
                  </a:lnTo>
                  <a:lnTo>
                    <a:pt x="1009" y="335"/>
                  </a:lnTo>
                  <a:lnTo>
                    <a:pt x="1013" y="335"/>
                  </a:lnTo>
                  <a:lnTo>
                    <a:pt x="1013" y="339"/>
                  </a:lnTo>
                  <a:lnTo>
                    <a:pt x="1009" y="339"/>
                  </a:lnTo>
                  <a:lnTo>
                    <a:pt x="1009" y="343"/>
                  </a:lnTo>
                  <a:lnTo>
                    <a:pt x="1005" y="339"/>
                  </a:lnTo>
                  <a:lnTo>
                    <a:pt x="1005" y="343"/>
                  </a:lnTo>
                  <a:lnTo>
                    <a:pt x="1001" y="343"/>
                  </a:lnTo>
                  <a:lnTo>
                    <a:pt x="997" y="343"/>
                  </a:lnTo>
                  <a:lnTo>
                    <a:pt x="993" y="343"/>
                  </a:lnTo>
                  <a:lnTo>
                    <a:pt x="997" y="343"/>
                  </a:lnTo>
                  <a:lnTo>
                    <a:pt x="1001" y="343"/>
                  </a:lnTo>
                  <a:lnTo>
                    <a:pt x="997" y="347"/>
                  </a:lnTo>
                  <a:lnTo>
                    <a:pt x="993" y="347"/>
                  </a:lnTo>
                  <a:lnTo>
                    <a:pt x="997" y="347"/>
                  </a:lnTo>
                  <a:lnTo>
                    <a:pt x="1001" y="347"/>
                  </a:lnTo>
                  <a:lnTo>
                    <a:pt x="1001" y="343"/>
                  </a:lnTo>
                  <a:lnTo>
                    <a:pt x="1005" y="343"/>
                  </a:lnTo>
                  <a:lnTo>
                    <a:pt x="1005" y="347"/>
                  </a:lnTo>
                  <a:lnTo>
                    <a:pt x="1001" y="347"/>
                  </a:lnTo>
                  <a:lnTo>
                    <a:pt x="997" y="347"/>
                  </a:lnTo>
                  <a:lnTo>
                    <a:pt x="997" y="351"/>
                  </a:lnTo>
                  <a:lnTo>
                    <a:pt x="997" y="347"/>
                  </a:lnTo>
                  <a:lnTo>
                    <a:pt x="1001" y="347"/>
                  </a:lnTo>
                  <a:lnTo>
                    <a:pt x="1001" y="351"/>
                  </a:lnTo>
                  <a:lnTo>
                    <a:pt x="1005" y="351"/>
                  </a:lnTo>
                  <a:lnTo>
                    <a:pt x="1001" y="355"/>
                  </a:lnTo>
                  <a:lnTo>
                    <a:pt x="997" y="359"/>
                  </a:lnTo>
                  <a:lnTo>
                    <a:pt x="1001" y="355"/>
                  </a:lnTo>
                  <a:lnTo>
                    <a:pt x="1005" y="355"/>
                  </a:lnTo>
                  <a:lnTo>
                    <a:pt x="1005" y="351"/>
                  </a:lnTo>
                  <a:lnTo>
                    <a:pt x="1001" y="351"/>
                  </a:lnTo>
                  <a:lnTo>
                    <a:pt x="1001" y="347"/>
                  </a:lnTo>
                  <a:lnTo>
                    <a:pt x="1005" y="347"/>
                  </a:lnTo>
                  <a:lnTo>
                    <a:pt x="1009" y="343"/>
                  </a:lnTo>
                  <a:lnTo>
                    <a:pt x="1013" y="343"/>
                  </a:lnTo>
                  <a:lnTo>
                    <a:pt x="1013" y="347"/>
                  </a:lnTo>
                  <a:lnTo>
                    <a:pt x="1009" y="347"/>
                  </a:lnTo>
                  <a:lnTo>
                    <a:pt x="1013" y="347"/>
                  </a:lnTo>
                  <a:lnTo>
                    <a:pt x="1013" y="343"/>
                  </a:lnTo>
                  <a:lnTo>
                    <a:pt x="1017" y="343"/>
                  </a:lnTo>
                  <a:lnTo>
                    <a:pt x="1021" y="343"/>
                  </a:lnTo>
                  <a:lnTo>
                    <a:pt x="1017" y="343"/>
                  </a:lnTo>
                  <a:lnTo>
                    <a:pt x="1017" y="347"/>
                  </a:lnTo>
                  <a:lnTo>
                    <a:pt x="1013" y="347"/>
                  </a:lnTo>
                  <a:lnTo>
                    <a:pt x="1013" y="351"/>
                  </a:lnTo>
                  <a:lnTo>
                    <a:pt x="1009" y="351"/>
                  </a:lnTo>
                  <a:lnTo>
                    <a:pt x="1013" y="351"/>
                  </a:lnTo>
                  <a:lnTo>
                    <a:pt x="1013" y="355"/>
                  </a:lnTo>
                  <a:lnTo>
                    <a:pt x="1009" y="355"/>
                  </a:lnTo>
                  <a:lnTo>
                    <a:pt x="1009" y="359"/>
                  </a:lnTo>
                  <a:lnTo>
                    <a:pt x="1013" y="359"/>
                  </a:lnTo>
                  <a:lnTo>
                    <a:pt x="1013" y="355"/>
                  </a:lnTo>
                  <a:lnTo>
                    <a:pt x="1013" y="351"/>
                  </a:lnTo>
                  <a:lnTo>
                    <a:pt x="1017" y="347"/>
                  </a:lnTo>
                  <a:lnTo>
                    <a:pt x="1021" y="347"/>
                  </a:lnTo>
                  <a:lnTo>
                    <a:pt x="1021" y="351"/>
                  </a:lnTo>
                  <a:lnTo>
                    <a:pt x="1021" y="355"/>
                  </a:lnTo>
                  <a:lnTo>
                    <a:pt x="1021" y="351"/>
                  </a:lnTo>
                  <a:lnTo>
                    <a:pt x="1025" y="351"/>
                  </a:lnTo>
                  <a:lnTo>
                    <a:pt x="1021" y="355"/>
                  </a:lnTo>
                  <a:lnTo>
                    <a:pt x="1017" y="355"/>
                  </a:lnTo>
                  <a:lnTo>
                    <a:pt x="1017" y="359"/>
                  </a:lnTo>
                  <a:lnTo>
                    <a:pt x="1017" y="363"/>
                  </a:lnTo>
                  <a:lnTo>
                    <a:pt x="1017" y="359"/>
                  </a:lnTo>
                  <a:lnTo>
                    <a:pt x="1021" y="355"/>
                  </a:lnTo>
                  <a:lnTo>
                    <a:pt x="1025" y="355"/>
                  </a:lnTo>
                  <a:lnTo>
                    <a:pt x="1029" y="355"/>
                  </a:lnTo>
                  <a:lnTo>
                    <a:pt x="1025" y="355"/>
                  </a:lnTo>
                  <a:lnTo>
                    <a:pt x="1025" y="359"/>
                  </a:lnTo>
                  <a:lnTo>
                    <a:pt x="1025" y="363"/>
                  </a:lnTo>
                  <a:lnTo>
                    <a:pt x="1021" y="363"/>
                  </a:lnTo>
                  <a:lnTo>
                    <a:pt x="1025" y="363"/>
                  </a:lnTo>
                  <a:lnTo>
                    <a:pt x="1025" y="359"/>
                  </a:lnTo>
                  <a:lnTo>
                    <a:pt x="1029" y="355"/>
                  </a:lnTo>
                  <a:lnTo>
                    <a:pt x="1029" y="359"/>
                  </a:lnTo>
                  <a:lnTo>
                    <a:pt x="1029" y="355"/>
                  </a:lnTo>
                  <a:lnTo>
                    <a:pt x="1029" y="351"/>
                  </a:lnTo>
                  <a:lnTo>
                    <a:pt x="1033" y="351"/>
                  </a:lnTo>
                  <a:lnTo>
                    <a:pt x="1033" y="347"/>
                  </a:lnTo>
                  <a:lnTo>
                    <a:pt x="1037" y="347"/>
                  </a:lnTo>
                  <a:lnTo>
                    <a:pt x="1037" y="343"/>
                  </a:lnTo>
                  <a:lnTo>
                    <a:pt x="1037" y="347"/>
                  </a:lnTo>
                  <a:lnTo>
                    <a:pt x="1041" y="347"/>
                  </a:lnTo>
                  <a:lnTo>
                    <a:pt x="1045" y="347"/>
                  </a:lnTo>
                  <a:lnTo>
                    <a:pt x="1049" y="347"/>
                  </a:lnTo>
                  <a:lnTo>
                    <a:pt x="1049" y="351"/>
                  </a:lnTo>
                  <a:lnTo>
                    <a:pt x="1053" y="351"/>
                  </a:lnTo>
                  <a:lnTo>
                    <a:pt x="1057" y="355"/>
                  </a:lnTo>
                  <a:lnTo>
                    <a:pt x="1057" y="359"/>
                  </a:lnTo>
                  <a:lnTo>
                    <a:pt x="1053" y="359"/>
                  </a:lnTo>
                  <a:lnTo>
                    <a:pt x="1053" y="363"/>
                  </a:lnTo>
                  <a:lnTo>
                    <a:pt x="1049" y="363"/>
                  </a:lnTo>
                  <a:lnTo>
                    <a:pt x="1049" y="359"/>
                  </a:lnTo>
                  <a:lnTo>
                    <a:pt x="1045" y="359"/>
                  </a:lnTo>
                  <a:lnTo>
                    <a:pt x="1041" y="363"/>
                  </a:lnTo>
                  <a:lnTo>
                    <a:pt x="1041" y="367"/>
                  </a:lnTo>
                  <a:lnTo>
                    <a:pt x="1037" y="367"/>
                  </a:lnTo>
                  <a:lnTo>
                    <a:pt x="1033" y="367"/>
                  </a:lnTo>
                  <a:lnTo>
                    <a:pt x="1037" y="367"/>
                  </a:lnTo>
                  <a:lnTo>
                    <a:pt x="1041" y="367"/>
                  </a:lnTo>
                  <a:lnTo>
                    <a:pt x="1037" y="371"/>
                  </a:lnTo>
                  <a:lnTo>
                    <a:pt x="1037" y="375"/>
                  </a:lnTo>
                  <a:lnTo>
                    <a:pt x="1033" y="375"/>
                  </a:lnTo>
                  <a:lnTo>
                    <a:pt x="1037" y="375"/>
                  </a:lnTo>
                  <a:lnTo>
                    <a:pt x="1037" y="371"/>
                  </a:lnTo>
                  <a:lnTo>
                    <a:pt x="1041" y="371"/>
                  </a:lnTo>
                  <a:lnTo>
                    <a:pt x="1045" y="371"/>
                  </a:lnTo>
                  <a:lnTo>
                    <a:pt x="1045" y="367"/>
                  </a:lnTo>
                  <a:lnTo>
                    <a:pt x="1049" y="367"/>
                  </a:lnTo>
                  <a:lnTo>
                    <a:pt x="1053" y="367"/>
                  </a:lnTo>
                  <a:lnTo>
                    <a:pt x="1057" y="363"/>
                  </a:lnTo>
                  <a:lnTo>
                    <a:pt x="1061" y="359"/>
                  </a:lnTo>
                  <a:lnTo>
                    <a:pt x="1065" y="359"/>
                  </a:lnTo>
                  <a:lnTo>
                    <a:pt x="1065" y="363"/>
                  </a:lnTo>
                  <a:lnTo>
                    <a:pt x="1065" y="367"/>
                  </a:lnTo>
                  <a:lnTo>
                    <a:pt x="1065" y="371"/>
                  </a:lnTo>
                  <a:lnTo>
                    <a:pt x="1061" y="371"/>
                  </a:lnTo>
                  <a:lnTo>
                    <a:pt x="1057" y="371"/>
                  </a:lnTo>
                  <a:lnTo>
                    <a:pt x="1057" y="375"/>
                  </a:lnTo>
                  <a:lnTo>
                    <a:pt x="1053" y="375"/>
                  </a:lnTo>
                  <a:lnTo>
                    <a:pt x="1049" y="375"/>
                  </a:lnTo>
                  <a:lnTo>
                    <a:pt x="1049" y="379"/>
                  </a:lnTo>
                  <a:lnTo>
                    <a:pt x="1049" y="383"/>
                  </a:lnTo>
                  <a:lnTo>
                    <a:pt x="1045" y="383"/>
                  </a:lnTo>
                  <a:lnTo>
                    <a:pt x="1049" y="383"/>
                  </a:lnTo>
                  <a:lnTo>
                    <a:pt x="1049" y="379"/>
                  </a:lnTo>
                  <a:lnTo>
                    <a:pt x="1053" y="375"/>
                  </a:lnTo>
                  <a:lnTo>
                    <a:pt x="1057" y="375"/>
                  </a:lnTo>
                  <a:lnTo>
                    <a:pt x="1057" y="379"/>
                  </a:lnTo>
                  <a:lnTo>
                    <a:pt x="1053" y="383"/>
                  </a:lnTo>
                  <a:lnTo>
                    <a:pt x="1053" y="387"/>
                  </a:lnTo>
                  <a:lnTo>
                    <a:pt x="1053" y="391"/>
                  </a:lnTo>
                  <a:lnTo>
                    <a:pt x="1053" y="387"/>
                  </a:lnTo>
                  <a:lnTo>
                    <a:pt x="1057" y="383"/>
                  </a:lnTo>
                  <a:lnTo>
                    <a:pt x="1057" y="379"/>
                  </a:lnTo>
                  <a:lnTo>
                    <a:pt x="1057" y="375"/>
                  </a:lnTo>
                  <a:lnTo>
                    <a:pt x="1061" y="375"/>
                  </a:lnTo>
                  <a:lnTo>
                    <a:pt x="1061" y="371"/>
                  </a:lnTo>
                  <a:lnTo>
                    <a:pt x="1065" y="371"/>
                  </a:lnTo>
                  <a:lnTo>
                    <a:pt x="1069" y="371"/>
                  </a:lnTo>
                  <a:lnTo>
                    <a:pt x="1069" y="367"/>
                  </a:lnTo>
                  <a:lnTo>
                    <a:pt x="1073" y="367"/>
                  </a:lnTo>
                  <a:lnTo>
                    <a:pt x="1077" y="367"/>
                  </a:lnTo>
                  <a:lnTo>
                    <a:pt x="1077" y="371"/>
                  </a:lnTo>
                  <a:lnTo>
                    <a:pt x="1073" y="371"/>
                  </a:lnTo>
                  <a:lnTo>
                    <a:pt x="1073" y="375"/>
                  </a:lnTo>
                  <a:lnTo>
                    <a:pt x="1069" y="375"/>
                  </a:lnTo>
                  <a:lnTo>
                    <a:pt x="1069" y="379"/>
                  </a:lnTo>
                  <a:lnTo>
                    <a:pt x="1069" y="375"/>
                  </a:lnTo>
                  <a:lnTo>
                    <a:pt x="1073" y="375"/>
                  </a:lnTo>
                  <a:lnTo>
                    <a:pt x="1073" y="371"/>
                  </a:lnTo>
                  <a:lnTo>
                    <a:pt x="1077" y="371"/>
                  </a:lnTo>
                  <a:lnTo>
                    <a:pt x="1081" y="371"/>
                  </a:lnTo>
                  <a:lnTo>
                    <a:pt x="1085" y="371"/>
                  </a:lnTo>
                  <a:lnTo>
                    <a:pt x="1089" y="371"/>
                  </a:lnTo>
                  <a:lnTo>
                    <a:pt x="1093" y="375"/>
                  </a:lnTo>
                  <a:lnTo>
                    <a:pt x="1097" y="375"/>
                  </a:lnTo>
                  <a:lnTo>
                    <a:pt x="1101" y="375"/>
                  </a:lnTo>
                  <a:lnTo>
                    <a:pt x="1101" y="379"/>
                  </a:lnTo>
                  <a:lnTo>
                    <a:pt x="1097" y="379"/>
                  </a:lnTo>
                  <a:lnTo>
                    <a:pt x="1093" y="379"/>
                  </a:lnTo>
                  <a:lnTo>
                    <a:pt x="1093" y="383"/>
                  </a:lnTo>
                  <a:lnTo>
                    <a:pt x="1089" y="383"/>
                  </a:lnTo>
                  <a:lnTo>
                    <a:pt x="1085" y="383"/>
                  </a:lnTo>
                  <a:lnTo>
                    <a:pt x="1081" y="383"/>
                  </a:lnTo>
                  <a:lnTo>
                    <a:pt x="1081" y="387"/>
                  </a:lnTo>
                  <a:lnTo>
                    <a:pt x="1077" y="387"/>
                  </a:lnTo>
                  <a:lnTo>
                    <a:pt x="1073" y="387"/>
                  </a:lnTo>
                  <a:lnTo>
                    <a:pt x="1073" y="391"/>
                  </a:lnTo>
                  <a:lnTo>
                    <a:pt x="1077" y="391"/>
                  </a:lnTo>
                  <a:lnTo>
                    <a:pt x="1073" y="391"/>
                  </a:lnTo>
                  <a:lnTo>
                    <a:pt x="1069" y="395"/>
                  </a:lnTo>
                  <a:lnTo>
                    <a:pt x="1073" y="395"/>
                  </a:lnTo>
                  <a:lnTo>
                    <a:pt x="1073" y="391"/>
                  </a:lnTo>
                  <a:lnTo>
                    <a:pt x="1077" y="391"/>
                  </a:lnTo>
                  <a:lnTo>
                    <a:pt x="1077" y="387"/>
                  </a:lnTo>
                  <a:lnTo>
                    <a:pt x="1081" y="387"/>
                  </a:lnTo>
                  <a:lnTo>
                    <a:pt x="1085" y="387"/>
                  </a:lnTo>
                  <a:lnTo>
                    <a:pt x="1089" y="387"/>
                  </a:lnTo>
                  <a:lnTo>
                    <a:pt x="1093" y="387"/>
                  </a:lnTo>
                  <a:lnTo>
                    <a:pt x="1097" y="387"/>
                  </a:lnTo>
                  <a:lnTo>
                    <a:pt x="1093" y="391"/>
                  </a:lnTo>
                  <a:lnTo>
                    <a:pt x="1089" y="391"/>
                  </a:lnTo>
                  <a:lnTo>
                    <a:pt x="1085" y="395"/>
                  </a:lnTo>
                  <a:lnTo>
                    <a:pt x="1081" y="395"/>
                  </a:lnTo>
                  <a:lnTo>
                    <a:pt x="1077" y="395"/>
                  </a:lnTo>
                  <a:lnTo>
                    <a:pt x="1073" y="399"/>
                  </a:lnTo>
                  <a:lnTo>
                    <a:pt x="1073" y="403"/>
                  </a:lnTo>
                  <a:lnTo>
                    <a:pt x="1077" y="399"/>
                  </a:lnTo>
                  <a:lnTo>
                    <a:pt x="1077" y="395"/>
                  </a:lnTo>
                  <a:lnTo>
                    <a:pt x="1081" y="395"/>
                  </a:lnTo>
                  <a:lnTo>
                    <a:pt x="1085" y="395"/>
                  </a:lnTo>
                  <a:lnTo>
                    <a:pt x="1089" y="395"/>
                  </a:lnTo>
                  <a:lnTo>
                    <a:pt x="1089" y="391"/>
                  </a:lnTo>
                  <a:lnTo>
                    <a:pt x="1093" y="391"/>
                  </a:lnTo>
                  <a:lnTo>
                    <a:pt x="1097" y="391"/>
                  </a:lnTo>
                  <a:lnTo>
                    <a:pt x="1101" y="391"/>
                  </a:lnTo>
                  <a:lnTo>
                    <a:pt x="1101" y="387"/>
                  </a:lnTo>
                  <a:lnTo>
                    <a:pt x="1101" y="383"/>
                  </a:lnTo>
                  <a:lnTo>
                    <a:pt x="1105" y="383"/>
                  </a:lnTo>
                  <a:lnTo>
                    <a:pt x="1109" y="383"/>
                  </a:lnTo>
                  <a:lnTo>
                    <a:pt x="1109" y="387"/>
                  </a:lnTo>
                  <a:lnTo>
                    <a:pt x="1113" y="387"/>
                  </a:lnTo>
                  <a:lnTo>
                    <a:pt x="1113" y="391"/>
                  </a:lnTo>
                  <a:lnTo>
                    <a:pt x="1117" y="391"/>
                  </a:lnTo>
                  <a:lnTo>
                    <a:pt x="1117" y="395"/>
                  </a:lnTo>
                  <a:lnTo>
                    <a:pt x="1117" y="399"/>
                  </a:lnTo>
                  <a:lnTo>
                    <a:pt x="1113" y="399"/>
                  </a:lnTo>
                  <a:lnTo>
                    <a:pt x="1109" y="399"/>
                  </a:lnTo>
                  <a:lnTo>
                    <a:pt x="1109" y="395"/>
                  </a:lnTo>
                  <a:lnTo>
                    <a:pt x="1105" y="395"/>
                  </a:lnTo>
                  <a:lnTo>
                    <a:pt x="1105" y="399"/>
                  </a:lnTo>
                  <a:lnTo>
                    <a:pt x="1101" y="399"/>
                  </a:lnTo>
                  <a:lnTo>
                    <a:pt x="1097" y="399"/>
                  </a:lnTo>
                  <a:lnTo>
                    <a:pt x="1093" y="403"/>
                  </a:lnTo>
                  <a:lnTo>
                    <a:pt x="1089" y="403"/>
                  </a:lnTo>
                  <a:lnTo>
                    <a:pt x="1085" y="403"/>
                  </a:lnTo>
                  <a:lnTo>
                    <a:pt x="1081" y="403"/>
                  </a:lnTo>
                  <a:lnTo>
                    <a:pt x="1077" y="403"/>
                  </a:lnTo>
                  <a:lnTo>
                    <a:pt x="1073" y="403"/>
                  </a:lnTo>
                  <a:lnTo>
                    <a:pt x="1077" y="403"/>
                  </a:lnTo>
                  <a:lnTo>
                    <a:pt x="1081" y="403"/>
                  </a:lnTo>
                  <a:lnTo>
                    <a:pt x="1085" y="403"/>
                  </a:lnTo>
                  <a:lnTo>
                    <a:pt x="1089" y="403"/>
                  </a:lnTo>
                  <a:lnTo>
                    <a:pt x="1093" y="403"/>
                  </a:lnTo>
                  <a:lnTo>
                    <a:pt x="1097" y="403"/>
                  </a:lnTo>
                  <a:lnTo>
                    <a:pt x="1101" y="403"/>
                  </a:lnTo>
                  <a:lnTo>
                    <a:pt x="1105" y="407"/>
                  </a:lnTo>
                  <a:lnTo>
                    <a:pt x="1109" y="407"/>
                  </a:lnTo>
                  <a:lnTo>
                    <a:pt x="1109" y="403"/>
                  </a:lnTo>
                  <a:lnTo>
                    <a:pt x="1113" y="407"/>
                  </a:lnTo>
                  <a:lnTo>
                    <a:pt x="1117" y="407"/>
                  </a:lnTo>
                  <a:lnTo>
                    <a:pt x="1121" y="407"/>
                  </a:lnTo>
                  <a:lnTo>
                    <a:pt x="1125" y="407"/>
                  </a:lnTo>
                  <a:lnTo>
                    <a:pt x="1125" y="411"/>
                  </a:lnTo>
                  <a:lnTo>
                    <a:pt x="1125" y="415"/>
                  </a:lnTo>
                  <a:lnTo>
                    <a:pt x="1121" y="415"/>
                  </a:lnTo>
                  <a:lnTo>
                    <a:pt x="1117" y="411"/>
                  </a:lnTo>
                  <a:lnTo>
                    <a:pt x="1113" y="411"/>
                  </a:lnTo>
                  <a:lnTo>
                    <a:pt x="1113" y="415"/>
                  </a:lnTo>
                  <a:lnTo>
                    <a:pt x="1109" y="415"/>
                  </a:lnTo>
                  <a:lnTo>
                    <a:pt x="1105" y="411"/>
                  </a:lnTo>
                  <a:lnTo>
                    <a:pt x="1101" y="411"/>
                  </a:lnTo>
                  <a:lnTo>
                    <a:pt x="1097" y="411"/>
                  </a:lnTo>
                  <a:lnTo>
                    <a:pt x="1093" y="411"/>
                  </a:lnTo>
                  <a:lnTo>
                    <a:pt x="1093" y="407"/>
                  </a:lnTo>
                  <a:lnTo>
                    <a:pt x="1089" y="407"/>
                  </a:lnTo>
                  <a:lnTo>
                    <a:pt x="1085" y="411"/>
                  </a:lnTo>
                  <a:lnTo>
                    <a:pt x="1089" y="411"/>
                  </a:lnTo>
                  <a:lnTo>
                    <a:pt x="1089" y="407"/>
                  </a:lnTo>
                  <a:lnTo>
                    <a:pt x="1093" y="411"/>
                  </a:lnTo>
                  <a:lnTo>
                    <a:pt x="1097" y="411"/>
                  </a:lnTo>
                  <a:lnTo>
                    <a:pt x="1101" y="411"/>
                  </a:lnTo>
                  <a:lnTo>
                    <a:pt x="1105" y="411"/>
                  </a:lnTo>
                  <a:lnTo>
                    <a:pt x="1101" y="411"/>
                  </a:lnTo>
                  <a:lnTo>
                    <a:pt x="1097" y="411"/>
                  </a:lnTo>
                  <a:lnTo>
                    <a:pt x="1093" y="411"/>
                  </a:lnTo>
                  <a:lnTo>
                    <a:pt x="1089" y="411"/>
                  </a:lnTo>
                  <a:lnTo>
                    <a:pt x="1093" y="411"/>
                  </a:lnTo>
                  <a:lnTo>
                    <a:pt x="1097" y="411"/>
                  </a:lnTo>
                  <a:lnTo>
                    <a:pt x="1093" y="415"/>
                  </a:lnTo>
                  <a:lnTo>
                    <a:pt x="1089" y="415"/>
                  </a:lnTo>
                  <a:lnTo>
                    <a:pt x="1089" y="419"/>
                  </a:lnTo>
                  <a:lnTo>
                    <a:pt x="1093" y="415"/>
                  </a:lnTo>
                  <a:lnTo>
                    <a:pt x="1097" y="415"/>
                  </a:lnTo>
                  <a:lnTo>
                    <a:pt x="1101" y="415"/>
                  </a:lnTo>
                  <a:lnTo>
                    <a:pt x="1105" y="415"/>
                  </a:lnTo>
                  <a:lnTo>
                    <a:pt x="1109" y="419"/>
                  </a:lnTo>
                  <a:lnTo>
                    <a:pt x="1105" y="419"/>
                  </a:lnTo>
                  <a:lnTo>
                    <a:pt x="1101" y="419"/>
                  </a:lnTo>
                  <a:lnTo>
                    <a:pt x="1097" y="419"/>
                  </a:lnTo>
                  <a:lnTo>
                    <a:pt x="1101" y="419"/>
                  </a:lnTo>
                  <a:lnTo>
                    <a:pt x="1105" y="419"/>
                  </a:lnTo>
                  <a:lnTo>
                    <a:pt x="1105" y="423"/>
                  </a:lnTo>
                  <a:lnTo>
                    <a:pt x="1101" y="423"/>
                  </a:lnTo>
                  <a:lnTo>
                    <a:pt x="1101" y="419"/>
                  </a:lnTo>
                  <a:lnTo>
                    <a:pt x="1097" y="419"/>
                  </a:lnTo>
                  <a:lnTo>
                    <a:pt x="1097" y="423"/>
                  </a:lnTo>
                  <a:lnTo>
                    <a:pt x="1101" y="423"/>
                  </a:lnTo>
                  <a:lnTo>
                    <a:pt x="1105" y="423"/>
                  </a:lnTo>
                  <a:lnTo>
                    <a:pt x="1109" y="423"/>
                  </a:lnTo>
                  <a:lnTo>
                    <a:pt x="1105" y="423"/>
                  </a:lnTo>
                  <a:lnTo>
                    <a:pt x="1101" y="423"/>
                  </a:lnTo>
                  <a:lnTo>
                    <a:pt x="1097" y="423"/>
                  </a:lnTo>
                  <a:lnTo>
                    <a:pt x="1093" y="423"/>
                  </a:lnTo>
                  <a:lnTo>
                    <a:pt x="1089" y="423"/>
                  </a:lnTo>
                  <a:lnTo>
                    <a:pt x="1085" y="423"/>
                  </a:lnTo>
                  <a:lnTo>
                    <a:pt x="1089" y="423"/>
                  </a:lnTo>
                  <a:lnTo>
                    <a:pt x="1085" y="423"/>
                  </a:lnTo>
                  <a:lnTo>
                    <a:pt x="1089" y="423"/>
                  </a:lnTo>
                  <a:lnTo>
                    <a:pt x="1101" y="427"/>
                  </a:lnTo>
                  <a:lnTo>
                    <a:pt x="1105" y="427"/>
                  </a:lnTo>
                  <a:lnTo>
                    <a:pt x="1101" y="427"/>
                  </a:lnTo>
                  <a:lnTo>
                    <a:pt x="1097" y="427"/>
                  </a:lnTo>
                  <a:lnTo>
                    <a:pt x="1093" y="427"/>
                  </a:lnTo>
                  <a:lnTo>
                    <a:pt x="1097" y="427"/>
                  </a:lnTo>
                  <a:lnTo>
                    <a:pt x="1097" y="431"/>
                  </a:lnTo>
                  <a:lnTo>
                    <a:pt x="1093" y="431"/>
                  </a:lnTo>
                  <a:lnTo>
                    <a:pt x="1097" y="431"/>
                  </a:lnTo>
                  <a:lnTo>
                    <a:pt x="1097" y="427"/>
                  </a:lnTo>
                  <a:lnTo>
                    <a:pt x="1101" y="427"/>
                  </a:lnTo>
                  <a:lnTo>
                    <a:pt x="1101" y="431"/>
                  </a:lnTo>
                  <a:lnTo>
                    <a:pt x="1105" y="431"/>
                  </a:lnTo>
                  <a:lnTo>
                    <a:pt x="1109" y="431"/>
                  </a:lnTo>
                  <a:lnTo>
                    <a:pt x="1113" y="431"/>
                  </a:lnTo>
                  <a:lnTo>
                    <a:pt x="1109" y="431"/>
                  </a:lnTo>
                  <a:lnTo>
                    <a:pt x="1109" y="435"/>
                  </a:lnTo>
                  <a:lnTo>
                    <a:pt x="1113" y="435"/>
                  </a:lnTo>
                  <a:lnTo>
                    <a:pt x="1113" y="431"/>
                  </a:lnTo>
                  <a:lnTo>
                    <a:pt x="1117" y="431"/>
                  </a:lnTo>
                  <a:lnTo>
                    <a:pt x="1117" y="435"/>
                  </a:lnTo>
                  <a:lnTo>
                    <a:pt x="1113" y="435"/>
                  </a:lnTo>
                  <a:lnTo>
                    <a:pt x="1117" y="435"/>
                  </a:lnTo>
                  <a:lnTo>
                    <a:pt x="1117" y="431"/>
                  </a:lnTo>
                  <a:lnTo>
                    <a:pt x="1121" y="431"/>
                  </a:lnTo>
                  <a:lnTo>
                    <a:pt x="1125" y="431"/>
                  </a:lnTo>
                  <a:lnTo>
                    <a:pt x="1125" y="435"/>
                  </a:lnTo>
                  <a:lnTo>
                    <a:pt x="1121" y="435"/>
                  </a:lnTo>
                  <a:lnTo>
                    <a:pt x="1117" y="435"/>
                  </a:lnTo>
                  <a:lnTo>
                    <a:pt x="1113" y="435"/>
                  </a:lnTo>
                  <a:lnTo>
                    <a:pt x="1109" y="435"/>
                  </a:lnTo>
                  <a:lnTo>
                    <a:pt x="1105" y="435"/>
                  </a:lnTo>
                  <a:lnTo>
                    <a:pt x="1105" y="439"/>
                  </a:lnTo>
                  <a:lnTo>
                    <a:pt x="1109" y="439"/>
                  </a:lnTo>
                  <a:lnTo>
                    <a:pt x="1109" y="435"/>
                  </a:lnTo>
                  <a:lnTo>
                    <a:pt x="1113" y="435"/>
                  </a:lnTo>
                  <a:lnTo>
                    <a:pt x="1113" y="439"/>
                  </a:lnTo>
                  <a:lnTo>
                    <a:pt x="1109" y="439"/>
                  </a:lnTo>
                  <a:lnTo>
                    <a:pt x="1113" y="439"/>
                  </a:lnTo>
                  <a:lnTo>
                    <a:pt x="1113" y="435"/>
                  </a:lnTo>
                  <a:lnTo>
                    <a:pt x="1117" y="435"/>
                  </a:lnTo>
                  <a:lnTo>
                    <a:pt x="1121" y="435"/>
                  </a:lnTo>
                  <a:lnTo>
                    <a:pt x="1117" y="435"/>
                  </a:lnTo>
                  <a:lnTo>
                    <a:pt x="1117" y="439"/>
                  </a:lnTo>
                  <a:lnTo>
                    <a:pt x="1113" y="439"/>
                  </a:lnTo>
                  <a:lnTo>
                    <a:pt x="1117" y="439"/>
                  </a:lnTo>
                  <a:lnTo>
                    <a:pt x="1113" y="439"/>
                  </a:lnTo>
                  <a:lnTo>
                    <a:pt x="1109" y="439"/>
                  </a:lnTo>
                  <a:lnTo>
                    <a:pt x="1113" y="439"/>
                  </a:lnTo>
                  <a:lnTo>
                    <a:pt x="1113" y="443"/>
                  </a:lnTo>
                  <a:lnTo>
                    <a:pt x="1117" y="439"/>
                  </a:lnTo>
                  <a:lnTo>
                    <a:pt x="1121" y="435"/>
                  </a:lnTo>
                  <a:lnTo>
                    <a:pt x="1121" y="439"/>
                  </a:lnTo>
                  <a:lnTo>
                    <a:pt x="1125" y="439"/>
                  </a:lnTo>
                  <a:lnTo>
                    <a:pt x="1121" y="443"/>
                  </a:lnTo>
                  <a:lnTo>
                    <a:pt x="1125" y="443"/>
                  </a:lnTo>
                  <a:lnTo>
                    <a:pt x="1125" y="439"/>
                  </a:lnTo>
                  <a:lnTo>
                    <a:pt x="1125" y="443"/>
                  </a:lnTo>
                  <a:lnTo>
                    <a:pt x="1125" y="447"/>
                  </a:lnTo>
                  <a:lnTo>
                    <a:pt x="1125" y="443"/>
                  </a:lnTo>
                  <a:lnTo>
                    <a:pt x="1125" y="439"/>
                  </a:lnTo>
                  <a:lnTo>
                    <a:pt x="1129" y="439"/>
                  </a:lnTo>
                  <a:lnTo>
                    <a:pt x="1129" y="443"/>
                  </a:lnTo>
                  <a:lnTo>
                    <a:pt x="1133" y="443"/>
                  </a:lnTo>
                  <a:lnTo>
                    <a:pt x="1129" y="443"/>
                  </a:lnTo>
                  <a:lnTo>
                    <a:pt x="1129" y="447"/>
                  </a:lnTo>
                  <a:lnTo>
                    <a:pt x="1125" y="447"/>
                  </a:lnTo>
                  <a:lnTo>
                    <a:pt x="1129" y="451"/>
                  </a:lnTo>
                  <a:lnTo>
                    <a:pt x="1129" y="447"/>
                  </a:lnTo>
                  <a:lnTo>
                    <a:pt x="1133" y="447"/>
                  </a:lnTo>
                  <a:lnTo>
                    <a:pt x="1137" y="443"/>
                  </a:lnTo>
                  <a:lnTo>
                    <a:pt x="1137" y="439"/>
                  </a:lnTo>
                  <a:lnTo>
                    <a:pt x="1137" y="443"/>
                  </a:lnTo>
                  <a:lnTo>
                    <a:pt x="1137" y="447"/>
                  </a:lnTo>
                  <a:lnTo>
                    <a:pt x="1133" y="447"/>
                  </a:lnTo>
                  <a:lnTo>
                    <a:pt x="1137" y="447"/>
                  </a:lnTo>
                  <a:lnTo>
                    <a:pt x="1137" y="451"/>
                  </a:lnTo>
                  <a:lnTo>
                    <a:pt x="1133" y="451"/>
                  </a:lnTo>
                  <a:lnTo>
                    <a:pt x="1133" y="455"/>
                  </a:lnTo>
                  <a:lnTo>
                    <a:pt x="1137" y="455"/>
                  </a:lnTo>
                  <a:lnTo>
                    <a:pt x="1137" y="451"/>
                  </a:lnTo>
                  <a:lnTo>
                    <a:pt x="1137" y="447"/>
                  </a:lnTo>
                  <a:lnTo>
                    <a:pt x="1141" y="443"/>
                  </a:lnTo>
                  <a:lnTo>
                    <a:pt x="1145" y="443"/>
                  </a:lnTo>
                  <a:lnTo>
                    <a:pt x="1145" y="447"/>
                  </a:lnTo>
                  <a:lnTo>
                    <a:pt x="1141" y="447"/>
                  </a:lnTo>
                  <a:lnTo>
                    <a:pt x="1141" y="451"/>
                  </a:lnTo>
                  <a:lnTo>
                    <a:pt x="1145" y="451"/>
                  </a:lnTo>
                  <a:lnTo>
                    <a:pt x="1145" y="455"/>
                  </a:lnTo>
                  <a:lnTo>
                    <a:pt x="1145" y="451"/>
                  </a:lnTo>
                  <a:lnTo>
                    <a:pt x="1141" y="451"/>
                  </a:lnTo>
                  <a:lnTo>
                    <a:pt x="1145" y="447"/>
                  </a:lnTo>
                  <a:lnTo>
                    <a:pt x="1148" y="447"/>
                  </a:lnTo>
                  <a:lnTo>
                    <a:pt x="1148" y="443"/>
                  </a:lnTo>
                  <a:lnTo>
                    <a:pt x="1152" y="447"/>
                  </a:lnTo>
                  <a:lnTo>
                    <a:pt x="1148" y="447"/>
                  </a:lnTo>
                  <a:lnTo>
                    <a:pt x="1148" y="451"/>
                  </a:lnTo>
                  <a:lnTo>
                    <a:pt x="1148" y="455"/>
                  </a:lnTo>
                  <a:lnTo>
                    <a:pt x="1148" y="451"/>
                  </a:lnTo>
                  <a:lnTo>
                    <a:pt x="1152" y="451"/>
                  </a:lnTo>
                  <a:lnTo>
                    <a:pt x="1152" y="455"/>
                  </a:lnTo>
                  <a:lnTo>
                    <a:pt x="1152" y="451"/>
                  </a:lnTo>
                  <a:lnTo>
                    <a:pt x="1156" y="451"/>
                  </a:lnTo>
                  <a:lnTo>
                    <a:pt x="1160" y="451"/>
                  </a:lnTo>
                  <a:lnTo>
                    <a:pt x="1156" y="451"/>
                  </a:lnTo>
                  <a:lnTo>
                    <a:pt x="1156" y="455"/>
                  </a:lnTo>
                  <a:lnTo>
                    <a:pt x="1156" y="451"/>
                  </a:lnTo>
                  <a:lnTo>
                    <a:pt x="1160" y="451"/>
                  </a:lnTo>
                  <a:lnTo>
                    <a:pt x="1164" y="455"/>
                  </a:lnTo>
                  <a:lnTo>
                    <a:pt x="1164" y="459"/>
                  </a:lnTo>
                  <a:lnTo>
                    <a:pt x="1160" y="459"/>
                  </a:lnTo>
                  <a:lnTo>
                    <a:pt x="1156" y="459"/>
                  </a:lnTo>
                  <a:lnTo>
                    <a:pt x="1160" y="459"/>
                  </a:lnTo>
                  <a:lnTo>
                    <a:pt x="1164" y="459"/>
                  </a:lnTo>
                  <a:lnTo>
                    <a:pt x="1164" y="463"/>
                  </a:lnTo>
                  <a:lnTo>
                    <a:pt x="1160" y="463"/>
                  </a:lnTo>
                  <a:lnTo>
                    <a:pt x="1156" y="463"/>
                  </a:lnTo>
                  <a:lnTo>
                    <a:pt x="1152" y="463"/>
                  </a:lnTo>
                  <a:lnTo>
                    <a:pt x="1156" y="463"/>
                  </a:lnTo>
                  <a:lnTo>
                    <a:pt x="1160" y="463"/>
                  </a:lnTo>
                  <a:lnTo>
                    <a:pt x="1156" y="463"/>
                  </a:lnTo>
                  <a:lnTo>
                    <a:pt x="1152" y="467"/>
                  </a:lnTo>
                  <a:lnTo>
                    <a:pt x="1156" y="467"/>
                  </a:lnTo>
                  <a:lnTo>
                    <a:pt x="1160" y="467"/>
                  </a:lnTo>
                  <a:lnTo>
                    <a:pt x="1160" y="463"/>
                  </a:lnTo>
                  <a:lnTo>
                    <a:pt x="1164" y="463"/>
                  </a:lnTo>
                  <a:lnTo>
                    <a:pt x="1164" y="467"/>
                  </a:lnTo>
                  <a:lnTo>
                    <a:pt x="1160" y="467"/>
                  </a:lnTo>
                  <a:lnTo>
                    <a:pt x="1156" y="467"/>
                  </a:lnTo>
                  <a:lnTo>
                    <a:pt x="1152" y="471"/>
                  </a:lnTo>
                  <a:lnTo>
                    <a:pt x="1156" y="471"/>
                  </a:lnTo>
                  <a:lnTo>
                    <a:pt x="1156" y="467"/>
                  </a:lnTo>
                  <a:lnTo>
                    <a:pt x="1160" y="467"/>
                  </a:lnTo>
                  <a:lnTo>
                    <a:pt x="1164" y="467"/>
                  </a:lnTo>
                  <a:lnTo>
                    <a:pt x="1168" y="467"/>
                  </a:lnTo>
                  <a:lnTo>
                    <a:pt x="1168" y="463"/>
                  </a:lnTo>
                  <a:lnTo>
                    <a:pt x="1172" y="467"/>
                  </a:lnTo>
                  <a:lnTo>
                    <a:pt x="1172" y="471"/>
                  </a:lnTo>
                  <a:lnTo>
                    <a:pt x="1168" y="471"/>
                  </a:lnTo>
                  <a:lnTo>
                    <a:pt x="1172" y="471"/>
                  </a:lnTo>
                  <a:lnTo>
                    <a:pt x="1172" y="467"/>
                  </a:lnTo>
                  <a:lnTo>
                    <a:pt x="1176" y="463"/>
                  </a:lnTo>
                  <a:lnTo>
                    <a:pt x="1180" y="463"/>
                  </a:lnTo>
                  <a:lnTo>
                    <a:pt x="1180" y="467"/>
                  </a:lnTo>
                  <a:lnTo>
                    <a:pt x="1176" y="467"/>
                  </a:lnTo>
                  <a:lnTo>
                    <a:pt x="1176" y="471"/>
                  </a:lnTo>
                  <a:lnTo>
                    <a:pt x="1172" y="475"/>
                  </a:lnTo>
                  <a:lnTo>
                    <a:pt x="1168" y="475"/>
                  </a:lnTo>
                  <a:lnTo>
                    <a:pt x="1172" y="475"/>
                  </a:lnTo>
                  <a:lnTo>
                    <a:pt x="1172" y="479"/>
                  </a:lnTo>
                  <a:lnTo>
                    <a:pt x="1176" y="475"/>
                  </a:lnTo>
                  <a:lnTo>
                    <a:pt x="1180" y="471"/>
                  </a:lnTo>
                  <a:lnTo>
                    <a:pt x="1184" y="471"/>
                  </a:lnTo>
                  <a:lnTo>
                    <a:pt x="1184" y="475"/>
                  </a:lnTo>
                  <a:lnTo>
                    <a:pt x="1184" y="479"/>
                  </a:lnTo>
                  <a:lnTo>
                    <a:pt x="1180" y="479"/>
                  </a:lnTo>
                  <a:lnTo>
                    <a:pt x="1184" y="479"/>
                  </a:lnTo>
                  <a:lnTo>
                    <a:pt x="1184" y="475"/>
                  </a:lnTo>
                  <a:lnTo>
                    <a:pt x="1184" y="471"/>
                  </a:lnTo>
                  <a:lnTo>
                    <a:pt x="1188" y="471"/>
                  </a:lnTo>
                  <a:lnTo>
                    <a:pt x="1188" y="475"/>
                  </a:lnTo>
                  <a:lnTo>
                    <a:pt x="1192" y="479"/>
                  </a:lnTo>
                  <a:lnTo>
                    <a:pt x="1188" y="475"/>
                  </a:lnTo>
                  <a:lnTo>
                    <a:pt x="1188" y="471"/>
                  </a:lnTo>
                  <a:lnTo>
                    <a:pt x="1192" y="471"/>
                  </a:lnTo>
                  <a:lnTo>
                    <a:pt x="1196" y="471"/>
                  </a:lnTo>
                  <a:lnTo>
                    <a:pt x="1192" y="475"/>
                  </a:lnTo>
                  <a:lnTo>
                    <a:pt x="1196" y="475"/>
                  </a:lnTo>
                  <a:lnTo>
                    <a:pt x="1196" y="471"/>
                  </a:lnTo>
                  <a:lnTo>
                    <a:pt x="1200" y="471"/>
                  </a:lnTo>
                  <a:lnTo>
                    <a:pt x="1200" y="475"/>
                  </a:lnTo>
                  <a:lnTo>
                    <a:pt x="1204" y="479"/>
                  </a:lnTo>
                  <a:lnTo>
                    <a:pt x="1208" y="483"/>
                  </a:lnTo>
                  <a:lnTo>
                    <a:pt x="1204" y="483"/>
                  </a:lnTo>
                  <a:lnTo>
                    <a:pt x="1200" y="483"/>
                  </a:lnTo>
                  <a:lnTo>
                    <a:pt x="1200" y="479"/>
                  </a:lnTo>
                  <a:lnTo>
                    <a:pt x="1196" y="479"/>
                  </a:lnTo>
                  <a:lnTo>
                    <a:pt x="1192" y="483"/>
                  </a:lnTo>
                  <a:lnTo>
                    <a:pt x="1196" y="483"/>
                  </a:lnTo>
                  <a:lnTo>
                    <a:pt x="1196" y="479"/>
                  </a:lnTo>
                  <a:lnTo>
                    <a:pt x="1196" y="483"/>
                  </a:lnTo>
                  <a:lnTo>
                    <a:pt x="1200" y="483"/>
                  </a:lnTo>
                  <a:lnTo>
                    <a:pt x="1200" y="487"/>
                  </a:lnTo>
                  <a:lnTo>
                    <a:pt x="1196" y="487"/>
                  </a:lnTo>
                  <a:lnTo>
                    <a:pt x="1200" y="487"/>
                  </a:lnTo>
                  <a:lnTo>
                    <a:pt x="1204" y="487"/>
                  </a:lnTo>
                  <a:lnTo>
                    <a:pt x="1200" y="487"/>
                  </a:lnTo>
                  <a:lnTo>
                    <a:pt x="1196" y="491"/>
                  </a:lnTo>
                  <a:lnTo>
                    <a:pt x="1192" y="491"/>
                  </a:lnTo>
                  <a:lnTo>
                    <a:pt x="1192" y="487"/>
                  </a:lnTo>
                  <a:lnTo>
                    <a:pt x="1188" y="487"/>
                  </a:lnTo>
                  <a:lnTo>
                    <a:pt x="1184" y="487"/>
                  </a:lnTo>
                  <a:lnTo>
                    <a:pt x="1188" y="487"/>
                  </a:lnTo>
                  <a:lnTo>
                    <a:pt x="1188" y="491"/>
                  </a:lnTo>
                  <a:lnTo>
                    <a:pt x="1192" y="491"/>
                  </a:lnTo>
                  <a:lnTo>
                    <a:pt x="1188" y="491"/>
                  </a:lnTo>
                  <a:lnTo>
                    <a:pt x="1184" y="491"/>
                  </a:lnTo>
                  <a:lnTo>
                    <a:pt x="1180" y="487"/>
                  </a:lnTo>
                  <a:lnTo>
                    <a:pt x="1184" y="491"/>
                  </a:lnTo>
                  <a:lnTo>
                    <a:pt x="1188" y="491"/>
                  </a:lnTo>
                  <a:lnTo>
                    <a:pt x="1192" y="495"/>
                  </a:lnTo>
                  <a:lnTo>
                    <a:pt x="1196" y="495"/>
                  </a:lnTo>
                  <a:lnTo>
                    <a:pt x="1192" y="499"/>
                  </a:lnTo>
                  <a:lnTo>
                    <a:pt x="1188" y="499"/>
                  </a:lnTo>
                  <a:lnTo>
                    <a:pt x="1188" y="495"/>
                  </a:lnTo>
                  <a:lnTo>
                    <a:pt x="1184" y="495"/>
                  </a:lnTo>
                  <a:lnTo>
                    <a:pt x="1180" y="495"/>
                  </a:lnTo>
                  <a:lnTo>
                    <a:pt x="1184" y="495"/>
                  </a:lnTo>
                  <a:lnTo>
                    <a:pt x="1184" y="499"/>
                  </a:lnTo>
                  <a:lnTo>
                    <a:pt x="1188" y="499"/>
                  </a:lnTo>
                  <a:lnTo>
                    <a:pt x="1192" y="503"/>
                  </a:lnTo>
                  <a:lnTo>
                    <a:pt x="1188" y="503"/>
                  </a:lnTo>
                  <a:lnTo>
                    <a:pt x="1184" y="503"/>
                  </a:lnTo>
                  <a:lnTo>
                    <a:pt x="1184" y="499"/>
                  </a:lnTo>
                  <a:lnTo>
                    <a:pt x="1180" y="499"/>
                  </a:lnTo>
                  <a:lnTo>
                    <a:pt x="1184" y="503"/>
                  </a:lnTo>
                  <a:lnTo>
                    <a:pt x="1188" y="503"/>
                  </a:lnTo>
                  <a:lnTo>
                    <a:pt x="1184" y="503"/>
                  </a:lnTo>
                  <a:lnTo>
                    <a:pt x="1184" y="507"/>
                  </a:lnTo>
                  <a:lnTo>
                    <a:pt x="1180" y="507"/>
                  </a:lnTo>
                  <a:lnTo>
                    <a:pt x="1180" y="503"/>
                  </a:lnTo>
                  <a:lnTo>
                    <a:pt x="1180" y="507"/>
                  </a:lnTo>
                  <a:lnTo>
                    <a:pt x="1176" y="507"/>
                  </a:lnTo>
                  <a:lnTo>
                    <a:pt x="1172" y="503"/>
                  </a:lnTo>
                  <a:lnTo>
                    <a:pt x="1176" y="507"/>
                  </a:lnTo>
                  <a:lnTo>
                    <a:pt x="1172" y="507"/>
                  </a:lnTo>
                  <a:lnTo>
                    <a:pt x="1168" y="507"/>
                  </a:lnTo>
                  <a:lnTo>
                    <a:pt x="1172" y="507"/>
                  </a:lnTo>
                  <a:lnTo>
                    <a:pt x="1176" y="507"/>
                  </a:lnTo>
                  <a:lnTo>
                    <a:pt x="1176" y="511"/>
                  </a:lnTo>
                  <a:lnTo>
                    <a:pt x="1172" y="511"/>
                  </a:lnTo>
                  <a:lnTo>
                    <a:pt x="1172" y="507"/>
                  </a:lnTo>
                  <a:lnTo>
                    <a:pt x="1172" y="511"/>
                  </a:lnTo>
                  <a:lnTo>
                    <a:pt x="1176" y="511"/>
                  </a:lnTo>
                  <a:lnTo>
                    <a:pt x="1172" y="511"/>
                  </a:lnTo>
                  <a:lnTo>
                    <a:pt x="1168" y="511"/>
                  </a:lnTo>
                  <a:lnTo>
                    <a:pt x="1172" y="511"/>
                  </a:lnTo>
                  <a:lnTo>
                    <a:pt x="1176" y="515"/>
                  </a:lnTo>
                  <a:lnTo>
                    <a:pt x="1172" y="519"/>
                  </a:lnTo>
                  <a:lnTo>
                    <a:pt x="1172" y="523"/>
                  </a:lnTo>
                  <a:lnTo>
                    <a:pt x="1172" y="527"/>
                  </a:lnTo>
                  <a:lnTo>
                    <a:pt x="1168" y="527"/>
                  </a:lnTo>
                  <a:lnTo>
                    <a:pt x="1168" y="523"/>
                  </a:lnTo>
                  <a:lnTo>
                    <a:pt x="1164" y="519"/>
                  </a:lnTo>
                  <a:lnTo>
                    <a:pt x="1164" y="523"/>
                  </a:lnTo>
                  <a:lnTo>
                    <a:pt x="1160" y="519"/>
                  </a:lnTo>
                  <a:lnTo>
                    <a:pt x="1164" y="519"/>
                  </a:lnTo>
                  <a:lnTo>
                    <a:pt x="1160" y="519"/>
                  </a:lnTo>
                  <a:lnTo>
                    <a:pt x="1160" y="515"/>
                  </a:lnTo>
                  <a:lnTo>
                    <a:pt x="1160" y="511"/>
                  </a:lnTo>
                  <a:lnTo>
                    <a:pt x="1156" y="515"/>
                  </a:lnTo>
                  <a:lnTo>
                    <a:pt x="1156" y="519"/>
                  </a:lnTo>
                  <a:lnTo>
                    <a:pt x="1152" y="519"/>
                  </a:lnTo>
                  <a:lnTo>
                    <a:pt x="1152" y="515"/>
                  </a:lnTo>
                  <a:lnTo>
                    <a:pt x="1152" y="519"/>
                  </a:lnTo>
                  <a:lnTo>
                    <a:pt x="1152" y="515"/>
                  </a:lnTo>
                  <a:lnTo>
                    <a:pt x="1156" y="515"/>
                  </a:lnTo>
                  <a:lnTo>
                    <a:pt x="1152" y="515"/>
                  </a:lnTo>
                  <a:lnTo>
                    <a:pt x="1156" y="511"/>
                  </a:lnTo>
                  <a:lnTo>
                    <a:pt x="1160" y="511"/>
                  </a:lnTo>
                  <a:lnTo>
                    <a:pt x="1156" y="511"/>
                  </a:lnTo>
                  <a:lnTo>
                    <a:pt x="1152" y="511"/>
                  </a:lnTo>
                  <a:lnTo>
                    <a:pt x="1148" y="511"/>
                  </a:lnTo>
                  <a:lnTo>
                    <a:pt x="1148" y="515"/>
                  </a:lnTo>
                  <a:lnTo>
                    <a:pt x="1148" y="511"/>
                  </a:lnTo>
                  <a:lnTo>
                    <a:pt x="1152" y="511"/>
                  </a:lnTo>
                  <a:lnTo>
                    <a:pt x="1152" y="507"/>
                  </a:lnTo>
                  <a:lnTo>
                    <a:pt x="1148" y="511"/>
                  </a:lnTo>
                  <a:lnTo>
                    <a:pt x="1145" y="511"/>
                  </a:lnTo>
                  <a:lnTo>
                    <a:pt x="1145" y="507"/>
                  </a:lnTo>
                  <a:lnTo>
                    <a:pt x="1148" y="507"/>
                  </a:lnTo>
                  <a:lnTo>
                    <a:pt x="1152" y="507"/>
                  </a:lnTo>
                  <a:lnTo>
                    <a:pt x="1152" y="503"/>
                  </a:lnTo>
                  <a:lnTo>
                    <a:pt x="1148" y="503"/>
                  </a:lnTo>
                  <a:lnTo>
                    <a:pt x="1148" y="507"/>
                  </a:lnTo>
                  <a:lnTo>
                    <a:pt x="1145" y="507"/>
                  </a:lnTo>
                  <a:lnTo>
                    <a:pt x="1145" y="503"/>
                  </a:lnTo>
                  <a:lnTo>
                    <a:pt x="1141" y="503"/>
                  </a:lnTo>
                  <a:lnTo>
                    <a:pt x="1145" y="503"/>
                  </a:lnTo>
                  <a:lnTo>
                    <a:pt x="1145" y="499"/>
                  </a:lnTo>
                  <a:lnTo>
                    <a:pt x="1148" y="499"/>
                  </a:lnTo>
                  <a:lnTo>
                    <a:pt x="1152" y="499"/>
                  </a:lnTo>
                  <a:lnTo>
                    <a:pt x="1152" y="495"/>
                  </a:lnTo>
                  <a:lnTo>
                    <a:pt x="1152" y="491"/>
                  </a:lnTo>
                  <a:lnTo>
                    <a:pt x="1156" y="491"/>
                  </a:lnTo>
                  <a:lnTo>
                    <a:pt x="1160" y="491"/>
                  </a:lnTo>
                  <a:lnTo>
                    <a:pt x="1160" y="487"/>
                  </a:lnTo>
                  <a:lnTo>
                    <a:pt x="1156" y="487"/>
                  </a:lnTo>
                  <a:lnTo>
                    <a:pt x="1152" y="491"/>
                  </a:lnTo>
                  <a:lnTo>
                    <a:pt x="1152" y="495"/>
                  </a:lnTo>
                  <a:lnTo>
                    <a:pt x="1148" y="495"/>
                  </a:lnTo>
                  <a:lnTo>
                    <a:pt x="1145" y="499"/>
                  </a:lnTo>
                  <a:lnTo>
                    <a:pt x="1137" y="499"/>
                  </a:lnTo>
                  <a:lnTo>
                    <a:pt x="1137" y="495"/>
                  </a:lnTo>
                  <a:lnTo>
                    <a:pt x="1141" y="495"/>
                  </a:lnTo>
                  <a:lnTo>
                    <a:pt x="1141" y="491"/>
                  </a:lnTo>
                  <a:lnTo>
                    <a:pt x="1145" y="487"/>
                  </a:lnTo>
                  <a:lnTo>
                    <a:pt x="1141" y="491"/>
                  </a:lnTo>
                  <a:lnTo>
                    <a:pt x="1137" y="495"/>
                  </a:lnTo>
                  <a:lnTo>
                    <a:pt x="1133" y="495"/>
                  </a:lnTo>
                  <a:lnTo>
                    <a:pt x="1133" y="491"/>
                  </a:lnTo>
                  <a:lnTo>
                    <a:pt x="1129" y="491"/>
                  </a:lnTo>
                  <a:lnTo>
                    <a:pt x="1125" y="487"/>
                  </a:lnTo>
                  <a:lnTo>
                    <a:pt x="1129" y="487"/>
                  </a:lnTo>
                  <a:lnTo>
                    <a:pt x="1125" y="487"/>
                  </a:lnTo>
                  <a:lnTo>
                    <a:pt x="1121" y="487"/>
                  </a:lnTo>
                  <a:lnTo>
                    <a:pt x="1121" y="483"/>
                  </a:lnTo>
                  <a:lnTo>
                    <a:pt x="1121" y="479"/>
                  </a:lnTo>
                  <a:lnTo>
                    <a:pt x="1121" y="483"/>
                  </a:lnTo>
                  <a:lnTo>
                    <a:pt x="1117" y="483"/>
                  </a:lnTo>
                  <a:lnTo>
                    <a:pt x="1113" y="483"/>
                  </a:lnTo>
                  <a:lnTo>
                    <a:pt x="1109" y="483"/>
                  </a:lnTo>
                  <a:lnTo>
                    <a:pt x="1113" y="483"/>
                  </a:lnTo>
                  <a:lnTo>
                    <a:pt x="1117" y="483"/>
                  </a:lnTo>
                  <a:lnTo>
                    <a:pt x="1117" y="487"/>
                  </a:lnTo>
                  <a:lnTo>
                    <a:pt x="1113" y="487"/>
                  </a:lnTo>
                  <a:lnTo>
                    <a:pt x="1117" y="487"/>
                  </a:lnTo>
                  <a:lnTo>
                    <a:pt x="1117" y="491"/>
                  </a:lnTo>
                  <a:lnTo>
                    <a:pt x="1113" y="491"/>
                  </a:lnTo>
                  <a:lnTo>
                    <a:pt x="1113" y="487"/>
                  </a:lnTo>
                  <a:lnTo>
                    <a:pt x="1109" y="487"/>
                  </a:lnTo>
                  <a:lnTo>
                    <a:pt x="1109" y="483"/>
                  </a:lnTo>
                  <a:lnTo>
                    <a:pt x="1105" y="483"/>
                  </a:lnTo>
                  <a:lnTo>
                    <a:pt x="1105" y="487"/>
                  </a:lnTo>
                  <a:lnTo>
                    <a:pt x="1109" y="487"/>
                  </a:lnTo>
                  <a:lnTo>
                    <a:pt x="1109" y="491"/>
                  </a:lnTo>
                  <a:lnTo>
                    <a:pt x="1113" y="491"/>
                  </a:lnTo>
                  <a:lnTo>
                    <a:pt x="1113" y="495"/>
                  </a:lnTo>
                  <a:lnTo>
                    <a:pt x="1117" y="495"/>
                  </a:lnTo>
                  <a:lnTo>
                    <a:pt x="1117" y="499"/>
                  </a:lnTo>
                  <a:lnTo>
                    <a:pt x="1113" y="499"/>
                  </a:lnTo>
                  <a:lnTo>
                    <a:pt x="1109" y="499"/>
                  </a:lnTo>
                  <a:lnTo>
                    <a:pt x="1105" y="499"/>
                  </a:lnTo>
                  <a:lnTo>
                    <a:pt x="1105" y="495"/>
                  </a:lnTo>
                  <a:lnTo>
                    <a:pt x="1101" y="495"/>
                  </a:lnTo>
                  <a:lnTo>
                    <a:pt x="1101" y="491"/>
                  </a:lnTo>
                  <a:lnTo>
                    <a:pt x="1097" y="491"/>
                  </a:lnTo>
                  <a:lnTo>
                    <a:pt x="1093" y="491"/>
                  </a:lnTo>
                  <a:lnTo>
                    <a:pt x="1097" y="491"/>
                  </a:lnTo>
                  <a:lnTo>
                    <a:pt x="1097" y="495"/>
                  </a:lnTo>
                  <a:lnTo>
                    <a:pt x="1101" y="495"/>
                  </a:lnTo>
                  <a:lnTo>
                    <a:pt x="1105" y="495"/>
                  </a:lnTo>
                  <a:lnTo>
                    <a:pt x="1105" y="499"/>
                  </a:lnTo>
                  <a:lnTo>
                    <a:pt x="1101" y="499"/>
                  </a:lnTo>
                  <a:lnTo>
                    <a:pt x="1101" y="495"/>
                  </a:lnTo>
                  <a:lnTo>
                    <a:pt x="1101" y="499"/>
                  </a:lnTo>
                  <a:lnTo>
                    <a:pt x="1101" y="503"/>
                  </a:lnTo>
                  <a:lnTo>
                    <a:pt x="1105" y="503"/>
                  </a:lnTo>
                  <a:lnTo>
                    <a:pt x="1109" y="503"/>
                  </a:lnTo>
                  <a:lnTo>
                    <a:pt x="1105" y="507"/>
                  </a:lnTo>
                  <a:lnTo>
                    <a:pt x="1105" y="511"/>
                  </a:lnTo>
                  <a:lnTo>
                    <a:pt x="1105" y="507"/>
                  </a:lnTo>
                  <a:lnTo>
                    <a:pt x="1109" y="507"/>
                  </a:lnTo>
                  <a:lnTo>
                    <a:pt x="1113" y="507"/>
                  </a:lnTo>
                  <a:lnTo>
                    <a:pt x="1117" y="507"/>
                  </a:lnTo>
                  <a:lnTo>
                    <a:pt x="1113" y="511"/>
                  </a:lnTo>
                  <a:lnTo>
                    <a:pt x="1117" y="511"/>
                  </a:lnTo>
                  <a:lnTo>
                    <a:pt x="1121" y="511"/>
                  </a:lnTo>
                  <a:lnTo>
                    <a:pt x="1117" y="515"/>
                  </a:lnTo>
                  <a:lnTo>
                    <a:pt x="1113" y="515"/>
                  </a:lnTo>
                  <a:lnTo>
                    <a:pt x="1117" y="515"/>
                  </a:lnTo>
                  <a:lnTo>
                    <a:pt x="1121" y="519"/>
                  </a:lnTo>
                  <a:lnTo>
                    <a:pt x="1117" y="519"/>
                  </a:lnTo>
                  <a:lnTo>
                    <a:pt x="1117" y="523"/>
                  </a:lnTo>
                  <a:lnTo>
                    <a:pt x="1121" y="519"/>
                  </a:lnTo>
                  <a:lnTo>
                    <a:pt x="1125" y="519"/>
                  </a:lnTo>
                  <a:lnTo>
                    <a:pt x="1121" y="523"/>
                  </a:lnTo>
                  <a:lnTo>
                    <a:pt x="1125" y="523"/>
                  </a:lnTo>
                  <a:lnTo>
                    <a:pt x="1125" y="527"/>
                  </a:lnTo>
                  <a:lnTo>
                    <a:pt x="1125" y="531"/>
                  </a:lnTo>
                  <a:lnTo>
                    <a:pt x="1125" y="527"/>
                  </a:lnTo>
                  <a:lnTo>
                    <a:pt x="1125" y="523"/>
                  </a:lnTo>
                  <a:lnTo>
                    <a:pt x="1129" y="523"/>
                  </a:lnTo>
                  <a:lnTo>
                    <a:pt x="1129" y="527"/>
                  </a:lnTo>
                  <a:lnTo>
                    <a:pt x="1133" y="527"/>
                  </a:lnTo>
                  <a:lnTo>
                    <a:pt x="1133" y="531"/>
                  </a:lnTo>
                  <a:lnTo>
                    <a:pt x="1133" y="527"/>
                  </a:lnTo>
                  <a:lnTo>
                    <a:pt x="1137" y="527"/>
                  </a:lnTo>
                  <a:lnTo>
                    <a:pt x="1133" y="531"/>
                  </a:lnTo>
                  <a:lnTo>
                    <a:pt x="1137" y="531"/>
                  </a:lnTo>
                  <a:lnTo>
                    <a:pt x="1137" y="527"/>
                  </a:lnTo>
                  <a:lnTo>
                    <a:pt x="1141" y="527"/>
                  </a:lnTo>
                  <a:lnTo>
                    <a:pt x="1141" y="531"/>
                  </a:lnTo>
                  <a:lnTo>
                    <a:pt x="1141" y="535"/>
                  </a:lnTo>
                  <a:lnTo>
                    <a:pt x="1145" y="535"/>
                  </a:lnTo>
                  <a:lnTo>
                    <a:pt x="1148" y="535"/>
                  </a:lnTo>
                  <a:lnTo>
                    <a:pt x="1148" y="539"/>
                  </a:lnTo>
                  <a:lnTo>
                    <a:pt x="1148" y="543"/>
                  </a:lnTo>
                  <a:lnTo>
                    <a:pt x="1145" y="543"/>
                  </a:lnTo>
                  <a:lnTo>
                    <a:pt x="1145" y="539"/>
                  </a:lnTo>
                  <a:lnTo>
                    <a:pt x="1141" y="539"/>
                  </a:lnTo>
                  <a:lnTo>
                    <a:pt x="1141" y="543"/>
                  </a:lnTo>
                  <a:lnTo>
                    <a:pt x="1145" y="543"/>
                  </a:lnTo>
                  <a:lnTo>
                    <a:pt x="1148" y="547"/>
                  </a:lnTo>
                  <a:lnTo>
                    <a:pt x="1152" y="547"/>
                  </a:lnTo>
                  <a:lnTo>
                    <a:pt x="1156" y="547"/>
                  </a:lnTo>
                  <a:lnTo>
                    <a:pt x="1156" y="551"/>
                  </a:lnTo>
                  <a:lnTo>
                    <a:pt x="1152" y="551"/>
                  </a:lnTo>
                  <a:lnTo>
                    <a:pt x="1148" y="551"/>
                  </a:lnTo>
                  <a:lnTo>
                    <a:pt x="1148" y="555"/>
                  </a:lnTo>
                  <a:lnTo>
                    <a:pt x="1152" y="555"/>
                  </a:lnTo>
                  <a:lnTo>
                    <a:pt x="1156" y="555"/>
                  </a:lnTo>
                  <a:lnTo>
                    <a:pt x="1156" y="559"/>
                  </a:lnTo>
                  <a:lnTo>
                    <a:pt x="1156" y="563"/>
                  </a:lnTo>
                  <a:lnTo>
                    <a:pt x="1156" y="567"/>
                  </a:lnTo>
                  <a:lnTo>
                    <a:pt x="1152" y="567"/>
                  </a:lnTo>
                  <a:lnTo>
                    <a:pt x="1152" y="563"/>
                  </a:lnTo>
                  <a:lnTo>
                    <a:pt x="1152" y="559"/>
                  </a:lnTo>
                  <a:lnTo>
                    <a:pt x="1148" y="559"/>
                  </a:lnTo>
                  <a:lnTo>
                    <a:pt x="1148" y="555"/>
                  </a:lnTo>
                  <a:lnTo>
                    <a:pt x="1145" y="555"/>
                  </a:lnTo>
                  <a:lnTo>
                    <a:pt x="1148" y="555"/>
                  </a:lnTo>
                  <a:lnTo>
                    <a:pt x="1148" y="559"/>
                  </a:lnTo>
                  <a:lnTo>
                    <a:pt x="1148" y="563"/>
                  </a:lnTo>
                  <a:lnTo>
                    <a:pt x="1152" y="567"/>
                  </a:lnTo>
                  <a:lnTo>
                    <a:pt x="1148" y="567"/>
                  </a:lnTo>
                  <a:lnTo>
                    <a:pt x="1148" y="571"/>
                  </a:lnTo>
                  <a:lnTo>
                    <a:pt x="1152" y="571"/>
                  </a:lnTo>
                  <a:lnTo>
                    <a:pt x="1152" y="575"/>
                  </a:lnTo>
                  <a:lnTo>
                    <a:pt x="1156" y="575"/>
                  </a:lnTo>
                  <a:lnTo>
                    <a:pt x="1152" y="579"/>
                  </a:lnTo>
                  <a:lnTo>
                    <a:pt x="1148" y="575"/>
                  </a:lnTo>
                  <a:lnTo>
                    <a:pt x="1145" y="575"/>
                  </a:lnTo>
                  <a:lnTo>
                    <a:pt x="1148" y="579"/>
                  </a:lnTo>
                  <a:lnTo>
                    <a:pt x="1148" y="583"/>
                  </a:lnTo>
                  <a:lnTo>
                    <a:pt x="1152" y="583"/>
                  </a:lnTo>
                  <a:lnTo>
                    <a:pt x="1148" y="583"/>
                  </a:lnTo>
                  <a:lnTo>
                    <a:pt x="1148" y="587"/>
                  </a:lnTo>
                  <a:lnTo>
                    <a:pt x="1145" y="583"/>
                  </a:lnTo>
                  <a:lnTo>
                    <a:pt x="1145" y="579"/>
                  </a:lnTo>
                  <a:lnTo>
                    <a:pt x="1141" y="579"/>
                  </a:lnTo>
                  <a:lnTo>
                    <a:pt x="1141" y="575"/>
                  </a:lnTo>
                  <a:lnTo>
                    <a:pt x="1137" y="575"/>
                  </a:lnTo>
                  <a:lnTo>
                    <a:pt x="1133" y="575"/>
                  </a:lnTo>
                  <a:lnTo>
                    <a:pt x="1133" y="571"/>
                  </a:lnTo>
                  <a:lnTo>
                    <a:pt x="1129" y="571"/>
                  </a:lnTo>
                  <a:lnTo>
                    <a:pt x="1133" y="575"/>
                  </a:lnTo>
                  <a:lnTo>
                    <a:pt x="1129" y="575"/>
                  </a:lnTo>
                  <a:lnTo>
                    <a:pt x="1129" y="571"/>
                  </a:lnTo>
                  <a:lnTo>
                    <a:pt x="1125" y="571"/>
                  </a:lnTo>
                  <a:lnTo>
                    <a:pt x="1125" y="567"/>
                  </a:lnTo>
                  <a:lnTo>
                    <a:pt x="1125" y="563"/>
                  </a:lnTo>
                  <a:lnTo>
                    <a:pt x="1125" y="567"/>
                  </a:lnTo>
                  <a:lnTo>
                    <a:pt x="1125" y="571"/>
                  </a:lnTo>
                  <a:lnTo>
                    <a:pt x="1125" y="575"/>
                  </a:lnTo>
                  <a:lnTo>
                    <a:pt x="1125" y="571"/>
                  </a:lnTo>
                  <a:lnTo>
                    <a:pt x="1125" y="567"/>
                  </a:lnTo>
                  <a:lnTo>
                    <a:pt x="1121" y="567"/>
                  </a:lnTo>
                  <a:lnTo>
                    <a:pt x="1121" y="571"/>
                  </a:lnTo>
                  <a:lnTo>
                    <a:pt x="1121" y="567"/>
                  </a:lnTo>
                  <a:lnTo>
                    <a:pt x="1121" y="563"/>
                  </a:lnTo>
                  <a:lnTo>
                    <a:pt x="1121" y="567"/>
                  </a:lnTo>
                  <a:lnTo>
                    <a:pt x="1117" y="567"/>
                  </a:lnTo>
                  <a:lnTo>
                    <a:pt x="1113" y="563"/>
                  </a:lnTo>
                  <a:lnTo>
                    <a:pt x="1109" y="559"/>
                  </a:lnTo>
                  <a:lnTo>
                    <a:pt x="1109" y="555"/>
                  </a:lnTo>
                  <a:lnTo>
                    <a:pt x="1105" y="555"/>
                  </a:lnTo>
                  <a:lnTo>
                    <a:pt x="1109" y="559"/>
                  </a:lnTo>
                  <a:lnTo>
                    <a:pt x="1109" y="563"/>
                  </a:lnTo>
                  <a:lnTo>
                    <a:pt x="1109" y="567"/>
                  </a:lnTo>
                  <a:lnTo>
                    <a:pt x="1109" y="563"/>
                  </a:lnTo>
                  <a:lnTo>
                    <a:pt x="1105" y="563"/>
                  </a:lnTo>
                  <a:lnTo>
                    <a:pt x="1105" y="559"/>
                  </a:lnTo>
                  <a:lnTo>
                    <a:pt x="1101" y="559"/>
                  </a:lnTo>
                  <a:lnTo>
                    <a:pt x="1097" y="559"/>
                  </a:lnTo>
                  <a:lnTo>
                    <a:pt x="1097" y="555"/>
                  </a:lnTo>
                  <a:lnTo>
                    <a:pt x="1093" y="555"/>
                  </a:lnTo>
                  <a:lnTo>
                    <a:pt x="1089" y="555"/>
                  </a:lnTo>
                  <a:lnTo>
                    <a:pt x="1093" y="559"/>
                  </a:lnTo>
                  <a:lnTo>
                    <a:pt x="1097" y="563"/>
                  </a:lnTo>
                  <a:lnTo>
                    <a:pt x="1101" y="567"/>
                  </a:lnTo>
                  <a:lnTo>
                    <a:pt x="1101" y="571"/>
                  </a:lnTo>
                  <a:lnTo>
                    <a:pt x="1105" y="571"/>
                  </a:lnTo>
                  <a:lnTo>
                    <a:pt x="1109" y="571"/>
                  </a:lnTo>
                  <a:lnTo>
                    <a:pt x="1109" y="575"/>
                  </a:lnTo>
                  <a:lnTo>
                    <a:pt x="1113" y="575"/>
                  </a:lnTo>
                  <a:lnTo>
                    <a:pt x="1109" y="575"/>
                  </a:lnTo>
                  <a:lnTo>
                    <a:pt x="1113" y="575"/>
                  </a:lnTo>
                  <a:lnTo>
                    <a:pt x="1117" y="579"/>
                  </a:lnTo>
                  <a:lnTo>
                    <a:pt x="1121" y="579"/>
                  </a:lnTo>
                  <a:lnTo>
                    <a:pt x="1121" y="583"/>
                  </a:lnTo>
                  <a:lnTo>
                    <a:pt x="1125" y="583"/>
                  </a:lnTo>
                  <a:lnTo>
                    <a:pt x="1129" y="587"/>
                  </a:lnTo>
                  <a:lnTo>
                    <a:pt x="1129" y="591"/>
                  </a:lnTo>
                  <a:lnTo>
                    <a:pt x="1133" y="591"/>
                  </a:lnTo>
                  <a:lnTo>
                    <a:pt x="1133" y="595"/>
                  </a:lnTo>
                  <a:lnTo>
                    <a:pt x="1137" y="595"/>
                  </a:lnTo>
                  <a:lnTo>
                    <a:pt x="1133" y="595"/>
                  </a:lnTo>
                  <a:lnTo>
                    <a:pt x="1133" y="599"/>
                  </a:lnTo>
                  <a:lnTo>
                    <a:pt x="1137" y="599"/>
                  </a:lnTo>
                  <a:lnTo>
                    <a:pt x="1137" y="603"/>
                  </a:lnTo>
                  <a:lnTo>
                    <a:pt x="1133" y="603"/>
                  </a:lnTo>
                  <a:lnTo>
                    <a:pt x="1129" y="603"/>
                  </a:lnTo>
                  <a:lnTo>
                    <a:pt x="1125" y="603"/>
                  </a:lnTo>
                  <a:lnTo>
                    <a:pt x="1125" y="599"/>
                  </a:lnTo>
                  <a:lnTo>
                    <a:pt x="1121" y="599"/>
                  </a:lnTo>
                  <a:lnTo>
                    <a:pt x="1117" y="599"/>
                  </a:lnTo>
                  <a:lnTo>
                    <a:pt x="1113" y="595"/>
                  </a:lnTo>
                  <a:lnTo>
                    <a:pt x="1109" y="595"/>
                  </a:lnTo>
                  <a:lnTo>
                    <a:pt x="1105" y="595"/>
                  </a:lnTo>
                  <a:lnTo>
                    <a:pt x="1101" y="595"/>
                  </a:lnTo>
                  <a:lnTo>
                    <a:pt x="1097" y="595"/>
                  </a:lnTo>
                  <a:lnTo>
                    <a:pt x="1097" y="591"/>
                  </a:lnTo>
                  <a:lnTo>
                    <a:pt x="1093" y="591"/>
                  </a:lnTo>
                  <a:lnTo>
                    <a:pt x="1089" y="591"/>
                  </a:lnTo>
                  <a:lnTo>
                    <a:pt x="1089" y="587"/>
                  </a:lnTo>
                  <a:lnTo>
                    <a:pt x="1085" y="587"/>
                  </a:lnTo>
                  <a:lnTo>
                    <a:pt x="1085" y="583"/>
                  </a:lnTo>
                  <a:lnTo>
                    <a:pt x="1085" y="587"/>
                  </a:lnTo>
                  <a:lnTo>
                    <a:pt x="1081" y="583"/>
                  </a:lnTo>
                  <a:lnTo>
                    <a:pt x="1081" y="579"/>
                  </a:lnTo>
                  <a:lnTo>
                    <a:pt x="1077" y="579"/>
                  </a:lnTo>
                  <a:lnTo>
                    <a:pt x="1073" y="579"/>
                  </a:lnTo>
                  <a:close/>
                  <a:moveTo>
                    <a:pt x="965" y="311"/>
                  </a:moveTo>
                  <a:lnTo>
                    <a:pt x="961" y="311"/>
                  </a:lnTo>
                  <a:lnTo>
                    <a:pt x="957" y="311"/>
                  </a:lnTo>
                  <a:lnTo>
                    <a:pt x="953" y="311"/>
                  </a:lnTo>
                  <a:lnTo>
                    <a:pt x="949" y="311"/>
                  </a:lnTo>
                  <a:lnTo>
                    <a:pt x="945" y="311"/>
                  </a:lnTo>
                  <a:lnTo>
                    <a:pt x="941" y="311"/>
                  </a:lnTo>
                  <a:lnTo>
                    <a:pt x="937" y="315"/>
                  </a:lnTo>
                  <a:lnTo>
                    <a:pt x="933" y="315"/>
                  </a:lnTo>
                  <a:lnTo>
                    <a:pt x="929" y="315"/>
                  </a:lnTo>
                  <a:lnTo>
                    <a:pt x="925" y="311"/>
                  </a:lnTo>
                  <a:lnTo>
                    <a:pt x="921" y="311"/>
                  </a:lnTo>
                  <a:lnTo>
                    <a:pt x="921" y="307"/>
                  </a:lnTo>
                  <a:lnTo>
                    <a:pt x="921" y="303"/>
                  </a:lnTo>
                  <a:lnTo>
                    <a:pt x="921" y="299"/>
                  </a:lnTo>
                  <a:lnTo>
                    <a:pt x="917" y="299"/>
                  </a:lnTo>
                  <a:lnTo>
                    <a:pt x="913" y="299"/>
                  </a:lnTo>
                  <a:lnTo>
                    <a:pt x="909" y="299"/>
                  </a:lnTo>
                  <a:lnTo>
                    <a:pt x="909" y="295"/>
                  </a:lnTo>
                  <a:lnTo>
                    <a:pt x="909" y="287"/>
                  </a:lnTo>
                  <a:lnTo>
                    <a:pt x="913" y="287"/>
                  </a:lnTo>
                  <a:lnTo>
                    <a:pt x="917" y="287"/>
                  </a:lnTo>
                  <a:lnTo>
                    <a:pt x="921" y="287"/>
                  </a:lnTo>
                  <a:lnTo>
                    <a:pt x="925" y="287"/>
                  </a:lnTo>
                  <a:lnTo>
                    <a:pt x="929" y="287"/>
                  </a:lnTo>
                  <a:lnTo>
                    <a:pt x="929" y="291"/>
                  </a:lnTo>
                  <a:lnTo>
                    <a:pt x="933" y="291"/>
                  </a:lnTo>
                  <a:lnTo>
                    <a:pt x="937" y="291"/>
                  </a:lnTo>
                  <a:lnTo>
                    <a:pt x="937" y="287"/>
                  </a:lnTo>
                  <a:lnTo>
                    <a:pt x="941" y="287"/>
                  </a:lnTo>
                  <a:lnTo>
                    <a:pt x="945" y="287"/>
                  </a:lnTo>
                  <a:lnTo>
                    <a:pt x="949" y="287"/>
                  </a:lnTo>
                  <a:lnTo>
                    <a:pt x="953" y="287"/>
                  </a:lnTo>
                  <a:lnTo>
                    <a:pt x="953" y="291"/>
                  </a:lnTo>
                  <a:lnTo>
                    <a:pt x="957" y="291"/>
                  </a:lnTo>
                  <a:lnTo>
                    <a:pt x="961" y="291"/>
                  </a:lnTo>
                  <a:lnTo>
                    <a:pt x="965" y="291"/>
                  </a:lnTo>
                  <a:lnTo>
                    <a:pt x="965" y="295"/>
                  </a:lnTo>
                  <a:lnTo>
                    <a:pt x="969" y="295"/>
                  </a:lnTo>
                  <a:lnTo>
                    <a:pt x="969" y="299"/>
                  </a:lnTo>
                  <a:lnTo>
                    <a:pt x="973" y="299"/>
                  </a:lnTo>
                  <a:lnTo>
                    <a:pt x="973" y="303"/>
                  </a:lnTo>
                  <a:lnTo>
                    <a:pt x="977" y="303"/>
                  </a:lnTo>
                  <a:lnTo>
                    <a:pt x="977" y="307"/>
                  </a:lnTo>
                  <a:lnTo>
                    <a:pt x="981" y="307"/>
                  </a:lnTo>
                  <a:lnTo>
                    <a:pt x="981" y="311"/>
                  </a:lnTo>
                  <a:lnTo>
                    <a:pt x="977" y="311"/>
                  </a:lnTo>
                  <a:lnTo>
                    <a:pt x="973" y="311"/>
                  </a:lnTo>
                  <a:lnTo>
                    <a:pt x="969" y="311"/>
                  </a:lnTo>
                  <a:lnTo>
                    <a:pt x="965" y="311"/>
                  </a:lnTo>
                  <a:close/>
                  <a:moveTo>
                    <a:pt x="542" y="311"/>
                  </a:moveTo>
                  <a:lnTo>
                    <a:pt x="538" y="307"/>
                  </a:lnTo>
                  <a:lnTo>
                    <a:pt x="538" y="311"/>
                  </a:lnTo>
                  <a:lnTo>
                    <a:pt x="542" y="311"/>
                  </a:lnTo>
                  <a:lnTo>
                    <a:pt x="538" y="311"/>
                  </a:lnTo>
                  <a:lnTo>
                    <a:pt x="534" y="307"/>
                  </a:lnTo>
                  <a:lnTo>
                    <a:pt x="530" y="303"/>
                  </a:lnTo>
                  <a:lnTo>
                    <a:pt x="526" y="303"/>
                  </a:lnTo>
                  <a:lnTo>
                    <a:pt x="526" y="299"/>
                  </a:lnTo>
                  <a:lnTo>
                    <a:pt x="522" y="295"/>
                  </a:lnTo>
                  <a:lnTo>
                    <a:pt x="518" y="295"/>
                  </a:lnTo>
                  <a:lnTo>
                    <a:pt x="514" y="295"/>
                  </a:lnTo>
                  <a:lnTo>
                    <a:pt x="514" y="291"/>
                  </a:lnTo>
                  <a:lnTo>
                    <a:pt x="518" y="287"/>
                  </a:lnTo>
                  <a:lnTo>
                    <a:pt x="522" y="287"/>
                  </a:lnTo>
                  <a:lnTo>
                    <a:pt x="526" y="287"/>
                  </a:lnTo>
                  <a:lnTo>
                    <a:pt x="530" y="287"/>
                  </a:lnTo>
                  <a:lnTo>
                    <a:pt x="534" y="287"/>
                  </a:lnTo>
                  <a:lnTo>
                    <a:pt x="538" y="287"/>
                  </a:lnTo>
                  <a:lnTo>
                    <a:pt x="542" y="287"/>
                  </a:lnTo>
                  <a:lnTo>
                    <a:pt x="546" y="287"/>
                  </a:lnTo>
                  <a:lnTo>
                    <a:pt x="550" y="291"/>
                  </a:lnTo>
                  <a:lnTo>
                    <a:pt x="550" y="295"/>
                  </a:lnTo>
                  <a:lnTo>
                    <a:pt x="550" y="299"/>
                  </a:lnTo>
                  <a:lnTo>
                    <a:pt x="546" y="303"/>
                  </a:lnTo>
                  <a:lnTo>
                    <a:pt x="546" y="307"/>
                  </a:lnTo>
                  <a:lnTo>
                    <a:pt x="542" y="307"/>
                  </a:lnTo>
                  <a:lnTo>
                    <a:pt x="542" y="311"/>
                  </a:lnTo>
                  <a:close/>
                  <a:moveTo>
                    <a:pt x="251" y="291"/>
                  </a:moveTo>
                  <a:lnTo>
                    <a:pt x="255" y="291"/>
                  </a:lnTo>
                  <a:lnTo>
                    <a:pt x="251" y="291"/>
                  </a:lnTo>
                  <a:close/>
                  <a:moveTo>
                    <a:pt x="506" y="291"/>
                  </a:moveTo>
                  <a:lnTo>
                    <a:pt x="502" y="291"/>
                  </a:lnTo>
                  <a:lnTo>
                    <a:pt x="498" y="291"/>
                  </a:lnTo>
                  <a:lnTo>
                    <a:pt x="502" y="291"/>
                  </a:lnTo>
                  <a:lnTo>
                    <a:pt x="506" y="291"/>
                  </a:lnTo>
                  <a:close/>
                  <a:moveTo>
                    <a:pt x="379" y="375"/>
                  </a:moveTo>
                  <a:lnTo>
                    <a:pt x="375" y="375"/>
                  </a:lnTo>
                  <a:lnTo>
                    <a:pt x="371" y="375"/>
                  </a:lnTo>
                  <a:lnTo>
                    <a:pt x="367" y="375"/>
                  </a:lnTo>
                  <a:lnTo>
                    <a:pt x="363" y="375"/>
                  </a:lnTo>
                  <a:lnTo>
                    <a:pt x="359" y="375"/>
                  </a:lnTo>
                  <a:lnTo>
                    <a:pt x="355" y="375"/>
                  </a:lnTo>
                  <a:lnTo>
                    <a:pt x="351" y="375"/>
                  </a:lnTo>
                  <a:lnTo>
                    <a:pt x="351" y="371"/>
                  </a:lnTo>
                  <a:lnTo>
                    <a:pt x="347" y="371"/>
                  </a:lnTo>
                  <a:lnTo>
                    <a:pt x="347" y="367"/>
                  </a:lnTo>
                  <a:lnTo>
                    <a:pt x="343" y="367"/>
                  </a:lnTo>
                  <a:lnTo>
                    <a:pt x="343" y="363"/>
                  </a:lnTo>
                  <a:lnTo>
                    <a:pt x="347" y="359"/>
                  </a:lnTo>
                  <a:lnTo>
                    <a:pt x="351" y="359"/>
                  </a:lnTo>
                  <a:lnTo>
                    <a:pt x="355" y="359"/>
                  </a:lnTo>
                  <a:lnTo>
                    <a:pt x="359" y="359"/>
                  </a:lnTo>
                  <a:lnTo>
                    <a:pt x="363" y="355"/>
                  </a:lnTo>
                  <a:lnTo>
                    <a:pt x="367" y="355"/>
                  </a:lnTo>
                  <a:lnTo>
                    <a:pt x="371" y="355"/>
                  </a:lnTo>
                  <a:lnTo>
                    <a:pt x="375" y="355"/>
                  </a:lnTo>
                  <a:lnTo>
                    <a:pt x="379" y="355"/>
                  </a:lnTo>
                  <a:lnTo>
                    <a:pt x="383" y="355"/>
                  </a:lnTo>
                  <a:lnTo>
                    <a:pt x="383" y="351"/>
                  </a:lnTo>
                  <a:lnTo>
                    <a:pt x="379" y="351"/>
                  </a:lnTo>
                  <a:lnTo>
                    <a:pt x="383" y="351"/>
                  </a:lnTo>
                  <a:lnTo>
                    <a:pt x="387" y="351"/>
                  </a:lnTo>
                  <a:lnTo>
                    <a:pt x="391" y="351"/>
                  </a:lnTo>
                  <a:lnTo>
                    <a:pt x="391" y="347"/>
                  </a:lnTo>
                  <a:lnTo>
                    <a:pt x="391" y="351"/>
                  </a:lnTo>
                  <a:lnTo>
                    <a:pt x="387" y="351"/>
                  </a:lnTo>
                  <a:lnTo>
                    <a:pt x="387" y="347"/>
                  </a:lnTo>
                  <a:lnTo>
                    <a:pt x="383" y="347"/>
                  </a:lnTo>
                  <a:lnTo>
                    <a:pt x="379" y="347"/>
                  </a:lnTo>
                  <a:lnTo>
                    <a:pt x="375" y="351"/>
                  </a:lnTo>
                  <a:lnTo>
                    <a:pt x="371" y="351"/>
                  </a:lnTo>
                  <a:lnTo>
                    <a:pt x="367" y="351"/>
                  </a:lnTo>
                  <a:lnTo>
                    <a:pt x="363" y="351"/>
                  </a:lnTo>
                  <a:lnTo>
                    <a:pt x="359" y="351"/>
                  </a:lnTo>
                  <a:lnTo>
                    <a:pt x="355" y="351"/>
                  </a:lnTo>
                  <a:lnTo>
                    <a:pt x="359" y="351"/>
                  </a:lnTo>
                  <a:lnTo>
                    <a:pt x="355" y="351"/>
                  </a:lnTo>
                  <a:lnTo>
                    <a:pt x="355" y="355"/>
                  </a:lnTo>
                  <a:lnTo>
                    <a:pt x="351" y="351"/>
                  </a:lnTo>
                  <a:lnTo>
                    <a:pt x="351" y="355"/>
                  </a:lnTo>
                  <a:lnTo>
                    <a:pt x="351" y="351"/>
                  </a:lnTo>
                  <a:lnTo>
                    <a:pt x="347" y="351"/>
                  </a:lnTo>
                  <a:lnTo>
                    <a:pt x="343" y="351"/>
                  </a:lnTo>
                  <a:lnTo>
                    <a:pt x="347" y="347"/>
                  </a:lnTo>
                  <a:lnTo>
                    <a:pt x="351" y="347"/>
                  </a:lnTo>
                  <a:lnTo>
                    <a:pt x="355" y="347"/>
                  </a:lnTo>
                  <a:lnTo>
                    <a:pt x="351" y="347"/>
                  </a:lnTo>
                  <a:lnTo>
                    <a:pt x="351" y="343"/>
                  </a:lnTo>
                  <a:lnTo>
                    <a:pt x="347" y="343"/>
                  </a:lnTo>
                  <a:lnTo>
                    <a:pt x="347" y="347"/>
                  </a:lnTo>
                  <a:lnTo>
                    <a:pt x="343" y="347"/>
                  </a:lnTo>
                  <a:lnTo>
                    <a:pt x="339" y="347"/>
                  </a:lnTo>
                  <a:lnTo>
                    <a:pt x="339" y="343"/>
                  </a:lnTo>
                  <a:lnTo>
                    <a:pt x="335" y="343"/>
                  </a:lnTo>
                  <a:lnTo>
                    <a:pt x="335" y="347"/>
                  </a:lnTo>
                  <a:lnTo>
                    <a:pt x="331" y="347"/>
                  </a:lnTo>
                  <a:lnTo>
                    <a:pt x="331" y="343"/>
                  </a:lnTo>
                  <a:lnTo>
                    <a:pt x="331" y="339"/>
                  </a:lnTo>
                  <a:lnTo>
                    <a:pt x="335" y="335"/>
                  </a:lnTo>
                  <a:lnTo>
                    <a:pt x="339" y="335"/>
                  </a:lnTo>
                  <a:lnTo>
                    <a:pt x="335" y="331"/>
                  </a:lnTo>
                  <a:lnTo>
                    <a:pt x="339" y="331"/>
                  </a:lnTo>
                  <a:lnTo>
                    <a:pt x="343" y="331"/>
                  </a:lnTo>
                  <a:lnTo>
                    <a:pt x="347" y="331"/>
                  </a:lnTo>
                  <a:lnTo>
                    <a:pt x="347" y="327"/>
                  </a:lnTo>
                  <a:lnTo>
                    <a:pt x="343" y="327"/>
                  </a:lnTo>
                  <a:lnTo>
                    <a:pt x="339" y="327"/>
                  </a:lnTo>
                  <a:lnTo>
                    <a:pt x="339" y="323"/>
                  </a:lnTo>
                  <a:lnTo>
                    <a:pt x="343" y="319"/>
                  </a:lnTo>
                  <a:lnTo>
                    <a:pt x="347" y="319"/>
                  </a:lnTo>
                  <a:lnTo>
                    <a:pt x="351" y="315"/>
                  </a:lnTo>
                  <a:lnTo>
                    <a:pt x="355" y="315"/>
                  </a:lnTo>
                  <a:lnTo>
                    <a:pt x="355" y="311"/>
                  </a:lnTo>
                  <a:lnTo>
                    <a:pt x="359" y="311"/>
                  </a:lnTo>
                  <a:lnTo>
                    <a:pt x="363" y="311"/>
                  </a:lnTo>
                  <a:lnTo>
                    <a:pt x="363" y="307"/>
                  </a:lnTo>
                  <a:lnTo>
                    <a:pt x="367" y="307"/>
                  </a:lnTo>
                  <a:lnTo>
                    <a:pt x="371" y="307"/>
                  </a:lnTo>
                  <a:lnTo>
                    <a:pt x="375" y="303"/>
                  </a:lnTo>
                  <a:lnTo>
                    <a:pt x="379" y="303"/>
                  </a:lnTo>
                  <a:lnTo>
                    <a:pt x="383" y="303"/>
                  </a:lnTo>
                  <a:lnTo>
                    <a:pt x="387" y="299"/>
                  </a:lnTo>
                  <a:lnTo>
                    <a:pt x="391" y="299"/>
                  </a:lnTo>
                  <a:lnTo>
                    <a:pt x="395" y="299"/>
                  </a:lnTo>
                  <a:lnTo>
                    <a:pt x="399" y="295"/>
                  </a:lnTo>
                  <a:lnTo>
                    <a:pt x="403" y="299"/>
                  </a:lnTo>
                  <a:lnTo>
                    <a:pt x="407" y="299"/>
                  </a:lnTo>
                  <a:lnTo>
                    <a:pt x="407" y="303"/>
                  </a:lnTo>
                  <a:lnTo>
                    <a:pt x="411" y="303"/>
                  </a:lnTo>
                  <a:lnTo>
                    <a:pt x="407" y="307"/>
                  </a:lnTo>
                  <a:lnTo>
                    <a:pt x="407" y="311"/>
                  </a:lnTo>
                  <a:lnTo>
                    <a:pt x="407" y="315"/>
                  </a:lnTo>
                  <a:lnTo>
                    <a:pt x="403" y="315"/>
                  </a:lnTo>
                  <a:lnTo>
                    <a:pt x="403" y="319"/>
                  </a:lnTo>
                  <a:lnTo>
                    <a:pt x="399" y="319"/>
                  </a:lnTo>
                  <a:lnTo>
                    <a:pt x="403" y="319"/>
                  </a:lnTo>
                  <a:lnTo>
                    <a:pt x="407" y="319"/>
                  </a:lnTo>
                  <a:lnTo>
                    <a:pt x="411" y="315"/>
                  </a:lnTo>
                  <a:lnTo>
                    <a:pt x="411" y="319"/>
                  </a:lnTo>
                  <a:lnTo>
                    <a:pt x="415" y="315"/>
                  </a:lnTo>
                  <a:lnTo>
                    <a:pt x="415" y="319"/>
                  </a:lnTo>
                  <a:lnTo>
                    <a:pt x="411" y="319"/>
                  </a:lnTo>
                  <a:lnTo>
                    <a:pt x="415" y="319"/>
                  </a:lnTo>
                  <a:lnTo>
                    <a:pt x="415" y="315"/>
                  </a:lnTo>
                  <a:lnTo>
                    <a:pt x="419" y="315"/>
                  </a:lnTo>
                  <a:lnTo>
                    <a:pt x="415" y="315"/>
                  </a:lnTo>
                  <a:lnTo>
                    <a:pt x="419" y="311"/>
                  </a:lnTo>
                  <a:lnTo>
                    <a:pt x="419" y="307"/>
                  </a:lnTo>
                  <a:lnTo>
                    <a:pt x="423" y="307"/>
                  </a:lnTo>
                  <a:lnTo>
                    <a:pt x="427" y="307"/>
                  </a:lnTo>
                  <a:lnTo>
                    <a:pt x="431" y="307"/>
                  </a:lnTo>
                  <a:lnTo>
                    <a:pt x="431" y="311"/>
                  </a:lnTo>
                  <a:lnTo>
                    <a:pt x="435" y="311"/>
                  </a:lnTo>
                  <a:lnTo>
                    <a:pt x="439" y="311"/>
                  </a:lnTo>
                  <a:lnTo>
                    <a:pt x="442" y="311"/>
                  </a:lnTo>
                  <a:lnTo>
                    <a:pt x="446" y="311"/>
                  </a:lnTo>
                  <a:lnTo>
                    <a:pt x="446" y="315"/>
                  </a:lnTo>
                  <a:lnTo>
                    <a:pt x="450" y="315"/>
                  </a:lnTo>
                  <a:lnTo>
                    <a:pt x="450" y="319"/>
                  </a:lnTo>
                  <a:lnTo>
                    <a:pt x="446" y="323"/>
                  </a:lnTo>
                  <a:lnTo>
                    <a:pt x="442" y="323"/>
                  </a:lnTo>
                  <a:lnTo>
                    <a:pt x="442" y="327"/>
                  </a:lnTo>
                  <a:lnTo>
                    <a:pt x="439" y="327"/>
                  </a:lnTo>
                  <a:lnTo>
                    <a:pt x="442" y="327"/>
                  </a:lnTo>
                  <a:lnTo>
                    <a:pt x="446" y="327"/>
                  </a:lnTo>
                  <a:lnTo>
                    <a:pt x="442" y="327"/>
                  </a:lnTo>
                  <a:lnTo>
                    <a:pt x="446" y="323"/>
                  </a:lnTo>
                  <a:lnTo>
                    <a:pt x="450" y="323"/>
                  </a:lnTo>
                  <a:lnTo>
                    <a:pt x="450" y="327"/>
                  </a:lnTo>
                  <a:lnTo>
                    <a:pt x="450" y="323"/>
                  </a:lnTo>
                  <a:lnTo>
                    <a:pt x="454" y="323"/>
                  </a:lnTo>
                  <a:lnTo>
                    <a:pt x="458" y="323"/>
                  </a:lnTo>
                  <a:lnTo>
                    <a:pt x="454" y="323"/>
                  </a:lnTo>
                  <a:lnTo>
                    <a:pt x="458" y="319"/>
                  </a:lnTo>
                  <a:lnTo>
                    <a:pt x="462" y="319"/>
                  </a:lnTo>
                  <a:lnTo>
                    <a:pt x="458" y="323"/>
                  </a:lnTo>
                  <a:lnTo>
                    <a:pt x="462" y="323"/>
                  </a:lnTo>
                  <a:lnTo>
                    <a:pt x="462" y="319"/>
                  </a:lnTo>
                  <a:lnTo>
                    <a:pt x="466" y="323"/>
                  </a:lnTo>
                  <a:lnTo>
                    <a:pt x="470" y="323"/>
                  </a:lnTo>
                  <a:lnTo>
                    <a:pt x="466" y="323"/>
                  </a:lnTo>
                  <a:lnTo>
                    <a:pt x="466" y="319"/>
                  </a:lnTo>
                  <a:lnTo>
                    <a:pt x="470" y="319"/>
                  </a:lnTo>
                  <a:lnTo>
                    <a:pt x="470" y="323"/>
                  </a:lnTo>
                  <a:lnTo>
                    <a:pt x="470" y="319"/>
                  </a:lnTo>
                  <a:lnTo>
                    <a:pt x="466" y="319"/>
                  </a:lnTo>
                  <a:lnTo>
                    <a:pt x="462" y="315"/>
                  </a:lnTo>
                  <a:lnTo>
                    <a:pt x="466" y="315"/>
                  </a:lnTo>
                  <a:lnTo>
                    <a:pt x="470" y="315"/>
                  </a:lnTo>
                  <a:lnTo>
                    <a:pt x="466" y="315"/>
                  </a:lnTo>
                  <a:lnTo>
                    <a:pt x="466" y="311"/>
                  </a:lnTo>
                  <a:lnTo>
                    <a:pt x="462" y="311"/>
                  </a:lnTo>
                  <a:lnTo>
                    <a:pt x="458" y="311"/>
                  </a:lnTo>
                  <a:lnTo>
                    <a:pt x="458" y="307"/>
                  </a:lnTo>
                  <a:lnTo>
                    <a:pt x="462" y="307"/>
                  </a:lnTo>
                  <a:lnTo>
                    <a:pt x="466" y="307"/>
                  </a:lnTo>
                  <a:lnTo>
                    <a:pt x="470" y="307"/>
                  </a:lnTo>
                  <a:lnTo>
                    <a:pt x="474" y="311"/>
                  </a:lnTo>
                  <a:lnTo>
                    <a:pt x="478" y="315"/>
                  </a:lnTo>
                  <a:lnTo>
                    <a:pt x="482" y="315"/>
                  </a:lnTo>
                  <a:lnTo>
                    <a:pt x="482" y="319"/>
                  </a:lnTo>
                  <a:lnTo>
                    <a:pt x="486" y="319"/>
                  </a:lnTo>
                  <a:lnTo>
                    <a:pt x="490" y="319"/>
                  </a:lnTo>
                  <a:lnTo>
                    <a:pt x="490" y="323"/>
                  </a:lnTo>
                  <a:lnTo>
                    <a:pt x="490" y="327"/>
                  </a:lnTo>
                  <a:lnTo>
                    <a:pt x="490" y="331"/>
                  </a:lnTo>
                  <a:lnTo>
                    <a:pt x="494" y="331"/>
                  </a:lnTo>
                  <a:lnTo>
                    <a:pt x="494" y="335"/>
                  </a:lnTo>
                  <a:lnTo>
                    <a:pt x="494" y="339"/>
                  </a:lnTo>
                  <a:lnTo>
                    <a:pt x="494" y="343"/>
                  </a:lnTo>
                  <a:lnTo>
                    <a:pt x="498" y="343"/>
                  </a:lnTo>
                  <a:lnTo>
                    <a:pt x="498" y="347"/>
                  </a:lnTo>
                  <a:lnTo>
                    <a:pt x="502" y="347"/>
                  </a:lnTo>
                  <a:lnTo>
                    <a:pt x="502" y="343"/>
                  </a:lnTo>
                  <a:lnTo>
                    <a:pt x="506" y="343"/>
                  </a:lnTo>
                  <a:lnTo>
                    <a:pt x="506" y="339"/>
                  </a:lnTo>
                  <a:lnTo>
                    <a:pt x="510" y="339"/>
                  </a:lnTo>
                  <a:lnTo>
                    <a:pt x="506" y="335"/>
                  </a:lnTo>
                  <a:lnTo>
                    <a:pt x="502" y="335"/>
                  </a:lnTo>
                  <a:lnTo>
                    <a:pt x="506" y="335"/>
                  </a:lnTo>
                  <a:lnTo>
                    <a:pt x="506" y="331"/>
                  </a:lnTo>
                  <a:lnTo>
                    <a:pt x="502" y="331"/>
                  </a:lnTo>
                  <a:lnTo>
                    <a:pt x="502" y="327"/>
                  </a:lnTo>
                  <a:lnTo>
                    <a:pt x="502" y="323"/>
                  </a:lnTo>
                  <a:lnTo>
                    <a:pt x="502" y="319"/>
                  </a:lnTo>
                  <a:lnTo>
                    <a:pt x="498" y="319"/>
                  </a:lnTo>
                  <a:lnTo>
                    <a:pt x="498" y="315"/>
                  </a:lnTo>
                  <a:lnTo>
                    <a:pt x="498" y="311"/>
                  </a:lnTo>
                  <a:lnTo>
                    <a:pt x="498" y="307"/>
                  </a:lnTo>
                  <a:lnTo>
                    <a:pt x="494" y="303"/>
                  </a:lnTo>
                  <a:lnTo>
                    <a:pt x="498" y="303"/>
                  </a:lnTo>
                  <a:lnTo>
                    <a:pt x="502" y="303"/>
                  </a:lnTo>
                  <a:lnTo>
                    <a:pt x="498" y="303"/>
                  </a:lnTo>
                  <a:lnTo>
                    <a:pt x="498" y="299"/>
                  </a:lnTo>
                  <a:lnTo>
                    <a:pt x="502" y="299"/>
                  </a:lnTo>
                  <a:lnTo>
                    <a:pt x="506" y="299"/>
                  </a:lnTo>
                  <a:lnTo>
                    <a:pt x="510" y="299"/>
                  </a:lnTo>
                  <a:lnTo>
                    <a:pt x="510" y="303"/>
                  </a:lnTo>
                  <a:lnTo>
                    <a:pt x="514" y="303"/>
                  </a:lnTo>
                  <a:lnTo>
                    <a:pt x="514" y="299"/>
                  </a:lnTo>
                  <a:lnTo>
                    <a:pt x="518" y="299"/>
                  </a:lnTo>
                  <a:lnTo>
                    <a:pt x="518" y="303"/>
                  </a:lnTo>
                  <a:lnTo>
                    <a:pt x="522" y="303"/>
                  </a:lnTo>
                  <a:lnTo>
                    <a:pt x="526" y="303"/>
                  </a:lnTo>
                  <a:lnTo>
                    <a:pt x="530" y="307"/>
                  </a:lnTo>
                  <a:lnTo>
                    <a:pt x="534" y="307"/>
                  </a:lnTo>
                  <a:lnTo>
                    <a:pt x="534" y="311"/>
                  </a:lnTo>
                  <a:lnTo>
                    <a:pt x="538" y="311"/>
                  </a:lnTo>
                  <a:lnTo>
                    <a:pt x="538" y="315"/>
                  </a:lnTo>
                  <a:lnTo>
                    <a:pt x="538" y="319"/>
                  </a:lnTo>
                  <a:lnTo>
                    <a:pt x="542" y="319"/>
                  </a:lnTo>
                  <a:lnTo>
                    <a:pt x="542" y="323"/>
                  </a:lnTo>
                  <a:lnTo>
                    <a:pt x="538" y="323"/>
                  </a:lnTo>
                  <a:lnTo>
                    <a:pt x="542" y="323"/>
                  </a:lnTo>
                  <a:lnTo>
                    <a:pt x="542" y="327"/>
                  </a:lnTo>
                  <a:lnTo>
                    <a:pt x="542" y="331"/>
                  </a:lnTo>
                  <a:lnTo>
                    <a:pt x="546" y="331"/>
                  </a:lnTo>
                  <a:lnTo>
                    <a:pt x="542" y="331"/>
                  </a:lnTo>
                  <a:lnTo>
                    <a:pt x="542" y="335"/>
                  </a:lnTo>
                  <a:lnTo>
                    <a:pt x="546" y="335"/>
                  </a:lnTo>
                  <a:lnTo>
                    <a:pt x="546" y="339"/>
                  </a:lnTo>
                  <a:lnTo>
                    <a:pt x="550" y="339"/>
                  </a:lnTo>
                  <a:lnTo>
                    <a:pt x="550" y="343"/>
                  </a:lnTo>
                  <a:lnTo>
                    <a:pt x="554" y="347"/>
                  </a:lnTo>
                  <a:lnTo>
                    <a:pt x="554" y="351"/>
                  </a:lnTo>
                  <a:lnTo>
                    <a:pt x="554" y="355"/>
                  </a:lnTo>
                  <a:lnTo>
                    <a:pt x="550" y="355"/>
                  </a:lnTo>
                  <a:lnTo>
                    <a:pt x="554" y="355"/>
                  </a:lnTo>
                  <a:lnTo>
                    <a:pt x="554" y="359"/>
                  </a:lnTo>
                  <a:lnTo>
                    <a:pt x="550" y="359"/>
                  </a:lnTo>
                  <a:lnTo>
                    <a:pt x="550" y="363"/>
                  </a:lnTo>
                  <a:lnTo>
                    <a:pt x="554" y="363"/>
                  </a:lnTo>
                  <a:lnTo>
                    <a:pt x="558" y="367"/>
                  </a:lnTo>
                  <a:lnTo>
                    <a:pt x="558" y="371"/>
                  </a:lnTo>
                  <a:lnTo>
                    <a:pt x="562" y="371"/>
                  </a:lnTo>
                  <a:lnTo>
                    <a:pt x="566" y="375"/>
                  </a:lnTo>
                  <a:lnTo>
                    <a:pt x="570" y="375"/>
                  </a:lnTo>
                  <a:lnTo>
                    <a:pt x="574" y="375"/>
                  </a:lnTo>
                  <a:lnTo>
                    <a:pt x="574" y="379"/>
                  </a:lnTo>
                  <a:lnTo>
                    <a:pt x="574" y="375"/>
                  </a:lnTo>
                  <a:lnTo>
                    <a:pt x="574" y="371"/>
                  </a:lnTo>
                  <a:lnTo>
                    <a:pt x="578" y="375"/>
                  </a:lnTo>
                  <a:lnTo>
                    <a:pt x="578" y="379"/>
                  </a:lnTo>
                  <a:lnTo>
                    <a:pt x="582" y="379"/>
                  </a:lnTo>
                  <a:lnTo>
                    <a:pt x="586" y="379"/>
                  </a:lnTo>
                  <a:lnTo>
                    <a:pt x="586" y="383"/>
                  </a:lnTo>
                  <a:lnTo>
                    <a:pt x="590" y="383"/>
                  </a:lnTo>
                  <a:lnTo>
                    <a:pt x="594" y="383"/>
                  </a:lnTo>
                  <a:lnTo>
                    <a:pt x="594" y="387"/>
                  </a:lnTo>
                  <a:lnTo>
                    <a:pt x="598" y="387"/>
                  </a:lnTo>
                  <a:lnTo>
                    <a:pt x="602" y="387"/>
                  </a:lnTo>
                  <a:lnTo>
                    <a:pt x="606" y="387"/>
                  </a:lnTo>
                  <a:lnTo>
                    <a:pt x="606" y="391"/>
                  </a:lnTo>
                  <a:lnTo>
                    <a:pt x="606" y="395"/>
                  </a:lnTo>
                  <a:lnTo>
                    <a:pt x="606" y="399"/>
                  </a:lnTo>
                  <a:lnTo>
                    <a:pt x="602" y="399"/>
                  </a:lnTo>
                  <a:lnTo>
                    <a:pt x="598" y="399"/>
                  </a:lnTo>
                  <a:lnTo>
                    <a:pt x="598" y="395"/>
                  </a:lnTo>
                  <a:lnTo>
                    <a:pt x="598" y="399"/>
                  </a:lnTo>
                  <a:lnTo>
                    <a:pt x="594" y="399"/>
                  </a:lnTo>
                  <a:lnTo>
                    <a:pt x="590" y="399"/>
                  </a:lnTo>
                  <a:lnTo>
                    <a:pt x="590" y="395"/>
                  </a:lnTo>
                  <a:lnTo>
                    <a:pt x="586" y="395"/>
                  </a:lnTo>
                  <a:lnTo>
                    <a:pt x="582" y="399"/>
                  </a:lnTo>
                  <a:lnTo>
                    <a:pt x="578" y="399"/>
                  </a:lnTo>
                  <a:lnTo>
                    <a:pt x="582" y="399"/>
                  </a:lnTo>
                  <a:lnTo>
                    <a:pt x="582" y="403"/>
                  </a:lnTo>
                  <a:lnTo>
                    <a:pt x="578" y="403"/>
                  </a:lnTo>
                  <a:lnTo>
                    <a:pt x="574" y="403"/>
                  </a:lnTo>
                  <a:lnTo>
                    <a:pt x="570" y="399"/>
                  </a:lnTo>
                  <a:lnTo>
                    <a:pt x="566" y="399"/>
                  </a:lnTo>
                  <a:lnTo>
                    <a:pt x="566" y="403"/>
                  </a:lnTo>
                  <a:lnTo>
                    <a:pt x="570" y="403"/>
                  </a:lnTo>
                  <a:lnTo>
                    <a:pt x="574" y="403"/>
                  </a:lnTo>
                  <a:lnTo>
                    <a:pt x="574" y="407"/>
                  </a:lnTo>
                  <a:lnTo>
                    <a:pt x="574" y="411"/>
                  </a:lnTo>
                  <a:lnTo>
                    <a:pt x="570" y="411"/>
                  </a:lnTo>
                  <a:lnTo>
                    <a:pt x="570" y="415"/>
                  </a:lnTo>
                  <a:lnTo>
                    <a:pt x="574" y="415"/>
                  </a:lnTo>
                  <a:lnTo>
                    <a:pt x="574" y="411"/>
                  </a:lnTo>
                  <a:lnTo>
                    <a:pt x="578" y="407"/>
                  </a:lnTo>
                  <a:lnTo>
                    <a:pt x="582" y="407"/>
                  </a:lnTo>
                  <a:lnTo>
                    <a:pt x="582" y="403"/>
                  </a:lnTo>
                  <a:lnTo>
                    <a:pt x="586" y="403"/>
                  </a:lnTo>
                  <a:lnTo>
                    <a:pt x="590" y="403"/>
                  </a:lnTo>
                  <a:lnTo>
                    <a:pt x="590" y="407"/>
                  </a:lnTo>
                  <a:lnTo>
                    <a:pt x="590" y="411"/>
                  </a:lnTo>
                  <a:lnTo>
                    <a:pt x="586" y="411"/>
                  </a:lnTo>
                  <a:lnTo>
                    <a:pt x="586" y="415"/>
                  </a:lnTo>
                  <a:lnTo>
                    <a:pt x="590" y="415"/>
                  </a:lnTo>
                  <a:lnTo>
                    <a:pt x="590" y="411"/>
                  </a:lnTo>
                  <a:lnTo>
                    <a:pt x="594" y="411"/>
                  </a:lnTo>
                  <a:lnTo>
                    <a:pt x="594" y="415"/>
                  </a:lnTo>
                  <a:lnTo>
                    <a:pt x="594" y="419"/>
                  </a:lnTo>
                  <a:lnTo>
                    <a:pt x="590" y="419"/>
                  </a:lnTo>
                  <a:lnTo>
                    <a:pt x="586" y="419"/>
                  </a:lnTo>
                  <a:lnTo>
                    <a:pt x="582" y="419"/>
                  </a:lnTo>
                  <a:lnTo>
                    <a:pt x="582" y="423"/>
                  </a:lnTo>
                  <a:lnTo>
                    <a:pt x="578" y="423"/>
                  </a:lnTo>
                  <a:lnTo>
                    <a:pt x="574" y="423"/>
                  </a:lnTo>
                  <a:lnTo>
                    <a:pt x="570" y="423"/>
                  </a:lnTo>
                  <a:lnTo>
                    <a:pt x="566" y="423"/>
                  </a:lnTo>
                  <a:lnTo>
                    <a:pt x="562" y="423"/>
                  </a:lnTo>
                  <a:lnTo>
                    <a:pt x="558" y="423"/>
                  </a:lnTo>
                  <a:lnTo>
                    <a:pt x="554" y="419"/>
                  </a:lnTo>
                  <a:lnTo>
                    <a:pt x="550" y="423"/>
                  </a:lnTo>
                  <a:lnTo>
                    <a:pt x="546" y="423"/>
                  </a:lnTo>
                  <a:lnTo>
                    <a:pt x="542" y="419"/>
                  </a:lnTo>
                  <a:lnTo>
                    <a:pt x="546" y="415"/>
                  </a:lnTo>
                  <a:lnTo>
                    <a:pt x="542" y="415"/>
                  </a:lnTo>
                  <a:lnTo>
                    <a:pt x="538" y="415"/>
                  </a:lnTo>
                  <a:lnTo>
                    <a:pt x="534" y="415"/>
                  </a:lnTo>
                  <a:lnTo>
                    <a:pt x="530" y="415"/>
                  </a:lnTo>
                  <a:lnTo>
                    <a:pt x="526" y="415"/>
                  </a:lnTo>
                  <a:lnTo>
                    <a:pt x="522" y="411"/>
                  </a:lnTo>
                  <a:lnTo>
                    <a:pt x="526" y="411"/>
                  </a:lnTo>
                  <a:lnTo>
                    <a:pt x="526" y="407"/>
                  </a:lnTo>
                  <a:lnTo>
                    <a:pt x="522" y="407"/>
                  </a:lnTo>
                  <a:lnTo>
                    <a:pt x="522" y="403"/>
                  </a:lnTo>
                  <a:lnTo>
                    <a:pt x="518" y="403"/>
                  </a:lnTo>
                  <a:lnTo>
                    <a:pt x="518" y="407"/>
                  </a:lnTo>
                  <a:lnTo>
                    <a:pt x="514" y="407"/>
                  </a:lnTo>
                  <a:lnTo>
                    <a:pt x="514" y="411"/>
                  </a:lnTo>
                  <a:lnTo>
                    <a:pt x="514" y="415"/>
                  </a:lnTo>
                  <a:lnTo>
                    <a:pt x="510" y="415"/>
                  </a:lnTo>
                  <a:lnTo>
                    <a:pt x="510" y="419"/>
                  </a:lnTo>
                  <a:lnTo>
                    <a:pt x="506" y="419"/>
                  </a:lnTo>
                  <a:lnTo>
                    <a:pt x="502" y="419"/>
                  </a:lnTo>
                  <a:lnTo>
                    <a:pt x="498" y="419"/>
                  </a:lnTo>
                  <a:lnTo>
                    <a:pt x="494" y="419"/>
                  </a:lnTo>
                  <a:lnTo>
                    <a:pt x="490" y="419"/>
                  </a:lnTo>
                  <a:lnTo>
                    <a:pt x="490" y="423"/>
                  </a:lnTo>
                  <a:lnTo>
                    <a:pt x="486" y="423"/>
                  </a:lnTo>
                  <a:lnTo>
                    <a:pt x="482" y="427"/>
                  </a:lnTo>
                  <a:lnTo>
                    <a:pt x="478" y="427"/>
                  </a:lnTo>
                  <a:lnTo>
                    <a:pt x="474" y="427"/>
                  </a:lnTo>
                  <a:lnTo>
                    <a:pt x="470" y="427"/>
                  </a:lnTo>
                  <a:lnTo>
                    <a:pt x="466" y="427"/>
                  </a:lnTo>
                  <a:lnTo>
                    <a:pt x="462" y="427"/>
                  </a:lnTo>
                  <a:lnTo>
                    <a:pt x="462" y="431"/>
                  </a:lnTo>
                  <a:lnTo>
                    <a:pt x="462" y="427"/>
                  </a:lnTo>
                  <a:lnTo>
                    <a:pt x="458" y="427"/>
                  </a:lnTo>
                  <a:lnTo>
                    <a:pt x="458" y="431"/>
                  </a:lnTo>
                  <a:lnTo>
                    <a:pt x="454" y="431"/>
                  </a:lnTo>
                  <a:lnTo>
                    <a:pt x="454" y="427"/>
                  </a:lnTo>
                  <a:lnTo>
                    <a:pt x="454" y="431"/>
                  </a:lnTo>
                  <a:lnTo>
                    <a:pt x="450" y="431"/>
                  </a:lnTo>
                  <a:lnTo>
                    <a:pt x="446" y="431"/>
                  </a:lnTo>
                  <a:lnTo>
                    <a:pt x="450" y="431"/>
                  </a:lnTo>
                  <a:lnTo>
                    <a:pt x="446" y="431"/>
                  </a:lnTo>
                  <a:lnTo>
                    <a:pt x="442" y="431"/>
                  </a:lnTo>
                  <a:lnTo>
                    <a:pt x="439" y="431"/>
                  </a:lnTo>
                  <a:lnTo>
                    <a:pt x="435" y="431"/>
                  </a:lnTo>
                  <a:lnTo>
                    <a:pt x="431" y="431"/>
                  </a:lnTo>
                  <a:lnTo>
                    <a:pt x="427" y="431"/>
                  </a:lnTo>
                  <a:lnTo>
                    <a:pt x="423" y="431"/>
                  </a:lnTo>
                  <a:lnTo>
                    <a:pt x="419" y="431"/>
                  </a:lnTo>
                  <a:lnTo>
                    <a:pt x="423" y="431"/>
                  </a:lnTo>
                  <a:lnTo>
                    <a:pt x="419" y="431"/>
                  </a:lnTo>
                  <a:lnTo>
                    <a:pt x="419" y="427"/>
                  </a:lnTo>
                  <a:lnTo>
                    <a:pt x="415" y="427"/>
                  </a:lnTo>
                  <a:lnTo>
                    <a:pt x="415" y="423"/>
                  </a:lnTo>
                  <a:lnTo>
                    <a:pt x="415" y="419"/>
                  </a:lnTo>
                  <a:lnTo>
                    <a:pt x="415" y="415"/>
                  </a:lnTo>
                  <a:lnTo>
                    <a:pt x="415" y="411"/>
                  </a:lnTo>
                  <a:lnTo>
                    <a:pt x="415" y="415"/>
                  </a:lnTo>
                  <a:lnTo>
                    <a:pt x="415" y="411"/>
                  </a:lnTo>
                  <a:lnTo>
                    <a:pt x="411" y="411"/>
                  </a:lnTo>
                  <a:lnTo>
                    <a:pt x="403" y="411"/>
                  </a:lnTo>
                  <a:lnTo>
                    <a:pt x="399" y="411"/>
                  </a:lnTo>
                  <a:lnTo>
                    <a:pt x="395" y="411"/>
                  </a:lnTo>
                  <a:lnTo>
                    <a:pt x="391" y="411"/>
                  </a:lnTo>
                  <a:lnTo>
                    <a:pt x="387" y="411"/>
                  </a:lnTo>
                  <a:lnTo>
                    <a:pt x="383" y="411"/>
                  </a:lnTo>
                  <a:lnTo>
                    <a:pt x="379" y="411"/>
                  </a:lnTo>
                  <a:lnTo>
                    <a:pt x="375" y="407"/>
                  </a:lnTo>
                  <a:lnTo>
                    <a:pt x="371" y="407"/>
                  </a:lnTo>
                  <a:lnTo>
                    <a:pt x="367" y="407"/>
                  </a:lnTo>
                  <a:lnTo>
                    <a:pt x="371" y="403"/>
                  </a:lnTo>
                  <a:lnTo>
                    <a:pt x="367" y="403"/>
                  </a:lnTo>
                  <a:lnTo>
                    <a:pt x="363" y="403"/>
                  </a:lnTo>
                  <a:lnTo>
                    <a:pt x="367" y="403"/>
                  </a:lnTo>
                  <a:lnTo>
                    <a:pt x="367" y="399"/>
                  </a:lnTo>
                  <a:lnTo>
                    <a:pt x="363" y="399"/>
                  </a:lnTo>
                  <a:lnTo>
                    <a:pt x="359" y="399"/>
                  </a:lnTo>
                  <a:lnTo>
                    <a:pt x="359" y="395"/>
                  </a:lnTo>
                  <a:lnTo>
                    <a:pt x="359" y="391"/>
                  </a:lnTo>
                  <a:lnTo>
                    <a:pt x="355" y="391"/>
                  </a:lnTo>
                  <a:lnTo>
                    <a:pt x="359" y="391"/>
                  </a:lnTo>
                  <a:lnTo>
                    <a:pt x="359" y="387"/>
                  </a:lnTo>
                  <a:lnTo>
                    <a:pt x="363" y="387"/>
                  </a:lnTo>
                  <a:lnTo>
                    <a:pt x="371" y="387"/>
                  </a:lnTo>
                  <a:lnTo>
                    <a:pt x="375" y="387"/>
                  </a:lnTo>
                  <a:lnTo>
                    <a:pt x="379" y="383"/>
                  </a:lnTo>
                  <a:lnTo>
                    <a:pt x="383" y="383"/>
                  </a:lnTo>
                  <a:lnTo>
                    <a:pt x="387" y="383"/>
                  </a:lnTo>
                  <a:lnTo>
                    <a:pt x="391" y="383"/>
                  </a:lnTo>
                  <a:lnTo>
                    <a:pt x="395" y="383"/>
                  </a:lnTo>
                  <a:lnTo>
                    <a:pt x="399" y="383"/>
                  </a:lnTo>
                  <a:lnTo>
                    <a:pt x="403" y="383"/>
                  </a:lnTo>
                  <a:lnTo>
                    <a:pt x="407" y="383"/>
                  </a:lnTo>
                  <a:lnTo>
                    <a:pt x="411" y="383"/>
                  </a:lnTo>
                  <a:lnTo>
                    <a:pt x="415" y="383"/>
                  </a:lnTo>
                  <a:lnTo>
                    <a:pt x="419" y="383"/>
                  </a:lnTo>
                  <a:lnTo>
                    <a:pt x="423" y="383"/>
                  </a:lnTo>
                  <a:lnTo>
                    <a:pt x="427" y="387"/>
                  </a:lnTo>
                  <a:lnTo>
                    <a:pt x="431" y="387"/>
                  </a:lnTo>
                  <a:lnTo>
                    <a:pt x="431" y="383"/>
                  </a:lnTo>
                  <a:lnTo>
                    <a:pt x="435" y="383"/>
                  </a:lnTo>
                  <a:lnTo>
                    <a:pt x="439" y="383"/>
                  </a:lnTo>
                  <a:lnTo>
                    <a:pt x="442" y="383"/>
                  </a:lnTo>
                  <a:lnTo>
                    <a:pt x="446" y="383"/>
                  </a:lnTo>
                  <a:lnTo>
                    <a:pt x="442" y="379"/>
                  </a:lnTo>
                  <a:lnTo>
                    <a:pt x="442" y="383"/>
                  </a:lnTo>
                  <a:lnTo>
                    <a:pt x="439" y="379"/>
                  </a:lnTo>
                  <a:lnTo>
                    <a:pt x="435" y="379"/>
                  </a:lnTo>
                  <a:lnTo>
                    <a:pt x="431" y="375"/>
                  </a:lnTo>
                  <a:lnTo>
                    <a:pt x="427" y="375"/>
                  </a:lnTo>
                  <a:lnTo>
                    <a:pt x="423" y="375"/>
                  </a:lnTo>
                  <a:lnTo>
                    <a:pt x="419" y="375"/>
                  </a:lnTo>
                  <a:lnTo>
                    <a:pt x="415" y="371"/>
                  </a:lnTo>
                  <a:lnTo>
                    <a:pt x="415" y="375"/>
                  </a:lnTo>
                  <a:lnTo>
                    <a:pt x="415" y="371"/>
                  </a:lnTo>
                  <a:lnTo>
                    <a:pt x="411" y="371"/>
                  </a:lnTo>
                  <a:lnTo>
                    <a:pt x="407" y="371"/>
                  </a:lnTo>
                  <a:lnTo>
                    <a:pt x="403" y="371"/>
                  </a:lnTo>
                  <a:lnTo>
                    <a:pt x="403" y="375"/>
                  </a:lnTo>
                  <a:lnTo>
                    <a:pt x="399" y="375"/>
                  </a:lnTo>
                  <a:lnTo>
                    <a:pt x="395" y="375"/>
                  </a:lnTo>
                  <a:lnTo>
                    <a:pt x="391" y="375"/>
                  </a:lnTo>
                  <a:lnTo>
                    <a:pt x="387" y="375"/>
                  </a:lnTo>
                  <a:lnTo>
                    <a:pt x="379" y="375"/>
                  </a:lnTo>
                  <a:close/>
                  <a:moveTo>
                    <a:pt x="670" y="303"/>
                  </a:moveTo>
                  <a:lnTo>
                    <a:pt x="674" y="307"/>
                  </a:lnTo>
                  <a:lnTo>
                    <a:pt x="670" y="307"/>
                  </a:lnTo>
                  <a:lnTo>
                    <a:pt x="670" y="311"/>
                  </a:lnTo>
                  <a:lnTo>
                    <a:pt x="666" y="311"/>
                  </a:lnTo>
                  <a:lnTo>
                    <a:pt x="666" y="307"/>
                  </a:lnTo>
                  <a:lnTo>
                    <a:pt x="662" y="307"/>
                  </a:lnTo>
                  <a:lnTo>
                    <a:pt x="662" y="303"/>
                  </a:lnTo>
                  <a:lnTo>
                    <a:pt x="666" y="303"/>
                  </a:lnTo>
                  <a:lnTo>
                    <a:pt x="670" y="303"/>
                  </a:lnTo>
                  <a:close/>
                  <a:moveTo>
                    <a:pt x="670" y="311"/>
                  </a:moveTo>
                  <a:lnTo>
                    <a:pt x="670" y="315"/>
                  </a:lnTo>
                  <a:lnTo>
                    <a:pt x="666" y="315"/>
                  </a:lnTo>
                  <a:lnTo>
                    <a:pt x="666" y="311"/>
                  </a:lnTo>
                  <a:lnTo>
                    <a:pt x="670" y="311"/>
                  </a:lnTo>
                  <a:close/>
                  <a:moveTo>
                    <a:pt x="1001" y="331"/>
                  </a:moveTo>
                  <a:lnTo>
                    <a:pt x="1005" y="331"/>
                  </a:lnTo>
                  <a:lnTo>
                    <a:pt x="1001" y="331"/>
                  </a:lnTo>
                  <a:close/>
                  <a:moveTo>
                    <a:pt x="1025" y="343"/>
                  </a:moveTo>
                  <a:lnTo>
                    <a:pt x="1025" y="347"/>
                  </a:lnTo>
                  <a:lnTo>
                    <a:pt x="1021" y="347"/>
                  </a:lnTo>
                  <a:lnTo>
                    <a:pt x="1025" y="347"/>
                  </a:lnTo>
                  <a:lnTo>
                    <a:pt x="1025" y="343"/>
                  </a:lnTo>
                  <a:close/>
                  <a:moveTo>
                    <a:pt x="1029" y="347"/>
                  </a:moveTo>
                  <a:lnTo>
                    <a:pt x="1033" y="347"/>
                  </a:lnTo>
                  <a:lnTo>
                    <a:pt x="1033" y="343"/>
                  </a:lnTo>
                  <a:lnTo>
                    <a:pt x="1033" y="347"/>
                  </a:lnTo>
                  <a:lnTo>
                    <a:pt x="1029" y="347"/>
                  </a:lnTo>
                  <a:close/>
                  <a:moveTo>
                    <a:pt x="1029" y="355"/>
                  </a:moveTo>
                  <a:lnTo>
                    <a:pt x="1025" y="355"/>
                  </a:lnTo>
                  <a:lnTo>
                    <a:pt x="1025" y="351"/>
                  </a:lnTo>
                  <a:lnTo>
                    <a:pt x="1025" y="347"/>
                  </a:lnTo>
                  <a:lnTo>
                    <a:pt x="1029" y="347"/>
                  </a:lnTo>
                  <a:lnTo>
                    <a:pt x="1029" y="351"/>
                  </a:lnTo>
                  <a:lnTo>
                    <a:pt x="1025" y="351"/>
                  </a:lnTo>
                  <a:lnTo>
                    <a:pt x="1029" y="351"/>
                  </a:lnTo>
                  <a:lnTo>
                    <a:pt x="1029" y="347"/>
                  </a:lnTo>
                  <a:lnTo>
                    <a:pt x="1029" y="351"/>
                  </a:lnTo>
                  <a:lnTo>
                    <a:pt x="1033" y="351"/>
                  </a:lnTo>
                  <a:lnTo>
                    <a:pt x="1029" y="351"/>
                  </a:lnTo>
                  <a:lnTo>
                    <a:pt x="1029" y="355"/>
                  </a:lnTo>
                  <a:close/>
                  <a:moveTo>
                    <a:pt x="1057" y="359"/>
                  </a:moveTo>
                  <a:lnTo>
                    <a:pt x="1057" y="363"/>
                  </a:lnTo>
                  <a:lnTo>
                    <a:pt x="1057" y="359"/>
                  </a:lnTo>
                  <a:close/>
                  <a:moveTo>
                    <a:pt x="1049" y="363"/>
                  </a:moveTo>
                  <a:lnTo>
                    <a:pt x="1053" y="363"/>
                  </a:lnTo>
                  <a:lnTo>
                    <a:pt x="1053" y="367"/>
                  </a:lnTo>
                  <a:lnTo>
                    <a:pt x="1049" y="367"/>
                  </a:lnTo>
                  <a:lnTo>
                    <a:pt x="1045" y="367"/>
                  </a:lnTo>
                  <a:lnTo>
                    <a:pt x="1041" y="367"/>
                  </a:lnTo>
                  <a:lnTo>
                    <a:pt x="1045" y="367"/>
                  </a:lnTo>
                  <a:lnTo>
                    <a:pt x="1045" y="363"/>
                  </a:lnTo>
                  <a:lnTo>
                    <a:pt x="1049" y="363"/>
                  </a:lnTo>
                  <a:close/>
                  <a:moveTo>
                    <a:pt x="614" y="371"/>
                  </a:moveTo>
                  <a:lnTo>
                    <a:pt x="614" y="375"/>
                  </a:lnTo>
                  <a:lnTo>
                    <a:pt x="618" y="375"/>
                  </a:lnTo>
                  <a:lnTo>
                    <a:pt x="618" y="379"/>
                  </a:lnTo>
                  <a:lnTo>
                    <a:pt x="614" y="379"/>
                  </a:lnTo>
                  <a:lnTo>
                    <a:pt x="614" y="375"/>
                  </a:lnTo>
                  <a:lnTo>
                    <a:pt x="610" y="375"/>
                  </a:lnTo>
                  <a:lnTo>
                    <a:pt x="610" y="371"/>
                  </a:lnTo>
                  <a:lnTo>
                    <a:pt x="614" y="371"/>
                  </a:lnTo>
                  <a:close/>
                  <a:moveTo>
                    <a:pt x="195" y="375"/>
                  </a:moveTo>
                  <a:lnTo>
                    <a:pt x="191" y="375"/>
                  </a:lnTo>
                  <a:lnTo>
                    <a:pt x="191" y="371"/>
                  </a:lnTo>
                  <a:lnTo>
                    <a:pt x="195" y="375"/>
                  </a:lnTo>
                  <a:close/>
                  <a:moveTo>
                    <a:pt x="813" y="387"/>
                  </a:moveTo>
                  <a:lnTo>
                    <a:pt x="817" y="387"/>
                  </a:lnTo>
                  <a:lnTo>
                    <a:pt x="821" y="387"/>
                  </a:lnTo>
                  <a:lnTo>
                    <a:pt x="825" y="387"/>
                  </a:lnTo>
                  <a:lnTo>
                    <a:pt x="825" y="391"/>
                  </a:lnTo>
                  <a:lnTo>
                    <a:pt x="821" y="391"/>
                  </a:lnTo>
                  <a:lnTo>
                    <a:pt x="817" y="391"/>
                  </a:lnTo>
                  <a:lnTo>
                    <a:pt x="813" y="391"/>
                  </a:lnTo>
                  <a:lnTo>
                    <a:pt x="813" y="387"/>
                  </a:lnTo>
                  <a:lnTo>
                    <a:pt x="809" y="387"/>
                  </a:lnTo>
                  <a:lnTo>
                    <a:pt x="813" y="387"/>
                  </a:lnTo>
                  <a:close/>
                  <a:moveTo>
                    <a:pt x="682" y="423"/>
                  </a:moveTo>
                  <a:lnTo>
                    <a:pt x="686" y="419"/>
                  </a:lnTo>
                  <a:lnTo>
                    <a:pt x="686" y="423"/>
                  </a:lnTo>
                  <a:lnTo>
                    <a:pt x="690" y="423"/>
                  </a:lnTo>
                  <a:lnTo>
                    <a:pt x="690" y="419"/>
                  </a:lnTo>
                  <a:lnTo>
                    <a:pt x="694" y="423"/>
                  </a:lnTo>
                  <a:lnTo>
                    <a:pt x="690" y="423"/>
                  </a:lnTo>
                  <a:lnTo>
                    <a:pt x="690" y="427"/>
                  </a:lnTo>
                  <a:lnTo>
                    <a:pt x="686" y="427"/>
                  </a:lnTo>
                  <a:lnTo>
                    <a:pt x="686" y="423"/>
                  </a:lnTo>
                  <a:lnTo>
                    <a:pt x="682" y="427"/>
                  </a:lnTo>
                  <a:lnTo>
                    <a:pt x="678" y="431"/>
                  </a:lnTo>
                  <a:lnTo>
                    <a:pt x="674" y="431"/>
                  </a:lnTo>
                  <a:lnTo>
                    <a:pt x="670" y="431"/>
                  </a:lnTo>
                  <a:lnTo>
                    <a:pt x="666" y="431"/>
                  </a:lnTo>
                  <a:lnTo>
                    <a:pt x="662" y="431"/>
                  </a:lnTo>
                  <a:lnTo>
                    <a:pt x="658" y="431"/>
                  </a:lnTo>
                  <a:lnTo>
                    <a:pt x="654" y="427"/>
                  </a:lnTo>
                  <a:lnTo>
                    <a:pt x="650" y="427"/>
                  </a:lnTo>
                  <a:lnTo>
                    <a:pt x="646" y="427"/>
                  </a:lnTo>
                  <a:lnTo>
                    <a:pt x="646" y="423"/>
                  </a:lnTo>
                  <a:lnTo>
                    <a:pt x="642" y="423"/>
                  </a:lnTo>
                  <a:lnTo>
                    <a:pt x="638" y="423"/>
                  </a:lnTo>
                  <a:lnTo>
                    <a:pt x="638" y="419"/>
                  </a:lnTo>
                  <a:lnTo>
                    <a:pt x="634" y="419"/>
                  </a:lnTo>
                  <a:lnTo>
                    <a:pt x="634" y="423"/>
                  </a:lnTo>
                  <a:lnTo>
                    <a:pt x="630" y="423"/>
                  </a:lnTo>
                  <a:lnTo>
                    <a:pt x="630" y="419"/>
                  </a:lnTo>
                  <a:lnTo>
                    <a:pt x="626" y="419"/>
                  </a:lnTo>
                  <a:lnTo>
                    <a:pt x="626" y="415"/>
                  </a:lnTo>
                  <a:lnTo>
                    <a:pt x="630" y="415"/>
                  </a:lnTo>
                  <a:lnTo>
                    <a:pt x="634" y="415"/>
                  </a:lnTo>
                  <a:lnTo>
                    <a:pt x="638" y="415"/>
                  </a:lnTo>
                  <a:lnTo>
                    <a:pt x="638" y="411"/>
                  </a:lnTo>
                  <a:lnTo>
                    <a:pt x="642" y="411"/>
                  </a:lnTo>
                  <a:lnTo>
                    <a:pt x="646" y="411"/>
                  </a:lnTo>
                  <a:lnTo>
                    <a:pt x="642" y="407"/>
                  </a:lnTo>
                  <a:lnTo>
                    <a:pt x="646" y="407"/>
                  </a:lnTo>
                  <a:lnTo>
                    <a:pt x="642" y="403"/>
                  </a:lnTo>
                  <a:lnTo>
                    <a:pt x="646" y="403"/>
                  </a:lnTo>
                  <a:lnTo>
                    <a:pt x="650" y="407"/>
                  </a:lnTo>
                  <a:lnTo>
                    <a:pt x="646" y="403"/>
                  </a:lnTo>
                  <a:lnTo>
                    <a:pt x="646" y="399"/>
                  </a:lnTo>
                  <a:lnTo>
                    <a:pt x="646" y="395"/>
                  </a:lnTo>
                  <a:lnTo>
                    <a:pt x="650" y="395"/>
                  </a:lnTo>
                  <a:lnTo>
                    <a:pt x="654" y="395"/>
                  </a:lnTo>
                  <a:lnTo>
                    <a:pt x="658" y="395"/>
                  </a:lnTo>
                  <a:lnTo>
                    <a:pt x="658" y="399"/>
                  </a:lnTo>
                  <a:lnTo>
                    <a:pt x="662" y="399"/>
                  </a:lnTo>
                  <a:lnTo>
                    <a:pt x="658" y="399"/>
                  </a:lnTo>
                  <a:lnTo>
                    <a:pt x="658" y="403"/>
                  </a:lnTo>
                  <a:lnTo>
                    <a:pt x="662" y="399"/>
                  </a:lnTo>
                  <a:lnTo>
                    <a:pt x="662" y="403"/>
                  </a:lnTo>
                  <a:lnTo>
                    <a:pt x="666" y="403"/>
                  </a:lnTo>
                  <a:lnTo>
                    <a:pt x="670" y="407"/>
                  </a:lnTo>
                  <a:lnTo>
                    <a:pt x="674" y="407"/>
                  </a:lnTo>
                  <a:lnTo>
                    <a:pt x="678" y="407"/>
                  </a:lnTo>
                  <a:lnTo>
                    <a:pt x="678" y="411"/>
                  </a:lnTo>
                  <a:lnTo>
                    <a:pt x="678" y="415"/>
                  </a:lnTo>
                  <a:lnTo>
                    <a:pt x="678" y="419"/>
                  </a:lnTo>
                  <a:lnTo>
                    <a:pt x="678" y="415"/>
                  </a:lnTo>
                  <a:lnTo>
                    <a:pt x="678" y="411"/>
                  </a:lnTo>
                  <a:lnTo>
                    <a:pt x="682" y="411"/>
                  </a:lnTo>
                  <a:lnTo>
                    <a:pt x="682" y="415"/>
                  </a:lnTo>
                  <a:lnTo>
                    <a:pt x="682" y="419"/>
                  </a:lnTo>
                  <a:lnTo>
                    <a:pt x="682" y="423"/>
                  </a:lnTo>
                  <a:close/>
                  <a:moveTo>
                    <a:pt x="881" y="395"/>
                  </a:moveTo>
                  <a:lnTo>
                    <a:pt x="885" y="395"/>
                  </a:lnTo>
                  <a:lnTo>
                    <a:pt x="881" y="395"/>
                  </a:lnTo>
                  <a:close/>
                  <a:moveTo>
                    <a:pt x="869" y="395"/>
                  </a:moveTo>
                  <a:lnTo>
                    <a:pt x="865" y="399"/>
                  </a:lnTo>
                  <a:lnTo>
                    <a:pt x="869" y="399"/>
                  </a:lnTo>
                  <a:lnTo>
                    <a:pt x="865" y="399"/>
                  </a:lnTo>
                  <a:lnTo>
                    <a:pt x="865" y="395"/>
                  </a:lnTo>
                  <a:lnTo>
                    <a:pt x="869" y="395"/>
                  </a:lnTo>
                  <a:close/>
                  <a:moveTo>
                    <a:pt x="925" y="399"/>
                  </a:moveTo>
                  <a:lnTo>
                    <a:pt x="925" y="395"/>
                  </a:lnTo>
                  <a:lnTo>
                    <a:pt x="929" y="395"/>
                  </a:lnTo>
                  <a:lnTo>
                    <a:pt x="933" y="395"/>
                  </a:lnTo>
                  <a:lnTo>
                    <a:pt x="933" y="399"/>
                  </a:lnTo>
                  <a:lnTo>
                    <a:pt x="929" y="399"/>
                  </a:lnTo>
                  <a:lnTo>
                    <a:pt x="929" y="403"/>
                  </a:lnTo>
                  <a:lnTo>
                    <a:pt x="925" y="403"/>
                  </a:lnTo>
                  <a:lnTo>
                    <a:pt x="925" y="399"/>
                  </a:lnTo>
                  <a:lnTo>
                    <a:pt x="921" y="399"/>
                  </a:lnTo>
                  <a:lnTo>
                    <a:pt x="921" y="403"/>
                  </a:lnTo>
                  <a:lnTo>
                    <a:pt x="925" y="403"/>
                  </a:lnTo>
                  <a:lnTo>
                    <a:pt x="921" y="403"/>
                  </a:lnTo>
                  <a:lnTo>
                    <a:pt x="917" y="403"/>
                  </a:lnTo>
                  <a:lnTo>
                    <a:pt x="917" y="399"/>
                  </a:lnTo>
                  <a:lnTo>
                    <a:pt x="913" y="399"/>
                  </a:lnTo>
                  <a:lnTo>
                    <a:pt x="909" y="399"/>
                  </a:lnTo>
                  <a:lnTo>
                    <a:pt x="913" y="399"/>
                  </a:lnTo>
                  <a:lnTo>
                    <a:pt x="917" y="399"/>
                  </a:lnTo>
                  <a:lnTo>
                    <a:pt x="917" y="395"/>
                  </a:lnTo>
                  <a:lnTo>
                    <a:pt x="921" y="395"/>
                  </a:lnTo>
                  <a:lnTo>
                    <a:pt x="921" y="399"/>
                  </a:lnTo>
                  <a:lnTo>
                    <a:pt x="925" y="399"/>
                  </a:lnTo>
                  <a:close/>
                  <a:moveTo>
                    <a:pt x="881" y="395"/>
                  </a:moveTo>
                  <a:lnTo>
                    <a:pt x="885" y="395"/>
                  </a:lnTo>
                  <a:lnTo>
                    <a:pt x="885" y="399"/>
                  </a:lnTo>
                  <a:lnTo>
                    <a:pt x="881" y="399"/>
                  </a:lnTo>
                  <a:lnTo>
                    <a:pt x="877" y="395"/>
                  </a:lnTo>
                  <a:lnTo>
                    <a:pt x="881" y="395"/>
                  </a:lnTo>
                  <a:close/>
                  <a:moveTo>
                    <a:pt x="949" y="399"/>
                  </a:moveTo>
                  <a:lnTo>
                    <a:pt x="953" y="399"/>
                  </a:lnTo>
                  <a:lnTo>
                    <a:pt x="953" y="403"/>
                  </a:lnTo>
                  <a:lnTo>
                    <a:pt x="949" y="403"/>
                  </a:lnTo>
                  <a:lnTo>
                    <a:pt x="945" y="403"/>
                  </a:lnTo>
                  <a:lnTo>
                    <a:pt x="941" y="403"/>
                  </a:lnTo>
                  <a:lnTo>
                    <a:pt x="941" y="407"/>
                  </a:lnTo>
                  <a:lnTo>
                    <a:pt x="941" y="403"/>
                  </a:lnTo>
                  <a:lnTo>
                    <a:pt x="945" y="403"/>
                  </a:lnTo>
                  <a:lnTo>
                    <a:pt x="945" y="399"/>
                  </a:lnTo>
                  <a:lnTo>
                    <a:pt x="949" y="399"/>
                  </a:lnTo>
                  <a:close/>
                  <a:moveTo>
                    <a:pt x="80" y="419"/>
                  </a:moveTo>
                  <a:lnTo>
                    <a:pt x="84" y="419"/>
                  </a:lnTo>
                  <a:lnTo>
                    <a:pt x="80" y="415"/>
                  </a:lnTo>
                  <a:lnTo>
                    <a:pt x="76" y="415"/>
                  </a:lnTo>
                  <a:lnTo>
                    <a:pt x="76" y="411"/>
                  </a:lnTo>
                  <a:lnTo>
                    <a:pt x="80" y="411"/>
                  </a:lnTo>
                  <a:lnTo>
                    <a:pt x="80" y="415"/>
                  </a:lnTo>
                  <a:lnTo>
                    <a:pt x="84" y="415"/>
                  </a:lnTo>
                  <a:lnTo>
                    <a:pt x="80" y="415"/>
                  </a:lnTo>
                  <a:lnTo>
                    <a:pt x="80" y="411"/>
                  </a:lnTo>
                  <a:lnTo>
                    <a:pt x="76" y="411"/>
                  </a:lnTo>
                  <a:lnTo>
                    <a:pt x="80" y="411"/>
                  </a:lnTo>
                  <a:lnTo>
                    <a:pt x="84" y="407"/>
                  </a:lnTo>
                  <a:lnTo>
                    <a:pt x="84" y="411"/>
                  </a:lnTo>
                  <a:lnTo>
                    <a:pt x="88" y="411"/>
                  </a:lnTo>
                  <a:lnTo>
                    <a:pt x="88" y="407"/>
                  </a:lnTo>
                  <a:lnTo>
                    <a:pt x="91" y="403"/>
                  </a:lnTo>
                  <a:lnTo>
                    <a:pt x="95" y="403"/>
                  </a:lnTo>
                  <a:lnTo>
                    <a:pt x="95" y="407"/>
                  </a:lnTo>
                  <a:lnTo>
                    <a:pt x="99" y="407"/>
                  </a:lnTo>
                  <a:lnTo>
                    <a:pt x="99" y="403"/>
                  </a:lnTo>
                  <a:lnTo>
                    <a:pt x="99" y="399"/>
                  </a:lnTo>
                  <a:lnTo>
                    <a:pt x="103" y="399"/>
                  </a:lnTo>
                  <a:lnTo>
                    <a:pt x="103" y="403"/>
                  </a:lnTo>
                  <a:lnTo>
                    <a:pt x="107" y="403"/>
                  </a:lnTo>
                  <a:lnTo>
                    <a:pt x="107" y="407"/>
                  </a:lnTo>
                  <a:lnTo>
                    <a:pt x="103" y="407"/>
                  </a:lnTo>
                  <a:lnTo>
                    <a:pt x="103" y="411"/>
                  </a:lnTo>
                  <a:lnTo>
                    <a:pt x="99" y="411"/>
                  </a:lnTo>
                  <a:lnTo>
                    <a:pt x="99" y="415"/>
                  </a:lnTo>
                  <a:lnTo>
                    <a:pt x="95" y="415"/>
                  </a:lnTo>
                  <a:lnTo>
                    <a:pt x="95" y="419"/>
                  </a:lnTo>
                  <a:lnTo>
                    <a:pt x="99" y="423"/>
                  </a:lnTo>
                  <a:lnTo>
                    <a:pt x="103" y="427"/>
                  </a:lnTo>
                  <a:lnTo>
                    <a:pt x="99" y="427"/>
                  </a:lnTo>
                  <a:lnTo>
                    <a:pt x="95" y="423"/>
                  </a:lnTo>
                  <a:lnTo>
                    <a:pt x="95" y="419"/>
                  </a:lnTo>
                  <a:lnTo>
                    <a:pt x="91" y="419"/>
                  </a:lnTo>
                  <a:lnTo>
                    <a:pt x="88" y="419"/>
                  </a:lnTo>
                  <a:lnTo>
                    <a:pt x="84" y="419"/>
                  </a:lnTo>
                  <a:lnTo>
                    <a:pt x="80" y="419"/>
                  </a:lnTo>
                  <a:lnTo>
                    <a:pt x="76" y="419"/>
                  </a:lnTo>
                  <a:lnTo>
                    <a:pt x="76" y="415"/>
                  </a:lnTo>
                  <a:lnTo>
                    <a:pt x="76" y="419"/>
                  </a:lnTo>
                  <a:lnTo>
                    <a:pt x="80" y="419"/>
                  </a:lnTo>
                  <a:close/>
                  <a:moveTo>
                    <a:pt x="1105" y="399"/>
                  </a:moveTo>
                  <a:lnTo>
                    <a:pt x="1109" y="399"/>
                  </a:lnTo>
                  <a:lnTo>
                    <a:pt x="1109" y="403"/>
                  </a:lnTo>
                  <a:lnTo>
                    <a:pt x="1105" y="403"/>
                  </a:lnTo>
                  <a:lnTo>
                    <a:pt x="1101" y="403"/>
                  </a:lnTo>
                  <a:lnTo>
                    <a:pt x="1105" y="399"/>
                  </a:lnTo>
                  <a:close/>
                  <a:moveTo>
                    <a:pt x="28" y="403"/>
                  </a:moveTo>
                  <a:lnTo>
                    <a:pt x="24" y="403"/>
                  </a:lnTo>
                  <a:lnTo>
                    <a:pt x="28" y="403"/>
                  </a:lnTo>
                  <a:lnTo>
                    <a:pt x="28" y="399"/>
                  </a:lnTo>
                  <a:lnTo>
                    <a:pt x="32" y="403"/>
                  </a:lnTo>
                  <a:lnTo>
                    <a:pt x="28" y="403"/>
                  </a:lnTo>
                  <a:close/>
                  <a:moveTo>
                    <a:pt x="690" y="403"/>
                  </a:moveTo>
                  <a:lnTo>
                    <a:pt x="690" y="407"/>
                  </a:lnTo>
                  <a:lnTo>
                    <a:pt x="686" y="411"/>
                  </a:lnTo>
                  <a:lnTo>
                    <a:pt x="686" y="407"/>
                  </a:lnTo>
                  <a:lnTo>
                    <a:pt x="686" y="403"/>
                  </a:lnTo>
                  <a:lnTo>
                    <a:pt x="682" y="403"/>
                  </a:lnTo>
                  <a:lnTo>
                    <a:pt x="682" y="407"/>
                  </a:lnTo>
                  <a:lnTo>
                    <a:pt x="682" y="403"/>
                  </a:lnTo>
                  <a:lnTo>
                    <a:pt x="682" y="399"/>
                  </a:lnTo>
                  <a:lnTo>
                    <a:pt x="686" y="399"/>
                  </a:lnTo>
                  <a:lnTo>
                    <a:pt x="686" y="403"/>
                  </a:lnTo>
                  <a:lnTo>
                    <a:pt x="690" y="403"/>
                  </a:lnTo>
                  <a:close/>
                  <a:moveTo>
                    <a:pt x="1113" y="403"/>
                  </a:moveTo>
                  <a:lnTo>
                    <a:pt x="1109" y="403"/>
                  </a:lnTo>
                  <a:lnTo>
                    <a:pt x="1113" y="403"/>
                  </a:lnTo>
                  <a:lnTo>
                    <a:pt x="1117" y="403"/>
                  </a:lnTo>
                  <a:lnTo>
                    <a:pt x="1113" y="403"/>
                  </a:lnTo>
                  <a:close/>
                  <a:moveTo>
                    <a:pt x="606" y="403"/>
                  </a:moveTo>
                  <a:lnTo>
                    <a:pt x="606" y="407"/>
                  </a:lnTo>
                  <a:lnTo>
                    <a:pt x="602" y="407"/>
                  </a:lnTo>
                  <a:lnTo>
                    <a:pt x="602" y="403"/>
                  </a:lnTo>
                  <a:lnTo>
                    <a:pt x="598" y="403"/>
                  </a:lnTo>
                  <a:lnTo>
                    <a:pt x="602" y="403"/>
                  </a:lnTo>
                  <a:lnTo>
                    <a:pt x="606" y="403"/>
                  </a:lnTo>
                  <a:close/>
                  <a:moveTo>
                    <a:pt x="965" y="407"/>
                  </a:moveTo>
                  <a:lnTo>
                    <a:pt x="969" y="407"/>
                  </a:lnTo>
                  <a:lnTo>
                    <a:pt x="973" y="407"/>
                  </a:lnTo>
                  <a:lnTo>
                    <a:pt x="973" y="411"/>
                  </a:lnTo>
                  <a:lnTo>
                    <a:pt x="969" y="411"/>
                  </a:lnTo>
                  <a:lnTo>
                    <a:pt x="969" y="415"/>
                  </a:lnTo>
                  <a:lnTo>
                    <a:pt x="965" y="415"/>
                  </a:lnTo>
                  <a:lnTo>
                    <a:pt x="961" y="411"/>
                  </a:lnTo>
                  <a:lnTo>
                    <a:pt x="961" y="407"/>
                  </a:lnTo>
                  <a:lnTo>
                    <a:pt x="965" y="407"/>
                  </a:lnTo>
                  <a:close/>
                  <a:moveTo>
                    <a:pt x="945" y="407"/>
                  </a:moveTo>
                  <a:lnTo>
                    <a:pt x="949" y="407"/>
                  </a:lnTo>
                  <a:lnTo>
                    <a:pt x="949" y="411"/>
                  </a:lnTo>
                  <a:lnTo>
                    <a:pt x="945" y="411"/>
                  </a:lnTo>
                  <a:lnTo>
                    <a:pt x="945" y="415"/>
                  </a:lnTo>
                  <a:lnTo>
                    <a:pt x="941" y="419"/>
                  </a:lnTo>
                  <a:lnTo>
                    <a:pt x="937" y="419"/>
                  </a:lnTo>
                  <a:lnTo>
                    <a:pt x="937" y="423"/>
                  </a:lnTo>
                  <a:lnTo>
                    <a:pt x="933" y="423"/>
                  </a:lnTo>
                  <a:lnTo>
                    <a:pt x="933" y="419"/>
                  </a:lnTo>
                  <a:lnTo>
                    <a:pt x="933" y="415"/>
                  </a:lnTo>
                  <a:lnTo>
                    <a:pt x="937" y="415"/>
                  </a:lnTo>
                  <a:lnTo>
                    <a:pt x="941" y="415"/>
                  </a:lnTo>
                  <a:lnTo>
                    <a:pt x="941" y="411"/>
                  </a:lnTo>
                  <a:lnTo>
                    <a:pt x="941" y="407"/>
                  </a:lnTo>
                  <a:lnTo>
                    <a:pt x="945" y="407"/>
                  </a:lnTo>
                  <a:close/>
                  <a:moveTo>
                    <a:pt x="594" y="423"/>
                  </a:moveTo>
                  <a:lnTo>
                    <a:pt x="594" y="427"/>
                  </a:lnTo>
                  <a:lnTo>
                    <a:pt x="594" y="431"/>
                  </a:lnTo>
                  <a:lnTo>
                    <a:pt x="590" y="431"/>
                  </a:lnTo>
                  <a:lnTo>
                    <a:pt x="590" y="427"/>
                  </a:lnTo>
                  <a:lnTo>
                    <a:pt x="586" y="427"/>
                  </a:lnTo>
                  <a:lnTo>
                    <a:pt x="586" y="423"/>
                  </a:lnTo>
                  <a:lnTo>
                    <a:pt x="590" y="423"/>
                  </a:lnTo>
                  <a:lnTo>
                    <a:pt x="594" y="423"/>
                  </a:lnTo>
                  <a:close/>
                  <a:moveTo>
                    <a:pt x="997" y="427"/>
                  </a:moveTo>
                  <a:lnTo>
                    <a:pt x="1001" y="431"/>
                  </a:lnTo>
                  <a:lnTo>
                    <a:pt x="1001" y="435"/>
                  </a:lnTo>
                  <a:lnTo>
                    <a:pt x="997" y="435"/>
                  </a:lnTo>
                  <a:lnTo>
                    <a:pt x="993" y="435"/>
                  </a:lnTo>
                  <a:lnTo>
                    <a:pt x="993" y="431"/>
                  </a:lnTo>
                  <a:lnTo>
                    <a:pt x="993" y="427"/>
                  </a:lnTo>
                  <a:lnTo>
                    <a:pt x="997" y="427"/>
                  </a:lnTo>
                  <a:close/>
                  <a:moveTo>
                    <a:pt x="1001" y="427"/>
                  </a:moveTo>
                  <a:lnTo>
                    <a:pt x="1005" y="427"/>
                  </a:lnTo>
                  <a:lnTo>
                    <a:pt x="1005" y="431"/>
                  </a:lnTo>
                  <a:lnTo>
                    <a:pt x="1001" y="431"/>
                  </a:lnTo>
                  <a:lnTo>
                    <a:pt x="1001" y="427"/>
                  </a:lnTo>
                  <a:close/>
                  <a:moveTo>
                    <a:pt x="941" y="435"/>
                  </a:moveTo>
                  <a:lnTo>
                    <a:pt x="941" y="431"/>
                  </a:lnTo>
                  <a:lnTo>
                    <a:pt x="937" y="431"/>
                  </a:lnTo>
                  <a:lnTo>
                    <a:pt x="941" y="431"/>
                  </a:lnTo>
                  <a:lnTo>
                    <a:pt x="941" y="427"/>
                  </a:lnTo>
                  <a:lnTo>
                    <a:pt x="945" y="427"/>
                  </a:lnTo>
                  <a:lnTo>
                    <a:pt x="945" y="431"/>
                  </a:lnTo>
                  <a:lnTo>
                    <a:pt x="941" y="431"/>
                  </a:lnTo>
                  <a:lnTo>
                    <a:pt x="945" y="431"/>
                  </a:lnTo>
                  <a:lnTo>
                    <a:pt x="941" y="431"/>
                  </a:lnTo>
                  <a:lnTo>
                    <a:pt x="941" y="435"/>
                  </a:lnTo>
                  <a:close/>
                  <a:moveTo>
                    <a:pt x="550" y="431"/>
                  </a:moveTo>
                  <a:lnTo>
                    <a:pt x="554" y="431"/>
                  </a:lnTo>
                  <a:lnTo>
                    <a:pt x="554" y="435"/>
                  </a:lnTo>
                  <a:lnTo>
                    <a:pt x="550" y="435"/>
                  </a:lnTo>
                  <a:lnTo>
                    <a:pt x="546" y="435"/>
                  </a:lnTo>
                  <a:lnTo>
                    <a:pt x="546" y="431"/>
                  </a:lnTo>
                  <a:lnTo>
                    <a:pt x="542" y="431"/>
                  </a:lnTo>
                  <a:lnTo>
                    <a:pt x="546" y="431"/>
                  </a:lnTo>
                  <a:lnTo>
                    <a:pt x="550" y="431"/>
                  </a:lnTo>
                  <a:close/>
                  <a:moveTo>
                    <a:pt x="1009" y="431"/>
                  </a:moveTo>
                  <a:lnTo>
                    <a:pt x="1009" y="435"/>
                  </a:lnTo>
                  <a:lnTo>
                    <a:pt x="1013" y="435"/>
                  </a:lnTo>
                  <a:lnTo>
                    <a:pt x="1013" y="439"/>
                  </a:lnTo>
                  <a:lnTo>
                    <a:pt x="1009" y="439"/>
                  </a:lnTo>
                  <a:lnTo>
                    <a:pt x="1009" y="435"/>
                  </a:lnTo>
                  <a:lnTo>
                    <a:pt x="1009" y="431"/>
                  </a:lnTo>
                  <a:close/>
                  <a:moveTo>
                    <a:pt x="937" y="435"/>
                  </a:moveTo>
                  <a:lnTo>
                    <a:pt x="941" y="435"/>
                  </a:lnTo>
                  <a:lnTo>
                    <a:pt x="941" y="439"/>
                  </a:lnTo>
                  <a:lnTo>
                    <a:pt x="937" y="439"/>
                  </a:lnTo>
                  <a:lnTo>
                    <a:pt x="933" y="439"/>
                  </a:lnTo>
                  <a:lnTo>
                    <a:pt x="933" y="435"/>
                  </a:lnTo>
                  <a:lnTo>
                    <a:pt x="937" y="435"/>
                  </a:lnTo>
                  <a:close/>
                  <a:moveTo>
                    <a:pt x="973" y="467"/>
                  </a:moveTo>
                  <a:lnTo>
                    <a:pt x="969" y="463"/>
                  </a:lnTo>
                  <a:lnTo>
                    <a:pt x="965" y="463"/>
                  </a:lnTo>
                  <a:lnTo>
                    <a:pt x="965" y="459"/>
                  </a:lnTo>
                  <a:lnTo>
                    <a:pt x="965" y="455"/>
                  </a:lnTo>
                  <a:lnTo>
                    <a:pt x="965" y="451"/>
                  </a:lnTo>
                  <a:lnTo>
                    <a:pt x="965" y="447"/>
                  </a:lnTo>
                  <a:lnTo>
                    <a:pt x="969" y="439"/>
                  </a:lnTo>
                  <a:lnTo>
                    <a:pt x="973" y="439"/>
                  </a:lnTo>
                  <a:lnTo>
                    <a:pt x="981" y="435"/>
                  </a:lnTo>
                  <a:lnTo>
                    <a:pt x="985" y="435"/>
                  </a:lnTo>
                  <a:lnTo>
                    <a:pt x="989" y="435"/>
                  </a:lnTo>
                  <a:lnTo>
                    <a:pt x="993" y="439"/>
                  </a:lnTo>
                  <a:lnTo>
                    <a:pt x="997" y="439"/>
                  </a:lnTo>
                  <a:lnTo>
                    <a:pt x="997" y="443"/>
                  </a:lnTo>
                  <a:lnTo>
                    <a:pt x="997" y="447"/>
                  </a:lnTo>
                  <a:lnTo>
                    <a:pt x="997" y="451"/>
                  </a:lnTo>
                  <a:lnTo>
                    <a:pt x="997" y="455"/>
                  </a:lnTo>
                  <a:lnTo>
                    <a:pt x="997" y="459"/>
                  </a:lnTo>
                  <a:lnTo>
                    <a:pt x="993" y="463"/>
                  </a:lnTo>
                  <a:lnTo>
                    <a:pt x="989" y="463"/>
                  </a:lnTo>
                  <a:lnTo>
                    <a:pt x="985" y="463"/>
                  </a:lnTo>
                  <a:lnTo>
                    <a:pt x="981" y="463"/>
                  </a:lnTo>
                  <a:lnTo>
                    <a:pt x="977" y="463"/>
                  </a:lnTo>
                  <a:lnTo>
                    <a:pt x="977" y="467"/>
                  </a:lnTo>
                  <a:lnTo>
                    <a:pt x="973" y="467"/>
                  </a:lnTo>
                  <a:close/>
                  <a:moveTo>
                    <a:pt x="825" y="439"/>
                  </a:moveTo>
                  <a:lnTo>
                    <a:pt x="825" y="443"/>
                  </a:lnTo>
                  <a:lnTo>
                    <a:pt x="825" y="447"/>
                  </a:lnTo>
                  <a:lnTo>
                    <a:pt x="825" y="451"/>
                  </a:lnTo>
                  <a:lnTo>
                    <a:pt x="821" y="451"/>
                  </a:lnTo>
                  <a:lnTo>
                    <a:pt x="817" y="451"/>
                  </a:lnTo>
                  <a:lnTo>
                    <a:pt x="817" y="447"/>
                  </a:lnTo>
                  <a:lnTo>
                    <a:pt x="817" y="443"/>
                  </a:lnTo>
                  <a:lnTo>
                    <a:pt x="817" y="439"/>
                  </a:lnTo>
                  <a:lnTo>
                    <a:pt x="821" y="439"/>
                  </a:lnTo>
                  <a:lnTo>
                    <a:pt x="821" y="435"/>
                  </a:lnTo>
                  <a:lnTo>
                    <a:pt x="825" y="439"/>
                  </a:lnTo>
                  <a:close/>
                  <a:moveTo>
                    <a:pt x="1141" y="439"/>
                  </a:moveTo>
                  <a:lnTo>
                    <a:pt x="1141" y="443"/>
                  </a:lnTo>
                  <a:lnTo>
                    <a:pt x="1141" y="439"/>
                  </a:lnTo>
                  <a:close/>
                  <a:moveTo>
                    <a:pt x="1017" y="443"/>
                  </a:moveTo>
                  <a:lnTo>
                    <a:pt x="1021" y="443"/>
                  </a:lnTo>
                  <a:lnTo>
                    <a:pt x="1021" y="447"/>
                  </a:lnTo>
                  <a:lnTo>
                    <a:pt x="1025" y="451"/>
                  </a:lnTo>
                  <a:lnTo>
                    <a:pt x="1021" y="451"/>
                  </a:lnTo>
                  <a:lnTo>
                    <a:pt x="1017" y="451"/>
                  </a:lnTo>
                  <a:lnTo>
                    <a:pt x="1013" y="451"/>
                  </a:lnTo>
                  <a:lnTo>
                    <a:pt x="1009" y="451"/>
                  </a:lnTo>
                  <a:lnTo>
                    <a:pt x="1005" y="451"/>
                  </a:lnTo>
                  <a:lnTo>
                    <a:pt x="1005" y="447"/>
                  </a:lnTo>
                  <a:lnTo>
                    <a:pt x="1001" y="447"/>
                  </a:lnTo>
                  <a:lnTo>
                    <a:pt x="1001" y="443"/>
                  </a:lnTo>
                  <a:lnTo>
                    <a:pt x="1005" y="443"/>
                  </a:lnTo>
                  <a:lnTo>
                    <a:pt x="1009" y="443"/>
                  </a:lnTo>
                  <a:lnTo>
                    <a:pt x="1009" y="439"/>
                  </a:lnTo>
                  <a:lnTo>
                    <a:pt x="1009" y="443"/>
                  </a:lnTo>
                  <a:lnTo>
                    <a:pt x="1013" y="443"/>
                  </a:lnTo>
                  <a:lnTo>
                    <a:pt x="1017" y="443"/>
                  </a:lnTo>
                  <a:close/>
                  <a:moveTo>
                    <a:pt x="486" y="447"/>
                  </a:moveTo>
                  <a:lnTo>
                    <a:pt x="482" y="447"/>
                  </a:lnTo>
                  <a:lnTo>
                    <a:pt x="486" y="447"/>
                  </a:lnTo>
                  <a:close/>
                  <a:moveTo>
                    <a:pt x="454" y="447"/>
                  </a:moveTo>
                  <a:lnTo>
                    <a:pt x="450" y="447"/>
                  </a:lnTo>
                  <a:lnTo>
                    <a:pt x="454" y="447"/>
                  </a:lnTo>
                  <a:close/>
                  <a:moveTo>
                    <a:pt x="494" y="459"/>
                  </a:moveTo>
                  <a:lnTo>
                    <a:pt x="490" y="459"/>
                  </a:lnTo>
                  <a:lnTo>
                    <a:pt x="490" y="455"/>
                  </a:lnTo>
                  <a:lnTo>
                    <a:pt x="494" y="455"/>
                  </a:lnTo>
                  <a:lnTo>
                    <a:pt x="494" y="459"/>
                  </a:lnTo>
                  <a:close/>
                  <a:moveTo>
                    <a:pt x="502" y="459"/>
                  </a:moveTo>
                  <a:lnTo>
                    <a:pt x="502" y="463"/>
                  </a:lnTo>
                  <a:lnTo>
                    <a:pt x="498" y="463"/>
                  </a:lnTo>
                  <a:lnTo>
                    <a:pt x="498" y="459"/>
                  </a:lnTo>
                  <a:lnTo>
                    <a:pt x="502" y="459"/>
                  </a:lnTo>
                  <a:close/>
                  <a:moveTo>
                    <a:pt x="1180" y="471"/>
                  </a:moveTo>
                  <a:lnTo>
                    <a:pt x="1184" y="471"/>
                  </a:lnTo>
                  <a:lnTo>
                    <a:pt x="1184" y="467"/>
                  </a:lnTo>
                  <a:lnTo>
                    <a:pt x="1188" y="467"/>
                  </a:lnTo>
                  <a:lnTo>
                    <a:pt x="1184" y="467"/>
                  </a:lnTo>
                  <a:lnTo>
                    <a:pt x="1184" y="471"/>
                  </a:lnTo>
                  <a:lnTo>
                    <a:pt x="1180" y="471"/>
                  </a:lnTo>
                  <a:close/>
                  <a:moveTo>
                    <a:pt x="1121" y="487"/>
                  </a:moveTo>
                  <a:lnTo>
                    <a:pt x="1125" y="487"/>
                  </a:lnTo>
                  <a:lnTo>
                    <a:pt x="1125" y="491"/>
                  </a:lnTo>
                  <a:lnTo>
                    <a:pt x="1121" y="487"/>
                  </a:lnTo>
                  <a:close/>
                  <a:moveTo>
                    <a:pt x="877" y="491"/>
                  </a:moveTo>
                  <a:lnTo>
                    <a:pt x="873" y="491"/>
                  </a:lnTo>
                  <a:lnTo>
                    <a:pt x="873" y="487"/>
                  </a:lnTo>
                  <a:lnTo>
                    <a:pt x="873" y="491"/>
                  </a:lnTo>
                  <a:lnTo>
                    <a:pt x="877" y="491"/>
                  </a:lnTo>
                  <a:close/>
                  <a:moveTo>
                    <a:pt x="865" y="499"/>
                  </a:moveTo>
                  <a:lnTo>
                    <a:pt x="865" y="503"/>
                  </a:lnTo>
                  <a:lnTo>
                    <a:pt x="869" y="503"/>
                  </a:lnTo>
                  <a:lnTo>
                    <a:pt x="873" y="503"/>
                  </a:lnTo>
                  <a:lnTo>
                    <a:pt x="873" y="507"/>
                  </a:lnTo>
                  <a:lnTo>
                    <a:pt x="869" y="507"/>
                  </a:lnTo>
                  <a:lnTo>
                    <a:pt x="865" y="507"/>
                  </a:lnTo>
                  <a:lnTo>
                    <a:pt x="865" y="503"/>
                  </a:lnTo>
                  <a:lnTo>
                    <a:pt x="861" y="503"/>
                  </a:lnTo>
                  <a:lnTo>
                    <a:pt x="861" y="499"/>
                  </a:lnTo>
                  <a:lnTo>
                    <a:pt x="857" y="499"/>
                  </a:lnTo>
                  <a:lnTo>
                    <a:pt x="857" y="495"/>
                  </a:lnTo>
                  <a:lnTo>
                    <a:pt x="853" y="495"/>
                  </a:lnTo>
                  <a:lnTo>
                    <a:pt x="857" y="495"/>
                  </a:lnTo>
                  <a:lnTo>
                    <a:pt x="861" y="495"/>
                  </a:lnTo>
                  <a:lnTo>
                    <a:pt x="865" y="499"/>
                  </a:lnTo>
                  <a:close/>
                  <a:moveTo>
                    <a:pt x="849" y="499"/>
                  </a:moveTo>
                  <a:lnTo>
                    <a:pt x="849" y="503"/>
                  </a:lnTo>
                  <a:lnTo>
                    <a:pt x="853" y="503"/>
                  </a:lnTo>
                  <a:lnTo>
                    <a:pt x="853" y="507"/>
                  </a:lnTo>
                  <a:lnTo>
                    <a:pt x="849" y="511"/>
                  </a:lnTo>
                  <a:lnTo>
                    <a:pt x="849" y="507"/>
                  </a:lnTo>
                  <a:lnTo>
                    <a:pt x="845" y="503"/>
                  </a:lnTo>
                  <a:lnTo>
                    <a:pt x="845" y="499"/>
                  </a:lnTo>
                  <a:lnTo>
                    <a:pt x="845" y="495"/>
                  </a:lnTo>
                  <a:lnTo>
                    <a:pt x="849" y="499"/>
                  </a:lnTo>
                  <a:close/>
                  <a:moveTo>
                    <a:pt x="825" y="531"/>
                  </a:moveTo>
                  <a:lnTo>
                    <a:pt x="829" y="531"/>
                  </a:lnTo>
                  <a:lnTo>
                    <a:pt x="829" y="527"/>
                  </a:lnTo>
                  <a:lnTo>
                    <a:pt x="829" y="523"/>
                  </a:lnTo>
                  <a:lnTo>
                    <a:pt x="829" y="519"/>
                  </a:lnTo>
                  <a:lnTo>
                    <a:pt x="829" y="515"/>
                  </a:lnTo>
                  <a:lnTo>
                    <a:pt x="829" y="511"/>
                  </a:lnTo>
                  <a:lnTo>
                    <a:pt x="833" y="503"/>
                  </a:lnTo>
                  <a:lnTo>
                    <a:pt x="837" y="503"/>
                  </a:lnTo>
                  <a:lnTo>
                    <a:pt x="837" y="499"/>
                  </a:lnTo>
                  <a:lnTo>
                    <a:pt x="841" y="499"/>
                  </a:lnTo>
                  <a:lnTo>
                    <a:pt x="841" y="503"/>
                  </a:lnTo>
                  <a:lnTo>
                    <a:pt x="837" y="503"/>
                  </a:lnTo>
                  <a:lnTo>
                    <a:pt x="841" y="503"/>
                  </a:lnTo>
                  <a:lnTo>
                    <a:pt x="845" y="503"/>
                  </a:lnTo>
                  <a:lnTo>
                    <a:pt x="845" y="507"/>
                  </a:lnTo>
                  <a:lnTo>
                    <a:pt x="845" y="511"/>
                  </a:lnTo>
                  <a:lnTo>
                    <a:pt x="841" y="507"/>
                  </a:lnTo>
                  <a:lnTo>
                    <a:pt x="841" y="511"/>
                  </a:lnTo>
                  <a:lnTo>
                    <a:pt x="845" y="511"/>
                  </a:lnTo>
                  <a:lnTo>
                    <a:pt x="845" y="515"/>
                  </a:lnTo>
                  <a:lnTo>
                    <a:pt x="849" y="519"/>
                  </a:lnTo>
                  <a:lnTo>
                    <a:pt x="849" y="515"/>
                  </a:lnTo>
                  <a:lnTo>
                    <a:pt x="853" y="511"/>
                  </a:lnTo>
                  <a:lnTo>
                    <a:pt x="857" y="511"/>
                  </a:lnTo>
                  <a:lnTo>
                    <a:pt x="857" y="515"/>
                  </a:lnTo>
                  <a:lnTo>
                    <a:pt x="861" y="515"/>
                  </a:lnTo>
                  <a:lnTo>
                    <a:pt x="857" y="515"/>
                  </a:lnTo>
                  <a:lnTo>
                    <a:pt x="861" y="519"/>
                  </a:lnTo>
                  <a:lnTo>
                    <a:pt x="865" y="519"/>
                  </a:lnTo>
                  <a:lnTo>
                    <a:pt x="869" y="519"/>
                  </a:lnTo>
                  <a:lnTo>
                    <a:pt x="873" y="519"/>
                  </a:lnTo>
                  <a:lnTo>
                    <a:pt x="873" y="523"/>
                  </a:lnTo>
                  <a:lnTo>
                    <a:pt x="877" y="527"/>
                  </a:lnTo>
                  <a:lnTo>
                    <a:pt x="881" y="527"/>
                  </a:lnTo>
                  <a:lnTo>
                    <a:pt x="881" y="531"/>
                  </a:lnTo>
                  <a:lnTo>
                    <a:pt x="885" y="531"/>
                  </a:lnTo>
                  <a:lnTo>
                    <a:pt x="889" y="531"/>
                  </a:lnTo>
                  <a:lnTo>
                    <a:pt x="893" y="531"/>
                  </a:lnTo>
                  <a:lnTo>
                    <a:pt x="893" y="535"/>
                  </a:lnTo>
                  <a:lnTo>
                    <a:pt x="897" y="535"/>
                  </a:lnTo>
                  <a:lnTo>
                    <a:pt x="897" y="539"/>
                  </a:lnTo>
                  <a:lnTo>
                    <a:pt x="897" y="543"/>
                  </a:lnTo>
                  <a:lnTo>
                    <a:pt x="897" y="547"/>
                  </a:lnTo>
                  <a:lnTo>
                    <a:pt x="893" y="547"/>
                  </a:lnTo>
                  <a:lnTo>
                    <a:pt x="893" y="551"/>
                  </a:lnTo>
                  <a:lnTo>
                    <a:pt x="897" y="547"/>
                  </a:lnTo>
                  <a:lnTo>
                    <a:pt x="901" y="547"/>
                  </a:lnTo>
                  <a:lnTo>
                    <a:pt x="905" y="547"/>
                  </a:lnTo>
                  <a:lnTo>
                    <a:pt x="909" y="551"/>
                  </a:lnTo>
                  <a:lnTo>
                    <a:pt x="909" y="547"/>
                  </a:lnTo>
                  <a:lnTo>
                    <a:pt x="913" y="547"/>
                  </a:lnTo>
                  <a:lnTo>
                    <a:pt x="913" y="551"/>
                  </a:lnTo>
                  <a:lnTo>
                    <a:pt x="917" y="551"/>
                  </a:lnTo>
                  <a:lnTo>
                    <a:pt x="913" y="551"/>
                  </a:lnTo>
                  <a:lnTo>
                    <a:pt x="917" y="551"/>
                  </a:lnTo>
                  <a:lnTo>
                    <a:pt x="917" y="555"/>
                  </a:lnTo>
                  <a:lnTo>
                    <a:pt x="921" y="555"/>
                  </a:lnTo>
                  <a:lnTo>
                    <a:pt x="917" y="555"/>
                  </a:lnTo>
                  <a:lnTo>
                    <a:pt x="913" y="559"/>
                  </a:lnTo>
                  <a:lnTo>
                    <a:pt x="909" y="559"/>
                  </a:lnTo>
                  <a:lnTo>
                    <a:pt x="909" y="563"/>
                  </a:lnTo>
                  <a:lnTo>
                    <a:pt x="905" y="563"/>
                  </a:lnTo>
                  <a:lnTo>
                    <a:pt x="901" y="563"/>
                  </a:lnTo>
                  <a:lnTo>
                    <a:pt x="897" y="559"/>
                  </a:lnTo>
                  <a:lnTo>
                    <a:pt x="893" y="559"/>
                  </a:lnTo>
                  <a:lnTo>
                    <a:pt x="893" y="555"/>
                  </a:lnTo>
                  <a:lnTo>
                    <a:pt x="889" y="555"/>
                  </a:lnTo>
                  <a:lnTo>
                    <a:pt x="889" y="559"/>
                  </a:lnTo>
                  <a:lnTo>
                    <a:pt x="885" y="559"/>
                  </a:lnTo>
                  <a:lnTo>
                    <a:pt x="885" y="555"/>
                  </a:lnTo>
                  <a:lnTo>
                    <a:pt x="885" y="551"/>
                  </a:lnTo>
                  <a:lnTo>
                    <a:pt x="881" y="551"/>
                  </a:lnTo>
                  <a:lnTo>
                    <a:pt x="877" y="551"/>
                  </a:lnTo>
                  <a:lnTo>
                    <a:pt x="873" y="547"/>
                  </a:lnTo>
                  <a:lnTo>
                    <a:pt x="877" y="547"/>
                  </a:lnTo>
                  <a:lnTo>
                    <a:pt x="877" y="543"/>
                  </a:lnTo>
                  <a:lnTo>
                    <a:pt x="873" y="543"/>
                  </a:lnTo>
                  <a:lnTo>
                    <a:pt x="873" y="547"/>
                  </a:lnTo>
                  <a:lnTo>
                    <a:pt x="869" y="547"/>
                  </a:lnTo>
                  <a:lnTo>
                    <a:pt x="865" y="547"/>
                  </a:lnTo>
                  <a:lnTo>
                    <a:pt x="865" y="551"/>
                  </a:lnTo>
                  <a:lnTo>
                    <a:pt x="869" y="551"/>
                  </a:lnTo>
                  <a:lnTo>
                    <a:pt x="869" y="555"/>
                  </a:lnTo>
                  <a:lnTo>
                    <a:pt x="865" y="555"/>
                  </a:lnTo>
                  <a:lnTo>
                    <a:pt x="861" y="559"/>
                  </a:lnTo>
                  <a:lnTo>
                    <a:pt x="857" y="559"/>
                  </a:lnTo>
                  <a:lnTo>
                    <a:pt x="857" y="563"/>
                  </a:lnTo>
                  <a:lnTo>
                    <a:pt x="853" y="563"/>
                  </a:lnTo>
                  <a:lnTo>
                    <a:pt x="853" y="567"/>
                  </a:lnTo>
                  <a:lnTo>
                    <a:pt x="849" y="567"/>
                  </a:lnTo>
                  <a:lnTo>
                    <a:pt x="849" y="571"/>
                  </a:lnTo>
                  <a:lnTo>
                    <a:pt x="845" y="571"/>
                  </a:lnTo>
                  <a:lnTo>
                    <a:pt x="841" y="571"/>
                  </a:lnTo>
                  <a:lnTo>
                    <a:pt x="837" y="571"/>
                  </a:lnTo>
                  <a:lnTo>
                    <a:pt x="837" y="567"/>
                  </a:lnTo>
                  <a:lnTo>
                    <a:pt x="837" y="563"/>
                  </a:lnTo>
                  <a:lnTo>
                    <a:pt x="837" y="559"/>
                  </a:lnTo>
                  <a:lnTo>
                    <a:pt x="837" y="555"/>
                  </a:lnTo>
                  <a:lnTo>
                    <a:pt x="833" y="555"/>
                  </a:lnTo>
                  <a:lnTo>
                    <a:pt x="829" y="559"/>
                  </a:lnTo>
                  <a:lnTo>
                    <a:pt x="825" y="559"/>
                  </a:lnTo>
                  <a:lnTo>
                    <a:pt x="821" y="559"/>
                  </a:lnTo>
                  <a:lnTo>
                    <a:pt x="817" y="559"/>
                  </a:lnTo>
                  <a:lnTo>
                    <a:pt x="813" y="559"/>
                  </a:lnTo>
                  <a:lnTo>
                    <a:pt x="813" y="555"/>
                  </a:lnTo>
                  <a:lnTo>
                    <a:pt x="817" y="551"/>
                  </a:lnTo>
                  <a:lnTo>
                    <a:pt x="821" y="551"/>
                  </a:lnTo>
                  <a:lnTo>
                    <a:pt x="825" y="547"/>
                  </a:lnTo>
                  <a:lnTo>
                    <a:pt x="829" y="547"/>
                  </a:lnTo>
                  <a:lnTo>
                    <a:pt x="829" y="543"/>
                  </a:lnTo>
                  <a:lnTo>
                    <a:pt x="825" y="543"/>
                  </a:lnTo>
                  <a:lnTo>
                    <a:pt x="825" y="539"/>
                  </a:lnTo>
                  <a:lnTo>
                    <a:pt x="825" y="535"/>
                  </a:lnTo>
                  <a:lnTo>
                    <a:pt x="825" y="531"/>
                  </a:lnTo>
                  <a:close/>
                  <a:moveTo>
                    <a:pt x="873" y="503"/>
                  </a:moveTo>
                  <a:lnTo>
                    <a:pt x="869" y="503"/>
                  </a:lnTo>
                  <a:lnTo>
                    <a:pt x="869" y="499"/>
                  </a:lnTo>
                  <a:lnTo>
                    <a:pt x="873" y="499"/>
                  </a:lnTo>
                  <a:lnTo>
                    <a:pt x="873" y="503"/>
                  </a:lnTo>
                  <a:close/>
                  <a:moveTo>
                    <a:pt x="1192" y="503"/>
                  </a:moveTo>
                  <a:lnTo>
                    <a:pt x="1192" y="507"/>
                  </a:lnTo>
                  <a:lnTo>
                    <a:pt x="1192" y="503"/>
                  </a:lnTo>
                  <a:lnTo>
                    <a:pt x="1192" y="507"/>
                  </a:lnTo>
                  <a:lnTo>
                    <a:pt x="1188" y="507"/>
                  </a:lnTo>
                  <a:lnTo>
                    <a:pt x="1188" y="503"/>
                  </a:lnTo>
                  <a:lnTo>
                    <a:pt x="1192" y="503"/>
                  </a:lnTo>
                  <a:close/>
                  <a:moveTo>
                    <a:pt x="1145" y="531"/>
                  </a:moveTo>
                  <a:lnTo>
                    <a:pt x="1148" y="531"/>
                  </a:lnTo>
                  <a:lnTo>
                    <a:pt x="1145" y="535"/>
                  </a:lnTo>
                  <a:lnTo>
                    <a:pt x="1141" y="535"/>
                  </a:lnTo>
                  <a:lnTo>
                    <a:pt x="1145" y="531"/>
                  </a:lnTo>
                  <a:close/>
                  <a:moveTo>
                    <a:pt x="957" y="551"/>
                  </a:moveTo>
                  <a:lnTo>
                    <a:pt x="953" y="551"/>
                  </a:lnTo>
                  <a:lnTo>
                    <a:pt x="953" y="547"/>
                  </a:lnTo>
                  <a:lnTo>
                    <a:pt x="957" y="547"/>
                  </a:lnTo>
                  <a:lnTo>
                    <a:pt x="961" y="547"/>
                  </a:lnTo>
                  <a:lnTo>
                    <a:pt x="957" y="551"/>
                  </a:lnTo>
                  <a:close/>
                  <a:moveTo>
                    <a:pt x="1037" y="555"/>
                  </a:moveTo>
                  <a:lnTo>
                    <a:pt x="1037" y="559"/>
                  </a:lnTo>
                  <a:lnTo>
                    <a:pt x="1033" y="559"/>
                  </a:lnTo>
                  <a:lnTo>
                    <a:pt x="1037" y="555"/>
                  </a:lnTo>
                  <a:close/>
                  <a:moveTo>
                    <a:pt x="973" y="563"/>
                  </a:moveTo>
                  <a:lnTo>
                    <a:pt x="977" y="563"/>
                  </a:lnTo>
                  <a:lnTo>
                    <a:pt x="973" y="563"/>
                  </a:lnTo>
                  <a:lnTo>
                    <a:pt x="973" y="567"/>
                  </a:lnTo>
                  <a:lnTo>
                    <a:pt x="969" y="563"/>
                  </a:lnTo>
                  <a:lnTo>
                    <a:pt x="965" y="563"/>
                  </a:lnTo>
                  <a:lnTo>
                    <a:pt x="965" y="559"/>
                  </a:lnTo>
                  <a:lnTo>
                    <a:pt x="961" y="559"/>
                  </a:lnTo>
                  <a:lnTo>
                    <a:pt x="961" y="555"/>
                  </a:lnTo>
                  <a:lnTo>
                    <a:pt x="965" y="559"/>
                  </a:lnTo>
                  <a:lnTo>
                    <a:pt x="969" y="559"/>
                  </a:lnTo>
                  <a:lnTo>
                    <a:pt x="973" y="559"/>
                  </a:lnTo>
                  <a:lnTo>
                    <a:pt x="973" y="563"/>
                  </a:lnTo>
                  <a:close/>
                  <a:moveTo>
                    <a:pt x="1160" y="559"/>
                  </a:moveTo>
                  <a:lnTo>
                    <a:pt x="1160" y="563"/>
                  </a:lnTo>
                  <a:lnTo>
                    <a:pt x="1164" y="567"/>
                  </a:lnTo>
                  <a:lnTo>
                    <a:pt x="1160" y="567"/>
                  </a:lnTo>
                  <a:lnTo>
                    <a:pt x="1160" y="563"/>
                  </a:lnTo>
                  <a:lnTo>
                    <a:pt x="1156" y="559"/>
                  </a:lnTo>
                  <a:lnTo>
                    <a:pt x="1160" y="559"/>
                  </a:lnTo>
                  <a:close/>
                  <a:moveTo>
                    <a:pt x="1152" y="559"/>
                  </a:moveTo>
                  <a:lnTo>
                    <a:pt x="1152" y="563"/>
                  </a:lnTo>
                  <a:lnTo>
                    <a:pt x="1148" y="563"/>
                  </a:lnTo>
                  <a:lnTo>
                    <a:pt x="1148" y="559"/>
                  </a:lnTo>
                  <a:lnTo>
                    <a:pt x="1152" y="559"/>
                  </a:lnTo>
                  <a:close/>
                  <a:moveTo>
                    <a:pt x="949" y="563"/>
                  </a:moveTo>
                  <a:lnTo>
                    <a:pt x="953" y="563"/>
                  </a:lnTo>
                  <a:lnTo>
                    <a:pt x="957" y="563"/>
                  </a:lnTo>
                  <a:lnTo>
                    <a:pt x="961" y="567"/>
                  </a:lnTo>
                  <a:lnTo>
                    <a:pt x="961" y="571"/>
                  </a:lnTo>
                  <a:lnTo>
                    <a:pt x="957" y="571"/>
                  </a:lnTo>
                  <a:lnTo>
                    <a:pt x="953" y="571"/>
                  </a:lnTo>
                  <a:lnTo>
                    <a:pt x="949" y="567"/>
                  </a:lnTo>
                  <a:lnTo>
                    <a:pt x="945" y="567"/>
                  </a:lnTo>
                  <a:lnTo>
                    <a:pt x="945" y="563"/>
                  </a:lnTo>
                  <a:lnTo>
                    <a:pt x="949" y="563"/>
                  </a:lnTo>
                  <a:close/>
                  <a:moveTo>
                    <a:pt x="889" y="575"/>
                  </a:moveTo>
                  <a:lnTo>
                    <a:pt x="893" y="575"/>
                  </a:lnTo>
                  <a:lnTo>
                    <a:pt x="893" y="579"/>
                  </a:lnTo>
                  <a:lnTo>
                    <a:pt x="893" y="583"/>
                  </a:lnTo>
                  <a:lnTo>
                    <a:pt x="889" y="583"/>
                  </a:lnTo>
                  <a:lnTo>
                    <a:pt x="889" y="587"/>
                  </a:lnTo>
                  <a:lnTo>
                    <a:pt x="885" y="587"/>
                  </a:lnTo>
                  <a:lnTo>
                    <a:pt x="885" y="591"/>
                  </a:lnTo>
                  <a:lnTo>
                    <a:pt x="881" y="591"/>
                  </a:lnTo>
                  <a:lnTo>
                    <a:pt x="877" y="595"/>
                  </a:lnTo>
                  <a:lnTo>
                    <a:pt x="873" y="595"/>
                  </a:lnTo>
                  <a:lnTo>
                    <a:pt x="869" y="595"/>
                  </a:lnTo>
                  <a:lnTo>
                    <a:pt x="865" y="595"/>
                  </a:lnTo>
                  <a:lnTo>
                    <a:pt x="865" y="591"/>
                  </a:lnTo>
                  <a:lnTo>
                    <a:pt x="861" y="587"/>
                  </a:lnTo>
                  <a:lnTo>
                    <a:pt x="865" y="587"/>
                  </a:lnTo>
                  <a:lnTo>
                    <a:pt x="869" y="583"/>
                  </a:lnTo>
                  <a:lnTo>
                    <a:pt x="869" y="579"/>
                  </a:lnTo>
                  <a:lnTo>
                    <a:pt x="873" y="575"/>
                  </a:lnTo>
                  <a:lnTo>
                    <a:pt x="873" y="579"/>
                  </a:lnTo>
                  <a:lnTo>
                    <a:pt x="877" y="579"/>
                  </a:lnTo>
                  <a:lnTo>
                    <a:pt x="881" y="579"/>
                  </a:lnTo>
                  <a:lnTo>
                    <a:pt x="881" y="575"/>
                  </a:lnTo>
                  <a:lnTo>
                    <a:pt x="885" y="575"/>
                  </a:lnTo>
                  <a:lnTo>
                    <a:pt x="889" y="575"/>
                  </a:lnTo>
                  <a:close/>
                  <a:moveTo>
                    <a:pt x="1005" y="579"/>
                  </a:moveTo>
                  <a:lnTo>
                    <a:pt x="1009" y="583"/>
                  </a:lnTo>
                  <a:lnTo>
                    <a:pt x="1013" y="583"/>
                  </a:lnTo>
                  <a:lnTo>
                    <a:pt x="1009" y="583"/>
                  </a:lnTo>
                  <a:lnTo>
                    <a:pt x="1005" y="583"/>
                  </a:lnTo>
                  <a:lnTo>
                    <a:pt x="1005" y="579"/>
                  </a:lnTo>
                  <a:close/>
                  <a:moveTo>
                    <a:pt x="1152" y="583"/>
                  </a:moveTo>
                  <a:lnTo>
                    <a:pt x="1152" y="587"/>
                  </a:lnTo>
                  <a:lnTo>
                    <a:pt x="1148" y="587"/>
                  </a:lnTo>
                  <a:lnTo>
                    <a:pt x="1148" y="583"/>
                  </a:lnTo>
                  <a:lnTo>
                    <a:pt x="1152" y="583"/>
                  </a:lnTo>
                  <a:close/>
                  <a:moveTo>
                    <a:pt x="1160" y="587"/>
                  </a:moveTo>
                  <a:lnTo>
                    <a:pt x="1156" y="591"/>
                  </a:lnTo>
                  <a:lnTo>
                    <a:pt x="1152" y="591"/>
                  </a:lnTo>
                  <a:lnTo>
                    <a:pt x="1152" y="587"/>
                  </a:lnTo>
                  <a:lnTo>
                    <a:pt x="1148" y="587"/>
                  </a:lnTo>
                  <a:lnTo>
                    <a:pt x="1152" y="587"/>
                  </a:lnTo>
                  <a:lnTo>
                    <a:pt x="1156" y="587"/>
                  </a:lnTo>
                  <a:lnTo>
                    <a:pt x="1160" y="587"/>
                  </a:lnTo>
                  <a:close/>
                  <a:moveTo>
                    <a:pt x="929" y="603"/>
                  </a:moveTo>
                  <a:lnTo>
                    <a:pt x="929" y="606"/>
                  </a:lnTo>
                  <a:lnTo>
                    <a:pt x="925" y="610"/>
                  </a:lnTo>
                  <a:lnTo>
                    <a:pt x="925" y="606"/>
                  </a:lnTo>
                  <a:lnTo>
                    <a:pt x="921" y="606"/>
                  </a:lnTo>
                  <a:lnTo>
                    <a:pt x="917" y="603"/>
                  </a:lnTo>
                  <a:lnTo>
                    <a:pt x="917" y="599"/>
                  </a:lnTo>
                  <a:lnTo>
                    <a:pt x="917" y="595"/>
                  </a:lnTo>
                  <a:lnTo>
                    <a:pt x="921" y="595"/>
                  </a:lnTo>
                  <a:lnTo>
                    <a:pt x="921" y="591"/>
                  </a:lnTo>
                  <a:lnTo>
                    <a:pt x="925" y="591"/>
                  </a:lnTo>
                  <a:lnTo>
                    <a:pt x="929" y="591"/>
                  </a:lnTo>
                  <a:lnTo>
                    <a:pt x="929" y="587"/>
                  </a:lnTo>
                  <a:lnTo>
                    <a:pt x="929" y="591"/>
                  </a:lnTo>
                  <a:lnTo>
                    <a:pt x="933" y="591"/>
                  </a:lnTo>
                  <a:lnTo>
                    <a:pt x="933" y="595"/>
                  </a:lnTo>
                  <a:lnTo>
                    <a:pt x="933" y="599"/>
                  </a:lnTo>
                  <a:lnTo>
                    <a:pt x="929" y="603"/>
                  </a:lnTo>
                  <a:close/>
                  <a:moveTo>
                    <a:pt x="1148" y="603"/>
                  </a:moveTo>
                  <a:lnTo>
                    <a:pt x="1152" y="603"/>
                  </a:lnTo>
                  <a:lnTo>
                    <a:pt x="1152" y="606"/>
                  </a:lnTo>
                  <a:lnTo>
                    <a:pt x="1148" y="603"/>
                  </a:lnTo>
                  <a:lnTo>
                    <a:pt x="1145" y="603"/>
                  </a:lnTo>
                  <a:lnTo>
                    <a:pt x="1148" y="599"/>
                  </a:lnTo>
                  <a:lnTo>
                    <a:pt x="1148" y="603"/>
                  </a:lnTo>
                  <a:close/>
                  <a:moveTo>
                    <a:pt x="726" y="603"/>
                  </a:moveTo>
                  <a:lnTo>
                    <a:pt x="722" y="603"/>
                  </a:lnTo>
                  <a:lnTo>
                    <a:pt x="726" y="603"/>
                  </a:lnTo>
                  <a:close/>
                  <a:moveTo>
                    <a:pt x="1156" y="610"/>
                  </a:moveTo>
                  <a:lnTo>
                    <a:pt x="1152" y="610"/>
                  </a:lnTo>
                  <a:lnTo>
                    <a:pt x="1156" y="610"/>
                  </a:lnTo>
                  <a:lnTo>
                    <a:pt x="1152" y="614"/>
                  </a:lnTo>
                  <a:lnTo>
                    <a:pt x="1148" y="614"/>
                  </a:lnTo>
                  <a:lnTo>
                    <a:pt x="1148" y="610"/>
                  </a:lnTo>
                  <a:lnTo>
                    <a:pt x="1145" y="610"/>
                  </a:lnTo>
                  <a:lnTo>
                    <a:pt x="1141" y="610"/>
                  </a:lnTo>
                  <a:lnTo>
                    <a:pt x="1145" y="606"/>
                  </a:lnTo>
                  <a:lnTo>
                    <a:pt x="1148" y="606"/>
                  </a:lnTo>
                  <a:lnTo>
                    <a:pt x="1152" y="606"/>
                  </a:lnTo>
                  <a:lnTo>
                    <a:pt x="1156" y="610"/>
                  </a:lnTo>
                  <a:close/>
                  <a:moveTo>
                    <a:pt x="949" y="626"/>
                  </a:moveTo>
                  <a:lnTo>
                    <a:pt x="949" y="630"/>
                  </a:lnTo>
                  <a:lnTo>
                    <a:pt x="945" y="630"/>
                  </a:lnTo>
                  <a:lnTo>
                    <a:pt x="941" y="630"/>
                  </a:lnTo>
                  <a:lnTo>
                    <a:pt x="945" y="630"/>
                  </a:lnTo>
                  <a:lnTo>
                    <a:pt x="945" y="626"/>
                  </a:lnTo>
                  <a:lnTo>
                    <a:pt x="949" y="626"/>
                  </a:lnTo>
                  <a:close/>
                  <a:moveTo>
                    <a:pt x="1105" y="634"/>
                  </a:moveTo>
                  <a:lnTo>
                    <a:pt x="1109" y="638"/>
                  </a:lnTo>
                  <a:lnTo>
                    <a:pt x="1105" y="638"/>
                  </a:lnTo>
                  <a:lnTo>
                    <a:pt x="1105" y="642"/>
                  </a:lnTo>
                  <a:lnTo>
                    <a:pt x="1101" y="642"/>
                  </a:lnTo>
                  <a:lnTo>
                    <a:pt x="1097" y="642"/>
                  </a:lnTo>
                  <a:lnTo>
                    <a:pt x="1101" y="642"/>
                  </a:lnTo>
                  <a:lnTo>
                    <a:pt x="1101" y="638"/>
                  </a:lnTo>
                  <a:lnTo>
                    <a:pt x="1101" y="634"/>
                  </a:lnTo>
                  <a:lnTo>
                    <a:pt x="1105" y="634"/>
                  </a:lnTo>
                  <a:close/>
                  <a:moveTo>
                    <a:pt x="925" y="650"/>
                  </a:moveTo>
                  <a:lnTo>
                    <a:pt x="925" y="654"/>
                  </a:lnTo>
                  <a:lnTo>
                    <a:pt x="921" y="654"/>
                  </a:lnTo>
                  <a:lnTo>
                    <a:pt x="921" y="650"/>
                  </a:lnTo>
                  <a:lnTo>
                    <a:pt x="925" y="650"/>
                  </a:lnTo>
                  <a:close/>
                  <a:moveTo>
                    <a:pt x="1085" y="670"/>
                  </a:moveTo>
                  <a:lnTo>
                    <a:pt x="1085" y="674"/>
                  </a:lnTo>
                  <a:lnTo>
                    <a:pt x="1085" y="670"/>
                  </a:lnTo>
                  <a:close/>
                  <a:moveTo>
                    <a:pt x="1196" y="698"/>
                  </a:moveTo>
                  <a:lnTo>
                    <a:pt x="1196" y="702"/>
                  </a:lnTo>
                  <a:lnTo>
                    <a:pt x="1192" y="702"/>
                  </a:lnTo>
                  <a:lnTo>
                    <a:pt x="1192" y="698"/>
                  </a:lnTo>
                  <a:lnTo>
                    <a:pt x="1196" y="698"/>
                  </a:lnTo>
                  <a:close/>
                  <a:moveTo>
                    <a:pt x="1200" y="702"/>
                  </a:moveTo>
                  <a:lnTo>
                    <a:pt x="1196" y="702"/>
                  </a:lnTo>
                  <a:lnTo>
                    <a:pt x="1196" y="698"/>
                  </a:lnTo>
                  <a:lnTo>
                    <a:pt x="1200" y="698"/>
                  </a:lnTo>
                  <a:lnTo>
                    <a:pt x="1200" y="702"/>
                  </a:lnTo>
                  <a:close/>
                  <a:moveTo>
                    <a:pt x="929" y="706"/>
                  </a:moveTo>
                  <a:lnTo>
                    <a:pt x="929" y="710"/>
                  </a:lnTo>
                  <a:lnTo>
                    <a:pt x="925" y="710"/>
                  </a:lnTo>
                  <a:lnTo>
                    <a:pt x="925" y="706"/>
                  </a:lnTo>
                  <a:lnTo>
                    <a:pt x="929" y="706"/>
                  </a:lnTo>
                  <a:close/>
                  <a:moveTo>
                    <a:pt x="1200" y="710"/>
                  </a:moveTo>
                  <a:lnTo>
                    <a:pt x="1200" y="714"/>
                  </a:lnTo>
                  <a:lnTo>
                    <a:pt x="1200" y="710"/>
                  </a:lnTo>
                  <a:close/>
                  <a:moveTo>
                    <a:pt x="1204" y="722"/>
                  </a:moveTo>
                  <a:lnTo>
                    <a:pt x="1204" y="726"/>
                  </a:lnTo>
                  <a:lnTo>
                    <a:pt x="1200" y="726"/>
                  </a:lnTo>
                  <a:lnTo>
                    <a:pt x="1204" y="726"/>
                  </a:lnTo>
                  <a:lnTo>
                    <a:pt x="1204" y="730"/>
                  </a:lnTo>
                  <a:lnTo>
                    <a:pt x="1204" y="726"/>
                  </a:lnTo>
                  <a:lnTo>
                    <a:pt x="1200" y="726"/>
                  </a:lnTo>
                  <a:lnTo>
                    <a:pt x="1200" y="722"/>
                  </a:lnTo>
                  <a:lnTo>
                    <a:pt x="1204" y="722"/>
                  </a:lnTo>
                  <a:close/>
                  <a:moveTo>
                    <a:pt x="925" y="722"/>
                  </a:moveTo>
                  <a:lnTo>
                    <a:pt x="925" y="726"/>
                  </a:lnTo>
                  <a:lnTo>
                    <a:pt x="925" y="722"/>
                  </a:lnTo>
                  <a:close/>
                  <a:moveTo>
                    <a:pt x="929" y="726"/>
                  </a:moveTo>
                  <a:lnTo>
                    <a:pt x="929" y="730"/>
                  </a:lnTo>
                  <a:lnTo>
                    <a:pt x="929" y="726"/>
                  </a:lnTo>
                  <a:close/>
                  <a:moveTo>
                    <a:pt x="925" y="750"/>
                  </a:moveTo>
                  <a:lnTo>
                    <a:pt x="925" y="746"/>
                  </a:lnTo>
                  <a:lnTo>
                    <a:pt x="929" y="746"/>
                  </a:lnTo>
                  <a:lnTo>
                    <a:pt x="929" y="742"/>
                  </a:lnTo>
                  <a:lnTo>
                    <a:pt x="925" y="746"/>
                  </a:lnTo>
                  <a:lnTo>
                    <a:pt x="921" y="746"/>
                  </a:lnTo>
                  <a:lnTo>
                    <a:pt x="925" y="746"/>
                  </a:lnTo>
                  <a:lnTo>
                    <a:pt x="925" y="742"/>
                  </a:lnTo>
                  <a:lnTo>
                    <a:pt x="929" y="738"/>
                  </a:lnTo>
                  <a:lnTo>
                    <a:pt x="929" y="734"/>
                  </a:lnTo>
                  <a:lnTo>
                    <a:pt x="929" y="730"/>
                  </a:lnTo>
                  <a:lnTo>
                    <a:pt x="933" y="730"/>
                  </a:lnTo>
                  <a:lnTo>
                    <a:pt x="933" y="734"/>
                  </a:lnTo>
                  <a:lnTo>
                    <a:pt x="929" y="738"/>
                  </a:lnTo>
                  <a:lnTo>
                    <a:pt x="933" y="738"/>
                  </a:lnTo>
                  <a:lnTo>
                    <a:pt x="933" y="734"/>
                  </a:lnTo>
                  <a:lnTo>
                    <a:pt x="933" y="730"/>
                  </a:lnTo>
                  <a:lnTo>
                    <a:pt x="937" y="730"/>
                  </a:lnTo>
                  <a:lnTo>
                    <a:pt x="937" y="734"/>
                  </a:lnTo>
                  <a:lnTo>
                    <a:pt x="941" y="734"/>
                  </a:lnTo>
                  <a:lnTo>
                    <a:pt x="937" y="738"/>
                  </a:lnTo>
                  <a:lnTo>
                    <a:pt x="937" y="742"/>
                  </a:lnTo>
                  <a:lnTo>
                    <a:pt x="937" y="746"/>
                  </a:lnTo>
                  <a:lnTo>
                    <a:pt x="933" y="746"/>
                  </a:lnTo>
                  <a:lnTo>
                    <a:pt x="937" y="746"/>
                  </a:lnTo>
                  <a:lnTo>
                    <a:pt x="937" y="742"/>
                  </a:lnTo>
                  <a:lnTo>
                    <a:pt x="937" y="738"/>
                  </a:lnTo>
                  <a:lnTo>
                    <a:pt x="937" y="734"/>
                  </a:lnTo>
                  <a:lnTo>
                    <a:pt x="937" y="738"/>
                  </a:lnTo>
                  <a:lnTo>
                    <a:pt x="933" y="746"/>
                  </a:lnTo>
                  <a:lnTo>
                    <a:pt x="937" y="742"/>
                  </a:lnTo>
                  <a:lnTo>
                    <a:pt x="937" y="738"/>
                  </a:lnTo>
                  <a:lnTo>
                    <a:pt x="933" y="738"/>
                  </a:lnTo>
                  <a:lnTo>
                    <a:pt x="933" y="742"/>
                  </a:lnTo>
                  <a:lnTo>
                    <a:pt x="933" y="746"/>
                  </a:lnTo>
                  <a:lnTo>
                    <a:pt x="929" y="746"/>
                  </a:lnTo>
                  <a:lnTo>
                    <a:pt x="925" y="750"/>
                  </a:lnTo>
                  <a:close/>
                  <a:moveTo>
                    <a:pt x="921" y="738"/>
                  </a:moveTo>
                  <a:lnTo>
                    <a:pt x="925" y="734"/>
                  </a:lnTo>
                  <a:lnTo>
                    <a:pt x="929" y="734"/>
                  </a:lnTo>
                  <a:lnTo>
                    <a:pt x="929" y="730"/>
                  </a:lnTo>
                  <a:lnTo>
                    <a:pt x="929" y="734"/>
                  </a:lnTo>
                  <a:lnTo>
                    <a:pt x="929" y="738"/>
                  </a:lnTo>
                  <a:lnTo>
                    <a:pt x="925" y="738"/>
                  </a:lnTo>
                  <a:lnTo>
                    <a:pt x="921" y="738"/>
                  </a:lnTo>
                  <a:close/>
                  <a:moveTo>
                    <a:pt x="937" y="742"/>
                  </a:moveTo>
                  <a:lnTo>
                    <a:pt x="941" y="738"/>
                  </a:lnTo>
                  <a:lnTo>
                    <a:pt x="941" y="734"/>
                  </a:lnTo>
                  <a:lnTo>
                    <a:pt x="945" y="738"/>
                  </a:lnTo>
                  <a:lnTo>
                    <a:pt x="941" y="738"/>
                  </a:lnTo>
                  <a:lnTo>
                    <a:pt x="941" y="742"/>
                  </a:lnTo>
                  <a:lnTo>
                    <a:pt x="937" y="742"/>
                  </a:lnTo>
                  <a:close/>
                  <a:moveTo>
                    <a:pt x="1200" y="734"/>
                  </a:moveTo>
                  <a:lnTo>
                    <a:pt x="1204" y="734"/>
                  </a:lnTo>
                  <a:lnTo>
                    <a:pt x="1204" y="738"/>
                  </a:lnTo>
                  <a:lnTo>
                    <a:pt x="1200" y="738"/>
                  </a:lnTo>
                  <a:lnTo>
                    <a:pt x="1200" y="734"/>
                  </a:lnTo>
                  <a:close/>
                  <a:moveTo>
                    <a:pt x="1208" y="738"/>
                  </a:moveTo>
                  <a:lnTo>
                    <a:pt x="1212" y="742"/>
                  </a:lnTo>
                  <a:lnTo>
                    <a:pt x="1208" y="742"/>
                  </a:lnTo>
                  <a:lnTo>
                    <a:pt x="1208" y="738"/>
                  </a:lnTo>
                  <a:close/>
                  <a:moveTo>
                    <a:pt x="937" y="742"/>
                  </a:moveTo>
                  <a:lnTo>
                    <a:pt x="937" y="746"/>
                  </a:lnTo>
                  <a:lnTo>
                    <a:pt x="937" y="750"/>
                  </a:lnTo>
                  <a:lnTo>
                    <a:pt x="937" y="746"/>
                  </a:lnTo>
                  <a:lnTo>
                    <a:pt x="937" y="742"/>
                  </a:lnTo>
                  <a:close/>
                  <a:moveTo>
                    <a:pt x="163" y="766"/>
                  </a:moveTo>
                  <a:lnTo>
                    <a:pt x="163" y="770"/>
                  </a:lnTo>
                  <a:lnTo>
                    <a:pt x="159" y="774"/>
                  </a:lnTo>
                  <a:lnTo>
                    <a:pt x="159" y="770"/>
                  </a:lnTo>
                  <a:lnTo>
                    <a:pt x="163" y="770"/>
                  </a:lnTo>
                  <a:lnTo>
                    <a:pt x="163" y="766"/>
                  </a:lnTo>
                  <a:close/>
                  <a:moveTo>
                    <a:pt x="937" y="770"/>
                  </a:moveTo>
                  <a:lnTo>
                    <a:pt x="933" y="770"/>
                  </a:lnTo>
                  <a:lnTo>
                    <a:pt x="929" y="770"/>
                  </a:lnTo>
                  <a:lnTo>
                    <a:pt x="925" y="774"/>
                  </a:lnTo>
                  <a:lnTo>
                    <a:pt x="925" y="770"/>
                  </a:lnTo>
                  <a:lnTo>
                    <a:pt x="929" y="770"/>
                  </a:lnTo>
                  <a:lnTo>
                    <a:pt x="933" y="770"/>
                  </a:lnTo>
                  <a:lnTo>
                    <a:pt x="937" y="770"/>
                  </a:lnTo>
                  <a:close/>
                  <a:moveTo>
                    <a:pt x="155" y="774"/>
                  </a:moveTo>
                  <a:lnTo>
                    <a:pt x="155" y="778"/>
                  </a:lnTo>
                  <a:lnTo>
                    <a:pt x="151" y="778"/>
                  </a:lnTo>
                  <a:lnTo>
                    <a:pt x="151" y="774"/>
                  </a:lnTo>
                  <a:lnTo>
                    <a:pt x="155" y="774"/>
                  </a:lnTo>
                  <a:close/>
                  <a:moveTo>
                    <a:pt x="119" y="798"/>
                  </a:moveTo>
                  <a:lnTo>
                    <a:pt x="119" y="794"/>
                  </a:lnTo>
                  <a:lnTo>
                    <a:pt x="119" y="790"/>
                  </a:lnTo>
                  <a:lnTo>
                    <a:pt x="119" y="786"/>
                  </a:lnTo>
                  <a:lnTo>
                    <a:pt x="123" y="786"/>
                  </a:lnTo>
                  <a:lnTo>
                    <a:pt x="127" y="786"/>
                  </a:lnTo>
                  <a:lnTo>
                    <a:pt x="127" y="790"/>
                  </a:lnTo>
                  <a:lnTo>
                    <a:pt x="123" y="790"/>
                  </a:lnTo>
                  <a:lnTo>
                    <a:pt x="127" y="790"/>
                  </a:lnTo>
                  <a:lnTo>
                    <a:pt x="131" y="786"/>
                  </a:lnTo>
                  <a:lnTo>
                    <a:pt x="131" y="790"/>
                  </a:lnTo>
                  <a:lnTo>
                    <a:pt x="135" y="790"/>
                  </a:lnTo>
                  <a:lnTo>
                    <a:pt x="135" y="794"/>
                  </a:lnTo>
                  <a:lnTo>
                    <a:pt x="131" y="794"/>
                  </a:lnTo>
                  <a:lnTo>
                    <a:pt x="127" y="798"/>
                  </a:lnTo>
                  <a:lnTo>
                    <a:pt x="131" y="798"/>
                  </a:lnTo>
                  <a:lnTo>
                    <a:pt x="135" y="794"/>
                  </a:lnTo>
                  <a:lnTo>
                    <a:pt x="135" y="790"/>
                  </a:lnTo>
                  <a:lnTo>
                    <a:pt x="139" y="790"/>
                  </a:lnTo>
                  <a:lnTo>
                    <a:pt x="139" y="786"/>
                  </a:lnTo>
                  <a:lnTo>
                    <a:pt x="139" y="790"/>
                  </a:lnTo>
                  <a:lnTo>
                    <a:pt x="139" y="794"/>
                  </a:lnTo>
                  <a:lnTo>
                    <a:pt x="135" y="798"/>
                  </a:lnTo>
                  <a:lnTo>
                    <a:pt x="135" y="802"/>
                  </a:lnTo>
                  <a:lnTo>
                    <a:pt x="135" y="806"/>
                  </a:lnTo>
                  <a:lnTo>
                    <a:pt x="131" y="806"/>
                  </a:lnTo>
                  <a:lnTo>
                    <a:pt x="131" y="810"/>
                  </a:lnTo>
                  <a:lnTo>
                    <a:pt x="135" y="810"/>
                  </a:lnTo>
                  <a:lnTo>
                    <a:pt x="131" y="810"/>
                  </a:lnTo>
                  <a:lnTo>
                    <a:pt x="127" y="810"/>
                  </a:lnTo>
                  <a:lnTo>
                    <a:pt x="127" y="806"/>
                  </a:lnTo>
                  <a:lnTo>
                    <a:pt x="123" y="806"/>
                  </a:lnTo>
                  <a:lnTo>
                    <a:pt x="127" y="806"/>
                  </a:lnTo>
                  <a:lnTo>
                    <a:pt x="131" y="806"/>
                  </a:lnTo>
                  <a:lnTo>
                    <a:pt x="127" y="802"/>
                  </a:lnTo>
                  <a:lnTo>
                    <a:pt x="123" y="802"/>
                  </a:lnTo>
                  <a:lnTo>
                    <a:pt x="119" y="802"/>
                  </a:lnTo>
                  <a:lnTo>
                    <a:pt x="119" y="798"/>
                  </a:lnTo>
                  <a:lnTo>
                    <a:pt x="123" y="798"/>
                  </a:lnTo>
                  <a:lnTo>
                    <a:pt x="119" y="798"/>
                  </a:lnTo>
                  <a:close/>
                  <a:moveTo>
                    <a:pt x="159" y="790"/>
                  </a:moveTo>
                  <a:lnTo>
                    <a:pt x="163" y="790"/>
                  </a:lnTo>
                  <a:lnTo>
                    <a:pt x="159" y="794"/>
                  </a:lnTo>
                  <a:lnTo>
                    <a:pt x="159" y="790"/>
                  </a:lnTo>
                  <a:lnTo>
                    <a:pt x="159" y="794"/>
                  </a:lnTo>
                  <a:lnTo>
                    <a:pt x="159" y="790"/>
                  </a:lnTo>
                  <a:lnTo>
                    <a:pt x="155" y="790"/>
                  </a:lnTo>
                  <a:lnTo>
                    <a:pt x="155" y="794"/>
                  </a:lnTo>
                  <a:lnTo>
                    <a:pt x="155" y="790"/>
                  </a:lnTo>
                  <a:lnTo>
                    <a:pt x="159" y="790"/>
                  </a:lnTo>
                  <a:lnTo>
                    <a:pt x="159" y="786"/>
                  </a:lnTo>
                  <a:lnTo>
                    <a:pt x="159" y="790"/>
                  </a:lnTo>
                  <a:close/>
                  <a:moveTo>
                    <a:pt x="163" y="794"/>
                  </a:moveTo>
                  <a:lnTo>
                    <a:pt x="163" y="798"/>
                  </a:lnTo>
                  <a:lnTo>
                    <a:pt x="163" y="802"/>
                  </a:lnTo>
                  <a:lnTo>
                    <a:pt x="163" y="798"/>
                  </a:lnTo>
                  <a:lnTo>
                    <a:pt x="159" y="798"/>
                  </a:lnTo>
                  <a:lnTo>
                    <a:pt x="163" y="794"/>
                  </a:lnTo>
                  <a:close/>
                  <a:moveTo>
                    <a:pt x="183" y="798"/>
                  </a:moveTo>
                  <a:lnTo>
                    <a:pt x="179" y="798"/>
                  </a:lnTo>
                  <a:lnTo>
                    <a:pt x="179" y="802"/>
                  </a:lnTo>
                  <a:lnTo>
                    <a:pt x="179" y="806"/>
                  </a:lnTo>
                  <a:lnTo>
                    <a:pt x="179" y="798"/>
                  </a:lnTo>
                  <a:lnTo>
                    <a:pt x="183" y="798"/>
                  </a:lnTo>
                  <a:close/>
                  <a:moveTo>
                    <a:pt x="159" y="798"/>
                  </a:moveTo>
                  <a:lnTo>
                    <a:pt x="163" y="798"/>
                  </a:lnTo>
                  <a:lnTo>
                    <a:pt x="163" y="802"/>
                  </a:lnTo>
                  <a:lnTo>
                    <a:pt x="167" y="802"/>
                  </a:lnTo>
                  <a:lnTo>
                    <a:pt x="167" y="806"/>
                  </a:lnTo>
                  <a:lnTo>
                    <a:pt x="171" y="810"/>
                  </a:lnTo>
                  <a:lnTo>
                    <a:pt x="167" y="810"/>
                  </a:lnTo>
                  <a:lnTo>
                    <a:pt x="163" y="806"/>
                  </a:lnTo>
                  <a:lnTo>
                    <a:pt x="159" y="806"/>
                  </a:lnTo>
                  <a:lnTo>
                    <a:pt x="159" y="802"/>
                  </a:lnTo>
                  <a:lnTo>
                    <a:pt x="159" y="798"/>
                  </a:lnTo>
                  <a:close/>
                  <a:moveTo>
                    <a:pt x="183" y="802"/>
                  </a:moveTo>
                  <a:lnTo>
                    <a:pt x="183" y="806"/>
                  </a:lnTo>
                  <a:lnTo>
                    <a:pt x="179" y="806"/>
                  </a:lnTo>
                  <a:lnTo>
                    <a:pt x="179" y="802"/>
                  </a:lnTo>
                  <a:lnTo>
                    <a:pt x="183" y="802"/>
                  </a:lnTo>
                  <a:close/>
                  <a:moveTo>
                    <a:pt x="925" y="806"/>
                  </a:moveTo>
                  <a:lnTo>
                    <a:pt x="921" y="806"/>
                  </a:lnTo>
                  <a:lnTo>
                    <a:pt x="925" y="806"/>
                  </a:lnTo>
                  <a:close/>
                  <a:moveTo>
                    <a:pt x="179" y="806"/>
                  </a:moveTo>
                  <a:lnTo>
                    <a:pt x="179" y="810"/>
                  </a:lnTo>
                  <a:lnTo>
                    <a:pt x="175" y="810"/>
                  </a:lnTo>
                  <a:lnTo>
                    <a:pt x="175" y="806"/>
                  </a:lnTo>
                  <a:lnTo>
                    <a:pt x="179" y="806"/>
                  </a:lnTo>
                  <a:close/>
                  <a:moveTo>
                    <a:pt x="905" y="810"/>
                  </a:moveTo>
                  <a:lnTo>
                    <a:pt x="909" y="810"/>
                  </a:lnTo>
                  <a:lnTo>
                    <a:pt x="909" y="814"/>
                  </a:lnTo>
                  <a:lnTo>
                    <a:pt x="913" y="818"/>
                  </a:lnTo>
                  <a:lnTo>
                    <a:pt x="913" y="822"/>
                  </a:lnTo>
                  <a:lnTo>
                    <a:pt x="913" y="818"/>
                  </a:lnTo>
                  <a:lnTo>
                    <a:pt x="909" y="818"/>
                  </a:lnTo>
                  <a:lnTo>
                    <a:pt x="905" y="818"/>
                  </a:lnTo>
                  <a:lnTo>
                    <a:pt x="901" y="818"/>
                  </a:lnTo>
                  <a:lnTo>
                    <a:pt x="897" y="814"/>
                  </a:lnTo>
                  <a:lnTo>
                    <a:pt x="893" y="814"/>
                  </a:lnTo>
                  <a:lnTo>
                    <a:pt x="893" y="810"/>
                  </a:lnTo>
                  <a:lnTo>
                    <a:pt x="897" y="810"/>
                  </a:lnTo>
                  <a:lnTo>
                    <a:pt x="901" y="810"/>
                  </a:lnTo>
                  <a:lnTo>
                    <a:pt x="901" y="806"/>
                  </a:lnTo>
                  <a:lnTo>
                    <a:pt x="901" y="810"/>
                  </a:lnTo>
                  <a:lnTo>
                    <a:pt x="905" y="810"/>
                  </a:lnTo>
                  <a:close/>
                  <a:moveTo>
                    <a:pt x="175" y="810"/>
                  </a:moveTo>
                  <a:lnTo>
                    <a:pt x="175" y="814"/>
                  </a:lnTo>
                  <a:lnTo>
                    <a:pt x="175" y="810"/>
                  </a:lnTo>
                  <a:lnTo>
                    <a:pt x="171" y="810"/>
                  </a:lnTo>
                  <a:lnTo>
                    <a:pt x="175" y="810"/>
                  </a:lnTo>
                  <a:close/>
                  <a:moveTo>
                    <a:pt x="179" y="818"/>
                  </a:moveTo>
                  <a:lnTo>
                    <a:pt x="183" y="822"/>
                  </a:lnTo>
                  <a:lnTo>
                    <a:pt x="183" y="826"/>
                  </a:lnTo>
                  <a:lnTo>
                    <a:pt x="179" y="822"/>
                  </a:lnTo>
                  <a:lnTo>
                    <a:pt x="175" y="818"/>
                  </a:lnTo>
                  <a:lnTo>
                    <a:pt x="179" y="818"/>
                  </a:lnTo>
                  <a:close/>
                  <a:moveTo>
                    <a:pt x="195" y="818"/>
                  </a:moveTo>
                  <a:lnTo>
                    <a:pt x="191" y="818"/>
                  </a:lnTo>
                  <a:lnTo>
                    <a:pt x="191" y="822"/>
                  </a:lnTo>
                  <a:lnTo>
                    <a:pt x="191" y="818"/>
                  </a:lnTo>
                  <a:lnTo>
                    <a:pt x="195" y="818"/>
                  </a:lnTo>
                  <a:close/>
                  <a:moveTo>
                    <a:pt x="191" y="818"/>
                  </a:moveTo>
                  <a:lnTo>
                    <a:pt x="191" y="822"/>
                  </a:lnTo>
                  <a:lnTo>
                    <a:pt x="191" y="826"/>
                  </a:lnTo>
                  <a:lnTo>
                    <a:pt x="187" y="826"/>
                  </a:lnTo>
                  <a:lnTo>
                    <a:pt x="191" y="822"/>
                  </a:lnTo>
                  <a:lnTo>
                    <a:pt x="191" y="818"/>
                  </a:lnTo>
                  <a:close/>
                  <a:moveTo>
                    <a:pt x="143" y="818"/>
                  </a:moveTo>
                  <a:lnTo>
                    <a:pt x="143" y="822"/>
                  </a:lnTo>
                  <a:lnTo>
                    <a:pt x="139" y="818"/>
                  </a:lnTo>
                  <a:lnTo>
                    <a:pt x="143" y="818"/>
                  </a:lnTo>
                  <a:close/>
                  <a:moveTo>
                    <a:pt x="187" y="822"/>
                  </a:moveTo>
                  <a:lnTo>
                    <a:pt x="187" y="826"/>
                  </a:lnTo>
                  <a:lnTo>
                    <a:pt x="183" y="826"/>
                  </a:lnTo>
                  <a:lnTo>
                    <a:pt x="183" y="822"/>
                  </a:lnTo>
                  <a:lnTo>
                    <a:pt x="187" y="822"/>
                  </a:lnTo>
                  <a:close/>
                  <a:moveTo>
                    <a:pt x="187" y="826"/>
                  </a:moveTo>
                  <a:lnTo>
                    <a:pt x="187" y="830"/>
                  </a:lnTo>
                  <a:lnTo>
                    <a:pt x="183" y="826"/>
                  </a:lnTo>
                  <a:lnTo>
                    <a:pt x="187" y="826"/>
                  </a:lnTo>
                  <a:close/>
                  <a:moveTo>
                    <a:pt x="203" y="834"/>
                  </a:moveTo>
                  <a:lnTo>
                    <a:pt x="199" y="834"/>
                  </a:lnTo>
                  <a:lnTo>
                    <a:pt x="199" y="838"/>
                  </a:lnTo>
                  <a:lnTo>
                    <a:pt x="199" y="834"/>
                  </a:lnTo>
                  <a:lnTo>
                    <a:pt x="199" y="830"/>
                  </a:lnTo>
                  <a:lnTo>
                    <a:pt x="203" y="830"/>
                  </a:lnTo>
                  <a:lnTo>
                    <a:pt x="203" y="826"/>
                  </a:lnTo>
                  <a:lnTo>
                    <a:pt x="207" y="826"/>
                  </a:lnTo>
                  <a:lnTo>
                    <a:pt x="207" y="830"/>
                  </a:lnTo>
                  <a:lnTo>
                    <a:pt x="203" y="830"/>
                  </a:lnTo>
                  <a:lnTo>
                    <a:pt x="203" y="834"/>
                  </a:lnTo>
                  <a:close/>
                  <a:moveTo>
                    <a:pt x="195" y="826"/>
                  </a:moveTo>
                  <a:lnTo>
                    <a:pt x="195" y="830"/>
                  </a:lnTo>
                  <a:lnTo>
                    <a:pt x="191" y="830"/>
                  </a:lnTo>
                  <a:lnTo>
                    <a:pt x="195" y="830"/>
                  </a:lnTo>
                  <a:lnTo>
                    <a:pt x="195" y="826"/>
                  </a:lnTo>
                  <a:close/>
                  <a:moveTo>
                    <a:pt x="151" y="834"/>
                  </a:moveTo>
                  <a:lnTo>
                    <a:pt x="151" y="838"/>
                  </a:lnTo>
                  <a:lnTo>
                    <a:pt x="147" y="834"/>
                  </a:lnTo>
                  <a:lnTo>
                    <a:pt x="151" y="834"/>
                  </a:lnTo>
                  <a:close/>
                  <a:moveTo>
                    <a:pt x="933" y="834"/>
                  </a:moveTo>
                  <a:lnTo>
                    <a:pt x="933" y="838"/>
                  </a:lnTo>
                  <a:lnTo>
                    <a:pt x="929" y="838"/>
                  </a:lnTo>
                  <a:lnTo>
                    <a:pt x="929" y="834"/>
                  </a:lnTo>
                  <a:lnTo>
                    <a:pt x="933" y="834"/>
                  </a:lnTo>
                  <a:close/>
                  <a:moveTo>
                    <a:pt x="195" y="842"/>
                  </a:moveTo>
                  <a:lnTo>
                    <a:pt x="195" y="846"/>
                  </a:lnTo>
                  <a:lnTo>
                    <a:pt x="199" y="846"/>
                  </a:lnTo>
                  <a:lnTo>
                    <a:pt x="199" y="850"/>
                  </a:lnTo>
                  <a:lnTo>
                    <a:pt x="195" y="850"/>
                  </a:lnTo>
                  <a:lnTo>
                    <a:pt x="195" y="846"/>
                  </a:lnTo>
                  <a:lnTo>
                    <a:pt x="195" y="842"/>
                  </a:lnTo>
                  <a:close/>
                  <a:moveTo>
                    <a:pt x="1272" y="934"/>
                  </a:moveTo>
                  <a:lnTo>
                    <a:pt x="1268" y="934"/>
                  </a:lnTo>
                  <a:lnTo>
                    <a:pt x="1264" y="934"/>
                  </a:lnTo>
                  <a:lnTo>
                    <a:pt x="1260" y="934"/>
                  </a:lnTo>
                  <a:lnTo>
                    <a:pt x="1256" y="934"/>
                  </a:lnTo>
                  <a:lnTo>
                    <a:pt x="1256" y="930"/>
                  </a:lnTo>
                  <a:lnTo>
                    <a:pt x="1252" y="934"/>
                  </a:lnTo>
                  <a:lnTo>
                    <a:pt x="1244" y="934"/>
                  </a:lnTo>
                  <a:lnTo>
                    <a:pt x="1240" y="934"/>
                  </a:lnTo>
                  <a:lnTo>
                    <a:pt x="1236" y="934"/>
                  </a:lnTo>
                  <a:lnTo>
                    <a:pt x="1236" y="930"/>
                  </a:lnTo>
                  <a:lnTo>
                    <a:pt x="1236" y="926"/>
                  </a:lnTo>
                  <a:lnTo>
                    <a:pt x="1240" y="922"/>
                  </a:lnTo>
                  <a:lnTo>
                    <a:pt x="1244" y="918"/>
                  </a:lnTo>
                  <a:lnTo>
                    <a:pt x="1248" y="914"/>
                  </a:lnTo>
                  <a:lnTo>
                    <a:pt x="1248" y="918"/>
                  </a:lnTo>
                  <a:lnTo>
                    <a:pt x="1248" y="914"/>
                  </a:lnTo>
                  <a:lnTo>
                    <a:pt x="1244" y="914"/>
                  </a:lnTo>
                  <a:lnTo>
                    <a:pt x="1240" y="914"/>
                  </a:lnTo>
                  <a:lnTo>
                    <a:pt x="1236" y="914"/>
                  </a:lnTo>
                  <a:lnTo>
                    <a:pt x="1240" y="910"/>
                  </a:lnTo>
                  <a:lnTo>
                    <a:pt x="1244" y="910"/>
                  </a:lnTo>
                  <a:lnTo>
                    <a:pt x="1240" y="910"/>
                  </a:lnTo>
                  <a:lnTo>
                    <a:pt x="1244" y="914"/>
                  </a:lnTo>
                  <a:lnTo>
                    <a:pt x="1244" y="910"/>
                  </a:lnTo>
                  <a:lnTo>
                    <a:pt x="1248" y="906"/>
                  </a:lnTo>
                  <a:lnTo>
                    <a:pt x="1248" y="902"/>
                  </a:lnTo>
                  <a:lnTo>
                    <a:pt x="1252" y="898"/>
                  </a:lnTo>
                  <a:lnTo>
                    <a:pt x="1252" y="902"/>
                  </a:lnTo>
                  <a:lnTo>
                    <a:pt x="1256" y="902"/>
                  </a:lnTo>
                  <a:lnTo>
                    <a:pt x="1256" y="906"/>
                  </a:lnTo>
                  <a:lnTo>
                    <a:pt x="1256" y="902"/>
                  </a:lnTo>
                  <a:lnTo>
                    <a:pt x="1252" y="902"/>
                  </a:lnTo>
                  <a:lnTo>
                    <a:pt x="1256" y="902"/>
                  </a:lnTo>
                  <a:lnTo>
                    <a:pt x="1256" y="898"/>
                  </a:lnTo>
                  <a:lnTo>
                    <a:pt x="1252" y="898"/>
                  </a:lnTo>
                  <a:lnTo>
                    <a:pt x="1252" y="894"/>
                  </a:lnTo>
                  <a:lnTo>
                    <a:pt x="1256" y="890"/>
                  </a:lnTo>
                  <a:lnTo>
                    <a:pt x="1260" y="894"/>
                  </a:lnTo>
                  <a:lnTo>
                    <a:pt x="1256" y="890"/>
                  </a:lnTo>
                  <a:lnTo>
                    <a:pt x="1256" y="886"/>
                  </a:lnTo>
                  <a:lnTo>
                    <a:pt x="1260" y="886"/>
                  </a:lnTo>
                  <a:lnTo>
                    <a:pt x="1260" y="878"/>
                  </a:lnTo>
                  <a:lnTo>
                    <a:pt x="1264" y="874"/>
                  </a:lnTo>
                  <a:lnTo>
                    <a:pt x="1264" y="870"/>
                  </a:lnTo>
                  <a:lnTo>
                    <a:pt x="1264" y="866"/>
                  </a:lnTo>
                  <a:lnTo>
                    <a:pt x="1268" y="866"/>
                  </a:lnTo>
                  <a:lnTo>
                    <a:pt x="1264" y="866"/>
                  </a:lnTo>
                  <a:lnTo>
                    <a:pt x="1268" y="866"/>
                  </a:lnTo>
                  <a:lnTo>
                    <a:pt x="1268" y="862"/>
                  </a:lnTo>
                  <a:lnTo>
                    <a:pt x="1272" y="862"/>
                  </a:lnTo>
                  <a:lnTo>
                    <a:pt x="1272" y="858"/>
                  </a:lnTo>
                  <a:lnTo>
                    <a:pt x="1272" y="854"/>
                  </a:lnTo>
                  <a:lnTo>
                    <a:pt x="1276" y="850"/>
                  </a:lnTo>
                  <a:lnTo>
                    <a:pt x="1280" y="850"/>
                  </a:lnTo>
                  <a:lnTo>
                    <a:pt x="1280" y="846"/>
                  </a:lnTo>
                  <a:lnTo>
                    <a:pt x="1284" y="846"/>
                  </a:lnTo>
                  <a:lnTo>
                    <a:pt x="1288" y="846"/>
                  </a:lnTo>
                  <a:lnTo>
                    <a:pt x="1292" y="846"/>
                  </a:lnTo>
                  <a:lnTo>
                    <a:pt x="1288" y="846"/>
                  </a:lnTo>
                  <a:lnTo>
                    <a:pt x="1292" y="846"/>
                  </a:lnTo>
                  <a:lnTo>
                    <a:pt x="1296" y="846"/>
                  </a:lnTo>
                  <a:lnTo>
                    <a:pt x="1296" y="850"/>
                  </a:lnTo>
                  <a:lnTo>
                    <a:pt x="1292" y="850"/>
                  </a:lnTo>
                  <a:lnTo>
                    <a:pt x="1288" y="850"/>
                  </a:lnTo>
                  <a:lnTo>
                    <a:pt x="1284" y="850"/>
                  </a:lnTo>
                  <a:lnTo>
                    <a:pt x="1284" y="854"/>
                  </a:lnTo>
                  <a:lnTo>
                    <a:pt x="1288" y="854"/>
                  </a:lnTo>
                  <a:lnTo>
                    <a:pt x="1292" y="854"/>
                  </a:lnTo>
                  <a:lnTo>
                    <a:pt x="1292" y="858"/>
                  </a:lnTo>
                  <a:lnTo>
                    <a:pt x="1288" y="858"/>
                  </a:lnTo>
                  <a:lnTo>
                    <a:pt x="1284" y="862"/>
                  </a:lnTo>
                  <a:lnTo>
                    <a:pt x="1284" y="866"/>
                  </a:lnTo>
                  <a:lnTo>
                    <a:pt x="1284" y="862"/>
                  </a:lnTo>
                  <a:lnTo>
                    <a:pt x="1284" y="866"/>
                  </a:lnTo>
                  <a:lnTo>
                    <a:pt x="1284" y="870"/>
                  </a:lnTo>
                  <a:lnTo>
                    <a:pt x="1280" y="870"/>
                  </a:lnTo>
                  <a:lnTo>
                    <a:pt x="1280" y="874"/>
                  </a:lnTo>
                  <a:lnTo>
                    <a:pt x="1280" y="878"/>
                  </a:lnTo>
                  <a:lnTo>
                    <a:pt x="1276" y="878"/>
                  </a:lnTo>
                  <a:lnTo>
                    <a:pt x="1276" y="882"/>
                  </a:lnTo>
                  <a:lnTo>
                    <a:pt x="1276" y="886"/>
                  </a:lnTo>
                  <a:lnTo>
                    <a:pt x="1272" y="886"/>
                  </a:lnTo>
                  <a:lnTo>
                    <a:pt x="1276" y="886"/>
                  </a:lnTo>
                  <a:lnTo>
                    <a:pt x="1272" y="890"/>
                  </a:lnTo>
                  <a:lnTo>
                    <a:pt x="1276" y="890"/>
                  </a:lnTo>
                  <a:lnTo>
                    <a:pt x="1276" y="886"/>
                  </a:lnTo>
                  <a:lnTo>
                    <a:pt x="1280" y="882"/>
                  </a:lnTo>
                  <a:lnTo>
                    <a:pt x="1284" y="878"/>
                  </a:lnTo>
                  <a:lnTo>
                    <a:pt x="1284" y="882"/>
                  </a:lnTo>
                  <a:lnTo>
                    <a:pt x="1288" y="882"/>
                  </a:lnTo>
                  <a:lnTo>
                    <a:pt x="1292" y="882"/>
                  </a:lnTo>
                  <a:lnTo>
                    <a:pt x="1296" y="882"/>
                  </a:lnTo>
                  <a:lnTo>
                    <a:pt x="1292" y="882"/>
                  </a:lnTo>
                  <a:lnTo>
                    <a:pt x="1292" y="886"/>
                  </a:lnTo>
                  <a:lnTo>
                    <a:pt x="1288" y="886"/>
                  </a:lnTo>
                  <a:lnTo>
                    <a:pt x="1284" y="890"/>
                  </a:lnTo>
                  <a:lnTo>
                    <a:pt x="1288" y="886"/>
                  </a:lnTo>
                  <a:lnTo>
                    <a:pt x="1288" y="890"/>
                  </a:lnTo>
                  <a:lnTo>
                    <a:pt x="1284" y="890"/>
                  </a:lnTo>
                  <a:lnTo>
                    <a:pt x="1284" y="894"/>
                  </a:lnTo>
                  <a:lnTo>
                    <a:pt x="1288" y="894"/>
                  </a:lnTo>
                  <a:lnTo>
                    <a:pt x="1288" y="890"/>
                  </a:lnTo>
                  <a:lnTo>
                    <a:pt x="1292" y="894"/>
                  </a:lnTo>
                  <a:lnTo>
                    <a:pt x="1296" y="894"/>
                  </a:lnTo>
                  <a:lnTo>
                    <a:pt x="1296" y="890"/>
                  </a:lnTo>
                  <a:lnTo>
                    <a:pt x="1296" y="894"/>
                  </a:lnTo>
                  <a:lnTo>
                    <a:pt x="1296" y="898"/>
                  </a:lnTo>
                  <a:lnTo>
                    <a:pt x="1296" y="894"/>
                  </a:lnTo>
                  <a:lnTo>
                    <a:pt x="1296" y="890"/>
                  </a:lnTo>
                  <a:lnTo>
                    <a:pt x="1300" y="890"/>
                  </a:lnTo>
                  <a:lnTo>
                    <a:pt x="1300" y="894"/>
                  </a:lnTo>
                  <a:lnTo>
                    <a:pt x="1296" y="898"/>
                  </a:lnTo>
                  <a:lnTo>
                    <a:pt x="1296" y="902"/>
                  </a:lnTo>
                  <a:lnTo>
                    <a:pt x="1296" y="898"/>
                  </a:lnTo>
                  <a:lnTo>
                    <a:pt x="1300" y="898"/>
                  </a:lnTo>
                  <a:lnTo>
                    <a:pt x="1300" y="894"/>
                  </a:lnTo>
                  <a:lnTo>
                    <a:pt x="1300" y="898"/>
                  </a:lnTo>
                  <a:lnTo>
                    <a:pt x="1304" y="898"/>
                  </a:lnTo>
                  <a:lnTo>
                    <a:pt x="1308" y="894"/>
                  </a:lnTo>
                  <a:lnTo>
                    <a:pt x="1308" y="890"/>
                  </a:lnTo>
                  <a:lnTo>
                    <a:pt x="1308" y="894"/>
                  </a:lnTo>
                  <a:lnTo>
                    <a:pt x="1308" y="898"/>
                  </a:lnTo>
                  <a:lnTo>
                    <a:pt x="1312" y="894"/>
                  </a:lnTo>
                  <a:lnTo>
                    <a:pt x="1316" y="894"/>
                  </a:lnTo>
                  <a:lnTo>
                    <a:pt x="1320" y="894"/>
                  </a:lnTo>
                  <a:lnTo>
                    <a:pt x="1324" y="898"/>
                  </a:lnTo>
                  <a:lnTo>
                    <a:pt x="1324" y="902"/>
                  </a:lnTo>
                  <a:lnTo>
                    <a:pt x="1320" y="902"/>
                  </a:lnTo>
                  <a:lnTo>
                    <a:pt x="1320" y="906"/>
                  </a:lnTo>
                  <a:lnTo>
                    <a:pt x="1316" y="906"/>
                  </a:lnTo>
                  <a:lnTo>
                    <a:pt x="1320" y="906"/>
                  </a:lnTo>
                  <a:lnTo>
                    <a:pt x="1320" y="910"/>
                  </a:lnTo>
                  <a:lnTo>
                    <a:pt x="1316" y="910"/>
                  </a:lnTo>
                  <a:lnTo>
                    <a:pt x="1320" y="910"/>
                  </a:lnTo>
                  <a:lnTo>
                    <a:pt x="1316" y="910"/>
                  </a:lnTo>
                  <a:lnTo>
                    <a:pt x="1320" y="910"/>
                  </a:lnTo>
                  <a:lnTo>
                    <a:pt x="1324" y="910"/>
                  </a:lnTo>
                  <a:lnTo>
                    <a:pt x="1320" y="910"/>
                  </a:lnTo>
                  <a:lnTo>
                    <a:pt x="1316" y="914"/>
                  </a:lnTo>
                  <a:lnTo>
                    <a:pt x="1320" y="914"/>
                  </a:lnTo>
                  <a:lnTo>
                    <a:pt x="1324" y="914"/>
                  </a:lnTo>
                  <a:lnTo>
                    <a:pt x="1324" y="910"/>
                  </a:lnTo>
                  <a:lnTo>
                    <a:pt x="1328" y="910"/>
                  </a:lnTo>
                  <a:lnTo>
                    <a:pt x="1328" y="914"/>
                  </a:lnTo>
                  <a:lnTo>
                    <a:pt x="1328" y="910"/>
                  </a:lnTo>
                  <a:lnTo>
                    <a:pt x="1332" y="910"/>
                  </a:lnTo>
                  <a:lnTo>
                    <a:pt x="1332" y="914"/>
                  </a:lnTo>
                  <a:lnTo>
                    <a:pt x="1332" y="918"/>
                  </a:lnTo>
                  <a:lnTo>
                    <a:pt x="1328" y="918"/>
                  </a:lnTo>
                  <a:lnTo>
                    <a:pt x="1324" y="918"/>
                  </a:lnTo>
                  <a:lnTo>
                    <a:pt x="1320" y="922"/>
                  </a:lnTo>
                  <a:lnTo>
                    <a:pt x="1316" y="922"/>
                  </a:lnTo>
                  <a:lnTo>
                    <a:pt x="1320" y="922"/>
                  </a:lnTo>
                  <a:lnTo>
                    <a:pt x="1320" y="926"/>
                  </a:lnTo>
                  <a:lnTo>
                    <a:pt x="1316" y="926"/>
                  </a:lnTo>
                  <a:lnTo>
                    <a:pt x="1320" y="926"/>
                  </a:lnTo>
                  <a:lnTo>
                    <a:pt x="1324" y="926"/>
                  </a:lnTo>
                  <a:lnTo>
                    <a:pt x="1320" y="930"/>
                  </a:lnTo>
                  <a:lnTo>
                    <a:pt x="1320" y="934"/>
                  </a:lnTo>
                  <a:lnTo>
                    <a:pt x="1324" y="934"/>
                  </a:lnTo>
                  <a:lnTo>
                    <a:pt x="1324" y="930"/>
                  </a:lnTo>
                  <a:lnTo>
                    <a:pt x="1328" y="926"/>
                  </a:lnTo>
                  <a:lnTo>
                    <a:pt x="1328" y="922"/>
                  </a:lnTo>
                  <a:lnTo>
                    <a:pt x="1328" y="926"/>
                  </a:lnTo>
                  <a:lnTo>
                    <a:pt x="1332" y="922"/>
                  </a:lnTo>
                  <a:lnTo>
                    <a:pt x="1336" y="922"/>
                  </a:lnTo>
                  <a:lnTo>
                    <a:pt x="1332" y="922"/>
                  </a:lnTo>
                  <a:lnTo>
                    <a:pt x="1332" y="926"/>
                  </a:lnTo>
                  <a:lnTo>
                    <a:pt x="1332" y="930"/>
                  </a:lnTo>
                  <a:lnTo>
                    <a:pt x="1328" y="934"/>
                  </a:lnTo>
                  <a:lnTo>
                    <a:pt x="1328" y="938"/>
                  </a:lnTo>
                  <a:lnTo>
                    <a:pt x="1332" y="938"/>
                  </a:lnTo>
                  <a:lnTo>
                    <a:pt x="1332" y="934"/>
                  </a:lnTo>
                  <a:lnTo>
                    <a:pt x="1336" y="930"/>
                  </a:lnTo>
                  <a:lnTo>
                    <a:pt x="1336" y="934"/>
                  </a:lnTo>
                  <a:lnTo>
                    <a:pt x="1336" y="938"/>
                  </a:lnTo>
                  <a:lnTo>
                    <a:pt x="1336" y="942"/>
                  </a:lnTo>
                  <a:lnTo>
                    <a:pt x="1332" y="942"/>
                  </a:lnTo>
                  <a:lnTo>
                    <a:pt x="1332" y="946"/>
                  </a:lnTo>
                  <a:lnTo>
                    <a:pt x="1332" y="950"/>
                  </a:lnTo>
                  <a:lnTo>
                    <a:pt x="1332" y="954"/>
                  </a:lnTo>
                  <a:lnTo>
                    <a:pt x="1328" y="954"/>
                  </a:lnTo>
                  <a:lnTo>
                    <a:pt x="1324" y="954"/>
                  </a:lnTo>
                  <a:lnTo>
                    <a:pt x="1320" y="954"/>
                  </a:lnTo>
                  <a:lnTo>
                    <a:pt x="1320" y="950"/>
                  </a:lnTo>
                  <a:lnTo>
                    <a:pt x="1324" y="950"/>
                  </a:lnTo>
                  <a:lnTo>
                    <a:pt x="1320" y="946"/>
                  </a:lnTo>
                  <a:lnTo>
                    <a:pt x="1324" y="946"/>
                  </a:lnTo>
                  <a:lnTo>
                    <a:pt x="1324" y="942"/>
                  </a:lnTo>
                  <a:lnTo>
                    <a:pt x="1320" y="946"/>
                  </a:lnTo>
                  <a:lnTo>
                    <a:pt x="1316" y="950"/>
                  </a:lnTo>
                  <a:lnTo>
                    <a:pt x="1312" y="950"/>
                  </a:lnTo>
                  <a:lnTo>
                    <a:pt x="1312" y="946"/>
                  </a:lnTo>
                  <a:lnTo>
                    <a:pt x="1316" y="946"/>
                  </a:lnTo>
                  <a:lnTo>
                    <a:pt x="1316" y="942"/>
                  </a:lnTo>
                  <a:lnTo>
                    <a:pt x="1320" y="938"/>
                  </a:lnTo>
                  <a:lnTo>
                    <a:pt x="1316" y="938"/>
                  </a:lnTo>
                  <a:lnTo>
                    <a:pt x="1316" y="934"/>
                  </a:lnTo>
                  <a:lnTo>
                    <a:pt x="1320" y="934"/>
                  </a:lnTo>
                  <a:lnTo>
                    <a:pt x="1316" y="934"/>
                  </a:lnTo>
                  <a:lnTo>
                    <a:pt x="1316" y="930"/>
                  </a:lnTo>
                  <a:lnTo>
                    <a:pt x="1312" y="930"/>
                  </a:lnTo>
                  <a:lnTo>
                    <a:pt x="1312" y="934"/>
                  </a:lnTo>
                  <a:lnTo>
                    <a:pt x="1308" y="934"/>
                  </a:lnTo>
                  <a:lnTo>
                    <a:pt x="1308" y="938"/>
                  </a:lnTo>
                  <a:lnTo>
                    <a:pt x="1312" y="934"/>
                  </a:lnTo>
                  <a:lnTo>
                    <a:pt x="1308" y="934"/>
                  </a:lnTo>
                  <a:lnTo>
                    <a:pt x="1308" y="938"/>
                  </a:lnTo>
                  <a:lnTo>
                    <a:pt x="1304" y="938"/>
                  </a:lnTo>
                  <a:lnTo>
                    <a:pt x="1300" y="942"/>
                  </a:lnTo>
                  <a:lnTo>
                    <a:pt x="1300" y="946"/>
                  </a:lnTo>
                  <a:lnTo>
                    <a:pt x="1296" y="950"/>
                  </a:lnTo>
                  <a:lnTo>
                    <a:pt x="1292" y="950"/>
                  </a:lnTo>
                  <a:lnTo>
                    <a:pt x="1288" y="950"/>
                  </a:lnTo>
                  <a:lnTo>
                    <a:pt x="1288" y="946"/>
                  </a:lnTo>
                  <a:lnTo>
                    <a:pt x="1292" y="946"/>
                  </a:lnTo>
                  <a:lnTo>
                    <a:pt x="1296" y="942"/>
                  </a:lnTo>
                  <a:lnTo>
                    <a:pt x="1296" y="938"/>
                  </a:lnTo>
                  <a:lnTo>
                    <a:pt x="1300" y="938"/>
                  </a:lnTo>
                  <a:lnTo>
                    <a:pt x="1304" y="934"/>
                  </a:lnTo>
                  <a:lnTo>
                    <a:pt x="1300" y="934"/>
                  </a:lnTo>
                  <a:lnTo>
                    <a:pt x="1300" y="930"/>
                  </a:lnTo>
                  <a:lnTo>
                    <a:pt x="1304" y="930"/>
                  </a:lnTo>
                  <a:lnTo>
                    <a:pt x="1300" y="930"/>
                  </a:lnTo>
                  <a:lnTo>
                    <a:pt x="1300" y="934"/>
                  </a:lnTo>
                  <a:lnTo>
                    <a:pt x="1296" y="934"/>
                  </a:lnTo>
                  <a:lnTo>
                    <a:pt x="1296" y="930"/>
                  </a:lnTo>
                  <a:lnTo>
                    <a:pt x="1296" y="934"/>
                  </a:lnTo>
                  <a:lnTo>
                    <a:pt x="1296" y="938"/>
                  </a:lnTo>
                  <a:lnTo>
                    <a:pt x="1292" y="938"/>
                  </a:lnTo>
                  <a:lnTo>
                    <a:pt x="1288" y="938"/>
                  </a:lnTo>
                  <a:lnTo>
                    <a:pt x="1288" y="934"/>
                  </a:lnTo>
                  <a:lnTo>
                    <a:pt x="1288" y="938"/>
                  </a:lnTo>
                  <a:lnTo>
                    <a:pt x="1284" y="938"/>
                  </a:lnTo>
                  <a:lnTo>
                    <a:pt x="1284" y="934"/>
                  </a:lnTo>
                  <a:lnTo>
                    <a:pt x="1288" y="934"/>
                  </a:lnTo>
                  <a:lnTo>
                    <a:pt x="1292" y="934"/>
                  </a:lnTo>
                  <a:lnTo>
                    <a:pt x="1288" y="934"/>
                  </a:lnTo>
                  <a:lnTo>
                    <a:pt x="1288" y="930"/>
                  </a:lnTo>
                  <a:lnTo>
                    <a:pt x="1288" y="926"/>
                  </a:lnTo>
                  <a:lnTo>
                    <a:pt x="1288" y="930"/>
                  </a:lnTo>
                  <a:lnTo>
                    <a:pt x="1284" y="930"/>
                  </a:lnTo>
                  <a:lnTo>
                    <a:pt x="1284" y="934"/>
                  </a:lnTo>
                  <a:lnTo>
                    <a:pt x="1280" y="934"/>
                  </a:lnTo>
                  <a:lnTo>
                    <a:pt x="1276" y="934"/>
                  </a:lnTo>
                  <a:lnTo>
                    <a:pt x="1272" y="934"/>
                  </a:lnTo>
                  <a:close/>
                  <a:moveTo>
                    <a:pt x="203" y="874"/>
                  </a:moveTo>
                  <a:lnTo>
                    <a:pt x="203" y="870"/>
                  </a:lnTo>
                  <a:lnTo>
                    <a:pt x="203" y="866"/>
                  </a:lnTo>
                  <a:lnTo>
                    <a:pt x="199" y="866"/>
                  </a:lnTo>
                  <a:lnTo>
                    <a:pt x="203" y="866"/>
                  </a:lnTo>
                  <a:lnTo>
                    <a:pt x="203" y="870"/>
                  </a:lnTo>
                  <a:lnTo>
                    <a:pt x="195" y="870"/>
                  </a:lnTo>
                  <a:lnTo>
                    <a:pt x="191" y="870"/>
                  </a:lnTo>
                  <a:lnTo>
                    <a:pt x="191" y="866"/>
                  </a:lnTo>
                  <a:lnTo>
                    <a:pt x="191" y="862"/>
                  </a:lnTo>
                  <a:lnTo>
                    <a:pt x="195" y="862"/>
                  </a:lnTo>
                  <a:lnTo>
                    <a:pt x="199" y="862"/>
                  </a:lnTo>
                  <a:lnTo>
                    <a:pt x="203" y="862"/>
                  </a:lnTo>
                  <a:lnTo>
                    <a:pt x="203" y="866"/>
                  </a:lnTo>
                  <a:lnTo>
                    <a:pt x="207" y="866"/>
                  </a:lnTo>
                  <a:lnTo>
                    <a:pt x="211" y="866"/>
                  </a:lnTo>
                  <a:lnTo>
                    <a:pt x="215" y="870"/>
                  </a:lnTo>
                  <a:lnTo>
                    <a:pt x="219" y="870"/>
                  </a:lnTo>
                  <a:lnTo>
                    <a:pt x="223" y="870"/>
                  </a:lnTo>
                  <a:lnTo>
                    <a:pt x="227" y="870"/>
                  </a:lnTo>
                  <a:lnTo>
                    <a:pt x="227" y="874"/>
                  </a:lnTo>
                  <a:lnTo>
                    <a:pt x="231" y="874"/>
                  </a:lnTo>
                  <a:lnTo>
                    <a:pt x="235" y="874"/>
                  </a:lnTo>
                  <a:lnTo>
                    <a:pt x="235" y="878"/>
                  </a:lnTo>
                  <a:lnTo>
                    <a:pt x="239" y="878"/>
                  </a:lnTo>
                  <a:lnTo>
                    <a:pt x="239" y="882"/>
                  </a:lnTo>
                  <a:lnTo>
                    <a:pt x="243" y="886"/>
                  </a:lnTo>
                  <a:lnTo>
                    <a:pt x="243" y="890"/>
                  </a:lnTo>
                  <a:lnTo>
                    <a:pt x="243" y="894"/>
                  </a:lnTo>
                  <a:lnTo>
                    <a:pt x="247" y="894"/>
                  </a:lnTo>
                  <a:lnTo>
                    <a:pt x="251" y="898"/>
                  </a:lnTo>
                  <a:lnTo>
                    <a:pt x="255" y="898"/>
                  </a:lnTo>
                  <a:lnTo>
                    <a:pt x="259" y="898"/>
                  </a:lnTo>
                  <a:lnTo>
                    <a:pt x="259" y="902"/>
                  </a:lnTo>
                  <a:lnTo>
                    <a:pt x="263" y="906"/>
                  </a:lnTo>
                  <a:lnTo>
                    <a:pt x="263" y="910"/>
                  </a:lnTo>
                  <a:lnTo>
                    <a:pt x="263" y="914"/>
                  </a:lnTo>
                  <a:lnTo>
                    <a:pt x="263" y="910"/>
                  </a:lnTo>
                  <a:lnTo>
                    <a:pt x="267" y="910"/>
                  </a:lnTo>
                  <a:lnTo>
                    <a:pt x="267" y="914"/>
                  </a:lnTo>
                  <a:lnTo>
                    <a:pt x="267" y="918"/>
                  </a:lnTo>
                  <a:lnTo>
                    <a:pt x="267" y="914"/>
                  </a:lnTo>
                  <a:lnTo>
                    <a:pt x="263" y="918"/>
                  </a:lnTo>
                  <a:lnTo>
                    <a:pt x="259" y="918"/>
                  </a:lnTo>
                  <a:lnTo>
                    <a:pt x="251" y="914"/>
                  </a:lnTo>
                  <a:lnTo>
                    <a:pt x="247" y="914"/>
                  </a:lnTo>
                  <a:lnTo>
                    <a:pt x="247" y="910"/>
                  </a:lnTo>
                  <a:lnTo>
                    <a:pt x="243" y="910"/>
                  </a:lnTo>
                  <a:lnTo>
                    <a:pt x="239" y="910"/>
                  </a:lnTo>
                  <a:lnTo>
                    <a:pt x="239" y="906"/>
                  </a:lnTo>
                  <a:lnTo>
                    <a:pt x="243" y="906"/>
                  </a:lnTo>
                  <a:lnTo>
                    <a:pt x="243" y="902"/>
                  </a:lnTo>
                  <a:lnTo>
                    <a:pt x="243" y="898"/>
                  </a:lnTo>
                  <a:lnTo>
                    <a:pt x="243" y="902"/>
                  </a:lnTo>
                  <a:lnTo>
                    <a:pt x="239" y="902"/>
                  </a:lnTo>
                  <a:lnTo>
                    <a:pt x="239" y="906"/>
                  </a:lnTo>
                  <a:lnTo>
                    <a:pt x="235" y="902"/>
                  </a:lnTo>
                  <a:lnTo>
                    <a:pt x="235" y="906"/>
                  </a:lnTo>
                  <a:lnTo>
                    <a:pt x="231" y="902"/>
                  </a:lnTo>
                  <a:lnTo>
                    <a:pt x="231" y="898"/>
                  </a:lnTo>
                  <a:lnTo>
                    <a:pt x="227" y="898"/>
                  </a:lnTo>
                  <a:lnTo>
                    <a:pt x="227" y="894"/>
                  </a:lnTo>
                  <a:lnTo>
                    <a:pt x="223" y="894"/>
                  </a:lnTo>
                  <a:lnTo>
                    <a:pt x="219" y="894"/>
                  </a:lnTo>
                  <a:lnTo>
                    <a:pt x="219" y="890"/>
                  </a:lnTo>
                  <a:lnTo>
                    <a:pt x="223" y="890"/>
                  </a:lnTo>
                  <a:lnTo>
                    <a:pt x="227" y="890"/>
                  </a:lnTo>
                  <a:lnTo>
                    <a:pt x="223" y="890"/>
                  </a:lnTo>
                  <a:lnTo>
                    <a:pt x="219" y="890"/>
                  </a:lnTo>
                  <a:lnTo>
                    <a:pt x="219" y="886"/>
                  </a:lnTo>
                  <a:lnTo>
                    <a:pt x="215" y="886"/>
                  </a:lnTo>
                  <a:lnTo>
                    <a:pt x="215" y="882"/>
                  </a:lnTo>
                  <a:lnTo>
                    <a:pt x="211" y="882"/>
                  </a:lnTo>
                  <a:lnTo>
                    <a:pt x="211" y="886"/>
                  </a:lnTo>
                  <a:lnTo>
                    <a:pt x="207" y="882"/>
                  </a:lnTo>
                  <a:lnTo>
                    <a:pt x="207" y="878"/>
                  </a:lnTo>
                  <a:lnTo>
                    <a:pt x="211" y="878"/>
                  </a:lnTo>
                  <a:lnTo>
                    <a:pt x="207" y="878"/>
                  </a:lnTo>
                  <a:lnTo>
                    <a:pt x="207" y="882"/>
                  </a:lnTo>
                  <a:lnTo>
                    <a:pt x="203" y="878"/>
                  </a:lnTo>
                  <a:lnTo>
                    <a:pt x="199" y="878"/>
                  </a:lnTo>
                  <a:lnTo>
                    <a:pt x="199" y="874"/>
                  </a:lnTo>
                  <a:lnTo>
                    <a:pt x="195" y="874"/>
                  </a:lnTo>
                  <a:lnTo>
                    <a:pt x="199" y="870"/>
                  </a:lnTo>
                  <a:lnTo>
                    <a:pt x="203" y="870"/>
                  </a:lnTo>
                  <a:lnTo>
                    <a:pt x="203" y="874"/>
                  </a:lnTo>
                  <a:close/>
                  <a:moveTo>
                    <a:pt x="223" y="862"/>
                  </a:moveTo>
                  <a:lnTo>
                    <a:pt x="223" y="866"/>
                  </a:lnTo>
                  <a:lnTo>
                    <a:pt x="219" y="866"/>
                  </a:lnTo>
                  <a:lnTo>
                    <a:pt x="219" y="862"/>
                  </a:lnTo>
                  <a:lnTo>
                    <a:pt x="223" y="862"/>
                  </a:lnTo>
                  <a:close/>
                  <a:moveTo>
                    <a:pt x="235" y="874"/>
                  </a:moveTo>
                  <a:lnTo>
                    <a:pt x="239" y="874"/>
                  </a:lnTo>
                  <a:lnTo>
                    <a:pt x="239" y="878"/>
                  </a:lnTo>
                  <a:lnTo>
                    <a:pt x="239" y="882"/>
                  </a:lnTo>
                  <a:lnTo>
                    <a:pt x="239" y="878"/>
                  </a:lnTo>
                  <a:lnTo>
                    <a:pt x="235" y="878"/>
                  </a:lnTo>
                  <a:lnTo>
                    <a:pt x="235" y="874"/>
                  </a:lnTo>
                  <a:close/>
                  <a:moveTo>
                    <a:pt x="1172" y="886"/>
                  </a:moveTo>
                  <a:lnTo>
                    <a:pt x="1176" y="886"/>
                  </a:lnTo>
                  <a:lnTo>
                    <a:pt x="1180" y="886"/>
                  </a:lnTo>
                  <a:lnTo>
                    <a:pt x="1184" y="890"/>
                  </a:lnTo>
                  <a:lnTo>
                    <a:pt x="1188" y="890"/>
                  </a:lnTo>
                  <a:lnTo>
                    <a:pt x="1188" y="894"/>
                  </a:lnTo>
                  <a:lnTo>
                    <a:pt x="1192" y="894"/>
                  </a:lnTo>
                  <a:lnTo>
                    <a:pt x="1196" y="894"/>
                  </a:lnTo>
                  <a:lnTo>
                    <a:pt x="1196" y="898"/>
                  </a:lnTo>
                  <a:lnTo>
                    <a:pt x="1200" y="898"/>
                  </a:lnTo>
                  <a:lnTo>
                    <a:pt x="1200" y="902"/>
                  </a:lnTo>
                  <a:lnTo>
                    <a:pt x="1196" y="902"/>
                  </a:lnTo>
                  <a:lnTo>
                    <a:pt x="1192" y="902"/>
                  </a:lnTo>
                  <a:lnTo>
                    <a:pt x="1188" y="902"/>
                  </a:lnTo>
                  <a:lnTo>
                    <a:pt x="1184" y="898"/>
                  </a:lnTo>
                  <a:lnTo>
                    <a:pt x="1180" y="898"/>
                  </a:lnTo>
                  <a:lnTo>
                    <a:pt x="1176" y="898"/>
                  </a:lnTo>
                  <a:lnTo>
                    <a:pt x="1172" y="894"/>
                  </a:lnTo>
                  <a:lnTo>
                    <a:pt x="1168" y="890"/>
                  </a:lnTo>
                  <a:lnTo>
                    <a:pt x="1164" y="890"/>
                  </a:lnTo>
                  <a:lnTo>
                    <a:pt x="1164" y="886"/>
                  </a:lnTo>
                  <a:lnTo>
                    <a:pt x="1160" y="886"/>
                  </a:lnTo>
                  <a:lnTo>
                    <a:pt x="1156" y="882"/>
                  </a:lnTo>
                  <a:lnTo>
                    <a:pt x="1160" y="882"/>
                  </a:lnTo>
                  <a:lnTo>
                    <a:pt x="1164" y="882"/>
                  </a:lnTo>
                  <a:lnTo>
                    <a:pt x="1172" y="886"/>
                  </a:lnTo>
                  <a:close/>
                  <a:moveTo>
                    <a:pt x="215" y="882"/>
                  </a:moveTo>
                  <a:lnTo>
                    <a:pt x="215" y="886"/>
                  </a:lnTo>
                  <a:lnTo>
                    <a:pt x="219" y="890"/>
                  </a:lnTo>
                  <a:lnTo>
                    <a:pt x="215" y="890"/>
                  </a:lnTo>
                  <a:lnTo>
                    <a:pt x="211" y="886"/>
                  </a:lnTo>
                  <a:lnTo>
                    <a:pt x="215" y="882"/>
                  </a:lnTo>
                  <a:close/>
                  <a:moveTo>
                    <a:pt x="255" y="894"/>
                  </a:moveTo>
                  <a:lnTo>
                    <a:pt x="251" y="890"/>
                  </a:lnTo>
                  <a:lnTo>
                    <a:pt x="247" y="886"/>
                  </a:lnTo>
                  <a:lnTo>
                    <a:pt x="251" y="886"/>
                  </a:lnTo>
                  <a:lnTo>
                    <a:pt x="255" y="890"/>
                  </a:lnTo>
                  <a:lnTo>
                    <a:pt x="255" y="894"/>
                  </a:lnTo>
                  <a:close/>
                  <a:moveTo>
                    <a:pt x="223" y="894"/>
                  </a:moveTo>
                  <a:lnTo>
                    <a:pt x="227" y="894"/>
                  </a:lnTo>
                  <a:lnTo>
                    <a:pt x="227" y="898"/>
                  </a:lnTo>
                  <a:lnTo>
                    <a:pt x="223" y="898"/>
                  </a:lnTo>
                  <a:lnTo>
                    <a:pt x="223" y="894"/>
                  </a:lnTo>
                  <a:close/>
                  <a:moveTo>
                    <a:pt x="263" y="902"/>
                  </a:moveTo>
                  <a:lnTo>
                    <a:pt x="263" y="906"/>
                  </a:lnTo>
                  <a:lnTo>
                    <a:pt x="267" y="906"/>
                  </a:lnTo>
                  <a:lnTo>
                    <a:pt x="263" y="906"/>
                  </a:lnTo>
                  <a:lnTo>
                    <a:pt x="263" y="902"/>
                  </a:lnTo>
                  <a:close/>
                  <a:moveTo>
                    <a:pt x="263" y="906"/>
                  </a:moveTo>
                  <a:lnTo>
                    <a:pt x="267" y="906"/>
                  </a:lnTo>
                  <a:lnTo>
                    <a:pt x="267" y="910"/>
                  </a:lnTo>
                  <a:lnTo>
                    <a:pt x="263" y="910"/>
                  </a:lnTo>
                  <a:lnTo>
                    <a:pt x="263" y="906"/>
                  </a:lnTo>
                  <a:close/>
                  <a:moveTo>
                    <a:pt x="1156" y="926"/>
                  </a:moveTo>
                  <a:lnTo>
                    <a:pt x="1156" y="930"/>
                  </a:lnTo>
                  <a:lnTo>
                    <a:pt x="1152" y="930"/>
                  </a:lnTo>
                  <a:lnTo>
                    <a:pt x="1156" y="930"/>
                  </a:lnTo>
                  <a:lnTo>
                    <a:pt x="1156" y="926"/>
                  </a:lnTo>
                  <a:close/>
                  <a:moveTo>
                    <a:pt x="1204" y="934"/>
                  </a:moveTo>
                  <a:lnTo>
                    <a:pt x="1200" y="934"/>
                  </a:lnTo>
                  <a:lnTo>
                    <a:pt x="1204" y="934"/>
                  </a:lnTo>
                  <a:lnTo>
                    <a:pt x="1200" y="934"/>
                  </a:lnTo>
                  <a:lnTo>
                    <a:pt x="1196" y="938"/>
                  </a:lnTo>
                  <a:lnTo>
                    <a:pt x="1200" y="938"/>
                  </a:lnTo>
                  <a:lnTo>
                    <a:pt x="1200" y="934"/>
                  </a:lnTo>
                  <a:lnTo>
                    <a:pt x="1200" y="938"/>
                  </a:lnTo>
                  <a:lnTo>
                    <a:pt x="1196" y="938"/>
                  </a:lnTo>
                  <a:lnTo>
                    <a:pt x="1196" y="942"/>
                  </a:lnTo>
                  <a:lnTo>
                    <a:pt x="1200" y="942"/>
                  </a:lnTo>
                  <a:lnTo>
                    <a:pt x="1196" y="942"/>
                  </a:lnTo>
                  <a:lnTo>
                    <a:pt x="1196" y="938"/>
                  </a:lnTo>
                  <a:lnTo>
                    <a:pt x="1200" y="934"/>
                  </a:lnTo>
                  <a:lnTo>
                    <a:pt x="1204" y="934"/>
                  </a:lnTo>
                  <a:close/>
                  <a:moveTo>
                    <a:pt x="1192" y="962"/>
                  </a:moveTo>
                  <a:lnTo>
                    <a:pt x="1188" y="962"/>
                  </a:lnTo>
                  <a:lnTo>
                    <a:pt x="1188" y="966"/>
                  </a:lnTo>
                  <a:lnTo>
                    <a:pt x="1184" y="966"/>
                  </a:lnTo>
                  <a:lnTo>
                    <a:pt x="1188" y="966"/>
                  </a:lnTo>
                  <a:lnTo>
                    <a:pt x="1188" y="970"/>
                  </a:lnTo>
                  <a:lnTo>
                    <a:pt x="1184" y="970"/>
                  </a:lnTo>
                  <a:lnTo>
                    <a:pt x="1180" y="970"/>
                  </a:lnTo>
                  <a:lnTo>
                    <a:pt x="1180" y="966"/>
                  </a:lnTo>
                  <a:lnTo>
                    <a:pt x="1176" y="966"/>
                  </a:lnTo>
                  <a:lnTo>
                    <a:pt x="1180" y="962"/>
                  </a:lnTo>
                  <a:lnTo>
                    <a:pt x="1176" y="966"/>
                  </a:lnTo>
                  <a:lnTo>
                    <a:pt x="1172" y="966"/>
                  </a:lnTo>
                  <a:lnTo>
                    <a:pt x="1168" y="962"/>
                  </a:lnTo>
                  <a:lnTo>
                    <a:pt x="1164" y="962"/>
                  </a:lnTo>
                  <a:lnTo>
                    <a:pt x="1164" y="958"/>
                  </a:lnTo>
                  <a:lnTo>
                    <a:pt x="1164" y="954"/>
                  </a:lnTo>
                  <a:lnTo>
                    <a:pt x="1160" y="954"/>
                  </a:lnTo>
                  <a:lnTo>
                    <a:pt x="1160" y="950"/>
                  </a:lnTo>
                  <a:lnTo>
                    <a:pt x="1164" y="946"/>
                  </a:lnTo>
                  <a:lnTo>
                    <a:pt x="1164" y="950"/>
                  </a:lnTo>
                  <a:lnTo>
                    <a:pt x="1164" y="954"/>
                  </a:lnTo>
                  <a:lnTo>
                    <a:pt x="1168" y="954"/>
                  </a:lnTo>
                  <a:lnTo>
                    <a:pt x="1168" y="958"/>
                  </a:lnTo>
                  <a:lnTo>
                    <a:pt x="1172" y="958"/>
                  </a:lnTo>
                  <a:lnTo>
                    <a:pt x="1176" y="958"/>
                  </a:lnTo>
                  <a:lnTo>
                    <a:pt x="1180" y="958"/>
                  </a:lnTo>
                  <a:lnTo>
                    <a:pt x="1184" y="958"/>
                  </a:lnTo>
                  <a:lnTo>
                    <a:pt x="1188" y="958"/>
                  </a:lnTo>
                  <a:lnTo>
                    <a:pt x="1192" y="958"/>
                  </a:lnTo>
                  <a:lnTo>
                    <a:pt x="1196" y="958"/>
                  </a:lnTo>
                  <a:lnTo>
                    <a:pt x="1192" y="962"/>
                  </a:lnTo>
                  <a:close/>
                  <a:moveTo>
                    <a:pt x="1216" y="978"/>
                  </a:moveTo>
                  <a:lnTo>
                    <a:pt x="1212" y="978"/>
                  </a:lnTo>
                  <a:lnTo>
                    <a:pt x="1208" y="978"/>
                  </a:lnTo>
                  <a:lnTo>
                    <a:pt x="1204" y="978"/>
                  </a:lnTo>
                  <a:lnTo>
                    <a:pt x="1204" y="974"/>
                  </a:lnTo>
                  <a:lnTo>
                    <a:pt x="1204" y="970"/>
                  </a:lnTo>
                  <a:lnTo>
                    <a:pt x="1204" y="966"/>
                  </a:lnTo>
                  <a:lnTo>
                    <a:pt x="1204" y="962"/>
                  </a:lnTo>
                  <a:lnTo>
                    <a:pt x="1208" y="958"/>
                  </a:lnTo>
                  <a:lnTo>
                    <a:pt x="1212" y="954"/>
                  </a:lnTo>
                  <a:lnTo>
                    <a:pt x="1212" y="950"/>
                  </a:lnTo>
                  <a:lnTo>
                    <a:pt x="1216" y="950"/>
                  </a:lnTo>
                  <a:lnTo>
                    <a:pt x="1216" y="946"/>
                  </a:lnTo>
                  <a:lnTo>
                    <a:pt x="1220" y="946"/>
                  </a:lnTo>
                  <a:lnTo>
                    <a:pt x="1216" y="950"/>
                  </a:lnTo>
                  <a:lnTo>
                    <a:pt x="1220" y="950"/>
                  </a:lnTo>
                  <a:lnTo>
                    <a:pt x="1220" y="954"/>
                  </a:lnTo>
                  <a:lnTo>
                    <a:pt x="1216" y="962"/>
                  </a:lnTo>
                  <a:lnTo>
                    <a:pt x="1216" y="966"/>
                  </a:lnTo>
                  <a:lnTo>
                    <a:pt x="1216" y="962"/>
                  </a:lnTo>
                  <a:lnTo>
                    <a:pt x="1220" y="962"/>
                  </a:lnTo>
                  <a:lnTo>
                    <a:pt x="1216" y="966"/>
                  </a:lnTo>
                  <a:lnTo>
                    <a:pt x="1212" y="966"/>
                  </a:lnTo>
                  <a:lnTo>
                    <a:pt x="1212" y="970"/>
                  </a:lnTo>
                  <a:lnTo>
                    <a:pt x="1208" y="970"/>
                  </a:lnTo>
                  <a:lnTo>
                    <a:pt x="1212" y="970"/>
                  </a:lnTo>
                  <a:lnTo>
                    <a:pt x="1212" y="966"/>
                  </a:lnTo>
                  <a:lnTo>
                    <a:pt x="1216" y="966"/>
                  </a:lnTo>
                  <a:lnTo>
                    <a:pt x="1212" y="970"/>
                  </a:lnTo>
                  <a:lnTo>
                    <a:pt x="1208" y="970"/>
                  </a:lnTo>
                  <a:lnTo>
                    <a:pt x="1212" y="970"/>
                  </a:lnTo>
                  <a:lnTo>
                    <a:pt x="1212" y="974"/>
                  </a:lnTo>
                  <a:lnTo>
                    <a:pt x="1208" y="974"/>
                  </a:lnTo>
                  <a:lnTo>
                    <a:pt x="1212" y="974"/>
                  </a:lnTo>
                  <a:lnTo>
                    <a:pt x="1216" y="974"/>
                  </a:lnTo>
                  <a:lnTo>
                    <a:pt x="1216" y="970"/>
                  </a:lnTo>
                  <a:lnTo>
                    <a:pt x="1220" y="970"/>
                  </a:lnTo>
                  <a:lnTo>
                    <a:pt x="1216" y="970"/>
                  </a:lnTo>
                  <a:lnTo>
                    <a:pt x="1212" y="970"/>
                  </a:lnTo>
                  <a:lnTo>
                    <a:pt x="1216" y="970"/>
                  </a:lnTo>
                  <a:lnTo>
                    <a:pt x="1216" y="966"/>
                  </a:lnTo>
                  <a:lnTo>
                    <a:pt x="1220" y="966"/>
                  </a:lnTo>
                  <a:lnTo>
                    <a:pt x="1220" y="962"/>
                  </a:lnTo>
                  <a:lnTo>
                    <a:pt x="1220" y="966"/>
                  </a:lnTo>
                  <a:lnTo>
                    <a:pt x="1216" y="966"/>
                  </a:lnTo>
                  <a:lnTo>
                    <a:pt x="1220" y="962"/>
                  </a:lnTo>
                  <a:lnTo>
                    <a:pt x="1224" y="962"/>
                  </a:lnTo>
                  <a:lnTo>
                    <a:pt x="1224" y="966"/>
                  </a:lnTo>
                  <a:lnTo>
                    <a:pt x="1228" y="966"/>
                  </a:lnTo>
                  <a:lnTo>
                    <a:pt x="1228" y="970"/>
                  </a:lnTo>
                  <a:lnTo>
                    <a:pt x="1224" y="970"/>
                  </a:lnTo>
                  <a:lnTo>
                    <a:pt x="1224" y="974"/>
                  </a:lnTo>
                  <a:lnTo>
                    <a:pt x="1220" y="974"/>
                  </a:lnTo>
                  <a:lnTo>
                    <a:pt x="1220" y="978"/>
                  </a:lnTo>
                  <a:lnTo>
                    <a:pt x="1216" y="978"/>
                  </a:lnTo>
                  <a:close/>
                  <a:moveTo>
                    <a:pt x="1061" y="946"/>
                  </a:moveTo>
                  <a:lnTo>
                    <a:pt x="1061" y="950"/>
                  </a:lnTo>
                  <a:lnTo>
                    <a:pt x="1057" y="950"/>
                  </a:lnTo>
                  <a:lnTo>
                    <a:pt x="1061" y="946"/>
                  </a:lnTo>
                  <a:close/>
                  <a:moveTo>
                    <a:pt x="1212" y="978"/>
                  </a:moveTo>
                  <a:lnTo>
                    <a:pt x="1212" y="982"/>
                  </a:lnTo>
                  <a:lnTo>
                    <a:pt x="1208" y="982"/>
                  </a:lnTo>
                  <a:lnTo>
                    <a:pt x="1208" y="978"/>
                  </a:lnTo>
                  <a:lnTo>
                    <a:pt x="1212" y="978"/>
                  </a:lnTo>
                  <a:close/>
                  <a:moveTo>
                    <a:pt x="1125" y="994"/>
                  </a:moveTo>
                  <a:lnTo>
                    <a:pt x="1125" y="998"/>
                  </a:lnTo>
                  <a:lnTo>
                    <a:pt x="1121" y="998"/>
                  </a:lnTo>
                  <a:lnTo>
                    <a:pt x="1121" y="994"/>
                  </a:lnTo>
                  <a:lnTo>
                    <a:pt x="1125" y="994"/>
                  </a:lnTo>
                  <a:close/>
                  <a:moveTo>
                    <a:pt x="877" y="84"/>
                  </a:moveTo>
                  <a:lnTo>
                    <a:pt x="873" y="84"/>
                  </a:lnTo>
                  <a:lnTo>
                    <a:pt x="873" y="80"/>
                  </a:lnTo>
                  <a:lnTo>
                    <a:pt x="877" y="80"/>
                  </a:lnTo>
                  <a:lnTo>
                    <a:pt x="881" y="80"/>
                  </a:lnTo>
                  <a:lnTo>
                    <a:pt x="885" y="80"/>
                  </a:lnTo>
                  <a:lnTo>
                    <a:pt x="885" y="76"/>
                  </a:lnTo>
                  <a:lnTo>
                    <a:pt x="889" y="76"/>
                  </a:lnTo>
                  <a:lnTo>
                    <a:pt x="893" y="76"/>
                  </a:lnTo>
                  <a:lnTo>
                    <a:pt x="897" y="76"/>
                  </a:lnTo>
                  <a:lnTo>
                    <a:pt x="893" y="72"/>
                  </a:lnTo>
                  <a:lnTo>
                    <a:pt x="893" y="76"/>
                  </a:lnTo>
                  <a:lnTo>
                    <a:pt x="889" y="76"/>
                  </a:lnTo>
                  <a:lnTo>
                    <a:pt x="885" y="76"/>
                  </a:lnTo>
                  <a:lnTo>
                    <a:pt x="877" y="76"/>
                  </a:lnTo>
                  <a:lnTo>
                    <a:pt x="873" y="80"/>
                  </a:lnTo>
                  <a:lnTo>
                    <a:pt x="869" y="80"/>
                  </a:lnTo>
                  <a:lnTo>
                    <a:pt x="869" y="76"/>
                  </a:lnTo>
                  <a:lnTo>
                    <a:pt x="873" y="76"/>
                  </a:lnTo>
                  <a:lnTo>
                    <a:pt x="877" y="76"/>
                  </a:lnTo>
                  <a:lnTo>
                    <a:pt x="873" y="72"/>
                  </a:lnTo>
                  <a:lnTo>
                    <a:pt x="873" y="76"/>
                  </a:lnTo>
                  <a:lnTo>
                    <a:pt x="869" y="76"/>
                  </a:lnTo>
                  <a:lnTo>
                    <a:pt x="865" y="76"/>
                  </a:lnTo>
                  <a:lnTo>
                    <a:pt x="865" y="80"/>
                  </a:lnTo>
                  <a:lnTo>
                    <a:pt x="865" y="84"/>
                  </a:lnTo>
                  <a:lnTo>
                    <a:pt x="861" y="84"/>
                  </a:lnTo>
                  <a:lnTo>
                    <a:pt x="857" y="84"/>
                  </a:lnTo>
                  <a:lnTo>
                    <a:pt x="853" y="84"/>
                  </a:lnTo>
                  <a:lnTo>
                    <a:pt x="849" y="84"/>
                  </a:lnTo>
                  <a:lnTo>
                    <a:pt x="845" y="84"/>
                  </a:lnTo>
                  <a:lnTo>
                    <a:pt x="841" y="84"/>
                  </a:lnTo>
                  <a:lnTo>
                    <a:pt x="837" y="84"/>
                  </a:lnTo>
                  <a:lnTo>
                    <a:pt x="833" y="84"/>
                  </a:lnTo>
                  <a:lnTo>
                    <a:pt x="837" y="80"/>
                  </a:lnTo>
                  <a:lnTo>
                    <a:pt x="833" y="80"/>
                  </a:lnTo>
                  <a:lnTo>
                    <a:pt x="833" y="84"/>
                  </a:lnTo>
                  <a:lnTo>
                    <a:pt x="829" y="84"/>
                  </a:lnTo>
                  <a:lnTo>
                    <a:pt x="825" y="84"/>
                  </a:lnTo>
                  <a:lnTo>
                    <a:pt x="821" y="80"/>
                  </a:lnTo>
                  <a:lnTo>
                    <a:pt x="825" y="76"/>
                  </a:lnTo>
                  <a:lnTo>
                    <a:pt x="829" y="76"/>
                  </a:lnTo>
                  <a:lnTo>
                    <a:pt x="829" y="72"/>
                  </a:lnTo>
                  <a:lnTo>
                    <a:pt x="833" y="72"/>
                  </a:lnTo>
                  <a:lnTo>
                    <a:pt x="837" y="72"/>
                  </a:lnTo>
                  <a:lnTo>
                    <a:pt x="837" y="68"/>
                  </a:lnTo>
                  <a:lnTo>
                    <a:pt x="845" y="68"/>
                  </a:lnTo>
                  <a:lnTo>
                    <a:pt x="849" y="68"/>
                  </a:lnTo>
                  <a:lnTo>
                    <a:pt x="857" y="68"/>
                  </a:lnTo>
                  <a:lnTo>
                    <a:pt x="861" y="68"/>
                  </a:lnTo>
                  <a:lnTo>
                    <a:pt x="865" y="68"/>
                  </a:lnTo>
                  <a:lnTo>
                    <a:pt x="869" y="64"/>
                  </a:lnTo>
                  <a:lnTo>
                    <a:pt x="873" y="64"/>
                  </a:lnTo>
                  <a:lnTo>
                    <a:pt x="877" y="64"/>
                  </a:lnTo>
                  <a:lnTo>
                    <a:pt x="881" y="64"/>
                  </a:lnTo>
                  <a:lnTo>
                    <a:pt x="885" y="64"/>
                  </a:lnTo>
                  <a:lnTo>
                    <a:pt x="881" y="64"/>
                  </a:lnTo>
                  <a:lnTo>
                    <a:pt x="877" y="64"/>
                  </a:lnTo>
                  <a:lnTo>
                    <a:pt x="873" y="64"/>
                  </a:lnTo>
                  <a:lnTo>
                    <a:pt x="869" y="64"/>
                  </a:lnTo>
                  <a:lnTo>
                    <a:pt x="865" y="64"/>
                  </a:lnTo>
                  <a:lnTo>
                    <a:pt x="861" y="64"/>
                  </a:lnTo>
                  <a:lnTo>
                    <a:pt x="857" y="64"/>
                  </a:lnTo>
                  <a:lnTo>
                    <a:pt x="853" y="64"/>
                  </a:lnTo>
                  <a:lnTo>
                    <a:pt x="849" y="68"/>
                  </a:lnTo>
                  <a:lnTo>
                    <a:pt x="845" y="68"/>
                  </a:lnTo>
                  <a:lnTo>
                    <a:pt x="841" y="68"/>
                  </a:lnTo>
                  <a:lnTo>
                    <a:pt x="837" y="68"/>
                  </a:lnTo>
                  <a:lnTo>
                    <a:pt x="833" y="68"/>
                  </a:lnTo>
                  <a:lnTo>
                    <a:pt x="829" y="68"/>
                  </a:lnTo>
                  <a:lnTo>
                    <a:pt x="825" y="72"/>
                  </a:lnTo>
                  <a:lnTo>
                    <a:pt x="817" y="76"/>
                  </a:lnTo>
                  <a:lnTo>
                    <a:pt x="813" y="80"/>
                  </a:lnTo>
                  <a:lnTo>
                    <a:pt x="809" y="80"/>
                  </a:lnTo>
                  <a:lnTo>
                    <a:pt x="805" y="80"/>
                  </a:lnTo>
                  <a:lnTo>
                    <a:pt x="801" y="80"/>
                  </a:lnTo>
                  <a:lnTo>
                    <a:pt x="797" y="80"/>
                  </a:lnTo>
                  <a:lnTo>
                    <a:pt x="797" y="76"/>
                  </a:lnTo>
                  <a:lnTo>
                    <a:pt x="794" y="76"/>
                  </a:lnTo>
                  <a:lnTo>
                    <a:pt x="790" y="76"/>
                  </a:lnTo>
                  <a:lnTo>
                    <a:pt x="786" y="76"/>
                  </a:lnTo>
                  <a:lnTo>
                    <a:pt x="782" y="72"/>
                  </a:lnTo>
                  <a:lnTo>
                    <a:pt x="786" y="72"/>
                  </a:lnTo>
                  <a:lnTo>
                    <a:pt x="790" y="68"/>
                  </a:lnTo>
                  <a:lnTo>
                    <a:pt x="794" y="68"/>
                  </a:lnTo>
                  <a:lnTo>
                    <a:pt x="797" y="68"/>
                  </a:lnTo>
                  <a:lnTo>
                    <a:pt x="801" y="68"/>
                  </a:lnTo>
                  <a:lnTo>
                    <a:pt x="805" y="68"/>
                  </a:lnTo>
                  <a:lnTo>
                    <a:pt x="809" y="68"/>
                  </a:lnTo>
                  <a:lnTo>
                    <a:pt x="813" y="68"/>
                  </a:lnTo>
                  <a:lnTo>
                    <a:pt x="817" y="68"/>
                  </a:lnTo>
                  <a:lnTo>
                    <a:pt x="821" y="68"/>
                  </a:lnTo>
                  <a:lnTo>
                    <a:pt x="825" y="68"/>
                  </a:lnTo>
                  <a:lnTo>
                    <a:pt x="829" y="68"/>
                  </a:lnTo>
                  <a:lnTo>
                    <a:pt x="833" y="64"/>
                  </a:lnTo>
                  <a:lnTo>
                    <a:pt x="837" y="64"/>
                  </a:lnTo>
                  <a:lnTo>
                    <a:pt x="841" y="64"/>
                  </a:lnTo>
                  <a:lnTo>
                    <a:pt x="841" y="60"/>
                  </a:lnTo>
                  <a:lnTo>
                    <a:pt x="845" y="60"/>
                  </a:lnTo>
                  <a:lnTo>
                    <a:pt x="849" y="60"/>
                  </a:lnTo>
                  <a:lnTo>
                    <a:pt x="845" y="60"/>
                  </a:lnTo>
                  <a:lnTo>
                    <a:pt x="841" y="60"/>
                  </a:lnTo>
                  <a:lnTo>
                    <a:pt x="837" y="60"/>
                  </a:lnTo>
                  <a:lnTo>
                    <a:pt x="833" y="60"/>
                  </a:lnTo>
                  <a:lnTo>
                    <a:pt x="829" y="64"/>
                  </a:lnTo>
                  <a:lnTo>
                    <a:pt x="825" y="64"/>
                  </a:lnTo>
                  <a:lnTo>
                    <a:pt x="821" y="64"/>
                  </a:lnTo>
                  <a:lnTo>
                    <a:pt x="817" y="64"/>
                  </a:lnTo>
                  <a:lnTo>
                    <a:pt x="813" y="64"/>
                  </a:lnTo>
                  <a:lnTo>
                    <a:pt x="813" y="68"/>
                  </a:lnTo>
                  <a:lnTo>
                    <a:pt x="805" y="68"/>
                  </a:lnTo>
                  <a:lnTo>
                    <a:pt x="801" y="68"/>
                  </a:lnTo>
                  <a:lnTo>
                    <a:pt x="797" y="68"/>
                  </a:lnTo>
                  <a:lnTo>
                    <a:pt x="794" y="68"/>
                  </a:lnTo>
                  <a:lnTo>
                    <a:pt x="790" y="68"/>
                  </a:lnTo>
                  <a:lnTo>
                    <a:pt x="786" y="68"/>
                  </a:lnTo>
                  <a:lnTo>
                    <a:pt x="782" y="68"/>
                  </a:lnTo>
                  <a:lnTo>
                    <a:pt x="778" y="68"/>
                  </a:lnTo>
                  <a:lnTo>
                    <a:pt x="774" y="68"/>
                  </a:lnTo>
                  <a:lnTo>
                    <a:pt x="770" y="68"/>
                  </a:lnTo>
                  <a:lnTo>
                    <a:pt x="766" y="64"/>
                  </a:lnTo>
                  <a:lnTo>
                    <a:pt x="770" y="60"/>
                  </a:lnTo>
                  <a:lnTo>
                    <a:pt x="774" y="60"/>
                  </a:lnTo>
                  <a:lnTo>
                    <a:pt x="778" y="60"/>
                  </a:lnTo>
                  <a:lnTo>
                    <a:pt x="778" y="64"/>
                  </a:lnTo>
                  <a:lnTo>
                    <a:pt x="782" y="64"/>
                  </a:lnTo>
                  <a:lnTo>
                    <a:pt x="782" y="60"/>
                  </a:lnTo>
                  <a:lnTo>
                    <a:pt x="786" y="60"/>
                  </a:lnTo>
                  <a:lnTo>
                    <a:pt x="782" y="60"/>
                  </a:lnTo>
                  <a:lnTo>
                    <a:pt x="778" y="60"/>
                  </a:lnTo>
                  <a:lnTo>
                    <a:pt x="774" y="60"/>
                  </a:lnTo>
                  <a:lnTo>
                    <a:pt x="774" y="56"/>
                  </a:lnTo>
                  <a:lnTo>
                    <a:pt x="778" y="56"/>
                  </a:lnTo>
                  <a:lnTo>
                    <a:pt x="782" y="56"/>
                  </a:lnTo>
                  <a:lnTo>
                    <a:pt x="786" y="56"/>
                  </a:lnTo>
                  <a:lnTo>
                    <a:pt x="790" y="52"/>
                  </a:lnTo>
                  <a:lnTo>
                    <a:pt x="794" y="52"/>
                  </a:lnTo>
                  <a:lnTo>
                    <a:pt x="797" y="52"/>
                  </a:lnTo>
                  <a:lnTo>
                    <a:pt x="801" y="52"/>
                  </a:lnTo>
                  <a:lnTo>
                    <a:pt x="805" y="52"/>
                  </a:lnTo>
                  <a:lnTo>
                    <a:pt x="809" y="52"/>
                  </a:lnTo>
                  <a:lnTo>
                    <a:pt x="813" y="52"/>
                  </a:lnTo>
                  <a:lnTo>
                    <a:pt x="809" y="52"/>
                  </a:lnTo>
                  <a:lnTo>
                    <a:pt x="805" y="52"/>
                  </a:lnTo>
                  <a:lnTo>
                    <a:pt x="801" y="52"/>
                  </a:lnTo>
                  <a:lnTo>
                    <a:pt x="797" y="52"/>
                  </a:lnTo>
                  <a:lnTo>
                    <a:pt x="794" y="52"/>
                  </a:lnTo>
                  <a:lnTo>
                    <a:pt x="790" y="52"/>
                  </a:lnTo>
                  <a:lnTo>
                    <a:pt x="786" y="52"/>
                  </a:lnTo>
                  <a:lnTo>
                    <a:pt x="782" y="52"/>
                  </a:lnTo>
                  <a:lnTo>
                    <a:pt x="778" y="52"/>
                  </a:lnTo>
                  <a:lnTo>
                    <a:pt x="778" y="56"/>
                  </a:lnTo>
                  <a:lnTo>
                    <a:pt x="770" y="56"/>
                  </a:lnTo>
                  <a:lnTo>
                    <a:pt x="766" y="56"/>
                  </a:lnTo>
                  <a:lnTo>
                    <a:pt x="762" y="56"/>
                  </a:lnTo>
                  <a:lnTo>
                    <a:pt x="766" y="56"/>
                  </a:lnTo>
                  <a:lnTo>
                    <a:pt x="762" y="56"/>
                  </a:lnTo>
                  <a:lnTo>
                    <a:pt x="758" y="56"/>
                  </a:lnTo>
                  <a:lnTo>
                    <a:pt x="758" y="52"/>
                  </a:lnTo>
                  <a:lnTo>
                    <a:pt x="762" y="52"/>
                  </a:lnTo>
                  <a:lnTo>
                    <a:pt x="766" y="52"/>
                  </a:lnTo>
                  <a:lnTo>
                    <a:pt x="770" y="52"/>
                  </a:lnTo>
                  <a:lnTo>
                    <a:pt x="774" y="48"/>
                  </a:lnTo>
                  <a:lnTo>
                    <a:pt x="778" y="48"/>
                  </a:lnTo>
                  <a:lnTo>
                    <a:pt x="774" y="48"/>
                  </a:lnTo>
                  <a:lnTo>
                    <a:pt x="770" y="48"/>
                  </a:lnTo>
                  <a:lnTo>
                    <a:pt x="766" y="48"/>
                  </a:lnTo>
                  <a:lnTo>
                    <a:pt x="762" y="48"/>
                  </a:lnTo>
                  <a:lnTo>
                    <a:pt x="758" y="48"/>
                  </a:lnTo>
                  <a:lnTo>
                    <a:pt x="758" y="52"/>
                  </a:lnTo>
                  <a:lnTo>
                    <a:pt x="754" y="52"/>
                  </a:lnTo>
                  <a:lnTo>
                    <a:pt x="750" y="52"/>
                  </a:lnTo>
                  <a:lnTo>
                    <a:pt x="750" y="48"/>
                  </a:lnTo>
                  <a:lnTo>
                    <a:pt x="746" y="48"/>
                  </a:lnTo>
                  <a:lnTo>
                    <a:pt x="742" y="48"/>
                  </a:lnTo>
                  <a:lnTo>
                    <a:pt x="746" y="48"/>
                  </a:lnTo>
                  <a:lnTo>
                    <a:pt x="746" y="44"/>
                  </a:lnTo>
                  <a:lnTo>
                    <a:pt x="750" y="44"/>
                  </a:lnTo>
                  <a:lnTo>
                    <a:pt x="754" y="44"/>
                  </a:lnTo>
                  <a:lnTo>
                    <a:pt x="758" y="44"/>
                  </a:lnTo>
                  <a:lnTo>
                    <a:pt x="758" y="40"/>
                  </a:lnTo>
                  <a:lnTo>
                    <a:pt x="762" y="40"/>
                  </a:lnTo>
                  <a:lnTo>
                    <a:pt x="766" y="40"/>
                  </a:lnTo>
                  <a:lnTo>
                    <a:pt x="770" y="40"/>
                  </a:lnTo>
                  <a:lnTo>
                    <a:pt x="774" y="40"/>
                  </a:lnTo>
                  <a:lnTo>
                    <a:pt x="778" y="40"/>
                  </a:lnTo>
                  <a:lnTo>
                    <a:pt x="782" y="44"/>
                  </a:lnTo>
                  <a:lnTo>
                    <a:pt x="782" y="40"/>
                  </a:lnTo>
                  <a:lnTo>
                    <a:pt x="786" y="40"/>
                  </a:lnTo>
                  <a:lnTo>
                    <a:pt x="786" y="36"/>
                  </a:lnTo>
                  <a:lnTo>
                    <a:pt x="790" y="36"/>
                  </a:lnTo>
                  <a:lnTo>
                    <a:pt x="794" y="36"/>
                  </a:lnTo>
                  <a:lnTo>
                    <a:pt x="797" y="36"/>
                  </a:lnTo>
                  <a:lnTo>
                    <a:pt x="801" y="32"/>
                  </a:lnTo>
                  <a:lnTo>
                    <a:pt x="805" y="36"/>
                  </a:lnTo>
                  <a:lnTo>
                    <a:pt x="805" y="32"/>
                  </a:lnTo>
                  <a:lnTo>
                    <a:pt x="809" y="32"/>
                  </a:lnTo>
                  <a:lnTo>
                    <a:pt x="809" y="36"/>
                  </a:lnTo>
                  <a:lnTo>
                    <a:pt x="813" y="36"/>
                  </a:lnTo>
                  <a:lnTo>
                    <a:pt x="813" y="40"/>
                  </a:lnTo>
                  <a:lnTo>
                    <a:pt x="817" y="40"/>
                  </a:lnTo>
                  <a:lnTo>
                    <a:pt x="821" y="40"/>
                  </a:lnTo>
                  <a:lnTo>
                    <a:pt x="817" y="40"/>
                  </a:lnTo>
                  <a:lnTo>
                    <a:pt x="813" y="40"/>
                  </a:lnTo>
                  <a:lnTo>
                    <a:pt x="813" y="36"/>
                  </a:lnTo>
                  <a:lnTo>
                    <a:pt x="817" y="36"/>
                  </a:lnTo>
                  <a:lnTo>
                    <a:pt x="821" y="36"/>
                  </a:lnTo>
                  <a:lnTo>
                    <a:pt x="825" y="36"/>
                  </a:lnTo>
                  <a:lnTo>
                    <a:pt x="829" y="36"/>
                  </a:lnTo>
                  <a:lnTo>
                    <a:pt x="833" y="36"/>
                  </a:lnTo>
                  <a:lnTo>
                    <a:pt x="837" y="36"/>
                  </a:lnTo>
                  <a:lnTo>
                    <a:pt x="837" y="40"/>
                  </a:lnTo>
                  <a:lnTo>
                    <a:pt x="841" y="40"/>
                  </a:lnTo>
                  <a:lnTo>
                    <a:pt x="837" y="40"/>
                  </a:lnTo>
                  <a:lnTo>
                    <a:pt x="837" y="36"/>
                  </a:lnTo>
                  <a:lnTo>
                    <a:pt x="841" y="36"/>
                  </a:lnTo>
                  <a:lnTo>
                    <a:pt x="845" y="36"/>
                  </a:lnTo>
                  <a:lnTo>
                    <a:pt x="845" y="40"/>
                  </a:lnTo>
                  <a:lnTo>
                    <a:pt x="849" y="40"/>
                  </a:lnTo>
                  <a:lnTo>
                    <a:pt x="845" y="40"/>
                  </a:lnTo>
                  <a:lnTo>
                    <a:pt x="845" y="36"/>
                  </a:lnTo>
                  <a:lnTo>
                    <a:pt x="849" y="36"/>
                  </a:lnTo>
                  <a:lnTo>
                    <a:pt x="849" y="40"/>
                  </a:lnTo>
                  <a:lnTo>
                    <a:pt x="853" y="40"/>
                  </a:lnTo>
                  <a:lnTo>
                    <a:pt x="849" y="36"/>
                  </a:lnTo>
                  <a:lnTo>
                    <a:pt x="845" y="36"/>
                  </a:lnTo>
                  <a:lnTo>
                    <a:pt x="841" y="36"/>
                  </a:lnTo>
                  <a:lnTo>
                    <a:pt x="837" y="36"/>
                  </a:lnTo>
                  <a:lnTo>
                    <a:pt x="833" y="36"/>
                  </a:lnTo>
                  <a:lnTo>
                    <a:pt x="833" y="32"/>
                  </a:lnTo>
                  <a:lnTo>
                    <a:pt x="829" y="32"/>
                  </a:lnTo>
                  <a:lnTo>
                    <a:pt x="825" y="32"/>
                  </a:lnTo>
                  <a:lnTo>
                    <a:pt x="821" y="32"/>
                  </a:lnTo>
                  <a:lnTo>
                    <a:pt x="817" y="32"/>
                  </a:lnTo>
                  <a:lnTo>
                    <a:pt x="817" y="28"/>
                  </a:lnTo>
                  <a:lnTo>
                    <a:pt x="821" y="28"/>
                  </a:lnTo>
                  <a:lnTo>
                    <a:pt x="825" y="28"/>
                  </a:lnTo>
                  <a:lnTo>
                    <a:pt x="829" y="28"/>
                  </a:lnTo>
                  <a:lnTo>
                    <a:pt x="833" y="28"/>
                  </a:lnTo>
                  <a:lnTo>
                    <a:pt x="837" y="28"/>
                  </a:lnTo>
                  <a:lnTo>
                    <a:pt x="841" y="28"/>
                  </a:lnTo>
                  <a:lnTo>
                    <a:pt x="837" y="24"/>
                  </a:lnTo>
                  <a:lnTo>
                    <a:pt x="841" y="24"/>
                  </a:lnTo>
                  <a:lnTo>
                    <a:pt x="837" y="24"/>
                  </a:lnTo>
                  <a:lnTo>
                    <a:pt x="833" y="24"/>
                  </a:lnTo>
                  <a:lnTo>
                    <a:pt x="833" y="20"/>
                  </a:lnTo>
                  <a:lnTo>
                    <a:pt x="837" y="20"/>
                  </a:lnTo>
                  <a:lnTo>
                    <a:pt x="841" y="20"/>
                  </a:lnTo>
                  <a:lnTo>
                    <a:pt x="845" y="20"/>
                  </a:lnTo>
                  <a:lnTo>
                    <a:pt x="853" y="20"/>
                  </a:lnTo>
                  <a:lnTo>
                    <a:pt x="853" y="24"/>
                  </a:lnTo>
                  <a:lnTo>
                    <a:pt x="849" y="24"/>
                  </a:lnTo>
                  <a:lnTo>
                    <a:pt x="853" y="24"/>
                  </a:lnTo>
                  <a:lnTo>
                    <a:pt x="857" y="24"/>
                  </a:lnTo>
                  <a:lnTo>
                    <a:pt x="861" y="24"/>
                  </a:lnTo>
                  <a:lnTo>
                    <a:pt x="865" y="24"/>
                  </a:lnTo>
                  <a:lnTo>
                    <a:pt x="869" y="28"/>
                  </a:lnTo>
                  <a:lnTo>
                    <a:pt x="873" y="28"/>
                  </a:lnTo>
                  <a:lnTo>
                    <a:pt x="873" y="32"/>
                  </a:lnTo>
                  <a:lnTo>
                    <a:pt x="877" y="32"/>
                  </a:lnTo>
                  <a:lnTo>
                    <a:pt x="877" y="36"/>
                  </a:lnTo>
                  <a:lnTo>
                    <a:pt x="881" y="36"/>
                  </a:lnTo>
                  <a:lnTo>
                    <a:pt x="885" y="36"/>
                  </a:lnTo>
                  <a:lnTo>
                    <a:pt x="889" y="36"/>
                  </a:lnTo>
                  <a:lnTo>
                    <a:pt x="893" y="36"/>
                  </a:lnTo>
                  <a:lnTo>
                    <a:pt x="889" y="36"/>
                  </a:lnTo>
                  <a:lnTo>
                    <a:pt x="885" y="32"/>
                  </a:lnTo>
                  <a:lnTo>
                    <a:pt x="881" y="32"/>
                  </a:lnTo>
                  <a:lnTo>
                    <a:pt x="877" y="32"/>
                  </a:lnTo>
                  <a:lnTo>
                    <a:pt x="877" y="28"/>
                  </a:lnTo>
                  <a:lnTo>
                    <a:pt x="881" y="28"/>
                  </a:lnTo>
                  <a:lnTo>
                    <a:pt x="885" y="28"/>
                  </a:lnTo>
                  <a:lnTo>
                    <a:pt x="889" y="28"/>
                  </a:lnTo>
                  <a:lnTo>
                    <a:pt x="889" y="32"/>
                  </a:lnTo>
                  <a:lnTo>
                    <a:pt x="893" y="32"/>
                  </a:lnTo>
                  <a:lnTo>
                    <a:pt x="897" y="32"/>
                  </a:lnTo>
                  <a:lnTo>
                    <a:pt x="901" y="32"/>
                  </a:lnTo>
                  <a:lnTo>
                    <a:pt x="905" y="36"/>
                  </a:lnTo>
                  <a:lnTo>
                    <a:pt x="909" y="36"/>
                  </a:lnTo>
                  <a:lnTo>
                    <a:pt x="913" y="36"/>
                  </a:lnTo>
                  <a:lnTo>
                    <a:pt x="917" y="36"/>
                  </a:lnTo>
                  <a:lnTo>
                    <a:pt x="921" y="36"/>
                  </a:lnTo>
                  <a:lnTo>
                    <a:pt x="925" y="40"/>
                  </a:lnTo>
                  <a:lnTo>
                    <a:pt x="929" y="40"/>
                  </a:lnTo>
                  <a:lnTo>
                    <a:pt x="929" y="44"/>
                  </a:lnTo>
                  <a:lnTo>
                    <a:pt x="933" y="44"/>
                  </a:lnTo>
                  <a:lnTo>
                    <a:pt x="929" y="40"/>
                  </a:lnTo>
                  <a:lnTo>
                    <a:pt x="925" y="36"/>
                  </a:lnTo>
                  <a:lnTo>
                    <a:pt x="921" y="36"/>
                  </a:lnTo>
                  <a:lnTo>
                    <a:pt x="917" y="36"/>
                  </a:lnTo>
                  <a:lnTo>
                    <a:pt x="913" y="36"/>
                  </a:lnTo>
                  <a:lnTo>
                    <a:pt x="909" y="36"/>
                  </a:lnTo>
                  <a:lnTo>
                    <a:pt x="909" y="32"/>
                  </a:lnTo>
                  <a:lnTo>
                    <a:pt x="905" y="32"/>
                  </a:lnTo>
                  <a:lnTo>
                    <a:pt x="901" y="32"/>
                  </a:lnTo>
                  <a:lnTo>
                    <a:pt x="897" y="28"/>
                  </a:lnTo>
                  <a:lnTo>
                    <a:pt x="893" y="28"/>
                  </a:lnTo>
                  <a:lnTo>
                    <a:pt x="889" y="28"/>
                  </a:lnTo>
                  <a:lnTo>
                    <a:pt x="885" y="28"/>
                  </a:lnTo>
                  <a:lnTo>
                    <a:pt x="885" y="24"/>
                  </a:lnTo>
                  <a:lnTo>
                    <a:pt x="881" y="24"/>
                  </a:lnTo>
                  <a:lnTo>
                    <a:pt x="885" y="20"/>
                  </a:lnTo>
                  <a:lnTo>
                    <a:pt x="889" y="20"/>
                  </a:lnTo>
                  <a:lnTo>
                    <a:pt x="897" y="20"/>
                  </a:lnTo>
                  <a:lnTo>
                    <a:pt x="901" y="20"/>
                  </a:lnTo>
                  <a:lnTo>
                    <a:pt x="897" y="20"/>
                  </a:lnTo>
                  <a:lnTo>
                    <a:pt x="893" y="20"/>
                  </a:lnTo>
                  <a:lnTo>
                    <a:pt x="889" y="20"/>
                  </a:lnTo>
                  <a:lnTo>
                    <a:pt x="889" y="16"/>
                  </a:lnTo>
                  <a:lnTo>
                    <a:pt x="885" y="16"/>
                  </a:lnTo>
                  <a:lnTo>
                    <a:pt x="889" y="16"/>
                  </a:lnTo>
                  <a:lnTo>
                    <a:pt x="893" y="16"/>
                  </a:lnTo>
                  <a:lnTo>
                    <a:pt x="901" y="16"/>
                  </a:lnTo>
                  <a:lnTo>
                    <a:pt x="905" y="20"/>
                  </a:lnTo>
                  <a:lnTo>
                    <a:pt x="909" y="20"/>
                  </a:lnTo>
                  <a:lnTo>
                    <a:pt x="913" y="20"/>
                  </a:lnTo>
                  <a:lnTo>
                    <a:pt x="909" y="16"/>
                  </a:lnTo>
                  <a:lnTo>
                    <a:pt x="905" y="16"/>
                  </a:lnTo>
                  <a:lnTo>
                    <a:pt x="905" y="12"/>
                  </a:lnTo>
                  <a:lnTo>
                    <a:pt x="901" y="12"/>
                  </a:lnTo>
                  <a:lnTo>
                    <a:pt x="897" y="12"/>
                  </a:lnTo>
                  <a:lnTo>
                    <a:pt x="901" y="12"/>
                  </a:lnTo>
                  <a:lnTo>
                    <a:pt x="901" y="8"/>
                  </a:lnTo>
                  <a:lnTo>
                    <a:pt x="909" y="12"/>
                  </a:lnTo>
                  <a:lnTo>
                    <a:pt x="917" y="12"/>
                  </a:lnTo>
                  <a:lnTo>
                    <a:pt x="921" y="12"/>
                  </a:lnTo>
                  <a:lnTo>
                    <a:pt x="921" y="16"/>
                  </a:lnTo>
                  <a:lnTo>
                    <a:pt x="925" y="16"/>
                  </a:lnTo>
                  <a:lnTo>
                    <a:pt x="925" y="12"/>
                  </a:lnTo>
                  <a:lnTo>
                    <a:pt x="929" y="16"/>
                  </a:lnTo>
                  <a:lnTo>
                    <a:pt x="933" y="16"/>
                  </a:lnTo>
                  <a:lnTo>
                    <a:pt x="937" y="16"/>
                  </a:lnTo>
                  <a:lnTo>
                    <a:pt x="941" y="16"/>
                  </a:lnTo>
                  <a:lnTo>
                    <a:pt x="945" y="16"/>
                  </a:lnTo>
                  <a:lnTo>
                    <a:pt x="941" y="16"/>
                  </a:lnTo>
                  <a:lnTo>
                    <a:pt x="937" y="16"/>
                  </a:lnTo>
                  <a:lnTo>
                    <a:pt x="933" y="16"/>
                  </a:lnTo>
                  <a:lnTo>
                    <a:pt x="933" y="12"/>
                  </a:lnTo>
                  <a:lnTo>
                    <a:pt x="929" y="12"/>
                  </a:lnTo>
                  <a:lnTo>
                    <a:pt x="925" y="12"/>
                  </a:lnTo>
                  <a:lnTo>
                    <a:pt x="921" y="12"/>
                  </a:lnTo>
                  <a:lnTo>
                    <a:pt x="925" y="12"/>
                  </a:lnTo>
                  <a:lnTo>
                    <a:pt x="929" y="12"/>
                  </a:lnTo>
                  <a:lnTo>
                    <a:pt x="925" y="8"/>
                  </a:lnTo>
                  <a:lnTo>
                    <a:pt x="921" y="8"/>
                  </a:lnTo>
                  <a:lnTo>
                    <a:pt x="917" y="8"/>
                  </a:lnTo>
                  <a:lnTo>
                    <a:pt x="921" y="8"/>
                  </a:lnTo>
                  <a:lnTo>
                    <a:pt x="925" y="4"/>
                  </a:lnTo>
                  <a:lnTo>
                    <a:pt x="929" y="4"/>
                  </a:lnTo>
                  <a:lnTo>
                    <a:pt x="933" y="4"/>
                  </a:lnTo>
                  <a:lnTo>
                    <a:pt x="937" y="4"/>
                  </a:lnTo>
                  <a:lnTo>
                    <a:pt x="937" y="8"/>
                  </a:lnTo>
                  <a:lnTo>
                    <a:pt x="941" y="8"/>
                  </a:lnTo>
                  <a:lnTo>
                    <a:pt x="945" y="8"/>
                  </a:lnTo>
                  <a:lnTo>
                    <a:pt x="949" y="8"/>
                  </a:lnTo>
                  <a:lnTo>
                    <a:pt x="949" y="12"/>
                  </a:lnTo>
                  <a:lnTo>
                    <a:pt x="953" y="8"/>
                  </a:lnTo>
                  <a:lnTo>
                    <a:pt x="949" y="8"/>
                  </a:lnTo>
                  <a:lnTo>
                    <a:pt x="953" y="8"/>
                  </a:lnTo>
                  <a:lnTo>
                    <a:pt x="957" y="8"/>
                  </a:lnTo>
                  <a:lnTo>
                    <a:pt x="961" y="8"/>
                  </a:lnTo>
                  <a:lnTo>
                    <a:pt x="965" y="8"/>
                  </a:lnTo>
                  <a:lnTo>
                    <a:pt x="969" y="12"/>
                  </a:lnTo>
                  <a:lnTo>
                    <a:pt x="973" y="12"/>
                  </a:lnTo>
                  <a:lnTo>
                    <a:pt x="973" y="16"/>
                  </a:lnTo>
                  <a:lnTo>
                    <a:pt x="977" y="16"/>
                  </a:lnTo>
                  <a:lnTo>
                    <a:pt x="981" y="16"/>
                  </a:lnTo>
                  <a:lnTo>
                    <a:pt x="985" y="16"/>
                  </a:lnTo>
                  <a:lnTo>
                    <a:pt x="985" y="20"/>
                  </a:lnTo>
                  <a:lnTo>
                    <a:pt x="981" y="20"/>
                  </a:lnTo>
                  <a:lnTo>
                    <a:pt x="981" y="24"/>
                  </a:lnTo>
                  <a:lnTo>
                    <a:pt x="981" y="20"/>
                  </a:lnTo>
                  <a:lnTo>
                    <a:pt x="985" y="20"/>
                  </a:lnTo>
                  <a:lnTo>
                    <a:pt x="989" y="16"/>
                  </a:lnTo>
                  <a:lnTo>
                    <a:pt x="993" y="16"/>
                  </a:lnTo>
                  <a:lnTo>
                    <a:pt x="989" y="16"/>
                  </a:lnTo>
                  <a:lnTo>
                    <a:pt x="985" y="16"/>
                  </a:lnTo>
                  <a:lnTo>
                    <a:pt x="981" y="16"/>
                  </a:lnTo>
                  <a:lnTo>
                    <a:pt x="981" y="12"/>
                  </a:lnTo>
                  <a:lnTo>
                    <a:pt x="977" y="12"/>
                  </a:lnTo>
                  <a:lnTo>
                    <a:pt x="981" y="12"/>
                  </a:lnTo>
                  <a:lnTo>
                    <a:pt x="985" y="12"/>
                  </a:lnTo>
                  <a:lnTo>
                    <a:pt x="981" y="12"/>
                  </a:lnTo>
                  <a:lnTo>
                    <a:pt x="977" y="12"/>
                  </a:lnTo>
                  <a:lnTo>
                    <a:pt x="973" y="8"/>
                  </a:lnTo>
                  <a:lnTo>
                    <a:pt x="969" y="8"/>
                  </a:lnTo>
                  <a:lnTo>
                    <a:pt x="965" y="8"/>
                  </a:lnTo>
                  <a:lnTo>
                    <a:pt x="961" y="4"/>
                  </a:lnTo>
                  <a:lnTo>
                    <a:pt x="965" y="4"/>
                  </a:lnTo>
                  <a:lnTo>
                    <a:pt x="969" y="4"/>
                  </a:lnTo>
                  <a:lnTo>
                    <a:pt x="973" y="4"/>
                  </a:lnTo>
                  <a:lnTo>
                    <a:pt x="977" y="4"/>
                  </a:lnTo>
                  <a:lnTo>
                    <a:pt x="981" y="4"/>
                  </a:lnTo>
                  <a:lnTo>
                    <a:pt x="985" y="4"/>
                  </a:lnTo>
                  <a:lnTo>
                    <a:pt x="989" y="4"/>
                  </a:lnTo>
                  <a:lnTo>
                    <a:pt x="993" y="4"/>
                  </a:lnTo>
                  <a:lnTo>
                    <a:pt x="997" y="4"/>
                  </a:lnTo>
                  <a:lnTo>
                    <a:pt x="1001" y="4"/>
                  </a:lnTo>
                  <a:lnTo>
                    <a:pt x="1005" y="4"/>
                  </a:lnTo>
                  <a:lnTo>
                    <a:pt x="1009" y="4"/>
                  </a:lnTo>
                  <a:lnTo>
                    <a:pt x="1013" y="4"/>
                  </a:lnTo>
                  <a:lnTo>
                    <a:pt x="1017" y="8"/>
                  </a:lnTo>
                  <a:lnTo>
                    <a:pt x="1021" y="12"/>
                  </a:lnTo>
                  <a:lnTo>
                    <a:pt x="1025" y="12"/>
                  </a:lnTo>
                  <a:lnTo>
                    <a:pt x="1029" y="12"/>
                  </a:lnTo>
                  <a:lnTo>
                    <a:pt x="1033" y="12"/>
                  </a:lnTo>
                  <a:lnTo>
                    <a:pt x="1033" y="16"/>
                  </a:lnTo>
                  <a:lnTo>
                    <a:pt x="1037" y="12"/>
                  </a:lnTo>
                  <a:lnTo>
                    <a:pt x="1033" y="12"/>
                  </a:lnTo>
                  <a:lnTo>
                    <a:pt x="1029" y="12"/>
                  </a:lnTo>
                  <a:lnTo>
                    <a:pt x="1025" y="12"/>
                  </a:lnTo>
                  <a:lnTo>
                    <a:pt x="1021" y="8"/>
                  </a:lnTo>
                  <a:lnTo>
                    <a:pt x="1025" y="4"/>
                  </a:lnTo>
                  <a:lnTo>
                    <a:pt x="1029" y="4"/>
                  </a:lnTo>
                  <a:lnTo>
                    <a:pt x="1033" y="0"/>
                  </a:lnTo>
                  <a:lnTo>
                    <a:pt x="1037" y="0"/>
                  </a:lnTo>
                  <a:lnTo>
                    <a:pt x="1041" y="0"/>
                  </a:lnTo>
                  <a:lnTo>
                    <a:pt x="1045" y="0"/>
                  </a:lnTo>
                  <a:lnTo>
                    <a:pt x="1049" y="0"/>
                  </a:lnTo>
                  <a:lnTo>
                    <a:pt x="1049" y="4"/>
                  </a:lnTo>
                  <a:lnTo>
                    <a:pt x="1049" y="8"/>
                  </a:lnTo>
                  <a:lnTo>
                    <a:pt x="1053" y="8"/>
                  </a:lnTo>
                  <a:lnTo>
                    <a:pt x="1057" y="8"/>
                  </a:lnTo>
                  <a:lnTo>
                    <a:pt x="1061" y="8"/>
                  </a:lnTo>
                  <a:lnTo>
                    <a:pt x="1057" y="8"/>
                  </a:lnTo>
                  <a:lnTo>
                    <a:pt x="1053" y="4"/>
                  </a:lnTo>
                  <a:lnTo>
                    <a:pt x="1057" y="0"/>
                  </a:lnTo>
                  <a:lnTo>
                    <a:pt x="1061" y="0"/>
                  </a:lnTo>
                  <a:lnTo>
                    <a:pt x="1065" y="0"/>
                  </a:lnTo>
                  <a:lnTo>
                    <a:pt x="1069" y="0"/>
                  </a:lnTo>
                  <a:lnTo>
                    <a:pt x="1073" y="0"/>
                  </a:lnTo>
                  <a:lnTo>
                    <a:pt x="1077" y="0"/>
                  </a:lnTo>
                  <a:lnTo>
                    <a:pt x="1081" y="0"/>
                  </a:lnTo>
                  <a:lnTo>
                    <a:pt x="1081" y="4"/>
                  </a:lnTo>
                  <a:lnTo>
                    <a:pt x="1077" y="4"/>
                  </a:lnTo>
                  <a:lnTo>
                    <a:pt x="1081" y="4"/>
                  </a:lnTo>
                  <a:lnTo>
                    <a:pt x="1085" y="4"/>
                  </a:lnTo>
                  <a:lnTo>
                    <a:pt x="1089" y="4"/>
                  </a:lnTo>
                  <a:lnTo>
                    <a:pt x="1093" y="4"/>
                  </a:lnTo>
                  <a:lnTo>
                    <a:pt x="1097" y="4"/>
                  </a:lnTo>
                  <a:lnTo>
                    <a:pt x="1101" y="4"/>
                  </a:lnTo>
                  <a:lnTo>
                    <a:pt x="1101" y="8"/>
                  </a:lnTo>
                  <a:lnTo>
                    <a:pt x="1105" y="8"/>
                  </a:lnTo>
                  <a:lnTo>
                    <a:pt x="1105" y="4"/>
                  </a:lnTo>
                  <a:lnTo>
                    <a:pt x="1109" y="4"/>
                  </a:lnTo>
                  <a:lnTo>
                    <a:pt x="1113" y="4"/>
                  </a:lnTo>
                  <a:lnTo>
                    <a:pt x="1113" y="8"/>
                  </a:lnTo>
                  <a:lnTo>
                    <a:pt x="1117" y="8"/>
                  </a:lnTo>
                  <a:lnTo>
                    <a:pt x="1117" y="4"/>
                  </a:lnTo>
                  <a:lnTo>
                    <a:pt x="1121" y="4"/>
                  </a:lnTo>
                  <a:lnTo>
                    <a:pt x="1121" y="8"/>
                  </a:lnTo>
                  <a:lnTo>
                    <a:pt x="1125" y="8"/>
                  </a:lnTo>
                  <a:lnTo>
                    <a:pt x="1129" y="8"/>
                  </a:lnTo>
                  <a:lnTo>
                    <a:pt x="1121" y="12"/>
                  </a:lnTo>
                  <a:lnTo>
                    <a:pt x="1117" y="12"/>
                  </a:lnTo>
                  <a:lnTo>
                    <a:pt x="1113" y="12"/>
                  </a:lnTo>
                  <a:lnTo>
                    <a:pt x="1109" y="12"/>
                  </a:lnTo>
                  <a:lnTo>
                    <a:pt x="1105" y="12"/>
                  </a:lnTo>
                  <a:lnTo>
                    <a:pt x="1105" y="16"/>
                  </a:lnTo>
                  <a:lnTo>
                    <a:pt x="1101" y="16"/>
                  </a:lnTo>
                  <a:lnTo>
                    <a:pt x="1097" y="16"/>
                  </a:lnTo>
                  <a:lnTo>
                    <a:pt x="1093" y="16"/>
                  </a:lnTo>
                  <a:lnTo>
                    <a:pt x="1097" y="16"/>
                  </a:lnTo>
                  <a:lnTo>
                    <a:pt x="1101" y="16"/>
                  </a:lnTo>
                  <a:lnTo>
                    <a:pt x="1105" y="16"/>
                  </a:lnTo>
                  <a:lnTo>
                    <a:pt x="1109" y="16"/>
                  </a:lnTo>
                  <a:lnTo>
                    <a:pt x="1113" y="16"/>
                  </a:lnTo>
                  <a:lnTo>
                    <a:pt x="1117" y="16"/>
                  </a:lnTo>
                  <a:lnTo>
                    <a:pt x="1121" y="12"/>
                  </a:lnTo>
                  <a:lnTo>
                    <a:pt x="1125" y="12"/>
                  </a:lnTo>
                  <a:lnTo>
                    <a:pt x="1133" y="12"/>
                  </a:lnTo>
                  <a:lnTo>
                    <a:pt x="1137" y="8"/>
                  </a:lnTo>
                  <a:lnTo>
                    <a:pt x="1141" y="8"/>
                  </a:lnTo>
                  <a:lnTo>
                    <a:pt x="1145" y="8"/>
                  </a:lnTo>
                  <a:lnTo>
                    <a:pt x="1141" y="12"/>
                  </a:lnTo>
                  <a:lnTo>
                    <a:pt x="1145" y="12"/>
                  </a:lnTo>
                  <a:lnTo>
                    <a:pt x="1148" y="12"/>
                  </a:lnTo>
                  <a:lnTo>
                    <a:pt x="1145" y="12"/>
                  </a:lnTo>
                  <a:lnTo>
                    <a:pt x="1145" y="8"/>
                  </a:lnTo>
                  <a:lnTo>
                    <a:pt x="1148" y="8"/>
                  </a:lnTo>
                  <a:lnTo>
                    <a:pt x="1145" y="8"/>
                  </a:lnTo>
                  <a:lnTo>
                    <a:pt x="1148" y="8"/>
                  </a:lnTo>
                  <a:lnTo>
                    <a:pt x="1152" y="8"/>
                  </a:lnTo>
                  <a:lnTo>
                    <a:pt x="1156" y="8"/>
                  </a:lnTo>
                  <a:lnTo>
                    <a:pt x="1152" y="8"/>
                  </a:lnTo>
                  <a:lnTo>
                    <a:pt x="1152" y="12"/>
                  </a:lnTo>
                  <a:lnTo>
                    <a:pt x="1156" y="12"/>
                  </a:lnTo>
                  <a:lnTo>
                    <a:pt x="1160" y="12"/>
                  </a:lnTo>
                  <a:lnTo>
                    <a:pt x="1164" y="8"/>
                  </a:lnTo>
                  <a:lnTo>
                    <a:pt x="1168" y="8"/>
                  </a:lnTo>
                  <a:lnTo>
                    <a:pt x="1172" y="8"/>
                  </a:lnTo>
                  <a:lnTo>
                    <a:pt x="1172" y="12"/>
                  </a:lnTo>
                  <a:lnTo>
                    <a:pt x="1168" y="12"/>
                  </a:lnTo>
                  <a:lnTo>
                    <a:pt x="1172" y="16"/>
                  </a:lnTo>
                  <a:lnTo>
                    <a:pt x="1176" y="16"/>
                  </a:lnTo>
                  <a:lnTo>
                    <a:pt x="1180" y="16"/>
                  </a:lnTo>
                  <a:lnTo>
                    <a:pt x="1180" y="20"/>
                  </a:lnTo>
                  <a:lnTo>
                    <a:pt x="1176" y="20"/>
                  </a:lnTo>
                  <a:lnTo>
                    <a:pt x="1176" y="24"/>
                  </a:lnTo>
                  <a:lnTo>
                    <a:pt x="1180" y="24"/>
                  </a:lnTo>
                  <a:lnTo>
                    <a:pt x="1180" y="20"/>
                  </a:lnTo>
                  <a:lnTo>
                    <a:pt x="1184" y="20"/>
                  </a:lnTo>
                  <a:lnTo>
                    <a:pt x="1188" y="20"/>
                  </a:lnTo>
                  <a:lnTo>
                    <a:pt x="1192" y="20"/>
                  </a:lnTo>
                  <a:lnTo>
                    <a:pt x="1188" y="20"/>
                  </a:lnTo>
                  <a:lnTo>
                    <a:pt x="1192" y="20"/>
                  </a:lnTo>
                  <a:lnTo>
                    <a:pt x="1196" y="20"/>
                  </a:lnTo>
                  <a:lnTo>
                    <a:pt x="1200" y="20"/>
                  </a:lnTo>
                  <a:lnTo>
                    <a:pt x="1204" y="20"/>
                  </a:lnTo>
                  <a:lnTo>
                    <a:pt x="1204" y="24"/>
                  </a:lnTo>
                  <a:lnTo>
                    <a:pt x="1208" y="24"/>
                  </a:lnTo>
                  <a:lnTo>
                    <a:pt x="1208" y="28"/>
                  </a:lnTo>
                  <a:lnTo>
                    <a:pt x="1204" y="32"/>
                  </a:lnTo>
                  <a:lnTo>
                    <a:pt x="1200" y="32"/>
                  </a:lnTo>
                  <a:lnTo>
                    <a:pt x="1196" y="32"/>
                  </a:lnTo>
                  <a:lnTo>
                    <a:pt x="1192" y="36"/>
                  </a:lnTo>
                  <a:lnTo>
                    <a:pt x="1188" y="36"/>
                  </a:lnTo>
                  <a:lnTo>
                    <a:pt x="1180" y="40"/>
                  </a:lnTo>
                  <a:lnTo>
                    <a:pt x="1176" y="40"/>
                  </a:lnTo>
                  <a:lnTo>
                    <a:pt x="1172" y="40"/>
                  </a:lnTo>
                  <a:lnTo>
                    <a:pt x="1168" y="40"/>
                  </a:lnTo>
                  <a:lnTo>
                    <a:pt x="1168" y="44"/>
                  </a:lnTo>
                  <a:lnTo>
                    <a:pt x="1164" y="44"/>
                  </a:lnTo>
                  <a:lnTo>
                    <a:pt x="1160" y="44"/>
                  </a:lnTo>
                  <a:lnTo>
                    <a:pt x="1164" y="44"/>
                  </a:lnTo>
                  <a:lnTo>
                    <a:pt x="1160" y="44"/>
                  </a:lnTo>
                  <a:lnTo>
                    <a:pt x="1156" y="44"/>
                  </a:lnTo>
                  <a:lnTo>
                    <a:pt x="1152" y="44"/>
                  </a:lnTo>
                  <a:lnTo>
                    <a:pt x="1148" y="44"/>
                  </a:lnTo>
                  <a:lnTo>
                    <a:pt x="1145" y="44"/>
                  </a:lnTo>
                  <a:lnTo>
                    <a:pt x="1141" y="48"/>
                  </a:lnTo>
                  <a:lnTo>
                    <a:pt x="1137" y="48"/>
                  </a:lnTo>
                  <a:lnTo>
                    <a:pt x="1133" y="48"/>
                  </a:lnTo>
                  <a:lnTo>
                    <a:pt x="1137" y="48"/>
                  </a:lnTo>
                  <a:lnTo>
                    <a:pt x="1141" y="48"/>
                  </a:lnTo>
                  <a:lnTo>
                    <a:pt x="1145" y="48"/>
                  </a:lnTo>
                  <a:lnTo>
                    <a:pt x="1141" y="48"/>
                  </a:lnTo>
                  <a:lnTo>
                    <a:pt x="1137" y="48"/>
                  </a:lnTo>
                  <a:lnTo>
                    <a:pt x="1133" y="48"/>
                  </a:lnTo>
                  <a:lnTo>
                    <a:pt x="1129" y="48"/>
                  </a:lnTo>
                  <a:lnTo>
                    <a:pt x="1125" y="48"/>
                  </a:lnTo>
                  <a:lnTo>
                    <a:pt x="1121" y="48"/>
                  </a:lnTo>
                  <a:lnTo>
                    <a:pt x="1117" y="48"/>
                  </a:lnTo>
                  <a:lnTo>
                    <a:pt x="1113" y="48"/>
                  </a:lnTo>
                  <a:lnTo>
                    <a:pt x="1109" y="48"/>
                  </a:lnTo>
                  <a:lnTo>
                    <a:pt x="1105" y="52"/>
                  </a:lnTo>
                  <a:lnTo>
                    <a:pt x="1101" y="52"/>
                  </a:lnTo>
                  <a:lnTo>
                    <a:pt x="1097" y="48"/>
                  </a:lnTo>
                  <a:lnTo>
                    <a:pt x="1093" y="48"/>
                  </a:lnTo>
                  <a:lnTo>
                    <a:pt x="1089" y="48"/>
                  </a:lnTo>
                  <a:lnTo>
                    <a:pt x="1085" y="44"/>
                  </a:lnTo>
                  <a:lnTo>
                    <a:pt x="1085" y="48"/>
                  </a:lnTo>
                  <a:lnTo>
                    <a:pt x="1089" y="48"/>
                  </a:lnTo>
                  <a:lnTo>
                    <a:pt x="1093" y="48"/>
                  </a:lnTo>
                  <a:lnTo>
                    <a:pt x="1097" y="48"/>
                  </a:lnTo>
                  <a:lnTo>
                    <a:pt x="1097" y="52"/>
                  </a:lnTo>
                  <a:lnTo>
                    <a:pt x="1101" y="52"/>
                  </a:lnTo>
                  <a:lnTo>
                    <a:pt x="1097" y="52"/>
                  </a:lnTo>
                  <a:lnTo>
                    <a:pt x="1093" y="52"/>
                  </a:lnTo>
                  <a:lnTo>
                    <a:pt x="1097" y="52"/>
                  </a:lnTo>
                  <a:lnTo>
                    <a:pt x="1101" y="52"/>
                  </a:lnTo>
                  <a:lnTo>
                    <a:pt x="1105" y="52"/>
                  </a:lnTo>
                  <a:lnTo>
                    <a:pt x="1109" y="52"/>
                  </a:lnTo>
                  <a:lnTo>
                    <a:pt x="1113" y="52"/>
                  </a:lnTo>
                  <a:lnTo>
                    <a:pt x="1117" y="52"/>
                  </a:lnTo>
                  <a:lnTo>
                    <a:pt x="1121" y="52"/>
                  </a:lnTo>
                  <a:lnTo>
                    <a:pt x="1125" y="52"/>
                  </a:lnTo>
                  <a:lnTo>
                    <a:pt x="1121" y="52"/>
                  </a:lnTo>
                  <a:lnTo>
                    <a:pt x="1117" y="56"/>
                  </a:lnTo>
                  <a:lnTo>
                    <a:pt x="1113" y="56"/>
                  </a:lnTo>
                  <a:lnTo>
                    <a:pt x="1109" y="56"/>
                  </a:lnTo>
                  <a:lnTo>
                    <a:pt x="1105" y="56"/>
                  </a:lnTo>
                  <a:lnTo>
                    <a:pt x="1101" y="56"/>
                  </a:lnTo>
                  <a:lnTo>
                    <a:pt x="1101" y="60"/>
                  </a:lnTo>
                  <a:lnTo>
                    <a:pt x="1097" y="60"/>
                  </a:lnTo>
                  <a:lnTo>
                    <a:pt x="1093" y="60"/>
                  </a:lnTo>
                  <a:lnTo>
                    <a:pt x="1089" y="60"/>
                  </a:lnTo>
                  <a:lnTo>
                    <a:pt x="1085" y="60"/>
                  </a:lnTo>
                  <a:lnTo>
                    <a:pt x="1081" y="60"/>
                  </a:lnTo>
                  <a:lnTo>
                    <a:pt x="1085" y="60"/>
                  </a:lnTo>
                  <a:lnTo>
                    <a:pt x="1081" y="60"/>
                  </a:lnTo>
                  <a:lnTo>
                    <a:pt x="1077" y="64"/>
                  </a:lnTo>
                  <a:lnTo>
                    <a:pt x="1073" y="64"/>
                  </a:lnTo>
                  <a:lnTo>
                    <a:pt x="1077" y="64"/>
                  </a:lnTo>
                  <a:lnTo>
                    <a:pt x="1081" y="64"/>
                  </a:lnTo>
                  <a:lnTo>
                    <a:pt x="1077" y="64"/>
                  </a:lnTo>
                  <a:lnTo>
                    <a:pt x="1073" y="64"/>
                  </a:lnTo>
                  <a:lnTo>
                    <a:pt x="1077" y="64"/>
                  </a:lnTo>
                  <a:lnTo>
                    <a:pt x="1081" y="64"/>
                  </a:lnTo>
                  <a:lnTo>
                    <a:pt x="1085" y="64"/>
                  </a:lnTo>
                  <a:lnTo>
                    <a:pt x="1093" y="60"/>
                  </a:lnTo>
                  <a:lnTo>
                    <a:pt x="1101" y="60"/>
                  </a:lnTo>
                  <a:lnTo>
                    <a:pt x="1105" y="60"/>
                  </a:lnTo>
                  <a:lnTo>
                    <a:pt x="1109" y="60"/>
                  </a:lnTo>
                  <a:lnTo>
                    <a:pt x="1109" y="56"/>
                  </a:lnTo>
                  <a:lnTo>
                    <a:pt x="1113" y="56"/>
                  </a:lnTo>
                  <a:lnTo>
                    <a:pt x="1117" y="56"/>
                  </a:lnTo>
                  <a:lnTo>
                    <a:pt x="1121" y="56"/>
                  </a:lnTo>
                  <a:lnTo>
                    <a:pt x="1125" y="56"/>
                  </a:lnTo>
                  <a:lnTo>
                    <a:pt x="1129" y="56"/>
                  </a:lnTo>
                  <a:lnTo>
                    <a:pt x="1133" y="56"/>
                  </a:lnTo>
                  <a:lnTo>
                    <a:pt x="1137" y="52"/>
                  </a:lnTo>
                  <a:lnTo>
                    <a:pt x="1141" y="52"/>
                  </a:lnTo>
                  <a:lnTo>
                    <a:pt x="1145" y="52"/>
                  </a:lnTo>
                  <a:lnTo>
                    <a:pt x="1148" y="52"/>
                  </a:lnTo>
                  <a:lnTo>
                    <a:pt x="1156" y="52"/>
                  </a:lnTo>
                  <a:lnTo>
                    <a:pt x="1156" y="56"/>
                  </a:lnTo>
                  <a:lnTo>
                    <a:pt x="1152" y="56"/>
                  </a:lnTo>
                  <a:lnTo>
                    <a:pt x="1148" y="60"/>
                  </a:lnTo>
                  <a:lnTo>
                    <a:pt x="1145" y="60"/>
                  </a:lnTo>
                  <a:lnTo>
                    <a:pt x="1141" y="60"/>
                  </a:lnTo>
                  <a:lnTo>
                    <a:pt x="1137" y="60"/>
                  </a:lnTo>
                  <a:lnTo>
                    <a:pt x="1133" y="64"/>
                  </a:lnTo>
                  <a:lnTo>
                    <a:pt x="1129" y="64"/>
                  </a:lnTo>
                  <a:lnTo>
                    <a:pt x="1129" y="68"/>
                  </a:lnTo>
                  <a:lnTo>
                    <a:pt x="1125" y="68"/>
                  </a:lnTo>
                  <a:lnTo>
                    <a:pt x="1121" y="68"/>
                  </a:lnTo>
                  <a:lnTo>
                    <a:pt x="1117" y="72"/>
                  </a:lnTo>
                  <a:lnTo>
                    <a:pt x="1113" y="72"/>
                  </a:lnTo>
                  <a:lnTo>
                    <a:pt x="1109" y="72"/>
                  </a:lnTo>
                  <a:lnTo>
                    <a:pt x="1113" y="72"/>
                  </a:lnTo>
                  <a:lnTo>
                    <a:pt x="1109" y="72"/>
                  </a:lnTo>
                  <a:lnTo>
                    <a:pt x="1105" y="72"/>
                  </a:lnTo>
                  <a:lnTo>
                    <a:pt x="1105" y="76"/>
                  </a:lnTo>
                  <a:lnTo>
                    <a:pt x="1101" y="76"/>
                  </a:lnTo>
                  <a:lnTo>
                    <a:pt x="1093" y="80"/>
                  </a:lnTo>
                  <a:lnTo>
                    <a:pt x="1089" y="80"/>
                  </a:lnTo>
                  <a:lnTo>
                    <a:pt x="1089" y="84"/>
                  </a:lnTo>
                  <a:lnTo>
                    <a:pt x="1085" y="84"/>
                  </a:lnTo>
                  <a:lnTo>
                    <a:pt x="1085" y="88"/>
                  </a:lnTo>
                  <a:lnTo>
                    <a:pt x="1081" y="88"/>
                  </a:lnTo>
                  <a:lnTo>
                    <a:pt x="1077" y="88"/>
                  </a:lnTo>
                  <a:lnTo>
                    <a:pt x="1073" y="88"/>
                  </a:lnTo>
                  <a:lnTo>
                    <a:pt x="1069" y="88"/>
                  </a:lnTo>
                  <a:lnTo>
                    <a:pt x="1069" y="84"/>
                  </a:lnTo>
                  <a:lnTo>
                    <a:pt x="1065" y="84"/>
                  </a:lnTo>
                  <a:lnTo>
                    <a:pt x="1061" y="84"/>
                  </a:lnTo>
                  <a:lnTo>
                    <a:pt x="1065" y="84"/>
                  </a:lnTo>
                  <a:lnTo>
                    <a:pt x="1069" y="84"/>
                  </a:lnTo>
                  <a:lnTo>
                    <a:pt x="1069" y="88"/>
                  </a:lnTo>
                  <a:lnTo>
                    <a:pt x="1069" y="92"/>
                  </a:lnTo>
                  <a:lnTo>
                    <a:pt x="1073" y="92"/>
                  </a:lnTo>
                  <a:lnTo>
                    <a:pt x="1077" y="92"/>
                  </a:lnTo>
                  <a:lnTo>
                    <a:pt x="1073" y="92"/>
                  </a:lnTo>
                  <a:lnTo>
                    <a:pt x="1073" y="96"/>
                  </a:lnTo>
                  <a:lnTo>
                    <a:pt x="1069" y="96"/>
                  </a:lnTo>
                  <a:lnTo>
                    <a:pt x="1065" y="92"/>
                  </a:lnTo>
                  <a:lnTo>
                    <a:pt x="1061" y="96"/>
                  </a:lnTo>
                  <a:lnTo>
                    <a:pt x="1057" y="96"/>
                  </a:lnTo>
                  <a:lnTo>
                    <a:pt x="1053" y="96"/>
                  </a:lnTo>
                  <a:lnTo>
                    <a:pt x="1049" y="96"/>
                  </a:lnTo>
                  <a:lnTo>
                    <a:pt x="1045" y="96"/>
                  </a:lnTo>
                  <a:lnTo>
                    <a:pt x="1041" y="96"/>
                  </a:lnTo>
                  <a:lnTo>
                    <a:pt x="1041" y="92"/>
                  </a:lnTo>
                  <a:lnTo>
                    <a:pt x="1037" y="92"/>
                  </a:lnTo>
                  <a:lnTo>
                    <a:pt x="1041" y="96"/>
                  </a:lnTo>
                  <a:lnTo>
                    <a:pt x="1045" y="96"/>
                  </a:lnTo>
                  <a:lnTo>
                    <a:pt x="1041" y="96"/>
                  </a:lnTo>
                  <a:lnTo>
                    <a:pt x="1037" y="96"/>
                  </a:lnTo>
                  <a:lnTo>
                    <a:pt x="1037" y="100"/>
                  </a:lnTo>
                  <a:lnTo>
                    <a:pt x="1041" y="100"/>
                  </a:lnTo>
                  <a:lnTo>
                    <a:pt x="1045" y="100"/>
                  </a:lnTo>
                  <a:lnTo>
                    <a:pt x="1049" y="100"/>
                  </a:lnTo>
                  <a:lnTo>
                    <a:pt x="1053" y="100"/>
                  </a:lnTo>
                  <a:lnTo>
                    <a:pt x="1053" y="96"/>
                  </a:lnTo>
                  <a:lnTo>
                    <a:pt x="1057" y="96"/>
                  </a:lnTo>
                  <a:lnTo>
                    <a:pt x="1061" y="96"/>
                  </a:lnTo>
                  <a:lnTo>
                    <a:pt x="1065" y="96"/>
                  </a:lnTo>
                  <a:lnTo>
                    <a:pt x="1065" y="100"/>
                  </a:lnTo>
                  <a:lnTo>
                    <a:pt x="1061" y="100"/>
                  </a:lnTo>
                  <a:lnTo>
                    <a:pt x="1057" y="100"/>
                  </a:lnTo>
                  <a:lnTo>
                    <a:pt x="1053" y="104"/>
                  </a:lnTo>
                  <a:lnTo>
                    <a:pt x="1057" y="104"/>
                  </a:lnTo>
                  <a:lnTo>
                    <a:pt x="1061" y="104"/>
                  </a:lnTo>
                  <a:lnTo>
                    <a:pt x="1057" y="108"/>
                  </a:lnTo>
                  <a:lnTo>
                    <a:pt x="1053" y="108"/>
                  </a:lnTo>
                  <a:lnTo>
                    <a:pt x="1049" y="108"/>
                  </a:lnTo>
                  <a:lnTo>
                    <a:pt x="1045" y="108"/>
                  </a:lnTo>
                  <a:lnTo>
                    <a:pt x="1041" y="112"/>
                  </a:lnTo>
                  <a:lnTo>
                    <a:pt x="1037" y="112"/>
                  </a:lnTo>
                  <a:lnTo>
                    <a:pt x="1037" y="108"/>
                  </a:lnTo>
                  <a:lnTo>
                    <a:pt x="1037" y="112"/>
                  </a:lnTo>
                  <a:lnTo>
                    <a:pt x="1033" y="112"/>
                  </a:lnTo>
                  <a:lnTo>
                    <a:pt x="1029" y="108"/>
                  </a:lnTo>
                  <a:lnTo>
                    <a:pt x="1029" y="104"/>
                  </a:lnTo>
                  <a:lnTo>
                    <a:pt x="1025" y="104"/>
                  </a:lnTo>
                  <a:lnTo>
                    <a:pt x="1021" y="104"/>
                  </a:lnTo>
                  <a:lnTo>
                    <a:pt x="1017" y="104"/>
                  </a:lnTo>
                  <a:lnTo>
                    <a:pt x="1013" y="104"/>
                  </a:lnTo>
                  <a:lnTo>
                    <a:pt x="1009" y="104"/>
                  </a:lnTo>
                  <a:lnTo>
                    <a:pt x="1005" y="104"/>
                  </a:lnTo>
                  <a:lnTo>
                    <a:pt x="1001" y="104"/>
                  </a:lnTo>
                  <a:lnTo>
                    <a:pt x="1001" y="108"/>
                  </a:lnTo>
                  <a:lnTo>
                    <a:pt x="1005" y="108"/>
                  </a:lnTo>
                  <a:lnTo>
                    <a:pt x="1009" y="108"/>
                  </a:lnTo>
                  <a:lnTo>
                    <a:pt x="1013" y="108"/>
                  </a:lnTo>
                  <a:lnTo>
                    <a:pt x="1017" y="108"/>
                  </a:lnTo>
                  <a:lnTo>
                    <a:pt x="1021" y="108"/>
                  </a:lnTo>
                  <a:lnTo>
                    <a:pt x="1025" y="108"/>
                  </a:lnTo>
                  <a:lnTo>
                    <a:pt x="1025" y="112"/>
                  </a:lnTo>
                  <a:lnTo>
                    <a:pt x="1025" y="116"/>
                  </a:lnTo>
                  <a:lnTo>
                    <a:pt x="1021" y="116"/>
                  </a:lnTo>
                  <a:lnTo>
                    <a:pt x="1017" y="116"/>
                  </a:lnTo>
                  <a:lnTo>
                    <a:pt x="1013" y="116"/>
                  </a:lnTo>
                  <a:lnTo>
                    <a:pt x="1009" y="116"/>
                  </a:lnTo>
                  <a:lnTo>
                    <a:pt x="1005" y="116"/>
                  </a:lnTo>
                  <a:lnTo>
                    <a:pt x="1001" y="116"/>
                  </a:lnTo>
                  <a:lnTo>
                    <a:pt x="997" y="116"/>
                  </a:lnTo>
                  <a:lnTo>
                    <a:pt x="1001" y="116"/>
                  </a:lnTo>
                  <a:lnTo>
                    <a:pt x="1001" y="120"/>
                  </a:lnTo>
                  <a:lnTo>
                    <a:pt x="997" y="120"/>
                  </a:lnTo>
                  <a:lnTo>
                    <a:pt x="993" y="120"/>
                  </a:lnTo>
                  <a:lnTo>
                    <a:pt x="989" y="120"/>
                  </a:lnTo>
                  <a:lnTo>
                    <a:pt x="985" y="116"/>
                  </a:lnTo>
                  <a:lnTo>
                    <a:pt x="985" y="120"/>
                  </a:lnTo>
                  <a:lnTo>
                    <a:pt x="985" y="116"/>
                  </a:lnTo>
                  <a:lnTo>
                    <a:pt x="981" y="116"/>
                  </a:lnTo>
                  <a:lnTo>
                    <a:pt x="977" y="116"/>
                  </a:lnTo>
                  <a:lnTo>
                    <a:pt x="973" y="116"/>
                  </a:lnTo>
                  <a:lnTo>
                    <a:pt x="969" y="116"/>
                  </a:lnTo>
                  <a:lnTo>
                    <a:pt x="965" y="116"/>
                  </a:lnTo>
                  <a:lnTo>
                    <a:pt x="969" y="116"/>
                  </a:lnTo>
                  <a:lnTo>
                    <a:pt x="973" y="116"/>
                  </a:lnTo>
                  <a:lnTo>
                    <a:pt x="977" y="116"/>
                  </a:lnTo>
                  <a:lnTo>
                    <a:pt x="981" y="116"/>
                  </a:lnTo>
                  <a:lnTo>
                    <a:pt x="981" y="120"/>
                  </a:lnTo>
                  <a:lnTo>
                    <a:pt x="985" y="120"/>
                  </a:lnTo>
                  <a:lnTo>
                    <a:pt x="981" y="120"/>
                  </a:lnTo>
                  <a:lnTo>
                    <a:pt x="977" y="120"/>
                  </a:lnTo>
                  <a:lnTo>
                    <a:pt x="973" y="120"/>
                  </a:lnTo>
                  <a:lnTo>
                    <a:pt x="969" y="120"/>
                  </a:lnTo>
                  <a:lnTo>
                    <a:pt x="965" y="120"/>
                  </a:lnTo>
                  <a:lnTo>
                    <a:pt x="965" y="116"/>
                  </a:lnTo>
                  <a:lnTo>
                    <a:pt x="961" y="116"/>
                  </a:lnTo>
                  <a:lnTo>
                    <a:pt x="965" y="120"/>
                  </a:lnTo>
                  <a:lnTo>
                    <a:pt x="961" y="120"/>
                  </a:lnTo>
                  <a:lnTo>
                    <a:pt x="957" y="120"/>
                  </a:lnTo>
                  <a:lnTo>
                    <a:pt x="953" y="120"/>
                  </a:lnTo>
                  <a:lnTo>
                    <a:pt x="957" y="120"/>
                  </a:lnTo>
                  <a:lnTo>
                    <a:pt x="961" y="120"/>
                  </a:lnTo>
                  <a:lnTo>
                    <a:pt x="961" y="124"/>
                  </a:lnTo>
                  <a:lnTo>
                    <a:pt x="965" y="124"/>
                  </a:lnTo>
                  <a:lnTo>
                    <a:pt x="961" y="124"/>
                  </a:lnTo>
                  <a:lnTo>
                    <a:pt x="965" y="124"/>
                  </a:lnTo>
                  <a:lnTo>
                    <a:pt x="969" y="124"/>
                  </a:lnTo>
                  <a:lnTo>
                    <a:pt x="973" y="124"/>
                  </a:lnTo>
                  <a:lnTo>
                    <a:pt x="981" y="124"/>
                  </a:lnTo>
                  <a:lnTo>
                    <a:pt x="985" y="124"/>
                  </a:lnTo>
                  <a:lnTo>
                    <a:pt x="989" y="124"/>
                  </a:lnTo>
                  <a:lnTo>
                    <a:pt x="993" y="124"/>
                  </a:lnTo>
                  <a:lnTo>
                    <a:pt x="997" y="124"/>
                  </a:lnTo>
                  <a:lnTo>
                    <a:pt x="1001" y="124"/>
                  </a:lnTo>
                  <a:lnTo>
                    <a:pt x="1005" y="124"/>
                  </a:lnTo>
                  <a:lnTo>
                    <a:pt x="1001" y="124"/>
                  </a:lnTo>
                  <a:lnTo>
                    <a:pt x="1001" y="128"/>
                  </a:lnTo>
                  <a:lnTo>
                    <a:pt x="1005" y="128"/>
                  </a:lnTo>
                  <a:lnTo>
                    <a:pt x="1009" y="128"/>
                  </a:lnTo>
                  <a:lnTo>
                    <a:pt x="1005" y="128"/>
                  </a:lnTo>
                  <a:lnTo>
                    <a:pt x="1005" y="132"/>
                  </a:lnTo>
                  <a:lnTo>
                    <a:pt x="1001" y="132"/>
                  </a:lnTo>
                  <a:lnTo>
                    <a:pt x="997" y="132"/>
                  </a:lnTo>
                  <a:lnTo>
                    <a:pt x="993" y="128"/>
                  </a:lnTo>
                  <a:lnTo>
                    <a:pt x="989" y="128"/>
                  </a:lnTo>
                  <a:lnTo>
                    <a:pt x="985" y="128"/>
                  </a:lnTo>
                  <a:lnTo>
                    <a:pt x="985" y="124"/>
                  </a:lnTo>
                  <a:lnTo>
                    <a:pt x="981" y="124"/>
                  </a:lnTo>
                  <a:lnTo>
                    <a:pt x="977" y="124"/>
                  </a:lnTo>
                  <a:lnTo>
                    <a:pt x="969" y="124"/>
                  </a:lnTo>
                  <a:lnTo>
                    <a:pt x="965" y="124"/>
                  </a:lnTo>
                  <a:lnTo>
                    <a:pt x="961" y="124"/>
                  </a:lnTo>
                  <a:lnTo>
                    <a:pt x="957" y="124"/>
                  </a:lnTo>
                  <a:lnTo>
                    <a:pt x="949" y="124"/>
                  </a:lnTo>
                  <a:lnTo>
                    <a:pt x="949" y="128"/>
                  </a:lnTo>
                  <a:lnTo>
                    <a:pt x="953" y="124"/>
                  </a:lnTo>
                  <a:lnTo>
                    <a:pt x="957" y="124"/>
                  </a:lnTo>
                  <a:lnTo>
                    <a:pt x="961" y="124"/>
                  </a:lnTo>
                  <a:lnTo>
                    <a:pt x="965" y="128"/>
                  </a:lnTo>
                  <a:lnTo>
                    <a:pt x="969" y="128"/>
                  </a:lnTo>
                  <a:lnTo>
                    <a:pt x="973" y="128"/>
                  </a:lnTo>
                  <a:lnTo>
                    <a:pt x="977" y="128"/>
                  </a:lnTo>
                  <a:lnTo>
                    <a:pt x="981" y="128"/>
                  </a:lnTo>
                  <a:lnTo>
                    <a:pt x="977" y="128"/>
                  </a:lnTo>
                  <a:lnTo>
                    <a:pt x="973" y="128"/>
                  </a:lnTo>
                  <a:lnTo>
                    <a:pt x="969" y="128"/>
                  </a:lnTo>
                  <a:lnTo>
                    <a:pt x="965" y="128"/>
                  </a:lnTo>
                  <a:lnTo>
                    <a:pt x="961" y="128"/>
                  </a:lnTo>
                  <a:lnTo>
                    <a:pt x="961" y="132"/>
                  </a:lnTo>
                  <a:lnTo>
                    <a:pt x="957" y="132"/>
                  </a:lnTo>
                  <a:lnTo>
                    <a:pt x="957" y="128"/>
                  </a:lnTo>
                  <a:lnTo>
                    <a:pt x="953" y="128"/>
                  </a:lnTo>
                  <a:lnTo>
                    <a:pt x="949" y="128"/>
                  </a:lnTo>
                  <a:lnTo>
                    <a:pt x="945" y="128"/>
                  </a:lnTo>
                  <a:lnTo>
                    <a:pt x="941" y="128"/>
                  </a:lnTo>
                  <a:lnTo>
                    <a:pt x="945" y="128"/>
                  </a:lnTo>
                  <a:lnTo>
                    <a:pt x="949" y="128"/>
                  </a:lnTo>
                  <a:lnTo>
                    <a:pt x="953" y="128"/>
                  </a:lnTo>
                  <a:lnTo>
                    <a:pt x="957" y="128"/>
                  </a:lnTo>
                  <a:lnTo>
                    <a:pt x="957" y="132"/>
                  </a:lnTo>
                  <a:lnTo>
                    <a:pt x="953" y="132"/>
                  </a:lnTo>
                  <a:lnTo>
                    <a:pt x="953" y="136"/>
                  </a:lnTo>
                  <a:lnTo>
                    <a:pt x="949" y="136"/>
                  </a:lnTo>
                  <a:lnTo>
                    <a:pt x="949" y="140"/>
                  </a:lnTo>
                  <a:lnTo>
                    <a:pt x="949" y="136"/>
                  </a:lnTo>
                  <a:lnTo>
                    <a:pt x="953" y="136"/>
                  </a:lnTo>
                  <a:lnTo>
                    <a:pt x="953" y="132"/>
                  </a:lnTo>
                  <a:lnTo>
                    <a:pt x="957" y="132"/>
                  </a:lnTo>
                  <a:lnTo>
                    <a:pt x="961" y="132"/>
                  </a:lnTo>
                  <a:lnTo>
                    <a:pt x="965" y="132"/>
                  </a:lnTo>
                  <a:lnTo>
                    <a:pt x="969" y="132"/>
                  </a:lnTo>
                  <a:lnTo>
                    <a:pt x="973" y="132"/>
                  </a:lnTo>
                  <a:lnTo>
                    <a:pt x="977" y="132"/>
                  </a:lnTo>
                  <a:lnTo>
                    <a:pt x="985" y="132"/>
                  </a:lnTo>
                  <a:lnTo>
                    <a:pt x="989" y="132"/>
                  </a:lnTo>
                  <a:lnTo>
                    <a:pt x="985" y="132"/>
                  </a:lnTo>
                  <a:lnTo>
                    <a:pt x="981" y="132"/>
                  </a:lnTo>
                  <a:lnTo>
                    <a:pt x="981" y="136"/>
                  </a:lnTo>
                  <a:lnTo>
                    <a:pt x="977" y="136"/>
                  </a:lnTo>
                  <a:lnTo>
                    <a:pt x="981" y="136"/>
                  </a:lnTo>
                  <a:lnTo>
                    <a:pt x="985" y="136"/>
                  </a:lnTo>
                  <a:lnTo>
                    <a:pt x="993" y="136"/>
                  </a:lnTo>
                  <a:lnTo>
                    <a:pt x="997" y="136"/>
                  </a:lnTo>
                  <a:lnTo>
                    <a:pt x="1001" y="136"/>
                  </a:lnTo>
                  <a:lnTo>
                    <a:pt x="1001" y="140"/>
                  </a:lnTo>
                  <a:lnTo>
                    <a:pt x="1001" y="144"/>
                  </a:lnTo>
                  <a:lnTo>
                    <a:pt x="997" y="144"/>
                  </a:lnTo>
                  <a:lnTo>
                    <a:pt x="993" y="144"/>
                  </a:lnTo>
                  <a:lnTo>
                    <a:pt x="993" y="148"/>
                  </a:lnTo>
                  <a:lnTo>
                    <a:pt x="985" y="148"/>
                  </a:lnTo>
                  <a:lnTo>
                    <a:pt x="981" y="144"/>
                  </a:lnTo>
                  <a:lnTo>
                    <a:pt x="977" y="144"/>
                  </a:lnTo>
                  <a:lnTo>
                    <a:pt x="973" y="144"/>
                  </a:lnTo>
                  <a:lnTo>
                    <a:pt x="973" y="148"/>
                  </a:lnTo>
                  <a:lnTo>
                    <a:pt x="977" y="148"/>
                  </a:lnTo>
                  <a:lnTo>
                    <a:pt x="981" y="148"/>
                  </a:lnTo>
                  <a:lnTo>
                    <a:pt x="985" y="148"/>
                  </a:lnTo>
                  <a:lnTo>
                    <a:pt x="989" y="148"/>
                  </a:lnTo>
                  <a:lnTo>
                    <a:pt x="993" y="148"/>
                  </a:lnTo>
                  <a:lnTo>
                    <a:pt x="997" y="152"/>
                  </a:lnTo>
                  <a:lnTo>
                    <a:pt x="993" y="152"/>
                  </a:lnTo>
                  <a:lnTo>
                    <a:pt x="993" y="156"/>
                  </a:lnTo>
                  <a:lnTo>
                    <a:pt x="989" y="156"/>
                  </a:lnTo>
                  <a:lnTo>
                    <a:pt x="985" y="156"/>
                  </a:lnTo>
                  <a:lnTo>
                    <a:pt x="981" y="156"/>
                  </a:lnTo>
                  <a:lnTo>
                    <a:pt x="977" y="156"/>
                  </a:lnTo>
                  <a:lnTo>
                    <a:pt x="973" y="156"/>
                  </a:lnTo>
                  <a:lnTo>
                    <a:pt x="969" y="156"/>
                  </a:lnTo>
                  <a:lnTo>
                    <a:pt x="973" y="156"/>
                  </a:lnTo>
                  <a:lnTo>
                    <a:pt x="977" y="156"/>
                  </a:lnTo>
                  <a:lnTo>
                    <a:pt x="985" y="156"/>
                  </a:lnTo>
                  <a:lnTo>
                    <a:pt x="989" y="156"/>
                  </a:lnTo>
                  <a:lnTo>
                    <a:pt x="989" y="160"/>
                  </a:lnTo>
                  <a:lnTo>
                    <a:pt x="985" y="160"/>
                  </a:lnTo>
                  <a:lnTo>
                    <a:pt x="985" y="164"/>
                  </a:lnTo>
                  <a:lnTo>
                    <a:pt x="981" y="160"/>
                  </a:lnTo>
                  <a:lnTo>
                    <a:pt x="977" y="160"/>
                  </a:lnTo>
                  <a:lnTo>
                    <a:pt x="977" y="164"/>
                  </a:lnTo>
                  <a:lnTo>
                    <a:pt x="973" y="164"/>
                  </a:lnTo>
                  <a:lnTo>
                    <a:pt x="969" y="164"/>
                  </a:lnTo>
                  <a:lnTo>
                    <a:pt x="965" y="164"/>
                  </a:lnTo>
                  <a:lnTo>
                    <a:pt x="957" y="164"/>
                  </a:lnTo>
                  <a:lnTo>
                    <a:pt x="953" y="164"/>
                  </a:lnTo>
                  <a:lnTo>
                    <a:pt x="949" y="164"/>
                  </a:lnTo>
                  <a:lnTo>
                    <a:pt x="949" y="160"/>
                  </a:lnTo>
                  <a:lnTo>
                    <a:pt x="945" y="164"/>
                  </a:lnTo>
                  <a:lnTo>
                    <a:pt x="949" y="164"/>
                  </a:lnTo>
                  <a:lnTo>
                    <a:pt x="949" y="168"/>
                  </a:lnTo>
                  <a:lnTo>
                    <a:pt x="953" y="168"/>
                  </a:lnTo>
                  <a:lnTo>
                    <a:pt x="953" y="171"/>
                  </a:lnTo>
                  <a:lnTo>
                    <a:pt x="957" y="171"/>
                  </a:lnTo>
                  <a:lnTo>
                    <a:pt x="953" y="175"/>
                  </a:lnTo>
                  <a:lnTo>
                    <a:pt x="949" y="179"/>
                  </a:lnTo>
                  <a:lnTo>
                    <a:pt x="941" y="183"/>
                  </a:lnTo>
                  <a:lnTo>
                    <a:pt x="941" y="179"/>
                  </a:lnTo>
                  <a:lnTo>
                    <a:pt x="937" y="179"/>
                  </a:lnTo>
                  <a:lnTo>
                    <a:pt x="937" y="183"/>
                  </a:lnTo>
                  <a:lnTo>
                    <a:pt x="933" y="183"/>
                  </a:lnTo>
                  <a:lnTo>
                    <a:pt x="929" y="183"/>
                  </a:lnTo>
                  <a:lnTo>
                    <a:pt x="925" y="183"/>
                  </a:lnTo>
                  <a:lnTo>
                    <a:pt x="921" y="183"/>
                  </a:lnTo>
                  <a:lnTo>
                    <a:pt x="917" y="183"/>
                  </a:lnTo>
                  <a:lnTo>
                    <a:pt x="913" y="179"/>
                  </a:lnTo>
                  <a:lnTo>
                    <a:pt x="909" y="179"/>
                  </a:lnTo>
                  <a:lnTo>
                    <a:pt x="905" y="179"/>
                  </a:lnTo>
                  <a:lnTo>
                    <a:pt x="901" y="179"/>
                  </a:lnTo>
                  <a:lnTo>
                    <a:pt x="901" y="175"/>
                  </a:lnTo>
                  <a:lnTo>
                    <a:pt x="897" y="175"/>
                  </a:lnTo>
                  <a:lnTo>
                    <a:pt x="893" y="171"/>
                  </a:lnTo>
                  <a:lnTo>
                    <a:pt x="897" y="175"/>
                  </a:lnTo>
                  <a:lnTo>
                    <a:pt x="897" y="179"/>
                  </a:lnTo>
                  <a:lnTo>
                    <a:pt x="901" y="179"/>
                  </a:lnTo>
                  <a:lnTo>
                    <a:pt x="905" y="179"/>
                  </a:lnTo>
                  <a:lnTo>
                    <a:pt x="905" y="183"/>
                  </a:lnTo>
                  <a:lnTo>
                    <a:pt x="901" y="183"/>
                  </a:lnTo>
                  <a:lnTo>
                    <a:pt x="893" y="183"/>
                  </a:lnTo>
                  <a:lnTo>
                    <a:pt x="889" y="183"/>
                  </a:lnTo>
                  <a:lnTo>
                    <a:pt x="893" y="183"/>
                  </a:lnTo>
                  <a:lnTo>
                    <a:pt x="893" y="187"/>
                  </a:lnTo>
                  <a:lnTo>
                    <a:pt x="897" y="187"/>
                  </a:lnTo>
                  <a:lnTo>
                    <a:pt x="897" y="183"/>
                  </a:lnTo>
                  <a:lnTo>
                    <a:pt x="901" y="183"/>
                  </a:lnTo>
                  <a:lnTo>
                    <a:pt x="905" y="183"/>
                  </a:lnTo>
                  <a:lnTo>
                    <a:pt x="909" y="183"/>
                  </a:lnTo>
                  <a:lnTo>
                    <a:pt x="913" y="183"/>
                  </a:lnTo>
                  <a:lnTo>
                    <a:pt x="917" y="183"/>
                  </a:lnTo>
                  <a:lnTo>
                    <a:pt x="921" y="183"/>
                  </a:lnTo>
                  <a:lnTo>
                    <a:pt x="921" y="187"/>
                  </a:lnTo>
                  <a:lnTo>
                    <a:pt x="917" y="187"/>
                  </a:lnTo>
                  <a:lnTo>
                    <a:pt x="921" y="187"/>
                  </a:lnTo>
                  <a:lnTo>
                    <a:pt x="925" y="183"/>
                  </a:lnTo>
                  <a:lnTo>
                    <a:pt x="929" y="183"/>
                  </a:lnTo>
                  <a:lnTo>
                    <a:pt x="933" y="183"/>
                  </a:lnTo>
                  <a:lnTo>
                    <a:pt x="937" y="187"/>
                  </a:lnTo>
                  <a:lnTo>
                    <a:pt x="937" y="191"/>
                  </a:lnTo>
                  <a:lnTo>
                    <a:pt x="933" y="191"/>
                  </a:lnTo>
                  <a:lnTo>
                    <a:pt x="933" y="195"/>
                  </a:lnTo>
                  <a:lnTo>
                    <a:pt x="933" y="191"/>
                  </a:lnTo>
                  <a:lnTo>
                    <a:pt x="937" y="191"/>
                  </a:lnTo>
                  <a:lnTo>
                    <a:pt x="941" y="195"/>
                  </a:lnTo>
                  <a:lnTo>
                    <a:pt x="945" y="195"/>
                  </a:lnTo>
                  <a:lnTo>
                    <a:pt x="945" y="191"/>
                  </a:lnTo>
                  <a:lnTo>
                    <a:pt x="949" y="191"/>
                  </a:lnTo>
                  <a:lnTo>
                    <a:pt x="953" y="191"/>
                  </a:lnTo>
                  <a:lnTo>
                    <a:pt x="957" y="199"/>
                  </a:lnTo>
                  <a:lnTo>
                    <a:pt x="957" y="203"/>
                  </a:lnTo>
                  <a:lnTo>
                    <a:pt x="953" y="203"/>
                  </a:lnTo>
                  <a:lnTo>
                    <a:pt x="949" y="203"/>
                  </a:lnTo>
                  <a:lnTo>
                    <a:pt x="949" y="207"/>
                  </a:lnTo>
                  <a:lnTo>
                    <a:pt x="945" y="207"/>
                  </a:lnTo>
                  <a:lnTo>
                    <a:pt x="945" y="203"/>
                  </a:lnTo>
                  <a:lnTo>
                    <a:pt x="941" y="203"/>
                  </a:lnTo>
                  <a:lnTo>
                    <a:pt x="941" y="207"/>
                  </a:lnTo>
                  <a:lnTo>
                    <a:pt x="937" y="207"/>
                  </a:lnTo>
                  <a:lnTo>
                    <a:pt x="933" y="207"/>
                  </a:lnTo>
                  <a:lnTo>
                    <a:pt x="933" y="211"/>
                  </a:lnTo>
                  <a:lnTo>
                    <a:pt x="929" y="211"/>
                  </a:lnTo>
                  <a:lnTo>
                    <a:pt x="925" y="211"/>
                  </a:lnTo>
                  <a:lnTo>
                    <a:pt x="925" y="215"/>
                  </a:lnTo>
                  <a:lnTo>
                    <a:pt x="921" y="215"/>
                  </a:lnTo>
                  <a:lnTo>
                    <a:pt x="917" y="215"/>
                  </a:lnTo>
                  <a:lnTo>
                    <a:pt x="913" y="215"/>
                  </a:lnTo>
                  <a:lnTo>
                    <a:pt x="909" y="215"/>
                  </a:lnTo>
                  <a:lnTo>
                    <a:pt x="905" y="215"/>
                  </a:lnTo>
                  <a:lnTo>
                    <a:pt x="909" y="211"/>
                  </a:lnTo>
                  <a:lnTo>
                    <a:pt x="913" y="207"/>
                  </a:lnTo>
                  <a:lnTo>
                    <a:pt x="909" y="207"/>
                  </a:lnTo>
                  <a:lnTo>
                    <a:pt x="905" y="207"/>
                  </a:lnTo>
                  <a:lnTo>
                    <a:pt x="905" y="203"/>
                  </a:lnTo>
                  <a:lnTo>
                    <a:pt x="901" y="207"/>
                  </a:lnTo>
                  <a:lnTo>
                    <a:pt x="897" y="207"/>
                  </a:lnTo>
                  <a:lnTo>
                    <a:pt x="893" y="207"/>
                  </a:lnTo>
                  <a:lnTo>
                    <a:pt x="893" y="203"/>
                  </a:lnTo>
                  <a:lnTo>
                    <a:pt x="897" y="203"/>
                  </a:lnTo>
                  <a:lnTo>
                    <a:pt x="897" y="199"/>
                  </a:lnTo>
                  <a:lnTo>
                    <a:pt x="893" y="199"/>
                  </a:lnTo>
                  <a:lnTo>
                    <a:pt x="893" y="203"/>
                  </a:lnTo>
                  <a:lnTo>
                    <a:pt x="889" y="203"/>
                  </a:lnTo>
                  <a:lnTo>
                    <a:pt x="885" y="203"/>
                  </a:lnTo>
                  <a:lnTo>
                    <a:pt x="885" y="199"/>
                  </a:lnTo>
                  <a:lnTo>
                    <a:pt x="881" y="195"/>
                  </a:lnTo>
                  <a:lnTo>
                    <a:pt x="881" y="199"/>
                  </a:lnTo>
                  <a:lnTo>
                    <a:pt x="885" y="199"/>
                  </a:lnTo>
                  <a:lnTo>
                    <a:pt x="885" y="203"/>
                  </a:lnTo>
                  <a:lnTo>
                    <a:pt x="889" y="203"/>
                  </a:lnTo>
                  <a:lnTo>
                    <a:pt x="889" y="207"/>
                  </a:lnTo>
                  <a:lnTo>
                    <a:pt x="885" y="207"/>
                  </a:lnTo>
                  <a:lnTo>
                    <a:pt x="881" y="211"/>
                  </a:lnTo>
                  <a:lnTo>
                    <a:pt x="881" y="207"/>
                  </a:lnTo>
                  <a:lnTo>
                    <a:pt x="877" y="207"/>
                  </a:lnTo>
                  <a:lnTo>
                    <a:pt x="877" y="203"/>
                  </a:lnTo>
                  <a:lnTo>
                    <a:pt x="873" y="203"/>
                  </a:lnTo>
                  <a:lnTo>
                    <a:pt x="873" y="199"/>
                  </a:lnTo>
                  <a:lnTo>
                    <a:pt x="869" y="199"/>
                  </a:lnTo>
                  <a:lnTo>
                    <a:pt x="873" y="203"/>
                  </a:lnTo>
                  <a:lnTo>
                    <a:pt x="873" y="207"/>
                  </a:lnTo>
                  <a:lnTo>
                    <a:pt x="869" y="207"/>
                  </a:lnTo>
                  <a:lnTo>
                    <a:pt x="865" y="207"/>
                  </a:lnTo>
                  <a:lnTo>
                    <a:pt x="861" y="207"/>
                  </a:lnTo>
                  <a:lnTo>
                    <a:pt x="861" y="203"/>
                  </a:lnTo>
                  <a:lnTo>
                    <a:pt x="857" y="203"/>
                  </a:lnTo>
                  <a:lnTo>
                    <a:pt x="857" y="207"/>
                  </a:lnTo>
                  <a:lnTo>
                    <a:pt x="861" y="207"/>
                  </a:lnTo>
                  <a:lnTo>
                    <a:pt x="857" y="207"/>
                  </a:lnTo>
                  <a:lnTo>
                    <a:pt x="853" y="207"/>
                  </a:lnTo>
                  <a:lnTo>
                    <a:pt x="849" y="207"/>
                  </a:lnTo>
                  <a:lnTo>
                    <a:pt x="849" y="203"/>
                  </a:lnTo>
                  <a:lnTo>
                    <a:pt x="845" y="203"/>
                  </a:lnTo>
                  <a:lnTo>
                    <a:pt x="845" y="207"/>
                  </a:lnTo>
                  <a:lnTo>
                    <a:pt x="849" y="207"/>
                  </a:lnTo>
                  <a:lnTo>
                    <a:pt x="857" y="211"/>
                  </a:lnTo>
                  <a:lnTo>
                    <a:pt x="853" y="211"/>
                  </a:lnTo>
                  <a:lnTo>
                    <a:pt x="849" y="211"/>
                  </a:lnTo>
                  <a:lnTo>
                    <a:pt x="845" y="211"/>
                  </a:lnTo>
                  <a:lnTo>
                    <a:pt x="841" y="211"/>
                  </a:lnTo>
                  <a:lnTo>
                    <a:pt x="837" y="211"/>
                  </a:lnTo>
                  <a:lnTo>
                    <a:pt x="833" y="211"/>
                  </a:lnTo>
                  <a:lnTo>
                    <a:pt x="829" y="211"/>
                  </a:lnTo>
                  <a:lnTo>
                    <a:pt x="825" y="211"/>
                  </a:lnTo>
                  <a:lnTo>
                    <a:pt x="825" y="207"/>
                  </a:lnTo>
                  <a:lnTo>
                    <a:pt x="829" y="207"/>
                  </a:lnTo>
                  <a:lnTo>
                    <a:pt x="825" y="203"/>
                  </a:lnTo>
                  <a:lnTo>
                    <a:pt x="821" y="203"/>
                  </a:lnTo>
                  <a:lnTo>
                    <a:pt x="825" y="203"/>
                  </a:lnTo>
                  <a:lnTo>
                    <a:pt x="825" y="207"/>
                  </a:lnTo>
                  <a:lnTo>
                    <a:pt x="821" y="207"/>
                  </a:lnTo>
                  <a:lnTo>
                    <a:pt x="821" y="211"/>
                  </a:lnTo>
                  <a:lnTo>
                    <a:pt x="817" y="211"/>
                  </a:lnTo>
                  <a:lnTo>
                    <a:pt x="813" y="207"/>
                  </a:lnTo>
                  <a:lnTo>
                    <a:pt x="809" y="207"/>
                  </a:lnTo>
                  <a:lnTo>
                    <a:pt x="809" y="203"/>
                  </a:lnTo>
                  <a:lnTo>
                    <a:pt x="809" y="207"/>
                  </a:lnTo>
                  <a:lnTo>
                    <a:pt x="809" y="211"/>
                  </a:lnTo>
                  <a:lnTo>
                    <a:pt x="805" y="211"/>
                  </a:lnTo>
                  <a:lnTo>
                    <a:pt x="805" y="207"/>
                  </a:lnTo>
                  <a:lnTo>
                    <a:pt x="805" y="211"/>
                  </a:lnTo>
                  <a:lnTo>
                    <a:pt x="801" y="211"/>
                  </a:lnTo>
                  <a:lnTo>
                    <a:pt x="797" y="211"/>
                  </a:lnTo>
                  <a:lnTo>
                    <a:pt x="794" y="207"/>
                  </a:lnTo>
                  <a:lnTo>
                    <a:pt x="797" y="207"/>
                  </a:lnTo>
                  <a:lnTo>
                    <a:pt x="794" y="203"/>
                  </a:lnTo>
                  <a:lnTo>
                    <a:pt x="794" y="199"/>
                  </a:lnTo>
                  <a:lnTo>
                    <a:pt x="794" y="195"/>
                  </a:lnTo>
                  <a:lnTo>
                    <a:pt x="790" y="199"/>
                  </a:lnTo>
                  <a:lnTo>
                    <a:pt x="794" y="199"/>
                  </a:lnTo>
                  <a:lnTo>
                    <a:pt x="794" y="203"/>
                  </a:lnTo>
                  <a:lnTo>
                    <a:pt x="794" y="207"/>
                  </a:lnTo>
                  <a:lnTo>
                    <a:pt x="790" y="207"/>
                  </a:lnTo>
                  <a:lnTo>
                    <a:pt x="794" y="207"/>
                  </a:lnTo>
                  <a:lnTo>
                    <a:pt x="794" y="203"/>
                  </a:lnTo>
                  <a:lnTo>
                    <a:pt x="790" y="203"/>
                  </a:lnTo>
                  <a:lnTo>
                    <a:pt x="790" y="207"/>
                  </a:lnTo>
                  <a:lnTo>
                    <a:pt x="786" y="207"/>
                  </a:lnTo>
                  <a:lnTo>
                    <a:pt x="782" y="207"/>
                  </a:lnTo>
                  <a:lnTo>
                    <a:pt x="778" y="203"/>
                  </a:lnTo>
                  <a:lnTo>
                    <a:pt x="782" y="199"/>
                  </a:lnTo>
                  <a:lnTo>
                    <a:pt x="778" y="199"/>
                  </a:lnTo>
                  <a:lnTo>
                    <a:pt x="778" y="195"/>
                  </a:lnTo>
                  <a:lnTo>
                    <a:pt x="782" y="195"/>
                  </a:lnTo>
                  <a:lnTo>
                    <a:pt x="786" y="195"/>
                  </a:lnTo>
                  <a:lnTo>
                    <a:pt x="786" y="191"/>
                  </a:lnTo>
                  <a:lnTo>
                    <a:pt x="790" y="191"/>
                  </a:lnTo>
                  <a:lnTo>
                    <a:pt x="794" y="187"/>
                  </a:lnTo>
                  <a:lnTo>
                    <a:pt x="797" y="187"/>
                  </a:lnTo>
                  <a:lnTo>
                    <a:pt x="801" y="187"/>
                  </a:lnTo>
                  <a:lnTo>
                    <a:pt x="805" y="187"/>
                  </a:lnTo>
                  <a:lnTo>
                    <a:pt x="809" y="187"/>
                  </a:lnTo>
                  <a:lnTo>
                    <a:pt x="813" y="187"/>
                  </a:lnTo>
                  <a:lnTo>
                    <a:pt x="809" y="187"/>
                  </a:lnTo>
                  <a:lnTo>
                    <a:pt x="813" y="187"/>
                  </a:lnTo>
                  <a:lnTo>
                    <a:pt x="817" y="187"/>
                  </a:lnTo>
                  <a:lnTo>
                    <a:pt x="821" y="187"/>
                  </a:lnTo>
                  <a:lnTo>
                    <a:pt x="817" y="183"/>
                  </a:lnTo>
                  <a:lnTo>
                    <a:pt x="813" y="183"/>
                  </a:lnTo>
                  <a:lnTo>
                    <a:pt x="817" y="183"/>
                  </a:lnTo>
                  <a:lnTo>
                    <a:pt x="813" y="183"/>
                  </a:lnTo>
                  <a:lnTo>
                    <a:pt x="813" y="179"/>
                  </a:lnTo>
                  <a:lnTo>
                    <a:pt x="817" y="179"/>
                  </a:lnTo>
                  <a:lnTo>
                    <a:pt x="813" y="179"/>
                  </a:lnTo>
                  <a:lnTo>
                    <a:pt x="809" y="179"/>
                  </a:lnTo>
                  <a:lnTo>
                    <a:pt x="805" y="179"/>
                  </a:lnTo>
                  <a:lnTo>
                    <a:pt x="805" y="175"/>
                  </a:lnTo>
                  <a:lnTo>
                    <a:pt x="801" y="171"/>
                  </a:lnTo>
                  <a:lnTo>
                    <a:pt x="797" y="171"/>
                  </a:lnTo>
                  <a:lnTo>
                    <a:pt x="797" y="168"/>
                  </a:lnTo>
                  <a:lnTo>
                    <a:pt x="801" y="168"/>
                  </a:lnTo>
                  <a:lnTo>
                    <a:pt x="805" y="168"/>
                  </a:lnTo>
                  <a:lnTo>
                    <a:pt x="805" y="164"/>
                  </a:lnTo>
                  <a:lnTo>
                    <a:pt x="813" y="164"/>
                  </a:lnTo>
                  <a:lnTo>
                    <a:pt x="817" y="164"/>
                  </a:lnTo>
                  <a:lnTo>
                    <a:pt x="821" y="164"/>
                  </a:lnTo>
                  <a:lnTo>
                    <a:pt x="825" y="168"/>
                  </a:lnTo>
                  <a:lnTo>
                    <a:pt x="829" y="168"/>
                  </a:lnTo>
                  <a:lnTo>
                    <a:pt x="833" y="171"/>
                  </a:lnTo>
                  <a:lnTo>
                    <a:pt x="837" y="175"/>
                  </a:lnTo>
                  <a:lnTo>
                    <a:pt x="837" y="179"/>
                  </a:lnTo>
                  <a:lnTo>
                    <a:pt x="833" y="179"/>
                  </a:lnTo>
                  <a:lnTo>
                    <a:pt x="837" y="179"/>
                  </a:lnTo>
                  <a:lnTo>
                    <a:pt x="837" y="175"/>
                  </a:lnTo>
                  <a:lnTo>
                    <a:pt x="841" y="179"/>
                  </a:lnTo>
                  <a:lnTo>
                    <a:pt x="845" y="179"/>
                  </a:lnTo>
                  <a:lnTo>
                    <a:pt x="849" y="179"/>
                  </a:lnTo>
                  <a:lnTo>
                    <a:pt x="849" y="183"/>
                  </a:lnTo>
                  <a:lnTo>
                    <a:pt x="853" y="183"/>
                  </a:lnTo>
                  <a:lnTo>
                    <a:pt x="853" y="179"/>
                  </a:lnTo>
                  <a:lnTo>
                    <a:pt x="857" y="179"/>
                  </a:lnTo>
                  <a:lnTo>
                    <a:pt x="861" y="179"/>
                  </a:lnTo>
                  <a:lnTo>
                    <a:pt x="865" y="179"/>
                  </a:lnTo>
                  <a:lnTo>
                    <a:pt x="869" y="179"/>
                  </a:lnTo>
                  <a:lnTo>
                    <a:pt x="865" y="179"/>
                  </a:lnTo>
                  <a:lnTo>
                    <a:pt x="865" y="175"/>
                  </a:lnTo>
                  <a:lnTo>
                    <a:pt x="869" y="175"/>
                  </a:lnTo>
                  <a:lnTo>
                    <a:pt x="873" y="175"/>
                  </a:lnTo>
                  <a:lnTo>
                    <a:pt x="877" y="171"/>
                  </a:lnTo>
                  <a:lnTo>
                    <a:pt x="881" y="168"/>
                  </a:lnTo>
                  <a:lnTo>
                    <a:pt x="885" y="164"/>
                  </a:lnTo>
                  <a:lnTo>
                    <a:pt x="885" y="160"/>
                  </a:lnTo>
                  <a:lnTo>
                    <a:pt x="889" y="160"/>
                  </a:lnTo>
                  <a:lnTo>
                    <a:pt x="885" y="160"/>
                  </a:lnTo>
                  <a:lnTo>
                    <a:pt x="881" y="160"/>
                  </a:lnTo>
                  <a:lnTo>
                    <a:pt x="881" y="164"/>
                  </a:lnTo>
                  <a:lnTo>
                    <a:pt x="877" y="164"/>
                  </a:lnTo>
                  <a:lnTo>
                    <a:pt x="877" y="168"/>
                  </a:lnTo>
                  <a:lnTo>
                    <a:pt x="873" y="168"/>
                  </a:lnTo>
                  <a:lnTo>
                    <a:pt x="873" y="171"/>
                  </a:lnTo>
                  <a:lnTo>
                    <a:pt x="869" y="171"/>
                  </a:lnTo>
                  <a:lnTo>
                    <a:pt x="869" y="175"/>
                  </a:lnTo>
                  <a:lnTo>
                    <a:pt x="865" y="175"/>
                  </a:lnTo>
                  <a:lnTo>
                    <a:pt x="861" y="175"/>
                  </a:lnTo>
                  <a:lnTo>
                    <a:pt x="857" y="175"/>
                  </a:lnTo>
                  <a:lnTo>
                    <a:pt x="853" y="175"/>
                  </a:lnTo>
                  <a:lnTo>
                    <a:pt x="849" y="175"/>
                  </a:lnTo>
                  <a:lnTo>
                    <a:pt x="849" y="171"/>
                  </a:lnTo>
                  <a:lnTo>
                    <a:pt x="853" y="171"/>
                  </a:lnTo>
                  <a:lnTo>
                    <a:pt x="857" y="171"/>
                  </a:lnTo>
                  <a:lnTo>
                    <a:pt x="853" y="168"/>
                  </a:lnTo>
                  <a:lnTo>
                    <a:pt x="853" y="171"/>
                  </a:lnTo>
                  <a:lnTo>
                    <a:pt x="849" y="171"/>
                  </a:lnTo>
                  <a:lnTo>
                    <a:pt x="845" y="171"/>
                  </a:lnTo>
                  <a:lnTo>
                    <a:pt x="841" y="171"/>
                  </a:lnTo>
                  <a:lnTo>
                    <a:pt x="841" y="168"/>
                  </a:lnTo>
                  <a:lnTo>
                    <a:pt x="845" y="168"/>
                  </a:lnTo>
                  <a:lnTo>
                    <a:pt x="841" y="168"/>
                  </a:lnTo>
                  <a:lnTo>
                    <a:pt x="841" y="164"/>
                  </a:lnTo>
                  <a:lnTo>
                    <a:pt x="845" y="164"/>
                  </a:lnTo>
                  <a:lnTo>
                    <a:pt x="849" y="164"/>
                  </a:lnTo>
                  <a:lnTo>
                    <a:pt x="853" y="164"/>
                  </a:lnTo>
                  <a:lnTo>
                    <a:pt x="857" y="164"/>
                  </a:lnTo>
                  <a:lnTo>
                    <a:pt x="853" y="164"/>
                  </a:lnTo>
                  <a:lnTo>
                    <a:pt x="849" y="164"/>
                  </a:lnTo>
                  <a:lnTo>
                    <a:pt x="845" y="164"/>
                  </a:lnTo>
                  <a:lnTo>
                    <a:pt x="841" y="164"/>
                  </a:lnTo>
                  <a:lnTo>
                    <a:pt x="837" y="164"/>
                  </a:lnTo>
                  <a:lnTo>
                    <a:pt x="841" y="160"/>
                  </a:lnTo>
                  <a:lnTo>
                    <a:pt x="845" y="160"/>
                  </a:lnTo>
                  <a:lnTo>
                    <a:pt x="849" y="160"/>
                  </a:lnTo>
                  <a:lnTo>
                    <a:pt x="853" y="160"/>
                  </a:lnTo>
                  <a:lnTo>
                    <a:pt x="857" y="160"/>
                  </a:lnTo>
                  <a:lnTo>
                    <a:pt x="853" y="160"/>
                  </a:lnTo>
                  <a:lnTo>
                    <a:pt x="849" y="160"/>
                  </a:lnTo>
                  <a:lnTo>
                    <a:pt x="845" y="160"/>
                  </a:lnTo>
                  <a:lnTo>
                    <a:pt x="845" y="156"/>
                  </a:lnTo>
                  <a:lnTo>
                    <a:pt x="849" y="156"/>
                  </a:lnTo>
                  <a:lnTo>
                    <a:pt x="853" y="156"/>
                  </a:lnTo>
                  <a:lnTo>
                    <a:pt x="857" y="156"/>
                  </a:lnTo>
                  <a:lnTo>
                    <a:pt x="861" y="156"/>
                  </a:lnTo>
                  <a:lnTo>
                    <a:pt x="857" y="156"/>
                  </a:lnTo>
                  <a:lnTo>
                    <a:pt x="853" y="156"/>
                  </a:lnTo>
                  <a:lnTo>
                    <a:pt x="849" y="156"/>
                  </a:lnTo>
                  <a:lnTo>
                    <a:pt x="849" y="152"/>
                  </a:lnTo>
                  <a:lnTo>
                    <a:pt x="853" y="152"/>
                  </a:lnTo>
                  <a:lnTo>
                    <a:pt x="849" y="152"/>
                  </a:lnTo>
                  <a:lnTo>
                    <a:pt x="849" y="148"/>
                  </a:lnTo>
                  <a:lnTo>
                    <a:pt x="849" y="144"/>
                  </a:lnTo>
                  <a:lnTo>
                    <a:pt x="853" y="144"/>
                  </a:lnTo>
                  <a:lnTo>
                    <a:pt x="849" y="148"/>
                  </a:lnTo>
                  <a:lnTo>
                    <a:pt x="849" y="152"/>
                  </a:lnTo>
                  <a:lnTo>
                    <a:pt x="845" y="152"/>
                  </a:lnTo>
                  <a:lnTo>
                    <a:pt x="845" y="156"/>
                  </a:lnTo>
                  <a:lnTo>
                    <a:pt x="841" y="160"/>
                  </a:lnTo>
                  <a:lnTo>
                    <a:pt x="837" y="160"/>
                  </a:lnTo>
                  <a:lnTo>
                    <a:pt x="833" y="160"/>
                  </a:lnTo>
                  <a:lnTo>
                    <a:pt x="829" y="160"/>
                  </a:lnTo>
                  <a:lnTo>
                    <a:pt x="829" y="156"/>
                  </a:lnTo>
                  <a:lnTo>
                    <a:pt x="833" y="156"/>
                  </a:lnTo>
                  <a:lnTo>
                    <a:pt x="833" y="152"/>
                  </a:lnTo>
                  <a:lnTo>
                    <a:pt x="829" y="152"/>
                  </a:lnTo>
                  <a:lnTo>
                    <a:pt x="829" y="156"/>
                  </a:lnTo>
                  <a:lnTo>
                    <a:pt x="825" y="156"/>
                  </a:lnTo>
                  <a:lnTo>
                    <a:pt x="821" y="156"/>
                  </a:lnTo>
                  <a:lnTo>
                    <a:pt x="821" y="160"/>
                  </a:lnTo>
                  <a:lnTo>
                    <a:pt x="817" y="160"/>
                  </a:lnTo>
                  <a:lnTo>
                    <a:pt x="813" y="160"/>
                  </a:lnTo>
                  <a:lnTo>
                    <a:pt x="809" y="160"/>
                  </a:lnTo>
                  <a:lnTo>
                    <a:pt x="809" y="156"/>
                  </a:lnTo>
                  <a:lnTo>
                    <a:pt x="813" y="156"/>
                  </a:lnTo>
                  <a:lnTo>
                    <a:pt x="809" y="156"/>
                  </a:lnTo>
                  <a:lnTo>
                    <a:pt x="809" y="152"/>
                  </a:lnTo>
                  <a:lnTo>
                    <a:pt x="809" y="148"/>
                  </a:lnTo>
                  <a:lnTo>
                    <a:pt x="813" y="148"/>
                  </a:lnTo>
                  <a:lnTo>
                    <a:pt x="813" y="144"/>
                  </a:lnTo>
                  <a:lnTo>
                    <a:pt x="817" y="144"/>
                  </a:lnTo>
                  <a:lnTo>
                    <a:pt x="813" y="144"/>
                  </a:lnTo>
                  <a:lnTo>
                    <a:pt x="817" y="140"/>
                  </a:lnTo>
                  <a:lnTo>
                    <a:pt x="821" y="136"/>
                  </a:lnTo>
                  <a:lnTo>
                    <a:pt x="825" y="136"/>
                  </a:lnTo>
                  <a:lnTo>
                    <a:pt x="829" y="136"/>
                  </a:lnTo>
                  <a:lnTo>
                    <a:pt x="833" y="136"/>
                  </a:lnTo>
                  <a:lnTo>
                    <a:pt x="837" y="136"/>
                  </a:lnTo>
                  <a:lnTo>
                    <a:pt x="841" y="136"/>
                  </a:lnTo>
                  <a:lnTo>
                    <a:pt x="841" y="132"/>
                  </a:lnTo>
                  <a:lnTo>
                    <a:pt x="845" y="132"/>
                  </a:lnTo>
                  <a:lnTo>
                    <a:pt x="849" y="136"/>
                  </a:lnTo>
                  <a:lnTo>
                    <a:pt x="853" y="136"/>
                  </a:lnTo>
                  <a:lnTo>
                    <a:pt x="857" y="136"/>
                  </a:lnTo>
                  <a:lnTo>
                    <a:pt x="861" y="136"/>
                  </a:lnTo>
                  <a:lnTo>
                    <a:pt x="865" y="136"/>
                  </a:lnTo>
                  <a:lnTo>
                    <a:pt x="869" y="136"/>
                  </a:lnTo>
                  <a:lnTo>
                    <a:pt x="873" y="136"/>
                  </a:lnTo>
                  <a:lnTo>
                    <a:pt x="873" y="140"/>
                  </a:lnTo>
                  <a:lnTo>
                    <a:pt x="877" y="140"/>
                  </a:lnTo>
                  <a:lnTo>
                    <a:pt x="881" y="140"/>
                  </a:lnTo>
                  <a:lnTo>
                    <a:pt x="885" y="144"/>
                  </a:lnTo>
                  <a:lnTo>
                    <a:pt x="889" y="144"/>
                  </a:lnTo>
                  <a:lnTo>
                    <a:pt x="885" y="144"/>
                  </a:lnTo>
                  <a:lnTo>
                    <a:pt x="885" y="140"/>
                  </a:lnTo>
                  <a:lnTo>
                    <a:pt x="889" y="140"/>
                  </a:lnTo>
                  <a:lnTo>
                    <a:pt x="885" y="140"/>
                  </a:lnTo>
                  <a:lnTo>
                    <a:pt x="881" y="140"/>
                  </a:lnTo>
                  <a:lnTo>
                    <a:pt x="877" y="140"/>
                  </a:lnTo>
                  <a:lnTo>
                    <a:pt x="877" y="136"/>
                  </a:lnTo>
                  <a:lnTo>
                    <a:pt x="873" y="136"/>
                  </a:lnTo>
                  <a:lnTo>
                    <a:pt x="877" y="136"/>
                  </a:lnTo>
                  <a:lnTo>
                    <a:pt x="881" y="136"/>
                  </a:lnTo>
                  <a:lnTo>
                    <a:pt x="885" y="136"/>
                  </a:lnTo>
                  <a:lnTo>
                    <a:pt x="889" y="136"/>
                  </a:lnTo>
                  <a:lnTo>
                    <a:pt x="893" y="136"/>
                  </a:lnTo>
                  <a:lnTo>
                    <a:pt x="897" y="136"/>
                  </a:lnTo>
                  <a:lnTo>
                    <a:pt x="893" y="136"/>
                  </a:lnTo>
                  <a:lnTo>
                    <a:pt x="897" y="136"/>
                  </a:lnTo>
                  <a:lnTo>
                    <a:pt x="897" y="132"/>
                  </a:lnTo>
                  <a:lnTo>
                    <a:pt x="901" y="132"/>
                  </a:lnTo>
                  <a:lnTo>
                    <a:pt x="901" y="128"/>
                  </a:lnTo>
                  <a:lnTo>
                    <a:pt x="897" y="128"/>
                  </a:lnTo>
                  <a:lnTo>
                    <a:pt x="893" y="132"/>
                  </a:lnTo>
                  <a:lnTo>
                    <a:pt x="889" y="132"/>
                  </a:lnTo>
                  <a:lnTo>
                    <a:pt x="889" y="136"/>
                  </a:lnTo>
                  <a:lnTo>
                    <a:pt x="885" y="136"/>
                  </a:lnTo>
                  <a:lnTo>
                    <a:pt x="881" y="136"/>
                  </a:lnTo>
                  <a:lnTo>
                    <a:pt x="881" y="132"/>
                  </a:lnTo>
                  <a:lnTo>
                    <a:pt x="877" y="132"/>
                  </a:lnTo>
                  <a:lnTo>
                    <a:pt x="873" y="132"/>
                  </a:lnTo>
                  <a:lnTo>
                    <a:pt x="869" y="132"/>
                  </a:lnTo>
                  <a:lnTo>
                    <a:pt x="865" y="132"/>
                  </a:lnTo>
                  <a:lnTo>
                    <a:pt x="861" y="132"/>
                  </a:lnTo>
                  <a:lnTo>
                    <a:pt x="857" y="132"/>
                  </a:lnTo>
                  <a:lnTo>
                    <a:pt x="853" y="132"/>
                  </a:lnTo>
                  <a:lnTo>
                    <a:pt x="849" y="132"/>
                  </a:lnTo>
                  <a:lnTo>
                    <a:pt x="849" y="128"/>
                  </a:lnTo>
                  <a:lnTo>
                    <a:pt x="853" y="128"/>
                  </a:lnTo>
                  <a:lnTo>
                    <a:pt x="861" y="128"/>
                  </a:lnTo>
                  <a:lnTo>
                    <a:pt x="865" y="128"/>
                  </a:lnTo>
                  <a:lnTo>
                    <a:pt x="865" y="132"/>
                  </a:lnTo>
                  <a:lnTo>
                    <a:pt x="869" y="132"/>
                  </a:lnTo>
                  <a:lnTo>
                    <a:pt x="873" y="128"/>
                  </a:lnTo>
                  <a:lnTo>
                    <a:pt x="869" y="128"/>
                  </a:lnTo>
                  <a:lnTo>
                    <a:pt x="865" y="128"/>
                  </a:lnTo>
                  <a:lnTo>
                    <a:pt x="861" y="128"/>
                  </a:lnTo>
                  <a:lnTo>
                    <a:pt x="861" y="124"/>
                  </a:lnTo>
                  <a:lnTo>
                    <a:pt x="857" y="124"/>
                  </a:lnTo>
                  <a:lnTo>
                    <a:pt x="857" y="120"/>
                  </a:lnTo>
                  <a:lnTo>
                    <a:pt x="853" y="120"/>
                  </a:lnTo>
                  <a:lnTo>
                    <a:pt x="853" y="116"/>
                  </a:lnTo>
                  <a:lnTo>
                    <a:pt x="849" y="116"/>
                  </a:lnTo>
                  <a:lnTo>
                    <a:pt x="845" y="112"/>
                  </a:lnTo>
                  <a:lnTo>
                    <a:pt x="841" y="112"/>
                  </a:lnTo>
                  <a:lnTo>
                    <a:pt x="841" y="108"/>
                  </a:lnTo>
                  <a:lnTo>
                    <a:pt x="837" y="108"/>
                  </a:lnTo>
                  <a:lnTo>
                    <a:pt x="833" y="108"/>
                  </a:lnTo>
                  <a:lnTo>
                    <a:pt x="829" y="108"/>
                  </a:lnTo>
                  <a:lnTo>
                    <a:pt x="825" y="108"/>
                  </a:lnTo>
                  <a:lnTo>
                    <a:pt x="825" y="104"/>
                  </a:lnTo>
                  <a:lnTo>
                    <a:pt x="825" y="100"/>
                  </a:lnTo>
                  <a:lnTo>
                    <a:pt x="829" y="100"/>
                  </a:lnTo>
                  <a:lnTo>
                    <a:pt x="833" y="100"/>
                  </a:lnTo>
                  <a:lnTo>
                    <a:pt x="833" y="104"/>
                  </a:lnTo>
                  <a:lnTo>
                    <a:pt x="837" y="104"/>
                  </a:lnTo>
                  <a:lnTo>
                    <a:pt x="841" y="104"/>
                  </a:lnTo>
                  <a:lnTo>
                    <a:pt x="837" y="100"/>
                  </a:lnTo>
                  <a:lnTo>
                    <a:pt x="829" y="100"/>
                  </a:lnTo>
                  <a:lnTo>
                    <a:pt x="825" y="100"/>
                  </a:lnTo>
                  <a:lnTo>
                    <a:pt x="821" y="100"/>
                  </a:lnTo>
                  <a:lnTo>
                    <a:pt x="821" y="96"/>
                  </a:lnTo>
                  <a:lnTo>
                    <a:pt x="825" y="92"/>
                  </a:lnTo>
                  <a:lnTo>
                    <a:pt x="829" y="88"/>
                  </a:lnTo>
                  <a:lnTo>
                    <a:pt x="833" y="88"/>
                  </a:lnTo>
                  <a:lnTo>
                    <a:pt x="837" y="92"/>
                  </a:lnTo>
                  <a:lnTo>
                    <a:pt x="841" y="92"/>
                  </a:lnTo>
                  <a:lnTo>
                    <a:pt x="845" y="92"/>
                  </a:lnTo>
                  <a:lnTo>
                    <a:pt x="849" y="92"/>
                  </a:lnTo>
                  <a:lnTo>
                    <a:pt x="853" y="92"/>
                  </a:lnTo>
                  <a:lnTo>
                    <a:pt x="857" y="92"/>
                  </a:lnTo>
                  <a:lnTo>
                    <a:pt x="861" y="92"/>
                  </a:lnTo>
                  <a:lnTo>
                    <a:pt x="865" y="92"/>
                  </a:lnTo>
                  <a:lnTo>
                    <a:pt x="869" y="92"/>
                  </a:lnTo>
                  <a:lnTo>
                    <a:pt x="869" y="96"/>
                  </a:lnTo>
                  <a:lnTo>
                    <a:pt x="873" y="96"/>
                  </a:lnTo>
                  <a:lnTo>
                    <a:pt x="877" y="96"/>
                  </a:lnTo>
                  <a:lnTo>
                    <a:pt x="877" y="100"/>
                  </a:lnTo>
                  <a:lnTo>
                    <a:pt x="881" y="100"/>
                  </a:lnTo>
                  <a:lnTo>
                    <a:pt x="885" y="100"/>
                  </a:lnTo>
                  <a:lnTo>
                    <a:pt x="889" y="104"/>
                  </a:lnTo>
                  <a:lnTo>
                    <a:pt x="893" y="104"/>
                  </a:lnTo>
                  <a:lnTo>
                    <a:pt x="893" y="108"/>
                  </a:lnTo>
                  <a:lnTo>
                    <a:pt x="897" y="108"/>
                  </a:lnTo>
                  <a:lnTo>
                    <a:pt x="897" y="112"/>
                  </a:lnTo>
                  <a:lnTo>
                    <a:pt x="901" y="112"/>
                  </a:lnTo>
                  <a:lnTo>
                    <a:pt x="905" y="112"/>
                  </a:lnTo>
                  <a:lnTo>
                    <a:pt x="909" y="112"/>
                  </a:lnTo>
                  <a:lnTo>
                    <a:pt x="913" y="112"/>
                  </a:lnTo>
                  <a:lnTo>
                    <a:pt x="917" y="112"/>
                  </a:lnTo>
                  <a:lnTo>
                    <a:pt x="921" y="112"/>
                  </a:lnTo>
                  <a:lnTo>
                    <a:pt x="925" y="112"/>
                  </a:lnTo>
                  <a:lnTo>
                    <a:pt x="925" y="108"/>
                  </a:lnTo>
                  <a:lnTo>
                    <a:pt x="921" y="108"/>
                  </a:lnTo>
                  <a:lnTo>
                    <a:pt x="917" y="108"/>
                  </a:lnTo>
                  <a:lnTo>
                    <a:pt x="917" y="112"/>
                  </a:lnTo>
                  <a:lnTo>
                    <a:pt x="913" y="112"/>
                  </a:lnTo>
                  <a:lnTo>
                    <a:pt x="909" y="112"/>
                  </a:lnTo>
                  <a:lnTo>
                    <a:pt x="905" y="108"/>
                  </a:lnTo>
                  <a:lnTo>
                    <a:pt x="901" y="108"/>
                  </a:lnTo>
                  <a:lnTo>
                    <a:pt x="897" y="104"/>
                  </a:lnTo>
                  <a:lnTo>
                    <a:pt x="901" y="104"/>
                  </a:lnTo>
                  <a:lnTo>
                    <a:pt x="901" y="100"/>
                  </a:lnTo>
                  <a:lnTo>
                    <a:pt x="897" y="100"/>
                  </a:lnTo>
                  <a:lnTo>
                    <a:pt x="893" y="100"/>
                  </a:lnTo>
                  <a:lnTo>
                    <a:pt x="889" y="100"/>
                  </a:lnTo>
                  <a:lnTo>
                    <a:pt x="885" y="100"/>
                  </a:lnTo>
                  <a:lnTo>
                    <a:pt x="881" y="96"/>
                  </a:lnTo>
                  <a:lnTo>
                    <a:pt x="877" y="92"/>
                  </a:lnTo>
                  <a:lnTo>
                    <a:pt x="873" y="92"/>
                  </a:lnTo>
                  <a:lnTo>
                    <a:pt x="873" y="88"/>
                  </a:lnTo>
                  <a:lnTo>
                    <a:pt x="877" y="88"/>
                  </a:lnTo>
                  <a:lnTo>
                    <a:pt x="881" y="88"/>
                  </a:lnTo>
                  <a:lnTo>
                    <a:pt x="885" y="88"/>
                  </a:lnTo>
                  <a:lnTo>
                    <a:pt x="889" y="88"/>
                  </a:lnTo>
                  <a:lnTo>
                    <a:pt x="893" y="88"/>
                  </a:lnTo>
                  <a:lnTo>
                    <a:pt x="897" y="88"/>
                  </a:lnTo>
                  <a:lnTo>
                    <a:pt x="901" y="88"/>
                  </a:lnTo>
                  <a:lnTo>
                    <a:pt x="905" y="88"/>
                  </a:lnTo>
                  <a:lnTo>
                    <a:pt x="909" y="88"/>
                  </a:lnTo>
                  <a:lnTo>
                    <a:pt x="909" y="84"/>
                  </a:lnTo>
                  <a:lnTo>
                    <a:pt x="913" y="84"/>
                  </a:lnTo>
                  <a:lnTo>
                    <a:pt x="917" y="84"/>
                  </a:lnTo>
                  <a:lnTo>
                    <a:pt x="921" y="84"/>
                  </a:lnTo>
                  <a:lnTo>
                    <a:pt x="925" y="84"/>
                  </a:lnTo>
                  <a:lnTo>
                    <a:pt x="929" y="84"/>
                  </a:lnTo>
                  <a:lnTo>
                    <a:pt x="933" y="84"/>
                  </a:lnTo>
                  <a:lnTo>
                    <a:pt x="937" y="84"/>
                  </a:lnTo>
                  <a:lnTo>
                    <a:pt x="941" y="84"/>
                  </a:lnTo>
                  <a:lnTo>
                    <a:pt x="945" y="84"/>
                  </a:lnTo>
                  <a:lnTo>
                    <a:pt x="949" y="84"/>
                  </a:lnTo>
                  <a:lnTo>
                    <a:pt x="953" y="84"/>
                  </a:lnTo>
                  <a:lnTo>
                    <a:pt x="953" y="80"/>
                  </a:lnTo>
                  <a:lnTo>
                    <a:pt x="949" y="80"/>
                  </a:lnTo>
                  <a:lnTo>
                    <a:pt x="941" y="80"/>
                  </a:lnTo>
                  <a:lnTo>
                    <a:pt x="937" y="80"/>
                  </a:lnTo>
                  <a:lnTo>
                    <a:pt x="933" y="80"/>
                  </a:lnTo>
                  <a:lnTo>
                    <a:pt x="929" y="80"/>
                  </a:lnTo>
                  <a:lnTo>
                    <a:pt x="925" y="80"/>
                  </a:lnTo>
                  <a:lnTo>
                    <a:pt x="929" y="80"/>
                  </a:lnTo>
                  <a:lnTo>
                    <a:pt x="933" y="80"/>
                  </a:lnTo>
                  <a:lnTo>
                    <a:pt x="937" y="76"/>
                  </a:lnTo>
                  <a:lnTo>
                    <a:pt x="941" y="76"/>
                  </a:lnTo>
                  <a:lnTo>
                    <a:pt x="945" y="76"/>
                  </a:lnTo>
                  <a:lnTo>
                    <a:pt x="949" y="76"/>
                  </a:lnTo>
                  <a:lnTo>
                    <a:pt x="953" y="76"/>
                  </a:lnTo>
                  <a:lnTo>
                    <a:pt x="957" y="76"/>
                  </a:lnTo>
                  <a:lnTo>
                    <a:pt x="965" y="72"/>
                  </a:lnTo>
                  <a:lnTo>
                    <a:pt x="969" y="72"/>
                  </a:lnTo>
                  <a:lnTo>
                    <a:pt x="973" y="72"/>
                  </a:lnTo>
                  <a:lnTo>
                    <a:pt x="977" y="72"/>
                  </a:lnTo>
                  <a:lnTo>
                    <a:pt x="973" y="72"/>
                  </a:lnTo>
                  <a:lnTo>
                    <a:pt x="969" y="72"/>
                  </a:lnTo>
                  <a:lnTo>
                    <a:pt x="965" y="72"/>
                  </a:lnTo>
                  <a:lnTo>
                    <a:pt x="961" y="72"/>
                  </a:lnTo>
                  <a:lnTo>
                    <a:pt x="957" y="72"/>
                  </a:lnTo>
                  <a:lnTo>
                    <a:pt x="953" y="72"/>
                  </a:lnTo>
                  <a:lnTo>
                    <a:pt x="945" y="72"/>
                  </a:lnTo>
                  <a:lnTo>
                    <a:pt x="941" y="72"/>
                  </a:lnTo>
                  <a:lnTo>
                    <a:pt x="937" y="72"/>
                  </a:lnTo>
                  <a:lnTo>
                    <a:pt x="937" y="68"/>
                  </a:lnTo>
                  <a:lnTo>
                    <a:pt x="941" y="68"/>
                  </a:lnTo>
                  <a:lnTo>
                    <a:pt x="945" y="68"/>
                  </a:lnTo>
                  <a:lnTo>
                    <a:pt x="945" y="64"/>
                  </a:lnTo>
                  <a:lnTo>
                    <a:pt x="949" y="64"/>
                  </a:lnTo>
                  <a:lnTo>
                    <a:pt x="953" y="60"/>
                  </a:lnTo>
                  <a:lnTo>
                    <a:pt x="957" y="60"/>
                  </a:lnTo>
                  <a:lnTo>
                    <a:pt x="961" y="60"/>
                  </a:lnTo>
                  <a:lnTo>
                    <a:pt x="965" y="56"/>
                  </a:lnTo>
                  <a:lnTo>
                    <a:pt x="969" y="56"/>
                  </a:lnTo>
                  <a:lnTo>
                    <a:pt x="973" y="56"/>
                  </a:lnTo>
                  <a:lnTo>
                    <a:pt x="969" y="56"/>
                  </a:lnTo>
                  <a:lnTo>
                    <a:pt x="965" y="56"/>
                  </a:lnTo>
                  <a:lnTo>
                    <a:pt x="961" y="56"/>
                  </a:lnTo>
                  <a:lnTo>
                    <a:pt x="957" y="56"/>
                  </a:lnTo>
                  <a:lnTo>
                    <a:pt x="953" y="60"/>
                  </a:lnTo>
                  <a:lnTo>
                    <a:pt x="949" y="60"/>
                  </a:lnTo>
                  <a:lnTo>
                    <a:pt x="945" y="60"/>
                  </a:lnTo>
                  <a:lnTo>
                    <a:pt x="945" y="64"/>
                  </a:lnTo>
                  <a:lnTo>
                    <a:pt x="941" y="64"/>
                  </a:lnTo>
                  <a:lnTo>
                    <a:pt x="937" y="64"/>
                  </a:lnTo>
                  <a:lnTo>
                    <a:pt x="933" y="64"/>
                  </a:lnTo>
                  <a:lnTo>
                    <a:pt x="929" y="64"/>
                  </a:lnTo>
                  <a:lnTo>
                    <a:pt x="933" y="64"/>
                  </a:lnTo>
                  <a:lnTo>
                    <a:pt x="937" y="64"/>
                  </a:lnTo>
                  <a:lnTo>
                    <a:pt x="937" y="68"/>
                  </a:lnTo>
                  <a:lnTo>
                    <a:pt x="933" y="68"/>
                  </a:lnTo>
                  <a:lnTo>
                    <a:pt x="937" y="68"/>
                  </a:lnTo>
                  <a:lnTo>
                    <a:pt x="933" y="72"/>
                  </a:lnTo>
                  <a:lnTo>
                    <a:pt x="929" y="76"/>
                  </a:lnTo>
                  <a:lnTo>
                    <a:pt x="925" y="76"/>
                  </a:lnTo>
                  <a:lnTo>
                    <a:pt x="921" y="76"/>
                  </a:lnTo>
                  <a:lnTo>
                    <a:pt x="917" y="76"/>
                  </a:lnTo>
                  <a:lnTo>
                    <a:pt x="913" y="76"/>
                  </a:lnTo>
                  <a:lnTo>
                    <a:pt x="913" y="80"/>
                  </a:lnTo>
                  <a:lnTo>
                    <a:pt x="909" y="80"/>
                  </a:lnTo>
                  <a:lnTo>
                    <a:pt x="901" y="80"/>
                  </a:lnTo>
                  <a:lnTo>
                    <a:pt x="897" y="80"/>
                  </a:lnTo>
                  <a:lnTo>
                    <a:pt x="893" y="80"/>
                  </a:lnTo>
                  <a:lnTo>
                    <a:pt x="885" y="84"/>
                  </a:lnTo>
                  <a:lnTo>
                    <a:pt x="881" y="84"/>
                  </a:lnTo>
                  <a:lnTo>
                    <a:pt x="877" y="8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2" name="Freeform 59"/>
            <p:cNvSpPr>
              <a:spLocks/>
            </p:cNvSpPr>
            <p:nvPr>
              <p:custDataLst>
                <p:tags r:id="rId255"/>
              </p:custDataLst>
            </p:nvPr>
          </p:nvSpPr>
          <p:spPr bwMode="gray">
            <a:xfrm>
              <a:off x="2446595" y="4290443"/>
              <a:ext cx="77119" cy="88984"/>
            </a:xfrm>
            <a:custGeom>
              <a:avLst/>
              <a:gdLst/>
              <a:ahLst/>
              <a:cxnLst>
                <a:cxn ang="0">
                  <a:pos x="8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20" y="4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32" y="8"/>
                </a:cxn>
                <a:cxn ang="0">
                  <a:pos x="32" y="8"/>
                </a:cxn>
                <a:cxn ang="0">
                  <a:pos x="36" y="4"/>
                </a:cxn>
                <a:cxn ang="0">
                  <a:pos x="36" y="8"/>
                </a:cxn>
                <a:cxn ang="0">
                  <a:pos x="36" y="8"/>
                </a:cxn>
                <a:cxn ang="0">
                  <a:pos x="40" y="16"/>
                </a:cxn>
                <a:cxn ang="0">
                  <a:pos x="44" y="24"/>
                </a:cxn>
                <a:cxn ang="0">
                  <a:pos x="48" y="28"/>
                </a:cxn>
                <a:cxn ang="0">
                  <a:pos x="52" y="32"/>
                </a:cxn>
                <a:cxn ang="0">
                  <a:pos x="48" y="32"/>
                </a:cxn>
                <a:cxn ang="0">
                  <a:pos x="48" y="28"/>
                </a:cxn>
                <a:cxn ang="0">
                  <a:pos x="44" y="40"/>
                </a:cxn>
                <a:cxn ang="0">
                  <a:pos x="48" y="44"/>
                </a:cxn>
                <a:cxn ang="0">
                  <a:pos x="44" y="44"/>
                </a:cxn>
                <a:cxn ang="0">
                  <a:pos x="44" y="48"/>
                </a:cxn>
                <a:cxn ang="0">
                  <a:pos x="44" y="52"/>
                </a:cxn>
                <a:cxn ang="0">
                  <a:pos x="44" y="52"/>
                </a:cxn>
                <a:cxn ang="0">
                  <a:pos x="44" y="56"/>
                </a:cxn>
                <a:cxn ang="0">
                  <a:pos x="44" y="60"/>
                </a:cxn>
                <a:cxn ang="0">
                  <a:pos x="44" y="56"/>
                </a:cxn>
                <a:cxn ang="0">
                  <a:pos x="40" y="52"/>
                </a:cxn>
                <a:cxn ang="0">
                  <a:pos x="40" y="48"/>
                </a:cxn>
                <a:cxn ang="0">
                  <a:pos x="40" y="44"/>
                </a:cxn>
                <a:cxn ang="0">
                  <a:pos x="36" y="48"/>
                </a:cxn>
                <a:cxn ang="0">
                  <a:pos x="40" y="48"/>
                </a:cxn>
                <a:cxn ang="0">
                  <a:pos x="40" y="52"/>
                </a:cxn>
                <a:cxn ang="0">
                  <a:pos x="40" y="52"/>
                </a:cxn>
                <a:cxn ang="0">
                  <a:pos x="36" y="52"/>
                </a:cxn>
                <a:cxn ang="0">
                  <a:pos x="32" y="48"/>
                </a:cxn>
                <a:cxn ang="0">
                  <a:pos x="36" y="40"/>
                </a:cxn>
                <a:cxn ang="0">
                  <a:pos x="32" y="36"/>
                </a:cxn>
                <a:cxn ang="0">
                  <a:pos x="28" y="32"/>
                </a:cxn>
                <a:cxn ang="0">
                  <a:pos x="24" y="32"/>
                </a:cxn>
                <a:cxn ang="0">
                  <a:pos x="20" y="28"/>
                </a:cxn>
                <a:cxn ang="0">
                  <a:pos x="20" y="28"/>
                </a:cxn>
                <a:cxn ang="0">
                  <a:pos x="16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6" y="24"/>
                </a:cxn>
              </a:cxnLst>
              <a:rect l="0" t="0" r="r" b="b"/>
              <a:pathLst>
                <a:path w="52" h="60">
                  <a:moveTo>
                    <a:pt x="12" y="28"/>
                  </a:move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3" name="Freeform 60"/>
            <p:cNvSpPr>
              <a:spLocks noEditPoints="1"/>
            </p:cNvSpPr>
            <p:nvPr>
              <p:custDataLst>
                <p:tags r:id="rId256"/>
              </p:custDataLst>
            </p:nvPr>
          </p:nvSpPr>
          <p:spPr bwMode="gray">
            <a:xfrm>
              <a:off x="2470324" y="3959720"/>
              <a:ext cx="243222" cy="93433"/>
            </a:xfrm>
            <a:custGeom>
              <a:avLst/>
              <a:gdLst/>
              <a:ahLst/>
              <a:cxnLst>
                <a:cxn ang="0">
                  <a:pos x="88" y="28"/>
                </a:cxn>
                <a:cxn ang="0">
                  <a:pos x="80" y="28"/>
                </a:cxn>
                <a:cxn ang="0">
                  <a:pos x="72" y="24"/>
                </a:cxn>
                <a:cxn ang="0">
                  <a:pos x="64" y="20"/>
                </a:cxn>
                <a:cxn ang="0">
                  <a:pos x="52" y="20"/>
                </a:cxn>
                <a:cxn ang="0">
                  <a:pos x="44" y="20"/>
                </a:cxn>
                <a:cxn ang="0">
                  <a:pos x="40" y="12"/>
                </a:cxn>
                <a:cxn ang="0">
                  <a:pos x="48" y="8"/>
                </a:cxn>
                <a:cxn ang="0">
                  <a:pos x="36" y="8"/>
                </a:cxn>
                <a:cxn ang="0">
                  <a:pos x="28" y="12"/>
                </a:cxn>
                <a:cxn ang="0">
                  <a:pos x="24" y="20"/>
                </a:cxn>
                <a:cxn ang="0">
                  <a:pos x="16" y="20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12" y="8"/>
                </a:cxn>
                <a:cxn ang="0">
                  <a:pos x="24" y="4"/>
                </a:cxn>
                <a:cxn ang="0">
                  <a:pos x="36" y="0"/>
                </a:cxn>
                <a:cxn ang="0">
                  <a:pos x="48" y="0"/>
                </a:cxn>
                <a:cxn ang="0">
                  <a:pos x="56" y="4"/>
                </a:cxn>
                <a:cxn ang="0">
                  <a:pos x="64" y="0"/>
                </a:cxn>
                <a:cxn ang="0">
                  <a:pos x="72" y="4"/>
                </a:cxn>
                <a:cxn ang="0">
                  <a:pos x="80" y="8"/>
                </a:cxn>
                <a:cxn ang="0">
                  <a:pos x="84" y="16"/>
                </a:cxn>
                <a:cxn ang="0">
                  <a:pos x="96" y="16"/>
                </a:cxn>
                <a:cxn ang="0">
                  <a:pos x="104" y="24"/>
                </a:cxn>
                <a:cxn ang="0">
                  <a:pos x="112" y="28"/>
                </a:cxn>
                <a:cxn ang="0">
                  <a:pos x="112" y="24"/>
                </a:cxn>
                <a:cxn ang="0">
                  <a:pos x="116" y="28"/>
                </a:cxn>
                <a:cxn ang="0">
                  <a:pos x="116" y="28"/>
                </a:cxn>
                <a:cxn ang="0">
                  <a:pos x="120" y="36"/>
                </a:cxn>
                <a:cxn ang="0">
                  <a:pos x="128" y="36"/>
                </a:cxn>
                <a:cxn ang="0">
                  <a:pos x="136" y="40"/>
                </a:cxn>
                <a:cxn ang="0">
                  <a:pos x="136" y="44"/>
                </a:cxn>
                <a:cxn ang="0">
                  <a:pos x="144" y="48"/>
                </a:cxn>
                <a:cxn ang="0">
                  <a:pos x="148" y="48"/>
                </a:cxn>
                <a:cxn ang="0">
                  <a:pos x="156" y="51"/>
                </a:cxn>
                <a:cxn ang="0">
                  <a:pos x="164" y="55"/>
                </a:cxn>
                <a:cxn ang="0">
                  <a:pos x="152" y="59"/>
                </a:cxn>
                <a:cxn ang="0">
                  <a:pos x="140" y="63"/>
                </a:cxn>
                <a:cxn ang="0">
                  <a:pos x="132" y="59"/>
                </a:cxn>
                <a:cxn ang="0">
                  <a:pos x="120" y="59"/>
                </a:cxn>
                <a:cxn ang="0">
                  <a:pos x="120" y="63"/>
                </a:cxn>
                <a:cxn ang="0">
                  <a:pos x="112" y="63"/>
                </a:cxn>
                <a:cxn ang="0">
                  <a:pos x="112" y="59"/>
                </a:cxn>
                <a:cxn ang="0">
                  <a:pos x="116" y="51"/>
                </a:cxn>
                <a:cxn ang="0">
                  <a:pos x="112" y="48"/>
                </a:cxn>
                <a:cxn ang="0">
                  <a:pos x="104" y="44"/>
                </a:cxn>
                <a:cxn ang="0">
                  <a:pos x="100" y="40"/>
                </a:cxn>
                <a:cxn ang="0">
                  <a:pos x="96" y="32"/>
                </a:cxn>
                <a:cxn ang="0">
                  <a:pos x="80" y="8"/>
                </a:cxn>
                <a:cxn ang="0">
                  <a:pos x="96" y="16"/>
                </a:cxn>
                <a:cxn ang="0">
                  <a:pos x="92" y="12"/>
                </a:cxn>
                <a:cxn ang="0">
                  <a:pos x="96" y="12"/>
                </a:cxn>
                <a:cxn ang="0">
                  <a:pos x="100" y="16"/>
                </a:cxn>
                <a:cxn ang="0">
                  <a:pos x="104" y="16"/>
                </a:cxn>
                <a:cxn ang="0">
                  <a:pos x="104" y="16"/>
                </a:cxn>
                <a:cxn ang="0">
                  <a:pos x="108" y="24"/>
                </a:cxn>
                <a:cxn ang="0">
                  <a:pos x="108" y="24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32" y="28"/>
                </a:cxn>
                <a:cxn ang="0">
                  <a:pos x="32" y="32"/>
                </a:cxn>
              </a:cxnLst>
              <a:rect l="0" t="0" r="r" b="b"/>
              <a:pathLst>
                <a:path w="164" h="63">
                  <a:moveTo>
                    <a:pt x="96" y="32"/>
                  </a:moveTo>
                  <a:lnTo>
                    <a:pt x="92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0" y="28"/>
                  </a:lnTo>
                  <a:lnTo>
                    <a:pt x="76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0"/>
                  </a:lnTo>
                  <a:lnTo>
                    <a:pt x="64" y="20"/>
                  </a:lnTo>
                  <a:lnTo>
                    <a:pt x="60" y="20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4" y="16"/>
                  </a:lnTo>
                  <a:lnTo>
                    <a:pt x="88" y="16"/>
                  </a:lnTo>
                  <a:lnTo>
                    <a:pt x="92" y="16"/>
                  </a:lnTo>
                  <a:lnTo>
                    <a:pt x="96" y="16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08" y="28"/>
                  </a:lnTo>
                  <a:lnTo>
                    <a:pt x="112" y="28"/>
                  </a:lnTo>
                  <a:lnTo>
                    <a:pt x="116" y="28"/>
                  </a:lnTo>
                  <a:lnTo>
                    <a:pt x="112" y="28"/>
                  </a:lnTo>
                  <a:lnTo>
                    <a:pt x="112" y="24"/>
                  </a:lnTo>
                  <a:lnTo>
                    <a:pt x="108" y="24"/>
                  </a:lnTo>
                  <a:lnTo>
                    <a:pt x="112" y="24"/>
                  </a:lnTo>
                  <a:lnTo>
                    <a:pt x="116" y="28"/>
                  </a:lnTo>
                  <a:lnTo>
                    <a:pt x="112" y="28"/>
                  </a:lnTo>
                  <a:lnTo>
                    <a:pt x="116" y="32"/>
                  </a:lnTo>
                  <a:lnTo>
                    <a:pt x="116" y="28"/>
                  </a:lnTo>
                  <a:lnTo>
                    <a:pt x="120" y="28"/>
                  </a:lnTo>
                  <a:lnTo>
                    <a:pt x="120" y="32"/>
                  </a:lnTo>
                  <a:lnTo>
                    <a:pt x="120" y="36"/>
                  </a:lnTo>
                  <a:lnTo>
                    <a:pt x="124" y="32"/>
                  </a:lnTo>
                  <a:lnTo>
                    <a:pt x="124" y="36"/>
                  </a:lnTo>
                  <a:lnTo>
                    <a:pt x="128" y="36"/>
                  </a:lnTo>
                  <a:lnTo>
                    <a:pt x="132" y="36"/>
                  </a:lnTo>
                  <a:lnTo>
                    <a:pt x="132" y="40"/>
                  </a:lnTo>
                  <a:lnTo>
                    <a:pt x="136" y="40"/>
                  </a:lnTo>
                  <a:lnTo>
                    <a:pt x="140" y="40"/>
                  </a:lnTo>
                  <a:lnTo>
                    <a:pt x="140" y="44"/>
                  </a:lnTo>
                  <a:lnTo>
                    <a:pt x="136" y="44"/>
                  </a:lnTo>
                  <a:lnTo>
                    <a:pt x="136" y="48"/>
                  </a:lnTo>
                  <a:lnTo>
                    <a:pt x="140" y="48"/>
                  </a:lnTo>
                  <a:lnTo>
                    <a:pt x="144" y="48"/>
                  </a:lnTo>
                  <a:lnTo>
                    <a:pt x="144" y="44"/>
                  </a:lnTo>
                  <a:lnTo>
                    <a:pt x="144" y="48"/>
                  </a:lnTo>
                  <a:lnTo>
                    <a:pt x="148" y="48"/>
                  </a:lnTo>
                  <a:lnTo>
                    <a:pt x="152" y="48"/>
                  </a:lnTo>
                  <a:lnTo>
                    <a:pt x="156" y="48"/>
                  </a:lnTo>
                  <a:lnTo>
                    <a:pt x="156" y="51"/>
                  </a:lnTo>
                  <a:lnTo>
                    <a:pt x="160" y="55"/>
                  </a:lnTo>
                  <a:lnTo>
                    <a:pt x="160" y="51"/>
                  </a:lnTo>
                  <a:lnTo>
                    <a:pt x="164" y="55"/>
                  </a:lnTo>
                  <a:lnTo>
                    <a:pt x="160" y="59"/>
                  </a:lnTo>
                  <a:lnTo>
                    <a:pt x="156" y="59"/>
                  </a:lnTo>
                  <a:lnTo>
                    <a:pt x="152" y="59"/>
                  </a:lnTo>
                  <a:lnTo>
                    <a:pt x="148" y="59"/>
                  </a:lnTo>
                  <a:lnTo>
                    <a:pt x="144" y="63"/>
                  </a:lnTo>
                  <a:lnTo>
                    <a:pt x="140" y="63"/>
                  </a:lnTo>
                  <a:lnTo>
                    <a:pt x="140" y="59"/>
                  </a:lnTo>
                  <a:lnTo>
                    <a:pt x="136" y="59"/>
                  </a:lnTo>
                  <a:lnTo>
                    <a:pt x="132" y="59"/>
                  </a:lnTo>
                  <a:lnTo>
                    <a:pt x="128" y="59"/>
                  </a:lnTo>
                  <a:lnTo>
                    <a:pt x="124" y="59"/>
                  </a:lnTo>
                  <a:lnTo>
                    <a:pt x="120" y="59"/>
                  </a:lnTo>
                  <a:lnTo>
                    <a:pt x="120" y="63"/>
                  </a:lnTo>
                  <a:lnTo>
                    <a:pt x="120" y="59"/>
                  </a:lnTo>
                  <a:lnTo>
                    <a:pt x="120" y="63"/>
                  </a:lnTo>
                  <a:lnTo>
                    <a:pt x="116" y="59"/>
                  </a:lnTo>
                  <a:lnTo>
                    <a:pt x="116" y="63"/>
                  </a:lnTo>
                  <a:lnTo>
                    <a:pt x="112" y="63"/>
                  </a:lnTo>
                  <a:lnTo>
                    <a:pt x="108" y="63"/>
                  </a:lnTo>
                  <a:lnTo>
                    <a:pt x="108" y="59"/>
                  </a:lnTo>
                  <a:lnTo>
                    <a:pt x="112" y="59"/>
                  </a:lnTo>
                  <a:lnTo>
                    <a:pt x="112" y="55"/>
                  </a:lnTo>
                  <a:lnTo>
                    <a:pt x="116" y="55"/>
                  </a:lnTo>
                  <a:lnTo>
                    <a:pt x="116" y="51"/>
                  </a:lnTo>
                  <a:lnTo>
                    <a:pt x="120" y="51"/>
                  </a:lnTo>
                  <a:lnTo>
                    <a:pt x="116" y="48"/>
                  </a:lnTo>
                  <a:lnTo>
                    <a:pt x="112" y="48"/>
                  </a:lnTo>
                  <a:lnTo>
                    <a:pt x="108" y="48"/>
                  </a:lnTo>
                  <a:lnTo>
                    <a:pt x="108" y="44"/>
                  </a:lnTo>
                  <a:lnTo>
                    <a:pt x="104" y="44"/>
                  </a:lnTo>
                  <a:lnTo>
                    <a:pt x="104" y="48"/>
                  </a:lnTo>
                  <a:lnTo>
                    <a:pt x="100" y="44"/>
                  </a:lnTo>
                  <a:lnTo>
                    <a:pt x="100" y="40"/>
                  </a:lnTo>
                  <a:lnTo>
                    <a:pt x="96" y="40"/>
                  </a:lnTo>
                  <a:lnTo>
                    <a:pt x="96" y="36"/>
                  </a:lnTo>
                  <a:lnTo>
                    <a:pt x="96" y="32"/>
                  </a:lnTo>
                  <a:close/>
                  <a:moveTo>
                    <a:pt x="84" y="12"/>
                  </a:moveTo>
                  <a:lnTo>
                    <a:pt x="84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12"/>
                  </a:lnTo>
                  <a:close/>
                  <a:moveTo>
                    <a:pt x="96" y="16"/>
                  </a:moveTo>
                  <a:lnTo>
                    <a:pt x="100" y="12"/>
                  </a:lnTo>
                  <a:lnTo>
                    <a:pt x="96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100" y="12"/>
                  </a:lnTo>
                  <a:lnTo>
                    <a:pt x="96" y="12"/>
                  </a:lnTo>
                  <a:lnTo>
                    <a:pt x="96" y="16"/>
                  </a:lnTo>
                  <a:close/>
                  <a:moveTo>
                    <a:pt x="104" y="16"/>
                  </a:moveTo>
                  <a:lnTo>
                    <a:pt x="100" y="16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4" y="16"/>
                  </a:lnTo>
                  <a:close/>
                  <a:moveTo>
                    <a:pt x="108" y="20"/>
                  </a:moveTo>
                  <a:lnTo>
                    <a:pt x="104" y="20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08" y="20"/>
                  </a:lnTo>
                  <a:close/>
                  <a:moveTo>
                    <a:pt x="108" y="24"/>
                  </a:moveTo>
                  <a:lnTo>
                    <a:pt x="104" y="20"/>
                  </a:lnTo>
                  <a:lnTo>
                    <a:pt x="108" y="20"/>
                  </a:lnTo>
                  <a:lnTo>
                    <a:pt x="108" y="24"/>
                  </a:lnTo>
                  <a:close/>
                  <a:moveTo>
                    <a:pt x="28" y="32"/>
                  </a:move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32"/>
                  </a:lnTo>
                  <a:lnTo>
                    <a:pt x="32" y="32"/>
                  </a:lnTo>
                  <a:lnTo>
                    <a:pt x="28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4" name="Freeform 61"/>
            <p:cNvSpPr>
              <a:spLocks noEditPoints="1"/>
            </p:cNvSpPr>
            <p:nvPr>
              <p:custDataLst>
                <p:tags r:id="rId257"/>
              </p:custDataLst>
            </p:nvPr>
          </p:nvSpPr>
          <p:spPr bwMode="gray">
            <a:xfrm>
              <a:off x="2761005" y="4047221"/>
              <a:ext cx="83052" cy="65255"/>
            </a:xfrm>
            <a:custGeom>
              <a:avLst/>
              <a:gdLst/>
              <a:ahLst/>
              <a:cxnLst>
                <a:cxn ang="0">
                  <a:pos x="28" y="32"/>
                </a:cxn>
                <a:cxn ang="0">
                  <a:pos x="24" y="32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36"/>
                </a:cxn>
                <a:cxn ang="0">
                  <a:pos x="12" y="40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8" y="8"/>
                </a:cxn>
                <a:cxn ang="0">
                  <a:pos x="28" y="4"/>
                </a:cxn>
                <a:cxn ang="0">
                  <a:pos x="32" y="8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40" y="12"/>
                </a:cxn>
                <a:cxn ang="0">
                  <a:pos x="44" y="12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40" y="16"/>
                </a:cxn>
                <a:cxn ang="0">
                  <a:pos x="40" y="16"/>
                </a:cxn>
                <a:cxn ang="0">
                  <a:pos x="44" y="20"/>
                </a:cxn>
                <a:cxn ang="0">
                  <a:pos x="48" y="20"/>
                </a:cxn>
                <a:cxn ang="0">
                  <a:pos x="52" y="24"/>
                </a:cxn>
                <a:cxn ang="0">
                  <a:pos x="56" y="28"/>
                </a:cxn>
                <a:cxn ang="0">
                  <a:pos x="52" y="32"/>
                </a:cxn>
                <a:cxn ang="0">
                  <a:pos x="52" y="32"/>
                </a:cxn>
                <a:cxn ang="0">
                  <a:pos x="48" y="32"/>
                </a:cxn>
                <a:cxn ang="0">
                  <a:pos x="48" y="32"/>
                </a:cxn>
                <a:cxn ang="0">
                  <a:pos x="44" y="32"/>
                </a:cxn>
                <a:cxn ang="0">
                  <a:pos x="36" y="28"/>
                </a:cxn>
                <a:cxn ang="0">
                  <a:pos x="32" y="28"/>
                </a:cxn>
                <a:cxn ang="0">
                  <a:pos x="52" y="36"/>
                </a:cxn>
                <a:cxn ang="0">
                  <a:pos x="48" y="36"/>
                </a:cxn>
                <a:cxn ang="0">
                  <a:pos x="52" y="36"/>
                </a:cxn>
              </a:cxnLst>
              <a:rect l="0" t="0" r="r" b="b"/>
              <a:pathLst>
                <a:path w="56" h="44">
                  <a:moveTo>
                    <a:pt x="28" y="28"/>
                  </a:move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8"/>
                  </a:lnTo>
                  <a:lnTo>
                    <a:pt x="56" y="28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28" y="28"/>
                  </a:lnTo>
                  <a:close/>
                  <a:moveTo>
                    <a:pt x="52" y="36"/>
                  </a:move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5" name="Freeform 62"/>
            <p:cNvSpPr>
              <a:spLocks/>
            </p:cNvSpPr>
            <p:nvPr>
              <p:custDataLst>
                <p:tags r:id="rId258"/>
              </p:custDataLst>
            </p:nvPr>
          </p:nvSpPr>
          <p:spPr bwMode="gray">
            <a:xfrm>
              <a:off x="2353162" y="4201460"/>
              <a:ext cx="51907" cy="35594"/>
            </a:xfrm>
            <a:custGeom>
              <a:avLst/>
              <a:gdLst/>
              <a:ahLst/>
              <a:cxnLst>
                <a:cxn ang="0">
                  <a:pos x="35" y="16"/>
                </a:cxn>
                <a:cxn ang="0">
                  <a:pos x="35" y="16"/>
                </a:cxn>
                <a:cxn ang="0">
                  <a:pos x="35" y="20"/>
                </a:cxn>
                <a:cxn ang="0">
                  <a:pos x="35" y="20"/>
                </a:cxn>
                <a:cxn ang="0">
                  <a:pos x="35" y="20"/>
                </a:cxn>
                <a:cxn ang="0">
                  <a:pos x="35" y="24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24" y="24"/>
                </a:cxn>
                <a:cxn ang="0">
                  <a:pos x="24" y="20"/>
                </a:cxn>
                <a:cxn ang="0">
                  <a:pos x="24" y="20"/>
                </a:cxn>
                <a:cxn ang="0">
                  <a:pos x="24" y="24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16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4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4" y="12"/>
                </a:cxn>
                <a:cxn ang="0">
                  <a:pos x="27" y="12"/>
                </a:cxn>
                <a:cxn ang="0">
                  <a:pos x="27" y="12"/>
                </a:cxn>
                <a:cxn ang="0">
                  <a:pos x="27" y="8"/>
                </a:cxn>
                <a:cxn ang="0">
                  <a:pos x="31" y="8"/>
                </a:cxn>
                <a:cxn ang="0">
                  <a:pos x="31" y="12"/>
                </a:cxn>
                <a:cxn ang="0">
                  <a:pos x="31" y="12"/>
                </a:cxn>
                <a:cxn ang="0">
                  <a:pos x="35" y="12"/>
                </a:cxn>
              </a:cxnLst>
              <a:rect l="0" t="0" r="r" b="b"/>
              <a:pathLst>
                <a:path w="35" h="24">
                  <a:moveTo>
                    <a:pt x="35" y="12"/>
                  </a:moveTo>
                  <a:lnTo>
                    <a:pt x="35" y="12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6" name="Freeform 63"/>
            <p:cNvSpPr>
              <a:spLocks noEditPoints="1"/>
            </p:cNvSpPr>
            <p:nvPr>
              <p:custDataLst>
                <p:tags r:id="rId259"/>
              </p:custDataLst>
            </p:nvPr>
          </p:nvSpPr>
          <p:spPr bwMode="gray">
            <a:xfrm>
              <a:off x="2737276" y="1816693"/>
              <a:ext cx="1365901" cy="993653"/>
            </a:xfrm>
            <a:custGeom>
              <a:avLst/>
              <a:gdLst/>
              <a:ahLst/>
              <a:cxnLst>
                <a:cxn ang="0">
                  <a:pos x="506" y="16"/>
                </a:cxn>
                <a:cxn ang="0">
                  <a:pos x="303" y="52"/>
                </a:cxn>
                <a:cxn ang="0">
                  <a:pos x="833" y="144"/>
                </a:cxn>
                <a:cxn ang="0">
                  <a:pos x="36" y="195"/>
                </a:cxn>
                <a:cxn ang="0">
                  <a:pos x="802" y="235"/>
                </a:cxn>
                <a:cxn ang="0">
                  <a:pos x="251" y="307"/>
                </a:cxn>
                <a:cxn ang="0">
                  <a:pos x="259" y="315"/>
                </a:cxn>
                <a:cxn ang="0">
                  <a:pos x="750" y="415"/>
                </a:cxn>
                <a:cxn ang="0">
                  <a:pos x="463" y="599"/>
                </a:cxn>
                <a:cxn ang="0">
                  <a:pos x="451" y="662"/>
                </a:cxn>
                <a:cxn ang="0">
                  <a:pos x="339" y="419"/>
                </a:cxn>
                <a:cxn ang="0">
                  <a:pos x="335" y="391"/>
                </a:cxn>
                <a:cxn ang="0">
                  <a:pos x="295" y="347"/>
                </a:cxn>
                <a:cxn ang="0">
                  <a:pos x="271" y="339"/>
                </a:cxn>
                <a:cxn ang="0">
                  <a:pos x="239" y="275"/>
                </a:cxn>
                <a:cxn ang="0">
                  <a:pos x="123" y="231"/>
                </a:cxn>
                <a:cxn ang="0">
                  <a:pos x="36" y="207"/>
                </a:cxn>
                <a:cxn ang="0">
                  <a:pos x="68" y="191"/>
                </a:cxn>
                <a:cxn ang="0">
                  <a:pos x="56" y="152"/>
                </a:cxn>
                <a:cxn ang="0">
                  <a:pos x="123" y="84"/>
                </a:cxn>
                <a:cxn ang="0">
                  <a:pos x="227" y="64"/>
                </a:cxn>
                <a:cxn ang="0">
                  <a:pos x="331" y="56"/>
                </a:cxn>
                <a:cxn ang="0">
                  <a:pos x="455" y="44"/>
                </a:cxn>
                <a:cxn ang="0">
                  <a:pos x="439" y="24"/>
                </a:cxn>
                <a:cxn ang="0">
                  <a:pos x="474" y="16"/>
                </a:cxn>
                <a:cxn ang="0">
                  <a:pos x="578" y="0"/>
                </a:cxn>
                <a:cxn ang="0">
                  <a:pos x="626" y="16"/>
                </a:cxn>
                <a:cxn ang="0">
                  <a:pos x="710" y="16"/>
                </a:cxn>
                <a:cxn ang="0">
                  <a:pos x="654" y="48"/>
                </a:cxn>
                <a:cxn ang="0">
                  <a:pos x="694" y="72"/>
                </a:cxn>
                <a:cxn ang="0">
                  <a:pos x="798" y="72"/>
                </a:cxn>
                <a:cxn ang="0">
                  <a:pos x="849" y="92"/>
                </a:cxn>
                <a:cxn ang="0">
                  <a:pos x="798" y="124"/>
                </a:cxn>
                <a:cxn ang="0">
                  <a:pos x="778" y="176"/>
                </a:cxn>
                <a:cxn ang="0">
                  <a:pos x="802" y="207"/>
                </a:cxn>
                <a:cxn ang="0">
                  <a:pos x="774" y="239"/>
                </a:cxn>
                <a:cxn ang="0">
                  <a:pos x="794" y="263"/>
                </a:cxn>
                <a:cxn ang="0">
                  <a:pos x="754" y="315"/>
                </a:cxn>
                <a:cxn ang="0">
                  <a:pos x="698" y="319"/>
                </a:cxn>
                <a:cxn ang="0">
                  <a:pos x="754" y="359"/>
                </a:cxn>
                <a:cxn ang="0">
                  <a:pos x="734" y="375"/>
                </a:cxn>
                <a:cxn ang="0">
                  <a:pos x="674" y="379"/>
                </a:cxn>
                <a:cxn ang="0">
                  <a:pos x="758" y="407"/>
                </a:cxn>
                <a:cxn ang="0">
                  <a:pos x="638" y="455"/>
                </a:cxn>
                <a:cxn ang="0">
                  <a:pos x="566" y="507"/>
                </a:cxn>
                <a:cxn ang="0">
                  <a:pos x="490" y="535"/>
                </a:cxn>
                <a:cxn ang="0">
                  <a:pos x="467" y="591"/>
                </a:cxn>
                <a:cxn ang="0">
                  <a:pos x="459" y="642"/>
                </a:cxn>
                <a:cxn ang="0">
                  <a:pos x="423" y="646"/>
                </a:cxn>
                <a:cxn ang="0">
                  <a:pos x="383" y="638"/>
                </a:cxn>
                <a:cxn ang="0">
                  <a:pos x="347" y="591"/>
                </a:cxn>
                <a:cxn ang="0">
                  <a:pos x="323" y="559"/>
                </a:cxn>
                <a:cxn ang="0">
                  <a:pos x="319" y="543"/>
                </a:cxn>
                <a:cxn ang="0">
                  <a:pos x="299" y="511"/>
                </a:cxn>
                <a:cxn ang="0">
                  <a:pos x="303" y="495"/>
                </a:cxn>
                <a:cxn ang="0">
                  <a:pos x="319" y="467"/>
                </a:cxn>
                <a:cxn ang="0">
                  <a:pos x="299" y="467"/>
                </a:cxn>
                <a:cxn ang="0">
                  <a:pos x="295" y="451"/>
                </a:cxn>
                <a:cxn ang="0">
                  <a:pos x="822" y="223"/>
                </a:cxn>
                <a:cxn ang="0">
                  <a:pos x="754" y="331"/>
                </a:cxn>
                <a:cxn ang="0">
                  <a:pos x="706" y="383"/>
                </a:cxn>
                <a:cxn ang="0">
                  <a:pos x="299" y="403"/>
                </a:cxn>
                <a:cxn ang="0">
                  <a:pos x="295" y="459"/>
                </a:cxn>
              </a:cxnLst>
              <a:rect l="0" t="0" r="r" b="b"/>
              <a:pathLst>
                <a:path w="921" h="670">
                  <a:moveTo>
                    <a:pt x="506" y="8"/>
                  </a:moveTo>
                  <a:lnTo>
                    <a:pt x="510" y="8"/>
                  </a:lnTo>
                  <a:lnTo>
                    <a:pt x="514" y="8"/>
                  </a:lnTo>
                  <a:lnTo>
                    <a:pt x="514" y="12"/>
                  </a:lnTo>
                  <a:lnTo>
                    <a:pt x="510" y="12"/>
                  </a:lnTo>
                  <a:lnTo>
                    <a:pt x="506" y="8"/>
                  </a:lnTo>
                  <a:close/>
                  <a:moveTo>
                    <a:pt x="514" y="16"/>
                  </a:moveTo>
                  <a:lnTo>
                    <a:pt x="510" y="16"/>
                  </a:lnTo>
                  <a:lnTo>
                    <a:pt x="506" y="16"/>
                  </a:lnTo>
                  <a:lnTo>
                    <a:pt x="502" y="16"/>
                  </a:lnTo>
                  <a:lnTo>
                    <a:pt x="502" y="12"/>
                  </a:lnTo>
                  <a:lnTo>
                    <a:pt x="498" y="12"/>
                  </a:lnTo>
                  <a:lnTo>
                    <a:pt x="494" y="12"/>
                  </a:lnTo>
                  <a:lnTo>
                    <a:pt x="490" y="12"/>
                  </a:lnTo>
                  <a:lnTo>
                    <a:pt x="490" y="8"/>
                  </a:lnTo>
                  <a:lnTo>
                    <a:pt x="494" y="8"/>
                  </a:lnTo>
                  <a:lnTo>
                    <a:pt x="498" y="12"/>
                  </a:lnTo>
                  <a:lnTo>
                    <a:pt x="502" y="12"/>
                  </a:lnTo>
                  <a:lnTo>
                    <a:pt x="506" y="12"/>
                  </a:lnTo>
                  <a:lnTo>
                    <a:pt x="510" y="12"/>
                  </a:lnTo>
                  <a:lnTo>
                    <a:pt x="510" y="16"/>
                  </a:lnTo>
                  <a:lnTo>
                    <a:pt x="514" y="16"/>
                  </a:lnTo>
                  <a:lnTo>
                    <a:pt x="518" y="16"/>
                  </a:lnTo>
                  <a:lnTo>
                    <a:pt x="514" y="16"/>
                  </a:lnTo>
                  <a:close/>
                  <a:moveTo>
                    <a:pt x="478" y="12"/>
                  </a:moveTo>
                  <a:lnTo>
                    <a:pt x="474" y="12"/>
                  </a:lnTo>
                  <a:lnTo>
                    <a:pt x="478" y="8"/>
                  </a:lnTo>
                  <a:lnTo>
                    <a:pt x="482" y="12"/>
                  </a:lnTo>
                  <a:lnTo>
                    <a:pt x="478" y="12"/>
                  </a:lnTo>
                  <a:close/>
                  <a:moveTo>
                    <a:pt x="463" y="12"/>
                  </a:moveTo>
                  <a:lnTo>
                    <a:pt x="467" y="12"/>
                  </a:lnTo>
                  <a:lnTo>
                    <a:pt x="471" y="12"/>
                  </a:lnTo>
                  <a:lnTo>
                    <a:pt x="467" y="12"/>
                  </a:lnTo>
                  <a:lnTo>
                    <a:pt x="463" y="12"/>
                  </a:lnTo>
                  <a:close/>
                  <a:moveTo>
                    <a:pt x="474" y="12"/>
                  </a:moveTo>
                  <a:lnTo>
                    <a:pt x="478" y="12"/>
                  </a:lnTo>
                  <a:lnTo>
                    <a:pt x="482" y="12"/>
                  </a:lnTo>
                  <a:lnTo>
                    <a:pt x="478" y="12"/>
                  </a:lnTo>
                  <a:lnTo>
                    <a:pt x="474" y="12"/>
                  </a:lnTo>
                  <a:close/>
                  <a:moveTo>
                    <a:pt x="522" y="16"/>
                  </a:moveTo>
                  <a:lnTo>
                    <a:pt x="518" y="16"/>
                  </a:lnTo>
                  <a:lnTo>
                    <a:pt x="522" y="16"/>
                  </a:lnTo>
                  <a:lnTo>
                    <a:pt x="526" y="16"/>
                  </a:lnTo>
                  <a:lnTo>
                    <a:pt x="530" y="16"/>
                  </a:lnTo>
                  <a:lnTo>
                    <a:pt x="526" y="16"/>
                  </a:lnTo>
                  <a:lnTo>
                    <a:pt x="522" y="16"/>
                  </a:lnTo>
                  <a:close/>
                  <a:moveTo>
                    <a:pt x="502" y="20"/>
                  </a:moveTo>
                  <a:lnTo>
                    <a:pt x="498" y="20"/>
                  </a:lnTo>
                  <a:lnTo>
                    <a:pt x="494" y="20"/>
                  </a:lnTo>
                  <a:lnTo>
                    <a:pt x="490" y="20"/>
                  </a:lnTo>
                  <a:lnTo>
                    <a:pt x="486" y="20"/>
                  </a:lnTo>
                  <a:lnTo>
                    <a:pt x="482" y="16"/>
                  </a:lnTo>
                  <a:lnTo>
                    <a:pt x="478" y="16"/>
                  </a:lnTo>
                  <a:lnTo>
                    <a:pt x="482" y="16"/>
                  </a:lnTo>
                  <a:lnTo>
                    <a:pt x="486" y="16"/>
                  </a:lnTo>
                  <a:lnTo>
                    <a:pt x="490" y="16"/>
                  </a:lnTo>
                  <a:lnTo>
                    <a:pt x="494" y="20"/>
                  </a:lnTo>
                  <a:lnTo>
                    <a:pt x="498" y="20"/>
                  </a:lnTo>
                  <a:lnTo>
                    <a:pt x="502" y="20"/>
                  </a:lnTo>
                  <a:close/>
                  <a:moveTo>
                    <a:pt x="506" y="20"/>
                  </a:moveTo>
                  <a:lnTo>
                    <a:pt x="502" y="20"/>
                  </a:lnTo>
                  <a:lnTo>
                    <a:pt x="498" y="20"/>
                  </a:lnTo>
                  <a:lnTo>
                    <a:pt x="498" y="16"/>
                  </a:lnTo>
                  <a:lnTo>
                    <a:pt x="494" y="16"/>
                  </a:lnTo>
                  <a:lnTo>
                    <a:pt x="490" y="16"/>
                  </a:lnTo>
                  <a:lnTo>
                    <a:pt x="494" y="16"/>
                  </a:lnTo>
                  <a:lnTo>
                    <a:pt x="498" y="16"/>
                  </a:lnTo>
                  <a:lnTo>
                    <a:pt x="502" y="16"/>
                  </a:lnTo>
                  <a:lnTo>
                    <a:pt x="506" y="16"/>
                  </a:lnTo>
                  <a:lnTo>
                    <a:pt x="510" y="16"/>
                  </a:lnTo>
                  <a:lnTo>
                    <a:pt x="510" y="20"/>
                  </a:lnTo>
                  <a:lnTo>
                    <a:pt x="506" y="20"/>
                  </a:lnTo>
                  <a:close/>
                  <a:moveTo>
                    <a:pt x="395" y="24"/>
                  </a:moveTo>
                  <a:lnTo>
                    <a:pt x="391" y="24"/>
                  </a:lnTo>
                  <a:lnTo>
                    <a:pt x="395" y="24"/>
                  </a:lnTo>
                  <a:lnTo>
                    <a:pt x="399" y="24"/>
                  </a:lnTo>
                  <a:lnTo>
                    <a:pt x="403" y="24"/>
                  </a:lnTo>
                  <a:lnTo>
                    <a:pt x="399" y="24"/>
                  </a:lnTo>
                  <a:lnTo>
                    <a:pt x="395" y="24"/>
                  </a:lnTo>
                  <a:close/>
                  <a:moveTo>
                    <a:pt x="375" y="28"/>
                  </a:moveTo>
                  <a:lnTo>
                    <a:pt x="371" y="28"/>
                  </a:lnTo>
                  <a:lnTo>
                    <a:pt x="371" y="24"/>
                  </a:lnTo>
                  <a:lnTo>
                    <a:pt x="375" y="24"/>
                  </a:lnTo>
                  <a:lnTo>
                    <a:pt x="379" y="24"/>
                  </a:lnTo>
                  <a:lnTo>
                    <a:pt x="383" y="24"/>
                  </a:lnTo>
                  <a:lnTo>
                    <a:pt x="387" y="24"/>
                  </a:lnTo>
                  <a:lnTo>
                    <a:pt x="387" y="28"/>
                  </a:lnTo>
                  <a:lnTo>
                    <a:pt x="383" y="28"/>
                  </a:lnTo>
                  <a:lnTo>
                    <a:pt x="379" y="28"/>
                  </a:lnTo>
                  <a:lnTo>
                    <a:pt x="375" y="28"/>
                  </a:lnTo>
                  <a:close/>
                  <a:moveTo>
                    <a:pt x="423" y="52"/>
                  </a:moveTo>
                  <a:lnTo>
                    <a:pt x="419" y="48"/>
                  </a:lnTo>
                  <a:lnTo>
                    <a:pt x="415" y="48"/>
                  </a:lnTo>
                  <a:lnTo>
                    <a:pt x="415" y="44"/>
                  </a:lnTo>
                  <a:lnTo>
                    <a:pt x="411" y="44"/>
                  </a:lnTo>
                  <a:lnTo>
                    <a:pt x="407" y="44"/>
                  </a:lnTo>
                  <a:lnTo>
                    <a:pt x="403" y="44"/>
                  </a:lnTo>
                  <a:lnTo>
                    <a:pt x="399" y="44"/>
                  </a:lnTo>
                  <a:lnTo>
                    <a:pt x="395" y="40"/>
                  </a:lnTo>
                  <a:lnTo>
                    <a:pt x="391" y="40"/>
                  </a:lnTo>
                  <a:lnTo>
                    <a:pt x="391" y="36"/>
                  </a:lnTo>
                  <a:lnTo>
                    <a:pt x="387" y="36"/>
                  </a:lnTo>
                  <a:lnTo>
                    <a:pt x="387" y="32"/>
                  </a:lnTo>
                  <a:lnTo>
                    <a:pt x="383" y="32"/>
                  </a:lnTo>
                  <a:lnTo>
                    <a:pt x="387" y="32"/>
                  </a:lnTo>
                  <a:lnTo>
                    <a:pt x="391" y="32"/>
                  </a:lnTo>
                  <a:lnTo>
                    <a:pt x="395" y="32"/>
                  </a:lnTo>
                  <a:lnTo>
                    <a:pt x="399" y="32"/>
                  </a:lnTo>
                  <a:lnTo>
                    <a:pt x="403" y="32"/>
                  </a:lnTo>
                  <a:lnTo>
                    <a:pt x="407" y="32"/>
                  </a:lnTo>
                  <a:lnTo>
                    <a:pt x="411" y="32"/>
                  </a:lnTo>
                  <a:lnTo>
                    <a:pt x="419" y="36"/>
                  </a:lnTo>
                  <a:lnTo>
                    <a:pt x="423" y="36"/>
                  </a:lnTo>
                  <a:lnTo>
                    <a:pt x="427" y="36"/>
                  </a:lnTo>
                  <a:lnTo>
                    <a:pt x="427" y="40"/>
                  </a:lnTo>
                  <a:lnTo>
                    <a:pt x="431" y="40"/>
                  </a:lnTo>
                  <a:lnTo>
                    <a:pt x="431" y="44"/>
                  </a:lnTo>
                  <a:lnTo>
                    <a:pt x="427" y="44"/>
                  </a:lnTo>
                  <a:lnTo>
                    <a:pt x="423" y="44"/>
                  </a:lnTo>
                  <a:lnTo>
                    <a:pt x="423" y="48"/>
                  </a:lnTo>
                  <a:lnTo>
                    <a:pt x="427" y="48"/>
                  </a:lnTo>
                  <a:lnTo>
                    <a:pt x="427" y="52"/>
                  </a:lnTo>
                  <a:lnTo>
                    <a:pt x="423" y="52"/>
                  </a:lnTo>
                  <a:close/>
                  <a:moveTo>
                    <a:pt x="375" y="40"/>
                  </a:moveTo>
                  <a:lnTo>
                    <a:pt x="371" y="36"/>
                  </a:lnTo>
                  <a:lnTo>
                    <a:pt x="367" y="36"/>
                  </a:lnTo>
                  <a:lnTo>
                    <a:pt x="371" y="36"/>
                  </a:lnTo>
                  <a:lnTo>
                    <a:pt x="375" y="36"/>
                  </a:lnTo>
                  <a:lnTo>
                    <a:pt x="379" y="36"/>
                  </a:lnTo>
                  <a:lnTo>
                    <a:pt x="375" y="40"/>
                  </a:lnTo>
                  <a:close/>
                  <a:moveTo>
                    <a:pt x="331" y="52"/>
                  </a:moveTo>
                  <a:lnTo>
                    <a:pt x="327" y="52"/>
                  </a:lnTo>
                  <a:lnTo>
                    <a:pt x="323" y="52"/>
                  </a:lnTo>
                  <a:lnTo>
                    <a:pt x="319" y="52"/>
                  </a:lnTo>
                  <a:lnTo>
                    <a:pt x="315" y="52"/>
                  </a:lnTo>
                  <a:lnTo>
                    <a:pt x="311" y="52"/>
                  </a:lnTo>
                  <a:lnTo>
                    <a:pt x="307" y="52"/>
                  </a:lnTo>
                  <a:lnTo>
                    <a:pt x="303" y="52"/>
                  </a:lnTo>
                  <a:lnTo>
                    <a:pt x="303" y="48"/>
                  </a:lnTo>
                  <a:lnTo>
                    <a:pt x="299" y="48"/>
                  </a:lnTo>
                  <a:lnTo>
                    <a:pt x="299" y="44"/>
                  </a:lnTo>
                  <a:lnTo>
                    <a:pt x="303" y="44"/>
                  </a:lnTo>
                  <a:lnTo>
                    <a:pt x="307" y="44"/>
                  </a:lnTo>
                  <a:lnTo>
                    <a:pt x="311" y="44"/>
                  </a:lnTo>
                  <a:lnTo>
                    <a:pt x="307" y="44"/>
                  </a:lnTo>
                  <a:lnTo>
                    <a:pt x="311" y="44"/>
                  </a:lnTo>
                  <a:lnTo>
                    <a:pt x="311" y="48"/>
                  </a:lnTo>
                  <a:lnTo>
                    <a:pt x="315" y="48"/>
                  </a:lnTo>
                  <a:lnTo>
                    <a:pt x="319" y="48"/>
                  </a:lnTo>
                  <a:lnTo>
                    <a:pt x="327" y="52"/>
                  </a:lnTo>
                  <a:lnTo>
                    <a:pt x="331" y="52"/>
                  </a:lnTo>
                  <a:close/>
                  <a:moveTo>
                    <a:pt x="315" y="44"/>
                  </a:moveTo>
                  <a:lnTo>
                    <a:pt x="319" y="44"/>
                  </a:lnTo>
                  <a:lnTo>
                    <a:pt x="319" y="48"/>
                  </a:lnTo>
                  <a:lnTo>
                    <a:pt x="315" y="48"/>
                  </a:lnTo>
                  <a:lnTo>
                    <a:pt x="315" y="44"/>
                  </a:lnTo>
                  <a:close/>
                  <a:moveTo>
                    <a:pt x="818" y="52"/>
                  </a:moveTo>
                  <a:lnTo>
                    <a:pt x="814" y="48"/>
                  </a:lnTo>
                  <a:lnTo>
                    <a:pt x="810" y="48"/>
                  </a:lnTo>
                  <a:lnTo>
                    <a:pt x="810" y="44"/>
                  </a:lnTo>
                  <a:lnTo>
                    <a:pt x="814" y="44"/>
                  </a:lnTo>
                  <a:lnTo>
                    <a:pt x="814" y="48"/>
                  </a:lnTo>
                  <a:lnTo>
                    <a:pt x="818" y="52"/>
                  </a:lnTo>
                  <a:lnTo>
                    <a:pt x="822" y="52"/>
                  </a:lnTo>
                  <a:lnTo>
                    <a:pt x="818" y="52"/>
                  </a:lnTo>
                  <a:close/>
                  <a:moveTo>
                    <a:pt x="798" y="56"/>
                  </a:moveTo>
                  <a:lnTo>
                    <a:pt x="794" y="52"/>
                  </a:lnTo>
                  <a:lnTo>
                    <a:pt x="790" y="52"/>
                  </a:lnTo>
                  <a:lnTo>
                    <a:pt x="790" y="48"/>
                  </a:lnTo>
                  <a:lnTo>
                    <a:pt x="794" y="48"/>
                  </a:lnTo>
                  <a:lnTo>
                    <a:pt x="798" y="48"/>
                  </a:lnTo>
                  <a:lnTo>
                    <a:pt x="798" y="52"/>
                  </a:lnTo>
                  <a:lnTo>
                    <a:pt x="802" y="52"/>
                  </a:lnTo>
                  <a:lnTo>
                    <a:pt x="806" y="52"/>
                  </a:lnTo>
                  <a:lnTo>
                    <a:pt x="806" y="56"/>
                  </a:lnTo>
                  <a:lnTo>
                    <a:pt x="802" y="56"/>
                  </a:lnTo>
                  <a:lnTo>
                    <a:pt x="798" y="56"/>
                  </a:lnTo>
                  <a:close/>
                  <a:moveTo>
                    <a:pt x="822" y="64"/>
                  </a:moveTo>
                  <a:lnTo>
                    <a:pt x="818" y="64"/>
                  </a:lnTo>
                  <a:lnTo>
                    <a:pt x="814" y="60"/>
                  </a:lnTo>
                  <a:lnTo>
                    <a:pt x="818" y="60"/>
                  </a:lnTo>
                  <a:lnTo>
                    <a:pt x="822" y="60"/>
                  </a:lnTo>
                  <a:lnTo>
                    <a:pt x="825" y="60"/>
                  </a:lnTo>
                  <a:lnTo>
                    <a:pt x="825" y="64"/>
                  </a:lnTo>
                  <a:lnTo>
                    <a:pt x="829" y="64"/>
                  </a:lnTo>
                  <a:lnTo>
                    <a:pt x="825" y="64"/>
                  </a:lnTo>
                  <a:lnTo>
                    <a:pt x="822" y="64"/>
                  </a:lnTo>
                  <a:close/>
                  <a:moveTo>
                    <a:pt x="790" y="64"/>
                  </a:moveTo>
                  <a:lnTo>
                    <a:pt x="786" y="60"/>
                  </a:lnTo>
                  <a:lnTo>
                    <a:pt x="790" y="60"/>
                  </a:lnTo>
                  <a:lnTo>
                    <a:pt x="794" y="64"/>
                  </a:lnTo>
                  <a:lnTo>
                    <a:pt x="798" y="64"/>
                  </a:lnTo>
                  <a:lnTo>
                    <a:pt x="794" y="64"/>
                  </a:lnTo>
                  <a:lnTo>
                    <a:pt x="790" y="64"/>
                  </a:lnTo>
                  <a:close/>
                  <a:moveTo>
                    <a:pt x="92" y="96"/>
                  </a:moveTo>
                  <a:lnTo>
                    <a:pt x="96" y="96"/>
                  </a:lnTo>
                  <a:lnTo>
                    <a:pt x="100" y="96"/>
                  </a:lnTo>
                  <a:lnTo>
                    <a:pt x="96" y="96"/>
                  </a:lnTo>
                  <a:lnTo>
                    <a:pt x="92" y="96"/>
                  </a:lnTo>
                  <a:close/>
                  <a:moveTo>
                    <a:pt x="814" y="140"/>
                  </a:moveTo>
                  <a:lnTo>
                    <a:pt x="814" y="144"/>
                  </a:lnTo>
                  <a:lnTo>
                    <a:pt x="810" y="144"/>
                  </a:lnTo>
                  <a:lnTo>
                    <a:pt x="810" y="140"/>
                  </a:lnTo>
                  <a:lnTo>
                    <a:pt x="814" y="140"/>
                  </a:lnTo>
                  <a:close/>
                  <a:moveTo>
                    <a:pt x="837" y="140"/>
                  </a:moveTo>
                  <a:lnTo>
                    <a:pt x="837" y="144"/>
                  </a:lnTo>
                  <a:lnTo>
                    <a:pt x="833" y="144"/>
                  </a:lnTo>
                  <a:lnTo>
                    <a:pt x="833" y="148"/>
                  </a:lnTo>
                  <a:lnTo>
                    <a:pt x="829" y="148"/>
                  </a:lnTo>
                  <a:lnTo>
                    <a:pt x="829" y="144"/>
                  </a:lnTo>
                  <a:lnTo>
                    <a:pt x="833" y="140"/>
                  </a:lnTo>
                  <a:lnTo>
                    <a:pt x="837" y="140"/>
                  </a:lnTo>
                  <a:close/>
                  <a:moveTo>
                    <a:pt x="829" y="156"/>
                  </a:moveTo>
                  <a:lnTo>
                    <a:pt x="825" y="152"/>
                  </a:lnTo>
                  <a:lnTo>
                    <a:pt x="829" y="152"/>
                  </a:lnTo>
                  <a:lnTo>
                    <a:pt x="829" y="156"/>
                  </a:lnTo>
                  <a:close/>
                  <a:moveTo>
                    <a:pt x="825" y="156"/>
                  </a:moveTo>
                  <a:lnTo>
                    <a:pt x="825" y="160"/>
                  </a:lnTo>
                  <a:lnTo>
                    <a:pt x="822" y="160"/>
                  </a:lnTo>
                  <a:lnTo>
                    <a:pt x="822" y="156"/>
                  </a:lnTo>
                  <a:lnTo>
                    <a:pt x="825" y="156"/>
                  </a:lnTo>
                  <a:close/>
                  <a:moveTo>
                    <a:pt x="814" y="164"/>
                  </a:moveTo>
                  <a:lnTo>
                    <a:pt x="818" y="168"/>
                  </a:lnTo>
                  <a:lnTo>
                    <a:pt x="814" y="168"/>
                  </a:lnTo>
                  <a:lnTo>
                    <a:pt x="810" y="168"/>
                  </a:lnTo>
                  <a:lnTo>
                    <a:pt x="810" y="164"/>
                  </a:lnTo>
                  <a:lnTo>
                    <a:pt x="814" y="164"/>
                  </a:lnTo>
                  <a:close/>
                  <a:moveTo>
                    <a:pt x="810" y="168"/>
                  </a:moveTo>
                  <a:lnTo>
                    <a:pt x="806" y="168"/>
                  </a:lnTo>
                  <a:lnTo>
                    <a:pt x="806" y="164"/>
                  </a:lnTo>
                  <a:lnTo>
                    <a:pt x="810" y="164"/>
                  </a:lnTo>
                  <a:lnTo>
                    <a:pt x="810" y="168"/>
                  </a:lnTo>
                  <a:close/>
                  <a:moveTo>
                    <a:pt x="814" y="172"/>
                  </a:moveTo>
                  <a:lnTo>
                    <a:pt x="814" y="168"/>
                  </a:lnTo>
                  <a:lnTo>
                    <a:pt x="818" y="168"/>
                  </a:lnTo>
                  <a:lnTo>
                    <a:pt x="814" y="172"/>
                  </a:lnTo>
                  <a:close/>
                  <a:moveTo>
                    <a:pt x="798" y="172"/>
                  </a:moveTo>
                  <a:lnTo>
                    <a:pt x="794" y="172"/>
                  </a:lnTo>
                  <a:lnTo>
                    <a:pt x="790" y="172"/>
                  </a:lnTo>
                  <a:lnTo>
                    <a:pt x="794" y="172"/>
                  </a:lnTo>
                  <a:lnTo>
                    <a:pt x="798" y="172"/>
                  </a:lnTo>
                  <a:close/>
                  <a:moveTo>
                    <a:pt x="818" y="172"/>
                  </a:moveTo>
                  <a:lnTo>
                    <a:pt x="818" y="176"/>
                  </a:lnTo>
                  <a:lnTo>
                    <a:pt x="814" y="176"/>
                  </a:lnTo>
                  <a:lnTo>
                    <a:pt x="814" y="172"/>
                  </a:lnTo>
                  <a:lnTo>
                    <a:pt x="818" y="172"/>
                  </a:lnTo>
                  <a:lnTo>
                    <a:pt x="822" y="172"/>
                  </a:lnTo>
                  <a:lnTo>
                    <a:pt x="818" y="172"/>
                  </a:lnTo>
                  <a:close/>
                  <a:moveTo>
                    <a:pt x="786" y="176"/>
                  </a:moveTo>
                  <a:lnTo>
                    <a:pt x="786" y="180"/>
                  </a:lnTo>
                  <a:lnTo>
                    <a:pt x="782" y="180"/>
                  </a:lnTo>
                  <a:lnTo>
                    <a:pt x="782" y="176"/>
                  </a:lnTo>
                  <a:lnTo>
                    <a:pt x="786" y="176"/>
                  </a:lnTo>
                  <a:close/>
                  <a:moveTo>
                    <a:pt x="802" y="187"/>
                  </a:moveTo>
                  <a:lnTo>
                    <a:pt x="802" y="191"/>
                  </a:lnTo>
                  <a:lnTo>
                    <a:pt x="798" y="187"/>
                  </a:lnTo>
                  <a:lnTo>
                    <a:pt x="794" y="187"/>
                  </a:lnTo>
                  <a:lnTo>
                    <a:pt x="798" y="187"/>
                  </a:lnTo>
                  <a:lnTo>
                    <a:pt x="802" y="187"/>
                  </a:lnTo>
                  <a:close/>
                  <a:moveTo>
                    <a:pt x="806" y="191"/>
                  </a:moveTo>
                  <a:lnTo>
                    <a:pt x="802" y="191"/>
                  </a:lnTo>
                  <a:lnTo>
                    <a:pt x="806" y="191"/>
                  </a:lnTo>
                  <a:close/>
                  <a:moveTo>
                    <a:pt x="104" y="191"/>
                  </a:moveTo>
                  <a:lnTo>
                    <a:pt x="100" y="191"/>
                  </a:lnTo>
                  <a:lnTo>
                    <a:pt x="96" y="191"/>
                  </a:lnTo>
                  <a:lnTo>
                    <a:pt x="100" y="191"/>
                  </a:lnTo>
                  <a:lnTo>
                    <a:pt x="104" y="191"/>
                  </a:lnTo>
                  <a:close/>
                  <a:moveTo>
                    <a:pt x="28" y="195"/>
                  </a:moveTo>
                  <a:lnTo>
                    <a:pt x="28" y="191"/>
                  </a:lnTo>
                  <a:lnTo>
                    <a:pt x="32" y="191"/>
                  </a:lnTo>
                  <a:lnTo>
                    <a:pt x="36" y="191"/>
                  </a:lnTo>
                  <a:lnTo>
                    <a:pt x="36" y="195"/>
                  </a:lnTo>
                  <a:lnTo>
                    <a:pt x="40" y="195"/>
                  </a:lnTo>
                  <a:lnTo>
                    <a:pt x="44" y="195"/>
                  </a:lnTo>
                  <a:lnTo>
                    <a:pt x="40" y="195"/>
                  </a:lnTo>
                  <a:lnTo>
                    <a:pt x="36" y="195"/>
                  </a:lnTo>
                  <a:lnTo>
                    <a:pt x="32" y="195"/>
                  </a:lnTo>
                  <a:lnTo>
                    <a:pt x="28" y="195"/>
                  </a:lnTo>
                  <a:lnTo>
                    <a:pt x="24" y="195"/>
                  </a:lnTo>
                  <a:lnTo>
                    <a:pt x="28" y="195"/>
                  </a:lnTo>
                  <a:close/>
                  <a:moveTo>
                    <a:pt x="12" y="195"/>
                  </a:moveTo>
                  <a:lnTo>
                    <a:pt x="16" y="195"/>
                  </a:lnTo>
                  <a:lnTo>
                    <a:pt x="20" y="195"/>
                  </a:lnTo>
                  <a:lnTo>
                    <a:pt x="24" y="195"/>
                  </a:lnTo>
                  <a:lnTo>
                    <a:pt x="20" y="199"/>
                  </a:lnTo>
                  <a:lnTo>
                    <a:pt x="16" y="199"/>
                  </a:lnTo>
                  <a:lnTo>
                    <a:pt x="12" y="199"/>
                  </a:lnTo>
                  <a:lnTo>
                    <a:pt x="12" y="195"/>
                  </a:lnTo>
                  <a:lnTo>
                    <a:pt x="8" y="195"/>
                  </a:lnTo>
                  <a:lnTo>
                    <a:pt x="12" y="195"/>
                  </a:lnTo>
                  <a:close/>
                  <a:moveTo>
                    <a:pt x="806" y="211"/>
                  </a:moveTo>
                  <a:lnTo>
                    <a:pt x="810" y="211"/>
                  </a:lnTo>
                  <a:lnTo>
                    <a:pt x="806" y="215"/>
                  </a:lnTo>
                  <a:lnTo>
                    <a:pt x="806" y="211"/>
                  </a:lnTo>
                  <a:close/>
                  <a:moveTo>
                    <a:pt x="806" y="215"/>
                  </a:moveTo>
                  <a:lnTo>
                    <a:pt x="810" y="215"/>
                  </a:lnTo>
                  <a:lnTo>
                    <a:pt x="806" y="215"/>
                  </a:lnTo>
                  <a:close/>
                  <a:moveTo>
                    <a:pt x="786" y="219"/>
                  </a:moveTo>
                  <a:lnTo>
                    <a:pt x="782" y="219"/>
                  </a:lnTo>
                  <a:lnTo>
                    <a:pt x="778" y="219"/>
                  </a:lnTo>
                  <a:lnTo>
                    <a:pt x="782" y="219"/>
                  </a:lnTo>
                  <a:lnTo>
                    <a:pt x="786" y="219"/>
                  </a:lnTo>
                  <a:close/>
                  <a:moveTo>
                    <a:pt x="52" y="219"/>
                  </a:moveTo>
                  <a:lnTo>
                    <a:pt x="48" y="219"/>
                  </a:lnTo>
                  <a:lnTo>
                    <a:pt x="44" y="219"/>
                  </a:lnTo>
                  <a:lnTo>
                    <a:pt x="48" y="219"/>
                  </a:lnTo>
                  <a:lnTo>
                    <a:pt x="52" y="219"/>
                  </a:lnTo>
                  <a:close/>
                  <a:moveTo>
                    <a:pt x="790" y="223"/>
                  </a:moveTo>
                  <a:lnTo>
                    <a:pt x="790" y="227"/>
                  </a:lnTo>
                  <a:lnTo>
                    <a:pt x="790" y="223"/>
                  </a:lnTo>
                  <a:lnTo>
                    <a:pt x="786" y="223"/>
                  </a:lnTo>
                  <a:lnTo>
                    <a:pt x="790" y="223"/>
                  </a:lnTo>
                  <a:lnTo>
                    <a:pt x="790" y="219"/>
                  </a:lnTo>
                  <a:lnTo>
                    <a:pt x="790" y="223"/>
                  </a:lnTo>
                  <a:close/>
                  <a:moveTo>
                    <a:pt x="44" y="223"/>
                  </a:moveTo>
                  <a:lnTo>
                    <a:pt x="48" y="223"/>
                  </a:lnTo>
                  <a:lnTo>
                    <a:pt x="44" y="223"/>
                  </a:lnTo>
                  <a:close/>
                  <a:moveTo>
                    <a:pt x="798" y="223"/>
                  </a:moveTo>
                  <a:lnTo>
                    <a:pt x="802" y="223"/>
                  </a:lnTo>
                  <a:lnTo>
                    <a:pt x="802" y="227"/>
                  </a:lnTo>
                  <a:lnTo>
                    <a:pt x="798" y="227"/>
                  </a:lnTo>
                  <a:lnTo>
                    <a:pt x="798" y="223"/>
                  </a:lnTo>
                  <a:lnTo>
                    <a:pt x="794" y="227"/>
                  </a:lnTo>
                  <a:lnTo>
                    <a:pt x="794" y="223"/>
                  </a:lnTo>
                  <a:lnTo>
                    <a:pt x="798" y="223"/>
                  </a:lnTo>
                  <a:close/>
                  <a:moveTo>
                    <a:pt x="786" y="227"/>
                  </a:moveTo>
                  <a:lnTo>
                    <a:pt x="790" y="227"/>
                  </a:lnTo>
                  <a:lnTo>
                    <a:pt x="794" y="227"/>
                  </a:lnTo>
                  <a:lnTo>
                    <a:pt x="794" y="231"/>
                  </a:lnTo>
                  <a:lnTo>
                    <a:pt x="794" y="227"/>
                  </a:lnTo>
                  <a:lnTo>
                    <a:pt x="790" y="227"/>
                  </a:lnTo>
                  <a:lnTo>
                    <a:pt x="786" y="227"/>
                  </a:lnTo>
                  <a:close/>
                  <a:moveTo>
                    <a:pt x="798" y="227"/>
                  </a:moveTo>
                  <a:lnTo>
                    <a:pt x="794" y="227"/>
                  </a:lnTo>
                  <a:lnTo>
                    <a:pt x="798" y="227"/>
                  </a:lnTo>
                  <a:lnTo>
                    <a:pt x="802" y="227"/>
                  </a:lnTo>
                  <a:lnTo>
                    <a:pt x="798" y="227"/>
                  </a:lnTo>
                  <a:close/>
                  <a:moveTo>
                    <a:pt x="119" y="235"/>
                  </a:moveTo>
                  <a:lnTo>
                    <a:pt x="123" y="235"/>
                  </a:lnTo>
                  <a:lnTo>
                    <a:pt x="119" y="235"/>
                  </a:lnTo>
                  <a:lnTo>
                    <a:pt x="116" y="235"/>
                  </a:lnTo>
                  <a:lnTo>
                    <a:pt x="119" y="235"/>
                  </a:lnTo>
                  <a:close/>
                  <a:moveTo>
                    <a:pt x="802" y="239"/>
                  </a:moveTo>
                  <a:lnTo>
                    <a:pt x="798" y="239"/>
                  </a:lnTo>
                  <a:lnTo>
                    <a:pt x="802" y="235"/>
                  </a:lnTo>
                  <a:lnTo>
                    <a:pt x="802" y="239"/>
                  </a:lnTo>
                  <a:close/>
                  <a:moveTo>
                    <a:pt x="798" y="263"/>
                  </a:moveTo>
                  <a:lnTo>
                    <a:pt x="802" y="267"/>
                  </a:lnTo>
                  <a:lnTo>
                    <a:pt x="798" y="267"/>
                  </a:lnTo>
                  <a:lnTo>
                    <a:pt x="802" y="267"/>
                  </a:lnTo>
                  <a:lnTo>
                    <a:pt x="806" y="271"/>
                  </a:lnTo>
                  <a:lnTo>
                    <a:pt x="802" y="275"/>
                  </a:lnTo>
                  <a:lnTo>
                    <a:pt x="798" y="275"/>
                  </a:lnTo>
                  <a:lnTo>
                    <a:pt x="794" y="275"/>
                  </a:lnTo>
                  <a:lnTo>
                    <a:pt x="794" y="271"/>
                  </a:lnTo>
                  <a:lnTo>
                    <a:pt x="794" y="267"/>
                  </a:lnTo>
                  <a:lnTo>
                    <a:pt x="794" y="263"/>
                  </a:lnTo>
                  <a:lnTo>
                    <a:pt x="798" y="263"/>
                  </a:lnTo>
                  <a:close/>
                  <a:moveTo>
                    <a:pt x="825" y="275"/>
                  </a:moveTo>
                  <a:lnTo>
                    <a:pt x="822" y="275"/>
                  </a:lnTo>
                  <a:lnTo>
                    <a:pt x="825" y="275"/>
                  </a:lnTo>
                  <a:lnTo>
                    <a:pt x="829" y="275"/>
                  </a:lnTo>
                  <a:lnTo>
                    <a:pt x="825" y="275"/>
                  </a:lnTo>
                  <a:close/>
                  <a:moveTo>
                    <a:pt x="822" y="279"/>
                  </a:moveTo>
                  <a:lnTo>
                    <a:pt x="818" y="279"/>
                  </a:lnTo>
                  <a:lnTo>
                    <a:pt x="814" y="279"/>
                  </a:lnTo>
                  <a:lnTo>
                    <a:pt x="818" y="275"/>
                  </a:lnTo>
                  <a:lnTo>
                    <a:pt x="822" y="275"/>
                  </a:lnTo>
                  <a:lnTo>
                    <a:pt x="822" y="279"/>
                  </a:lnTo>
                  <a:close/>
                  <a:moveTo>
                    <a:pt x="243" y="279"/>
                  </a:moveTo>
                  <a:lnTo>
                    <a:pt x="239" y="279"/>
                  </a:lnTo>
                  <a:lnTo>
                    <a:pt x="243" y="279"/>
                  </a:lnTo>
                  <a:close/>
                  <a:moveTo>
                    <a:pt x="235" y="279"/>
                  </a:moveTo>
                  <a:lnTo>
                    <a:pt x="239" y="279"/>
                  </a:lnTo>
                  <a:lnTo>
                    <a:pt x="243" y="279"/>
                  </a:lnTo>
                  <a:lnTo>
                    <a:pt x="247" y="279"/>
                  </a:lnTo>
                  <a:lnTo>
                    <a:pt x="251" y="279"/>
                  </a:lnTo>
                  <a:lnTo>
                    <a:pt x="247" y="279"/>
                  </a:lnTo>
                  <a:lnTo>
                    <a:pt x="243" y="279"/>
                  </a:lnTo>
                  <a:lnTo>
                    <a:pt x="239" y="283"/>
                  </a:lnTo>
                  <a:lnTo>
                    <a:pt x="235" y="279"/>
                  </a:lnTo>
                  <a:close/>
                  <a:moveTo>
                    <a:pt x="786" y="283"/>
                  </a:moveTo>
                  <a:lnTo>
                    <a:pt x="790" y="283"/>
                  </a:lnTo>
                  <a:lnTo>
                    <a:pt x="794" y="283"/>
                  </a:lnTo>
                  <a:lnTo>
                    <a:pt x="794" y="287"/>
                  </a:lnTo>
                  <a:lnTo>
                    <a:pt x="798" y="287"/>
                  </a:lnTo>
                  <a:lnTo>
                    <a:pt x="802" y="287"/>
                  </a:lnTo>
                  <a:lnTo>
                    <a:pt x="802" y="291"/>
                  </a:lnTo>
                  <a:lnTo>
                    <a:pt x="798" y="291"/>
                  </a:lnTo>
                  <a:lnTo>
                    <a:pt x="794" y="291"/>
                  </a:lnTo>
                  <a:lnTo>
                    <a:pt x="790" y="291"/>
                  </a:lnTo>
                  <a:lnTo>
                    <a:pt x="786" y="291"/>
                  </a:lnTo>
                  <a:lnTo>
                    <a:pt x="782" y="291"/>
                  </a:lnTo>
                  <a:lnTo>
                    <a:pt x="778" y="291"/>
                  </a:lnTo>
                  <a:lnTo>
                    <a:pt x="774" y="291"/>
                  </a:lnTo>
                  <a:lnTo>
                    <a:pt x="774" y="287"/>
                  </a:lnTo>
                  <a:lnTo>
                    <a:pt x="774" y="283"/>
                  </a:lnTo>
                  <a:lnTo>
                    <a:pt x="778" y="283"/>
                  </a:lnTo>
                  <a:lnTo>
                    <a:pt x="782" y="283"/>
                  </a:lnTo>
                  <a:lnTo>
                    <a:pt x="786" y="283"/>
                  </a:lnTo>
                  <a:close/>
                  <a:moveTo>
                    <a:pt x="251" y="299"/>
                  </a:moveTo>
                  <a:lnTo>
                    <a:pt x="247" y="299"/>
                  </a:lnTo>
                  <a:lnTo>
                    <a:pt x="251" y="299"/>
                  </a:lnTo>
                  <a:lnTo>
                    <a:pt x="255" y="299"/>
                  </a:lnTo>
                  <a:lnTo>
                    <a:pt x="259" y="299"/>
                  </a:lnTo>
                  <a:lnTo>
                    <a:pt x="255" y="299"/>
                  </a:lnTo>
                  <a:lnTo>
                    <a:pt x="251" y="299"/>
                  </a:lnTo>
                  <a:close/>
                  <a:moveTo>
                    <a:pt x="251" y="303"/>
                  </a:moveTo>
                  <a:lnTo>
                    <a:pt x="247" y="307"/>
                  </a:lnTo>
                  <a:lnTo>
                    <a:pt x="243" y="307"/>
                  </a:lnTo>
                  <a:lnTo>
                    <a:pt x="243" y="303"/>
                  </a:lnTo>
                  <a:lnTo>
                    <a:pt x="247" y="303"/>
                  </a:lnTo>
                  <a:lnTo>
                    <a:pt x="251" y="303"/>
                  </a:lnTo>
                  <a:close/>
                  <a:moveTo>
                    <a:pt x="251" y="307"/>
                  </a:moveTo>
                  <a:lnTo>
                    <a:pt x="247" y="307"/>
                  </a:lnTo>
                  <a:lnTo>
                    <a:pt x="251" y="307"/>
                  </a:lnTo>
                  <a:lnTo>
                    <a:pt x="251" y="303"/>
                  </a:lnTo>
                  <a:lnTo>
                    <a:pt x="255" y="303"/>
                  </a:lnTo>
                  <a:lnTo>
                    <a:pt x="255" y="307"/>
                  </a:lnTo>
                  <a:lnTo>
                    <a:pt x="251" y="307"/>
                  </a:lnTo>
                  <a:close/>
                  <a:moveTo>
                    <a:pt x="259" y="307"/>
                  </a:moveTo>
                  <a:lnTo>
                    <a:pt x="263" y="307"/>
                  </a:lnTo>
                  <a:lnTo>
                    <a:pt x="263" y="311"/>
                  </a:lnTo>
                  <a:lnTo>
                    <a:pt x="259" y="311"/>
                  </a:lnTo>
                  <a:lnTo>
                    <a:pt x="263" y="311"/>
                  </a:lnTo>
                  <a:lnTo>
                    <a:pt x="259" y="311"/>
                  </a:lnTo>
                  <a:lnTo>
                    <a:pt x="255" y="307"/>
                  </a:lnTo>
                  <a:lnTo>
                    <a:pt x="259" y="307"/>
                  </a:lnTo>
                  <a:close/>
                  <a:moveTo>
                    <a:pt x="259" y="311"/>
                  </a:moveTo>
                  <a:lnTo>
                    <a:pt x="255" y="311"/>
                  </a:lnTo>
                  <a:lnTo>
                    <a:pt x="259" y="311"/>
                  </a:lnTo>
                  <a:close/>
                  <a:moveTo>
                    <a:pt x="734" y="311"/>
                  </a:moveTo>
                  <a:lnTo>
                    <a:pt x="738" y="311"/>
                  </a:lnTo>
                  <a:lnTo>
                    <a:pt x="742" y="315"/>
                  </a:lnTo>
                  <a:lnTo>
                    <a:pt x="746" y="315"/>
                  </a:lnTo>
                  <a:lnTo>
                    <a:pt x="750" y="315"/>
                  </a:lnTo>
                  <a:lnTo>
                    <a:pt x="754" y="315"/>
                  </a:lnTo>
                  <a:lnTo>
                    <a:pt x="754" y="319"/>
                  </a:lnTo>
                  <a:lnTo>
                    <a:pt x="746" y="319"/>
                  </a:lnTo>
                  <a:lnTo>
                    <a:pt x="746" y="315"/>
                  </a:lnTo>
                  <a:lnTo>
                    <a:pt x="742" y="315"/>
                  </a:lnTo>
                  <a:lnTo>
                    <a:pt x="738" y="315"/>
                  </a:lnTo>
                  <a:lnTo>
                    <a:pt x="734" y="315"/>
                  </a:lnTo>
                  <a:lnTo>
                    <a:pt x="730" y="315"/>
                  </a:lnTo>
                  <a:lnTo>
                    <a:pt x="726" y="315"/>
                  </a:lnTo>
                  <a:lnTo>
                    <a:pt x="730" y="315"/>
                  </a:lnTo>
                  <a:lnTo>
                    <a:pt x="734" y="315"/>
                  </a:lnTo>
                  <a:lnTo>
                    <a:pt x="738" y="315"/>
                  </a:lnTo>
                  <a:lnTo>
                    <a:pt x="742" y="315"/>
                  </a:lnTo>
                  <a:lnTo>
                    <a:pt x="742" y="319"/>
                  </a:lnTo>
                  <a:lnTo>
                    <a:pt x="746" y="319"/>
                  </a:lnTo>
                  <a:lnTo>
                    <a:pt x="750" y="319"/>
                  </a:lnTo>
                  <a:lnTo>
                    <a:pt x="754" y="319"/>
                  </a:lnTo>
                  <a:lnTo>
                    <a:pt x="758" y="319"/>
                  </a:lnTo>
                  <a:lnTo>
                    <a:pt x="754" y="319"/>
                  </a:lnTo>
                  <a:lnTo>
                    <a:pt x="750" y="319"/>
                  </a:lnTo>
                  <a:lnTo>
                    <a:pt x="750" y="323"/>
                  </a:lnTo>
                  <a:lnTo>
                    <a:pt x="746" y="323"/>
                  </a:lnTo>
                  <a:lnTo>
                    <a:pt x="742" y="323"/>
                  </a:lnTo>
                  <a:lnTo>
                    <a:pt x="738" y="323"/>
                  </a:lnTo>
                  <a:lnTo>
                    <a:pt x="734" y="323"/>
                  </a:lnTo>
                  <a:lnTo>
                    <a:pt x="730" y="323"/>
                  </a:lnTo>
                  <a:lnTo>
                    <a:pt x="726" y="319"/>
                  </a:lnTo>
                  <a:lnTo>
                    <a:pt x="722" y="319"/>
                  </a:lnTo>
                  <a:lnTo>
                    <a:pt x="718" y="319"/>
                  </a:lnTo>
                  <a:lnTo>
                    <a:pt x="714" y="319"/>
                  </a:lnTo>
                  <a:lnTo>
                    <a:pt x="718" y="315"/>
                  </a:lnTo>
                  <a:lnTo>
                    <a:pt x="722" y="315"/>
                  </a:lnTo>
                  <a:lnTo>
                    <a:pt x="722" y="311"/>
                  </a:lnTo>
                  <a:lnTo>
                    <a:pt x="726" y="311"/>
                  </a:lnTo>
                  <a:lnTo>
                    <a:pt x="730" y="311"/>
                  </a:lnTo>
                  <a:lnTo>
                    <a:pt x="734" y="311"/>
                  </a:lnTo>
                  <a:close/>
                  <a:moveTo>
                    <a:pt x="263" y="315"/>
                  </a:moveTo>
                  <a:lnTo>
                    <a:pt x="267" y="311"/>
                  </a:lnTo>
                  <a:lnTo>
                    <a:pt x="267" y="315"/>
                  </a:lnTo>
                  <a:lnTo>
                    <a:pt x="263" y="315"/>
                  </a:lnTo>
                  <a:close/>
                  <a:moveTo>
                    <a:pt x="259" y="311"/>
                  </a:moveTo>
                  <a:lnTo>
                    <a:pt x="259" y="315"/>
                  </a:lnTo>
                  <a:lnTo>
                    <a:pt x="255" y="315"/>
                  </a:lnTo>
                  <a:lnTo>
                    <a:pt x="255" y="311"/>
                  </a:lnTo>
                  <a:lnTo>
                    <a:pt x="259" y="311"/>
                  </a:lnTo>
                  <a:close/>
                  <a:moveTo>
                    <a:pt x="263" y="315"/>
                  </a:moveTo>
                  <a:lnTo>
                    <a:pt x="259" y="315"/>
                  </a:lnTo>
                  <a:lnTo>
                    <a:pt x="263" y="315"/>
                  </a:lnTo>
                  <a:close/>
                  <a:moveTo>
                    <a:pt x="259" y="315"/>
                  </a:moveTo>
                  <a:lnTo>
                    <a:pt x="259" y="319"/>
                  </a:lnTo>
                  <a:lnTo>
                    <a:pt x="255" y="319"/>
                  </a:lnTo>
                  <a:lnTo>
                    <a:pt x="255" y="315"/>
                  </a:lnTo>
                  <a:lnTo>
                    <a:pt x="259" y="315"/>
                  </a:lnTo>
                  <a:close/>
                  <a:moveTo>
                    <a:pt x="267" y="327"/>
                  </a:moveTo>
                  <a:lnTo>
                    <a:pt x="267" y="323"/>
                  </a:lnTo>
                  <a:lnTo>
                    <a:pt x="263" y="323"/>
                  </a:lnTo>
                  <a:lnTo>
                    <a:pt x="267" y="323"/>
                  </a:lnTo>
                  <a:lnTo>
                    <a:pt x="271" y="323"/>
                  </a:lnTo>
                  <a:lnTo>
                    <a:pt x="271" y="327"/>
                  </a:lnTo>
                  <a:lnTo>
                    <a:pt x="267" y="327"/>
                  </a:lnTo>
                  <a:close/>
                  <a:moveTo>
                    <a:pt x="730" y="327"/>
                  </a:moveTo>
                  <a:lnTo>
                    <a:pt x="730" y="331"/>
                  </a:lnTo>
                  <a:lnTo>
                    <a:pt x="726" y="331"/>
                  </a:lnTo>
                  <a:lnTo>
                    <a:pt x="722" y="327"/>
                  </a:lnTo>
                  <a:lnTo>
                    <a:pt x="726" y="327"/>
                  </a:lnTo>
                  <a:lnTo>
                    <a:pt x="730" y="327"/>
                  </a:lnTo>
                  <a:close/>
                  <a:moveTo>
                    <a:pt x="263" y="327"/>
                  </a:moveTo>
                  <a:lnTo>
                    <a:pt x="267" y="327"/>
                  </a:lnTo>
                  <a:lnTo>
                    <a:pt x="263" y="327"/>
                  </a:lnTo>
                  <a:close/>
                  <a:moveTo>
                    <a:pt x="271" y="327"/>
                  </a:moveTo>
                  <a:lnTo>
                    <a:pt x="271" y="331"/>
                  </a:lnTo>
                  <a:lnTo>
                    <a:pt x="267" y="331"/>
                  </a:lnTo>
                  <a:lnTo>
                    <a:pt x="267" y="335"/>
                  </a:lnTo>
                  <a:lnTo>
                    <a:pt x="263" y="335"/>
                  </a:lnTo>
                  <a:lnTo>
                    <a:pt x="259" y="335"/>
                  </a:lnTo>
                  <a:lnTo>
                    <a:pt x="263" y="331"/>
                  </a:lnTo>
                  <a:lnTo>
                    <a:pt x="267" y="331"/>
                  </a:lnTo>
                  <a:lnTo>
                    <a:pt x="267" y="327"/>
                  </a:lnTo>
                  <a:lnTo>
                    <a:pt x="271" y="327"/>
                  </a:lnTo>
                  <a:close/>
                  <a:moveTo>
                    <a:pt x="263" y="331"/>
                  </a:moveTo>
                  <a:lnTo>
                    <a:pt x="259" y="331"/>
                  </a:lnTo>
                  <a:lnTo>
                    <a:pt x="255" y="335"/>
                  </a:lnTo>
                  <a:lnTo>
                    <a:pt x="255" y="331"/>
                  </a:lnTo>
                  <a:lnTo>
                    <a:pt x="259" y="331"/>
                  </a:lnTo>
                  <a:lnTo>
                    <a:pt x="263" y="331"/>
                  </a:lnTo>
                  <a:close/>
                  <a:moveTo>
                    <a:pt x="271" y="331"/>
                  </a:moveTo>
                  <a:lnTo>
                    <a:pt x="275" y="331"/>
                  </a:lnTo>
                  <a:lnTo>
                    <a:pt x="271" y="331"/>
                  </a:lnTo>
                  <a:close/>
                  <a:moveTo>
                    <a:pt x="271" y="331"/>
                  </a:moveTo>
                  <a:lnTo>
                    <a:pt x="271" y="335"/>
                  </a:lnTo>
                  <a:lnTo>
                    <a:pt x="267" y="335"/>
                  </a:lnTo>
                  <a:lnTo>
                    <a:pt x="267" y="331"/>
                  </a:lnTo>
                  <a:lnTo>
                    <a:pt x="271" y="331"/>
                  </a:lnTo>
                  <a:close/>
                  <a:moveTo>
                    <a:pt x="271" y="335"/>
                  </a:moveTo>
                  <a:lnTo>
                    <a:pt x="267" y="335"/>
                  </a:lnTo>
                  <a:lnTo>
                    <a:pt x="271" y="335"/>
                  </a:lnTo>
                  <a:close/>
                  <a:moveTo>
                    <a:pt x="271" y="339"/>
                  </a:moveTo>
                  <a:lnTo>
                    <a:pt x="271" y="343"/>
                  </a:lnTo>
                  <a:lnTo>
                    <a:pt x="267" y="343"/>
                  </a:lnTo>
                  <a:lnTo>
                    <a:pt x="267" y="347"/>
                  </a:lnTo>
                  <a:lnTo>
                    <a:pt x="263" y="347"/>
                  </a:lnTo>
                  <a:lnTo>
                    <a:pt x="263" y="343"/>
                  </a:lnTo>
                  <a:lnTo>
                    <a:pt x="267" y="343"/>
                  </a:lnTo>
                  <a:lnTo>
                    <a:pt x="271" y="343"/>
                  </a:lnTo>
                  <a:lnTo>
                    <a:pt x="271" y="339"/>
                  </a:lnTo>
                  <a:close/>
                  <a:moveTo>
                    <a:pt x="718" y="375"/>
                  </a:moveTo>
                  <a:lnTo>
                    <a:pt x="722" y="379"/>
                  </a:lnTo>
                  <a:lnTo>
                    <a:pt x="718" y="375"/>
                  </a:lnTo>
                  <a:close/>
                  <a:moveTo>
                    <a:pt x="331" y="395"/>
                  </a:moveTo>
                  <a:lnTo>
                    <a:pt x="327" y="395"/>
                  </a:lnTo>
                  <a:lnTo>
                    <a:pt x="327" y="391"/>
                  </a:lnTo>
                  <a:lnTo>
                    <a:pt x="323" y="391"/>
                  </a:lnTo>
                  <a:lnTo>
                    <a:pt x="327" y="391"/>
                  </a:lnTo>
                  <a:lnTo>
                    <a:pt x="331" y="395"/>
                  </a:lnTo>
                  <a:close/>
                  <a:moveTo>
                    <a:pt x="754" y="415"/>
                  </a:moveTo>
                  <a:lnTo>
                    <a:pt x="750" y="415"/>
                  </a:lnTo>
                  <a:lnTo>
                    <a:pt x="746" y="415"/>
                  </a:lnTo>
                  <a:lnTo>
                    <a:pt x="750" y="415"/>
                  </a:lnTo>
                  <a:lnTo>
                    <a:pt x="754" y="415"/>
                  </a:lnTo>
                  <a:close/>
                  <a:moveTo>
                    <a:pt x="319" y="443"/>
                  </a:moveTo>
                  <a:lnTo>
                    <a:pt x="315" y="447"/>
                  </a:lnTo>
                  <a:lnTo>
                    <a:pt x="311" y="447"/>
                  </a:lnTo>
                  <a:lnTo>
                    <a:pt x="311" y="443"/>
                  </a:lnTo>
                  <a:lnTo>
                    <a:pt x="315" y="443"/>
                  </a:lnTo>
                  <a:lnTo>
                    <a:pt x="319" y="443"/>
                  </a:lnTo>
                  <a:lnTo>
                    <a:pt x="315" y="443"/>
                  </a:lnTo>
                  <a:lnTo>
                    <a:pt x="315" y="447"/>
                  </a:lnTo>
                  <a:lnTo>
                    <a:pt x="319" y="443"/>
                  </a:lnTo>
                  <a:close/>
                  <a:moveTo>
                    <a:pt x="303" y="447"/>
                  </a:moveTo>
                  <a:lnTo>
                    <a:pt x="303" y="451"/>
                  </a:lnTo>
                  <a:lnTo>
                    <a:pt x="299" y="451"/>
                  </a:lnTo>
                  <a:lnTo>
                    <a:pt x="303" y="447"/>
                  </a:lnTo>
                  <a:close/>
                  <a:moveTo>
                    <a:pt x="626" y="455"/>
                  </a:moveTo>
                  <a:lnTo>
                    <a:pt x="622" y="455"/>
                  </a:lnTo>
                  <a:lnTo>
                    <a:pt x="626" y="455"/>
                  </a:lnTo>
                  <a:lnTo>
                    <a:pt x="622" y="455"/>
                  </a:lnTo>
                  <a:lnTo>
                    <a:pt x="626" y="455"/>
                  </a:lnTo>
                  <a:close/>
                  <a:moveTo>
                    <a:pt x="303" y="491"/>
                  </a:moveTo>
                  <a:lnTo>
                    <a:pt x="299" y="491"/>
                  </a:lnTo>
                  <a:lnTo>
                    <a:pt x="295" y="491"/>
                  </a:lnTo>
                  <a:lnTo>
                    <a:pt x="299" y="491"/>
                  </a:lnTo>
                  <a:lnTo>
                    <a:pt x="303" y="491"/>
                  </a:lnTo>
                  <a:close/>
                  <a:moveTo>
                    <a:pt x="546" y="519"/>
                  </a:moveTo>
                  <a:lnTo>
                    <a:pt x="546" y="515"/>
                  </a:lnTo>
                  <a:lnTo>
                    <a:pt x="546" y="519"/>
                  </a:lnTo>
                  <a:close/>
                  <a:moveTo>
                    <a:pt x="546" y="523"/>
                  </a:moveTo>
                  <a:lnTo>
                    <a:pt x="542" y="523"/>
                  </a:lnTo>
                  <a:lnTo>
                    <a:pt x="542" y="519"/>
                  </a:lnTo>
                  <a:lnTo>
                    <a:pt x="546" y="523"/>
                  </a:lnTo>
                  <a:close/>
                  <a:moveTo>
                    <a:pt x="299" y="523"/>
                  </a:moveTo>
                  <a:lnTo>
                    <a:pt x="303" y="523"/>
                  </a:lnTo>
                  <a:lnTo>
                    <a:pt x="303" y="527"/>
                  </a:lnTo>
                  <a:lnTo>
                    <a:pt x="299" y="523"/>
                  </a:lnTo>
                  <a:close/>
                  <a:moveTo>
                    <a:pt x="482" y="559"/>
                  </a:moveTo>
                  <a:lnTo>
                    <a:pt x="486" y="559"/>
                  </a:lnTo>
                  <a:lnTo>
                    <a:pt x="490" y="559"/>
                  </a:lnTo>
                  <a:lnTo>
                    <a:pt x="486" y="559"/>
                  </a:lnTo>
                  <a:lnTo>
                    <a:pt x="482" y="559"/>
                  </a:lnTo>
                  <a:close/>
                  <a:moveTo>
                    <a:pt x="482" y="587"/>
                  </a:moveTo>
                  <a:lnTo>
                    <a:pt x="482" y="583"/>
                  </a:lnTo>
                  <a:lnTo>
                    <a:pt x="478" y="583"/>
                  </a:lnTo>
                  <a:lnTo>
                    <a:pt x="474" y="583"/>
                  </a:lnTo>
                  <a:lnTo>
                    <a:pt x="474" y="579"/>
                  </a:lnTo>
                  <a:lnTo>
                    <a:pt x="471" y="579"/>
                  </a:lnTo>
                  <a:lnTo>
                    <a:pt x="474" y="579"/>
                  </a:lnTo>
                  <a:lnTo>
                    <a:pt x="478" y="579"/>
                  </a:lnTo>
                  <a:lnTo>
                    <a:pt x="478" y="583"/>
                  </a:lnTo>
                  <a:lnTo>
                    <a:pt x="482" y="583"/>
                  </a:lnTo>
                  <a:lnTo>
                    <a:pt x="482" y="587"/>
                  </a:lnTo>
                  <a:close/>
                  <a:moveTo>
                    <a:pt x="482" y="587"/>
                  </a:moveTo>
                  <a:lnTo>
                    <a:pt x="478" y="587"/>
                  </a:lnTo>
                  <a:lnTo>
                    <a:pt x="482" y="587"/>
                  </a:lnTo>
                  <a:close/>
                  <a:moveTo>
                    <a:pt x="335" y="587"/>
                  </a:moveTo>
                  <a:lnTo>
                    <a:pt x="339" y="587"/>
                  </a:lnTo>
                  <a:lnTo>
                    <a:pt x="335" y="587"/>
                  </a:lnTo>
                  <a:close/>
                  <a:moveTo>
                    <a:pt x="478" y="587"/>
                  </a:moveTo>
                  <a:lnTo>
                    <a:pt x="474" y="587"/>
                  </a:lnTo>
                  <a:lnTo>
                    <a:pt x="478" y="587"/>
                  </a:lnTo>
                  <a:lnTo>
                    <a:pt x="478" y="591"/>
                  </a:lnTo>
                  <a:lnTo>
                    <a:pt x="478" y="587"/>
                  </a:lnTo>
                  <a:close/>
                  <a:moveTo>
                    <a:pt x="474" y="595"/>
                  </a:moveTo>
                  <a:lnTo>
                    <a:pt x="474" y="591"/>
                  </a:lnTo>
                  <a:lnTo>
                    <a:pt x="478" y="591"/>
                  </a:lnTo>
                  <a:lnTo>
                    <a:pt x="474" y="595"/>
                  </a:lnTo>
                  <a:close/>
                  <a:moveTo>
                    <a:pt x="463" y="599"/>
                  </a:moveTo>
                  <a:lnTo>
                    <a:pt x="463" y="595"/>
                  </a:lnTo>
                  <a:lnTo>
                    <a:pt x="467" y="595"/>
                  </a:lnTo>
                  <a:lnTo>
                    <a:pt x="471" y="595"/>
                  </a:lnTo>
                  <a:lnTo>
                    <a:pt x="471" y="599"/>
                  </a:lnTo>
                  <a:lnTo>
                    <a:pt x="471" y="595"/>
                  </a:lnTo>
                  <a:lnTo>
                    <a:pt x="467" y="595"/>
                  </a:lnTo>
                  <a:lnTo>
                    <a:pt x="467" y="599"/>
                  </a:lnTo>
                  <a:lnTo>
                    <a:pt x="471" y="599"/>
                  </a:lnTo>
                  <a:lnTo>
                    <a:pt x="467" y="599"/>
                  </a:lnTo>
                  <a:lnTo>
                    <a:pt x="463" y="599"/>
                  </a:lnTo>
                  <a:close/>
                  <a:moveTo>
                    <a:pt x="467" y="603"/>
                  </a:moveTo>
                  <a:lnTo>
                    <a:pt x="463" y="603"/>
                  </a:lnTo>
                  <a:lnTo>
                    <a:pt x="467" y="599"/>
                  </a:lnTo>
                  <a:lnTo>
                    <a:pt x="467" y="603"/>
                  </a:lnTo>
                  <a:close/>
                  <a:moveTo>
                    <a:pt x="355" y="619"/>
                  </a:moveTo>
                  <a:lnTo>
                    <a:pt x="355" y="615"/>
                  </a:lnTo>
                  <a:lnTo>
                    <a:pt x="355" y="619"/>
                  </a:lnTo>
                  <a:close/>
                  <a:moveTo>
                    <a:pt x="467" y="622"/>
                  </a:moveTo>
                  <a:lnTo>
                    <a:pt x="467" y="619"/>
                  </a:lnTo>
                  <a:lnTo>
                    <a:pt x="467" y="622"/>
                  </a:lnTo>
                  <a:close/>
                  <a:moveTo>
                    <a:pt x="371" y="630"/>
                  </a:moveTo>
                  <a:lnTo>
                    <a:pt x="367" y="630"/>
                  </a:lnTo>
                  <a:lnTo>
                    <a:pt x="371" y="630"/>
                  </a:lnTo>
                  <a:close/>
                  <a:moveTo>
                    <a:pt x="375" y="638"/>
                  </a:moveTo>
                  <a:lnTo>
                    <a:pt x="379" y="638"/>
                  </a:lnTo>
                  <a:lnTo>
                    <a:pt x="375" y="638"/>
                  </a:lnTo>
                  <a:lnTo>
                    <a:pt x="371" y="638"/>
                  </a:lnTo>
                  <a:lnTo>
                    <a:pt x="375" y="638"/>
                  </a:lnTo>
                  <a:close/>
                  <a:moveTo>
                    <a:pt x="407" y="642"/>
                  </a:moveTo>
                  <a:lnTo>
                    <a:pt x="403" y="642"/>
                  </a:lnTo>
                  <a:lnTo>
                    <a:pt x="403" y="646"/>
                  </a:lnTo>
                  <a:lnTo>
                    <a:pt x="399" y="646"/>
                  </a:lnTo>
                  <a:lnTo>
                    <a:pt x="395" y="646"/>
                  </a:lnTo>
                  <a:lnTo>
                    <a:pt x="399" y="646"/>
                  </a:lnTo>
                  <a:lnTo>
                    <a:pt x="399" y="642"/>
                  </a:lnTo>
                  <a:lnTo>
                    <a:pt x="403" y="642"/>
                  </a:lnTo>
                  <a:lnTo>
                    <a:pt x="407" y="642"/>
                  </a:lnTo>
                  <a:close/>
                  <a:moveTo>
                    <a:pt x="455" y="642"/>
                  </a:moveTo>
                  <a:lnTo>
                    <a:pt x="459" y="642"/>
                  </a:lnTo>
                  <a:lnTo>
                    <a:pt x="455" y="642"/>
                  </a:lnTo>
                  <a:close/>
                  <a:moveTo>
                    <a:pt x="383" y="646"/>
                  </a:moveTo>
                  <a:lnTo>
                    <a:pt x="379" y="646"/>
                  </a:lnTo>
                  <a:lnTo>
                    <a:pt x="375" y="646"/>
                  </a:lnTo>
                  <a:lnTo>
                    <a:pt x="379" y="642"/>
                  </a:lnTo>
                  <a:lnTo>
                    <a:pt x="383" y="642"/>
                  </a:lnTo>
                  <a:lnTo>
                    <a:pt x="383" y="646"/>
                  </a:lnTo>
                  <a:close/>
                  <a:moveTo>
                    <a:pt x="411" y="646"/>
                  </a:moveTo>
                  <a:lnTo>
                    <a:pt x="407" y="646"/>
                  </a:lnTo>
                  <a:lnTo>
                    <a:pt x="407" y="650"/>
                  </a:lnTo>
                  <a:lnTo>
                    <a:pt x="407" y="646"/>
                  </a:lnTo>
                  <a:lnTo>
                    <a:pt x="411" y="646"/>
                  </a:lnTo>
                  <a:close/>
                  <a:moveTo>
                    <a:pt x="411" y="646"/>
                  </a:moveTo>
                  <a:lnTo>
                    <a:pt x="411" y="650"/>
                  </a:lnTo>
                  <a:lnTo>
                    <a:pt x="407" y="650"/>
                  </a:lnTo>
                  <a:lnTo>
                    <a:pt x="411" y="646"/>
                  </a:lnTo>
                  <a:close/>
                  <a:moveTo>
                    <a:pt x="423" y="654"/>
                  </a:moveTo>
                  <a:lnTo>
                    <a:pt x="423" y="658"/>
                  </a:lnTo>
                  <a:lnTo>
                    <a:pt x="419" y="658"/>
                  </a:lnTo>
                  <a:lnTo>
                    <a:pt x="419" y="654"/>
                  </a:lnTo>
                  <a:lnTo>
                    <a:pt x="423" y="654"/>
                  </a:lnTo>
                  <a:close/>
                  <a:moveTo>
                    <a:pt x="447" y="666"/>
                  </a:moveTo>
                  <a:lnTo>
                    <a:pt x="443" y="666"/>
                  </a:lnTo>
                  <a:lnTo>
                    <a:pt x="439" y="662"/>
                  </a:lnTo>
                  <a:lnTo>
                    <a:pt x="439" y="658"/>
                  </a:lnTo>
                  <a:lnTo>
                    <a:pt x="443" y="662"/>
                  </a:lnTo>
                  <a:lnTo>
                    <a:pt x="447" y="662"/>
                  </a:lnTo>
                  <a:lnTo>
                    <a:pt x="451" y="662"/>
                  </a:lnTo>
                  <a:lnTo>
                    <a:pt x="451" y="666"/>
                  </a:lnTo>
                  <a:lnTo>
                    <a:pt x="451" y="662"/>
                  </a:lnTo>
                  <a:lnTo>
                    <a:pt x="447" y="662"/>
                  </a:lnTo>
                  <a:lnTo>
                    <a:pt x="447" y="666"/>
                  </a:lnTo>
                  <a:close/>
                  <a:moveTo>
                    <a:pt x="435" y="658"/>
                  </a:moveTo>
                  <a:lnTo>
                    <a:pt x="435" y="662"/>
                  </a:lnTo>
                  <a:lnTo>
                    <a:pt x="439" y="662"/>
                  </a:lnTo>
                  <a:lnTo>
                    <a:pt x="435" y="662"/>
                  </a:lnTo>
                  <a:lnTo>
                    <a:pt x="435" y="658"/>
                  </a:lnTo>
                  <a:close/>
                  <a:moveTo>
                    <a:pt x="435" y="662"/>
                  </a:moveTo>
                  <a:lnTo>
                    <a:pt x="435" y="666"/>
                  </a:lnTo>
                  <a:lnTo>
                    <a:pt x="431" y="666"/>
                  </a:lnTo>
                  <a:lnTo>
                    <a:pt x="431" y="662"/>
                  </a:lnTo>
                  <a:lnTo>
                    <a:pt x="435" y="662"/>
                  </a:lnTo>
                  <a:close/>
                  <a:moveTo>
                    <a:pt x="447" y="666"/>
                  </a:moveTo>
                  <a:lnTo>
                    <a:pt x="447" y="662"/>
                  </a:lnTo>
                  <a:lnTo>
                    <a:pt x="451" y="662"/>
                  </a:lnTo>
                  <a:lnTo>
                    <a:pt x="447" y="666"/>
                  </a:lnTo>
                  <a:close/>
                  <a:moveTo>
                    <a:pt x="435" y="666"/>
                  </a:moveTo>
                  <a:lnTo>
                    <a:pt x="435" y="662"/>
                  </a:lnTo>
                  <a:lnTo>
                    <a:pt x="439" y="662"/>
                  </a:lnTo>
                  <a:lnTo>
                    <a:pt x="439" y="666"/>
                  </a:lnTo>
                  <a:lnTo>
                    <a:pt x="435" y="666"/>
                  </a:lnTo>
                  <a:close/>
                  <a:moveTo>
                    <a:pt x="439" y="670"/>
                  </a:moveTo>
                  <a:lnTo>
                    <a:pt x="439" y="666"/>
                  </a:lnTo>
                  <a:lnTo>
                    <a:pt x="443" y="666"/>
                  </a:lnTo>
                  <a:lnTo>
                    <a:pt x="443" y="670"/>
                  </a:lnTo>
                  <a:lnTo>
                    <a:pt x="439" y="670"/>
                  </a:lnTo>
                  <a:close/>
                  <a:moveTo>
                    <a:pt x="335" y="443"/>
                  </a:moveTo>
                  <a:lnTo>
                    <a:pt x="335" y="439"/>
                  </a:lnTo>
                  <a:lnTo>
                    <a:pt x="339" y="439"/>
                  </a:lnTo>
                  <a:lnTo>
                    <a:pt x="335" y="439"/>
                  </a:lnTo>
                  <a:lnTo>
                    <a:pt x="331" y="439"/>
                  </a:lnTo>
                  <a:lnTo>
                    <a:pt x="331" y="443"/>
                  </a:lnTo>
                  <a:lnTo>
                    <a:pt x="331" y="439"/>
                  </a:lnTo>
                  <a:lnTo>
                    <a:pt x="327" y="439"/>
                  </a:lnTo>
                  <a:lnTo>
                    <a:pt x="331" y="439"/>
                  </a:lnTo>
                  <a:lnTo>
                    <a:pt x="335" y="435"/>
                  </a:lnTo>
                  <a:lnTo>
                    <a:pt x="331" y="435"/>
                  </a:lnTo>
                  <a:lnTo>
                    <a:pt x="331" y="431"/>
                  </a:lnTo>
                  <a:lnTo>
                    <a:pt x="335" y="431"/>
                  </a:lnTo>
                  <a:lnTo>
                    <a:pt x="335" y="435"/>
                  </a:lnTo>
                  <a:lnTo>
                    <a:pt x="335" y="431"/>
                  </a:lnTo>
                  <a:lnTo>
                    <a:pt x="339" y="431"/>
                  </a:lnTo>
                  <a:lnTo>
                    <a:pt x="339" y="435"/>
                  </a:lnTo>
                  <a:lnTo>
                    <a:pt x="343" y="435"/>
                  </a:lnTo>
                  <a:lnTo>
                    <a:pt x="339" y="435"/>
                  </a:lnTo>
                  <a:lnTo>
                    <a:pt x="343" y="435"/>
                  </a:lnTo>
                  <a:lnTo>
                    <a:pt x="343" y="431"/>
                  </a:lnTo>
                  <a:lnTo>
                    <a:pt x="343" y="435"/>
                  </a:lnTo>
                  <a:lnTo>
                    <a:pt x="347" y="435"/>
                  </a:lnTo>
                  <a:lnTo>
                    <a:pt x="347" y="431"/>
                  </a:lnTo>
                  <a:lnTo>
                    <a:pt x="343" y="431"/>
                  </a:lnTo>
                  <a:lnTo>
                    <a:pt x="339" y="431"/>
                  </a:lnTo>
                  <a:lnTo>
                    <a:pt x="343" y="431"/>
                  </a:lnTo>
                  <a:lnTo>
                    <a:pt x="347" y="431"/>
                  </a:lnTo>
                  <a:lnTo>
                    <a:pt x="347" y="427"/>
                  </a:lnTo>
                  <a:lnTo>
                    <a:pt x="343" y="427"/>
                  </a:lnTo>
                  <a:lnTo>
                    <a:pt x="339" y="427"/>
                  </a:lnTo>
                  <a:lnTo>
                    <a:pt x="343" y="427"/>
                  </a:lnTo>
                  <a:lnTo>
                    <a:pt x="343" y="423"/>
                  </a:lnTo>
                  <a:lnTo>
                    <a:pt x="339" y="423"/>
                  </a:lnTo>
                  <a:lnTo>
                    <a:pt x="339" y="427"/>
                  </a:lnTo>
                  <a:lnTo>
                    <a:pt x="335" y="431"/>
                  </a:lnTo>
                  <a:lnTo>
                    <a:pt x="331" y="431"/>
                  </a:lnTo>
                  <a:lnTo>
                    <a:pt x="331" y="427"/>
                  </a:lnTo>
                  <a:lnTo>
                    <a:pt x="335" y="427"/>
                  </a:lnTo>
                  <a:lnTo>
                    <a:pt x="335" y="423"/>
                  </a:lnTo>
                  <a:lnTo>
                    <a:pt x="339" y="419"/>
                  </a:lnTo>
                  <a:lnTo>
                    <a:pt x="343" y="419"/>
                  </a:lnTo>
                  <a:lnTo>
                    <a:pt x="339" y="419"/>
                  </a:lnTo>
                  <a:lnTo>
                    <a:pt x="335" y="419"/>
                  </a:lnTo>
                  <a:lnTo>
                    <a:pt x="335" y="415"/>
                  </a:lnTo>
                  <a:lnTo>
                    <a:pt x="339" y="415"/>
                  </a:lnTo>
                  <a:lnTo>
                    <a:pt x="339" y="419"/>
                  </a:lnTo>
                  <a:lnTo>
                    <a:pt x="343" y="419"/>
                  </a:lnTo>
                  <a:lnTo>
                    <a:pt x="343" y="415"/>
                  </a:lnTo>
                  <a:lnTo>
                    <a:pt x="339" y="415"/>
                  </a:lnTo>
                  <a:lnTo>
                    <a:pt x="335" y="415"/>
                  </a:lnTo>
                  <a:lnTo>
                    <a:pt x="339" y="415"/>
                  </a:lnTo>
                  <a:lnTo>
                    <a:pt x="339" y="411"/>
                  </a:lnTo>
                  <a:lnTo>
                    <a:pt x="343" y="415"/>
                  </a:lnTo>
                  <a:lnTo>
                    <a:pt x="347" y="415"/>
                  </a:lnTo>
                  <a:lnTo>
                    <a:pt x="343" y="411"/>
                  </a:lnTo>
                  <a:lnTo>
                    <a:pt x="339" y="411"/>
                  </a:lnTo>
                  <a:lnTo>
                    <a:pt x="339" y="407"/>
                  </a:lnTo>
                  <a:lnTo>
                    <a:pt x="343" y="407"/>
                  </a:lnTo>
                  <a:lnTo>
                    <a:pt x="339" y="407"/>
                  </a:lnTo>
                  <a:lnTo>
                    <a:pt x="335" y="407"/>
                  </a:lnTo>
                  <a:lnTo>
                    <a:pt x="331" y="407"/>
                  </a:lnTo>
                  <a:lnTo>
                    <a:pt x="327" y="407"/>
                  </a:lnTo>
                  <a:lnTo>
                    <a:pt x="331" y="407"/>
                  </a:lnTo>
                  <a:lnTo>
                    <a:pt x="335" y="407"/>
                  </a:lnTo>
                  <a:lnTo>
                    <a:pt x="331" y="403"/>
                  </a:lnTo>
                  <a:lnTo>
                    <a:pt x="327" y="403"/>
                  </a:lnTo>
                  <a:lnTo>
                    <a:pt x="327" y="407"/>
                  </a:lnTo>
                  <a:lnTo>
                    <a:pt x="323" y="407"/>
                  </a:lnTo>
                  <a:lnTo>
                    <a:pt x="319" y="407"/>
                  </a:lnTo>
                  <a:lnTo>
                    <a:pt x="315" y="407"/>
                  </a:lnTo>
                  <a:lnTo>
                    <a:pt x="311" y="407"/>
                  </a:lnTo>
                  <a:lnTo>
                    <a:pt x="311" y="403"/>
                  </a:lnTo>
                  <a:lnTo>
                    <a:pt x="307" y="403"/>
                  </a:lnTo>
                  <a:lnTo>
                    <a:pt x="307" y="399"/>
                  </a:lnTo>
                  <a:lnTo>
                    <a:pt x="303" y="399"/>
                  </a:lnTo>
                  <a:lnTo>
                    <a:pt x="299" y="399"/>
                  </a:lnTo>
                  <a:lnTo>
                    <a:pt x="295" y="395"/>
                  </a:lnTo>
                  <a:lnTo>
                    <a:pt x="291" y="395"/>
                  </a:lnTo>
                  <a:lnTo>
                    <a:pt x="287" y="395"/>
                  </a:lnTo>
                  <a:lnTo>
                    <a:pt x="283" y="395"/>
                  </a:lnTo>
                  <a:lnTo>
                    <a:pt x="283" y="391"/>
                  </a:lnTo>
                  <a:lnTo>
                    <a:pt x="279" y="387"/>
                  </a:lnTo>
                  <a:lnTo>
                    <a:pt x="283" y="387"/>
                  </a:lnTo>
                  <a:lnTo>
                    <a:pt x="283" y="383"/>
                  </a:lnTo>
                  <a:lnTo>
                    <a:pt x="287" y="383"/>
                  </a:lnTo>
                  <a:lnTo>
                    <a:pt x="291" y="383"/>
                  </a:lnTo>
                  <a:lnTo>
                    <a:pt x="295" y="387"/>
                  </a:lnTo>
                  <a:lnTo>
                    <a:pt x="299" y="387"/>
                  </a:lnTo>
                  <a:lnTo>
                    <a:pt x="303" y="387"/>
                  </a:lnTo>
                  <a:lnTo>
                    <a:pt x="307" y="387"/>
                  </a:lnTo>
                  <a:lnTo>
                    <a:pt x="311" y="387"/>
                  </a:lnTo>
                  <a:lnTo>
                    <a:pt x="315" y="391"/>
                  </a:lnTo>
                  <a:lnTo>
                    <a:pt x="319" y="391"/>
                  </a:lnTo>
                  <a:lnTo>
                    <a:pt x="323" y="395"/>
                  </a:lnTo>
                  <a:lnTo>
                    <a:pt x="327" y="395"/>
                  </a:lnTo>
                  <a:lnTo>
                    <a:pt x="331" y="395"/>
                  </a:lnTo>
                  <a:lnTo>
                    <a:pt x="335" y="395"/>
                  </a:lnTo>
                  <a:lnTo>
                    <a:pt x="335" y="399"/>
                  </a:lnTo>
                  <a:lnTo>
                    <a:pt x="339" y="399"/>
                  </a:lnTo>
                  <a:lnTo>
                    <a:pt x="339" y="395"/>
                  </a:lnTo>
                  <a:lnTo>
                    <a:pt x="339" y="391"/>
                  </a:lnTo>
                  <a:lnTo>
                    <a:pt x="339" y="395"/>
                  </a:lnTo>
                  <a:lnTo>
                    <a:pt x="335" y="395"/>
                  </a:lnTo>
                  <a:lnTo>
                    <a:pt x="331" y="395"/>
                  </a:lnTo>
                  <a:lnTo>
                    <a:pt x="335" y="395"/>
                  </a:lnTo>
                  <a:lnTo>
                    <a:pt x="331" y="391"/>
                  </a:lnTo>
                  <a:lnTo>
                    <a:pt x="327" y="391"/>
                  </a:lnTo>
                  <a:lnTo>
                    <a:pt x="331" y="391"/>
                  </a:lnTo>
                  <a:lnTo>
                    <a:pt x="335" y="391"/>
                  </a:lnTo>
                  <a:lnTo>
                    <a:pt x="335" y="387"/>
                  </a:lnTo>
                  <a:lnTo>
                    <a:pt x="335" y="391"/>
                  </a:lnTo>
                  <a:lnTo>
                    <a:pt x="339" y="391"/>
                  </a:lnTo>
                  <a:lnTo>
                    <a:pt x="335" y="387"/>
                  </a:lnTo>
                  <a:lnTo>
                    <a:pt x="331" y="387"/>
                  </a:lnTo>
                  <a:lnTo>
                    <a:pt x="327" y="387"/>
                  </a:lnTo>
                  <a:lnTo>
                    <a:pt x="327" y="383"/>
                  </a:lnTo>
                  <a:lnTo>
                    <a:pt x="331" y="383"/>
                  </a:lnTo>
                  <a:lnTo>
                    <a:pt x="335" y="387"/>
                  </a:lnTo>
                  <a:lnTo>
                    <a:pt x="339" y="387"/>
                  </a:lnTo>
                  <a:lnTo>
                    <a:pt x="335" y="387"/>
                  </a:lnTo>
                  <a:lnTo>
                    <a:pt x="335" y="383"/>
                  </a:lnTo>
                  <a:lnTo>
                    <a:pt x="331" y="383"/>
                  </a:lnTo>
                  <a:lnTo>
                    <a:pt x="327" y="383"/>
                  </a:lnTo>
                  <a:lnTo>
                    <a:pt x="323" y="383"/>
                  </a:lnTo>
                  <a:lnTo>
                    <a:pt x="323" y="379"/>
                  </a:lnTo>
                  <a:lnTo>
                    <a:pt x="319" y="379"/>
                  </a:lnTo>
                  <a:lnTo>
                    <a:pt x="323" y="379"/>
                  </a:lnTo>
                  <a:lnTo>
                    <a:pt x="327" y="379"/>
                  </a:lnTo>
                  <a:lnTo>
                    <a:pt x="331" y="379"/>
                  </a:lnTo>
                  <a:lnTo>
                    <a:pt x="335" y="379"/>
                  </a:lnTo>
                  <a:lnTo>
                    <a:pt x="331" y="379"/>
                  </a:lnTo>
                  <a:lnTo>
                    <a:pt x="327" y="379"/>
                  </a:lnTo>
                  <a:lnTo>
                    <a:pt x="327" y="375"/>
                  </a:lnTo>
                  <a:lnTo>
                    <a:pt x="331" y="375"/>
                  </a:lnTo>
                  <a:lnTo>
                    <a:pt x="327" y="375"/>
                  </a:lnTo>
                  <a:lnTo>
                    <a:pt x="323" y="375"/>
                  </a:lnTo>
                  <a:lnTo>
                    <a:pt x="319" y="375"/>
                  </a:lnTo>
                  <a:lnTo>
                    <a:pt x="315" y="375"/>
                  </a:lnTo>
                  <a:lnTo>
                    <a:pt x="319" y="375"/>
                  </a:lnTo>
                  <a:lnTo>
                    <a:pt x="319" y="371"/>
                  </a:lnTo>
                  <a:lnTo>
                    <a:pt x="323" y="371"/>
                  </a:lnTo>
                  <a:lnTo>
                    <a:pt x="319" y="371"/>
                  </a:lnTo>
                  <a:lnTo>
                    <a:pt x="315" y="371"/>
                  </a:lnTo>
                  <a:lnTo>
                    <a:pt x="315" y="375"/>
                  </a:lnTo>
                  <a:lnTo>
                    <a:pt x="311" y="375"/>
                  </a:lnTo>
                  <a:lnTo>
                    <a:pt x="311" y="371"/>
                  </a:lnTo>
                  <a:lnTo>
                    <a:pt x="315" y="371"/>
                  </a:lnTo>
                  <a:lnTo>
                    <a:pt x="315" y="367"/>
                  </a:lnTo>
                  <a:lnTo>
                    <a:pt x="319" y="367"/>
                  </a:lnTo>
                  <a:lnTo>
                    <a:pt x="323" y="367"/>
                  </a:lnTo>
                  <a:lnTo>
                    <a:pt x="327" y="367"/>
                  </a:lnTo>
                  <a:lnTo>
                    <a:pt x="323" y="367"/>
                  </a:lnTo>
                  <a:lnTo>
                    <a:pt x="319" y="367"/>
                  </a:lnTo>
                  <a:lnTo>
                    <a:pt x="315" y="367"/>
                  </a:lnTo>
                  <a:lnTo>
                    <a:pt x="311" y="367"/>
                  </a:lnTo>
                  <a:lnTo>
                    <a:pt x="307" y="367"/>
                  </a:lnTo>
                  <a:lnTo>
                    <a:pt x="303" y="367"/>
                  </a:lnTo>
                  <a:lnTo>
                    <a:pt x="307" y="367"/>
                  </a:lnTo>
                  <a:lnTo>
                    <a:pt x="307" y="363"/>
                  </a:lnTo>
                  <a:lnTo>
                    <a:pt x="311" y="363"/>
                  </a:lnTo>
                  <a:lnTo>
                    <a:pt x="315" y="363"/>
                  </a:lnTo>
                  <a:lnTo>
                    <a:pt x="319" y="363"/>
                  </a:lnTo>
                  <a:lnTo>
                    <a:pt x="323" y="363"/>
                  </a:lnTo>
                  <a:lnTo>
                    <a:pt x="323" y="359"/>
                  </a:lnTo>
                  <a:lnTo>
                    <a:pt x="319" y="359"/>
                  </a:lnTo>
                  <a:lnTo>
                    <a:pt x="319" y="363"/>
                  </a:lnTo>
                  <a:lnTo>
                    <a:pt x="315" y="363"/>
                  </a:lnTo>
                  <a:lnTo>
                    <a:pt x="311" y="363"/>
                  </a:lnTo>
                  <a:lnTo>
                    <a:pt x="307" y="363"/>
                  </a:lnTo>
                  <a:lnTo>
                    <a:pt x="307" y="359"/>
                  </a:lnTo>
                  <a:lnTo>
                    <a:pt x="303" y="359"/>
                  </a:lnTo>
                  <a:lnTo>
                    <a:pt x="299" y="359"/>
                  </a:lnTo>
                  <a:lnTo>
                    <a:pt x="303" y="359"/>
                  </a:lnTo>
                  <a:lnTo>
                    <a:pt x="303" y="355"/>
                  </a:lnTo>
                  <a:lnTo>
                    <a:pt x="307" y="351"/>
                  </a:lnTo>
                  <a:lnTo>
                    <a:pt x="303" y="355"/>
                  </a:lnTo>
                  <a:lnTo>
                    <a:pt x="299" y="355"/>
                  </a:lnTo>
                  <a:lnTo>
                    <a:pt x="295" y="355"/>
                  </a:lnTo>
                  <a:lnTo>
                    <a:pt x="295" y="351"/>
                  </a:lnTo>
                  <a:lnTo>
                    <a:pt x="295" y="347"/>
                  </a:lnTo>
                  <a:lnTo>
                    <a:pt x="291" y="347"/>
                  </a:lnTo>
                  <a:lnTo>
                    <a:pt x="291" y="343"/>
                  </a:lnTo>
                  <a:lnTo>
                    <a:pt x="295" y="343"/>
                  </a:lnTo>
                  <a:lnTo>
                    <a:pt x="291" y="343"/>
                  </a:lnTo>
                  <a:lnTo>
                    <a:pt x="287" y="343"/>
                  </a:lnTo>
                  <a:lnTo>
                    <a:pt x="291" y="347"/>
                  </a:lnTo>
                  <a:lnTo>
                    <a:pt x="291" y="351"/>
                  </a:lnTo>
                  <a:lnTo>
                    <a:pt x="295" y="351"/>
                  </a:lnTo>
                  <a:lnTo>
                    <a:pt x="295" y="355"/>
                  </a:lnTo>
                  <a:lnTo>
                    <a:pt x="295" y="359"/>
                  </a:lnTo>
                  <a:lnTo>
                    <a:pt x="291" y="359"/>
                  </a:lnTo>
                  <a:lnTo>
                    <a:pt x="287" y="359"/>
                  </a:lnTo>
                  <a:lnTo>
                    <a:pt x="291" y="359"/>
                  </a:lnTo>
                  <a:lnTo>
                    <a:pt x="291" y="363"/>
                  </a:lnTo>
                  <a:lnTo>
                    <a:pt x="287" y="363"/>
                  </a:lnTo>
                  <a:lnTo>
                    <a:pt x="287" y="359"/>
                  </a:lnTo>
                  <a:lnTo>
                    <a:pt x="287" y="363"/>
                  </a:lnTo>
                  <a:lnTo>
                    <a:pt x="291" y="363"/>
                  </a:lnTo>
                  <a:lnTo>
                    <a:pt x="291" y="367"/>
                  </a:lnTo>
                  <a:lnTo>
                    <a:pt x="287" y="367"/>
                  </a:lnTo>
                  <a:lnTo>
                    <a:pt x="283" y="367"/>
                  </a:lnTo>
                  <a:lnTo>
                    <a:pt x="283" y="371"/>
                  </a:lnTo>
                  <a:lnTo>
                    <a:pt x="279" y="371"/>
                  </a:lnTo>
                  <a:lnTo>
                    <a:pt x="275" y="371"/>
                  </a:lnTo>
                  <a:lnTo>
                    <a:pt x="271" y="367"/>
                  </a:lnTo>
                  <a:lnTo>
                    <a:pt x="267" y="367"/>
                  </a:lnTo>
                  <a:lnTo>
                    <a:pt x="271" y="367"/>
                  </a:lnTo>
                  <a:lnTo>
                    <a:pt x="267" y="367"/>
                  </a:lnTo>
                  <a:lnTo>
                    <a:pt x="263" y="367"/>
                  </a:lnTo>
                  <a:lnTo>
                    <a:pt x="263" y="363"/>
                  </a:lnTo>
                  <a:lnTo>
                    <a:pt x="259" y="359"/>
                  </a:lnTo>
                  <a:lnTo>
                    <a:pt x="263" y="359"/>
                  </a:lnTo>
                  <a:lnTo>
                    <a:pt x="267" y="359"/>
                  </a:lnTo>
                  <a:lnTo>
                    <a:pt x="267" y="355"/>
                  </a:lnTo>
                  <a:lnTo>
                    <a:pt x="271" y="355"/>
                  </a:lnTo>
                  <a:lnTo>
                    <a:pt x="275" y="355"/>
                  </a:lnTo>
                  <a:lnTo>
                    <a:pt x="279" y="351"/>
                  </a:lnTo>
                  <a:lnTo>
                    <a:pt x="279" y="347"/>
                  </a:lnTo>
                  <a:lnTo>
                    <a:pt x="283" y="347"/>
                  </a:lnTo>
                  <a:lnTo>
                    <a:pt x="279" y="347"/>
                  </a:lnTo>
                  <a:lnTo>
                    <a:pt x="279" y="351"/>
                  </a:lnTo>
                  <a:lnTo>
                    <a:pt x="275" y="351"/>
                  </a:lnTo>
                  <a:lnTo>
                    <a:pt x="275" y="355"/>
                  </a:lnTo>
                  <a:lnTo>
                    <a:pt x="271" y="355"/>
                  </a:lnTo>
                  <a:lnTo>
                    <a:pt x="267" y="355"/>
                  </a:lnTo>
                  <a:lnTo>
                    <a:pt x="267" y="351"/>
                  </a:lnTo>
                  <a:lnTo>
                    <a:pt x="263" y="351"/>
                  </a:lnTo>
                  <a:lnTo>
                    <a:pt x="267" y="351"/>
                  </a:lnTo>
                  <a:lnTo>
                    <a:pt x="267" y="347"/>
                  </a:lnTo>
                  <a:lnTo>
                    <a:pt x="275" y="343"/>
                  </a:lnTo>
                  <a:lnTo>
                    <a:pt x="271" y="343"/>
                  </a:lnTo>
                  <a:lnTo>
                    <a:pt x="275" y="343"/>
                  </a:lnTo>
                  <a:lnTo>
                    <a:pt x="275" y="339"/>
                  </a:lnTo>
                  <a:lnTo>
                    <a:pt x="271" y="339"/>
                  </a:lnTo>
                  <a:lnTo>
                    <a:pt x="275" y="339"/>
                  </a:lnTo>
                  <a:lnTo>
                    <a:pt x="271" y="339"/>
                  </a:lnTo>
                  <a:lnTo>
                    <a:pt x="267" y="343"/>
                  </a:lnTo>
                  <a:lnTo>
                    <a:pt x="267" y="339"/>
                  </a:lnTo>
                  <a:lnTo>
                    <a:pt x="263" y="339"/>
                  </a:lnTo>
                  <a:lnTo>
                    <a:pt x="263" y="335"/>
                  </a:lnTo>
                  <a:lnTo>
                    <a:pt x="267" y="335"/>
                  </a:lnTo>
                  <a:lnTo>
                    <a:pt x="267" y="339"/>
                  </a:lnTo>
                  <a:lnTo>
                    <a:pt x="271" y="339"/>
                  </a:lnTo>
                  <a:lnTo>
                    <a:pt x="279" y="339"/>
                  </a:lnTo>
                  <a:lnTo>
                    <a:pt x="283" y="339"/>
                  </a:lnTo>
                  <a:lnTo>
                    <a:pt x="279" y="339"/>
                  </a:lnTo>
                  <a:lnTo>
                    <a:pt x="275" y="339"/>
                  </a:lnTo>
                  <a:lnTo>
                    <a:pt x="275" y="335"/>
                  </a:lnTo>
                  <a:lnTo>
                    <a:pt x="271" y="339"/>
                  </a:lnTo>
                  <a:lnTo>
                    <a:pt x="271" y="335"/>
                  </a:lnTo>
                  <a:lnTo>
                    <a:pt x="275" y="335"/>
                  </a:lnTo>
                  <a:lnTo>
                    <a:pt x="279" y="335"/>
                  </a:lnTo>
                  <a:lnTo>
                    <a:pt x="275" y="335"/>
                  </a:lnTo>
                  <a:lnTo>
                    <a:pt x="275" y="331"/>
                  </a:lnTo>
                  <a:lnTo>
                    <a:pt x="279" y="331"/>
                  </a:lnTo>
                  <a:lnTo>
                    <a:pt x="275" y="331"/>
                  </a:lnTo>
                  <a:lnTo>
                    <a:pt x="275" y="327"/>
                  </a:lnTo>
                  <a:lnTo>
                    <a:pt x="279" y="327"/>
                  </a:lnTo>
                  <a:lnTo>
                    <a:pt x="275" y="327"/>
                  </a:lnTo>
                  <a:lnTo>
                    <a:pt x="275" y="323"/>
                  </a:lnTo>
                  <a:lnTo>
                    <a:pt x="271" y="323"/>
                  </a:lnTo>
                  <a:lnTo>
                    <a:pt x="267" y="323"/>
                  </a:lnTo>
                  <a:lnTo>
                    <a:pt x="263" y="323"/>
                  </a:lnTo>
                  <a:lnTo>
                    <a:pt x="263" y="319"/>
                  </a:lnTo>
                  <a:lnTo>
                    <a:pt x="267" y="319"/>
                  </a:lnTo>
                  <a:lnTo>
                    <a:pt x="271" y="319"/>
                  </a:lnTo>
                  <a:lnTo>
                    <a:pt x="267" y="315"/>
                  </a:lnTo>
                  <a:lnTo>
                    <a:pt x="267" y="311"/>
                  </a:lnTo>
                  <a:lnTo>
                    <a:pt x="271" y="311"/>
                  </a:lnTo>
                  <a:lnTo>
                    <a:pt x="271" y="315"/>
                  </a:lnTo>
                  <a:lnTo>
                    <a:pt x="271" y="311"/>
                  </a:lnTo>
                  <a:lnTo>
                    <a:pt x="267" y="311"/>
                  </a:lnTo>
                  <a:lnTo>
                    <a:pt x="263" y="311"/>
                  </a:lnTo>
                  <a:lnTo>
                    <a:pt x="263" y="307"/>
                  </a:lnTo>
                  <a:lnTo>
                    <a:pt x="259" y="307"/>
                  </a:lnTo>
                  <a:lnTo>
                    <a:pt x="255" y="307"/>
                  </a:lnTo>
                  <a:lnTo>
                    <a:pt x="255" y="303"/>
                  </a:lnTo>
                  <a:lnTo>
                    <a:pt x="259" y="303"/>
                  </a:lnTo>
                  <a:lnTo>
                    <a:pt x="255" y="303"/>
                  </a:lnTo>
                  <a:lnTo>
                    <a:pt x="259" y="303"/>
                  </a:lnTo>
                  <a:lnTo>
                    <a:pt x="263" y="303"/>
                  </a:lnTo>
                  <a:lnTo>
                    <a:pt x="259" y="303"/>
                  </a:lnTo>
                  <a:lnTo>
                    <a:pt x="259" y="299"/>
                  </a:lnTo>
                  <a:lnTo>
                    <a:pt x="263" y="299"/>
                  </a:lnTo>
                  <a:lnTo>
                    <a:pt x="259" y="299"/>
                  </a:lnTo>
                  <a:lnTo>
                    <a:pt x="259" y="295"/>
                  </a:lnTo>
                  <a:lnTo>
                    <a:pt x="255" y="295"/>
                  </a:lnTo>
                  <a:lnTo>
                    <a:pt x="259" y="295"/>
                  </a:lnTo>
                  <a:lnTo>
                    <a:pt x="255" y="295"/>
                  </a:lnTo>
                  <a:lnTo>
                    <a:pt x="251" y="295"/>
                  </a:lnTo>
                  <a:lnTo>
                    <a:pt x="251" y="291"/>
                  </a:lnTo>
                  <a:lnTo>
                    <a:pt x="255" y="291"/>
                  </a:lnTo>
                  <a:lnTo>
                    <a:pt x="255" y="287"/>
                  </a:lnTo>
                  <a:lnTo>
                    <a:pt x="251" y="287"/>
                  </a:lnTo>
                  <a:lnTo>
                    <a:pt x="247" y="291"/>
                  </a:lnTo>
                  <a:lnTo>
                    <a:pt x="243" y="291"/>
                  </a:lnTo>
                  <a:lnTo>
                    <a:pt x="239" y="291"/>
                  </a:lnTo>
                  <a:lnTo>
                    <a:pt x="235" y="291"/>
                  </a:lnTo>
                  <a:lnTo>
                    <a:pt x="239" y="291"/>
                  </a:lnTo>
                  <a:lnTo>
                    <a:pt x="243" y="291"/>
                  </a:lnTo>
                  <a:lnTo>
                    <a:pt x="247" y="291"/>
                  </a:lnTo>
                  <a:lnTo>
                    <a:pt x="247" y="287"/>
                  </a:lnTo>
                  <a:lnTo>
                    <a:pt x="251" y="287"/>
                  </a:lnTo>
                  <a:lnTo>
                    <a:pt x="247" y="287"/>
                  </a:lnTo>
                  <a:lnTo>
                    <a:pt x="247" y="283"/>
                  </a:lnTo>
                  <a:lnTo>
                    <a:pt x="251" y="283"/>
                  </a:lnTo>
                  <a:lnTo>
                    <a:pt x="255" y="283"/>
                  </a:lnTo>
                  <a:lnTo>
                    <a:pt x="251" y="283"/>
                  </a:lnTo>
                  <a:lnTo>
                    <a:pt x="247" y="283"/>
                  </a:lnTo>
                  <a:lnTo>
                    <a:pt x="243" y="283"/>
                  </a:lnTo>
                  <a:lnTo>
                    <a:pt x="247" y="283"/>
                  </a:lnTo>
                  <a:lnTo>
                    <a:pt x="251" y="283"/>
                  </a:lnTo>
                  <a:lnTo>
                    <a:pt x="255" y="279"/>
                  </a:lnTo>
                  <a:lnTo>
                    <a:pt x="251" y="279"/>
                  </a:lnTo>
                  <a:lnTo>
                    <a:pt x="247" y="279"/>
                  </a:lnTo>
                  <a:lnTo>
                    <a:pt x="247" y="275"/>
                  </a:lnTo>
                  <a:lnTo>
                    <a:pt x="243" y="275"/>
                  </a:lnTo>
                  <a:lnTo>
                    <a:pt x="239" y="275"/>
                  </a:lnTo>
                  <a:lnTo>
                    <a:pt x="239" y="271"/>
                  </a:lnTo>
                  <a:lnTo>
                    <a:pt x="243" y="271"/>
                  </a:lnTo>
                  <a:lnTo>
                    <a:pt x="243" y="267"/>
                  </a:lnTo>
                  <a:lnTo>
                    <a:pt x="239" y="267"/>
                  </a:lnTo>
                  <a:lnTo>
                    <a:pt x="235" y="267"/>
                  </a:lnTo>
                  <a:lnTo>
                    <a:pt x="231" y="267"/>
                  </a:lnTo>
                  <a:lnTo>
                    <a:pt x="227" y="267"/>
                  </a:lnTo>
                  <a:lnTo>
                    <a:pt x="227" y="263"/>
                  </a:lnTo>
                  <a:lnTo>
                    <a:pt x="223" y="263"/>
                  </a:lnTo>
                  <a:lnTo>
                    <a:pt x="227" y="263"/>
                  </a:lnTo>
                  <a:lnTo>
                    <a:pt x="227" y="259"/>
                  </a:lnTo>
                  <a:lnTo>
                    <a:pt x="223" y="259"/>
                  </a:lnTo>
                  <a:lnTo>
                    <a:pt x="223" y="255"/>
                  </a:lnTo>
                  <a:lnTo>
                    <a:pt x="219" y="255"/>
                  </a:lnTo>
                  <a:lnTo>
                    <a:pt x="215" y="255"/>
                  </a:lnTo>
                  <a:lnTo>
                    <a:pt x="219" y="255"/>
                  </a:lnTo>
                  <a:lnTo>
                    <a:pt x="223" y="255"/>
                  </a:lnTo>
                  <a:lnTo>
                    <a:pt x="223" y="251"/>
                  </a:lnTo>
                  <a:lnTo>
                    <a:pt x="219" y="251"/>
                  </a:lnTo>
                  <a:lnTo>
                    <a:pt x="219" y="247"/>
                  </a:lnTo>
                  <a:lnTo>
                    <a:pt x="223" y="247"/>
                  </a:lnTo>
                  <a:lnTo>
                    <a:pt x="219" y="247"/>
                  </a:lnTo>
                  <a:lnTo>
                    <a:pt x="219" y="243"/>
                  </a:lnTo>
                  <a:lnTo>
                    <a:pt x="215" y="243"/>
                  </a:lnTo>
                  <a:lnTo>
                    <a:pt x="215" y="247"/>
                  </a:lnTo>
                  <a:lnTo>
                    <a:pt x="211" y="247"/>
                  </a:lnTo>
                  <a:lnTo>
                    <a:pt x="207" y="243"/>
                  </a:lnTo>
                  <a:lnTo>
                    <a:pt x="211" y="243"/>
                  </a:lnTo>
                  <a:lnTo>
                    <a:pt x="211" y="239"/>
                  </a:lnTo>
                  <a:lnTo>
                    <a:pt x="207" y="239"/>
                  </a:lnTo>
                  <a:lnTo>
                    <a:pt x="203" y="239"/>
                  </a:lnTo>
                  <a:lnTo>
                    <a:pt x="203" y="243"/>
                  </a:lnTo>
                  <a:lnTo>
                    <a:pt x="199" y="243"/>
                  </a:lnTo>
                  <a:lnTo>
                    <a:pt x="199" y="239"/>
                  </a:lnTo>
                  <a:lnTo>
                    <a:pt x="203" y="239"/>
                  </a:lnTo>
                  <a:lnTo>
                    <a:pt x="199" y="239"/>
                  </a:lnTo>
                  <a:lnTo>
                    <a:pt x="195" y="239"/>
                  </a:lnTo>
                  <a:lnTo>
                    <a:pt x="195" y="235"/>
                  </a:lnTo>
                  <a:lnTo>
                    <a:pt x="191" y="235"/>
                  </a:lnTo>
                  <a:lnTo>
                    <a:pt x="187" y="235"/>
                  </a:lnTo>
                  <a:lnTo>
                    <a:pt x="183" y="235"/>
                  </a:lnTo>
                  <a:lnTo>
                    <a:pt x="183" y="231"/>
                  </a:lnTo>
                  <a:lnTo>
                    <a:pt x="175" y="231"/>
                  </a:lnTo>
                  <a:lnTo>
                    <a:pt x="171" y="231"/>
                  </a:lnTo>
                  <a:lnTo>
                    <a:pt x="167" y="231"/>
                  </a:lnTo>
                  <a:lnTo>
                    <a:pt x="163" y="231"/>
                  </a:lnTo>
                  <a:lnTo>
                    <a:pt x="163" y="227"/>
                  </a:lnTo>
                  <a:lnTo>
                    <a:pt x="159" y="227"/>
                  </a:lnTo>
                  <a:lnTo>
                    <a:pt x="159" y="231"/>
                  </a:lnTo>
                  <a:lnTo>
                    <a:pt x="159" y="227"/>
                  </a:lnTo>
                  <a:lnTo>
                    <a:pt x="155" y="227"/>
                  </a:lnTo>
                  <a:lnTo>
                    <a:pt x="155" y="231"/>
                  </a:lnTo>
                  <a:lnTo>
                    <a:pt x="151" y="231"/>
                  </a:lnTo>
                  <a:lnTo>
                    <a:pt x="155" y="227"/>
                  </a:lnTo>
                  <a:lnTo>
                    <a:pt x="151" y="227"/>
                  </a:lnTo>
                  <a:lnTo>
                    <a:pt x="147" y="227"/>
                  </a:lnTo>
                  <a:lnTo>
                    <a:pt x="143" y="227"/>
                  </a:lnTo>
                  <a:lnTo>
                    <a:pt x="139" y="231"/>
                  </a:lnTo>
                  <a:lnTo>
                    <a:pt x="135" y="231"/>
                  </a:lnTo>
                  <a:lnTo>
                    <a:pt x="131" y="231"/>
                  </a:lnTo>
                  <a:lnTo>
                    <a:pt x="131" y="227"/>
                  </a:lnTo>
                  <a:lnTo>
                    <a:pt x="127" y="231"/>
                  </a:lnTo>
                  <a:lnTo>
                    <a:pt x="127" y="227"/>
                  </a:lnTo>
                  <a:lnTo>
                    <a:pt x="127" y="231"/>
                  </a:lnTo>
                  <a:lnTo>
                    <a:pt x="123" y="231"/>
                  </a:lnTo>
                  <a:lnTo>
                    <a:pt x="127" y="231"/>
                  </a:lnTo>
                  <a:lnTo>
                    <a:pt x="127" y="235"/>
                  </a:lnTo>
                  <a:lnTo>
                    <a:pt x="123" y="235"/>
                  </a:lnTo>
                  <a:lnTo>
                    <a:pt x="123" y="231"/>
                  </a:lnTo>
                  <a:lnTo>
                    <a:pt x="119" y="231"/>
                  </a:lnTo>
                  <a:lnTo>
                    <a:pt x="119" y="235"/>
                  </a:lnTo>
                  <a:lnTo>
                    <a:pt x="119" y="231"/>
                  </a:lnTo>
                  <a:lnTo>
                    <a:pt x="116" y="231"/>
                  </a:lnTo>
                  <a:lnTo>
                    <a:pt x="119" y="231"/>
                  </a:lnTo>
                  <a:lnTo>
                    <a:pt x="116" y="231"/>
                  </a:lnTo>
                  <a:lnTo>
                    <a:pt x="116" y="235"/>
                  </a:lnTo>
                  <a:lnTo>
                    <a:pt x="112" y="235"/>
                  </a:lnTo>
                  <a:lnTo>
                    <a:pt x="108" y="235"/>
                  </a:lnTo>
                  <a:lnTo>
                    <a:pt x="108" y="231"/>
                  </a:lnTo>
                  <a:lnTo>
                    <a:pt x="112" y="231"/>
                  </a:lnTo>
                  <a:lnTo>
                    <a:pt x="108" y="231"/>
                  </a:lnTo>
                  <a:lnTo>
                    <a:pt x="112" y="231"/>
                  </a:lnTo>
                  <a:lnTo>
                    <a:pt x="112" y="227"/>
                  </a:lnTo>
                  <a:lnTo>
                    <a:pt x="108" y="227"/>
                  </a:lnTo>
                  <a:lnTo>
                    <a:pt x="104" y="227"/>
                  </a:lnTo>
                  <a:lnTo>
                    <a:pt x="100" y="231"/>
                  </a:lnTo>
                  <a:lnTo>
                    <a:pt x="100" y="235"/>
                  </a:lnTo>
                  <a:lnTo>
                    <a:pt x="96" y="231"/>
                  </a:lnTo>
                  <a:lnTo>
                    <a:pt x="92" y="231"/>
                  </a:lnTo>
                  <a:lnTo>
                    <a:pt x="92" y="227"/>
                  </a:lnTo>
                  <a:lnTo>
                    <a:pt x="88" y="231"/>
                  </a:lnTo>
                  <a:lnTo>
                    <a:pt x="92" y="231"/>
                  </a:lnTo>
                  <a:lnTo>
                    <a:pt x="92" y="235"/>
                  </a:lnTo>
                  <a:lnTo>
                    <a:pt x="96" y="235"/>
                  </a:lnTo>
                  <a:lnTo>
                    <a:pt x="100" y="239"/>
                  </a:lnTo>
                  <a:lnTo>
                    <a:pt x="96" y="239"/>
                  </a:lnTo>
                  <a:lnTo>
                    <a:pt x="92" y="239"/>
                  </a:lnTo>
                  <a:lnTo>
                    <a:pt x="88" y="235"/>
                  </a:lnTo>
                  <a:lnTo>
                    <a:pt x="84" y="235"/>
                  </a:lnTo>
                  <a:lnTo>
                    <a:pt x="80" y="235"/>
                  </a:lnTo>
                  <a:lnTo>
                    <a:pt x="76" y="235"/>
                  </a:lnTo>
                  <a:lnTo>
                    <a:pt x="72" y="235"/>
                  </a:lnTo>
                  <a:lnTo>
                    <a:pt x="68" y="235"/>
                  </a:lnTo>
                  <a:lnTo>
                    <a:pt x="68" y="231"/>
                  </a:lnTo>
                  <a:lnTo>
                    <a:pt x="64" y="231"/>
                  </a:lnTo>
                  <a:lnTo>
                    <a:pt x="60" y="231"/>
                  </a:lnTo>
                  <a:lnTo>
                    <a:pt x="60" y="227"/>
                  </a:lnTo>
                  <a:lnTo>
                    <a:pt x="56" y="227"/>
                  </a:lnTo>
                  <a:lnTo>
                    <a:pt x="52" y="227"/>
                  </a:lnTo>
                  <a:lnTo>
                    <a:pt x="52" y="223"/>
                  </a:lnTo>
                  <a:lnTo>
                    <a:pt x="56" y="223"/>
                  </a:lnTo>
                  <a:lnTo>
                    <a:pt x="60" y="223"/>
                  </a:lnTo>
                  <a:lnTo>
                    <a:pt x="64" y="219"/>
                  </a:lnTo>
                  <a:lnTo>
                    <a:pt x="68" y="219"/>
                  </a:lnTo>
                  <a:lnTo>
                    <a:pt x="76" y="219"/>
                  </a:lnTo>
                  <a:lnTo>
                    <a:pt x="76" y="215"/>
                  </a:lnTo>
                  <a:lnTo>
                    <a:pt x="72" y="215"/>
                  </a:lnTo>
                  <a:lnTo>
                    <a:pt x="68" y="215"/>
                  </a:lnTo>
                  <a:lnTo>
                    <a:pt x="68" y="219"/>
                  </a:lnTo>
                  <a:lnTo>
                    <a:pt x="64" y="219"/>
                  </a:lnTo>
                  <a:lnTo>
                    <a:pt x="64" y="215"/>
                  </a:lnTo>
                  <a:lnTo>
                    <a:pt x="60" y="215"/>
                  </a:lnTo>
                  <a:lnTo>
                    <a:pt x="56" y="215"/>
                  </a:lnTo>
                  <a:lnTo>
                    <a:pt x="52" y="215"/>
                  </a:lnTo>
                  <a:lnTo>
                    <a:pt x="48" y="215"/>
                  </a:lnTo>
                  <a:lnTo>
                    <a:pt x="44" y="215"/>
                  </a:lnTo>
                  <a:lnTo>
                    <a:pt x="44" y="211"/>
                  </a:lnTo>
                  <a:lnTo>
                    <a:pt x="48" y="211"/>
                  </a:lnTo>
                  <a:lnTo>
                    <a:pt x="48" y="207"/>
                  </a:lnTo>
                  <a:lnTo>
                    <a:pt x="52" y="207"/>
                  </a:lnTo>
                  <a:lnTo>
                    <a:pt x="48" y="207"/>
                  </a:lnTo>
                  <a:lnTo>
                    <a:pt x="44" y="211"/>
                  </a:lnTo>
                  <a:lnTo>
                    <a:pt x="40" y="211"/>
                  </a:lnTo>
                  <a:lnTo>
                    <a:pt x="40" y="215"/>
                  </a:lnTo>
                  <a:lnTo>
                    <a:pt x="36" y="215"/>
                  </a:lnTo>
                  <a:lnTo>
                    <a:pt x="36" y="211"/>
                  </a:lnTo>
                  <a:lnTo>
                    <a:pt x="32" y="211"/>
                  </a:lnTo>
                  <a:lnTo>
                    <a:pt x="36" y="207"/>
                  </a:lnTo>
                  <a:lnTo>
                    <a:pt x="32" y="211"/>
                  </a:lnTo>
                  <a:lnTo>
                    <a:pt x="32" y="207"/>
                  </a:lnTo>
                  <a:lnTo>
                    <a:pt x="28" y="207"/>
                  </a:lnTo>
                  <a:lnTo>
                    <a:pt x="24" y="207"/>
                  </a:lnTo>
                  <a:lnTo>
                    <a:pt x="24" y="203"/>
                  </a:lnTo>
                  <a:lnTo>
                    <a:pt x="28" y="203"/>
                  </a:lnTo>
                  <a:lnTo>
                    <a:pt x="32" y="203"/>
                  </a:lnTo>
                  <a:lnTo>
                    <a:pt x="36" y="199"/>
                  </a:lnTo>
                  <a:lnTo>
                    <a:pt x="40" y="199"/>
                  </a:lnTo>
                  <a:lnTo>
                    <a:pt x="44" y="199"/>
                  </a:lnTo>
                  <a:lnTo>
                    <a:pt x="48" y="199"/>
                  </a:lnTo>
                  <a:lnTo>
                    <a:pt x="52" y="199"/>
                  </a:lnTo>
                  <a:lnTo>
                    <a:pt x="56" y="199"/>
                  </a:lnTo>
                  <a:lnTo>
                    <a:pt x="60" y="199"/>
                  </a:lnTo>
                  <a:lnTo>
                    <a:pt x="60" y="203"/>
                  </a:lnTo>
                  <a:lnTo>
                    <a:pt x="64" y="203"/>
                  </a:lnTo>
                  <a:lnTo>
                    <a:pt x="68" y="203"/>
                  </a:lnTo>
                  <a:lnTo>
                    <a:pt x="72" y="203"/>
                  </a:lnTo>
                  <a:lnTo>
                    <a:pt x="76" y="203"/>
                  </a:lnTo>
                  <a:lnTo>
                    <a:pt x="76" y="199"/>
                  </a:lnTo>
                  <a:lnTo>
                    <a:pt x="80" y="199"/>
                  </a:lnTo>
                  <a:lnTo>
                    <a:pt x="80" y="203"/>
                  </a:lnTo>
                  <a:lnTo>
                    <a:pt x="84" y="203"/>
                  </a:lnTo>
                  <a:lnTo>
                    <a:pt x="88" y="203"/>
                  </a:lnTo>
                  <a:lnTo>
                    <a:pt x="92" y="203"/>
                  </a:lnTo>
                  <a:lnTo>
                    <a:pt x="96" y="203"/>
                  </a:lnTo>
                  <a:lnTo>
                    <a:pt x="100" y="203"/>
                  </a:lnTo>
                  <a:lnTo>
                    <a:pt x="104" y="203"/>
                  </a:lnTo>
                  <a:lnTo>
                    <a:pt x="104" y="199"/>
                  </a:lnTo>
                  <a:lnTo>
                    <a:pt x="100" y="203"/>
                  </a:lnTo>
                  <a:lnTo>
                    <a:pt x="96" y="203"/>
                  </a:lnTo>
                  <a:lnTo>
                    <a:pt x="92" y="203"/>
                  </a:lnTo>
                  <a:lnTo>
                    <a:pt x="88" y="203"/>
                  </a:lnTo>
                  <a:lnTo>
                    <a:pt x="84" y="203"/>
                  </a:lnTo>
                  <a:lnTo>
                    <a:pt x="84" y="199"/>
                  </a:lnTo>
                  <a:lnTo>
                    <a:pt x="80" y="199"/>
                  </a:lnTo>
                  <a:lnTo>
                    <a:pt x="76" y="199"/>
                  </a:lnTo>
                  <a:lnTo>
                    <a:pt x="72" y="199"/>
                  </a:lnTo>
                  <a:lnTo>
                    <a:pt x="68" y="199"/>
                  </a:lnTo>
                  <a:lnTo>
                    <a:pt x="64" y="199"/>
                  </a:lnTo>
                  <a:lnTo>
                    <a:pt x="60" y="199"/>
                  </a:lnTo>
                  <a:lnTo>
                    <a:pt x="64" y="199"/>
                  </a:lnTo>
                  <a:lnTo>
                    <a:pt x="68" y="195"/>
                  </a:lnTo>
                  <a:lnTo>
                    <a:pt x="72" y="195"/>
                  </a:lnTo>
                  <a:lnTo>
                    <a:pt x="76" y="195"/>
                  </a:lnTo>
                  <a:lnTo>
                    <a:pt x="80" y="195"/>
                  </a:lnTo>
                  <a:lnTo>
                    <a:pt x="84" y="195"/>
                  </a:lnTo>
                  <a:lnTo>
                    <a:pt x="88" y="195"/>
                  </a:lnTo>
                  <a:lnTo>
                    <a:pt x="92" y="195"/>
                  </a:lnTo>
                  <a:lnTo>
                    <a:pt x="96" y="195"/>
                  </a:lnTo>
                  <a:lnTo>
                    <a:pt x="96" y="199"/>
                  </a:lnTo>
                  <a:lnTo>
                    <a:pt x="100" y="199"/>
                  </a:lnTo>
                  <a:lnTo>
                    <a:pt x="104" y="199"/>
                  </a:lnTo>
                  <a:lnTo>
                    <a:pt x="100" y="199"/>
                  </a:lnTo>
                  <a:lnTo>
                    <a:pt x="96" y="195"/>
                  </a:lnTo>
                  <a:lnTo>
                    <a:pt x="100" y="195"/>
                  </a:lnTo>
                  <a:lnTo>
                    <a:pt x="104" y="195"/>
                  </a:lnTo>
                  <a:lnTo>
                    <a:pt x="104" y="191"/>
                  </a:lnTo>
                  <a:lnTo>
                    <a:pt x="104" y="187"/>
                  </a:lnTo>
                  <a:lnTo>
                    <a:pt x="100" y="187"/>
                  </a:lnTo>
                  <a:lnTo>
                    <a:pt x="96" y="187"/>
                  </a:lnTo>
                  <a:lnTo>
                    <a:pt x="92" y="187"/>
                  </a:lnTo>
                  <a:lnTo>
                    <a:pt x="88" y="187"/>
                  </a:lnTo>
                  <a:lnTo>
                    <a:pt x="88" y="191"/>
                  </a:lnTo>
                  <a:lnTo>
                    <a:pt x="84" y="191"/>
                  </a:lnTo>
                  <a:lnTo>
                    <a:pt x="80" y="191"/>
                  </a:lnTo>
                  <a:lnTo>
                    <a:pt x="76" y="191"/>
                  </a:lnTo>
                  <a:lnTo>
                    <a:pt x="72" y="191"/>
                  </a:lnTo>
                  <a:lnTo>
                    <a:pt x="68" y="191"/>
                  </a:lnTo>
                  <a:lnTo>
                    <a:pt x="72" y="191"/>
                  </a:lnTo>
                  <a:lnTo>
                    <a:pt x="68" y="191"/>
                  </a:lnTo>
                  <a:lnTo>
                    <a:pt x="68" y="187"/>
                  </a:lnTo>
                  <a:lnTo>
                    <a:pt x="64" y="187"/>
                  </a:lnTo>
                  <a:lnTo>
                    <a:pt x="64" y="191"/>
                  </a:lnTo>
                  <a:lnTo>
                    <a:pt x="68" y="191"/>
                  </a:lnTo>
                  <a:lnTo>
                    <a:pt x="64" y="191"/>
                  </a:lnTo>
                  <a:lnTo>
                    <a:pt x="60" y="191"/>
                  </a:lnTo>
                  <a:lnTo>
                    <a:pt x="60" y="195"/>
                  </a:lnTo>
                  <a:lnTo>
                    <a:pt x="56" y="195"/>
                  </a:lnTo>
                  <a:lnTo>
                    <a:pt x="56" y="191"/>
                  </a:lnTo>
                  <a:lnTo>
                    <a:pt x="52" y="191"/>
                  </a:lnTo>
                  <a:lnTo>
                    <a:pt x="48" y="191"/>
                  </a:lnTo>
                  <a:lnTo>
                    <a:pt x="44" y="191"/>
                  </a:lnTo>
                  <a:lnTo>
                    <a:pt x="40" y="191"/>
                  </a:lnTo>
                  <a:lnTo>
                    <a:pt x="44" y="187"/>
                  </a:lnTo>
                  <a:lnTo>
                    <a:pt x="48" y="187"/>
                  </a:lnTo>
                  <a:lnTo>
                    <a:pt x="52" y="187"/>
                  </a:lnTo>
                  <a:lnTo>
                    <a:pt x="52" y="184"/>
                  </a:lnTo>
                  <a:lnTo>
                    <a:pt x="52" y="187"/>
                  </a:lnTo>
                  <a:lnTo>
                    <a:pt x="48" y="187"/>
                  </a:lnTo>
                  <a:lnTo>
                    <a:pt x="44" y="187"/>
                  </a:lnTo>
                  <a:lnTo>
                    <a:pt x="40" y="187"/>
                  </a:lnTo>
                  <a:lnTo>
                    <a:pt x="36" y="187"/>
                  </a:lnTo>
                  <a:lnTo>
                    <a:pt x="36" y="184"/>
                  </a:lnTo>
                  <a:lnTo>
                    <a:pt x="40" y="184"/>
                  </a:lnTo>
                  <a:lnTo>
                    <a:pt x="44" y="184"/>
                  </a:lnTo>
                  <a:lnTo>
                    <a:pt x="40" y="184"/>
                  </a:lnTo>
                  <a:lnTo>
                    <a:pt x="36" y="184"/>
                  </a:lnTo>
                  <a:lnTo>
                    <a:pt x="32" y="184"/>
                  </a:lnTo>
                  <a:lnTo>
                    <a:pt x="28" y="184"/>
                  </a:lnTo>
                  <a:lnTo>
                    <a:pt x="24" y="184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4" y="180"/>
                  </a:lnTo>
                  <a:lnTo>
                    <a:pt x="24" y="184"/>
                  </a:lnTo>
                  <a:lnTo>
                    <a:pt x="20" y="184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2" y="180"/>
                  </a:lnTo>
                  <a:lnTo>
                    <a:pt x="8" y="176"/>
                  </a:lnTo>
                  <a:lnTo>
                    <a:pt x="12" y="176"/>
                  </a:lnTo>
                  <a:lnTo>
                    <a:pt x="8" y="176"/>
                  </a:lnTo>
                  <a:lnTo>
                    <a:pt x="4" y="176"/>
                  </a:lnTo>
                  <a:lnTo>
                    <a:pt x="0" y="172"/>
                  </a:lnTo>
                  <a:lnTo>
                    <a:pt x="4" y="172"/>
                  </a:lnTo>
                  <a:lnTo>
                    <a:pt x="4" y="168"/>
                  </a:lnTo>
                  <a:lnTo>
                    <a:pt x="8" y="168"/>
                  </a:lnTo>
                  <a:lnTo>
                    <a:pt x="4" y="168"/>
                  </a:lnTo>
                  <a:lnTo>
                    <a:pt x="4" y="164"/>
                  </a:lnTo>
                  <a:lnTo>
                    <a:pt x="8" y="164"/>
                  </a:lnTo>
                  <a:lnTo>
                    <a:pt x="4" y="164"/>
                  </a:lnTo>
                  <a:lnTo>
                    <a:pt x="8" y="160"/>
                  </a:lnTo>
                  <a:lnTo>
                    <a:pt x="12" y="160"/>
                  </a:lnTo>
                  <a:lnTo>
                    <a:pt x="16" y="160"/>
                  </a:lnTo>
                  <a:lnTo>
                    <a:pt x="20" y="160"/>
                  </a:lnTo>
                  <a:lnTo>
                    <a:pt x="24" y="160"/>
                  </a:lnTo>
                  <a:lnTo>
                    <a:pt x="28" y="160"/>
                  </a:lnTo>
                  <a:lnTo>
                    <a:pt x="32" y="160"/>
                  </a:lnTo>
                  <a:lnTo>
                    <a:pt x="32" y="156"/>
                  </a:lnTo>
                  <a:lnTo>
                    <a:pt x="36" y="156"/>
                  </a:lnTo>
                  <a:lnTo>
                    <a:pt x="40" y="156"/>
                  </a:lnTo>
                  <a:lnTo>
                    <a:pt x="44" y="156"/>
                  </a:lnTo>
                  <a:lnTo>
                    <a:pt x="48" y="156"/>
                  </a:lnTo>
                  <a:lnTo>
                    <a:pt x="44" y="156"/>
                  </a:lnTo>
                  <a:lnTo>
                    <a:pt x="44" y="152"/>
                  </a:lnTo>
                  <a:lnTo>
                    <a:pt x="48" y="152"/>
                  </a:lnTo>
                  <a:lnTo>
                    <a:pt x="52" y="152"/>
                  </a:lnTo>
                  <a:lnTo>
                    <a:pt x="56" y="152"/>
                  </a:lnTo>
                  <a:lnTo>
                    <a:pt x="60" y="152"/>
                  </a:lnTo>
                  <a:lnTo>
                    <a:pt x="64" y="152"/>
                  </a:lnTo>
                  <a:lnTo>
                    <a:pt x="60" y="152"/>
                  </a:lnTo>
                  <a:lnTo>
                    <a:pt x="60" y="148"/>
                  </a:lnTo>
                  <a:lnTo>
                    <a:pt x="64" y="148"/>
                  </a:lnTo>
                  <a:lnTo>
                    <a:pt x="72" y="144"/>
                  </a:lnTo>
                  <a:lnTo>
                    <a:pt x="76" y="144"/>
                  </a:lnTo>
                  <a:lnTo>
                    <a:pt x="80" y="148"/>
                  </a:lnTo>
                  <a:lnTo>
                    <a:pt x="80" y="144"/>
                  </a:lnTo>
                  <a:lnTo>
                    <a:pt x="84" y="144"/>
                  </a:lnTo>
                  <a:lnTo>
                    <a:pt x="88" y="144"/>
                  </a:lnTo>
                  <a:lnTo>
                    <a:pt x="92" y="144"/>
                  </a:lnTo>
                  <a:lnTo>
                    <a:pt x="96" y="144"/>
                  </a:lnTo>
                  <a:lnTo>
                    <a:pt x="100" y="144"/>
                  </a:lnTo>
                  <a:lnTo>
                    <a:pt x="104" y="144"/>
                  </a:lnTo>
                  <a:lnTo>
                    <a:pt x="108" y="144"/>
                  </a:lnTo>
                  <a:lnTo>
                    <a:pt x="112" y="140"/>
                  </a:lnTo>
                  <a:lnTo>
                    <a:pt x="116" y="136"/>
                  </a:lnTo>
                  <a:lnTo>
                    <a:pt x="119" y="136"/>
                  </a:lnTo>
                  <a:lnTo>
                    <a:pt x="119" y="132"/>
                  </a:lnTo>
                  <a:lnTo>
                    <a:pt x="123" y="132"/>
                  </a:lnTo>
                  <a:lnTo>
                    <a:pt x="123" y="128"/>
                  </a:lnTo>
                  <a:lnTo>
                    <a:pt x="119" y="128"/>
                  </a:lnTo>
                  <a:lnTo>
                    <a:pt x="119" y="124"/>
                  </a:lnTo>
                  <a:lnTo>
                    <a:pt x="119" y="120"/>
                  </a:lnTo>
                  <a:lnTo>
                    <a:pt x="119" y="116"/>
                  </a:lnTo>
                  <a:lnTo>
                    <a:pt x="123" y="116"/>
                  </a:lnTo>
                  <a:lnTo>
                    <a:pt x="131" y="116"/>
                  </a:lnTo>
                  <a:lnTo>
                    <a:pt x="131" y="112"/>
                  </a:lnTo>
                  <a:lnTo>
                    <a:pt x="135" y="112"/>
                  </a:lnTo>
                  <a:lnTo>
                    <a:pt x="139" y="112"/>
                  </a:lnTo>
                  <a:lnTo>
                    <a:pt x="135" y="112"/>
                  </a:lnTo>
                  <a:lnTo>
                    <a:pt x="131" y="112"/>
                  </a:lnTo>
                  <a:lnTo>
                    <a:pt x="131" y="108"/>
                  </a:lnTo>
                  <a:lnTo>
                    <a:pt x="131" y="112"/>
                  </a:lnTo>
                  <a:lnTo>
                    <a:pt x="127" y="112"/>
                  </a:lnTo>
                  <a:lnTo>
                    <a:pt x="123" y="112"/>
                  </a:lnTo>
                  <a:lnTo>
                    <a:pt x="123" y="116"/>
                  </a:lnTo>
                  <a:lnTo>
                    <a:pt x="119" y="116"/>
                  </a:lnTo>
                  <a:lnTo>
                    <a:pt x="119" y="112"/>
                  </a:lnTo>
                  <a:lnTo>
                    <a:pt x="116" y="112"/>
                  </a:lnTo>
                  <a:lnTo>
                    <a:pt x="116" y="116"/>
                  </a:lnTo>
                  <a:lnTo>
                    <a:pt x="112" y="116"/>
                  </a:lnTo>
                  <a:lnTo>
                    <a:pt x="108" y="116"/>
                  </a:lnTo>
                  <a:lnTo>
                    <a:pt x="104" y="116"/>
                  </a:lnTo>
                  <a:lnTo>
                    <a:pt x="104" y="112"/>
                  </a:lnTo>
                  <a:lnTo>
                    <a:pt x="100" y="112"/>
                  </a:lnTo>
                  <a:lnTo>
                    <a:pt x="96" y="112"/>
                  </a:lnTo>
                  <a:lnTo>
                    <a:pt x="96" y="116"/>
                  </a:lnTo>
                  <a:lnTo>
                    <a:pt x="92" y="116"/>
                  </a:lnTo>
                  <a:lnTo>
                    <a:pt x="88" y="116"/>
                  </a:lnTo>
                  <a:lnTo>
                    <a:pt x="88" y="112"/>
                  </a:lnTo>
                  <a:lnTo>
                    <a:pt x="84" y="112"/>
                  </a:lnTo>
                  <a:lnTo>
                    <a:pt x="84" y="108"/>
                  </a:lnTo>
                  <a:lnTo>
                    <a:pt x="84" y="104"/>
                  </a:lnTo>
                  <a:lnTo>
                    <a:pt x="88" y="104"/>
                  </a:lnTo>
                  <a:lnTo>
                    <a:pt x="92" y="104"/>
                  </a:lnTo>
                  <a:lnTo>
                    <a:pt x="96" y="100"/>
                  </a:lnTo>
                  <a:lnTo>
                    <a:pt x="100" y="100"/>
                  </a:lnTo>
                  <a:lnTo>
                    <a:pt x="100" y="96"/>
                  </a:lnTo>
                  <a:lnTo>
                    <a:pt x="104" y="96"/>
                  </a:lnTo>
                  <a:lnTo>
                    <a:pt x="108" y="96"/>
                  </a:lnTo>
                  <a:lnTo>
                    <a:pt x="112" y="96"/>
                  </a:lnTo>
                  <a:lnTo>
                    <a:pt x="112" y="92"/>
                  </a:lnTo>
                  <a:lnTo>
                    <a:pt x="116" y="92"/>
                  </a:lnTo>
                  <a:lnTo>
                    <a:pt x="119" y="92"/>
                  </a:lnTo>
                  <a:lnTo>
                    <a:pt x="119" y="88"/>
                  </a:lnTo>
                  <a:lnTo>
                    <a:pt x="123" y="88"/>
                  </a:lnTo>
                  <a:lnTo>
                    <a:pt x="123" y="84"/>
                  </a:lnTo>
                  <a:lnTo>
                    <a:pt x="127" y="84"/>
                  </a:lnTo>
                  <a:lnTo>
                    <a:pt x="131" y="84"/>
                  </a:lnTo>
                  <a:lnTo>
                    <a:pt x="135" y="84"/>
                  </a:lnTo>
                  <a:lnTo>
                    <a:pt x="139" y="84"/>
                  </a:lnTo>
                  <a:lnTo>
                    <a:pt x="139" y="80"/>
                  </a:lnTo>
                  <a:lnTo>
                    <a:pt x="143" y="80"/>
                  </a:lnTo>
                  <a:lnTo>
                    <a:pt x="143" y="84"/>
                  </a:lnTo>
                  <a:lnTo>
                    <a:pt x="147" y="88"/>
                  </a:lnTo>
                  <a:lnTo>
                    <a:pt x="151" y="92"/>
                  </a:lnTo>
                  <a:lnTo>
                    <a:pt x="155" y="92"/>
                  </a:lnTo>
                  <a:lnTo>
                    <a:pt x="151" y="92"/>
                  </a:lnTo>
                  <a:lnTo>
                    <a:pt x="151" y="88"/>
                  </a:lnTo>
                  <a:lnTo>
                    <a:pt x="147" y="88"/>
                  </a:lnTo>
                  <a:lnTo>
                    <a:pt x="147" y="84"/>
                  </a:lnTo>
                  <a:lnTo>
                    <a:pt x="147" y="80"/>
                  </a:lnTo>
                  <a:lnTo>
                    <a:pt x="151" y="76"/>
                  </a:lnTo>
                  <a:lnTo>
                    <a:pt x="155" y="76"/>
                  </a:lnTo>
                  <a:lnTo>
                    <a:pt x="155" y="80"/>
                  </a:lnTo>
                  <a:lnTo>
                    <a:pt x="159" y="80"/>
                  </a:lnTo>
                  <a:lnTo>
                    <a:pt x="163" y="80"/>
                  </a:lnTo>
                  <a:lnTo>
                    <a:pt x="167" y="80"/>
                  </a:lnTo>
                  <a:lnTo>
                    <a:pt x="171" y="84"/>
                  </a:lnTo>
                  <a:lnTo>
                    <a:pt x="175" y="84"/>
                  </a:lnTo>
                  <a:lnTo>
                    <a:pt x="175" y="80"/>
                  </a:lnTo>
                  <a:lnTo>
                    <a:pt x="179" y="80"/>
                  </a:lnTo>
                  <a:lnTo>
                    <a:pt x="183" y="80"/>
                  </a:lnTo>
                  <a:lnTo>
                    <a:pt x="179" y="80"/>
                  </a:lnTo>
                  <a:lnTo>
                    <a:pt x="179" y="76"/>
                  </a:lnTo>
                  <a:lnTo>
                    <a:pt x="175" y="72"/>
                  </a:lnTo>
                  <a:lnTo>
                    <a:pt x="179" y="72"/>
                  </a:lnTo>
                  <a:lnTo>
                    <a:pt x="183" y="72"/>
                  </a:lnTo>
                  <a:lnTo>
                    <a:pt x="183" y="68"/>
                  </a:lnTo>
                  <a:lnTo>
                    <a:pt x="179" y="68"/>
                  </a:lnTo>
                  <a:lnTo>
                    <a:pt x="179" y="64"/>
                  </a:lnTo>
                  <a:lnTo>
                    <a:pt x="175" y="64"/>
                  </a:lnTo>
                  <a:lnTo>
                    <a:pt x="175" y="60"/>
                  </a:lnTo>
                  <a:lnTo>
                    <a:pt x="179" y="60"/>
                  </a:lnTo>
                  <a:lnTo>
                    <a:pt x="183" y="56"/>
                  </a:lnTo>
                  <a:lnTo>
                    <a:pt x="187" y="56"/>
                  </a:lnTo>
                  <a:lnTo>
                    <a:pt x="191" y="56"/>
                  </a:lnTo>
                  <a:lnTo>
                    <a:pt x="195" y="56"/>
                  </a:lnTo>
                  <a:lnTo>
                    <a:pt x="199" y="56"/>
                  </a:lnTo>
                  <a:lnTo>
                    <a:pt x="203" y="56"/>
                  </a:lnTo>
                  <a:lnTo>
                    <a:pt x="207" y="56"/>
                  </a:lnTo>
                  <a:lnTo>
                    <a:pt x="211" y="56"/>
                  </a:lnTo>
                  <a:lnTo>
                    <a:pt x="215" y="56"/>
                  </a:lnTo>
                  <a:lnTo>
                    <a:pt x="215" y="60"/>
                  </a:lnTo>
                  <a:lnTo>
                    <a:pt x="215" y="64"/>
                  </a:lnTo>
                  <a:lnTo>
                    <a:pt x="219" y="64"/>
                  </a:lnTo>
                  <a:lnTo>
                    <a:pt x="227" y="64"/>
                  </a:lnTo>
                  <a:lnTo>
                    <a:pt x="227" y="68"/>
                  </a:lnTo>
                  <a:lnTo>
                    <a:pt x="231" y="68"/>
                  </a:lnTo>
                  <a:lnTo>
                    <a:pt x="231" y="64"/>
                  </a:lnTo>
                  <a:lnTo>
                    <a:pt x="231" y="68"/>
                  </a:lnTo>
                  <a:lnTo>
                    <a:pt x="235" y="68"/>
                  </a:lnTo>
                  <a:lnTo>
                    <a:pt x="239" y="68"/>
                  </a:lnTo>
                  <a:lnTo>
                    <a:pt x="239" y="72"/>
                  </a:lnTo>
                  <a:lnTo>
                    <a:pt x="243" y="72"/>
                  </a:lnTo>
                  <a:lnTo>
                    <a:pt x="247" y="72"/>
                  </a:lnTo>
                  <a:lnTo>
                    <a:pt x="247" y="76"/>
                  </a:lnTo>
                  <a:lnTo>
                    <a:pt x="251" y="76"/>
                  </a:lnTo>
                  <a:lnTo>
                    <a:pt x="251" y="72"/>
                  </a:lnTo>
                  <a:lnTo>
                    <a:pt x="247" y="72"/>
                  </a:lnTo>
                  <a:lnTo>
                    <a:pt x="243" y="72"/>
                  </a:lnTo>
                  <a:lnTo>
                    <a:pt x="239" y="72"/>
                  </a:lnTo>
                  <a:lnTo>
                    <a:pt x="239" y="68"/>
                  </a:lnTo>
                  <a:lnTo>
                    <a:pt x="235" y="68"/>
                  </a:lnTo>
                  <a:lnTo>
                    <a:pt x="231" y="64"/>
                  </a:lnTo>
                  <a:lnTo>
                    <a:pt x="227" y="64"/>
                  </a:lnTo>
                  <a:lnTo>
                    <a:pt x="223" y="64"/>
                  </a:lnTo>
                  <a:lnTo>
                    <a:pt x="223" y="60"/>
                  </a:lnTo>
                  <a:lnTo>
                    <a:pt x="219" y="56"/>
                  </a:lnTo>
                  <a:lnTo>
                    <a:pt x="215" y="56"/>
                  </a:lnTo>
                  <a:lnTo>
                    <a:pt x="211" y="56"/>
                  </a:lnTo>
                  <a:lnTo>
                    <a:pt x="207" y="56"/>
                  </a:lnTo>
                  <a:lnTo>
                    <a:pt x="207" y="52"/>
                  </a:lnTo>
                  <a:lnTo>
                    <a:pt x="203" y="52"/>
                  </a:lnTo>
                  <a:lnTo>
                    <a:pt x="207" y="52"/>
                  </a:lnTo>
                  <a:lnTo>
                    <a:pt x="211" y="52"/>
                  </a:lnTo>
                  <a:lnTo>
                    <a:pt x="215" y="48"/>
                  </a:lnTo>
                  <a:lnTo>
                    <a:pt x="219" y="48"/>
                  </a:lnTo>
                  <a:lnTo>
                    <a:pt x="223" y="48"/>
                  </a:lnTo>
                  <a:lnTo>
                    <a:pt x="227" y="48"/>
                  </a:lnTo>
                  <a:lnTo>
                    <a:pt x="231" y="48"/>
                  </a:lnTo>
                  <a:lnTo>
                    <a:pt x="235" y="48"/>
                  </a:lnTo>
                  <a:lnTo>
                    <a:pt x="239" y="48"/>
                  </a:lnTo>
                  <a:lnTo>
                    <a:pt x="243" y="48"/>
                  </a:lnTo>
                  <a:lnTo>
                    <a:pt x="247" y="44"/>
                  </a:lnTo>
                  <a:lnTo>
                    <a:pt x="251" y="44"/>
                  </a:lnTo>
                  <a:lnTo>
                    <a:pt x="251" y="48"/>
                  </a:lnTo>
                  <a:lnTo>
                    <a:pt x="255" y="48"/>
                  </a:lnTo>
                  <a:lnTo>
                    <a:pt x="255" y="44"/>
                  </a:lnTo>
                  <a:lnTo>
                    <a:pt x="259" y="44"/>
                  </a:lnTo>
                  <a:lnTo>
                    <a:pt x="263" y="44"/>
                  </a:lnTo>
                  <a:lnTo>
                    <a:pt x="267" y="44"/>
                  </a:lnTo>
                  <a:lnTo>
                    <a:pt x="267" y="48"/>
                  </a:lnTo>
                  <a:lnTo>
                    <a:pt x="271" y="48"/>
                  </a:lnTo>
                  <a:lnTo>
                    <a:pt x="271" y="44"/>
                  </a:lnTo>
                  <a:lnTo>
                    <a:pt x="267" y="44"/>
                  </a:lnTo>
                  <a:lnTo>
                    <a:pt x="263" y="44"/>
                  </a:lnTo>
                  <a:lnTo>
                    <a:pt x="271" y="44"/>
                  </a:lnTo>
                  <a:lnTo>
                    <a:pt x="275" y="40"/>
                  </a:lnTo>
                  <a:lnTo>
                    <a:pt x="279" y="40"/>
                  </a:lnTo>
                  <a:lnTo>
                    <a:pt x="283" y="40"/>
                  </a:lnTo>
                  <a:lnTo>
                    <a:pt x="287" y="44"/>
                  </a:lnTo>
                  <a:lnTo>
                    <a:pt x="291" y="44"/>
                  </a:lnTo>
                  <a:lnTo>
                    <a:pt x="295" y="48"/>
                  </a:lnTo>
                  <a:lnTo>
                    <a:pt x="295" y="56"/>
                  </a:lnTo>
                  <a:lnTo>
                    <a:pt x="295" y="60"/>
                  </a:lnTo>
                  <a:lnTo>
                    <a:pt x="291" y="60"/>
                  </a:lnTo>
                  <a:lnTo>
                    <a:pt x="291" y="64"/>
                  </a:lnTo>
                  <a:lnTo>
                    <a:pt x="291" y="68"/>
                  </a:lnTo>
                  <a:lnTo>
                    <a:pt x="295" y="68"/>
                  </a:lnTo>
                  <a:lnTo>
                    <a:pt x="295" y="64"/>
                  </a:lnTo>
                  <a:lnTo>
                    <a:pt x="299" y="60"/>
                  </a:lnTo>
                  <a:lnTo>
                    <a:pt x="303" y="60"/>
                  </a:lnTo>
                  <a:lnTo>
                    <a:pt x="303" y="56"/>
                  </a:lnTo>
                  <a:lnTo>
                    <a:pt x="303" y="52"/>
                  </a:lnTo>
                  <a:lnTo>
                    <a:pt x="307" y="52"/>
                  </a:lnTo>
                  <a:lnTo>
                    <a:pt x="311" y="52"/>
                  </a:lnTo>
                  <a:lnTo>
                    <a:pt x="319" y="56"/>
                  </a:lnTo>
                  <a:lnTo>
                    <a:pt x="323" y="56"/>
                  </a:lnTo>
                  <a:lnTo>
                    <a:pt x="327" y="56"/>
                  </a:lnTo>
                  <a:lnTo>
                    <a:pt x="331" y="56"/>
                  </a:lnTo>
                  <a:lnTo>
                    <a:pt x="335" y="60"/>
                  </a:lnTo>
                  <a:lnTo>
                    <a:pt x="339" y="60"/>
                  </a:lnTo>
                  <a:lnTo>
                    <a:pt x="343" y="60"/>
                  </a:lnTo>
                  <a:lnTo>
                    <a:pt x="343" y="64"/>
                  </a:lnTo>
                  <a:lnTo>
                    <a:pt x="347" y="64"/>
                  </a:lnTo>
                  <a:lnTo>
                    <a:pt x="351" y="64"/>
                  </a:lnTo>
                  <a:lnTo>
                    <a:pt x="355" y="64"/>
                  </a:lnTo>
                  <a:lnTo>
                    <a:pt x="351" y="64"/>
                  </a:lnTo>
                  <a:lnTo>
                    <a:pt x="347" y="60"/>
                  </a:lnTo>
                  <a:lnTo>
                    <a:pt x="343" y="60"/>
                  </a:lnTo>
                  <a:lnTo>
                    <a:pt x="339" y="60"/>
                  </a:lnTo>
                  <a:lnTo>
                    <a:pt x="339" y="56"/>
                  </a:lnTo>
                  <a:lnTo>
                    <a:pt x="335" y="56"/>
                  </a:lnTo>
                  <a:lnTo>
                    <a:pt x="331" y="56"/>
                  </a:lnTo>
                  <a:lnTo>
                    <a:pt x="335" y="56"/>
                  </a:lnTo>
                  <a:lnTo>
                    <a:pt x="339" y="56"/>
                  </a:lnTo>
                  <a:lnTo>
                    <a:pt x="343" y="56"/>
                  </a:lnTo>
                  <a:lnTo>
                    <a:pt x="347" y="56"/>
                  </a:lnTo>
                  <a:lnTo>
                    <a:pt x="351" y="56"/>
                  </a:lnTo>
                  <a:lnTo>
                    <a:pt x="355" y="56"/>
                  </a:lnTo>
                  <a:lnTo>
                    <a:pt x="351" y="52"/>
                  </a:lnTo>
                  <a:lnTo>
                    <a:pt x="347" y="52"/>
                  </a:lnTo>
                  <a:lnTo>
                    <a:pt x="343" y="52"/>
                  </a:lnTo>
                  <a:lnTo>
                    <a:pt x="343" y="48"/>
                  </a:lnTo>
                  <a:lnTo>
                    <a:pt x="339" y="48"/>
                  </a:lnTo>
                  <a:lnTo>
                    <a:pt x="335" y="48"/>
                  </a:lnTo>
                  <a:lnTo>
                    <a:pt x="335" y="44"/>
                  </a:lnTo>
                  <a:lnTo>
                    <a:pt x="335" y="40"/>
                  </a:lnTo>
                  <a:lnTo>
                    <a:pt x="331" y="40"/>
                  </a:lnTo>
                  <a:lnTo>
                    <a:pt x="331" y="36"/>
                  </a:lnTo>
                  <a:lnTo>
                    <a:pt x="335" y="36"/>
                  </a:lnTo>
                  <a:lnTo>
                    <a:pt x="339" y="36"/>
                  </a:lnTo>
                  <a:lnTo>
                    <a:pt x="343" y="36"/>
                  </a:lnTo>
                  <a:lnTo>
                    <a:pt x="347" y="36"/>
                  </a:lnTo>
                  <a:lnTo>
                    <a:pt x="351" y="36"/>
                  </a:lnTo>
                  <a:lnTo>
                    <a:pt x="355" y="36"/>
                  </a:lnTo>
                  <a:lnTo>
                    <a:pt x="359" y="36"/>
                  </a:lnTo>
                  <a:lnTo>
                    <a:pt x="363" y="36"/>
                  </a:lnTo>
                  <a:lnTo>
                    <a:pt x="363" y="40"/>
                  </a:lnTo>
                  <a:lnTo>
                    <a:pt x="367" y="40"/>
                  </a:lnTo>
                  <a:lnTo>
                    <a:pt x="371" y="40"/>
                  </a:lnTo>
                  <a:lnTo>
                    <a:pt x="371" y="44"/>
                  </a:lnTo>
                  <a:lnTo>
                    <a:pt x="375" y="44"/>
                  </a:lnTo>
                  <a:lnTo>
                    <a:pt x="379" y="44"/>
                  </a:lnTo>
                  <a:lnTo>
                    <a:pt x="383" y="44"/>
                  </a:lnTo>
                  <a:lnTo>
                    <a:pt x="387" y="44"/>
                  </a:lnTo>
                  <a:lnTo>
                    <a:pt x="387" y="48"/>
                  </a:lnTo>
                  <a:lnTo>
                    <a:pt x="391" y="48"/>
                  </a:lnTo>
                  <a:lnTo>
                    <a:pt x="395" y="48"/>
                  </a:lnTo>
                  <a:lnTo>
                    <a:pt x="399" y="48"/>
                  </a:lnTo>
                  <a:lnTo>
                    <a:pt x="403" y="48"/>
                  </a:lnTo>
                  <a:lnTo>
                    <a:pt x="403" y="52"/>
                  </a:lnTo>
                  <a:lnTo>
                    <a:pt x="407" y="52"/>
                  </a:lnTo>
                  <a:lnTo>
                    <a:pt x="411" y="52"/>
                  </a:lnTo>
                  <a:lnTo>
                    <a:pt x="411" y="56"/>
                  </a:lnTo>
                  <a:lnTo>
                    <a:pt x="407" y="56"/>
                  </a:lnTo>
                  <a:lnTo>
                    <a:pt x="411" y="56"/>
                  </a:lnTo>
                  <a:lnTo>
                    <a:pt x="415" y="56"/>
                  </a:lnTo>
                  <a:lnTo>
                    <a:pt x="419" y="56"/>
                  </a:lnTo>
                  <a:lnTo>
                    <a:pt x="419" y="60"/>
                  </a:lnTo>
                  <a:lnTo>
                    <a:pt x="423" y="60"/>
                  </a:lnTo>
                  <a:lnTo>
                    <a:pt x="427" y="60"/>
                  </a:lnTo>
                  <a:lnTo>
                    <a:pt x="431" y="60"/>
                  </a:lnTo>
                  <a:lnTo>
                    <a:pt x="435" y="60"/>
                  </a:lnTo>
                  <a:lnTo>
                    <a:pt x="435" y="56"/>
                  </a:lnTo>
                  <a:lnTo>
                    <a:pt x="431" y="56"/>
                  </a:lnTo>
                  <a:lnTo>
                    <a:pt x="427" y="56"/>
                  </a:lnTo>
                  <a:lnTo>
                    <a:pt x="431" y="56"/>
                  </a:lnTo>
                  <a:lnTo>
                    <a:pt x="431" y="52"/>
                  </a:lnTo>
                  <a:lnTo>
                    <a:pt x="427" y="52"/>
                  </a:lnTo>
                  <a:lnTo>
                    <a:pt x="423" y="52"/>
                  </a:lnTo>
                  <a:lnTo>
                    <a:pt x="427" y="52"/>
                  </a:lnTo>
                  <a:lnTo>
                    <a:pt x="431" y="52"/>
                  </a:lnTo>
                  <a:lnTo>
                    <a:pt x="431" y="48"/>
                  </a:lnTo>
                  <a:lnTo>
                    <a:pt x="427" y="48"/>
                  </a:lnTo>
                  <a:lnTo>
                    <a:pt x="427" y="44"/>
                  </a:lnTo>
                  <a:lnTo>
                    <a:pt x="431" y="44"/>
                  </a:lnTo>
                  <a:lnTo>
                    <a:pt x="435" y="44"/>
                  </a:lnTo>
                  <a:lnTo>
                    <a:pt x="439" y="44"/>
                  </a:lnTo>
                  <a:lnTo>
                    <a:pt x="443" y="44"/>
                  </a:lnTo>
                  <a:lnTo>
                    <a:pt x="447" y="44"/>
                  </a:lnTo>
                  <a:lnTo>
                    <a:pt x="451" y="44"/>
                  </a:lnTo>
                  <a:lnTo>
                    <a:pt x="455" y="44"/>
                  </a:lnTo>
                  <a:lnTo>
                    <a:pt x="459" y="44"/>
                  </a:lnTo>
                  <a:lnTo>
                    <a:pt x="463" y="44"/>
                  </a:lnTo>
                  <a:lnTo>
                    <a:pt x="459" y="44"/>
                  </a:lnTo>
                  <a:lnTo>
                    <a:pt x="455" y="44"/>
                  </a:lnTo>
                  <a:lnTo>
                    <a:pt x="451" y="44"/>
                  </a:lnTo>
                  <a:lnTo>
                    <a:pt x="447" y="44"/>
                  </a:lnTo>
                  <a:lnTo>
                    <a:pt x="443" y="44"/>
                  </a:lnTo>
                  <a:lnTo>
                    <a:pt x="443" y="40"/>
                  </a:lnTo>
                  <a:lnTo>
                    <a:pt x="439" y="40"/>
                  </a:lnTo>
                  <a:lnTo>
                    <a:pt x="443" y="40"/>
                  </a:lnTo>
                  <a:lnTo>
                    <a:pt x="439" y="40"/>
                  </a:lnTo>
                  <a:lnTo>
                    <a:pt x="435" y="36"/>
                  </a:lnTo>
                  <a:lnTo>
                    <a:pt x="431" y="36"/>
                  </a:lnTo>
                  <a:lnTo>
                    <a:pt x="427" y="36"/>
                  </a:lnTo>
                  <a:lnTo>
                    <a:pt x="427" y="32"/>
                  </a:lnTo>
                  <a:lnTo>
                    <a:pt x="423" y="32"/>
                  </a:lnTo>
                  <a:lnTo>
                    <a:pt x="419" y="32"/>
                  </a:lnTo>
                  <a:lnTo>
                    <a:pt x="415" y="28"/>
                  </a:lnTo>
                  <a:lnTo>
                    <a:pt x="411" y="28"/>
                  </a:lnTo>
                  <a:lnTo>
                    <a:pt x="415" y="28"/>
                  </a:lnTo>
                  <a:lnTo>
                    <a:pt x="419" y="28"/>
                  </a:lnTo>
                  <a:lnTo>
                    <a:pt x="423" y="28"/>
                  </a:lnTo>
                  <a:lnTo>
                    <a:pt x="427" y="28"/>
                  </a:lnTo>
                  <a:lnTo>
                    <a:pt x="431" y="28"/>
                  </a:lnTo>
                  <a:lnTo>
                    <a:pt x="435" y="28"/>
                  </a:lnTo>
                  <a:lnTo>
                    <a:pt x="439" y="28"/>
                  </a:lnTo>
                  <a:lnTo>
                    <a:pt x="443" y="28"/>
                  </a:lnTo>
                  <a:lnTo>
                    <a:pt x="447" y="28"/>
                  </a:lnTo>
                  <a:lnTo>
                    <a:pt x="451" y="28"/>
                  </a:lnTo>
                  <a:lnTo>
                    <a:pt x="455" y="28"/>
                  </a:lnTo>
                  <a:lnTo>
                    <a:pt x="459" y="28"/>
                  </a:lnTo>
                  <a:lnTo>
                    <a:pt x="463" y="28"/>
                  </a:lnTo>
                  <a:lnTo>
                    <a:pt x="467" y="28"/>
                  </a:lnTo>
                  <a:lnTo>
                    <a:pt x="467" y="32"/>
                  </a:lnTo>
                  <a:lnTo>
                    <a:pt x="471" y="32"/>
                  </a:lnTo>
                  <a:lnTo>
                    <a:pt x="471" y="36"/>
                  </a:lnTo>
                  <a:lnTo>
                    <a:pt x="474" y="36"/>
                  </a:lnTo>
                  <a:lnTo>
                    <a:pt x="474" y="32"/>
                  </a:lnTo>
                  <a:lnTo>
                    <a:pt x="471" y="28"/>
                  </a:lnTo>
                  <a:lnTo>
                    <a:pt x="474" y="28"/>
                  </a:lnTo>
                  <a:lnTo>
                    <a:pt x="478" y="28"/>
                  </a:lnTo>
                  <a:lnTo>
                    <a:pt x="478" y="32"/>
                  </a:lnTo>
                  <a:lnTo>
                    <a:pt x="486" y="32"/>
                  </a:lnTo>
                  <a:lnTo>
                    <a:pt x="490" y="32"/>
                  </a:lnTo>
                  <a:lnTo>
                    <a:pt x="490" y="36"/>
                  </a:lnTo>
                  <a:lnTo>
                    <a:pt x="494" y="36"/>
                  </a:lnTo>
                  <a:lnTo>
                    <a:pt x="498" y="36"/>
                  </a:lnTo>
                  <a:lnTo>
                    <a:pt x="498" y="40"/>
                  </a:lnTo>
                  <a:lnTo>
                    <a:pt x="502" y="40"/>
                  </a:lnTo>
                  <a:lnTo>
                    <a:pt x="502" y="36"/>
                  </a:lnTo>
                  <a:lnTo>
                    <a:pt x="498" y="36"/>
                  </a:lnTo>
                  <a:lnTo>
                    <a:pt x="498" y="32"/>
                  </a:lnTo>
                  <a:lnTo>
                    <a:pt x="502" y="32"/>
                  </a:lnTo>
                  <a:lnTo>
                    <a:pt x="498" y="32"/>
                  </a:lnTo>
                  <a:lnTo>
                    <a:pt x="498" y="28"/>
                  </a:lnTo>
                  <a:lnTo>
                    <a:pt x="494" y="28"/>
                  </a:lnTo>
                  <a:lnTo>
                    <a:pt x="490" y="28"/>
                  </a:lnTo>
                  <a:lnTo>
                    <a:pt x="486" y="28"/>
                  </a:lnTo>
                  <a:lnTo>
                    <a:pt x="482" y="28"/>
                  </a:lnTo>
                  <a:lnTo>
                    <a:pt x="478" y="28"/>
                  </a:lnTo>
                  <a:lnTo>
                    <a:pt x="474" y="28"/>
                  </a:lnTo>
                  <a:lnTo>
                    <a:pt x="474" y="24"/>
                  </a:lnTo>
                  <a:lnTo>
                    <a:pt x="467" y="24"/>
                  </a:lnTo>
                  <a:lnTo>
                    <a:pt x="463" y="24"/>
                  </a:lnTo>
                  <a:lnTo>
                    <a:pt x="459" y="24"/>
                  </a:lnTo>
                  <a:lnTo>
                    <a:pt x="455" y="24"/>
                  </a:lnTo>
                  <a:lnTo>
                    <a:pt x="447" y="24"/>
                  </a:lnTo>
                  <a:lnTo>
                    <a:pt x="443" y="24"/>
                  </a:lnTo>
                  <a:lnTo>
                    <a:pt x="439" y="24"/>
                  </a:lnTo>
                  <a:lnTo>
                    <a:pt x="435" y="24"/>
                  </a:lnTo>
                  <a:lnTo>
                    <a:pt x="431" y="24"/>
                  </a:lnTo>
                  <a:lnTo>
                    <a:pt x="427" y="24"/>
                  </a:lnTo>
                  <a:lnTo>
                    <a:pt x="423" y="24"/>
                  </a:lnTo>
                  <a:lnTo>
                    <a:pt x="427" y="24"/>
                  </a:lnTo>
                  <a:lnTo>
                    <a:pt x="423" y="24"/>
                  </a:lnTo>
                  <a:lnTo>
                    <a:pt x="419" y="24"/>
                  </a:lnTo>
                  <a:lnTo>
                    <a:pt x="415" y="24"/>
                  </a:lnTo>
                  <a:lnTo>
                    <a:pt x="411" y="24"/>
                  </a:lnTo>
                  <a:lnTo>
                    <a:pt x="407" y="24"/>
                  </a:lnTo>
                  <a:lnTo>
                    <a:pt x="403" y="24"/>
                  </a:lnTo>
                  <a:lnTo>
                    <a:pt x="399" y="24"/>
                  </a:lnTo>
                  <a:lnTo>
                    <a:pt x="395" y="20"/>
                  </a:lnTo>
                  <a:lnTo>
                    <a:pt x="403" y="20"/>
                  </a:lnTo>
                  <a:lnTo>
                    <a:pt x="407" y="24"/>
                  </a:lnTo>
                  <a:lnTo>
                    <a:pt x="407" y="20"/>
                  </a:lnTo>
                  <a:lnTo>
                    <a:pt x="403" y="20"/>
                  </a:lnTo>
                  <a:lnTo>
                    <a:pt x="399" y="20"/>
                  </a:lnTo>
                  <a:lnTo>
                    <a:pt x="403" y="20"/>
                  </a:lnTo>
                  <a:lnTo>
                    <a:pt x="407" y="20"/>
                  </a:lnTo>
                  <a:lnTo>
                    <a:pt x="407" y="16"/>
                  </a:lnTo>
                  <a:lnTo>
                    <a:pt x="411" y="16"/>
                  </a:lnTo>
                  <a:lnTo>
                    <a:pt x="411" y="20"/>
                  </a:lnTo>
                  <a:lnTo>
                    <a:pt x="415" y="20"/>
                  </a:lnTo>
                  <a:lnTo>
                    <a:pt x="419" y="20"/>
                  </a:lnTo>
                  <a:lnTo>
                    <a:pt x="423" y="20"/>
                  </a:lnTo>
                  <a:lnTo>
                    <a:pt x="423" y="24"/>
                  </a:lnTo>
                  <a:lnTo>
                    <a:pt x="427" y="24"/>
                  </a:lnTo>
                  <a:lnTo>
                    <a:pt x="427" y="20"/>
                  </a:lnTo>
                  <a:lnTo>
                    <a:pt x="431" y="20"/>
                  </a:lnTo>
                  <a:lnTo>
                    <a:pt x="431" y="24"/>
                  </a:lnTo>
                  <a:lnTo>
                    <a:pt x="439" y="24"/>
                  </a:lnTo>
                  <a:lnTo>
                    <a:pt x="443" y="24"/>
                  </a:lnTo>
                  <a:lnTo>
                    <a:pt x="447" y="24"/>
                  </a:lnTo>
                  <a:lnTo>
                    <a:pt x="443" y="24"/>
                  </a:lnTo>
                  <a:lnTo>
                    <a:pt x="439" y="24"/>
                  </a:lnTo>
                  <a:lnTo>
                    <a:pt x="435" y="24"/>
                  </a:lnTo>
                  <a:lnTo>
                    <a:pt x="435" y="20"/>
                  </a:lnTo>
                  <a:lnTo>
                    <a:pt x="431" y="20"/>
                  </a:lnTo>
                  <a:lnTo>
                    <a:pt x="427" y="20"/>
                  </a:lnTo>
                  <a:lnTo>
                    <a:pt x="423" y="20"/>
                  </a:lnTo>
                  <a:lnTo>
                    <a:pt x="419" y="20"/>
                  </a:lnTo>
                  <a:lnTo>
                    <a:pt x="415" y="16"/>
                  </a:lnTo>
                  <a:lnTo>
                    <a:pt x="419" y="16"/>
                  </a:lnTo>
                  <a:lnTo>
                    <a:pt x="423" y="16"/>
                  </a:lnTo>
                  <a:lnTo>
                    <a:pt x="427" y="16"/>
                  </a:lnTo>
                  <a:lnTo>
                    <a:pt x="431" y="16"/>
                  </a:lnTo>
                  <a:lnTo>
                    <a:pt x="435" y="16"/>
                  </a:lnTo>
                  <a:lnTo>
                    <a:pt x="439" y="16"/>
                  </a:lnTo>
                  <a:lnTo>
                    <a:pt x="443" y="16"/>
                  </a:lnTo>
                  <a:lnTo>
                    <a:pt x="447" y="16"/>
                  </a:lnTo>
                  <a:lnTo>
                    <a:pt x="451" y="16"/>
                  </a:lnTo>
                  <a:lnTo>
                    <a:pt x="455" y="16"/>
                  </a:lnTo>
                  <a:lnTo>
                    <a:pt x="451" y="16"/>
                  </a:lnTo>
                  <a:lnTo>
                    <a:pt x="447" y="16"/>
                  </a:lnTo>
                  <a:lnTo>
                    <a:pt x="443" y="16"/>
                  </a:lnTo>
                  <a:lnTo>
                    <a:pt x="439" y="16"/>
                  </a:lnTo>
                  <a:lnTo>
                    <a:pt x="439" y="12"/>
                  </a:lnTo>
                  <a:lnTo>
                    <a:pt x="443" y="12"/>
                  </a:lnTo>
                  <a:lnTo>
                    <a:pt x="447" y="12"/>
                  </a:lnTo>
                  <a:lnTo>
                    <a:pt x="451" y="12"/>
                  </a:lnTo>
                  <a:lnTo>
                    <a:pt x="455" y="12"/>
                  </a:lnTo>
                  <a:lnTo>
                    <a:pt x="451" y="12"/>
                  </a:lnTo>
                  <a:lnTo>
                    <a:pt x="455" y="12"/>
                  </a:lnTo>
                  <a:lnTo>
                    <a:pt x="459" y="12"/>
                  </a:lnTo>
                  <a:lnTo>
                    <a:pt x="463" y="12"/>
                  </a:lnTo>
                  <a:lnTo>
                    <a:pt x="467" y="12"/>
                  </a:lnTo>
                  <a:lnTo>
                    <a:pt x="471" y="12"/>
                  </a:lnTo>
                  <a:lnTo>
                    <a:pt x="474" y="16"/>
                  </a:lnTo>
                  <a:lnTo>
                    <a:pt x="471" y="16"/>
                  </a:lnTo>
                  <a:lnTo>
                    <a:pt x="474" y="16"/>
                  </a:lnTo>
                  <a:lnTo>
                    <a:pt x="478" y="16"/>
                  </a:lnTo>
                  <a:lnTo>
                    <a:pt x="482" y="16"/>
                  </a:lnTo>
                  <a:lnTo>
                    <a:pt x="482" y="20"/>
                  </a:lnTo>
                  <a:lnTo>
                    <a:pt x="486" y="20"/>
                  </a:lnTo>
                  <a:lnTo>
                    <a:pt x="490" y="20"/>
                  </a:lnTo>
                  <a:lnTo>
                    <a:pt x="498" y="20"/>
                  </a:lnTo>
                  <a:lnTo>
                    <a:pt x="502" y="20"/>
                  </a:lnTo>
                  <a:lnTo>
                    <a:pt x="506" y="20"/>
                  </a:lnTo>
                  <a:lnTo>
                    <a:pt x="514" y="24"/>
                  </a:lnTo>
                  <a:lnTo>
                    <a:pt x="514" y="28"/>
                  </a:lnTo>
                  <a:lnTo>
                    <a:pt x="518" y="28"/>
                  </a:lnTo>
                  <a:lnTo>
                    <a:pt x="522" y="28"/>
                  </a:lnTo>
                  <a:lnTo>
                    <a:pt x="518" y="28"/>
                  </a:lnTo>
                  <a:lnTo>
                    <a:pt x="518" y="24"/>
                  </a:lnTo>
                  <a:lnTo>
                    <a:pt x="514" y="24"/>
                  </a:lnTo>
                  <a:lnTo>
                    <a:pt x="510" y="20"/>
                  </a:lnTo>
                  <a:lnTo>
                    <a:pt x="514" y="20"/>
                  </a:lnTo>
                  <a:lnTo>
                    <a:pt x="518" y="20"/>
                  </a:lnTo>
                  <a:lnTo>
                    <a:pt x="522" y="20"/>
                  </a:lnTo>
                  <a:lnTo>
                    <a:pt x="526" y="20"/>
                  </a:lnTo>
                  <a:lnTo>
                    <a:pt x="534" y="20"/>
                  </a:lnTo>
                  <a:lnTo>
                    <a:pt x="538" y="20"/>
                  </a:lnTo>
                  <a:lnTo>
                    <a:pt x="542" y="20"/>
                  </a:lnTo>
                  <a:lnTo>
                    <a:pt x="538" y="20"/>
                  </a:lnTo>
                  <a:lnTo>
                    <a:pt x="534" y="20"/>
                  </a:lnTo>
                  <a:lnTo>
                    <a:pt x="526" y="20"/>
                  </a:lnTo>
                  <a:lnTo>
                    <a:pt x="522" y="20"/>
                  </a:lnTo>
                  <a:lnTo>
                    <a:pt x="518" y="20"/>
                  </a:lnTo>
                  <a:lnTo>
                    <a:pt x="518" y="16"/>
                  </a:lnTo>
                  <a:lnTo>
                    <a:pt x="522" y="16"/>
                  </a:lnTo>
                  <a:lnTo>
                    <a:pt x="526" y="16"/>
                  </a:lnTo>
                  <a:lnTo>
                    <a:pt x="530" y="16"/>
                  </a:lnTo>
                  <a:lnTo>
                    <a:pt x="534" y="16"/>
                  </a:lnTo>
                  <a:lnTo>
                    <a:pt x="538" y="16"/>
                  </a:lnTo>
                  <a:lnTo>
                    <a:pt x="542" y="16"/>
                  </a:lnTo>
                  <a:lnTo>
                    <a:pt x="546" y="16"/>
                  </a:lnTo>
                  <a:lnTo>
                    <a:pt x="542" y="16"/>
                  </a:lnTo>
                  <a:lnTo>
                    <a:pt x="538" y="16"/>
                  </a:lnTo>
                  <a:lnTo>
                    <a:pt x="534" y="16"/>
                  </a:lnTo>
                  <a:lnTo>
                    <a:pt x="530" y="12"/>
                  </a:lnTo>
                  <a:lnTo>
                    <a:pt x="526" y="12"/>
                  </a:lnTo>
                  <a:lnTo>
                    <a:pt x="522" y="12"/>
                  </a:lnTo>
                  <a:lnTo>
                    <a:pt x="518" y="12"/>
                  </a:lnTo>
                  <a:lnTo>
                    <a:pt x="518" y="8"/>
                  </a:lnTo>
                  <a:lnTo>
                    <a:pt x="522" y="8"/>
                  </a:lnTo>
                  <a:lnTo>
                    <a:pt x="526" y="8"/>
                  </a:lnTo>
                  <a:lnTo>
                    <a:pt x="530" y="8"/>
                  </a:lnTo>
                  <a:lnTo>
                    <a:pt x="534" y="8"/>
                  </a:lnTo>
                  <a:lnTo>
                    <a:pt x="530" y="8"/>
                  </a:lnTo>
                  <a:lnTo>
                    <a:pt x="530" y="4"/>
                  </a:lnTo>
                  <a:lnTo>
                    <a:pt x="534" y="4"/>
                  </a:lnTo>
                  <a:lnTo>
                    <a:pt x="538" y="4"/>
                  </a:lnTo>
                  <a:lnTo>
                    <a:pt x="542" y="4"/>
                  </a:lnTo>
                  <a:lnTo>
                    <a:pt x="546" y="8"/>
                  </a:lnTo>
                  <a:lnTo>
                    <a:pt x="550" y="8"/>
                  </a:lnTo>
                  <a:lnTo>
                    <a:pt x="554" y="8"/>
                  </a:lnTo>
                  <a:lnTo>
                    <a:pt x="550" y="8"/>
                  </a:lnTo>
                  <a:lnTo>
                    <a:pt x="550" y="4"/>
                  </a:lnTo>
                  <a:lnTo>
                    <a:pt x="546" y="4"/>
                  </a:lnTo>
                  <a:lnTo>
                    <a:pt x="550" y="4"/>
                  </a:lnTo>
                  <a:lnTo>
                    <a:pt x="554" y="4"/>
                  </a:lnTo>
                  <a:lnTo>
                    <a:pt x="558" y="4"/>
                  </a:lnTo>
                  <a:lnTo>
                    <a:pt x="562" y="4"/>
                  </a:lnTo>
                  <a:lnTo>
                    <a:pt x="566" y="4"/>
                  </a:lnTo>
                  <a:lnTo>
                    <a:pt x="570" y="4"/>
                  </a:lnTo>
                  <a:lnTo>
                    <a:pt x="574" y="0"/>
                  </a:lnTo>
                  <a:lnTo>
                    <a:pt x="578" y="0"/>
                  </a:lnTo>
                  <a:lnTo>
                    <a:pt x="582" y="0"/>
                  </a:lnTo>
                  <a:lnTo>
                    <a:pt x="582" y="4"/>
                  </a:lnTo>
                  <a:lnTo>
                    <a:pt x="582" y="0"/>
                  </a:lnTo>
                  <a:lnTo>
                    <a:pt x="586" y="0"/>
                  </a:lnTo>
                  <a:lnTo>
                    <a:pt x="586" y="4"/>
                  </a:lnTo>
                  <a:lnTo>
                    <a:pt x="590" y="4"/>
                  </a:lnTo>
                  <a:lnTo>
                    <a:pt x="594" y="4"/>
                  </a:lnTo>
                  <a:lnTo>
                    <a:pt x="590" y="4"/>
                  </a:lnTo>
                  <a:lnTo>
                    <a:pt x="590" y="0"/>
                  </a:lnTo>
                  <a:lnTo>
                    <a:pt x="594" y="0"/>
                  </a:lnTo>
                  <a:lnTo>
                    <a:pt x="598" y="0"/>
                  </a:lnTo>
                  <a:lnTo>
                    <a:pt x="602" y="0"/>
                  </a:lnTo>
                  <a:lnTo>
                    <a:pt x="606" y="0"/>
                  </a:lnTo>
                  <a:lnTo>
                    <a:pt x="610" y="0"/>
                  </a:lnTo>
                  <a:lnTo>
                    <a:pt x="614" y="0"/>
                  </a:lnTo>
                  <a:lnTo>
                    <a:pt x="618" y="0"/>
                  </a:lnTo>
                  <a:lnTo>
                    <a:pt x="614" y="0"/>
                  </a:lnTo>
                  <a:lnTo>
                    <a:pt x="618" y="0"/>
                  </a:lnTo>
                  <a:lnTo>
                    <a:pt x="622" y="0"/>
                  </a:lnTo>
                  <a:lnTo>
                    <a:pt x="626" y="0"/>
                  </a:lnTo>
                  <a:lnTo>
                    <a:pt x="630" y="0"/>
                  </a:lnTo>
                  <a:lnTo>
                    <a:pt x="634" y="0"/>
                  </a:lnTo>
                  <a:lnTo>
                    <a:pt x="638" y="0"/>
                  </a:lnTo>
                  <a:lnTo>
                    <a:pt x="642" y="0"/>
                  </a:lnTo>
                  <a:lnTo>
                    <a:pt x="646" y="0"/>
                  </a:lnTo>
                  <a:lnTo>
                    <a:pt x="654" y="0"/>
                  </a:lnTo>
                  <a:lnTo>
                    <a:pt x="658" y="4"/>
                  </a:lnTo>
                  <a:lnTo>
                    <a:pt x="662" y="4"/>
                  </a:lnTo>
                  <a:lnTo>
                    <a:pt x="666" y="4"/>
                  </a:lnTo>
                  <a:lnTo>
                    <a:pt x="670" y="4"/>
                  </a:lnTo>
                  <a:lnTo>
                    <a:pt x="674" y="4"/>
                  </a:lnTo>
                  <a:lnTo>
                    <a:pt x="670" y="4"/>
                  </a:lnTo>
                  <a:lnTo>
                    <a:pt x="666" y="4"/>
                  </a:lnTo>
                  <a:lnTo>
                    <a:pt x="670" y="8"/>
                  </a:lnTo>
                  <a:lnTo>
                    <a:pt x="674" y="8"/>
                  </a:lnTo>
                  <a:lnTo>
                    <a:pt x="678" y="8"/>
                  </a:lnTo>
                  <a:lnTo>
                    <a:pt x="674" y="4"/>
                  </a:lnTo>
                  <a:lnTo>
                    <a:pt x="678" y="4"/>
                  </a:lnTo>
                  <a:lnTo>
                    <a:pt x="682" y="4"/>
                  </a:lnTo>
                  <a:lnTo>
                    <a:pt x="686" y="4"/>
                  </a:lnTo>
                  <a:lnTo>
                    <a:pt x="690" y="4"/>
                  </a:lnTo>
                  <a:lnTo>
                    <a:pt x="694" y="4"/>
                  </a:lnTo>
                  <a:lnTo>
                    <a:pt x="698" y="8"/>
                  </a:lnTo>
                  <a:lnTo>
                    <a:pt x="706" y="8"/>
                  </a:lnTo>
                  <a:lnTo>
                    <a:pt x="710" y="8"/>
                  </a:lnTo>
                  <a:lnTo>
                    <a:pt x="714" y="8"/>
                  </a:lnTo>
                  <a:lnTo>
                    <a:pt x="718" y="12"/>
                  </a:lnTo>
                  <a:lnTo>
                    <a:pt x="714" y="12"/>
                  </a:lnTo>
                  <a:lnTo>
                    <a:pt x="710" y="12"/>
                  </a:lnTo>
                  <a:lnTo>
                    <a:pt x="706" y="12"/>
                  </a:lnTo>
                  <a:lnTo>
                    <a:pt x="702" y="16"/>
                  </a:lnTo>
                  <a:lnTo>
                    <a:pt x="698" y="16"/>
                  </a:lnTo>
                  <a:lnTo>
                    <a:pt x="694" y="16"/>
                  </a:lnTo>
                  <a:lnTo>
                    <a:pt x="690" y="16"/>
                  </a:lnTo>
                  <a:lnTo>
                    <a:pt x="686" y="16"/>
                  </a:lnTo>
                  <a:lnTo>
                    <a:pt x="682" y="16"/>
                  </a:lnTo>
                  <a:lnTo>
                    <a:pt x="678" y="16"/>
                  </a:lnTo>
                  <a:lnTo>
                    <a:pt x="674" y="16"/>
                  </a:lnTo>
                  <a:lnTo>
                    <a:pt x="670" y="16"/>
                  </a:lnTo>
                  <a:lnTo>
                    <a:pt x="662" y="16"/>
                  </a:lnTo>
                  <a:lnTo>
                    <a:pt x="658" y="16"/>
                  </a:lnTo>
                  <a:lnTo>
                    <a:pt x="654" y="16"/>
                  </a:lnTo>
                  <a:lnTo>
                    <a:pt x="650" y="16"/>
                  </a:lnTo>
                  <a:lnTo>
                    <a:pt x="646" y="16"/>
                  </a:lnTo>
                  <a:lnTo>
                    <a:pt x="642" y="16"/>
                  </a:lnTo>
                  <a:lnTo>
                    <a:pt x="638" y="16"/>
                  </a:lnTo>
                  <a:lnTo>
                    <a:pt x="634" y="16"/>
                  </a:lnTo>
                  <a:lnTo>
                    <a:pt x="630" y="16"/>
                  </a:lnTo>
                  <a:lnTo>
                    <a:pt x="626" y="16"/>
                  </a:lnTo>
                  <a:lnTo>
                    <a:pt x="626" y="20"/>
                  </a:lnTo>
                  <a:lnTo>
                    <a:pt x="622" y="20"/>
                  </a:lnTo>
                  <a:lnTo>
                    <a:pt x="618" y="20"/>
                  </a:lnTo>
                  <a:lnTo>
                    <a:pt x="614" y="16"/>
                  </a:lnTo>
                  <a:lnTo>
                    <a:pt x="610" y="16"/>
                  </a:lnTo>
                  <a:lnTo>
                    <a:pt x="602" y="16"/>
                  </a:lnTo>
                  <a:lnTo>
                    <a:pt x="598" y="16"/>
                  </a:lnTo>
                  <a:lnTo>
                    <a:pt x="602" y="16"/>
                  </a:lnTo>
                  <a:lnTo>
                    <a:pt x="606" y="16"/>
                  </a:lnTo>
                  <a:lnTo>
                    <a:pt x="610" y="16"/>
                  </a:lnTo>
                  <a:lnTo>
                    <a:pt x="614" y="20"/>
                  </a:lnTo>
                  <a:lnTo>
                    <a:pt x="610" y="20"/>
                  </a:lnTo>
                  <a:lnTo>
                    <a:pt x="606" y="20"/>
                  </a:lnTo>
                  <a:lnTo>
                    <a:pt x="602" y="20"/>
                  </a:lnTo>
                  <a:lnTo>
                    <a:pt x="598" y="20"/>
                  </a:lnTo>
                  <a:lnTo>
                    <a:pt x="594" y="20"/>
                  </a:lnTo>
                  <a:lnTo>
                    <a:pt x="590" y="24"/>
                  </a:lnTo>
                  <a:lnTo>
                    <a:pt x="586" y="24"/>
                  </a:lnTo>
                  <a:lnTo>
                    <a:pt x="582" y="24"/>
                  </a:lnTo>
                  <a:lnTo>
                    <a:pt x="578" y="24"/>
                  </a:lnTo>
                  <a:lnTo>
                    <a:pt x="574" y="24"/>
                  </a:lnTo>
                  <a:lnTo>
                    <a:pt x="570" y="24"/>
                  </a:lnTo>
                  <a:lnTo>
                    <a:pt x="566" y="24"/>
                  </a:lnTo>
                  <a:lnTo>
                    <a:pt x="570" y="24"/>
                  </a:lnTo>
                  <a:lnTo>
                    <a:pt x="566" y="28"/>
                  </a:lnTo>
                  <a:lnTo>
                    <a:pt x="570" y="28"/>
                  </a:lnTo>
                  <a:lnTo>
                    <a:pt x="570" y="24"/>
                  </a:lnTo>
                  <a:lnTo>
                    <a:pt x="574" y="24"/>
                  </a:lnTo>
                  <a:lnTo>
                    <a:pt x="578" y="24"/>
                  </a:lnTo>
                  <a:lnTo>
                    <a:pt x="582" y="24"/>
                  </a:lnTo>
                  <a:lnTo>
                    <a:pt x="586" y="24"/>
                  </a:lnTo>
                  <a:lnTo>
                    <a:pt x="590" y="24"/>
                  </a:lnTo>
                  <a:lnTo>
                    <a:pt x="594" y="24"/>
                  </a:lnTo>
                  <a:lnTo>
                    <a:pt x="594" y="28"/>
                  </a:lnTo>
                  <a:lnTo>
                    <a:pt x="590" y="28"/>
                  </a:lnTo>
                  <a:lnTo>
                    <a:pt x="594" y="28"/>
                  </a:lnTo>
                  <a:lnTo>
                    <a:pt x="594" y="24"/>
                  </a:lnTo>
                  <a:lnTo>
                    <a:pt x="598" y="24"/>
                  </a:lnTo>
                  <a:lnTo>
                    <a:pt x="598" y="20"/>
                  </a:lnTo>
                  <a:lnTo>
                    <a:pt x="602" y="20"/>
                  </a:lnTo>
                  <a:lnTo>
                    <a:pt x="606" y="20"/>
                  </a:lnTo>
                  <a:lnTo>
                    <a:pt x="614" y="20"/>
                  </a:lnTo>
                  <a:lnTo>
                    <a:pt x="618" y="20"/>
                  </a:lnTo>
                  <a:lnTo>
                    <a:pt x="622" y="20"/>
                  </a:lnTo>
                  <a:lnTo>
                    <a:pt x="626" y="20"/>
                  </a:lnTo>
                  <a:lnTo>
                    <a:pt x="626" y="24"/>
                  </a:lnTo>
                  <a:lnTo>
                    <a:pt x="626" y="20"/>
                  </a:lnTo>
                  <a:lnTo>
                    <a:pt x="630" y="20"/>
                  </a:lnTo>
                  <a:lnTo>
                    <a:pt x="634" y="20"/>
                  </a:lnTo>
                  <a:lnTo>
                    <a:pt x="638" y="20"/>
                  </a:lnTo>
                  <a:lnTo>
                    <a:pt x="638" y="16"/>
                  </a:lnTo>
                  <a:lnTo>
                    <a:pt x="642" y="16"/>
                  </a:lnTo>
                  <a:lnTo>
                    <a:pt x="646" y="16"/>
                  </a:lnTo>
                  <a:lnTo>
                    <a:pt x="650" y="16"/>
                  </a:lnTo>
                  <a:lnTo>
                    <a:pt x="654" y="16"/>
                  </a:lnTo>
                  <a:lnTo>
                    <a:pt x="658" y="16"/>
                  </a:lnTo>
                  <a:lnTo>
                    <a:pt x="662" y="16"/>
                  </a:lnTo>
                  <a:lnTo>
                    <a:pt x="666" y="16"/>
                  </a:lnTo>
                  <a:lnTo>
                    <a:pt x="670" y="16"/>
                  </a:lnTo>
                  <a:lnTo>
                    <a:pt x="674" y="16"/>
                  </a:lnTo>
                  <a:lnTo>
                    <a:pt x="678" y="20"/>
                  </a:lnTo>
                  <a:lnTo>
                    <a:pt x="682" y="20"/>
                  </a:lnTo>
                  <a:lnTo>
                    <a:pt x="682" y="16"/>
                  </a:lnTo>
                  <a:lnTo>
                    <a:pt x="686" y="20"/>
                  </a:lnTo>
                  <a:lnTo>
                    <a:pt x="694" y="20"/>
                  </a:lnTo>
                  <a:lnTo>
                    <a:pt x="702" y="20"/>
                  </a:lnTo>
                  <a:lnTo>
                    <a:pt x="702" y="16"/>
                  </a:lnTo>
                  <a:lnTo>
                    <a:pt x="706" y="16"/>
                  </a:lnTo>
                  <a:lnTo>
                    <a:pt x="710" y="16"/>
                  </a:lnTo>
                  <a:lnTo>
                    <a:pt x="714" y="16"/>
                  </a:lnTo>
                  <a:lnTo>
                    <a:pt x="718" y="16"/>
                  </a:lnTo>
                  <a:lnTo>
                    <a:pt x="722" y="16"/>
                  </a:lnTo>
                  <a:lnTo>
                    <a:pt x="726" y="16"/>
                  </a:lnTo>
                  <a:lnTo>
                    <a:pt x="730" y="16"/>
                  </a:lnTo>
                  <a:lnTo>
                    <a:pt x="726" y="16"/>
                  </a:lnTo>
                  <a:lnTo>
                    <a:pt x="726" y="20"/>
                  </a:lnTo>
                  <a:lnTo>
                    <a:pt x="730" y="20"/>
                  </a:lnTo>
                  <a:lnTo>
                    <a:pt x="726" y="24"/>
                  </a:lnTo>
                  <a:lnTo>
                    <a:pt x="722" y="24"/>
                  </a:lnTo>
                  <a:lnTo>
                    <a:pt x="718" y="28"/>
                  </a:lnTo>
                  <a:lnTo>
                    <a:pt x="714" y="28"/>
                  </a:lnTo>
                  <a:lnTo>
                    <a:pt x="718" y="28"/>
                  </a:lnTo>
                  <a:lnTo>
                    <a:pt x="722" y="28"/>
                  </a:lnTo>
                  <a:lnTo>
                    <a:pt x="726" y="28"/>
                  </a:lnTo>
                  <a:lnTo>
                    <a:pt x="726" y="24"/>
                  </a:lnTo>
                  <a:lnTo>
                    <a:pt x="730" y="24"/>
                  </a:lnTo>
                  <a:lnTo>
                    <a:pt x="734" y="24"/>
                  </a:lnTo>
                  <a:lnTo>
                    <a:pt x="738" y="24"/>
                  </a:lnTo>
                  <a:lnTo>
                    <a:pt x="742" y="24"/>
                  </a:lnTo>
                  <a:lnTo>
                    <a:pt x="746" y="24"/>
                  </a:lnTo>
                  <a:lnTo>
                    <a:pt x="742" y="24"/>
                  </a:lnTo>
                  <a:lnTo>
                    <a:pt x="742" y="28"/>
                  </a:lnTo>
                  <a:lnTo>
                    <a:pt x="746" y="28"/>
                  </a:lnTo>
                  <a:lnTo>
                    <a:pt x="746" y="24"/>
                  </a:lnTo>
                  <a:lnTo>
                    <a:pt x="750" y="24"/>
                  </a:lnTo>
                  <a:lnTo>
                    <a:pt x="754" y="24"/>
                  </a:lnTo>
                  <a:lnTo>
                    <a:pt x="754" y="28"/>
                  </a:lnTo>
                  <a:lnTo>
                    <a:pt x="758" y="28"/>
                  </a:lnTo>
                  <a:lnTo>
                    <a:pt x="762" y="28"/>
                  </a:lnTo>
                  <a:lnTo>
                    <a:pt x="766" y="28"/>
                  </a:lnTo>
                  <a:lnTo>
                    <a:pt x="770" y="28"/>
                  </a:lnTo>
                  <a:lnTo>
                    <a:pt x="774" y="32"/>
                  </a:lnTo>
                  <a:lnTo>
                    <a:pt x="778" y="32"/>
                  </a:lnTo>
                  <a:lnTo>
                    <a:pt x="782" y="32"/>
                  </a:lnTo>
                  <a:lnTo>
                    <a:pt x="782" y="36"/>
                  </a:lnTo>
                  <a:lnTo>
                    <a:pt x="774" y="36"/>
                  </a:lnTo>
                  <a:lnTo>
                    <a:pt x="770" y="36"/>
                  </a:lnTo>
                  <a:lnTo>
                    <a:pt x="770" y="40"/>
                  </a:lnTo>
                  <a:lnTo>
                    <a:pt x="766" y="40"/>
                  </a:lnTo>
                  <a:lnTo>
                    <a:pt x="770" y="40"/>
                  </a:lnTo>
                  <a:lnTo>
                    <a:pt x="766" y="40"/>
                  </a:lnTo>
                  <a:lnTo>
                    <a:pt x="766" y="44"/>
                  </a:lnTo>
                  <a:lnTo>
                    <a:pt x="762" y="44"/>
                  </a:lnTo>
                  <a:lnTo>
                    <a:pt x="758" y="44"/>
                  </a:lnTo>
                  <a:lnTo>
                    <a:pt x="754" y="44"/>
                  </a:lnTo>
                  <a:lnTo>
                    <a:pt x="750" y="44"/>
                  </a:lnTo>
                  <a:lnTo>
                    <a:pt x="746" y="44"/>
                  </a:lnTo>
                  <a:lnTo>
                    <a:pt x="738" y="44"/>
                  </a:lnTo>
                  <a:lnTo>
                    <a:pt x="734" y="44"/>
                  </a:lnTo>
                  <a:lnTo>
                    <a:pt x="734" y="48"/>
                  </a:lnTo>
                  <a:lnTo>
                    <a:pt x="730" y="48"/>
                  </a:lnTo>
                  <a:lnTo>
                    <a:pt x="726" y="48"/>
                  </a:lnTo>
                  <a:lnTo>
                    <a:pt x="722" y="48"/>
                  </a:lnTo>
                  <a:lnTo>
                    <a:pt x="714" y="48"/>
                  </a:lnTo>
                  <a:lnTo>
                    <a:pt x="710" y="48"/>
                  </a:lnTo>
                  <a:lnTo>
                    <a:pt x="702" y="48"/>
                  </a:lnTo>
                  <a:lnTo>
                    <a:pt x="698" y="48"/>
                  </a:lnTo>
                  <a:lnTo>
                    <a:pt x="694" y="48"/>
                  </a:lnTo>
                  <a:lnTo>
                    <a:pt x="690" y="48"/>
                  </a:lnTo>
                  <a:lnTo>
                    <a:pt x="686" y="48"/>
                  </a:lnTo>
                  <a:lnTo>
                    <a:pt x="682" y="48"/>
                  </a:lnTo>
                  <a:lnTo>
                    <a:pt x="678" y="48"/>
                  </a:lnTo>
                  <a:lnTo>
                    <a:pt x="674" y="48"/>
                  </a:lnTo>
                  <a:lnTo>
                    <a:pt x="670" y="48"/>
                  </a:lnTo>
                  <a:lnTo>
                    <a:pt x="666" y="48"/>
                  </a:lnTo>
                  <a:lnTo>
                    <a:pt x="662" y="48"/>
                  </a:lnTo>
                  <a:lnTo>
                    <a:pt x="658" y="48"/>
                  </a:lnTo>
                  <a:lnTo>
                    <a:pt x="654" y="48"/>
                  </a:lnTo>
                  <a:lnTo>
                    <a:pt x="650" y="48"/>
                  </a:lnTo>
                  <a:lnTo>
                    <a:pt x="646" y="48"/>
                  </a:lnTo>
                  <a:lnTo>
                    <a:pt x="642" y="48"/>
                  </a:lnTo>
                  <a:lnTo>
                    <a:pt x="638" y="48"/>
                  </a:lnTo>
                  <a:lnTo>
                    <a:pt x="634" y="48"/>
                  </a:lnTo>
                  <a:lnTo>
                    <a:pt x="630" y="48"/>
                  </a:lnTo>
                  <a:lnTo>
                    <a:pt x="626" y="48"/>
                  </a:lnTo>
                  <a:lnTo>
                    <a:pt x="630" y="48"/>
                  </a:lnTo>
                  <a:lnTo>
                    <a:pt x="634" y="48"/>
                  </a:lnTo>
                  <a:lnTo>
                    <a:pt x="642" y="48"/>
                  </a:lnTo>
                  <a:lnTo>
                    <a:pt x="650" y="48"/>
                  </a:lnTo>
                  <a:lnTo>
                    <a:pt x="654" y="48"/>
                  </a:lnTo>
                  <a:lnTo>
                    <a:pt x="650" y="48"/>
                  </a:lnTo>
                  <a:lnTo>
                    <a:pt x="646" y="52"/>
                  </a:lnTo>
                  <a:lnTo>
                    <a:pt x="642" y="52"/>
                  </a:lnTo>
                  <a:lnTo>
                    <a:pt x="638" y="52"/>
                  </a:lnTo>
                  <a:lnTo>
                    <a:pt x="634" y="52"/>
                  </a:lnTo>
                  <a:lnTo>
                    <a:pt x="630" y="52"/>
                  </a:lnTo>
                  <a:lnTo>
                    <a:pt x="626" y="56"/>
                  </a:lnTo>
                  <a:lnTo>
                    <a:pt x="622" y="56"/>
                  </a:lnTo>
                  <a:lnTo>
                    <a:pt x="618" y="56"/>
                  </a:lnTo>
                  <a:lnTo>
                    <a:pt x="614" y="56"/>
                  </a:lnTo>
                  <a:lnTo>
                    <a:pt x="610" y="56"/>
                  </a:lnTo>
                  <a:lnTo>
                    <a:pt x="606" y="56"/>
                  </a:lnTo>
                  <a:lnTo>
                    <a:pt x="606" y="60"/>
                  </a:lnTo>
                  <a:lnTo>
                    <a:pt x="602" y="60"/>
                  </a:lnTo>
                  <a:lnTo>
                    <a:pt x="606" y="64"/>
                  </a:lnTo>
                  <a:lnTo>
                    <a:pt x="610" y="64"/>
                  </a:lnTo>
                  <a:lnTo>
                    <a:pt x="614" y="64"/>
                  </a:lnTo>
                  <a:lnTo>
                    <a:pt x="614" y="60"/>
                  </a:lnTo>
                  <a:lnTo>
                    <a:pt x="622" y="60"/>
                  </a:lnTo>
                  <a:lnTo>
                    <a:pt x="626" y="60"/>
                  </a:lnTo>
                  <a:lnTo>
                    <a:pt x="630" y="56"/>
                  </a:lnTo>
                  <a:lnTo>
                    <a:pt x="634" y="56"/>
                  </a:lnTo>
                  <a:lnTo>
                    <a:pt x="638" y="56"/>
                  </a:lnTo>
                  <a:lnTo>
                    <a:pt x="642" y="56"/>
                  </a:lnTo>
                  <a:lnTo>
                    <a:pt x="646" y="56"/>
                  </a:lnTo>
                  <a:lnTo>
                    <a:pt x="654" y="56"/>
                  </a:lnTo>
                  <a:lnTo>
                    <a:pt x="658" y="56"/>
                  </a:lnTo>
                  <a:lnTo>
                    <a:pt x="666" y="52"/>
                  </a:lnTo>
                  <a:lnTo>
                    <a:pt x="670" y="52"/>
                  </a:lnTo>
                  <a:lnTo>
                    <a:pt x="674" y="52"/>
                  </a:lnTo>
                  <a:lnTo>
                    <a:pt x="682" y="52"/>
                  </a:lnTo>
                  <a:lnTo>
                    <a:pt x="686" y="52"/>
                  </a:lnTo>
                  <a:lnTo>
                    <a:pt x="690" y="52"/>
                  </a:lnTo>
                  <a:lnTo>
                    <a:pt x="694" y="52"/>
                  </a:lnTo>
                  <a:lnTo>
                    <a:pt x="698" y="52"/>
                  </a:lnTo>
                  <a:lnTo>
                    <a:pt x="702" y="52"/>
                  </a:lnTo>
                  <a:lnTo>
                    <a:pt x="706" y="52"/>
                  </a:lnTo>
                  <a:lnTo>
                    <a:pt x="710" y="52"/>
                  </a:lnTo>
                  <a:lnTo>
                    <a:pt x="718" y="52"/>
                  </a:lnTo>
                  <a:lnTo>
                    <a:pt x="722" y="52"/>
                  </a:lnTo>
                  <a:lnTo>
                    <a:pt x="722" y="60"/>
                  </a:lnTo>
                  <a:lnTo>
                    <a:pt x="718" y="60"/>
                  </a:lnTo>
                  <a:lnTo>
                    <a:pt x="714" y="64"/>
                  </a:lnTo>
                  <a:lnTo>
                    <a:pt x="710" y="64"/>
                  </a:lnTo>
                  <a:lnTo>
                    <a:pt x="706" y="64"/>
                  </a:lnTo>
                  <a:lnTo>
                    <a:pt x="702" y="64"/>
                  </a:lnTo>
                  <a:lnTo>
                    <a:pt x="702" y="68"/>
                  </a:lnTo>
                  <a:lnTo>
                    <a:pt x="698" y="68"/>
                  </a:lnTo>
                  <a:lnTo>
                    <a:pt x="694" y="68"/>
                  </a:lnTo>
                  <a:lnTo>
                    <a:pt x="690" y="68"/>
                  </a:lnTo>
                  <a:lnTo>
                    <a:pt x="686" y="68"/>
                  </a:lnTo>
                  <a:lnTo>
                    <a:pt x="690" y="72"/>
                  </a:lnTo>
                  <a:lnTo>
                    <a:pt x="694" y="72"/>
                  </a:lnTo>
                  <a:lnTo>
                    <a:pt x="690" y="72"/>
                  </a:lnTo>
                  <a:lnTo>
                    <a:pt x="686" y="72"/>
                  </a:lnTo>
                  <a:lnTo>
                    <a:pt x="690" y="72"/>
                  </a:lnTo>
                  <a:lnTo>
                    <a:pt x="694" y="72"/>
                  </a:lnTo>
                  <a:lnTo>
                    <a:pt x="698" y="72"/>
                  </a:lnTo>
                  <a:lnTo>
                    <a:pt x="702" y="72"/>
                  </a:lnTo>
                  <a:lnTo>
                    <a:pt x="702" y="68"/>
                  </a:lnTo>
                  <a:lnTo>
                    <a:pt x="706" y="68"/>
                  </a:lnTo>
                  <a:lnTo>
                    <a:pt x="710" y="68"/>
                  </a:lnTo>
                  <a:lnTo>
                    <a:pt x="718" y="64"/>
                  </a:lnTo>
                  <a:lnTo>
                    <a:pt x="722" y="64"/>
                  </a:lnTo>
                  <a:lnTo>
                    <a:pt x="726" y="64"/>
                  </a:lnTo>
                  <a:lnTo>
                    <a:pt x="730" y="64"/>
                  </a:lnTo>
                  <a:lnTo>
                    <a:pt x="734" y="60"/>
                  </a:lnTo>
                  <a:lnTo>
                    <a:pt x="738" y="64"/>
                  </a:lnTo>
                  <a:lnTo>
                    <a:pt x="738" y="60"/>
                  </a:lnTo>
                  <a:lnTo>
                    <a:pt x="742" y="60"/>
                  </a:lnTo>
                  <a:lnTo>
                    <a:pt x="738" y="60"/>
                  </a:lnTo>
                  <a:lnTo>
                    <a:pt x="738" y="56"/>
                  </a:lnTo>
                  <a:lnTo>
                    <a:pt x="742" y="52"/>
                  </a:lnTo>
                  <a:lnTo>
                    <a:pt x="746" y="52"/>
                  </a:lnTo>
                  <a:lnTo>
                    <a:pt x="750" y="52"/>
                  </a:lnTo>
                  <a:lnTo>
                    <a:pt x="754" y="52"/>
                  </a:lnTo>
                  <a:lnTo>
                    <a:pt x="758" y="52"/>
                  </a:lnTo>
                  <a:lnTo>
                    <a:pt x="762" y="52"/>
                  </a:lnTo>
                  <a:lnTo>
                    <a:pt x="766" y="52"/>
                  </a:lnTo>
                  <a:lnTo>
                    <a:pt x="770" y="52"/>
                  </a:lnTo>
                  <a:lnTo>
                    <a:pt x="770" y="56"/>
                  </a:lnTo>
                  <a:lnTo>
                    <a:pt x="774" y="60"/>
                  </a:lnTo>
                  <a:lnTo>
                    <a:pt x="770" y="68"/>
                  </a:lnTo>
                  <a:lnTo>
                    <a:pt x="766" y="72"/>
                  </a:lnTo>
                  <a:lnTo>
                    <a:pt x="766" y="76"/>
                  </a:lnTo>
                  <a:lnTo>
                    <a:pt x="762" y="76"/>
                  </a:lnTo>
                  <a:lnTo>
                    <a:pt x="758" y="76"/>
                  </a:lnTo>
                  <a:lnTo>
                    <a:pt x="762" y="76"/>
                  </a:lnTo>
                  <a:lnTo>
                    <a:pt x="758" y="80"/>
                  </a:lnTo>
                  <a:lnTo>
                    <a:pt x="754" y="80"/>
                  </a:lnTo>
                  <a:lnTo>
                    <a:pt x="750" y="84"/>
                  </a:lnTo>
                  <a:lnTo>
                    <a:pt x="746" y="84"/>
                  </a:lnTo>
                  <a:lnTo>
                    <a:pt x="742" y="88"/>
                  </a:lnTo>
                  <a:lnTo>
                    <a:pt x="746" y="88"/>
                  </a:lnTo>
                  <a:lnTo>
                    <a:pt x="746" y="92"/>
                  </a:lnTo>
                  <a:lnTo>
                    <a:pt x="742" y="92"/>
                  </a:lnTo>
                  <a:lnTo>
                    <a:pt x="738" y="92"/>
                  </a:lnTo>
                  <a:lnTo>
                    <a:pt x="734" y="96"/>
                  </a:lnTo>
                  <a:lnTo>
                    <a:pt x="738" y="96"/>
                  </a:lnTo>
                  <a:lnTo>
                    <a:pt x="742" y="96"/>
                  </a:lnTo>
                  <a:lnTo>
                    <a:pt x="738" y="96"/>
                  </a:lnTo>
                  <a:lnTo>
                    <a:pt x="734" y="100"/>
                  </a:lnTo>
                  <a:lnTo>
                    <a:pt x="738" y="100"/>
                  </a:lnTo>
                  <a:lnTo>
                    <a:pt x="738" y="96"/>
                  </a:lnTo>
                  <a:lnTo>
                    <a:pt x="742" y="96"/>
                  </a:lnTo>
                  <a:lnTo>
                    <a:pt x="746" y="96"/>
                  </a:lnTo>
                  <a:lnTo>
                    <a:pt x="746" y="92"/>
                  </a:lnTo>
                  <a:lnTo>
                    <a:pt x="750" y="92"/>
                  </a:lnTo>
                  <a:lnTo>
                    <a:pt x="750" y="88"/>
                  </a:lnTo>
                  <a:lnTo>
                    <a:pt x="754" y="88"/>
                  </a:lnTo>
                  <a:lnTo>
                    <a:pt x="758" y="88"/>
                  </a:lnTo>
                  <a:lnTo>
                    <a:pt x="762" y="84"/>
                  </a:lnTo>
                  <a:lnTo>
                    <a:pt x="766" y="80"/>
                  </a:lnTo>
                  <a:lnTo>
                    <a:pt x="770" y="80"/>
                  </a:lnTo>
                  <a:lnTo>
                    <a:pt x="770" y="76"/>
                  </a:lnTo>
                  <a:lnTo>
                    <a:pt x="774" y="76"/>
                  </a:lnTo>
                  <a:lnTo>
                    <a:pt x="778" y="76"/>
                  </a:lnTo>
                  <a:lnTo>
                    <a:pt x="782" y="72"/>
                  </a:lnTo>
                  <a:lnTo>
                    <a:pt x="786" y="68"/>
                  </a:lnTo>
                  <a:lnTo>
                    <a:pt x="790" y="68"/>
                  </a:lnTo>
                  <a:lnTo>
                    <a:pt x="794" y="64"/>
                  </a:lnTo>
                  <a:lnTo>
                    <a:pt x="798" y="64"/>
                  </a:lnTo>
                  <a:lnTo>
                    <a:pt x="802" y="64"/>
                  </a:lnTo>
                  <a:lnTo>
                    <a:pt x="798" y="64"/>
                  </a:lnTo>
                  <a:lnTo>
                    <a:pt x="798" y="68"/>
                  </a:lnTo>
                  <a:lnTo>
                    <a:pt x="798" y="72"/>
                  </a:lnTo>
                  <a:lnTo>
                    <a:pt x="802" y="72"/>
                  </a:lnTo>
                  <a:lnTo>
                    <a:pt x="802" y="68"/>
                  </a:lnTo>
                  <a:lnTo>
                    <a:pt x="810" y="68"/>
                  </a:lnTo>
                  <a:lnTo>
                    <a:pt x="814" y="68"/>
                  </a:lnTo>
                  <a:lnTo>
                    <a:pt x="818" y="68"/>
                  </a:lnTo>
                  <a:lnTo>
                    <a:pt x="822" y="68"/>
                  </a:lnTo>
                  <a:lnTo>
                    <a:pt x="825" y="68"/>
                  </a:lnTo>
                  <a:lnTo>
                    <a:pt x="825" y="72"/>
                  </a:lnTo>
                  <a:lnTo>
                    <a:pt x="829" y="72"/>
                  </a:lnTo>
                  <a:lnTo>
                    <a:pt x="833" y="68"/>
                  </a:lnTo>
                  <a:lnTo>
                    <a:pt x="837" y="68"/>
                  </a:lnTo>
                  <a:lnTo>
                    <a:pt x="837" y="64"/>
                  </a:lnTo>
                  <a:lnTo>
                    <a:pt x="833" y="64"/>
                  </a:lnTo>
                  <a:lnTo>
                    <a:pt x="833" y="60"/>
                  </a:lnTo>
                  <a:lnTo>
                    <a:pt x="837" y="60"/>
                  </a:lnTo>
                  <a:lnTo>
                    <a:pt x="837" y="64"/>
                  </a:lnTo>
                  <a:lnTo>
                    <a:pt x="841" y="64"/>
                  </a:lnTo>
                  <a:lnTo>
                    <a:pt x="841" y="60"/>
                  </a:lnTo>
                  <a:lnTo>
                    <a:pt x="837" y="60"/>
                  </a:lnTo>
                  <a:lnTo>
                    <a:pt x="837" y="56"/>
                  </a:lnTo>
                  <a:lnTo>
                    <a:pt x="841" y="56"/>
                  </a:lnTo>
                  <a:lnTo>
                    <a:pt x="841" y="60"/>
                  </a:lnTo>
                  <a:lnTo>
                    <a:pt x="841" y="56"/>
                  </a:lnTo>
                  <a:lnTo>
                    <a:pt x="845" y="56"/>
                  </a:lnTo>
                  <a:lnTo>
                    <a:pt x="849" y="56"/>
                  </a:lnTo>
                  <a:lnTo>
                    <a:pt x="853" y="56"/>
                  </a:lnTo>
                  <a:lnTo>
                    <a:pt x="857" y="56"/>
                  </a:lnTo>
                  <a:lnTo>
                    <a:pt x="861" y="56"/>
                  </a:lnTo>
                  <a:lnTo>
                    <a:pt x="865" y="56"/>
                  </a:lnTo>
                  <a:lnTo>
                    <a:pt x="869" y="56"/>
                  </a:lnTo>
                  <a:lnTo>
                    <a:pt x="873" y="56"/>
                  </a:lnTo>
                  <a:lnTo>
                    <a:pt x="877" y="56"/>
                  </a:lnTo>
                  <a:lnTo>
                    <a:pt x="881" y="56"/>
                  </a:lnTo>
                  <a:lnTo>
                    <a:pt x="885" y="56"/>
                  </a:lnTo>
                  <a:lnTo>
                    <a:pt x="889" y="56"/>
                  </a:lnTo>
                  <a:lnTo>
                    <a:pt x="893" y="56"/>
                  </a:lnTo>
                  <a:lnTo>
                    <a:pt x="893" y="60"/>
                  </a:lnTo>
                  <a:lnTo>
                    <a:pt x="897" y="60"/>
                  </a:lnTo>
                  <a:lnTo>
                    <a:pt x="901" y="60"/>
                  </a:lnTo>
                  <a:lnTo>
                    <a:pt x="905" y="60"/>
                  </a:lnTo>
                  <a:lnTo>
                    <a:pt x="909" y="60"/>
                  </a:lnTo>
                  <a:lnTo>
                    <a:pt x="913" y="60"/>
                  </a:lnTo>
                  <a:lnTo>
                    <a:pt x="913" y="64"/>
                  </a:lnTo>
                  <a:lnTo>
                    <a:pt x="917" y="64"/>
                  </a:lnTo>
                  <a:lnTo>
                    <a:pt x="921" y="64"/>
                  </a:lnTo>
                  <a:lnTo>
                    <a:pt x="917" y="68"/>
                  </a:lnTo>
                  <a:lnTo>
                    <a:pt x="913" y="68"/>
                  </a:lnTo>
                  <a:lnTo>
                    <a:pt x="913" y="72"/>
                  </a:lnTo>
                  <a:lnTo>
                    <a:pt x="909" y="72"/>
                  </a:lnTo>
                  <a:lnTo>
                    <a:pt x="905" y="72"/>
                  </a:lnTo>
                  <a:lnTo>
                    <a:pt x="905" y="76"/>
                  </a:lnTo>
                  <a:lnTo>
                    <a:pt x="901" y="76"/>
                  </a:lnTo>
                  <a:lnTo>
                    <a:pt x="897" y="76"/>
                  </a:lnTo>
                  <a:lnTo>
                    <a:pt x="893" y="80"/>
                  </a:lnTo>
                  <a:lnTo>
                    <a:pt x="889" y="80"/>
                  </a:lnTo>
                  <a:lnTo>
                    <a:pt x="885" y="80"/>
                  </a:lnTo>
                  <a:lnTo>
                    <a:pt x="881" y="80"/>
                  </a:lnTo>
                  <a:lnTo>
                    <a:pt x="877" y="80"/>
                  </a:lnTo>
                  <a:lnTo>
                    <a:pt x="877" y="84"/>
                  </a:lnTo>
                  <a:lnTo>
                    <a:pt x="881" y="84"/>
                  </a:lnTo>
                  <a:lnTo>
                    <a:pt x="881" y="88"/>
                  </a:lnTo>
                  <a:lnTo>
                    <a:pt x="877" y="88"/>
                  </a:lnTo>
                  <a:lnTo>
                    <a:pt x="873" y="88"/>
                  </a:lnTo>
                  <a:lnTo>
                    <a:pt x="869" y="88"/>
                  </a:lnTo>
                  <a:lnTo>
                    <a:pt x="865" y="92"/>
                  </a:lnTo>
                  <a:lnTo>
                    <a:pt x="861" y="92"/>
                  </a:lnTo>
                  <a:lnTo>
                    <a:pt x="857" y="92"/>
                  </a:lnTo>
                  <a:lnTo>
                    <a:pt x="853" y="92"/>
                  </a:lnTo>
                  <a:lnTo>
                    <a:pt x="849" y="92"/>
                  </a:lnTo>
                  <a:lnTo>
                    <a:pt x="845" y="92"/>
                  </a:lnTo>
                  <a:lnTo>
                    <a:pt x="841" y="92"/>
                  </a:lnTo>
                  <a:lnTo>
                    <a:pt x="837" y="92"/>
                  </a:lnTo>
                  <a:lnTo>
                    <a:pt x="833" y="92"/>
                  </a:lnTo>
                  <a:lnTo>
                    <a:pt x="829" y="92"/>
                  </a:lnTo>
                  <a:lnTo>
                    <a:pt x="829" y="96"/>
                  </a:lnTo>
                  <a:lnTo>
                    <a:pt x="825" y="96"/>
                  </a:lnTo>
                  <a:lnTo>
                    <a:pt x="822" y="96"/>
                  </a:lnTo>
                  <a:lnTo>
                    <a:pt x="818" y="96"/>
                  </a:lnTo>
                  <a:lnTo>
                    <a:pt x="814" y="96"/>
                  </a:lnTo>
                  <a:lnTo>
                    <a:pt x="810" y="96"/>
                  </a:lnTo>
                  <a:lnTo>
                    <a:pt x="806" y="96"/>
                  </a:lnTo>
                  <a:lnTo>
                    <a:pt x="802" y="96"/>
                  </a:lnTo>
                  <a:lnTo>
                    <a:pt x="798" y="96"/>
                  </a:lnTo>
                  <a:lnTo>
                    <a:pt x="794" y="96"/>
                  </a:lnTo>
                  <a:lnTo>
                    <a:pt x="790" y="100"/>
                  </a:lnTo>
                  <a:lnTo>
                    <a:pt x="786" y="100"/>
                  </a:lnTo>
                  <a:lnTo>
                    <a:pt x="786" y="96"/>
                  </a:lnTo>
                  <a:lnTo>
                    <a:pt x="782" y="96"/>
                  </a:lnTo>
                  <a:lnTo>
                    <a:pt x="782" y="100"/>
                  </a:lnTo>
                  <a:lnTo>
                    <a:pt x="786" y="100"/>
                  </a:lnTo>
                  <a:lnTo>
                    <a:pt x="790" y="100"/>
                  </a:lnTo>
                  <a:lnTo>
                    <a:pt x="794" y="100"/>
                  </a:lnTo>
                  <a:lnTo>
                    <a:pt x="798" y="100"/>
                  </a:lnTo>
                  <a:lnTo>
                    <a:pt x="798" y="96"/>
                  </a:lnTo>
                  <a:lnTo>
                    <a:pt x="802" y="96"/>
                  </a:lnTo>
                  <a:lnTo>
                    <a:pt x="806" y="96"/>
                  </a:lnTo>
                  <a:lnTo>
                    <a:pt x="810" y="96"/>
                  </a:lnTo>
                  <a:lnTo>
                    <a:pt x="814" y="96"/>
                  </a:lnTo>
                  <a:lnTo>
                    <a:pt x="818" y="96"/>
                  </a:lnTo>
                  <a:lnTo>
                    <a:pt x="822" y="100"/>
                  </a:lnTo>
                  <a:lnTo>
                    <a:pt x="825" y="100"/>
                  </a:lnTo>
                  <a:lnTo>
                    <a:pt x="829" y="100"/>
                  </a:lnTo>
                  <a:lnTo>
                    <a:pt x="833" y="100"/>
                  </a:lnTo>
                  <a:lnTo>
                    <a:pt x="837" y="96"/>
                  </a:lnTo>
                  <a:lnTo>
                    <a:pt x="841" y="96"/>
                  </a:lnTo>
                  <a:lnTo>
                    <a:pt x="845" y="96"/>
                  </a:lnTo>
                  <a:lnTo>
                    <a:pt x="845" y="100"/>
                  </a:lnTo>
                  <a:lnTo>
                    <a:pt x="849" y="100"/>
                  </a:lnTo>
                  <a:lnTo>
                    <a:pt x="853" y="100"/>
                  </a:lnTo>
                  <a:lnTo>
                    <a:pt x="857" y="100"/>
                  </a:lnTo>
                  <a:lnTo>
                    <a:pt x="861" y="100"/>
                  </a:lnTo>
                  <a:lnTo>
                    <a:pt x="857" y="100"/>
                  </a:lnTo>
                  <a:lnTo>
                    <a:pt x="857" y="104"/>
                  </a:lnTo>
                  <a:lnTo>
                    <a:pt x="853" y="104"/>
                  </a:lnTo>
                  <a:lnTo>
                    <a:pt x="849" y="104"/>
                  </a:lnTo>
                  <a:lnTo>
                    <a:pt x="853" y="104"/>
                  </a:lnTo>
                  <a:lnTo>
                    <a:pt x="849" y="108"/>
                  </a:lnTo>
                  <a:lnTo>
                    <a:pt x="845" y="108"/>
                  </a:lnTo>
                  <a:lnTo>
                    <a:pt x="841" y="108"/>
                  </a:lnTo>
                  <a:lnTo>
                    <a:pt x="837" y="108"/>
                  </a:lnTo>
                  <a:lnTo>
                    <a:pt x="833" y="108"/>
                  </a:lnTo>
                  <a:lnTo>
                    <a:pt x="829" y="108"/>
                  </a:lnTo>
                  <a:lnTo>
                    <a:pt x="825" y="108"/>
                  </a:lnTo>
                  <a:lnTo>
                    <a:pt x="822" y="108"/>
                  </a:lnTo>
                  <a:lnTo>
                    <a:pt x="818" y="108"/>
                  </a:lnTo>
                  <a:lnTo>
                    <a:pt x="814" y="108"/>
                  </a:lnTo>
                  <a:lnTo>
                    <a:pt x="810" y="108"/>
                  </a:lnTo>
                  <a:lnTo>
                    <a:pt x="806" y="108"/>
                  </a:lnTo>
                  <a:lnTo>
                    <a:pt x="802" y="108"/>
                  </a:lnTo>
                  <a:lnTo>
                    <a:pt x="802" y="112"/>
                  </a:lnTo>
                  <a:lnTo>
                    <a:pt x="798" y="112"/>
                  </a:lnTo>
                  <a:lnTo>
                    <a:pt x="794" y="112"/>
                  </a:lnTo>
                  <a:lnTo>
                    <a:pt x="798" y="112"/>
                  </a:lnTo>
                  <a:lnTo>
                    <a:pt x="794" y="116"/>
                  </a:lnTo>
                  <a:lnTo>
                    <a:pt x="790" y="120"/>
                  </a:lnTo>
                  <a:lnTo>
                    <a:pt x="794" y="120"/>
                  </a:lnTo>
                  <a:lnTo>
                    <a:pt x="798" y="120"/>
                  </a:lnTo>
                  <a:lnTo>
                    <a:pt x="798" y="124"/>
                  </a:lnTo>
                  <a:lnTo>
                    <a:pt x="802" y="124"/>
                  </a:lnTo>
                  <a:lnTo>
                    <a:pt x="802" y="120"/>
                  </a:lnTo>
                  <a:lnTo>
                    <a:pt x="806" y="120"/>
                  </a:lnTo>
                  <a:lnTo>
                    <a:pt x="802" y="120"/>
                  </a:lnTo>
                  <a:lnTo>
                    <a:pt x="798" y="120"/>
                  </a:lnTo>
                  <a:lnTo>
                    <a:pt x="802" y="116"/>
                  </a:lnTo>
                  <a:lnTo>
                    <a:pt x="806" y="116"/>
                  </a:lnTo>
                  <a:lnTo>
                    <a:pt x="810" y="116"/>
                  </a:lnTo>
                  <a:lnTo>
                    <a:pt x="810" y="112"/>
                  </a:lnTo>
                  <a:lnTo>
                    <a:pt x="814" y="112"/>
                  </a:lnTo>
                  <a:lnTo>
                    <a:pt x="818" y="112"/>
                  </a:lnTo>
                  <a:lnTo>
                    <a:pt x="822" y="112"/>
                  </a:lnTo>
                  <a:lnTo>
                    <a:pt x="825" y="112"/>
                  </a:lnTo>
                  <a:lnTo>
                    <a:pt x="829" y="112"/>
                  </a:lnTo>
                  <a:lnTo>
                    <a:pt x="833" y="112"/>
                  </a:lnTo>
                  <a:lnTo>
                    <a:pt x="837" y="112"/>
                  </a:lnTo>
                  <a:lnTo>
                    <a:pt x="841" y="112"/>
                  </a:lnTo>
                  <a:lnTo>
                    <a:pt x="841" y="116"/>
                  </a:lnTo>
                  <a:lnTo>
                    <a:pt x="837" y="116"/>
                  </a:lnTo>
                  <a:lnTo>
                    <a:pt x="833" y="120"/>
                  </a:lnTo>
                  <a:lnTo>
                    <a:pt x="833" y="124"/>
                  </a:lnTo>
                  <a:lnTo>
                    <a:pt x="829" y="124"/>
                  </a:lnTo>
                  <a:lnTo>
                    <a:pt x="825" y="124"/>
                  </a:lnTo>
                  <a:lnTo>
                    <a:pt x="822" y="124"/>
                  </a:lnTo>
                  <a:lnTo>
                    <a:pt x="818" y="124"/>
                  </a:lnTo>
                  <a:lnTo>
                    <a:pt x="814" y="124"/>
                  </a:lnTo>
                  <a:lnTo>
                    <a:pt x="810" y="124"/>
                  </a:lnTo>
                  <a:lnTo>
                    <a:pt x="810" y="128"/>
                  </a:lnTo>
                  <a:lnTo>
                    <a:pt x="806" y="128"/>
                  </a:lnTo>
                  <a:lnTo>
                    <a:pt x="810" y="128"/>
                  </a:lnTo>
                  <a:lnTo>
                    <a:pt x="810" y="132"/>
                  </a:lnTo>
                  <a:lnTo>
                    <a:pt x="806" y="132"/>
                  </a:lnTo>
                  <a:lnTo>
                    <a:pt x="806" y="136"/>
                  </a:lnTo>
                  <a:lnTo>
                    <a:pt x="806" y="140"/>
                  </a:lnTo>
                  <a:lnTo>
                    <a:pt x="806" y="144"/>
                  </a:lnTo>
                  <a:lnTo>
                    <a:pt x="806" y="140"/>
                  </a:lnTo>
                  <a:lnTo>
                    <a:pt x="810" y="136"/>
                  </a:lnTo>
                  <a:lnTo>
                    <a:pt x="814" y="136"/>
                  </a:lnTo>
                  <a:lnTo>
                    <a:pt x="818" y="136"/>
                  </a:lnTo>
                  <a:lnTo>
                    <a:pt x="818" y="140"/>
                  </a:lnTo>
                  <a:lnTo>
                    <a:pt x="814" y="140"/>
                  </a:lnTo>
                  <a:lnTo>
                    <a:pt x="818" y="140"/>
                  </a:lnTo>
                  <a:lnTo>
                    <a:pt x="814" y="140"/>
                  </a:lnTo>
                  <a:lnTo>
                    <a:pt x="810" y="140"/>
                  </a:lnTo>
                  <a:lnTo>
                    <a:pt x="810" y="144"/>
                  </a:lnTo>
                  <a:lnTo>
                    <a:pt x="806" y="144"/>
                  </a:lnTo>
                  <a:lnTo>
                    <a:pt x="802" y="144"/>
                  </a:lnTo>
                  <a:lnTo>
                    <a:pt x="802" y="148"/>
                  </a:lnTo>
                  <a:lnTo>
                    <a:pt x="802" y="152"/>
                  </a:lnTo>
                  <a:lnTo>
                    <a:pt x="798" y="152"/>
                  </a:lnTo>
                  <a:lnTo>
                    <a:pt x="794" y="152"/>
                  </a:lnTo>
                  <a:lnTo>
                    <a:pt x="790" y="152"/>
                  </a:lnTo>
                  <a:lnTo>
                    <a:pt x="786" y="152"/>
                  </a:lnTo>
                  <a:lnTo>
                    <a:pt x="786" y="156"/>
                  </a:lnTo>
                  <a:lnTo>
                    <a:pt x="790" y="156"/>
                  </a:lnTo>
                  <a:lnTo>
                    <a:pt x="786" y="156"/>
                  </a:lnTo>
                  <a:lnTo>
                    <a:pt x="782" y="156"/>
                  </a:lnTo>
                  <a:lnTo>
                    <a:pt x="782" y="160"/>
                  </a:lnTo>
                  <a:lnTo>
                    <a:pt x="786" y="160"/>
                  </a:lnTo>
                  <a:lnTo>
                    <a:pt x="786" y="156"/>
                  </a:lnTo>
                  <a:lnTo>
                    <a:pt x="790" y="156"/>
                  </a:lnTo>
                  <a:lnTo>
                    <a:pt x="790" y="160"/>
                  </a:lnTo>
                  <a:lnTo>
                    <a:pt x="786" y="160"/>
                  </a:lnTo>
                  <a:lnTo>
                    <a:pt x="786" y="164"/>
                  </a:lnTo>
                  <a:lnTo>
                    <a:pt x="782" y="168"/>
                  </a:lnTo>
                  <a:lnTo>
                    <a:pt x="782" y="172"/>
                  </a:lnTo>
                  <a:lnTo>
                    <a:pt x="778" y="172"/>
                  </a:lnTo>
                  <a:lnTo>
                    <a:pt x="774" y="172"/>
                  </a:lnTo>
                  <a:lnTo>
                    <a:pt x="778" y="176"/>
                  </a:lnTo>
                  <a:lnTo>
                    <a:pt x="782" y="176"/>
                  </a:lnTo>
                  <a:lnTo>
                    <a:pt x="778" y="176"/>
                  </a:lnTo>
                  <a:lnTo>
                    <a:pt x="774" y="180"/>
                  </a:lnTo>
                  <a:lnTo>
                    <a:pt x="778" y="180"/>
                  </a:lnTo>
                  <a:lnTo>
                    <a:pt x="774" y="184"/>
                  </a:lnTo>
                  <a:lnTo>
                    <a:pt x="770" y="187"/>
                  </a:lnTo>
                  <a:lnTo>
                    <a:pt x="774" y="187"/>
                  </a:lnTo>
                  <a:lnTo>
                    <a:pt x="778" y="187"/>
                  </a:lnTo>
                  <a:lnTo>
                    <a:pt x="782" y="187"/>
                  </a:lnTo>
                  <a:lnTo>
                    <a:pt x="778" y="187"/>
                  </a:lnTo>
                  <a:lnTo>
                    <a:pt x="778" y="191"/>
                  </a:lnTo>
                  <a:lnTo>
                    <a:pt x="782" y="187"/>
                  </a:lnTo>
                  <a:lnTo>
                    <a:pt x="782" y="184"/>
                  </a:lnTo>
                  <a:lnTo>
                    <a:pt x="786" y="180"/>
                  </a:lnTo>
                  <a:lnTo>
                    <a:pt x="790" y="176"/>
                  </a:lnTo>
                  <a:lnTo>
                    <a:pt x="794" y="180"/>
                  </a:lnTo>
                  <a:lnTo>
                    <a:pt x="798" y="180"/>
                  </a:lnTo>
                  <a:lnTo>
                    <a:pt x="802" y="184"/>
                  </a:lnTo>
                  <a:lnTo>
                    <a:pt x="806" y="184"/>
                  </a:lnTo>
                  <a:lnTo>
                    <a:pt x="810" y="184"/>
                  </a:lnTo>
                  <a:lnTo>
                    <a:pt x="814" y="184"/>
                  </a:lnTo>
                  <a:lnTo>
                    <a:pt x="818" y="187"/>
                  </a:lnTo>
                  <a:lnTo>
                    <a:pt x="814" y="187"/>
                  </a:lnTo>
                  <a:lnTo>
                    <a:pt x="814" y="191"/>
                  </a:lnTo>
                  <a:lnTo>
                    <a:pt x="810" y="187"/>
                  </a:lnTo>
                  <a:lnTo>
                    <a:pt x="802" y="187"/>
                  </a:lnTo>
                  <a:lnTo>
                    <a:pt x="802" y="184"/>
                  </a:lnTo>
                  <a:lnTo>
                    <a:pt x="798" y="184"/>
                  </a:lnTo>
                  <a:lnTo>
                    <a:pt x="798" y="187"/>
                  </a:lnTo>
                  <a:lnTo>
                    <a:pt x="794" y="187"/>
                  </a:lnTo>
                  <a:lnTo>
                    <a:pt x="790" y="187"/>
                  </a:lnTo>
                  <a:lnTo>
                    <a:pt x="794" y="187"/>
                  </a:lnTo>
                  <a:lnTo>
                    <a:pt x="798" y="187"/>
                  </a:lnTo>
                  <a:lnTo>
                    <a:pt x="798" y="191"/>
                  </a:lnTo>
                  <a:lnTo>
                    <a:pt x="794" y="191"/>
                  </a:lnTo>
                  <a:lnTo>
                    <a:pt x="798" y="191"/>
                  </a:lnTo>
                  <a:lnTo>
                    <a:pt x="794" y="191"/>
                  </a:lnTo>
                  <a:lnTo>
                    <a:pt x="790" y="191"/>
                  </a:lnTo>
                  <a:lnTo>
                    <a:pt x="786" y="191"/>
                  </a:lnTo>
                  <a:lnTo>
                    <a:pt x="790" y="191"/>
                  </a:lnTo>
                  <a:lnTo>
                    <a:pt x="794" y="191"/>
                  </a:lnTo>
                  <a:lnTo>
                    <a:pt x="798" y="191"/>
                  </a:lnTo>
                  <a:lnTo>
                    <a:pt x="802" y="195"/>
                  </a:lnTo>
                  <a:lnTo>
                    <a:pt x="798" y="195"/>
                  </a:lnTo>
                  <a:lnTo>
                    <a:pt x="794" y="195"/>
                  </a:lnTo>
                  <a:lnTo>
                    <a:pt x="790" y="195"/>
                  </a:lnTo>
                  <a:lnTo>
                    <a:pt x="794" y="195"/>
                  </a:lnTo>
                  <a:lnTo>
                    <a:pt x="798" y="195"/>
                  </a:lnTo>
                  <a:lnTo>
                    <a:pt x="802" y="195"/>
                  </a:lnTo>
                  <a:lnTo>
                    <a:pt x="806" y="195"/>
                  </a:lnTo>
                  <a:lnTo>
                    <a:pt x="810" y="195"/>
                  </a:lnTo>
                  <a:lnTo>
                    <a:pt x="810" y="199"/>
                  </a:lnTo>
                  <a:lnTo>
                    <a:pt x="814" y="199"/>
                  </a:lnTo>
                  <a:lnTo>
                    <a:pt x="818" y="199"/>
                  </a:lnTo>
                  <a:lnTo>
                    <a:pt x="818" y="195"/>
                  </a:lnTo>
                  <a:lnTo>
                    <a:pt x="822" y="195"/>
                  </a:lnTo>
                  <a:lnTo>
                    <a:pt x="825" y="195"/>
                  </a:lnTo>
                  <a:lnTo>
                    <a:pt x="829" y="199"/>
                  </a:lnTo>
                  <a:lnTo>
                    <a:pt x="829" y="203"/>
                  </a:lnTo>
                  <a:lnTo>
                    <a:pt x="829" y="207"/>
                  </a:lnTo>
                  <a:lnTo>
                    <a:pt x="829" y="211"/>
                  </a:lnTo>
                  <a:lnTo>
                    <a:pt x="825" y="211"/>
                  </a:lnTo>
                  <a:lnTo>
                    <a:pt x="825" y="215"/>
                  </a:lnTo>
                  <a:lnTo>
                    <a:pt x="822" y="211"/>
                  </a:lnTo>
                  <a:lnTo>
                    <a:pt x="818" y="211"/>
                  </a:lnTo>
                  <a:lnTo>
                    <a:pt x="814" y="211"/>
                  </a:lnTo>
                  <a:lnTo>
                    <a:pt x="810" y="211"/>
                  </a:lnTo>
                  <a:lnTo>
                    <a:pt x="806" y="207"/>
                  </a:lnTo>
                  <a:lnTo>
                    <a:pt x="802" y="207"/>
                  </a:lnTo>
                  <a:lnTo>
                    <a:pt x="798" y="207"/>
                  </a:lnTo>
                  <a:lnTo>
                    <a:pt x="790" y="207"/>
                  </a:lnTo>
                  <a:lnTo>
                    <a:pt x="786" y="207"/>
                  </a:lnTo>
                  <a:lnTo>
                    <a:pt x="790" y="207"/>
                  </a:lnTo>
                  <a:lnTo>
                    <a:pt x="794" y="207"/>
                  </a:lnTo>
                  <a:lnTo>
                    <a:pt x="794" y="211"/>
                  </a:lnTo>
                  <a:lnTo>
                    <a:pt x="790" y="211"/>
                  </a:lnTo>
                  <a:lnTo>
                    <a:pt x="786" y="211"/>
                  </a:lnTo>
                  <a:lnTo>
                    <a:pt x="782" y="211"/>
                  </a:lnTo>
                  <a:lnTo>
                    <a:pt x="778" y="211"/>
                  </a:lnTo>
                  <a:lnTo>
                    <a:pt x="782" y="211"/>
                  </a:lnTo>
                  <a:lnTo>
                    <a:pt x="786" y="211"/>
                  </a:lnTo>
                  <a:lnTo>
                    <a:pt x="790" y="211"/>
                  </a:lnTo>
                  <a:lnTo>
                    <a:pt x="786" y="211"/>
                  </a:lnTo>
                  <a:lnTo>
                    <a:pt x="786" y="215"/>
                  </a:lnTo>
                  <a:lnTo>
                    <a:pt x="786" y="211"/>
                  </a:lnTo>
                  <a:lnTo>
                    <a:pt x="782" y="211"/>
                  </a:lnTo>
                  <a:lnTo>
                    <a:pt x="782" y="215"/>
                  </a:lnTo>
                  <a:lnTo>
                    <a:pt x="778" y="219"/>
                  </a:lnTo>
                  <a:lnTo>
                    <a:pt x="774" y="219"/>
                  </a:lnTo>
                  <a:lnTo>
                    <a:pt x="774" y="215"/>
                  </a:lnTo>
                  <a:lnTo>
                    <a:pt x="770" y="211"/>
                  </a:lnTo>
                  <a:lnTo>
                    <a:pt x="766" y="211"/>
                  </a:lnTo>
                  <a:lnTo>
                    <a:pt x="766" y="215"/>
                  </a:lnTo>
                  <a:lnTo>
                    <a:pt x="762" y="215"/>
                  </a:lnTo>
                  <a:lnTo>
                    <a:pt x="766" y="219"/>
                  </a:lnTo>
                  <a:lnTo>
                    <a:pt x="766" y="223"/>
                  </a:lnTo>
                  <a:lnTo>
                    <a:pt x="766" y="219"/>
                  </a:lnTo>
                  <a:lnTo>
                    <a:pt x="770" y="219"/>
                  </a:lnTo>
                  <a:lnTo>
                    <a:pt x="774" y="219"/>
                  </a:lnTo>
                  <a:lnTo>
                    <a:pt x="778" y="223"/>
                  </a:lnTo>
                  <a:lnTo>
                    <a:pt x="774" y="223"/>
                  </a:lnTo>
                  <a:lnTo>
                    <a:pt x="770" y="223"/>
                  </a:lnTo>
                  <a:lnTo>
                    <a:pt x="774" y="223"/>
                  </a:lnTo>
                  <a:lnTo>
                    <a:pt x="778" y="223"/>
                  </a:lnTo>
                  <a:lnTo>
                    <a:pt x="774" y="223"/>
                  </a:lnTo>
                  <a:lnTo>
                    <a:pt x="770" y="223"/>
                  </a:lnTo>
                  <a:lnTo>
                    <a:pt x="766" y="223"/>
                  </a:lnTo>
                  <a:lnTo>
                    <a:pt x="770" y="223"/>
                  </a:lnTo>
                  <a:lnTo>
                    <a:pt x="774" y="223"/>
                  </a:lnTo>
                  <a:lnTo>
                    <a:pt x="778" y="223"/>
                  </a:lnTo>
                  <a:lnTo>
                    <a:pt x="778" y="227"/>
                  </a:lnTo>
                  <a:lnTo>
                    <a:pt x="778" y="231"/>
                  </a:lnTo>
                  <a:lnTo>
                    <a:pt x="782" y="227"/>
                  </a:lnTo>
                  <a:lnTo>
                    <a:pt x="786" y="227"/>
                  </a:lnTo>
                  <a:lnTo>
                    <a:pt x="786" y="231"/>
                  </a:lnTo>
                  <a:lnTo>
                    <a:pt x="790" y="231"/>
                  </a:lnTo>
                  <a:lnTo>
                    <a:pt x="794" y="231"/>
                  </a:lnTo>
                  <a:lnTo>
                    <a:pt x="798" y="231"/>
                  </a:lnTo>
                  <a:lnTo>
                    <a:pt x="794" y="231"/>
                  </a:lnTo>
                  <a:lnTo>
                    <a:pt x="790" y="231"/>
                  </a:lnTo>
                  <a:lnTo>
                    <a:pt x="786" y="227"/>
                  </a:lnTo>
                  <a:lnTo>
                    <a:pt x="790" y="227"/>
                  </a:lnTo>
                  <a:lnTo>
                    <a:pt x="794" y="227"/>
                  </a:lnTo>
                  <a:lnTo>
                    <a:pt x="794" y="231"/>
                  </a:lnTo>
                  <a:lnTo>
                    <a:pt x="798" y="231"/>
                  </a:lnTo>
                  <a:lnTo>
                    <a:pt x="802" y="231"/>
                  </a:lnTo>
                  <a:lnTo>
                    <a:pt x="802" y="227"/>
                  </a:lnTo>
                  <a:lnTo>
                    <a:pt x="806" y="231"/>
                  </a:lnTo>
                  <a:lnTo>
                    <a:pt x="806" y="235"/>
                  </a:lnTo>
                  <a:lnTo>
                    <a:pt x="802" y="235"/>
                  </a:lnTo>
                  <a:lnTo>
                    <a:pt x="798" y="235"/>
                  </a:lnTo>
                  <a:lnTo>
                    <a:pt x="798" y="239"/>
                  </a:lnTo>
                  <a:lnTo>
                    <a:pt x="794" y="239"/>
                  </a:lnTo>
                  <a:lnTo>
                    <a:pt x="790" y="235"/>
                  </a:lnTo>
                  <a:lnTo>
                    <a:pt x="782" y="235"/>
                  </a:lnTo>
                  <a:lnTo>
                    <a:pt x="782" y="239"/>
                  </a:lnTo>
                  <a:lnTo>
                    <a:pt x="778" y="239"/>
                  </a:lnTo>
                  <a:lnTo>
                    <a:pt x="774" y="239"/>
                  </a:lnTo>
                  <a:lnTo>
                    <a:pt x="774" y="235"/>
                  </a:lnTo>
                  <a:lnTo>
                    <a:pt x="774" y="239"/>
                  </a:lnTo>
                  <a:lnTo>
                    <a:pt x="778" y="239"/>
                  </a:lnTo>
                  <a:lnTo>
                    <a:pt x="782" y="239"/>
                  </a:lnTo>
                  <a:lnTo>
                    <a:pt x="786" y="239"/>
                  </a:lnTo>
                  <a:lnTo>
                    <a:pt x="790" y="239"/>
                  </a:lnTo>
                  <a:lnTo>
                    <a:pt x="794" y="239"/>
                  </a:lnTo>
                  <a:lnTo>
                    <a:pt x="798" y="239"/>
                  </a:lnTo>
                  <a:lnTo>
                    <a:pt x="802" y="239"/>
                  </a:lnTo>
                  <a:lnTo>
                    <a:pt x="806" y="239"/>
                  </a:lnTo>
                  <a:lnTo>
                    <a:pt x="810" y="243"/>
                  </a:lnTo>
                  <a:lnTo>
                    <a:pt x="810" y="247"/>
                  </a:lnTo>
                  <a:lnTo>
                    <a:pt x="810" y="251"/>
                  </a:lnTo>
                  <a:lnTo>
                    <a:pt x="814" y="255"/>
                  </a:lnTo>
                  <a:lnTo>
                    <a:pt x="810" y="255"/>
                  </a:lnTo>
                  <a:lnTo>
                    <a:pt x="810" y="259"/>
                  </a:lnTo>
                  <a:lnTo>
                    <a:pt x="810" y="263"/>
                  </a:lnTo>
                  <a:lnTo>
                    <a:pt x="806" y="263"/>
                  </a:lnTo>
                  <a:lnTo>
                    <a:pt x="802" y="263"/>
                  </a:lnTo>
                  <a:lnTo>
                    <a:pt x="802" y="259"/>
                  </a:lnTo>
                  <a:lnTo>
                    <a:pt x="802" y="255"/>
                  </a:lnTo>
                  <a:lnTo>
                    <a:pt x="798" y="255"/>
                  </a:lnTo>
                  <a:lnTo>
                    <a:pt x="794" y="255"/>
                  </a:lnTo>
                  <a:lnTo>
                    <a:pt x="794" y="259"/>
                  </a:lnTo>
                  <a:lnTo>
                    <a:pt x="790" y="259"/>
                  </a:lnTo>
                  <a:lnTo>
                    <a:pt x="786" y="255"/>
                  </a:lnTo>
                  <a:lnTo>
                    <a:pt x="782" y="251"/>
                  </a:lnTo>
                  <a:lnTo>
                    <a:pt x="778" y="251"/>
                  </a:lnTo>
                  <a:lnTo>
                    <a:pt x="778" y="247"/>
                  </a:lnTo>
                  <a:lnTo>
                    <a:pt x="774" y="247"/>
                  </a:lnTo>
                  <a:lnTo>
                    <a:pt x="770" y="247"/>
                  </a:lnTo>
                  <a:lnTo>
                    <a:pt x="766" y="247"/>
                  </a:lnTo>
                  <a:lnTo>
                    <a:pt x="770" y="247"/>
                  </a:lnTo>
                  <a:lnTo>
                    <a:pt x="774" y="247"/>
                  </a:lnTo>
                  <a:lnTo>
                    <a:pt x="774" y="251"/>
                  </a:lnTo>
                  <a:lnTo>
                    <a:pt x="778" y="251"/>
                  </a:lnTo>
                  <a:lnTo>
                    <a:pt x="782" y="251"/>
                  </a:lnTo>
                  <a:lnTo>
                    <a:pt x="778" y="251"/>
                  </a:lnTo>
                  <a:lnTo>
                    <a:pt x="774" y="251"/>
                  </a:lnTo>
                  <a:lnTo>
                    <a:pt x="770" y="251"/>
                  </a:lnTo>
                  <a:lnTo>
                    <a:pt x="766" y="251"/>
                  </a:lnTo>
                  <a:lnTo>
                    <a:pt x="770" y="251"/>
                  </a:lnTo>
                  <a:lnTo>
                    <a:pt x="774" y="251"/>
                  </a:lnTo>
                  <a:lnTo>
                    <a:pt x="778" y="251"/>
                  </a:lnTo>
                  <a:lnTo>
                    <a:pt x="782" y="255"/>
                  </a:lnTo>
                  <a:lnTo>
                    <a:pt x="786" y="255"/>
                  </a:lnTo>
                  <a:lnTo>
                    <a:pt x="790" y="259"/>
                  </a:lnTo>
                  <a:lnTo>
                    <a:pt x="794" y="259"/>
                  </a:lnTo>
                  <a:lnTo>
                    <a:pt x="794" y="263"/>
                  </a:lnTo>
                  <a:lnTo>
                    <a:pt x="790" y="263"/>
                  </a:lnTo>
                  <a:lnTo>
                    <a:pt x="786" y="263"/>
                  </a:lnTo>
                  <a:lnTo>
                    <a:pt x="782" y="263"/>
                  </a:lnTo>
                  <a:lnTo>
                    <a:pt x="782" y="267"/>
                  </a:lnTo>
                  <a:lnTo>
                    <a:pt x="778" y="267"/>
                  </a:lnTo>
                  <a:lnTo>
                    <a:pt x="774" y="267"/>
                  </a:lnTo>
                  <a:lnTo>
                    <a:pt x="774" y="263"/>
                  </a:lnTo>
                  <a:lnTo>
                    <a:pt x="770" y="263"/>
                  </a:lnTo>
                  <a:lnTo>
                    <a:pt x="766" y="263"/>
                  </a:lnTo>
                  <a:lnTo>
                    <a:pt x="766" y="259"/>
                  </a:lnTo>
                  <a:lnTo>
                    <a:pt x="766" y="263"/>
                  </a:lnTo>
                  <a:lnTo>
                    <a:pt x="770" y="263"/>
                  </a:lnTo>
                  <a:lnTo>
                    <a:pt x="774" y="263"/>
                  </a:lnTo>
                  <a:lnTo>
                    <a:pt x="774" y="267"/>
                  </a:lnTo>
                  <a:lnTo>
                    <a:pt x="778" y="267"/>
                  </a:lnTo>
                  <a:lnTo>
                    <a:pt x="782" y="267"/>
                  </a:lnTo>
                  <a:lnTo>
                    <a:pt x="782" y="263"/>
                  </a:lnTo>
                  <a:lnTo>
                    <a:pt x="786" y="263"/>
                  </a:lnTo>
                  <a:lnTo>
                    <a:pt x="790" y="263"/>
                  </a:lnTo>
                  <a:lnTo>
                    <a:pt x="794" y="263"/>
                  </a:lnTo>
                  <a:lnTo>
                    <a:pt x="794" y="267"/>
                  </a:lnTo>
                  <a:lnTo>
                    <a:pt x="790" y="271"/>
                  </a:lnTo>
                  <a:lnTo>
                    <a:pt x="794" y="271"/>
                  </a:lnTo>
                  <a:lnTo>
                    <a:pt x="794" y="275"/>
                  </a:lnTo>
                  <a:lnTo>
                    <a:pt x="790" y="275"/>
                  </a:lnTo>
                  <a:lnTo>
                    <a:pt x="786" y="275"/>
                  </a:lnTo>
                  <a:lnTo>
                    <a:pt x="790" y="275"/>
                  </a:lnTo>
                  <a:lnTo>
                    <a:pt x="794" y="275"/>
                  </a:lnTo>
                  <a:lnTo>
                    <a:pt x="798" y="275"/>
                  </a:lnTo>
                  <a:lnTo>
                    <a:pt x="802" y="275"/>
                  </a:lnTo>
                  <a:lnTo>
                    <a:pt x="806" y="279"/>
                  </a:lnTo>
                  <a:lnTo>
                    <a:pt x="810" y="275"/>
                  </a:lnTo>
                  <a:lnTo>
                    <a:pt x="814" y="275"/>
                  </a:lnTo>
                  <a:lnTo>
                    <a:pt x="814" y="279"/>
                  </a:lnTo>
                  <a:lnTo>
                    <a:pt x="818" y="279"/>
                  </a:lnTo>
                  <a:lnTo>
                    <a:pt x="818" y="283"/>
                  </a:lnTo>
                  <a:lnTo>
                    <a:pt x="814" y="283"/>
                  </a:lnTo>
                  <a:lnTo>
                    <a:pt x="814" y="287"/>
                  </a:lnTo>
                  <a:lnTo>
                    <a:pt x="810" y="287"/>
                  </a:lnTo>
                  <a:lnTo>
                    <a:pt x="806" y="287"/>
                  </a:lnTo>
                  <a:lnTo>
                    <a:pt x="802" y="287"/>
                  </a:lnTo>
                  <a:lnTo>
                    <a:pt x="798" y="287"/>
                  </a:lnTo>
                  <a:lnTo>
                    <a:pt x="798" y="283"/>
                  </a:lnTo>
                  <a:lnTo>
                    <a:pt x="794" y="283"/>
                  </a:lnTo>
                  <a:lnTo>
                    <a:pt x="790" y="283"/>
                  </a:lnTo>
                  <a:lnTo>
                    <a:pt x="786" y="283"/>
                  </a:lnTo>
                  <a:lnTo>
                    <a:pt x="782" y="283"/>
                  </a:lnTo>
                  <a:lnTo>
                    <a:pt x="778" y="283"/>
                  </a:lnTo>
                  <a:lnTo>
                    <a:pt x="774" y="283"/>
                  </a:lnTo>
                  <a:lnTo>
                    <a:pt x="774" y="279"/>
                  </a:lnTo>
                  <a:lnTo>
                    <a:pt x="770" y="279"/>
                  </a:lnTo>
                  <a:lnTo>
                    <a:pt x="774" y="279"/>
                  </a:lnTo>
                  <a:lnTo>
                    <a:pt x="774" y="283"/>
                  </a:lnTo>
                  <a:lnTo>
                    <a:pt x="774" y="287"/>
                  </a:lnTo>
                  <a:lnTo>
                    <a:pt x="770" y="287"/>
                  </a:lnTo>
                  <a:lnTo>
                    <a:pt x="766" y="287"/>
                  </a:lnTo>
                  <a:lnTo>
                    <a:pt x="770" y="287"/>
                  </a:lnTo>
                  <a:lnTo>
                    <a:pt x="770" y="291"/>
                  </a:lnTo>
                  <a:lnTo>
                    <a:pt x="766" y="291"/>
                  </a:lnTo>
                  <a:lnTo>
                    <a:pt x="770" y="295"/>
                  </a:lnTo>
                  <a:lnTo>
                    <a:pt x="774" y="295"/>
                  </a:lnTo>
                  <a:lnTo>
                    <a:pt x="774" y="299"/>
                  </a:lnTo>
                  <a:lnTo>
                    <a:pt x="774" y="303"/>
                  </a:lnTo>
                  <a:lnTo>
                    <a:pt x="778" y="303"/>
                  </a:lnTo>
                  <a:lnTo>
                    <a:pt x="774" y="299"/>
                  </a:lnTo>
                  <a:lnTo>
                    <a:pt x="774" y="295"/>
                  </a:lnTo>
                  <a:lnTo>
                    <a:pt x="778" y="291"/>
                  </a:lnTo>
                  <a:lnTo>
                    <a:pt x="778" y="295"/>
                  </a:lnTo>
                  <a:lnTo>
                    <a:pt x="782" y="295"/>
                  </a:lnTo>
                  <a:lnTo>
                    <a:pt x="786" y="295"/>
                  </a:lnTo>
                  <a:lnTo>
                    <a:pt x="790" y="299"/>
                  </a:lnTo>
                  <a:lnTo>
                    <a:pt x="794" y="299"/>
                  </a:lnTo>
                  <a:lnTo>
                    <a:pt x="798" y="299"/>
                  </a:lnTo>
                  <a:lnTo>
                    <a:pt x="798" y="303"/>
                  </a:lnTo>
                  <a:lnTo>
                    <a:pt x="794" y="303"/>
                  </a:lnTo>
                  <a:lnTo>
                    <a:pt x="794" y="307"/>
                  </a:lnTo>
                  <a:lnTo>
                    <a:pt x="798" y="307"/>
                  </a:lnTo>
                  <a:lnTo>
                    <a:pt x="794" y="311"/>
                  </a:lnTo>
                  <a:lnTo>
                    <a:pt x="790" y="311"/>
                  </a:lnTo>
                  <a:lnTo>
                    <a:pt x="786" y="311"/>
                  </a:lnTo>
                  <a:lnTo>
                    <a:pt x="782" y="311"/>
                  </a:lnTo>
                  <a:lnTo>
                    <a:pt x="778" y="311"/>
                  </a:lnTo>
                  <a:lnTo>
                    <a:pt x="774" y="311"/>
                  </a:lnTo>
                  <a:lnTo>
                    <a:pt x="774" y="315"/>
                  </a:lnTo>
                  <a:lnTo>
                    <a:pt x="770" y="315"/>
                  </a:lnTo>
                  <a:lnTo>
                    <a:pt x="766" y="315"/>
                  </a:lnTo>
                  <a:lnTo>
                    <a:pt x="762" y="315"/>
                  </a:lnTo>
                  <a:lnTo>
                    <a:pt x="758" y="315"/>
                  </a:lnTo>
                  <a:lnTo>
                    <a:pt x="754" y="315"/>
                  </a:lnTo>
                  <a:lnTo>
                    <a:pt x="754" y="311"/>
                  </a:lnTo>
                  <a:lnTo>
                    <a:pt x="750" y="311"/>
                  </a:lnTo>
                  <a:lnTo>
                    <a:pt x="746" y="311"/>
                  </a:lnTo>
                  <a:lnTo>
                    <a:pt x="746" y="307"/>
                  </a:lnTo>
                  <a:lnTo>
                    <a:pt x="742" y="307"/>
                  </a:lnTo>
                  <a:lnTo>
                    <a:pt x="742" y="303"/>
                  </a:lnTo>
                  <a:lnTo>
                    <a:pt x="746" y="303"/>
                  </a:lnTo>
                  <a:lnTo>
                    <a:pt x="750" y="303"/>
                  </a:lnTo>
                  <a:lnTo>
                    <a:pt x="754" y="307"/>
                  </a:lnTo>
                  <a:lnTo>
                    <a:pt x="758" y="307"/>
                  </a:lnTo>
                  <a:lnTo>
                    <a:pt x="762" y="307"/>
                  </a:lnTo>
                  <a:lnTo>
                    <a:pt x="766" y="307"/>
                  </a:lnTo>
                  <a:lnTo>
                    <a:pt x="770" y="307"/>
                  </a:lnTo>
                  <a:lnTo>
                    <a:pt x="766" y="307"/>
                  </a:lnTo>
                  <a:lnTo>
                    <a:pt x="762" y="307"/>
                  </a:lnTo>
                  <a:lnTo>
                    <a:pt x="758" y="307"/>
                  </a:lnTo>
                  <a:lnTo>
                    <a:pt x="754" y="303"/>
                  </a:lnTo>
                  <a:lnTo>
                    <a:pt x="750" y="303"/>
                  </a:lnTo>
                  <a:lnTo>
                    <a:pt x="746" y="303"/>
                  </a:lnTo>
                  <a:lnTo>
                    <a:pt x="742" y="303"/>
                  </a:lnTo>
                  <a:lnTo>
                    <a:pt x="742" y="299"/>
                  </a:lnTo>
                  <a:lnTo>
                    <a:pt x="738" y="299"/>
                  </a:lnTo>
                  <a:lnTo>
                    <a:pt x="738" y="303"/>
                  </a:lnTo>
                  <a:lnTo>
                    <a:pt x="734" y="303"/>
                  </a:lnTo>
                  <a:lnTo>
                    <a:pt x="734" y="307"/>
                  </a:lnTo>
                  <a:lnTo>
                    <a:pt x="730" y="307"/>
                  </a:lnTo>
                  <a:lnTo>
                    <a:pt x="726" y="307"/>
                  </a:lnTo>
                  <a:lnTo>
                    <a:pt x="726" y="303"/>
                  </a:lnTo>
                  <a:lnTo>
                    <a:pt x="722" y="303"/>
                  </a:lnTo>
                  <a:lnTo>
                    <a:pt x="722" y="299"/>
                  </a:lnTo>
                  <a:lnTo>
                    <a:pt x="718" y="299"/>
                  </a:lnTo>
                  <a:lnTo>
                    <a:pt x="718" y="295"/>
                  </a:lnTo>
                  <a:lnTo>
                    <a:pt x="714" y="295"/>
                  </a:lnTo>
                  <a:lnTo>
                    <a:pt x="714" y="299"/>
                  </a:lnTo>
                  <a:lnTo>
                    <a:pt x="718" y="299"/>
                  </a:lnTo>
                  <a:lnTo>
                    <a:pt x="722" y="303"/>
                  </a:lnTo>
                  <a:lnTo>
                    <a:pt x="726" y="303"/>
                  </a:lnTo>
                  <a:lnTo>
                    <a:pt x="726" y="307"/>
                  </a:lnTo>
                  <a:lnTo>
                    <a:pt x="730" y="307"/>
                  </a:lnTo>
                  <a:lnTo>
                    <a:pt x="730" y="311"/>
                  </a:lnTo>
                  <a:lnTo>
                    <a:pt x="726" y="311"/>
                  </a:lnTo>
                  <a:lnTo>
                    <a:pt x="722" y="311"/>
                  </a:lnTo>
                  <a:lnTo>
                    <a:pt x="718" y="311"/>
                  </a:lnTo>
                  <a:lnTo>
                    <a:pt x="718" y="315"/>
                  </a:lnTo>
                  <a:lnTo>
                    <a:pt x="714" y="315"/>
                  </a:lnTo>
                  <a:lnTo>
                    <a:pt x="710" y="315"/>
                  </a:lnTo>
                  <a:lnTo>
                    <a:pt x="706" y="315"/>
                  </a:lnTo>
                  <a:lnTo>
                    <a:pt x="702" y="315"/>
                  </a:lnTo>
                  <a:lnTo>
                    <a:pt x="698" y="315"/>
                  </a:lnTo>
                  <a:lnTo>
                    <a:pt x="698" y="311"/>
                  </a:lnTo>
                  <a:lnTo>
                    <a:pt x="694" y="311"/>
                  </a:lnTo>
                  <a:lnTo>
                    <a:pt x="690" y="311"/>
                  </a:lnTo>
                  <a:lnTo>
                    <a:pt x="694" y="315"/>
                  </a:lnTo>
                  <a:lnTo>
                    <a:pt x="698" y="315"/>
                  </a:lnTo>
                  <a:lnTo>
                    <a:pt x="702" y="315"/>
                  </a:lnTo>
                  <a:lnTo>
                    <a:pt x="706" y="315"/>
                  </a:lnTo>
                  <a:lnTo>
                    <a:pt x="702" y="315"/>
                  </a:lnTo>
                  <a:lnTo>
                    <a:pt x="702" y="319"/>
                  </a:lnTo>
                  <a:lnTo>
                    <a:pt x="698" y="319"/>
                  </a:lnTo>
                  <a:lnTo>
                    <a:pt x="694" y="319"/>
                  </a:lnTo>
                  <a:lnTo>
                    <a:pt x="690" y="319"/>
                  </a:lnTo>
                  <a:lnTo>
                    <a:pt x="686" y="319"/>
                  </a:lnTo>
                  <a:lnTo>
                    <a:pt x="690" y="319"/>
                  </a:lnTo>
                  <a:lnTo>
                    <a:pt x="690" y="323"/>
                  </a:lnTo>
                  <a:lnTo>
                    <a:pt x="690" y="327"/>
                  </a:lnTo>
                  <a:lnTo>
                    <a:pt x="690" y="323"/>
                  </a:lnTo>
                  <a:lnTo>
                    <a:pt x="690" y="319"/>
                  </a:lnTo>
                  <a:lnTo>
                    <a:pt x="694" y="319"/>
                  </a:lnTo>
                  <a:lnTo>
                    <a:pt x="698" y="319"/>
                  </a:lnTo>
                  <a:lnTo>
                    <a:pt x="702" y="319"/>
                  </a:lnTo>
                  <a:lnTo>
                    <a:pt x="706" y="319"/>
                  </a:lnTo>
                  <a:lnTo>
                    <a:pt x="710" y="319"/>
                  </a:lnTo>
                  <a:lnTo>
                    <a:pt x="714" y="319"/>
                  </a:lnTo>
                  <a:lnTo>
                    <a:pt x="718" y="319"/>
                  </a:lnTo>
                  <a:lnTo>
                    <a:pt x="722" y="319"/>
                  </a:lnTo>
                  <a:lnTo>
                    <a:pt x="722" y="323"/>
                  </a:lnTo>
                  <a:lnTo>
                    <a:pt x="726" y="319"/>
                  </a:lnTo>
                  <a:lnTo>
                    <a:pt x="726" y="323"/>
                  </a:lnTo>
                  <a:lnTo>
                    <a:pt x="726" y="327"/>
                  </a:lnTo>
                  <a:lnTo>
                    <a:pt x="722" y="327"/>
                  </a:lnTo>
                  <a:lnTo>
                    <a:pt x="718" y="327"/>
                  </a:lnTo>
                  <a:lnTo>
                    <a:pt x="714" y="327"/>
                  </a:lnTo>
                  <a:lnTo>
                    <a:pt x="710" y="331"/>
                  </a:lnTo>
                  <a:lnTo>
                    <a:pt x="706" y="331"/>
                  </a:lnTo>
                  <a:lnTo>
                    <a:pt x="702" y="327"/>
                  </a:lnTo>
                  <a:lnTo>
                    <a:pt x="698" y="327"/>
                  </a:lnTo>
                  <a:lnTo>
                    <a:pt x="694" y="327"/>
                  </a:lnTo>
                  <a:lnTo>
                    <a:pt x="690" y="327"/>
                  </a:lnTo>
                  <a:lnTo>
                    <a:pt x="694" y="327"/>
                  </a:lnTo>
                  <a:lnTo>
                    <a:pt x="698" y="327"/>
                  </a:lnTo>
                  <a:lnTo>
                    <a:pt x="702" y="327"/>
                  </a:lnTo>
                  <a:lnTo>
                    <a:pt x="706" y="331"/>
                  </a:lnTo>
                  <a:lnTo>
                    <a:pt x="702" y="331"/>
                  </a:lnTo>
                  <a:lnTo>
                    <a:pt x="698" y="331"/>
                  </a:lnTo>
                  <a:lnTo>
                    <a:pt x="702" y="331"/>
                  </a:lnTo>
                  <a:lnTo>
                    <a:pt x="706" y="331"/>
                  </a:lnTo>
                  <a:lnTo>
                    <a:pt x="706" y="335"/>
                  </a:lnTo>
                  <a:lnTo>
                    <a:pt x="706" y="331"/>
                  </a:lnTo>
                  <a:lnTo>
                    <a:pt x="710" y="331"/>
                  </a:lnTo>
                  <a:lnTo>
                    <a:pt x="714" y="331"/>
                  </a:lnTo>
                  <a:lnTo>
                    <a:pt x="718" y="327"/>
                  </a:lnTo>
                  <a:lnTo>
                    <a:pt x="722" y="331"/>
                  </a:lnTo>
                  <a:lnTo>
                    <a:pt x="726" y="331"/>
                  </a:lnTo>
                  <a:lnTo>
                    <a:pt x="730" y="331"/>
                  </a:lnTo>
                  <a:lnTo>
                    <a:pt x="730" y="335"/>
                  </a:lnTo>
                  <a:lnTo>
                    <a:pt x="734" y="335"/>
                  </a:lnTo>
                  <a:lnTo>
                    <a:pt x="730" y="339"/>
                  </a:lnTo>
                  <a:lnTo>
                    <a:pt x="726" y="339"/>
                  </a:lnTo>
                  <a:lnTo>
                    <a:pt x="722" y="339"/>
                  </a:lnTo>
                  <a:lnTo>
                    <a:pt x="718" y="339"/>
                  </a:lnTo>
                  <a:lnTo>
                    <a:pt x="714" y="339"/>
                  </a:lnTo>
                  <a:lnTo>
                    <a:pt x="718" y="339"/>
                  </a:lnTo>
                  <a:lnTo>
                    <a:pt x="722" y="339"/>
                  </a:lnTo>
                  <a:lnTo>
                    <a:pt x="722" y="343"/>
                  </a:lnTo>
                  <a:lnTo>
                    <a:pt x="718" y="343"/>
                  </a:lnTo>
                  <a:lnTo>
                    <a:pt x="718" y="347"/>
                  </a:lnTo>
                  <a:lnTo>
                    <a:pt x="722" y="347"/>
                  </a:lnTo>
                  <a:lnTo>
                    <a:pt x="722" y="343"/>
                  </a:lnTo>
                  <a:lnTo>
                    <a:pt x="726" y="343"/>
                  </a:lnTo>
                  <a:lnTo>
                    <a:pt x="726" y="339"/>
                  </a:lnTo>
                  <a:lnTo>
                    <a:pt x="730" y="339"/>
                  </a:lnTo>
                  <a:lnTo>
                    <a:pt x="734" y="339"/>
                  </a:lnTo>
                  <a:lnTo>
                    <a:pt x="734" y="343"/>
                  </a:lnTo>
                  <a:lnTo>
                    <a:pt x="738" y="343"/>
                  </a:lnTo>
                  <a:lnTo>
                    <a:pt x="742" y="343"/>
                  </a:lnTo>
                  <a:lnTo>
                    <a:pt x="746" y="343"/>
                  </a:lnTo>
                  <a:lnTo>
                    <a:pt x="746" y="347"/>
                  </a:lnTo>
                  <a:lnTo>
                    <a:pt x="750" y="347"/>
                  </a:lnTo>
                  <a:lnTo>
                    <a:pt x="754" y="347"/>
                  </a:lnTo>
                  <a:lnTo>
                    <a:pt x="754" y="351"/>
                  </a:lnTo>
                  <a:lnTo>
                    <a:pt x="758" y="351"/>
                  </a:lnTo>
                  <a:lnTo>
                    <a:pt x="762" y="351"/>
                  </a:lnTo>
                  <a:lnTo>
                    <a:pt x="762" y="355"/>
                  </a:lnTo>
                  <a:lnTo>
                    <a:pt x="766" y="355"/>
                  </a:lnTo>
                  <a:lnTo>
                    <a:pt x="762" y="355"/>
                  </a:lnTo>
                  <a:lnTo>
                    <a:pt x="762" y="359"/>
                  </a:lnTo>
                  <a:lnTo>
                    <a:pt x="758" y="359"/>
                  </a:lnTo>
                  <a:lnTo>
                    <a:pt x="754" y="359"/>
                  </a:lnTo>
                  <a:lnTo>
                    <a:pt x="754" y="363"/>
                  </a:lnTo>
                  <a:lnTo>
                    <a:pt x="758" y="363"/>
                  </a:lnTo>
                  <a:lnTo>
                    <a:pt x="758" y="359"/>
                  </a:lnTo>
                  <a:lnTo>
                    <a:pt x="762" y="359"/>
                  </a:lnTo>
                  <a:lnTo>
                    <a:pt x="766" y="359"/>
                  </a:lnTo>
                  <a:lnTo>
                    <a:pt x="762" y="359"/>
                  </a:lnTo>
                  <a:lnTo>
                    <a:pt x="762" y="363"/>
                  </a:lnTo>
                  <a:lnTo>
                    <a:pt x="766" y="363"/>
                  </a:lnTo>
                  <a:lnTo>
                    <a:pt x="766" y="359"/>
                  </a:lnTo>
                  <a:lnTo>
                    <a:pt x="770" y="359"/>
                  </a:lnTo>
                  <a:lnTo>
                    <a:pt x="774" y="359"/>
                  </a:lnTo>
                  <a:lnTo>
                    <a:pt x="770" y="359"/>
                  </a:lnTo>
                  <a:lnTo>
                    <a:pt x="770" y="363"/>
                  </a:lnTo>
                  <a:lnTo>
                    <a:pt x="766" y="363"/>
                  </a:lnTo>
                  <a:lnTo>
                    <a:pt x="762" y="367"/>
                  </a:lnTo>
                  <a:lnTo>
                    <a:pt x="766" y="367"/>
                  </a:lnTo>
                  <a:lnTo>
                    <a:pt x="766" y="371"/>
                  </a:lnTo>
                  <a:lnTo>
                    <a:pt x="766" y="367"/>
                  </a:lnTo>
                  <a:lnTo>
                    <a:pt x="770" y="367"/>
                  </a:lnTo>
                  <a:lnTo>
                    <a:pt x="774" y="367"/>
                  </a:lnTo>
                  <a:lnTo>
                    <a:pt x="778" y="367"/>
                  </a:lnTo>
                  <a:lnTo>
                    <a:pt x="774" y="367"/>
                  </a:lnTo>
                  <a:lnTo>
                    <a:pt x="774" y="371"/>
                  </a:lnTo>
                  <a:lnTo>
                    <a:pt x="778" y="371"/>
                  </a:lnTo>
                  <a:lnTo>
                    <a:pt x="774" y="371"/>
                  </a:lnTo>
                  <a:lnTo>
                    <a:pt x="778" y="371"/>
                  </a:lnTo>
                  <a:lnTo>
                    <a:pt x="778" y="375"/>
                  </a:lnTo>
                  <a:lnTo>
                    <a:pt x="774" y="375"/>
                  </a:lnTo>
                  <a:lnTo>
                    <a:pt x="774" y="379"/>
                  </a:lnTo>
                  <a:lnTo>
                    <a:pt x="770" y="379"/>
                  </a:lnTo>
                  <a:lnTo>
                    <a:pt x="766" y="379"/>
                  </a:lnTo>
                  <a:lnTo>
                    <a:pt x="770" y="379"/>
                  </a:lnTo>
                  <a:lnTo>
                    <a:pt x="774" y="379"/>
                  </a:lnTo>
                  <a:lnTo>
                    <a:pt x="778" y="379"/>
                  </a:lnTo>
                  <a:lnTo>
                    <a:pt x="778" y="383"/>
                  </a:lnTo>
                  <a:lnTo>
                    <a:pt x="774" y="383"/>
                  </a:lnTo>
                  <a:lnTo>
                    <a:pt x="774" y="387"/>
                  </a:lnTo>
                  <a:lnTo>
                    <a:pt x="774" y="383"/>
                  </a:lnTo>
                  <a:lnTo>
                    <a:pt x="774" y="387"/>
                  </a:lnTo>
                  <a:lnTo>
                    <a:pt x="778" y="387"/>
                  </a:lnTo>
                  <a:lnTo>
                    <a:pt x="778" y="383"/>
                  </a:lnTo>
                  <a:lnTo>
                    <a:pt x="778" y="387"/>
                  </a:lnTo>
                  <a:lnTo>
                    <a:pt x="774" y="387"/>
                  </a:lnTo>
                  <a:lnTo>
                    <a:pt x="778" y="387"/>
                  </a:lnTo>
                  <a:lnTo>
                    <a:pt x="774" y="391"/>
                  </a:lnTo>
                  <a:lnTo>
                    <a:pt x="778" y="391"/>
                  </a:lnTo>
                  <a:lnTo>
                    <a:pt x="782" y="391"/>
                  </a:lnTo>
                  <a:lnTo>
                    <a:pt x="778" y="395"/>
                  </a:lnTo>
                  <a:lnTo>
                    <a:pt x="774" y="395"/>
                  </a:lnTo>
                  <a:lnTo>
                    <a:pt x="770" y="395"/>
                  </a:lnTo>
                  <a:lnTo>
                    <a:pt x="766" y="395"/>
                  </a:lnTo>
                  <a:lnTo>
                    <a:pt x="766" y="391"/>
                  </a:lnTo>
                  <a:lnTo>
                    <a:pt x="766" y="387"/>
                  </a:lnTo>
                  <a:lnTo>
                    <a:pt x="766" y="383"/>
                  </a:lnTo>
                  <a:lnTo>
                    <a:pt x="762" y="383"/>
                  </a:lnTo>
                  <a:lnTo>
                    <a:pt x="762" y="387"/>
                  </a:lnTo>
                  <a:lnTo>
                    <a:pt x="762" y="391"/>
                  </a:lnTo>
                  <a:lnTo>
                    <a:pt x="762" y="395"/>
                  </a:lnTo>
                  <a:lnTo>
                    <a:pt x="758" y="395"/>
                  </a:lnTo>
                  <a:lnTo>
                    <a:pt x="754" y="395"/>
                  </a:lnTo>
                  <a:lnTo>
                    <a:pt x="750" y="395"/>
                  </a:lnTo>
                  <a:lnTo>
                    <a:pt x="746" y="391"/>
                  </a:lnTo>
                  <a:lnTo>
                    <a:pt x="742" y="391"/>
                  </a:lnTo>
                  <a:lnTo>
                    <a:pt x="742" y="387"/>
                  </a:lnTo>
                  <a:lnTo>
                    <a:pt x="738" y="387"/>
                  </a:lnTo>
                  <a:lnTo>
                    <a:pt x="738" y="383"/>
                  </a:lnTo>
                  <a:lnTo>
                    <a:pt x="738" y="379"/>
                  </a:lnTo>
                  <a:lnTo>
                    <a:pt x="738" y="375"/>
                  </a:lnTo>
                  <a:lnTo>
                    <a:pt x="734" y="375"/>
                  </a:lnTo>
                  <a:lnTo>
                    <a:pt x="730" y="371"/>
                  </a:lnTo>
                  <a:lnTo>
                    <a:pt x="726" y="371"/>
                  </a:lnTo>
                  <a:lnTo>
                    <a:pt x="722" y="371"/>
                  </a:lnTo>
                  <a:lnTo>
                    <a:pt x="722" y="367"/>
                  </a:lnTo>
                  <a:lnTo>
                    <a:pt x="718" y="367"/>
                  </a:lnTo>
                  <a:lnTo>
                    <a:pt x="718" y="363"/>
                  </a:lnTo>
                  <a:lnTo>
                    <a:pt x="714" y="363"/>
                  </a:lnTo>
                  <a:lnTo>
                    <a:pt x="706" y="363"/>
                  </a:lnTo>
                  <a:lnTo>
                    <a:pt x="702" y="363"/>
                  </a:lnTo>
                  <a:lnTo>
                    <a:pt x="698" y="363"/>
                  </a:lnTo>
                  <a:lnTo>
                    <a:pt x="694" y="359"/>
                  </a:lnTo>
                  <a:lnTo>
                    <a:pt x="690" y="359"/>
                  </a:lnTo>
                  <a:lnTo>
                    <a:pt x="690" y="355"/>
                  </a:lnTo>
                  <a:lnTo>
                    <a:pt x="686" y="355"/>
                  </a:lnTo>
                  <a:lnTo>
                    <a:pt x="686" y="351"/>
                  </a:lnTo>
                  <a:lnTo>
                    <a:pt x="682" y="351"/>
                  </a:lnTo>
                  <a:lnTo>
                    <a:pt x="678" y="351"/>
                  </a:lnTo>
                  <a:lnTo>
                    <a:pt x="674" y="347"/>
                  </a:lnTo>
                  <a:lnTo>
                    <a:pt x="670" y="347"/>
                  </a:lnTo>
                  <a:lnTo>
                    <a:pt x="670" y="351"/>
                  </a:lnTo>
                  <a:lnTo>
                    <a:pt x="674" y="351"/>
                  </a:lnTo>
                  <a:lnTo>
                    <a:pt x="674" y="355"/>
                  </a:lnTo>
                  <a:lnTo>
                    <a:pt x="678" y="355"/>
                  </a:lnTo>
                  <a:lnTo>
                    <a:pt x="682" y="355"/>
                  </a:lnTo>
                  <a:lnTo>
                    <a:pt x="686" y="359"/>
                  </a:lnTo>
                  <a:lnTo>
                    <a:pt x="690" y="359"/>
                  </a:lnTo>
                  <a:lnTo>
                    <a:pt x="690" y="363"/>
                  </a:lnTo>
                  <a:lnTo>
                    <a:pt x="686" y="363"/>
                  </a:lnTo>
                  <a:lnTo>
                    <a:pt x="682" y="363"/>
                  </a:lnTo>
                  <a:lnTo>
                    <a:pt x="678" y="363"/>
                  </a:lnTo>
                  <a:lnTo>
                    <a:pt x="674" y="363"/>
                  </a:lnTo>
                  <a:lnTo>
                    <a:pt x="678" y="363"/>
                  </a:lnTo>
                  <a:lnTo>
                    <a:pt x="682" y="363"/>
                  </a:lnTo>
                  <a:lnTo>
                    <a:pt x="686" y="363"/>
                  </a:lnTo>
                  <a:lnTo>
                    <a:pt x="690" y="363"/>
                  </a:lnTo>
                  <a:lnTo>
                    <a:pt x="694" y="363"/>
                  </a:lnTo>
                  <a:lnTo>
                    <a:pt x="690" y="363"/>
                  </a:lnTo>
                  <a:lnTo>
                    <a:pt x="690" y="367"/>
                  </a:lnTo>
                  <a:lnTo>
                    <a:pt x="694" y="367"/>
                  </a:lnTo>
                  <a:lnTo>
                    <a:pt x="694" y="363"/>
                  </a:lnTo>
                  <a:lnTo>
                    <a:pt x="698" y="363"/>
                  </a:lnTo>
                  <a:lnTo>
                    <a:pt x="698" y="367"/>
                  </a:lnTo>
                  <a:lnTo>
                    <a:pt x="702" y="367"/>
                  </a:lnTo>
                  <a:lnTo>
                    <a:pt x="706" y="367"/>
                  </a:lnTo>
                  <a:lnTo>
                    <a:pt x="710" y="367"/>
                  </a:lnTo>
                  <a:lnTo>
                    <a:pt x="714" y="367"/>
                  </a:lnTo>
                  <a:lnTo>
                    <a:pt x="718" y="367"/>
                  </a:lnTo>
                  <a:lnTo>
                    <a:pt x="722" y="371"/>
                  </a:lnTo>
                  <a:lnTo>
                    <a:pt x="718" y="375"/>
                  </a:lnTo>
                  <a:lnTo>
                    <a:pt x="718" y="371"/>
                  </a:lnTo>
                  <a:lnTo>
                    <a:pt x="714" y="371"/>
                  </a:lnTo>
                  <a:lnTo>
                    <a:pt x="718" y="375"/>
                  </a:lnTo>
                  <a:lnTo>
                    <a:pt x="710" y="379"/>
                  </a:lnTo>
                  <a:lnTo>
                    <a:pt x="706" y="379"/>
                  </a:lnTo>
                  <a:lnTo>
                    <a:pt x="698" y="383"/>
                  </a:lnTo>
                  <a:lnTo>
                    <a:pt x="698" y="379"/>
                  </a:lnTo>
                  <a:lnTo>
                    <a:pt x="694" y="383"/>
                  </a:lnTo>
                  <a:lnTo>
                    <a:pt x="690" y="383"/>
                  </a:lnTo>
                  <a:lnTo>
                    <a:pt x="690" y="379"/>
                  </a:lnTo>
                  <a:lnTo>
                    <a:pt x="686" y="379"/>
                  </a:lnTo>
                  <a:lnTo>
                    <a:pt x="686" y="375"/>
                  </a:lnTo>
                  <a:lnTo>
                    <a:pt x="682" y="375"/>
                  </a:lnTo>
                  <a:lnTo>
                    <a:pt x="682" y="379"/>
                  </a:lnTo>
                  <a:lnTo>
                    <a:pt x="686" y="379"/>
                  </a:lnTo>
                  <a:lnTo>
                    <a:pt x="686" y="383"/>
                  </a:lnTo>
                  <a:lnTo>
                    <a:pt x="686" y="379"/>
                  </a:lnTo>
                  <a:lnTo>
                    <a:pt x="682" y="379"/>
                  </a:lnTo>
                  <a:lnTo>
                    <a:pt x="678" y="379"/>
                  </a:lnTo>
                  <a:lnTo>
                    <a:pt x="674" y="379"/>
                  </a:lnTo>
                  <a:lnTo>
                    <a:pt x="678" y="379"/>
                  </a:lnTo>
                  <a:lnTo>
                    <a:pt x="678" y="383"/>
                  </a:lnTo>
                  <a:lnTo>
                    <a:pt x="682" y="383"/>
                  </a:lnTo>
                  <a:lnTo>
                    <a:pt x="682" y="387"/>
                  </a:lnTo>
                  <a:lnTo>
                    <a:pt x="678" y="391"/>
                  </a:lnTo>
                  <a:lnTo>
                    <a:pt x="674" y="391"/>
                  </a:lnTo>
                  <a:lnTo>
                    <a:pt x="670" y="391"/>
                  </a:lnTo>
                  <a:lnTo>
                    <a:pt x="666" y="395"/>
                  </a:lnTo>
                  <a:lnTo>
                    <a:pt x="662" y="395"/>
                  </a:lnTo>
                  <a:lnTo>
                    <a:pt x="666" y="395"/>
                  </a:lnTo>
                  <a:lnTo>
                    <a:pt x="670" y="395"/>
                  </a:lnTo>
                  <a:lnTo>
                    <a:pt x="674" y="395"/>
                  </a:lnTo>
                  <a:lnTo>
                    <a:pt x="678" y="391"/>
                  </a:lnTo>
                  <a:lnTo>
                    <a:pt x="678" y="395"/>
                  </a:lnTo>
                  <a:lnTo>
                    <a:pt x="674" y="395"/>
                  </a:lnTo>
                  <a:lnTo>
                    <a:pt x="678" y="395"/>
                  </a:lnTo>
                  <a:lnTo>
                    <a:pt x="682" y="395"/>
                  </a:lnTo>
                  <a:lnTo>
                    <a:pt x="686" y="395"/>
                  </a:lnTo>
                  <a:lnTo>
                    <a:pt x="694" y="395"/>
                  </a:lnTo>
                  <a:lnTo>
                    <a:pt x="698" y="395"/>
                  </a:lnTo>
                  <a:lnTo>
                    <a:pt x="702" y="395"/>
                  </a:lnTo>
                  <a:lnTo>
                    <a:pt x="706" y="395"/>
                  </a:lnTo>
                  <a:lnTo>
                    <a:pt x="706" y="399"/>
                  </a:lnTo>
                  <a:lnTo>
                    <a:pt x="702" y="399"/>
                  </a:lnTo>
                  <a:lnTo>
                    <a:pt x="698" y="399"/>
                  </a:lnTo>
                  <a:lnTo>
                    <a:pt x="694" y="399"/>
                  </a:lnTo>
                  <a:lnTo>
                    <a:pt x="690" y="399"/>
                  </a:lnTo>
                  <a:lnTo>
                    <a:pt x="690" y="403"/>
                  </a:lnTo>
                  <a:lnTo>
                    <a:pt x="686" y="403"/>
                  </a:lnTo>
                  <a:lnTo>
                    <a:pt x="682" y="403"/>
                  </a:lnTo>
                  <a:lnTo>
                    <a:pt x="678" y="403"/>
                  </a:lnTo>
                  <a:lnTo>
                    <a:pt x="674" y="403"/>
                  </a:lnTo>
                  <a:lnTo>
                    <a:pt x="674" y="407"/>
                  </a:lnTo>
                  <a:lnTo>
                    <a:pt x="678" y="403"/>
                  </a:lnTo>
                  <a:lnTo>
                    <a:pt x="678" y="407"/>
                  </a:lnTo>
                  <a:lnTo>
                    <a:pt x="682" y="407"/>
                  </a:lnTo>
                  <a:lnTo>
                    <a:pt x="686" y="407"/>
                  </a:lnTo>
                  <a:lnTo>
                    <a:pt x="690" y="407"/>
                  </a:lnTo>
                  <a:lnTo>
                    <a:pt x="694" y="403"/>
                  </a:lnTo>
                  <a:lnTo>
                    <a:pt x="698" y="399"/>
                  </a:lnTo>
                  <a:lnTo>
                    <a:pt x="702" y="399"/>
                  </a:lnTo>
                  <a:lnTo>
                    <a:pt x="702" y="403"/>
                  </a:lnTo>
                  <a:lnTo>
                    <a:pt x="706" y="403"/>
                  </a:lnTo>
                  <a:lnTo>
                    <a:pt x="710" y="399"/>
                  </a:lnTo>
                  <a:lnTo>
                    <a:pt x="714" y="399"/>
                  </a:lnTo>
                  <a:lnTo>
                    <a:pt x="718" y="399"/>
                  </a:lnTo>
                  <a:lnTo>
                    <a:pt x="722" y="395"/>
                  </a:lnTo>
                  <a:lnTo>
                    <a:pt x="722" y="399"/>
                  </a:lnTo>
                  <a:lnTo>
                    <a:pt x="726" y="399"/>
                  </a:lnTo>
                  <a:lnTo>
                    <a:pt x="726" y="395"/>
                  </a:lnTo>
                  <a:lnTo>
                    <a:pt x="726" y="399"/>
                  </a:lnTo>
                  <a:lnTo>
                    <a:pt x="730" y="399"/>
                  </a:lnTo>
                  <a:lnTo>
                    <a:pt x="734" y="399"/>
                  </a:lnTo>
                  <a:lnTo>
                    <a:pt x="742" y="403"/>
                  </a:lnTo>
                  <a:lnTo>
                    <a:pt x="746" y="403"/>
                  </a:lnTo>
                  <a:lnTo>
                    <a:pt x="750" y="403"/>
                  </a:lnTo>
                  <a:lnTo>
                    <a:pt x="754" y="403"/>
                  </a:lnTo>
                  <a:lnTo>
                    <a:pt x="758" y="403"/>
                  </a:lnTo>
                  <a:lnTo>
                    <a:pt x="762" y="403"/>
                  </a:lnTo>
                  <a:lnTo>
                    <a:pt x="766" y="403"/>
                  </a:lnTo>
                  <a:lnTo>
                    <a:pt x="770" y="403"/>
                  </a:lnTo>
                  <a:lnTo>
                    <a:pt x="770" y="407"/>
                  </a:lnTo>
                  <a:lnTo>
                    <a:pt x="766" y="407"/>
                  </a:lnTo>
                  <a:lnTo>
                    <a:pt x="762" y="407"/>
                  </a:lnTo>
                  <a:lnTo>
                    <a:pt x="758" y="407"/>
                  </a:lnTo>
                  <a:lnTo>
                    <a:pt x="758" y="411"/>
                  </a:lnTo>
                  <a:lnTo>
                    <a:pt x="762" y="411"/>
                  </a:lnTo>
                  <a:lnTo>
                    <a:pt x="758" y="411"/>
                  </a:lnTo>
                  <a:lnTo>
                    <a:pt x="758" y="407"/>
                  </a:lnTo>
                  <a:lnTo>
                    <a:pt x="754" y="407"/>
                  </a:lnTo>
                  <a:lnTo>
                    <a:pt x="754" y="411"/>
                  </a:lnTo>
                  <a:lnTo>
                    <a:pt x="758" y="411"/>
                  </a:lnTo>
                  <a:lnTo>
                    <a:pt x="754" y="411"/>
                  </a:lnTo>
                  <a:lnTo>
                    <a:pt x="758" y="411"/>
                  </a:lnTo>
                  <a:lnTo>
                    <a:pt x="758" y="415"/>
                  </a:lnTo>
                  <a:lnTo>
                    <a:pt x="754" y="415"/>
                  </a:lnTo>
                  <a:lnTo>
                    <a:pt x="754" y="411"/>
                  </a:lnTo>
                  <a:lnTo>
                    <a:pt x="750" y="411"/>
                  </a:lnTo>
                  <a:lnTo>
                    <a:pt x="754" y="411"/>
                  </a:lnTo>
                  <a:lnTo>
                    <a:pt x="754" y="415"/>
                  </a:lnTo>
                  <a:lnTo>
                    <a:pt x="750" y="415"/>
                  </a:lnTo>
                  <a:lnTo>
                    <a:pt x="746" y="415"/>
                  </a:lnTo>
                  <a:lnTo>
                    <a:pt x="742" y="415"/>
                  </a:lnTo>
                  <a:lnTo>
                    <a:pt x="746" y="415"/>
                  </a:lnTo>
                  <a:lnTo>
                    <a:pt x="750" y="415"/>
                  </a:lnTo>
                  <a:lnTo>
                    <a:pt x="746" y="419"/>
                  </a:lnTo>
                  <a:lnTo>
                    <a:pt x="742" y="419"/>
                  </a:lnTo>
                  <a:lnTo>
                    <a:pt x="738" y="419"/>
                  </a:lnTo>
                  <a:lnTo>
                    <a:pt x="742" y="419"/>
                  </a:lnTo>
                  <a:lnTo>
                    <a:pt x="738" y="423"/>
                  </a:lnTo>
                  <a:lnTo>
                    <a:pt x="734" y="423"/>
                  </a:lnTo>
                  <a:lnTo>
                    <a:pt x="730" y="423"/>
                  </a:lnTo>
                  <a:lnTo>
                    <a:pt x="734" y="427"/>
                  </a:lnTo>
                  <a:lnTo>
                    <a:pt x="730" y="427"/>
                  </a:lnTo>
                  <a:lnTo>
                    <a:pt x="726" y="427"/>
                  </a:lnTo>
                  <a:lnTo>
                    <a:pt x="722" y="427"/>
                  </a:lnTo>
                  <a:lnTo>
                    <a:pt x="726" y="427"/>
                  </a:lnTo>
                  <a:lnTo>
                    <a:pt x="726" y="431"/>
                  </a:lnTo>
                  <a:lnTo>
                    <a:pt x="722" y="431"/>
                  </a:lnTo>
                  <a:lnTo>
                    <a:pt x="722" y="435"/>
                  </a:lnTo>
                  <a:lnTo>
                    <a:pt x="718" y="431"/>
                  </a:lnTo>
                  <a:lnTo>
                    <a:pt x="718" y="435"/>
                  </a:lnTo>
                  <a:lnTo>
                    <a:pt x="714" y="435"/>
                  </a:lnTo>
                  <a:lnTo>
                    <a:pt x="718" y="435"/>
                  </a:lnTo>
                  <a:lnTo>
                    <a:pt x="718" y="439"/>
                  </a:lnTo>
                  <a:lnTo>
                    <a:pt x="714" y="439"/>
                  </a:lnTo>
                  <a:lnTo>
                    <a:pt x="710" y="439"/>
                  </a:lnTo>
                  <a:lnTo>
                    <a:pt x="706" y="443"/>
                  </a:lnTo>
                  <a:lnTo>
                    <a:pt x="702" y="443"/>
                  </a:lnTo>
                  <a:lnTo>
                    <a:pt x="698" y="443"/>
                  </a:lnTo>
                  <a:lnTo>
                    <a:pt x="694" y="447"/>
                  </a:lnTo>
                  <a:lnTo>
                    <a:pt x="694" y="443"/>
                  </a:lnTo>
                  <a:lnTo>
                    <a:pt x="690" y="443"/>
                  </a:lnTo>
                  <a:lnTo>
                    <a:pt x="690" y="447"/>
                  </a:lnTo>
                  <a:lnTo>
                    <a:pt x="694" y="447"/>
                  </a:lnTo>
                  <a:lnTo>
                    <a:pt x="690" y="447"/>
                  </a:lnTo>
                  <a:lnTo>
                    <a:pt x="686" y="447"/>
                  </a:lnTo>
                  <a:lnTo>
                    <a:pt x="682" y="447"/>
                  </a:lnTo>
                  <a:lnTo>
                    <a:pt x="678" y="451"/>
                  </a:lnTo>
                  <a:lnTo>
                    <a:pt x="674" y="447"/>
                  </a:lnTo>
                  <a:lnTo>
                    <a:pt x="670" y="451"/>
                  </a:lnTo>
                  <a:lnTo>
                    <a:pt x="666" y="451"/>
                  </a:lnTo>
                  <a:lnTo>
                    <a:pt x="662" y="451"/>
                  </a:lnTo>
                  <a:lnTo>
                    <a:pt x="666" y="451"/>
                  </a:lnTo>
                  <a:lnTo>
                    <a:pt x="666" y="455"/>
                  </a:lnTo>
                  <a:lnTo>
                    <a:pt x="662" y="455"/>
                  </a:lnTo>
                  <a:lnTo>
                    <a:pt x="662" y="451"/>
                  </a:lnTo>
                  <a:lnTo>
                    <a:pt x="662" y="455"/>
                  </a:lnTo>
                  <a:lnTo>
                    <a:pt x="658" y="455"/>
                  </a:lnTo>
                  <a:lnTo>
                    <a:pt x="654" y="451"/>
                  </a:lnTo>
                  <a:lnTo>
                    <a:pt x="650" y="451"/>
                  </a:lnTo>
                  <a:lnTo>
                    <a:pt x="646" y="455"/>
                  </a:lnTo>
                  <a:lnTo>
                    <a:pt x="650" y="455"/>
                  </a:lnTo>
                  <a:lnTo>
                    <a:pt x="650" y="459"/>
                  </a:lnTo>
                  <a:lnTo>
                    <a:pt x="646" y="459"/>
                  </a:lnTo>
                  <a:lnTo>
                    <a:pt x="646" y="455"/>
                  </a:lnTo>
                  <a:lnTo>
                    <a:pt x="642" y="455"/>
                  </a:lnTo>
                  <a:lnTo>
                    <a:pt x="638" y="455"/>
                  </a:lnTo>
                  <a:lnTo>
                    <a:pt x="642" y="455"/>
                  </a:lnTo>
                  <a:lnTo>
                    <a:pt x="646" y="459"/>
                  </a:lnTo>
                  <a:lnTo>
                    <a:pt x="642" y="459"/>
                  </a:lnTo>
                  <a:lnTo>
                    <a:pt x="638" y="459"/>
                  </a:lnTo>
                  <a:lnTo>
                    <a:pt x="634" y="459"/>
                  </a:lnTo>
                  <a:lnTo>
                    <a:pt x="630" y="459"/>
                  </a:lnTo>
                  <a:lnTo>
                    <a:pt x="630" y="455"/>
                  </a:lnTo>
                  <a:lnTo>
                    <a:pt x="626" y="459"/>
                  </a:lnTo>
                  <a:lnTo>
                    <a:pt x="630" y="459"/>
                  </a:lnTo>
                  <a:lnTo>
                    <a:pt x="626" y="459"/>
                  </a:lnTo>
                  <a:lnTo>
                    <a:pt x="626" y="455"/>
                  </a:lnTo>
                  <a:lnTo>
                    <a:pt x="622" y="455"/>
                  </a:lnTo>
                  <a:lnTo>
                    <a:pt x="618" y="455"/>
                  </a:lnTo>
                  <a:lnTo>
                    <a:pt x="618" y="451"/>
                  </a:lnTo>
                  <a:lnTo>
                    <a:pt x="614" y="451"/>
                  </a:lnTo>
                  <a:lnTo>
                    <a:pt x="614" y="447"/>
                  </a:lnTo>
                  <a:lnTo>
                    <a:pt x="614" y="443"/>
                  </a:lnTo>
                  <a:lnTo>
                    <a:pt x="614" y="447"/>
                  </a:lnTo>
                  <a:lnTo>
                    <a:pt x="610" y="447"/>
                  </a:lnTo>
                  <a:lnTo>
                    <a:pt x="614" y="447"/>
                  </a:lnTo>
                  <a:lnTo>
                    <a:pt x="614" y="451"/>
                  </a:lnTo>
                  <a:lnTo>
                    <a:pt x="618" y="451"/>
                  </a:lnTo>
                  <a:lnTo>
                    <a:pt x="618" y="455"/>
                  </a:lnTo>
                  <a:lnTo>
                    <a:pt x="614" y="455"/>
                  </a:lnTo>
                  <a:lnTo>
                    <a:pt x="618" y="455"/>
                  </a:lnTo>
                  <a:lnTo>
                    <a:pt x="622" y="459"/>
                  </a:lnTo>
                  <a:lnTo>
                    <a:pt x="618" y="459"/>
                  </a:lnTo>
                  <a:lnTo>
                    <a:pt x="618" y="463"/>
                  </a:lnTo>
                  <a:lnTo>
                    <a:pt x="614" y="463"/>
                  </a:lnTo>
                  <a:lnTo>
                    <a:pt x="610" y="463"/>
                  </a:lnTo>
                  <a:lnTo>
                    <a:pt x="614" y="463"/>
                  </a:lnTo>
                  <a:lnTo>
                    <a:pt x="614" y="467"/>
                  </a:lnTo>
                  <a:lnTo>
                    <a:pt x="610" y="467"/>
                  </a:lnTo>
                  <a:lnTo>
                    <a:pt x="606" y="467"/>
                  </a:lnTo>
                  <a:lnTo>
                    <a:pt x="606" y="471"/>
                  </a:lnTo>
                  <a:lnTo>
                    <a:pt x="602" y="471"/>
                  </a:lnTo>
                  <a:lnTo>
                    <a:pt x="602" y="467"/>
                  </a:lnTo>
                  <a:lnTo>
                    <a:pt x="602" y="471"/>
                  </a:lnTo>
                  <a:lnTo>
                    <a:pt x="606" y="471"/>
                  </a:lnTo>
                  <a:lnTo>
                    <a:pt x="602" y="471"/>
                  </a:lnTo>
                  <a:lnTo>
                    <a:pt x="602" y="475"/>
                  </a:lnTo>
                  <a:lnTo>
                    <a:pt x="602" y="479"/>
                  </a:lnTo>
                  <a:lnTo>
                    <a:pt x="598" y="479"/>
                  </a:lnTo>
                  <a:lnTo>
                    <a:pt x="598" y="483"/>
                  </a:lnTo>
                  <a:lnTo>
                    <a:pt x="594" y="483"/>
                  </a:lnTo>
                  <a:lnTo>
                    <a:pt x="594" y="487"/>
                  </a:lnTo>
                  <a:lnTo>
                    <a:pt x="590" y="487"/>
                  </a:lnTo>
                  <a:lnTo>
                    <a:pt x="590" y="491"/>
                  </a:lnTo>
                  <a:lnTo>
                    <a:pt x="590" y="495"/>
                  </a:lnTo>
                  <a:lnTo>
                    <a:pt x="586" y="499"/>
                  </a:lnTo>
                  <a:lnTo>
                    <a:pt x="586" y="495"/>
                  </a:lnTo>
                  <a:lnTo>
                    <a:pt x="586" y="499"/>
                  </a:lnTo>
                  <a:lnTo>
                    <a:pt x="582" y="499"/>
                  </a:lnTo>
                  <a:lnTo>
                    <a:pt x="582" y="495"/>
                  </a:lnTo>
                  <a:lnTo>
                    <a:pt x="586" y="495"/>
                  </a:lnTo>
                  <a:lnTo>
                    <a:pt x="582" y="495"/>
                  </a:lnTo>
                  <a:lnTo>
                    <a:pt x="582" y="499"/>
                  </a:lnTo>
                  <a:lnTo>
                    <a:pt x="582" y="503"/>
                  </a:lnTo>
                  <a:lnTo>
                    <a:pt x="578" y="503"/>
                  </a:lnTo>
                  <a:lnTo>
                    <a:pt x="578" y="507"/>
                  </a:lnTo>
                  <a:lnTo>
                    <a:pt x="574" y="507"/>
                  </a:lnTo>
                  <a:lnTo>
                    <a:pt x="574" y="503"/>
                  </a:lnTo>
                  <a:lnTo>
                    <a:pt x="570" y="503"/>
                  </a:lnTo>
                  <a:lnTo>
                    <a:pt x="570" y="507"/>
                  </a:lnTo>
                  <a:lnTo>
                    <a:pt x="574" y="507"/>
                  </a:lnTo>
                  <a:lnTo>
                    <a:pt x="570" y="507"/>
                  </a:lnTo>
                  <a:lnTo>
                    <a:pt x="566" y="507"/>
                  </a:lnTo>
                  <a:lnTo>
                    <a:pt x="562" y="503"/>
                  </a:lnTo>
                  <a:lnTo>
                    <a:pt x="566" y="507"/>
                  </a:lnTo>
                  <a:lnTo>
                    <a:pt x="566" y="511"/>
                  </a:lnTo>
                  <a:lnTo>
                    <a:pt x="562" y="511"/>
                  </a:lnTo>
                  <a:lnTo>
                    <a:pt x="562" y="515"/>
                  </a:lnTo>
                  <a:lnTo>
                    <a:pt x="558" y="515"/>
                  </a:lnTo>
                  <a:lnTo>
                    <a:pt x="554" y="515"/>
                  </a:lnTo>
                  <a:lnTo>
                    <a:pt x="554" y="511"/>
                  </a:lnTo>
                  <a:lnTo>
                    <a:pt x="550" y="511"/>
                  </a:lnTo>
                  <a:lnTo>
                    <a:pt x="554" y="511"/>
                  </a:lnTo>
                  <a:lnTo>
                    <a:pt x="550" y="515"/>
                  </a:lnTo>
                  <a:lnTo>
                    <a:pt x="546" y="515"/>
                  </a:lnTo>
                  <a:lnTo>
                    <a:pt x="546" y="519"/>
                  </a:lnTo>
                  <a:lnTo>
                    <a:pt x="542" y="519"/>
                  </a:lnTo>
                  <a:lnTo>
                    <a:pt x="542" y="515"/>
                  </a:lnTo>
                  <a:lnTo>
                    <a:pt x="542" y="511"/>
                  </a:lnTo>
                  <a:lnTo>
                    <a:pt x="542" y="515"/>
                  </a:lnTo>
                  <a:lnTo>
                    <a:pt x="542" y="519"/>
                  </a:lnTo>
                  <a:lnTo>
                    <a:pt x="538" y="519"/>
                  </a:lnTo>
                  <a:lnTo>
                    <a:pt x="538" y="515"/>
                  </a:lnTo>
                  <a:lnTo>
                    <a:pt x="534" y="515"/>
                  </a:lnTo>
                  <a:lnTo>
                    <a:pt x="534" y="511"/>
                  </a:lnTo>
                  <a:lnTo>
                    <a:pt x="538" y="507"/>
                  </a:lnTo>
                  <a:lnTo>
                    <a:pt x="542" y="507"/>
                  </a:lnTo>
                  <a:lnTo>
                    <a:pt x="542" y="503"/>
                  </a:lnTo>
                  <a:lnTo>
                    <a:pt x="538" y="503"/>
                  </a:lnTo>
                  <a:lnTo>
                    <a:pt x="538" y="507"/>
                  </a:lnTo>
                  <a:lnTo>
                    <a:pt x="534" y="507"/>
                  </a:lnTo>
                  <a:lnTo>
                    <a:pt x="534" y="503"/>
                  </a:lnTo>
                  <a:lnTo>
                    <a:pt x="530" y="503"/>
                  </a:lnTo>
                  <a:lnTo>
                    <a:pt x="526" y="503"/>
                  </a:lnTo>
                  <a:lnTo>
                    <a:pt x="530" y="503"/>
                  </a:lnTo>
                  <a:lnTo>
                    <a:pt x="530" y="507"/>
                  </a:lnTo>
                  <a:lnTo>
                    <a:pt x="534" y="507"/>
                  </a:lnTo>
                  <a:lnTo>
                    <a:pt x="530" y="507"/>
                  </a:lnTo>
                  <a:lnTo>
                    <a:pt x="530" y="511"/>
                  </a:lnTo>
                  <a:lnTo>
                    <a:pt x="530" y="515"/>
                  </a:lnTo>
                  <a:lnTo>
                    <a:pt x="526" y="515"/>
                  </a:lnTo>
                  <a:lnTo>
                    <a:pt x="522" y="515"/>
                  </a:lnTo>
                  <a:lnTo>
                    <a:pt x="522" y="511"/>
                  </a:lnTo>
                  <a:lnTo>
                    <a:pt x="522" y="515"/>
                  </a:lnTo>
                  <a:lnTo>
                    <a:pt x="526" y="519"/>
                  </a:lnTo>
                  <a:lnTo>
                    <a:pt x="526" y="523"/>
                  </a:lnTo>
                  <a:lnTo>
                    <a:pt x="522" y="523"/>
                  </a:lnTo>
                  <a:lnTo>
                    <a:pt x="518" y="523"/>
                  </a:lnTo>
                  <a:lnTo>
                    <a:pt x="522" y="523"/>
                  </a:lnTo>
                  <a:lnTo>
                    <a:pt x="518" y="523"/>
                  </a:lnTo>
                  <a:lnTo>
                    <a:pt x="514" y="523"/>
                  </a:lnTo>
                  <a:lnTo>
                    <a:pt x="510" y="523"/>
                  </a:lnTo>
                  <a:lnTo>
                    <a:pt x="510" y="519"/>
                  </a:lnTo>
                  <a:lnTo>
                    <a:pt x="510" y="523"/>
                  </a:lnTo>
                  <a:lnTo>
                    <a:pt x="510" y="527"/>
                  </a:lnTo>
                  <a:lnTo>
                    <a:pt x="506" y="527"/>
                  </a:lnTo>
                  <a:lnTo>
                    <a:pt x="506" y="523"/>
                  </a:lnTo>
                  <a:lnTo>
                    <a:pt x="502" y="523"/>
                  </a:lnTo>
                  <a:lnTo>
                    <a:pt x="502" y="527"/>
                  </a:lnTo>
                  <a:lnTo>
                    <a:pt x="498" y="527"/>
                  </a:lnTo>
                  <a:lnTo>
                    <a:pt x="498" y="523"/>
                  </a:lnTo>
                  <a:lnTo>
                    <a:pt x="494" y="527"/>
                  </a:lnTo>
                  <a:lnTo>
                    <a:pt x="498" y="527"/>
                  </a:lnTo>
                  <a:lnTo>
                    <a:pt x="502" y="527"/>
                  </a:lnTo>
                  <a:lnTo>
                    <a:pt x="502" y="531"/>
                  </a:lnTo>
                  <a:lnTo>
                    <a:pt x="502" y="527"/>
                  </a:lnTo>
                  <a:lnTo>
                    <a:pt x="498" y="531"/>
                  </a:lnTo>
                  <a:lnTo>
                    <a:pt x="502" y="531"/>
                  </a:lnTo>
                  <a:lnTo>
                    <a:pt x="502" y="535"/>
                  </a:lnTo>
                  <a:lnTo>
                    <a:pt x="498" y="535"/>
                  </a:lnTo>
                  <a:lnTo>
                    <a:pt x="498" y="539"/>
                  </a:lnTo>
                  <a:lnTo>
                    <a:pt x="494" y="539"/>
                  </a:lnTo>
                  <a:lnTo>
                    <a:pt x="490" y="539"/>
                  </a:lnTo>
                  <a:lnTo>
                    <a:pt x="490" y="535"/>
                  </a:lnTo>
                  <a:lnTo>
                    <a:pt x="490" y="539"/>
                  </a:lnTo>
                  <a:lnTo>
                    <a:pt x="482" y="539"/>
                  </a:lnTo>
                  <a:lnTo>
                    <a:pt x="482" y="543"/>
                  </a:lnTo>
                  <a:lnTo>
                    <a:pt x="486" y="543"/>
                  </a:lnTo>
                  <a:lnTo>
                    <a:pt x="486" y="547"/>
                  </a:lnTo>
                  <a:lnTo>
                    <a:pt x="490" y="547"/>
                  </a:lnTo>
                  <a:lnTo>
                    <a:pt x="490" y="551"/>
                  </a:lnTo>
                  <a:lnTo>
                    <a:pt x="490" y="555"/>
                  </a:lnTo>
                  <a:lnTo>
                    <a:pt x="494" y="555"/>
                  </a:lnTo>
                  <a:lnTo>
                    <a:pt x="490" y="555"/>
                  </a:lnTo>
                  <a:lnTo>
                    <a:pt x="486" y="555"/>
                  </a:lnTo>
                  <a:lnTo>
                    <a:pt x="482" y="559"/>
                  </a:lnTo>
                  <a:lnTo>
                    <a:pt x="478" y="555"/>
                  </a:lnTo>
                  <a:lnTo>
                    <a:pt x="474" y="555"/>
                  </a:lnTo>
                  <a:lnTo>
                    <a:pt x="474" y="559"/>
                  </a:lnTo>
                  <a:lnTo>
                    <a:pt x="478" y="559"/>
                  </a:lnTo>
                  <a:lnTo>
                    <a:pt x="482" y="563"/>
                  </a:lnTo>
                  <a:lnTo>
                    <a:pt x="486" y="563"/>
                  </a:lnTo>
                  <a:lnTo>
                    <a:pt x="486" y="559"/>
                  </a:lnTo>
                  <a:lnTo>
                    <a:pt x="490" y="563"/>
                  </a:lnTo>
                  <a:lnTo>
                    <a:pt x="486" y="567"/>
                  </a:lnTo>
                  <a:lnTo>
                    <a:pt x="490" y="567"/>
                  </a:lnTo>
                  <a:lnTo>
                    <a:pt x="490" y="571"/>
                  </a:lnTo>
                  <a:lnTo>
                    <a:pt x="490" y="575"/>
                  </a:lnTo>
                  <a:lnTo>
                    <a:pt x="486" y="575"/>
                  </a:lnTo>
                  <a:lnTo>
                    <a:pt x="486" y="571"/>
                  </a:lnTo>
                  <a:lnTo>
                    <a:pt x="482" y="571"/>
                  </a:lnTo>
                  <a:lnTo>
                    <a:pt x="478" y="571"/>
                  </a:lnTo>
                  <a:lnTo>
                    <a:pt x="474" y="571"/>
                  </a:lnTo>
                  <a:lnTo>
                    <a:pt x="478" y="571"/>
                  </a:lnTo>
                  <a:lnTo>
                    <a:pt x="482" y="571"/>
                  </a:lnTo>
                  <a:lnTo>
                    <a:pt x="482" y="575"/>
                  </a:lnTo>
                  <a:lnTo>
                    <a:pt x="486" y="575"/>
                  </a:lnTo>
                  <a:lnTo>
                    <a:pt x="486" y="579"/>
                  </a:lnTo>
                  <a:lnTo>
                    <a:pt x="486" y="575"/>
                  </a:lnTo>
                  <a:lnTo>
                    <a:pt x="482" y="575"/>
                  </a:lnTo>
                  <a:lnTo>
                    <a:pt x="482" y="579"/>
                  </a:lnTo>
                  <a:lnTo>
                    <a:pt x="478" y="579"/>
                  </a:lnTo>
                  <a:lnTo>
                    <a:pt x="478" y="575"/>
                  </a:lnTo>
                  <a:lnTo>
                    <a:pt x="478" y="579"/>
                  </a:lnTo>
                  <a:lnTo>
                    <a:pt x="482" y="579"/>
                  </a:lnTo>
                  <a:lnTo>
                    <a:pt x="478" y="579"/>
                  </a:lnTo>
                  <a:lnTo>
                    <a:pt x="474" y="579"/>
                  </a:lnTo>
                  <a:lnTo>
                    <a:pt x="478" y="579"/>
                  </a:lnTo>
                  <a:lnTo>
                    <a:pt x="482" y="583"/>
                  </a:lnTo>
                  <a:lnTo>
                    <a:pt x="478" y="583"/>
                  </a:lnTo>
                  <a:lnTo>
                    <a:pt x="478" y="579"/>
                  </a:lnTo>
                  <a:lnTo>
                    <a:pt x="474" y="579"/>
                  </a:lnTo>
                  <a:lnTo>
                    <a:pt x="471" y="579"/>
                  </a:lnTo>
                  <a:lnTo>
                    <a:pt x="474" y="583"/>
                  </a:lnTo>
                  <a:lnTo>
                    <a:pt x="478" y="583"/>
                  </a:lnTo>
                  <a:lnTo>
                    <a:pt x="478" y="587"/>
                  </a:lnTo>
                  <a:lnTo>
                    <a:pt x="474" y="587"/>
                  </a:lnTo>
                  <a:lnTo>
                    <a:pt x="471" y="587"/>
                  </a:lnTo>
                  <a:lnTo>
                    <a:pt x="471" y="583"/>
                  </a:lnTo>
                  <a:lnTo>
                    <a:pt x="471" y="587"/>
                  </a:lnTo>
                  <a:lnTo>
                    <a:pt x="474" y="587"/>
                  </a:lnTo>
                  <a:lnTo>
                    <a:pt x="474" y="591"/>
                  </a:lnTo>
                  <a:lnTo>
                    <a:pt x="471" y="591"/>
                  </a:lnTo>
                  <a:lnTo>
                    <a:pt x="471" y="587"/>
                  </a:lnTo>
                  <a:lnTo>
                    <a:pt x="467" y="587"/>
                  </a:lnTo>
                  <a:lnTo>
                    <a:pt x="471" y="591"/>
                  </a:lnTo>
                  <a:lnTo>
                    <a:pt x="474" y="591"/>
                  </a:lnTo>
                  <a:lnTo>
                    <a:pt x="474" y="595"/>
                  </a:lnTo>
                  <a:lnTo>
                    <a:pt x="471" y="595"/>
                  </a:lnTo>
                  <a:lnTo>
                    <a:pt x="467" y="595"/>
                  </a:lnTo>
                  <a:lnTo>
                    <a:pt x="463" y="595"/>
                  </a:lnTo>
                  <a:lnTo>
                    <a:pt x="463" y="591"/>
                  </a:lnTo>
                  <a:lnTo>
                    <a:pt x="467" y="591"/>
                  </a:lnTo>
                  <a:lnTo>
                    <a:pt x="463" y="591"/>
                  </a:lnTo>
                  <a:lnTo>
                    <a:pt x="463" y="595"/>
                  </a:lnTo>
                  <a:lnTo>
                    <a:pt x="463" y="599"/>
                  </a:lnTo>
                  <a:lnTo>
                    <a:pt x="459" y="595"/>
                  </a:lnTo>
                  <a:lnTo>
                    <a:pt x="459" y="599"/>
                  </a:lnTo>
                  <a:lnTo>
                    <a:pt x="455" y="599"/>
                  </a:lnTo>
                  <a:lnTo>
                    <a:pt x="451" y="595"/>
                  </a:lnTo>
                  <a:lnTo>
                    <a:pt x="451" y="599"/>
                  </a:lnTo>
                  <a:lnTo>
                    <a:pt x="455" y="599"/>
                  </a:lnTo>
                  <a:lnTo>
                    <a:pt x="459" y="599"/>
                  </a:lnTo>
                  <a:lnTo>
                    <a:pt x="463" y="603"/>
                  </a:lnTo>
                  <a:lnTo>
                    <a:pt x="467" y="603"/>
                  </a:lnTo>
                  <a:lnTo>
                    <a:pt x="467" y="607"/>
                  </a:lnTo>
                  <a:lnTo>
                    <a:pt x="463" y="607"/>
                  </a:lnTo>
                  <a:lnTo>
                    <a:pt x="463" y="603"/>
                  </a:lnTo>
                  <a:lnTo>
                    <a:pt x="459" y="603"/>
                  </a:lnTo>
                  <a:lnTo>
                    <a:pt x="455" y="603"/>
                  </a:lnTo>
                  <a:lnTo>
                    <a:pt x="459" y="603"/>
                  </a:lnTo>
                  <a:lnTo>
                    <a:pt x="459" y="607"/>
                  </a:lnTo>
                  <a:lnTo>
                    <a:pt x="463" y="607"/>
                  </a:lnTo>
                  <a:lnTo>
                    <a:pt x="467" y="611"/>
                  </a:lnTo>
                  <a:lnTo>
                    <a:pt x="463" y="611"/>
                  </a:lnTo>
                  <a:lnTo>
                    <a:pt x="463" y="615"/>
                  </a:lnTo>
                  <a:lnTo>
                    <a:pt x="467" y="615"/>
                  </a:lnTo>
                  <a:lnTo>
                    <a:pt x="467" y="619"/>
                  </a:lnTo>
                  <a:lnTo>
                    <a:pt x="463" y="619"/>
                  </a:lnTo>
                  <a:lnTo>
                    <a:pt x="467" y="619"/>
                  </a:lnTo>
                  <a:lnTo>
                    <a:pt x="463" y="622"/>
                  </a:lnTo>
                  <a:lnTo>
                    <a:pt x="459" y="622"/>
                  </a:lnTo>
                  <a:lnTo>
                    <a:pt x="459" y="619"/>
                  </a:lnTo>
                  <a:lnTo>
                    <a:pt x="455" y="619"/>
                  </a:lnTo>
                  <a:lnTo>
                    <a:pt x="455" y="622"/>
                  </a:lnTo>
                  <a:lnTo>
                    <a:pt x="459" y="619"/>
                  </a:lnTo>
                  <a:lnTo>
                    <a:pt x="459" y="622"/>
                  </a:lnTo>
                  <a:lnTo>
                    <a:pt x="463" y="622"/>
                  </a:lnTo>
                  <a:lnTo>
                    <a:pt x="463" y="626"/>
                  </a:lnTo>
                  <a:lnTo>
                    <a:pt x="459" y="626"/>
                  </a:lnTo>
                  <a:lnTo>
                    <a:pt x="455" y="626"/>
                  </a:lnTo>
                  <a:lnTo>
                    <a:pt x="459" y="626"/>
                  </a:lnTo>
                  <a:lnTo>
                    <a:pt x="463" y="626"/>
                  </a:lnTo>
                  <a:lnTo>
                    <a:pt x="463" y="630"/>
                  </a:lnTo>
                  <a:lnTo>
                    <a:pt x="459" y="630"/>
                  </a:lnTo>
                  <a:lnTo>
                    <a:pt x="459" y="634"/>
                  </a:lnTo>
                  <a:lnTo>
                    <a:pt x="459" y="630"/>
                  </a:lnTo>
                  <a:lnTo>
                    <a:pt x="455" y="630"/>
                  </a:lnTo>
                  <a:lnTo>
                    <a:pt x="451" y="630"/>
                  </a:lnTo>
                  <a:lnTo>
                    <a:pt x="455" y="630"/>
                  </a:lnTo>
                  <a:lnTo>
                    <a:pt x="459" y="634"/>
                  </a:lnTo>
                  <a:lnTo>
                    <a:pt x="455" y="634"/>
                  </a:lnTo>
                  <a:lnTo>
                    <a:pt x="459" y="634"/>
                  </a:lnTo>
                  <a:lnTo>
                    <a:pt x="455" y="634"/>
                  </a:lnTo>
                  <a:lnTo>
                    <a:pt x="451" y="634"/>
                  </a:lnTo>
                  <a:lnTo>
                    <a:pt x="455" y="634"/>
                  </a:lnTo>
                  <a:lnTo>
                    <a:pt x="459" y="634"/>
                  </a:lnTo>
                  <a:lnTo>
                    <a:pt x="459" y="638"/>
                  </a:lnTo>
                  <a:lnTo>
                    <a:pt x="455" y="638"/>
                  </a:lnTo>
                  <a:lnTo>
                    <a:pt x="451" y="638"/>
                  </a:lnTo>
                  <a:lnTo>
                    <a:pt x="447" y="634"/>
                  </a:lnTo>
                  <a:lnTo>
                    <a:pt x="447" y="638"/>
                  </a:lnTo>
                  <a:lnTo>
                    <a:pt x="451" y="638"/>
                  </a:lnTo>
                  <a:lnTo>
                    <a:pt x="455" y="638"/>
                  </a:lnTo>
                  <a:lnTo>
                    <a:pt x="459" y="638"/>
                  </a:lnTo>
                  <a:lnTo>
                    <a:pt x="459" y="642"/>
                  </a:lnTo>
                  <a:lnTo>
                    <a:pt x="455" y="642"/>
                  </a:lnTo>
                  <a:lnTo>
                    <a:pt x="451" y="642"/>
                  </a:lnTo>
                  <a:lnTo>
                    <a:pt x="447" y="642"/>
                  </a:lnTo>
                  <a:lnTo>
                    <a:pt x="451" y="642"/>
                  </a:lnTo>
                  <a:lnTo>
                    <a:pt x="455" y="642"/>
                  </a:lnTo>
                  <a:lnTo>
                    <a:pt x="459" y="642"/>
                  </a:lnTo>
                  <a:lnTo>
                    <a:pt x="459" y="646"/>
                  </a:lnTo>
                  <a:lnTo>
                    <a:pt x="455" y="646"/>
                  </a:lnTo>
                  <a:lnTo>
                    <a:pt x="455" y="642"/>
                  </a:lnTo>
                  <a:lnTo>
                    <a:pt x="451" y="642"/>
                  </a:lnTo>
                  <a:lnTo>
                    <a:pt x="447" y="642"/>
                  </a:lnTo>
                  <a:lnTo>
                    <a:pt x="451" y="646"/>
                  </a:lnTo>
                  <a:lnTo>
                    <a:pt x="455" y="646"/>
                  </a:lnTo>
                  <a:lnTo>
                    <a:pt x="459" y="646"/>
                  </a:lnTo>
                  <a:lnTo>
                    <a:pt x="455" y="646"/>
                  </a:lnTo>
                  <a:lnTo>
                    <a:pt x="451" y="646"/>
                  </a:lnTo>
                  <a:lnTo>
                    <a:pt x="455" y="646"/>
                  </a:lnTo>
                  <a:lnTo>
                    <a:pt x="455" y="650"/>
                  </a:lnTo>
                  <a:lnTo>
                    <a:pt x="455" y="646"/>
                  </a:lnTo>
                  <a:lnTo>
                    <a:pt x="459" y="646"/>
                  </a:lnTo>
                  <a:lnTo>
                    <a:pt x="455" y="650"/>
                  </a:lnTo>
                  <a:lnTo>
                    <a:pt x="451" y="650"/>
                  </a:lnTo>
                  <a:lnTo>
                    <a:pt x="451" y="654"/>
                  </a:lnTo>
                  <a:lnTo>
                    <a:pt x="447" y="650"/>
                  </a:lnTo>
                  <a:lnTo>
                    <a:pt x="443" y="650"/>
                  </a:lnTo>
                  <a:lnTo>
                    <a:pt x="443" y="646"/>
                  </a:lnTo>
                  <a:lnTo>
                    <a:pt x="443" y="650"/>
                  </a:lnTo>
                  <a:lnTo>
                    <a:pt x="439" y="650"/>
                  </a:lnTo>
                  <a:lnTo>
                    <a:pt x="435" y="650"/>
                  </a:lnTo>
                  <a:lnTo>
                    <a:pt x="439" y="650"/>
                  </a:lnTo>
                  <a:lnTo>
                    <a:pt x="447" y="650"/>
                  </a:lnTo>
                  <a:lnTo>
                    <a:pt x="451" y="654"/>
                  </a:lnTo>
                  <a:lnTo>
                    <a:pt x="447" y="654"/>
                  </a:lnTo>
                  <a:lnTo>
                    <a:pt x="447" y="658"/>
                  </a:lnTo>
                  <a:lnTo>
                    <a:pt x="447" y="654"/>
                  </a:lnTo>
                  <a:lnTo>
                    <a:pt x="451" y="654"/>
                  </a:lnTo>
                  <a:lnTo>
                    <a:pt x="451" y="658"/>
                  </a:lnTo>
                  <a:lnTo>
                    <a:pt x="451" y="662"/>
                  </a:lnTo>
                  <a:lnTo>
                    <a:pt x="447" y="662"/>
                  </a:lnTo>
                  <a:lnTo>
                    <a:pt x="443" y="662"/>
                  </a:lnTo>
                  <a:lnTo>
                    <a:pt x="443" y="658"/>
                  </a:lnTo>
                  <a:lnTo>
                    <a:pt x="439" y="658"/>
                  </a:lnTo>
                  <a:lnTo>
                    <a:pt x="439" y="654"/>
                  </a:lnTo>
                  <a:lnTo>
                    <a:pt x="439" y="658"/>
                  </a:lnTo>
                  <a:lnTo>
                    <a:pt x="435" y="658"/>
                  </a:lnTo>
                  <a:lnTo>
                    <a:pt x="435" y="662"/>
                  </a:lnTo>
                  <a:lnTo>
                    <a:pt x="431" y="658"/>
                  </a:lnTo>
                  <a:lnTo>
                    <a:pt x="431" y="662"/>
                  </a:lnTo>
                  <a:lnTo>
                    <a:pt x="431" y="666"/>
                  </a:lnTo>
                  <a:lnTo>
                    <a:pt x="427" y="662"/>
                  </a:lnTo>
                  <a:lnTo>
                    <a:pt x="423" y="662"/>
                  </a:lnTo>
                  <a:lnTo>
                    <a:pt x="423" y="658"/>
                  </a:lnTo>
                  <a:lnTo>
                    <a:pt x="427" y="658"/>
                  </a:lnTo>
                  <a:lnTo>
                    <a:pt x="427" y="654"/>
                  </a:lnTo>
                  <a:lnTo>
                    <a:pt x="431" y="654"/>
                  </a:lnTo>
                  <a:lnTo>
                    <a:pt x="431" y="650"/>
                  </a:lnTo>
                  <a:lnTo>
                    <a:pt x="427" y="658"/>
                  </a:lnTo>
                  <a:lnTo>
                    <a:pt x="423" y="658"/>
                  </a:lnTo>
                  <a:lnTo>
                    <a:pt x="423" y="662"/>
                  </a:lnTo>
                  <a:lnTo>
                    <a:pt x="419" y="662"/>
                  </a:lnTo>
                  <a:lnTo>
                    <a:pt x="423" y="658"/>
                  </a:lnTo>
                  <a:lnTo>
                    <a:pt x="419" y="658"/>
                  </a:lnTo>
                  <a:lnTo>
                    <a:pt x="423" y="658"/>
                  </a:lnTo>
                  <a:lnTo>
                    <a:pt x="423" y="654"/>
                  </a:lnTo>
                  <a:lnTo>
                    <a:pt x="427" y="654"/>
                  </a:lnTo>
                  <a:lnTo>
                    <a:pt x="427" y="646"/>
                  </a:lnTo>
                  <a:lnTo>
                    <a:pt x="431" y="646"/>
                  </a:lnTo>
                  <a:lnTo>
                    <a:pt x="427" y="646"/>
                  </a:lnTo>
                  <a:lnTo>
                    <a:pt x="427" y="650"/>
                  </a:lnTo>
                  <a:lnTo>
                    <a:pt x="423" y="650"/>
                  </a:lnTo>
                  <a:lnTo>
                    <a:pt x="423" y="654"/>
                  </a:lnTo>
                  <a:lnTo>
                    <a:pt x="419" y="654"/>
                  </a:lnTo>
                  <a:lnTo>
                    <a:pt x="419" y="650"/>
                  </a:lnTo>
                  <a:lnTo>
                    <a:pt x="423" y="650"/>
                  </a:lnTo>
                  <a:lnTo>
                    <a:pt x="423" y="646"/>
                  </a:lnTo>
                  <a:lnTo>
                    <a:pt x="423" y="650"/>
                  </a:lnTo>
                  <a:lnTo>
                    <a:pt x="419" y="650"/>
                  </a:lnTo>
                  <a:lnTo>
                    <a:pt x="415" y="650"/>
                  </a:lnTo>
                  <a:lnTo>
                    <a:pt x="419" y="650"/>
                  </a:lnTo>
                  <a:lnTo>
                    <a:pt x="419" y="646"/>
                  </a:lnTo>
                  <a:lnTo>
                    <a:pt x="419" y="650"/>
                  </a:lnTo>
                  <a:lnTo>
                    <a:pt x="415" y="650"/>
                  </a:lnTo>
                  <a:lnTo>
                    <a:pt x="415" y="654"/>
                  </a:lnTo>
                  <a:lnTo>
                    <a:pt x="411" y="650"/>
                  </a:lnTo>
                  <a:lnTo>
                    <a:pt x="415" y="650"/>
                  </a:lnTo>
                  <a:lnTo>
                    <a:pt x="411" y="650"/>
                  </a:lnTo>
                  <a:lnTo>
                    <a:pt x="415" y="646"/>
                  </a:lnTo>
                  <a:lnTo>
                    <a:pt x="411" y="646"/>
                  </a:lnTo>
                  <a:lnTo>
                    <a:pt x="415" y="646"/>
                  </a:lnTo>
                  <a:lnTo>
                    <a:pt x="419" y="642"/>
                  </a:lnTo>
                  <a:lnTo>
                    <a:pt x="419" y="638"/>
                  </a:lnTo>
                  <a:lnTo>
                    <a:pt x="419" y="642"/>
                  </a:lnTo>
                  <a:lnTo>
                    <a:pt x="415" y="642"/>
                  </a:lnTo>
                  <a:lnTo>
                    <a:pt x="415" y="646"/>
                  </a:lnTo>
                  <a:lnTo>
                    <a:pt x="411" y="646"/>
                  </a:lnTo>
                  <a:lnTo>
                    <a:pt x="411" y="642"/>
                  </a:lnTo>
                  <a:lnTo>
                    <a:pt x="411" y="646"/>
                  </a:lnTo>
                  <a:lnTo>
                    <a:pt x="407" y="646"/>
                  </a:lnTo>
                  <a:lnTo>
                    <a:pt x="407" y="642"/>
                  </a:lnTo>
                  <a:lnTo>
                    <a:pt x="411" y="642"/>
                  </a:lnTo>
                  <a:lnTo>
                    <a:pt x="407" y="642"/>
                  </a:lnTo>
                  <a:lnTo>
                    <a:pt x="407" y="646"/>
                  </a:lnTo>
                  <a:lnTo>
                    <a:pt x="407" y="642"/>
                  </a:lnTo>
                  <a:lnTo>
                    <a:pt x="411" y="642"/>
                  </a:lnTo>
                  <a:lnTo>
                    <a:pt x="415" y="642"/>
                  </a:lnTo>
                  <a:lnTo>
                    <a:pt x="415" y="638"/>
                  </a:lnTo>
                  <a:lnTo>
                    <a:pt x="419" y="638"/>
                  </a:lnTo>
                  <a:lnTo>
                    <a:pt x="419" y="634"/>
                  </a:lnTo>
                  <a:lnTo>
                    <a:pt x="419" y="638"/>
                  </a:lnTo>
                  <a:lnTo>
                    <a:pt x="419" y="634"/>
                  </a:lnTo>
                  <a:lnTo>
                    <a:pt x="415" y="634"/>
                  </a:lnTo>
                  <a:lnTo>
                    <a:pt x="415" y="638"/>
                  </a:lnTo>
                  <a:lnTo>
                    <a:pt x="411" y="642"/>
                  </a:lnTo>
                  <a:lnTo>
                    <a:pt x="411" y="638"/>
                  </a:lnTo>
                  <a:lnTo>
                    <a:pt x="411" y="642"/>
                  </a:lnTo>
                  <a:lnTo>
                    <a:pt x="407" y="642"/>
                  </a:lnTo>
                  <a:lnTo>
                    <a:pt x="407" y="638"/>
                  </a:lnTo>
                  <a:lnTo>
                    <a:pt x="411" y="638"/>
                  </a:lnTo>
                  <a:lnTo>
                    <a:pt x="415" y="634"/>
                  </a:lnTo>
                  <a:lnTo>
                    <a:pt x="411" y="634"/>
                  </a:lnTo>
                  <a:lnTo>
                    <a:pt x="411" y="630"/>
                  </a:lnTo>
                  <a:lnTo>
                    <a:pt x="415" y="630"/>
                  </a:lnTo>
                  <a:lnTo>
                    <a:pt x="411" y="630"/>
                  </a:lnTo>
                  <a:lnTo>
                    <a:pt x="407" y="634"/>
                  </a:lnTo>
                  <a:lnTo>
                    <a:pt x="411" y="634"/>
                  </a:lnTo>
                  <a:lnTo>
                    <a:pt x="411" y="638"/>
                  </a:lnTo>
                  <a:lnTo>
                    <a:pt x="407" y="638"/>
                  </a:lnTo>
                  <a:lnTo>
                    <a:pt x="403" y="638"/>
                  </a:lnTo>
                  <a:lnTo>
                    <a:pt x="399" y="638"/>
                  </a:lnTo>
                  <a:lnTo>
                    <a:pt x="399" y="642"/>
                  </a:lnTo>
                  <a:lnTo>
                    <a:pt x="395" y="642"/>
                  </a:lnTo>
                  <a:lnTo>
                    <a:pt x="399" y="642"/>
                  </a:lnTo>
                  <a:lnTo>
                    <a:pt x="395" y="646"/>
                  </a:lnTo>
                  <a:lnTo>
                    <a:pt x="395" y="642"/>
                  </a:lnTo>
                  <a:lnTo>
                    <a:pt x="395" y="638"/>
                  </a:lnTo>
                  <a:lnTo>
                    <a:pt x="391" y="642"/>
                  </a:lnTo>
                  <a:lnTo>
                    <a:pt x="387" y="642"/>
                  </a:lnTo>
                  <a:lnTo>
                    <a:pt x="383" y="642"/>
                  </a:lnTo>
                  <a:lnTo>
                    <a:pt x="387" y="642"/>
                  </a:lnTo>
                  <a:lnTo>
                    <a:pt x="383" y="642"/>
                  </a:lnTo>
                  <a:lnTo>
                    <a:pt x="379" y="642"/>
                  </a:lnTo>
                  <a:lnTo>
                    <a:pt x="375" y="642"/>
                  </a:lnTo>
                  <a:lnTo>
                    <a:pt x="379" y="642"/>
                  </a:lnTo>
                  <a:lnTo>
                    <a:pt x="383" y="638"/>
                  </a:lnTo>
                  <a:lnTo>
                    <a:pt x="379" y="638"/>
                  </a:lnTo>
                  <a:lnTo>
                    <a:pt x="375" y="642"/>
                  </a:lnTo>
                  <a:lnTo>
                    <a:pt x="375" y="638"/>
                  </a:lnTo>
                  <a:lnTo>
                    <a:pt x="371" y="638"/>
                  </a:lnTo>
                  <a:lnTo>
                    <a:pt x="375" y="638"/>
                  </a:lnTo>
                  <a:lnTo>
                    <a:pt x="379" y="638"/>
                  </a:lnTo>
                  <a:lnTo>
                    <a:pt x="375" y="638"/>
                  </a:lnTo>
                  <a:lnTo>
                    <a:pt x="375" y="634"/>
                  </a:lnTo>
                  <a:lnTo>
                    <a:pt x="379" y="630"/>
                  </a:lnTo>
                  <a:lnTo>
                    <a:pt x="375" y="630"/>
                  </a:lnTo>
                  <a:lnTo>
                    <a:pt x="375" y="634"/>
                  </a:lnTo>
                  <a:lnTo>
                    <a:pt x="375" y="638"/>
                  </a:lnTo>
                  <a:lnTo>
                    <a:pt x="371" y="634"/>
                  </a:lnTo>
                  <a:lnTo>
                    <a:pt x="375" y="634"/>
                  </a:lnTo>
                  <a:lnTo>
                    <a:pt x="371" y="634"/>
                  </a:lnTo>
                  <a:lnTo>
                    <a:pt x="367" y="634"/>
                  </a:lnTo>
                  <a:lnTo>
                    <a:pt x="371" y="634"/>
                  </a:lnTo>
                  <a:lnTo>
                    <a:pt x="371" y="630"/>
                  </a:lnTo>
                  <a:lnTo>
                    <a:pt x="367" y="630"/>
                  </a:lnTo>
                  <a:lnTo>
                    <a:pt x="363" y="630"/>
                  </a:lnTo>
                  <a:lnTo>
                    <a:pt x="367" y="626"/>
                  </a:lnTo>
                  <a:lnTo>
                    <a:pt x="371" y="626"/>
                  </a:lnTo>
                  <a:lnTo>
                    <a:pt x="375" y="626"/>
                  </a:lnTo>
                  <a:lnTo>
                    <a:pt x="371" y="626"/>
                  </a:lnTo>
                  <a:lnTo>
                    <a:pt x="367" y="626"/>
                  </a:lnTo>
                  <a:lnTo>
                    <a:pt x="363" y="626"/>
                  </a:lnTo>
                  <a:lnTo>
                    <a:pt x="359" y="626"/>
                  </a:lnTo>
                  <a:lnTo>
                    <a:pt x="363" y="626"/>
                  </a:lnTo>
                  <a:lnTo>
                    <a:pt x="367" y="626"/>
                  </a:lnTo>
                  <a:lnTo>
                    <a:pt x="371" y="622"/>
                  </a:lnTo>
                  <a:lnTo>
                    <a:pt x="367" y="622"/>
                  </a:lnTo>
                  <a:lnTo>
                    <a:pt x="363" y="626"/>
                  </a:lnTo>
                  <a:lnTo>
                    <a:pt x="363" y="622"/>
                  </a:lnTo>
                  <a:lnTo>
                    <a:pt x="359" y="622"/>
                  </a:lnTo>
                  <a:lnTo>
                    <a:pt x="363" y="619"/>
                  </a:lnTo>
                  <a:lnTo>
                    <a:pt x="363" y="615"/>
                  </a:lnTo>
                  <a:lnTo>
                    <a:pt x="367" y="615"/>
                  </a:lnTo>
                  <a:lnTo>
                    <a:pt x="363" y="615"/>
                  </a:lnTo>
                  <a:lnTo>
                    <a:pt x="359" y="619"/>
                  </a:lnTo>
                  <a:lnTo>
                    <a:pt x="359" y="622"/>
                  </a:lnTo>
                  <a:lnTo>
                    <a:pt x="359" y="619"/>
                  </a:lnTo>
                  <a:lnTo>
                    <a:pt x="355" y="619"/>
                  </a:lnTo>
                  <a:lnTo>
                    <a:pt x="359" y="615"/>
                  </a:lnTo>
                  <a:lnTo>
                    <a:pt x="363" y="615"/>
                  </a:lnTo>
                  <a:lnTo>
                    <a:pt x="367" y="615"/>
                  </a:lnTo>
                  <a:lnTo>
                    <a:pt x="363" y="615"/>
                  </a:lnTo>
                  <a:lnTo>
                    <a:pt x="363" y="611"/>
                  </a:lnTo>
                  <a:lnTo>
                    <a:pt x="359" y="611"/>
                  </a:lnTo>
                  <a:lnTo>
                    <a:pt x="359" y="615"/>
                  </a:lnTo>
                  <a:lnTo>
                    <a:pt x="355" y="615"/>
                  </a:lnTo>
                  <a:lnTo>
                    <a:pt x="351" y="615"/>
                  </a:lnTo>
                  <a:lnTo>
                    <a:pt x="351" y="611"/>
                  </a:lnTo>
                  <a:lnTo>
                    <a:pt x="355" y="611"/>
                  </a:lnTo>
                  <a:lnTo>
                    <a:pt x="355" y="615"/>
                  </a:lnTo>
                  <a:lnTo>
                    <a:pt x="359" y="611"/>
                  </a:lnTo>
                  <a:lnTo>
                    <a:pt x="355" y="611"/>
                  </a:lnTo>
                  <a:lnTo>
                    <a:pt x="359" y="611"/>
                  </a:lnTo>
                  <a:lnTo>
                    <a:pt x="359" y="607"/>
                  </a:lnTo>
                  <a:lnTo>
                    <a:pt x="355" y="611"/>
                  </a:lnTo>
                  <a:lnTo>
                    <a:pt x="351" y="607"/>
                  </a:lnTo>
                  <a:lnTo>
                    <a:pt x="351" y="611"/>
                  </a:lnTo>
                  <a:lnTo>
                    <a:pt x="351" y="607"/>
                  </a:lnTo>
                  <a:lnTo>
                    <a:pt x="347" y="607"/>
                  </a:lnTo>
                  <a:lnTo>
                    <a:pt x="343" y="603"/>
                  </a:lnTo>
                  <a:lnTo>
                    <a:pt x="343" y="599"/>
                  </a:lnTo>
                  <a:lnTo>
                    <a:pt x="347" y="595"/>
                  </a:lnTo>
                  <a:lnTo>
                    <a:pt x="343" y="599"/>
                  </a:lnTo>
                  <a:lnTo>
                    <a:pt x="343" y="595"/>
                  </a:lnTo>
                  <a:lnTo>
                    <a:pt x="347" y="591"/>
                  </a:lnTo>
                  <a:lnTo>
                    <a:pt x="351" y="591"/>
                  </a:lnTo>
                  <a:lnTo>
                    <a:pt x="351" y="587"/>
                  </a:lnTo>
                  <a:lnTo>
                    <a:pt x="351" y="591"/>
                  </a:lnTo>
                  <a:lnTo>
                    <a:pt x="347" y="591"/>
                  </a:lnTo>
                  <a:lnTo>
                    <a:pt x="343" y="595"/>
                  </a:lnTo>
                  <a:lnTo>
                    <a:pt x="343" y="591"/>
                  </a:lnTo>
                  <a:lnTo>
                    <a:pt x="347" y="591"/>
                  </a:lnTo>
                  <a:lnTo>
                    <a:pt x="343" y="591"/>
                  </a:lnTo>
                  <a:lnTo>
                    <a:pt x="339" y="591"/>
                  </a:lnTo>
                  <a:lnTo>
                    <a:pt x="339" y="587"/>
                  </a:lnTo>
                  <a:lnTo>
                    <a:pt x="343" y="587"/>
                  </a:lnTo>
                  <a:lnTo>
                    <a:pt x="347" y="583"/>
                  </a:lnTo>
                  <a:lnTo>
                    <a:pt x="343" y="583"/>
                  </a:lnTo>
                  <a:lnTo>
                    <a:pt x="343" y="587"/>
                  </a:lnTo>
                  <a:lnTo>
                    <a:pt x="339" y="587"/>
                  </a:lnTo>
                  <a:lnTo>
                    <a:pt x="339" y="583"/>
                  </a:lnTo>
                  <a:lnTo>
                    <a:pt x="335" y="587"/>
                  </a:lnTo>
                  <a:lnTo>
                    <a:pt x="335" y="583"/>
                  </a:lnTo>
                  <a:lnTo>
                    <a:pt x="335" y="587"/>
                  </a:lnTo>
                  <a:lnTo>
                    <a:pt x="331" y="587"/>
                  </a:lnTo>
                  <a:lnTo>
                    <a:pt x="331" y="583"/>
                  </a:lnTo>
                  <a:lnTo>
                    <a:pt x="335" y="583"/>
                  </a:lnTo>
                  <a:lnTo>
                    <a:pt x="339" y="583"/>
                  </a:lnTo>
                  <a:lnTo>
                    <a:pt x="343" y="579"/>
                  </a:lnTo>
                  <a:lnTo>
                    <a:pt x="339" y="579"/>
                  </a:lnTo>
                  <a:lnTo>
                    <a:pt x="335" y="579"/>
                  </a:lnTo>
                  <a:lnTo>
                    <a:pt x="331" y="579"/>
                  </a:lnTo>
                  <a:lnTo>
                    <a:pt x="335" y="579"/>
                  </a:lnTo>
                  <a:lnTo>
                    <a:pt x="335" y="575"/>
                  </a:lnTo>
                  <a:lnTo>
                    <a:pt x="331" y="575"/>
                  </a:lnTo>
                  <a:lnTo>
                    <a:pt x="331" y="579"/>
                  </a:lnTo>
                  <a:lnTo>
                    <a:pt x="331" y="575"/>
                  </a:lnTo>
                  <a:lnTo>
                    <a:pt x="335" y="575"/>
                  </a:lnTo>
                  <a:lnTo>
                    <a:pt x="339" y="575"/>
                  </a:lnTo>
                  <a:lnTo>
                    <a:pt x="335" y="575"/>
                  </a:lnTo>
                  <a:lnTo>
                    <a:pt x="331" y="575"/>
                  </a:lnTo>
                  <a:lnTo>
                    <a:pt x="331" y="579"/>
                  </a:lnTo>
                  <a:lnTo>
                    <a:pt x="327" y="575"/>
                  </a:lnTo>
                  <a:lnTo>
                    <a:pt x="323" y="575"/>
                  </a:lnTo>
                  <a:lnTo>
                    <a:pt x="323" y="571"/>
                  </a:lnTo>
                  <a:lnTo>
                    <a:pt x="327" y="571"/>
                  </a:lnTo>
                  <a:lnTo>
                    <a:pt x="331" y="571"/>
                  </a:lnTo>
                  <a:lnTo>
                    <a:pt x="331" y="567"/>
                  </a:lnTo>
                  <a:lnTo>
                    <a:pt x="335" y="567"/>
                  </a:lnTo>
                  <a:lnTo>
                    <a:pt x="331" y="567"/>
                  </a:lnTo>
                  <a:lnTo>
                    <a:pt x="327" y="567"/>
                  </a:lnTo>
                  <a:lnTo>
                    <a:pt x="327" y="571"/>
                  </a:lnTo>
                  <a:lnTo>
                    <a:pt x="327" y="567"/>
                  </a:lnTo>
                  <a:lnTo>
                    <a:pt x="323" y="567"/>
                  </a:lnTo>
                  <a:lnTo>
                    <a:pt x="323" y="563"/>
                  </a:lnTo>
                  <a:lnTo>
                    <a:pt x="327" y="563"/>
                  </a:lnTo>
                  <a:lnTo>
                    <a:pt x="335" y="563"/>
                  </a:lnTo>
                  <a:lnTo>
                    <a:pt x="339" y="563"/>
                  </a:lnTo>
                  <a:lnTo>
                    <a:pt x="339" y="559"/>
                  </a:lnTo>
                  <a:lnTo>
                    <a:pt x="339" y="563"/>
                  </a:lnTo>
                  <a:lnTo>
                    <a:pt x="343" y="559"/>
                  </a:lnTo>
                  <a:lnTo>
                    <a:pt x="347" y="559"/>
                  </a:lnTo>
                  <a:lnTo>
                    <a:pt x="343" y="559"/>
                  </a:lnTo>
                  <a:lnTo>
                    <a:pt x="339" y="559"/>
                  </a:lnTo>
                  <a:lnTo>
                    <a:pt x="335" y="559"/>
                  </a:lnTo>
                  <a:lnTo>
                    <a:pt x="335" y="563"/>
                  </a:lnTo>
                  <a:lnTo>
                    <a:pt x="331" y="563"/>
                  </a:lnTo>
                  <a:lnTo>
                    <a:pt x="327" y="563"/>
                  </a:lnTo>
                  <a:lnTo>
                    <a:pt x="323" y="563"/>
                  </a:lnTo>
                  <a:lnTo>
                    <a:pt x="323" y="559"/>
                  </a:lnTo>
                  <a:lnTo>
                    <a:pt x="327" y="559"/>
                  </a:lnTo>
                  <a:lnTo>
                    <a:pt x="327" y="563"/>
                  </a:lnTo>
                  <a:lnTo>
                    <a:pt x="327" y="559"/>
                  </a:lnTo>
                  <a:lnTo>
                    <a:pt x="323" y="559"/>
                  </a:lnTo>
                  <a:lnTo>
                    <a:pt x="323" y="563"/>
                  </a:lnTo>
                  <a:lnTo>
                    <a:pt x="323" y="559"/>
                  </a:lnTo>
                  <a:lnTo>
                    <a:pt x="327" y="559"/>
                  </a:lnTo>
                  <a:lnTo>
                    <a:pt x="331" y="559"/>
                  </a:lnTo>
                  <a:lnTo>
                    <a:pt x="335" y="559"/>
                  </a:lnTo>
                  <a:lnTo>
                    <a:pt x="331" y="559"/>
                  </a:lnTo>
                  <a:lnTo>
                    <a:pt x="335" y="555"/>
                  </a:lnTo>
                  <a:lnTo>
                    <a:pt x="339" y="555"/>
                  </a:lnTo>
                  <a:lnTo>
                    <a:pt x="343" y="555"/>
                  </a:lnTo>
                  <a:lnTo>
                    <a:pt x="347" y="555"/>
                  </a:lnTo>
                  <a:lnTo>
                    <a:pt x="347" y="551"/>
                  </a:lnTo>
                  <a:lnTo>
                    <a:pt x="343" y="551"/>
                  </a:lnTo>
                  <a:lnTo>
                    <a:pt x="343" y="555"/>
                  </a:lnTo>
                  <a:lnTo>
                    <a:pt x="339" y="555"/>
                  </a:lnTo>
                  <a:lnTo>
                    <a:pt x="339" y="551"/>
                  </a:lnTo>
                  <a:lnTo>
                    <a:pt x="343" y="551"/>
                  </a:lnTo>
                  <a:lnTo>
                    <a:pt x="339" y="551"/>
                  </a:lnTo>
                  <a:lnTo>
                    <a:pt x="335" y="551"/>
                  </a:lnTo>
                  <a:lnTo>
                    <a:pt x="335" y="547"/>
                  </a:lnTo>
                  <a:lnTo>
                    <a:pt x="339" y="547"/>
                  </a:lnTo>
                  <a:lnTo>
                    <a:pt x="343" y="547"/>
                  </a:lnTo>
                  <a:lnTo>
                    <a:pt x="339" y="547"/>
                  </a:lnTo>
                  <a:lnTo>
                    <a:pt x="343" y="547"/>
                  </a:lnTo>
                  <a:lnTo>
                    <a:pt x="343" y="551"/>
                  </a:lnTo>
                  <a:lnTo>
                    <a:pt x="347" y="551"/>
                  </a:lnTo>
                  <a:lnTo>
                    <a:pt x="347" y="555"/>
                  </a:lnTo>
                  <a:lnTo>
                    <a:pt x="351" y="555"/>
                  </a:lnTo>
                  <a:lnTo>
                    <a:pt x="355" y="555"/>
                  </a:lnTo>
                  <a:lnTo>
                    <a:pt x="351" y="555"/>
                  </a:lnTo>
                  <a:lnTo>
                    <a:pt x="347" y="551"/>
                  </a:lnTo>
                  <a:lnTo>
                    <a:pt x="347" y="547"/>
                  </a:lnTo>
                  <a:lnTo>
                    <a:pt x="343" y="547"/>
                  </a:lnTo>
                  <a:lnTo>
                    <a:pt x="347" y="543"/>
                  </a:lnTo>
                  <a:lnTo>
                    <a:pt x="343" y="543"/>
                  </a:lnTo>
                  <a:lnTo>
                    <a:pt x="343" y="547"/>
                  </a:lnTo>
                  <a:lnTo>
                    <a:pt x="339" y="547"/>
                  </a:lnTo>
                  <a:lnTo>
                    <a:pt x="339" y="543"/>
                  </a:lnTo>
                  <a:lnTo>
                    <a:pt x="339" y="539"/>
                  </a:lnTo>
                  <a:lnTo>
                    <a:pt x="335" y="539"/>
                  </a:lnTo>
                  <a:lnTo>
                    <a:pt x="335" y="535"/>
                  </a:lnTo>
                  <a:lnTo>
                    <a:pt x="335" y="539"/>
                  </a:lnTo>
                  <a:lnTo>
                    <a:pt x="339" y="543"/>
                  </a:lnTo>
                  <a:lnTo>
                    <a:pt x="339" y="547"/>
                  </a:lnTo>
                  <a:lnTo>
                    <a:pt x="335" y="547"/>
                  </a:lnTo>
                  <a:lnTo>
                    <a:pt x="331" y="547"/>
                  </a:lnTo>
                  <a:lnTo>
                    <a:pt x="331" y="551"/>
                  </a:lnTo>
                  <a:lnTo>
                    <a:pt x="331" y="547"/>
                  </a:lnTo>
                  <a:lnTo>
                    <a:pt x="331" y="543"/>
                  </a:lnTo>
                  <a:lnTo>
                    <a:pt x="331" y="547"/>
                  </a:lnTo>
                  <a:lnTo>
                    <a:pt x="327" y="547"/>
                  </a:lnTo>
                  <a:lnTo>
                    <a:pt x="327" y="551"/>
                  </a:lnTo>
                  <a:lnTo>
                    <a:pt x="323" y="555"/>
                  </a:lnTo>
                  <a:lnTo>
                    <a:pt x="323" y="559"/>
                  </a:lnTo>
                  <a:lnTo>
                    <a:pt x="319" y="559"/>
                  </a:lnTo>
                  <a:lnTo>
                    <a:pt x="319" y="555"/>
                  </a:lnTo>
                  <a:lnTo>
                    <a:pt x="315" y="555"/>
                  </a:lnTo>
                  <a:lnTo>
                    <a:pt x="315" y="551"/>
                  </a:lnTo>
                  <a:lnTo>
                    <a:pt x="315" y="547"/>
                  </a:lnTo>
                  <a:lnTo>
                    <a:pt x="319" y="543"/>
                  </a:lnTo>
                  <a:lnTo>
                    <a:pt x="323" y="543"/>
                  </a:lnTo>
                  <a:lnTo>
                    <a:pt x="327" y="543"/>
                  </a:lnTo>
                  <a:lnTo>
                    <a:pt x="327" y="539"/>
                  </a:lnTo>
                  <a:lnTo>
                    <a:pt x="331" y="539"/>
                  </a:lnTo>
                  <a:lnTo>
                    <a:pt x="327" y="539"/>
                  </a:lnTo>
                  <a:lnTo>
                    <a:pt x="323" y="543"/>
                  </a:lnTo>
                  <a:lnTo>
                    <a:pt x="323" y="539"/>
                  </a:lnTo>
                  <a:lnTo>
                    <a:pt x="319" y="543"/>
                  </a:lnTo>
                  <a:lnTo>
                    <a:pt x="315" y="543"/>
                  </a:lnTo>
                  <a:lnTo>
                    <a:pt x="319" y="543"/>
                  </a:lnTo>
                  <a:lnTo>
                    <a:pt x="315" y="543"/>
                  </a:lnTo>
                  <a:lnTo>
                    <a:pt x="315" y="539"/>
                  </a:lnTo>
                  <a:lnTo>
                    <a:pt x="319" y="539"/>
                  </a:lnTo>
                  <a:lnTo>
                    <a:pt x="315" y="539"/>
                  </a:lnTo>
                  <a:lnTo>
                    <a:pt x="315" y="535"/>
                  </a:lnTo>
                  <a:lnTo>
                    <a:pt x="315" y="531"/>
                  </a:lnTo>
                  <a:lnTo>
                    <a:pt x="315" y="535"/>
                  </a:lnTo>
                  <a:lnTo>
                    <a:pt x="311" y="535"/>
                  </a:lnTo>
                  <a:lnTo>
                    <a:pt x="315" y="535"/>
                  </a:lnTo>
                  <a:lnTo>
                    <a:pt x="315" y="531"/>
                  </a:lnTo>
                  <a:lnTo>
                    <a:pt x="311" y="531"/>
                  </a:lnTo>
                  <a:lnTo>
                    <a:pt x="311" y="535"/>
                  </a:lnTo>
                  <a:lnTo>
                    <a:pt x="311" y="531"/>
                  </a:lnTo>
                  <a:lnTo>
                    <a:pt x="315" y="527"/>
                  </a:lnTo>
                  <a:lnTo>
                    <a:pt x="319" y="527"/>
                  </a:lnTo>
                  <a:lnTo>
                    <a:pt x="319" y="523"/>
                  </a:lnTo>
                  <a:lnTo>
                    <a:pt x="323" y="523"/>
                  </a:lnTo>
                  <a:lnTo>
                    <a:pt x="319" y="523"/>
                  </a:lnTo>
                  <a:lnTo>
                    <a:pt x="323" y="523"/>
                  </a:lnTo>
                  <a:lnTo>
                    <a:pt x="323" y="519"/>
                  </a:lnTo>
                  <a:lnTo>
                    <a:pt x="327" y="519"/>
                  </a:lnTo>
                  <a:lnTo>
                    <a:pt x="331" y="519"/>
                  </a:lnTo>
                  <a:lnTo>
                    <a:pt x="335" y="519"/>
                  </a:lnTo>
                  <a:lnTo>
                    <a:pt x="335" y="523"/>
                  </a:lnTo>
                  <a:lnTo>
                    <a:pt x="339" y="523"/>
                  </a:lnTo>
                  <a:lnTo>
                    <a:pt x="339" y="519"/>
                  </a:lnTo>
                  <a:lnTo>
                    <a:pt x="335" y="519"/>
                  </a:lnTo>
                  <a:lnTo>
                    <a:pt x="331" y="519"/>
                  </a:lnTo>
                  <a:lnTo>
                    <a:pt x="327" y="519"/>
                  </a:lnTo>
                  <a:lnTo>
                    <a:pt x="323" y="519"/>
                  </a:lnTo>
                  <a:lnTo>
                    <a:pt x="319" y="523"/>
                  </a:lnTo>
                  <a:lnTo>
                    <a:pt x="319" y="527"/>
                  </a:lnTo>
                  <a:lnTo>
                    <a:pt x="315" y="527"/>
                  </a:lnTo>
                  <a:lnTo>
                    <a:pt x="311" y="527"/>
                  </a:lnTo>
                  <a:lnTo>
                    <a:pt x="311" y="531"/>
                  </a:lnTo>
                  <a:lnTo>
                    <a:pt x="307" y="527"/>
                  </a:lnTo>
                  <a:lnTo>
                    <a:pt x="311" y="523"/>
                  </a:lnTo>
                  <a:lnTo>
                    <a:pt x="307" y="523"/>
                  </a:lnTo>
                  <a:lnTo>
                    <a:pt x="307" y="527"/>
                  </a:lnTo>
                  <a:lnTo>
                    <a:pt x="307" y="523"/>
                  </a:lnTo>
                  <a:lnTo>
                    <a:pt x="307" y="519"/>
                  </a:lnTo>
                  <a:lnTo>
                    <a:pt x="307" y="523"/>
                  </a:lnTo>
                  <a:lnTo>
                    <a:pt x="303" y="523"/>
                  </a:lnTo>
                  <a:lnTo>
                    <a:pt x="299" y="523"/>
                  </a:lnTo>
                  <a:lnTo>
                    <a:pt x="299" y="519"/>
                  </a:lnTo>
                  <a:lnTo>
                    <a:pt x="303" y="519"/>
                  </a:lnTo>
                  <a:lnTo>
                    <a:pt x="299" y="519"/>
                  </a:lnTo>
                  <a:lnTo>
                    <a:pt x="303" y="519"/>
                  </a:lnTo>
                  <a:lnTo>
                    <a:pt x="303" y="515"/>
                  </a:lnTo>
                  <a:lnTo>
                    <a:pt x="307" y="515"/>
                  </a:lnTo>
                  <a:lnTo>
                    <a:pt x="311" y="515"/>
                  </a:lnTo>
                  <a:lnTo>
                    <a:pt x="315" y="515"/>
                  </a:lnTo>
                  <a:lnTo>
                    <a:pt x="319" y="515"/>
                  </a:lnTo>
                  <a:lnTo>
                    <a:pt x="319" y="511"/>
                  </a:lnTo>
                  <a:lnTo>
                    <a:pt x="315" y="515"/>
                  </a:lnTo>
                  <a:lnTo>
                    <a:pt x="311" y="515"/>
                  </a:lnTo>
                  <a:lnTo>
                    <a:pt x="307" y="515"/>
                  </a:lnTo>
                  <a:lnTo>
                    <a:pt x="303" y="515"/>
                  </a:lnTo>
                  <a:lnTo>
                    <a:pt x="299" y="519"/>
                  </a:lnTo>
                  <a:lnTo>
                    <a:pt x="299" y="515"/>
                  </a:lnTo>
                  <a:lnTo>
                    <a:pt x="303" y="515"/>
                  </a:lnTo>
                  <a:lnTo>
                    <a:pt x="303" y="511"/>
                  </a:lnTo>
                  <a:lnTo>
                    <a:pt x="303" y="515"/>
                  </a:lnTo>
                  <a:lnTo>
                    <a:pt x="299" y="515"/>
                  </a:lnTo>
                  <a:lnTo>
                    <a:pt x="295" y="515"/>
                  </a:lnTo>
                  <a:lnTo>
                    <a:pt x="299" y="515"/>
                  </a:lnTo>
                  <a:lnTo>
                    <a:pt x="299" y="511"/>
                  </a:lnTo>
                  <a:lnTo>
                    <a:pt x="299" y="515"/>
                  </a:lnTo>
                  <a:lnTo>
                    <a:pt x="299" y="511"/>
                  </a:lnTo>
                  <a:lnTo>
                    <a:pt x="295" y="511"/>
                  </a:lnTo>
                  <a:lnTo>
                    <a:pt x="299" y="511"/>
                  </a:lnTo>
                  <a:lnTo>
                    <a:pt x="303" y="511"/>
                  </a:lnTo>
                  <a:lnTo>
                    <a:pt x="303" y="507"/>
                  </a:lnTo>
                  <a:lnTo>
                    <a:pt x="307" y="507"/>
                  </a:lnTo>
                  <a:lnTo>
                    <a:pt x="307" y="503"/>
                  </a:lnTo>
                  <a:lnTo>
                    <a:pt x="311" y="503"/>
                  </a:lnTo>
                  <a:lnTo>
                    <a:pt x="315" y="503"/>
                  </a:lnTo>
                  <a:lnTo>
                    <a:pt x="315" y="499"/>
                  </a:lnTo>
                  <a:lnTo>
                    <a:pt x="319" y="499"/>
                  </a:lnTo>
                  <a:lnTo>
                    <a:pt x="319" y="495"/>
                  </a:lnTo>
                  <a:lnTo>
                    <a:pt x="323" y="495"/>
                  </a:lnTo>
                  <a:lnTo>
                    <a:pt x="327" y="495"/>
                  </a:lnTo>
                  <a:lnTo>
                    <a:pt x="327" y="491"/>
                  </a:lnTo>
                  <a:lnTo>
                    <a:pt x="331" y="491"/>
                  </a:lnTo>
                  <a:lnTo>
                    <a:pt x="335" y="491"/>
                  </a:lnTo>
                  <a:lnTo>
                    <a:pt x="339" y="491"/>
                  </a:lnTo>
                  <a:lnTo>
                    <a:pt x="343" y="491"/>
                  </a:lnTo>
                  <a:lnTo>
                    <a:pt x="339" y="491"/>
                  </a:lnTo>
                  <a:lnTo>
                    <a:pt x="335" y="491"/>
                  </a:lnTo>
                  <a:lnTo>
                    <a:pt x="331" y="491"/>
                  </a:lnTo>
                  <a:lnTo>
                    <a:pt x="335" y="491"/>
                  </a:lnTo>
                  <a:lnTo>
                    <a:pt x="335" y="487"/>
                  </a:lnTo>
                  <a:lnTo>
                    <a:pt x="339" y="487"/>
                  </a:lnTo>
                  <a:lnTo>
                    <a:pt x="343" y="487"/>
                  </a:lnTo>
                  <a:lnTo>
                    <a:pt x="347" y="487"/>
                  </a:lnTo>
                  <a:lnTo>
                    <a:pt x="343" y="487"/>
                  </a:lnTo>
                  <a:lnTo>
                    <a:pt x="339" y="487"/>
                  </a:lnTo>
                  <a:lnTo>
                    <a:pt x="343" y="487"/>
                  </a:lnTo>
                  <a:lnTo>
                    <a:pt x="339" y="487"/>
                  </a:lnTo>
                  <a:lnTo>
                    <a:pt x="335" y="487"/>
                  </a:lnTo>
                  <a:lnTo>
                    <a:pt x="331" y="487"/>
                  </a:lnTo>
                  <a:lnTo>
                    <a:pt x="331" y="491"/>
                  </a:lnTo>
                  <a:lnTo>
                    <a:pt x="327" y="491"/>
                  </a:lnTo>
                  <a:lnTo>
                    <a:pt x="323" y="491"/>
                  </a:lnTo>
                  <a:lnTo>
                    <a:pt x="323" y="495"/>
                  </a:lnTo>
                  <a:lnTo>
                    <a:pt x="319" y="495"/>
                  </a:lnTo>
                  <a:lnTo>
                    <a:pt x="319" y="499"/>
                  </a:lnTo>
                  <a:lnTo>
                    <a:pt x="315" y="499"/>
                  </a:lnTo>
                  <a:lnTo>
                    <a:pt x="311" y="503"/>
                  </a:lnTo>
                  <a:lnTo>
                    <a:pt x="307" y="503"/>
                  </a:lnTo>
                  <a:lnTo>
                    <a:pt x="307" y="507"/>
                  </a:lnTo>
                  <a:lnTo>
                    <a:pt x="303" y="507"/>
                  </a:lnTo>
                  <a:lnTo>
                    <a:pt x="299" y="511"/>
                  </a:lnTo>
                  <a:lnTo>
                    <a:pt x="295" y="511"/>
                  </a:lnTo>
                  <a:lnTo>
                    <a:pt x="295" y="507"/>
                  </a:lnTo>
                  <a:lnTo>
                    <a:pt x="299" y="507"/>
                  </a:lnTo>
                  <a:lnTo>
                    <a:pt x="295" y="507"/>
                  </a:lnTo>
                  <a:lnTo>
                    <a:pt x="291" y="507"/>
                  </a:lnTo>
                  <a:lnTo>
                    <a:pt x="291" y="503"/>
                  </a:lnTo>
                  <a:lnTo>
                    <a:pt x="291" y="499"/>
                  </a:lnTo>
                  <a:lnTo>
                    <a:pt x="295" y="499"/>
                  </a:lnTo>
                  <a:lnTo>
                    <a:pt x="299" y="499"/>
                  </a:lnTo>
                  <a:lnTo>
                    <a:pt x="303" y="499"/>
                  </a:lnTo>
                  <a:lnTo>
                    <a:pt x="307" y="499"/>
                  </a:lnTo>
                  <a:lnTo>
                    <a:pt x="311" y="499"/>
                  </a:lnTo>
                  <a:lnTo>
                    <a:pt x="307" y="499"/>
                  </a:lnTo>
                  <a:lnTo>
                    <a:pt x="303" y="499"/>
                  </a:lnTo>
                  <a:lnTo>
                    <a:pt x="299" y="499"/>
                  </a:lnTo>
                  <a:lnTo>
                    <a:pt x="295" y="499"/>
                  </a:lnTo>
                  <a:lnTo>
                    <a:pt x="295" y="495"/>
                  </a:lnTo>
                  <a:lnTo>
                    <a:pt x="299" y="495"/>
                  </a:lnTo>
                  <a:lnTo>
                    <a:pt x="303" y="495"/>
                  </a:lnTo>
                  <a:lnTo>
                    <a:pt x="307" y="495"/>
                  </a:lnTo>
                  <a:lnTo>
                    <a:pt x="303" y="495"/>
                  </a:lnTo>
                  <a:lnTo>
                    <a:pt x="299" y="495"/>
                  </a:lnTo>
                  <a:lnTo>
                    <a:pt x="303" y="495"/>
                  </a:lnTo>
                  <a:lnTo>
                    <a:pt x="303" y="491"/>
                  </a:lnTo>
                  <a:lnTo>
                    <a:pt x="303" y="495"/>
                  </a:lnTo>
                  <a:lnTo>
                    <a:pt x="299" y="495"/>
                  </a:lnTo>
                  <a:lnTo>
                    <a:pt x="303" y="495"/>
                  </a:lnTo>
                  <a:lnTo>
                    <a:pt x="303" y="491"/>
                  </a:lnTo>
                  <a:lnTo>
                    <a:pt x="307" y="491"/>
                  </a:lnTo>
                  <a:lnTo>
                    <a:pt x="311" y="491"/>
                  </a:lnTo>
                  <a:lnTo>
                    <a:pt x="315" y="491"/>
                  </a:lnTo>
                  <a:lnTo>
                    <a:pt x="311" y="491"/>
                  </a:lnTo>
                  <a:lnTo>
                    <a:pt x="307" y="491"/>
                  </a:lnTo>
                  <a:lnTo>
                    <a:pt x="303" y="491"/>
                  </a:lnTo>
                  <a:lnTo>
                    <a:pt x="299" y="491"/>
                  </a:lnTo>
                  <a:lnTo>
                    <a:pt x="295" y="491"/>
                  </a:lnTo>
                  <a:lnTo>
                    <a:pt x="291" y="491"/>
                  </a:lnTo>
                  <a:lnTo>
                    <a:pt x="291" y="487"/>
                  </a:lnTo>
                  <a:lnTo>
                    <a:pt x="295" y="487"/>
                  </a:lnTo>
                  <a:lnTo>
                    <a:pt x="299" y="487"/>
                  </a:lnTo>
                  <a:lnTo>
                    <a:pt x="295" y="487"/>
                  </a:lnTo>
                  <a:lnTo>
                    <a:pt x="291" y="487"/>
                  </a:lnTo>
                  <a:lnTo>
                    <a:pt x="295" y="487"/>
                  </a:lnTo>
                  <a:lnTo>
                    <a:pt x="295" y="483"/>
                  </a:lnTo>
                  <a:lnTo>
                    <a:pt x="291" y="487"/>
                  </a:lnTo>
                  <a:lnTo>
                    <a:pt x="287" y="487"/>
                  </a:lnTo>
                  <a:lnTo>
                    <a:pt x="287" y="483"/>
                  </a:lnTo>
                  <a:lnTo>
                    <a:pt x="291" y="483"/>
                  </a:lnTo>
                  <a:lnTo>
                    <a:pt x="295" y="483"/>
                  </a:lnTo>
                  <a:lnTo>
                    <a:pt x="295" y="479"/>
                  </a:lnTo>
                  <a:lnTo>
                    <a:pt x="299" y="479"/>
                  </a:lnTo>
                  <a:lnTo>
                    <a:pt x="303" y="479"/>
                  </a:lnTo>
                  <a:lnTo>
                    <a:pt x="307" y="479"/>
                  </a:lnTo>
                  <a:lnTo>
                    <a:pt x="311" y="479"/>
                  </a:lnTo>
                  <a:lnTo>
                    <a:pt x="315" y="479"/>
                  </a:lnTo>
                  <a:lnTo>
                    <a:pt x="319" y="479"/>
                  </a:lnTo>
                  <a:lnTo>
                    <a:pt x="323" y="479"/>
                  </a:lnTo>
                  <a:lnTo>
                    <a:pt x="327" y="479"/>
                  </a:lnTo>
                  <a:lnTo>
                    <a:pt x="327" y="483"/>
                  </a:lnTo>
                  <a:lnTo>
                    <a:pt x="331" y="483"/>
                  </a:lnTo>
                  <a:lnTo>
                    <a:pt x="335" y="483"/>
                  </a:lnTo>
                  <a:lnTo>
                    <a:pt x="339" y="483"/>
                  </a:lnTo>
                  <a:lnTo>
                    <a:pt x="343" y="483"/>
                  </a:lnTo>
                  <a:lnTo>
                    <a:pt x="339" y="483"/>
                  </a:lnTo>
                  <a:lnTo>
                    <a:pt x="335" y="483"/>
                  </a:lnTo>
                  <a:lnTo>
                    <a:pt x="331" y="483"/>
                  </a:lnTo>
                  <a:lnTo>
                    <a:pt x="327" y="479"/>
                  </a:lnTo>
                  <a:lnTo>
                    <a:pt x="323" y="479"/>
                  </a:lnTo>
                  <a:lnTo>
                    <a:pt x="327" y="479"/>
                  </a:lnTo>
                  <a:lnTo>
                    <a:pt x="331" y="475"/>
                  </a:lnTo>
                  <a:lnTo>
                    <a:pt x="327" y="475"/>
                  </a:lnTo>
                  <a:lnTo>
                    <a:pt x="323" y="479"/>
                  </a:lnTo>
                  <a:lnTo>
                    <a:pt x="319" y="479"/>
                  </a:lnTo>
                  <a:lnTo>
                    <a:pt x="315" y="479"/>
                  </a:lnTo>
                  <a:lnTo>
                    <a:pt x="315" y="475"/>
                  </a:lnTo>
                  <a:lnTo>
                    <a:pt x="307" y="479"/>
                  </a:lnTo>
                  <a:lnTo>
                    <a:pt x="303" y="479"/>
                  </a:lnTo>
                  <a:lnTo>
                    <a:pt x="299" y="479"/>
                  </a:lnTo>
                  <a:lnTo>
                    <a:pt x="295" y="479"/>
                  </a:lnTo>
                  <a:lnTo>
                    <a:pt x="291" y="483"/>
                  </a:lnTo>
                  <a:lnTo>
                    <a:pt x="291" y="479"/>
                  </a:lnTo>
                  <a:lnTo>
                    <a:pt x="291" y="475"/>
                  </a:lnTo>
                  <a:lnTo>
                    <a:pt x="295" y="475"/>
                  </a:lnTo>
                  <a:lnTo>
                    <a:pt x="299" y="471"/>
                  </a:lnTo>
                  <a:lnTo>
                    <a:pt x="303" y="471"/>
                  </a:lnTo>
                  <a:lnTo>
                    <a:pt x="299" y="471"/>
                  </a:lnTo>
                  <a:lnTo>
                    <a:pt x="303" y="471"/>
                  </a:lnTo>
                  <a:lnTo>
                    <a:pt x="303" y="467"/>
                  </a:lnTo>
                  <a:lnTo>
                    <a:pt x="307" y="467"/>
                  </a:lnTo>
                  <a:lnTo>
                    <a:pt x="311" y="467"/>
                  </a:lnTo>
                  <a:lnTo>
                    <a:pt x="307" y="467"/>
                  </a:lnTo>
                  <a:lnTo>
                    <a:pt x="311" y="467"/>
                  </a:lnTo>
                  <a:lnTo>
                    <a:pt x="315" y="467"/>
                  </a:lnTo>
                  <a:lnTo>
                    <a:pt x="319" y="467"/>
                  </a:lnTo>
                  <a:lnTo>
                    <a:pt x="319" y="471"/>
                  </a:lnTo>
                  <a:lnTo>
                    <a:pt x="323" y="471"/>
                  </a:lnTo>
                  <a:lnTo>
                    <a:pt x="327" y="471"/>
                  </a:lnTo>
                  <a:lnTo>
                    <a:pt x="331" y="471"/>
                  </a:lnTo>
                  <a:lnTo>
                    <a:pt x="335" y="471"/>
                  </a:lnTo>
                  <a:lnTo>
                    <a:pt x="335" y="475"/>
                  </a:lnTo>
                  <a:lnTo>
                    <a:pt x="339" y="475"/>
                  </a:lnTo>
                  <a:lnTo>
                    <a:pt x="343" y="475"/>
                  </a:lnTo>
                  <a:lnTo>
                    <a:pt x="347" y="475"/>
                  </a:lnTo>
                  <a:lnTo>
                    <a:pt x="343" y="475"/>
                  </a:lnTo>
                  <a:lnTo>
                    <a:pt x="339" y="475"/>
                  </a:lnTo>
                  <a:lnTo>
                    <a:pt x="339" y="471"/>
                  </a:lnTo>
                  <a:lnTo>
                    <a:pt x="335" y="471"/>
                  </a:lnTo>
                  <a:lnTo>
                    <a:pt x="339" y="471"/>
                  </a:lnTo>
                  <a:lnTo>
                    <a:pt x="343" y="471"/>
                  </a:lnTo>
                  <a:lnTo>
                    <a:pt x="343" y="467"/>
                  </a:lnTo>
                  <a:lnTo>
                    <a:pt x="347" y="467"/>
                  </a:lnTo>
                  <a:lnTo>
                    <a:pt x="347" y="471"/>
                  </a:lnTo>
                  <a:lnTo>
                    <a:pt x="347" y="467"/>
                  </a:lnTo>
                  <a:lnTo>
                    <a:pt x="343" y="467"/>
                  </a:lnTo>
                  <a:lnTo>
                    <a:pt x="339" y="467"/>
                  </a:lnTo>
                  <a:lnTo>
                    <a:pt x="339" y="471"/>
                  </a:lnTo>
                  <a:lnTo>
                    <a:pt x="335" y="471"/>
                  </a:lnTo>
                  <a:lnTo>
                    <a:pt x="331" y="471"/>
                  </a:lnTo>
                  <a:lnTo>
                    <a:pt x="331" y="467"/>
                  </a:lnTo>
                  <a:lnTo>
                    <a:pt x="335" y="467"/>
                  </a:lnTo>
                  <a:lnTo>
                    <a:pt x="339" y="467"/>
                  </a:lnTo>
                  <a:lnTo>
                    <a:pt x="343" y="467"/>
                  </a:lnTo>
                  <a:lnTo>
                    <a:pt x="343" y="463"/>
                  </a:lnTo>
                  <a:lnTo>
                    <a:pt x="335" y="463"/>
                  </a:lnTo>
                  <a:lnTo>
                    <a:pt x="339" y="463"/>
                  </a:lnTo>
                  <a:lnTo>
                    <a:pt x="339" y="467"/>
                  </a:lnTo>
                  <a:lnTo>
                    <a:pt x="335" y="467"/>
                  </a:lnTo>
                  <a:lnTo>
                    <a:pt x="331" y="467"/>
                  </a:lnTo>
                  <a:lnTo>
                    <a:pt x="327" y="463"/>
                  </a:lnTo>
                  <a:lnTo>
                    <a:pt x="331" y="463"/>
                  </a:lnTo>
                  <a:lnTo>
                    <a:pt x="335" y="463"/>
                  </a:lnTo>
                  <a:lnTo>
                    <a:pt x="331" y="463"/>
                  </a:lnTo>
                  <a:lnTo>
                    <a:pt x="327" y="463"/>
                  </a:lnTo>
                  <a:lnTo>
                    <a:pt x="323" y="463"/>
                  </a:lnTo>
                  <a:lnTo>
                    <a:pt x="327" y="463"/>
                  </a:lnTo>
                  <a:lnTo>
                    <a:pt x="327" y="467"/>
                  </a:lnTo>
                  <a:lnTo>
                    <a:pt x="323" y="467"/>
                  </a:lnTo>
                  <a:lnTo>
                    <a:pt x="327" y="467"/>
                  </a:lnTo>
                  <a:lnTo>
                    <a:pt x="323" y="467"/>
                  </a:lnTo>
                  <a:lnTo>
                    <a:pt x="319" y="467"/>
                  </a:lnTo>
                  <a:lnTo>
                    <a:pt x="323" y="467"/>
                  </a:lnTo>
                  <a:lnTo>
                    <a:pt x="319" y="467"/>
                  </a:lnTo>
                  <a:lnTo>
                    <a:pt x="315" y="467"/>
                  </a:lnTo>
                  <a:lnTo>
                    <a:pt x="311" y="467"/>
                  </a:lnTo>
                  <a:lnTo>
                    <a:pt x="315" y="463"/>
                  </a:lnTo>
                  <a:lnTo>
                    <a:pt x="319" y="463"/>
                  </a:lnTo>
                  <a:lnTo>
                    <a:pt x="323" y="463"/>
                  </a:lnTo>
                  <a:lnTo>
                    <a:pt x="319" y="463"/>
                  </a:lnTo>
                  <a:lnTo>
                    <a:pt x="315" y="463"/>
                  </a:lnTo>
                  <a:lnTo>
                    <a:pt x="311" y="463"/>
                  </a:lnTo>
                  <a:lnTo>
                    <a:pt x="311" y="467"/>
                  </a:lnTo>
                  <a:lnTo>
                    <a:pt x="307" y="467"/>
                  </a:lnTo>
                  <a:lnTo>
                    <a:pt x="303" y="467"/>
                  </a:lnTo>
                  <a:lnTo>
                    <a:pt x="299" y="471"/>
                  </a:lnTo>
                  <a:lnTo>
                    <a:pt x="295" y="475"/>
                  </a:lnTo>
                  <a:lnTo>
                    <a:pt x="291" y="475"/>
                  </a:lnTo>
                  <a:lnTo>
                    <a:pt x="291" y="471"/>
                  </a:lnTo>
                  <a:lnTo>
                    <a:pt x="295" y="471"/>
                  </a:lnTo>
                  <a:lnTo>
                    <a:pt x="295" y="467"/>
                  </a:lnTo>
                  <a:lnTo>
                    <a:pt x="291" y="467"/>
                  </a:lnTo>
                  <a:lnTo>
                    <a:pt x="295" y="463"/>
                  </a:lnTo>
                  <a:lnTo>
                    <a:pt x="295" y="467"/>
                  </a:lnTo>
                  <a:lnTo>
                    <a:pt x="299" y="467"/>
                  </a:lnTo>
                  <a:lnTo>
                    <a:pt x="295" y="467"/>
                  </a:lnTo>
                  <a:lnTo>
                    <a:pt x="295" y="463"/>
                  </a:lnTo>
                  <a:lnTo>
                    <a:pt x="299" y="463"/>
                  </a:lnTo>
                  <a:lnTo>
                    <a:pt x="299" y="467"/>
                  </a:lnTo>
                  <a:lnTo>
                    <a:pt x="299" y="463"/>
                  </a:lnTo>
                  <a:lnTo>
                    <a:pt x="303" y="463"/>
                  </a:lnTo>
                  <a:lnTo>
                    <a:pt x="299" y="463"/>
                  </a:lnTo>
                  <a:lnTo>
                    <a:pt x="303" y="463"/>
                  </a:lnTo>
                  <a:lnTo>
                    <a:pt x="303" y="459"/>
                  </a:lnTo>
                  <a:lnTo>
                    <a:pt x="299" y="463"/>
                  </a:lnTo>
                  <a:lnTo>
                    <a:pt x="299" y="459"/>
                  </a:lnTo>
                  <a:lnTo>
                    <a:pt x="303" y="459"/>
                  </a:lnTo>
                  <a:lnTo>
                    <a:pt x="307" y="463"/>
                  </a:lnTo>
                  <a:lnTo>
                    <a:pt x="311" y="463"/>
                  </a:lnTo>
                  <a:lnTo>
                    <a:pt x="315" y="463"/>
                  </a:lnTo>
                  <a:lnTo>
                    <a:pt x="311" y="463"/>
                  </a:lnTo>
                  <a:lnTo>
                    <a:pt x="307" y="463"/>
                  </a:lnTo>
                  <a:lnTo>
                    <a:pt x="307" y="459"/>
                  </a:lnTo>
                  <a:lnTo>
                    <a:pt x="303" y="459"/>
                  </a:lnTo>
                  <a:lnTo>
                    <a:pt x="299" y="459"/>
                  </a:lnTo>
                  <a:lnTo>
                    <a:pt x="295" y="455"/>
                  </a:lnTo>
                  <a:lnTo>
                    <a:pt x="299" y="455"/>
                  </a:lnTo>
                  <a:lnTo>
                    <a:pt x="303" y="455"/>
                  </a:lnTo>
                  <a:lnTo>
                    <a:pt x="307" y="459"/>
                  </a:lnTo>
                  <a:lnTo>
                    <a:pt x="311" y="459"/>
                  </a:lnTo>
                  <a:lnTo>
                    <a:pt x="307" y="459"/>
                  </a:lnTo>
                  <a:lnTo>
                    <a:pt x="307" y="455"/>
                  </a:lnTo>
                  <a:lnTo>
                    <a:pt x="311" y="455"/>
                  </a:lnTo>
                  <a:lnTo>
                    <a:pt x="311" y="459"/>
                  </a:lnTo>
                  <a:lnTo>
                    <a:pt x="315" y="459"/>
                  </a:lnTo>
                  <a:lnTo>
                    <a:pt x="319" y="459"/>
                  </a:lnTo>
                  <a:lnTo>
                    <a:pt x="323" y="459"/>
                  </a:lnTo>
                  <a:lnTo>
                    <a:pt x="327" y="459"/>
                  </a:lnTo>
                  <a:lnTo>
                    <a:pt x="331" y="459"/>
                  </a:lnTo>
                  <a:lnTo>
                    <a:pt x="339" y="463"/>
                  </a:lnTo>
                  <a:lnTo>
                    <a:pt x="343" y="463"/>
                  </a:lnTo>
                  <a:lnTo>
                    <a:pt x="347" y="463"/>
                  </a:lnTo>
                  <a:lnTo>
                    <a:pt x="343" y="463"/>
                  </a:lnTo>
                  <a:lnTo>
                    <a:pt x="339" y="463"/>
                  </a:lnTo>
                  <a:lnTo>
                    <a:pt x="339" y="459"/>
                  </a:lnTo>
                  <a:lnTo>
                    <a:pt x="335" y="459"/>
                  </a:lnTo>
                  <a:lnTo>
                    <a:pt x="331" y="459"/>
                  </a:lnTo>
                  <a:lnTo>
                    <a:pt x="327" y="455"/>
                  </a:lnTo>
                  <a:lnTo>
                    <a:pt x="331" y="455"/>
                  </a:lnTo>
                  <a:lnTo>
                    <a:pt x="335" y="455"/>
                  </a:lnTo>
                  <a:lnTo>
                    <a:pt x="331" y="455"/>
                  </a:lnTo>
                  <a:lnTo>
                    <a:pt x="331" y="451"/>
                  </a:lnTo>
                  <a:lnTo>
                    <a:pt x="335" y="447"/>
                  </a:lnTo>
                  <a:lnTo>
                    <a:pt x="331" y="451"/>
                  </a:lnTo>
                  <a:lnTo>
                    <a:pt x="327" y="451"/>
                  </a:lnTo>
                  <a:lnTo>
                    <a:pt x="323" y="451"/>
                  </a:lnTo>
                  <a:lnTo>
                    <a:pt x="327" y="451"/>
                  </a:lnTo>
                  <a:lnTo>
                    <a:pt x="331" y="451"/>
                  </a:lnTo>
                  <a:lnTo>
                    <a:pt x="327" y="455"/>
                  </a:lnTo>
                  <a:lnTo>
                    <a:pt x="323" y="455"/>
                  </a:lnTo>
                  <a:lnTo>
                    <a:pt x="319" y="455"/>
                  </a:lnTo>
                  <a:lnTo>
                    <a:pt x="315" y="455"/>
                  </a:lnTo>
                  <a:lnTo>
                    <a:pt x="311" y="455"/>
                  </a:lnTo>
                  <a:lnTo>
                    <a:pt x="307" y="455"/>
                  </a:lnTo>
                  <a:lnTo>
                    <a:pt x="303" y="455"/>
                  </a:lnTo>
                  <a:lnTo>
                    <a:pt x="303" y="451"/>
                  </a:lnTo>
                  <a:lnTo>
                    <a:pt x="307" y="451"/>
                  </a:lnTo>
                  <a:lnTo>
                    <a:pt x="303" y="451"/>
                  </a:lnTo>
                  <a:lnTo>
                    <a:pt x="303" y="455"/>
                  </a:lnTo>
                  <a:lnTo>
                    <a:pt x="299" y="455"/>
                  </a:lnTo>
                  <a:lnTo>
                    <a:pt x="299" y="451"/>
                  </a:lnTo>
                  <a:lnTo>
                    <a:pt x="299" y="455"/>
                  </a:lnTo>
                  <a:lnTo>
                    <a:pt x="295" y="455"/>
                  </a:lnTo>
                  <a:lnTo>
                    <a:pt x="295" y="451"/>
                  </a:lnTo>
                  <a:lnTo>
                    <a:pt x="299" y="451"/>
                  </a:lnTo>
                  <a:lnTo>
                    <a:pt x="303" y="451"/>
                  </a:lnTo>
                  <a:lnTo>
                    <a:pt x="307" y="447"/>
                  </a:lnTo>
                  <a:lnTo>
                    <a:pt x="311" y="447"/>
                  </a:lnTo>
                  <a:lnTo>
                    <a:pt x="315" y="447"/>
                  </a:lnTo>
                  <a:lnTo>
                    <a:pt x="319" y="447"/>
                  </a:lnTo>
                  <a:lnTo>
                    <a:pt x="323" y="447"/>
                  </a:lnTo>
                  <a:lnTo>
                    <a:pt x="327" y="447"/>
                  </a:lnTo>
                  <a:lnTo>
                    <a:pt x="331" y="447"/>
                  </a:lnTo>
                  <a:lnTo>
                    <a:pt x="331" y="443"/>
                  </a:lnTo>
                  <a:lnTo>
                    <a:pt x="335" y="443"/>
                  </a:lnTo>
                  <a:close/>
                  <a:moveTo>
                    <a:pt x="818" y="112"/>
                  </a:moveTo>
                  <a:lnTo>
                    <a:pt x="814" y="112"/>
                  </a:lnTo>
                  <a:lnTo>
                    <a:pt x="810" y="112"/>
                  </a:lnTo>
                  <a:lnTo>
                    <a:pt x="806" y="112"/>
                  </a:lnTo>
                  <a:lnTo>
                    <a:pt x="802" y="116"/>
                  </a:lnTo>
                  <a:lnTo>
                    <a:pt x="802" y="112"/>
                  </a:lnTo>
                  <a:lnTo>
                    <a:pt x="806" y="108"/>
                  </a:lnTo>
                  <a:lnTo>
                    <a:pt x="810" y="108"/>
                  </a:lnTo>
                  <a:lnTo>
                    <a:pt x="818" y="112"/>
                  </a:lnTo>
                  <a:close/>
                  <a:moveTo>
                    <a:pt x="810" y="156"/>
                  </a:moveTo>
                  <a:lnTo>
                    <a:pt x="806" y="156"/>
                  </a:lnTo>
                  <a:lnTo>
                    <a:pt x="806" y="152"/>
                  </a:lnTo>
                  <a:lnTo>
                    <a:pt x="810" y="148"/>
                  </a:lnTo>
                  <a:lnTo>
                    <a:pt x="814" y="148"/>
                  </a:lnTo>
                  <a:lnTo>
                    <a:pt x="814" y="152"/>
                  </a:lnTo>
                  <a:lnTo>
                    <a:pt x="810" y="152"/>
                  </a:lnTo>
                  <a:lnTo>
                    <a:pt x="814" y="152"/>
                  </a:lnTo>
                  <a:lnTo>
                    <a:pt x="814" y="156"/>
                  </a:lnTo>
                  <a:lnTo>
                    <a:pt x="810" y="156"/>
                  </a:lnTo>
                  <a:close/>
                  <a:moveTo>
                    <a:pt x="806" y="180"/>
                  </a:moveTo>
                  <a:lnTo>
                    <a:pt x="810" y="180"/>
                  </a:lnTo>
                  <a:lnTo>
                    <a:pt x="814" y="180"/>
                  </a:lnTo>
                  <a:lnTo>
                    <a:pt x="814" y="184"/>
                  </a:lnTo>
                  <a:lnTo>
                    <a:pt x="810" y="184"/>
                  </a:lnTo>
                  <a:lnTo>
                    <a:pt x="806" y="184"/>
                  </a:lnTo>
                  <a:lnTo>
                    <a:pt x="802" y="180"/>
                  </a:lnTo>
                  <a:lnTo>
                    <a:pt x="798" y="180"/>
                  </a:lnTo>
                  <a:lnTo>
                    <a:pt x="794" y="180"/>
                  </a:lnTo>
                  <a:lnTo>
                    <a:pt x="798" y="180"/>
                  </a:lnTo>
                  <a:lnTo>
                    <a:pt x="802" y="180"/>
                  </a:lnTo>
                  <a:lnTo>
                    <a:pt x="806" y="180"/>
                  </a:lnTo>
                  <a:close/>
                  <a:moveTo>
                    <a:pt x="837" y="180"/>
                  </a:moveTo>
                  <a:lnTo>
                    <a:pt x="837" y="184"/>
                  </a:lnTo>
                  <a:lnTo>
                    <a:pt x="837" y="187"/>
                  </a:lnTo>
                  <a:lnTo>
                    <a:pt x="833" y="187"/>
                  </a:lnTo>
                  <a:lnTo>
                    <a:pt x="829" y="187"/>
                  </a:lnTo>
                  <a:lnTo>
                    <a:pt x="829" y="184"/>
                  </a:lnTo>
                  <a:lnTo>
                    <a:pt x="833" y="184"/>
                  </a:lnTo>
                  <a:lnTo>
                    <a:pt x="833" y="180"/>
                  </a:lnTo>
                  <a:lnTo>
                    <a:pt x="837" y="180"/>
                  </a:lnTo>
                  <a:close/>
                  <a:moveTo>
                    <a:pt x="822" y="231"/>
                  </a:moveTo>
                  <a:lnTo>
                    <a:pt x="825" y="235"/>
                  </a:lnTo>
                  <a:lnTo>
                    <a:pt x="825" y="239"/>
                  </a:lnTo>
                  <a:lnTo>
                    <a:pt x="822" y="239"/>
                  </a:lnTo>
                  <a:lnTo>
                    <a:pt x="822" y="235"/>
                  </a:lnTo>
                  <a:lnTo>
                    <a:pt x="822" y="231"/>
                  </a:lnTo>
                  <a:lnTo>
                    <a:pt x="818" y="231"/>
                  </a:lnTo>
                  <a:lnTo>
                    <a:pt x="818" y="227"/>
                  </a:lnTo>
                  <a:lnTo>
                    <a:pt x="818" y="223"/>
                  </a:lnTo>
                  <a:lnTo>
                    <a:pt x="814" y="223"/>
                  </a:lnTo>
                  <a:lnTo>
                    <a:pt x="814" y="219"/>
                  </a:lnTo>
                  <a:lnTo>
                    <a:pt x="818" y="219"/>
                  </a:lnTo>
                  <a:lnTo>
                    <a:pt x="822" y="219"/>
                  </a:lnTo>
                  <a:lnTo>
                    <a:pt x="818" y="219"/>
                  </a:lnTo>
                  <a:lnTo>
                    <a:pt x="818" y="215"/>
                  </a:lnTo>
                  <a:lnTo>
                    <a:pt x="822" y="215"/>
                  </a:lnTo>
                  <a:lnTo>
                    <a:pt x="822" y="219"/>
                  </a:lnTo>
                  <a:lnTo>
                    <a:pt x="822" y="223"/>
                  </a:lnTo>
                  <a:lnTo>
                    <a:pt x="822" y="227"/>
                  </a:lnTo>
                  <a:lnTo>
                    <a:pt x="822" y="231"/>
                  </a:lnTo>
                  <a:close/>
                  <a:moveTo>
                    <a:pt x="833" y="255"/>
                  </a:moveTo>
                  <a:lnTo>
                    <a:pt x="833" y="259"/>
                  </a:lnTo>
                  <a:lnTo>
                    <a:pt x="829" y="259"/>
                  </a:lnTo>
                  <a:lnTo>
                    <a:pt x="833" y="263"/>
                  </a:lnTo>
                  <a:lnTo>
                    <a:pt x="837" y="263"/>
                  </a:lnTo>
                  <a:lnTo>
                    <a:pt x="841" y="263"/>
                  </a:lnTo>
                  <a:lnTo>
                    <a:pt x="841" y="267"/>
                  </a:lnTo>
                  <a:lnTo>
                    <a:pt x="837" y="267"/>
                  </a:lnTo>
                  <a:lnTo>
                    <a:pt x="833" y="267"/>
                  </a:lnTo>
                  <a:lnTo>
                    <a:pt x="833" y="263"/>
                  </a:lnTo>
                  <a:lnTo>
                    <a:pt x="829" y="263"/>
                  </a:lnTo>
                  <a:lnTo>
                    <a:pt x="829" y="267"/>
                  </a:lnTo>
                  <a:lnTo>
                    <a:pt x="825" y="267"/>
                  </a:lnTo>
                  <a:lnTo>
                    <a:pt x="822" y="267"/>
                  </a:lnTo>
                  <a:lnTo>
                    <a:pt x="818" y="267"/>
                  </a:lnTo>
                  <a:lnTo>
                    <a:pt x="818" y="263"/>
                  </a:lnTo>
                  <a:lnTo>
                    <a:pt x="822" y="263"/>
                  </a:lnTo>
                  <a:lnTo>
                    <a:pt x="822" y="259"/>
                  </a:lnTo>
                  <a:lnTo>
                    <a:pt x="818" y="259"/>
                  </a:lnTo>
                  <a:lnTo>
                    <a:pt x="822" y="255"/>
                  </a:lnTo>
                  <a:lnTo>
                    <a:pt x="825" y="255"/>
                  </a:lnTo>
                  <a:lnTo>
                    <a:pt x="825" y="259"/>
                  </a:lnTo>
                  <a:lnTo>
                    <a:pt x="829" y="259"/>
                  </a:lnTo>
                  <a:lnTo>
                    <a:pt x="829" y="255"/>
                  </a:lnTo>
                  <a:lnTo>
                    <a:pt x="833" y="255"/>
                  </a:lnTo>
                  <a:close/>
                  <a:moveTo>
                    <a:pt x="774" y="331"/>
                  </a:moveTo>
                  <a:lnTo>
                    <a:pt x="770" y="331"/>
                  </a:lnTo>
                  <a:lnTo>
                    <a:pt x="766" y="331"/>
                  </a:lnTo>
                  <a:lnTo>
                    <a:pt x="762" y="331"/>
                  </a:lnTo>
                  <a:lnTo>
                    <a:pt x="762" y="327"/>
                  </a:lnTo>
                  <a:lnTo>
                    <a:pt x="758" y="327"/>
                  </a:lnTo>
                  <a:lnTo>
                    <a:pt x="754" y="327"/>
                  </a:lnTo>
                  <a:lnTo>
                    <a:pt x="750" y="327"/>
                  </a:lnTo>
                  <a:lnTo>
                    <a:pt x="746" y="327"/>
                  </a:lnTo>
                  <a:lnTo>
                    <a:pt x="742" y="327"/>
                  </a:lnTo>
                  <a:lnTo>
                    <a:pt x="738" y="327"/>
                  </a:lnTo>
                  <a:lnTo>
                    <a:pt x="734" y="327"/>
                  </a:lnTo>
                  <a:lnTo>
                    <a:pt x="734" y="323"/>
                  </a:lnTo>
                  <a:lnTo>
                    <a:pt x="738" y="323"/>
                  </a:lnTo>
                  <a:lnTo>
                    <a:pt x="742" y="323"/>
                  </a:lnTo>
                  <a:lnTo>
                    <a:pt x="746" y="323"/>
                  </a:lnTo>
                  <a:lnTo>
                    <a:pt x="750" y="323"/>
                  </a:lnTo>
                  <a:lnTo>
                    <a:pt x="754" y="323"/>
                  </a:lnTo>
                  <a:lnTo>
                    <a:pt x="758" y="323"/>
                  </a:lnTo>
                  <a:lnTo>
                    <a:pt x="762" y="323"/>
                  </a:lnTo>
                  <a:lnTo>
                    <a:pt x="766" y="323"/>
                  </a:lnTo>
                  <a:lnTo>
                    <a:pt x="770" y="323"/>
                  </a:lnTo>
                  <a:lnTo>
                    <a:pt x="770" y="327"/>
                  </a:lnTo>
                  <a:lnTo>
                    <a:pt x="774" y="327"/>
                  </a:lnTo>
                  <a:lnTo>
                    <a:pt x="770" y="327"/>
                  </a:lnTo>
                  <a:lnTo>
                    <a:pt x="770" y="331"/>
                  </a:lnTo>
                  <a:lnTo>
                    <a:pt x="774" y="331"/>
                  </a:lnTo>
                  <a:close/>
                  <a:moveTo>
                    <a:pt x="766" y="347"/>
                  </a:moveTo>
                  <a:lnTo>
                    <a:pt x="762" y="347"/>
                  </a:lnTo>
                  <a:lnTo>
                    <a:pt x="758" y="343"/>
                  </a:lnTo>
                  <a:lnTo>
                    <a:pt x="754" y="343"/>
                  </a:lnTo>
                  <a:lnTo>
                    <a:pt x="750" y="339"/>
                  </a:lnTo>
                  <a:lnTo>
                    <a:pt x="742" y="339"/>
                  </a:lnTo>
                  <a:lnTo>
                    <a:pt x="742" y="335"/>
                  </a:lnTo>
                  <a:lnTo>
                    <a:pt x="738" y="335"/>
                  </a:lnTo>
                  <a:lnTo>
                    <a:pt x="734" y="327"/>
                  </a:lnTo>
                  <a:lnTo>
                    <a:pt x="738" y="327"/>
                  </a:lnTo>
                  <a:lnTo>
                    <a:pt x="742" y="327"/>
                  </a:lnTo>
                  <a:lnTo>
                    <a:pt x="746" y="327"/>
                  </a:lnTo>
                  <a:lnTo>
                    <a:pt x="750" y="327"/>
                  </a:lnTo>
                  <a:lnTo>
                    <a:pt x="754" y="327"/>
                  </a:lnTo>
                  <a:lnTo>
                    <a:pt x="754" y="331"/>
                  </a:lnTo>
                  <a:lnTo>
                    <a:pt x="758" y="331"/>
                  </a:lnTo>
                  <a:lnTo>
                    <a:pt x="762" y="331"/>
                  </a:lnTo>
                  <a:lnTo>
                    <a:pt x="762" y="335"/>
                  </a:lnTo>
                  <a:lnTo>
                    <a:pt x="766" y="335"/>
                  </a:lnTo>
                  <a:lnTo>
                    <a:pt x="770" y="335"/>
                  </a:lnTo>
                  <a:lnTo>
                    <a:pt x="774" y="339"/>
                  </a:lnTo>
                  <a:lnTo>
                    <a:pt x="770" y="339"/>
                  </a:lnTo>
                  <a:lnTo>
                    <a:pt x="766" y="339"/>
                  </a:lnTo>
                  <a:lnTo>
                    <a:pt x="762" y="339"/>
                  </a:lnTo>
                  <a:lnTo>
                    <a:pt x="762" y="343"/>
                  </a:lnTo>
                  <a:lnTo>
                    <a:pt x="766" y="343"/>
                  </a:lnTo>
                  <a:lnTo>
                    <a:pt x="770" y="343"/>
                  </a:lnTo>
                  <a:lnTo>
                    <a:pt x="770" y="347"/>
                  </a:lnTo>
                  <a:lnTo>
                    <a:pt x="766" y="347"/>
                  </a:lnTo>
                  <a:close/>
                  <a:moveTo>
                    <a:pt x="263" y="355"/>
                  </a:moveTo>
                  <a:lnTo>
                    <a:pt x="267" y="355"/>
                  </a:lnTo>
                  <a:lnTo>
                    <a:pt x="263" y="355"/>
                  </a:lnTo>
                  <a:lnTo>
                    <a:pt x="259" y="355"/>
                  </a:lnTo>
                  <a:lnTo>
                    <a:pt x="263" y="355"/>
                  </a:lnTo>
                  <a:close/>
                  <a:moveTo>
                    <a:pt x="299" y="363"/>
                  </a:moveTo>
                  <a:lnTo>
                    <a:pt x="295" y="363"/>
                  </a:lnTo>
                  <a:lnTo>
                    <a:pt x="295" y="359"/>
                  </a:lnTo>
                  <a:lnTo>
                    <a:pt x="299" y="359"/>
                  </a:lnTo>
                  <a:lnTo>
                    <a:pt x="303" y="363"/>
                  </a:lnTo>
                  <a:lnTo>
                    <a:pt x="307" y="363"/>
                  </a:lnTo>
                  <a:lnTo>
                    <a:pt x="307" y="359"/>
                  </a:lnTo>
                  <a:lnTo>
                    <a:pt x="307" y="363"/>
                  </a:lnTo>
                  <a:lnTo>
                    <a:pt x="303" y="363"/>
                  </a:lnTo>
                  <a:lnTo>
                    <a:pt x="299" y="363"/>
                  </a:lnTo>
                  <a:close/>
                  <a:moveTo>
                    <a:pt x="299" y="371"/>
                  </a:moveTo>
                  <a:lnTo>
                    <a:pt x="303" y="371"/>
                  </a:lnTo>
                  <a:lnTo>
                    <a:pt x="303" y="367"/>
                  </a:lnTo>
                  <a:lnTo>
                    <a:pt x="307" y="371"/>
                  </a:lnTo>
                  <a:lnTo>
                    <a:pt x="311" y="371"/>
                  </a:lnTo>
                  <a:lnTo>
                    <a:pt x="307" y="371"/>
                  </a:lnTo>
                  <a:lnTo>
                    <a:pt x="307" y="375"/>
                  </a:lnTo>
                  <a:lnTo>
                    <a:pt x="303" y="375"/>
                  </a:lnTo>
                  <a:lnTo>
                    <a:pt x="299" y="375"/>
                  </a:lnTo>
                  <a:lnTo>
                    <a:pt x="299" y="371"/>
                  </a:lnTo>
                  <a:close/>
                  <a:moveTo>
                    <a:pt x="295" y="371"/>
                  </a:moveTo>
                  <a:lnTo>
                    <a:pt x="295" y="375"/>
                  </a:lnTo>
                  <a:lnTo>
                    <a:pt x="295" y="379"/>
                  </a:lnTo>
                  <a:lnTo>
                    <a:pt x="291" y="379"/>
                  </a:lnTo>
                  <a:lnTo>
                    <a:pt x="287" y="375"/>
                  </a:lnTo>
                  <a:lnTo>
                    <a:pt x="291" y="375"/>
                  </a:lnTo>
                  <a:lnTo>
                    <a:pt x="291" y="371"/>
                  </a:lnTo>
                  <a:lnTo>
                    <a:pt x="295" y="371"/>
                  </a:lnTo>
                  <a:close/>
                  <a:moveTo>
                    <a:pt x="718" y="379"/>
                  </a:moveTo>
                  <a:lnTo>
                    <a:pt x="722" y="383"/>
                  </a:lnTo>
                  <a:lnTo>
                    <a:pt x="722" y="387"/>
                  </a:lnTo>
                  <a:lnTo>
                    <a:pt x="718" y="391"/>
                  </a:lnTo>
                  <a:lnTo>
                    <a:pt x="714" y="391"/>
                  </a:lnTo>
                  <a:lnTo>
                    <a:pt x="710" y="391"/>
                  </a:lnTo>
                  <a:lnTo>
                    <a:pt x="706" y="391"/>
                  </a:lnTo>
                  <a:lnTo>
                    <a:pt x="702" y="391"/>
                  </a:lnTo>
                  <a:lnTo>
                    <a:pt x="698" y="391"/>
                  </a:lnTo>
                  <a:lnTo>
                    <a:pt x="694" y="395"/>
                  </a:lnTo>
                  <a:lnTo>
                    <a:pt x="686" y="395"/>
                  </a:lnTo>
                  <a:lnTo>
                    <a:pt x="682" y="395"/>
                  </a:lnTo>
                  <a:lnTo>
                    <a:pt x="678" y="395"/>
                  </a:lnTo>
                  <a:lnTo>
                    <a:pt x="678" y="391"/>
                  </a:lnTo>
                  <a:lnTo>
                    <a:pt x="682" y="391"/>
                  </a:lnTo>
                  <a:lnTo>
                    <a:pt x="686" y="391"/>
                  </a:lnTo>
                  <a:lnTo>
                    <a:pt x="686" y="387"/>
                  </a:lnTo>
                  <a:lnTo>
                    <a:pt x="690" y="387"/>
                  </a:lnTo>
                  <a:lnTo>
                    <a:pt x="694" y="383"/>
                  </a:lnTo>
                  <a:lnTo>
                    <a:pt x="698" y="383"/>
                  </a:lnTo>
                  <a:lnTo>
                    <a:pt x="702" y="383"/>
                  </a:lnTo>
                  <a:lnTo>
                    <a:pt x="706" y="383"/>
                  </a:lnTo>
                  <a:lnTo>
                    <a:pt x="706" y="379"/>
                  </a:lnTo>
                  <a:lnTo>
                    <a:pt x="710" y="379"/>
                  </a:lnTo>
                  <a:lnTo>
                    <a:pt x="714" y="379"/>
                  </a:lnTo>
                  <a:lnTo>
                    <a:pt x="718" y="379"/>
                  </a:lnTo>
                  <a:close/>
                  <a:moveTo>
                    <a:pt x="319" y="379"/>
                  </a:moveTo>
                  <a:lnTo>
                    <a:pt x="323" y="383"/>
                  </a:lnTo>
                  <a:lnTo>
                    <a:pt x="319" y="383"/>
                  </a:lnTo>
                  <a:lnTo>
                    <a:pt x="315" y="383"/>
                  </a:lnTo>
                  <a:lnTo>
                    <a:pt x="315" y="379"/>
                  </a:lnTo>
                  <a:lnTo>
                    <a:pt x="319" y="379"/>
                  </a:lnTo>
                  <a:close/>
                  <a:moveTo>
                    <a:pt x="694" y="383"/>
                  </a:moveTo>
                  <a:lnTo>
                    <a:pt x="690" y="383"/>
                  </a:lnTo>
                  <a:lnTo>
                    <a:pt x="686" y="387"/>
                  </a:lnTo>
                  <a:lnTo>
                    <a:pt x="686" y="383"/>
                  </a:lnTo>
                  <a:lnTo>
                    <a:pt x="690" y="383"/>
                  </a:lnTo>
                  <a:lnTo>
                    <a:pt x="694" y="383"/>
                  </a:lnTo>
                  <a:close/>
                  <a:moveTo>
                    <a:pt x="323" y="391"/>
                  </a:moveTo>
                  <a:lnTo>
                    <a:pt x="323" y="387"/>
                  </a:lnTo>
                  <a:lnTo>
                    <a:pt x="319" y="387"/>
                  </a:lnTo>
                  <a:lnTo>
                    <a:pt x="323" y="387"/>
                  </a:lnTo>
                  <a:lnTo>
                    <a:pt x="327" y="387"/>
                  </a:lnTo>
                  <a:lnTo>
                    <a:pt x="323" y="391"/>
                  </a:lnTo>
                  <a:close/>
                  <a:moveTo>
                    <a:pt x="710" y="391"/>
                  </a:moveTo>
                  <a:lnTo>
                    <a:pt x="710" y="395"/>
                  </a:lnTo>
                  <a:lnTo>
                    <a:pt x="706" y="395"/>
                  </a:lnTo>
                  <a:lnTo>
                    <a:pt x="706" y="391"/>
                  </a:lnTo>
                  <a:lnTo>
                    <a:pt x="710" y="391"/>
                  </a:lnTo>
                  <a:close/>
                  <a:moveTo>
                    <a:pt x="271" y="395"/>
                  </a:moveTo>
                  <a:lnTo>
                    <a:pt x="275" y="395"/>
                  </a:lnTo>
                  <a:lnTo>
                    <a:pt x="279" y="395"/>
                  </a:lnTo>
                  <a:lnTo>
                    <a:pt x="275" y="395"/>
                  </a:lnTo>
                  <a:lnTo>
                    <a:pt x="271" y="395"/>
                  </a:lnTo>
                  <a:close/>
                  <a:moveTo>
                    <a:pt x="283" y="423"/>
                  </a:moveTo>
                  <a:lnTo>
                    <a:pt x="287" y="423"/>
                  </a:lnTo>
                  <a:lnTo>
                    <a:pt x="291" y="423"/>
                  </a:lnTo>
                  <a:lnTo>
                    <a:pt x="295" y="423"/>
                  </a:lnTo>
                  <a:lnTo>
                    <a:pt x="295" y="419"/>
                  </a:lnTo>
                  <a:lnTo>
                    <a:pt x="299" y="419"/>
                  </a:lnTo>
                  <a:lnTo>
                    <a:pt x="295" y="419"/>
                  </a:lnTo>
                  <a:lnTo>
                    <a:pt x="291" y="419"/>
                  </a:lnTo>
                  <a:lnTo>
                    <a:pt x="291" y="423"/>
                  </a:lnTo>
                  <a:lnTo>
                    <a:pt x="291" y="419"/>
                  </a:lnTo>
                  <a:lnTo>
                    <a:pt x="287" y="419"/>
                  </a:lnTo>
                  <a:lnTo>
                    <a:pt x="291" y="419"/>
                  </a:lnTo>
                  <a:lnTo>
                    <a:pt x="287" y="419"/>
                  </a:lnTo>
                  <a:lnTo>
                    <a:pt x="279" y="419"/>
                  </a:lnTo>
                  <a:lnTo>
                    <a:pt x="275" y="419"/>
                  </a:lnTo>
                  <a:lnTo>
                    <a:pt x="271" y="415"/>
                  </a:lnTo>
                  <a:lnTo>
                    <a:pt x="275" y="415"/>
                  </a:lnTo>
                  <a:lnTo>
                    <a:pt x="279" y="415"/>
                  </a:lnTo>
                  <a:lnTo>
                    <a:pt x="283" y="415"/>
                  </a:lnTo>
                  <a:lnTo>
                    <a:pt x="279" y="415"/>
                  </a:lnTo>
                  <a:lnTo>
                    <a:pt x="279" y="411"/>
                  </a:lnTo>
                  <a:lnTo>
                    <a:pt x="275" y="411"/>
                  </a:lnTo>
                  <a:lnTo>
                    <a:pt x="275" y="407"/>
                  </a:lnTo>
                  <a:lnTo>
                    <a:pt x="279" y="407"/>
                  </a:lnTo>
                  <a:lnTo>
                    <a:pt x="283" y="407"/>
                  </a:lnTo>
                  <a:lnTo>
                    <a:pt x="283" y="411"/>
                  </a:lnTo>
                  <a:lnTo>
                    <a:pt x="283" y="407"/>
                  </a:lnTo>
                  <a:lnTo>
                    <a:pt x="279" y="407"/>
                  </a:lnTo>
                  <a:lnTo>
                    <a:pt x="275" y="407"/>
                  </a:lnTo>
                  <a:lnTo>
                    <a:pt x="275" y="403"/>
                  </a:lnTo>
                  <a:lnTo>
                    <a:pt x="275" y="399"/>
                  </a:lnTo>
                  <a:lnTo>
                    <a:pt x="279" y="399"/>
                  </a:lnTo>
                  <a:lnTo>
                    <a:pt x="283" y="399"/>
                  </a:lnTo>
                  <a:lnTo>
                    <a:pt x="287" y="399"/>
                  </a:lnTo>
                  <a:lnTo>
                    <a:pt x="291" y="399"/>
                  </a:lnTo>
                  <a:lnTo>
                    <a:pt x="295" y="399"/>
                  </a:lnTo>
                  <a:lnTo>
                    <a:pt x="299" y="403"/>
                  </a:lnTo>
                  <a:lnTo>
                    <a:pt x="303" y="403"/>
                  </a:lnTo>
                  <a:lnTo>
                    <a:pt x="303" y="407"/>
                  </a:lnTo>
                  <a:lnTo>
                    <a:pt x="307" y="407"/>
                  </a:lnTo>
                  <a:lnTo>
                    <a:pt x="307" y="411"/>
                  </a:lnTo>
                  <a:lnTo>
                    <a:pt x="311" y="411"/>
                  </a:lnTo>
                  <a:lnTo>
                    <a:pt x="315" y="411"/>
                  </a:lnTo>
                  <a:lnTo>
                    <a:pt x="319" y="411"/>
                  </a:lnTo>
                  <a:lnTo>
                    <a:pt x="319" y="415"/>
                  </a:lnTo>
                  <a:lnTo>
                    <a:pt x="319" y="419"/>
                  </a:lnTo>
                  <a:lnTo>
                    <a:pt x="315" y="419"/>
                  </a:lnTo>
                  <a:lnTo>
                    <a:pt x="315" y="423"/>
                  </a:lnTo>
                  <a:lnTo>
                    <a:pt x="311" y="423"/>
                  </a:lnTo>
                  <a:lnTo>
                    <a:pt x="307" y="423"/>
                  </a:lnTo>
                  <a:lnTo>
                    <a:pt x="303" y="423"/>
                  </a:lnTo>
                  <a:lnTo>
                    <a:pt x="299" y="427"/>
                  </a:lnTo>
                  <a:lnTo>
                    <a:pt x="295" y="427"/>
                  </a:lnTo>
                  <a:lnTo>
                    <a:pt x="291" y="427"/>
                  </a:lnTo>
                  <a:lnTo>
                    <a:pt x="287" y="427"/>
                  </a:lnTo>
                  <a:lnTo>
                    <a:pt x="287" y="423"/>
                  </a:lnTo>
                  <a:lnTo>
                    <a:pt x="283" y="423"/>
                  </a:lnTo>
                  <a:close/>
                  <a:moveTo>
                    <a:pt x="331" y="411"/>
                  </a:moveTo>
                  <a:lnTo>
                    <a:pt x="335" y="411"/>
                  </a:lnTo>
                  <a:lnTo>
                    <a:pt x="339" y="411"/>
                  </a:lnTo>
                  <a:lnTo>
                    <a:pt x="335" y="415"/>
                  </a:lnTo>
                  <a:lnTo>
                    <a:pt x="335" y="419"/>
                  </a:lnTo>
                  <a:lnTo>
                    <a:pt x="331" y="419"/>
                  </a:lnTo>
                  <a:lnTo>
                    <a:pt x="327" y="415"/>
                  </a:lnTo>
                  <a:lnTo>
                    <a:pt x="327" y="411"/>
                  </a:lnTo>
                  <a:lnTo>
                    <a:pt x="331" y="411"/>
                  </a:lnTo>
                  <a:lnTo>
                    <a:pt x="327" y="411"/>
                  </a:lnTo>
                  <a:lnTo>
                    <a:pt x="331" y="411"/>
                  </a:lnTo>
                  <a:lnTo>
                    <a:pt x="331" y="407"/>
                  </a:lnTo>
                  <a:lnTo>
                    <a:pt x="331" y="411"/>
                  </a:lnTo>
                  <a:close/>
                  <a:moveTo>
                    <a:pt x="315" y="443"/>
                  </a:moveTo>
                  <a:lnTo>
                    <a:pt x="311" y="443"/>
                  </a:lnTo>
                  <a:lnTo>
                    <a:pt x="307" y="443"/>
                  </a:lnTo>
                  <a:lnTo>
                    <a:pt x="303" y="443"/>
                  </a:lnTo>
                  <a:lnTo>
                    <a:pt x="303" y="447"/>
                  </a:lnTo>
                  <a:lnTo>
                    <a:pt x="299" y="447"/>
                  </a:lnTo>
                  <a:lnTo>
                    <a:pt x="303" y="443"/>
                  </a:lnTo>
                  <a:lnTo>
                    <a:pt x="307" y="443"/>
                  </a:lnTo>
                  <a:lnTo>
                    <a:pt x="303" y="443"/>
                  </a:lnTo>
                  <a:lnTo>
                    <a:pt x="307" y="443"/>
                  </a:lnTo>
                  <a:lnTo>
                    <a:pt x="311" y="443"/>
                  </a:lnTo>
                  <a:lnTo>
                    <a:pt x="315" y="443"/>
                  </a:lnTo>
                  <a:close/>
                  <a:moveTo>
                    <a:pt x="315" y="455"/>
                  </a:moveTo>
                  <a:lnTo>
                    <a:pt x="319" y="455"/>
                  </a:lnTo>
                  <a:lnTo>
                    <a:pt x="323" y="455"/>
                  </a:lnTo>
                  <a:lnTo>
                    <a:pt x="327" y="455"/>
                  </a:lnTo>
                  <a:lnTo>
                    <a:pt x="323" y="455"/>
                  </a:lnTo>
                  <a:lnTo>
                    <a:pt x="319" y="455"/>
                  </a:lnTo>
                  <a:lnTo>
                    <a:pt x="319" y="459"/>
                  </a:lnTo>
                  <a:lnTo>
                    <a:pt x="315" y="459"/>
                  </a:lnTo>
                  <a:lnTo>
                    <a:pt x="311" y="455"/>
                  </a:lnTo>
                  <a:lnTo>
                    <a:pt x="315" y="455"/>
                  </a:lnTo>
                  <a:close/>
                  <a:moveTo>
                    <a:pt x="654" y="455"/>
                  </a:moveTo>
                  <a:lnTo>
                    <a:pt x="654" y="459"/>
                  </a:lnTo>
                  <a:lnTo>
                    <a:pt x="654" y="455"/>
                  </a:lnTo>
                  <a:lnTo>
                    <a:pt x="650" y="455"/>
                  </a:lnTo>
                  <a:lnTo>
                    <a:pt x="654" y="455"/>
                  </a:lnTo>
                  <a:close/>
                  <a:moveTo>
                    <a:pt x="319" y="459"/>
                  </a:moveTo>
                  <a:lnTo>
                    <a:pt x="327" y="455"/>
                  </a:lnTo>
                  <a:lnTo>
                    <a:pt x="331" y="459"/>
                  </a:lnTo>
                  <a:lnTo>
                    <a:pt x="327" y="459"/>
                  </a:lnTo>
                  <a:lnTo>
                    <a:pt x="323" y="459"/>
                  </a:lnTo>
                  <a:lnTo>
                    <a:pt x="319" y="459"/>
                  </a:lnTo>
                  <a:close/>
                  <a:moveTo>
                    <a:pt x="295" y="459"/>
                  </a:moveTo>
                  <a:lnTo>
                    <a:pt x="299" y="459"/>
                  </a:lnTo>
                  <a:lnTo>
                    <a:pt x="295" y="459"/>
                  </a:lnTo>
                  <a:close/>
                  <a:moveTo>
                    <a:pt x="291" y="471"/>
                  </a:moveTo>
                  <a:lnTo>
                    <a:pt x="291" y="467"/>
                  </a:lnTo>
                  <a:lnTo>
                    <a:pt x="295" y="467"/>
                  </a:lnTo>
                  <a:lnTo>
                    <a:pt x="291" y="471"/>
                  </a:lnTo>
                  <a:close/>
                  <a:moveTo>
                    <a:pt x="291" y="511"/>
                  </a:moveTo>
                  <a:lnTo>
                    <a:pt x="295" y="511"/>
                  </a:lnTo>
                  <a:lnTo>
                    <a:pt x="291" y="511"/>
                  </a:lnTo>
                  <a:close/>
                  <a:moveTo>
                    <a:pt x="550" y="519"/>
                  </a:moveTo>
                  <a:lnTo>
                    <a:pt x="550" y="515"/>
                  </a:lnTo>
                  <a:lnTo>
                    <a:pt x="550" y="519"/>
                  </a:lnTo>
                  <a:close/>
                  <a:moveTo>
                    <a:pt x="554" y="519"/>
                  </a:moveTo>
                  <a:lnTo>
                    <a:pt x="554" y="515"/>
                  </a:lnTo>
                  <a:lnTo>
                    <a:pt x="558" y="515"/>
                  </a:lnTo>
                  <a:lnTo>
                    <a:pt x="558" y="519"/>
                  </a:lnTo>
                  <a:lnTo>
                    <a:pt x="554" y="519"/>
                  </a:lnTo>
                  <a:close/>
                  <a:moveTo>
                    <a:pt x="534" y="523"/>
                  </a:moveTo>
                  <a:lnTo>
                    <a:pt x="530" y="523"/>
                  </a:lnTo>
                  <a:lnTo>
                    <a:pt x="530" y="519"/>
                  </a:lnTo>
                  <a:lnTo>
                    <a:pt x="530" y="515"/>
                  </a:lnTo>
                  <a:lnTo>
                    <a:pt x="534" y="515"/>
                  </a:lnTo>
                  <a:lnTo>
                    <a:pt x="538" y="515"/>
                  </a:lnTo>
                  <a:lnTo>
                    <a:pt x="538" y="519"/>
                  </a:lnTo>
                  <a:lnTo>
                    <a:pt x="542" y="519"/>
                  </a:lnTo>
                  <a:lnTo>
                    <a:pt x="538" y="519"/>
                  </a:lnTo>
                  <a:lnTo>
                    <a:pt x="538" y="523"/>
                  </a:lnTo>
                  <a:lnTo>
                    <a:pt x="534" y="523"/>
                  </a:lnTo>
                  <a:close/>
                  <a:moveTo>
                    <a:pt x="506" y="531"/>
                  </a:moveTo>
                  <a:lnTo>
                    <a:pt x="502" y="531"/>
                  </a:lnTo>
                  <a:lnTo>
                    <a:pt x="506" y="531"/>
                  </a:lnTo>
                  <a:close/>
                  <a:moveTo>
                    <a:pt x="494" y="555"/>
                  </a:moveTo>
                  <a:lnTo>
                    <a:pt x="494" y="551"/>
                  </a:lnTo>
                  <a:lnTo>
                    <a:pt x="490" y="551"/>
                  </a:lnTo>
                  <a:lnTo>
                    <a:pt x="490" y="547"/>
                  </a:lnTo>
                  <a:lnTo>
                    <a:pt x="486" y="543"/>
                  </a:lnTo>
                  <a:lnTo>
                    <a:pt x="490" y="543"/>
                  </a:lnTo>
                  <a:lnTo>
                    <a:pt x="494" y="547"/>
                  </a:lnTo>
                  <a:lnTo>
                    <a:pt x="490" y="547"/>
                  </a:lnTo>
                  <a:lnTo>
                    <a:pt x="494" y="551"/>
                  </a:lnTo>
                  <a:lnTo>
                    <a:pt x="498" y="551"/>
                  </a:lnTo>
                  <a:lnTo>
                    <a:pt x="498" y="555"/>
                  </a:lnTo>
                  <a:lnTo>
                    <a:pt x="494" y="555"/>
                  </a:lnTo>
                  <a:close/>
                  <a:moveTo>
                    <a:pt x="331" y="551"/>
                  </a:moveTo>
                  <a:lnTo>
                    <a:pt x="331" y="555"/>
                  </a:lnTo>
                  <a:lnTo>
                    <a:pt x="327" y="555"/>
                  </a:lnTo>
                  <a:lnTo>
                    <a:pt x="327" y="551"/>
                  </a:lnTo>
                  <a:lnTo>
                    <a:pt x="331" y="551"/>
                  </a:lnTo>
                  <a:close/>
                  <a:moveTo>
                    <a:pt x="335" y="551"/>
                  </a:moveTo>
                  <a:lnTo>
                    <a:pt x="335" y="555"/>
                  </a:lnTo>
                  <a:lnTo>
                    <a:pt x="331" y="555"/>
                  </a:lnTo>
                  <a:lnTo>
                    <a:pt x="331" y="559"/>
                  </a:lnTo>
                  <a:lnTo>
                    <a:pt x="327" y="559"/>
                  </a:lnTo>
                  <a:lnTo>
                    <a:pt x="331" y="555"/>
                  </a:lnTo>
                  <a:lnTo>
                    <a:pt x="331" y="551"/>
                  </a:lnTo>
                  <a:lnTo>
                    <a:pt x="335" y="551"/>
                  </a:lnTo>
                  <a:close/>
                  <a:moveTo>
                    <a:pt x="327" y="555"/>
                  </a:moveTo>
                  <a:lnTo>
                    <a:pt x="327" y="559"/>
                  </a:lnTo>
                  <a:lnTo>
                    <a:pt x="323" y="559"/>
                  </a:lnTo>
                  <a:lnTo>
                    <a:pt x="327" y="555"/>
                  </a:lnTo>
                  <a:close/>
                  <a:moveTo>
                    <a:pt x="482" y="559"/>
                  </a:moveTo>
                  <a:lnTo>
                    <a:pt x="478" y="559"/>
                  </a:lnTo>
                  <a:lnTo>
                    <a:pt x="478" y="555"/>
                  </a:lnTo>
                  <a:lnTo>
                    <a:pt x="482" y="55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7" name="Freeform 64"/>
            <p:cNvSpPr>
              <a:spLocks/>
            </p:cNvSpPr>
            <p:nvPr>
              <p:custDataLst>
                <p:tags r:id="rId260"/>
              </p:custDataLst>
            </p:nvPr>
          </p:nvSpPr>
          <p:spPr bwMode="gray">
            <a:xfrm>
              <a:off x="2305704" y="4106544"/>
              <a:ext cx="87500" cy="112713"/>
            </a:xfrm>
            <a:custGeom>
              <a:avLst/>
              <a:gdLst/>
              <a:ahLst/>
              <a:cxnLst>
                <a:cxn ang="0">
                  <a:pos x="40" y="64"/>
                </a:cxn>
                <a:cxn ang="0">
                  <a:pos x="40" y="68"/>
                </a:cxn>
                <a:cxn ang="0">
                  <a:pos x="40" y="68"/>
                </a:cxn>
                <a:cxn ang="0">
                  <a:pos x="40" y="68"/>
                </a:cxn>
                <a:cxn ang="0">
                  <a:pos x="36" y="72"/>
                </a:cxn>
                <a:cxn ang="0">
                  <a:pos x="32" y="76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2"/>
                </a:cxn>
                <a:cxn ang="0">
                  <a:pos x="24" y="72"/>
                </a:cxn>
                <a:cxn ang="0">
                  <a:pos x="16" y="72"/>
                </a:cxn>
                <a:cxn ang="0">
                  <a:pos x="12" y="72"/>
                </a:cxn>
                <a:cxn ang="0">
                  <a:pos x="8" y="72"/>
                </a:cxn>
                <a:cxn ang="0">
                  <a:pos x="8" y="68"/>
                </a:cxn>
                <a:cxn ang="0">
                  <a:pos x="4" y="68"/>
                </a:cxn>
                <a:cxn ang="0">
                  <a:pos x="0" y="64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0" y="56"/>
                </a:cxn>
                <a:cxn ang="0">
                  <a:pos x="0" y="48"/>
                </a:cxn>
                <a:cxn ang="0">
                  <a:pos x="8" y="32"/>
                </a:cxn>
                <a:cxn ang="0">
                  <a:pos x="20" y="32"/>
                </a:cxn>
                <a:cxn ang="0">
                  <a:pos x="28" y="32"/>
                </a:cxn>
                <a:cxn ang="0">
                  <a:pos x="28" y="32"/>
                </a:cxn>
                <a:cxn ang="0">
                  <a:pos x="28" y="28"/>
                </a:cxn>
                <a:cxn ang="0">
                  <a:pos x="24" y="28"/>
                </a:cxn>
                <a:cxn ang="0">
                  <a:pos x="24" y="24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16" y="16"/>
                </a:cxn>
                <a:cxn ang="0">
                  <a:pos x="12" y="12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44" y="0"/>
                </a:cxn>
                <a:cxn ang="0">
                  <a:pos x="48" y="16"/>
                </a:cxn>
                <a:cxn ang="0">
                  <a:pos x="44" y="36"/>
                </a:cxn>
                <a:cxn ang="0">
                  <a:pos x="52" y="36"/>
                </a:cxn>
                <a:cxn ang="0">
                  <a:pos x="52" y="36"/>
                </a:cxn>
                <a:cxn ang="0">
                  <a:pos x="56" y="40"/>
                </a:cxn>
                <a:cxn ang="0">
                  <a:pos x="56" y="36"/>
                </a:cxn>
                <a:cxn ang="0">
                  <a:pos x="59" y="40"/>
                </a:cxn>
                <a:cxn ang="0">
                  <a:pos x="59" y="40"/>
                </a:cxn>
                <a:cxn ang="0">
                  <a:pos x="56" y="48"/>
                </a:cxn>
                <a:cxn ang="0">
                  <a:pos x="48" y="52"/>
                </a:cxn>
                <a:cxn ang="0">
                  <a:pos x="48" y="52"/>
                </a:cxn>
                <a:cxn ang="0">
                  <a:pos x="44" y="56"/>
                </a:cxn>
                <a:cxn ang="0">
                  <a:pos x="48" y="60"/>
                </a:cxn>
                <a:cxn ang="0">
                  <a:pos x="44" y="64"/>
                </a:cxn>
              </a:cxnLst>
              <a:rect l="0" t="0" r="r" b="b"/>
              <a:pathLst>
                <a:path w="59" h="76">
                  <a:moveTo>
                    <a:pt x="44" y="64"/>
                  </a:moveTo>
                  <a:lnTo>
                    <a:pt x="44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20" y="12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16"/>
                  </a:lnTo>
                  <a:lnTo>
                    <a:pt x="48" y="28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9" y="36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4" y="6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8" name="Freeform 65"/>
            <p:cNvSpPr>
              <a:spLocks noEditPoints="1"/>
            </p:cNvSpPr>
            <p:nvPr>
              <p:custDataLst>
                <p:tags r:id="rId261"/>
              </p:custDataLst>
            </p:nvPr>
          </p:nvSpPr>
          <p:spPr bwMode="gray">
            <a:xfrm>
              <a:off x="2701682" y="4047221"/>
              <a:ext cx="65255" cy="53390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28" y="0"/>
                </a:cxn>
                <a:cxn ang="0">
                  <a:pos x="28" y="0"/>
                </a:cxn>
                <a:cxn ang="0">
                  <a:pos x="20" y="8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6" y="4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12"/>
                </a:cxn>
                <a:cxn ang="0">
                  <a:pos x="44" y="16"/>
                </a:cxn>
                <a:cxn ang="0">
                  <a:pos x="44" y="20"/>
                </a:cxn>
                <a:cxn ang="0">
                  <a:pos x="44" y="24"/>
                </a:cxn>
                <a:cxn ang="0">
                  <a:pos x="44" y="24"/>
                </a:cxn>
                <a:cxn ang="0">
                  <a:pos x="40" y="24"/>
                </a:cxn>
                <a:cxn ang="0">
                  <a:pos x="40" y="24"/>
                </a:cxn>
                <a:cxn ang="0">
                  <a:pos x="40" y="28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36"/>
                </a:cxn>
                <a:cxn ang="0">
                  <a:pos x="40" y="36"/>
                </a:cxn>
                <a:cxn ang="0">
                  <a:pos x="36" y="32"/>
                </a:cxn>
                <a:cxn ang="0">
                  <a:pos x="32" y="32"/>
                </a:cxn>
                <a:cxn ang="0">
                  <a:pos x="28" y="36"/>
                </a:cxn>
                <a:cxn ang="0">
                  <a:pos x="28" y="36"/>
                </a:cxn>
                <a:cxn ang="0">
                  <a:pos x="24" y="36"/>
                </a:cxn>
                <a:cxn ang="0">
                  <a:pos x="20" y="32"/>
                </a:cxn>
                <a:cxn ang="0">
                  <a:pos x="12" y="36"/>
                </a:cxn>
                <a:cxn ang="0">
                  <a:pos x="12" y="36"/>
                </a:cxn>
                <a:cxn ang="0">
                  <a:pos x="12" y="36"/>
                </a:cxn>
                <a:cxn ang="0">
                  <a:pos x="12" y="36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0" y="32"/>
                </a:cxn>
                <a:cxn ang="0">
                  <a:pos x="4" y="24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16" y="28"/>
                </a:cxn>
                <a:cxn ang="0">
                  <a:pos x="12" y="28"/>
                </a:cxn>
                <a:cxn ang="0">
                  <a:pos x="16" y="28"/>
                </a:cxn>
                <a:cxn ang="0">
                  <a:pos x="20" y="28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28" y="28"/>
                </a:cxn>
                <a:cxn ang="0">
                  <a:pos x="32" y="28"/>
                </a:cxn>
                <a:cxn ang="0">
                  <a:pos x="32" y="28"/>
                </a:cxn>
                <a:cxn ang="0">
                  <a:pos x="32" y="24"/>
                </a:cxn>
                <a:cxn ang="0">
                  <a:pos x="32" y="24"/>
                </a:cxn>
                <a:cxn ang="0">
                  <a:pos x="28" y="20"/>
                </a:cxn>
                <a:cxn ang="0">
                  <a:pos x="28" y="12"/>
                </a:cxn>
                <a:cxn ang="0">
                  <a:pos x="24" y="8"/>
                </a:cxn>
                <a:cxn ang="0">
                  <a:pos x="24" y="24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8" y="24"/>
                </a:cxn>
                <a:cxn ang="0">
                  <a:pos x="28" y="24"/>
                </a:cxn>
              </a:cxnLst>
              <a:rect l="0" t="0" r="r" b="b"/>
              <a:pathLst>
                <a:path w="44" h="36">
                  <a:moveTo>
                    <a:pt x="28" y="0"/>
                  </a:moveTo>
                  <a:lnTo>
                    <a:pt x="28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close/>
                  <a:moveTo>
                    <a:pt x="24" y="8"/>
                  </a:move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close/>
                  <a:moveTo>
                    <a:pt x="28" y="24"/>
                  </a:moveTo>
                  <a:lnTo>
                    <a:pt x="2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9" name="Freeform 66"/>
            <p:cNvSpPr>
              <a:spLocks noEditPoints="1"/>
            </p:cNvSpPr>
            <p:nvPr>
              <p:custDataLst>
                <p:tags r:id="rId262"/>
              </p:custDataLst>
            </p:nvPr>
          </p:nvSpPr>
          <p:spPr bwMode="gray">
            <a:xfrm>
              <a:off x="2370958" y="4148069"/>
              <a:ext cx="140891" cy="94916"/>
            </a:xfrm>
            <a:custGeom>
              <a:avLst/>
              <a:gdLst/>
              <a:ahLst/>
              <a:cxnLst>
                <a:cxn ang="0">
                  <a:pos x="39" y="56"/>
                </a:cxn>
                <a:cxn ang="0">
                  <a:pos x="35" y="60"/>
                </a:cxn>
                <a:cxn ang="0">
                  <a:pos x="35" y="64"/>
                </a:cxn>
                <a:cxn ang="0">
                  <a:pos x="27" y="60"/>
                </a:cxn>
                <a:cxn ang="0">
                  <a:pos x="27" y="56"/>
                </a:cxn>
                <a:cxn ang="0">
                  <a:pos x="27" y="56"/>
                </a:cxn>
                <a:cxn ang="0">
                  <a:pos x="23" y="56"/>
                </a:cxn>
                <a:cxn ang="0">
                  <a:pos x="23" y="56"/>
                </a:cxn>
                <a:cxn ang="0">
                  <a:pos x="23" y="48"/>
                </a:cxn>
                <a:cxn ang="0">
                  <a:pos x="19" y="48"/>
                </a:cxn>
                <a:cxn ang="0">
                  <a:pos x="19" y="44"/>
                </a:cxn>
                <a:cxn ang="0">
                  <a:pos x="15" y="48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4" y="40"/>
                </a:cxn>
                <a:cxn ang="0">
                  <a:pos x="0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12" y="16"/>
                </a:cxn>
                <a:cxn ang="0">
                  <a:pos x="15" y="12"/>
                </a:cxn>
                <a:cxn ang="0">
                  <a:pos x="19" y="8"/>
                </a:cxn>
                <a:cxn ang="0">
                  <a:pos x="23" y="8"/>
                </a:cxn>
                <a:cxn ang="0">
                  <a:pos x="31" y="8"/>
                </a:cxn>
                <a:cxn ang="0">
                  <a:pos x="39" y="12"/>
                </a:cxn>
                <a:cxn ang="0">
                  <a:pos x="43" y="12"/>
                </a:cxn>
                <a:cxn ang="0">
                  <a:pos x="47" y="8"/>
                </a:cxn>
                <a:cxn ang="0">
                  <a:pos x="51" y="8"/>
                </a:cxn>
                <a:cxn ang="0">
                  <a:pos x="51" y="8"/>
                </a:cxn>
                <a:cxn ang="0">
                  <a:pos x="55" y="8"/>
                </a:cxn>
                <a:cxn ang="0">
                  <a:pos x="63" y="8"/>
                </a:cxn>
                <a:cxn ang="0">
                  <a:pos x="71" y="8"/>
                </a:cxn>
                <a:cxn ang="0">
                  <a:pos x="71" y="8"/>
                </a:cxn>
                <a:cxn ang="0">
                  <a:pos x="83" y="16"/>
                </a:cxn>
                <a:cxn ang="0">
                  <a:pos x="79" y="20"/>
                </a:cxn>
                <a:cxn ang="0">
                  <a:pos x="79" y="20"/>
                </a:cxn>
                <a:cxn ang="0">
                  <a:pos x="83" y="20"/>
                </a:cxn>
                <a:cxn ang="0">
                  <a:pos x="87" y="20"/>
                </a:cxn>
                <a:cxn ang="0">
                  <a:pos x="87" y="24"/>
                </a:cxn>
                <a:cxn ang="0">
                  <a:pos x="87" y="20"/>
                </a:cxn>
                <a:cxn ang="0">
                  <a:pos x="91" y="20"/>
                </a:cxn>
                <a:cxn ang="0">
                  <a:pos x="91" y="24"/>
                </a:cxn>
                <a:cxn ang="0">
                  <a:pos x="91" y="24"/>
                </a:cxn>
                <a:cxn ang="0">
                  <a:pos x="83" y="28"/>
                </a:cxn>
                <a:cxn ang="0">
                  <a:pos x="71" y="32"/>
                </a:cxn>
                <a:cxn ang="0">
                  <a:pos x="63" y="32"/>
                </a:cxn>
                <a:cxn ang="0">
                  <a:pos x="63" y="36"/>
                </a:cxn>
                <a:cxn ang="0">
                  <a:pos x="63" y="40"/>
                </a:cxn>
                <a:cxn ang="0">
                  <a:pos x="59" y="40"/>
                </a:cxn>
                <a:cxn ang="0">
                  <a:pos x="55" y="48"/>
                </a:cxn>
                <a:cxn ang="0">
                  <a:pos x="51" y="44"/>
                </a:cxn>
                <a:cxn ang="0">
                  <a:pos x="47" y="44"/>
                </a:cxn>
                <a:cxn ang="0">
                  <a:pos x="39" y="48"/>
                </a:cxn>
                <a:cxn ang="0">
                  <a:pos x="39" y="0"/>
                </a:cxn>
                <a:cxn ang="0">
                  <a:pos x="43" y="0"/>
                </a:cxn>
                <a:cxn ang="0">
                  <a:pos x="39" y="0"/>
                </a:cxn>
              </a:cxnLst>
              <a:rect l="0" t="0" r="r" b="b"/>
              <a:pathLst>
                <a:path w="95" h="64">
                  <a:moveTo>
                    <a:pt x="39" y="48"/>
                  </a:moveTo>
                  <a:lnTo>
                    <a:pt x="39" y="52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5" y="56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4"/>
                  </a:lnTo>
                  <a:lnTo>
                    <a:pt x="35" y="64"/>
                  </a:lnTo>
                  <a:lnTo>
                    <a:pt x="35" y="64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1" y="60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7" y="8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31" y="8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7" y="8"/>
                  </a:lnTo>
                  <a:lnTo>
                    <a:pt x="71" y="8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75" y="12"/>
                  </a:lnTo>
                  <a:lnTo>
                    <a:pt x="71" y="8"/>
                  </a:lnTo>
                  <a:lnTo>
                    <a:pt x="71" y="8"/>
                  </a:lnTo>
                  <a:lnTo>
                    <a:pt x="75" y="12"/>
                  </a:lnTo>
                  <a:lnTo>
                    <a:pt x="79" y="12"/>
                  </a:lnTo>
                  <a:lnTo>
                    <a:pt x="79" y="12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5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87" y="24"/>
                  </a:lnTo>
                  <a:lnTo>
                    <a:pt x="87" y="28"/>
                  </a:lnTo>
                  <a:lnTo>
                    <a:pt x="87" y="28"/>
                  </a:lnTo>
                  <a:lnTo>
                    <a:pt x="83" y="28"/>
                  </a:lnTo>
                  <a:lnTo>
                    <a:pt x="83" y="28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5" y="32"/>
                  </a:lnTo>
                  <a:lnTo>
                    <a:pt x="75" y="32"/>
                  </a:lnTo>
                  <a:lnTo>
                    <a:pt x="71" y="32"/>
                  </a:lnTo>
                  <a:lnTo>
                    <a:pt x="71" y="32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40"/>
                  </a:lnTo>
                  <a:lnTo>
                    <a:pt x="63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8"/>
                  </a:lnTo>
                  <a:close/>
                  <a:moveTo>
                    <a:pt x="39" y="0"/>
                  </a:move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0" name="Freeform 67"/>
            <p:cNvSpPr>
              <a:spLocks/>
            </p:cNvSpPr>
            <p:nvPr>
              <p:custDataLst>
                <p:tags r:id="rId263"/>
              </p:custDataLst>
            </p:nvPr>
          </p:nvSpPr>
          <p:spPr bwMode="gray">
            <a:xfrm>
              <a:off x="2618631" y="4088747"/>
              <a:ext cx="47458" cy="23729"/>
            </a:xfrm>
            <a:custGeom>
              <a:avLst/>
              <a:gdLst/>
              <a:ahLst/>
              <a:cxnLst>
                <a:cxn ang="0">
                  <a:pos x="24" y="12"/>
                </a:cxn>
                <a:cxn ang="0">
                  <a:pos x="24" y="12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32" y="8"/>
                </a:cxn>
                <a:cxn ang="0">
                  <a:pos x="32" y="12"/>
                </a:cxn>
                <a:cxn ang="0">
                  <a:pos x="28" y="12"/>
                </a:cxn>
                <a:cxn ang="0">
                  <a:pos x="24" y="12"/>
                </a:cxn>
              </a:cxnLst>
              <a:rect l="0" t="0" r="r" b="b"/>
              <a:pathLst>
                <a:path w="32" h="16">
                  <a:moveTo>
                    <a:pt x="24" y="12"/>
                  </a:move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1" name="Freeform 68"/>
            <p:cNvSpPr>
              <a:spLocks noEditPoints="1"/>
            </p:cNvSpPr>
            <p:nvPr>
              <p:custDataLst>
                <p:tags r:id="rId264"/>
              </p:custDataLst>
            </p:nvPr>
          </p:nvSpPr>
          <p:spPr bwMode="gray">
            <a:xfrm>
              <a:off x="1719894" y="3680904"/>
              <a:ext cx="708905" cy="514623"/>
            </a:xfrm>
            <a:custGeom>
              <a:avLst/>
              <a:gdLst/>
              <a:ahLst/>
              <a:cxnLst>
                <a:cxn ang="0">
                  <a:pos x="96" y="144"/>
                </a:cxn>
                <a:cxn ang="0">
                  <a:pos x="80" y="120"/>
                </a:cxn>
                <a:cxn ang="0">
                  <a:pos x="64" y="112"/>
                </a:cxn>
                <a:cxn ang="0">
                  <a:pos x="60" y="96"/>
                </a:cxn>
                <a:cxn ang="0">
                  <a:pos x="52" y="68"/>
                </a:cxn>
                <a:cxn ang="0">
                  <a:pos x="36" y="40"/>
                </a:cxn>
                <a:cxn ang="0">
                  <a:pos x="20" y="4"/>
                </a:cxn>
                <a:cxn ang="0">
                  <a:pos x="56" y="8"/>
                </a:cxn>
                <a:cxn ang="0">
                  <a:pos x="111" y="28"/>
                </a:cxn>
                <a:cxn ang="0">
                  <a:pos x="167" y="20"/>
                </a:cxn>
                <a:cxn ang="0">
                  <a:pos x="195" y="40"/>
                </a:cxn>
                <a:cxn ang="0">
                  <a:pos x="223" y="72"/>
                </a:cxn>
                <a:cxn ang="0">
                  <a:pos x="247" y="60"/>
                </a:cxn>
                <a:cxn ang="0">
                  <a:pos x="275" y="88"/>
                </a:cxn>
                <a:cxn ang="0">
                  <a:pos x="295" y="124"/>
                </a:cxn>
                <a:cxn ang="0">
                  <a:pos x="319" y="140"/>
                </a:cxn>
                <a:cxn ang="0">
                  <a:pos x="311" y="184"/>
                </a:cxn>
                <a:cxn ang="0">
                  <a:pos x="315" y="224"/>
                </a:cxn>
                <a:cxn ang="0">
                  <a:pos x="315" y="228"/>
                </a:cxn>
                <a:cxn ang="0">
                  <a:pos x="339" y="267"/>
                </a:cxn>
                <a:cxn ang="0">
                  <a:pos x="375" y="279"/>
                </a:cxn>
                <a:cxn ang="0">
                  <a:pos x="399" y="275"/>
                </a:cxn>
                <a:cxn ang="0">
                  <a:pos x="419" y="255"/>
                </a:cxn>
                <a:cxn ang="0">
                  <a:pos x="431" y="224"/>
                </a:cxn>
                <a:cxn ang="0">
                  <a:pos x="462" y="220"/>
                </a:cxn>
                <a:cxn ang="0">
                  <a:pos x="474" y="236"/>
                </a:cxn>
                <a:cxn ang="0">
                  <a:pos x="462" y="259"/>
                </a:cxn>
                <a:cxn ang="0">
                  <a:pos x="458" y="267"/>
                </a:cxn>
                <a:cxn ang="0">
                  <a:pos x="439" y="287"/>
                </a:cxn>
                <a:cxn ang="0">
                  <a:pos x="419" y="311"/>
                </a:cxn>
                <a:cxn ang="0">
                  <a:pos x="395" y="343"/>
                </a:cxn>
                <a:cxn ang="0">
                  <a:pos x="371" y="323"/>
                </a:cxn>
                <a:cxn ang="0">
                  <a:pos x="355" y="315"/>
                </a:cxn>
                <a:cxn ang="0">
                  <a:pos x="319" y="323"/>
                </a:cxn>
                <a:cxn ang="0">
                  <a:pos x="283" y="307"/>
                </a:cxn>
                <a:cxn ang="0">
                  <a:pos x="247" y="287"/>
                </a:cxn>
                <a:cxn ang="0">
                  <a:pos x="219" y="267"/>
                </a:cxn>
                <a:cxn ang="0">
                  <a:pos x="191" y="243"/>
                </a:cxn>
                <a:cxn ang="0">
                  <a:pos x="195" y="212"/>
                </a:cxn>
                <a:cxn ang="0">
                  <a:pos x="175" y="176"/>
                </a:cxn>
                <a:cxn ang="0">
                  <a:pos x="155" y="160"/>
                </a:cxn>
                <a:cxn ang="0">
                  <a:pos x="139" y="144"/>
                </a:cxn>
                <a:cxn ang="0">
                  <a:pos x="139" y="128"/>
                </a:cxn>
                <a:cxn ang="0">
                  <a:pos x="115" y="96"/>
                </a:cxn>
                <a:cxn ang="0">
                  <a:pos x="92" y="76"/>
                </a:cxn>
                <a:cxn ang="0">
                  <a:pos x="80" y="36"/>
                </a:cxn>
                <a:cxn ang="0">
                  <a:pos x="52" y="20"/>
                </a:cxn>
                <a:cxn ang="0">
                  <a:pos x="56" y="48"/>
                </a:cxn>
                <a:cxn ang="0">
                  <a:pos x="76" y="76"/>
                </a:cxn>
                <a:cxn ang="0">
                  <a:pos x="96" y="116"/>
                </a:cxn>
                <a:cxn ang="0">
                  <a:pos x="107" y="136"/>
                </a:cxn>
                <a:cxn ang="0">
                  <a:pos x="119" y="168"/>
                </a:cxn>
                <a:cxn ang="0">
                  <a:pos x="131" y="188"/>
                </a:cxn>
                <a:cxn ang="0">
                  <a:pos x="115" y="152"/>
                </a:cxn>
                <a:cxn ang="0">
                  <a:pos x="92" y="152"/>
                </a:cxn>
                <a:cxn ang="0">
                  <a:pos x="76" y="64"/>
                </a:cxn>
                <a:cxn ang="0">
                  <a:pos x="0" y="76"/>
                </a:cxn>
                <a:cxn ang="0">
                  <a:pos x="107" y="136"/>
                </a:cxn>
                <a:cxn ang="0">
                  <a:pos x="175" y="220"/>
                </a:cxn>
                <a:cxn ang="0">
                  <a:pos x="478" y="239"/>
                </a:cxn>
              </a:cxnLst>
              <a:rect l="0" t="0" r="r" b="b"/>
              <a:pathLst>
                <a:path w="478" h="347">
                  <a:moveTo>
                    <a:pt x="103" y="164"/>
                  </a:moveTo>
                  <a:lnTo>
                    <a:pt x="99" y="164"/>
                  </a:lnTo>
                  <a:lnTo>
                    <a:pt x="99" y="160"/>
                  </a:lnTo>
                  <a:lnTo>
                    <a:pt x="96" y="160"/>
                  </a:lnTo>
                  <a:lnTo>
                    <a:pt x="96" y="156"/>
                  </a:lnTo>
                  <a:lnTo>
                    <a:pt x="96" y="152"/>
                  </a:lnTo>
                  <a:lnTo>
                    <a:pt x="92" y="152"/>
                  </a:lnTo>
                  <a:lnTo>
                    <a:pt x="92" y="156"/>
                  </a:lnTo>
                  <a:lnTo>
                    <a:pt x="92" y="152"/>
                  </a:lnTo>
                  <a:lnTo>
                    <a:pt x="92" y="148"/>
                  </a:lnTo>
                  <a:lnTo>
                    <a:pt x="96" y="148"/>
                  </a:lnTo>
                  <a:lnTo>
                    <a:pt x="96" y="144"/>
                  </a:lnTo>
                  <a:lnTo>
                    <a:pt x="96" y="140"/>
                  </a:lnTo>
                  <a:lnTo>
                    <a:pt x="96" y="144"/>
                  </a:lnTo>
                  <a:lnTo>
                    <a:pt x="96" y="140"/>
                  </a:lnTo>
                  <a:lnTo>
                    <a:pt x="96" y="136"/>
                  </a:lnTo>
                  <a:lnTo>
                    <a:pt x="92" y="136"/>
                  </a:lnTo>
                  <a:lnTo>
                    <a:pt x="92" y="132"/>
                  </a:lnTo>
                  <a:lnTo>
                    <a:pt x="92" y="128"/>
                  </a:lnTo>
                  <a:lnTo>
                    <a:pt x="88" y="128"/>
                  </a:lnTo>
                  <a:lnTo>
                    <a:pt x="84" y="128"/>
                  </a:lnTo>
                  <a:lnTo>
                    <a:pt x="84" y="124"/>
                  </a:lnTo>
                  <a:lnTo>
                    <a:pt x="80" y="124"/>
                  </a:lnTo>
                  <a:lnTo>
                    <a:pt x="80" y="120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80" y="116"/>
                  </a:lnTo>
                  <a:lnTo>
                    <a:pt x="76" y="116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72" y="120"/>
                  </a:lnTo>
                  <a:lnTo>
                    <a:pt x="68" y="116"/>
                  </a:lnTo>
                  <a:lnTo>
                    <a:pt x="68" y="112"/>
                  </a:lnTo>
                  <a:lnTo>
                    <a:pt x="64" y="116"/>
                  </a:lnTo>
                  <a:lnTo>
                    <a:pt x="64" y="112"/>
                  </a:lnTo>
                  <a:lnTo>
                    <a:pt x="60" y="112"/>
                  </a:lnTo>
                  <a:lnTo>
                    <a:pt x="60" y="108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48" y="100"/>
                  </a:lnTo>
                  <a:lnTo>
                    <a:pt x="52" y="96"/>
                  </a:lnTo>
                  <a:lnTo>
                    <a:pt x="52" y="100"/>
                  </a:lnTo>
                  <a:lnTo>
                    <a:pt x="56" y="100"/>
                  </a:lnTo>
                  <a:lnTo>
                    <a:pt x="60" y="100"/>
                  </a:lnTo>
                  <a:lnTo>
                    <a:pt x="64" y="100"/>
                  </a:lnTo>
                  <a:lnTo>
                    <a:pt x="60" y="96"/>
                  </a:lnTo>
                  <a:lnTo>
                    <a:pt x="64" y="96"/>
                  </a:lnTo>
                  <a:lnTo>
                    <a:pt x="64" y="92"/>
                  </a:lnTo>
                  <a:lnTo>
                    <a:pt x="64" y="96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4" y="84"/>
                  </a:lnTo>
                  <a:lnTo>
                    <a:pt x="64" y="80"/>
                  </a:lnTo>
                  <a:lnTo>
                    <a:pt x="60" y="80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0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4" y="24"/>
                  </a:lnTo>
                  <a:lnTo>
                    <a:pt x="28" y="20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4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24"/>
                  </a:lnTo>
                  <a:lnTo>
                    <a:pt x="103" y="28"/>
                  </a:lnTo>
                  <a:lnTo>
                    <a:pt x="111" y="28"/>
                  </a:lnTo>
                  <a:lnTo>
                    <a:pt x="119" y="28"/>
                  </a:lnTo>
                  <a:lnTo>
                    <a:pt x="123" y="28"/>
                  </a:lnTo>
                  <a:lnTo>
                    <a:pt x="127" y="28"/>
                  </a:lnTo>
                  <a:lnTo>
                    <a:pt x="131" y="28"/>
                  </a:lnTo>
                  <a:lnTo>
                    <a:pt x="139" y="28"/>
                  </a:lnTo>
                  <a:lnTo>
                    <a:pt x="143" y="28"/>
                  </a:lnTo>
                  <a:lnTo>
                    <a:pt x="151" y="28"/>
                  </a:lnTo>
                  <a:lnTo>
                    <a:pt x="151" y="24"/>
                  </a:lnTo>
                  <a:lnTo>
                    <a:pt x="151" y="20"/>
                  </a:lnTo>
                  <a:lnTo>
                    <a:pt x="159" y="20"/>
                  </a:lnTo>
                  <a:lnTo>
                    <a:pt x="163" y="20"/>
                  </a:lnTo>
                  <a:lnTo>
                    <a:pt x="167" y="20"/>
                  </a:lnTo>
                  <a:lnTo>
                    <a:pt x="171" y="20"/>
                  </a:lnTo>
                  <a:lnTo>
                    <a:pt x="175" y="20"/>
                  </a:lnTo>
                  <a:lnTo>
                    <a:pt x="179" y="20"/>
                  </a:lnTo>
                  <a:lnTo>
                    <a:pt x="179" y="24"/>
                  </a:lnTo>
                  <a:lnTo>
                    <a:pt x="183" y="24"/>
                  </a:lnTo>
                  <a:lnTo>
                    <a:pt x="183" y="28"/>
                  </a:lnTo>
                  <a:lnTo>
                    <a:pt x="187" y="28"/>
                  </a:lnTo>
                  <a:lnTo>
                    <a:pt x="187" y="32"/>
                  </a:lnTo>
                  <a:lnTo>
                    <a:pt x="191" y="32"/>
                  </a:lnTo>
                  <a:lnTo>
                    <a:pt x="191" y="36"/>
                  </a:lnTo>
                  <a:lnTo>
                    <a:pt x="195" y="36"/>
                  </a:lnTo>
                  <a:lnTo>
                    <a:pt x="195" y="40"/>
                  </a:lnTo>
                  <a:lnTo>
                    <a:pt x="199" y="40"/>
                  </a:lnTo>
                  <a:lnTo>
                    <a:pt x="203" y="44"/>
                  </a:lnTo>
                  <a:lnTo>
                    <a:pt x="203" y="48"/>
                  </a:lnTo>
                  <a:lnTo>
                    <a:pt x="207" y="52"/>
                  </a:lnTo>
                  <a:lnTo>
                    <a:pt x="207" y="56"/>
                  </a:lnTo>
                  <a:lnTo>
                    <a:pt x="207" y="60"/>
                  </a:lnTo>
                  <a:lnTo>
                    <a:pt x="211" y="64"/>
                  </a:lnTo>
                  <a:lnTo>
                    <a:pt x="215" y="64"/>
                  </a:lnTo>
                  <a:lnTo>
                    <a:pt x="215" y="68"/>
                  </a:lnTo>
                  <a:lnTo>
                    <a:pt x="219" y="68"/>
                  </a:lnTo>
                  <a:lnTo>
                    <a:pt x="219" y="72"/>
                  </a:lnTo>
                  <a:lnTo>
                    <a:pt x="223" y="72"/>
                  </a:lnTo>
                  <a:lnTo>
                    <a:pt x="227" y="76"/>
                  </a:lnTo>
                  <a:lnTo>
                    <a:pt x="231" y="76"/>
                  </a:lnTo>
                  <a:lnTo>
                    <a:pt x="231" y="72"/>
                  </a:lnTo>
                  <a:lnTo>
                    <a:pt x="235" y="72"/>
                  </a:lnTo>
                  <a:lnTo>
                    <a:pt x="235" y="68"/>
                  </a:lnTo>
                  <a:lnTo>
                    <a:pt x="235" y="64"/>
                  </a:lnTo>
                  <a:lnTo>
                    <a:pt x="235" y="60"/>
                  </a:lnTo>
                  <a:lnTo>
                    <a:pt x="239" y="60"/>
                  </a:lnTo>
                  <a:lnTo>
                    <a:pt x="243" y="60"/>
                  </a:lnTo>
                  <a:lnTo>
                    <a:pt x="243" y="56"/>
                  </a:lnTo>
                  <a:lnTo>
                    <a:pt x="243" y="60"/>
                  </a:lnTo>
                  <a:lnTo>
                    <a:pt x="247" y="60"/>
                  </a:lnTo>
                  <a:lnTo>
                    <a:pt x="251" y="60"/>
                  </a:lnTo>
                  <a:lnTo>
                    <a:pt x="255" y="60"/>
                  </a:lnTo>
                  <a:lnTo>
                    <a:pt x="255" y="64"/>
                  </a:lnTo>
                  <a:lnTo>
                    <a:pt x="259" y="64"/>
                  </a:lnTo>
                  <a:lnTo>
                    <a:pt x="263" y="64"/>
                  </a:lnTo>
                  <a:lnTo>
                    <a:pt x="263" y="68"/>
                  </a:lnTo>
                  <a:lnTo>
                    <a:pt x="267" y="72"/>
                  </a:lnTo>
                  <a:lnTo>
                    <a:pt x="267" y="76"/>
                  </a:lnTo>
                  <a:lnTo>
                    <a:pt x="271" y="80"/>
                  </a:lnTo>
                  <a:lnTo>
                    <a:pt x="271" y="84"/>
                  </a:lnTo>
                  <a:lnTo>
                    <a:pt x="271" y="88"/>
                  </a:lnTo>
                  <a:lnTo>
                    <a:pt x="275" y="88"/>
                  </a:lnTo>
                  <a:lnTo>
                    <a:pt x="275" y="92"/>
                  </a:lnTo>
                  <a:lnTo>
                    <a:pt x="279" y="96"/>
                  </a:lnTo>
                  <a:lnTo>
                    <a:pt x="279" y="100"/>
                  </a:lnTo>
                  <a:lnTo>
                    <a:pt x="283" y="100"/>
                  </a:lnTo>
                  <a:lnTo>
                    <a:pt x="283" y="104"/>
                  </a:lnTo>
                  <a:lnTo>
                    <a:pt x="287" y="104"/>
                  </a:lnTo>
                  <a:lnTo>
                    <a:pt x="287" y="108"/>
                  </a:lnTo>
                  <a:lnTo>
                    <a:pt x="287" y="112"/>
                  </a:lnTo>
                  <a:lnTo>
                    <a:pt x="287" y="116"/>
                  </a:lnTo>
                  <a:lnTo>
                    <a:pt x="291" y="120"/>
                  </a:lnTo>
                  <a:lnTo>
                    <a:pt x="291" y="124"/>
                  </a:lnTo>
                  <a:lnTo>
                    <a:pt x="295" y="124"/>
                  </a:lnTo>
                  <a:lnTo>
                    <a:pt x="295" y="128"/>
                  </a:lnTo>
                  <a:lnTo>
                    <a:pt x="299" y="128"/>
                  </a:lnTo>
                  <a:lnTo>
                    <a:pt x="303" y="128"/>
                  </a:lnTo>
                  <a:lnTo>
                    <a:pt x="303" y="132"/>
                  </a:lnTo>
                  <a:lnTo>
                    <a:pt x="307" y="132"/>
                  </a:lnTo>
                  <a:lnTo>
                    <a:pt x="311" y="132"/>
                  </a:lnTo>
                  <a:lnTo>
                    <a:pt x="315" y="132"/>
                  </a:lnTo>
                  <a:lnTo>
                    <a:pt x="315" y="136"/>
                  </a:lnTo>
                  <a:lnTo>
                    <a:pt x="319" y="136"/>
                  </a:lnTo>
                  <a:lnTo>
                    <a:pt x="319" y="132"/>
                  </a:lnTo>
                  <a:lnTo>
                    <a:pt x="319" y="136"/>
                  </a:lnTo>
                  <a:lnTo>
                    <a:pt x="319" y="140"/>
                  </a:lnTo>
                  <a:lnTo>
                    <a:pt x="319" y="144"/>
                  </a:lnTo>
                  <a:lnTo>
                    <a:pt x="315" y="148"/>
                  </a:lnTo>
                  <a:lnTo>
                    <a:pt x="315" y="152"/>
                  </a:lnTo>
                  <a:lnTo>
                    <a:pt x="315" y="156"/>
                  </a:lnTo>
                  <a:lnTo>
                    <a:pt x="315" y="160"/>
                  </a:lnTo>
                  <a:lnTo>
                    <a:pt x="311" y="160"/>
                  </a:lnTo>
                  <a:lnTo>
                    <a:pt x="311" y="164"/>
                  </a:lnTo>
                  <a:lnTo>
                    <a:pt x="311" y="168"/>
                  </a:lnTo>
                  <a:lnTo>
                    <a:pt x="311" y="172"/>
                  </a:lnTo>
                  <a:lnTo>
                    <a:pt x="311" y="176"/>
                  </a:lnTo>
                  <a:lnTo>
                    <a:pt x="311" y="180"/>
                  </a:lnTo>
                  <a:lnTo>
                    <a:pt x="311" y="184"/>
                  </a:lnTo>
                  <a:lnTo>
                    <a:pt x="311" y="188"/>
                  </a:lnTo>
                  <a:lnTo>
                    <a:pt x="311" y="192"/>
                  </a:lnTo>
                  <a:lnTo>
                    <a:pt x="311" y="196"/>
                  </a:lnTo>
                  <a:lnTo>
                    <a:pt x="311" y="200"/>
                  </a:lnTo>
                  <a:lnTo>
                    <a:pt x="311" y="204"/>
                  </a:lnTo>
                  <a:lnTo>
                    <a:pt x="311" y="208"/>
                  </a:lnTo>
                  <a:lnTo>
                    <a:pt x="311" y="212"/>
                  </a:lnTo>
                  <a:lnTo>
                    <a:pt x="315" y="212"/>
                  </a:lnTo>
                  <a:lnTo>
                    <a:pt x="315" y="216"/>
                  </a:lnTo>
                  <a:lnTo>
                    <a:pt x="319" y="216"/>
                  </a:lnTo>
                  <a:lnTo>
                    <a:pt x="319" y="220"/>
                  </a:lnTo>
                  <a:lnTo>
                    <a:pt x="315" y="224"/>
                  </a:lnTo>
                  <a:lnTo>
                    <a:pt x="315" y="220"/>
                  </a:lnTo>
                  <a:lnTo>
                    <a:pt x="319" y="220"/>
                  </a:lnTo>
                  <a:lnTo>
                    <a:pt x="315" y="220"/>
                  </a:lnTo>
                  <a:lnTo>
                    <a:pt x="315" y="216"/>
                  </a:lnTo>
                  <a:lnTo>
                    <a:pt x="315" y="212"/>
                  </a:lnTo>
                  <a:lnTo>
                    <a:pt x="311" y="212"/>
                  </a:lnTo>
                  <a:lnTo>
                    <a:pt x="311" y="208"/>
                  </a:lnTo>
                  <a:lnTo>
                    <a:pt x="311" y="212"/>
                  </a:lnTo>
                  <a:lnTo>
                    <a:pt x="311" y="216"/>
                  </a:lnTo>
                  <a:lnTo>
                    <a:pt x="315" y="220"/>
                  </a:lnTo>
                  <a:lnTo>
                    <a:pt x="315" y="224"/>
                  </a:lnTo>
                  <a:lnTo>
                    <a:pt x="315" y="228"/>
                  </a:lnTo>
                  <a:lnTo>
                    <a:pt x="319" y="228"/>
                  </a:lnTo>
                  <a:lnTo>
                    <a:pt x="319" y="232"/>
                  </a:lnTo>
                  <a:lnTo>
                    <a:pt x="319" y="236"/>
                  </a:lnTo>
                  <a:lnTo>
                    <a:pt x="323" y="236"/>
                  </a:lnTo>
                  <a:lnTo>
                    <a:pt x="327" y="243"/>
                  </a:lnTo>
                  <a:lnTo>
                    <a:pt x="331" y="247"/>
                  </a:lnTo>
                  <a:lnTo>
                    <a:pt x="331" y="251"/>
                  </a:lnTo>
                  <a:lnTo>
                    <a:pt x="331" y="255"/>
                  </a:lnTo>
                  <a:lnTo>
                    <a:pt x="335" y="259"/>
                  </a:lnTo>
                  <a:lnTo>
                    <a:pt x="335" y="263"/>
                  </a:lnTo>
                  <a:lnTo>
                    <a:pt x="339" y="263"/>
                  </a:lnTo>
                  <a:lnTo>
                    <a:pt x="339" y="267"/>
                  </a:lnTo>
                  <a:lnTo>
                    <a:pt x="339" y="271"/>
                  </a:lnTo>
                  <a:lnTo>
                    <a:pt x="343" y="271"/>
                  </a:lnTo>
                  <a:lnTo>
                    <a:pt x="347" y="271"/>
                  </a:lnTo>
                  <a:lnTo>
                    <a:pt x="351" y="271"/>
                  </a:lnTo>
                  <a:lnTo>
                    <a:pt x="351" y="275"/>
                  </a:lnTo>
                  <a:lnTo>
                    <a:pt x="355" y="275"/>
                  </a:lnTo>
                  <a:lnTo>
                    <a:pt x="355" y="279"/>
                  </a:lnTo>
                  <a:lnTo>
                    <a:pt x="359" y="283"/>
                  </a:lnTo>
                  <a:lnTo>
                    <a:pt x="363" y="283"/>
                  </a:lnTo>
                  <a:lnTo>
                    <a:pt x="367" y="279"/>
                  </a:lnTo>
                  <a:lnTo>
                    <a:pt x="371" y="279"/>
                  </a:lnTo>
                  <a:lnTo>
                    <a:pt x="375" y="279"/>
                  </a:lnTo>
                  <a:lnTo>
                    <a:pt x="375" y="275"/>
                  </a:lnTo>
                  <a:lnTo>
                    <a:pt x="371" y="279"/>
                  </a:lnTo>
                  <a:lnTo>
                    <a:pt x="375" y="275"/>
                  </a:lnTo>
                  <a:lnTo>
                    <a:pt x="379" y="275"/>
                  </a:lnTo>
                  <a:lnTo>
                    <a:pt x="379" y="279"/>
                  </a:lnTo>
                  <a:lnTo>
                    <a:pt x="383" y="279"/>
                  </a:lnTo>
                  <a:lnTo>
                    <a:pt x="383" y="275"/>
                  </a:lnTo>
                  <a:lnTo>
                    <a:pt x="387" y="275"/>
                  </a:lnTo>
                  <a:lnTo>
                    <a:pt x="391" y="271"/>
                  </a:lnTo>
                  <a:lnTo>
                    <a:pt x="395" y="271"/>
                  </a:lnTo>
                  <a:lnTo>
                    <a:pt x="399" y="271"/>
                  </a:lnTo>
                  <a:lnTo>
                    <a:pt x="399" y="275"/>
                  </a:lnTo>
                  <a:lnTo>
                    <a:pt x="403" y="275"/>
                  </a:lnTo>
                  <a:lnTo>
                    <a:pt x="399" y="275"/>
                  </a:lnTo>
                  <a:lnTo>
                    <a:pt x="403" y="279"/>
                  </a:lnTo>
                  <a:lnTo>
                    <a:pt x="403" y="275"/>
                  </a:lnTo>
                  <a:lnTo>
                    <a:pt x="407" y="275"/>
                  </a:lnTo>
                  <a:lnTo>
                    <a:pt x="411" y="271"/>
                  </a:lnTo>
                  <a:lnTo>
                    <a:pt x="407" y="271"/>
                  </a:lnTo>
                  <a:lnTo>
                    <a:pt x="407" y="267"/>
                  </a:lnTo>
                  <a:lnTo>
                    <a:pt x="411" y="267"/>
                  </a:lnTo>
                  <a:lnTo>
                    <a:pt x="415" y="263"/>
                  </a:lnTo>
                  <a:lnTo>
                    <a:pt x="419" y="259"/>
                  </a:lnTo>
                  <a:lnTo>
                    <a:pt x="419" y="255"/>
                  </a:lnTo>
                  <a:lnTo>
                    <a:pt x="419" y="251"/>
                  </a:lnTo>
                  <a:lnTo>
                    <a:pt x="423" y="247"/>
                  </a:lnTo>
                  <a:lnTo>
                    <a:pt x="423" y="243"/>
                  </a:lnTo>
                  <a:lnTo>
                    <a:pt x="423" y="239"/>
                  </a:lnTo>
                  <a:lnTo>
                    <a:pt x="423" y="236"/>
                  </a:lnTo>
                  <a:lnTo>
                    <a:pt x="423" y="232"/>
                  </a:lnTo>
                  <a:lnTo>
                    <a:pt x="423" y="228"/>
                  </a:lnTo>
                  <a:lnTo>
                    <a:pt x="423" y="232"/>
                  </a:lnTo>
                  <a:lnTo>
                    <a:pt x="423" y="228"/>
                  </a:lnTo>
                  <a:lnTo>
                    <a:pt x="427" y="228"/>
                  </a:lnTo>
                  <a:lnTo>
                    <a:pt x="427" y="224"/>
                  </a:lnTo>
                  <a:lnTo>
                    <a:pt x="431" y="224"/>
                  </a:lnTo>
                  <a:lnTo>
                    <a:pt x="435" y="224"/>
                  </a:lnTo>
                  <a:lnTo>
                    <a:pt x="439" y="224"/>
                  </a:lnTo>
                  <a:lnTo>
                    <a:pt x="443" y="220"/>
                  </a:lnTo>
                  <a:lnTo>
                    <a:pt x="447" y="220"/>
                  </a:lnTo>
                  <a:lnTo>
                    <a:pt x="451" y="220"/>
                  </a:lnTo>
                  <a:lnTo>
                    <a:pt x="454" y="220"/>
                  </a:lnTo>
                  <a:lnTo>
                    <a:pt x="458" y="216"/>
                  </a:lnTo>
                  <a:lnTo>
                    <a:pt x="454" y="216"/>
                  </a:lnTo>
                  <a:lnTo>
                    <a:pt x="454" y="220"/>
                  </a:lnTo>
                  <a:lnTo>
                    <a:pt x="454" y="216"/>
                  </a:lnTo>
                  <a:lnTo>
                    <a:pt x="458" y="216"/>
                  </a:lnTo>
                  <a:lnTo>
                    <a:pt x="462" y="220"/>
                  </a:lnTo>
                  <a:lnTo>
                    <a:pt x="466" y="220"/>
                  </a:lnTo>
                  <a:lnTo>
                    <a:pt x="470" y="220"/>
                  </a:lnTo>
                  <a:lnTo>
                    <a:pt x="466" y="220"/>
                  </a:lnTo>
                  <a:lnTo>
                    <a:pt x="470" y="220"/>
                  </a:lnTo>
                  <a:lnTo>
                    <a:pt x="470" y="216"/>
                  </a:lnTo>
                  <a:lnTo>
                    <a:pt x="474" y="216"/>
                  </a:lnTo>
                  <a:lnTo>
                    <a:pt x="474" y="220"/>
                  </a:lnTo>
                  <a:lnTo>
                    <a:pt x="478" y="220"/>
                  </a:lnTo>
                  <a:lnTo>
                    <a:pt x="478" y="224"/>
                  </a:lnTo>
                  <a:lnTo>
                    <a:pt x="478" y="228"/>
                  </a:lnTo>
                  <a:lnTo>
                    <a:pt x="474" y="232"/>
                  </a:lnTo>
                  <a:lnTo>
                    <a:pt x="474" y="236"/>
                  </a:lnTo>
                  <a:lnTo>
                    <a:pt x="470" y="236"/>
                  </a:lnTo>
                  <a:lnTo>
                    <a:pt x="470" y="239"/>
                  </a:lnTo>
                  <a:lnTo>
                    <a:pt x="466" y="243"/>
                  </a:lnTo>
                  <a:lnTo>
                    <a:pt x="466" y="247"/>
                  </a:lnTo>
                  <a:lnTo>
                    <a:pt x="466" y="251"/>
                  </a:lnTo>
                  <a:lnTo>
                    <a:pt x="466" y="247"/>
                  </a:lnTo>
                  <a:lnTo>
                    <a:pt x="466" y="251"/>
                  </a:lnTo>
                  <a:lnTo>
                    <a:pt x="462" y="251"/>
                  </a:lnTo>
                  <a:lnTo>
                    <a:pt x="462" y="255"/>
                  </a:lnTo>
                  <a:lnTo>
                    <a:pt x="466" y="255"/>
                  </a:lnTo>
                  <a:lnTo>
                    <a:pt x="466" y="259"/>
                  </a:lnTo>
                  <a:lnTo>
                    <a:pt x="462" y="259"/>
                  </a:lnTo>
                  <a:lnTo>
                    <a:pt x="462" y="263"/>
                  </a:lnTo>
                  <a:lnTo>
                    <a:pt x="466" y="259"/>
                  </a:lnTo>
                  <a:lnTo>
                    <a:pt x="466" y="263"/>
                  </a:lnTo>
                  <a:lnTo>
                    <a:pt x="466" y="267"/>
                  </a:lnTo>
                  <a:lnTo>
                    <a:pt x="462" y="267"/>
                  </a:lnTo>
                  <a:lnTo>
                    <a:pt x="462" y="271"/>
                  </a:lnTo>
                  <a:lnTo>
                    <a:pt x="462" y="275"/>
                  </a:lnTo>
                  <a:lnTo>
                    <a:pt x="462" y="279"/>
                  </a:lnTo>
                  <a:lnTo>
                    <a:pt x="458" y="279"/>
                  </a:lnTo>
                  <a:lnTo>
                    <a:pt x="458" y="275"/>
                  </a:lnTo>
                  <a:lnTo>
                    <a:pt x="458" y="271"/>
                  </a:lnTo>
                  <a:lnTo>
                    <a:pt x="458" y="267"/>
                  </a:lnTo>
                  <a:lnTo>
                    <a:pt x="458" y="271"/>
                  </a:lnTo>
                  <a:lnTo>
                    <a:pt x="454" y="271"/>
                  </a:lnTo>
                  <a:lnTo>
                    <a:pt x="454" y="275"/>
                  </a:lnTo>
                  <a:lnTo>
                    <a:pt x="451" y="275"/>
                  </a:lnTo>
                  <a:lnTo>
                    <a:pt x="451" y="279"/>
                  </a:lnTo>
                  <a:lnTo>
                    <a:pt x="447" y="279"/>
                  </a:lnTo>
                  <a:lnTo>
                    <a:pt x="447" y="283"/>
                  </a:lnTo>
                  <a:lnTo>
                    <a:pt x="447" y="287"/>
                  </a:lnTo>
                  <a:lnTo>
                    <a:pt x="443" y="287"/>
                  </a:lnTo>
                  <a:lnTo>
                    <a:pt x="443" y="283"/>
                  </a:lnTo>
                  <a:lnTo>
                    <a:pt x="443" y="287"/>
                  </a:lnTo>
                  <a:lnTo>
                    <a:pt x="439" y="287"/>
                  </a:lnTo>
                  <a:lnTo>
                    <a:pt x="431" y="287"/>
                  </a:lnTo>
                  <a:lnTo>
                    <a:pt x="427" y="287"/>
                  </a:lnTo>
                  <a:lnTo>
                    <a:pt x="419" y="287"/>
                  </a:lnTo>
                  <a:lnTo>
                    <a:pt x="415" y="287"/>
                  </a:lnTo>
                  <a:lnTo>
                    <a:pt x="415" y="291"/>
                  </a:lnTo>
                  <a:lnTo>
                    <a:pt x="415" y="299"/>
                  </a:lnTo>
                  <a:lnTo>
                    <a:pt x="407" y="299"/>
                  </a:lnTo>
                  <a:lnTo>
                    <a:pt x="411" y="299"/>
                  </a:lnTo>
                  <a:lnTo>
                    <a:pt x="411" y="303"/>
                  </a:lnTo>
                  <a:lnTo>
                    <a:pt x="415" y="307"/>
                  </a:lnTo>
                  <a:lnTo>
                    <a:pt x="419" y="307"/>
                  </a:lnTo>
                  <a:lnTo>
                    <a:pt x="419" y="311"/>
                  </a:lnTo>
                  <a:lnTo>
                    <a:pt x="419" y="315"/>
                  </a:lnTo>
                  <a:lnTo>
                    <a:pt x="423" y="315"/>
                  </a:lnTo>
                  <a:lnTo>
                    <a:pt x="423" y="319"/>
                  </a:lnTo>
                  <a:lnTo>
                    <a:pt x="419" y="319"/>
                  </a:lnTo>
                  <a:lnTo>
                    <a:pt x="415" y="319"/>
                  </a:lnTo>
                  <a:lnTo>
                    <a:pt x="407" y="319"/>
                  </a:lnTo>
                  <a:lnTo>
                    <a:pt x="403" y="319"/>
                  </a:lnTo>
                  <a:lnTo>
                    <a:pt x="403" y="323"/>
                  </a:lnTo>
                  <a:lnTo>
                    <a:pt x="395" y="331"/>
                  </a:lnTo>
                  <a:lnTo>
                    <a:pt x="395" y="335"/>
                  </a:lnTo>
                  <a:lnTo>
                    <a:pt x="399" y="339"/>
                  </a:lnTo>
                  <a:lnTo>
                    <a:pt x="395" y="343"/>
                  </a:lnTo>
                  <a:lnTo>
                    <a:pt x="395" y="347"/>
                  </a:lnTo>
                  <a:lnTo>
                    <a:pt x="391" y="347"/>
                  </a:lnTo>
                  <a:lnTo>
                    <a:pt x="391" y="343"/>
                  </a:lnTo>
                  <a:lnTo>
                    <a:pt x="387" y="343"/>
                  </a:lnTo>
                  <a:lnTo>
                    <a:pt x="387" y="339"/>
                  </a:lnTo>
                  <a:lnTo>
                    <a:pt x="387" y="335"/>
                  </a:lnTo>
                  <a:lnTo>
                    <a:pt x="383" y="335"/>
                  </a:lnTo>
                  <a:lnTo>
                    <a:pt x="383" y="331"/>
                  </a:lnTo>
                  <a:lnTo>
                    <a:pt x="379" y="331"/>
                  </a:lnTo>
                  <a:lnTo>
                    <a:pt x="379" y="327"/>
                  </a:lnTo>
                  <a:lnTo>
                    <a:pt x="375" y="327"/>
                  </a:lnTo>
                  <a:lnTo>
                    <a:pt x="371" y="323"/>
                  </a:lnTo>
                  <a:lnTo>
                    <a:pt x="371" y="319"/>
                  </a:lnTo>
                  <a:lnTo>
                    <a:pt x="367" y="319"/>
                  </a:lnTo>
                  <a:lnTo>
                    <a:pt x="363" y="319"/>
                  </a:lnTo>
                  <a:lnTo>
                    <a:pt x="363" y="315"/>
                  </a:lnTo>
                  <a:lnTo>
                    <a:pt x="363" y="319"/>
                  </a:lnTo>
                  <a:lnTo>
                    <a:pt x="367" y="319"/>
                  </a:lnTo>
                  <a:lnTo>
                    <a:pt x="367" y="323"/>
                  </a:lnTo>
                  <a:lnTo>
                    <a:pt x="363" y="319"/>
                  </a:lnTo>
                  <a:lnTo>
                    <a:pt x="359" y="319"/>
                  </a:lnTo>
                  <a:lnTo>
                    <a:pt x="359" y="315"/>
                  </a:lnTo>
                  <a:lnTo>
                    <a:pt x="355" y="319"/>
                  </a:lnTo>
                  <a:lnTo>
                    <a:pt x="355" y="315"/>
                  </a:lnTo>
                  <a:lnTo>
                    <a:pt x="351" y="315"/>
                  </a:lnTo>
                  <a:lnTo>
                    <a:pt x="351" y="319"/>
                  </a:lnTo>
                  <a:lnTo>
                    <a:pt x="355" y="319"/>
                  </a:lnTo>
                  <a:lnTo>
                    <a:pt x="351" y="319"/>
                  </a:lnTo>
                  <a:lnTo>
                    <a:pt x="347" y="323"/>
                  </a:lnTo>
                  <a:lnTo>
                    <a:pt x="343" y="323"/>
                  </a:lnTo>
                  <a:lnTo>
                    <a:pt x="339" y="327"/>
                  </a:lnTo>
                  <a:lnTo>
                    <a:pt x="335" y="327"/>
                  </a:lnTo>
                  <a:lnTo>
                    <a:pt x="331" y="327"/>
                  </a:lnTo>
                  <a:lnTo>
                    <a:pt x="327" y="327"/>
                  </a:lnTo>
                  <a:lnTo>
                    <a:pt x="323" y="323"/>
                  </a:lnTo>
                  <a:lnTo>
                    <a:pt x="319" y="323"/>
                  </a:lnTo>
                  <a:lnTo>
                    <a:pt x="315" y="323"/>
                  </a:lnTo>
                  <a:lnTo>
                    <a:pt x="311" y="323"/>
                  </a:lnTo>
                  <a:lnTo>
                    <a:pt x="307" y="319"/>
                  </a:lnTo>
                  <a:lnTo>
                    <a:pt x="303" y="319"/>
                  </a:lnTo>
                  <a:lnTo>
                    <a:pt x="303" y="315"/>
                  </a:lnTo>
                  <a:lnTo>
                    <a:pt x="299" y="315"/>
                  </a:lnTo>
                  <a:lnTo>
                    <a:pt x="295" y="315"/>
                  </a:lnTo>
                  <a:lnTo>
                    <a:pt x="295" y="311"/>
                  </a:lnTo>
                  <a:lnTo>
                    <a:pt x="291" y="311"/>
                  </a:lnTo>
                  <a:lnTo>
                    <a:pt x="287" y="311"/>
                  </a:lnTo>
                  <a:lnTo>
                    <a:pt x="283" y="311"/>
                  </a:lnTo>
                  <a:lnTo>
                    <a:pt x="283" y="307"/>
                  </a:lnTo>
                  <a:lnTo>
                    <a:pt x="279" y="307"/>
                  </a:lnTo>
                  <a:lnTo>
                    <a:pt x="275" y="303"/>
                  </a:lnTo>
                  <a:lnTo>
                    <a:pt x="271" y="303"/>
                  </a:lnTo>
                  <a:lnTo>
                    <a:pt x="267" y="299"/>
                  </a:lnTo>
                  <a:lnTo>
                    <a:pt x="263" y="299"/>
                  </a:lnTo>
                  <a:lnTo>
                    <a:pt x="259" y="299"/>
                  </a:lnTo>
                  <a:lnTo>
                    <a:pt x="259" y="295"/>
                  </a:lnTo>
                  <a:lnTo>
                    <a:pt x="255" y="295"/>
                  </a:lnTo>
                  <a:lnTo>
                    <a:pt x="255" y="291"/>
                  </a:lnTo>
                  <a:lnTo>
                    <a:pt x="251" y="291"/>
                  </a:lnTo>
                  <a:lnTo>
                    <a:pt x="251" y="287"/>
                  </a:lnTo>
                  <a:lnTo>
                    <a:pt x="247" y="287"/>
                  </a:lnTo>
                  <a:lnTo>
                    <a:pt x="247" y="283"/>
                  </a:lnTo>
                  <a:lnTo>
                    <a:pt x="247" y="287"/>
                  </a:lnTo>
                  <a:lnTo>
                    <a:pt x="243" y="287"/>
                  </a:lnTo>
                  <a:lnTo>
                    <a:pt x="239" y="283"/>
                  </a:lnTo>
                  <a:lnTo>
                    <a:pt x="235" y="283"/>
                  </a:lnTo>
                  <a:lnTo>
                    <a:pt x="231" y="283"/>
                  </a:lnTo>
                  <a:lnTo>
                    <a:pt x="231" y="279"/>
                  </a:lnTo>
                  <a:lnTo>
                    <a:pt x="227" y="279"/>
                  </a:lnTo>
                  <a:lnTo>
                    <a:pt x="223" y="279"/>
                  </a:lnTo>
                  <a:lnTo>
                    <a:pt x="223" y="275"/>
                  </a:lnTo>
                  <a:lnTo>
                    <a:pt x="219" y="271"/>
                  </a:lnTo>
                  <a:lnTo>
                    <a:pt x="219" y="267"/>
                  </a:lnTo>
                  <a:lnTo>
                    <a:pt x="215" y="267"/>
                  </a:lnTo>
                  <a:lnTo>
                    <a:pt x="211" y="267"/>
                  </a:lnTo>
                  <a:lnTo>
                    <a:pt x="211" y="263"/>
                  </a:lnTo>
                  <a:lnTo>
                    <a:pt x="207" y="263"/>
                  </a:lnTo>
                  <a:lnTo>
                    <a:pt x="203" y="259"/>
                  </a:lnTo>
                  <a:lnTo>
                    <a:pt x="199" y="259"/>
                  </a:lnTo>
                  <a:lnTo>
                    <a:pt x="199" y="255"/>
                  </a:lnTo>
                  <a:lnTo>
                    <a:pt x="199" y="251"/>
                  </a:lnTo>
                  <a:lnTo>
                    <a:pt x="195" y="251"/>
                  </a:lnTo>
                  <a:lnTo>
                    <a:pt x="195" y="247"/>
                  </a:lnTo>
                  <a:lnTo>
                    <a:pt x="191" y="247"/>
                  </a:lnTo>
                  <a:lnTo>
                    <a:pt x="191" y="243"/>
                  </a:lnTo>
                  <a:lnTo>
                    <a:pt x="191" y="239"/>
                  </a:lnTo>
                  <a:lnTo>
                    <a:pt x="195" y="239"/>
                  </a:lnTo>
                  <a:lnTo>
                    <a:pt x="195" y="236"/>
                  </a:lnTo>
                  <a:lnTo>
                    <a:pt x="199" y="236"/>
                  </a:lnTo>
                  <a:lnTo>
                    <a:pt x="195" y="232"/>
                  </a:lnTo>
                  <a:lnTo>
                    <a:pt x="195" y="228"/>
                  </a:lnTo>
                  <a:lnTo>
                    <a:pt x="199" y="228"/>
                  </a:lnTo>
                  <a:lnTo>
                    <a:pt x="199" y="224"/>
                  </a:lnTo>
                  <a:lnTo>
                    <a:pt x="199" y="220"/>
                  </a:lnTo>
                  <a:lnTo>
                    <a:pt x="195" y="220"/>
                  </a:lnTo>
                  <a:lnTo>
                    <a:pt x="195" y="216"/>
                  </a:lnTo>
                  <a:lnTo>
                    <a:pt x="195" y="212"/>
                  </a:lnTo>
                  <a:lnTo>
                    <a:pt x="191" y="212"/>
                  </a:lnTo>
                  <a:lnTo>
                    <a:pt x="191" y="208"/>
                  </a:lnTo>
                  <a:lnTo>
                    <a:pt x="191" y="204"/>
                  </a:lnTo>
                  <a:lnTo>
                    <a:pt x="191" y="200"/>
                  </a:lnTo>
                  <a:lnTo>
                    <a:pt x="191" y="196"/>
                  </a:lnTo>
                  <a:lnTo>
                    <a:pt x="187" y="196"/>
                  </a:lnTo>
                  <a:lnTo>
                    <a:pt x="183" y="192"/>
                  </a:lnTo>
                  <a:lnTo>
                    <a:pt x="183" y="188"/>
                  </a:lnTo>
                  <a:lnTo>
                    <a:pt x="179" y="188"/>
                  </a:lnTo>
                  <a:lnTo>
                    <a:pt x="179" y="184"/>
                  </a:lnTo>
                  <a:lnTo>
                    <a:pt x="175" y="180"/>
                  </a:lnTo>
                  <a:lnTo>
                    <a:pt x="175" y="176"/>
                  </a:lnTo>
                  <a:lnTo>
                    <a:pt x="171" y="176"/>
                  </a:lnTo>
                  <a:lnTo>
                    <a:pt x="171" y="172"/>
                  </a:lnTo>
                  <a:lnTo>
                    <a:pt x="163" y="168"/>
                  </a:lnTo>
                  <a:lnTo>
                    <a:pt x="163" y="164"/>
                  </a:lnTo>
                  <a:lnTo>
                    <a:pt x="159" y="164"/>
                  </a:lnTo>
                  <a:lnTo>
                    <a:pt x="163" y="164"/>
                  </a:lnTo>
                  <a:lnTo>
                    <a:pt x="163" y="160"/>
                  </a:lnTo>
                  <a:lnTo>
                    <a:pt x="159" y="164"/>
                  </a:lnTo>
                  <a:lnTo>
                    <a:pt x="159" y="160"/>
                  </a:lnTo>
                  <a:lnTo>
                    <a:pt x="155" y="160"/>
                  </a:lnTo>
                  <a:lnTo>
                    <a:pt x="159" y="160"/>
                  </a:lnTo>
                  <a:lnTo>
                    <a:pt x="155" y="160"/>
                  </a:lnTo>
                  <a:lnTo>
                    <a:pt x="155" y="156"/>
                  </a:lnTo>
                  <a:lnTo>
                    <a:pt x="155" y="152"/>
                  </a:lnTo>
                  <a:lnTo>
                    <a:pt x="155" y="156"/>
                  </a:lnTo>
                  <a:lnTo>
                    <a:pt x="151" y="152"/>
                  </a:lnTo>
                  <a:lnTo>
                    <a:pt x="155" y="152"/>
                  </a:lnTo>
                  <a:lnTo>
                    <a:pt x="151" y="148"/>
                  </a:lnTo>
                  <a:lnTo>
                    <a:pt x="147" y="148"/>
                  </a:lnTo>
                  <a:lnTo>
                    <a:pt x="147" y="144"/>
                  </a:lnTo>
                  <a:lnTo>
                    <a:pt x="143" y="144"/>
                  </a:lnTo>
                  <a:lnTo>
                    <a:pt x="143" y="140"/>
                  </a:lnTo>
                  <a:lnTo>
                    <a:pt x="143" y="144"/>
                  </a:lnTo>
                  <a:lnTo>
                    <a:pt x="139" y="144"/>
                  </a:lnTo>
                  <a:lnTo>
                    <a:pt x="139" y="140"/>
                  </a:lnTo>
                  <a:lnTo>
                    <a:pt x="143" y="140"/>
                  </a:lnTo>
                  <a:lnTo>
                    <a:pt x="143" y="136"/>
                  </a:lnTo>
                  <a:lnTo>
                    <a:pt x="143" y="140"/>
                  </a:lnTo>
                  <a:lnTo>
                    <a:pt x="139" y="140"/>
                  </a:lnTo>
                  <a:lnTo>
                    <a:pt x="135" y="140"/>
                  </a:lnTo>
                  <a:lnTo>
                    <a:pt x="135" y="136"/>
                  </a:lnTo>
                  <a:lnTo>
                    <a:pt x="135" y="132"/>
                  </a:lnTo>
                  <a:lnTo>
                    <a:pt x="135" y="128"/>
                  </a:lnTo>
                  <a:lnTo>
                    <a:pt x="135" y="132"/>
                  </a:lnTo>
                  <a:lnTo>
                    <a:pt x="135" y="128"/>
                  </a:lnTo>
                  <a:lnTo>
                    <a:pt x="139" y="128"/>
                  </a:lnTo>
                  <a:lnTo>
                    <a:pt x="135" y="124"/>
                  </a:lnTo>
                  <a:lnTo>
                    <a:pt x="135" y="120"/>
                  </a:lnTo>
                  <a:lnTo>
                    <a:pt x="131" y="120"/>
                  </a:lnTo>
                  <a:lnTo>
                    <a:pt x="127" y="120"/>
                  </a:lnTo>
                  <a:lnTo>
                    <a:pt x="127" y="116"/>
                  </a:lnTo>
                  <a:lnTo>
                    <a:pt x="127" y="112"/>
                  </a:lnTo>
                  <a:lnTo>
                    <a:pt x="123" y="112"/>
                  </a:lnTo>
                  <a:lnTo>
                    <a:pt x="119" y="112"/>
                  </a:lnTo>
                  <a:lnTo>
                    <a:pt x="119" y="108"/>
                  </a:lnTo>
                  <a:lnTo>
                    <a:pt x="115" y="104"/>
                  </a:lnTo>
                  <a:lnTo>
                    <a:pt x="115" y="100"/>
                  </a:lnTo>
                  <a:lnTo>
                    <a:pt x="115" y="96"/>
                  </a:lnTo>
                  <a:lnTo>
                    <a:pt x="119" y="96"/>
                  </a:lnTo>
                  <a:lnTo>
                    <a:pt x="115" y="96"/>
                  </a:lnTo>
                  <a:lnTo>
                    <a:pt x="111" y="96"/>
                  </a:lnTo>
                  <a:lnTo>
                    <a:pt x="107" y="96"/>
                  </a:lnTo>
                  <a:lnTo>
                    <a:pt x="107" y="92"/>
                  </a:lnTo>
                  <a:lnTo>
                    <a:pt x="103" y="92"/>
                  </a:lnTo>
                  <a:lnTo>
                    <a:pt x="103" y="88"/>
                  </a:lnTo>
                  <a:lnTo>
                    <a:pt x="99" y="84"/>
                  </a:lnTo>
                  <a:lnTo>
                    <a:pt x="99" y="80"/>
                  </a:lnTo>
                  <a:lnTo>
                    <a:pt x="96" y="80"/>
                  </a:lnTo>
                  <a:lnTo>
                    <a:pt x="96" y="76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92" y="68"/>
                  </a:lnTo>
                  <a:lnTo>
                    <a:pt x="88" y="68"/>
                  </a:lnTo>
                  <a:lnTo>
                    <a:pt x="92" y="64"/>
                  </a:lnTo>
                  <a:lnTo>
                    <a:pt x="88" y="64"/>
                  </a:lnTo>
                  <a:lnTo>
                    <a:pt x="88" y="60"/>
                  </a:lnTo>
                  <a:lnTo>
                    <a:pt x="84" y="56"/>
                  </a:lnTo>
                  <a:lnTo>
                    <a:pt x="84" y="52"/>
                  </a:lnTo>
                  <a:lnTo>
                    <a:pt x="84" y="48"/>
                  </a:lnTo>
                  <a:lnTo>
                    <a:pt x="80" y="44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0" y="32"/>
                  </a:lnTo>
                  <a:lnTo>
                    <a:pt x="76" y="32"/>
                  </a:lnTo>
                  <a:lnTo>
                    <a:pt x="72" y="32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0" y="24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4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60" y="56"/>
                  </a:lnTo>
                  <a:lnTo>
                    <a:pt x="60" y="60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72" y="68"/>
                  </a:lnTo>
                  <a:lnTo>
                    <a:pt x="72" y="72"/>
                  </a:lnTo>
                  <a:lnTo>
                    <a:pt x="72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84"/>
                  </a:lnTo>
                  <a:lnTo>
                    <a:pt x="84" y="88"/>
                  </a:lnTo>
                  <a:lnTo>
                    <a:pt x="84" y="92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8" y="100"/>
                  </a:lnTo>
                  <a:lnTo>
                    <a:pt x="92" y="104"/>
                  </a:lnTo>
                  <a:lnTo>
                    <a:pt x="92" y="108"/>
                  </a:lnTo>
                  <a:lnTo>
                    <a:pt x="96" y="112"/>
                  </a:lnTo>
                  <a:lnTo>
                    <a:pt x="96" y="116"/>
                  </a:lnTo>
                  <a:lnTo>
                    <a:pt x="96" y="120"/>
                  </a:lnTo>
                  <a:lnTo>
                    <a:pt x="99" y="120"/>
                  </a:lnTo>
                  <a:lnTo>
                    <a:pt x="99" y="124"/>
                  </a:lnTo>
                  <a:lnTo>
                    <a:pt x="99" y="120"/>
                  </a:lnTo>
                  <a:lnTo>
                    <a:pt x="99" y="116"/>
                  </a:lnTo>
                  <a:lnTo>
                    <a:pt x="99" y="120"/>
                  </a:lnTo>
                  <a:lnTo>
                    <a:pt x="103" y="120"/>
                  </a:lnTo>
                  <a:lnTo>
                    <a:pt x="103" y="124"/>
                  </a:lnTo>
                  <a:lnTo>
                    <a:pt x="103" y="128"/>
                  </a:lnTo>
                  <a:lnTo>
                    <a:pt x="103" y="132"/>
                  </a:lnTo>
                  <a:lnTo>
                    <a:pt x="103" y="136"/>
                  </a:lnTo>
                  <a:lnTo>
                    <a:pt x="107" y="136"/>
                  </a:lnTo>
                  <a:lnTo>
                    <a:pt x="107" y="140"/>
                  </a:lnTo>
                  <a:lnTo>
                    <a:pt x="111" y="144"/>
                  </a:lnTo>
                  <a:lnTo>
                    <a:pt x="111" y="148"/>
                  </a:lnTo>
                  <a:lnTo>
                    <a:pt x="111" y="152"/>
                  </a:lnTo>
                  <a:lnTo>
                    <a:pt x="115" y="152"/>
                  </a:lnTo>
                  <a:lnTo>
                    <a:pt x="115" y="156"/>
                  </a:lnTo>
                  <a:lnTo>
                    <a:pt x="115" y="160"/>
                  </a:lnTo>
                  <a:lnTo>
                    <a:pt x="115" y="164"/>
                  </a:lnTo>
                  <a:lnTo>
                    <a:pt x="115" y="168"/>
                  </a:lnTo>
                  <a:lnTo>
                    <a:pt x="119" y="168"/>
                  </a:lnTo>
                  <a:lnTo>
                    <a:pt x="123" y="168"/>
                  </a:lnTo>
                  <a:lnTo>
                    <a:pt x="119" y="168"/>
                  </a:lnTo>
                  <a:lnTo>
                    <a:pt x="119" y="164"/>
                  </a:lnTo>
                  <a:lnTo>
                    <a:pt x="123" y="164"/>
                  </a:lnTo>
                  <a:lnTo>
                    <a:pt x="123" y="168"/>
                  </a:lnTo>
                  <a:lnTo>
                    <a:pt x="127" y="168"/>
                  </a:lnTo>
                  <a:lnTo>
                    <a:pt x="127" y="172"/>
                  </a:lnTo>
                  <a:lnTo>
                    <a:pt x="127" y="176"/>
                  </a:lnTo>
                  <a:lnTo>
                    <a:pt x="131" y="176"/>
                  </a:lnTo>
                  <a:lnTo>
                    <a:pt x="131" y="180"/>
                  </a:lnTo>
                  <a:lnTo>
                    <a:pt x="135" y="180"/>
                  </a:lnTo>
                  <a:lnTo>
                    <a:pt x="135" y="184"/>
                  </a:lnTo>
                  <a:lnTo>
                    <a:pt x="135" y="188"/>
                  </a:lnTo>
                  <a:lnTo>
                    <a:pt x="131" y="188"/>
                  </a:lnTo>
                  <a:lnTo>
                    <a:pt x="131" y="192"/>
                  </a:lnTo>
                  <a:lnTo>
                    <a:pt x="127" y="192"/>
                  </a:lnTo>
                  <a:lnTo>
                    <a:pt x="123" y="192"/>
                  </a:lnTo>
                  <a:lnTo>
                    <a:pt x="123" y="188"/>
                  </a:lnTo>
                  <a:lnTo>
                    <a:pt x="123" y="184"/>
                  </a:lnTo>
                  <a:lnTo>
                    <a:pt x="119" y="180"/>
                  </a:lnTo>
                  <a:lnTo>
                    <a:pt x="115" y="176"/>
                  </a:lnTo>
                  <a:lnTo>
                    <a:pt x="111" y="172"/>
                  </a:lnTo>
                  <a:lnTo>
                    <a:pt x="111" y="168"/>
                  </a:lnTo>
                  <a:lnTo>
                    <a:pt x="107" y="168"/>
                  </a:lnTo>
                  <a:lnTo>
                    <a:pt x="103" y="164"/>
                  </a:lnTo>
                  <a:close/>
                  <a:moveTo>
                    <a:pt x="115" y="152"/>
                  </a:moveTo>
                  <a:lnTo>
                    <a:pt x="119" y="156"/>
                  </a:lnTo>
                  <a:lnTo>
                    <a:pt x="115" y="156"/>
                  </a:lnTo>
                  <a:lnTo>
                    <a:pt x="115" y="152"/>
                  </a:lnTo>
                  <a:close/>
                  <a:moveTo>
                    <a:pt x="92" y="148"/>
                  </a:moveTo>
                  <a:lnTo>
                    <a:pt x="96" y="148"/>
                  </a:lnTo>
                  <a:lnTo>
                    <a:pt x="92" y="148"/>
                  </a:lnTo>
                  <a:lnTo>
                    <a:pt x="92" y="152"/>
                  </a:lnTo>
                  <a:lnTo>
                    <a:pt x="92" y="156"/>
                  </a:lnTo>
                  <a:lnTo>
                    <a:pt x="96" y="160"/>
                  </a:lnTo>
                  <a:lnTo>
                    <a:pt x="92" y="160"/>
                  </a:lnTo>
                  <a:lnTo>
                    <a:pt x="92" y="156"/>
                  </a:lnTo>
                  <a:lnTo>
                    <a:pt x="92" y="152"/>
                  </a:lnTo>
                  <a:lnTo>
                    <a:pt x="92" y="148"/>
                  </a:lnTo>
                  <a:close/>
                  <a:moveTo>
                    <a:pt x="111" y="271"/>
                  </a:moveTo>
                  <a:lnTo>
                    <a:pt x="107" y="271"/>
                  </a:lnTo>
                  <a:lnTo>
                    <a:pt x="111" y="271"/>
                  </a:lnTo>
                  <a:lnTo>
                    <a:pt x="111" y="267"/>
                  </a:lnTo>
                  <a:lnTo>
                    <a:pt x="111" y="271"/>
                  </a:lnTo>
                  <a:close/>
                  <a:moveTo>
                    <a:pt x="80" y="76"/>
                  </a:moveTo>
                  <a:lnTo>
                    <a:pt x="76" y="76"/>
                  </a:lnTo>
                  <a:lnTo>
                    <a:pt x="76" y="72"/>
                  </a:lnTo>
                  <a:lnTo>
                    <a:pt x="72" y="68"/>
                  </a:lnTo>
                  <a:lnTo>
                    <a:pt x="72" y="64"/>
                  </a:lnTo>
                  <a:lnTo>
                    <a:pt x="76" y="64"/>
                  </a:lnTo>
                  <a:lnTo>
                    <a:pt x="76" y="68"/>
                  </a:lnTo>
                  <a:lnTo>
                    <a:pt x="76" y="72"/>
                  </a:lnTo>
                  <a:lnTo>
                    <a:pt x="80" y="72"/>
                  </a:lnTo>
                  <a:lnTo>
                    <a:pt x="80" y="76"/>
                  </a:lnTo>
                  <a:close/>
                  <a:moveTo>
                    <a:pt x="92" y="80"/>
                  </a:moveTo>
                  <a:lnTo>
                    <a:pt x="88" y="80"/>
                  </a:lnTo>
                  <a:lnTo>
                    <a:pt x="88" y="76"/>
                  </a:lnTo>
                  <a:lnTo>
                    <a:pt x="88" y="72"/>
                  </a:lnTo>
                  <a:lnTo>
                    <a:pt x="92" y="72"/>
                  </a:lnTo>
                  <a:lnTo>
                    <a:pt x="92" y="76"/>
                  </a:lnTo>
                  <a:lnTo>
                    <a:pt x="92" y="80"/>
                  </a:lnTo>
                  <a:close/>
                  <a:moveTo>
                    <a:pt x="0" y="76"/>
                  </a:moveTo>
                  <a:lnTo>
                    <a:pt x="0" y="72"/>
                  </a:lnTo>
                  <a:lnTo>
                    <a:pt x="0" y="76"/>
                  </a:lnTo>
                  <a:close/>
                  <a:moveTo>
                    <a:pt x="48" y="96"/>
                  </a:moveTo>
                  <a:lnTo>
                    <a:pt x="48" y="92"/>
                  </a:lnTo>
                  <a:lnTo>
                    <a:pt x="44" y="92"/>
                  </a:lnTo>
                  <a:lnTo>
                    <a:pt x="48" y="92"/>
                  </a:lnTo>
                  <a:lnTo>
                    <a:pt x="48" y="88"/>
                  </a:lnTo>
                  <a:lnTo>
                    <a:pt x="48" y="92"/>
                  </a:lnTo>
                  <a:lnTo>
                    <a:pt x="48" y="96"/>
                  </a:lnTo>
                  <a:close/>
                  <a:moveTo>
                    <a:pt x="107" y="136"/>
                  </a:moveTo>
                  <a:lnTo>
                    <a:pt x="107" y="132"/>
                  </a:lnTo>
                  <a:lnTo>
                    <a:pt x="107" y="136"/>
                  </a:lnTo>
                  <a:close/>
                  <a:moveTo>
                    <a:pt x="119" y="164"/>
                  </a:moveTo>
                  <a:lnTo>
                    <a:pt x="119" y="160"/>
                  </a:lnTo>
                  <a:lnTo>
                    <a:pt x="119" y="164"/>
                  </a:lnTo>
                  <a:close/>
                  <a:moveTo>
                    <a:pt x="99" y="164"/>
                  </a:moveTo>
                  <a:lnTo>
                    <a:pt x="96" y="164"/>
                  </a:lnTo>
                  <a:lnTo>
                    <a:pt x="96" y="160"/>
                  </a:lnTo>
                  <a:lnTo>
                    <a:pt x="99" y="160"/>
                  </a:lnTo>
                  <a:lnTo>
                    <a:pt x="99" y="164"/>
                  </a:lnTo>
                  <a:close/>
                  <a:moveTo>
                    <a:pt x="127" y="168"/>
                  </a:moveTo>
                  <a:lnTo>
                    <a:pt x="127" y="164"/>
                  </a:lnTo>
                  <a:lnTo>
                    <a:pt x="127" y="168"/>
                  </a:lnTo>
                  <a:close/>
                  <a:moveTo>
                    <a:pt x="175" y="220"/>
                  </a:moveTo>
                  <a:lnTo>
                    <a:pt x="175" y="216"/>
                  </a:lnTo>
                  <a:lnTo>
                    <a:pt x="179" y="216"/>
                  </a:lnTo>
                  <a:lnTo>
                    <a:pt x="179" y="220"/>
                  </a:lnTo>
                  <a:lnTo>
                    <a:pt x="175" y="220"/>
                  </a:lnTo>
                  <a:close/>
                  <a:moveTo>
                    <a:pt x="179" y="220"/>
                  </a:moveTo>
                  <a:lnTo>
                    <a:pt x="183" y="220"/>
                  </a:lnTo>
                  <a:lnTo>
                    <a:pt x="179" y="220"/>
                  </a:lnTo>
                  <a:close/>
                  <a:moveTo>
                    <a:pt x="474" y="243"/>
                  </a:moveTo>
                  <a:lnTo>
                    <a:pt x="474" y="239"/>
                  </a:lnTo>
                  <a:lnTo>
                    <a:pt x="474" y="236"/>
                  </a:lnTo>
                  <a:lnTo>
                    <a:pt x="478" y="236"/>
                  </a:lnTo>
                  <a:lnTo>
                    <a:pt x="478" y="239"/>
                  </a:lnTo>
                  <a:lnTo>
                    <a:pt x="474" y="239"/>
                  </a:lnTo>
                  <a:lnTo>
                    <a:pt x="474" y="243"/>
                  </a:lnTo>
                  <a:close/>
                  <a:moveTo>
                    <a:pt x="403" y="271"/>
                  </a:moveTo>
                  <a:lnTo>
                    <a:pt x="399" y="271"/>
                  </a:lnTo>
                  <a:lnTo>
                    <a:pt x="403" y="271"/>
                  </a:lnTo>
                  <a:lnTo>
                    <a:pt x="407" y="271"/>
                  </a:lnTo>
                  <a:lnTo>
                    <a:pt x="403" y="27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2" name="Freeform 69"/>
            <p:cNvSpPr>
              <a:spLocks noEditPoints="1"/>
            </p:cNvSpPr>
            <p:nvPr>
              <p:custDataLst>
                <p:tags r:id="rId265"/>
              </p:custDataLst>
            </p:nvPr>
          </p:nvSpPr>
          <p:spPr bwMode="gray">
            <a:xfrm>
              <a:off x="2826259" y="4260782"/>
              <a:ext cx="17797" cy="5932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</a:cxnLst>
              <a:rect l="0" t="0" r="r" b="b"/>
              <a:pathLst>
                <a:path w="12" h="4"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3" name="Freeform 70"/>
            <p:cNvSpPr>
              <a:spLocks/>
            </p:cNvSpPr>
            <p:nvPr>
              <p:custDataLst>
                <p:tags r:id="rId266"/>
              </p:custDataLst>
            </p:nvPr>
          </p:nvSpPr>
          <p:spPr bwMode="gray">
            <a:xfrm>
              <a:off x="2405069" y="4183663"/>
              <a:ext cx="106781" cy="118645"/>
            </a:xfrm>
            <a:custGeom>
              <a:avLst/>
              <a:gdLst/>
              <a:ahLst/>
              <a:cxnLst>
                <a:cxn ang="0">
                  <a:pos x="68" y="4"/>
                </a:cxn>
                <a:cxn ang="0">
                  <a:pos x="68" y="8"/>
                </a:cxn>
                <a:cxn ang="0">
                  <a:pos x="68" y="12"/>
                </a:cxn>
                <a:cxn ang="0">
                  <a:pos x="68" y="20"/>
                </a:cxn>
                <a:cxn ang="0">
                  <a:pos x="64" y="24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64" y="44"/>
                </a:cxn>
                <a:cxn ang="0">
                  <a:pos x="64" y="48"/>
                </a:cxn>
                <a:cxn ang="0">
                  <a:pos x="64" y="48"/>
                </a:cxn>
                <a:cxn ang="0">
                  <a:pos x="64" y="48"/>
                </a:cxn>
                <a:cxn ang="0">
                  <a:pos x="64" y="44"/>
                </a:cxn>
                <a:cxn ang="0">
                  <a:pos x="60" y="48"/>
                </a:cxn>
                <a:cxn ang="0">
                  <a:pos x="60" y="56"/>
                </a:cxn>
                <a:cxn ang="0">
                  <a:pos x="60" y="60"/>
                </a:cxn>
                <a:cxn ang="0">
                  <a:pos x="60" y="60"/>
                </a:cxn>
                <a:cxn ang="0">
                  <a:pos x="64" y="64"/>
                </a:cxn>
                <a:cxn ang="0">
                  <a:pos x="60" y="68"/>
                </a:cxn>
                <a:cxn ang="0">
                  <a:pos x="60" y="72"/>
                </a:cxn>
                <a:cxn ang="0">
                  <a:pos x="60" y="76"/>
                </a:cxn>
                <a:cxn ang="0">
                  <a:pos x="64" y="80"/>
                </a:cxn>
                <a:cxn ang="0">
                  <a:pos x="60" y="80"/>
                </a:cxn>
                <a:cxn ang="0">
                  <a:pos x="56" y="80"/>
                </a:cxn>
                <a:cxn ang="0">
                  <a:pos x="52" y="80"/>
                </a:cxn>
                <a:cxn ang="0">
                  <a:pos x="40" y="76"/>
                </a:cxn>
                <a:cxn ang="0">
                  <a:pos x="40" y="76"/>
                </a:cxn>
                <a:cxn ang="0">
                  <a:pos x="32" y="72"/>
                </a:cxn>
                <a:cxn ang="0">
                  <a:pos x="28" y="72"/>
                </a:cxn>
                <a:cxn ang="0">
                  <a:pos x="24" y="68"/>
                </a:cxn>
                <a:cxn ang="0">
                  <a:pos x="20" y="60"/>
                </a:cxn>
                <a:cxn ang="0">
                  <a:pos x="16" y="56"/>
                </a:cxn>
                <a:cxn ang="0">
                  <a:pos x="16" y="52"/>
                </a:cxn>
                <a:cxn ang="0">
                  <a:pos x="12" y="48"/>
                </a:cxn>
                <a:cxn ang="0">
                  <a:pos x="4" y="44"/>
                </a:cxn>
                <a:cxn ang="0">
                  <a:pos x="0" y="40"/>
                </a:cxn>
                <a:cxn ang="0">
                  <a:pos x="4" y="40"/>
                </a:cxn>
                <a:cxn ang="0">
                  <a:pos x="8" y="40"/>
                </a:cxn>
                <a:cxn ang="0">
                  <a:pos x="12" y="40"/>
                </a:cxn>
                <a:cxn ang="0">
                  <a:pos x="12" y="36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24"/>
                </a:cxn>
                <a:cxn ang="0">
                  <a:pos x="24" y="20"/>
                </a:cxn>
                <a:cxn ang="0">
                  <a:pos x="28" y="20"/>
                </a:cxn>
                <a:cxn ang="0">
                  <a:pos x="32" y="24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0" y="8"/>
                </a:cxn>
                <a:cxn ang="0">
                  <a:pos x="48" y="8"/>
                </a:cxn>
                <a:cxn ang="0">
                  <a:pos x="56" y="8"/>
                </a:cxn>
                <a:cxn ang="0">
                  <a:pos x="64" y="4"/>
                </a:cxn>
                <a:cxn ang="0">
                  <a:pos x="68" y="0"/>
                </a:cxn>
              </a:cxnLst>
              <a:rect l="0" t="0" r="r" b="b"/>
              <a:pathLst>
                <a:path w="72" h="80">
                  <a:moveTo>
                    <a:pt x="72" y="0"/>
                  </a:move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4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2" y="80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4" name="Freeform 71"/>
            <p:cNvSpPr>
              <a:spLocks noEditPoints="1"/>
            </p:cNvSpPr>
            <p:nvPr>
              <p:custDataLst>
                <p:tags r:id="rId267"/>
              </p:custDataLst>
            </p:nvPr>
          </p:nvSpPr>
          <p:spPr bwMode="gray">
            <a:xfrm>
              <a:off x="2511850" y="4331969"/>
              <a:ext cx="130510" cy="65255"/>
            </a:xfrm>
            <a:custGeom>
              <a:avLst/>
              <a:gdLst/>
              <a:ahLst/>
              <a:cxnLst>
                <a:cxn ang="0">
                  <a:pos x="40" y="24"/>
                </a:cxn>
                <a:cxn ang="0">
                  <a:pos x="40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36" y="44"/>
                </a:cxn>
                <a:cxn ang="0">
                  <a:pos x="32" y="44"/>
                </a:cxn>
                <a:cxn ang="0">
                  <a:pos x="32" y="36"/>
                </a:cxn>
                <a:cxn ang="0">
                  <a:pos x="28" y="32"/>
                </a:cxn>
                <a:cxn ang="0">
                  <a:pos x="24" y="36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12" y="28"/>
                </a:cxn>
                <a:cxn ang="0">
                  <a:pos x="8" y="28"/>
                </a:cxn>
                <a:cxn ang="0">
                  <a:pos x="4" y="24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0" y="16"/>
                </a:cxn>
                <a:cxn ang="0">
                  <a:pos x="0" y="12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0" y="16"/>
                </a:cxn>
                <a:cxn ang="0">
                  <a:pos x="28" y="16"/>
                </a:cxn>
                <a:cxn ang="0">
                  <a:pos x="32" y="16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52" y="4"/>
                </a:cxn>
                <a:cxn ang="0">
                  <a:pos x="60" y="4"/>
                </a:cxn>
                <a:cxn ang="0">
                  <a:pos x="60" y="4"/>
                </a:cxn>
                <a:cxn ang="0">
                  <a:pos x="68" y="4"/>
                </a:cxn>
                <a:cxn ang="0">
                  <a:pos x="76" y="12"/>
                </a:cxn>
                <a:cxn ang="0">
                  <a:pos x="84" y="16"/>
                </a:cxn>
                <a:cxn ang="0">
                  <a:pos x="84" y="20"/>
                </a:cxn>
                <a:cxn ang="0">
                  <a:pos x="84" y="24"/>
                </a:cxn>
                <a:cxn ang="0">
                  <a:pos x="88" y="28"/>
                </a:cxn>
                <a:cxn ang="0">
                  <a:pos x="88" y="36"/>
                </a:cxn>
                <a:cxn ang="0">
                  <a:pos x="80" y="36"/>
                </a:cxn>
                <a:cxn ang="0">
                  <a:pos x="80" y="40"/>
                </a:cxn>
                <a:cxn ang="0">
                  <a:pos x="72" y="40"/>
                </a:cxn>
                <a:cxn ang="0">
                  <a:pos x="72" y="32"/>
                </a:cxn>
                <a:cxn ang="0">
                  <a:pos x="72" y="32"/>
                </a:cxn>
                <a:cxn ang="0">
                  <a:pos x="72" y="28"/>
                </a:cxn>
                <a:cxn ang="0">
                  <a:pos x="76" y="28"/>
                </a:cxn>
                <a:cxn ang="0">
                  <a:pos x="80" y="28"/>
                </a:cxn>
                <a:cxn ang="0">
                  <a:pos x="76" y="24"/>
                </a:cxn>
                <a:cxn ang="0">
                  <a:pos x="68" y="24"/>
                </a:cxn>
                <a:cxn ang="0">
                  <a:pos x="64" y="16"/>
                </a:cxn>
                <a:cxn ang="0">
                  <a:pos x="60" y="12"/>
                </a:cxn>
                <a:cxn ang="0">
                  <a:pos x="60" y="12"/>
                </a:cxn>
                <a:cxn ang="0">
                  <a:pos x="52" y="12"/>
                </a:cxn>
                <a:cxn ang="0">
                  <a:pos x="48" y="16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64" y="24"/>
                </a:cxn>
                <a:cxn ang="0">
                  <a:pos x="20" y="36"/>
                </a:cxn>
                <a:cxn ang="0">
                  <a:pos x="20" y="44"/>
                </a:cxn>
                <a:cxn ang="0">
                  <a:pos x="20" y="44"/>
                </a:cxn>
                <a:cxn ang="0">
                  <a:pos x="16" y="40"/>
                </a:cxn>
              </a:cxnLst>
              <a:rect l="0" t="0" r="r" b="b"/>
              <a:pathLst>
                <a:path w="88" h="44">
                  <a:moveTo>
                    <a:pt x="44" y="24"/>
                  </a:move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6" y="24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4"/>
                  </a:lnTo>
                  <a:close/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close/>
                  <a:moveTo>
                    <a:pt x="64" y="24"/>
                  </a:move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4" y="24"/>
                  </a:lnTo>
                  <a:close/>
                  <a:moveTo>
                    <a:pt x="20" y="36"/>
                  </a:move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36"/>
                  </a:lnTo>
                  <a:lnTo>
                    <a:pt x="20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5" name="Freeform 72"/>
            <p:cNvSpPr>
              <a:spLocks noEditPoints="1"/>
            </p:cNvSpPr>
            <p:nvPr>
              <p:custDataLst>
                <p:tags r:id="rId268"/>
              </p:custDataLst>
            </p:nvPr>
          </p:nvSpPr>
          <p:spPr bwMode="gray">
            <a:xfrm>
              <a:off x="2867785" y="4088747"/>
              <a:ext cx="41526" cy="17797"/>
            </a:xfrm>
            <a:custGeom>
              <a:avLst/>
              <a:gdLst/>
              <a:ahLst/>
              <a:cxnLst>
                <a:cxn ang="0">
                  <a:pos x="20" y="8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4" y="8"/>
                </a:cxn>
              </a:cxnLst>
              <a:rect l="0" t="0" r="r" b="b"/>
              <a:pathLst>
                <a:path w="28" h="12">
                  <a:moveTo>
                    <a:pt x="20" y="8"/>
                  </a:move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8"/>
                  </a:lnTo>
                  <a:lnTo>
                    <a:pt x="20" y="8"/>
                  </a:lnTo>
                  <a:close/>
                  <a:moveTo>
                    <a:pt x="24" y="8"/>
                  </a:move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4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6" name="Freeform 73"/>
            <p:cNvSpPr>
              <a:spLocks noEditPoints="1"/>
            </p:cNvSpPr>
            <p:nvPr>
              <p:custDataLst>
                <p:tags r:id="rId269"/>
              </p:custDataLst>
            </p:nvPr>
          </p:nvSpPr>
          <p:spPr bwMode="gray">
            <a:xfrm>
              <a:off x="3109524" y="3243400"/>
              <a:ext cx="5932" cy="1186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</a:cxnLst>
              <a:rect l="0" t="0" r="r" b="b"/>
              <a:pathLst>
                <a:path w="4" h="8">
                  <a:moveTo>
                    <a:pt x="0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7" name="Freeform 74"/>
            <p:cNvSpPr>
              <a:spLocks noEditPoints="1"/>
            </p:cNvSpPr>
            <p:nvPr>
              <p:custDataLst>
                <p:tags r:id="rId270"/>
              </p:custDataLst>
            </p:nvPr>
          </p:nvSpPr>
          <p:spPr bwMode="gray">
            <a:xfrm>
              <a:off x="2600834" y="3852939"/>
              <a:ext cx="142374" cy="172035"/>
            </a:xfrm>
            <a:custGeom>
              <a:avLst/>
              <a:gdLst/>
              <a:ahLst/>
              <a:cxnLst>
                <a:cxn ang="0">
                  <a:pos x="56" y="52"/>
                </a:cxn>
                <a:cxn ang="0">
                  <a:pos x="52" y="48"/>
                </a:cxn>
                <a:cxn ang="0">
                  <a:pos x="68" y="56"/>
                </a:cxn>
                <a:cxn ang="0">
                  <a:pos x="68" y="56"/>
                </a:cxn>
                <a:cxn ang="0">
                  <a:pos x="88" y="88"/>
                </a:cxn>
                <a:cxn ang="0">
                  <a:pos x="96" y="88"/>
                </a:cxn>
                <a:cxn ang="0">
                  <a:pos x="24" y="0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6"/>
                </a:cxn>
                <a:cxn ang="0">
                  <a:pos x="28" y="12"/>
                </a:cxn>
                <a:cxn ang="0">
                  <a:pos x="24" y="4"/>
                </a:cxn>
                <a:cxn ang="0">
                  <a:pos x="16" y="0"/>
                </a:cxn>
                <a:cxn ang="0">
                  <a:pos x="4" y="4"/>
                </a:cxn>
                <a:cxn ang="0">
                  <a:pos x="16" y="4"/>
                </a:cxn>
                <a:cxn ang="0">
                  <a:pos x="4" y="8"/>
                </a:cxn>
                <a:cxn ang="0">
                  <a:pos x="40" y="28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4" y="36"/>
                </a:cxn>
                <a:cxn ang="0">
                  <a:pos x="40" y="28"/>
                </a:cxn>
                <a:cxn ang="0">
                  <a:pos x="12" y="32"/>
                </a:cxn>
                <a:cxn ang="0">
                  <a:pos x="16" y="40"/>
                </a:cxn>
                <a:cxn ang="0">
                  <a:pos x="20" y="48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24" y="36"/>
                </a:cxn>
                <a:cxn ang="0">
                  <a:pos x="20" y="52"/>
                </a:cxn>
                <a:cxn ang="0">
                  <a:pos x="24" y="52"/>
                </a:cxn>
                <a:cxn ang="0">
                  <a:pos x="20" y="60"/>
                </a:cxn>
                <a:cxn ang="0">
                  <a:pos x="16" y="56"/>
                </a:cxn>
                <a:cxn ang="0">
                  <a:pos x="48" y="64"/>
                </a:cxn>
                <a:cxn ang="0">
                  <a:pos x="48" y="60"/>
                </a:cxn>
                <a:cxn ang="0">
                  <a:pos x="60" y="72"/>
                </a:cxn>
                <a:cxn ang="0">
                  <a:pos x="64" y="72"/>
                </a:cxn>
                <a:cxn ang="0">
                  <a:pos x="56" y="64"/>
                </a:cxn>
                <a:cxn ang="0">
                  <a:pos x="72" y="76"/>
                </a:cxn>
                <a:cxn ang="0">
                  <a:pos x="72" y="92"/>
                </a:cxn>
                <a:cxn ang="0">
                  <a:pos x="76" y="84"/>
                </a:cxn>
                <a:cxn ang="0">
                  <a:pos x="76" y="80"/>
                </a:cxn>
                <a:cxn ang="0">
                  <a:pos x="76" y="88"/>
                </a:cxn>
                <a:cxn ang="0">
                  <a:pos x="80" y="116"/>
                </a:cxn>
                <a:cxn ang="0">
                  <a:pos x="84" y="108"/>
                </a:cxn>
                <a:cxn ang="0">
                  <a:pos x="88" y="108"/>
                </a:cxn>
                <a:cxn ang="0">
                  <a:pos x="88" y="112"/>
                </a:cxn>
                <a:cxn ang="0">
                  <a:pos x="84" y="112"/>
                </a:cxn>
              </a:cxnLst>
              <a:rect l="0" t="0" r="r" b="b"/>
              <a:pathLst>
                <a:path w="96" h="116">
                  <a:moveTo>
                    <a:pt x="56" y="52"/>
                  </a:moveTo>
                  <a:lnTo>
                    <a:pt x="52" y="52"/>
                  </a:lnTo>
                  <a:lnTo>
                    <a:pt x="56" y="52"/>
                  </a:lnTo>
                  <a:lnTo>
                    <a:pt x="52" y="48"/>
                  </a:lnTo>
                  <a:lnTo>
                    <a:pt x="52" y="44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56" y="52"/>
                  </a:lnTo>
                  <a:close/>
                  <a:moveTo>
                    <a:pt x="68" y="56"/>
                  </a:moveTo>
                  <a:lnTo>
                    <a:pt x="68" y="52"/>
                  </a:lnTo>
                  <a:lnTo>
                    <a:pt x="72" y="56"/>
                  </a:lnTo>
                  <a:lnTo>
                    <a:pt x="68" y="56"/>
                  </a:lnTo>
                  <a:close/>
                  <a:moveTo>
                    <a:pt x="96" y="88"/>
                  </a:moveTo>
                  <a:lnTo>
                    <a:pt x="92" y="88"/>
                  </a:lnTo>
                  <a:lnTo>
                    <a:pt x="88" y="88"/>
                  </a:lnTo>
                  <a:lnTo>
                    <a:pt x="88" y="84"/>
                  </a:lnTo>
                  <a:lnTo>
                    <a:pt x="92" y="84"/>
                  </a:lnTo>
                  <a:lnTo>
                    <a:pt x="96" y="88"/>
                  </a:lnTo>
                  <a:close/>
                  <a:moveTo>
                    <a:pt x="16" y="0"/>
                  </a:moveTo>
                  <a:lnTo>
                    <a:pt x="20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16" y="0"/>
                  </a:lnTo>
                  <a:close/>
                  <a:moveTo>
                    <a:pt x="4" y="8"/>
                  </a:moveTo>
                  <a:lnTo>
                    <a:pt x="0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2" y="4"/>
                  </a:lnTo>
                  <a:lnTo>
                    <a:pt x="8" y="8"/>
                  </a:lnTo>
                  <a:lnTo>
                    <a:pt x="4" y="8"/>
                  </a:lnTo>
                  <a:close/>
                  <a:moveTo>
                    <a:pt x="36" y="24"/>
                  </a:moveTo>
                  <a:lnTo>
                    <a:pt x="36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36" y="28"/>
                  </a:lnTo>
                  <a:lnTo>
                    <a:pt x="36" y="24"/>
                  </a:lnTo>
                  <a:close/>
                  <a:moveTo>
                    <a:pt x="12" y="32"/>
                  </a:moveTo>
                  <a:lnTo>
                    <a:pt x="16" y="32"/>
                  </a:lnTo>
                  <a:lnTo>
                    <a:pt x="16" y="36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0" y="44"/>
                  </a:lnTo>
                  <a:lnTo>
                    <a:pt x="20" y="48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2"/>
                  </a:lnTo>
                  <a:close/>
                  <a:moveTo>
                    <a:pt x="24" y="36"/>
                  </a:moveTo>
                  <a:lnTo>
                    <a:pt x="28" y="36"/>
                  </a:lnTo>
                  <a:lnTo>
                    <a:pt x="24" y="36"/>
                  </a:lnTo>
                  <a:close/>
                  <a:moveTo>
                    <a:pt x="20" y="52"/>
                  </a:moveTo>
                  <a:lnTo>
                    <a:pt x="20" y="56"/>
                  </a:lnTo>
                  <a:lnTo>
                    <a:pt x="20" y="52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4" y="60"/>
                  </a:lnTo>
                  <a:lnTo>
                    <a:pt x="20" y="60"/>
                  </a:lnTo>
                  <a:lnTo>
                    <a:pt x="24" y="60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20" y="52"/>
                  </a:lnTo>
                  <a:close/>
                  <a:moveTo>
                    <a:pt x="48" y="60"/>
                  </a:moveTo>
                  <a:lnTo>
                    <a:pt x="48" y="64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60"/>
                  </a:lnTo>
                  <a:close/>
                  <a:moveTo>
                    <a:pt x="56" y="64"/>
                  </a:move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56" y="64"/>
                  </a:lnTo>
                  <a:close/>
                  <a:moveTo>
                    <a:pt x="76" y="80"/>
                  </a:moveTo>
                  <a:lnTo>
                    <a:pt x="72" y="80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76" y="80"/>
                  </a:lnTo>
                  <a:close/>
                  <a:moveTo>
                    <a:pt x="72" y="92"/>
                  </a:moveTo>
                  <a:lnTo>
                    <a:pt x="72" y="88"/>
                  </a:lnTo>
                  <a:lnTo>
                    <a:pt x="76" y="88"/>
                  </a:lnTo>
                  <a:lnTo>
                    <a:pt x="76" y="84"/>
                  </a:lnTo>
                  <a:lnTo>
                    <a:pt x="80" y="84"/>
                  </a:lnTo>
                  <a:lnTo>
                    <a:pt x="76" y="84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84"/>
                  </a:lnTo>
                  <a:lnTo>
                    <a:pt x="76" y="88"/>
                  </a:lnTo>
                  <a:lnTo>
                    <a:pt x="72" y="88"/>
                  </a:lnTo>
                  <a:lnTo>
                    <a:pt x="72" y="92"/>
                  </a:lnTo>
                  <a:close/>
                  <a:moveTo>
                    <a:pt x="80" y="116"/>
                  </a:moveTo>
                  <a:lnTo>
                    <a:pt x="80" y="112"/>
                  </a:lnTo>
                  <a:lnTo>
                    <a:pt x="84" y="112"/>
                  </a:lnTo>
                  <a:lnTo>
                    <a:pt x="84" y="108"/>
                  </a:lnTo>
                  <a:lnTo>
                    <a:pt x="88" y="108"/>
                  </a:lnTo>
                  <a:lnTo>
                    <a:pt x="88" y="112"/>
                  </a:lnTo>
                  <a:lnTo>
                    <a:pt x="88" y="108"/>
                  </a:lnTo>
                  <a:lnTo>
                    <a:pt x="92" y="108"/>
                  </a:lnTo>
                  <a:lnTo>
                    <a:pt x="92" y="112"/>
                  </a:lnTo>
                  <a:lnTo>
                    <a:pt x="88" y="112"/>
                  </a:lnTo>
                  <a:lnTo>
                    <a:pt x="88" y="116"/>
                  </a:lnTo>
                  <a:lnTo>
                    <a:pt x="84" y="116"/>
                  </a:lnTo>
                  <a:lnTo>
                    <a:pt x="84" y="112"/>
                  </a:lnTo>
                  <a:lnTo>
                    <a:pt x="80" y="1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8" name="Freeform 75"/>
            <p:cNvSpPr>
              <a:spLocks noEditPoints="1"/>
            </p:cNvSpPr>
            <p:nvPr>
              <p:custDataLst>
                <p:tags r:id="rId271"/>
              </p:custDataLst>
            </p:nvPr>
          </p:nvSpPr>
          <p:spPr bwMode="gray">
            <a:xfrm>
              <a:off x="2984947" y="4284511"/>
              <a:ext cx="29661" cy="35594"/>
            </a:xfrm>
            <a:custGeom>
              <a:avLst/>
              <a:gdLst/>
              <a:ahLst/>
              <a:cxnLst>
                <a:cxn ang="0">
                  <a:pos x="16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16" y="4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16" y="20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2" y="12"/>
                </a:cxn>
              </a:cxnLst>
              <a:rect l="0" t="0" r="r" b="b"/>
              <a:pathLst>
                <a:path w="20" h="24">
                  <a:moveTo>
                    <a:pt x="16" y="4"/>
                  </a:move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6" y="4"/>
                  </a:lnTo>
                  <a:lnTo>
                    <a:pt x="16" y="4"/>
                  </a:lnTo>
                  <a:close/>
                  <a:moveTo>
                    <a:pt x="12" y="12"/>
                  </a:move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9" name="Freeform 76"/>
            <p:cNvSpPr>
              <a:spLocks noEditPoints="1"/>
            </p:cNvSpPr>
            <p:nvPr>
              <p:custDataLst>
                <p:tags r:id="rId272"/>
              </p:custDataLst>
            </p:nvPr>
          </p:nvSpPr>
          <p:spPr bwMode="gray">
            <a:xfrm>
              <a:off x="2761005" y="3995313"/>
              <a:ext cx="17797" cy="11865"/>
            </a:xfrm>
            <a:custGeom>
              <a:avLst/>
              <a:gdLst/>
              <a:ahLst/>
              <a:cxnLst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</a:cxnLst>
              <a:rect l="0" t="0" r="r" b="b"/>
              <a:pathLst>
                <a:path w="12" h="8">
                  <a:moveTo>
                    <a:pt x="12" y="8"/>
                  </a:move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0" name="Freeform 77"/>
            <p:cNvSpPr>
              <a:spLocks/>
            </p:cNvSpPr>
            <p:nvPr>
              <p:custDataLst>
                <p:tags r:id="rId273"/>
              </p:custDataLst>
            </p:nvPr>
          </p:nvSpPr>
          <p:spPr bwMode="gray">
            <a:xfrm>
              <a:off x="4807633" y="3385775"/>
              <a:ext cx="41526" cy="87500"/>
            </a:xfrm>
            <a:custGeom>
              <a:avLst/>
              <a:gdLst/>
              <a:ahLst/>
              <a:cxnLst>
                <a:cxn ang="0">
                  <a:pos x="4" y="15"/>
                </a:cxn>
                <a:cxn ang="0">
                  <a:pos x="4" y="15"/>
                </a:cxn>
                <a:cxn ang="0">
                  <a:pos x="4" y="15"/>
                </a:cxn>
                <a:cxn ang="0">
                  <a:pos x="4" y="11"/>
                </a:cxn>
                <a:cxn ang="0">
                  <a:pos x="0" y="7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3"/>
                </a:cxn>
                <a:cxn ang="0">
                  <a:pos x="20" y="7"/>
                </a:cxn>
                <a:cxn ang="0">
                  <a:pos x="20" y="11"/>
                </a:cxn>
                <a:cxn ang="0">
                  <a:pos x="20" y="11"/>
                </a:cxn>
                <a:cxn ang="0">
                  <a:pos x="20" y="15"/>
                </a:cxn>
                <a:cxn ang="0">
                  <a:pos x="20" y="19"/>
                </a:cxn>
                <a:cxn ang="0">
                  <a:pos x="20" y="23"/>
                </a:cxn>
                <a:cxn ang="0">
                  <a:pos x="20" y="23"/>
                </a:cxn>
                <a:cxn ang="0">
                  <a:pos x="20" y="27"/>
                </a:cxn>
                <a:cxn ang="0">
                  <a:pos x="20" y="31"/>
                </a:cxn>
                <a:cxn ang="0">
                  <a:pos x="24" y="35"/>
                </a:cxn>
                <a:cxn ang="0">
                  <a:pos x="28" y="35"/>
                </a:cxn>
                <a:cxn ang="0">
                  <a:pos x="28" y="35"/>
                </a:cxn>
                <a:cxn ang="0">
                  <a:pos x="28" y="39"/>
                </a:cxn>
                <a:cxn ang="0">
                  <a:pos x="24" y="43"/>
                </a:cxn>
                <a:cxn ang="0">
                  <a:pos x="24" y="43"/>
                </a:cxn>
                <a:cxn ang="0">
                  <a:pos x="24" y="47"/>
                </a:cxn>
                <a:cxn ang="0">
                  <a:pos x="20" y="51"/>
                </a:cxn>
                <a:cxn ang="0">
                  <a:pos x="20" y="51"/>
                </a:cxn>
                <a:cxn ang="0">
                  <a:pos x="20" y="51"/>
                </a:cxn>
                <a:cxn ang="0">
                  <a:pos x="16" y="55"/>
                </a:cxn>
                <a:cxn ang="0">
                  <a:pos x="16" y="55"/>
                </a:cxn>
                <a:cxn ang="0">
                  <a:pos x="16" y="55"/>
                </a:cxn>
                <a:cxn ang="0">
                  <a:pos x="16" y="59"/>
                </a:cxn>
                <a:cxn ang="0">
                  <a:pos x="16" y="59"/>
                </a:cxn>
                <a:cxn ang="0">
                  <a:pos x="12" y="59"/>
                </a:cxn>
                <a:cxn ang="0">
                  <a:pos x="12" y="59"/>
                </a:cxn>
                <a:cxn ang="0">
                  <a:pos x="8" y="51"/>
                </a:cxn>
                <a:cxn ang="0">
                  <a:pos x="8" y="51"/>
                </a:cxn>
                <a:cxn ang="0">
                  <a:pos x="4" y="47"/>
                </a:cxn>
                <a:cxn ang="0">
                  <a:pos x="0" y="43"/>
                </a:cxn>
                <a:cxn ang="0">
                  <a:pos x="4" y="43"/>
                </a:cxn>
                <a:cxn ang="0">
                  <a:pos x="4" y="47"/>
                </a:cxn>
                <a:cxn ang="0">
                  <a:pos x="4" y="43"/>
                </a:cxn>
                <a:cxn ang="0">
                  <a:pos x="4" y="39"/>
                </a:cxn>
                <a:cxn ang="0">
                  <a:pos x="0" y="39"/>
                </a:cxn>
                <a:cxn ang="0">
                  <a:pos x="4" y="35"/>
                </a:cxn>
                <a:cxn ang="0">
                  <a:pos x="4" y="35"/>
                </a:cxn>
                <a:cxn ang="0">
                  <a:pos x="4" y="31"/>
                </a:cxn>
                <a:cxn ang="0">
                  <a:pos x="4" y="27"/>
                </a:cxn>
                <a:cxn ang="0">
                  <a:pos x="4" y="27"/>
                </a:cxn>
                <a:cxn ang="0">
                  <a:pos x="4" y="19"/>
                </a:cxn>
                <a:cxn ang="0">
                  <a:pos x="4" y="19"/>
                </a:cxn>
              </a:cxnLst>
              <a:rect l="0" t="0" r="r" b="b"/>
              <a:pathLst>
                <a:path w="28" h="59">
                  <a:moveTo>
                    <a:pt x="4" y="19"/>
                  </a:moveTo>
                  <a:lnTo>
                    <a:pt x="4" y="19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4" y="11"/>
                  </a:lnTo>
                  <a:lnTo>
                    <a:pt x="4" y="7"/>
                  </a:lnTo>
                  <a:lnTo>
                    <a:pt x="4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4" y="3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16" y="51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9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4" y="51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4" y="43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3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1" name="Freeform 78"/>
            <p:cNvSpPr>
              <a:spLocks/>
            </p:cNvSpPr>
            <p:nvPr>
              <p:custDataLst>
                <p:tags r:id="rId274"/>
              </p:custDataLst>
            </p:nvPr>
          </p:nvSpPr>
          <p:spPr bwMode="gray">
            <a:xfrm>
              <a:off x="4405722" y="3385775"/>
              <a:ext cx="11865" cy="444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8" h="3">
                  <a:moveTo>
                    <a:pt x="0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2" name="Freeform 79"/>
            <p:cNvSpPr>
              <a:spLocks/>
            </p:cNvSpPr>
            <p:nvPr>
              <p:custDataLst>
                <p:tags r:id="rId275"/>
              </p:custDataLst>
            </p:nvPr>
          </p:nvSpPr>
          <p:spPr bwMode="gray">
            <a:xfrm>
              <a:off x="4588139" y="3178146"/>
              <a:ext cx="172035" cy="83052"/>
            </a:xfrm>
            <a:custGeom>
              <a:avLst/>
              <a:gdLst/>
              <a:ahLst/>
              <a:cxnLst>
                <a:cxn ang="0">
                  <a:pos x="12" y="44"/>
                </a:cxn>
                <a:cxn ang="0">
                  <a:pos x="8" y="48"/>
                </a:cxn>
                <a:cxn ang="0">
                  <a:pos x="4" y="44"/>
                </a:cxn>
                <a:cxn ang="0">
                  <a:pos x="4" y="44"/>
                </a:cxn>
                <a:cxn ang="0">
                  <a:pos x="4" y="36"/>
                </a:cxn>
                <a:cxn ang="0">
                  <a:pos x="0" y="32"/>
                </a:cxn>
                <a:cxn ang="0">
                  <a:pos x="4" y="32"/>
                </a:cxn>
                <a:cxn ang="0">
                  <a:pos x="12" y="40"/>
                </a:cxn>
                <a:cxn ang="0">
                  <a:pos x="16" y="36"/>
                </a:cxn>
                <a:cxn ang="0">
                  <a:pos x="20" y="32"/>
                </a:cxn>
                <a:cxn ang="0">
                  <a:pos x="28" y="32"/>
                </a:cxn>
                <a:cxn ang="0">
                  <a:pos x="40" y="32"/>
                </a:cxn>
                <a:cxn ang="0">
                  <a:pos x="40" y="32"/>
                </a:cxn>
                <a:cxn ang="0">
                  <a:pos x="48" y="32"/>
                </a:cxn>
                <a:cxn ang="0">
                  <a:pos x="52" y="36"/>
                </a:cxn>
                <a:cxn ang="0">
                  <a:pos x="52" y="28"/>
                </a:cxn>
                <a:cxn ang="0">
                  <a:pos x="52" y="24"/>
                </a:cxn>
                <a:cxn ang="0">
                  <a:pos x="48" y="20"/>
                </a:cxn>
                <a:cxn ang="0">
                  <a:pos x="56" y="16"/>
                </a:cxn>
                <a:cxn ang="0">
                  <a:pos x="60" y="12"/>
                </a:cxn>
                <a:cxn ang="0">
                  <a:pos x="64" y="12"/>
                </a:cxn>
                <a:cxn ang="0">
                  <a:pos x="68" y="8"/>
                </a:cxn>
                <a:cxn ang="0">
                  <a:pos x="76" y="8"/>
                </a:cxn>
                <a:cxn ang="0">
                  <a:pos x="80" y="8"/>
                </a:cxn>
                <a:cxn ang="0">
                  <a:pos x="84" y="4"/>
                </a:cxn>
                <a:cxn ang="0">
                  <a:pos x="88" y="0"/>
                </a:cxn>
                <a:cxn ang="0">
                  <a:pos x="92" y="4"/>
                </a:cxn>
                <a:cxn ang="0">
                  <a:pos x="100" y="4"/>
                </a:cxn>
                <a:cxn ang="0">
                  <a:pos x="104" y="8"/>
                </a:cxn>
                <a:cxn ang="0">
                  <a:pos x="108" y="8"/>
                </a:cxn>
                <a:cxn ang="0">
                  <a:pos x="112" y="8"/>
                </a:cxn>
                <a:cxn ang="0">
                  <a:pos x="112" y="16"/>
                </a:cxn>
                <a:cxn ang="0">
                  <a:pos x="116" y="20"/>
                </a:cxn>
                <a:cxn ang="0">
                  <a:pos x="116" y="24"/>
                </a:cxn>
                <a:cxn ang="0">
                  <a:pos x="116" y="28"/>
                </a:cxn>
                <a:cxn ang="0">
                  <a:pos x="108" y="28"/>
                </a:cxn>
                <a:cxn ang="0">
                  <a:pos x="108" y="32"/>
                </a:cxn>
                <a:cxn ang="0">
                  <a:pos x="108" y="36"/>
                </a:cxn>
                <a:cxn ang="0">
                  <a:pos x="108" y="40"/>
                </a:cxn>
                <a:cxn ang="0">
                  <a:pos x="104" y="44"/>
                </a:cxn>
                <a:cxn ang="0">
                  <a:pos x="100" y="48"/>
                </a:cxn>
                <a:cxn ang="0">
                  <a:pos x="96" y="52"/>
                </a:cxn>
                <a:cxn ang="0">
                  <a:pos x="84" y="52"/>
                </a:cxn>
                <a:cxn ang="0">
                  <a:pos x="76" y="56"/>
                </a:cxn>
                <a:cxn ang="0">
                  <a:pos x="68" y="56"/>
                </a:cxn>
                <a:cxn ang="0">
                  <a:pos x="60" y="56"/>
                </a:cxn>
                <a:cxn ang="0">
                  <a:pos x="48" y="52"/>
                </a:cxn>
                <a:cxn ang="0">
                  <a:pos x="44" y="52"/>
                </a:cxn>
                <a:cxn ang="0">
                  <a:pos x="40" y="44"/>
                </a:cxn>
                <a:cxn ang="0">
                  <a:pos x="40" y="44"/>
                </a:cxn>
                <a:cxn ang="0">
                  <a:pos x="32" y="44"/>
                </a:cxn>
                <a:cxn ang="0">
                  <a:pos x="24" y="48"/>
                </a:cxn>
                <a:cxn ang="0">
                  <a:pos x="20" y="48"/>
                </a:cxn>
                <a:cxn ang="0">
                  <a:pos x="16" y="48"/>
                </a:cxn>
              </a:cxnLst>
              <a:rect l="0" t="0" r="r" b="b"/>
              <a:pathLst>
                <a:path w="116" h="56">
                  <a:moveTo>
                    <a:pt x="16" y="48"/>
                  </a:moveTo>
                  <a:lnTo>
                    <a:pt x="16" y="48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6" y="12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100" y="4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08" y="4"/>
                  </a:lnTo>
                  <a:lnTo>
                    <a:pt x="108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16" y="20"/>
                  </a:lnTo>
                  <a:lnTo>
                    <a:pt x="116" y="20"/>
                  </a:lnTo>
                  <a:lnTo>
                    <a:pt x="116" y="20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28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4" y="28"/>
                  </a:lnTo>
                  <a:lnTo>
                    <a:pt x="104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4" y="36"/>
                  </a:lnTo>
                  <a:lnTo>
                    <a:pt x="104" y="36"/>
                  </a:lnTo>
                  <a:lnTo>
                    <a:pt x="108" y="40"/>
                  </a:lnTo>
                  <a:lnTo>
                    <a:pt x="108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0" y="48"/>
                  </a:lnTo>
                  <a:lnTo>
                    <a:pt x="100" y="48"/>
                  </a:lnTo>
                  <a:lnTo>
                    <a:pt x="100" y="48"/>
                  </a:lnTo>
                  <a:lnTo>
                    <a:pt x="100" y="48"/>
                  </a:lnTo>
                  <a:lnTo>
                    <a:pt x="100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2" y="52"/>
                  </a:lnTo>
                  <a:lnTo>
                    <a:pt x="88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24" y="44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3" name="Freeform 80"/>
            <p:cNvSpPr>
              <a:spLocks/>
            </p:cNvSpPr>
            <p:nvPr>
              <p:custDataLst>
                <p:tags r:id="rId276"/>
              </p:custDataLst>
            </p:nvPr>
          </p:nvSpPr>
          <p:spPr bwMode="gray">
            <a:xfrm>
              <a:off x="4896617" y="2934923"/>
              <a:ext cx="212078" cy="172035"/>
            </a:xfrm>
            <a:custGeom>
              <a:avLst/>
              <a:gdLst/>
              <a:ahLst/>
              <a:cxnLst>
                <a:cxn ang="0">
                  <a:pos x="28" y="100"/>
                </a:cxn>
                <a:cxn ang="0">
                  <a:pos x="16" y="104"/>
                </a:cxn>
                <a:cxn ang="0">
                  <a:pos x="12" y="108"/>
                </a:cxn>
                <a:cxn ang="0">
                  <a:pos x="4" y="108"/>
                </a:cxn>
                <a:cxn ang="0">
                  <a:pos x="8" y="96"/>
                </a:cxn>
                <a:cxn ang="0">
                  <a:pos x="0" y="88"/>
                </a:cxn>
                <a:cxn ang="0">
                  <a:pos x="8" y="84"/>
                </a:cxn>
                <a:cxn ang="0">
                  <a:pos x="12" y="80"/>
                </a:cxn>
                <a:cxn ang="0">
                  <a:pos x="8" y="64"/>
                </a:cxn>
                <a:cxn ang="0">
                  <a:pos x="4" y="56"/>
                </a:cxn>
                <a:cxn ang="0">
                  <a:pos x="8" y="52"/>
                </a:cxn>
                <a:cxn ang="0">
                  <a:pos x="16" y="52"/>
                </a:cxn>
                <a:cxn ang="0">
                  <a:pos x="20" y="52"/>
                </a:cxn>
                <a:cxn ang="0">
                  <a:pos x="24" y="48"/>
                </a:cxn>
                <a:cxn ang="0">
                  <a:pos x="32" y="48"/>
                </a:cxn>
                <a:cxn ang="0">
                  <a:pos x="36" y="48"/>
                </a:cxn>
                <a:cxn ang="0">
                  <a:pos x="40" y="44"/>
                </a:cxn>
                <a:cxn ang="0">
                  <a:pos x="40" y="40"/>
                </a:cxn>
                <a:cxn ang="0">
                  <a:pos x="40" y="32"/>
                </a:cxn>
                <a:cxn ang="0">
                  <a:pos x="48" y="24"/>
                </a:cxn>
                <a:cxn ang="0">
                  <a:pos x="52" y="20"/>
                </a:cxn>
                <a:cxn ang="0">
                  <a:pos x="52" y="12"/>
                </a:cxn>
                <a:cxn ang="0">
                  <a:pos x="56" y="12"/>
                </a:cxn>
                <a:cxn ang="0">
                  <a:pos x="68" y="12"/>
                </a:cxn>
                <a:cxn ang="0">
                  <a:pos x="72" y="4"/>
                </a:cxn>
                <a:cxn ang="0">
                  <a:pos x="79" y="4"/>
                </a:cxn>
                <a:cxn ang="0">
                  <a:pos x="83" y="8"/>
                </a:cxn>
                <a:cxn ang="0">
                  <a:pos x="95" y="8"/>
                </a:cxn>
                <a:cxn ang="0">
                  <a:pos x="103" y="8"/>
                </a:cxn>
                <a:cxn ang="0">
                  <a:pos x="115" y="16"/>
                </a:cxn>
                <a:cxn ang="0">
                  <a:pos x="115" y="20"/>
                </a:cxn>
                <a:cxn ang="0">
                  <a:pos x="119" y="28"/>
                </a:cxn>
                <a:cxn ang="0">
                  <a:pos x="115" y="36"/>
                </a:cxn>
                <a:cxn ang="0">
                  <a:pos x="119" y="40"/>
                </a:cxn>
                <a:cxn ang="0">
                  <a:pos x="127" y="48"/>
                </a:cxn>
                <a:cxn ang="0">
                  <a:pos x="131" y="56"/>
                </a:cxn>
                <a:cxn ang="0">
                  <a:pos x="139" y="60"/>
                </a:cxn>
                <a:cxn ang="0">
                  <a:pos x="143" y="64"/>
                </a:cxn>
                <a:cxn ang="0">
                  <a:pos x="139" y="72"/>
                </a:cxn>
                <a:cxn ang="0">
                  <a:pos x="131" y="72"/>
                </a:cxn>
                <a:cxn ang="0">
                  <a:pos x="123" y="76"/>
                </a:cxn>
                <a:cxn ang="0">
                  <a:pos x="127" y="80"/>
                </a:cxn>
                <a:cxn ang="0">
                  <a:pos x="127" y="92"/>
                </a:cxn>
                <a:cxn ang="0">
                  <a:pos x="127" y="96"/>
                </a:cxn>
                <a:cxn ang="0">
                  <a:pos x="119" y="96"/>
                </a:cxn>
                <a:cxn ang="0">
                  <a:pos x="111" y="100"/>
                </a:cxn>
                <a:cxn ang="0">
                  <a:pos x="111" y="112"/>
                </a:cxn>
                <a:cxn ang="0">
                  <a:pos x="103" y="108"/>
                </a:cxn>
                <a:cxn ang="0">
                  <a:pos x="99" y="112"/>
                </a:cxn>
                <a:cxn ang="0">
                  <a:pos x="91" y="108"/>
                </a:cxn>
                <a:cxn ang="0">
                  <a:pos x="83" y="108"/>
                </a:cxn>
                <a:cxn ang="0">
                  <a:pos x="83" y="108"/>
                </a:cxn>
                <a:cxn ang="0">
                  <a:pos x="75" y="108"/>
                </a:cxn>
                <a:cxn ang="0">
                  <a:pos x="72" y="108"/>
                </a:cxn>
                <a:cxn ang="0">
                  <a:pos x="68" y="108"/>
                </a:cxn>
                <a:cxn ang="0">
                  <a:pos x="64" y="108"/>
                </a:cxn>
                <a:cxn ang="0">
                  <a:pos x="56" y="104"/>
                </a:cxn>
                <a:cxn ang="0">
                  <a:pos x="52" y="100"/>
                </a:cxn>
                <a:cxn ang="0">
                  <a:pos x="48" y="100"/>
                </a:cxn>
                <a:cxn ang="0">
                  <a:pos x="40" y="100"/>
                </a:cxn>
              </a:cxnLst>
              <a:rect l="0" t="0" r="r" b="b"/>
              <a:pathLst>
                <a:path w="143" h="116">
                  <a:moveTo>
                    <a:pt x="36" y="100"/>
                  </a:moveTo>
                  <a:lnTo>
                    <a:pt x="36" y="100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28" y="100"/>
                  </a:lnTo>
                  <a:lnTo>
                    <a:pt x="28" y="100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4"/>
                  </a:lnTo>
                  <a:lnTo>
                    <a:pt x="16" y="104"/>
                  </a:lnTo>
                  <a:lnTo>
                    <a:pt x="16" y="104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8" y="104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4" y="108"/>
                  </a:lnTo>
                  <a:lnTo>
                    <a:pt x="4" y="108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8" y="100"/>
                  </a:lnTo>
                  <a:lnTo>
                    <a:pt x="8" y="100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4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3" y="8"/>
                  </a:lnTo>
                  <a:lnTo>
                    <a:pt x="83" y="8"/>
                  </a:lnTo>
                  <a:lnTo>
                    <a:pt x="83" y="8"/>
                  </a:lnTo>
                  <a:lnTo>
                    <a:pt x="87" y="8"/>
                  </a:lnTo>
                  <a:lnTo>
                    <a:pt x="87" y="4"/>
                  </a:lnTo>
                  <a:lnTo>
                    <a:pt x="87" y="4"/>
                  </a:lnTo>
                  <a:lnTo>
                    <a:pt x="87" y="4"/>
                  </a:lnTo>
                  <a:lnTo>
                    <a:pt x="91" y="4"/>
                  </a:lnTo>
                  <a:lnTo>
                    <a:pt x="91" y="4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1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99" y="8"/>
                  </a:lnTo>
                  <a:lnTo>
                    <a:pt x="103" y="8"/>
                  </a:lnTo>
                  <a:lnTo>
                    <a:pt x="103" y="8"/>
                  </a:lnTo>
                  <a:lnTo>
                    <a:pt x="107" y="8"/>
                  </a:lnTo>
                  <a:lnTo>
                    <a:pt x="111" y="12"/>
                  </a:lnTo>
                  <a:lnTo>
                    <a:pt x="111" y="12"/>
                  </a:lnTo>
                  <a:lnTo>
                    <a:pt x="111" y="12"/>
                  </a:lnTo>
                  <a:lnTo>
                    <a:pt x="111" y="12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9" y="24"/>
                  </a:lnTo>
                  <a:lnTo>
                    <a:pt x="119" y="28"/>
                  </a:lnTo>
                  <a:lnTo>
                    <a:pt x="115" y="28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23" y="40"/>
                  </a:lnTo>
                  <a:lnTo>
                    <a:pt x="123" y="44"/>
                  </a:lnTo>
                  <a:lnTo>
                    <a:pt x="123" y="44"/>
                  </a:lnTo>
                  <a:lnTo>
                    <a:pt x="123" y="48"/>
                  </a:lnTo>
                  <a:lnTo>
                    <a:pt x="127" y="48"/>
                  </a:lnTo>
                  <a:lnTo>
                    <a:pt x="127" y="48"/>
                  </a:lnTo>
                  <a:lnTo>
                    <a:pt x="127" y="48"/>
                  </a:lnTo>
                  <a:lnTo>
                    <a:pt x="127" y="48"/>
                  </a:lnTo>
                  <a:lnTo>
                    <a:pt x="131" y="48"/>
                  </a:lnTo>
                  <a:lnTo>
                    <a:pt x="131" y="52"/>
                  </a:lnTo>
                  <a:lnTo>
                    <a:pt x="131" y="52"/>
                  </a:lnTo>
                  <a:lnTo>
                    <a:pt x="131" y="52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5" y="56"/>
                  </a:lnTo>
                  <a:lnTo>
                    <a:pt x="139" y="56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8"/>
                  </a:lnTo>
                  <a:lnTo>
                    <a:pt x="143" y="68"/>
                  </a:lnTo>
                  <a:lnTo>
                    <a:pt x="139" y="72"/>
                  </a:lnTo>
                  <a:lnTo>
                    <a:pt x="139" y="72"/>
                  </a:lnTo>
                  <a:lnTo>
                    <a:pt x="139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27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6"/>
                  </a:lnTo>
                  <a:lnTo>
                    <a:pt x="123" y="76"/>
                  </a:lnTo>
                  <a:lnTo>
                    <a:pt x="123" y="76"/>
                  </a:lnTo>
                  <a:lnTo>
                    <a:pt x="123" y="76"/>
                  </a:lnTo>
                  <a:lnTo>
                    <a:pt x="123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7" y="92"/>
                  </a:lnTo>
                  <a:lnTo>
                    <a:pt x="127" y="92"/>
                  </a:lnTo>
                  <a:lnTo>
                    <a:pt x="127" y="92"/>
                  </a:lnTo>
                  <a:lnTo>
                    <a:pt x="131" y="92"/>
                  </a:lnTo>
                  <a:lnTo>
                    <a:pt x="131" y="96"/>
                  </a:lnTo>
                  <a:lnTo>
                    <a:pt x="131" y="96"/>
                  </a:lnTo>
                  <a:lnTo>
                    <a:pt x="131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3" y="96"/>
                  </a:lnTo>
                  <a:lnTo>
                    <a:pt x="123" y="96"/>
                  </a:lnTo>
                  <a:lnTo>
                    <a:pt x="123" y="96"/>
                  </a:lnTo>
                  <a:lnTo>
                    <a:pt x="123" y="96"/>
                  </a:lnTo>
                  <a:lnTo>
                    <a:pt x="123" y="96"/>
                  </a:lnTo>
                  <a:lnTo>
                    <a:pt x="119" y="96"/>
                  </a:lnTo>
                  <a:lnTo>
                    <a:pt x="119" y="96"/>
                  </a:lnTo>
                  <a:lnTo>
                    <a:pt x="115" y="96"/>
                  </a:lnTo>
                  <a:lnTo>
                    <a:pt x="115" y="96"/>
                  </a:lnTo>
                  <a:lnTo>
                    <a:pt x="115" y="96"/>
                  </a:lnTo>
                  <a:lnTo>
                    <a:pt x="115" y="96"/>
                  </a:lnTo>
                  <a:lnTo>
                    <a:pt x="115" y="100"/>
                  </a:lnTo>
                  <a:lnTo>
                    <a:pt x="115" y="100"/>
                  </a:lnTo>
                  <a:lnTo>
                    <a:pt x="115" y="100"/>
                  </a:lnTo>
                  <a:lnTo>
                    <a:pt x="111" y="100"/>
                  </a:lnTo>
                  <a:lnTo>
                    <a:pt x="111" y="104"/>
                  </a:lnTo>
                  <a:lnTo>
                    <a:pt x="111" y="104"/>
                  </a:lnTo>
                  <a:lnTo>
                    <a:pt x="111" y="104"/>
                  </a:lnTo>
                  <a:lnTo>
                    <a:pt x="111" y="108"/>
                  </a:lnTo>
                  <a:lnTo>
                    <a:pt x="111" y="108"/>
                  </a:lnTo>
                  <a:lnTo>
                    <a:pt x="111" y="112"/>
                  </a:lnTo>
                  <a:lnTo>
                    <a:pt x="111" y="112"/>
                  </a:lnTo>
                  <a:lnTo>
                    <a:pt x="111" y="112"/>
                  </a:lnTo>
                  <a:lnTo>
                    <a:pt x="111" y="112"/>
                  </a:lnTo>
                  <a:lnTo>
                    <a:pt x="111" y="116"/>
                  </a:lnTo>
                  <a:lnTo>
                    <a:pt x="111" y="112"/>
                  </a:lnTo>
                  <a:lnTo>
                    <a:pt x="107" y="112"/>
                  </a:lnTo>
                  <a:lnTo>
                    <a:pt x="107" y="112"/>
                  </a:lnTo>
                  <a:lnTo>
                    <a:pt x="107" y="108"/>
                  </a:lnTo>
                  <a:lnTo>
                    <a:pt x="107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99" y="112"/>
                  </a:lnTo>
                  <a:lnTo>
                    <a:pt x="99" y="112"/>
                  </a:lnTo>
                  <a:lnTo>
                    <a:pt x="99" y="112"/>
                  </a:lnTo>
                  <a:lnTo>
                    <a:pt x="99" y="112"/>
                  </a:lnTo>
                  <a:lnTo>
                    <a:pt x="99" y="108"/>
                  </a:lnTo>
                  <a:lnTo>
                    <a:pt x="99" y="108"/>
                  </a:lnTo>
                  <a:lnTo>
                    <a:pt x="95" y="108"/>
                  </a:lnTo>
                  <a:lnTo>
                    <a:pt x="95" y="112"/>
                  </a:lnTo>
                  <a:lnTo>
                    <a:pt x="91" y="112"/>
                  </a:lnTo>
                  <a:lnTo>
                    <a:pt x="91" y="112"/>
                  </a:lnTo>
                  <a:lnTo>
                    <a:pt x="91" y="112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87" y="108"/>
                  </a:lnTo>
                  <a:lnTo>
                    <a:pt x="87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79" y="108"/>
                  </a:lnTo>
                  <a:lnTo>
                    <a:pt x="79" y="108"/>
                  </a:lnTo>
                  <a:lnTo>
                    <a:pt x="79" y="108"/>
                  </a:lnTo>
                  <a:lnTo>
                    <a:pt x="75" y="108"/>
                  </a:lnTo>
                  <a:lnTo>
                    <a:pt x="75" y="104"/>
                  </a:lnTo>
                  <a:lnTo>
                    <a:pt x="75" y="104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4" name="Freeform 81"/>
            <p:cNvSpPr>
              <a:spLocks/>
            </p:cNvSpPr>
            <p:nvPr>
              <p:custDataLst>
                <p:tags r:id="rId277"/>
              </p:custDataLst>
            </p:nvPr>
          </p:nvSpPr>
          <p:spPr bwMode="gray">
            <a:xfrm>
              <a:off x="4435383" y="3095094"/>
              <a:ext cx="81568" cy="65255"/>
            </a:xfrm>
            <a:custGeom>
              <a:avLst/>
              <a:gdLst/>
              <a:ahLst/>
              <a:cxnLst>
                <a:cxn ang="0">
                  <a:pos x="24" y="28"/>
                </a:cxn>
                <a:cxn ang="0">
                  <a:pos x="20" y="28"/>
                </a:cxn>
                <a:cxn ang="0">
                  <a:pos x="16" y="24"/>
                </a:cxn>
                <a:cxn ang="0">
                  <a:pos x="12" y="24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4" y="8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32" y="0"/>
                </a:cxn>
                <a:cxn ang="0">
                  <a:pos x="35" y="4"/>
                </a:cxn>
                <a:cxn ang="0">
                  <a:pos x="35" y="0"/>
                </a:cxn>
                <a:cxn ang="0">
                  <a:pos x="39" y="4"/>
                </a:cxn>
                <a:cxn ang="0">
                  <a:pos x="39" y="8"/>
                </a:cxn>
                <a:cxn ang="0">
                  <a:pos x="43" y="8"/>
                </a:cxn>
                <a:cxn ang="0">
                  <a:pos x="47" y="8"/>
                </a:cxn>
                <a:cxn ang="0">
                  <a:pos x="47" y="12"/>
                </a:cxn>
                <a:cxn ang="0">
                  <a:pos x="47" y="16"/>
                </a:cxn>
                <a:cxn ang="0">
                  <a:pos x="47" y="16"/>
                </a:cxn>
                <a:cxn ang="0">
                  <a:pos x="47" y="16"/>
                </a:cxn>
                <a:cxn ang="0">
                  <a:pos x="51" y="20"/>
                </a:cxn>
                <a:cxn ang="0">
                  <a:pos x="55" y="24"/>
                </a:cxn>
                <a:cxn ang="0">
                  <a:pos x="55" y="28"/>
                </a:cxn>
                <a:cxn ang="0">
                  <a:pos x="51" y="32"/>
                </a:cxn>
                <a:cxn ang="0">
                  <a:pos x="51" y="32"/>
                </a:cxn>
                <a:cxn ang="0">
                  <a:pos x="47" y="32"/>
                </a:cxn>
                <a:cxn ang="0">
                  <a:pos x="47" y="40"/>
                </a:cxn>
                <a:cxn ang="0">
                  <a:pos x="47" y="40"/>
                </a:cxn>
                <a:cxn ang="0">
                  <a:pos x="47" y="44"/>
                </a:cxn>
                <a:cxn ang="0">
                  <a:pos x="43" y="44"/>
                </a:cxn>
                <a:cxn ang="0">
                  <a:pos x="43" y="44"/>
                </a:cxn>
                <a:cxn ang="0">
                  <a:pos x="39" y="44"/>
                </a:cxn>
                <a:cxn ang="0">
                  <a:pos x="35" y="40"/>
                </a:cxn>
                <a:cxn ang="0">
                  <a:pos x="32" y="32"/>
                </a:cxn>
                <a:cxn ang="0">
                  <a:pos x="32" y="32"/>
                </a:cxn>
                <a:cxn ang="0">
                  <a:pos x="28" y="36"/>
                </a:cxn>
                <a:cxn ang="0">
                  <a:pos x="24" y="36"/>
                </a:cxn>
              </a:cxnLst>
              <a:rect l="0" t="0" r="r" b="b"/>
              <a:pathLst>
                <a:path w="55" h="44">
                  <a:moveTo>
                    <a:pt x="24" y="36"/>
                  </a:moveTo>
                  <a:lnTo>
                    <a:pt x="24" y="36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3" y="4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20"/>
                  </a:lnTo>
                  <a:lnTo>
                    <a:pt x="47" y="16"/>
                  </a:lnTo>
                  <a:lnTo>
                    <a:pt x="51" y="16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5" y="20"/>
                  </a:lnTo>
                  <a:lnTo>
                    <a:pt x="55" y="20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1" y="28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47" y="32"/>
                  </a:lnTo>
                  <a:lnTo>
                    <a:pt x="47" y="32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5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5" name="Freeform 82"/>
            <p:cNvSpPr>
              <a:spLocks/>
            </p:cNvSpPr>
            <p:nvPr>
              <p:custDataLst>
                <p:tags r:id="rId278"/>
              </p:custDataLst>
            </p:nvPr>
          </p:nvSpPr>
          <p:spPr bwMode="gray">
            <a:xfrm>
              <a:off x="4730513" y="3302723"/>
              <a:ext cx="83052" cy="83052"/>
            </a:xfrm>
            <a:custGeom>
              <a:avLst/>
              <a:gdLst/>
              <a:ahLst/>
              <a:cxnLst>
                <a:cxn ang="0">
                  <a:pos x="28" y="48"/>
                </a:cxn>
                <a:cxn ang="0">
                  <a:pos x="28" y="44"/>
                </a:cxn>
                <a:cxn ang="0">
                  <a:pos x="24" y="40"/>
                </a:cxn>
                <a:cxn ang="0">
                  <a:pos x="20" y="36"/>
                </a:cxn>
                <a:cxn ang="0">
                  <a:pos x="20" y="36"/>
                </a:cxn>
                <a:cxn ang="0">
                  <a:pos x="16" y="32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40" y="0"/>
                </a:cxn>
                <a:cxn ang="0">
                  <a:pos x="44" y="4"/>
                </a:cxn>
                <a:cxn ang="0">
                  <a:pos x="48" y="8"/>
                </a:cxn>
                <a:cxn ang="0">
                  <a:pos x="52" y="4"/>
                </a:cxn>
                <a:cxn ang="0">
                  <a:pos x="52" y="8"/>
                </a:cxn>
                <a:cxn ang="0">
                  <a:pos x="52" y="16"/>
                </a:cxn>
                <a:cxn ang="0">
                  <a:pos x="52" y="20"/>
                </a:cxn>
                <a:cxn ang="0">
                  <a:pos x="56" y="24"/>
                </a:cxn>
                <a:cxn ang="0">
                  <a:pos x="56" y="28"/>
                </a:cxn>
                <a:cxn ang="0">
                  <a:pos x="52" y="24"/>
                </a:cxn>
                <a:cxn ang="0">
                  <a:pos x="56" y="32"/>
                </a:cxn>
                <a:cxn ang="0">
                  <a:pos x="56" y="32"/>
                </a:cxn>
                <a:cxn ang="0">
                  <a:pos x="52" y="36"/>
                </a:cxn>
                <a:cxn ang="0">
                  <a:pos x="48" y="36"/>
                </a:cxn>
                <a:cxn ang="0">
                  <a:pos x="48" y="36"/>
                </a:cxn>
                <a:cxn ang="0">
                  <a:pos x="48" y="40"/>
                </a:cxn>
                <a:cxn ang="0">
                  <a:pos x="48" y="40"/>
                </a:cxn>
                <a:cxn ang="0">
                  <a:pos x="44" y="44"/>
                </a:cxn>
                <a:cxn ang="0">
                  <a:pos x="40" y="48"/>
                </a:cxn>
                <a:cxn ang="0">
                  <a:pos x="40" y="52"/>
                </a:cxn>
                <a:cxn ang="0">
                  <a:pos x="40" y="56"/>
                </a:cxn>
                <a:cxn ang="0">
                  <a:pos x="40" y="56"/>
                </a:cxn>
                <a:cxn ang="0">
                  <a:pos x="36" y="56"/>
                </a:cxn>
                <a:cxn ang="0">
                  <a:pos x="32" y="52"/>
                </a:cxn>
                <a:cxn ang="0">
                  <a:pos x="32" y="48"/>
                </a:cxn>
                <a:cxn ang="0">
                  <a:pos x="28" y="48"/>
                </a:cxn>
              </a:cxnLst>
              <a:rect l="0" t="0" r="r" b="b"/>
              <a:pathLst>
                <a:path w="56" h="56">
                  <a:moveTo>
                    <a:pt x="28" y="48"/>
                  </a:move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8"/>
                  </a:lnTo>
                  <a:lnTo>
                    <a:pt x="56" y="28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6" y="28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6" name="Freeform 83"/>
            <p:cNvSpPr>
              <a:spLocks/>
            </p:cNvSpPr>
            <p:nvPr>
              <p:custDataLst>
                <p:tags r:id="rId279"/>
              </p:custDataLst>
            </p:nvPr>
          </p:nvSpPr>
          <p:spPr bwMode="gray">
            <a:xfrm>
              <a:off x="4878820" y="3332384"/>
              <a:ext cx="140891" cy="93433"/>
            </a:xfrm>
            <a:custGeom>
              <a:avLst/>
              <a:gdLst/>
              <a:ahLst/>
              <a:cxnLst>
                <a:cxn ang="0">
                  <a:pos x="8" y="55"/>
                </a:cxn>
                <a:cxn ang="0">
                  <a:pos x="8" y="51"/>
                </a:cxn>
                <a:cxn ang="0">
                  <a:pos x="8" y="47"/>
                </a:cxn>
                <a:cxn ang="0">
                  <a:pos x="0" y="39"/>
                </a:cxn>
                <a:cxn ang="0">
                  <a:pos x="4" y="36"/>
                </a:cxn>
                <a:cxn ang="0">
                  <a:pos x="0" y="32"/>
                </a:cxn>
                <a:cxn ang="0">
                  <a:pos x="4" y="28"/>
                </a:cxn>
                <a:cxn ang="0">
                  <a:pos x="8" y="24"/>
                </a:cxn>
                <a:cxn ang="0">
                  <a:pos x="4" y="20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40" y="12"/>
                </a:cxn>
                <a:cxn ang="0">
                  <a:pos x="44" y="12"/>
                </a:cxn>
                <a:cxn ang="0">
                  <a:pos x="48" y="12"/>
                </a:cxn>
                <a:cxn ang="0">
                  <a:pos x="52" y="8"/>
                </a:cxn>
                <a:cxn ang="0">
                  <a:pos x="60" y="4"/>
                </a:cxn>
                <a:cxn ang="0">
                  <a:pos x="68" y="4"/>
                </a:cxn>
                <a:cxn ang="0">
                  <a:pos x="72" y="4"/>
                </a:cxn>
                <a:cxn ang="0">
                  <a:pos x="72" y="4"/>
                </a:cxn>
                <a:cxn ang="0">
                  <a:pos x="80" y="4"/>
                </a:cxn>
                <a:cxn ang="0">
                  <a:pos x="80" y="8"/>
                </a:cxn>
                <a:cxn ang="0">
                  <a:pos x="84" y="8"/>
                </a:cxn>
                <a:cxn ang="0">
                  <a:pos x="87" y="12"/>
                </a:cxn>
                <a:cxn ang="0">
                  <a:pos x="91" y="12"/>
                </a:cxn>
                <a:cxn ang="0">
                  <a:pos x="95" y="16"/>
                </a:cxn>
                <a:cxn ang="0">
                  <a:pos x="91" y="20"/>
                </a:cxn>
                <a:cxn ang="0">
                  <a:pos x="91" y="16"/>
                </a:cxn>
                <a:cxn ang="0">
                  <a:pos x="87" y="20"/>
                </a:cxn>
                <a:cxn ang="0">
                  <a:pos x="84" y="28"/>
                </a:cxn>
                <a:cxn ang="0">
                  <a:pos x="84" y="32"/>
                </a:cxn>
                <a:cxn ang="0">
                  <a:pos x="80" y="36"/>
                </a:cxn>
                <a:cxn ang="0">
                  <a:pos x="76" y="39"/>
                </a:cxn>
                <a:cxn ang="0">
                  <a:pos x="80" y="39"/>
                </a:cxn>
                <a:cxn ang="0">
                  <a:pos x="84" y="43"/>
                </a:cxn>
                <a:cxn ang="0">
                  <a:pos x="84" y="47"/>
                </a:cxn>
                <a:cxn ang="0">
                  <a:pos x="80" y="47"/>
                </a:cxn>
                <a:cxn ang="0">
                  <a:pos x="76" y="47"/>
                </a:cxn>
                <a:cxn ang="0">
                  <a:pos x="72" y="43"/>
                </a:cxn>
                <a:cxn ang="0">
                  <a:pos x="64" y="47"/>
                </a:cxn>
                <a:cxn ang="0">
                  <a:pos x="64" y="51"/>
                </a:cxn>
                <a:cxn ang="0">
                  <a:pos x="60" y="51"/>
                </a:cxn>
                <a:cxn ang="0">
                  <a:pos x="60" y="51"/>
                </a:cxn>
                <a:cxn ang="0">
                  <a:pos x="56" y="55"/>
                </a:cxn>
                <a:cxn ang="0">
                  <a:pos x="56" y="59"/>
                </a:cxn>
                <a:cxn ang="0">
                  <a:pos x="48" y="63"/>
                </a:cxn>
                <a:cxn ang="0">
                  <a:pos x="44" y="63"/>
                </a:cxn>
                <a:cxn ang="0">
                  <a:pos x="40" y="59"/>
                </a:cxn>
                <a:cxn ang="0">
                  <a:pos x="36" y="59"/>
                </a:cxn>
                <a:cxn ang="0">
                  <a:pos x="28" y="55"/>
                </a:cxn>
                <a:cxn ang="0">
                  <a:pos x="24" y="59"/>
                </a:cxn>
                <a:cxn ang="0">
                  <a:pos x="20" y="59"/>
                </a:cxn>
                <a:cxn ang="0">
                  <a:pos x="12" y="59"/>
                </a:cxn>
                <a:cxn ang="0">
                  <a:pos x="12" y="63"/>
                </a:cxn>
              </a:cxnLst>
              <a:rect l="0" t="0" r="r" b="b"/>
              <a:pathLst>
                <a:path w="95" h="63">
                  <a:moveTo>
                    <a:pt x="8" y="59"/>
                  </a:moveTo>
                  <a:lnTo>
                    <a:pt x="8" y="59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4" y="47"/>
                  </a:lnTo>
                  <a:lnTo>
                    <a:pt x="4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4" y="39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4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7" y="8"/>
                  </a:lnTo>
                  <a:lnTo>
                    <a:pt x="87" y="12"/>
                  </a:lnTo>
                  <a:lnTo>
                    <a:pt x="87" y="12"/>
                  </a:lnTo>
                  <a:lnTo>
                    <a:pt x="87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16"/>
                  </a:lnTo>
                  <a:lnTo>
                    <a:pt x="87" y="16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3"/>
                  </a:lnTo>
                  <a:lnTo>
                    <a:pt x="72" y="43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68" y="47"/>
                  </a:lnTo>
                  <a:lnTo>
                    <a:pt x="68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5"/>
                  </a:lnTo>
                  <a:lnTo>
                    <a:pt x="60" y="55"/>
                  </a:lnTo>
                  <a:lnTo>
                    <a:pt x="60" y="55"/>
                  </a:lnTo>
                  <a:lnTo>
                    <a:pt x="60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59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0" y="63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2" y="59"/>
                  </a:lnTo>
                  <a:lnTo>
                    <a:pt x="32" y="59"/>
                  </a:lnTo>
                  <a:lnTo>
                    <a:pt x="32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4" y="55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8" y="59"/>
                  </a:lnTo>
                  <a:lnTo>
                    <a:pt x="8" y="5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7" name="Freeform 84"/>
            <p:cNvSpPr>
              <a:spLocks noEditPoints="1"/>
            </p:cNvSpPr>
            <p:nvPr>
              <p:custDataLst>
                <p:tags r:id="rId280"/>
              </p:custDataLst>
            </p:nvPr>
          </p:nvSpPr>
          <p:spPr bwMode="gray">
            <a:xfrm>
              <a:off x="4677123" y="3261197"/>
              <a:ext cx="136442" cy="129026"/>
            </a:xfrm>
            <a:custGeom>
              <a:avLst/>
              <a:gdLst/>
              <a:ahLst/>
              <a:cxnLst>
                <a:cxn ang="0">
                  <a:pos x="72" y="80"/>
                </a:cxn>
                <a:cxn ang="0">
                  <a:pos x="76" y="84"/>
                </a:cxn>
                <a:cxn ang="0">
                  <a:pos x="60" y="76"/>
                </a:cxn>
                <a:cxn ang="0">
                  <a:pos x="64" y="76"/>
                </a:cxn>
                <a:cxn ang="0">
                  <a:pos x="20" y="28"/>
                </a:cxn>
                <a:cxn ang="0">
                  <a:pos x="16" y="36"/>
                </a:cxn>
                <a:cxn ang="0">
                  <a:pos x="16" y="28"/>
                </a:cxn>
                <a:cxn ang="0">
                  <a:pos x="16" y="36"/>
                </a:cxn>
                <a:cxn ang="0">
                  <a:pos x="12" y="40"/>
                </a:cxn>
                <a:cxn ang="0">
                  <a:pos x="24" y="40"/>
                </a:cxn>
                <a:cxn ang="0">
                  <a:pos x="24" y="44"/>
                </a:cxn>
                <a:cxn ang="0">
                  <a:pos x="24" y="52"/>
                </a:cxn>
                <a:cxn ang="0">
                  <a:pos x="24" y="56"/>
                </a:cxn>
                <a:cxn ang="0">
                  <a:pos x="48" y="68"/>
                </a:cxn>
                <a:cxn ang="0">
                  <a:pos x="52" y="72"/>
                </a:cxn>
                <a:cxn ang="0">
                  <a:pos x="52" y="72"/>
                </a:cxn>
                <a:cxn ang="0">
                  <a:pos x="44" y="72"/>
                </a:cxn>
                <a:cxn ang="0">
                  <a:pos x="48" y="76"/>
                </a:cxn>
                <a:cxn ang="0">
                  <a:pos x="64" y="80"/>
                </a:cxn>
                <a:cxn ang="0">
                  <a:pos x="60" y="76"/>
                </a:cxn>
                <a:cxn ang="0">
                  <a:pos x="52" y="68"/>
                </a:cxn>
                <a:cxn ang="0">
                  <a:pos x="36" y="64"/>
                </a:cxn>
                <a:cxn ang="0">
                  <a:pos x="32" y="56"/>
                </a:cxn>
                <a:cxn ang="0">
                  <a:pos x="24" y="48"/>
                </a:cxn>
                <a:cxn ang="0">
                  <a:pos x="24" y="44"/>
                </a:cxn>
                <a:cxn ang="0">
                  <a:pos x="24" y="32"/>
                </a:cxn>
                <a:cxn ang="0">
                  <a:pos x="12" y="24"/>
                </a:cxn>
                <a:cxn ang="0">
                  <a:pos x="8" y="36"/>
                </a:cxn>
                <a:cxn ang="0">
                  <a:pos x="4" y="28"/>
                </a:cxn>
                <a:cxn ang="0">
                  <a:pos x="4" y="20"/>
                </a:cxn>
                <a:cxn ang="0">
                  <a:pos x="16" y="20"/>
                </a:cxn>
                <a:cxn ang="0">
                  <a:pos x="20" y="24"/>
                </a:cxn>
                <a:cxn ang="0">
                  <a:pos x="28" y="20"/>
                </a:cxn>
                <a:cxn ang="0">
                  <a:pos x="36" y="12"/>
                </a:cxn>
                <a:cxn ang="0">
                  <a:pos x="36" y="4"/>
                </a:cxn>
                <a:cxn ang="0">
                  <a:pos x="48" y="0"/>
                </a:cxn>
                <a:cxn ang="0">
                  <a:pos x="60" y="12"/>
                </a:cxn>
                <a:cxn ang="0">
                  <a:pos x="72" y="16"/>
                </a:cxn>
                <a:cxn ang="0">
                  <a:pos x="84" y="16"/>
                </a:cxn>
                <a:cxn ang="0">
                  <a:pos x="88" y="28"/>
                </a:cxn>
                <a:cxn ang="0">
                  <a:pos x="84" y="32"/>
                </a:cxn>
                <a:cxn ang="0">
                  <a:pos x="76" y="28"/>
                </a:cxn>
                <a:cxn ang="0">
                  <a:pos x="64" y="32"/>
                </a:cxn>
                <a:cxn ang="0">
                  <a:pos x="52" y="28"/>
                </a:cxn>
                <a:cxn ang="0">
                  <a:pos x="40" y="32"/>
                </a:cxn>
                <a:cxn ang="0">
                  <a:pos x="36" y="36"/>
                </a:cxn>
                <a:cxn ang="0">
                  <a:pos x="40" y="48"/>
                </a:cxn>
                <a:cxn ang="0">
                  <a:pos x="48" y="56"/>
                </a:cxn>
                <a:cxn ang="0">
                  <a:pos x="60" y="64"/>
                </a:cxn>
                <a:cxn ang="0">
                  <a:pos x="64" y="72"/>
                </a:cxn>
              </a:cxnLst>
              <a:rect l="0" t="0" r="r" b="b"/>
              <a:pathLst>
                <a:path w="92" h="87">
                  <a:moveTo>
                    <a:pt x="64" y="76"/>
                  </a:moveTo>
                  <a:lnTo>
                    <a:pt x="68" y="76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72" y="84"/>
                  </a:lnTo>
                  <a:lnTo>
                    <a:pt x="76" y="84"/>
                  </a:lnTo>
                  <a:lnTo>
                    <a:pt x="76" y="87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68" y="80"/>
                  </a:lnTo>
                  <a:lnTo>
                    <a:pt x="64" y="80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60" y="76"/>
                  </a:lnTo>
                  <a:lnTo>
                    <a:pt x="64" y="76"/>
                  </a:lnTo>
                  <a:close/>
                  <a:moveTo>
                    <a:pt x="20" y="32"/>
                  </a:moveTo>
                  <a:lnTo>
                    <a:pt x="16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32"/>
                  </a:lnTo>
                  <a:close/>
                  <a:moveTo>
                    <a:pt x="16" y="40"/>
                  </a:moveTo>
                  <a:lnTo>
                    <a:pt x="12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6"/>
                  </a:lnTo>
                  <a:lnTo>
                    <a:pt x="16" y="40"/>
                  </a:lnTo>
                  <a:close/>
                  <a:moveTo>
                    <a:pt x="16" y="44"/>
                  </a:moveTo>
                  <a:lnTo>
                    <a:pt x="16" y="40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44"/>
                  </a:lnTo>
                  <a:close/>
                  <a:moveTo>
                    <a:pt x="20" y="40"/>
                  </a:moveTo>
                  <a:lnTo>
                    <a:pt x="24" y="40"/>
                  </a:lnTo>
                  <a:lnTo>
                    <a:pt x="24" y="44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0" y="40"/>
                  </a:lnTo>
                  <a:close/>
                  <a:moveTo>
                    <a:pt x="28" y="56"/>
                  </a:moveTo>
                  <a:lnTo>
                    <a:pt x="24" y="56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8" y="56"/>
                  </a:lnTo>
                  <a:close/>
                  <a:moveTo>
                    <a:pt x="48" y="68"/>
                  </a:moveTo>
                  <a:lnTo>
                    <a:pt x="44" y="68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48" y="68"/>
                  </a:lnTo>
                  <a:close/>
                  <a:moveTo>
                    <a:pt x="56" y="72"/>
                  </a:moveTo>
                  <a:lnTo>
                    <a:pt x="52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8" y="72"/>
                  </a:lnTo>
                  <a:lnTo>
                    <a:pt x="52" y="72"/>
                  </a:lnTo>
                  <a:lnTo>
                    <a:pt x="56" y="72"/>
                  </a:lnTo>
                  <a:close/>
                  <a:moveTo>
                    <a:pt x="40" y="76"/>
                  </a:moveTo>
                  <a:lnTo>
                    <a:pt x="40" y="72"/>
                  </a:lnTo>
                  <a:lnTo>
                    <a:pt x="44" y="72"/>
                  </a:lnTo>
                  <a:lnTo>
                    <a:pt x="44" y="76"/>
                  </a:lnTo>
                  <a:lnTo>
                    <a:pt x="40" y="76"/>
                  </a:lnTo>
                  <a:close/>
                  <a:moveTo>
                    <a:pt x="52" y="76"/>
                  </a:moveTo>
                  <a:lnTo>
                    <a:pt x="48" y="76"/>
                  </a:lnTo>
                  <a:lnTo>
                    <a:pt x="52" y="76"/>
                  </a:lnTo>
                  <a:lnTo>
                    <a:pt x="56" y="76"/>
                  </a:lnTo>
                  <a:lnTo>
                    <a:pt x="52" y="76"/>
                  </a:lnTo>
                  <a:close/>
                  <a:moveTo>
                    <a:pt x="64" y="80"/>
                  </a:moveTo>
                  <a:lnTo>
                    <a:pt x="60" y="80"/>
                  </a:lnTo>
                  <a:lnTo>
                    <a:pt x="64" y="80"/>
                  </a:lnTo>
                  <a:close/>
                  <a:moveTo>
                    <a:pt x="64" y="76"/>
                  </a:moveTo>
                  <a:lnTo>
                    <a:pt x="60" y="76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2" y="56"/>
                  </a:lnTo>
                  <a:lnTo>
                    <a:pt x="28" y="56"/>
                  </a:lnTo>
                  <a:lnTo>
                    <a:pt x="28" y="52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8" y="48"/>
                  </a:lnTo>
                  <a:lnTo>
                    <a:pt x="32" y="48"/>
                  </a:lnTo>
                  <a:lnTo>
                    <a:pt x="28" y="44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4" y="32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4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12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88" y="28"/>
                  </a:lnTo>
                  <a:lnTo>
                    <a:pt x="92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4" y="36"/>
                  </a:lnTo>
                  <a:lnTo>
                    <a:pt x="80" y="36"/>
                  </a:lnTo>
                  <a:lnTo>
                    <a:pt x="80" y="32"/>
                  </a:lnTo>
                  <a:lnTo>
                    <a:pt x="76" y="28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68" y="32"/>
                  </a:lnTo>
                  <a:lnTo>
                    <a:pt x="64" y="32"/>
                  </a:lnTo>
                  <a:lnTo>
                    <a:pt x="64" y="28"/>
                  </a:lnTo>
                  <a:lnTo>
                    <a:pt x="60" y="28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36" y="28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40" y="40"/>
                  </a:lnTo>
                  <a:lnTo>
                    <a:pt x="40" y="44"/>
                  </a:lnTo>
                  <a:lnTo>
                    <a:pt x="40" y="48"/>
                  </a:lnTo>
                  <a:lnTo>
                    <a:pt x="44" y="48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52" y="60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8" name="Freeform 85"/>
            <p:cNvSpPr>
              <a:spLocks/>
            </p:cNvSpPr>
            <p:nvPr>
              <p:custDataLst>
                <p:tags r:id="rId281"/>
              </p:custDataLst>
            </p:nvPr>
          </p:nvSpPr>
          <p:spPr bwMode="gray">
            <a:xfrm>
              <a:off x="4647462" y="3112891"/>
              <a:ext cx="154239" cy="83052"/>
            </a:xfrm>
            <a:custGeom>
              <a:avLst/>
              <a:gdLst/>
              <a:ahLst/>
              <a:cxnLst>
                <a:cxn ang="0">
                  <a:pos x="88" y="44"/>
                </a:cxn>
                <a:cxn ang="0">
                  <a:pos x="84" y="48"/>
                </a:cxn>
                <a:cxn ang="0">
                  <a:pos x="76" y="48"/>
                </a:cxn>
                <a:cxn ang="0">
                  <a:pos x="72" y="52"/>
                </a:cxn>
                <a:cxn ang="0">
                  <a:pos x="72" y="52"/>
                </a:cxn>
                <a:cxn ang="0">
                  <a:pos x="64" y="48"/>
                </a:cxn>
                <a:cxn ang="0">
                  <a:pos x="60" y="52"/>
                </a:cxn>
                <a:cxn ang="0">
                  <a:pos x="56" y="48"/>
                </a:cxn>
                <a:cxn ang="0">
                  <a:pos x="52" y="48"/>
                </a:cxn>
                <a:cxn ang="0">
                  <a:pos x="48" y="44"/>
                </a:cxn>
                <a:cxn ang="0">
                  <a:pos x="44" y="44"/>
                </a:cxn>
                <a:cxn ang="0">
                  <a:pos x="40" y="48"/>
                </a:cxn>
                <a:cxn ang="0">
                  <a:pos x="40" y="56"/>
                </a:cxn>
                <a:cxn ang="0">
                  <a:pos x="36" y="56"/>
                </a:cxn>
                <a:cxn ang="0">
                  <a:pos x="28" y="52"/>
                </a:cxn>
                <a:cxn ang="0">
                  <a:pos x="24" y="48"/>
                </a:cxn>
                <a:cxn ang="0">
                  <a:pos x="24" y="48"/>
                </a:cxn>
                <a:cxn ang="0">
                  <a:pos x="20" y="44"/>
                </a:cxn>
                <a:cxn ang="0">
                  <a:pos x="12" y="40"/>
                </a:cxn>
                <a:cxn ang="0">
                  <a:pos x="8" y="32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8" y="4"/>
                </a:cxn>
                <a:cxn ang="0">
                  <a:pos x="32" y="0"/>
                </a:cxn>
                <a:cxn ang="0">
                  <a:pos x="36" y="0"/>
                </a:cxn>
                <a:cxn ang="0">
                  <a:pos x="40" y="4"/>
                </a:cxn>
                <a:cxn ang="0">
                  <a:pos x="40" y="4"/>
                </a:cxn>
                <a:cxn ang="0">
                  <a:pos x="48" y="0"/>
                </a:cxn>
                <a:cxn ang="0">
                  <a:pos x="48" y="4"/>
                </a:cxn>
                <a:cxn ang="0">
                  <a:pos x="52" y="4"/>
                </a:cxn>
                <a:cxn ang="0">
                  <a:pos x="60" y="8"/>
                </a:cxn>
                <a:cxn ang="0">
                  <a:pos x="64" y="8"/>
                </a:cxn>
                <a:cxn ang="0">
                  <a:pos x="64" y="12"/>
                </a:cxn>
                <a:cxn ang="0">
                  <a:pos x="64" y="16"/>
                </a:cxn>
                <a:cxn ang="0">
                  <a:pos x="68" y="20"/>
                </a:cxn>
                <a:cxn ang="0">
                  <a:pos x="72" y="20"/>
                </a:cxn>
                <a:cxn ang="0">
                  <a:pos x="76" y="20"/>
                </a:cxn>
                <a:cxn ang="0">
                  <a:pos x="72" y="12"/>
                </a:cxn>
                <a:cxn ang="0">
                  <a:pos x="76" y="16"/>
                </a:cxn>
                <a:cxn ang="0">
                  <a:pos x="84" y="16"/>
                </a:cxn>
                <a:cxn ang="0">
                  <a:pos x="84" y="16"/>
                </a:cxn>
                <a:cxn ang="0">
                  <a:pos x="84" y="20"/>
                </a:cxn>
                <a:cxn ang="0">
                  <a:pos x="92" y="20"/>
                </a:cxn>
                <a:cxn ang="0">
                  <a:pos x="100" y="24"/>
                </a:cxn>
                <a:cxn ang="0">
                  <a:pos x="100" y="32"/>
                </a:cxn>
                <a:cxn ang="0">
                  <a:pos x="100" y="32"/>
                </a:cxn>
                <a:cxn ang="0">
                  <a:pos x="92" y="40"/>
                </a:cxn>
                <a:cxn ang="0">
                  <a:pos x="92" y="40"/>
                </a:cxn>
              </a:cxnLst>
              <a:rect l="0" t="0" r="r" b="b"/>
              <a:pathLst>
                <a:path w="104" h="56">
                  <a:moveTo>
                    <a:pt x="92" y="40"/>
                  </a:move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88" y="44"/>
                  </a:lnTo>
                  <a:lnTo>
                    <a:pt x="88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4" y="52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6" y="20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6" y="12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96" y="36"/>
                  </a:lnTo>
                  <a:lnTo>
                    <a:pt x="96" y="36"/>
                  </a:lnTo>
                  <a:lnTo>
                    <a:pt x="96" y="36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9" name="Denmark"/>
            <p:cNvSpPr>
              <a:spLocks noEditPoints="1"/>
            </p:cNvSpPr>
            <p:nvPr>
              <p:custDataLst>
                <p:tags r:id="rId282"/>
              </p:custDataLst>
            </p:nvPr>
          </p:nvSpPr>
          <p:spPr bwMode="gray">
            <a:xfrm>
              <a:off x="4558478" y="2881533"/>
              <a:ext cx="154239" cy="112713"/>
            </a:xfrm>
            <a:custGeom>
              <a:avLst/>
              <a:gdLst/>
              <a:ahLst/>
              <a:cxnLst>
                <a:cxn ang="0">
                  <a:pos x="4" y="24"/>
                </a:cxn>
                <a:cxn ang="0">
                  <a:pos x="8" y="16"/>
                </a:cxn>
                <a:cxn ang="0">
                  <a:pos x="24" y="12"/>
                </a:cxn>
                <a:cxn ang="0">
                  <a:pos x="36" y="4"/>
                </a:cxn>
                <a:cxn ang="0">
                  <a:pos x="32" y="16"/>
                </a:cxn>
                <a:cxn ang="0">
                  <a:pos x="16" y="16"/>
                </a:cxn>
                <a:cxn ang="0">
                  <a:pos x="4" y="24"/>
                </a:cxn>
                <a:cxn ang="0">
                  <a:pos x="24" y="64"/>
                </a:cxn>
                <a:cxn ang="0">
                  <a:pos x="16" y="68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0" y="40"/>
                </a:cxn>
                <a:cxn ang="0">
                  <a:pos x="4" y="40"/>
                </a:cxn>
                <a:cxn ang="0">
                  <a:pos x="0" y="28"/>
                </a:cxn>
                <a:cxn ang="0">
                  <a:pos x="12" y="24"/>
                </a:cxn>
                <a:cxn ang="0">
                  <a:pos x="16" y="28"/>
                </a:cxn>
                <a:cxn ang="0">
                  <a:pos x="24" y="16"/>
                </a:cxn>
                <a:cxn ang="0">
                  <a:pos x="24" y="28"/>
                </a:cxn>
                <a:cxn ang="0">
                  <a:pos x="32" y="32"/>
                </a:cxn>
                <a:cxn ang="0">
                  <a:pos x="40" y="32"/>
                </a:cxn>
                <a:cxn ang="0">
                  <a:pos x="36" y="36"/>
                </a:cxn>
                <a:cxn ang="0">
                  <a:pos x="24" y="44"/>
                </a:cxn>
                <a:cxn ang="0">
                  <a:pos x="24" y="48"/>
                </a:cxn>
                <a:cxn ang="0">
                  <a:pos x="44" y="12"/>
                </a:cxn>
                <a:cxn ang="0">
                  <a:pos x="12" y="24"/>
                </a:cxn>
                <a:cxn ang="0">
                  <a:pos x="64" y="56"/>
                </a:cxn>
                <a:cxn ang="0">
                  <a:pos x="56" y="60"/>
                </a:cxn>
                <a:cxn ang="0">
                  <a:pos x="44" y="52"/>
                </a:cxn>
                <a:cxn ang="0">
                  <a:pos x="52" y="44"/>
                </a:cxn>
                <a:cxn ang="0">
                  <a:pos x="56" y="44"/>
                </a:cxn>
                <a:cxn ang="0">
                  <a:pos x="60" y="44"/>
                </a:cxn>
                <a:cxn ang="0">
                  <a:pos x="56" y="44"/>
                </a:cxn>
                <a:cxn ang="0">
                  <a:pos x="68" y="44"/>
                </a:cxn>
                <a:cxn ang="0">
                  <a:pos x="36" y="48"/>
                </a:cxn>
                <a:cxn ang="0">
                  <a:pos x="32" y="52"/>
                </a:cxn>
                <a:cxn ang="0">
                  <a:pos x="40" y="56"/>
                </a:cxn>
                <a:cxn ang="0">
                  <a:pos x="28" y="64"/>
                </a:cxn>
                <a:cxn ang="0">
                  <a:pos x="24" y="52"/>
                </a:cxn>
                <a:cxn ang="0">
                  <a:pos x="100" y="56"/>
                </a:cxn>
                <a:cxn ang="0">
                  <a:pos x="36" y="68"/>
                </a:cxn>
                <a:cxn ang="0">
                  <a:pos x="44" y="64"/>
                </a:cxn>
                <a:cxn ang="0">
                  <a:pos x="28" y="68"/>
                </a:cxn>
                <a:cxn ang="0">
                  <a:pos x="28" y="64"/>
                </a:cxn>
                <a:cxn ang="0">
                  <a:pos x="36" y="68"/>
                </a:cxn>
                <a:cxn ang="0">
                  <a:pos x="68" y="68"/>
                </a:cxn>
                <a:cxn ang="0">
                  <a:pos x="32" y="68"/>
                </a:cxn>
                <a:cxn ang="0">
                  <a:pos x="56" y="68"/>
                </a:cxn>
                <a:cxn ang="0">
                  <a:pos x="56" y="72"/>
                </a:cxn>
                <a:cxn ang="0">
                  <a:pos x="56" y="68"/>
                </a:cxn>
                <a:cxn ang="0">
                  <a:pos x="52" y="68"/>
                </a:cxn>
                <a:cxn ang="0">
                  <a:pos x="44" y="72"/>
                </a:cxn>
              </a:cxnLst>
              <a:rect l="0" t="0" r="r" b="b"/>
              <a:pathLst>
                <a:path w="104" h="76">
                  <a:moveTo>
                    <a:pt x="4" y="24"/>
                  </a:moveTo>
                  <a:lnTo>
                    <a:pt x="8" y="24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28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4"/>
                  </a:lnTo>
                  <a:lnTo>
                    <a:pt x="4" y="24"/>
                  </a:lnTo>
                  <a:close/>
                  <a:moveTo>
                    <a:pt x="20" y="56"/>
                  </a:moveTo>
                  <a:lnTo>
                    <a:pt x="24" y="60"/>
                  </a:lnTo>
                  <a:lnTo>
                    <a:pt x="20" y="60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44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2" y="32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40"/>
                  </a:lnTo>
                  <a:lnTo>
                    <a:pt x="32" y="44"/>
                  </a:lnTo>
                  <a:lnTo>
                    <a:pt x="28" y="44"/>
                  </a:lnTo>
                  <a:lnTo>
                    <a:pt x="24" y="44"/>
                  </a:lnTo>
                  <a:lnTo>
                    <a:pt x="28" y="44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0" y="56"/>
                  </a:lnTo>
                  <a:close/>
                  <a:moveTo>
                    <a:pt x="44" y="12"/>
                  </a:moveTo>
                  <a:lnTo>
                    <a:pt x="40" y="12"/>
                  </a:lnTo>
                  <a:lnTo>
                    <a:pt x="44" y="12"/>
                  </a:lnTo>
                  <a:close/>
                  <a:moveTo>
                    <a:pt x="8" y="24"/>
                  </a:moveTo>
                  <a:lnTo>
                    <a:pt x="4" y="24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8" y="24"/>
                  </a:lnTo>
                  <a:close/>
                  <a:moveTo>
                    <a:pt x="64" y="52"/>
                  </a:moveTo>
                  <a:lnTo>
                    <a:pt x="60" y="52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0" y="60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56" y="60"/>
                  </a:lnTo>
                  <a:lnTo>
                    <a:pt x="52" y="60"/>
                  </a:lnTo>
                  <a:lnTo>
                    <a:pt x="48" y="60"/>
                  </a:lnTo>
                  <a:lnTo>
                    <a:pt x="44" y="56"/>
                  </a:lnTo>
                  <a:lnTo>
                    <a:pt x="48" y="56"/>
                  </a:lnTo>
                  <a:lnTo>
                    <a:pt x="44" y="52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4" y="48"/>
                  </a:lnTo>
                  <a:lnTo>
                    <a:pt x="48" y="48"/>
                  </a:lnTo>
                  <a:lnTo>
                    <a:pt x="52" y="44"/>
                  </a:lnTo>
                  <a:lnTo>
                    <a:pt x="48" y="44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52" y="44"/>
                  </a:lnTo>
                  <a:lnTo>
                    <a:pt x="56" y="44"/>
                  </a:lnTo>
                  <a:lnTo>
                    <a:pt x="52" y="44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60" y="48"/>
                  </a:lnTo>
                  <a:lnTo>
                    <a:pt x="60" y="44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60" y="40"/>
                  </a:lnTo>
                  <a:lnTo>
                    <a:pt x="64" y="40"/>
                  </a:lnTo>
                  <a:lnTo>
                    <a:pt x="68" y="40"/>
                  </a:lnTo>
                  <a:lnTo>
                    <a:pt x="68" y="44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4" y="52"/>
                  </a:lnTo>
                  <a:close/>
                  <a:moveTo>
                    <a:pt x="36" y="44"/>
                  </a:moveTo>
                  <a:lnTo>
                    <a:pt x="36" y="48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6" y="44"/>
                  </a:lnTo>
                  <a:close/>
                  <a:moveTo>
                    <a:pt x="28" y="52"/>
                  </a:moveTo>
                  <a:lnTo>
                    <a:pt x="32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32" y="64"/>
                  </a:lnTo>
                  <a:lnTo>
                    <a:pt x="28" y="64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8" y="56"/>
                  </a:lnTo>
                  <a:lnTo>
                    <a:pt x="24" y="56"/>
                  </a:lnTo>
                  <a:lnTo>
                    <a:pt x="24" y="52"/>
                  </a:lnTo>
                  <a:lnTo>
                    <a:pt x="28" y="52"/>
                  </a:lnTo>
                  <a:close/>
                  <a:moveTo>
                    <a:pt x="104" y="64"/>
                  </a:moveTo>
                  <a:lnTo>
                    <a:pt x="100" y="64"/>
                  </a:lnTo>
                  <a:lnTo>
                    <a:pt x="100" y="60"/>
                  </a:lnTo>
                  <a:lnTo>
                    <a:pt x="100" y="56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4" y="64"/>
                  </a:lnTo>
                  <a:close/>
                  <a:moveTo>
                    <a:pt x="40" y="72"/>
                  </a:moveTo>
                  <a:lnTo>
                    <a:pt x="36" y="68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72"/>
                  </a:lnTo>
                  <a:close/>
                  <a:moveTo>
                    <a:pt x="28" y="64"/>
                  </a:moveTo>
                  <a:lnTo>
                    <a:pt x="28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8" y="64"/>
                  </a:lnTo>
                  <a:close/>
                  <a:moveTo>
                    <a:pt x="36" y="68"/>
                  </a:moveTo>
                  <a:lnTo>
                    <a:pt x="36" y="64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36" y="68"/>
                  </a:lnTo>
                  <a:close/>
                  <a:moveTo>
                    <a:pt x="60" y="68"/>
                  </a:moveTo>
                  <a:lnTo>
                    <a:pt x="60" y="64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4" y="68"/>
                  </a:lnTo>
                  <a:lnTo>
                    <a:pt x="60" y="68"/>
                  </a:lnTo>
                  <a:close/>
                  <a:moveTo>
                    <a:pt x="32" y="68"/>
                  </a:moveTo>
                  <a:lnTo>
                    <a:pt x="32" y="64"/>
                  </a:lnTo>
                  <a:lnTo>
                    <a:pt x="32" y="68"/>
                  </a:lnTo>
                  <a:lnTo>
                    <a:pt x="36" y="68"/>
                  </a:lnTo>
                  <a:lnTo>
                    <a:pt x="32" y="68"/>
                  </a:lnTo>
                  <a:close/>
                  <a:moveTo>
                    <a:pt x="56" y="68"/>
                  </a:moveTo>
                  <a:lnTo>
                    <a:pt x="60" y="68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56" y="68"/>
                  </a:lnTo>
                  <a:close/>
                  <a:moveTo>
                    <a:pt x="44" y="68"/>
                  </a:moveTo>
                  <a:lnTo>
                    <a:pt x="44" y="64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6" y="68"/>
                  </a:lnTo>
                  <a:lnTo>
                    <a:pt x="56" y="72"/>
                  </a:lnTo>
                  <a:lnTo>
                    <a:pt x="52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4" y="68"/>
                  </a:lnTo>
                  <a:close/>
                </a:path>
              </a:pathLst>
            </a:custGeom>
            <a:solidFill>
              <a:schemeClr val="accent4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0" name="Freeform 87"/>
            <p:cNvSpPr>
              <a:spLocks noEditPoints="1"/>
            </p:cNvSpPr>
            <p:nvPr>
              <p:custDataLst>
                <p:tags r:id="rId283"/>
              </p:custDataLst>
            </p:nvPr>
          </p:nvSpPr>
          <p:spPr bwMode="gray">
            <a:xfrm>
              <a:off x="4866955" y="2810346"/>
              <a:ext cx="140891" cy="77119"/>
            </a:xfrm>
            <a:custGeom>
              <a:avLst/>
              <a:gdLst/>
              <a:ahLst/>
              <a:cxnLst>
                <a:cxn ang="0">
                  <a:pos x="95" y="12"/>
                </a:cxn>
                <a:cxn ang="0">
                  <a:pos x="92" y="12"/>
                </a:cxn>
                <a:cxn ang="0">
                  <a:pos x="88" y="20"/>
                </a:cxn>
                <a:cxn ang="0">
                  <a:pos x="84" y="24"/>
                </a:cxn>
                <a:cxn ang="0">
                  <a:pos x="88" y="32"/>
                </a:cxn>
                <a:cxn ang="0">
                  <a:pos x="88" y="40"/>
                </a:cxn>
                <a:cxn ang="0">
                  <a:pos x="92" y="44"/>
                </a:cxn>
                <a:cxn ang="0">
                  <a:pos x="88" y="48"/>
                </a:cxn>
                <a:cxn ang="0">
                  <a:pos x="80" y="52"/>
                </a:cxn>
                <a:cxn ang="0">
                  <a:pos x="72" y="52"/>
                </a:cxn>
                <a:cxn ang="0">
                  <a:pos x="64" y="48"/>
                </a:cxn>
                <a:cxn ang="0">
                  <a:pos x="56" y="40"/>
                </a:cxn>
                <a:cxn ang="0">
                  <a:pos x="52" y="40"/>
                </a:cxn>
                <a:cxn ang="0">
                  <a:pos x="48" y="40"/>
                </a:cxn>
                <a:cxn ang="0">
                  <a:pos x="36" y="44"/>
                </a:cxn>
                <a:cxn ang="0">
                  <a:pos x="40" y="40"/>
                </a:cxn>
                <a:cxn ang="0">
                  <a:pos x="40" y="36"/>
                </a:cxn>
                <a:cxn ang="0">
                  <a:pos x="36" y="32"/>
                </a:cxn>
                <a:cxn ang="0">
                  <a:pos x="32" y="36"/>
                </a:cxn>
                <a:cxn ang="0">
                  <a:pos x="28" y="32"/>
                </a:cxn>
                <a:cxn ang="0">
                  <a:pos x="28" y="24"/>
                </a:cxn>
                <a:cxn ang="0">
                  <a:pos x="24" y="20"/>
                </a:cxn>
                <a:cxn ang="0">
                  <a:pos x="28" y="16"/>
                </a:cxn>
                <a:cxn ang="0">
                  <a:pos x="24" y="16"/>
                </a:cxn>
                <a:cxn ang="0">
                  <a:pos x="28" y="12"/>
                </a:cxn>
                <a:cxn ang="0">
                  <a:pos x="32" y="12"/>
                </a:cxn>
                <a:cxn ang="0">
                  <a:pos x="36" y="8"/>
                </a:cxn>
                <a:cxn ang="0">
                  <a:pos x="40" y="8"/>
                </a:cxn>
                <a:cxn ang="0">
                  <a:pos x="48" y="4"/>
                </a:cxn>
                <a:cxn ang="0">
                  <a:pos x="52" y="8"/>
                </a:cxn>
                <a:cxn ang="0">
                  <a:pos x="60" y="4"/>
                </a:cxn>
                <a:cxn ang="0">
                  <a:pos x="64" y="4"/>
                </a:cxn>
                <a:cxn ang="0">
                  <a:pos x="72" y="4"/>
                </a:cxn>
                <a:cxn ang="0">
                  <a:pos x="76" y="8"/>
                </a:cxn>
                <a:cxn ang="0">
                  <a:pos x="80" y="8"/>
                </a:cxn>
                <a:cxn ang="0">
                  <a:pos x="92" y="8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16" y="20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20" y="16"/>
                </a:cxn>
                <a:cxn ang="0">
                  <a:pos x="24" y="28"/>
                </a:cxn>
                <a:cxn ang="0">
                  <a:pos x="20" y="28"/>
                </a:cxn>
                <a:cxn ang="0">
                  <a:pos x="20" y="24"/>
                </a:cxn>
                <a:cxn ang="0">
                  <a:pos x="4" y="40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12" y="28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8" y="36"/>
                </a:cxn>
                <a:cxn ang="0">
                  <a:pos x="4" y="44"/>
                </a:cxn>
              </a:cxnLst>
              <a:rect l="0" t="0" r="r" b="b"/>
              <a:pathLst>
                <a:path w="95" h="52">
                  <a:moveTo>
                    <a:pt x="92" y="8"/>
                  </a:moveTo>
                  <a:lnTo>
                    <a:pt x="92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88" y="44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4" y="48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4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40" y="44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close/>
                  <a:moveTo>
                    <a:pt x="12" y="24"/>
                  </a:move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close/>
                  <a:moveTo>
                    <a:pt x="20" y="16"/>
                  </a:move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close/>
                  <a:moveTo>
                    <a:pt x="20" y="24"/>
                  </a:move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close/>
                  <a:moveTo>
                    <a:pt x="4" y="44"/>
                  </a:moveTo>
                  <a:lnTo>
                    <a:pt x="4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1" name="Freeform 88"/>
            <p:cNvSpPr>
              <a:spLocks noEditPoints="1"/>
            </p:cNvSpPr>
            <p:nvPr>
              <p:custDataLst>
                <p:tags r:id="rId284"/>
              </p:custDataLst>
            </p:nvPr>
          </p:nvSpPr>
          <p:spPr bwMode="gray">
            <a:xfrm>
              <a:off x="4209958" y="2716912"/>
              <a:ext cx="23729" cy="34110"/>
            </a:xfrm>
            <a:custGeom>
              <a:avLst/>
              <a:gdLst/>
              <a:ahLst/>
              <a:cxnLst>
                <a:cxn ang="0">
                  <a:pos x="12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5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12" y="23"/>
                </a:cxn>
                <a:cxn ang="0">
                  <a:pos x="8" y="19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12" y="19"/>
                </a:cxn>
                <a:cxn ang="0">
                  <a:pos x="12" y="23"/>
                </a:cxn>
                <a:cxn ang="0">
                  <a:pos x="12" y="23"/>
                </a:cxn>
              </a:cxnLst>
              <a:rect l="0" t="0" r="r" b="b"/>
              <a:pathLst>
                <a:path w="16" h="23">
                  <a:moveTo>
                    <a:pt x="12" y="15"/>
                  </a:moveTo>
                  <a:lnTo>
                    <a:pt x="12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5"/>
                  </a:lnTo>
                  <a:close/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2" y="4"/>
                  </a:lnTo>
                  <a:close/>
                  <a:moveTo>
                    <a:pt x="12" y="8"/>
                  </a:moveTo>
                  <a:lnTo>
                    <a:pt x="12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close/>
                  <a:moveTo>
                    <a:pt x="12" y="12"/>
                  </a:move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12"/>
                  </a:lnTo>
                  <a:close/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close/>
                  <a:moveTo>
                    <a:pt x="12" y="23"/>
                  </a:moveTo>
                  <a:lnTo>
                    <a:pt x="12" y="23"/>
                  </a:lnTo>
                  <a:lnTo>
                    <a:pt x="12" y="23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9"/>
                  </a:lnTo>
                  <a:lnTo>
                    <a:pt x="12" y="19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2" name="Freeform 89"/>
            <p:cNvSpPr>
              <a:spLocks noEditPoints="1"/>
            </p:cNvSpPr>
            <p:nvPr>
              <p:custDataLst>
                <p:tags r:id="rId285"/>
              </p:custDataLst>
            </p:nvPr>
          </p:nvSpPr>
          <p:spPr bwMode="gray">
            <a:xfrm>
              <a:off x="4813565" y="2414367"/>
              <a:ext cx="271400" cy="395978"/>
            </a:xfrm>
            <a:custGeom>
              <a:avLst/>
              <a:gdLst/>
              <a:ahLst/>
              <a:cxnLst>
                <a:cxn ang="0">
                  <a:pos x="44" y="255"/>
                </a:cxn>
                <a:cxn ang="0">
                  <a:pos x="36" y="251"/>
                </a:cxn>
                <a:cxn ang="0">
                  <a:pos x="28" y="235"/>
                </a:cxn>
                <a:cxn ang="0">
                  <a:pos x="32" y="223"/>
                </a:cxn>
                <a:cxn ang="0">
                  <a:pos x="28" y="208"/>
                </a:cxn>
                <a:cxn ang="0">
                  <a:pos x="28" y="192"/>
                </a:cxn>
                <a:cxn ang="0">
                  <a:pos x="32" y="184"/>
                </a:cxn>
                <a:cxn ang="0">
                  <a:pos x="40" y="176"/>
                </a:cxn>
                <a:cxn ang="0">
                  <a:pos x="52" y="168"/>
                </a:cxn>
                <a:cxn ang="0">
                  <a:pos x="68" y="156"/>
                </a:cxn>
                <a:cxn ang="0">
                  <a:pos x="80" y="140"/>
                </a:cxn>
                <a:cxn ang="0">
                  <a:pos x="88" y="132"/>
                </a:cxn>
                <a:cxn ang="0">
                  <a:pos x="84" y="120"/>
                </a:cxn>
                <a:cxn ang="0">
                  <a:pos x="72" y="116"/>
                </a:cxn>
                <a:cxn ang="0">
                  <a:pos x="68" y="96"/>
                </a:cxn>
                <a:cxn ang="0">
                  <a:pos x="64" y="72"/>
                </a:cxn>
                <a:cxn ang="0">
                  <a:pos x="60" y="56"/>
                </a:cxn>
                <a:cxn ang="0">
                  <a:pos x="32" y="44"/>
                </a:cxn>
                <a:cxn ang="0">
                  <a:pos x="16" y="28"/>
                </a:cxn>
                <a:cxn ang="0">
                  <a:pos x="28" y="24"/>
                </a:cxn>
                <a:cxn ang="0">
                  <a:pos x="44" y="40"/>
                </a:cxn>
                <a:cxn ang="0">
                  <a:pos x="64" y="36"/>
                </a:cxn>
                <a:cxn ang="0">
                  <a:pos x="84" y="44"/>
                </a:cxn>
                <a:cxn ang="0">
                  <a:pos x="92" y="36"/>
                </a:cxn>
                <a:cxn ang="0">
                  <a:pos x="96" y="16"/>
                </a:cxn>
                <a:cxn ang="0">
                  <a:pos x="104" y="4"/>
                </a:cxn>
                <a:cxn ang="0">
                  <a:pos x="124" y="0"/>
                </a:cxn>
                <a:cxn ang="0">
                  <a:pos x="139" y="12"/>
                </a:cxn>
                <a:cxn ang="0">
                  <a:pos x="143" y="24"/>
                </a:cxn>
                <a:cxn ang="0">
                  <a:pos x="135" y="32"/>
                </a:cxn>
                <a:cxn ang="0">
                  <a:pos x="139" y="52"/>
                </a:cxn>
                <a:cxn ang="0">
                  <a:pos x="159" y="68"/>
                </a:cxn>
                <a:cxn ang="0">
                  <a:pos x="143" y="88"/>
                </a:cxn>
                <a:cxn ang="0">
                  <a:pos x="155" y="108"/>
                </a:cxn>
                <a:cxn ang="0">
                  <a:pos x="155" y="124"/>
                </a:cxn>
                <a:cxn ang="0">
                  <a:pos x="151" y="136"/>
                </a:cxn>
                <a:cxn ang="0">
                  <a:pos x="159" y="148"/>
                </a:cxn>
                <a:cxn ang="0">
                  <a:pos x="167" y="164"/>
                </a:cxn>
                <a:cxn ang="0">
                  <a:pos x="171" y="176"/>
                </a:cxn>
                <a:cxn ang="0">
                  <a:pos x="179" y="192"/>
                </a:cxn>
                <a:cxn ang="0">
                  <a:pos x="167" y="208"/>
                </a:cxn>
                <a:cxn ang="0">
                  <a:pos x="151" y="227"/>
                </a:cxn>
                <a:cxn ang="0">
                  <a:pos x="135" y="239"/>
                </a:cxn>
                <a:cxn ang="0">
                  <a:pos x="120" y="251"/>
                </a:cxn>
                <a:cxn ang="0">
                  <a:pos x="108" y="247"/>
                </a:cxn>
                <a:cxn ang="0">
                  <a:pos x="104" y="251"/>
                </a:cxn>
                <a:cxn ang="0">
                  <a:pos x="92" y="255"/>
                </a:cxn>
                <a:cxn ang="0">
                  <a:pos x="84" y="255"/>
                </a:cxn>
                <a:cxn ang="0">
                  <a:pos x="72" y="259"/>
                </a:cxn>
                <a:cxn ang="0">
                  <a:pos x="56" y="263"/>
                </a:cxn>
                <a:cxn ang="0">
                  <a:pos x="56" y="263"/>
                </a:cxn>
                <a:cxn ang="0">
                  <a:pos x="80" y="136"/>
                </a:cxn>
                <a:cxn ang="0">
                  <a:pos x="28" y="184"/>
                </a:cxn>
                <a:cxn ang="0">
                  <a:pos x="4" y="259"/>
                </a:cxn>
                <a:cxn ang="0">
                  <a:pos x="4" y="251"/>
                </a:cxn>
                <a:cxn ang="0">
                  <a:pos x="44" y="255"/>
                </a:cxn>
                <a:cxn ang="0">
                  <a:pos x="48" y="263"/>
                </a:cxn>
                <a:cxn ang="0">
                  <a:pos x="52" y="259"/>
                </a:cxn>
                <a:cxn ang="0">
                  <a:pos x="36" y="255"/>
                </a:cxn>
                <a:cxn ang="0">
                  <a:pos x="52" y="263"/>
                </a:cxn>
              </a:cxnLst>
              <a:rect l="0" t="0" r="r" b="b"/>
              <a:pathLst>
                <a:path w="183" h="267">
                  <a:moveTo>
                    <a:pt x="52" y="259"/>
                  </a:moveTo>
                  <a:lnTo>
                    <a:pt x="52" y="255"/>
                  </a:lnTo>
                  <a:lnTo>
                    <a:pt x="56" y="251"/>
                  </a:lnTo>
                  <a:lnTo>
                    <a:pt x="52" y="255"/>
                  </a:lnTo>
                  <a:lnTo>
                    <a:pt x="48" y="255"/>
                  </a:lnTo>
                  <a:lnTo>
                    <a:pt x="44" y="255"/>
                  </a:lnTo>
                  <a:lnTo>
                    <a:pt x="48" y="255"/>
                  </a:lnTo>
                  <a:lnTo>
                    <a:pt x="48" y="251"/>
                  </a:lnTo>
                  <a:lnTo>
                    <a:pt x="44" y="251"/>
                  </a:lnTo>
                  <a:lnTo>
                    <a:pt x="40" y="251"/>
                  </a:lnTo>
                  <a:lnTo>
                    <a:pt x="36" y="247"/>
                  </a:lnTo>
                  <a:lnTo>
                    <a:pt x="36" y="251"/>
                  </a:lnTo>
                  <a:lnTo>
                    <a:pt x="36" y="247"/>
                  </a:lnTo>
                  <a:lnTo>
                    <a:pt x="32" y="247"/>
                  </a:lnTo>
                  <a:lnTo>
                    <a:pt x="28" y="247"/>
                  </a:lnTo>
                  <a:lnTo>
                    <a:pt x="28" y="243"/>
                  </a:lnTo>
                  <a:lnTo>
                    <a:pt x="28" y="239"/>
                  </a:lnTo>
                  <a:lnTo>
                    <a:pt x="28" y="235"/>
                  </a:lnTo>
                  <a:lnTo>
                    <a:pt x="28" y="231"/>
                  </a:lnTo>
                  <a:lnTo>
                    <a:pt x="32" y="231"/>
                  </a:lnTo>
                  <a:lnTo>
                    <a:pt x="32" y="227"/>
                  </a:lnTo>
                  <a:lnTo>
                    <a:pt x="32" y="223"/>
                  </a:lnTo>
                  <a:lnTo>
                    <a:pt x="28" y="223"/>
                  </a:lnTo>
                  <a:lnTo>
                    <a:pt x="32" y="223"/>
                  </a:lnTo>
                  <a:lnTo>
                    <a:pt x="32" y="219"/>
                  </a:lnTo>
                  <a:lnTo>
                    <a:pt x="28" y="219"/>
                  </a:lnTo>
                  <a:lnTo>
                    <a:pt x="32" y="216"/>
                  </a:lnTo>
                  <a:lnTo>
                    <a:pt x="28" y="216"/>
                  </a:lnTo>
                  <a:lnTo>
                    <a:pt x="28" y="212"/>
                  </a:lnTo>
                  <a:lnTo>
                    <a:pt x="28" y="208"/>
                  </a:lnTo>
                  <a:lnTo>
                    <a:pt x="28" y="204"/>
                  </a:lnTo>
                  <a:lnTo>
                    <a:pt x="24" y="204"/>
                  </a:lnTo>
                  <a:lnTo>
                    <a:pt x="24" y="200"/>
                  </a:lnTo>
                  <a:lnTo>
                    <a:pt x="24" y="196"/>
                  </a:lnTo>
                  <a:lnTo>
                    <a:pt x="24" y="192"/>
                  </a:lnTo>
                  <a:lnTo>
                    <a:pt x="28" y="192"/>
                  </a:lnTo>
                  <a:lnTo>
                    <a:pt x="28" y="188"/>
                  </a:lnTo>
                  <a:lnTo>
                    <a:pt x="32" y="184"/>
                  </a:lnTo>
                  <a:lnTo>
                    <a:pt x="32" y="188"/>
                  </a:lnTo>
                  <a:lnTo>
                    <a:pt x="32" y="184"/>
                  </a:lnTo>
                  <a:lnTo>
                    <a:pt x="32" y="180"/>
                  </a:lnTo>
                  <a:lnTo>
                    <a:pt x="32" y="184"/>
                  </a:lnTo>
                  <a:lnTo>
                    <a:pt x="36" y="180"/>
                  </a:lnTo>
                  <a:lnTo>
                    <a:pt x="36" y="184"/>
                  </a:lnTo>
                  <a:lnTo>
                    <a:pt x="40" y="180"/>
                  </a:lnTo>
                  <a:lnTo>
                    <a:pt x="44" y="180"/>
                  </a:lnTo>
                  <a:lnTo>
                    <a:pt x="44" y="176"/>
                  </a:lnTo>
                  <a:lnTo>
                    <a:pt x="40" y="176"/>
                  </a:lnTo>
                  <a:lnTo>
                    <a:pt x="44" y="176"/>
                  </a:lnTo>
                  <a:lnTo>
                    <a:pt x="44" y="172"/>
                  </a:lnTo>
                  <a:lnTo>
                    <a:pt x="48" y="168"/>
                  </a:lnTo>
                  <a:lnTo>
                    <a:pt x="48" y="172"/>
                  </a:lnTo>
                  <a:lnTo>
                    <a:pt x="52" y="172"/>
                  </a:lnTo>
                  <a:lnTo>
                    <a:pt x="52" y="168"/>
                  </a:lnTo>
                  <a:lnTo>
                    <a:pt x="56" y="164"/>
                  </a:lnTo>
                  <a:lnTo>
                    <a:pt x="60" y="164"/>
                  </a:lnTo>
                  <a:lnTo>
                    <a:pt x="60" y="160"/>
                  </a:lnTo>
                  <a:lnTo>
                    <a:pt x="64" y="160"/>
                  </a:lnTo>
                  <a:lnTo>
                    <a:pt x="64" y="156"/>
                  </a:lnTo>
                  <a:lnTo>
                    <a:pt x="68" y="156"/>
                  </a:lnTo>
                  <a:lnTo>
                    <a:pt x="68" y="152"/>
                  </a:lnTo>
                  <a:lnTo>
                    <a:pt x="72" y="152"/>
                  </a:lnTo>
                  <a:lnTo>
                    <a:pt x="72" y="148"/>
                  </a:lnTo>
                  <a:lnTo>
                    <a:pt x="76" y="144"/>
                  </a:lnTo>
                  <a:lnTo>
                    <a:pt x="76" y="140"/>
                  </a:lnTo>
                  <a:lnTo>
                    <a:pt x="80" y="140"/>
                  </a:lnTo>
                  <a:lnTo>
                    <a:pt x="84" y="140"/>
                  </a:lnTo>
                  <a:lnTo>
                    <a:pt x="88" y="140"/>
                  </a:lnTo>
                  <a:lnTo>
                    <a:pt x="88" y="136"/>
                  </a:lnTo>
                  <a:lnTo>
                    <a:pt x="92" y="136"/>
                  </a:lnTo>
                  <a:lnTo>
                    <a:pt x="88" y="136"/>
                  </a:lnTo>
                  <a:lnTo>
                    <a:pt x="88" y="132"/>
                  </a:lnTo>
                  <a:lnTo>
                    <a:pt x="88" y="128"/>
                  </a:lnTo>
                  <a:lnTo>
                    <a:pt x="88" y="124"/>
                  </a:lnTo>
                  <a:lnTo>
                    <a:pt x="88" y="120"/>
                  </a:lnTo>
                  <a:lnTo>
                    <a:pt x="84" y="120"/>
                  </a:lnTo>
                  <a:lnTo>
                    <a:pt x="84" y="124"/>
                  </a:lnTo>
                  <a:lnTo>
                    <a:pt x="84" y="120"/>
                  </a:lnTo>
                  <a:lnTo>
                    <a:pt x="80" y="120"/>
                  </a:lnTo>
                  <a:lnTo>
                    <a:pt x="76" y="116"/>
                  </a:lnTo>
                  <a:lnTo>
                    <a:pt x="80" y="112"/>
                  </a:lnTo>
                  <a:lnTo>
                    <a:pt x="76" y="112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68" y="108"/>
                  </a:lnTo>
                  <a:lnTo>
                    <a:pt x="64" y="108"/>
                  </a:lnTo>
                  <a:lnTo>
                    <a:pt x="64" y="104"/>
                  </a:lnTo>
                  <a:lnTo>
                    <a:pt x="64" y="100"/>
                  </a:lnTo>
                  <a:lnTo>
                    <a:pt x="64" y="96"/>
                  </a:lnTo>
                  <a:lnTo>
                    <a:pt x="68" y="96"/>
                  </a:lnTo>
                  <a:lnTo>
                    <a:pt x="68" y="92"/>
                  </a:lnTo>
                  <a:lnTo>
                    <a:pt x="68" y="88"/>
                  </a:lnTo>
                  <a:lnTo>
                    <a:pt x="64" y="84"/>
                  </a:lnTo>
                  <a:lnTo>
                    <a:pt x="60" y="80"/>
                  </a:lnTo>
                  <a:lnTo>
                    <a:pt x="64" y="76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64" y="60"/>
                  </a:lnTo>
                  <a:lnTo>
                    <a:pt x="60" y="56"/>
                  </a:lnTo>
                  <a:lnTo>
                    <a:pt x="52" y="48"/>
                  </a:lnTo>
                  <a:lnTo>
                    <a:pt x="48" y="48"/>
                  </a:lnTo>
                  <a:lnTo>
                    <a:pt x="44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0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8" y="36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60" y="40"/>
                  </a:lnTo>
                  <a:lnTo>
                    <a:pt x="64" y="40"/>
                  </a:lnTo>
                  <a:lnTo>
                    <a:pt x="64" y="36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6" y="40"/>
                  </a:lnTo>
                  <a:lnTo>
                    <a:pt x="80" y="40"/>
                  </a:lnTo>
                  <a:lnTo>
                    <a:pt x="84" y="44"/>
                  </a:lnTo>
                  <a:lnTo>
                    <a:pt x="84" y="40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96" y="28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0" y="12"/>
                  </a:lnTo>
                  <a:lnTo>
                    <a:pt x="96" y="12"/>
                  </a:lnTo>
                  <a:lnTo>
                    <a:pt x="100" y="12"/>
                  </a:lnTo>
                  <a:lnTo>
                    <a:pt x="104" y="8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6" y="8"/>
                  </a:lnTo>
                  <a:lnTo>
                    <a:pt x="116" y="4"/>
                  </a:lnTo>
                  <a:lnTo>
                    <a:pt x="120" y="4"/>
                  </a:lnTo>
                  <a:lnTo>
                    <a:pt x="124" y="0"/>
                  </a:lnTo>
                  <a:lnTo>
                    <a:pt x="128" y="0"/>
                  </a:lnTo>
                  <a:lnTo>
                    <a:pt x="128" y="4"/>
                  </a:lnTo>
                  <a:lnTo>
                    <a:pt x="131" y="4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12"/>
                  </a:lnTo>
                  <a:lnTo>
                    <a:pt x="143" y="12"/>
                  </a:lnTo>
                  <a:lnTo>
                    <a:pt x="147" y="12"/>
                  </a:lnTo>
                  <a:lnTo>
                    <a:pt x="147" y="16"/>
                  </a:lnTo>
                  <a:lnTo>
                    <a:pt x="147" y="20"/>
                  </a:lnTo>
                  <a:lnTo>
                    <a:pt x="143" y="20"/>
                  </a:lnTo>
                  <a:lnTo>
                    <a:pt x="143" y="24"/>
                  </a:lnTo>
                  <a:lnTo>
                    <a:pt x="139" y="24"/>
                  </a:lnTo>
                  <a:lnTo>
                    <a:pt x="139" y="28"/>
                  </a:lnTo>
                  <a:lnTo>
                    <a:pt x="143" y="28"/>
                  </a:lnTo>
                  <a:lnTo>
                    <a:pt x="143" y="32"/>
                  </a:lnTo>
                  <a:lnTo>
                    <a:pt x="139" y="32"/>
                  </a:lnTo>
                  <a:lnTo>
                    <a:pt x="135" y="32"/>
                  </a:lnTo>
                  <a:lnTo>
                    <a:pt x="135" y="36"/>
                  </a:lnTo>
                  <a:lnTo>
                    <a:pt x="139" y="36"/>
                  </a:lnTo>
                  <a:lnTo>
                    <a:pt x="139" y="40"/>
                  </a:lnTo>
                  <a:lnTo>
                    <a:pt x="135" y="44"/>
                  </a:lnTo>
                  <a:lnTo>
                    <a:pt x="135" y="48"/>
                  </a:lnTo>
                  <a:lnTo>
                    <a:pt x="139" y="52"/>
                  </a:lnTo>
                  <a:lnTo>
                    <a:pt x="147" y="56"/>
                  </a:lnTo>
                  <a:lnTo>
                    <a:pt x="151" y="56"/>
                  </a:lnTo>
                  <a:lnTo>
                    <a:pt x="151" y="60"/>
                  </a:lnTo>
                  <a:lnTo>
                    <a:pt x="155" y="64"/>
                  </a:lnTo>
                  <a:lnTo>
                    <a:pt x="159" y="64"/>
                  </a:lnTo>
                  <a:lnTo>
                    <a:pt x="159" y="68"/>
                  </a:lnTo>
                  <a:lnTo>
                    <a:pt x="159" y="72"/>
                  </a:lnTo>
                  <a:lnTo>
                    <a:pt x="155" y="72"/>
                  </a:lnTo>
                  <a:lnTo>
                    <a:pt x="151" y="76"/>
                  </a:lnTo>
                  <a:lnTo>
                    <a:pt x="147" y="84"/>
                  </a:lnTo>
                  <a:lnTo>
                    <a:pt x="143" y="84"/>
                  </a:lnTo>
                  <a:lnTo>
                    <a:pt x="143" y="88"/>
                  </a:lnTo>
                  <a:lnTo>
                    <a:pt x="147" y="88"/>
                  </a:lnTo>
                  <a:lnTo>
                    <a:pt x="147" y="92"/>
                  </a:lnTo>
                  <a:lnTo>
                    <a:pt x="151" y="96"/>
                  </a:lnTo>
                  <a:lnTo>
                    <a:pt x="151" y="100"/>
                  </a:lnTo>
                  <a:lnTo>
                    <a:pt x="155" y="104"/>
                  </a:lnTo>
                  <a:lnTo>
                    <a:pt x="155" y="108"/>
                  </a:lnTo>
                  <a:lnTo>
                    <a:pt x="159" y="108"/>
                  </a:lnTo>
                  <a:lnTo>
                    <a:pt x="159" y="112"/>
                  </a:lnTo>
                  <a:lnTo>
                    <a:pt x="159" y="116"/>
                  </a:lnTo>
                  <a:lnTo>
                    <a:pt x="159" y="120"/>
                  </a:lnTo>
                  <a:lnTo>
                    <a:pt x="155" y="120"/>
                  </a:lnTo>
                  <a:lnTo>
                    <a:pt x="155" y="124"/>
                  </a:lnTo>
                  <a:lnTo>
                    <a:pt x="155" y="128"/>
                  </a:lnTo>
                  <a:lnTo>
                    <a:pt x="151" y="128"/>
                  </a:lnTo>
                  <a:lnTo>
                    <a:pt x="151" y="132"/>
                  </a:lnTo>
                  <a:lnTo>
                    <a:pt x="155" y="132"/>
                  </a:lnTo>
                  <a:lnTo>
                    <a:pt x="155" y="136"/>
                  </a:lnTo>
                  <a:lnTo>
                    <a:pt x="151" y="136"/>
                  </a:lnTo>
                  <a:lnTo>
                    <a:pt x="151" y="140"/>
                  </a:lnTo>
                  <a:lnTo>
                    <a:pt x="155" y="140"/>
                  </a:lnTo>
                  <a:lnTo>
                    <a:pt x="159" y="140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59" y="148"/>
                  </a:lnTo>
                  <a:lnTo>
                    <a:pt x="159" y="152"/>
                  </a:lnTo>
                  <a:lnTo>
                    <a:pt x="163" y="152"/>
                  </a:lnTo>
                  <a:lnTo>
                    <a:pt x="163" y="156"/>
                  </a:lnTo>
                  <a:lnTo>
                    <a:pt x="167" y="156"/>
                  </a:lnTo>
                  <a:lnTo>
                    <a:pt x="167" y="160"/>
                  </a:lnTo>
                  <a:lnTo>
                    <a:pt x="167" y="164"/>
                  </a:lnTo>
                  <a:lnTo>
                    <a:pt x="163" y="164"/>
                  </a:lnTo>
                  <a:lnTo>
                    <a:pt x="163" y="168"/>
                  </a:lnTo>
                  <a:lnTo>
                    <a:pt x="159" y="168"/>
                  </a:lnTo>
                  <a:lnTo>
                    <a:pt x="163" y="172"/>
                  </a:lnTo>
                  <a:lnTo>
                    <a:pt x="167" y="176"/>
                  </a:lnTo>
                  <a:lnTo>
                    <a:pt x="171" y="176"/>
                  </a:lnTo>
                  <a:lnTo>
                    <a:pt x="171" y="180"/>
                  </a:lnTo>
                  <a:lnTo>
                    <a:pt x="175" y="180"/>
                  </a:lnTo>
                  <a:lnTo>
                    <a:pt x="179" y="184"/>
                  </a:lnTo>
                  <a:lnTo>
                    <a:pt x="183" y="188"/>
                  </a:lnTo>
                  <a:lnTo>
                    <a:pt x="183" y="192"/>
                  </a:lnTo>
                  <a:lnTo>
                    <a:pt x="179" y="192"/>
                  </a:lnTo>
                  <a:lnTo>
                    <a:pt x="179" y="196"/>
                  </a:lnTo>
                  <a:lnTo>
                    <a:pt x="179" y="200"/>
                  </a:lnTo>
                  <a:lnTo>
                    <a:pt x="175" y="204"/>
                  </a:lnTo>
                  <a:lnTo>
                    <a:pt x="171" y="204"/>
                  </a:lnTo>
                  <a:lnTo>
                    <a:pt x="171" y="208"/>
                  </a:lnTo>
                  <a:lnTo>
                    <a:pt x="167" y="208"/>
                  </a:lnTo>
                  <a:lnTo>
                    <a:pt x="163" y="212"/>
                  </a:lnTo>
                  <a:lnTo>
                    <a:pt x="163" y="216"/>
                  </a:lnTo>
                  <a:lnTo>
                    <a:pt x="159" y="216"/>
                  </a:lnTo>
                  <a:lnTo>
                    <a:pt x="159" y="219"/>
                  </a:lnTo>
                  <a:lnTo>
                    <a:pt x="155" y="223"/>
                  </a:lnTo>
                  <a:lnTo>
                    <a:pt x="151" y="227"/>
                  </a:lnTo>
                  <a:lnTo>
                    <a:pt x="147" y="227"/>
                  </a:lnTo>
                  <a:lnTo>
                    <a:pt x="147" y="231"/>
                  </a:lnTo>
                  <a:lnTo>
                    <a:pt x="143" y="231"/>
                  </a:lnTo>
                  <a:lnTo>
                    <a:pt x="139" y="235"/>
                  </a:lnTo>
                  <a:lnTo>
                    <a:pt x="139" y="239"/>
                  </a:lnTo>
                  <a:lnTo>
                    <a:pt x="135" y="239"/>
                  </a:lnTo>
                  <a:lnTo>
                    <a:pt x="131" y="239"/>
                  </a:lnTo>
                  <a:lnTo>
                    <a:pt x="131" y="243"/>
                  </a:lnTo>
                  <a:lnTo>
                    <a:pt x="128" y="247"/>
                  </a:lnTo>
                  <a:lnTo>
                    <a:pt x="124" y="247"/>
                  </a:lnTo>
                  <a:lnTo>
                    <a:pt x="120" y="247"/>
                  </a:lnTo>
                  <a:lnTo>
                    <a:pt x="120" y="251"/>
                  </a:lnTo>
                  <a:lnTo>
                    <a:pt x="120" y="247"/>
                  </a:lnTo>
                  <a:lnTo>
                    <a:pt x="116" y="247"/>
                  </a:lnTo>
                  <a:lnTo>
                    <a:pt x="112" y="251"/>
                  </a:lnTo>
                  <a:lnTo>
                    <a:pt x="108" y="251"/>
                  </a:lnTo>
                  <a:lnTo>
                    <a:pt x="104" y="251"/>
                  </a:lnTo>
                  <a:lnTo>
                    <a:pt x="108" y="247"/>
                  </a:lnTo>
                  <a:lnTo>
                    <a:pt x="112" y="247"/>
                  </a:lnTo>
                  <a:lnTo>
                    <a:pt x="108" y="247"/>
                  </a:lnTo>
                  <a:lnTo>
                    <a:pt x="108" y="243"/>
                  </a:lnTo>
                  <a:lnTo>
                    <a:pt x="108" y="247"/>
                  </a:lnTo>
                  <a:lnTo>
                    <a:pt x="104" y="247"/>
                  </a:lnTo>
                  <a:lnTo>
                    <a:pt x="104" y="251"/>
                  </a:lnTo>
                  <a:lnTo>
                    <a:pt x="100" y="251"/>
                  </a:lnTo>
                  <a:lnTo>
                    <a:pt x="100" y="255"/>
                  </a:lnTo>
                  <a:lnTo>
                    <a:pt x="100" y="251"/>
                  </a:lnTo>
                  <a:lnTo>
                    <a:pt x="96" y="251"/>
                  </a:lnTo>
                  <a:lnTo>
                    <a:pt x="96" y="255"/>
                  </a:lnTo>
                  <a:lnTo>
                    <a:pt x="92" y="255"/>
                  </a:lnTo>
                  <a:lnTo>
                    <a:pt x="92" y="251"/>
                  </a:lnTo>
                  <a:lnTo>
                    <a:pt x="92" y="255"/>
                  </a:lnTo>
                  <a:lnTo>
                    <a:pt x="88" y="255"/>
                  </a:lnTo>
                  <a:lnTo>
                    <a:pt x="84" y="255"/>
                  </a:lnTo>
                  <a:lnTo>
                    <a:pt x="88" y="255"/>
                  </a:lnTo>
                  <a:lnTo>
                    <a:pt x="84" y="255"/>
                  </a:lnTo>
                  <a:lnTo>
                    <a:pt x="84" y="259"/>
                  </a:lnTo>
                  <a:lnTo>
                    <a:pt x="80" y="259"/>
                  </a:lnTo>
                  <a:lnTo>
                    <a:pt x="76" y="259"/>
                  </a:lnTo>
                  <a:lnTo>
                    <a:pt x="76" y="263"/>
                  </a:lnTo>
                  <a:lnTo>
                    <a:pt x="76" y="259"/>
                  </a:lnTo>
                  <a:lnTo>
                    <a:pt x="72" y="259"/>
                  </a:lnTo>
                  <a:lnTo>
                    <a:pt x="68" y="259"/>
                  </a:lnTo>
                  <a:lnTo>
                    <a:pt x="64" y="263"/>
                  </a:lnTo>
                  <a:lnTo>
                    <a:pt x="60" y="263"/>
                  </a:lnTo>
                  <a:lnTo>
                    <a:pt x="60" y="259"/>
                  </a:lnTo>
                  <a:lnTo>
                    <a:pt x="60" y="263"/>
                  </a:lnTo>
                  <a:lnTo>
                    <a:pt x="56" y="263"/>
                  </a:lnTo>
                  <a:lnTo>
                    <a:pt x="52" y="267"/>
                  </a:lnTo>
                  <a:lnTo>
                    <a:pt x="52" y="263"/>
                  </a:lnTo>
                  <a:lnTo>
                    <a:pt x="56" y="263"/>
                  </a:lnTo>
                  <a:lnTo>
                    <a:pt x="60" y="259"/>
                  </a:lnTo>
                  <a:lnTo>
                    <a:pt x="56" y="259"/>
                  </a:lnTo>
                  <a:lnTo>
                    <a:pt x="56" y="263"/>
                  </a:lnTo>
                  <a:lnTo>
                    <a:pt x="56" y="259"/>
                  </a:lnTo>
                  <a:lnTo>
                    <a:pt x="52" y="259"/>
                  </a:lnTo>
                  <a:close/>
                  <a:moveTo>
                    <a:pt x="84" y="136"/>
                  </a:moveTo>
                  <a:lnTo>
                    <a:pt x="80" y="136"/>
                  </a:lnTo>
                  <a:lnTo>
                    <a:pt x="76" y="136"/>
                  </a:lnTo>
                  <a:lnTo>
                    <a:pt x="80" y="136"/>
                  </a:lnTo>
                  <a:lnTo>
                    <a:pt x="84" y="136"/>
                  </a:lnTo>
                  <a:close/>
                  <a:moveTo>
                    <a:pt x="52" y="168"/>
                  </a:moveTo>
                  <a:lnTo>
                    <a:pt x="48" y="168"/>
                  </a:lnTo>
                  <a:lnTo>
                    <a:pt x="52" y="164"/>
                  </a:lnTo>
                  <a:lnTo>
                    <a:pt x="52" y="168"/>
                  </a:lnTo>
                  <a:close/>
                  <a:moveTo>
                    <a:pt x="28" y="184"/>
                  </a:moveTo>
                  <a:lnTo>
                    <a:pt x="24" y="184"/>
                  </a:lnTo>
                  <a:lnTo>
                    <a:pt x="24" y="180"/>
                  </a:lnTo>
                  <a:lnTo>
                    <a:pt x="28" y="180"/>
                  </a:lnTo>
                  <a:lnTo>
                    <a:pt x="28" y="184"/>
                  </a:lnTo>
                  <a:close/>
                  <a:moveTo>
                    <a:pt x="8" y="259"/>
                  </a:moveTo>
                  <a:lnTo>
                    <a:pt x="4" y="259"/>
                  </a:lnTo>
                  <a:lnTo>
                    <a:pt x="4" y="255"/>
                  </a:lnTo>
                  <a:lnTo>
                    <a:pt x="8" y="255"/>
                  </a:lnTo>
                  <a:lnTo>
                    <a:pt x="8" y="251"/>
                  </a:lnTo>
                  <a:lnTo>
                    <a:pt x="4" y="251"/>
                  </a:lnTo>
                  <a:lnTo>
                    <a:pt x="4" y="255"/>
                  </a:lnTo>
                  <a:lnTo>
                    <a:pt x="4" y="251"/>
                  </a:lnTo>
                  <a:lnTo>
                    <a:pt x="8" y="251"/>
                  </a:lnTo>
                  <a:lnTo>
                    <a:pt x="12" y="255"/>
                  </a:lnTo>
                  <a:lnTo>
                    <a:pt x="8" y="255"/>
                  </a:lnTo>
                  <a:lnTo>
                    <a:pt x="8" y="259"/>
                  </a:lnTo>
                  <a:close/>
                  <a:moveTo>
                    <a:pt x="40" y="255"/>
                  </a:moveTo>
                  <a:lnTo>
                    <a:pt x="44" y="255"/>
                  </a:lnTo>
                  <a:lnTo>
                    <a:pt x="40" y="255"/>
                  </a:lnTo>
                  <a:close/>
                  <a:moveTo>
                    <a:pt x="0" y="259"/>
                  </a:moveTo>
                  <a:lnTo>
                    <a:pt x="0" y="255"/>
                  </a:lnTo>
                  <a:lnTo>
                    <a:pt x="4" y="255"/>
                  </a:lnTo>
                  <a:lnTo>
                    <a:pt x="0" y="259"/>
                  </a:lnTo>
                  <a:close/>
                  <a:moveTo>
                    <a:pt x="48" y="263"/>
                  </a:moveTo>
                  <a:lnTo>
                    <a:pt x="48" y="259"/>
                  </a:lnTo>
                  <a:lnTo>
                    <a:pt x="44" y="259"/>
                  </a:lnTo>
                  <a:lnTo>
                    <a:pt x="44" y="255"/>
                  </a:lnTo>
                  <a:lnTo>
                    <a:pt x="48" y="255"/>
                  </a:lnTo>
                  <a:lnTo>
                    <a:pt x="52" y="255"/>
                  </a:lnTo>
                  <a:lnTo>
                    <a:pt x="52" y="259"/>
                  </a:lnTo>
                  <a:lnTo>
                    <a:pt x="48" y="259"/>
                  </a:lnTo>
                  <a:lnTo>
                    <a:pt x="48" y="263"/>
                  </a:lnTo>
                  <a:close/>
                  <a:moveTo>
                    <a:pt x="36" y="259"/>
                  </a:moveTo>
                  <a:lnTo>
                    <a:pt x="32" y="259"/>
                  </a:lnTo>
                  <a:lnTo>
                    <a:pt x="32" y="255"/>
                  </a:lnTo>
                  <a:lnTo>
                    <a:pt x="36" y="255"/>
                  </a:lnTo>
                  <a:lnTo>
                    <a:pt x="36" y="259"/>
                  </a:lnTo>
                  <a:close/>
                  <a:moveTo>
                    <a:pt x="8" y="259"/>
                  </a:moveTo>
                  <a:lnTo>
                    <a:pt x="12" y="259"/>
                  </a:lnTo>
                  <a:lnTo>
                    <a:pt x="12" y="263"/>
                  </a:lnTo>
                  <a:lnTo>
                    <a:pt x="8" y="259"/>
                  </a:lnTo>
                  <a:close/>
                  <a:moveTo>
                    <a:pt x="52" y="263"/>
                  </a:moveTo>
                  <a:lnTo>
                    <a:pt x="56" y="263"/>
                  </a:lnTo>
                  <a:lnTo>
                    <a:pt x="52" y="263"/>
                  </a:lnTo>
                  <a:close/>
                  <a:moveTo>
                    <a:pt x="60" y="263"/>
                  </a:moveTo>
                  <a:lnTo>
                    <a:pt x="64" y="263"/>
                  </a:lnTo>
                  <a:lnTo>
                    <a:pt x="60" y="26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3" name="Freeform 90"/>
            <p:cNvSpPr>
              <a:spLocks noEditPoints="1"/>
            </p:cNvSpPr>
            <p:nvPr>
              <p:custDataLst>
                <p:tags r:id="rId286"/>
              </p:custDataLst>
            </p:nvPr>
          </p:nvSpPr>
          <p:spPr bwMode="gray">
            <a:xfrm>
              <a:off x="4269280" y="3112891"/>
              <a:ext cx="318858" cy="306994"/>
            </a:xfrm>
            <a:custGeom>
              <a:avLst/>
              <a:gdLst/>
              <a:ahLst/>
              <a:cxnLst>
                <a:cxn ang="0">
                  <a:pos x="84" y="180"/>
                </a:cxn>
                <a:cxn ang="0">
                  <a:pos x="76" y="180"/>
                </a:cxn>
                <a:cxn ang="0">
                  <a:pos x="52" y="172"/>
                </a:cxn>
                <a:cxn ang="0">
                  <a:pos x="48" y="168"/>
                </a:cxn>
                <a:cxn ang="0">
                  <a:pos x="52" y="148"/>
                </a:cxn>
                <a:cxn ang="0">
                  <a:pos x="52" y="136"/>
                </a:cxn>
                <a:cxn ang="0">
                  <a:pos x="60" y="124"/>
                </a:cxn>
                <a:cxn ang="0">
                  <a:pos x="60" y="124"/>
                </a:cxn>
                <a:cxn ang="0">
                  <a:pos x="56" y="112"/>
                </a:cxn>
                <a:cxn ang="0">
                  <a:pos x="44" y="100"/>
                </a:cxn>
                <a:cxn ang="0">
                  <a:pos x="44" y="84"/>
                </a:cxn>
                <a:cxn ang="0">
                  <a:pos x="36" y="76"/>
                </a:cxn>
                <a:cxn ang="0">
                  <a:pos x="24" y="76"/>
                </a:cxn>
                <a:cxn ang="0">
                  <a:pos x="12" y="68"/>
                </a:cxn>
                <a:cxn ang="0">
                  <a:pos x="0" y="68"/>
                </a:cxn>
                <a:cxn ang="0">
                  <a:pos x="0" y="60"/>
                </a:cxn>
                <a:cxn ang="0">
                  <a:pos x="4" y="56"/>
                </a:cxn>
                <a:cxn ang="0">
                  <a:pos x="16" y="52"/>
                </a:cxn>
                <a:cxn ang="0">
                  <a:pos x="36" y="52"/>
                </a:cxn>
                <a:cxn ang="0">
                  <a:pos x="48" y="52"/>
                </a:cxn>
                <a:cxn ang="0">
                  <a:pos x="44" y="36"/>
                </a:cxn>
                <a:cxn ang="0">
                  <a:pos x="52" y="28"/>
                </a:cxn>
                <a:cxn ang="0">
                  <a:pos x="68" y="36"/>
                </a:cxn>
                <a:cxn ang="0">
                  <a:pos x="76" y="36"/>
                </a:cxn>
                <a:cxn ang="0">
                  <a:pos x="84" y="24"/>
                </a:cxn>
                <a:cxn ang="0">
                  <a:pos x="96" y="12"/>
                </a:cxn>
                <a:cxn ang="0">
                  <a:pos x="112" y="0"/>
                </a:cxn>
                <a:cxn ang="0">
                  <a:pos x="120" y="8"/>
                </a:cxn>
                <a:cxn ang="0">
                  <a:pos x="136" y="16"/>
                </a:cxn>
                <a:cxn ang="0">
                  <a:pos x="147" y="20"/>
                </a:cxn>
                <a:cxn ang="0">
                  <a:pos x="155" y="32"/>
                </a:cxn>
                <a:cxn ang="0">
                  <a:pos x="167" y="36"/>
                </a:cxn>
                <a:cxn ang="0">
                  <a:pos x="183" y="44"/>
                </a:cxn>
                <a:cxn ang="0">
                  <a:pos x="191" y="52"/>
                </a:cxn>
                <a:cxn ang="0">
                  <a:pos x="187" y="72"/>
                </a:cxn>
                <a:cxn ang="0">
                  <a:pos x="179" y="80"/>
                </a:cxn>
                <a:cxn ang="0">
                  <a:pos x="171" y="92"/>
                </a:cxn>
                <a:cxn ang="0">
                  <a:pos x="163" y="104"/>
                </a:cxn>
                <a:cxn ang="0">
                  <a:pos x="175" y="100"/>
                </a:cxn>
                <a:cxn ang="0">
                  <a:pos x="175" y="120"/>
                </a:cxn>
                <a:cxn ang="0">
                  <a:pos x="171" y="132"/>
                </a:cxn>
                <a:cxn ang="0">
                  <a:pos x="179" y="148"/>
                </a:cxn>
                <a:cxn ang="0">
                  <a:pos x="183" y="156"/>
                </a:cxn>
                <a:cxn ang="0">
                  <a:pos x="175" y="164"/>
                </a:cxn>
                <a:cxn ang="0">
                  <a:pos x="155" y="172"/>
                </a:cxn>
                <a:cxn ang="0">
                  <a:pos x="147" y="164"/>
                </a:cxn>
                <a:cxn ang="0">
                  <a:pos x="136" y="164"/>
                </a:cxn>
                <a:cxn ang="0">
                  <a:pos x="116" y="176"/>
                </a:cxn>
                <a:cxn ang="0">
                  <a:pos x="112" y="187"/>
                </a:cxn>
                <a:cxn ang="0">
                  <a:pos x="52" y="112"/>
                </a:cxn>
                <a:cxn ang="0">
                  <a:pos x="24" y="84"/>
                </a:cxn>
                <a:cxn ang="0">
                  <a:pos x="52" y="108"/>
                </a:cxn>
                <a:cxn ang="0">
                  <a:pos x="207" y="180"/>
                </a:cxn>
                <a:cxn ang="0">
                  <a:pos x="215" y="191"/>
                </a:cxn>
                <a:cxn ang="0">
                  <a:pos x="207" y="207"/>
                </a:cxn>
              </a:cxnLst>
              <a:rect l="0" t="0" r="r" b="b"/>
              <a:pathLst>
                <a:path w="215" h="207">
                  <a:moveTo>
                    <a:pt x="100" y="184"/>
                  </a:moveTo>
                  <a:lnTo>
                    <a:pt x="96" y="184"/>
                  </a:lnTo>
                  <a:lnTo>
                    <a:pt x="92" y="184"/>
                  </a:lnTo>
                  <a:lnTo>
                    <a:pt x="92" y="180"/>
                  </a:lnTo>
                  <a:lnTo>
                    <a:pt x="88" y="180"/>
                  </a:lnTo>
                  <a:lnTo>
                    <a:pt x="84" y="180"/>
                  </a:lnTo>
                  <a:lnTo>
                    <a:pt x="84" y="176"/>
                  </a:lnTo>
                  <a:lnTo>
                    <a:pt x="84" y="180"/>
                  </a:lnTo>
                  <a:lnTo>
                    <a:pt x="80" y="180"/>
                  </a:lnTo>
                  <a:lnTo>
                    <a:pt x="84" y="180"/>
                  </a:lnTo>
                  <a:lnTo>
                    <a:pt x="80" y="180"/>
                  </a:lnTo>
                  <a:lnTo>
                    <a:pt x="76" y="180"/>
                  </a:lnTo>
                  <a:lnTo>
                    <a:pt x="72" y="180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0" y="176"/>
                  </a:lnTo>
                  <a:lnTo>
                    <a:pt x="56" y="176"/>
                  </a:lnTo>
                  <a:lnTo>
                    <a:pt x="52" y="172"/>
                  </a:lnTo>
                  <a:lnTo>
                    <a:pt x="52" y="176"/>
                  </a:lnTo>
                  <a:lnTo>
                    <a:pt x="52" y="172"/>
                  </a:lnTo>
                  <a:lnTo>
                    <a:pt x="48" y="172"/>
                  </a:lnTo>
                  <a:lnTo>
                    <a:pt x="52" y="172"/>
                  </a:lnTo>
                  <a:lnTo>
                    <a:pt x="52" y="168"/>
                  </a:lnTo>
                  <a:lnTo>
                    <a:pt x="48" y="168"/>
                  </a:lnTo>
                  <a:lnTo>
                    <a:pt x="44" y="168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52" y="160"/>
                  </a:lnTo>
                  <a:lnTo>
                    <a:pt x="52" y="152"/>
                  </a:lnTo>
                  <a:lnTo>
                    <a:pt x="52" y="148"/>
                  </a:lnTo>
                  <a:lnTo>
                    <a:pt x="52" y="144"/>
                  </a:lnTo>
                  <a:lnTo>
                    <a:pt x="52" y="140"/>
                  </a:lnTo>
                  <a:lnTo>
                    <a:pt x="56" y="140"/>
                  </a:lnTo>
                  <a:lnTo>
                    <a:pt x="56" y="136"/>
                  </a:lnTo>
                  <a:lnTo>
                    <a:pt x="52" y="140"/>
                  </a:lnTo>
                  <a:lnTo>
                    <a:pt x="52" y="136"/>
                  </a:lnTo>
                  <a:lnTo>
                    <a:pt x="52" y="132"/>
                  </a:lnTo>
                  <a:lnTo>
                    <a:pt x="56" y="128"/>
                  </a:lnTo>
                  <a:lnTo>
                    <a:pt x="56" y="124"/>
                  </a:lnTo>
                  <a:lnTo>
                    <a:pt x="56" y="120"/>
                  </a:lnTo>
                  <a:lnTo>
                    <a:pt x="56" y="124"/>
                  </a:lnTo>
                  <a:lnTo>
                    <a:pt x="60" y="124"/>
                  </a:lnTo>
                  <a:lnTo>
                    <a:pt x="60" y="128"/>
                  </a:lnTo>
                  <a:lnTo>
                    <a:pt x="60" y="132"/>
                  </a:lnTo>
                  <a:lnTo>
                    <a:pt x="64" y="136"/>
                  </a:lnTo>
                  <a:lnTo>
                    <a:pt x="64" y="132"/>
                  </a:lnTo>
                  <a:lnTo>
                    <a:pt x="60" y="128"/>
                  </a:lnTo>
                  <a:lnTo>
                    <a:pt x="60" y="124"/>
                  </a:lnTo>
                  <a:lnTo>
                    <a:pt x="60" y="120"/>
                  </a:lnTo>
                  <a:lnTo>
                    <a:pt x="56" y="120"/>
                  </a:lnTo>
                  <a:lnTo>
                    <a:pt x="56" y="116"/>
                  </a:lnTo>
                  <a:lnTo>
                    <a:pt x="52" y="116"/>
                  </a:lnTo>
                  <a:lnTo>
                    <a:pt x="56" y="116"/>
                  </a:lnTo>
                  <a:lnTo>
                    <a:pt x="56" y="112"/>
                  </a:lnTo>
                  <a:lnTo>
                    <a:pt x="56" y="108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0"/>
                  </a:lnTo>
                  <a:lnTo>
                    <a:pt x="44" y="100"/>
                  </a:lnTo>
                  <a:lnTo>
                    <a:pt x="44" y="96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40" y="88"/>
                  </a:lnTo>
                  <a:lnTo>
                    <a:pt x="40" y="84"/>
                  </a:lnTo>
                  <a:lnTo>
                    <a:pt x="44" y="84"/>
                  </a:lnTo>
                  <a:lnTo>
                    <a:pt x="40" y="84"/>
                  </a:lnTo>
                  <a:lnTo>
                    <a:pt x="36" y="84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2" y="76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8" y="68"/>
                  </a:lnTo>
                  <a:lnTo>
                    <a:pt x="8" y="72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4" y="64"/>
                  </a:lnTo>
                  <a:lnTo>
                    <a:pt x="8" y="64"/>
                  </a:lnTo>
                  <a:lnTo>
                    <a:pt x="4" y="60"/>
                  </a:lnTo>
                  <a:lnTo>
                    <a:pt x="4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6" y="52"/>
                  </a:lnTo>
                  <a:lnTo>
                    <a:pt x="20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8" y="52"/>
                  </a:lnTo>
                  <a:lnTo>
                    <a:pt x="32" y="56"/>
                  </a:lnTo>
                  <a:lnTo>
                    <a:pt x="36" y="52"/>
                  </a:lnTo>
                  <a:lnTo>
                    <a:pt x="40" y="52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48"/>
                  </a:lnTo>
                  <a:lnTo>
                    <a:pt x="48" y="44"/>
                  </a:lnTo>
                  <a:lnTo>
                    <a:pt x="48" y="40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60" y="36"/>
                  </a:lnTo>
                  <a:lnTo>
                    <a:pt x="64" y="36"/>
                  </a:lnTo>
                  <a:lnTo>
                    <a:pt x="68" y="36"/>
                  </a:lnTo>
                  <a:lnTo>
                    <a:pt x="68" y="40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76" y="36"/>
                  </a:lnTo>
                  <a:lnTo>
                    <a:pt x="72" y="36"/>
                  </a:lnTo>
                  <a:lnTo>
                    <a:pt x="72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96" y="16"/>
                  </a:lnTo>
                  <a:lnTo>
                    <a:pt x="96" y="12"/>
                  </a:lnTo>
                  <a:lnTo>
                    <a:pt x="96" y="8"/>
                  </a:lnTo>
                  <a:lnTo>
                    <a:pt x="96" y="4"/>
                  </a:lnTo>
                  <a:lnTo>
                    <a:pt x="100" y="0"/>
                  </a:lnTo>
                  <a:lnTo>
                    <a:pt x="104" y="0"/>
                  </a:lnTo>
                  <a:lnTo>
                    <a:pt x="108" y="0"/>
                  </a:lnTo>
                  <a:lnTo>
                    <a:pt x="112" y="0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16" y="4"/>
                  </a:lnTo>
                  <a:lnTo>
                    <a:pt x="120" y="4"/>
                  </a:lnTo>
                  <a:lnTo>
                    <a:pt x="120" y="8"/>
                  </a:lnTo>
                  <a:lnTo>
                    <a:pt x="120" y="12"/>
                  </a:lnTo>
                  <a:lnTo>
                    <a:pt x="124" y="12"/>
                  </a:lnTo>
                  <a:lnTo>
                    <a:pt x="128" y="12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20"/>
                  </a:lnTo>
                  <a:lnTo>
                    <a:pt x="136" y="24"/>
                  </a:lnTo>
                  <a:lnTo>
                    <a:pt x="140" y="24"/>
                  </a:lnTo>
                  <a:lnTo>
                    <a:pt x="144" y="24"/>
                  </a:lnTo>
                  <a:lnTo>
                    <a:pt x="144" y="20"/>
                  </a:lnTo>
                  <a:lnTo>
                    <a:pt x="147" y="20"/>
                  </a:lnTo>
                  <a:lnTo>
                    <a:pt x="144" y="20"/>
                  </a:lnTo>
                  <a:lnTo>
                    <a:pt x="144" y="24"/>
                  </a:lnTo>
                  <a:lnTo>
                    <a:pt x="144" y="28"/>
                  </a:lnTo>
                  <a:lnTo>
                    <a:pt x="147" y="28"/>
                  </a:lnTo>
                  <a:lnTo>
                    <a:pt x="151" y="32"/>
                  </a:lnTo>
                  <a:lnTo>
                    <a:pt x="155" y="32"/>
                  </a:lnTo>
                  <a:lnTo>
                    <a:pt x="159" y="32"/>
                  </a:lnTo>
                  <a:lnTo>
                    <a:pt x="159" y="36"/>
                  </a:lnTo>
                  <a:lnTo>
                    <a:pt x="163" y="36"/>
                  </a:lnTo>
                  <a:lnTo>
                    <a:pt x="163" y="32"/>
                  </a:lnTo>
                  <a:lnTo>
                    <a:pt x="167" y="32"/>
                  </a:lnTo>
                  <a:lnTo>
                    <a:pt x="167" y="36"/>
                  </a:lnTo>
                  <a:lnTo>
                    <a:pt x="171" y="36"/>
                  </a:lnTo>
                  <a:lnTo>
                    <a:pt x="171" y="40"/>
                  </a:lnTo>
                  <a:lnTo>
                    <a:pt x="175" y="40"/>
                  </a:lnTo>
                  <a:lnTo>
                    <a:pt x="179" y="40"/>
                  </a:lnTo>
                  <a:lnTo>
                    <a:pt x="179" y="44"/>
                  </a:lnTo>
                  <a:lnTo>
                    <a:pt x="183" y="44"/>
                  </a:lnTo>
                  <a:lnTo>
                    <a:pt x="183" y="40"/>
                  </a:lnTo>
                  <a:lnTo>
                    <a:pt x="187" y="44"/>
                  </a:lnTo>
                  <a:lnTo>
                    <a:pt x="191" y="44"/>
                  </a:lnTo>
                  <a:lnTo>
                    <a:pt x="195" y="44"/>
                  </a:lnTo>
                  <a:lnTo>
                    <a:pt x="195" y="48"/>
                  </a:lnTo>
                  <a:lnTo>
                    <a:pt x="191" y="52"/>
                  </a:lnTo>
                  <a:lnTo>
                    <a:pt x="191" y="56"/>
                  </a:lnTo>
                  <a:lnTo>
                    <a:pt x="187" y="56"/>
                  </a:lnTo>
                  <a:lnTo>
                    <a:pt x="187" y="60"/>
                  </a:lnTo>
                  <a:lnTo>
                    <a:pt x="187" y="64"/>
                  </a:lnTo>
                  <a:lnTo>
                    <a:pt x="187" y="68"/>
                  </a:lnTo>
                  <a:lnTo>
                    <a:pt x="187" y="72"/>
                  </a:lnTo>
                  <a:lnTo>
                    <a:pt x="187" y="76"/>
                  </a:lnTo>
                  <a:lnTo>
                    <a:pt x="183" y="76"/>
                  </a:lnTo>
                  <a:lnTo>
                    <a:pt x="183" y="80"/>
                  </a:lnTo>
                  <a:lnTo>
                    <a:pt x="179" y="80"/>
                  </a:lnTo>
                  <a:lnTo>
                    <a:pt x="179" y="76"/>
                  </a:lnTo>
                  <a:lnTo>
                    <a:pt x="179" y="80"/>
                  </a:lnTo>
                  <a:lnTo>
                    <a:pt x="175" y="80"/>
                  </a:lnTo>
                  <a:lnTo>
                    <a:pt x="179" y="80"/>
                  </a:lnTo>
                  <a:lnTo>
                    <a:pt x="175" y="84"/>
                  </a:lnTo>
                  <a:lnTo>
                    <a:pt x="175" y="88"/>
                  </a:lnTo>
                  <a:lnTo>
                    <a:pt x="171" y="88"/>
                  </a:lnTo>
                  <a:lnTo>
                    <a:pt x="171" y="92"/>
                  </a:lnTo>
                  <a:lnTo>
                    <a:pt x="167" y="92"/>
                  </a:lnTo>
                  <a:lnTo>
                    <a:pt x="171" y="92"/>
                  </a:lnTo>
                  <a:lnTo>
                    <a:pt x="167" y="96"/>
                  </a:lnTo>
                  <a:lnTo>
                    <a:pt x="163" y="96"/>
                  </a:lnTo>
                  <a:lnTo>
                    <a:pt x="163" y="100"/>
                  </a:lnTo>
                  <a:lnTo>
                    <a:pt x="163" y="104"/>
                  </a:lnTo>
                  <a:lnTo>
                    <a:pt x="163" y="108"/>
                  </a:lnTo>
                  <a:lnTo>
                    <a:pt x="167" y="108"/>
                  </a:lnTo>
                  <a:lnTo>
                    <a:pt x="167" y="104"/>
                  </a:lnTo>
                  <a:lnTo>
                    <a:pt x="167" y="100"/>
                  </a:lnTo>
                  <a:lnTo>
                    <a:pt x="171" y="100"/>
                  </a:lnTo>
                  <a:lnTo>
                    <a:pt x="175" y="100"/>
                  </a:lnTo>
                  <a:lnTo>
                    <a:pt x="175" y="104"/>
                  </a:lnTo>
                  <a:lnTo>
                    <a:pt x="175" y="108"/>
                  </a:lnTo>
                  <a:lnTo>
                    <a:pt x="179" y="112"/>
                  </a:lnTo>
                  <a:lnTo>
                    <a:pt x="175" y="112"/>
                  </a:lnTo>
                  <a:lnTo>
                    <a:pt x="175" y="116"/>
                  </a:lnTo>
                  <a:lnTo>
                    <a:pt x="175" y="120"/>
                  </a:lnTo>
                  <a:lnTo>
                    <a:pt x="179" y="120"/>
                  </a:lnTo>
                  <a:lnTo>
                    <a:pt x="179" y="124"/>
                  </a:lnTo>
                  <a:lnTo>
                    <a:pt x="179" y="128"/>
                  </a:lnTo>
                  <a:lnTo>
                    <a:pt x="175" y="128"/>
                  </a:lnTo>
                  <a:lnTo>
                    <a:pt x="171" y="128"/>
                  </a:lnTo>
                  <a:lnTo>
                    <a:pt x="171" y="132"/>
                  </a:lnTo>
                  <a:lnTo>
                    <a:pt x="175" y="136"/>
                  </a:lnTo>
                  <a:lnTo>
                    <a:pt x="179" y="136"/>
                  </a:lnTo>
                  <a:lnTo>
                    <a:pt x="175" y="140"/>
                  </a:lnTo>
                  <a:lnTo>
                    <a:pt x="175" y="144"/>
                  </a:lnTo>
                  <a:lnTo>
                    <a:pt x="175" y="148"/>
                  </a:lnTo>
                  <a:lnTo>
                    <a:pt x="179" y="148"/>
                  </a:lnTo>
                  <a:lnTo>
                    <a:pt x="183" y="152"/>
                  </a:lnTo>
                  <a:lnTo>
                    <a:pt x="187" y="152"/>
                  </a:lnTo>
                  <a:lnTo>
                    <a:pt x="187" y="148"/>
                  </a:lnTo>
                  <a:lnTo>
                    <a:pt x="187" y="152"/>
                  </a:lnTo>
                  <a:lnTo>
                    <a:pt x="187" y="156"/>
                  </a:lnTo>
                  <a:lnTo>
                    <a:pt x="183" y="156"/>
                  </a:lnTo>
                  <a:lnTo>
                    <a:pt x="187" y="156"/>
                  </a:lnTo>
                  <a:lnTo>
                    <a:pt x="187" y="160"/>
                  </a:lnTo>
                  <a:lnTo>
                    <a:pt x="183" y="160"/>
                  </a:lnTo>
                  <a:lnTo>
                    <a:pt x="179" y="160"/>
                  </a:lnTo>
                  <a:lnTo>
                    <a:pt x="179" y="164"/>
                  </a:lnTo>
                  <a:lnTo>
                    <a:pt x="175" y="164"/>
                  </a:lnTo>
                  <a:lnTo>
                    <a:pt x="171" y="168"/>
                  </a:lnTo>
                  <a:lnTo>
                    <a:pt x="171" y="172"/>
                  </a:lnTo>
                  <a:lnTo>
                    <a:pt x="167" y="172"/>
                  </a:lnTo>
                  <a:lnTo>
                    <a:pt x="163" y="172"/>
                  </a:lnTo>
                  <a:lnTo>
                    <a:pt x="159" y="172"/>
                  </a:lnTo>
                  <a:lnTo>
                    <a:pt x="155" y="172"/>
                  </a:lnTo>
                  <a:lnTo>
                    <a:pt x="151" y="172"/>
                  </a:lnTo>
                  <a:lnTo>
                    <a:pt x="151" y="168"/>
                  </a:lnTo>
                  <a:lnTo>
                    <a:pt x="147" y="168"/>
                  </a:lnTo>
                  <a:lnTo>
                    <a:pt x="151" y="168"/>
                  </a:lnTo>
                  <a:lnTo>
                    <a:pt x="151" y="164"/>
                  </a:lnTo>
                  <a:lnTo>
                    <a:pt x="147" y="164"/>
                  </a:lnTo>
                  <a:lnTo>
                    <a:pt x="144" y="168"/>
                  </a:lnTo>
                  <a:lnTo>
                    <a:pt x="144" y="164"/>
                  </a:lnTo>
                  <a:lnTo>
                    <a:pt x="144" y="168"/>
                  </a:lnTo>
                  <a:lnTo>
                    <a:pt x="140" y="168"/>
                  </a:lnTo>
                  <a:lnTo>
                    <a:pt x="140" y="164"/>
                  </a:lnTo>
                  <a:lnTo>
                    <a:pt x="136" y="164"/>
                  </a:lnTo>
                  <a:lnTo>
                    <a:pt x="132" y="164"/>
                  </a:lnTo>
                  <a:lnTo>
                    <a:pt x="128" y="168"/>
                  </a:lnTo>
                  <a:lnTo>
                    <a:pt x="124" y="168"/>
                  </a:lnTo>
                  <a:lnTo>
                    <a:pt x="120" y="172"/>
                  </a:lnTo>
                  <a:lnTo>
                    <a:pt x="120" y="176"/>
                  </a:lnTo>
                  <a:lnTo>
                    <a:pt x="116" y="176"/>
                  </a:lnTo>
                  <a:lnTo>
                    <a:pt x="116" y="180"/>
                  </a:lnTo>
                  <a:lnTo>
                    <a:pt x="120" y="180"/>
                  </a:lnTo>
                  <a:lnTo>
                    <a:pt x="120" y="184"/>
                  </a:lnTo>
                  <a:lnTo>
                    <a:pt x="120" y="187"/>
                  </a:lnTo>
                  <a:lnTo>
                    <a:pt x="116" y="184"/>
                  </a:lnTo>
                  <a:lnTo>
                    <a:pt x="112" y="187"/>
                  </a:lnTo>
                  <a:lnTo>
                    <a:pt x="108" y="187"/>
                  </a:lnTo>
                  <a:lnTo>
                    <a:pt x="104" y="187"/>
                  </a:lnTo>
                  <a:lnTo>
                    <a:pt x="100" y="187"/>
                  </a:lnTo>
                  <a:lnTo>
                    <a:pt x="100" y="184"/>
                  </a:lnTo>
                  <a:close/>
                  <a:moveTo>
                    <a:pt x="52" y="116"/>
                  </a:moveTo>
                  <a:lnTo>
                    <a:pt x="52" y="112"/>
                  </a:lnTo>
                  <a:lnTo>
                    <a:pt x="52" y="108"/>
                  </a:lnTo>
                  <a:lnTo>
                    <a:pt x="52" y="112"/>
                  </a:lnTo>
                  <a:lnTo>
                    <a:pt x="56" y="112"/>
                  </a:lnTo>
                  <a:lnTo>
                    <a:pt x="56" y="116"/>
                  </a:lnTo>
                  <a:lnTo>
                    <a:pt x="52" y="116"/>
                  </a:lnTo>
                  <a:close/>
                  <a:moveTo>
                    <a:pt x="24" y="84"/>
                  </a:moveTo>
                  <a:lnTo>
                    <a:pt x="24" y="80"/>
                  </a:lnTo>
                  <a:lnTo>
                    <a:pt x="24" y="84"/>
                  </a:lnTo>
                  <a:close/>
                  <a:moveTo>
                    <a:pt x="52" y="108"/>
                  </a:moveTo>
                  <a:lnTo>
                    <a:pt x="48" y="108"/>
                  </a:lnTo>
                  <a:lnTo>
                    <a:pt x="48" y="104"/>
                  </a:lnTo>
                  <a:lnTo>
                    <a:pt x="52" y="108"/>
                  </a:lnTo>
                  <a:close/>
                  <a:moveTo>
                    <a:pt x="203" y="195"/>
                  </a:moveTo>
                  <a:lnTo>
                    <a:pt x="203" y="191"/>
                  </a:lnTo>
                  <a:lnTo>
                    <a:pt x="203" y="187"/>
                  </a:lnTo>
                  <a:lnTo>
                    <a:pt x="203" y="184"/>
                  </a:lnTo>
                  <a:lnTo>
                    <a:pt x="207" y="184"/>
                  </a:lnTo>
                  <a:lnTo>
                    <a:pt x="207" y="180"/>
                  </a:lnTo>
                  <a:lnTo>
                    <a:pt x="211" y="180"/>
                  </a:lnTo>
                  <a:lnTo>
                    <a:pt x="211" y="176"/>
                  </a:lnTo>
                  <a:lnTo>
                    <a:pt x="215" y="176"/>
                  </a:lnTo>
                  <a:lnTo>
                    <a:pt x="215" y="180"/>
                  </a:lnTo>
                  <a:lnTo>
                    <a:pt x="215" y="184"/>
                  </a:lnTo>
                  <a:lnTo>
                    <a:pt x="215" y="191"/>
                  </a:lnTo>
                  <a:lnTo>
                    <a:pt x="215" y="195"/>
                  </a:lnTo>
                  <a:lnTo>
                    <a:pt x="215" y="199"/>
                  </a:lnTo>
                  <a:lnTo>
                    <a:pt x="215" y="203"/>
                  </a:lnTo>
                  <a:lnTo>
                    <a:pt x="211" y="203"/>
                  </a:lnTo>
                  <a:lnTo>
                    <a:pt x="211" y="207"/>
                  </a:lnTo>
                  <a:lnTo>
                    <a:pt x="207" y="207"/>
                  </a:lnTo>
                  <a:lnTo>
                    <a:pt x="203" y="203"/>
                  </a:lnTo>
                  <a:lnTo>
                    <a:pt x="207" y="203"/>
                  </a:lnTo>
                  <a:lnTo>
                    <a:pt x="203" y="203"/>
                  </a:lnTo>
                  <a:lnTo>
                    <a:pt x="203" y="199"/>
                  </a:lnTo>
                  <a:lnTo>
                    <a:pt x="203" y="19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4" name="Freeform 91"/>
            <p:cNvSpPr>
              <a:spLocks noEditPoints="1"/>
            </p:cNvSpPr>
            <p:nvPr>
              <p:custDataLst>
                <p:tags r:id="rId287"/>
              </p:custDataLst>
            </p:nvPr>
          </p:nvSpPr>
          <p:spPr bwMode="gray">
            <a:xfrm>
              <a:off x="4505088" y="2976449"/>
              <a:ext cx="207629" cy="261019"/>
            </a:xfrm>
            <a:custGeom>
              <a:avLst/>
              <a:gdLst/>
              <a:ahLst/>
              <a:cxnLst>
                <a:cxn ang="0">
                  <a:pos x="28" y="152"/>
                </a:cxn>
                <a:cxn ang="0">
                  <a:pos x="36" y="136"/>
                </a:cxn>
                <a:cxn ang="0">
                  <a:pos x="20" y="136"/>
                </a:cxn>
                <a:cxn ang="0">
                  <a:pos x="8" y="128"/>
                </a:cxn>
                <a:cxn ang="0">
                  <a:pos x="4" y="116"/>
                </a:cxn>
                <a:cxn ang="0">
                  <a:pos x="8" y="100"/>
                </a:cxn>
                <a:cxn ang="0">
                  <a:pos x="4" y="92"/>
                </a:cxn>
                <a:cxn ang="0">
                  <a:pos x="4" y="80"/>
                </a:cxn>
                <a:cxn ang="0">
                  <a:pos x="16" y="72"/>
                </a:cxn>
                <a:cxn ang="0">
                  <a:pos x="16" y="60"/>
                </a:cxn>
                <a:cxn ang="0">
                  <a:pos x="20" y="52"/>
                </a:cxn>
                <a:cxn ang="0">
                  <a:pos x="20" y="40"/>
                </a:cxn>
                <a:cxn ang="0">
                  <a:pos x="32" y="32"/>
                </a:cxn>
                <a:cxn ang="0">
                  <a:pos x="36" y="32"/>
                </a:cxn>
                <a:cxn ang="0">
                  <a:pos x="44" y="36"/>
                </a:cxn>
                <a:cxn ang="0">
                  <a:pos x="52" y="28"/>
                </a:cxn>
                <a:cxn ang="0">
                  <a:pos x="56" y="32"/>
                </a:cxn>
                <a:cxn ang="0">
                  <a:pos x="48" y="20"/>
                </a:cxn>
                <a:cxn ang="0">
                  <a:pos x="48" y="16"/>
                </a:cxn>
                <a:cxn ang="0">
                  <a:pos x="40" y="4"/>
                </a:cxn>
                <a:cxn ang="0">
                  <a:pos x="40" y="0"/>
                </a:cxn>
                <a:cxn ang="0">
                  <a:pos x="56" y="4"/>
                </a:cxn>
                <a:cxn ang="0">
                  <a:pos x="60" y="12"/>
                </a:cxn>
                <a:cxn ang="0">
                  <a:pos x="80" y="16"/>
                </a:cxn>
                <a:cxn ang="0">
                  <a:pos x="80" y="24"/>
                </a:cxn>
                <a:cxn ang="0">
                  <a:pos x="92" y="20"/>
                </a:cxn>
                <a:cxn ang="0">
                  <a:pos x="108" y="12"/>
                </a:cxn>
                <a:cxn ang="0">
                  <a:pos x="100" y="16"/>
                </a:cxn>
                <a:cxn ang="0">
                  <a:pos x="116" y="20"/>
                </a:cxn>
                <a:cxn ang="0">
                  <a:pos x="124" y="28"/>
                </a:cxn>
                <a:cxn ang="0">
                  <a:pos x="132" y="40"/>
                </a:cxn>
                <a:cxn ang="0">
                  <a:pos x="132" y="56"/>
                </a:cxn>
                <a:cxn ang="0">
                  <a:pos x="136" y="64"/>
                </a:cxn>
                <a:cxn ang="0">
                  <a:pos x="136" y="80"/>
                </a:cxn>
                <a:cxn ang="0">
                  <a:pos x="136" y="96"/>
                </a:cxn>
                <a:cxn ang="0">
                  <a:pos x="132" y="92"/>
                </a:cxn>
                <a:cxn ang="0">
                  <a:pos x="112" y="100"/>
                </a:cxn>
                <a:cxn ang="0">
                  <a:pos x="100" y="112"/>
                </a:cxn>
                <a:cxn ang="0">
                  <a:pos x="104" y="116"/>
                </a:cxn>
                <a:cxn ang="0">
                  <a:pos x="108" y="128"/>
                </a:cxn>
                <a:cxn ang="0">
                  <a:pos x="120" y="144"/>
                </a:cxn>
                <a:cxn ang="0">
                  <a:pos x="108" y="152"/>
                </a:cxn>
                <a:cxn ang="0">
                  <a:pos x="108" y="164"/>
                </a:cxn>
                <a:cxn ang="0">
                  <a:pos x="108" y="168"/>
                </a:cxn>
                <a:cxn ang="0">
                  <a:pos x="88" y="168"/>
                </a:cxn>
                <a:cxn ang="0">
                  <a:pos x="72" y="168"/>
                </a:cxn>
                <a:cxn ang="0">
                  <a:pos x="64" y="168"/>
                </a:cxn>
                <a:cxn ang="0">
                  <a:pos x="48" y="164"/>
                </a:cxn>
                <a:cxn ang="0">
                  <a:pos x="44" y="164"/>
                </a:cxn>
                <a:cxn ang="0">
                  <a:pos x="36" y="168"/>
                </a:cxn>
                <a:cxn ang="0">
                  <a:pos x="120" y="28"/>
                </a:cxn>
                <a:cxn ang="0">
                  <a:pos x="124" y="20"/>
                </a:cxn>
                <a:cxn ang="0">
                  <a:pos x="84" y="16"/>
                </a:cxn>
                <a:cxn ang="0">
                  <a:pos x="40" y="8"/>
                </a:cxn>
                <a:cxn ang="0">
                  <a:pos x="116" y="12"/>
                </a:cxn>
                <a:cxn ang="0">
                  <a:pos x="120" y="12"/>
                </a:cxn>
              </a:cxnLst>
              <a:rect l="0" t="0" r="r" b="b"/>
              <a:pathLst>
                <a:path w="140" h="176">
                  <a:moveTo>
                    <a:pt x="28" y="168"/>
                  </a:moveTo>
                  <a:lnTo>
                    <a:pt x="28" y="164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8" y="152"/>
                  </a:lnTo>
                  <a:lnTo>
                    <a:pt x="28" y="148"/>
                  </a:lnTo>
                  <a:lnTo>
                    <a:pt x="32" y="148"/>
                  </a:lnTo>
                  <a:lnTo>
                    <a:pt x="32" y="144"/>
                  </a:lnTo>
                  <a:lnTo>
                    <a:pt x="36" y="140"/>
                  </a:lnTo>
                  <a:lnTo>
                    <a:pt x="36" y="136"/>
                  </a:lnTo>
                  <a:lnTo>
                    <a:pt x="32" y="136"/>
                  </a:lnTo>
                  <a:lnTo>
                    <a:pt x="28" y="136"/>
                  </a:lnTo>
                  <a:lnTo>
                    <a:pt x="24" y="132"/>
                  </a:lnTo>
                  <a:lnTo>
                    <a:pt x="24" y="136"/>
                  </a:lnTo>
                  <a:lnTo>
                    <a:pt x="20" y="136"/>
                  </a:lnTo>
                  <a:lnTo>
                    <a:pt x="20" y="132"/>
                  </a:lnTo>
                  <a:lnTo>
                    <a:pt x="16" y="132"/>
                  </a:lnTo>
                  <a:lnTo>
                    <a:pt x="12" y="132"/>
                  </a:lnTo>
                  <a:lnTo>
                    <a:pt x="12" y="128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12" y="120"/>
                  </a:lnTo>
                  <a:lnTo>
                    <a:pt x="8" y="120"/>
                  </a:lnTo>
                  <a:lnTo>
                    <a:pt x="8" y="116"/>
                  </a:lnTo>
                  <a:lnTo>
                    <a:pt x="4" y="116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8" y="108"/>
                  </a:lnTo>
                  <a:lnTo>
                    <a:pt x="8" y="104"/>
                  </a:lnTo>
                  <a:lnTo>
                    <a:pt x="8" y="100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4" y="92"/>
                  </a:lnTo>
                  <a:lnTo>
                    <a:pt x="0" y="92"/>
                  </a:lnTo>
                  <a:lnTo>
                    <a:pt x="4" y="92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4" y="36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6" y="28"/>
                  </a:lnTo>
                  <a:lnTo>
                    <a:pt x="56" y="32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44" y="20"/>
                  </a:lnTo>
                  <a:lnTo>
                    <a:pt x="48" y="20"/>
                  </a:lnTo>
                  <a:lnTo>
                    <a:pt x="48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20"/>
                  </a:lnTo>
                  <a:lnTo>
                    <a:pt x="76" y="24"/>
                  </a:lnTo>
                  <a:lnTo>
                    <a:pt x="76" y="28"/>
                  </a:lnTo>
                  <a:lnTo>
                    <a:pt x="76" y="24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8" y="24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100" y="16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04" y="16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0" y="16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16" y="24"/>
                  </a:lnTo>
                  <a:lnTo>
                    <a:pt x="116" y="20"/>
                  </a:lnTo>
                  <a:lnTo>
                    <a:pt x="120" y="20"/>
                  </a:lnTo>
                  <a:lnTo>
                    <a:pt x="120" y="24"/>
                  </a:lnTo>
                  <a:lnTo>
                    <a:pt x="124" y="28"/>
                  </a:lnTo>
                  <a:lnTo>
                    <a:pt x="120" y="28"/>
                  </a:lnTo>
                  <a:lnTo>
                    <a:pt x="124" y="28"/>
                  </a:lnTo>
                  <a:lnTo>
                    <a:pt x="128" y="32"/>
                  </a:lnTo>
                  <a:lnTo>
                    <a:pt x="128" y="36"/>
                  </a:lnTo>
                  <a:lnTo>
                    <a:pt x="132" y="40"/>
                  </a:lnTo>
                  <a:lnTo>
                    <a:pt x="132" y="44"/>
                  </a:lnTo>
                  <a:lnTo>
                    <a:pt x="128" y="48"/>
                  </a:lnTo>
                  <a:lnTo>
                    <a:pt x="128" y="52"/>
                  </a:lnTo>
                  <a:lnTo>
                    <a:pt x="132" y="52"/>
                  </a:lnTo>
                  <a:lnTo>
                    <a:pt x="132" y="56"/>
                  </a:lnTo>
                  <a:lnTo>
                    <a:pt x="136" y="56"/>
                  </a:lnTo>
                  <a:lnTo>
                    <a:pt x="136" y="60"/>
                  </a:lnTo>
                  <a:lnTo>
                    <a:pt x="132" y="60"/>
                  </a:lnTo>
                  <a:lnTo>
                    <a:pt x="132" y="64"/>
                  </a:lnTo>
                  <a:lnTo>
                    <a:pt x="136" y="64"/>
                  </a:lnTo>
                  <a:lnTo>
                    <a:pt x="136" y="68"/>
                  </a:lnTo>
                  <a:lnTo>
                    <a:pt x="136" y="72"/>
                  </a:lnTo>
                  <a:lnTo>
                    <a:pt x="132" y="72"/>
                  </a:lnTo>
                  <a:lnTo>
                    <a:pt x="136" y="76"/>
                  </a:lnTo>
                  <a:lnTo>
                    <a:pt x="136" y="80"/>
                  </a:lnTo>
                  <a:lnTo>
                    <a:pt x="140" y="80"/>
                  </a:lnTo>
                  <a:lnTo>
                    <a:pt x="140" y="84"/>
                  </a:lnTo>
                  <a:lnTo>
                    <a:pt x="140" y="88"/>
                  </a:lnTo>
                  <a:lnTo>
                    <a:pt x="140" y="92"/>
                  </a:lnTo>
                  <a:lnTo>
                    <a:pt x="136" y="96"/>
                  </a:lnTo>
                  <a:lnTo>
                    <a:pt x="132" y="96"/>
                  </a:lnTo>
                  <a:lnTo>
                    <a:pt x="136" y="96"/>
                  </a:lnTo>
                  <a:lnTo>
                    <a:pt x="132" y="92"/>
                  </a:lnTo>
                  <a:lnTo>
                    <a:pt x="128" y="92"/>
                  </a:lnTo>
                  <a:lnTo>
                    <a:pt x="132" y="92"/>
                  </a:lnTo>
                  <a:lnTo>
                    <a:pt x="128" y="96"/>
                  </a:lnTo>
                  <a:lnTo>
                    <a:pt x="124" y="96"/>
                  </a:lnTo>
                  <a:lnTo>
                    <a:pt x="120" y="100"/>
                  </a:lnTo>
                  <a:lnTo>
                    <a:pt x="116" y="100"/>
                  </a:lnTo>
                  <a:lnTo>
                    <a:pt x="112" y="100"/>
                  </a:lnTo>
                  <a:lnTo>
                    <a:pt x="112" y="104"/>
                  </a:lnTo>
                  <a:lnTo>
                    <a:pt x="108" y="104"/>
                  </a:lnTo>
                  <a:lnTo>
                    <a:pt x="104" y="104"/>
                  </a:lnTo>
                  <a:lnTo>
                    <a:pt x="100" y="108"/>
                  </a:lnTo>
                  <a:lnTo>
                    <a:pt x="100" y="112"/>
                  </a:lnTo>
                  <a:lnTo>
                    <a:pt x="96" y="108"/>
                  </a:lnTo>
                  <a:lnTo>
                    <a:pt x="96" y="112"/>
                  </a:lnTo>
                  <a:lnTo>
                    <a:pt x="100" y="112"/>
                  </a:lnTo>
                  <a:lnTo>
                    <a:pt x="100" y="116"/>
                  </a:lnTo>
                  <a:lnTo>
                    <a:pt x="104" y="116"/>
                  </a:lnTo>
                  <a:lnTo>
                    <a:pt x="100" y="120"/>
                  </a:lnTo>
                  <a:lnTo>
                    <a:pt x="100" y="124"/>
                  </a:lnTo>
                  <a:lnTo>
                    <a:pt x="104" y="124"/>
                  </a:lnTo>
                  <a:lnTo>
                    <a:pt x="104" y="128"/>
                  </a:lnTo>
                  <a:lnTo>
                    <a:pt x="108" y="128"/>
                  </a:lnTo>
                  <a:lnTo>
                    <a:pt x="108" y="132"/>
                  </a:lnTo>
                  <a:lnTo>
                    <a:pt x="112" y="132"/>
                  </a:lnTo>
                  <a:lnTo>
                    <a:pt x="116" y="136"/>
                  </a:lnTo>
                  <a:lnTo>
                    <a:pt x="120" y="140"/>
                  </a:lnTo>
                  <a:lnTo>
                    <a:pt x="120" y="144"/>
                  </a:lnTo>
                  <a:lnTo>
                    <a:pt x="120" y="148"/>
                  </a:lnTo>
                  <a:lnTo>
                    <a:pt x="116" y="148"/>
                  </a:lnTo>
                  <a:lnTo>
                    <a:pt x="116" y="152"/>
                  </a:lnTo>
                  <a:lnTo>
                    <a:pt x="112" y="152"/>
                  </a:lnTo>
                  <a:lnTo>
                    <a:pt x="108" y="152"/>
                  </a:lnTo>
                  <a:lnTo>
                    <a:pt x="108" y="156"/>
                  </a:lnTo>
                  <a:lnTo>
                    <a:pt x="104" y="156"/>
                  </a:lnTo>
                  <a:lnTo>
                    <a:pt x="108" y="156"/>
                  </a:lnTo>
                  <a:lnTo>
                    <a:pt x="108" y="160"/>
                  </a:lnTo>
                  <a:lnTo>
                    <a:pt x="108" y="164"/>
                  </a:lnTo>
                  <a:lnTo>
                    <a:pt x="112" y="164"/>
                  </a:lnTo>
                  <a:lnTo>
                    <a:pt x="112" y="168"/>
                  </a:lnTo>
                  <a:lnTo>
                    <a:pt x="112" y="172"/>
                  </a:lnTo>
                  <a:lnTo>
                    <a:pt x="108" y="172"/>
                  </a:lnTo>
                  <a:lnTo>
                    <a:pt x="108" y="168"/>
                  </a:lnTo>
                  <a:lnTo>
                    <a:pt x="104" y="168"/>
                  </a:lnTo>
                  <a:lnTo>
                    <a:pt x="100" y="168"/>
                  </a:lnTo>
                  <a:lnTo>
                    <a:pt x="96" y="168"/>
                  </a:lnTo>
                  <a:lnTo>
                    <a:pt x="92" y="168"/>
                  </a:lnTo>
                  <a:lnTo>
                    <a:pt x="88" y="168"/>
                  </a:lnTo>
                  <a:lnTo>
                    <a:pt x="84" y="168"/>
                  </a:lnTo>
                  <a:lnTo>
                    <a:pt x="84" y="172"/>
                  </a:lnTo>
                  <a:lnTo>
                    <a:pt x="80" y="172"/>
                  </a:lnTo>
                  <a:lnTo>
                    <a:pt x="76" y="168"/>
                  </a:lnTo>
                  <a:lnTo>
                    <a:pt x="72" y="168"/>
                  </a:lnTo>
                  <a:lnTo>
                    <a:pt x="72" y="172"/>
                  </a:lnTo>
                  <a:lnTo>
                    <a:pt x="68" y="176"/>
                  </a:lnTo>
                  <a:lnTo>
                    <a:pt x="68" y="172"/>
                  </a:lnTo>
                  <a:lnTo>
                    <a:pt x="64" y="172"/>
                  </a:lnTo>
                  <a:lnTo>
                    <a:pt x="64" y="168"/>
                  </a:lnTo>
                  <a:lnTo>
                    <a:pt x="60" y="168"/>
                  </a:lnTo>
                  <a:lnTo>
                    <a:pt x="56" y="168"/>
                  </a:lnTo>
                  <a:lnTo>
                    <a:pt x="52" y="168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44" y="164"/>
                  </a:lnTo>
                  <a:lnTo>
                    <a:pt x="44" y="168"/>
                  </a:lnTo>
                  <a:lnTo>
                    <a:pt x="44" y="164"/>
                  </a:lnTo>
                  <a:lnTo>
                    <a:pt x="40" y="164"/>
                  </a:lnTo>
                  <a:lnTo>
                    <a:pt x="40" y="168"/>
                  </a:lnTo>
                  <a:lnTo>
                    <a:pt x="44" y="168"/>
                  </a:lnTo>
                  <a:lnTo>
                    <a:pt x="40" y="168"/>
                  </a:lnTo>
                  <a:lnTo>
                    <a:pt x="36" y="168"/>
                  </a:lnTo>
                  <a:lnTo>
                    <a:pt x="32" y="168"/>
                  </a:lnTo>
                  <a:lnTo>
                    <a:pt x="28" y="168"/>
                  </a:lnTo>
                  <a:close/>
                  <a:moveTo>
                    <a:pt x="128" y="28"/>
                  </a:moveTo>
                  <a:lnTo>
                    <a:pt x="124" y="28"/>
                  </a:lnTo>
                  <a:lnTo>
                    <a:pt x="120" y="28"/>
                  </a:lnTo>
                  <a:lnTo>
                    <a:pt x="124" y="28"/>
                  </a:lnTo>
                  <a:lnTo>
                    <a:pt x="124" y="24"/>
                  </a:lnTo>
                  <a:lnTo>
                    <a:pt x="120" y="24"/>
                  </a:lnTo>
                  <a:lnTo>
                    <a:pt x="120" y="20"/>
                  </a:lnTo>
                  <a:lnTo>
                    <a:pt x="124" y="20"/>
                  </a:lnTo>
                  <a:lnTo>
                    <a:pt x="124" y="24"/>
                  </a:lnTo>
                  <a:lnTo>
                    <a:pt x="128" y="24"/>
                  </a:lnTo>
                  <a:lnTo>
                    <a:pt x="128" y="28"/>
                  </a:lnTo>
                  <a:close/>
                  <a:moveTo>
                    <a:pt x="84" y="12"/>
                  </a:moveTo>
                  <a:lnTo>
                    <a:pt x="84" y="16"/>
                  </a:lnTo>
                  <a:lnTo>
                    <a:pt x="80" y="16"/>
                  </a:lnTo>
                  <a:lnTo>
                    <a:pt x="80" y="12"/>
                  </a:lnTo>
                  <a:lnTo>
                    <a:pt x="84" y="12"/>
                  </a:lnTo>
                  <a:close/>
                  <a:moveTo>
                    <a:pt x="44" y="8"/>
                  </a:moveTo>
                  <a:lnTo>
                    <a:pt x="40" y="8"/>
                  </a:lnTo>
                  <a:lnTo>
                    <a:pt x="44" y="8"/>
                  </a:lnTo>
                  <a:close/>
                  <a:moveTo>
                    <a:pt x="112" y="20"/>
                  </a:moveTo>
                  <a:lnTo>
                    <a:pt x="112" y="16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12" y="12"/>
                  </a:lnTo>
                  <a:lnTo>
                    <a:pt x="112" y="8"/>
                  </a:lnTo>
                  <a:lnTo>
                    <a:pt x="116" y="8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16" y="16"/>
                  </a:lnTo>
                  <a:lnTo>
                    <a:pt x="116" y="20"/>
                  </a:lnTo>
                  <a:lnTo>
                    <a:pt x="112" y="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5" name="Freeform 92"/>
            <p:cNvSpPr>
              <a:spLocks noEditPoints="1"/>
            </p:cNvSpPr>
            <p:nvPr>
              <p:custDataLst>
                <p:tags r:id="rId288"/>
              </p:custDataLst>
            </p:nvPr>
          </p:nvSpPr>
          <p:spPr bwMode="gray">
            <a:xfrm>
              <a:off x="4819497" y="3408020"/>
              <a:ext cx="188349" cy="207629"/>
            </a:xfrm>
            <a:custGeom>
              <a:avLst/>
              <a:gdLst/>
              <a:ahLst/>
              <a:cxnLst>
                <a:cxn ang="0">
                  <a:pos x="12" y="52"/>
                </a:cxn>
                <a:cxn ang="0">
                  <a:pos x="8" y="44"/>
                </a:cxn>
                <a:cxn ang="0">
                  <a:pos x="20" y="24"/>
                </a:cxn>
                <a:cxn ang="0">
                  <a:pos x="40" y="12"/>
                </a:cxn>
                <a:cxn ang="0">
                  <a:pos x="56" y="8"/>
                </a:cxn>
                <a:cxn ang="0">
                  <a:pos x="76" y="8"/>
                </a:cxn>
                <a:cxn ang="0">
                  <a:pos x="96" y="12"/>
                </a:cxn>
                <a:cxn ang="0">
                  <a:pos x="104" y="8"/>
                </a:cxn>
                <a:cxn ang="0">
                  <a:pos x="96" y="20"/>
                </a:cxn>
                <a:cxn ang="0">
                  <a:pos x="72" y="16"/>
                </a:cxn>
                <a:cxn ang="0">
                  <a:pos x="60" y="24"/>
                </a:cxn>
                <a:cxn ang="0">
                  <a:pos x="68" y="32"/>
                </a:cxn>
                <a:cxn ang="0">
                  <a:pos x="56" y="32"/>
                </a:cxn>
                <a:cxn ang="0">
                  <a:pos x="52" y="32"/>
                </a:cxn>
                <a:cxn ang="0">
                  <a:pos x="48" y="44"/>
                </a:cxn>
                <a:cxn ang="0">
                  <a:pos x="48" y="56"/>
                </a:cxn>
                <a:cxn ang="0">
                  <a:pos x="44" y="60"/>
                </a:cxn>
                <a:cxn ang="0">
                  <a:pos x="52" y="64"/>
                </a:cxn>
                <a:cxn ang="0">
                  <a:pos x="60" y="72"/>
                </a:cxn>
                <a:cxn ang="0">
                  <a:pos x="60" y="84"/>
                </a:cxn>
                <a:cxn ang="0">
                  <a:pos x="52" y="84"/>
                </a:cxn>
                <a:cxn ang="0">
                  <a:pos x="44" y="92"/>
                </a:cxn>
                <a:cxn ang="0">
                  <a:pos x="48" y="108"/>
                </a:cxn>
                <a:cxn ang="0">
                  <a:pos x="40" y="108"/>
                </a:cxn>
                <a:cxn ang="0">
                  <a:pos x="28" y="100"/>
                </a:cxn>
                <a:cxn ang="0">
                  <a:pos x="20" y="80"/>
                </a:cxn>
                <a:cxn ang="0">
                  <a:pos x="36" y="76"/>
                </a:cxn>
                <a:cxn ang="0">
                  <a:pos x="48" y="76"/>
                </a:cxn>
                <a:cxn ang="0">
                  <a:pos x="32" y="72"/>
                </a:cxn>
                <a:cxn ang="0">
                  <a:pos x="16" y="60"/>
                </a:cxn>
                <a:cxn ang="0">
                  <a:pos x="76" y="24"/>
                </a:cxn>
                <a:cxn ang="0">
                  <a:pos x="84" y="40"/>
                </a:cxn>
                <a:cxn ang="0">
                  <a:pos x="0" y="40"/>
                </a:cxn>
                <a:cxn ang="0">
                  <a:pos x="0" y="44"/>
                </a:cxn>
                <a:cxn ang="0">
                  <a:pos x="96" y="56"/>
                </a:cxn>
                <a:cxn ang="0">
                  <a:pos x="64" y="72"/>
                </a:cxn>
                <a:cxn ang="0">
                  <a:pos x="52" y="60"/>
                </a:cxn>
                <a:cxn ang="0">
                  <a:pos x="68" y="68"/>
                </a:cxn>
                <a:cxn ang="0">
                  <a:pos x="68" y="72"/>
                </a:cxn>
                <a:cxn ang="0">
                  <a:pos x="16" y="64"/>
                </a:cxn>
                <a:cxn ang="0">
                  <a:pos x="92" y="76"/>
                </a:cxn>
                <a:cxn ang="0">
                  <a:pos x="16" y="72"/>
                </a:cxn>
                <a:cxn ang="0">
                  <a:pos x="16" y="76"/>
                </a:cxn>
                <a:cxn ang="0">
                  <a:pos x="76" y="84"/>
                </a:cxn>
                <a:cxn ang="0">
                  <a:pos x="12" y="80"/>
                </a:cxn>
                <a:cxn ang="0">
                  <a:pos x="108" y="84"/>
                </a:cxn>
                <a:cxn ang="0">
                  <a:pos x="100" y="84"/>
                </a:cxn>
                <a:cxn ang="0">
                  <a:pos x="68" y="88"/>
                </a:cxn>
                <a:cxn ang="0">
                  <a:pos x="72" y="92"/>
                </a:cxn>
                <a:cxn ang="0">
                  <a:pos x="88" y="100"/>
                </a:cxn>
                <a:cxn ang="0">
                  <a:pos x="108" y="96"/>
                </a:cxn>
                <a:cxn ang="0">
                  <a:pos x="112" y="100"/>
                </a:cxn>
                <a:cxn ang="0">
                  <a:pos x="84" y="104"/>
                </a:cxn>
                <a:cxn ang="0">
                  <a:pos x="127" y="112"/>
                </a:cxn>
                <a:cxn ang="0">
                  <a:pos x="127" y="112"/>
                </a:cxn>
                <a:cxn ang="0">
                  <a:pos x="112" y="124"/>
                </a:cxn>
                <a:cxn ang="0">
                  <a:pos x="64" y="128"/>
                </a:cxn>
                <a:cxn ang="0">
                  <a:pos x="84" y="132"/>
                </a:cxn>
                <a:cxn ang="0">
                  <a:pos x="100" y="140"/>
                </a:cxn>
                <a:cxn ang="0">
                  <a:pos x="72" y="136"/>
                </a:cxn>
              </a:cxnLst>
              <a:rect l="0" t="0" r="r" b="b"/>
              <a:pathLst>
                <a:path w="127" h="140">
                  <a:moveTo>
                    <a:pt x="20" y="56"/>
                  </a:moveTo>
                  <a:lnTo>
                    <a:pt x="20" y="60"/>
                  </a:lnTo>
                  <a:lnTo>
                    <a:pt x="16" y="56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12"/>
                  </a:lnTo>
                  <a:lnTo>
                    <a:pt x="48" y="8"/>
                  </a:lnTo>
                  <a:lnTo>
                    <a:pt x="52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92" y="8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8"/>
                  </a:lnTo>
                  <a:lnTo>
                    <a:pt x="96" y="4"/>
                  </a:lnTo>
                  <a:lnTo>
                    <a:pt x="96" y="0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4" y="4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0" y="12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96" y="20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2" y="20"/>
                  </a:lnTo>
                  <a:lnTo>
                    <a:pt x="88" y="20"/>
                  </a:lnTo>
                  <a:lnTo>
                    <a:pt x="84" y="20"/>
                  </a:lnTo>
                  <a:lnTo>
                    <a:pt x="80" y="16"/>
                  </a:lnTo>
                  <a:lnTo>
                    <a:pt x="76" y="20"/>
                  </a:lnTo>
                  <a:lnTo>
                    <a:pt x="72" y="20"/>
                  </a:lnTo>
                  <a:lnTo>
                    <a:pt x="72" y="16"/>
                  </a:lnTo>
                  <a:lnTo>
                    <a:pt x="72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0" y="20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8" y="32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68" y="36"/>
                  </a:lnTo>
                  <a:lnTo>
                    <a:pt x="68" y="32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60" y="36"/>
                  </a:lnTo>
                  <a:lnTo>
                    <a:pt x="60" y="40"/>
                  </a:lnTo>
                  <a:lnTo>
                    <a:pt x="56" y="40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52" y="32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8" y="44"/>
                  </a:lnTo>
                  <a:lnTo>
                    <a:pt x="48" y="48"/>
                  </a:lnTo>
                  <a:lnTo>
                    <a:pt x="52" y="48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52" y="64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84"/>
                  </a:lnTo>
                  <a:lnTo>
                    <a:pt x="60" y="84"/>
                  </a:lnTo>
                  <a:lnTo>
                    <a:pt x="56" y="80"/>
                  </a:lnTo>
                  <a:lnTo>
                    <a:pt x="60" y="80"/>
                  </a:lnTo>
                  <a:lnTo>
                    <a:pt x="56" y="80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84"/>
                  </a:lnTo>
                  <a:lnTo>
                    <a:pt x="52" y="84"/>
                  </a:lnTo>
                  <a:lnTo>
                    <a:pt x="52" y="88"/>
                  </a:lnTo>
                  <a:lnTo>
                    <a:pt x="56" y="88"/>
                  </a:lnTo>
                  <a:lnTo>
                    <a:pt x="56" y="92"/>
                  </a:lnTo>
                  <a:lnTo>
                    <a:pt x="52" y="92"/>
                  </a:lnTo>
                  <a:lnTo>
                    <a:pt x="48" y="88"/>
                  </a:lnTo>
                  <a:lnTo>
                    <a:pt x="44" y="88"/>
                  </a:lnTo>
                  <a:lnTo>
                    <a:pt x="44" y="92"/>
                  </a:lnTo>
                  <a:lnTo>
                    <a:pt x="48" y="92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48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8"/>
                  </a:lnTo>
                  <a:lnTo>
                    <a:pt x="52" y="108"/>
                  </a:lnTo>
                  <a:lnTo>
                    <a:pt x="52" y="112"/>
                  </a:lnTo>
                  <a:lnTo>
                    <a:pt x="48" y="108"/>
                  </a:lnTo>
                  <a:lnTo>
                    <a:pt x="44" y="104"/>
                  </a:lnTo>
                  <a:lnTo>
                    <a:pt x="40" y="108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0" y="104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32" y="100"/>
                  </a:lnTo>
                  <a:lnTo>
                    <a:pt x="32" y="104"/>
                  </a:lnTo>
                  <a:lnTo>
                    <a:pt x="28" y="104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28" y="92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8" y="76"/>
                  </a:lnTo>
                  <a:lnTo>
                    <a:pt x="28" y="72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36" y="76"/>
                  </a:lnTo>
                  <a:lnTo>
                    <a:pt x="40" y="76"/>
                  </a:lnTo>
                  <a:lnTo>
                    <a:pt x="44" y="76"/>
                  </a:lnTo>
                  <a:lnTo>
                    <a:pt x="44" y="80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40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28" y="72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0" y="56"/>
                  </a:lnTo>
                  <a:close/>
                  <a:moveTo>
                    <a:pt x="76" y="24"/>
                  </a:moveTo>
                  <a:lnTo>
                    <a:pt x="72" y="24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24"/>
                  </a:lnTo>
                  <a:close/>
                  <a:moveTo>
                    <a:pt x="88" y="28"/>
                  </a:moveTo>
                  <a:lnTo>
                    <a:pt x="92" y="28"/>
                  </a:lnTo>
                  <a:lnTo>
                    <a:pt x="88" y="28"/>
                  </a:lnTo>
                  <a:close/>
                  <a:moveTo>
                    <a:pt x="88" y="36"/>
                  </a:moveTo>
                  <a:lnTo>
                    <a:pt x="84" y="40"/>
                  </a:lnTo>
                  <a:lnTo>
                    <a:pt x="84" y="44"/>
                  </a:lnTo>
                  <a:lnTo>
                    <a:pt x="84" y="40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36"/>
                  </a:lnTo>
                  <a:lnTo>
                    <a:pt x="88" y="36"/>
                  </a:lnTo>
                  <a:close/>
                  <a:moveTo>
                    <a:pt x="0" y="40"/>
                  </a:moveTo>
                  <a:lnTo>
                    <a:pt x="4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8"/>
                  </a:lnTo>
                  <a:lnTo>
                    <a:pt x="4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0"/>
                  </a:lnTo>
                  <a:close/>
                  <a:moveTo>
                    <a:pt x="100" y="52"/>
                  </a:moveTo>
                  <a:lnTo>
                    <a:pt x="104" y="56"/>
                  </a:lnTo>
                  <a:lnTo>
                    <a:pt x="104" y="60"/>
                  </a:lnTo>
                  <a:lnTo>
                    <a:pt x="100" y="60"/>
                  </a:lnTo>
                  <a:lnTo>
                    <a:pt x="96" y="60"/>
                  </a:lnTo>
                  <a:lnTo>
                    <a:pt x="96" y="56"/>
                  </a:lnTo>
                  <a:lnTo>
                    <a:pt x="100" y="56"/>
                  </a:lnTo>
                  <a:lnTo>
                    <a:pt x="96" y="56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96" y="52"/>
                  </a:lnTo>
                  <a:lnTo>
                    <a:pt x="100" y="52"/>
                  </a:lnTo>
                  <a:close/>
                  <a:moveTo>
                    <a:pt x="64" y="72"/>
                  </a:moveTo>
                  <a:lnTo>
                    <a:pt x="60" y="72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52" y="60"/>
                  </a:lnTo>
                  <a:lnTo>
                    <a:pt x="48" y="60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4" y="72"/>
                  </a:lnTo>
                  <a:close/>
                  <a:moveTo>
                    <a:pt x="72" y="64"/>
                  </a:moveTo>
                  <a:lnTo>
                    <a:pt x="72" y="60"/>
                  </a:lnTo>
                  <a:lnTo>
                    <a:pt x="76" y="64"/>
                  </a:lnTo>
                  <a:lnTo>
                    <a:pt x="72" y="64"/>
                  </a:lnTo>
                  <a:close/>
                  <a:moveTo>
                    <a:pt x="16" y="60"/>
                  </a:moveTo>
                  <a:lnTo>
                    <a:pt x="16" y="64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6" y="60"/>
                  </a:lnTo>
                  <a:close/>
                  <a:moveTo>
                    <a:pt x="96" y="76"/>
                  </a:moveTo>
                  <a:lnTo>
                    <a:pt x="92" y="76"/>
                  </a:lnTo>
                  <a:lnTo>
                    <a:pt x="92" y="72"/>
                  </a:lnTo>
                  <a:lnTo>
                    <a:pt x="96" y="72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96" y="76"/>
                  </a:lnTo>
                  <a:close/>
                  <a:moveTo>
                    <a:pt x="16" y="72"/>
                  </a:moveTo>
                  <a:lnTo>
                    <a:pt x="12" y="72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72"/>
                  </a:lnTo>
                  <a:close/>
                  <a:moveTo>
                    <a:pt x="12" y="68"/>
                  </a:moveTo>
                  <a:lnTo>
                    <a:pt x="12" y="72"/>
                  </a:lnTo>
                  <a:lnTo>
                    <a:pt x="16" y="76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68"/>
                  </a:lnTo>
                  <a:close/>
                  <a:moveTo>
                    <a:pt x="80" y="84"/>
                  </a:moveTo>
                  <a:lnTo>
                    <a:pt x="76" y="84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84"/>
                  </a:lnTo>
                  <a:close/>
                  <a:moveTo>
                    <a:pt x="16" y="88"/>
                  </a:moveTo>
                  <a:lnTo>
                    <a:pt x="16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84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6" y="88"/>
                  </a:lnTo>
                  <a:close/>
                  <a:moveTo>
                    <a:pt x="108" y="88"/>
                  </a:moveTo>
                  <a:lnTo>
                    <a:pt x="108" y="84"/>
                  </a:lnTo>
                  <a:lnTo>
                    <a:pt x="104" y="84"/>
                  </a:lnTo>
                  <a:lnTo>
                    <a:pt x="108" y="84"/>
                  </a:lnTo>
                  <a:lnTo>
                    <a:pt x="112" y="84"/>
                  </a:lnTo>
                  <a:lnTo>
                    <a:pt x="108" y="84"/>
                  </a:lnTo>
                  <a:lnTo>
                    <a:pt x="108" y="88"/>
                  </a:lnTo>
                  <a:close/>
                  <a:moveTo>
                    <a:pt x="96" y="88"/>
                  </a:moveTo>
                  <a:lnTo>
                    <a:pt x="100" y="84"/>
                  </a:lnTo>
                  <a:lnTo>
                    <a:pt x="100" y="88"/>
                  </a:lnTo>
                  <a:lnTo>
                    <a:pt x="96" y="88"/>
                  </a:lnTo>
                  <a:close/>
                  <a:moveTo>
                    <a:pt x="68" y="88"/>
                  </a:moveTo>
                  <a:lnTo>
                    <a:pt x="68" y="84"/>
                  </a:lnTo>
                  <a:lnTo>
                    <a:pt x="72" y="84"/>
                  </a:lnTo>
                  <a:lnTo>
                    <a:pt x="72" y="88"/>
                  </a:lnTo>
                  <a:lnTo>
                    <a:pt x="68" y="88"/>
                  </a:lnTo>
                  <a:close/>
                  <a:moveTo>
                    <a:pt x="80" y="84"/>
                  </a:moveTo>
                  <a:lnTo>
                    <a:pt x="80" y="88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80" y="84"/>
                  </a:lnTo>
                  <a:close/>
                  <a:moveTo>
                    <a:pt x="72" y="88"/>
                  </a:moveTo>
                  <a:lnTo>
                    <a:pt x="72" y="92"/>
                  </a:lnTo>
                  <a:lnTo>
                    <a:pt x="68" y="92"/>
                  </a:lnTo>
                  <a:lnTo>
                    <a:pt x="72" y="92"/>
                  </a:lnTo>
                  <a:lnTo>
                    <a:pt x="72" y="88"/>
                  </a:lnTo>
                  <a:close/>
                  <a:moveTo>
                    <a:pt x="88" y="100"/>
                  </a:moveTo>
                  <a:lnTo>
                    <a:pt x="84" y="96"/>
                  </a:lnTo>
                  <a:lnTo>
                    <a:pt x="88" y="96"/>
                  </a:lnTo>
                  <a:lnTo>
                    <a:pt x="88" y="100"/>
                  </a:lnTo>
                  <a:close/>
                  <a:moveTo>
                    <a:pt x="84" y="100"/>
                  </a:moveTo>
                  <a:lnTo>
                    <a:pt x="80" y="100"/>
                  </a:lnTo>
                  <a:lnTo>
                    <a:pt x="80" y="96"/>
                  </a:lnTo>
                  <a:lnTo>
                    <a:pt x="84" y="96"/>
                  </a:lnTo>
                  <a:lnTo>
                    <a:pt x="84" y="100"/>
                  </a:lnTo>
                  <a:close/>
                  <a:moveTo>
                    <a:pt x="108" y="100"/>
                  </a:moveTo>
                  <a:lnTo>
                    <a:pt x="108" y="96"/>
                  </a:lnTo>
                  <a:lnTo>
                    <a:pt x="108" y="100"/>
                  </a:lnTo>
                  <a:lnTo>
                    <a:pt x="112" y="100"/>
                  </a:lnTo>
                  <a:lnTo>
                    <a:pt x="108" y="100"/>
                  </a:lnTo>
                  <a:close/>
                  <a:moveTo>
                    <a:pt x="108" y="108"/>
                  </a:moveTo>
                  <a:lnTo>
                    <a:pt x="108" y="104"/>
                  </a:lnTo>
                  <a:lnTo>
                    <a:pt x="112" y="104"/>
                  </a:lnTo>
                  <a:lnTo>
                    <a:pt x="112" y="100"/>
                  </a:lnTo>
                  <a:lnTo>
                    <a:pt x="116" y="100"/>
                  </a:lnTo>
                  <a:lnTo>
                    <a:pt x="116" y="104"/>
                  </a:lnTo>
                  <a:lnTo>
                    <a:pt x="112" y="104"/>
                  </a:lnTo>
                  <a:lnTo>
                    <a:pt x="108" y="104"/>
                  </a:lnTo>
                  <a:lnTo>
                    <a:pt x="108" y="108"/>
                  </a:lnTo>
                  <a:close/>
                  <a:moveTo>
                    <a:pt x="84" y="108"/>
                  </a:moveTo>
                  <a:lnTo>
                    <a:pt x="84" y="104"/>
                  </a:lnTo>
                  <a:lnTo>
                    <a:pt x="84" y="108"/>
                  </a:lnTo>
                  <a:close/>
                  <a:moveTo>
                    <a:pt x="68" y="108"/>
                  </a:moveTo>
                  <a:lnTo>
                    <a:pt x="68" y="104"/>
                  </a:lnTo>
                  <a:lnTo>
                    <a:pt x="72" y="104"/>
                  </a:lnTo>
                  <a:lnTo>
                    <a:pt x="72" y="108"/>
                  </a:lnTo>
                  <a:lnTo>
                    <a:pt x="68" y="108"/>
                  </a:lnTo>
                  <a:close/>
                  <a:moveTo>
                    <a:pt x="127" y="112"/>
                  </a:moveTo>
                  <a:lnTo>
                    <a:pt x="127" y="116"/>
                  </a:lnTo>
                  <a:lnTo>
                    <a:pt x="124" y="120"/>
                  </a:lnTo>
                  <a:lnTo>
                    <a:pt x="120" y="120"/>
                  </a:lnTo>
                  <a:lnTo>
                    <a:pt x="120" y="116"/>
                  </a:lnTo>
                  <a:lnTo>
                    <a:pt x="124" y="116"/>
                  </a:lnTo>
                  <a:lnTo>
                    <a:pt x="124" y="112"/>
                  </a:lnTo>
                  <a:lnTo>
                    <a:pt x="127" y="112"/>
                  </a:lnTo>
                  <a:close/>
                  <a:moveTo>
                    <a:pt x="48" y="112"/>
                  </a:moveTo>
                  <a:lnTo>
                    <a:pt x="52" y="116"/>
                  </a:lnTo>
                  <a:lnTo>
                    <a:pt x="48" y="116"/>
                  </a:lnTo>
                  <a:lnTo>
                    <a:pt x="48" y="112"/>
                  </a:lnTo>
                  <a:close/>
                  <a:moveTo>
                    <a:pt x="112" y="132"/>
                  </a:moveTo>
                  <a:lnTo>
                    <a:pt x="112" y="128"/>
                  </a:lnTo>
                  <a:lnTo>
                    <a:pt x="112" y="124"/>
                  </a:lnTo>
                  <a:lnTo>
                    <a:pt x="112" y="128"/>
                  </a:lnTo>
                  <a:lnTo>
                    <a:pt x="112" y="132"/>
                  </a:lnTo>
                  <a:close/>
                  <a:moveTo>
                    <a:pt x="60" y="136"/>
                  </a:moveTo>
                  <a:lnTo>
                    <a:pt x="56" y="136"/>
                  </a:lnTo>
                  <a:lnTo>
                    <a:pt x="56" y="128"/>
                  </a:lnTo>
                  <a:lnTo>
                    <a:pt x="60" y="128"/>
                  </a:lnTo>
                  <a:lnTo>
                    <a:pt x="64" y="128"/>
                  </a:lnTo>
                  <a:lnTo>
                    <a:pt x="68" y="128"/>
                  </a:lnTo>
                  <a:lnTo>
                    <a:pt x="64" y="132"/>
                  </a:lnTo>
                  <a:lnTo>
                    <a:pt x="68" y="132"/>
                  </a:lnTo>
                  <a:lnTo>
                    <a:pt x="72" y="132"/>
                  </a:lnTo>
                  <a:lnTo>
                    <a:pt x="76" y="132"/>
                  </a:lnTo>
                  <a:lnTo>
                    <a:pt x="80" y="132"/>
                  </a:lnTo>
                  <a:lnTo>
                    <a:pt x="84" y="132"/>
                  </a:lnTo>
                  <a:lnTo>
                    <a:pt x="88" y="136"/>
                  </a:lnTo>
                  <a:lnTo>
                    <a:pt x="88" y="132"/>
                  </a:lnTo>
                  <a:lnTo>
                    <a:pt x="92" y="132"/>
                  </a:lnTo>
                  <a:lnTo>
                    <a:pt x="92" y="136"/>
                  </a:lnTo>
                  <a:lnTo>
                    <a:pt x="96" y="136"/>
                  </a:lnTo>
                  <a:lnTo>
                    <a:pt x="100" y="136"/>
                  </a:lnTo>
                  <a:lnTo>
                    <a:pt x="100" y="140"/>
                  </a:lnTo>
                  <a:lnTo>
                    <a:pt x="96" y="140"/>
                  </a:lnTo>
                  <a:lnTo>
                    <a:pt x="88" y="140"/>
                  </a:lnTo>
                  <a:lnTo>
                    <a:pt x="84" y="140"/>
                  </a:lnTo>
                  <a:lnTo>
                    <a:pt x="80" y="140"/>
                  </a:lnTo>
                  <a:lnTo>
                    <a:pt x="76" y="140"/>
                  </a:lnTo>
                  <a:lnTo>
                    <a:pt x="72" y="140"/>
                  </a:lnTo>
                  <a:lnTo>
                    <a:pt x="72" y="136"/>
                  </a:lnTo>
                  <a:lnTo>
                    <a:pt x="68" y="136"/>
                  </a:lnTo>
                  <a:lnTo>
                    <a:pt x="64" y="136"/>
                  </a:lnTo>
                  <a:lnTo>
                    <a:pt x="60" y="1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6" name="Freeform 93"/>
            <p:cNvSpPr>
              <a:spLocks/>
            </p:cNvSpPr>
            <p:nvPr>
              <p:custDataLst>
                <p:tags r:id="rId289"/>
              </p:custDataLst>
            </p:nvPr>
          </p:nvSpPr>
          <p:spPr bwMode="gray">
            <a:xfrm>
              <a:off x="4316738" y="3160349"/>
              <a:ext cx="5932" cy="5932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7" name="Freeform 94"/>
            <p:cNvSpPr>
              <a:spLocks/>
            </p:cNvSpPr>
            <p:nvPr>
              <p:custDataLst>
                <p:tags r:id="rId290"/>
              </p:custDataLst>
            </p:nvPr>
          </p:nvSpPr>
          <p:spPr bwMode="gray">
            <a:xfrm>
              <a:off x="4736446" y="3195942"/>
              <a:ext cx="154239" cy="88984"/>
            </a:xfrm>
            <a:custGeom>
              <a:avLst/>
              <a:gdLst/>
              <a:ahLst/>
              <a:cxnLst>
                <a:cxn ang="0">
                  <a:pos x="80" y="44"/>
                </a:cxn>
                <a:cxn ang="0">
                  <a:pos x="76" y="48"/>
                </a:cxn>
                <a:cxn ang="0">
                  <a:pos x="72" y="48"/>
                </a:cxn>
                <a:cxn ang="0">
                  <a:pos x="72" y="48"/>
                </a:cxn>
                <a:cxn ang="0">
                  <a:pos x="68" y="52"/>
                </a:cxn>
                <a:cxn ang="0">
                  <a:pos x="64" y="52"/>
                </a:cxn>
                <a:cxn ang="0">
                  <a:pos x="60" y="52"/>
                </a:cxn>
                <a:cxn ang="0">
                  <a:pos x="56" y="52"/>
                </a:cxn>
                <a:cxn ang="0">
                  <a:pos x="48" y="56"/>
                </a:cxn>
                <a:cxn ang="0">
                  <a:pos x="44" y="56"/>
                </a:cxn>
                <a:cxn ang="0">
                  <a:pos x="40" y="56"/>
                </a:cxn>
                <a:cxn ang="0">
                  <a:pos x="36" y="60"/>
                </a:cxn>
                <a:cxn ang="0">
                  <a:pos x="32" y="60"/>
                </a:cxn>
                <a:cxn ang="0">
                  <a:pos x="24" y="56"/>
                </a:cxn>
                <a:cxn ang="0">
                  <a:pos x="20" y="56"/>
                </a:cxn>
                <a:cxn ang="0">
                  <a:pos x="16" y="52"/>
                </a:cxn>
                <a:cxn ang="0">
                  <a:pos x="12" y="48"/>
                </a:cxn>
                <a:cxn ang="0">
                  <a:pos x="12" y="48"/>
                </a:cxn>
                <a:cxn ang="0">
                  <a:pos x="8" y="44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0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12" y="16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8" y="16"/>
                </a:cxn>
                <a:cxn ang="0">
                  <a:pos x="36" y="16"/>
                </a:cxn>
                <a:cxn ang="0">
                  <a:pos x="40" y="16"/>
                </a:cxn>
                <a:cxn ang="0">
                  <a:pos x="40" y="16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52" y="8"/>
                </a:cxn>
                <a:cxn ang="0">
                  <a:pos x="60" y="8"/>
                </a:cxn>
                <a:cxn ang="0">
                  <a:pos x="60" y="8"/>
                </a:cxn>
                <a:cxn ang="0">
                  <a:pos x="64" y="4"/>
                </a:cxn>
                <a:cxn ang="0">
                  <a:pos x="68" y="0"/>
                </a:cxn>
                <a:cxn ang="0">
                  <a:pos x="72" y="0"/>
                </a:cxn>
                <a:cxn ang="0">
                  <a:pos x="76" y="0"/>
                </a:cxn>
                <a:cxn ang="0">
                  <a:pos x="84" y="0"/>
                </a:cxn>
                <a:cxn ang="0">
                  <a:pos x="88" y="4"/>
                </a:cxn>
                <a:cxn ang="0">
                  <a:pos x="92" y="4"/>
                </a:cxn>
                <a:cxn ang="0">
                  <a:pos x="92" y="0"/>
                </a:cxn>
                <a:cxn ang="0">
                  <a:pos x="96" y="4"/>
                </a:cxn>
                <a:cxn ang="0">
                  <a:pos x="100" y="8"/>
                </a:cxn>
                <a:cxn ang="0">
                  <a:pos x="104" y="8"/>
                </a:cxn>
                <a:cxn ang="0">
                  <a:pos x="100" y="16"/>
                </a:cxn>
                <a:cxn ang="0">
                  <a:pos x="96" y="16"/>
                </a:cxn>
                <a:cxn ang="0">
                  <a:pos x="92" y="20"/>
                </a:cxn>
                <a:cxn ang="0">
                  <a:pos x="92" y="20"/>
                </a:cxn>
                <a:cxn ang="0">
                  <a:pos x="92" y="24"/>
                </a:cxn>
                <a:cxn ang="0">
                  <a:pos x="88" y="28"/>
                </a:cxn>
                <a:cxn ang="0">
                  <a:pos x="84" y="32"/>
                </a:cxn>
                <a:cxn ang="0">
                  <a:pos x="84" y="36"/>
                </a:cxn>
              </a:cxnLst>
              <a:rect l="0" t="0" r="r" b="b"/>
              <a:pathLst>
                <a:path w="104" h="60">
                  <a:moveTo>
                    <a:pt x="84" y="40"/>
                  </a:move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4" y="60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0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8" name="Freeform 95"/>
            <p:cNvSpPr>
              <a:spLocks/>
            </p:cNvSpPr>
            <p:nvPr>
              <p:custDataLst>
                <p:tags r:id="rId291"/>
              </p:custDataLst>
            </p:nvPr>
          </p:nvSpPr>
          <p:spPr bwMode="gray">
            <a:xfrm>
              <a:off x="3825844" y="2556741"/>
              <a:ext cx="247671" cy="118645"/>
            </a:xfrm>
            <a:custGeom>
              <a:avLst/>
              <a:gdLst/>
              <a:ahLst/>
              <a:cxnLst>
                <a:cxn ang="0">
                  <a:pos x="40" y="52"/>
                </a:cxn>
                <a:cxn ang="0">
                  <a:pos x="32" y="48"/>
                </a:cxn>
                <a:cxn ang="0">
                  <a:pos x="16" y="44"/>
                </a:cxn>
                <a:cxn ang="0">
                  <a:pos x="16" y="44"/>
                </a:cxn>
                <a:cxn ang="0">
                  <a:pos x="32" y="40"/>
                </a:cxn>
                <a:cxn ang="0">
                  <a:pos x="36" y="36"/>
                </a:cxn>
                <a:cxn ang="0">
                  <a:pos x="36" y="32"/>
                </a:cxn>
                <a:cxn ang="0">
                  <a:pos x="36" y="28"/>
                </a:cxn>
                <a:cxn ang="0">
                  <a:pos x="32" y="28"/>
                </a:cxn>
                <a:cxn ang="0">
                  <a:pos x="20" y="28"/>
                </a:cxn>
                <a:cxn ang="0">
                  <a:pos x="0" y="28"/>
                </a:cxn>
                <a:cxn ang="0">
                  <a:pos x="8" y="28"/>
                </a:cxn>
                <a:cxn ang="0">
                  <a:pos x="8" y="24"/>
                </a:cxn>
                <a:cxn ang="0">
                  <a:pos x="12" y="24"/>
                </a:cxn>
                <a:cxn ang="0">
                  <a:pos x="12" y="20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8" y="20"/>
                </a:cxn>
                <a:cxn ang="0">
                  <a:pos x="32" y="12"/>
                </a:cxn>
                <a:cxn ang="0">
                  <a:pos x="32" y="8"/>
                </a:cxn>
                <a:cxn ang="0">
                  <a:pos x="24" y="4"/>
                </a:cxn>
                <a:cxn ang="0">
                  <a:pos x="36" y="4"/>
                </a:cxn>
                <a:cxn ang="0">
                  <a:pos x="48" y="16"/>
                </a:cxn>
                <a:cxn ang="0">
                  <a:pos x="44" y="24"/>
                </a:cxn>
                <a:cxn ang="0">
                  <a:pos x="48" y="28"/>
                </a:cxn>
                <a:cxn ang="0">
                  <a:pos x="56" y="24"/>
                </a:cxn>
                <a:cxn ang="0">
                  <a:pos x="64" y="16"/>
                </a:cxn>
                <a:cxn ang="0">
                  <a:pos x="72" y="20"/>
                </a:cxn>
                <a:cxn ang="0">
                  <a:pos x="84" y="12"/>
                </a:cxn>
                <a:cxn ang="0">
                  <a:pos x="91" y="16"/>
                </a:cxn>
                <a:cxn ang="0">
                  <a:pos x="95" y="20"/>
                </a:cxn>
                <a:cxn ang="0">
                  <a:pos x="99" y="12"/>
                </a:cxn>
                <a:cxn ang="0">
                  <a:pos x="111" y="8"/>
                </a:cxn>
                <a:cxn ang="0">
                  <a:pos x="123" y="8"/>
                </a:cxn>
                <a:cxn ang="0">
                  <a:pos x="131" y="0"/>
                </a:cxn>
                <a:cxn ang="0">
                  <a:pos x="139" y="8"/>
                </a:cxn>
                <a:cxn ang="0">
                  <a:pos x="143" y="12"/>
                </a:cxn>
                <a:cxn ang="0">
                  <a:pos x="147" y="16"/>
                </a:cxn>
                <a:cxn ang="0">
                  <a:pos x="151" y="24"/>
                </a:cxn>
                <a:cxn ang="0">
                  <a:pos x="163" y="32"/>
                </a:cxn>
                <a:cxn ang="0">
                  <a:pos x="167" y="36"/>
                </a:cxn>
                <a:cxn ang="0">
                  <a:pos x="163" y="44"/>
                </a:cxn>
                <a:cxn ang="0">
                  <a:pos x="155" y="48"/>
                </a:cxn>
                <a:cxn ang="0">
                  <a:pos x="151" y="56"/>
                </a:cxn>
                <a:cxn ang="0">
                  <a:pos x="139" y="60"/>
                </a:cxn>
                <a:cxn ang="0">
                  <a:pos x="127" y="64"/>
                </a:cxn>
                <a:cxn ang="0">
                  <a:pos x="115" y="68"/>
                </a:cxn>
                <a:cxn ang="0">
                  <a:pos x="99" y="72"/>
                </a:cxn>
                <a:cxn ang="0">
                  <a:pos x="88" y="80"/>
                </a:cxn>
                <a:cxn ang="0">
                  <a:pos x="68" y="76"/>
                </a:cxn>
                <a:cxn ang="0">
                  <a:pos x="60" y="72"/>
                </a:cxn>
                <a:cxn ang="0">
                  <a:pos x="52" y="72"/>
                </a:cxn>
                <a:cxn ang="0">
                  <a:pos x="40" y="68"/>
                </a:cxn>
                <a:cxn ang="0">
                  <a:pos x="28" y="72"/>
                </a:cxn>
                <a:cxn ang="0">
                  <a:pos x="32" y="64"/>
                </a:cxn>
                <a:cxn ang="0">
                  <a:pos x="40" y="60"/>
                </a:cxn>
                <a:cxn ang="0">
                  <a:pos x="48" y="56"/>
                </a:cxn>
                <a:cxn ang="0">
                  <a:pos x="36" y="56"/>
                </a:cxn>
              </a:cxnLst>
              <a:rect l="0" t="0" r="r" b="b"/>
              <a:pathLst>
                <a:path w="167" h="80">
                  <a:moveTo>
                    <a:pt x="36" y="56"/>
                  </a:moveTo>
                  <a:lnTo>
                    <a:pt x="40" y="52"/>
                  </a:lnTo>
                  <a:lnTo>
                    <a:pt x="44" y="52"/>
                  </a:lnTo>
                  <a:lnTo>
                    <a:pt x="44" y="48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28" y="44"/>
                  </a:lnTo>
                  <a:lnTo>
                    <a:pt x="24" y="44"/>
                  </a:lnTo>
                  <a:lnTo>
                    <a:pt x="20" y="44"/>
                  </a:lnTo>
                  <a:lnTo>
                    <a:pt x="16" y="44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4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40"/>
                  </a:lnTo>
                  <a:lnTo>
                    <a:pt x="40" y="40"/>
                  </a:lnTo>
                  <a:lnTo>
                    <a:pt x="44" y="36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0" y="28"/>
                  </a:lnTo>
                  <a:lnTo>
                    <a:pt x="36" y="28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2" y="28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20" y="20"/>
                  </a:lnTo>
                  <a:lnTo>
                    <a:pt x="16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28" y="8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28"/>
                  </a:lnTo>
                  <a:lnTo>
                    <a:pt x="56" y="24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4" y="16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16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12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5" y="20"/>
                  </a:lnTo>
                  <a:lnTo>
                    <a:pt x="95" y="24"/>
                  </a:lnTo>
                  <a:lnTo>
                    <a:pt x="99" y="24"/>
                  </a:lnTo>
                  <a:lnTo>
                    <a:pt x="95" y="20"/>
                  </a:lnTo>
                  <a:lnTo>
                    <a:pt x="95" y="16"/>
                  </a:lnTo>
                  <a:lnTo>
                    <a:pt x="91" y="12"/>
                  </a:lnTo>
                  <a:lnTo>
                    <a:pt x="95" y="8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103" y="12"/>
                  </a:lnTo>
                  <a:lnTo>
                    <a:pt x="103" y="16"/>
                  </a:lnTo>
                  <a:lnTo>
                    <a:pt x="107" y="16"/>
                  </a:lnTo>
                  <a:lnTo>
                    <a:pt x="107" y="12"/>
                  </a:lnTo>
                  <a:lnTo>
                    <a:pt x="111" y="8"/>
                  </a:lnTo>
                  <a:lnTo>
                    <a:pt x="115" y="8"/>
                  </a:lnTo>
                  <a:lnTo>
                    <a:pt x="115" y="12"/>
                  </a:lnTo>
                  <a:lnTo>
                    <a:pt x="119" y="12"/>
                  </a:lnTo>
                  <a:lnTo>
                    <a:pt x="119" y="8"/>
                  </a:lnTo>
                  <a:lnTo>
                    <a:pt x="123" y="8"/>
                  </a:lnTo>
                  <a:lnTo>
                    <a:pt x="119" y="4"/>
                  </a:lnTo>
                  <a:lnTo>
                    <a:pt x="119" y="0"/>
                  </a:lnTo>
                  <a:lnTo>
                    <a:pt x="123" y="0"/>
                  </a:lnTo>
                  <a:lnTo>
                    <a:pt x="127" y="0"/>
                  </a:lnTo>
                  <a:lnTo>
                    <a:pt x="131" y="0"/>
                  </a:lnTo>
                  <a:lnTo>
                    <a:pt x="131" y="4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12"/>
                  </a:lnTo>
                  <a:lnTo>
                    <a:pt x="139" y="8"/>
                  </a:lnTo>
                  <a:lnTo>
                    <a:pt x="143" y="8"/>
                  </a:lnTo>
                  <a:lnTo>
                    <a:pt x="143" y="4"/>
                  </a:lnTo>
                  <a:lnTo>
                    <a:pt x="147" y="4"/>
                  </a:lnTo>
                  <a:lnTo>
                    <a:pt x="143" y="8"/>
                  </a:lnTo>
                  <a:lnTo>
                    <a:pt x="143" y="12"/>
                  </a:lnTo>
                  <a:lnTo>
                    <a:pt x="139" y="12"/>
                  </a:lnTo>
                  <a:lnTo>
                    <a:pt x="143" y="12"/>
                  </a:lnTo>
                  <a:lnTo>
                    <a:pt x="147" y="12"/>
                  </a:lnTo>
                  <a:lnTo>
                    <a:pt x="151" y="16"/>
                  </a:lnTo>
                  <a:lnTo>
                    <a:pt x="147" y="16"/>
                  </a:lnTo>
                  <a:lnTo>
                    <a:pt x="147" y="20"/>
                  </a:lnTo>
                  <a:lnTo>
                    <a:pt x="151" y="20"/>
                  </a:lnTo>
                  <a:lnTo>
                    <a:pt x="155" y="20"/>
                  </a:lnTo>
                  <a:lnTo>
                    <a:pt x="155" y="24"/>
                  </a:lnTo>
                  <a:lnTo>
                    <a:pt x="151" y="24"/>
                  </a:lnTo>
                  <a:lnTo>
                    <a:pt x="151" y="28"/>
                  </a:lnTo>
                  <a:lnTo>
                    <a:pt x="155" y="24"/>
                  </a:lnTo>
                  <a:lnTo>
                    <a:pt x="159" y="24"/>
                  </a:lnTo>
                  <a:lnTo>
                    <a:pt x="163" y="28"/>
                  </a:lnTo>
                  <a:lnTo>
                    <a:pt x="163" y="32"/>
                  </a:lnTo>
                  <a:lnTo>
                    <a:pt x="167" y="32"/>
                  </a:lnTo>
                  <a:lnTo>
                    <a:pt x="163" y="36"/>
                  </a:lnTo>
                  <a:lnTo>
                    <a:pt x="159" y="36"/>
                  </a:lnTo>
                  <a:lnTo>
                    <a:pt x="163" y="36"/>
                  </a:lnTo>
                  <a:lnTo>
                    <a:pt x="167" y="36"/>
                  </a:lnTo>
                  <a:lnTo>
                    <a:pt x="167" y="40"/>
                  </a:lnTo>
                  <a:lnTo>
                    <a:pt x="163" y="40"/>
                  </a:lnTo>
                  <a:lnTo>
                    <a:pt x="159" y="40"/>
                  </a:lnTo>
                  <a:lnTo>
                    <a:pt x="163" y="40"/>
                  </a:lnTo>
                  <a:lnTo>
                    <a:pt x="163" y="44"/>
                  </a:lnTo>
                  <a:lnTo>
                    <a:pt x="159" y="44"/>
                  </a:lnTo>
                  <a:lnTo>
                    <a:pt x="163" y="44"/>
                  </a:lnTo>
                  <a:lnTo>
                    <a:pt x="159" y="44"/>
                  </a:lnTo>
                  <a:lnTo>
                    <a:pt x="159" y="48"/>
                  </a:lnTo>
                  <a:lnTo>
                    <a:pt x="155" y="48"/>
                  </a:lnTo>
                  <a:lnTo>
                    <a:pt x="151" y="48"/>
                  </a:lnTo>
                  <a:lnTo>
                    <a:pt x="151" y="44"/>
                  </a:lnTo>
                  <a:lnTo>
                    <a:pt x="151" y="48"/>
                  </a:lnTo>
                  <a:lnTo>
                    <a:pt x="151" y="52"/>
                  </a:lnTo>
                  <a:lnTo>
                    <a:pt x="151" y="56"/>
                  </a:lnTo>
                  <a:lnTo>
                    <a:pt x="147" y="56"/>
                  </a:lnTo>
                  <a:lnTo>
                    <a:pt x="143" y="60"/>
                  </a:lnTo>
                  <a:lnTo>
                    <a:pt x="147" y="60"/>
                  </a:lnTo>
                  <a:lnTo>
                    <a:pt x="143" y="60"/>
                  </a:lnTo>
                  <a:lnTo>
                    <a:pt x="139" y="60"/>
                  </a:lnTo>
                  <a:lnTo>
                    <a:pt x="139" y="56"/>
                  </a:lnTo>
                  <a:lnTo>
                    <a:pt x="139" y="60"/>
                  </a:lnTo>
                  <a:lnTo>
                    <a:pt x="135" y="60"/>
                  </a:lnTo>
                  <a:lnTo>
                    <a:pt x="131" y="60"/>
                  </a:lnTo>
                  <a:lnTo>
                    <a:pt x="127" y="64"/>
                  </a:lnTo>
                  <a:lnTo>
                    <a:pt x="123" y="64"/>
                  </a:lnTo>
                  <a:lnTo>
                    <a:pt x="123" y="68"/>
                  </a:lnTo>
                  <a:lnTo>
                    <a:pt x="119" y="68"/>
                  </a:lnTo>
                  <a:lnTo>
                    <a:pt x="115" y="72"/>
                  </a:lnTo>
                  <a:lnTo>
                    <a:pt x="115" y="68"/>
                  </a:lnTo>
                  <a:lnTo>
                    <a:pt x="111" y="68"/>
                  </a:lnTo>
                  <a:lnTo>
                    <a:pt x="111" y="72"/>
                  </a:lnTo>
                  <a:lnTo>
                    <a:pt x="107" y="72"/>
                  </a:lnTo>
                  <a:lnTo>
                    <a:pt x="103" y="72"/>
                  </a:lnTo>
                  <a:lnTo>
                    <a:pt x="99" y="72"/>
                  </a:lnTo>
                  <a:lnTo>
                    <a:pt x="99" y="76"/>
                  </a:lnTo>
                  <a:lnTo>
                    <a:pt x="99" y="80"/>
                  </a:lnTo>
                  <a:lnTo>
                    <a:pt x="95" y="80"/>
                  </a:lnTo>
                  <a:lnTo>
                    <a:pt x="91" y="80"/>
                  </a:lnTo>
                  <a:lnTo>
                    <a:pt x="88" y="80"/>
                  </a:lnTo>
                  <a:lnTo>
                    <a:pt x="84" y="80"/>
                  </a:lnTo>
                  <a:lnTo>
                    <a:pt x="80" y="80"/>
                  </a:lnTo>
                  <a:lnTo>
                    <a:pt x="76" y="80"/>
                  </a:lnTo>
                  <a:lnTo>
                    <a:pt x="72" y="76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56" y="72"/>
                  </a:lnTo>
                  <a:lnTo>
                    <a:pt x="52" y="72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0" y="72"/>
                  </a:lnTo>
                  <a:lnTo>
                    <a:pt x="36" y="72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28" y="72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6" y="64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44" y="56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9" name="Freeform 96"/>
            <p:cNvSpPr>
              <a:spLocks noEditPoints="1"/>
            </p:cNvSpPr>
            <p:nvPr>
              <p:custDataLst>
                <p:tags r:id="rId292"/>
              </p:custDataLst>
            </p:nvPr>
          </p:nvSpPr>
          <p:spPr bwMode="gray">
            <a:xfrm>
              <a:off x="4138771" y="2964584"/>
              <a:ext cx="100848" cy="136442"/>
            </a:xfrm>
            <a:custGeom>
              <a:avLst/>
              <a:gdLst/>
              <a:ahLst/>
              <a:cxnLst>
                <a:cxn ang="0">
                  <a:pos x="20" y="48"/>
                </a:cxn>
                <a:cxn ang="0">
                  <a:pos x="16" y="48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12" y="36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20" y="24"/>
                </a:cxn>
                <a:cxn ang="0">
                  <a:pos x="28" y="28"/>
                </a:cxn>
                <a:cxn ang="0">
                  <a:pos x="32" y="20"/>
                </a:cxn>
                <a:cxn ang="0">
                  <a:pos x="32" y="16"/>
                </a:cxn>
                <a:cxn ang="0">
                  <a:pos x="32" y="12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48" y="4"/>
                </a:cxn>
                <a:cxn ang="0">
                  <a:pos x="52" y="4"/>
                </a:cxn>
                <a:cxn ang="0">
                  <a:pos x="52" y="8"/>
                </a:cxn>
                <a:cxn ang="0">
                  <a:pos x="44" y="16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48" y="28"/>
                </a:cxn>
                <a:cxn ang="0">
                  <a:pos x="56" y="24"/>
                </a:cxn>
                <a:cxn ang="0">
                  <a:pos x="64" y="32"/>
                </a:cxn>
                <a:cxn ang="0">
                  <a:pos x="68" y="32"/>
                </a:cxn>
                <a:cxn ang="0">
                  <a:pos x="64" y="40"/>
                </a:cxn>
                <a:cxn ang="0">
                  <a:pos x="68" y="48"/>
                </a:cxn>
                <a:cxn ang="0">
                  <a:pos x="68" y="52"/>
                </a:cxn>
                <a:cxn ang="0">
                  <a:pos x="64" y="64"/>
                </a:cxn>
                <a:cxn ang="0">
                  <a:pos x="64" y="72"/>
                </a:cxn>
                <a:cxn ang="0">
                  <a:pos x="56" y="76"/>
                </a:cxn>
                <a:cxn ang="0">
                  <a:pos x="56" y="72"/>
                </a:cxn>
                <a:cxn ang="0">
                  <a:pos x="48" y="76"/>
                </a:cxn>
                <a:cxn ang="0">
                  <a:pos x="40" y="80"/>
                </a:cxn>
                <a:cxn ang="0">
                  <a:pos x="32" y="80"/>
                </a:cxn>
                <a:cxn ang="0">
                  <a:pos x="32" y="88"/>
                </a:cxn>
                <a:cxn ang="0">
                  <a:pos x="20" y="88"/>
                </a:cxn>
                <a:cxn ang="0">
                  <a:pos x="12" y="92"/>
                </a:cxn>
                <a:cxn ang="0">
                  <a:pos x="12" y="88"/>
                </a:cxn>
                <a:cxn ang="0">
                  <a:pos x="8" y="88"/>
                </a:cxn>
                <a:cxn ang="0">
                  <a:pos x="16" y="80"/>
                </a:cxn>
                <a:cxn ang="0">
                  <a:pos x="4" y="84"/>
                </a:cxn>
                <a:cxn ang="0">
                  <a:pos x="4" y="80"/>
                </a:cxn>
                <a:cxn ang="0">
                  <a:pos x="8" y="76"/>
                </a:cxn>
                <a:cxn ang="0">
                  <a:pos x="0" y="72"/>
                </a:cxn>
                <a:cxn ang="0">
                  <a:pos x="12" y="72"/>
                </a:cxn>
                <a:cxn ang="0">
                  <a:pos x="16" y="64"/>
                </a:cxn>
                <a:cxn ang="0">
                  <a:pos x="28" y="64"/>
                </a:cxn>
                <a:cxn ang="0">
                  <a:pos x="24" y="64"/>
                </a:cxn>
                <a:cxn ang="0">
                  <a:pos x="12" y="64"/>
                </a:cxn>
                <a:cxn ang="0">
                  <a:pos x="16" y="60"/>
                </a:cxn>
                <a:cxn ang="0">
                  <a:pos x="24" y="52"/>
                </a:cxn>
                <a:cxn ang="0">
                  <a:pos x="8" y="32"/>
                </a:cxn>
              </a:cxnLst>
              <a:rect l="0" t="0" r="r" b="b"/>
              <a:pathLst>
                <a:path w="68" h="92">
                  <a:moveTo>
                    <a:pt x="24" y="52"/>
                  </a:moveTo>
                  <a:lnTo>
                    <a:pt x="24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8"/>
                  </a:lnTo>
                  <a:lnTo>
                    <a:pt x="4" y="44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8"/>
                  </a:lnTo>
                  <a:lnTo>
                    <a:pt x="24" y="24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8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8" y="40"/>
                  </a:lnTo>
                  <a:lnTo>
                    <a:pt x="68" y="44"/>
                  </a:lnTo>
                  <a:lnTo>
                    <a:pt x="68" y="48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8" y="56"/>
                  </a:lnTo>
                  <a:lnTo>
                    <a:pt x="68" y="60"/>
                  </a:lnTo>
                  <a:lnTo>
                    <a:pt x="64" y="64"/>
                  </a:lnTo>
                  <a:lnTo>
                    <a:pt x="64" y="68"/>
                  </a:lnTo>
                  <a:lnTo>
                    <a:pt x="60" y="68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80"/>
                  </a:lnTo>
                  <a:lnTo>
                    <a:pt x="40" y="80"/>
                  </a:lnTo>
                  <a:lnTo>
                    <a:pt x="36" y="84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6" y="84"/>
                  </a:lnTo>
                  <a:lnTo>
                    <a:pt x="32" y="84"/>
                  </a:lnTo>
                  <a:lnTo>
                    <a:pt x="32" y="88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12" y="84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8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4" y="76"/>
                  </a:lnTo>
                  <a:lnTo>
                    <a:pt x="0" y="76"/>
                  </a:lnTo>
                  <a:lnTo>
                    <a:pt x="0" y="72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64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20" y="52"/>
                  </a:lnTo>
                  <a:lnTo>
                    <a:pt x="24" y="52"/>
                  </a:lnTo>
                  <a:close/>
                  <a:moveTo>
                    <a:pt x="8" y="32"/>
                  </a:moveTo>
                  <a:lnTo>
                    <a:pt x="8" y="36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8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0" name="Freeform 97"/>
            <p:cNvSpPr>
              <a:spLocks/>
            </p:cNvSpPr>
            <p:nvPr>
              <p:custDataLst>
                <p:tags r:id="rId293"/>
              </p:custDataLst>
            </p:nvPr>
          </p:nvSpPr>
          <p:spPr bwMode="gray">
            <a:xfrm>
              <a:off x="4269280" y="3000178"/>
              <a:ext cx="11865" cy="11865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</a:cxnLst>
              <a:rect l="0" t="0" r="r" b="b"/>
              <a:pathLst>
                <a:path w="8" h="8">
                  <a:moveTo>
                    <a:pt x="0" y="8"/>
                  </a:move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1" name="Freeform 98"/>
            <p:cNvSpPr>
              <a:spLocks noEditPoints="1"/>
            </p:cNvSpPr>
            <p:nvPr>
              <p:custDataLst>
                <p:tags r:id="rId294"/>
              </p:custDataLst>
            </p:nvPr>
          </p:nvSpPr>
          <p:spPr bwMode="gray">
            <a:xfrm>
              <a:off x="4522885" y="3243400"/>
              <a:ext cx="266951" cy="324791"/>
            </a:xfrm>
            <a:custGeom>
              <a:avLst/>
              <a:gdLst/>
              <a:ahLst/>
              <a:cxnLst>
                <a:cxn ang="0">
                  <a:pos x="104" y="76"/>
                </a:cxn>
                <a:cxn ang="0">
                  <a:pos x="112" y="96"/>
                </a:cxn>
                <a:cxn ang="0">
                  <a:pos x="132" y="107"/>
                </a:cxn>
                <a:cxn ang="0">
                  <a:pos x="144" y="115"/>
                </a:cxn>
                <a:cxn ang="0">
                  <a:pos x="160" y="127"/>
                </a:cxn>
                <a:cxn ang="0">
                  <a:pos x="176" y="139"/>
                </a:cxn>
                <a:cxn ang="0">
                  <a:pos x="176" y="151"/>
                </a:cxn>
                <a:cxn ang="0">
                  <a:pos x="160" y="139"/>
                </a:cxn>
                <a:cxn ang="0">
                  <a:pos x="152" y="151"/>
                </a:cxn>
                <a:cxn ang="0">
                  <a:pos x="160" y="167"/>
                </a:cxn>
                <a:cxn ang="0">
                  <a:pos x="152" y="183"/>
                </a:cxn>
                <a:cxn ang="0">
                  <a:pos x="136" y="187"/>
                </a:cxn>
                <a:cxn ang="0">
                  <a:pos x="148" y="171"/>
                </a:cxn>
                <a:cxn ang="0">
                  <a:pos x="140" y="155"/>
                </a:cxn>
                <a:cxn ang="0">
                  <a:pos x="128" y="139"/>
                </a:cxn>
                <a:cxn ang="0">
                  <a:pos x="112" y="123"/>
                </a:cxn>
                <a:cxn ang="0">
                  <a:pos x="92" y="119"/>
                </a:cxn>
                <a:cxn ang="0">
                  <a:pos x="80" y="103"/>
                </a:cxn>
                <a:cxn ang="0">
                  <a:pos x="68" y="92"/>
                </a:cxn>
                <a:cxn ang="0">
                  <a:pos x="56" y="76"/>
                </a:cxn>
                <a:cxn ang="0">
                  <a:pos x="40" y="60"/>
                </a:cxn>
                <a:cxn ang="0">
                  <a:pos x="20" y="68"/>
                </a:cxn>
                <a:cxn ang="0">
                  <a:pos x="16" y="64"/>
                </a:cxn>
                <a:cxn ang="0">
                  <a:pos x="4" y="56"/>
                </a:cxn>
                <a:cxn ang="0">
                  <a:pos x="4" y="40"/>
                </a:cxn>
                <a:cxn ang="0">
                  <a:pos x="4" y="24"/>
                </a:cxn>
                <a:cxn ang="0">
                  <a:pos x="24" y="16"/>
                </a:cxn>
                <a:cxn ang="0">
                  <a:pos x="36" y="24"/>
                </a:cxn>
                <a:cxn ang="0">
                  <a:pos x="40" y="12"/>
                </a:cxn>
                <a:cxn ang="0">
                  <a:pos x="52" y="12"/>
                </a:cxn>
                <a:cxn ang="0">
                  <a:pos x="60" y="4"/>
                </a:cxn>
                <a:cxn ang="0">
                  <a:pos x="80" y="0"/>
                </a:cxn>
                <a:cxn ang="0">
                  <a:pos x="96" y="8"/>
                </a:cxn>
                <a:cxn ang="0">
                  <a:pos x="104" y="16"/>
                </a:cxn>
                <a:cxn ang="0">
                  <a:pos x="108" y="28"/>
                </a:cxn>
                <a:cxn ang="0">
                  <a:pos x="100" y="28"/>
                </a:cxn>
                <a:cxn ang="0">
                  <a:pos x="92" y="32"/>
                </a:cxn>
                <a:cxn ang="0">
                  <a:pos x="92" y="44"/>
                </a:cxn>
                <a:cxn ang="0">
                  <a:pos x="92" y="64"/>
                </a:cxn>
                <a:cxn ang="0">
                  <a:pos x="88" y="64"/>
                </a:cxn>
                <a:cxn ang="0">
                  <a:pos x="56" y="88"/>
                </a:cxn>
                <a:cxn ang="0">
                  <a:pos x="28" y="151"/>
                </a:cxn>
                <a:cxn ang="0">
                  <a:pos x="24" y="131"/>
                </a:cxn>
                <a:cxn ang="0">
                  <a:pos x="44" y="127"/>
                </a:cxn>
                <a:cxn ang="0">
                  <a:pos x="48" y="143"/>
                </a:cxn>
                <a:cxn ang="0">
                  <a:pos x="44" y="167"/>
                </a:cxn>
                <a:cxn ang="0">
                  <a:pos x="28" y="167"/>
                </a:cxn>
                <a:cxn ang="0">
                  <a:pos x="124" y="215"/>
                </a:cxn>
                <a:cxn ang="0">
                  <a:pos x="108" y="207"/>
                </a:cxn>
                <a:cxn ang="0">
                  <a:pos x="88" y="199"/>
                </a:cxn>
                <a:cxn ang="0">
                  <a:pos x="96" y="187"/>
                </a:cxn>
                <a:cxn ang="0">
                  <a:pos x="120" y="191"/>
                </a:cxn>
                <a:cxn ang="0">
                  <a:pos x="136" y="191"/>
                </a:cxn>
                <a:cxn ang="0">
                  <a:pos x="132" y="207"/>
                </a:cxn>
              </a:cxnLst>
              <a:rect l="0" t="0" r="r" b="b"/>
              <a:pathLst>
                <a:path w="180" h="219">
                  <a:moveTo>
                    <a:pt x="92" y="68"/>
                  </a:moveTo>
                  <a:lnTo>
                    <a:pt x="96" y="68"/>
                  </a:lnTo>
                  <a:lnTo>
                    <a:pt x="100" y="68"/>
                  </a:lnTo>
                  <a:lnTo>
                    <a:pt x="100" y="72"/>
                  </a:lnTo>
                  <a:lnTo>
                    <a:pt x="104" y="72"/>
                  </a:lnTo>
                  <a:lnTo>
                    <a:pt x="104" y="76"/>
                  </a:lnTo>
                  <a:lnTo>
                    <a:pt x="108" y="76"/>
                  </a:lnTo>
                  <a:lnTo>
                    <a:pt x="108" y="80"/>
                  </a:lnTo>
                  <a:lnTo>
                    <a:pt x="112" y="84"/>
                  </a:lnTo>
                  <a:lnTo>
                    <a:pt x="112" y="88"/>
                  </a:lnTo>
                  <a:lnTo>
                    <a:pt x="112" y="92"/>
                  </a:lnTo>
                  <a:lnTo>
                    <a:pt x="112" y="96"/>
                  </a:lnTo>
                  <a:lnTo>
                    <a:pt x="116" y="96"/>
                  </a:lnTo>
                  <a:lnTo>
                    <a:pt x="120" y="103"/>
                  </a:lnTo>
                  <a:lnTo>
                    <a:pt x="124" y="103"/>
                  </a:lnTo>
                  <a:lnTo>
                    <a:pt x="124" y="107"/>
                  </a:lnTo>
                  <a:lnTo>
                    <a:pt x="128" y="107"/>
                  </a:lnTo>
                  <a:lnTo>
                    <a:pt x="132" y="107"/>
                  </a:lnTo>
                  <a:lnTo>
                    <a:pt x="132" y="111"/>
                  </a:lnTo>
                  <a:lnTo>
                    <a:pt x="136" y="107"/>
                  </a:lnTo>
                  <a:lnTo>
                    <a:pt x="140" y="107"/>
                  </a:lnTo>
                  <a:lnTo>
                    <a:pt x="144" y="107"/>
                  </a:lnTo>
                  <a:lnTo>
                    <a:pt x="144" y="111"/>
                  </a:lnTo>
                  <a:lnTo>
                    <a:pt x="144" y="115"/>
                  </a:lnTo>
                  <a:lnTo>
                    <a:pt x="140" y="115"/>
                  </a:lnTo>
                  <a:lnTo>
                    <a:pt x="140" y="119"/>
                  </a:lnTo>
                  <a:lnTo>
                    <a:pt x="144" y="119"/>
                  </a:lnTo>
                  <a:lnTo>
                    <a:pt x="152" y="123"/>
                  </a:lnTo>
                  <a:lnTo>
                    <a:pt x="156" y="123"/>
                  </a:lnTo>
                  <a:lnTo>
                    <a:pt x="160" y="127"/>
                  </a:lnTo>
                  <a:lnTo>
                    <a:pt x="164" y="127"/>
                  </a:lnTo>
                  <a:lnTo>
                    <a:pt x="164" y="131"/>
                  </a:lnTo>
                  <a:lnTo>
                    <a:pt x="168" y="135"/>
                  </a:lnTo>
                  <a:lnTo>
                    <a:pt x="172" y="135"/>
                  </a:lnTo>
                  <a:lnTo>
                    <a:pt x="172" y="139"/>
                  </a:lnTo>
                  <a:lnTo>
                    <a:pt x="176" y="139"/>
                  </a:lnTo>
                  <a:lnTo>
                    <a:pt x="180" y="143"/>
                  </a:lnTo>
                  <a:lnTo>
                    <a:pt x="180" y="147"/>
                  </a:lnTo>
                  <a:lnTo>
                    <a:pt x="180" y="151"/>
                  </a:lnTo>
                  <a:lnTo>
                    <a:pt x="180" y="155"/>
                  </a:lnTo>
                  <a:lnTo>
                    <a:pt x="180" y="151"/>
                  </a:lnTo>
                  <a:lnTo>
                    <a:pt x="176" y="151"/>
                  </a:lnTo>
                  <a:lnTo>
                    <a:pt x="172" y="151"/>
                  </a:lnTo>
                  <a:lnTo>
                    <a:pt x="172" y="147"/>
                  </a:lnTo>
                  <a:lnTo>
                    <a:pt x="172" y="143"/>
                  </a:lnTo>
                  <a:lnTo>
                    <a:pt x="168" y="143"/>
                  </a:lnTo>
                  <a:lnTo>
                    <a:pt x="164" y="143"/>
                  </a:lnTo>
                  <a:lnTo>
                    <a:pt x="160" y="139"/>
                  </a:lnTo>
                  <a:lnTo>
                    <a:pt x="164" y="139"/>
                  </a:lnTo>
                  <a:lnTo>
                    <a:pt x="160" y="139"/>
                  </a:lnTo>
                  <a:lnTo>
                    <a:pt x="156" y="139"/>
                  </a:lnTo>
                  <a:lnTo>
                    <a:pt x="156" y="143"/>
                  </a:lnTo>
                  <a:lnTo>
                    <a:pt x="152" y="147"/>
                  </a:lnTo>
                  <a:lnTo>
                    <a:pt x="152" y="151"/>
                  </a:lnTo>
                  <a:lnTo>
                    <a:pt x="152" y="155"/>
                  </a:lnTo>
                  <a:lnTo>
                    <a:pt x="156" y="155"/>
                  </a:lnTo>
                  <a:lnTo>
                    <a:pt x="156" y="159"/>
                  </a:lnTo>
                  <a:lnTo>
                    <a:pt x="160" y="159"/>
                  </a:lnTo>
                  <a:lnTo>
                    <a:pt x="160" y="163"/>
                  </a:lnTo>
                  <a:lnTo>
                    <a:pt x="160" y="167"/>
                  </a:lnTo>
                  <a:lnTo>
                    <a:pt x="160" y="171"/>
                  </a:lnTo>
                  <a:lnTo>
                    <a:pt x="156" y="171"/>
                  </a:lnTo>
                  <a:lnTo>
                    <a:pt x="152" y="171"/>
                  </a:lnTo>
                  <a:lnTo>
                    <a:pt x="152" y="175"/>
                  </a:lnTo>
                  <a:lnTo>
                    <a:pt x="152" y="179"/>
                  </a:lnTo>
                  <a:lnTo>
                    <a:pt x="152" y="183"/>
                  </a:lnTo>
                  <a:lnTo>
                    <a:pt x="148" y="183"/>
                  </a:lnTo>
                  <a:lnTo>
                    <a:pt x="144" y="187"/>
                  </a:lnTo>
                  <a:lnTo>
                    <a:pt x="144" y="191"/>
                  </a:lnTo>
                  <a:lnTo>
                    <a:pt x="140" y="191"/>
                  </a:lnTo>
                  <a:lnTo>
                    <a:pt x="136" y="191"/>
                  </a:lnTo>
                  <a:lnTo>
                    <a:pt x="136" y="187"/>
                  </a:lnTo>
                  <a:lnTo>
                    <a:pt x="140" y="183"/>
                  </a:lnTo>
                  <a:lnTo>
                    <a:pt x="140" y="179"/>
                  </a:lnTo>
                  <a:lnTo>
                    <a:pt x="140" y="175"/>
                  </a:lnTo>
                  <a:lnTo>
                    <a:pt x="144" y="175"/>
                  </a:lnTo>
                  <a:lnTo>
                    <a:pt x="148" y="175"/>
                  </a:lnTo>
                  <a:lnTo>
                    <a:pt x="148" y="171"/>
                  </a:lnTo>
                  <a:lnTo>
                    <a:pt x="144" y="171"/>
                  </a:lnTo>
                  <a:lnTo>
                    <a:pt x="144" y="167"/>
                  </a:lnTo>
                  <a:lnTo>
                    <a:pt x="144" y="163"/>
                  </a:lnTo>
                  <a:lnTo>
                    <a:pt x="144" y="159"/>
                  </a:lnTo>
                  <a:lnTo>
                    <a:pt x="140" y="159"/>
                  </a:lnTo>
                  <a:lnTo>
                    <a:pt x="140" y="155"/>
                  </a:lnTo>
                  <a:lnTo>
                    <a:pt x="140" y="151"/>
                  </a:lnTo>
                  <a:lnTo>
                    <a:pt x="136" y="147"/>
                  </a:lnTo>
                  <a:lnTo>
                    <a:pt x="132" y="147"/>
                  </a:lnTo>
                  <a:lnTo>
                    <a:pt x="128" y="147"/>
                  </a:lnTo>
                  <a:lnTo>
                    <a:pt x="128" y="143"/>
                  </a:lnTo>
                  <a:lnTo>
                    <a:pt x="128" y="139"/>
                  </a:lnTo>
                  <a:lnTo>
                    <a:pt x="124" y="135"/>
                  </a:lnTo>
                  <a:lnTo>
                    <a:pt x="120" y="135"/>
                  </a:lnTo>
                  <a:lnTo>
                    <a:pt x="116" y="131"/>
                  </a:lnTo>
                  <a:lnTo>
                    <a:pt x="112" y="131"/>
                  </a:lnTo>
                  <a:lnTo>
                    <a:pt x="112" y="127"/>
                  </a:lnTo>
                  <a:lnTo>
                    <a:pt x="112" y="123"/>
                  </a:lnTo>
                  <a:lnTo>
                    <a:pt x="108" y="123"/>
                  </a:lnTo>
                  <a:lnTo>
                    <a:pt x="104" y="123"/>
                  </a:lnTo>
                  <a:lnTo>
                    <a:pt x="100" y="123"/>
                  </a:lnTo>
                  <a:lnTo>
                    <a:pt x="96" y="123"/>
                  </a:lnTo>
                  <a:lnTo>
                    <a:pt x="96" y="119"/>
                  </a:lnTo>
                  <a:lnTo>
                    <a:pt x="92" y="119"/>
                  </a:lnTo>
                  <a:lnTo>
                    <a:pt x="92" y="115"/>
                  </a:lnTo>
                  <a:lnTo>
                    <a:pt x="88" y="115"/>
                  </a:lnTo>
                  <a:lnTo>
                    <a:pt x="84" y="111"/>
                  </a:lnTo>
                  <a:lnTo>
                    <a:pt x="84" y="107"/>
                  </a:lnTo>
                  <a:lnTo>
                    <a:pt x="80" y="107"/>
                  </a:lnTo>
                  <a:lnTo>
                    <a:pt x="80" y="103"/>
                  </a:lnTo>
                  <a:lnTo>
                    <a:pt x="76" y="103"/>
                  </a:lnTo>
                  <a:lnTo>
                    <a:pt x="76" y="99"/>
                  </a:lnTo>
                  <a:lnTo>
                    <a:pt x="72" y="99"/>
                  </a:lnTo>
                  <a:lnTo>
                    <a:pt x="68" y="99"/>
                  </a:lnTo>
                  <a:lnTo>
                    <a:pt x="68" y="96"/>
                  </a:lnTo>
                  <a:lnTo>
                    <a:pt x="68" y="92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0" y="88"/>
                  </a:lnTo>
                  <a:lnTo>
                    <a:pt x="60" y="84"/>
                  </a:lnTo>
                  <a:lnTo>
                    <a:pt x="60" y="80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2" y="64"/>
                  </a:lnTo>
                  <a:lnTo>
                    <a:pt x="48" y="64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32" y="56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2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04" y="16"/>
                  </a:lnTo>
                  <a:lnTo>
                    <a:pt x="104" y="20"/>
                  </a:lnTo>
                  <a:lnTo>
                    <a:pt x="104" y="16"/>
                  </a:lnTo>
                  <a:lnTo>
                    <a:pt x="104" y="20"/>
                  </a:lnTo>
                  <a:lnTo>
                    <a:pt x="108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08" y="28"/>
                  </a:lnTo>
                  <a:lnTo>
                    <a:pt x="112" y="28"/>
                  </a:lnTo>
                  <a:lnTo>
                    <a:pt x="112" y="32"/>
                  </a:lnTo>
                  <a:lnTo>
                    <a:pt x="108" y="32"/>
                  </a:lnTo>
                  <a:lnTo>
                    <a:pt x="108" y="28"/>
                  </a:lnTo>
                  <a:lnTo>
                    <a:pt x="104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96" y="32"/>
                  </a:lnTo>
                  <a:lnTo>
                    <a:pt x="92" y="32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88" y="32"/>
                  </a:lnTo>
                  <a:lnTo>
                    <a:pt x="88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8" y="44"/>
                  </a:lnTo>
                  <a:lnTo>
                    <a:pt x="92" y="44"/>
                  </a:lnTo>
                  <a:lnTo>
                    <a:pt x="88" y="48"/>
                  </a:lnTo>
                  <a:lnTo>
                    <a:pt x="84" y="52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92" y="64"/>
                  </a:lnTo>
                  <a:lnTo>
                    <a:pt x="92" y="68"/>
                  </a:lnTo>
                  <a:close/>
                  <a:moveTo>
                    <a:pt x="88" y="107"/>
                  </a:moveTo>
                  <a:lnTo>
                    <a:pt x="88" y="111"/>
                  </a:lnTo>
                  <a:lnTo>
                    <a:pt x="88" y="107"/>
                  </a:lnTo>
                  <a:close/>
                  <a:moveTo>
                    <a:pt x="88" y="68"/>
                  </a:moveTo>
                  <a:lnTo>
                    <a:pt x="88" y="64"/>
                  </a:lnTo>
                  <a:lnTo>
                    <a:pt x="88" y="68"/>
                  </a:lnTo>
                  <a:close/>
                  <a:moveTo>
                    <a:pt x="60" y="92"/>
                  </a:moveTo>
                  <a:lnTo>
                    <a:pt x="56" y="92"/>
                  </a:lnTo>
                  <a:lnTo>
                    <a:pt x="52" y="92"/>
                  </a:lnTo>
                  <a:lnTo>
                    <a:pt x="56" y="92"/>
                  </a:lnTo>
                  <a:lnTo>
                    <a:pt x="56" y="88"/>
                  </a:lnTo>
                  <a:lnTo>
                    <a:pt x="60" y="88"/>
                  </a:lnTo>
                  <a:lnTo>
                    <a:pt x="60" y="92"/>
                  </a:lnTo>
                  <a:close/>
                  <a:moveTo>
                    <a:pt x="28" y="163"/>
                  </a:moveTo>
                  <a:lnTo>
                    <a:pt x="28" y="159"/>
                  </a:lnTo>
                  <a:lnTo>
                    <a:pt x="28" y="155"/>
                  </a:lnTo>
                  <a:lnTo>
                    <a:pt x="28" y="151"/>
                  </a:lnTo>
                  <a:lnTo>
                    <a:pt x="28" y="147"/>
                  </a:lnTo>
                  <a:lnTo>
                    <a:pt x="28" y="143"/>
                  </a:lnTo>
                  <a:lnTo>
                    <a:pt x="28" y="139"/>
                  </a:lnTo>
                  <a:lnTo>
                    <a:pt x="28" y="135"/>
                  </a:lnTo>
                  <a:lnTo>
                    <a:pt x="24" y="135"/>
                  </a:lnTo>
                  <a:lnTo>
                    <a:pt x="24" y="131"/>
                  </a:lnTo>
                  <a:lnTo>
                    <a:pt x="28" y="131"/>
                  </a:lnTo>
                  <a:lnTo>
                    <a:pt x="32" y="131"/>
                  </a:lnTo>
                  <a:lnTo>
                    <a:pt x="36" y="127"/>
                  </a:lnTo>
                  <a:lnTo>
                    <a:pt x="40" y="123"/>
                  </a:lnTo>
                  <a:lnTo>
                    <a:pt x="44" y="123"/>
                  </a:lnTo>
                  <a:lnTo>
                    <a:pt x="44" y="127"/>
                  </a:lnTo>
                  <a:lnTo>
                    <a:pt x="48" y="127"/>
                  </a:lnTo>
                  <a:lnTo>
                    <a:pt x="44" y="131"/>
                  </a:lnTo>
                  <a:lnTo>
                    <a:pt x="48" y="131"/>
                  </a:lnTo>
                  <a:lnTo>
                    <a:pt x="48" y="135"/>
                  </a:lnTo>
                  <a:lnTo>
                    <a:pt x="48" y="139"/>
                  </a:lnTo>
                  <a:lnTo>
                    <a:pt x="48" y="143"/>
                  </a:lnTo>
                  <a:lnTo>
                    <a:pt x="48" y="147"/>
                  </a:lnTo>
                  <a:lnTo>
                    <a:pt x="48" y="151"/>
                  </a:lnTo>
                  <a:lnTo>
                    <a:pt x="48" y="155"/>
                  </a:lnTo>
                  <a:lnTo>
                    <a:pt x="48" y="159"/>
                  </a:lnTo>
                  <a:lnTo>
                    <a:pt x="44" y="163"/>
                  </a:lnTo>
                  <a:lnTo>
                    <a:pt x="44" y="167"/>
                  </a:lnTo>
                  <a:lnTo>
                    <a:pt x="40" y="167"/>
                  </a:lnTo>
                  <a:lnTo>
                    <a:pt x="36" y="163"/>
                  </a:lnTo>
                  <a:lnTo>
                    <a:pt x="36" y="167"/>
                  </a:lnTo>
                  <a:lnTo>
                    <a:pt x="36" y="171"/>
                  </a:lnTo>
                  <a:lnTo>
                    <a:pt x="32" y="171"/>
                  </a:lnTo>
                  <a:lnTo>
                    <a:pt x="28" y="167"/>
                  </a:lnTo>
                  <a:lnTo>
                    <a:pt x="28" y="171"/>
                  </a:lnTo>
                  <a:lnTo>
                    <a:pt x="28" y="167"/>
                  </a:lnTo>
                  <a:lnTo>
                    <a:pt x="28" y="163"/>
                  </a:lnTo>
                  <a:close/>
                  <a:moveTo>
                    <a:pt x="128" y="219"/>
                  </a:moveTo>
                  <a:lnTo>
                    <a:pt x="128" y="215"/>
                  </a:lnTo>
                  <a:lnTo>
                    <a:pt x="124" y="215"/>
                  </a:lnTo>
                  <a:lnTo>
                    <a:pt x="120" y="215"/>
                  </a:lnTo>
                  <a:lnTo>
                    <a:pt x="120" y="211"/>
                  </a:lnTo>
                  <a:lnTo>
                    <a:pt x="116" y="211"/>
                  </a:lnTo>
                  <a:lnTo>
                    <a:pt x="116" y="207"/>
                  </a:lnTo>
                  <a:lnTo>
                    <a:pt x="112" y="207"/>
                  </a:lnTo>
                  <a:lnTo>
                    <a:pt x="108" y="207"/>
                  </a:lnTo>
                  <a:lnTo>
                    <a:pt x="104" y="203"/>
                  </a:lnTo>
                  <a:lnTo>
                    <a:pt x="100" y="203"/>
                  </a:lnTo>
                  <a:lnTo>
                    <a:pt x="100" y="199"/>
                  </a:lnTo>
                  <a:lnTo>
                    <a:pt x="96" y="199"/>
                  </a:lnTo>
                  <a:lnTo>
                    <a:pt x="92" y="199"/>
                  </a:lnTo>
                  <a:lnTo>
                    <a:pt x="88" y="199"/>
                  </a:lnTo>
                  <a:lnTo>
                    <a:pt x="88" y="195"/>
                  </a:lnTo>
                  <a:lnTo>
                    <a:pt x="88" y="191"/>
                  </a:lnTo>
                  <a:lnTo>
                    <a:pt x="92" y="187"/>
                  </a:lnTo>
                  <a:lnTo>
                    <a:pt x="96" y="187"/>
                  </a:lnTo>
                  <a:lnTo>
                    <a:pt x="96" y="191"/>
                  </a:lnTo>
                  <a:lnTo>
                    <a:pt x="96" y="187"/>
                  </a:lnTo>
                  <a:lnTo>
                    <a:pt x="100" y="187"/>
                  </a:lnTo>
                  <a:lnTo>
                    <a:pt x="104" y="187"/>
                  </a:lnTo>
                  <a:lnTo>
                    <a:pt x="108" y="191"/>
                  </a:lnTo>
                  <a:lnTo>
                    <a:pt x="112" y="191"/>
                  </a:lnTo>
                  <a:lnTo>
                    <a:pt x="116" y="191"/>
                  </a:lnTo>
                  <a:lnTo>
                    <a:pt x="120" y="191"/>
                  </a:lnTo>
                  <a:lnTo>
                    <a:pt x="124" y="187"/>
                  </a:lnTo>
                  <a:lnTo>
                    <a:pt x="128" y="187"/>
                  </a:lnTo>
                  <a:lnTo>
                    <a:pt x="132" y="187"/>
                  </a:lnTo>
                  <a:lnTo>
                    <a:pt x="136" y="183"/>
                  </a:lnTo>
                  <a:lnTo>
                    <a:pt x="136" y="187"/>
                  </a:lnTo>
                  <a:lnTo>
                    <a:pt x="136" y="191"/>
                  </a:lnTo>
                  <a:lnTo>
                    <a:pt x="132" y="191"/>
                  </a:lnTo>
                  <a:lnTo>
                    <a:pt x="132" y="195"/>
                  </a:lnTo>
                  <a:lnTo>
                    <a:pt x="132" y="199"/>
                  </a:lnTo>
                  <a:lnTo>
                    <a:pt x="128" y="199"/>
                  </a:lnTo>
                  <a:lnTo>
                    <a:pt x="128" y="203"/>
                  </a:lnTo>
                  <a:lnTo>
                    <a:pt x="132" y="207"/>
                  </a:lnTo>
                  <a:lnTo>
                    <a:pt x="132" y="211"/>
                  </a:lnTo>
                  <a:lnTo>
                    <a:pt x="128" y="211"/>
                  </a:lnTo>
                  <a:lnTo>
                    <a:pt x="128" y="215"/>
                  </a:lnTo>
                  <a:lnTo>
                    <a:pt x="128" y="2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2" name="Freeform 99"/>
            <p:cNvSpPr>
              <a:spLocks/>
            </p:cNvSpPr>
            <p:nvPr>
              <p:custDataLst>
                <p:tags r:id="rId295"/>
              </p:custDataLst>
            </p:nvPr>
          </p:nvSpPr>
          <p:spPr bwMode="gray">
            <a:xfrm>
              <a:off x="4168432" y="2372841"/>
              <a:ext cx="29661" cy="11865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</a:cxnLst>
              <a:rect l="0" t="0" r="r" b="b"/>
              <a:pathLst>
                <a:path w="20" h="8"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3" name="Freeform 100"/>
            <p:cNvSpPr>
              <a:spLocks/>
            </p:cNvSpPr>
            <p:nvPr>
              <p:custDataLst>
                <p:tags r:id="rId296"/>
              </p:custDataLst>
            </p:nvPr>
          </p:nvSpPr>
          <p:spPr bwMode="gray">
            <a:xfrm>
              <a:off x="4849159" y="2869668"/>
              <a:ext cx="158687" cy="83052"/>
            </a:xfrm>
            <a:custGeom>
              <a:avLst/>
              <a:gdLst/>
              <a:ahLst/>
              <a:cxnLst>
                <a:cxn ang="0">
                  <a:pos x="52" y="4"/>
                </a:cxn>
                <a:cxn ang="0">
                  <a:pos x="60" y="0"/>
                </a:cxn>
                <a:cxn ang="0">
                  <a:pos x="64" y="0"/>
                </a:cxn>
                <a:cxn ang="0">
                  <a:pos x="64" y="0"/>
                </a:cxn>
                <a:cxn ang="0">
                  <a:pos x="68" y="4"/>
                </a:cxn>
                <a:cxn ang="0">
                  <a:pos x="72" y="4"/>
                </a:cxn>
                <a:cxn ang="0">
                  <a:pos x="84" y="12"/>
                </a:cxn>
                <a:cxn ang="0">
                  <a:pos x="88" y="12"/>
                </a:cxn>
                <a:cxn ang="0">
                  <a:pos x="92" y="12"/>
                </a:cxn>
                <a:cxn ang="0">
                  <a:pos x="96" y="12"/>
                </a:cxn>
                <a:cxn ang="0">
                  <a:pos x="100" y="16"/>
                </a:cxn>
                <a:cxn ang="0">
                  <a:pos x="104" y="20"/>
                </a:cxn>
                <a:cxn ang="0">
                  <a:pos x="100" y="28"/>
                </a:cxn>
                <a:cxn ang="0">
                  <a:pos x="104" y="32"/>
                </a:cxn>
                <a:cxn ang="0">
                  <a:pos x="107" y="40"/>
                </a:cxn>
                <a:cxn ang="0">
                  <a:pos x="107" y="44"/>
                </a:cxn>
                <a:cxn ang="0">
                  <a:pos x="100" y="52"/>
                </a:cxn>
                <a:cxn ang="0">
                  <a:pos x="100" y="56"/>
                </a:cxn>
                <a:cxn ang="0">
                  <a:pos x="88" y="52"/>
                </a:cxn>
                <a:cxn ang="0">
                  <a:pos x="84" y="56"/>
                </a:cxn>
                <a:cxn ang="0">
                  <a:pos x="84" y="56"/>
                </a:cxn>
                <a:cxn ang="0">
                  <a:pos x="80" y="56"/>
                </a:cxn>
                <a:cxn ang="0">
                  <a:pos x="76" y="52"/>
                </a:cxn>
                <a:cxn ang="0">
                  <a:pos x="72" y="48"/>
                </a:cxn>
                <a:cxn ang="0">
                  <a:pos x="64" y="44"/>
                </a:cxn>
                <a:cxn ang="0">
                  <a:pos x="60" y="44"/>
                </a:cxn>
                <a:cxn ang="0">
                  <a:pos x="60" y="40"/>
                </a:cxn>
                <a:cxn ang="0">
                  <a:pos x="52" y="44"/>
                </a:cxn>
                <a:cxn ang="0">
                  <a:pos x="48" y="44"/>
                </a:cxn>
                <a:cxn ang="0">
                  <a:pos x="44" y="44"/>
                </a:cxn>
                <a:cxn ang="0">
                  <a:pos x="36" y="40"/>
                </a:cxn>
                <a:cxn ang="0">
                  <a:pos x="36" y="40"/>
                </a:cxn>
                <a:cxn ang="0">
                  <a:pos x="32" y="44"/>
                </a:cxn>
                <a:cxn ang="0">
                  <a:pos x="28" y="40"/>
                </a:cxn>
                <a:cxn ang="0">
                  <a:pos x="24" y="40"/>
                </a:cxn>
                <a:cxn ang="0">
                  <a:pos x="24" y="40"/>
                </a:cxn>
                <a:cxn ang="0">
                  <a:pos x="16" y="40"/>
                </a:cxn>
                <a:cxn ang="0">
                  <a:pos x="4" y="44"/>
                </a:cxn>
                <a:cxn ang="0">
                  <a:pos x="4" y="44"/>
                </a:cxn>
                <a:cxn ang="0">
                  <a:pos x="0" y="48"/>
                </a:cxn>
                <a:cxn ang="0">
                  <a:pos x="0" y="44"/>
                </a:cxn>
                <a:cxn ang="0">
                  <a:pos x="0" y="36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4" y="8"/>
                </a:cxn>
                <a:cxn ang="0">
                  <a:pos x="28" y="16"/>
                </a:cxn>
                <a:cxn ang="0">
                  <a:pos x="32" y="16"/>
                </a:cxn>
                <a:cxn ang="0">
                  <a:pos x="32" y="24"/>
                </a:cxn>
                <a:cxn ang="0">
                  <a:pos x="40" y="28"/>
                </a:cxn>
                <a:cxn ang="0">
                  <a:pos x="44" y="24"/>
                </a:cxn>
                <a:cxn ang="0">
                  <a:pos x="52" y="20"/>
                </a:cxn>
                <a:cxn ang="0">
                  <a:pos x="48" y="8"/>
                </a:cxn>
              </a:cxnLst>
              <a:rect l="0" t="0" r="r" b="b"/>
              <a:pathLst>
                <a:path w="107" h="56">
                  <a:moveTo>
                    <a:pt x="48" y="4"/>
                  </a:move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100" y="12"/>
                  </a:lnTo>
                  <a:lnTo>
                    <a:pt x="100" y="16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6"/>
                  </a:lnTo>
                  <a:lnTo>
                    <a:pt x="107" y="36"/>
                  </a:lnTo>
                  <a:lnTo>
                    <a:pt x="107" y="40"/>
                  </a:lnTo>
                  <a:lnTo>
                    <a:pt x="107" y="40"/>
                  </a:lnTo>
                  <a:lnTo>
                    <a:pt x="107" y="44"/>
                  </a:lnTo>
                  <a:lnTo>
                    <a:pt x="107" y="44"/>
                  </a:lnTo>
                  <a:lnTo>
                    <a:pt x="107" y="44"/>
                  </a:lnTo>
                  <a:lnTo>
                    <a:pt x="107" y="48"/>
                  </a:lnTo>
                  <a:lnTo>
                    <a:pt x="107" y="44"/>
                  </a:lnTo>
                  <a:lnTo>
                    <a:pt x="107" y="44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0" y="48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2" y="52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2" y="40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4" name="Freeform 101"/>
            <p:cNvSpPr>
              <a:spLocks noEditPoints="1"/>
            </p:cNvSpPr>
            <p:nvPr>
              <p:custDataLst>
                <p:tags r:id="rId297"/>
              </p:custDataLst>
            </p:nvPr>
          </p:nvSpPr>
          <p:spPr bwMode="gray">
            <a:xfrm>
              <a:off x="4843226" y="2928991"/>
              <a:ext cx="136442" cy="88984"/>
            </a:xfrm>
            <a:custGeom>
              <a:avLst/>
              <a:gdLst/>
              <a:ahLst/>
              <a:cxnLst>
                <a:cxn ang="0">
                  <a:pos x="40" y="52"/>
                </a:cxn>
                <a:cxn ang="0">
                  <a:pos x="36" y="48"/>
                </a:cxn>
                <a:cxn ang="0">
                  <a:pos x="28" y="48"/>
                </a:cxn>
                <a:cxn ang="0">
                  <a:pos x="28" y="44"/>
                </a:cxn>
                <a:cxn ang="0">
                  <a:pos x="32" y="40"/>
                </a:cxn>
                <a:cxn ang="0">
                  <a:pos x="28" y="32"/>
                </a:cxn>
                <a:cxn ang="0">
                  <a:pos x="24" y="32"/>
                </a:cxn>
                <a:cxn ang="0">
                  <a:pos x="20" y="32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6" y="0"/>
                </a:cxn>
                <a:cxn ang="0">
                  <a:pos x="40" y="0"/>
                </a:cxn>
                <a:cxn ang="0">
                  <a:pos x="48" y="0"/>
                </a:cxn>
                <a:cxn ang="0">
                  <a:pos x="52" y="4"/>
                </a:cxn>
                <a:cxn ang="0">
                  <a:pos x="56" y="4"/>
                </a:cxn>
                <a:cxn ang="0">
                  <a:pos x="60" y="0"/>
                </a:cxn>
                <a:cxn ang="0">
                  <a:pos x="64" y="0"/>
                </a:cxn>
                <a:cxn ang="0">
                  <a:pos x="64" y="4"/>
                </a:cxn>
                <a:cxn ang="0">
                  <a:pos x="72" y="8"/>
                </a:cxn>
                <a:cxn ang="0">
                  <a:pos x="80" y="12"/>
                </a:cxn>
                <a:cxn ang="0">
                  <a:pos x="84" y="16"/>
                </a:cxn>
                <a:cxn ang="0">
                  <a:pos x="88" y="16"/>
                </a:cxn>
                <a:cxn ang="0">
                  <a:pos x="84" y="24"/>
                </a:cxn>
                <a:cxn ang="0">
                  <a:pos x="88" y="24"/>
                </a:cxn>
                <a:cxn ang="0">
                  <a:pos x="88" y="28"/>
                </a:cxn>
                <a:cxn ang="0">
                  <a:pos x="84" y="32"/>
                </a:cxn>
                <a:cxn ang="0">
                  <a:pos x="76" y="36"/>
                </a:cxn>
                <a:cxn ang="0">
                  <a:pos x="76" y="40"/>
                </a:cxn>
                <a:cxn ang="0">
                  <a:pos x="72" y="44"/>
                </a:cxn>
                <a:cxn ang="0">
                  <a:pos x="72" y="48"/>
                </a:cxn>
                <a:cxn ang="0">
                  <a:pos x="76" y="52"/>
                </a:cxn>
                <a:cxn ang="0">
                  <a:pos x="72" y="52"/>
                </a:cxn>
                <a:cxn ang="0">
                  <a:pos x="68" y="52"/>
                </a:cxn>
                <a:cxn ang="0">
                  <a:pos x="64" y="52"/>
                </a:cxn>
                <a:cxn ang="0">
                  <a:pos x="64" y="52"/>
                </a:cxn>
                <a:cxn ang="0">
                  <a:pos x="60" y="56"/>
                </a:cxn>
                <a:cxn ang="0">
                  <a:pos x="56" y="56"/>
                </a:cxn>
                <a:cxn ang="0">
                  <a:pos x="52" y="56"/>
                </a:cxn>
                <a:cxn ang="0">
                  <a:pos x="48" y="56"/>
                </a:cxn>
                <a:cxn ang="0">
                  <a:pos x="44" y="56"/>
                </a:cxn>
                <a:cxn ang="0">
                  <a:pos x="40" y="56"/>
                </a:cxn>
                <a:cxn ang="0">
                  <a:pos x="4" y="24"/>
                </a:cxn>
                <a:cxn ang="0">
                  <a:pos x="4" y="16"/>
                </a:cxn>
                <a:cxn ang="0">
                  <a:pos x="4" y="20"/>
                </a:cxn>
              </a:cxnLst>
              <a:rect l="0" t="0" r="r" b="b"/>
              <a:pathLst>
                <a:path w="92" h="60">
                  <a:moveTo>
                    <a:pt x="40" y="56"/>
                  </a:moveTo>
                  <a:lnTo>
                    <a:pt x="40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2" y="44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6" y="48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close/>
                  <a:moveTo>
                    <a:pt x="4" y="28"/>
                  </a:move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5" name="Freeform 102"/>
            <p:cNvSpPr>
              <a:spLocks/>
            </p:cNvSpPr>
            <p:nvPr>
              <p:custDataLst>
                <p:tags r:id="rId298"/>
              </p:custDataLst>
            </p:nvPr>
          </p:nvSpPr>
          <p:spPr bwMode="gray">
            <a:xfrm>
              <a:off x="4505088" y="3142552"/>
              <a:ext cx="17797" cy="23729"/>
            </a:xfrm>
            <a:custGeom>
              <a:avLst/>
              <a:gdLst/>
              <a:ahLst/>
              <a:cxnLst>
                <a:cxn ang="0">
                  <a:pos x="8" y="12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4" y="12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6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12"/>
                </a:cxn>
                <a:cxn ang="0">
                  <a:pos x="8" y="12"/>
                </a:cxn>
              </a:cxnLst>
              <a:rect l="0" t="0" r="r" b="b"/>
              <a:pathLst>
                <a:path w="12" h="16">
                  <a:moveTo>
                    <a:pt x="8" y="12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4" y="12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12"/>
                  </a:lnTo>
                  <a:lnTo>
                    <a:pt x="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6" name="Freeform 103"/>
            <p:cNvSpPr>
              <a:spLocks/>
            </p:cNvSpPr>
            <p:nvPr>
              <p:custDataLst>
                <p:tags r:id="rId299"/>
              </p:custDataLst>
            </p:nvPr>
          </p:nvSpPr>
          <p:spPr bwMode="gray">
            <a:xfrm>
              <a:off x="4837294" y="3390223"/>
              <a:ext cx="53390" cy="47458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36" y="20"/>
                </a:cxn>
                <a:cxn ang="0">
                  <a:pos x="36" y="20"/>
                </a:cxn>
                <a:cxn ang="0">
                  <a:pos x="36" y="20"/>
                </a:cxn>
                <a:cxn ang="0">
                  <a:pos x="32" y="24"/>
                </a:cxn>
                <a:cxn ang="0">
                  <a:pos x="32" y="24"/>
                </a:cxn>
                <a:cxn ang="0">
                  <a:pos x="32" y="28"/>
                </a:cxn>
                <a:cxn ang="0">
                  <a:pos x="28" y="28"/>
                </a:cxn>
                <a:cxn ang="0">
                  <a:pos x="28" y="24"/>
                </a:cxn>
                <a:cxn ang="0">
                  <a:pos x="24" y="24"/>
                </a:cxn>
                <a:cxn ang="0">
                  <a:pos x="20" y="28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0" y="12"/>
                </a:cxn>
              </a:cxnLst>
              <a:rect l="0" t="0" r="r" b="b"/>
              <a:pathLst>
                <a:path w="36" h="32">
                  <a:moveTo>
                    <a:pt x="0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7" name="Freeform 104"/>
            <p:cNvSpPr>
              <a:spLocks/>
            </p:cNvSpPr>
            <p:nvPr>
              <p:custDataLst>
                <p:tags r:id="rId300"/>
              </p:custDataLst>
            </p:nvPr>
          </p:nvSpPr>
          <p:spPr bwMode="gray">
            <a:xfrm>
              <a:off x="4973736" y="3195942"/>
              <a:ext cx="75636" cy="100848"/>
            </a:xfrm>
            <a:custGeom>
              <a:avLst/>
              <a:gdLst/>
              <a:ahLst/>
              <a:cxnLst>
                <a:cxn ang="0">
                  <a:pos x="23" y="48"/>
                </a:cxn>
                <a:cxn ang="0">
                  <a:pos x="23" y="40"/>
                </a:cxn>
                <a:cxn ang="0">
                  <a:pos x="23" y="36"/>
                </a:cxn>
                <a:cxn ang="0">
                  <a:pos x="23" y="36"/>
                </a:cxn>
                <a:cxn ang="0">
                  <a:pos x="20" y="32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16" y="24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4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8" y="4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3" y="4"/>
                </a:cxn>
                <a:cxn ang="0">
                  <a:pos x="23" y="8"/>
                </a:cxn>
                <a:cxn ang="0">
                  <a:pos x="23" y="4"/>
                </a:cxn>
                <a:cxn ang="0">
                  <a:pos x="27" y="8"/>
                </a:cxn>
                <a:cxn ang="0">
                  <a:pos x="27" y="8"/>
                </a:cxn>
                <a:cxn ang="0">
                  <a:pos x="31" y="8"/>
                </a:cxn>
                <a:cxn ang="0">
                  <a:pos x="35" y="12"/>
                </a:cxn>
                <a:cxn ang="0">
                  <a:pos x="35" y="12"/>
                </a:cxn>
                <a:cxn ang="0">
                  <a:pos x="35" y="12"/>
                </a:cxn>
                <a:cxn ang="0">
                  <a:pos x="35" y="12"/>
                </a:cxn>
                <a:cxn ang="0">
                  <a:pos x="39" y="16"/>
                </a:cxn>
                <a:cxn ang="0">
                  <a:pos x="39" y="20"/>
                </a:cxn>
                <a:cxn ang="0">
                  <a:pos x="39" y="24"/>
                </a:cxn>
                <a:cxn ang="0">
                  <a:pos x="39" y="24"/>
                </a:cxn>
                <a:cxn ang="0">
                  <a:pos x="43" y="28"/>
                </a:cxn>
                <a:cxn ang="0">
                  <a:pos x="43" y="24"/>
                </a:cxn>
                <a:cxn ang="0">
                  <a:pos x="43" y="28"/>
                </a:cxn>
                <a:cxn ang="0">
                  <a:pos x="43" y="36"/>
                </a:cxn>
                <a:cxn ang="0">
                  <a:pos x="51" y="36"/>
                </a:cxn>
                <a:cxn ang="0">
                  <a:pos x="51" y="44"/>
                </a:cxn>
                <a:cxn ang="0">
                  <a:pos x="51" y="44"/>
                </a:cxn>
                <a:cxn ang="0">
                  <a:pos x="51" y="44"/>
                </a:cxn>
                <a:cxn ang="0">
                  <a:pos x="51" y="48"/>
                </a:cxn>
                <a:cxn ang="0">
                  <a:pos x="51" y="48"/>
                </a:cxn>
                <a:cxn ang="0">
                  <a:pos x="47" y="48"/>
                </a:cxn>
                <a:cxn ang="0">
                  <a:pos x="43" y="48"/>
                </a:cxn>
                <a:cxn ang="0">
                  <a:pos x="43" y="44"/>
                </a:cxn>
                <a:cxn ang="0">
                  <a:pos x="39" y="44"/>
                </a:cxn>
                <a:cxn ang="0">
                  <a:pos x="39" y="48"/>
                </a:cxn>
                <a:cxn ang="0">
                  <a:pos x="39" y="44"/>
                </a:cxn>
                <a:cxn ang="0">
                  <a:pos x="35" y="44"/>
                </a:cxn>
                <a:cxn ang="0">
                  <a:pos x="35" y="44"/>
                </a:cxn>
                <a:cxn ang="0">
                  <a:pos x="35" y="52"/>
                </a:cxn>
                <a:cxn ang="0">
                  <a:pos x="31" y="56"/>
                </a:cxn>
                <a:cxn ang="0">
                  <a:pos x="31" y="56"/>
                </a:cxn>
                <a:cxn ang="0">
                  <a:pos x="31" y="60"/>
                </a:cxn>
                <a:cxn ang="0">
                  <a:pos x="27" y="64"/>
                </a:cxn>
                <a:cxn ang="0">
                  <a:pos x="27" y="64"/>
                </a:cxn>
                <a:cxn ang="0">
                  <a:pos x="27" y="64"/>
                </a:cxn>
                <a:cxn ang="0">
                  <a:pos x="23" y="64"/>
                </a:cxn>
                <a:cxn ang="0">
                  <a:pos x="23" y="68"/>
                </a:cxn>
                <a:cxn ang="0">
                  <a:pos x="23" y="68"/>
                </a:cxn>
                <a:cxn ang="0">
                  <a:pos x="23" y="64"/>
                </a:cxn>
                <a:cxn ang="0">
                  <a:pos x="23" y="56"/>
                </a:cxn>
                <a:cxn ang="0">
                  <a:pos x="23" y="52"/>
                </a:cxn>
              </a:cxnLst>
              <a:rect l="0" t="0" r="r" b="b"/>
              <a:pathLst>
                <a:path w="51" h="68">
                  <a:moveTo>
                    <a:pt x="23" y="52"/>
                  </a:moveTo>
                  <a:lnTo>
                    <a:pt x="23" y="52"/>
                  </a:lnTo>
                  <a:lnTo>
                    <a:pt x="23" y="48"/>
                  </a:lnTo>
                  <a:lnTo>
                    <a:pt x="23" y="44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4"/>
                  </a:lnTo>
                  <a:lnTo>
                    <a:pt x="27" y="4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39" y="16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43" y="24"/>
                  </a:lnTo>
                  <a:lnTo>
                    <a:pt x="39" y="24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3" y="32"/>
                  </a:lnTo>
                  <a:lnTo>
                    <a:pt x="43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51" y="36"/>
                  </a:lnTo>
                  <a:lnTo>
                    <a:pt x="51" y="40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47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47" y="48"/>
                  </a:lnTo>
                  <a:lnTo>
                    <a:pt x="47" y="48"/>
                  </a:lnTo>
                  <a:lnTo>
                    <a:pt x="47" y="44"/>
                  </a:lnTo>
                  <a:lnTo>
                    <a:pt x="47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5" y="48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0"/>
                  </a:lnTo>
                  <a:lnTo>
                    <a:pt x="23" y="60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2"/>
                  </a:lnTo>
                  <a:lnTo>
                    <a:pt x="23" y="5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8" name="Freeform 105"/>
            <p:cNvSpPr>
              <a:spLocks noEditPoints="1"/>
            </p:cNvSpPr>
            <p:nvPr>
              <p:custDataLst>
                <p:tags r:id="rId301"/>
              </p:custDataLst>
            </p:nvPr>
          </p:nvSpPr>
          <p:spPr bwMode="gray">
            <a:xfrm>
              <a:off x="4453180" y="3029839"/>
              <a:ext cx="81568" cy="94916"/>
            </a:xfrm>
            <a:custGeom>
              <a:avLst/>
              <a:gdLst/>
              <a:ahLst/>
              <a:cxnLst>
                <a:cxn ang="0">
                  <a:pos x="31" y="28"/>
                </a:cxn>
                <a:cxn ang="0">
                  <a:pos x="35" y="24"/>
                </a:cxn>
                <a:cxn ang="0">
                  <a:pos x="31" y="16"/>
                </a:cxn>
                <a:cxn ang="0">
                  <a:pos x="27" y="12"/>
                </a:cxn>
                <a:cxn ang="0">
                  <a:pos x="27" y="12"/>
                </a:cxn>
                <a:cxn ang="0">
                  <a:pos x="27" y="20"/>
                </a:cxn>
                <a:cxn ang="0">
                  <a:pos x="23" y="20"/>
                </a:cxn>
                <a:cxn ang="0">
                  <a:pos x="23" y="24"/>
                </a:cxn>
                <a:cxn ang="0">
                  <a:pos x="20" y="20"/>
                </a:cxn>
                <a:cxn ang="0">
                  <a:pos x="23" y="12"/>
                </a:cxn>
                <a:cxn ang="0">
                  <a:pos x="27" y="8"/>
                </a:cxn>
                <a:cxn ang="0">
                  <a:pos x="31" y="4"/>
                </a:cxn>
                <a:cxn ang="0">
                  <a:pos x="43" y="0"/>
                </a:cxn>
                <a:cxn ang="0">
                  <a:pos x="51" y="4"/>
                </a:cxn>
                <a:cxn ang="0">
                  <a:pos x="55" y="12"/>
                </a:cxn>
                <a:cxn ang="0">
                  <a:pos x="51" y="20"/>
                </a:cxn>
                <a:cxn ang="0">
                  <a:pos x="47" y="24"/>
                </a:cxn>
                <a:cxn ang="0">
                  <a:pos x="55" y="28"/>
                </a:cxn>
                <a:cxn ang="0">
                  <a:pos x="51" y="32"/>
                </a:cxn>
                <a:cxn ang="0">
                  <a:pos x="47" y="36"/>
                </a:cxn>
                <a:cxn ang="0">
                  <a:pos x="39" y="40"/>
                </a:cxn>
                <a:cxn ang="0">
                  <a:pos x="43" y="48"/>
                </a:cxn>
                <a:cxn ang="0">
                  <a:pos x="35" y="56"/>
                </a:cxn>
                <a:cxn ang="0">
                  <a:pos x="39" y="60"/>
                </a:cxn>
                <a:cxn ang="0">
                  <a:pos x="35" y="60"/>
                </a:cxn>
                <a:cxn ang="0">
                  <a:pos x="31" y="60"/>
                </a:cxn>
                <a:cxn ang="0">
                  <a:pos x="31" y="52"/>
                </a:cxn>
                <a:cxn ang="0">
                  <a:pos x="27" y="48"/>
                </a:cxn>
                <a:cxn ang="0">
                  <a:pos x="23" y="48"/>
                </a:cxn>
                <a:cxn ang="0">
                  <a:pos x="20" y="44"/>
                </a:cxn>
                <a:cxn ang="0">
                  <a:pos x="16" y="48"/>
                </a:cxn>
                <a:cxn ang="0">
                  <a:pos x="12" y="48"/>
                </a:cxn>
                <a:cxn ang="0">
                  <a:pos x="0" y="44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16" y="28"/>
                </a:cxn>
                <a:cxn ang="0">
                  <a:pos x="20" y="24"/>
                </a:cxn>
                <a:cxn ang="0">
                  <a:pos x="27" y="28"/>
                </a:cxn>
                <a:cxn ang="0">
                  <a:pos x="23" y="20"/>
                </a:cxn>
                <a:cxn ang="0">
                  <a:pos x="27" y="20"/>
                </a:cxn>
                <a:cxn ang="0">
                  <a:pos x="27" y="24"/>
                </a:cxn>
                <a:cxn ang="0">
                  <a:pos x="23" y="24"/>
                </a:cxn>
                <a:cxn ang="0">
                  <a:pos x="31" y="28"/>
                </a:cxn>
                <a:cxn ang="0">
                  <a:pos x="27" y="28"/>
                </a:cxn>
                <a:cxn ang="0">
                  <a:pos x="31" y="24"/>
                </a:cxn>
                <a:cxn ang="0">
                  <a:pos x="35" y="24"/>
                </a:cxn>
                <a:cxn ang="0">
                  <a:pos x="8" y="40"/>
                </a:cxn>
                <a:cxn ang="0">
                  <a:pos x="8" y="44"/>
                </a:cxn>
                <a:cxn ang="0">
                  <a:pos x="4" y="40"/>
                </a:cxn>
                <a:cxn ang="0">
                  <a:pos x="4" y="48"/>
                </a:cxn>
                <a:cxn ang="0">
                  <a:pos x="12" y="52"/>
                </a:cxn>
                <a:cxn ang="0">
                  <a:pos x="0" y="52"/>
                </a:cxn>
                <a:cxn ang="0">
                  <a:pos x="27" y="4"/>
                </a:cxn>
                <a:cxn ang="0">
                  <a:pos x="31" y="0"/>
                </a:cxn>
                <a:cxn ang="0">
                  <a:pos x="20" y="12"/>
                </a:cxn>
                <a:cxn ang="0">
                  <a:pos x="20" y="8"/>
                </a:cxn>
                <a:cxn ang="0">
                  <a:pos x="20" y="12"/>
                </a:cxn>
              </a:cxnLst>
              <a:rect l="0" t="0" r="r" b="b"/>
              <a:pathLst>
                <a:path w="55" h="64">
                  <a:moveTo>
                    <a:pt x="27" y="28"/>
                  </a:moveTo>
                  <a:lnTo>
                    <a:pt x="27" y="28"/>
                  </a:lnTo>
                  <a:lnTo>
                    <a:pt x="27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1" y="20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27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5" y="4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5" y="8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20"/>
                  </a:lnTo>
                  <a:lnTo>
                    <a:pt x="55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47" y="20"/>
                  </a:lnTo>
                  <a:lnTo>
                    <a:pt x="47" y="24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1" y="28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3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40"/>
                  </a:lnTo>
                  <a:lnTo>
                    <a:pt x="39" y="40"/>
                  </a:lnTo>
                  <a:lnTo>
                    <a:pt x="39" y="40"/>
                  </a:lnTo>
                  <a:lnTo>
                    <a:pt x="39" y="40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8"/>
                  </a:lnTo>
                  <a:lnTo>
                    <a:pt x="39" y="48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5" y="60"/>
                  </a:lnTo>
                  <a:lnTo>
                    <a:pt x="35" y="64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48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4"/>
                  </a:lnTo>
                  <a:lnTo>
                    <a:pt x="23" y="44"/>
                  </a:lnTo>
                  <a:lnTo>
                    <a:pt x="23" y="44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close/>
                  <a:moveTo>
                    <a:pt x="23" y="24"/>
                  </a:moveTo>
                  <a:lnTo>
                    <a:pt x="23" y="24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close/>
                  <a:moveTo>
                    <a:pt x="31" y="24"/>
                  </a:moveTo>
                  <a:lnTo>
                    <a:pt x="31" y="24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3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1" y="24"/>
                  </a:lnTo>
                  <a:lnTo>
                    <a:pt x="31" y="24"/>
                  </a:lnTo>
                  <a:close/>
                  <a:moveTo>
                    <a:pt x="8" y="40"/>
                  </a:move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40"/>
                  </a:lnTo>
                  <a:close/>
                  <a:moveTo>
                    <a:pt x="0" y="48"/>
                  </a:move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8"/>
                  </a:lnTo>
                  <a:close/>
                  <a:moveTo>
                    <a:pt x="27" y="4"/>
                  </a:move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close/>
                  <a:moveTo>
                    <a:pt x="20" y="12"/>
                  </a:move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9" name="Freeform 106"/>
            <p:cNvSpPr>
              <a:spLocks noEditPoints="1"/>
            </p:cNvSpPr>
            <p:nvPr>
              <p:custDataLst>
                <p:tags r:id="rId302"/>
              </p:custDataLst>
            </p:nvPr>
          </p:nvSpPr>
          <p:spPr bwMode="gray">
            <a:xfrm>
              <a:off x="4482841" y="2372841"/>
              <a:ext cx="590259" cy="502758"/>
            </a:xfrm>
            <a:custGeom>
              <a:avLst/>
              <a:gdLst/>
              <a:ahLst/>
              <a:cxnLst>
                <a:cxn ang="0">
                  <a:pos x="103" y="164"/>
                </a:cxn>
                <a:cxn ang="0">
                  <a:pos x="119" y="140"/>
                </a:cxn>
                <a:cxn ang="0">
                  <a:pos x="131" y="132"/>
                </a:cxn>
                <a:cxn ang="0">
                  <a:pos x="131" y="116"/>
                </a:cxn>
                <a:cxn ang="0">
                  <a:pos x="151" y="108"/>
                </a:cxn>
                <a:cxn ang="0">
                  <a:pos x="159" y="92"/>
                </a:cxn>
                <a:cxn ang="0">
                  <a:pos x="163" y="80"/>
                </a:cxn>
                <a:cxn ang="0">
                  <a:pos x="171" y="80"/>
                </a:cxn>
                <a:cxn ang="0">
                  <a:pos x="179" y="72"/>
                </a:cxn>
                <a:cxn ang="0">
                  <a:pos x="203" y="44"/>
                </a:cxn>
                <a:cxn ang="0">
                  <a:pos x="227" y="40"/>
                </a:cxn>
                <a:cxn ang="0">
                  <a:pos x="247" y="36"/>
                </a:cxn>
                <a:cxn ang="0">
                  <a:pos x="275" y="28"/>
                </a:cxn>
                <a:cxn ang="0">
                  <a:pos x="295" y="12"/>
                </a:cxn>
                <a:cxn ang="0">
                  <a:pos x="307" y="32"/>
                </a:cxn>
                <a:cxn ang="0">
                  <a:pos x="339" y="12"/>
                </a:cxn>
                <a:cxn ang="0">
                  <a:pos x="351" y="20"/>
                </a:cxn>
                <a:cxn ang="0">
                  <a:pos x="382" y="12"/>
                </a:cxn>
                <a:cxn ang="0">
                  <a:pos x="374" y="32"/>
                </a:cxn>
                <a:cxn ang="0">
                  <a:pos x="378" y="48"/>
                </a:cxn>
                <a:cxn ang="0">
                  <a:pos x="335" y="32"/>
                </a:cxn>
                <a:cxn ang="0">
                  <a:pos x="291" y="64"/>
                </a:cxn>
                <a:cxn ang="0">
                  <a:pos x="235" y="72"/>
                </a:cxn>
                <a:cxn ang="0">
                  <a:pos x="175" y="112"/>
                </a:cxn>
                <a:cxn ang="0">
                  <a:pos x="143" y="180"/>
                </a:cxn>
                <a:cxn ang="0">
                  <a:pos x="123" y="255"/>
                </a:cxn>
                <a:cxn ang="0">
                  <a:pos x="95" y="311"/>
                </a:cxn>
                <a:cxn ang="0">
                  <a:pos x="71" y="311"/>
                </a:cxn>
                <a:cxn ang="0">
                  <a:pos x="15" y="327"/>
                </a:cxn>
                <a:cxn ang="0">
                  <a:pos x="23" y="299"/>
                </a:cxn>
                <a:cxn ang="0">
                  <a:pos x="19" y="283"/>
                </a:cxn>
                <a:cxn ang="0">
                  <a:pos x="11" y="279"/>
                </a:cxn>
                <a:cxn ang="0">
                  <a:pos x="7" y="267"/>
                </a:cxn>
                <a:cxn ang="0">
                  <a:pos x="27" y="259"/>
                </a:cxn>
                <a:cxn ang="0">
                  <a:pos x="7" y="251"/>
                </a:cxn>
                <a:cxn ang="0">
                  <a:pos x="11" y="236"/>
                </a:cxn>
                <a:cxn ang="0">
                  <a:pos x="39" y="236"/>
                </a:cxn>
                <a:cxn ang="0">
                  <a:pos x="43" y="224"/>
                </a:cxn>
                <a:cxn ang="0">
                  <a:pos x="47" y="216"/>
                </a:cxn>
                <a:cxn ang="0">
                  <a:pos x="67" y="200"/>
                </a:cxn>
                <a:cxn ang="0">
                  <a:pos x="87" y="196"/>
                </a:cxn>
                <a:cxn ang="0">
                  <a:pos x="287" y="16"/>
                </a:cxn>
                <a:cxn ang="0">
                  <a:pos x="211" y="32"/>
                </a:cxn>
                <a:cxn ang="0">
                  <a:pos x="179" y="60"/>
                </a:cxn>
                <a:cxn ang="0">
                  <a:pos x="131" y="80"/>
                </a:cxn>
                <a:cxn ang="0">
                  <a:pos x="107" y="148"/>
                </a:cxn>
                <a:cxn ang="0">
                  <a:pos x="95" y="176"/>
                </a:cxn>
                <a:cxn ang="0">
                  <a:pos x="43" y="212"/>
                </a:cxn>
                <a:cxn ang="0">
                  <a:pos x="0" y="244"/>
                </a:cxn>
                <a:cxn ang="0">
                  <a:pos x="319" y="4"/>
                </a:cxn>
                <a:cxn ang="0">
                  <a:pos x="279" y="8"/>
                </a:cxn>
                <a:cxn ang="0">
                  <a:pos x="227" y="28"/>
                </a:cxn>
                <a:cxn ang="0">
                  <a:pos x="223" y="32"/>
                </a:cxn>
                <a:cxn ang="0">
                  <a:pos x="187" y="52"/>
                </a:cxn>
                <a:cxn ang="0">
                  <a:pos x="187" y="60"/>
                </a:cxn>
                <a:cxn ang="0">
                  <a:pos x="159" y="60"/>
                </a:cxn>
                <a:cxn ang="0">
                  <a:pos x="159" y="72"/>
                </a:cxn>
                <a:cxn ang="0">
                  <a:pos x="155" y="76"/>
                </a:cxn>
                <a:cxn ang="0">
                  <a:pos x="119" y="136"/>
                </a:cxn>
                <a:cxn ang="0">
                  <a:pos x="47" y="208"/>
                </a:cxn>
                <a:cxn ang="0">
                  <a:pos x="11" y="287"/>
                </a:cxn>
              </a:cxnLst>
              <a:rect l="0" t="0" r="r" b="b"/>
              <a:pathLst>
                <a:path w="398" h="339">
                  <a:moveTo>
                    <a:pt x="87" y="180"/>
                  </a:moveTo>
                  <a:lnTo>
                    <a:pt x="91" y="180"/>
                  </a:lnTo>
                  <a:lnTo>
                    <a:pt x="87" y="180"/>
                  </a:lnTo>
                  <a:lnTo>
                    <a:pt x="91" y="176"/>
                  </a:lnTo>
                  <a:lnTo>
                    <a:pt x="95" y="176"/>
                  </a:lnTo>
                  <a:lnTo>
                    <a:pt x="99" y="180"/>
                  </a:lnTo>
                  <a:lnTo>
                    <a:pt x="99" y="176"/>
                  </a:lnTo>
                  <a:lnTo>
                    <a:pt x="103" y="176"/>
                  </a:lnTo>
                  <a:lnTo>
                    <a:pt x="107" y="176"/>
                  </a:lnTo>
                  <a:lnTo>
                    <a:pt x="103" y="176"/>
                  </a:lnTo>
                  <a:lnTo>
                    <a:pt x="99" y="176"/>
                  </a:lnTo>
                  <a:lnTo>
                    <a:pt x="99" y="172"/>
                  </a:lnTo>
                  <a:lnTo>
                    <a:pt x="103" y="172"/>
                  </a:lnTo>
                  <a:lnTo>
                    <a:pt x="107" y="172"/>
                  </a:lnTo>
                  <a:lnTo>
                    <a:pt x="107" y="168"/>
                  </a:lnTo>
                  <a:lnTo>
                    <a:pt x="103" y="168"/>
                  </a:lnTo>
                  <a:lnTo>
                    <a:pt x="107" y="168"/>
                  </a:lnTo>
                  <a:lnTo>
                    <a:pt x="111" y="164"/>
                  </a:lnTo>
                  <a:lnTo>
                    <a:pt x="107" y="164"/>
                  </a:lnTo>
                  <a:lnTo>
                    <a:pt x="107" y="168"/>
                  </a:lnTo>
                  <a:lnTo>
                    <a:pt x="99" y="172"/>
                  </a:lnTo>
                  <a:lnTo>
                    <a:pt x="99" y="168"/>
                  </a:lnTo>
                  <a:lnTo>
                    <a:pt x="103" y="168"/>
                  </a:lnTo>
                  <a:lnTo>
                    <a:pt x="99" y="168"/>
                  </a:lnTo>
                  <a:lnTo>
                    <a:pt x="103" y="164"/>
                  </a:lnTo>
                  <a:lnTo>
                    <a:pt x="107" y="164"/>
                  </a:lnTo>
                  <a:lnTo>
                    <a:pt x="111" y="164"/>
                  </a:lnTo>
                  <a:lnTo>
                    <a:pt x="115" y="164"/>
                  </a:lnTo>
                  <a:lnTo>
                    <a:pt x="119" y="160"/>
                  </a:lnTo>
                  <a:lnTo>
                    <a:pt x="123" y="156"/>
                  </a:lnTo>
                  <a:lnTo>
                    <a:pt x="119" y="160"/>
                  </a:lnTo>
                  <a:lnTo>
                    <a:pt x="115" y="160"/>
                  </a:lnTo>
                  <a:lnTo>
                    <a:pt x="119" y="160"/>
                  </a:lnTo>
                  <a:lnTo>
                    <a:pt x="119" y="156"/>
                  </a:lnTo>
                  <a:lnTo>
                    <a:pt x="115" y="156"/>
                  </a:lnTo>
                  <a:lnTo>
                    <a:pt x="115" y="160"/>
                  </a:lnTo>
                  <a:lnTo>
                    <a:pt x="111" y="160"/>
                  </a:lnTo>
                  <a:lnTo>
                    <a:pt x="115" y="156"/>
                  </a:lnTo>
                  <a:lnTo>
                    <a:pt x="119" y="156"/>
                  </a:lnTo>
                  <a:lnTo>
                    <a:pt x="115" y="152"/>
                  </a:lnTo>
                  <a:lnTo>
                    <a:pt x="119" y="152"/>
                  </a:lnTo>
                  <a:lnTo>
                    <a:pt x="115" y="152"/>
                  </a:lnTo>
                  <a:lnTo>
                    <a:pt x="115" y="148"/>
                  </a:lnTo>
                  <a:lnTo>
                    <a:pt x="115" y="144"/>
                  </a:lnTo>
                  <a:lnTo>
                    <a:pt x="119" y="144"/>
                  </a:lnTo>
                  <a:lnTo>
                    <a:pt x="119" y="148"/>
                  </a:lnTo>
                  <a:lnTo>
                    <a:pt x="123" y="148"/>
                  </a:lnTo>
                  <a:lnTo>
                    <a:pt x="119" y="148"/>
                  </a:lnTo>
                  <a:lnTo>
                    <a:pt x="119" y="144"/>
                  </a:lnTo>
                  <a:lnTo>
                    <a:pt x="119" y="140"/>
                  </a:lnTo>
                  <a:lnTo>
                    <a:pt x="123" y="140"/>
                  </a:lnTo>
                  <a:lnTo>
                    <a:pt x="127" y="140"/>
                  </a:lnTo>
                  <a:lnTo>
                    <a:pt x="127" y="144"/>
                  </a:lnTo>
                  <a:lnTo>
                    <a:pt x="127" y="140"/>
                  </a:lnTo>
                  <a:lnTo>
                    <a:pt x="123" y="140"/>
                  </a:lnTo>
                  <a:lnTo>
                    <a:pt x="123" y="136"/>
                  </a:lnTo>
                  <a:lnTo>
                    <a:pt x="119" y="136"/>
                  </a:lnTo>
                  <a:lnTo>
                    <a:pt x="123" y="136"/>
                  </a:lnTo>
                  <a:lnTo>
                    <a:pt x="127" y="136"/>
                  </a:lnTo>
                  <a:lnTo>
                    <a:pt x="127" y="132"/>
                  </a:lnTo>
                  <a:lnTo>
                    <a:pt x="131" y="132"/>
                  </a:lnTo>
                  <a:lnTo>
                    <a:pt x="135" y="132"/>
                  </a:lnTo>
                  <a:lnTo>
                    <a:pt x="131" y="132"/>
                  </a:lnTo>
                  <a:lnTo>
                    <a:pt x="131" y="136"/>
                  </a:lnTo>
                  <a:lnTo>
                    <a:pt x="135" y="132"/>
                  </a:lnTo>
                  <a:lnTo>
                    <a:pt x="139" y="132"/>
                  </a:lnTo>
                  <a:lnTo>
                    <a:pt x="143" y="132"/>
                  </a:lnTo>
                  <a:lnTo>
                    <a:pt x="143" y="128"/>
                  </a:lnTo>
                  <a:lnTo>
                    <a:pt x="139" y="132"/>
                  </a:lnTo>
                  <a:lnTo>
                    <a:pt x="135" y="132"/>
                  </a:lnTo>
                  <a:lnTo>
                    <a:pt x="131" y="132"/>
                  </a:lnTo>
                  <a:lnTo>
                    <a:pt x="127" y="132"/>
                  </a:lnTo>
                  <a:lnTo>
                    <a:pt x="123" y="132"/>
                  </a:lnTo>
                  <a:lnTo>
                    <a:pt x="127" y="132"/>
                  </a:lnTo>
                  <a:lnTo>
                    <a:pt x="131" y="132"/>
                  </a:lnTo>
                  <a:lnTo>
                    <a:pt x="127" y="132"/>
                  </a:lnTo>
                  <a:lnTo>
                    <a:pt x="123" y="128"/>
                  </a:lnTo>
                  <a:lnTo>
                    <a:pt x="127" y="128"/>
                  </a:lnTo>
                  <a:lnTo>
                    <a:pt x="127" y="124"/>
                  </a:lnTo>
                  <a:lnTo>
                    <a:pt x="123" y="124"/>
                  </a:lnTo>
                  <a:lnTo>
                    <a:pt x="127" y="124"/>
                  </a:lnTo>
                  <a:lnTo>
                    <a:pt x="131" y="124"/>
                  </a:lnTo>
                  <a:lnTo>
                    <a:pt x="135" y="124"/>
                  </a:lnTo>
                  <a:lnTo>
                    <a:pt x="131" y="124"/>
                  </a:lnTo>
                  <a:lnTo>
                    <a:pt x="127" y="124"/>
                  </a:lnTo>
                  <a:lnTo>
                    <a:pt x="127" y="120"/>
                  </a:lnTo>
                  <a:lnTo>
                    <a:pt x="131" y="120"/>
                  </a:lnTo>
                  <a:lnTo>
                    <a:pt x="127" y="120"/>
                  </a:lnTo>
                  <a:lnTo>
                    <a:pt x="131" y="120"/>
                  </a:lnTo>
                  <a:lnTo>
                    <a:pt x="135" y="120"/>
                  </a:lnTo>
                  <a:lnTo>
                    <a:pt x="139" y="120"/>
                  </a:lnTo>
                  <a:lnTo>
                    <a:pt x="135" y="120"/>
                  </a:lnTo>
                  <a:lnTo>
                    <a:pt x="131" y="120"/>
                  </a:lnTo>
                  <a:lnTo>
                    <a:pt x="135" y="120"/>
                  </a:lnTo>
                  <a:lnTo>
                    <a:pt x="131" y="120"/>
                  </a:lnTo>
                  <a:lnTo>
                    <a:pt x="131" y="116"/>
                  </a:lnTo>
                  <a:lnTo>
                    <a:pt x="135" y="116"/>
                  </a:lnTo>
                  <a:lnTo>
                    <a:pt x="139" y="116"/>
                  </a:lnTo>
                  <a:lnTo>
                    <a:pt x="135" y="116"/>
                  </a:lnTo>
                  <a:lnTo>
                    <a:pt x="131" y="116"/>
                  </a:lnTo>
                  <a:lnTo>
                    <a:pt x="135" y="112"/>
                  </a:lnTo>
                  <a:lnTo>
                    <a:pt x="139" y="116"/>
                  </a:lnTo>
                  <a:lnTo>
                    <a:pt x="143" y="112"/>
                  </a:lnTo>
                  <a:lnTo>
                    <a:pt x="147" y="112"/>
                  </a:lnTo>
                  <a:lnTo>
                    <a:pt x="143" y="112"/>
                  </a:lnTo>
                  <a:lnTo>
                    <a:pt x="143" y="108"/>
                  </a:lnTo>
                  <a:lnTo>
                    <a:pt x="147" y="108"/>
                  </a:lnTo>
                  <a:lnTo>
                    <a:pt x="151" y="108"/>
                  </a:lnTo>
                  <a:lnTo>
                    <a:pt x="147" y="108"/>
                  </a:lnTo>
                  <a:lnTo>
                    <a:pt x="151" y="108"/>
                  </a:lnTo>
                  <a:lnTo>
                    <a:pt x="155" y="108"/>
                  </a:lnTo>
                  <a:lnTo>
                    <a:pt x="159" y="108"/>
                  </a:lnTo>
                  <a:lnTo>
                    <a:pt x="163" y="112"/>
                  </a:lnTo>
                  <a:lnTo>
                    <a:pt x="163" y="108"/>
                  </a:lnTo>
                  <a:lnTo>
                    <a:pt x="159" y="108"/>
                  </a:lnTo>
                  <a:lnTo>
                    <a:pt x="163" y="108"/>
                  </a:lnTo>
                  <a:lnTo>
                    <a:pt x="167" y="108"/>
                  </a:lnTo>
                  <a:lnTo>
                    <a:pt x="159" y="108"/>
                  </a:lnTo>
                  <a:lnTo>
                    <a:pt x="159" y="104"/>
                  </a:lnTo>
                  <a:lnTo>
                    <a:pt x="159" y="108"/>
                  </a:lnTo>
                  <a:lnTo>
                    <a:pt x="155" y="104"/>
                  </a:lnTo>
                  <a:lnTo>
                    <a:pt x="159" y="104"/>
                  </a:lnTo>
                  <a:lnTo>
                    <a:pt x="155" y="104"/>
                  </a:lnTo>
                  <a:lnTo>
                    <a:pt x="151" y="104"/>
                  </a:lnTo>
                  <a:lnTo>
                    <a:pt x="151" y="108"/>
                  </a:lnTo>
                  <a:lnTo>
                    <a:pt x="147" y="104"/>
                  </a:lnTo>
                  <a:lnTo>
                    <a:pt x="143" y="104"/>
                  </a:lnTo>
                  <a:lnTo>
                    <a:pt x="147" y="104"/>
                  </a:lnTo>
                  <a:lnTo>
                    <a:pt x="147" y="100"/>
                  </a:lnTo>
                  <a:lnTo>
                    <a:pt x="151" y="100"/>
                  </a:lnTo>
                  <a:lnTo>
                    <a:pt x="155" y="100"/>
                  </a:lnTo>
                  <a:lnTo>
                    <a:pt x="151" y="100"/>
                  </a:lnTo>
                  <a:lnTo>
                    <a:pt x="155" y="96"/>
                  </a:lnTo>
                  <a:lnTo>
                    <a:pt x="155" y="100"/>
                  </a:lnTo>
                  <a:lnTo>
                    <a:pt x="159" y="100"/>
                  </a:lnTo>
                  <a:lnTo>
                    <a:pt x="163" y="100"/>
                  </a:lnTo>
                  <a:lnTo>
                    <a:pt x="163" y="104"/>
                  </a:lnTo>
                  <a:lnTo>
                    <a:pt x="167" y="104"/>
                  </a:lnTo>
                  <a:lnTo>
                    <a:pt x="163" y="104"/>
                  </a:lnTo>
                  <a:lnTo>
                    <a:pt x="163" y="100"/>
                  </a:lnTo>
                  <a:lnTo>
                    <a:pt x="167" y="100"/>
                  </a:lnTo>
                  <a:lnTo>
                    <a:pt x="167" y="96"/>
                  </a:lnTo>
                  <a:lnTo>
                    <a:pt x="163" y="96"/>
                  </a:lnTo>
                  <a:lnTo>
                    <a:pt x="163" y="100"/>
                  </a:lnTo>
                  <a:lnTo>
                    <a:pt x="159" y="100"/>
                  </a:lnTo>
                  <a:lnTo>
                    <a:pt x="159" y="96"/>
                  </a:lnTo>
                  <a:lnTo>
                    <a:pt x="159" y="92"/>
                  </a:lnTo>
                  <a:lnTo>
                    <a:pt x="163" y="96"/>
                  </a:lnTo>
                  <a:lnTo>
                    <a:pt x="163" y="92"/>
                  </a:lnTo>
                  <a:lnTo>
                    <a:pt x="159" y="92"/>
                  </a:lnTo>
                  <a:lnTo>
                    <a:pt x="163" y="92"/>
                  </a:lnTo>
                  <a:lnTo>
                    <a:pt x="167" y="96"/>
                  </a:lnTo>
                  <a:lnTo>
                    <a:pt x="167" y="92"/>
                  </a:lnTo>
                  <a:lnTo>
                    <a:pt x="163" y="92"/>
                  </a:lnTo>
                  <a:lnTo>
                    <a:pt x="159" y="92"/>
                  </a:lnTo>
                  <a:lnTo>
                    <a:pt x="155" y="96"/>
                  </a:lnTo>
                  <a:lnTo>
                    <a:pt x="151" y="96"/>
                  </a:lnTo>
                  <a:lnTo>
                    <a:pt x="151" y="92"/>
                  </a:lnTo>
                  <a:lnTo>
                    <a:pt x="155" y="92"/>
                  </a:lnTo>
                  <a:lnTo>
                    <a:pt x="151" y="92"/>
                  </a:lnTo>
                  <a:lnTo>
                    <a:pt x="155" y="92"/>
                  </a:lnTo>
                  <a:lnTo>
                    <a:pt x="155" y="88"/>
                  </a:lnTo>
                  <a:lnTo>
                    <a:pt x="151" y="92"/>
                  </a:lnTo>
                  <a:lnTo>
                    <a:pt x="151" y="88"/>
                  </a:lnTo>
                  <a:lnTo>
                    <a:pt x="155" y="88"/>
                  </a:lnTo>
                  <a:lnTo>
                    <a:pt x="159" y="88"/>
                  </a:lnTo>
                  <a:lnTo>
                    <a:pt x="163" y="88"/>
                  </a:lnTo>
                  <a:lnTo>
                    <a:pt x="167" y="88"/>
                  </a:lnTo>
                  <a:lnTo>
                    <a:pt x="171" y="84"/>
                  </a:lnTo>
                  <a:lnTo>
                    <a:pt x="167" y="84"/>
                  </a:lnTo>
                  <a:lnTo>
                    <a:pt x="163" y="84"/>
                  </a:lnTo>
                  <a:lnTo>
                    <a:pt x="159" y="88"/>
                  </a:lnTo>
                  <a:lnTo>
                    <a:pt x="159" y="84"/>
                  </a:lnTo>
                  <a:lnTo>
                    <a:pt x="163" y="84"/>
                  </a:lnTo>
                  <a:lnTo>
                    <a:pt x="163" y="80"/>
                  </a:lnTo>
                  <a:lnTo>
                    <a:pt x="167" y="80"/>
                  </a:lnTo>
                  <a:lnTo>
                    <a:pt x="167" y="84"/>
                  </a:lnTo>
                  <a:lnTo>
                    <a:pt x="163" y="84"/>
                  </a:lnTo>
                  <a:lnTo>
                    <a:pt x="167" y="84"/>
                  </a:lnTo>
                  <a:lnTo>
                    <a:pt x="167" y="80"/>
                  </a:lnTo>
                  <a:lnTo>
                    <a:pt x="171" y="80"/>
                  </a:lnTo>
                  <a:lnTo>
                    <a:pt x="171" y="84"/>
                  </a:lnTo>
                  <a:lnTo>
                    <a:pt x="171" y="88"/>
                  </a:lnTo>
                  <a:lnTo>
                    <a:pt x="175" y="88"/>
                  </a:lnTo>
                  <a:lnTo>
                    <a:pt x="175" y="92"/>
                  </a:lnTo>
                  <a:lnTo>
                    <a:pt x="179" y="92"/>
                  </a:lnTo>
                  <a:lnTo>
                    <a:pt x="175" y="88"/>
                  </a:lnTo>
                  <a:lnTo>
                    <a:pt x="175" y="84"/>
                  </a:lnTo>
                  <a:lnTo>
                    <a:pt x="175" y="88"/>
                  </a:lnTo>
                  <a:lnTo>
                    <a:pt x="179" y="88"/>
                  </a:lnTo>
                  <a:lnTo>
                    <a:pt x="179" y="84"/>
                  </a:lnTo>
                  <a:lnTo>
                    <a:pt x="175" y="84"/>
                  </a:lnTo>
                  <a:lnTo>
                    <a:pt x="179" y="84"/>
                  </a:lnTo>
                  <a:lnTo>
                    <a:pt x="175" y="84"/>
                  </a:lnTo>
                  <a:lnTo>
                    <a:pt x="175" y="80"/>
                  </a:lnTo>
                  <a:lnTo>
                    <a:pt x="179" y="80"/>
                  </a:lnTo>
                  <a:lnTo>
                    <a:pt x="175" y="80"/>
                  </a:lnTo>
                  <a:lnTo>
                    <a:pt x="171" y="80"/>
                  </a:lnTo>
                  <a:lnTo>
                    <a:pt x="175" y="80"/>
                  </a:lnTo>
                  <a:lnTo>
                    <a:pt x="171" y="80"/>
                  </a:lnTo>
                  <a:lnTo>
                    <a:pt x="171" y="76"/>
                  </a:lnTo>
                  <a:lnTo>
                    <a:pt x="179" y="80"/>
                  </a:lnTo>
                  <a:lnTo>
                    <a:pt x="183" y="84"/>
                  </a:lnTo>
                  <a:lnTo>
                    <a:pt x="183" y="80"/>
                  </a:lnTo>
                  <a:lnTo>
                    <a:pt x="179" y="80"/>
                  </a:lnTo>
                  <a:lnTo>
                    <a:pt x="175" y="76"/>
                  </a:lnTo>
                  <a:lnTo>
                    <a:pt x="179" y="76"/>
                  </a:lnTo>
                  <a:lnTo>
                    <a:pt x="183" y="76"/>
                  </a:lnTo>
                  <a:lnTo>
                    <a:pt x="187" y="76"/>
                  </a:lnTo>
                  <a:lnTo>
                    <a:pt x="191" y="80"/>
                  </a:lnTo>
                  <a:lnTo>
                    <a:pt x="191" y="76"/>
                  </a:lnTo>
                  <a:lnTo>
                    <a:pt x="187" y="76"/>
                  </a:lnTo>
                  <a:lnTo>
                    <a:pt x="191" y="76"/>
                  </a:lnTo>
                  <a:lnTo>
                    <a:pt x="195" y="76"/>
                  </a:lnTo>
                  <a:lnTo>
                    <a:pt x="191" y="76"/>
                  </a:lnTo>
                  <a:lnTo>
                    <a:pt x="195" y="76"/>
                  </a:lnTo>
                  <a:lnTo>
                    <a:pt x="195" y="72"/>
                  </a:lnTo>
                  <a:lnTo>
                    <a:pt x="191" y="72"/>
                  </a:lnTo>
                  <a:lnTo>
                    <a:pt x="187" y="72"/>
                  </a:lnTo>
                  <a:lnTo>
                    <a:pt x="187" y="76"/>
                  </a:lnTo>
                  <a:lnTo>
                    <a:pt x="187" y="72"/>
                  </a:lnTo>
                  <a:lnTo>
                    <a:pt x="183" y="72"/>
                  </a:lnTo>
                  <a:lnTo>
                    <a:pt x="179" y="76"/>
                  </a:lnTo>
                  <a:lnTo>
                    <a:pt x="175" y="72"/>
                  </a:lnTo>
                  <a:lnTo>
                    <a:pt x="179" y="72"/>
                  </a:lnTo>
                  <a:lnTo>
                    <a:pt x="179" y="68"/>
                  </a:lnTo>
                  <a:lnTo>
                    <a:pt x="183" y="68"/>
                  </a:lnTo>
                  <a:lnTo>
                    <a:pt x="187" y="68"/>
                  </a:lnTo>
                  <a:lnTo>
                    <a:pt x="191" y="68"/>
                  </a:lnTo>
                  <a:lnTo>
                    <a:pt x="195" y="68"/>
                  </a:lnTo>
                  <a:lnTo>
                    <a:pt x="191" y="68"/>
                  </a:lnTo>
                  <a:lnTo>
                    <a:pt x="187" y="64"/>
                  </a:lnTo>
                  <a:lnTo>
                    <a:pt x="191" y="64"/>
                  </a:lnTo>
                  <a:lnTo>
                    <a:pt x="195" y="64"/>
                  </a:lnTo>
                  <a:lnTo>
                    <a:pt x="199" y="64"/>
                  </a:lnTo>
                  <a:lnTo>
                    <a:pt x="195" y="64"/>
                  </a:lnTo>
                  <a:lnTo>
                    <a:pt x="191" y="64"/>
                  </a:lnTo>
                  <a:lnTo>
                    <a:pt x="195" y="64"/>
                  </a:lnTo>
                  <a:lnTo>
                    <a:pt x="195" y="60"/>
                  </a:lnTo>
                  <a:lnTo>
                    <a:pt x="195" y="64"/>
                  </a:lnTo>
                  <a:lnTo>
                    <a:pt x="199" y="64"/>
                  </a:lnTo>
                  <a:lnTo>
                    <a:pt x="195" y="60"/>
                  </a:lnTo>
                  <a:lnTo>
                    <a:pt x="191" y="60"/>
                  </a:lnTo>
                  <a:lnTo>
                    <a:pt x="195" y="56"/>
                  </a:lnTo>
                  <a:lnTo>
                    <a:pt x="199" y="56"/>
                  </a:lnTo>
                  <a:lnTo>
                    <a:pt x="203" y="56"/>
                  </a:lnTo>
                  <a:lnTo>
                    <a:pt x="199" y="52"/>
                  </a:lnTo>
                  <a:lnTo>
                    <a:pt x="203" y="52"/>
                  </a:lnTo>
                  <a:lnTo>
                    <a:pt x="203" y="48"/>
                  </a:lnTo>
                  <a:lnTo>
                    <a:pt x="203" y="44"/>
                  </a:lnTo>
                  <a:lnTo>
                    <a:pt x="207" y="48"/>
                  </a:lnTo>
                  <a:lnTo>
                    <a:pt x="207" y="52"/>
                  </a:lnTo>
                  <a:lnTo>
                    <a:pt x="211" y="52"/>
                  </a:lnTo>
                  <a:lnTo>
                    <a:pt x="215" y="52"/>
                  </a:lnTo>
                  <a:lnTo>
                    <a:pt x="211" y="48"/>
                  </a:lnTo>
                  <a:lnTo>
                    <a:pt x="207" y="48"/>
                  </a:lnTo>
                  <a:lnTo>
                    <a:pt x="207" y="44"/>
                  </a:lnTo>
                  <a:lnTo>
                    <a:pt x="211" y="44"/>
                  </a:lnTo>
                  <a:lnTo>
                    <a:pt x="215" y="44"/>
                  </a:lnTo>
                  <a:lnTo>
                    <a:pt x="215" y="48"/>
                  </a:lnTo>
                  <a:lnTo>
                    <a:pt x="219" y="48"/>
                  </a:lnTo>
                  <a:lnTo>
                    <a:pt x="223" y="52"/>
                  </a:lnTo>
                  <a:lnTo>
                    <a:pt x="219" y="52"/>
                  </a:lnTo>
                  <a:lnTo>
                    <a:pt x="223" y="52"/>
                  </a:lnTo>
                  <a:lnTo>
                    <a:pt x="223" y="48"/>
                  </a:lnTo>
                  <a:lnTo>
                    <a:pt x="219" y="48"/>
                  </a:lnTo>
                  <a:lnTo>
                    <a:pt x="215" y="48"/>
                  </a:lnTo>
                  <a:lnTo>
                    <a:pt x="215" y="44"/>
                  </a:lnTo>
                  <a:lnTo>
                    <a:pt x="219" y="44"/>
                  </a:lnTo>
                  <a:lnTo>
                    <a:pt x="215" y="44"/>
                  </a:lnTo>
                  <a:lnTo>
                    <a:pt x="215" y="40"/>
                  </a:lnTo>
                  <a:lnTo>
                    <a:pt x="219" y="40"/>
                  </a:lnTo>
                  <a:lnTo>
                    <a:pt x="219" y="36"/>
                  </a:lnTo>
                  <a:lnTo>
                    <a:pt x="227" y="36"/>
                  </a:lnTo>
                  <a:lnTo>
                    <a:pt x="227" y="40"/>
                  </a:lnTo>
                  <a:lnTo>
                    <a:pt x="227" y="44"/>
                  </a:lnTo>
                  <a:lnTo>
                    <a:pt x="223" y="44"/>
                  </a:lnTo>
                  <a:lnTo>
                    <a:pt x="223" y="48"/>
                  </a:lnTo>
                  <a:lnTo>
                    <a:pt x="227" y="48"/>
                  </a:lnTo>
                  <a:lnTo>
                    <a:pt x="227" y="44"/>
                  </a:lnTo>
                  <a:lnTo>
                    <a:pt x="227" y="40"/>
                  </a:lnTo>
                  <a:lnTo>
                    <a:pt x="231" y="36"/>
                  </a:lnTo>
                  <a:lnTo>
                    <a:pt x="231" y="32"/>
                  </a:lnTo>
                  <a:lnTo>
                    <a:pt x="235" y="32"/>
                  </a:lnTo>
                  <a:lnTo>
                    <a:pt x="235" y="36"/>
                  </a:lnTo>
                  <a:lnTo>
                    <a:pt x="235" y="40"/>
                  </a:lnTo>
                  <a:lnTo>
                    <a:pt x="235" y="44"/>
                  </a:lnTo>
                  <a:lnTo>
                    <a:pt x="235" y="48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35" y="48"/>
                  </a:lnTo>
                  <a:lnTo>
                    <a:pt x="239" y="44"/>
                  </a:lnTo>
                  <a:lnTo>
                    <a:pt x="243" y="44"/>
                  </a:lnTo>
                  <a:lnTo>
                    <a:pt x="239" y="44"/>
                  </a:lnTo>
                  <a:lnTo>
                    <a:pt x="239" y="40"/>
                  </a:lnTo>
                  <a:lnTo>
                    <a:pt x="243" y="36"/>
                  </a:lnTo>
                  <a:lnTo>
                    <a:pt x="247" y="32"/>
                  </a:lnTo>
                  <a:lnTo>
                    <a:pt x="247" y="36"/>
                  </a:lnTo>
                  <a:lnTo>
                    <a:pt x="243" y="36"/>
                  </a:lnTo>
                  <a:lnTo>
                    <a:pt x="247" y="36"/>
                  </a:lnTo>
                  <a:lnTo>
                    <a:pt x="251" y="32"/>
                  </a:lnTo>
                  <a:lnTo>
                    <a:pt x="255" y="32"/>
                  </a:lnTo>
                  <a:lnTo>
                    <a:pt x="255" y="36"/>
                  </a:lnTo>
                  <a:lnTo>
                    <a:pt x="259" y="36"/>
                  </a:lnTo>
                  <a:lnTo>
                    <a:pt x="259" y="40"/>
                  </a:lnTo>
                  <a:lnTo>
                    <a:pt x="263" y="40"/>
                  </a:lnTo>
                  <a:lnTo>
                    <a:pt x="263" y="36"/>
                  </a:lnTo>
                  <a:lnTo>
                    <a:pt x="259" y="32"/>
                  </a:lnTo>
                  <a:lnTo>
                    <a:pt x="263" y="32"/>
                  </a:lnTo>
                  <a:lnTo>
                    <a:pt x="263" y="28"/>
                  </a:lnTo>
                  <a:lnTo>
                    <a:pt x="259" y="28"/>
                  </a:lnTo>
                  <a:lnTo>
                    <a:pt x="259" y="32"/>
                  </a:lnTo>
                  <a:lnTo>
                    <a:pt x="255" y="32"/>
                  </a:lnTo>
                  <a:lnTo>
                    <a:pt x="251" y="28"/>
                  </a:lnTo>
                  <a:lnTo>
                    <a:pt x="251" y="24"/>
                  </a:lnTo>
                  <a:lnTo>
                    <a:pt x="255" y="24"/>
                  </a:lnTo>
                  <a:lnTo>
                    <a:pt x="259" y="24"/>
                  </a:lnTo>
                  <a:lnTo>
                    <a:pt x="263" y="24"/>
                  </a:lnTo>
                  <a:lnTo>
                    <a:pt x="267" y="24"/>
                  </a:lnTo>
                  <a:lnTo>
                    <a:pt x="267" y="28"/>
                  </a:lnTo>
                  <a:lnTo>
                    <a:pt x="271" y="28"/>
                  </a:lnTo>
                  <a:lnTo>
                    <a:pt x="267" y="28"/>
                  </a:lnTo>
                  <a:lnTo>
                    <a:pt x="267" y="24"/>
                  </a:lnTo>
                  <a:lnTo>
                    <a:pt x="271" y="24"/>
                  </a:lnTo>
                  <a:lnTo>
                    <a:pt x="275" y="28"/>
                  </a:lnTo>
                  <a:lnTo>
                    <a:pt x="271" y="28"/>
                  </a:lnTo>
                  <a:lnTo>
                    <a:pt x="267" y="28"/>
                  </a:lnTo>
                  <a:lnTo>
                    <a:pt x="267" y="32"/>
                  </a:lnTo>
                  <a:lnTo>
                    <a:pt x="267" y="28"/>
                  </a:lnTo>
                  <a:lnTo>
                    <a:pt x="271" y="28"/>
                  </a:lnTo>
                  <a:lnTo>
                    <a:pt x="275" y="28"/>
                  </a:lnTo>
                  <a:lnTo>
                    <a:pt x="275" y="32"/>
                  </a:lnTo>
                  <a:lnTo>
                    <a:pt x="279" y="32"/>
                  </a:lnTo>
                  <a:lnTo>
                    <a:pt x="283" y="32"/>
                  </a:lnTo>
                  <a:lnTo>
                    <a:pt x="279" y="32"/>
                  </a:lnTo>
                  <a:lnTo>
                    <a:pt x="279" y="28"/>
                  </a:lnTo>
                  <a:lnTo>
                    <a:pt x="283" y="28"/>
                  </a:lnTo>
                  <a:lnTo>
                    <a:pt x="283" y="24"/>
                  </a:lnTo>
                  <a:lnTo>
                    <a:pt x="287" y="20"/>
                  </a:lnTo>
                  <a:lnTo>
                    <a:pt x="291" y="20"/>
                  </a:lnTo>
                  <a:lnTo>
                    <a:pt x="291" y="16"/>
                  </a:lnTo>
                  <a:lnTo>
                    <a:pt x="295" y="20"/>
                  </a:lnTo>
                  <a:lnTo>
                    <a:pt x="295" y="16"/>
                  </a:lnTo>
                  <a:lnTo>
                    <a:pt x="295" y="12"/>
                  </a:lnTo>
                  <a:lnTo>
                    <a:pt x="299" y="12"/>
                  </a:lnTo>
                  <a:lnTo>
                    <a:pt x="299" y="16"/>
                  </a:lnTo>
                  <a:lnTo>
                    <a:pt x="303" y="16"/>
                  </a:lnTo>
                  <a:lnTo>
                    <a:pt x="303" y="12"/>
                  </a:lnTo>
                  <a:lnTo>
                    <a:pt x="299" y="12"/>
                  </a:lnTo>
                  <a:lnTo>
                    <a:pt x="295" y="12"/>
                  </a:lnTo>
                  <a:lnTo>
                    <a:pt x="295" y="8"/>
                  </a:lnTo>
                  <a:lnTo>
                    <a:pt x="299" y="8"/>
                  </a:lnTo>
                  <a:lnTo>
                    <a:pt x="299" y="12"/>
                  </a:lnTo>
                  <a:lnTo>
                    <a:pt x="303" y="8"/>
                  </a:lnTo>
                  <a:lnTo>
                    <a:pt x="299" y="8"/>
                  </a:lnTo>
                  <a:lnTo>
                    <a:pt x="299" y="4"/>
                  </a:lnTo>
                  <a:lnTo>
                    <a:pt x="303" y="4"/>
                  </a:lnTo>
                  <a:lnTo>
                    <a:pt x="303" y="8"/>
                  </a:lnTo>
                  <a:lnTo>
                    <a:pt x="307" y="8"/>
                  </a:lnTo>
                  <a:lnTo>
                    <a:pt x="307" y="4"/>
                  </a:lnTo>
                  <a:lnTo>
                    <a:pt x="307" y="8"/>
                  </a:lnTo>
                  <a:lnTo>
                    <a:pt x="311" y="8"/>
                  </a:lnTo>
                  <a:lnTo>
                    <a:pt x="311" y="4"/>
                  </a:lnTo>
                  <a:lnTo>
                    <a:pt x="315" y="4"/>
                  </a:lnTo>
                  <a:lnTo>
                    <a:pt x="315" y="8"/>
                  </a:lnTo>
                  <a:lnTo>
                    <a:pt x="319" y="8"/>
                  </a:lnTo>
                  <a:lnTo>
                    <a:pt x="315" y="12"/>
                  </a:lnTo>
                  <a:lnTo>
                    <a:pt x="311" y="16"/>
                  </a:lnTo>
                  <a:lnTo>
                    <a:pt x="307" y="16"/>
                  </a:lnTo>
                  <a:lnTo>
                    <a:pt x="311" y="16"/>
                  </a:lnTo>
                  <a:lnTo>
                    <a:pt x="311" y="20"/>
                  </a:lnTo>
                  <a:lnTo>
                    <a:pt x="307" y="20"/>
                  </a:lnTo>
                  <a:lnTo>
                    <a:pt x="307" y="24"/>
                  </a:lnTo>
                  <a:lnTo>
                    <a:pt x="307" y="28"/>
                  </a:lnTo>
                  <a:lnTo>
                    <a:pt x="307" y="32"/>
                  </a:lnTo>
                  <a:lnTo>
                    <a:pt x="307" y="28"/>
                  </a:lnTo>
                  <a:lnTo>
                    <a:pt x="311" y="28"/>
                  </a:lnTo>
                  <a:lnTo>
                    <a:pt x="315" y="24"/>
                  </a:lnTo>
                  <a:lnTo>
                    <a:pt x="315" y="20"/>
                  </a:lnTo>
                  <a:lnTo>
                    <a:pt x="319" y="16"/>
                  </a:lnTo>
                  <a:lnTo>
                    <a:pt x="323" y="16"/>
                  </a:lnTo>
                  <a:lnTo>
                    <a:pt x="327" y="12"/>
                  </a:lnTo>
                  <a:lnTo>
                    <a:pt x="327" y="8"/>
                  </a:lnTo>
                  <a:lnTo>
                    <a:pt x="331" y="8"/>
                  </a:lnTo>
                  <a:lnTo>
                    <a:pt x="331" y="4"/>
                  </a:lnTo>
                  <a:lnTo>
                    <a:pt x="331" y="8"/>
                  </a:lnTo>
                  <a:lnTo>
                    <a:pt x="331" y="12"/>
                  </a:lnTo>
                  <a:lnTo>
                    <a:pt x="327" y="12"/>
                  </a:lnTo>
                  <a:lnTo>
                    <a:pt x="327" y="16"/>
                  </a:lnTo>
                  <a:lnTo>
                    <a:pt x="327" y="12"/>
                  </a:lnTo>
                  <a:lnTo>
                    <a:pt x="331" y="12"/>
                  </a:lnTo>
                  <a:lnTo>
                    <a:pt x="331" y="16"/>
                  </a:lnTo>
                  <a:lnTo>
                    <a:pt x="331" y="20"/>
                  </a:lnTo>
                  <a:lnTo>
                    <a:pt x="331" y="24"/>
                  </a:lnTo>
                  <a:lnTo>
                    <a:pt x="331" y="20"/>
                  </a:lnTo>
                  <a:lnTo>
                    <a:pt x="335" y="20"/>
                  </a:lnTo>
                  <a:lnTo>
                    <a:pt x="339" y="20"/>
                  </a:lnTo>
                  <a:lnTo>
                    <a:pt x="335" y="16"/>
                  </a:lnTo>
                  <a:lnTo>
                    <a:pt x="339" y="16"/>
                  </a:lnTo>
                  <a:lnTo>
                    <a:pt x="339" y="12"/>
                  </a:lnTo>
                  <a:lnTo>
                    <a:pt x="343" y="12"/>
                  </a:lnTo>
                  <a:lnTo>
                    <a:pt x="343" y="8"/>
                  </a:lnTo>
                  <a:lnTo>
                    <a:pt x="347" y="8"/>
                  </a:lnTo>
                  <a:lnTo>
                    <a:pt x="343" y="8"/>
                  </a:lnTo>
                  <a:lnTo>
                    <a:pt x="339" y="8"/>
                  </a:lnTo>
                  <a:lnTo>
                    <a:pt x="339" y="4"/>
                  </a:lnTo>
                  <a:lnTo>
                    <a:pt x="343" y="4"/>
                  </a:lnTo>
                  <a:lnTo>
                    <a:pt x="347" y="0"/>
                  </a:lnTo>
                  <a:lnTo>
                    <a:pt x="347" y="4"/>
                  </a:lnTo>
                  <a:lnTo>
                    <a:pt x="351" y="4"/>
                  </a:lnTo>
                  <a:lnTo>
                    <a:pt x="354" y="4"/>
                  </a:lnTo>
                  <a:lnTo>
                    <a:pt x="358" y="4"/>
                  </a:lnTo>
                  <a:lnTo>
                    <a:pt x="358" y="8"/>
                  </a:lnTo>
                  <a:lnTo>
                    <a:pt x="354" y="12"/>
                  </a:lnTo>
                  <a:lnTo>
                    <a:pt x="351" y="12"/>
                  </a:lnTo>
                  <a:lnTo>
                    <a:pt x="347" y="12"/>
                  </a:lnTo>
                  <a:lnTo>
                    <a:pt x="351" y="12"/>
                  </a:lnTo>
                  <a:lnTo>
                    <a:pt x="354" y="12"/>
                  </a:lnTo>
                  <a:lnTo>
                    <a:pt x="351" y="12"/>
                  </a:lnTo>
                  <a:lnTo>
                    <a:pt x="347" y="16"/>
                  </a:lnTo>
                  <a:lnTo>
                    <a:pt x="351" y="16"/>
                  </a:lnTo>
                  <a:lnTo>
                    <a:pt x="354" y="12"/>
                  </a:lnTo>
                  <a:lnTo>
                    <a:pt x="354" y="16"/>
                  </a:lnTo>
                  <a:lnTo>
                    <a:pt x="351" y="16"/>
                  </a:lnTo>
                  <a:lnTo>
                    <a:pt x="351" y="20"/>
                  </a:lnTo>
                  <a:lnTo>
                    <a:pt x="354" y="20"/>
                  </a:lnTo>
                  <a:lnTo>
                    <a:pt x="351" y="20"/>
                  </a:lnTo>
                  <a:lnTo>
                    <a:pt x="354" y="20"/>
                  </a:lnTo>
                  <a:lnTo>
                    <a:pt x="354" y="16"/>
                  </a:lnTo>
                  <a:lnTo>
                    <a:pt x="358" y="20"/>
                  </a:lnTo>
                  <a:lnTo>
                    <a:pt x="354" y="20"/>
                  </a:lnTo>
                  <a:lnTo>
                    <a:pt x="354" y="24"/>
                  </a:lnTo>
                  <a:lnTo>
                    <a:pt x="354" y="28"/>
                  </a:lnTo>
                  <a:lnTo>
                    <a:pt x="351" y="32"/>
                  </a:lnTo>
                  <a:lnTo>
                    <a:pt x="354" y="32"/>
                  </a:lnTo>
                  <a:lnTo>
                    <a:pt x="354" y="28"/>
                  </a:lnTo>
                  <a:lnTo>
                    <a:pt x="354" y="24"/>
                  </a:lnTo>
                  <a:lnTo>
                    <a:pt x="354" y="20"/>
                  </a:lnTo>
                  <a:lnTo>
                    <a:pt x="358" y="20"/>
                  </a:lnTo>
                  <a:lnTo>
                    <a:pt x="358" y="16"/>
                  </a:lnTo>
                  <a:lnTo>
                    <a:pt x="358" y="12"/>
                  </a:lnTo>
                  <a:lnTo>
                    <a:pt x="362" y="8"/>
                  </a:lnTo>
                  <a:lnTo>
                    <a:pt x="366" y="8"/>
                  </a:lnTo>
                  <a:lnTo>
                    <a:pt x="370" y="8"/>
                  </a:lnTo>
                  <a:lnTo>
                    <a:pt x="370" y="12"/>
                  </a:lnTo>
                  <a:lnTo>
                    <a:pt x="374" y="12"/>
                  </a:lnTo>
                  <a:lnTo>
                    <a:pt x="378" y="12"/>
                  </a:lnTo>
                  <a:lnTo>
                    <a:pt x="378" y="16"/>
                  </a:lnTo>
                  <a:lnTo>
                    <a:pt x="378" y="12"/>
                  </a:lnTo>
                  <a:lnTo>
                    <a:pt x="382" y="12"/>
                  </a:lnTo>
                  <a:lnTo>
                    <a:pt x="386" y="12"/>
                  </a:lnTo>
                  <a:lnTo>
                    <a:pt x="386" y="16"/>
                  </a:lnTo>
                  <a:lnTo>
                    <a:pt x="382" y="16"/>
                  </a:lnTo>
                  <a:lnTo>
                    <a:pt x="386" y="16"/>
                  </a:lnTo>
                  <a:lnTo>
                    <a:pt x="390" y="16"/>
                  </a:lnTo>
                  <a:lnTo>
                    <a:pt x="390" y="20"/>
                  </a:lnTo>
                  <a:lnTo>
                    <a:pt x="394" y="20"/>
                  </a:lnTo>
                  <a:lnTo>
                    <a:pt x="398" y="20"/>
                  </a:lnTo>
                  <a:lnTo>
                    <a:pt x="398" y="24"/>
                  </a:lnTo>
                  <a:lnTo>
                    <a:pt x="394" y="24"/>
                  </a:lnTo>
                  <a:lnTo>
                    <a:pt x="390" y="24"/>
                  </a:lnTo>
                  <a:lnTo>
                    <a:pt x="386" y="28"/>
                  </a:lnTo>
                  <a:lnTo>
                    <a:pt x="382" y="28"/>
                  </a:lnTo>
                  <a:lnTo>
                    <a:pt x="382" y="32"/>
                  </a:lnTo>
                  <a:lnTo>
                    <a:pt x="378" y="32"/>
                  </a:lnTo>
                  <a:lnTo>
                    <a:pt x="378" y="28"/>
                  </a:lnTo>
                  <a:lnTo>
                    <a:pt x="374" y="28"/>
                  </a:lnTo>
                  <a:lnTo>
                    <a:pt x="370" y="28"/>
                  </a:lnTo>
                  <a:lnTo>
                    <a:pt x="366" y="28"/>
                  </a:lnTo>
                  <a:lnTo>
                    <a:pt x="362" y="28"/>
                  </a:lnTo>
                  <a:lnTo>
                    <a:pt x="366" y="32"/>
                  </a:lnTo>
                  <a:lnTo>
                    <a:pt x="370" y="32"/>
                  </a:lnTo>
                  <a:lnTo>
                    <a:pt x="374" y="32"/>
                  </a:lnTo>
                  <a:lnTo>
                    <a:pt x="378" y="32"/>
                  </a:lnTo>
                  <a:lnTo>
                    <a:pt x="374" y="32"/>
                  </a:lnTo>
                  <a:lnTo>
                    <a:pt x="374" y="36"/>
                  </a:lnTo>
                  <a:lnTo>
                    <a:pt x="370" y="36"/>
                  </a:lnTo>
                  <a:lnTo>
                    <a:pt x="374" y="36"/>
                  </a:lnTo>
                  <a:lnTo>
                    <a:pt x="378" y="36"/>
                  </a:lnTo>
                  <a:lnTo>
                    <a:pt x="374" y="40"/>
                  </a:lnTo>
                  <a:lnTo>
                    <a:pt x="378" y="40"/>
                  </a:lnTo>
                  <a:lnTo>
                    <a:pt x="382" y="40"/>
                  </a:lnTo>
                  <a:lnTo>
                    <a:pt x="386" y="40"/>
                  </a:lnTo>
                  <a:lnTo>
                    <a:pt x="382" y="40"/>
                  </a:lnTo>
                  <a:lnTo>
                    <a:pt x="386" y="40"/>
                  </a:lnTo>
                  <a:lnTo>
                    <a:pt x="382" y="36"/>
                  </a:lnTo>
                  <a:lnTo>
                    <a:pt x="386" y="36"/>
                  </a:lnTo>
                  <a:lnTo>
                    <a:pt x="386" y="40"/>
                  </a:lnTo>
                  <a:lnTo>
                    <a:pt x="390" y="40"/>
                  </a:lnTo>
                  <a:lnTo>
                    <a:pt x="390" y="36"/>
                  </a:lnTo>
                  <a:lnTo>
                    <a:pt x="394" y="36"/>
                  </a:lnTo>
                  <a:lnTo>
                    <a:pt x="394" y="40"/>
                  </a:lnTo>
                  <a:lnTo>
                    <a:pt x="394" y="44"/>
                  </a:lnTo>
                  <a:lnTo>
                    <a:pt x="390" y="44"/>
                  </a:lnTo>
                  <a:lnTo>
                    <a:pt x="386" y="44"/>
                  </a:lnTo>
                  <a:lnTo>
                    <a:pt x="386" y="40"/>
                  </a:lnTo>
                  <a:lnTo>
                    <a:pt x="382" y="40"/>
                  </a:lnTo>
                  <a:lnTo>
                    <a:pt x="386" y="44"/>
                  </a:lnTo>
                  <a:lnTo>
                    <a:pt x="382" y="44"/>
                  </a:lnTo>
                  <a:lnTo>
                    <a:pt x="378" y="48"/>
                  </a:lnTo>
                  <a:lnTo>
                    <a:pt x="374" y="48"/>
                  </a:lnTo>
                  <a:lnTo>
                    <a:pt x="370" y="52"/>
                  </a:lnTo>
                  <a:lnTo>
                    <a:pt x="370" y="56"/>
                  </a:lnTo>
                  <a:lnTo>
                    <a:pt x="366" y="56"/>
                  </a:lnTo>
                  <a:lnTo>
                    <a:pt x="366" y="60"/>
                  </a:lnTo>
                  <a:lnTo>
                    <a:pt x="366" y="56"/>
                  </a:lnTo>
                  <a:lnTo>
                    <a:pt x="362" y="56"/>
                  </a:lnTo>
                  <a:lnTo>
                    <a:pt x="362" y="52"/>
                  </a:lnTo>
                  <a:lnTo>
                    <a:pt x="366" y="52"/>
                  </a:lnTo>
                  <a:lnTo>
                    <a:pt x="366" y="48"/>
                  </a:lnTo>
                  <a:lnTo>
                    <a:pt x="370" y="48"/>
                  </a:lnTo>
                  <a:lnTo>
                    <a:pt x="370" y="44"/>
                  </a:lnTo>
                  <a:lnTo>
                    <a:pt x="370" y="40"/>
                  </a:lnTo>
                  <a:lnTo>
                    <a:pt x="366" y="40"/>
                  </a:lnTo>
                  <a:lnTo>
                    <a:pt x="362" y="40"/>
                  </a:lnTo>
                  <a:lnTo>
                    <a:pt x="358" y="36"/>
                  </a:lnTo>
                  <a:lnTo>
                    <a:pt x="354" y="36"/>
                  </a:lnTo>
                  <a:lnTo>
                    <a:pt x="354" y="32"/>
                  </a:lnTo>
                  <a:lnTo>
                    <a:pt x="351" y="32"/>
                  </a:lnTo>
                  <a:lnTo>
                    <a:pt x="351" y="28"/>
                  </a:lnTo>
                  <a:lnTo>
                    <a:pt x="347" y="28"/>
                  </a:lnTo>
                  <a:lnTo>
                    <a:pt x="343" y="32"/>
                  </a:lnTo>
                  <a:lnTo>
                    <a:pt x="339" y="32"/>
                  </a:lnTo>
                  <a:lnTo>
                    <a:pt x="339" y="36"/>
                  </a:lnTo>
                  <a:lnTo>
                    <a:pt x="335" y="32"/>
                  </a:lnTo>
                  <a:lnTo>
                    <a:pt x="331" y="32"/>
                  </a:lnTo>
                  <a:lnTo>
                    <a:pt x="327" y="32"/>
                  </a:lnTo>
                  <a:lnTo>
                    <a:pt x="327" y="36"/>
                  </a:lnTo>
                  <a:lnTo>
                    <a:pt x="323" y="40"/>
                  </a:lnTo>
                  <a:lnTo>
                    <a:pt x="319" y="40"/>
                  </a:lnTo>
                  <a:lnTo>
                    <a:pt x="323" y="40"/>
                  </a:lnTo>
                  <a:lnTo>
                    <a:pt x="323" y="44"/>
                  </a:lnTo>
                  <a:lnTo>
                    <a:pt x="319" y="44"/>
                  </a:lnTo>
                  <a:lnTo>
                    <a:pt x="319" y="48"/>
                  </a:lnTo>
                  <a:lnTo>
                    <a:pt x="319" y="52"/>
                  </a:lnTo>
                  <a:lnTo>
                    <a:pt x="319" y="56"/>
                  </a:lnTo>
                  <a:lnTo>
                    <a:pt x="319" y="60"/>
                  </a:lnTo>
                  <a:lnTo>
                    <a:pt x="315" y="60"/>
                  </a:lnTo>
                  <a:lnTo>
                    <a:pt x="315" y="64"/>
                  </a:lnTo>
                  <a:lnTo>
                    <a:pt x="315" y="60"/>
                  </a:lnTo>
                  <a:lnTo>
                    <a:pt x="311" y="60"/>
                  </a:lnTo>
                  <a:lnTo>
                    <a:pt x="311" y="64"/>
                  </a:lnTo>
                  <a:lnTo>
                    <a:pt x="307" y="64"/>
                  </a:lnTo>
                  <a:lnTo>
                    <a:pt x="307" y="68"/>
                  </a:lnTo>
                  <a:lnTo>
                    <a:pt x="307" y="72"/>
                  </a:lnTo>
                  <a:lnTo>
                    <a:pt x="303" y="68"/>
                  </a:lnTo>
                  <a:lnTo>
                    <a:pt x="299" y="68"/>
                  </a:lnTo>
                  <a:lnTo>
                    <a:pt x="295" y="68"/>
                  </a:lnTo>
                  <a:lnTo>
                    <a:pt x="295" y="64"/>
                  </a:lnTo>
                  <a:lnTo>
                    <a:pt x="291" y="64"/>
                  </a:lnTo>
                  <a:lnTo>
                    <a:pt x="287" y="64"/>
                  </a:lnTo>
                  <a:lnTo>
                    <a:pt x="287" y="68"/>
                  </a:lnTo>
                  <a:lnTo>
                    <a:pt x="283" y="68"/>
                  </a:lnTo>
                  <a:lnTo>
                    <a:pt x="279" y="68"/>
                  </a:lnTo>
                  <a:lnTo>
                    <a:pt x="275" y="68"/>
                  </a:lnTo>
                  <a:lnTo>
                    <a:pt x="271" y="64"/>
                  </a:lnTo>
                  <a:lnTo>
                    <a:pt x="267" y="68"/>
                  </a:lnTo>
                  <a:lnTo>
                    <a:pt x="267" y="64"/>
                  </a:lnTo>
                  <a:lnTo>
                    <a:pt x="263" y="60"/>
                  </a:lnTo>
                  <a:lnTo>
                    <a:pt x="263" y="56"/>
                  </a:lnTo>
                  <a:lnTo>
                    <a:pt x="259" y="56"/>
                  </a:lnTo>
                  <a:lnTo>
                    <a:pt x="255" y="52"/>
                  </a:lnTo>
                  <a:lnTo>
                    <a:pt x="251" y="52"/>
                  </a:lnTo>
                  <a:lnTo>
                    <a:pt x="247" y="52"/>
                  </a:lnTo>
                  <a:lnTo>
                    <a:pt x="247" y="56"/>
                  </a:lnTo>
                  <a:lnTo>
                    <a:pt x="247" y="60"/>
                  </a:lnTo>
                  <a:lnTo>
                    <a:pt x="247" y="56"/>
                  </a:lnTo>
                  <a:lnTo>
                    <a:pt x="243" y="56"/>
                  </a:lnTo>
                  <a:lnTo>
                    <a:pt x="239" y="56"/>
                  </a:lnTo>
                  <a:lnTo>
                    <a:pt x="231" y="56"/>
                  </a:lnTo>
                  <a:lnTo>
                    <a:pt x="235" y="60"/>
                  </a:lnTo>
                  <a:lnTo>
                    <a:pt x="235" y="64"/>
                  </a:lnTo>
                  <a:lnTo>
                    <a:pt x="235" y="68"/>
                  </a:lnTo>
                  <a:lnTo>
                    <a:pt x="231" y="72"/>
                  </a:lnTo>
                  <a:lnTo>
                    <a:pt x="235" y="72"/>
                  </a:lnTo>
                  <a:lnTo>
                    <a:pt x="231" y="76"/>
                  </a:lnTo>
                  <a:lnTo>
                    <a:pt x="227" y="76"/>
                  </a:lnTo>
                  <a:lnTo>
                    <a:pt x="223" y="76"/>
                  </a:lnTo>
                  <a:lnTo>
                    <a:pt x="215" y="72"/>
                  </a:lnTo>
                  <a:lnTo>
                    <a:pt x="211" y="72"/>
                  </a:lnTo>
                  <a:lnTo>
                    <a:pt x="207" y="72"/>
                  </a:lnTo>
                  <a:lnTo>
                    <a:pt x="203" y="72"/>
                  </a:lnTo>
                  <a:lnTo>
                    <a:pt x="199" y="76"/>
                  </a:lnTo>
                  <a:lnTo>
                    <a:pt x="203" y="76"/>
                  </a:lnTo>
                  <a:lnTo>
                    <a:pt x="203" y="80"/>
                  </a:lnTo>
                  <a:lnTo>
                    <a:pt x="199" y="84"/>
                  </a:lnTo>
                  <a:lnTo>
                    <a:pt x="199" y="88"/>
                  </a:lnTo>
                  <a:lnTo>
                    <a:pt x="195" y="88"/>
                  </a:lnTo>
                  <a:lnTo>
                    <a:pt x="195" y="84"/>
                  </a:lnTo>
                  <a:lnTo>
                    <a:pt x="191" y="84"/>
                  </a:lnTo>
                  <a:lnTo>
                    <a:pt x="187" y="84"/>
                  </a:lnTo>
                  <a:lnTo>
                    <a:pt x="179" y="88"/>
                  </a:lnTo>
                  <a:lnTo>
                    <a:pt x="179" y="92"/>
                  </a:lnTo>
                  <a:lnTo>
                    <a:pt x="179" y="96"/>
                  </a:lnTo>
                  <a:lnTo>
                    <a:pt x="175" y="100"/>
                  </a:lnTo>
                  <a:lnTo>
                    <a:pt x="171" y="100"/>
                  </a:lnTo>
                  <a:lnTo>
                    <a:pt x="171" y="104"/>
                  </a:lnTo>
                  <a:lnTo>
                    <a:pt x="175" y="104"/>
                  </a:lnTo>
                  <a:lnTo>
                    <a:pt x="175" y="108"/>
                  </a:lnTo>
                  <a:lnTo>
                    <a:pt x="175" y="112"/>
                  </a:lnTo>
                  <a:lnTo>
                    <a:pt x="171" y="116"/>
                  </a:lnTo>
                  <a:lnTo>
                    <a:pt x="167" y="120"/>
                  </a:lnTo>
                  <a:lnTo>
                    <a:pt x="163" y="124"/>
                  </a:lnTo>
                  <a:lnTo>
                    <a:pt x="159" y="124"/>
                  </a:lnTo>
                  <a:lnTo>
                    <a:pt x="159" y="128"/>
                  </a:lnTo>
                  <a:lnTo>
                    <a:pt x="163" y="132"/>
                  </a:lnTo>
                  <a:lnTo>
                    <a:pt x="155" y="136"/>
                  </a:lnTo>
                  <a:lnTo>
                    <a:pt x="151" y="136"/>
                  </a:lnTo>
                  <a:lnTo>
                    <a:pt x="147" y="136"/>
                  </a:lnTo>
                  <a:lnTo>
                    <a:pt x="147" y="140"/>
                  </a:lnTo>
                  <a:lnTo>
                    <a:pt x="151" y="144"/>
                  </a:lnTo>
                  <a:lnTo>
                    <a:pt x="147" y="144"/>
                  </a:lnTo>
                  <a:lnTo>
                    <a:pt x="147" y="148"/>
                  </a:lnTo>
                  <a:lnTo>
                    <a:pt x="147" y="152"/>
                  </a:lnTo>
                  <a:lnTo>
                    <a:pt x="147" y="156"/>
                  </a:lnTo>
                  <a:lnTo>
                    <a:pt x="143" y="160"/>
                  </a:lnTo>
                  <a:lnTo>
                    <a:pt x="143" y="164"/>
                  </a:lnTo>
                  <a:lnTo>
                    <a:pt x="139" y="164"/>
                  </a:lnTo>
                  <a:lnTo>
                    <a:pt x="139" y="168"/>
                  </a:lnTo>
                  <a:lnTo>
                    <a:pt x="139" y="172"/>
                  </a:lnTo>
                  <a:lnTo>
                    <a:pt x="135" y="172"/>
                  </a:lnTo>
                  <a:lnTo>
                    <a:pt x="135" y="176"/>
                  </a:lnTo>
                  <a:lnTo>
                    <a:pt x="139" y="176"/>
                  </a:lnTo>
                  <a:lnTo>
                    <a:pt x="143" y="176"/>
                  </a:lnTo>
                  <a:lnTo>
                    <a:pt x="143" y="180"/>
                  </a:lnTo>
                  <a:lnTo>
                    <a:pt x="143" y="184"/>
                  </a:lnTo>
                  <a:lnTo>
                    <a:pt x="139" y="188"/>
                  </a:lnTo>
                  <a:lnTo>
                    <a:pt x="127" y="188"/>
                  </a:lnTo>
                  <a:lnTo>
                    <a:pt x="123" y="188"/>
                  </a:lnTo>
                  <a:lnTo>
                    <a:pt x="119" y="192"/>
                  </a:lnTo>
                  <a:lnTo>
                    <a:pt x="115" y="196"/>
                  </a:lnTo>
                  <a:lnTo>
                    <a:pt x="111" y="200"/>
                  </a:lnTo>
                  <a:lnTo>
                    <a:pt x="111" y="204"/>
                  </a:lnTo>
                  <a:lnTo>
                    <a:pt x="111" y="208"/>
                  </a:lnTo>
                  <a:lnTo>
                    <a:pt x="107" y="208"/>
                  </a:lnTo>
                  <a:lnTo>
                    <a:pt x="111" y="212"/>
                  </a:lnTo>
                  <a:lnTo>
                    <a:pt x="111" y="216"/>
                  </a:lnTo>
                  <a:lnTo>
                    <a:pt x="111" y="220"/>
                  </a:lnTo>
                  <a:lnTo>
                    <a:pt x="111" y="224"/>
                  </a:lnTo>
                  <a:lnTo>
                    <a:pt x="111" y="228"/>
                  </a:lnTo>
                  <a:lnTo>
                    <a:pt x="111" y="232"/>
                  </a:lnTo>
                  <a:lnTo>
                    <a:pt x="115" y="232"/>
                  </a:lnTo>
                  <a:lnTo>
                    <a:pt x="115" y="236"/>
                  </a:lnTo>
                  <a:lnTo>
                    <a:pt x="111" y="240"/>
                  </a:lnTo>
                  <a:lnTo>
                    <a:pt x="111" y="244"/>
                  </a:lnTo>
                  <a:lnTo>
                    <a:pt x="111" y="247"/>
                  </a:lnTo>
                  <a:lnTo>
                    <a:pt x="115" y="251"/>
                  </a:lnTo>
                  <a:lnTo>
                    <a:pt x="119" y="251"/>
                  </a:lnTo>
                  <a:lnTo>
                    <a:pt x="119" y="255"/>
                  </a:lnTo>
                  <a:lnTo>
                    <a:pt x="123" y="255"/>
                  </a:lnTo>
                  <a:lnTo>
                    <a:pt x="123" y="259"/>
                  </a:lnTo>
                  <a:lnTo>
                    <a:pt x="119" y="259"/>
                  </a:lnTo>
                  <a:lnTo>
                    <a:pt x="119" y="263"/>
                  </a:lnTo>
                  <a:lnTo>
                    <a:pt x="115" y="263"/>
                  </a:lnTo>
                  <a:lnTo>
                    <a:pt x="111" y="263"/>
                  </a:lnTo>
                  <a:lnTo>
                    <a:pt x="115" y="267"/>
                  </a:lnTo>
                  <a:lnTo>
                    <a:pt x="115" y="271"/>
                  </a:lnTo>
                  <a:lnTo>
                    <a:pt x="115" y="275"/>
                  </a:lnTo>
                  <a:lnTo>
                    <a:pt x="119" y="275"/>
                  </a:lnTo>
                  <a:lnTo>
                    <a:pt x="119" y="279"/>
                  </a:lnTo>
                  <a:lnTo>
                    <a:pt x="115" y="283"/>
                  </a:lnTo>
                  <a:lnTo>
                    <a:pt x="115" y="287"/>
                  </a:lnTo>
                  <a:lnTo>
                    <a:pt x="115" y="291"/>
                  </a:lnTo>
                  <a:lnTo>
                    <a:pt x="111" y="291"/>
                  </a:lnTo>
                  <a:lnTo>
                    <a:pt x="107" y="291"/>
                  </a:lnTo>
                  <a:lnTo>
                    <a:pt x="107" y="295"/>
                  </a:lnTo>
                  <a:lnTo>
                    <a:pt x="107" y="299"/>
                  </a:lnTo>
                  <a:lnTo>
                    <a:pt x="103" y="299"/>
                  </a:lnTo>
                  <a:lnTo>
                    <a:pt x="107" y="303"/>
                  </a:lnTo>
                  <a:lnTo>
                    <a:pt x="107" y="307"/>
                  </a:lnTo>
                  <a:lnTo>
                    <a:pt x="107" y="311"/>
                  </a:lnTo>
                  <a:lnTo>
                    <a:pt x="103" y="315"/>
                  </a:lnTo>
                  <a:lnTo>
                    <a:pt x="99" y="315"/>
                  </a:lnTo>
                  <a:lnTo>
                    <a:pt x="99" y="311"/>
                  </a:lnTo>
                  <a:lnTo>
                    <a:pt x="95" y="311"/>
                  </a:lnTo>
                  <a:lnTo>
                    <a:pt x="91" y="311"/>
                  </a:lnTo>
                  <a:lnTo>
                    <a:pt x="91" y="307"/>
                  </a:lnTo>
                  <a:lnTo>
                    <a:pt x="87" y="303"/>
                  </a:lnTo>
                  <a:lnTo>
                    <a:pt x="91" y="303"/>
                  </a:lnTo>
                  <a:lnTo>
                    <a:pt x="87" y="299"/>
                  </a:lnTo>
                  <a:lnTo>
                    <a:pt x="87" y="295"/>
                  </a:lnTo>
                  <a:lnTo>
                    <a:pt x="87" y="291"/>
                  </a:lnTo>
                  <a:lnTo>
                    <a:pt x="91" y="295"/>
                  </a:lnTo>
                  <a:lnTo>
                    <a:pt x="91" y="291"/>
                  </a:lnTo>
                  <a:lnTo>
                    <a:pt x="87" y="291"/>
                  </a:lnTo>
                  <a:lnTo>
                    <a:pt x="87" y="295"/>
                  </a:lnTo>
                  <a:lnTo>
                    <a:pt x="87" y="299"/>
                  </a:lnTo>
                  <a:lnTo>
                    <a:pt x="87" y="295"/>
                  </a:lnTo>
                  <a:lnTo>
                    <a:pt x="83" y="295"/>
                  </a:lnTo>
                  <a:lnTo>
                    <a:pt x="83" y="299"/>
                  </a:lnTo>
                  <a:lnTo>
                    <a:pt x="83" y="303"/>
                  </a:lnTo>
                  <a:lnTo>
                    <a:pt x="87" y="303"/>
                  </a:lnTo>
                  <a:lnTo>
                    <a:pt x="87" y="307"/>
                  </a:lnTo>
                  <a:lnTo>
                    <a:pt x="83" y="307"/>
                  </a:lnTo>
                  <a:lnTo>
                    <a:pt x="83" y="311"/>
                  </a:lnTo>
                  <a:lnTo>
                    <a:pt x="79" y="311"/>
                  </a:lnTo>
                  <a:lnTo>
                    <a:pt x="79" y="315"/>
                  </a:lnTo>
                  <a:lnTo>
                    <a:pt x="75" y="315"/>
                  </a:lnTo>
                  <a:lnTo>
                    <a:pt x="75" y="311"/>
                  </a:lnTo>
                  <a:lnTo>
                    <a:pt x="71" y="311"/>
                  </a:lnTo>
                  <a:lnTo>
                    <a:pt x="75" y="311"/>
                  </a:lnTo>
                  <a:lnTo>
                    <a:pt x="75" y="315"/>
                  </a:lnTo>
                  <a:lnTo>
                    <a:pt x="71" y="315"/>
                  </a:lnTo>
                  <a:lnTo>
                    <a:pt x="67" y="319"/>
                  </a:lnTo>
                  <a:lnTo>
                    <a:pt x="67" y="323"/>
                  </a:lnTo>
                  <a:lnTo>
                    <a:pt x="63" y="323"/>
                  </a:lnTo>
                  <a:lnTo>
                    <a:pt x="63" y="327"/>
                  </a:lnTo>
                  <a:lnTo>
                    <a:pt x="59" y="327"/>
                  </a:lnTo>
                  <a:lnTo>
                    <a:pt x="55" y="331"/>
                  </a:lnTo>
                  <a:lnTo>
                    <a:pt x="51" y="331"/>
                  </a:lnTo>
                  <a:lnTo>
                    <a:pt x="51" y="335"/>
                  </a:lnTo>
                  <a:lnTo>
                    <a:pt x="47" y="335"/>
                  </a:lnTo>
                  <a:lnTo>
                    <a:pt x="43" y="335"/>
                  </a:lnTo>
                  <a:lnTo>
                    <a:pt x="39" y="335"/>
                  </a:lnTo>
                  <a:lnTo>
                    <a:pt x="35" y="335"/>
                  </a:lnTo>
                  <a:lnTo>
                    <a:pt x="35" y="339"/>
                  </a:lnTo>
                  <a:lnTo>
                    <a:pt x="31" y="335"/>
                  </a:lnTo>
                  <a:lnTo>
                    <a:pt x="27" y="335"/>
                  </a:lnTo>
                  <a:lnTo>
                    <a:pt x="27" y="331"/>
                  </a:lnTo>
                  <a:lnTo>
                    <a:pt x="31" y="331"/>
                  </a:lnTo>
                  <a:lnTo>
                    <a:pt x="27" y="331"/>
                  </a:lnTo>
                  <a:lnTo>
                    <a:pt x="23" y="331"/>
                  </a:lnTo>
                  <a:lnTo>
                    <a:pt x="19" y="331"/>
                  </a:lnTo>
                  <a:lnTo>
                    <a:pt x="19" y="327"/>
                  </a:lnTo>
                  <a:lnTo>
                    <a:pt x="15" y="327"/>
                  </a:lnTo>
                  <a:lnTo>
                    <a:pt x="11" y="323"/>
                  </a:lnTo>
                  <a:lnTo>
                    <a:pt x="11" y="319"/>
                  </a:lnTo>
                  <a:lnTo>
                    <a:pt x="11" y="315"/>
                  </a:lnTo>
                  <a:lnTo>
                    <a:pt x="11" y="311"/>
                  </a:lnTo>
                  <a:lnTo>
                    <a:pt x="15" y="315"/>
                  </a:lnTo>
                  <a:lnTo>
                    <a:pt x="19" y="315"/>
                  </a:lnTo>
                  <a:lnTo>
                    <a:pt x="19" y="319"/>
                  </a:lnTo>
                  <a:lnTo>
                    <a:pt x="23" y="315"/>
                  </a:lnTo>
                  <a:lnTo>
                    <a:pt x="19" y="315"/>
                  </a:lnTo>
                  <a:lnTo>
                    <a:pt x="23" y="315"/>
                  </a:lnTo>
                  <a:lnTo>
                    <a:pt x="23" y="311"/>
                  </a:lnTo>
                  <a:lnTo>
                    <a:pt x="27" y="311"/>
                  </a:lnTo>
                  <a:lnTo>
                    <a:pt x="23" y="311"/>
                  </a:lnTo>
                  <a:lnTo>
                    <a:pt x="19" y="315"/>
                  </a:lnTo>
                  <a:lnTo>
                    <a:pt x="19" y="311"/>
                  </a:lnTo>
                  <a:lnTo>
                    <a:pt x="15" y="311"/>
                  </a:lnTo>
                  <a:lnTo>
                    <a:pt x="19" y="311"/>
                  </a:lnTo>
                  <a:lnTo>
                    <a:pt x="19" y="307"/>
                  </a:lnTo>
                  <a:lnTo>
                    <a:pt x="23" y="307"/>
                  </a:lnTo>
                  <a:lnTo>
                    <a:pt x="27" y="307"/>
                  </a:lnTo>
                  <a:lnTo>
                    <a:pt x="23" y="307"/>
                  </a:lnTo>
                  <a:lnTo>
                    <a:pt x="19" y="307"/>
                  </a:lnTo>
                  <a:lnTo>
                    <a:pt x="19" y="303"/>
                  </a:lnTo>
                  <a:lnTo>
                    <a:pt x="23" y="303"/>
                  </a:lnTo>
                  <a:lnTo>
                    <a:pt x="23" y="299"/>
                  </a:lnTo>
                  <a:lnTo>
                    <a:pt x="27" y="299"/>
                  </a:lnTo>
                  <a:lnTo>
                    <a:pt x="23" y="299"/>
                  </a:lnTo>
                  <a:lnTo>
                    <a:pt x="19" y="303"/>
                  </a:lnTo>
                  <a:lnTo>
                    <a:pt x="15" y="303"/>
                  </a:lnTo>
                  <a:lnTo>
                    <a:pt x="19" y="303"/>
                  </a:lnTo>
                  <a:lnTo>
                    <a:pt x="15" y="303"/>
                  </a:lnTo>
                  <a:lnTo>
                    <a:pt x="15" y="307"/>
                  </a:lnTo>
                  <a:lnTo>
                    <a:pt x="11" y="307"/>
                  </a:lnTo>
                  <a:lnTo>
                    <a:pt x="11" y="303"/>
                  </a:lnTo>
                  <a:lnTo>
                    <a:pt x="11" y="307"/>
                  </a:lnTo>
                  <a:lnTo>
                    <a:pt x="7" y="307"/>
                  </a:lnTo>
                  <a:lnTo>
                    <a:pt x="7" y="303"/>
                  </a:lnTo>
                  <a:lnTo>
                    <a:pt x="7" y="299"/>
                  </a:lnTo>
                  <a:lnTo>
                    <a:pt x="11" y="295"/>
                  </a:lnTo>
                  <a:lnTo>
                    <a:pt x="11" y="299"/>
                  </a:lnTo>
                  <a:lnTo>
                    <a:pt x="11" y="295"/>
                  </a:lnTo>
                  <a:lnTo>
                    <a:pt x="15" y="295"/>
                  </a:lnTo>
                  <a:lnTo>
                    <a:pt x="19" y="295"/>
                  </a:lnTo>
                  <a:lnTo>
                    <a:pt x="23" y="291"/>
                  </a:lnTo>
                  <a:lnTo>
                    <a:pt x="19" y="295"/>
                  </a:lnTo>
                  <a:lnTo>
                    <a:pt x="15" y="295"/>
                  </a:lnTo>
                  <a:lnTo>
                    <a:pt x="15" y="291"/>
                  </a:lnTo>
                  <a:lnTo>
                    <a:pt x="19" y="291"/>
                  </a:lnTo>
                  <a:lnTo>
                    <a:pt x="19" y="287"/>
                  </a:lnTo>
                  <a:lnTo>
                    <a:pt x="19" y="283"/>
                  </a:lnTo>
                  <a:lnTo>
                    <a:pt x="23" y="283"/>
                  </a:lnTo>
                  <a:lnTo>
                    <a:pt x="23" y="279"/>
                  </a:lnTo>
                  <a:lnTo>
                    <a:pt x="27" y="279"/>
                  </a:lnTo>
                  <a:lnTo>
                    <a:pt x="27" y="283"/>
                  </a:lnTo>
                  <a:lnTo>
                    <a:pt x="27" y="287"/>
                  </a:lnTo>
                  <a:lnTo>
                    <a:pt x="27" y="283"/>
                  </a:lnTo>
                  <a:lnTo>
                    <a:pt x="27" y="279"/>
                  </a:lnTo>
                  <a:lnTo>
                    <a:pt x="31" y="279"/>
                  </a:lnTo>
                  <a:lnTo>
                    <a:pt x="31" y="275"/>
                  </a:lnTo>
                  <a:lnTo>
                    <a:pt x="35" y="279"/>
                  </a:lnTo>
                  <a:lnTo>
                    <a:pt x="35" y="275"/>
                  </a:lnTo>
                  <a:lnTo>
                    <a:pt x="31" y="275"/>
                  </a:lnTo>
                  <a:lnTo>
                    <a:pt x="35" y="275"/>
                  </a:lnTo>
                  <a:lnTo>
                    <a:pt x="31" y="275"/>
                  </a:lnTo>
                  <a:lnTo>
                    <a:pt x="27" y="279"/>
                  </a:lnTo>
                  <a:lnTo>
                    <a:pt x="23" y="279"/>
                  </a:lnTo>
                  <a:lnTo>
                    <a:pt x="19" y="279"/>
                  </a:lnTo>
                  <a:lnTo>
                    <a:pt x="19" y="283"/>
                  </a:lnTo>
                  <a:lnTo>
                    <a:pt x="15" y="287"/>
                  </a:lnTo>
                  <a:lnTo>
                    <a:pt x="15" y="291"/>
                  </a:lnTo>
                  <a:lnTo>
                    <a:pt x="15" y="287"/>
                  </a:lnTo>
                  <a:lnTo>
                    <a:pt x="11" y="287"/>
                  </a:lnTo>
                  <a:lnTo>
                    <a:pt x="11" y="283"/>
                  </a:lnTo>
                  <a:lnTo>
                    <a:pt x="15" y="279"/>
                  </a:lnTo>
                  <a:lnTo>
                    <a:pt x="11" y="279"/>
                  </a:lnTo>
                  <a:lnTo>
                    <a:pt x="11" y="283"/>
                  </a:lnTo>
                  <a:lnTo>
                    <a:pt x="11" y="287"/>
                  </a:lnTo>
                  <a:lnTo>
                    <a:pt x="7" y="287"/>
                  </a:lnTo>
                  <a:lnTo>
                    <a:pt x="7" y="283"/>
                  </a:lnTo>
                  <a:lnTo>
                    <a:pt x="7" y="279"/>
                  </a:lnTo>
                  <a:lnTo>
                    <a:pt x="7" y="275"/>
                  </a:lnTo>
                  <a:lnTo>
                    <a:pt x="7" y="279"/>
                  </a:lnTo>
                  <a:lnTo>
                    <a:pt x="11" y="279"/>
                  </a:lnTo>
                  <a:lnTo>
                    <a:pt x="15" y="279"/>
                  </a:lnTo>
                  <a:lnTo>
                    <a:pt x="15" y="275"/>
                  </a:lnTo>
                  <a:lnTo>
                    <a:pt x="15" y="271"/>
                  </a:lnTo>
                  <a:lnTo>
                    <a:pt x="11" y="271"/>
                  </a:lnTo>
                  <a:lnTo>
                    <a:pt x="11" y="275"/>
                  </a:lnTo>
                  <a:lnTo>
                    <a:pt x="7" y="275"/>
                  </a:lnTo>
                  <a:lnTo>
                    <a:pt x="3" y="271"/>
                  </a:lnTo>
                  <a:lnTo>
                    <a:pt x="7" y="275"/>
                  </a:lnTo>
                  <a:lnTo>
                    <a:pt x="3" y="271"/>
                  </a:lnTo>
                  <a:lnTo>
                    <a:pt x="7" y="271"/>
                  </a:lnTo>
                  <a:lnTo>
                    <a:pt x="7" y="275"/>
                  </a:lnTo>
                  <a:lnTo>
                    <a:pt x="11" y="275"/>
                  </a:lnTo>
                  <a:lnTo>
                    <a:pt x="11" y="271"/>
                  </a:lnTo>
                  <a:lnTo>
                    <a:pt x="7" y="271"/>
                  </a:lnTo>
                  <a:lnTo>
                    <a:pt x="7" y="267"/>
                  </a:lnTo>
                  <a:lnTo>
                    <a:pt x="11" y="267"/>
                  </a:lnTo>
                  <a:lnTo>
                    <a:pt x="7" y="267"/>
                  </a:lnTo>
                  <a:lnTo>
                    <a:pt x="3" y="267"/>
                  </a:lnTo>
                  <a:lnTo>
                    <a:pt x="3" y="263"/>
                  </a:lnTo>
                  <a:lnTo>
                    <a:pt x="7" y="263"/>
                  </a:lnTo>
                  <a:lnTo>
                    <a:pt x="11" y="263"/>
                  </a:lnTo>
                  <a:lnTo>
                    <a:pt x="15" y="263"/>
                  </a:lnTo>
                  <a:lnTo>
                    <a:pt x="19" y="263"/>
                  </a:lnTo>
                  <a:lnTo>
                    <a:pt x="23" y="263"/>
                  </a:lnTo>
                  <a:lnTo>
                    <a:pt x="27" y="263"/>
                  </a:lnTo>
                  <a:lnTo>
                    <a:pt x="27" y="259"/>
                  </a:lnTo>
                  <a:lnTo>
                    <a:pt x="31" y="259"/>
                  </a:lnTo>
                  <a:lnTo>
                    <a:pt x="31" y="263"/>
                  </a:lnTo>
                  <a:lnTo>
                    <a:pt x="35" y="263"/>
                  </a:lnTo>
                  <a:lnTo>
                    <a:pt x="35" y="267"/>
                  </a:lnTo>
                  <a:lnTo>
                    <a:pt x="35" y="263"/>
                  </a:lnTo>
                  <a:lnTo>
                    <a:pt x="39" y="263"/>
                  </a:lnTo>
                  <a:lnTo>
                    <a:pt x="39" y="259"/>
                  </a:lnTo>
                  <a:lnTo>
                    <a:pt x="39" y="255"/>
                  </a:lnTo>
                  <a:lnTo>
                    <a:pt x="43" y="255"/>
                  </a:lnTo>
                  <a:lnTo>
                    <a:pt x="43" y="251"/>
                  </a:lnTo>
                  <a:lnTo>
                    <a:pt x="39" y="255"/>
                  </a:lnTo>
                  <a:lnTo>
                    <a:pt x="39" y="259"/>
                  </a:lnTo>
                  <a:lnTo>
                    <a:pt x="35" y="259"/>
                  </a:lnTo>
                  <a:lnTo>
                    <a:pt x="31" y="263"/>
                  </a:lnTo>
                  <a:lnTo>
                    <a:pt x="31" y="259"/>
                  </a:lnTo>
                  <a:lnTo>
                    <a:pt x="27" y="259"/>
                  </a:lnTo>
                  <a:lnTo>
                    <a:pt x="27" y="255"/>
                  </a:lnTo>
                  <a:lnTo>
                    <a:pt x="27" y="259"/>
                  </a:lnTo>
                  <a:lnTo>
                    <a:pt x="23" y="263"/>
                  </a:lnTo>
                  <a:lnTo>
                    <a:pt x="23" y="259"/>
                  </a:lnTo>
                  <a:lnTo>
                    <a:pt x="19" y="259"/>
                  </a:lnTo>
                  <a:lnTo>
                    <a:pt x="15" y="259"/>
                  </a:lnTo>
                  <a:lnTo>
                    <a:pt x="11" y="259"/>
                  </a:lnTo>
                  <a:lnTo>
                    <a:pt x="11" y="263"/>
                  </a:lnTo>
                  <a:lnTo>
                    <a:pt x="7" y="263"/>
                  </a:lnTo>
                  <a:lnTo>
                    <a:pt x="7" y="259"/>
                  </a:lnTo>
                  <a:lnTo>
                    <a:pt x="3" y="259"/>
                  </a:lnTo>
                  <a:lnTo>
                    <a:pt x="7" y="259"/>
                  </a:lnTo>
                  <a:lnTo>
                    <a:pt x="3" y="259"/>
                  </a:lnTo>
                  <a:lnTo>
                    <a:pt x="7" y="255"/>
                  </a:lnTo>
                  <a:lnTo>
                    <a:pt x="11" y="255"/>
                  </a:lnTo>
                  <a:lnTo>
                    <a:pt x="7" y="255"/>
                  </a:lnTo>
                  <a:lnTo>
                    <a:pt x="3" y="255"/>
                  </a:lnTo>
                  <a:lnTo>
                    <a:pt x="7" y="251"/>
                  </a:lnTo>
                  <a:lnTo>
                    <a:pt x="7" y="255"/>
                  </a:lnTo>
                  <a:lnTo>
                    <a:pt x="11" y="255"/>
                  </a:lnTo>
                  <a:lnTo>
                    <a:pt x="15" y="255"/>
                  </a:lnTo>
                  <a:lnTo>
                    <a:pt x="15" y="251"/>
                  </a:lnTo>
                  <a:lnTo>
                    <a:pt x="11" y="251"/>
                  </a:lnTo>
                  <a:lnTo>
                    <a:pt x="11" y="255"/>
                  </a:lnTo>
                  <a:lnTo>
                    <a:pt x="7" y="251"/>
                  </a:lnTo>
                  <a:lnTo>
                    <a:pt x="3" y="251"/>
                  </a:lnTo>
                  <a:lnTo>
                    <a:pt x="7" y="247"/>
                  </a:lnTo>
                  <a:lnTo>
                    <a:pt x="3" y="247"/>
                  </a:lnTo>
                  <a:lnTo>
                    <a:pt x="7" y="244"/>
                  </a:lnTo>
                  <a:lnTo>
                    <a:pt x="11" y="244"/>
                  </a:lnTo>
                  <a:lnTo>
                    <a:pt x="15" y="244"/>
                  </a:lnTo>
                  <a:lnTo>
                    <a:pt x="19" y="244"/>
                  </a:lnTo>
                  <a:lnTo>
                    <a:pt x="23" y="244"/>
                  </a:lnTo>
                  <a:lnTo>
                    <a:pt x="27" y="244"/>
                  </a:lnTo>
                  <a:lnTo>
                    <a:pt x="31" y="244"/>
                  </a:lnTo>
                  <a:lnTo>
                    <a:pt x="27" y="244"/>
                  </a:lnTo>
                  <a:lnTo>
                    <a:pt x="23" y="244"/>
                  </a:lnTo>
                  <a:lnTo>
                    <a:pt x="19" y="244"/>
                  </a:lnTo>
                  <a:lnTo>
                    <a:pt x="15" y="244"/>
                  </a:lnTo>
                  <a:lnTo>
                    <a:pt x="11" y="244"/>
                  </a:lnTo>
                  <a:lnTo>
                    <a:pt x="7" y="244"/>
                  </a:lnTo>
                  <a:lnTo>
                    <a:pt x="3" y="244"/>
                  </a:lnTo>
                  <a:lnTo>
                    <a:pt x="7" y="240"/>
                  </a:lnTo>
                  <a:lnTo>
                    <a:pt x="7" y="236"/>
                  </a:lnTo>
                  <a:lnTo>
                    <a:pt x="3" y="236"/>
                  </a:lnTo>
                  <a:lnTo>
                    <a:pt x="7" y="236"/>
                  </a:lnTo>
                  <a:lnTo>
                    <a:pt x="11" y="240"/>
                  </a:lnTo>
                  <a:lnTo>
                    <a:pt x="11" y="236"/>
                  </a:lnTo>
                  <a:lnTo>
                    <a:pt x="7" y="236"/>
                  </a:lnTo>
                  <a:lnTo>
                    <a:pt x="11" y="236"/>
                  </a:lnTo>
                  <a:lnTo>
                    <a:pt x="15" y="236"/>
                  </a:lnTo>
                  <a:lnTo>
                    <a:pt x="19" y="236"/>
                  </a:lnTo>
                  <a:lnTo>
                    <a:pt x="23" y="240"/>
                  </a:lnTo>
                  <a:lnTo>
                    <a:pt x="19" y="240"/>
                  </a:lnTo>
                  <a:lnTo>
                    <a:pt x="19" y="236"/>
                  </a:lnTo>
                  <a:lnTo>
                    <a:pt x="15" y="236"/>
                  </a:lnTo>
                  <a:lnTo>
                    <a:pt x="19" y="236"/>
                  </a:lnTo>
                  <a:lnTo>
                    <a:pt x="19" y="232"/>
                  </a:lnTo>
                  <a:lnTo>
                    <a:pt x="23" y="232"/>
                  </a:lnTo>
                  <a:lnTo>
                    <a:pt x="27" y="236"/>
                  </a:lnTo>
                  <a:lnTo>
                    <a:pt x="27" y="232"/>
                  </a:lnTo>
                  <a:lnTo>
                    <a:pt x="23" y="232"/>
                  </a:lnTo>
                  <a:lnTo>
                    <a:pt x="27" y="228"/>
                  </a:lnTo>
                  <a:lnTo>
                    <a:pt x="31" y="232"/>
                  </a:lnTo>
                  <a:lnTo>
                    <a:pt x="35" y="232"/>
                  </a:lnTo>
                  <a:lnTo>
                    <a:pt x="35" y="236"/>
                  </a:lnTo>
                  <a:lnTo>
                    <a:pt x="31" y="236"/>
                  </a:lnTo>
                  <a:lnTo>
                    <a:pt x="31" y="240"/>
                  </a:lnTo>
                  <a:lnTo>
                    <a:pt x="35" y="240"/>
                  </a:lnTo>
                  <a:lnTo>
                    <a:pt x="35" y="236"/>
                  </a:lnTo>
                  <a:lnTo>
                    <a:pt x="31" y="236"/>
                  </a:lnTo>
                  <a:lnTo>
                    <a:pt x="35" y="236"/>
                  </a:lnTo>
                  <a:lnTo>
                    <a:pt x="35" y="232"/>
                  </a:lnTo>
                  <a:lnTo>
                    <a:pt x="39" y="232"/>
                  </a:lnTo>
                  <a:lnTo>
                    <a:pt x="39" y="236"/>
                  </a:lnTo>
                  <a:lnTo>
                    <a:pt x="39" y="232"/>
                  </a:lnTo>
                  <a:lnTo>
                    <a:pt x="35" y="232"/>
                  </a:lnTo>
                  <a:lnTo>
                    <a:pt x="31" y="232"/>
                  </a:lnTo>
                  <a:lnTo>
                    <a:pt x="31" y="228"/>
                  </a:lnTo>
                  <a:lnTo>
                    <a:pt x="27" y="228"/>
                  </a:lnTo>
                  <a:lnTo>
                    <a:pt x="23" y="228"/>
                  </a:lnTo>
                  <a:lnTo>
                    <a:pt x="27" y="228"/>
                  </a:lnTo>
                  <a:lnTo>
                    <a:pt x="23" y="228"/>
                  </a:lnTo>
                  <a:lnTo>
                    <a:pt x="23" y="224"/>
                  </a:lnTo>
                  <a:lnTo>
                    <a:pt x="27" y="224"/>
                  </a:lnTo>
                  <a:lnTo>
                    <a:pt x="31" y="224"/>
                  </a:lnTo>
                  <a:lnTo>
                    <a:pt x="35" y="224"/>
                  </a:lnTo>
                  <a:lnTo>
                    <a:pt x="39" y="224"/>
                  </a:lnTo>
                  <a:lnTo>
                    <a:pt x="43" y="228"/>
                  </a:lnTo>
                  <a:lnTo>
                    <a:pt x="43" y="224"/>
                  </a:lnTo>
                  <a:lnTo>
                    <a:pt x="43" y="228"/>
                  </a:lnTo>
                  <a:lnTo>
                    <a:pt x="39" y="228"/>
                  </a:lnTo>
                  <a:lnTo>
                    <a:pt x="39" y="224"/>
                  </a:lnTo>
                  <a:lnTo>
                    <a:pt x="43" y="224"/>
                  </a:lnTo>
                  <a:lnTo>
                    <a:pt x="47" y="224"/>
                  </a:lnTo>
                  <a:lnTo>
                    <a:pt x="47" y="220"/>
                  </a:lnTo>
                  <a:lnTo>
                    <a:pt x="51" y="224"/>
                  </a:lnTo>
                  <a:lnTo>
                    <a:pt x="51" y="220"/>
                  </a:lnTo>
                  <a:lnTo>
                    <a:pt x="47" y="220"/>
                  </a:lnTo>
                  <a:lnTo>
                    <a:pt x="43" y="224"/>
                  </a:lnTo>
                  <a:lnTo>
                    <a:pt x="39" y="224"/>
                  </a:lnTo>
                  <a:lnTo>
                    <a:pt x="39" y="220"/>
                  </a:lnTo>
                  <a:lnTo>
                    <a:pt x="43" y="220"/>
                  </a:lnTo>
                  <a:lnTo>
                    <a:pt x="39" y="220"/>
                  </a:lnTo>
                  <a:lnTo>
                    <a:pt x="35" y="220"/>
                  </a:lnTo>
                  <a:lnTo>
                    <a:pt x="31" y="224"/>
                  </a:lnTo>
                  <a:lnTo>
                    <a:pt x="31" y="220"/>
                  </a:lnTo>
                  <a:lnTo>
                    <a:pt x="35" y="220"/>
                  </a:lnTo>
                  <a:lnTo>
                    <a:pt x="31" y="216"/>
                  </a:lnTo>
                  <a:lnTo>
                    <a:pt x="35" y="216"/>
                  </a:lnTo>
                  <a:lnTo>
                    <a:pt x="39" y="216"/>
                  </a:lnTo>
                  <a:lnTo>
                    <a:pt x="43" y="216"/>
                  </a:lnTo>
                  <a:lnTo>
                    <a:pt x="47" y="216"/>
                  </a:lnTo>
                  <a:lnTo>
                    <a:pt x="43" y="216"/>
                  </a:lnTo>
                  <a:lnTo>
                    <a:pt x="47" y="216"/>
                  </a:lnTo>
                  <a:lnTo>
                    <a:pt x="51" y="216"/>
                  </a:lnTo>
                  <a:lnTo>
                    <a:pt x="51" y="220"/>
                  </a:lnTo>
                  <a:lnTo>
                    <a:pt x="55" y="220"/>
                  </a:lnTo>
                  <a:lnTo>
                    <a:pt x="55" y="224"/>
                  </a:lnTo>
                  <a:lnTo>
                    <a:pt x="59" y="224"/>
                  </a:lnTo>
                  <a:lnTo>
                    <a:pt x="55" y="224"/>
                  </a:lnTo>
                  <a:lnTo>
                    <a:pt x="55" y="220"/>
                  </a:lnTo>
                  <a:lnTo>
                    <a:pt x="51" y="220"/>
                  </a:lnTo>
                  <a:lnTo>
                    <a:pt x="51" y="216"/>
                  </a:lnTo>
                  <a:lnTo>
                    <a:pt x="47" y="216"/>
                  </a:lnTo>
                  <a:lnTo>
                    <a:pt x="47" y="212"/>
                  </a:lnTo>
                  <a:lnTo>
                    <a:pt x="51" y="212"/>
                  </a:lnTo>
                  <a:lnTo>
                    <a:pt x="51" y="216"/>
                  </a:lnTo>
                  <a:lnTo>
                    <a:pt x="55" y="216"/>
                  </a:lnTo>
                  <a:lnTo>
                    <a:pt x="55" y="220"/>
                  </a:lnTo>
                  <a:lnTo>
                    <a:pt x="55" y="216"/>
                  </a:lnTo>
                  <a:lnTo>
                    <a:pt x="59" y="216"/>
                  </a:lnTo>
                  <a:lnTo>
                    <a:pt x="55" y="216"/>
                  </a:lnTo>
                  <a:lnTo>
                    <a:pt x="51" y="216"/>
                  </a:lnTo>
                  <a:lnTo>
                    <a:pt x="51" y="212"/>
                  </a:lnTo>
                  <a:lnTo>
                    <a:pt x="55" y="212"/>
                  </a:lnTo>
                  <a:lnTo>
                    <a:pt x="59" y="212"/>
                  </a:lnTo>
                  <a:lnTo>
                    <a:pt x="63" y="212"/>
                  </a:lnTo>
                  <a:lnTo>
                    <a:pt x="59" y="212"/>
                  </a:lnTo>
                  <a:lnTo>
                    <a:pt x="55" y="208"/>
                  </a:lnTo>
                  <a:lnTo>
                    <a:pt x="59" y="208"/>
                  </a:lnTo>
                  <a:lnTo>
                    <a:pt x="59" y="204"/>
                  </a:lnTo>
                  <a:lnTo>
                    <a:pt x="63" y="204"/>
                  </a:lnTo>
                  <a:lnTo>
                    <a:pt x="67" y="204"/>
                  </a:lnTo>
                  <a:lnTo>
                    <a:pt x="67" y="208"/>
                  </a:lnTo>
                  <a:lnTo>
                    <a:pt x="71" y="208"/>
                  </a:lnTo>
                  <a:lnTo>
                    <a:pt x="71" y="204"/>
                  </a:lnTo>
                  <a:lnTo>
                    <a:pt x="67" y="208"/>
                  </a:lnTo>
                  <a:lnTo>
                    <a:pt x="67" y="204"/>
                  </a:lnTo>
                  <a:lnTo>
                    <a:pt x="67" y="200"/>
                  </a:lnTo>
                  <a:lnTo>
                    <a:pt x="71" y="200"/>
                  </a:lnTo>
                  <a:lnTo>
                    <a:pt x="75" y="200"/>
                  </a:lnTo>
                  <a:lnTo>
                    <a:pt x="79" y="204"/>
                  </a:lnTo>
                  <a:lnTo>
                    <a:pt x="79" y="208"/>
                  </a:lnTo>
                  <a:lnTo>
                    <a:pt x="83" y="208"/>
                  </a:lnTo>
                  <a:lnTo>
                    <a:pt x="79" y="208"/>
                  </a:lnTo>
                  <a:lnTo>
                    <a:pt x="79" y="204"/>
                  </a:lnTo>
                  <a:lnTo>
                    <a:pt x="83" y="204"/>
                  </a:lnTo>
                  <a:lnTo>
                    <a:pt x="87" y="204"/>
                  </a:lnTo>
                  <a:lnTo>
                    <a:pt x="91" y="204"/>
                  </a:lnTo>
                  <a:lnTo>
                    <a:pt x="91" y="200"/>
                  </a:lnTo>
                  <a:lnTo>
                    <a:pt x="87" y="200"/>
                  </a:lnTo>
                  <a:lnTo>
                    <a:pt x="91" y="200"/>
                  </a:lnTo>
                  <a:lnTo>
                    <a:pt x="91" y="196"/>
                  </a:lnTo>
                  <a:lnTo>
                    <a:pt x="95" y="196"/>
                  </a:lnTo>
                  <a:lnTo>
                    <a:pt x="99" y="196"/>
                  </a:lnTo>
                  <a:lnTo>
                    <a:pt x="99" y="192"/>
                  </a:lnTo>
                  <a:lnTo>
                    <a:pt x="95" y="192"/>
                  </a:lnTo>
                  <a:lnTo>
                    <a:pt x="99" y="192"/>
                  </a:lnTo>
                  <a:lnTo>
                    <a:pt x="103" y="188"/>
                  </a:lnTo>
                  <a:lnTo>
                    <a:pt x="99" y="188"/>
                  </a:lnTo>
                  <a:lnTo>
                    <a:pt x="95" y="188"/>
                  </a:lnTo>
                  <a:lnTo>
                    <a:pt x="95" y="192"/>
                  </a:lnTo>
                  <a:lnTo>
                    <a:pt x="91" y="192"/>
                  </a:lnTo>
                  <a:lnTo>
                    <a:pt x="87" y="196"/>
                  </a:lnTo>
                  <a:lnTo>
                    <a:pt x="91" y="192"/>
                  </a:lnTo>
                  <a:lnTo>
                    <a:pt x="95" y="192"/>
                  </a:lnTo>
                  <a:lnTo>
                    <a:pt x="95" y="196"/>
                  </a:lnTo>
                  <a:lnTo>
                    <a:pt x="91" y="196"/>
                  </a:lnTo>
                  <a:lnTo>
                    <a:pt x="87" y="200"/>
                  </a:lnTo>
                  <a:lnTo>
                    <a:pt x="83" y="200"/>
                  </a:lnTo>
                  <a:lnTo>
                    <a:pt x="79" y="204"/>
                  </a:lnTo>
                  <a:lnTo>
                    <a:pt x="75" y="200"/>
                  </a:lnTo>
                  <a:lnTo>
                    <a:pt x="75" y="196"/>
                  </a:lnTo>
                  <a:lnTo>
                    <a:pt x="79" y="196"/>
                  </a:lnTo>
                  <a:lnTo>
                    <a:pt x="75" y="196"/>
                  </a:lnTo>
                  <a:lnTo>
                    <a:pt x="71" y="200"/>
                  </a:lnTo>
                  <a:lnTo>
                    <a:pt x="71" y="196"/>
                  </a:lnTo>
                  <a:lnTo>
                    <a:pt x="75" y="196"/>
                  </a:lnTo>
                  <a:lnTo>
                    <a:pt x="75" y="192"/>
                  </a:lnTo>
                  <a:lnTo>
                    <a:pt x="79" y="192"/>
                  </a:lnTo>
                  <a:lnTo>
                    <a:pt x="83" y="192"/>
                  </a:lnTo>
                  <a:lnTo>
                    <a:pt x="79" y="192"/>
                  </a:lnTo>
                  <a:lnTo>
                    <a:pt x="79" y="188"/>
                  </a:lnTo>
                  <a:lnTo>
                    <a:pt x="83" y="184"/>
                  </a:lnTo>
                  <a:lnTo>
                    <a:pt x="87" y="180"/>
                  </a:lnTo>
                  <a:close/>
                  <a:moveTo>
                    <a:pt x="303" y="4"/>
                  </a:moveTo>
                  <a:lnTo>
                    <a:pt x="303" y="0"/>
                  </a:lnTo>
                  <a:lnTo>
                    <a:pt x="303" y="4"/>
                  </a:lnTo>
                  <a:close/>
                  <a:moveTo>
                    <a:pt x="287" y="16"/>
                  </a:moveTo>
                  <a:lnTo>
                    <a:pt x="287" y="12"/>
                  </a:lnTo>
                  <a:lnTo>
                    <a:pt x="291" y="12"/>
                  </a:lnTo>
                  <a:lnTo>
                    <a:pt x="295" y="16"/>
                  </a:lnTo>
                  <a:lnTo>
                    <a:pt x="291" y="16"/>
                  </a:lnTo>
                  <a:lnTo>
                    <a:pt x="287" y="16"/>
                  </a:lnTo>
                  <a:close/>
                  <a:moveTo>
                    <a:pt x="275" y="24"/>
                  </a:moveTo>
                  <a:lnTo>
                    <a:pt x="271" y="24"/>
                  </a:lnTo>
                  <a:lnTo>
                    <a:pt x="267" y="24"/>
                  </a:lnTo>
                  <a:lnTo>
                    <a:pt x="267" y="20"/>
                  </a:lnTo>
                  <a:lnTo>
                    <a:pt x="271" y="20"/>
                  </a:lnTo>
                  <a:lnTo>
                    <a:pt x="275" y="24"/>
                  </a:lnTo>
                  <a:close/>
                  <a:moveTo>
                    <a:pt x="259" y="24"/>
                  </a:moveTo>
                  <a:lnTo>
                    <a:pt x="255" y="24"/>
                  </a:lnTo>
                  <a:lnTo>
                    <a:pt x="255" y="20"/>
                  </a:lnTo>
                  <a:lnTo>
                    <a:pt x="259" y="20"/>
                  </a:lnTo>
                  <a:lnTo>
                    <a:pt x="259" y="24"/>
                  </a:lnTo>
                  <a:close/>
                  <a:moveTo>
                    <a:pt x="219" y="28"/>
                  </a:moveTo>
                  <a:lnTo>
                    <a:pt x="215" y="28"/>
                  </a:lnTo>
                  <a:lnTo>
                    <a:pt x="219" y="24"/>
                  </a:lnTo>
                  <a:lnTo>
                    <a:pt x="219" y="28"/>
                  </a:lnTo>
                  <a:close/>
                  <a:moveTo>
                    <a:pt x="211" y="32"/>
                  </a:moveTo>
                  <a:lnTo>
                    <a:pt x="211" y="28"/>
                  </a:lnTo>
                  <a:lnTo>
                    <a:pt x="215" y="28"/>
                  </a:lnTo>
                  <a:lnTo>
                    <a:pt x="215" y="32"/>
                  </a:lnTo>
                  <a:lnTo>
                    <a:pt x="211" y="32"/>
                  </a:lnTo>
                  <a:close/>
                  <a:moveTo>
                    <a:pt x="243" y="32"/>
                  </a:moveTo>
                  <a:lnTo>
                    <a:pt x="247" y="32"/>
                  </a:lnTo>
                  <a:lnTo>
                    <a:pt x="243" y="32"/>
                  </a:lnTo>
                  <a:close/>
                  <a:moveTo>
                    <a:pt x="223" y="36"/>
                  </a:moveTo>
                  <a:lnTo>
                    <a:pt x="227" y="32"/>
                  </a:lnTo>
                  <a:lnTo>
                    <a:pt x="231" y="32"/>
                  </a:lnTo>
                  <a:lnTo>
                    <a:pt x="227" y="36"/>
                  </a:lnTo>
                  <a:lnTo>
                    <a:pt x="223" y="36"/>
                  </a:lnTo>
                  <a:close/>
                  <a:moveTo>
                    <a:pt x="378" y="40"/>
                  </a:moveTo>
                  <a:lnTo>
                    <a:pt x="378" y="36"/>
                  </a:lnTo>
                  <a:lnTo>
                    <a:pt x="382" y="36"/>
                  </a:lnTo>
                  <a:lnTo>
                    <a:pt x="378" y="40"/>
                  </a:lnTo>
                  <a:close/>
                  <a:moveTo>
                    <a:pt x="239" y="36"/>
                  </a:moveTo>
                  <a:lnTo>
                    <a:pt x="243" y="36"/>
                  </a:lnTo>
                  <a:lnTo>
                    <a:pt x="239" y="36"/>
                  </a:lnTo>
                  <a:close/>
                  <a:moveTo>
                    <a:pt x="215" y="44"/>
                  </a:moveTo>
                  <a:lnTo>
                    <a:pt x="215" y="40"/>
                  </a:lnTo>
                  <a:lnTo>
                    <a:pt x="215" y="44"/>
                  </a:lnTo>
                  <a:close/>
                  <a:moveTo>
                    <a:pt x="191" y="60"/>
                  </a:moveTo>
                  <a:lnTo>
                    <a:pt x="191" y="56"/>
                  </a:lnTo>
                  <a:lnTo>
                    <a:pt x="195" y="56"/>
                  </a:lnTo>
                  <a:lnTo>
                    <a:pt x="191" y="60"/>
                  </a:lnTo>
                  <a:close/>
                  <a:moveTo>
                    <a:pt x="179" y="64"/>
                  </a:moveTo>
                  <a:lnTo>
                    <a:pt x="175" y="60"/>
                  </a:lnTo>
                  <a:lnTo>
                    <a:pt x="179" y="60"/>
                  </a:lnTo>
                  <a:lnTo>
                    <a:pt x="179" y="64"/>
                  </a:lnTo>
                  <a:close/>
                  <a:moveTo>
                    <a:pt x="187" y="64"/>
                  </a:moveTo>
                  <a:lnTo>
                    <a:pt x="187" y="60"/>
                  </a:lnTo>
                  <a:lnTo>
                    <a:pt x="191" y="60"/>
                  </a:lnTo>
                  <a:lnTo>
                    <a:pt x="191" y="64"/>
                  </a:lnTo>
                  <a:lnTo>
                    <a:pt x="187" y="64"/>
                  </a:lnTo>
                  <a:close/>
                  <a:moveTo>
                    <a:pt x="183" y="68"/>
                  </a:moveTo>
                  <a:lnTo>
                    <a:pt x="183" y="64"/>
                  </a:lnTo>
                  <a:lnTo>
                    <a:pt x="187" y="64"/>
                  </a:lnTo>
                  <a:lnTo>
                    <a:pt x="183" y="64"/>
                  </a:lnTo>
                  <a:lnTo>
                    <a:pt x="183" y="68"/>
                  </a:lnTo>
                  <a:close/>
                  <a:moveTo>
                    <a:pt x="171" y="76"/>
                  </a:moveTo>
                  <a:lnTo>
                    <a:pt x="171" y="72"/>
                  </a:lnTo>
                  <a:lnTo>
                    <a:pt x="175" y="72"/>
                  </a:lnTo>
                  <a:lnTo>
                    <a:pt x="175" y="76"/>
                  </a:lnTo>
                  <a:lnTo>
                    <a:pt x="171" y="76"/>
                  </a:lnTo>
                  <a:close/>
                  <a:moveTo>
                    <a:pt x="143" y="80"/>
                  </a:moveTo>
                  <a:lnTo>
                    <a:pt x="139" y="80"/>
                  </a:lnTo>
                  <a:lnTo>
                    <a:pt x="139" y="76"/>
                  </a:lnTo>
                  <a:lnTo>
                    <a:pt x="143" y="76"/>
                  </a:lnTo>
                  <a:lnTo>
                    <a:pt x="143" y="80"/>
                  </a:lnTo>
                  <a:close/>
                  <a:moveTo>
                    <a:pt x="127" y="88"/>
                  </a:moveTo>
                  <a:lnTo>
                    <a:pt x="127" y="84"/>
                  </a:lnTo>
                  <a:lnTo>
                    <a:pt x="127" y="80"/>
                  </a:lnTo>
                  <a:lnTo>
                    <a:pt x="131" y="80"/>
                  </a:lnTo>
                  <a:lnTo>
                    <a:pt x="131" y="84"/>
                  </a:lnTo>
                  <a:lnTo>
                    <a:pt x="127" y="88"/>
                  </a:lnTo>
                  <a:close/>
                  <a:moveTo>
                    <a:pt x="123" y="92"/>
                  </a:moveTo>
                  <a:lnTo>
                    <a:pt x="123" y="88"/>
                  </a:lnTo>
                  <a:lnTo>
                    <a:pt x="123" y="84"/>
                  </a:lnTo>
                  <a:lnTo>
                    <a:pt x="127" y="84"/>
                  </a:lnTo>
                  <a:lnTo>
                    <a:pt x="127" y="88"/>
                  </a:lnTo>
                  <a:lnTo>
                    <a:pt x="123" y="88"/>
                  </a:lnTo>
                  <a:lnTo>
                    <a:pt x="123" y="92"/>
                  </a:lnTo>
                  <a:close/>
                  <a:moveTo>
                    <a:pt x="163" y="88"/>
                  </a:moveTo>
                  <a:lnTo>
                    <a:pt x="163" y="84"/>
                  </a:lnTo>
                  <a:lnTo>
                    <a:pt x="167" y="84"/>
                  </a:lnTo>
                  <a:lnTo>
                    <a:pt x="167" y="88"/>
                  </a:lnTo>
                  <a:lnTo>
                    <a:pt x="163" y="88"/>
                  </a:lnTo>
                  <a:close/>
                  <a:moveTo>
                    <a:pt x="155" y="88"/>
                  </a:moveTo>
                  <a:lnTo>
                    <a:pt x="159" y="88"/>
                  </a:lnTo>
                  <a:lnTo>
                    <a:pt x="155" y="88"/>
                  </a:lnTo>
                  <a:close/>
                  <a:moveTo>
                    <a:pt x="143" y="112"/>
                  </a:moveTo>
                  <a:lnTo>
                    <a:pt x="139" y="112"/>
                  </a:lnTo>
                  <a:lnTo>
                    <a:pt x="139" y="108"/>
                  </a:lnTo>
                  <a:lnTo>
                    <a:pt x="143" y="108"/>
                  </a:lnTo>
                  <a:lnTo>
                    <a:pt x="143" y="112"/>
                  </a:lnTo>
                  <a:close/>
                  <a:moveTo>
                    <a:pt x="107" y="148"/>
                  </a:moveTo>
                  <a:lnTo>
                    <a:pt x="111" y="148"/>
                  </a:lnTo>
                  <a:lnTo>
                    <a:pt x="107" y="148"/>
                  </a:lnTo>
                  <a:close/>
                  <a:moveTo>
                    <a:pt x="111" y="160"/>
                  </a:moveTo>
                  <a:lnTo>
                    <a:pt x="111" y="156"/>
                  </a:lnTo>
                  <a:lnTo>
                    <a:pt x="111" y="152"/>
                  </a:lnTo>
                  <a:lnTo>
                    <a:pt x="111" y="148"/>
                  </a:lnTo>
                  <a:lnTo>
                    <a:pt x="115" y="148"/>
                  </a:lnTo>
                  <a:lnTo>
                    <a:pt x="115" y="152"/>
                  </a:lnTo>
                  <a:lnTo>
                    <a:pt x="115" y="156"/>
                  </a:lnTo>
                  <a:lnTo>
                    <a:pt x="111" y="156"/>
                  </a:lnTo>
                  <a:lnTo>
                    <a:pt x="111" y="160"/>
                  </a:lnTo>
                  <a:close/>
                  <a:moveTo>
                    <a:pt x="111" y="164"/>
                  </a:moveTo>
                  <a:lnTo>
                    <a:pt x="107" y="164"/>
                  </a:lnTo>
                  <a:lnTo>
                    <a:pt x="111" y="160"/>
                  </a:lnTo>
                  <a:lnTo>
                    <a:pt x="115" y="160"/>
                  </a:lnTo>
                  <a:lnTo>
                    <a:pt x="115" y="164"/>
                  </a:lnTo>
                  <a:lnTo>
                    <a:pt x="111" y="164"/>
                  </a:lnTo>
                  <a:close/>
                  <a:moveTo>
                    <a:pt x="91" y="168"/>
                  </a:moveTo>
                  <a:lnTo>
                    <a:pt x="95" y="164"/>
                  </a:lnTo>
                  <a:lnTo>
                    <a:pt x="91" y="168"/>
                  </a:lnTo>
                  <a:close/>
                  <a:moveTo>
                    <a:pt x="95" y="168"/>
                  </a:moveTo>
                  <a:lnTo>
                    <a:pt x="91" y="168"/>
                  </a:lnTo>
                  <a:lnTo>
                    <a:pt x="95" y="164"/>
                  </a:lnTo>
                  <a:lnTo>
                    <a:pt x="99" y="168"/>
                  </a:lnTo>
                  <a:lnTo>
                    <a:pt x="95" y="168"/>
                  </a:lnTo>
                  <a:close/>
                  <a:moveTo>
                    <a:pt x="99" y="176"/>
                  </a:moveTo>
                  <a:lnTo>
                    <a:pt x="95" y="176"/>
                  </a:lnTo>
                  <a:lnTo>
                    <a:pt x="95" y="172"/>
                  </a:lnTo>
                  <a:lnTo>
                    <a:pt x="99" y="176"/>
                  </a:lnTo>
                  <a:close/>
                  <a:moveTo>
                    <a:pt x="55" y="208"/>
                  </a:moveTo>
                  <a:lnTo>
                    <a:pt x="55" y="204"/>
                  </a:lnTo>
                  <a:lnTo>
                    <a:pt x="59" y="204"/>
                  </a:lnTo>
                  <a:lnTo>
                    <a:pt x="59" y="208"/>
                  </a:lnTo>
                  <a:lnTo>
                    <a:pt x="55" y="208"/>
                  </a:lnTo>
                  <a:close/>
                  <a:moveTo>
                    <a:pt x="55" y="212"/>
                  </a:moveTo>
                  <a:lnTo>
                    <a:pt x="51" y="208"/>
                  </a:lnTo>
                  <a:lnTo>
                    <a:pt x="55" y="208"/>
                  </a:lnTo>
                  <a:lnTo>
                    <a:pt x="59" y="212"/>
                  </a:lnTo>
                  <a:lnTo>
                    <a:pt x="55" y="212"/>
                  </a:lnTo>
                  <a:close/>
                  <a:moveTo>
                    <a:pt x="47" y="212"/>
                  </a:moveTo>
                  <a:lnTo>
                    <a:pt x="51" y="208"/>
                  </a:lnTo>
                  <a:lnTo>
                    <a:pt x="51" y="212"/>
                  </a:lnTo>
                  <a:lnTo>
                    <a:pt x="47" y="212"/>
                  </a:lnTo>
                  <a:close/>
                  <a:moveTo>
                    <a:pt x="47" y="216"/>
                  </a:moveTo>
                  <a:lnTo>
                    <a:pt x="43" y="216"/>
                  </a:lnTo>
                  <a:lnTo>
                    <a:pt x="43" y="212"/>
                  </a:lnTo>
                  <a:lnTo>
                    <a:pt x="47" y="212"/>
                  </a:lnTo>
                  <a:lnTo>
                    <a:pt x="47" y="216"/>
                  </a:lnTo>
                  <a:close/>
                  <a:moveTo>
                    <a:pt x="43" y="216"/>
                  </a:moveTo>
                  <a:lnTo>
                    <a:pt x="39" y="216"/>
                  </a:lnTo>
                  <a:lnTo>
                    <a:pt x="39" y="212"/>
                  </a:lnTo>
                  <a:lnTo>
                    <a:pt x="43" y="212"/>
                  </a:lnTo>
                  <a:lnTo>
                    <a:pt x="43" y="216"/>
                  </a:lnTo>
                  <a:close/>
                  <a:moveTo>
                    <a:pt x="27" y="224"/>
                  </a:moveTo>
                  <a:lnTo>
                    <a:pt x="31" y="220"/>
                  </a:lnTo>
                  <a:lnTo>
                    <a:pt x="31" y="224"/>
                  </a:lnTo>
                  <a:lnTo>
                    <a:pt x="27" y="224"/>
                  </a:lnTo>
                  <a:close/>
                  <a:moveTo>
                    <a:pt x="23" y="232"/>
                  </a:moveTo>
                  <a:lnTo>
                    <a:pt x="19" y="232"/>
                  </a:lnTo>
                  <a:lnTo>
                    <a:pt x="19" y="228"/>
                  </a:lnTo>
                  <a:lnTo>
                    <a:pt x="23" y="228"/>
                  </a:lnTo>
                  <a:lnTo>
                    <a:pt x="23" y="232"/>
                  </a:lnTo>
                  <a:close/>
                  <a:moveTo>
                    <a:pt x="15" y="236"/>
                  </a:moveTo>
                  <a:lnTo>
                    <a:pt x="15" y="232"/>
                  </a:lnTo>
                  <a:lnTo>
                    <a:pt x="15" y="228"/>
                  </a:lnTo>
                  <a:lnTo>
                    <a:pt x="19" y="228"/>
                  </a:lnTo>
                  <a:lnTo>
                    <a:pt x="19" y="232"/>
                  </a:lnTo>
                  <a:lnTo>
                    <a:pt x="15" y="232"/>
                  </a:lnTo>
                  <a:lnTo>
                    <a:pt x="15" y="236"/>
                  </a:lnTo>
                  <a:close/>
                  <a:moveTo>
                    <a:pt x="11" y="236"/>
                  </a:moveTo>
                  <a:lnTo>
                    <a:pt x="11" y="232"/>
                  </a:lnTo>
                  <a:lnTo>
                    <a:pt x="15" y="232"/>
                  </a:lnTo>
                  <a:lnTo>
                    <a:pt x="15" y="236"/>
                  </a:lnTo>
                  <a:lnTo>
                    <a:pt x="11" y="236"/>
                  </a:lnTo>
                  <a:close/>
                  <a:moveTo>
                    <a:pt x="3" y="247"/>
                  </a:moveTo>
                  <a:lnTo>
                    <a:pt x="3" y="244"/>
                  </a:lnTo>
                  <a:lnTo>
                    <a:pt x="0" y="244"/>
                  </a:lnTo>
                  <a:lnTo>
                    <a:pt x="3" y="244"/>
                  </a:lnTo>
                  <a:lnTo>
                    <a:pt x="7" y="244"/>
                  </a:lnTo>
                  <a:lnTo>
                    <a:pt x="3" y="244"/>
                  </a:lnTo>
                  <a:lnTo>
                    <a:pt x="3" y="247"/>
                  </a:lnTo>
                  <a:close/>
                  <a:moveTo>
                    <a:pt x="0" y="263"/>
                  </a:moveTo>
                  <a:lnTo>
                    <a:pt x="0" y="259"/>
                  </a:lnTo>
                  <a:lnTo>
                    <a:pt x="3" y="259"/>
                  </a:lnTo>
                  <a:lnTo>
                    <a:pt x="3" y="263"/>
                  </a:lnTo>
                  <a:lnTo>
                    <a:pt x="0" y="263"/>
                  </a:lnTo>
                  <a:close/>
                  <a:moveTo>
                    <a:pt x="11" y="279"/>
                  </a:moveTo>
                  <a:lnTo>
                    <a:pt x="7" y="275"/>
                  </a:lnTo>
                  <a:lnTo>
                    <a:pt x="11" y="275"/>
                  </a:lnTo>
                  <a:lnTo>
                    <a:pt x="11" y="271"/>
                  </a:lnTo>
                  <a:lnTo>
                    <a:pt x="15" y="271"/>
                  </a:lnTo>
                  <a:lnTo>
                    <a:pt x="15" y="279"/>
                  </a:lnTo>
                  <a:lnTo>
                    <a:pt x="11" y="279"/>
                  </a:lnTo>
                  <a:close/>
                  <a:moveTo>
                    <a:pt x="315" y="8"/>
                  </a:moveTo>
                  <a:lnTo>
                    <a:pt x="311" y="4"/>
                  </a:lnTo>
                  <a:lnTo>
                    <a:pt x="315" y="4"/>
                  </a:lnTo>
                  <a:lnTo>
                    <a:pt x="311" y="4"/>
                  </a:lnTo>
                  <a:lnTo>
                    <a:pt x="315" y="0"/>
                  </a:lnTo>
                  <a:lnTo>
                    <a:pt x="319" y="0"/>
                  </a:lnTo>
                  <a:lnTo>
                    <a:pt x="323" y="0"/>
                  </a:lnTo>
                  <a:lnTo>
                    <a:pt x="323" y="4"/>
                  </a:lnTo>
                  <a:lnTo>
                    <a:pt x="319" y="4"/>
                  </a:lnTo>
                  <a:lnTo>
                    <a:pt x="323" y="4"/>
                  </a:lnTo>
                  <a:lnTo>
                    <a:pt x="319" y="4"/>
                  </a:lnTo>
                  <a:lnTo>
                    <a:pt x="315" y="8"/>
                  </a:lnTo>
                  <a:close/>
                  <a:moveTo>
                    <a:pt x="291" y="8"/>
                  </a:moveTo>
                  <a:lnTo>
                    <a:pt x="291" y="4"/>
                  </a:lnTo>
                  <a:lnTo>
                    <a:pt x="295" y="4"/>
                  </a:lnTo>
                  <a:lnTo>
                    <a:pt x="295" y="8"/>
                  </a:lnTo>
                  <a:lnTo>
                    <a:pt x="291" y="8"/>
                  </a:lnTo>
                  <a:close/>
                  <a:moveTo>
                    <a:pt x="263" y="20"/>
                  </a:moveTo>
                  <a:lnTo>
                    <a:pt x="263" y="16"/>
                  </a:lnTo>
                  <a:lnTo>
                    <a:pt x="259" y="16"/>
                  </a:lnTo>
                  <a:lnTo>
                    <a:pt x="259" y="12"/>
                  </a:lnTo>
                  <a:lnTo>
                    <a:pt x="263" y="12"/>
                  </a:lnTo>
                  <a:lnTo>
                    <a:pt x="263" y="16"/>
                  </a:lnTo>
                  <a:lnTo>
                    <a:pt x="267" y="12"/>
                  </a:lnTo>
                  <a:lnTo>
                    <a:pt x="271" y="12"/>
                  </a:lnTo>
                  <a:lnTo>
                    <a:pt x="271" y="16"/>
                  </a:lnTo>
                  <a:lnTo>
                    <a:pt x="275" y="16"/>
                  </a:lnTo>
                  <a:lnTo>
                    <a:pt x="275" y="12"/>
                  </a:lnTo>
                  <a:lnTo>
                    <a:pt x="271" y="12"/>
                  </a:lnTo>
                  <a:lnTo>
                    <a:pt x="275" y="12"/>
                  </a:lnTo>
                  <a:lnTo>
                    <a:pt x="279" y="12"/>
                  </a:lnTo>
                  <a:lnTo>
                    <a:pt x="283" y="12"/>
                  </a:lnTo>
                  <a:lnTo>
                    <a:pt x="283" y="8"/>
                  </a:lnTo>
                  <a:lnTo>
                    <a:pt x="279" y="8"/>
                  </a:lnTo>
                  <a:lnTo>
                    <a:pt x="283" y="8"/>
                  </a:lnTo>
                  <a:lnTo>
                    <a:pt x="283" y="12"/>
                  </a:lnTo>
                  <a:lnTo>
                    <a:pt x="279" y="12"/>
                  </a:lnTo>
                  <a:lnTo>
                    <a:pt x="279" y="16"/>
                  </a:lnTo>
                  <a:lnTo>
                    <a:pt x="275" y="16"/>
                  </a:lnTo>
                  <a:lnTo>
                    <a:pt x="271" y="16"/>
                  </a:lnTo>
                  <a:lnTo>
                    <a:pt x="267" y="20"/>
                  </a:lnTo>
                  <a:lnTo>
                    <a:pt x="263" y="16"/>
                  </a:lnTo>
                  <a:lnTo>
                    <a:pt x="263" y="20"/>
                  </a:lnTo>
                  <a:close/>
                  <a:moveTo>
                    <a:pt x="279" y="24"/>
                  </a:moveTo>
                  <a:lnTo>
                    <a:pt x="275" y="20"/>
                  </a:lnTo>
                  <a:lnTo>
                    <a:pt x="279" y="16"/>
                  </a:lnTo>
                  <a:lnTo>
                    <a:pt x="283" y="16"/>
                  </a:lnTo>
                  <a:lnTo>
                    <a:pt x="287" y="16"/>
                  </a:lnTo>
                  <a:lnTo>
                    <a:pt x="287" y="20"/>
                  </a:lnTo>
                  <a:lnTo>
                    <a:pt x="283" y="20"/>
                  </a:lnTo>
                  <a:lnTo>
                    <a:pt x="283" y="24"/>
                  </a:lnTo>
                  <a:lnTo>
                    <a:pt x="279" y="24"/>
                  </a:lnTo>
                  <a:close/>
                  <a:moveTo>
                    <a:pt x="231" y="32"/>
                  </a:moveTo>
                  <a:lnTo>
                    <a:pt x="227" y="32"/>
                  </a:lnTo>
                  <a:lnTo>
                    <a:pt x="227" y="28"/>
                  </a:lnTo>
                  <a:lnTo>
                    <a:pt x="227" y="24"/>
                  </a:lnTo>
                  <a:lnTo>
                    <a:pt x="223" y="24"/>
                  </a:lnTo>
                  <a:lnTo>
                    <a:pt x="227" y="24"/>
                  </a:lnTo>
                  <a:lnTo>
                    <a:pt x="227" y="28"/>
                  </a:lnTo>
                  <a:lnTo>
                    <a:pt x="231" y="28"/>
                  </a:lnTo>
                  <a:lnTo>
                    <a:pt x="231" y="32"/>
                  </a:lnTo>
                  <a:close/>
                  <a:moveTo>
                    <a:pt x="239" y="32"/>
                  </a:moveTo>
                  <a:lnTo>
                    <a:pt x="239" y="28"/>
                  </a:lnTo>
                  <a:lnTo>
                    <a:pt x="239" y="32"/>
                  </a:lnTo>
                  <a:lnTo>
                    <a:pt x="239" y="28"/>
                  </a:lnTo>
                  <a:lnTo>
                    <a:pt x="235" y="28"/>
                  </a:lnTo>
                  <a:lnTo>
                    <a:pt x="239" y="28"/>
                  </a:lnTo>
                  <a:lnTo>
                    <a:pt x="239" y="24"/>
                  </a:lnTo>
                  <a:lnTo>
                    <a:pt x="243" y="24"/>
                  </a:lnTo>
                  <a:lnTo>
                    <a:pt x="243" y="28"/>
                  </a:lnTo>
                  <a:lnTo>
                    <a:pt x="243" y="32"/>
                  </a:lnTo>
                  <a:lnTo>
                    <a:pt x="239" y="32"/>
                  </a:lnTo>
                  <a:close/>
                  <a:moveTo>
                    <a:pt x="223" y="28"/>
                  </a:moveTo>
                  <a:lnTo>
                    <a:pt x="219" y="28"/>
                  </a:lnTo>
                  <a:lnTo>
                    <a:pt x="223" y="28"/>
                  </a:lnTo>
                  <a:close/>
                  <a:moveTo>
                    <a:pt x="219" y="36"/>
                  </a:moveTo>
                  <a:lnTo>
                    <a:pt x="215" y="36"/>
                  </a:lnTo>
                  <a:lnTo>
                    <a:pt x="211" y="36"/>
                  </a:lnTo>
                  <a:lnTo>
                    <a:pt x="211" y="32"/>
                  </a:lnTo>
                  <a:lnTo>
                    <a:pt x="215" y="32"/>
                  </a:lnTo>
                  <a:lnTo>
                    <a:pt x="219" y="32"/>
                  </a:lnTo>
                  <a:lnTo>
                    <a:pt x="219" y="28"/>
                  </a:lnTo>
                  <a:lnTo>
                    <a:pt x="219" y="32"/>
                  </a:lnTo>
                  <a:lnTo>
                    <a:pt x="223" y="32"/>
                  </a:lnTo>
                  <a:lnTo>
                    <a:pt x="227" y="32"/>
                  </a:lnTo>
                  <a:lnTo>
                    <a:pt x="223" y="36"/>
                  </a:lnTo>
                  <a:lnTo>
                    <a:pt x="219" y="36"/>
                  </a:lnTo>
                  <a:close/>
                  <a:moveTo>
                    <a:pt x="207" y="40"/>
                  </a:moveTo>
                  <a:lnTo>
                    <a:pt x="211" y="40"/>
                  </a:lnTo>
                  <a:lnTo>
                    <a:pt x="207" y="40"/>
                  </a:lnTo>
                  <a:lnTo>
                    <a:pt x="207" y="36"/>
                  </a:lnTo>
                  <a:lnTo>
                    <a:pt x="207" y="40"/>
                  </a:lnTo>
                  <a:lnTo>
                    <a:pt x="211" y="40"/>
                  </a:lnTo>
                  <a:lnTo>
                    <a:pt x="211" y="36"/>
                  </a:lnTo>
                  <a:lnTo>
                    <a:pt x="215" y="36"/>
                  </a:lnTo>
                  <a:lnTo>
                    <a:pt x="215" y="40"/>
                  </a:lnTo>
                  <a:lnTo>
                    <a:pt x="211" y="40"/>
                  </a:lnTo>
                  <a:lnTo>
                    <a:pt x="211" y="44"/>
                  </a:lnTo>
                  <a:lnTo>
                    <a:pt x="215" y="44"/>
                  </a:lnTo>
                  <a:lnTo>
                    <a:pt x="211" y="44"/>
                  </a:lnTo>
                  <a:lnTo>
                    <a:pt x="207" y="44"/>
                  </a:lnTo>
                  <a:lnTo>
                    <a:pt x="203" y="44"/>
                  </a:lnTo>
                  <a:lnTo>
                    <a:pt x="199" y="44"/>
                  </a:lnTo>
                  <a:lnTo>
                    <a:pt x="203" y="40"/>
                  </a:lnTo>
                  <a:lnTo>
                    <a:pt x="203" y="44"/>
                  </a:lnTo>
                  <a:lnTo>
                    <a:pt x="203" y="40"/>
                  </a:lnTo>
                  <a:lnTo>
                    <a:pt x="207" y="40"/>
                  </a:lnTo>
                  <a:close/>
                  <a:moveTo>
                    <a:pt x="183" y="52"/>
                  </a:moveTo>
                  <a:lnTo>
                    <a:pt x="187" y="52"/>
                  </a:lnTo>
                  <a:lnTo>
                    <a:pt x="183" y="52"/>
                  </a:lnTo>
                  <a:lnTo>
                    <a:pt x="187" y="52"/>
                  </a:lnTo>
                  <a:lnTo>
                    <a:pt x="187" y="48"/>
                  </a:lnTo>
                  <a:lnTo>
                    <a:pt x="183" y="48"/>
                  </a:lnTo>
                  <a:lnTo>
                    <a:pt x="187" y="48"/>
                  </a:lnTo>
                  <a:lnTo>
                    <a:pt x="191" y="48"/>
                  </a:lnTo>
                  <a:lnTo>
                    <a:pt x="187" y="48"/>
                  </a:lnTo>
                  <a:lnTo>
                    <a:pt x="187" y="44"/>
                  </a:lnTo>
                  <a:lnTo>
                    <a:pt x="191" y="48"/>
                  </a:lnTo>
                  <a:lnTo>
                    <a:pt x="191" y="44"/>
                  </a:lnTo>
                  <a:lnTo>
                    <a:pt x="195" y="44"/>
                  </a:lnTo>
                  <a:lnTo>
                    <a:pt x="195" y="48"/>
                  </a:lnTo>
                  <a:lnTo>
                    <a:pt x="195" y="44"/>
                  </a:lnTo>
                  <a:lnTo>
                    <a:pt x="191" y="44"/>
                  </a:lnTo>
                  <a:lnTo>
                    <a:pt x="195" y="44"/>
                  </a:lnTo>
                  <a:lnTo>
                    <a:pt x="199" y="44"/>
                  </a:lnTo>
                  <a:lnTo>
                    <a:pt x="203" y="48"/>
                  </a:lnTo>
                  <a:lnTo>
                    <a:pt x="199" y="48"/>
                  </a:lnTo>
                  <a:lnTo>
                    <a:pt x="199" y="52"/>
                  </a:lnTo>
                  <a:lnTo>
                    <a:pt x="199" y="56"/>
                  </a:lnTo>
                  <a:lnTo>
                    <a:pt x="195" y="56"/>
                  </a:lnTo>
                  <a:lnTo>
                    <a:pt x="191" y="52"/>
                  </a:lnTo>
                  <a:lnTo>
                    <a:pt x="191" y="56"/>
                  </a:lnTo>
                  <a:lnTo>
                    <a:pt x="187" y="56"/>
                  </a:lnTo>
                  <a:lnTo>
                    <a:pt x="187" y="60"/>
                  </a:lnTo>
                  <a:lnTo>
                    <a:pt x="187" y="56"/>
                  </a:lnTo>
                  <a:lnTo>
                    <a:pt x="183" y="56"/>
                  </a:lnTo>
                  <a:lnTo>
                    <a:pt x="187" y="56"/>
                  </a:lnTo>
                  <a:lnTo>
                    <a:pt x="187" y="52"/>
                  </a:lnTo>
                  <a:lnTo>
                    <a:pt x="187" y="56"/>
                  </a:lnTo>
                  <a:lnTo>
                    <a:pt x="183" y="52"/>
                  </a:lnTo>
                  <a:close/>
                  <a:moveTo>
                    <a:pt x="163" y="64"/>
                  </a:moveTo>
                  <a:lnTo>
                    <a:pt x="163" y="60"/>
                  </a:lnTo>
                  <a:lnTo>
                    <a:pt x="163" y="56"/>
                  </a:lnTo>
                  <a:lnTo>
                    <a:pt x="167" y="56"/>
                  </a:lnTo>
                  <a:lnTo>
                    <a:pt x="167" y="52"/>
                  </a:lnTo>
                  <a:lnTo>
                    <a:pt x="171" y="52"/>
                  </a:lnTo>
                  <a:lnTo>
                    <a:pt x="171" y="56"/>
                  </a:lnTo>
                  <a:lnTo>
                    <a:pt x="167" y="56"/>
                  </a:lnTo>
                  <a:lnTo>
                    <a:pt x="167" y="60"/>
                  </a:lnTo>
                  <a:lnTo>
                    <a:pt x="163" y="60"/>
                  </a:lnTo>
                  <a:lnTo>
                    <a:pt x="163" y="64"/>
                  </a:lnTo>
                  <a:close/>
                  <a:moveTo>
                    <a:pt x="147" y="68"/>
                  </a:moveTo>
                  <a:lnTo>
                    <a:pt x="147" y="64"/>
                  </a:lnTo>
                  <a:lnTo>
                    <a:pt x="151" y="64"/>
                  </a:lnTo>
                  <a:lnTo>
                    <a:pt x="155" y="64"/>
                  </a:lnTo>
                  <a:lnTo>
                    <a:pt x="159" y="64"/>
                  </a:lnTo>
                  <a:lnTo>
                    <a:pt x="155" y="64"/>
                  </a:lnTo>
                  <a:lnTo>
                    <a:pt x="155" y="60"/>
                  </a:lnTo>
                  <a:lnTo>
                    <a:pt x="159" y="60"/>
                  </a:lnTo>
                  <a:lnTo>
                    <a:pt x="159" y="64"/>
                  </a:lnTo>
                  <a:lnTo>
                    <a:pt x="159" y="68"/>
                  </a:lnTo>
                  <a:lnTo>
                    <a:pt x="155" y="72"/>
                  </a:lnTo>
                  <a:lnTo>
                    <a:pt x="151" y="72"/>
                  </a:lnTo>
                  <a:lnTo>
                    <a:pt x="151" y="68"/>
                  </a:lnTo>
                  <a:lnTo>
                    <a:pt x="155" y="68"/>
                  </a:lnTo>
                  <a:lnTo>
                    <a:pt x="159" y="68"/>
                  </a:lnTo>
                  <a:lnTo>
                    <a:pt x="155" y="64"/>
                  </a:lnTo>
                  <a:lnTo>
                    <a:pt x="155" y="68"/>
                  </a:lnTo>
                  <a:lnTo>
                    <a:pt x="151" y="68"/>
                  </a:lnTo>
                  <a:lnTo>
                    <a:pt x="147" y="68"/>
                  </a:lnTo>
                  <a:close/>
                  <a:moveTo>
                    <a:pt x="179" y="72"/>
                  </a:moveTo>
                  <a:lnTo>
                    <a:pt x="175" y="72"/>
                  </a:lnTo>
                  <a:lnTo>
                    <a:pt x="171" y="72"/>
                  </a:lnTo>
                  <a:lnTo>
                    <a:pt x="171" y="76"/>
                  </a:lnTo>
                  <a:lnTo>
                    <a:pt x="167" y="76"/>
                  </a:lnTo>
                  <a:lnTo>
                    <a:pt x="163" y="76"/>
                  </a:lnTo>
                  <a:lnTo>
                    <a:pt x="159" y="76"/>
                  </a:lnTo>
                  <a:lnTo>
                    <a:pt x="163" y="76"/>
                  </a:lnTo>
                  <a:lnTo>
                    <a:pt x="163" y="72"/>
                  </a:lnTo>
                  <a:lnTo>
                    <a:pt x="163" y="76"/>
                  </a:lnTo>
                  <a:lnTo>
                    <a:pt x="159" y="76"/>
                  </a:lnTo>
                  <a:lnTo>
                    <a:pt x="155" y="80"/>
                  </a:lnTo>
                  <a:lnTo>
                    <a:pt x="155" y="76"/>
                  </a:lnTo>
                  <a:lnTo>
                    <a:pt x="159" y="72"/>
                  </a:lnTo>
                  <a:lnTo>
                    <a:pt x="163" y="68"/>
                  </a:lnTo>
                  <a:lnTo>
                    <a:pt x="167" y="68"/>
                  </a:lnTo>
                  <a:lnTo>
                    <a:pt x="163" y="68"/>
                  </a:lnTo>
                  <a:lnTo>
                    <a:pt x="163" y="64"/>
                  </a:lnTo>
                  <a:lnTo>
                    <a:pt x="163" y="68"/>
                  </a:lnTo>
                  <a:lnTo>
                    <a:pt x="163" y="64"/>
                  </a:lnTo>
                  <a:lnTo>
                    <a:pt x="163" y="60"/>
                  </a:lnTo>
                  <a:lnTo>
                    <a:pt x="167" y="60"/>
                  </a:lnTo>
                  <a:lnTo>
                    <a:pt x="167" y="64"/>
                  </a:lnTo>
                  <a:lnTo>
                    <a:pt x="171" y="64"/>
                  </a:lnTo>
                  <a:lnTo>
                    <a:pt x="171" y="68"/>
                  </a:lnTo>
                  <a:lnTo>
                    <a:pt x="167" y="68"/>
                  </a:lnTo>
                  <a:lnTo>
                    <a:pt x="167" y="72"/>
                  </a:lnTo>
                  <a:lnTo>
                    <a:pt x="167" y="68"/>
                  </a:lnTo>
                  <a:lnTo>
                    <a:pt x="171" y="68"/>
                  </a:lnTo>
                  <a:lnTo>
                    <a:pt x="171" y="64"/>
                  </a:lnTo>
                  <a:lnTo>
                    <a:pt x="175" y="64"/>
                  </a:lnTo>
                  <a:lnTo>
                    <a:pt x="179" y="64"/>
                  </a:lnTo>
                  <a:lnTo>
                    <a:pt x="179" y="68"/>
                  </a:lnTo>
                  <a:lnTo>
                    <a:pt x="179" y="72"/>
                  </a:lnTo>
                  <a:close/>
                  <a:moveTo>
                    <a:pt x="143" y="80"/>
                  </a:moveTo>
                  <a:lnTo>
                    <a:pt x="143" y="76"/>
                  </a:lnTo>
                  <a:lnTo>
                    <a:pt x="147" y="76"/>
                  </a:lnTo>
                  <a:lnTo>
                    <a:pt x="151" y="76"/>
                  </a:lnTo>
                  <a:lnTo>
                    <a:pt x="155" y="76"/>
                  </a:lnTo>
                  <a:lnTo>
                    <a:pt x="155" y="72"/>
                  </a:lnTo>
                  <a:lnTo>
                    <a:pt x="159" y="72"/>
                  </a:lnTo>
                  <a:lnTo>
                    <a:pt x="155" y="76"/>
                  </a:lnTo>
                  <a:lnTo>
                    <a:pt x="151" y="80"/>
                  </a:lnTo>
                  <a:lnTo>
                    <a:pt x="147" y="80"/>
                  </a:lnTo>
                  <a:lnTo>
                    <a:pt x="143" y="80"/>
                  </a:lnTo>
                  <a:close/>
                  <a:moveTo>
                    <a:pt x="131" y="84"/>
                  </a:moveTo>
                  <a:lnTo>
                    <a:pt x="131" y="80"/>
                  </a:lnTo>
                  <a:lnTo>
                    <a:pt x="135" y="80"/>
                  </a:lnTo>
                  <a:lnTo>
                    <a:pt x="139" y="80"/>
                  </a:lnTo>
                  <a:lnTo>
                    <a:pt x="143" y="80"/>
                  </a:lnTo>
                  <a:lnTo>
                    <a:pt x="139" y="80"/>
                  </a:lnTo>
                  <a:lnTo>
                    <a:pt x="139" y="84"/>
                  </a:lnTo>
                  <a:lnTo>
                    <a:pt x="135" y="84"/>
                  </a:lnTo>
                  <a:lnTo>
                    <a:pt x="131" y="84"/>
                  </a:lnTo>
                  <a:close/>
                  <a:moveTo>
                    <a:pt x="115" y="140"/>
                  </a:moveTo>
                  <a:lnTo>
                    <a:pt x="115" y="136"/>
                  </a:lnTo>
                  <a:lnTo>
                    <a:pt x="115" y="132"/>
                  </a:lnTo>
                  <a:lnTo>
                    <a:pt x="119" y="132"/>
                  </a:lnTo>
                  <a:lnTo>
                    <a:pt x="119" y="136"/>
                  </a:lnTo>
                  <a:lnTo>
                    <a:pt x="115" y="136"/>
                  </a:lnTo>
                  <a:lnTo>
                    <a:pt x="115" y="140"/>
                  </a:lnTo>
                  <a:close/>
                  <a:moveTo>
                    <a:pt x="115" y="140"/>
                  </a:moveTo>
                  <a:lnTo>
                    <a:pt x="119" y="140"/>
                  </a:lnTo>
                  <a:lnTo>
                    <a:pt x="119" y="136"/>
                  </a:lnTo>
                  <a:lnTo>
                    <a:pt x="123" y="136"/>
                  </a:lnTo>
                  <a:lnTo>
                    <a:pt x="123" y="140"/>
                  </a:lnTo>
                  <a:lnTo>
                    <a:pt x="119" y="140"/>
                  </a:lnTo>
                  <a:lnTo>
                    <a:pt x="115" y="140"/>
                  </a:lnTo>
                  <a:close/>
                  <a:moveTo>
                    <a:pt x="55" y="200"/>
                  </a:moveTo>
                  <a:lnTo>
                    <a:pt x="51" y="200"/>
                  </a:lnTo>
                  <a:lnTo>
                    <a:pt x="51" y="196"/>
                  </a:lnTo>
                  <a:lnTo>
                    <a:pt x="55" y="196"/>
                  </a:lnTo>
                  <a:lnTo>
                    <a:pt x="59" y="196"/>
                  </a:lnTo>
                  <a:lnTo>
                    <a:pt x="63" y="196"/>
                  </a:lnTo>
                  <a:lnTo>
                    <a:pt x="59" y="196"/>
                  </a:lnTo>
                  <a:lnTo>
                    <a:pt x="59" y="200"/>
                  </a:lnTo>
                  <a:lnTo>
                    <a:pt x="55" y="200"/>
                  </a:lnTo>
                  <a:close/>
                  <a:moveTo>
                    <a:pt x="55" y="204"/>
                  </a:moveTo>
                  <a:lnTo>
                    <a:pt x="51" y="204"/>
                  </a:lnTo>
                  <a:lnTo>
                    <a:pt x="55" y="204"/>
                  </a:lnTo>
                  <a:lnTo>
                    <a:pt x="55" y="200"/>
                  </a:lnTo>
                  <a:lnTo>
                    <a:pt x="59" y="200"/>
                  </a:lnTo>
                  <a:lnTo>
                    <a:pt x="63" y="200"/>
                  </a:lnTo>
                  <a:lnTo>
                    <a:pt x="67" y="200"/>
                  </a:lnTo>
                  <a:lnTo>
                    <a:pt x="63" y="200"/>
                  </a:lnTo>
                  <a:lnTo>
                    <a:pt x="63" y="204"/>
                  </a:lnTo>
                  <a:lnTo>
                    <a:pt x="59" y="204"/>
                  </a:lnTo>
                  <a:lnTo>
                    <a:pt x="55" y="204"/>
                  </a:lnTo>
                  <a:close/>
                  <a:moveTo>
                    <a:pt x="47" y="208"/>
                  </a:moveTo>
                  <a:lnTo>
                    <a:pt x="47" y="204"/>
                  </a:lnTo>
                  <a:lnTo>
                    <a:pt x="51" y="204"/>
                  </a:lnTo>
                  <a:lnTo>
                    <a:pt x="51" y="208"/>
                  </a:lnTo>
                  <a:lnTo>
                    <a:pt x="47" y="208"/>
                  </a:lnTo>
                  <a:close/>
                  <a:moveTo>
                    <a:pt x="7" y="275"/>
                  </a:moveTo>
                  <a:lnTo>
                    <a:pt x="3" y="275"/>
                  </a:lnTo>
                  <a:lnTo>
                    <a:pt x="3" y="271"/>
                  </a:lnTo>
                  <a:lnTo>
                    <a:pt x="0" y="271"/>
                  </a:lnTo>
                  <a:lnTo>
                    <a:pt x="3" y="271"/>
                  </a:lnTo>
                  <a:lnTo>
                    <a:pt x="3" y="275"/>
                  </a:lnTo>
                  <a:lnTo>
                    <a:pt x="7" y="275"/>
                  </a:lnTo>
                  <a:close/>
                  <a:moveTo>
                    <a:pt x="7" y="275"/>
                  </a:moveTo>
                  <a:lnTo>
                    <a:pt x="3" y="275"/>
                  </a:lnTo>
                  <a:lnTo>
                    <a:pt x="7" y="275"/>
                  </a:lnTo>
                  <a:close/>
                  <a:moveTo>
                    <a:pt x="7" y="279"/>
                  </a:moveTo>
                  <a:lnTo>
                    <a:pt x="3" y="279"/>
                  </a:lnTo>
                  <a:lnTo>
                    <a:pt x="3" y="275"/>
                  </a:lnTo>
                  <a:lnTo>
                    <a:pt x="7" y="275"/>
                  </a:lnTo>
                  <a:lnTo>
                    <a:pt x="7" y="279"/>
                  </a:lnTo>
                  <a:close/>
                  <a:moveTo>
                    <a:pt x="3" y="283"/>
                  </a:moveTo>
                  <a:lnTo>
                    <a:pt x="3" y="279"/>
                  </a:lnTo>
                  <a:lnTo>
                    <a:pt x="3" y="283"/>
                  </a:lnTo>
                  <a:close/>
                  <a:moveTo>
                    <a:pt x="11" y="291"/>
                  </a:moveTo>
                  <a:lnTo>
                    <a:pt x="7" y="291"/>
                  </a:lnTo>
                  <a:lnTo>
                    <a:pt x="11" y="287"/>
                  </a:lnTo>
                  <a:lnTo>
                    <a:pt x="11" y="291"/>
                  </a:lnTo>
                  <a:close/>
                  <a:moveTo>
                    <a:pt x="7" y="295"/>
                  </a:moveTo>
                  <a:lnTo>
                    <a:pt x="7" y="291"/>
                  </a:lnTo>
                  <a:lnTo>
                    <a:pt x="11" y="291"/>
                  </a:lnTo>
                  <a:lnTo>
                    <a:pt x="11" y="295"/>
                  </a:lnTo>
                  <a:lnTo>
                    <a:pt x="7" y="295"/>
                  </a:lnTo>
                  <a:close/>
                  <a:moveTo>
                    <a:pt x="7" y="299"/>
                  </a:moveTo>
                  <a:lnTo>
                    <a:pt x="3" y="299"/>
                  </a:lnTo>
                  <a:lnTo>
                    <a:pt x="3" y="295"/>
                  </a:lnTo>
                  <a:lnTo>
                    <a:pt x="3" y="291"/>
                  </a:lnTo>
                  <a:lnTo>
                    <a:pt x="7" y="291"/>
                  </a:lnTo>
                  <a:lnTo>
                    <a:pt x="7" y="295"/>
                  </a:lnTo>
                  <a:lnTo>
                    <a:pt x="7" y="299"/>
                  </a:lnTo>
                  <a:close/>
                  <a:moveTo>
                    <a:pt x="7" y="311"/>
                  </a:moveTo>
                  <a:lnTo>
                    <a:pt x="3" y="307"/>
                  </a:lnTo>
                  <a:lnTo>
                    <a:pt x="7" y="307"/>
                  </a:lnTo>
                  <a:lnTo>
                    <a:pt x="7" y="303"/>
                  </a:lnTo>
                  <a:lnTo>
                    <a:pt x="7" y="307"/>
                  </a:lnTo>
                  <a:lnTo>
                    <a:pt x="7" y="31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0" name="Freeform 107"/>
            <p:cNvSpPr>
              <a:spLocks/>
            </p:cNvSpPr>
            <p:nvPr>
              <p:custDataLst>
                <p:tags r:id="rId303"/>
              </p:custDataLst>
            </p:nvPr>
          </p:nvSpPr>
          <p:spPr bwMode="gray">
            <a:xfrm>
              <a:off x="4694920" y="2982381"/>
              <a:ext cx="225426" cy="195764"/>
            </a:xfrm>
            <a:custGeom>
              <a:avLst/>
              <a:gdLst/>
              <a:ahLst/>
              <a:cxnLst>
                <a:cxn ang="0">
                  <a:pos x="128" y="128"/>
                </a:cxn>
                <a:cxn ang="0">
                  <a:pos x="124" y="132"/>
                </a:cxn>
                <a:cxn ang="0">
                  <a:pos x="112" y="124"/>
                </a:cxn>
                <a:cxn ang="0">
                  <a:pos x="104" y="128"/>
                </a:cxn>
                <a:cxn ang="0">
                  <a:pos x="96" y="124"/>
                </a:cxn>
                <a:cxn ang="0">
                  <a:pos x="84" y="128"/>
                </a:cxn>
                <a:cxn ang="0">
                  <a:pos x="80" y="120"/>
                </a:cxn>
                <a:cxn ang="0">
                  <a:pos x="72" y="124"/>
                </a:cxn>
                <a:cxn ang="0">
                  <a:pos x="68" y="116"/>
                </a:cxn>
                <a:cxn ang="0">
                  <a:pos x="60" y="112"/>
                </a:cxn>
                <a:cxn ang="0">
                  <a:pos x="52" y="108"/>
                </a:cxn>
                <a:cxn ang="0">
                  <a:pos x="44" y="104"/>
                </a:cxn>
                <a:cxn ang="0">
                  <a:pos x="40" y="104"/>
                </a:cxn>
                <a:cxn ang="0">
                  <a:pos x="40" y="108"/>
                </a:cxn>
                <a:cxn ang="0">
                  <a:pos x="32" y="104"/>
                </a:cxn>
                <a:cxn ang="0">
                  <a:pos x="28" y="96"/>
                </a:cxn>
                <a:cxn ang="0">
                  <a:pos x="16" y="92"/>
                </a:cxn>
                <a:cxn ang="0">
                  <a:pos x="12" y="92"/>
                </a:cxn>
                <a:cxn ang="0">
                  <a:pos x="12" y="84"/>
                </a:cxn>
                <a:cxn ang="0">
                  <a:pos x="8" y="76"/>
                </a:cxn>
                <a:cxn ang="0">
                  <a:pos x="8" y="68"/>
                </a:cxn>
                <a:cxn ang="0">
                  <a:pos x="4" y="60"/>
                </a:cxn>
                <a:cxn ang="0">
                  <a:pos x="8" y="52"/>
                </a:cxn>
                <a:cxn ang="0">
                  <a:pos x="0" y="48"/>
                </a:cxn>
                <a:cxn ang="0">
                  <a:pos x="4" y="36"/>
                </a:cxn>
                <a:cxn ang="0">
                  <a:pos x="4" y="28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16" y="16"/>
                </a:cxn>
                <a:cxn ang="0">
                  <a:pos x="28" y="16"/>
                </a:cxn>
                <a:cxn ang="0">
                  <a:pos x="36" y="8"/>
                </a:cxn>
                <a:cxn ang="0">
                  <a:pos x="48" y="4"/>
                </a:cxn>
                <a:cxn ang="0">
                  <a:pos x="56" y="0"/>
                </a:cxn>
                <a:cxn ang="0">
                  <a:pos x="68" y="4"/>
                </a:cxn>
                <a:cxn ang="0">
                  <a:pos x="64" y="4"/>
                </a:cxn>
                <a:cxn ang="0">
                  <a:pos x="72" y="12"/>
                </a:cxn>
                <a:cxn ang="0">
                  <a:pos x="80" y="8"/>
                </a:cxn>
                <a:cxn ang="0">
                  <a:pos x="80" y="12"/>
                </a:cxn>
                <a:cxn ang="0">
                  <a:pos x="84" y="12"/>
                </a:cxn>
                <a:cxn ang="0">
                  <a:pos x="96" y="12"/>
                </a:cxn>
                <a:cxn ang="0">
                  <a:pos x="108" y="12"/>
                </a:cxn>
                <a:cxn ang="0">
                  <a:pos x="120" y="12"/>
                </a:cxn>
                <a:cxn ang="0">
                  <a:pos x="132" y="12"/>
                </a:cxn>
                <a:cxn ang="0">
                  <a:pos x="140" y="20"/>
                </a:cxn>
                <a:cxn ang="0">
                  <a:pos x="144" y="28"/>
                </a:cxn>
                <a:cxn ang="0">
                  <a:pos x="148" y="40"/>
                </a:cxn>
                <a:cxn ang="0">
                  <a:pos x="148" y="52"/>
                </a:cxn>
                <a:cxn ang="0">
                  <a:pos x="140" y="56"/>
                </a:cxn>
                <a:cxn ang="0">
                  <a:pos x="140" y="60"/>
                </a:cxn>
                <a:cxn ang="0">
                  <a:pos x="140" y="72"/>
                </a:cxn>
                <a:cxn ang="0">
                  <a:pos x="144" y="80"/>
                </a:cxn>
                <a:cxn ang="0">
                  <a:pos x="148" y="92"/>
                </a:cxn>
                <a:cxn ang="0">
                  <a:pos x="148" y="96"/>
                </a:cxn>
                <a:cxn ang="0">
                  <a:pos x="144" y="100"/>
                </a:cxn>
                <a:cxn ang="0">
                  <a:pos x="140" y="108"/>
                </a:cxn>
                <a:cxn ang="0">
                  <a:pos x="128" y="120"/>
                </a:cxn>
              </a:cxnLst>
              <a:rect l="0" t="0" r="r" b="b"/>
              <a:pathLst>
                <a:path w="152" h="132">
                  <a:moveTo>
                    <a:pt x="128" y="120"/>
                  </a:moveTo>
                  <a:lnTo>
                    <a:pt x="128" y="124"/>
                  </a:lnTo>
                  <a:lnTo>
                    <a:pt x="128" y="128"/>
                  </a:lnTo>
                  <a:lnTo>
                    <a:pt x="132" y="132"/>
                  </a:lnTo>
                  <a:lnTo>
                    <a:pt x="128" y="132"/>
                  </a:lnTo>
                  <a:lnTo>
                    <a:pt x="124" y="132"/>
                  </a:lnTo>
                  <a:lnTo>
                    <a:pt x="120" y="128"/>
                  </a:lnTo>
                  <a:lnTo>
                    <a:pt x="116" y="124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4" y="124"/>
                  </a:lnTo>
                  <a:lnTo>
                    <a:pt x="104" y="128"/>
                  </a:lnTo>
                  <a:lnTo>
                    <a:pt x="100" y="128"/>
                  </a:lnTo>
                  <a:lnTo>
                    <a:pt x="100" y="124"/>
                  </a:lnTo>
                  <a:lnTo>
                    <a:pt x="96" y="124"/>
                  </a:lnTo>
                  <a:lnTo>
                    <a:pt x="92" y="124"/>
                  </a:lnTo>
                  <a:lnTo>
                    <a:pt x="88" y="128"/>
                  </a:lnTo>
                  <a:lnTo>
                    <a:pt x="84" y="128"/>
                  </a:lnTo>
                  <a:lnTo>
                    <a:pt x="84" y="124"/>
                  </a:lnTo>
                  <a:lnTo>
                    <a:pt x="80" y="124"/>
                  </a:lnTo>
                  <a:lnTo>
                    <a:pt x="80" y="120"/>
                  </a:lnTo>
                  <a:lnTo>
                    <a:pt x="76" y="120"/>
                  </a:lnTo>
                  <a:lnTo>
                    <a:pt x="76" y="124"/>
                  </a:lnTo>
                  <a:lnTo>
                    <a:pt x="72" y="124"/>
                  </a:lnTo>
                  <a:lnTo>
                    <a:pt x="72" y="120"/>
                  </a:lnTo>
                  <a:lnTo>
                    <a:pt x="68" y="120"/>
                  </a:lnTo>
                  <a:lnTo>
                    <a:pt x="68" y="116"/>
                  </a:lnTo>
                  <a:lnTo>
                    <a:pt x="68" y="112"/>
                  </a:lnTo>
                  <a:lnTo>
                    <a:pt x="64" y="112"/>
                  </a:lnTo>
                  <a:lnTo>
                    <a:pt x="60" y="112"/>
                  </a:lnTo>
                  <a:lnTo>
                    <a:pt x="60" y="108"/>
                  </a:lnTo>
                  <a:lnTo>
                    <a:pt x="56" y="112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4" y="100"/>
                  </a:lnTo>
                  <a:lnTo>
                    <a:pt x="40" y="100"/>
                  </a:lnTo>
                  <a:lnTo>
                    <a:pt x="40" y="104"/>
                  </a:lnTo>
                  <a:lnTo>
                    <a:pt x="44" y="108"/>
                  </a:lnTo>
                  <a:lnTo>
                    <a:pt x="40" y="104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4"/>
                  </a:lnTo>
                  <a:lnTo>
                    <a:pt x="32" y="104"/>
                  </a:lnTo>
                  <a:lnTo>
                    <a:pt x="32" y="100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92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92"/>
                  </a:lnTo>
                  <a:lnTo>
                    <a:pt x="8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4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4" y="12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2"/>
                  </a:lnTo>
                  <a:lnTo>
                    <a:pt x="140" y="16"/>
                  </a:lnTo>
                  <a:lnTo>
                    <a:pt x="140" y="20"/>
                  </a:lnTo>
                  <a:lnTo>
                    <a:pt x="140" y="24"/>
                  </a:lnTo>
                  <a:lnTo>
                    <a:pt x="140" y="28"/>
                  </a:lnTo>
                  <a:lnTo>
                    <a:pt x="144" y="28"/>
                  </a:lnTo>
                  <a:lnTo>
                    <a:pt x="144" y="32"/>
                  </a:lnTo>
                  <a:lnTo>
                    <a:pt x="144" y="36"/>
                  </a:lnTo>
                  <a:lnTo>
                    <a:pt x="148" y="40"/>
                  </a:lnTo>
                  <a:lnTo>
                    <a:pt x="148" y="44"/>
                  </a:lnTo>
                  <a:lnTo>
                    <a:pt x="148" y="48"/>
                  </a:lnTo>
                  <a:lnTo>
                    <a:pt x="148" y="52"/>
                  </a:lnTo>
                  <a:lnTo>
                    <a:pt x="144" y="52"/>
                  </a:lnTo>
                  <a:lnTo>
                    <a:pt x="140" y="52"/>
                  </a:lnTo>
                  <a:lnTo>
                    <a:pt x="140" y="56"/>
                  </a:lnTo>
                  <a:lnTo>
                    <a:pt x="136" y="56"/>
                  </a:lnTo>
                  <a:lnTo>
                    <a:pt x="136" y="60"/>
                  </a:lnTo>
                  <a:lnTo>
                    <a:pt x="140" y="60"/>
                  </a:lnTo>
                  <a:lnTo>
                    <a:pt x="144" y="64"/>
                  </a:lnTo>
                  <a:lnTo>
                    <a:pt x="144" y="68"/>
                  </a:lnTo>
                  <a:lnTo>
                    <a:pt x="140" y="72"/>
                  </a:lnTo>
                  <a:lnTo>
                    <a:pt x="140" y="76"/>
                  </a:lnTo>
                  <a:lnTo>
                    <a:pt x="144" y="76"/>
                  </a:lnTo>
                  <a:lnTo>
                    <a:pt x="144" y="80"/>
                  </a:lnTo>
                  <a:lnTo>
                    <a:pt x="144" y="84"/>
                  </a:lnTo>
                  <a:lnTo>
                    <a:pt x="148" y="88"/>
                  </a:lnTo>
                  <a:lnTo>
                    <a:pt x="148" y="92"/>
                  </a:lnTo>
                  <a:lnTo>
                    <a:pt x="152" y="92"/>
                  </a:lnTo>
                  <a:lnTo>
                    <a:pt x="148" y="92"/>
                  </a:lnTo>
                  <a:lnTo>
                    <a:pt x="148" y="96"/>
                  </a:lnTo>
                  <a:lnTo>
                    <a:pt x="152" y="100"/>
                  </a:lnTo>
                  <a:lnTo>
                    <a:pt x="148" y="100"/>
                  </a:lnTo>
                  <a:lnTo>
                    <a:pt x="144" y="100"/>
                  </a:lnTo>
                  <a:lnTo>
                    <a:pt x="144" y="104"/>
                  </a:lnTo>
                  <a:lnTo>
                    <a:pt x="140" y="104"/>
                  </a:lnTo>
                  <a:lnTo>
                    <a:pt x="140" y="108"/>
                  </a:lnTo>
                  <a:lnTo>
                    <a:pt x="136" y="108"/>
                  </a:lnTo>
                  <a:lnTo>
                    <a:pt x="136" y="112"/>
                  </a:lnTo>
                  <a:lnTo>
                    <a:pt x="128" y="1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1" name="Freeform 108"/>
            <p:cNvSpPr>
              <a:spLocks/>
            </p:cNvSpPr>
            <p:nvPr>
              <p:custDataLst>
                <p:tags r:id="rId304"/>
              </p:custDataLst>
            </p:nvPr>
          </p:nvSpPr>
          <p:spPr bwMode="gray">
            <a:xfrm>
              <a:off x="4831362" y="3201875"/>
              <a:ext cx="212078" cy="148306"/>
            </a:xfrm>
            <a:custGeom>
              <a:avLst/>
              <a:gdLst/>
              <a:ahLst/>
              <a:cxnLst>
                <a:cxn ang="0">
                  <a:pos x="60" y="100"/>
                </a:cxn>
                <a:cxn ang="0">
                  <a:pos x="48" y="96"/>
                </a:cxn>
                <a:cxn ang="0">
                  <a:pos x="44" y="96"/>
                </a:cxn>
                <a:cxn ang="0">
                  <a:pos x="40" y="92"/>
                </a:cxn>
                <a:cxn ang="0">
                  <a:pos x="40" y="92"/>
                </a:cxn>
                <a:cxn ang="0">
                  <a:pos x="36" y="88"/>
                </a:cxn>
                <a:cxn ang="0">
                  <a:pos x="36" y="84"/>
                </a:cxn>
                <a:cxn ang="0">
                  <a:pos x="36" y="80"/>
                </a:cxn>
                <a:cxn ang="0">
                  <a:pos x="28" y="80"/>
                </a:cxn>
                <a:cxn ang="0">
                  <a:pos x="24" y="80"/>
                </a:cxn>
                <a:cxn ang="0">
                  <a:pos x="20" y="76"/>
                </a:cxn>
                <a:cxn ang="0">
                  <a:pos x="20" y="76"/>
                </a:cxn>
                <a:cxn ang="0">
                  <a:pos x="16" y="72"/>
                </a:cxn>
                <a:cxn ang="0">
                  <a:pos x="16" y="68"/>
                </a:cxn>
                <a:cxn ang="0">
                  <a:pos x="8" y="56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16" y="36"/>
                </a:cxn>
                <a:cxn ang="0">
                  <a:pos x="20" y="32"/>
                </a:cxn>
                <a:cxn ang="0">
                  <a:pos x="24" y="24"/>
                </a:cxn>
                <a:cxn ang="0">
                  <a:pos x="28" y="20"/>
                </a:cxn>
                <a:cxn ang="0">
                  <a:pos x="28" y="16"/>
                </a:cxn>
                <a:cxn ang="0">
                  <a:pos x="36" y="12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56" y="8"/>
                </a:cxn>
                <a:cxn ang="0">
                  <a:pos x="64" y="8"/>
                </a:cxn>
                <a:cxn ang="0">
                  <a:pos x="68" y="12"/>
                </a:cxn>
                <a:cxn ang="0">
                  <a:pos x="72" y="12"/>
                </a:cxn>
                <a:cxn ang="0">
                  <a:pos x="76" y="8"/>
                </a:cxn>
                <a:cxn ang="0">
                  <a:pos x="84" y="8"/>
                </a:cxn>
                <a:cxn ang="0">
                  <a:pos x="92" y="4"/>
                </a:cxn>
                <a:cxn ang="0">
                  <a:pos x="100" y="4"/>
                </a:cxn>
                <a:cxn ang="0">
                  <a:pos x="108" y="16"/>
                </a:cxn>
                <a:cxn ang="0">
                  <a:pos x="112" y="24"/>
                </a:cxn>
                <a:cxn ang="0">
                  <a:pos x="119" y="32"/>
                </a:cxn>
                <a:cxn ang="0">
                  <a:pos x="119" y="40"/>
                </a:cxn>
                <a:cxn ang="0">
                  <a:pos x="119" y="56"/>
                </a:cxn>
                <a:cxn ang="0">
                  <a:pos x="119" y="64"/>
                </a:cxn>
                <a:cxn ang="0">
                  <a:pos x="127" y="68"/>
                </a:cxn>
                <a:cxn ang="0">
                  <a:pos x="139" y="64"/>
                </a:cxn>
                <a:cxn ang="0">
                  <a:pos x="139" y="68"/>
                </a:cxn>
                <a:cxn ang="0">
                  <a:pos x="135" y="76"/>
                </a:cxn>
                <a:cxn ang="0">
                  <a:pos x="131" y="72"/>
                </a:cxn>
                <a:cxn ang="0">
                  <a:pos x="131" y="76"/>
                </a:cxn>
                <a:cxn ang="0">
                  <a:pos x="131" y="80"/>
                </a:cxn>
                <a:cxn ang="0">
                  <a:pos x="131" y="80"/>
                </a:cxn>
                <a:cxn ang="0">
                  <a:pos x="131" y="84"/>
                </a:cxn>
                <a:cxn ang="0">
                  <a:pos x="127" y="92"/>
                </a:cxn>
                <a:cxn ang="0">
                  <a:pos x="123" y="100"/>
                </a:cxn>
                <a:cxn ang="0">
                  <a:pos x="116" y="96"/>
                </a:cxn>
                <a:cxn ang="0">
                  <a:pos x="112" y="92"/>
                </a:cxn>
                <a:cxn ang="0">
                  <a:pos x="104" y="92"/>
                </a:cxn>
                <a:cxn ang="0">
                  <a:pos x="100" y="92"/>
                </a:cxn>
                <a:cxn ang="0">
                  <a:pos x="92" y="92"/>
                </a:cxn>
                <a:cxn ang="0">
                  <a:pos x="84" y="100"/>
                </a:cxn>
                <a:cxn ang="0">
                  <a:pos x="76" y="100"/>
                </a:cxn>
                <a:cxn ang="0">
                  <a:pos x="64" y="100"/>
                </a:cxn>
                <a:cxn ang="0">
                  <a:pos x="60" y="100"/>
                </a:cxn>
              </a:cxnLst>
              <a:rect l="0" t="0" r="r" b="b"/>
              <a:pathLst>
                <a:path w="143" h="100">
                  <a:moveTo>
                    <a:pt x="60" y="100"/>
                  </a:move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6" y="12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8" y="20"/>
                  </a:lnTo>
                  <a:lnTo>
                    <a:pt x="112" y="20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9" y="28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40"/>
                  </a:lnTo>
                  <a:lnTo>
                    <a:pt x="119" y="44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9" y="52"/>
                  </a:lnTo>
                  <a:lnTo>
                    <a:pt x="119" y="52"/>
                  </a:lnTo>
                  <a:lnTo>
                    <a:pt x="119" y="52"/>
                  </a:lnTo>
                  <a:lnTo>
                    <a:pt x="119" y="56"/>
                  </a:lnTo>
                  <a:lnTo>
                    <a:pt x="119" y="56"/>
                  </a:lnTo>
                  <a:lnTo>
                    <a:pt x="119" y="60"/>
                  </a:lnTo>
                  <a:lnTo>
                    <a:pt x="119" y="60"/>
                  </a:lnTo>
                  <a:lnTo>
                    <a:pt x="119" y="60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23" y="64"/>
                  </a:lnTo>
                  <a:lnTo>
                    <a:pt x="123" y="64"/>
                  </a:lnTo>
                  <a:lnTo>
                    <a:pt x="123" y="68"/>
                  </a:lnTo>
                  <a:lnTo>
                    <a:pt x="127" y="68"/>
                  </a:lnTo>
                  <a:lnTo>
                    <a:pt x="127" y="68"/>
                  </a:lnTo>
                  <a:lnTo>
                    <a:pt x="127" y="64"/>
                  </a:lnTo>
                  <a:lnTo>
                    <a:pt x="131" y="64"/>
                  </a:lnTo>
                  <a:lnTo>
                    <a:pt x="135" y="64"/>
                  </a:lnTo>
                  <a:lnTo>
                    <a:pt x="135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8"/>
                  </a:lnTo>
                  <a:lnTo>
                    <a:pt x="143" y="68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43" y="68"/>
                  </a:lnTo>
                  <a:lnTo>
                    <a:pt x="139" y="72"/>
                  </a:lnTo>
                  <a:lnTo>
                    <a:pt x="139" y="76"/>
                  </a:lnTo>
                  <a:lnTo>
                    <a:pt x="139" y="76"/>
                  </a:lnTo>
                  <a:lnTo>
                    <a:pt x="139" y="76"/>
                  </a:lnTo>
                  <a:lnTo>
                    <a:pt x="139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4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7" y="92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3" y="96"/>
                  </a:lnTo>
                  <a:lnTo>
                    <a:pt x="123" y="100"/>
                  </a:lnTo>
                  <a:lnTo>
                    <a:pt x="123" y="100"/>
                  </a:lnTo>
                  <a:lnTo>
                    <a:pt x="123" y="100"/>
                  </a:lnTo>
                  <a:lnTo>
                    <a:pt x="123" y="100"/>
                  </a:lnTo>
                  <a:lnTo>
                    <a:pt x="119" y="100"/>
                  </a:lnTo>
                  <a:lnTo>
                    <a:pt x="119" y="100"/>
                  </a:lnTo>
                  <a:lnTo>
                    <a:pt x="119" y="100"/>
                  </a:lnTo>
                  <a:lnTo>
                    <a:pt x="119" y="96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6" y="92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2" y="96"/>
                  </a:lnTo>
                  <a:lnTo>
                    <a:pt x="112" y="96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08" y="92"/>
                  </a:lnTo>
                  <a:lnTo>
                    <a:pt x="108" y="92"/>
                  </a:lnTo>
                  <a:lnTo>
                    <a:pt x="108" y="92"/>
                  </a:lnTo>
                  <a:lnTo>
                    <a:pt x="108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96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2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1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2" name="Freeform 109"/>
            <p:cNvSpPr>
              <a:spLocks/>
            </p:cNvSpPr>
            <p:nvPr>
              <p:custDataLst>
                <p:tags r:id="rId305"/>
              </p:custDataLst>
            </p:nvPr>
          </p:nvSpPr>
          <p:spPr bwMode="gray">
            <a:xfrm>
              <a:off x="4789836" y="3273062"/>
              <a:ext cx="100848" cy="134958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0" y="68"/>
                </a:cxn>
                <a:cxn ang="0">
                  <a:pos x="4" y="64"/>
                </a:cxn>
                <a:cxn ang="0">
                  <a:pos x="8" y="60"/>
                </a:cxn>
                <a:cxn ang="0">
                  <a:pos x="8" y="56"/>
                </a:cxn>
                <a:cxn ang="0">
                  <a:pos x="12" y="56"/>
                </a:cxn>
                <a:cxn ang="0">
                  <a:pos x="16" y="52"/>
                </a:cxn>
                <a:cxn ang="0">
                  <a:pos x="12" y="48"/>
                </a:cxn>
                <a:cxn ang="0">
                  <a:pos x="16" y="48"/>
                </a:cxn>
                <a:cxn ang="0">
                  <a:pos x="12" y="40"/>
                </a:cxn>
                <a:cxn ang="0">
                  <a:pos x="12" y="32"/>
                </a:cxn>
                <a:cxn ang="0">
                  <a:pos x="12" y="28"/>
                </a:cxn>
                <a:cxn ang="0">
                  <a:pos x="8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4" y="4"/>
                </a:cxn>
                <a:cxn ang="0">
                  <a:pos x="12" y="4"/>
                </a:cxn>
                <a:cxn ang="0">
                  <a:pos x="16" y="0"/>
                </a:cxn>
                <a:cxn ang="0">
                  <a:pos x="24" y="0"/>
                </a:cxn>
                <a:cxn ang="0">
                  <a:pos x="28" y="4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44" y="20"/>
                </a:cxn>
                <a:cxn ang="0">
                  <a:pos x="44" y="24"/>
                </a:cxn>
                <a:cxn ang="0">
                  <a:pos x="48" y="28"/>
                </a:cxn>
                <a:cxn ang="0">
                  <a:pos x="44" y="28"/>
                </a:cxn>
                <a:cxn ang="0">
                  <a:pos x="48" y="28"/>
                </a:cxn>
                <a:cxn ang="0">
                  <a:pos x="52" y="32"/>
                </a:cxn>
                <a:cxn ang="0">
                  <a:pos x="56" y="36"/>
                </a:cxn>
                <a:cxn ang="0">
                  <a:pos x="60" y="32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60" y="36"/>
                </a:cxn>
                <a:cxn ang="0">
                  <a:pos x="64" y="40"/>
                </a:cxn>
                <a:cxn ang="0">
                  <a:pos x="64" y="44"/>
                </a:cxn>
                <a:cxn ang="0">
                  <a:pos x="64" y="56"/>
                </a:cxn>
                <a:cxn ang="0">
                  <a:pos x="68" y="60"/>
                </a:cxn>
                <a:cxn ang="0">
                  <a:pos x="64" y="68"/>
                </a:cxn>
                <a:cxn ang="0">
                  <a:pos x="60" y="76"/>
                </a:cxn>
                <a:cxn ang="0">
                  <a:pos x="60" y="79"/>
                </a:cxn>
                <a:cxn ang="0">
                  <a:pos x="56" y="79"/>
                </a:cxn>
                <a:cxn ang="0">
                  <a:pos x="48" y="83"/>
                </a:cxn>
                <a:cxn ang="0">
                  <a:pos x="44" y="83"/>
                </a:cxn>
                <a:cxn ang="0">
                  <a:pos x="36" y="87"/>
                </a:cxn>
                <a:cxn ang="0">
                  <a:pos x="32" y="91"/>
                </a:cxn>
                <a:cxn ang="0">
                  <a:pos x="32" y="83"/>
                </a:cxn>
                <a:cxn ang="0">
                  <a:pos x="28" y="79"/>
                </a:cxn>
                <a:cxn ang="0">
                  <a:pos x="20" y="79"/>
                </a:cxn>
                <a:cxn ang="0">
                  <a:pos x="20" y="76"/>
                </a:cxn>
                <a:cxn ang="0">
                  <a:pos x="12" y="83"/>
                </a:cxn>
                <a:cxn ang="0">
                  <a:pos x="12" y="87"/>
                </a:cxn>
                <a:cxn ang="0">
                  <a:pos x="12" y="87"/>
                </a:cxn>
                <a:cxn ang="0">
                  <a:pos x="8" y="83"/>
                </a:cxn>
                <a:cxn ang="0">
                  <a:pos x="4" y="79"/>
                </a:cxn>
                <a:cxn ang="0">
                  <a:pos x="4" y="79"/>
                </a:cxn>
                <a:cxn ang="0">
                  <a:pos x="0" y="76"/>
                </a:cxn>
              </a:cxnLst>
              <a:rect l="0" t="0" r="r" b="b"/>
              <a:pathLst>
                <a:path w="68" h="91">
                  <a:moveTo>
                    <a:pt x="0" y="76"/>
                  </a:move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83"/>
                  </a:lnTo>
                  <a:lnTo>
                    <a:pt x="48" y="83"/>
                  </a:lnTo>
                  <a:lnTo>
                    <a:pt x="48" y="83"/>
                  </a:lnTo>
                  <a:lnTo>
                    <a:pt x="48" y="83"/>
                  </a:lnTo>
                  <a:lnTo>
                    <a:pt x="48" y="83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0" y="83"/>
                  </a:lnTo>
                  <a:lnTo>
                    <a:pt x="40" y="83"/>
                  </a:lnTo>
                  <a:lnTo>
                    <a:pt x="36" y="83"/>
                  </a:lnTo>
                  <a:lnTo>
                    <a:pt x="36" y="87"/>
                  </a:lnTo>
                  <a:lnTo>
                    <a:pt x="36" y="87"/>
                  </a:lnTo>
                  <a:lnTo>
                    <a:pt x="36" y="87"/>
                  </a:lnTo>
                  <a:lnTo>
                    <a:pt x="36" y="87"/>
                  </a:lnTo>
                  <a:lnTo>
                    <a:pt x="36" y="91"/>
                  </a:lnTo>
                  <a:lnTo>
                    <a:pt x="36" y="91"/>
                  </a:lnTo>
                  <a:lnTo>
                    <a:pt x="32" y="91"/>
                  </a:lnTo>
                  <a:lnTo>
                    <a:pt x="32" y="91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0" y="79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9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6" y="91"/>
                  </a:lnTo>
                  <a:lnTo>
                    <a:pt x="12" y="91"/>
                  </a:lnTo>
                  <a:lnTo>
                    <a:pt x="12" y="91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79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0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3" name="Freeform 110"/>
            <p:cNvSpPr>
              <a:spLocks/>
            </p:cNvSpPr>
            <p:nvPr>
              <p:custDataLst>
                <p:tags r:id="rId306"/>
              </p:custDataLst>
            </p:nvPr>
          </p:nvSpPr>
          <p:spPr bwMode="gray">
            <a:xfrm>
              <a:off x="4754242" y="3160349"/>
              <a:ext cx="130510" cy="59323"/>
            </a:xfrm>
            <a:custGeom>
              <a:avLst/>
              <a:gdLst/>
              <a:ahLst/>
              <a:cxnLst>
                <a:cxn ang="0">
                  <a:pos x="32" y="32"/>
                </a:cxn>
                <a:cxn ang="0">
                  <a:pos x="28" y="36"/>
                </a:cxn>
                <a:cxn ang="0">
                  <a:pos x="32" y="40"/>
                </a:cxn>
                <a:cxn ang="0">
                  <a:pos x="28" y="40"/>
                </a:cxn>
                <a:cxn ang="0">
                  <a:pos x="24" y="40"/>
                </a:cxn>
                <a:cxn ang="0">
                  <a:pos x="24" y="40"/>
                </a:cxn>
                <a:cxn ang="0">
                  <a:pos x="20" y="40"/>
                </a:cxn>
                <a:cxn ang="0">
                  <a:pos x="16" y="40"/>
                </a:cxn>
                <a:cxn ang="0">
                  <a:pos x="8" y="36"/>
                </a:cxn>
                <a:cxn ang="0">
                  <a:pos x="8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4" y="16"/>
                </a:cxn>
                <a:cxn ang="0">
                  <a:pos x="8" y="16"/>
                </a:cxn>
                <a:cxn ang="0">
                  <a:pos x="12" y="16"/>
                </a:cxn>
                <a:cxn ang="0">
                  <a:pos x="16" y="12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32" y="0"/>
                </a:cxn>
                <a:cxn ang="0">
                  <a:pos x="32" y="4"/>
                </a:cxn>
                <a:cxn ang="0">
                  <a:pos x="36" y="0"/>
                </a:cxn>
                <a:cxn ang="0">
                  <a:pos x="40" y="0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48" y="8"/>
                </a:cxn>
                <a:cxn ang="0">
                  <a:pos x="52" y="4"/>
                </a:cxn>
                <a:cxn ang="0">
                  <a:pos x="60" y="4"/>
                </a:cxn>
                <a:cxn ang="0">
                  <a:pos x="64" y="8"/>
                </a:cxn>
                <a:cxn ang="0">
                  <a:pos x="68" y="4"/>
                </a:cxn>
                <a:cxn ang="0">
                  <a:pos x="72" y="4"/>
                </a:cxn>
                <a:cxn ang="0">
                  <a:pos x="76" y="4"/>
                </a:cxn>
                <a:cxn ang="0">
                  <a:pos x="80" y="8"/>
                </a:cxn>
                <a:cxn ang="0">
                  <a:pos x="88" y="12"/>
                </a:cxn>
                <a:cxn ang="0">
                  <a:pos x="84" y="16"/>
                </a:cxn>
                <a:cxn ang="0">
                  <a:pos x="80" y="24"/>
                </a:cxn>
                <a:cxn ang="0">
                  <a:pos x="80" y="28"/>
                </a:cxn>
                <a:cxn ang="0">
                  <a:pos x="76" y="28"/>
                </a:cxn>
                <a:cxn ang="0">
                  <a:pos x="72" y="28"/>
                </a:cxn>
                <a:cxn ang="0">
                  <a:pos x="68" y="24"/>
                </a:cxn>
                <a:cxn ang="0">
                  <a:pos x="64" y="24"/>
                </a:cxn>
                <a:cxn ang="0">
                  <a:pos x="60" y="24"/>
                </a:cxn>
                <a:cxn ang="0">
                  <a:pos x="56" y="24"/>
                </a:cxn>
                <a:cxn ang="0">
                  <a:pos x="52" y="28"/>
                </a:cxn>
                <a:cxn ang="0">
                  <a:pos x="52" y="28"/>
                </a:cxn>
                <a:cxn ang="0">
                  <a:pos x="48" y="32"/>
                </a:cxn>
                <a:cxn ang="0">
                  <a:pos x="48" y="32"/>
                </a:cxn>
                <a:cxn ang="0">
                  <a:pos x="44" y="32"/>
                </a:cxn>
                <a:cxn ang="0">
                  <a:pos x="40" y="32"/>
                </a:cxn>
                <a:cxn ang="0">
                  <a:pos x="32" y="32"/>
                </a:cxn>
              </a:cxnLst>
              <a:rect l="0" t="0" r="r" b="b"/>
              <a:pathLst>
                <a:path w="88" h="40">
                  <a:moveTo>
                    <a:pt x="32" y="32"/>
                  </a:move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2" y="32"/>
                  </a:lnTo>
                  <a:lnTo>
                    <a:pt x="32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4" name="Freeform 111"/>
            <p:cNvSpPr>
              <a:spLocks/>
            </p:cNvSpPr>
            <p:nvPr>
              <p:custDataLst>
                <p:tags r:id="rId307"/>
              </p:custDataLst>
            </p:nvPr>
          </p:nvSpPr>
          <p:spPr bwMode="gray">
            <a:xfrm>
              <a:off x="4677123" y="3249333"/>
              <a:ext cx="71187" cy="47458"/>
            </a:xfrm>
            <a:custGeom>
              <a:avLst/>
              <a:gdLst/>
              <a:ahLst/>
              <a:cxnLst>
                <a:cxn ang="0">
                  <a:pos x="28" y="28"/>
                </a:cxn>
                <a:cxn ang="0">
                  <a:pos x="28" y="32"/>
                </a:cxn>
                <a:cxn ang="0">
                  <a:pos x="24" y="28"/>
                </a:cxn>
                <a:cxn ang="0">
                  <a:pos x="20" y="28"/>
                </a:cxn>
                <a:cxn ang="0">
                  <a:pos x="16" y="24"/>
                </a:cxn>
                <a:cxn ang="0">
                  <a:pos x="16" y="28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8" y="28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6" y="4"/>
                </a:cxn>
                <a:cxn ang="0">
                  <a:pos x="40" y="0"/>
                </a:cxn>
                <a:cxn ang="0">
                  <a:pos x="40" y="0"/>
                </a:cxn>
                <a:cxn ang="0">
                  <a:pos x="44" y="0"/>
                </a:cxn>
                <a:cxn ang="0">
                  <a:pos x="44" y="0"/>
                </a:cxn>
                <a:cxn ang="0">
                  <a:pos x="44" y="4"/>
                </a:cxn>
                <a:cxn ang="0">
                  <a:pos x="44" y="4"/>
                </a:cxn>
                <a:cxn ang="0">
                  <a:pos x="48" y="8"/>
                </a:cxn>
                <a:cxn ang="0">
                  <a:pos x="48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32" y="12"/>
                </a:cxn>
                <a:cxn ang="0">
                  <a:pos x="32" y="16"/>
                </a:cxn>
                <a:cxn ang="0">
                  <a:pos x="36" y="16"/>
                </a:cxn>
                <a:cxn ang="0">
                  <a:pos x="32" y="24"/>
                </a:cxn>
                <a:cxn ang="0">
                  <a:pos x="32" y="24"/>
                </a:cxn>
                <a:cxn ang="0">
                  <a:pos x="28" y="24"/>
                </a:cxn>
                <a:cxn ang="0">
                  <a:pos x="28" y="28"/>
                </a:cxn>
              </a:cxnLst>
              <a:rect l="0" t="0" r="r" b="b"/>
              <a:pathLst>
                <a:path w="48" h="32">
                  <a:moveTo>
                    <a:pt x="28" y="28"/>
                  </a:move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2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5" name="Freeform 112"/>
            <p:cNvSpPr>
              <a:spLocks noEditPoints="1"/>
            </p:cNvSpPr>
            <p:nvPr>
              <p:custDataLst>
                <p:tags r:id="rId308"/>
              </p:custDataLst>
            </p:nvPr>
          </p:nvSpPr>
          <p:spPr bwMode="gray">
            <a:xfrm>
              <a:off x="4611868" y="1953135"/>
              <a:ext cx="520555" cy="283265"/>
            </a:xfrm>
            <a:custGeom>
              <a:avLst/>
              <a:gdLst/>
              <a:ahLst/>
              <a:cxnLst>
                <a:cxn ang="0">
                  <a:pos x="144" y="8"/>
                </a:cxn>
                <a:cxn ang="0">
                  <a:pos x="124" y="12"/>
                </a:cxn>
                <a:cxn ang="0">
                  <a:pos x="343" y="16"/>
                </a:cxn>
                <a:cxn ang="0">
                  <a:pos x="267" y="20"/>
                </a:cxn>
                <a:cxn ang="0">
                  <a:pos x="8" y="36"/>
                </a:cxn>
                <a:cxn ang="0">
                  <a:pos x="148" y="52"/>
                </a:cxn>
                <a:cxn ang="0">
                  <a:pos x="279" y="60"/>
                </a:cxn>
                <a:cxn ang="0">
                  <a:pos x="244" y="68"/>
                </a:cxn>
                <a:cxn ang="0">
                  <a:pos x="220" y="127"/>
                </a:cxn>
                <a:cxn ang="0">
                  <a:pos x="252" y="24"/>
                </a:cxn>
                <a:cxn ang="0">
                  <a:pos x="228" y="44"/>
                </a:cxn>
                <a:cxn ang="0">
                  <a:pos x="184" y="48"/>
                </a:cxn>
                <a:cxn ang="0">
                  <a:pos x="152" y="40"/>
                </a:cxn>
                <a:cxn ang="0">
                  <a:pos x="160" y="32"/>
                </a:cxn>
                <a:cxn ang="0">
                  <a:pos x="164" y="28"/>
                </a:cxn>
                <a:cxn ang="0">
                  <a:pos x="124" y="24"/>
                </a:cxn>
                <a:cxn ang="0">
                  <a:pos x="132" y="20"/>
                </a:cxn>
                <a:cxn ang="0">
                  <a:pos x="136" y="12"/>
                </a:cxn>
                <a:cxn ang="0">
                  <a:pos x="172" y="16"/>
                </a:cxn>
                <a:cxn ang="0">
                  <a:pos x="184" y="12"/>
                </a:cxn>
                <a:cxn ang="0">
                  <a:pos x="192" y="20"/>
                </a:cxn>
                <a:cxn ang="0">
                  <a:pos x="216" y="12"/>
                </a:cxn>
                <a:cxn ang="0">
                  <a:pos x="252" y="24"/>
                </a:cxn>
                <a:cxn ang="0">
                  <a:pos x="80" y="99"/>
                </a:cxn>
                <a:cxn ang="0">
                  <a:pos x="72" y="95"/>
                </a:cxn>
                <a:cxn ang="0">
                  <a:pos x="88" y="92"/>
                </a:cxn>
                <a:cxn ang="0">
                  <a:pos x="48" y="92"/>
                </a:cxn>
                <a:cxn ang="0">
                  <a:pos x="72" y="80"/>
                </a:cxn>
                <a:cxn ang="0">
                  <a:pos x="96" y="72"/>
                </a:cxn>
                <a:cxn ang="0">
                  <a:pos x="84" y="68"/>
                </a:cxn>
                <a:cxn ang="0">
                  <a:pos x="64" y="68"/>
                </a:cxn>
                <a:cxn ang="0">
                  <a:pos x="48" y="80"/>
                </a:cxn>
                <a:cxn ang="0">
                  <a:pos x="40" y="72"/>
                </a:cxn>
                <a:cxn ang="0">
                  <a:pos x="16" y="56"/>
                </a:cxn>
                <a:cxn ang="0">
                  <a:pos x="16" y="48"/>
                </a:cxn>
                <a:cxn ang="0">
                  <a:pos x="8" y="36"/>
                </a:cxn>
                <a:cxn ang="0">
                  <a:pos x="24" y="36"/>
                </a:cxn>
                <a:cxn ang="0">
                  <a:pos x="52" y="28"/>
                </a:cxn>
                <a:cxn ang="0">
                  <a:pos x="40" y="36"/>
                </a:cxn>
                <a:cxn ang="0">
                  <a:pos x="56" y="36"/>
                </a:cxn>
                <a:cxn ang="0">
                  <a:pos x="84" y="56"/>
                </a:cxn>
                <a:cxn ang="0">
                  <a:pos x="80" y="32"/>
                </a:cxn>
                <a:cxn ang="0">
                  <a:pos x="100" y="28"/>
                </a:cxn>
                <a:cxn ang="0">
                  <a:pos x="120" y="36"/>
                </a:cxn>
                <a:cxn ang="0">
                  <a:pos x="152" y="56"/>
                </a:cxn>
                <a:cxn ang="0">
                  <a:pos x="152" y="68"/>
                </a:cxn>
                <a:cxn ang="0">
                  <a:pos x="128" y="84"/>
                </a:cxn>
                <a:cxn ang="0">
                  <a:pos x="104" y="115"/>
                </a:cxn>
                <a:cxn ang="0">
                  <a:pos x="84" y="123"/>
                </a:cxn>
                <a:cxn ang="0">
                  <a:pos x="80" y="115"/>
                </a:cxn>
                <a:cxn ang="0">
                  <a:pos x="12" y="72"/>
                </a:cxn>
                <a:cxn ang="0">
                  <a:pos x="16" y="72"/>
                </a:cxn>
                <a:cxn ang="0">
                  <a:pos x="176" y="68"/>
                </a:cxn>
                <a:cxn ang="0">
                  <a:pos x="156" y="80"/>
                </a:cxn>
                <a:cxn ang="0">
                  <a:pos x="172" y="99"/>
                </a:cxn>
                <a:cxn ang="0">
                  <a:pos x="164" y="88"/>
                </a:cxn>
                <a:cxn ang="0">
                  <a:pos x="196" y="80"/>
                </a:cxn>
                <a:cxn ang="0">
                  <a:pos x="212" y="92"/>
                </a:cxn>
                <a:cxn ang="0">
                  <a:pos x="188" y="107"/>
                </a:cxn>
              </a:cxnLst>
              <a:rect l="0" t="0" r="r" b="b"/>
              <a:pathLst>
                <a:path w="351" h="191">
                  <a:moveTo>
                    <a:pt x="156" y="4"/>
                  </a:moveTo>
                  <a:lnTo>
                    <a:pt x="156" y="0"/>
                  </a:lnTo>
                  <a:lnTo>
                    <a:pt x="152" y="0"/>
                  </a:lnTo>
                  <a:lnTo>
                    <a:pt x="156" y="0"/>
                  </a:lnTo>
                  <a:lnTo>
                    <a:pt x="160" y="0"/>
                  </a:lnTo>
                  <a:lnTo>
                    <a:pt x="160" y="4"/>
                  </a:lnTo>
                  <a:lnTo>
                    <a:pt x="156" y="4"/>
                  </a:lnTo>
                  <a:close/>
                  <a:moveTo>
                    <a:pt x="160" y="4"/>
                  </a:moveTo>
                  <a:lnTo>
                    <a:pt x="164" y="0"/>
                  </a:lnTo>
                  <a:lnTo>
                    <a:pt x="164" y="4"/>
                  </a:lnTo>
                  <a:lnTo>
                    <a:pt x="160" y="4"/>
                  </a:lnTo>
                  <a:close/>
                  <a:moveTo>
                    <a:pt x="144" y="8"/>
                  </a:moveTo>
                  <a:lnTo>
                    <a:pt x="140" y="8"/>
                  </a:lnTo>
                  <a:lnTo>
                    <a:pt x="144" y="8"/>
                  </a:lnTo>
                  <a:close/>
                  <a:moveTo>
                    <a:pt x="208" y="12"/>
                  </a:moveTo>
                  <a:lnTo>
                    <a:pt x="208" y="8"/>
                  </a:lnTo>
                  <a:lnTo>
                    <a:pt x="208" y="12"/>
                  </a:lnTo>
                  <a:lnTo>
                    <a:pt x="212" y="12"/>
                  </a:lnTo>
                  <a:lnTo>
                    <a:pt x="208" y="12"/>
                  </a:lnTo>
                  <a:close/>
                  <a:moveTo>
                    <a:pt x="120" y="16"/>
                  </a:moveTo>
                  <a:lnTo>
                    <a:pt x="116" y="16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4" y="12"/>
                  </a:lnTo>
                  <a:lnTo>
                    <a:pt x="124" y="16"/>
                  </a:lnTo>
                  <a:lnTo>
                    <a:pt x="120" y="16"/>
                  </a:lnTo>
                  <a:close/>
                  <a:moveTo>
                    <a:pt x="319" y="20"/>
                  </a:moveTo>
                  <a:lnTo>
                    <a:pt x="315" y="20"/>
                  </a:lnTo>
                  <a:lnTo>
                    <a:pt x="319" y="20"/>
                  </a:lnTo>
                  <a:lnTo>
                    <a:pt x="323" y="20"/>
                  </a:lnTo>
                  <a:lnTo>
                    <a:pt x="327" y="20"/>
                  </a:lnTo>
                  <a:lnTo>
                    <a:pt x="331" y="20"/>
                  </a:lnTo>
                  <a:lnTo>
                    <a:pt x="335" y="20"/>
                  </a:lnTo>
                  <a:lnTo>
                    <a:pt x="339" y="20"/>
                  </a:lnTo>
                  <a:lnTo>
                    <a:pt x="339" y="16"/>
                  </a:lnTo>
                  <a:lnTo>
                    <a:pt x="343" y="16"/>
                  </a:lnTo>
                  <a:lnTo>
                    <a:pt x="347" y="16"/>
                  </a:lnTo>
                  <a:lnTo>
                    <a:pt x="351" y="16"/>
                  </a:lnTo>
                  <a:lnTo>
                    <a:pt x="347" y="16"/>
                  </a:lnTo>
                  <a:lnTo>
                    <a:pt x="347" y="20"/>
                  </a:lnTo>
                  <a:lnTo>
                    <a:pt x="343" y="20"/>
                  </a:lnTo>
                  <a:lnTo>
                    <a:pt x="339" y="20"/>
                  </a:lnTo>
                  <a:lnTo>
                    <a:pt x="335" y="20"/>
                  </a:lnTo>
                  <a:lnTo>
                    <a:pt x="331" y="20"/>
                  </a:lnTo>
                  <a:lnTo>
                    <a:pt x="327" y="20"/>
                  </a:lnTo>
                  <a:lnTo>
                    <a:pt x="319" y="20"/>
                  </a:lnTo>
                  <a:close/>
                  <a:moveTo>
                    <a:pt x="264" y="20"/>
                  </a:moveTo>
                  <a:lnTo>
                    <a:pt x="267" y="20"/>
                  </a:lnTo>
                  <a:lnTo>
                    <a:pt x="264" y="20"/>
                  </a:lnTo>
                  <a:lnTo>
                    <a:pt x="260" y="20"/>
                  </a:lnTo>
                  <a:lnTo>
                    <a:pt x="264" y="20"/>
                  </a:lnTo>
                  <a:close/>
                  <a:moveTo>
                    <a:pt x="8" y="32"/>
                  </a:moveTo>
                  <a:lnTo>
                    <a:pt x="4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8" y="32"/>
                  </a:lnTo>
                  <a:close/>
                  <a:moveTo>
                    <a:pt x="4" y="36"/>
                  </a:moveTo>
                  <a:lnTo>
                    <a:pt x="4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4" y="36"/>
                  </a:lnTo>
                  <a:close/>
                  <a:moveTo>
                    <a:pt x="144" y="44"/>
                  </a:moveTo>
                  <a:lnTo>
                    <a:pt x="140" y="44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4" y="44"/>
                  </a:lnTo>
                  <a:lnTo>
                    <a:pt x="148" y="44"/>
                  </a:lnTo>
                  <a:lnTo>
                    <a:pt x="144" y="44"/>
                  </a:lnTo>
                  <a:close/>
                  <a:moveTo>
                    <a:pt x="148" y="56"/>
                  </a:moveTo>
                  <a:lnTo>
                    <a:pt x="144" y="56"/>
                  </a:lnTo>
                  <a:lnTo>
                    <a:pt x="144" y="52"/>
                  </a:lnTo>
                  <a:lnTo>
                    <a:pt x="148" y="52"/>
                  </a:lnTo>
                  <a:lnTo>
                    <a:pt x="152" y="52"/>
                  </a:lnTo>
                  <a:lnTo>
                    <a:pt x="156" y="52"/>
                  </a:lnTo>
                  <a:lnTo>
                    <a:pt x="156" y="56"/>
                  </a:lnTo>
                  <a:lnTo>
                    <a:pt x="152" y="56"/>
                  </a:lnTo>
                  <a:lnTo>
                    <a:pt x="148" y="56"/>
                  </a:lnTo>
                  <a:close/>
                  <a:moveTo>
                    <a:pt x="267" y="60"/>
                  </a:moveTo>
                  <a:lnTo>
                    <a:pt x="264" y="60"/>
                  </a:lnTo>
                  <a:lnTo>
                    <a:pt x="267" y="56"/>
                  </a:lnTo>
                  <a:lnTo>
                    <a:pt x="271" y="56"/>
                  </a:lnTo>
                  <a:lnTo>
                    <a:pt x="275" y="56"/>
                  </a:lnTo>
                  <a:lnTo>
                    <a:pt x="279" y="56"/>
                  </a:lnTo>
                  <a:lnTo>
                    <a:pt x="279" y="60"/>
                  </a:lnTo>
                  <a:lnTo>
                    <a:pt x="283" y="60"/>
                  </a:lnTo>
                  <a:lnTo>
                    <a:pt x="287" y="60"/>
                  </a:lnTo>
                  <a:lnTo>
                    <a:pt x="287" y="56"/>
                  </a:lnTo>
                  <a:lnTo>
                    <a:pt x="291" y="56"/>
                  </a:lnTo>
                  <a:lnTo>
                    <a:pt x="291" y="60"/>
                  </a:lnTo>
                  <a:lnTo>
                    <a:pt x="287" y="60"/>
                  </a:lnTo>
                  <a:lnTo>
                    <a:pt x="283" y="60"/>
                  </a:lnTo>
                  <a:lnTo>
                    <a:pt x="279" y="60"/>
                  </a:lnTo>
                  <a:lnTo>
                    <a:pt x="275" y="60"/>
                  </a:lnTo>
                  <a:lnTo>
                    <a:pt x="271" y="60"/>
                  </a:lnTo>
                  <a:lnTo>
                    <a:pt x="267" y="60"/>
                  </a:lnTo>
                  <a:close/>
                  <a:moveTo>
                    <a:pt x="244" y="68"/>
                  </a:moveTo>
                  <a:lnTo>
                    <a:pt x="244" y="64"/>
                  </a:lnTo>
                  <a:lnTo>
                    <a:pt x="240" y="64"/>
                  </a:lnTo>
                  <a:lnTo>
                    <a:pt x="240" y="60"/>
                  </a:lnTo>
                  <a:lnTo>
                    <a:pt x="244" y="60"/>
                  </a:lnTo>
                  <a:lnTo>
                    <a:pt x="244" y="64"/>
                  </a:lnTo>
                  <a:lnTo>
                    <a:pt x="248" y="64"/>
                  </a:lnTo>
                  <a:lnTo>
                    <a:pt x="252" y="64"/>
                  </a:lnTo>
                  <a:lnTo>
                    <a:pt x="248" y="64"/>
                  </a:lnTo>
                  <a:lnTo>
                    <a:pt x="248" y="68"/>
                  </a:lnTo>
                  <a:lnTo>
                    <a:pt x="244" y="68"/>
                  </a:lnTo>
                  <a:close/>
                  <a:moveTo>
                    <a:pt x="220" y="131"/>
                  </a:moveTo>
                  <a:lnTo>
                    <a:pt x="220" y="127"/>
                  </a:lnTo>
                  <a:lnTo>
                    <a:pt x="224" y="127"/>
                  </a:lnTo>
                  <a:lnTo>
                    <a:pt x="224" y="123"/>
                  </a:lnTo>
                  <a:lnTo>
                    <a:pt x="228" y="123"/>
                  </a:lnTo>
                  <a:lnTo>
                    <a:pt x="224" y="127"/>
                  </a:lnTo>
                  <a:lnTo>
                    <a:pt x="220" y="131"/>
                  </a:lnTo>
                  <a:close/>
                  <a:moveTo>
                    <a:pt x="128" y="191"/>
                  </a:moveTo>
                  <a:lnTo>
                    <a:pt x="124" y="187"/>
                  </a:lnTo>
                  <a:lnTo>
                    <a:pt x="128" y="187"/>
                  </a:lnTo>
                  <a:lnTo>
                    <a:pt x="132" y="187"/>
                  </a:lnTo>
                  <a:lnTo>
                    <a:pt x="132" y="191"/>
                  </a:lnTo>
                  <a:lnTo>
                    <a:pt x="128" y="191"/>
                  </a:lnTo>
                  <a:close/>
                  <a:moveTo>
                    <a:pt x="252" y="24"/>
                  </a:moveTo>
                  <a:lnTo>
                    <a:pt x="252" y="28"/>
                  </a:lnTo>
                  <a:lnTo>
                    <a:pt x="248" y="28"/>
                  </a:lnTo>
                  <a:lnTo>
                    <a:pt x="248" y="32"/>
                  </a:lnTo>
                  <a:lnTo>
                    <a:pt x="244" y="32"/>
                  </a:lnTo>
                  <a:lnTo>
                    <a:pt x="240" y="32"/>
                  </a:lnTo>
                  <a:lnTo>
                    <a:pt x="236" y="36"/>
                  </a:lnTo>
                  <a:lnTo>
                    <a:pt x="232" y="36"/>
                  </a:lnTo>
                  <a:lnTo>
                    <a:pt x="232" y="40"/>
                  </a:lnTo>
                  <a:lnTo>
                    <a:pt x="236" y="40"/>
                  </a:lnTo>
                  <a:lnTo>
                    <a:pt x="232" y="40"/>
                  </a:lnTo>
                  <a:lnTo>
                    <a:pt x="232" y="44"/>
                  </a:lnTo>
                  <a:lnTo>
                    <a:pt x="228" y="44"/>
                  </a:lnTo>
                  <a:lnTo>
                    <a:pt x="224" y="44"/>
                  </a:lnTo>
                  <a:lnTo>
                    <a:pt x="220" y="44"/>
                  </a:lnTo>
                  <a:lnTo>
                    <a:pt x="216" y="44"/>
                  </a:lnTo>
                  <a:lnTo>
                    <a:pt x="212" y="44"/>
                  </a:lnTo>
                  <a:lnTo>
                    <a:pt x="208" y="44"/>
                  </a:lnTo>
                  <a:lnTo>
                    <a:pt x="208" y="48"/>
                  </a:lnTo>
                  <a:lnTo>
                    <a:pt x="204" y="48"/>
                  </a:lnTo>
                  <a:lnTo>
                    <a:pt x="200" y="48"/>
                  </a:lnTo>
                  <a:lnTo>
                    <a:pt x="196" y="48"/>
                  </a:lnTo>
                  <a:lnTo>
                    <a:pt x="192" y="48"/>
                  </a:lnTo>
                  <a:lnTo>
                    <a:pt x="188" y="48"/>
                  </a:lnTo>
                  <a:lnTo>
                    <a:pt x="184" y="48"/>
                  </a:lnTo>
                  <a:lnTo>
                    <a:pt x="184" y="44"/>
                  </a:lnTo>
                  <a:lnTo>
                    <a:pt x="188" y="44"/>
                  </a:lnTo>
                  <a:lnTo>
                    <a:pt x="184" y="44"/>
                  </a:lnTo>
                  <a:lnTo>
                    <a:pt x="180" y="44"/>
                  </a:lnTo>
                  <a:lnTo>
                    <a:pt x="176" y="44"/>
                  </a:lnTo>
                  <a:lnTo>
                    <a:pt x="172" y="44"/>
                  </a:lnTo>
                  <a:lnTo>
                    <a:pt x="168" y="44"/>
                  </a:lnTo>
                  <a:lnTo>
                    <a:pt x="164" y="44"/>
                  </a:lnTo>
                  <a:lnTo>
                    <a:pt x="160" y="44"/>
                  </a:lnTo>
                  <a:lnTo>
                    <a:pt x="156" y="44"/>
                  </a:lnTo>
                  <a:lnTo>
                    <a:pt x="156" y="40"/>
                  </a:lnTo>
                  <a:lnTo>
                    <a:pt x="152" y="40"/>
                  </a:lnTo>
                  <a:lnTo>
                    <a:pt x="148" y="40"/>
                  </a:lnTo>
                  <a:lnTo>
                    <a:pt x="144" y="40"/>
                  </a:lnTo>
                  <a:lnTo>
                    <a:pt x="140" y="40"/>
                  </a:lnTo>
                  <a:lnTo>
                    <a:pt x="140" y="36"/>
                  </a:lnTo>
                  <a:lnTo>
                    <a:pt x="144" y="36"/>
                  </a:lnTo>
                  <a:lnTo>
                    <a:pt x="148" y="36"/>
                  </a:lnTo>
                  <a:lnTo>
                    <a:pt x="152" y="36"/>
                  </a:lnTo>
                  <a:lnTo>
                    <a:pt x="156" y="36"/>
                  </a:lnTo>
                  <a:lnTo>
                    <a:pt x="160" y="36"/>
                  </a:lnTo>
                  <a:lnTo>
                    <a:pt x="156" y="36"/>
                  </a:lnTo>
                  <a:lnTo>
                    <a:pt x="152" y="36"/>
                  </a:lnTo>
                  <a:lnTo>
                    <a:pt x="160" y="32"/>
                  </a:lnTo>
                  <a:lnTo>
                    <a:pt x="164" y="32"/>
                  </a:lnTo>
                  <a:lnTo>
                    <a:pt x="168" y="32"/>
                  </a:lnTo>
                  <a:lnTo>
                    <a:pt x="172" y="32"/>
                  </a:lnTo>
                  <a:lnTo>
                    <a:pt x="176" y="32"/>
                  </a:lnTo>
                  <a:lnTo>
                    <a:pt x="180" y="32"/>
                  </a:lnTo>
                  <a:lnTo>
                    <a:pt x="176" y="32"/>
                  </a:lnTo>
                  <a:lnTo>
                    <a:pt x="172" y="32"/>
                  </a:lnTo>
                  <a:lnTo>
                    <a:pt x="168" y="32"/>
                  </a:lnTo>
                  <a:lnTo>
                    <a:pt x="172" y="32"/>
                  </a:lnTo>
                  <a:lnTo>
                    <a:pt x="172" y="28"/>
                  </a:lnTo>
                  <a:lnTo>
                    <a:pt x="168" y="28"/>
                  </a:lnTo>
                  <a:lnTo>
                    <a:pt x="164" y="28"/>
                  </a:lnTo>
                  <a:lnTo>
                    <a:pt x="160" y="28"/>
                  </a:lnTo>
                  <a:lnTo>
                    <a:pt x="156" y="32"/>
                  </a:lnTo>
                  <a:lnTo>
                    <a:pt x="152" y="32"/>
                  </a:lnTo>
                  <a:lnTo>
                    <a:pt x="148" y="32"/>
                  </a:lnTo>
                  <a:lnTo>
                    <a:pt x="144" y="32"/>
                  </a:lnTo>
                  <a:lnTo>
                    <a:pt x="136" y="32"/>
                  </a:lnTo>
                  <a:lnTo>
                    <a:pt x="128" y="32"/>
                  </a:lnTo>
                  <a:lnTo>
                    <a:pt x="124" y="32"/>
                  </a:lnTo>
                  <a:lnTo>
                    <a:pt x="120" y="32"/>
                  </a:lnTo>
                  <a:lnTo>
                    <a:pt x="116" y="28"/>
                  </a:lnTo>
                  <a:lnTo>
                    <a:pt x="120" y="24"/>
                  </a:lnTo>
                  <a:lnTo>
                    <a:pt x="124" y="24"/>
                  </a:lnTo>
                  <a:lnTo>
                    <a:pt x="120" y="24"/>
                  </a:lnTo>
                  <a:lnTo>
                    <a:pt x="116" y="24"/>
                  </a:lnTo>
                  <a:lnTo>
                    <a:pt x="116" y="20"/>
                  </a:lnTo>
                  <a:lnTo>
                    <a:pt x="116" y="24"/>
                  </a:lnTo>
                  <a:lnTo>
                    <a:pt x="120" y="20"/>
                  </a:lnTo>
                  <a:lnTo>
                    <a:pt x="116" y="20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20" y="20"/>
                  </a:lnTo>
                  <a:lnTo>
                    <a:pt x="124" y="20"/>
                  </a:lnTo>
                  <a:lnTo>
                    <a:pt x="128" y="20"/>
                  </a:lnTo>
                  <a:lnTo>
                    <a:pt x="132" y="20"/>
                  </a:lnTo>
                  <a:lnTo>
                    <a:pt x="136" y="20"/>
                  </a:lnTo>
                  <a:lnTo>
                    <a:pt x="132" y="20"/>
                  </a:lnTo>
                  <a:lnTo>
                    <a:pt x="132" y="16"/>
                  </a:lnTo>
                  <a:lnTo>
                    <a:pt x="128" y="16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6"/>
                  </a:lnTo>
                  <a:lnTo>
                    <a:pt x="140" y="16"/>
                  </a:lnTo>
                  <a:lnTo>
                    <a:pt x="140" y="12"/>
                  </a:lnTo>
                  <a:lnTo>
                    <a:pt x="144" y="12"/>
                  </a:lnTo>
                  <a:lnTo>
                    <a:pt x="140" y="12"/>
                  </a:lnTo>
                  <a:lnTo>
                    <a:pt x="136" y="12"/>
                  </a:lnTo>
                  <a:lnTo>
                    <a:pt x="136" y="8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4" y="12"/>
                  </a:lnTo>
                  <a:lnTo>
                    <a:pt x="148" y="12"/>
                  </a:lnTo>
                  <a:lnTo>
                    <a:pt x="152" y="12"/>
                  </a:lnTo>
                  <a:lnTo>
                    <a:pt x="152" y="16"/>
                  </a:lnTo>
                  <a:lnTo>
                    <a:pt x="156" y="16"/>
                  </a:lnTo>
                  <a:lnTo>
                    <a:pt x="160" y="16"/>
                  </a:lnTo>
                  <a:lnTo>
                    <a:pt x="164" y="16"/>
                  </a:lnTo>
                  <a:lnTo>
                    <a:pt x="168" y="16"/>
                  </a:lnTo>
                  <a:lnTo>
                    <a:pt x="172" y="16"/>
                  </a:lnTo>
                  <a:lnTo>
                    <a:pt x="172" y="20"/>
                  </a:lnTo>
                  <a:lnTo>
                    <a:pt x="168" y="20"/>
                  </a:lnTo>
                  <a:lnTo>
                    <a:pt x="172" y="20"/>
                  </a:lnTo>
                  <a:lnTo>
                    <a:pt x="176" y="20"/>
                  </a:lnTo>
                  <a:lnTo>
                    <a:pt x="176" y="24"/>
                  </a:lnTo>
                  <a:lnTo>
                    <a:pt x="180" y="24"/>
                  </a:lnTo>
                  <a:lnTo>
                    <a:pt x="180" y="20"/>
                  </a:lnTo>
                  <a:lnTo>
                    <a:pt x="180" y="16"/>
                  </a:lnTo>
                  <a:lnTo>
                    <a:pt x="184" y="16"/>
                  </a:lnTo>
                  <a:lnTo>
                    <a:pt x="180" y="16"/>
                  </a:lnTo>
                  <a:lnTo>
                    <a:pt x="180" y="12"/>
                  </a:lnTo>
                  <a:lnTo>
                    <a:pt x="184" y="12"/>
                  </a:lnTo>
                  <a:lnTo>
                    <a:pt x="184" y="16"/>
                  </a:lnTo>
                  <a:lnTo>
                    <a:pt x="188" y="12"/>
                  </a:lnTo>
                  <a:lnTo>
                    <a:pt x="188" y="8"/>
                  </a:lnTo>
                  <a:lnTo>
                    <a:pt x="192" y="8"/>
                  </a:lnTo>
                  <a:lnTo>
                    <a:pt x="192" y="12"/>
                  </a:lnTo>
                  <a:lnTo>
                    <a:pt x="196" y="12"/>
                  </a:lnTo>
                  <a:lnTo>
                    <a:pt x="192" y="12"/>
                  </a:lnTo>
                  <a:lnTo>
                    <a:pt x="196" y="12"/>
                  </a:lnTo>
                  <a:lnTo>
                    <a:pt x="192" y="16"/>
                  </a:lnTo>
                  <a:lnTo>
                    <a:pt x="188" y="16"/>
                  </a:lnTo>
                  <a:lnTo>
                    <a:pt x="188" y="20"/>
                  </a:lnTo>
                  <a:lnTo>
                    <a:pt x="192" y="20"/>
                  </a:lnTo>
                  <a:lnTo>
                    <a:pt x="196" y="16"/>
                  </a:lnTo>
                  <a:lnTo>
                    <a:pt x="196" y="20"/>
                  </a:lnTo>
                  <a:lnTo>
                    <a:pt x="200" y="20"/>
                  </a:lnTo>
                  <a:lnTo>
                    <a:pt x="200" y="16"/>
                  </a:lnTo>
                  <a:lnTo>
                    <a:pt x="204" y="16"/>
                  </a:lnTo>
                  <a:lnTo>
                    <a:pt x="208" y="16"/>
                  </a:lnTo>
                  <a:lnTo>
                    <a:pt x="212" y="16"/>
                  </a:lnTo>
                  <a:lnTo>
                    <a:pt x="208" y="12"/>
                  </a:lnTo>
                  <a:lnTo>
                    <a:pt x="212" y="12"/>
                  </a:lnTo>
                  <a:lnTo>
                    <a:pt x="212" y="16"/>
                  </a:lnTo>
                  <a:lnTo>
                    <a:pt x="216" y="16"/>
                  </a:lnTo>
                  <a:lnTo>
                    <a:pt x="216" y="12"/>
                  </a:lnTo>
                  <a:lnTo>
                    <a:pt x="216" y="16"/>
                  </a:lnTo>
                  <a:lnTo>
                    <a:pt x="220" y="16"/>
                  </a:lnTo>
                  <a:lnTo>
                    <a:pt x="224" y="16"/>
                  </a:lnTo>
                  <a:lnTo>
                    <a:pt x="228" y="16"/>
                  </a:lnTo>
                  <a:lnTo>
                    <a:pt x="232" y="16"/>
                  </a:lnTo>
                  <a:lnTo>
                    <a:pt x="232" y="20"/>
                  </a:lnTo>
                  <a:lnTo>
                    <a:pt x="236" y="20"/>
                  </a:lnTo>
                  <a:lnTo>
                    <a:pt x="240" y="20"/>
                  </a:lnTo>
                  <a:lnTo>
                    <a:pt x="244" y="20"/>
                  </a:lnTo>
                  <a:lnTo>
                    <a:pt x="248" y="20"/>
                  </a:lnTo>
                  <a:lnTo>
                    <a:pt x="252" y="20"/>
                  </a:lnTo>
                  <a:lnTo>
                    <a:pt x="252" y="24"/>
                  </a:lnTo>
                  <a:close/>
                  <a:moveTo>
                    <a:pt x="60" y="111"/>
                  </a:moveTo>
                  <a:lnTo>
                    <a:pt x="56" y="107"/>
                  </a:lnTo>
                  <a:lnTo>
                    <a:pt x="56" y="103"/>
                  </a:lnTo>
                  <a:lnTo>
                    <a:pt x="52" y="103"/>
                  </a:lnTo>
                  <a:lnTo>
                    <a:pt x="52" y="99"/>
                  </a:lnTo>
                  <a:lnTo>
                    <a:pt x="56" y="99"/>
                  </a:lnTo>
                  <a:lnTo>
                    <a:pt x="60" y="99"/>
                  </a:lnTo>
                  <a:lnTo>
                    <a:pt x="64" y="99"/>
                  </a:lnTo>
                  <a:lnTo>
                    <a:pt x="68" y="99"/>
                  </a:lnTo>
                  <a:lnTo>
                    <a:pt x="72" y="99"/>
                  </a:lnTo>
                  <a:lnTo>
                    <a:pt x="76" y="99"/>
                  </a:lnTo>
                  <a:lnTo>
                    <a:pt x="80" y="99"/>
                  </a:lnTo>
                  <a:lnTo>
                    <a:pt x="84" y="99"/>
                  </a:lnTo>
                  <a:lnTo>
                    <a:pt x="84" y="103"/>
                  </a:lnTo>
                  <a:lnTo>
                    <a:pt x="88" y="103"/>
                  </a:lnTo>
                  <a:lnTo>
                    <a:pt x="88" y="99"/>
                  </a:lnTo>
                  <a:lnTo>
                    <a:pt x="84" y="99"/>
                  </a:lnTo>
                  <a:lnTo>
                    <a:pt x="80" y="99"/>
                  </a:lnTo>
                  <a:lnTo>
                    <a:pt x="76" y="99"/>
                  </a:lnTo>
                  <a:lnTo>
                    <a:pt x="72" y="95"/>
                  </a:lnTo>
                  <a:lnTo>
                    <a:pt x="68" y="95"/>
                  </a:lnTo>
                  <a:lnTo>
                    <a:pt x="64" y="95"/>
                  </a:lnTo>
                  <a:lnTo>
                    <a:pt x="68" y="95"/>
                  </a:lnTo>
                  <a:lnTo>
                    <a:pt x="72" y="95"/>
                  </a:lnTo>
                  <a:lnTo>
                    <a:pt x="76" y="92"/>
                  </a:lnTo>
                  <a:lnTo>
                    <a:pt x="80" y="92"/>
                  </a:lnTo>
                  <a:lnTo>
                    <a:pt x="84" y="92"/>
                  </a:lnTo>
                  <a:lnTo>
                    <a:pt x="88" y="92"/>
                  </a:lnTo>
                  <a:lnTo>
                    <a:pt x="92" y="92"/>
                  </a:lnTo>
                  <a:lnTo>
                    <a:pt x="96" y="92"/>
                  </a:lnTo>
                  <a:lnTo>
                    <a:pt x="96" y="88"/>
                  </a:lnTo>
                  <a:lnTo>
                    <a:pt x="100" y="88"/>
                  </a:lnTo>
                  <a:lnTo>
                    <a:pt x="96" y="88"/>
                  </a:lnTo>
                  <a:lnTo>
                    <a:pt x="92" y="88"/>
                  </a:lnTo>
                  <a:lnTo>
                    <a:pt x="92" y="92"/>
                  </a:lnTo>
                  <a:lnTo>
                    <a:pt x="88" y="92"/>
                  </a:lnTo>
                  <a:lnTo>
                    <a:pt x="84" y="92"/>
                  </a:lnTo>
                  <a:lnTo>
                    <a:pt x="80" y="92"/>
                  </a:lnTo>
                  <a:lnTo>
                    <a:pt x="76" y="88"/>
                  </a:lnTo>
                  <a:lnTo>
                    <a:pt x="72" y="88"/>
                  </a:lnTo>
                  <a:lnTo>
                    <a:pt x="72" y="92"/>
                  </a:lnTo>
                  <a:lnTo>
                    <a:pt x="68" y="92"/>
                  </a:lnTo>
                  <a:lnTo>
                    <a:pt x="64" y="92"/>
                  </a:lnTo>
                  <a:lnTo>
                    <a:pt x="60" y="92"/>
                  </a:lnTo>
                  <a:lnTo>
                    <a:pt x="56" y="92"/>
                  </a:lnTo>
                  <a:lnTo>
                    <a:pt x="52" y="92"/>
                  </a:lnTo>
                  <a:lnTo>
                    <a:pt x="52" y="95"/>
                  </a:lnTo>
                  <a:lnTo>
                    <a:pt x="48" y="92"/>
                  </a:lnTo>
                  <a:lnTo>
                    <a:pt x="48" y="88"/>
                  </a:lnTo>
                  <a:lnTo>
                    <a:pt x="48" y="84"/>
                  </a:lnTo>
                  <a:lnTo>
                    <a:pt x="52" y="84"/>
                  </a:lnTo>
                  <a:lnTo>
                    <a:pt x="56" y="84"/>
                  </a:lnTo>
                  <a:lnTo>
                    <a:pt x="56" y="88"/>
                  </a:lnTo>
                  <a:lnTo>
                    <a:pt x="60" y="88"/>
                  </a:lnTo>
                  <a:lnTo>
                    <a:pt x="56" y="84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8" y="84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76" y="76"/>
                  </a:lnTo>
                  <a:lnTo>
                    <a:pt x="80" y="76"/>
                  </a:lnTo>
                  <a:lnTo>
                    <a:pt x="84" y="76"/>
                  </a:lnTo>
                  <a:lnTo>
                    <a:pt x="88" y="76"/>
                  </a:lnTo>
                  <a:lnTo>
                    <a:pt x="92" y="76"/>
                  </a:lnTo>
                  <a:lnTo>
                    <a:pt x="96" y="76"/>
                  </a:lnTo>
                  <a:lnTo>
                    <a:pt x="100" y="76"/>
                  </a:lnTo>
                  <a:lnTo>
                    <a:pt x="104" y="72"/>
                  </a:lnTo>
                  <a:lnTo>
                    <a:pt x="100" y="72"/>
                  </a:lnTo>
                  <a:lnTo>
                    <a:pt x="96" y="72"/>
                  </a:lnTo>
                  <a:lnTo>
                    <a:pt x="96" y="76"/>
                  </a:lnTo>
                  <a:lnTo>
                    <a:pt x="96" y="72"/>
                  </a:lnTo>
                  <a:lnTo>
                    <a:pt x="92" y="72"/>
                  </a:lnTo>
                  <a:lnTo>
                    <a:pt x="88" y="72"/>
                  </a:lnTo>
                  <a:lnTo>
                    <a:pt x="88" y="68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64"/>
                  </a:lnTo>
                  <a:lnTo>
                    <a:pt x="92" y="64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76" y="72"/>
                  </a:lnTo>
                  <a:lnTo>
                    <a:pt x="72" y="72"/>
                  </a:lnTo>
                  <a:lnTo>
                    <a:pt x="72" y="68"/>
                  </a:lnTo>
                  <a:lnTo>
                    <a:pt x="76" y="68"/>
                  </a:lnTo>
                  <a:lnTo>
                    <a:pt x="76" y="64"/>
                  </a:lnTo>
                  <a:lnTo>
                    <a:pt x="76" y="60"/>
                  </a:lnTo>
                  <a:lnTo>
                    <a:pt x="72" y="60"/>
                  </a:lnTo>
                  <a:lnTo>
                    <a:pt x="72" y="64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80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4" y="80"/>
                  </a:lnTo>
                  <a:lnTo>
                    <a:pt x="40" y="80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28" y="72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16" y="60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20" y="56"/>
                  </a:lnTo>
                  <a:lnTo>
                    <a:pt x="24" y="60"/>
                  </a:lnTo>
                  <a:lnTo>
                    <a:pt x="28" y="60"/>
                  </a:lnTo>
                  <a:lnTo>
                    <a:pt x="28" y="56"/>
                  </a:lnTo>
                  <a:lnTo>
                    <a:pt x="24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48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52" y="44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2" y="40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80" y="48"/>
                  </a:lnTo>
                  <a:lnTo>
                    <a:pt x="80" y="52"/>
                  </a:lnTo>
                  <a:lnTo>
                    <a:pt x="84" y="52"/>
                  </a:lnTo>
                  <a:lnTo>
                    <a:pt x="84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92" y="56"/>
                  </a:lnTo>
                  <a:lnTo>
                    <a:pt x="88" y="56"/>
                  </a:lnTo>
                  <a:lnTo>
                    <a:pt x="88" y="52"/>
                  </a:lnTo>
                  <a:lnTo>
                    <a:pt x="84" y="52"/>
                  </a:lnTo>
                  <a:lnTo>
                    <a:pt x="84" y="48"/>
                  </a:lnTo>
                  <a:lnTo>
                    <a:pt x="84" y="44"/>
                  </a:lnTo>
                  <a:lnTo>
                    <a:pt x="80" y="44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0" y="32"/>
                  </a:lnTo>
                  <a:lnTo>
                    <a:pt x="76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4" y="28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8" y="28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12" y="32"/>
                  </a:lnTo>
                  <a:lnTo>
                    <a:pt x="112" y="36"/>
                  </a:lnTo>
                  <a:lnTo>
                    <a:pt x="108" y="40"/>
                  </a:lnTo>
                  <a:lnTo>
                    <a:pt x="108" y="44"/>
                  </a:lnTo>
                  <a:lnTo>
                    <a:pt x="112" y="44"/>
                  </a:lnTo>
                  <a:lnTo>
                    <a:pt x="112" y="40"/>
                  </a:lnTo>
                  <a:lnTo>
                    <a:pt x="116" y="36"/>
                  </a:lnTo>
                  <a:lnTo>
                    <a:pt x="120" y="36"/>
                  </a:lnTo>
                  <a:lnTo>
                    <a:pt x="124" y="36"/>
                  </a:lnTo>
                  <a:lnTo>
                    <a:pt x="124" y="40"/>
                  </a:lnTo>
                  <a:lnTo>
                    <a:pt x="128" y="40"/>
                  </a:lnTo>
                  <a:lnTo>
                    <a:pt x="128" y="44"/>
                  </a:lnTo>
                  <a:lnTo>
                    <a:pt x="128" y="48"/>
                  </a:lnTo>
                  <a:lnTo>
                    <a:pt x="128" y="52"/>
                  </a:lnTo>
                  <a:lnTo>
                    <a:pt x="132" y="52"/>
                  </a:lnTo>
                  <a:lnTo>
                    <a:pt x="132" y="48"/>
                  </a:lnTo>
                  <a:lnTo>
                    <a:pt x="140" y="52"/>
                  </a:lnTo>
                  <a:lnTo>
                    <a:pt x="144" y="56"/>
                  </a:lnTo>
                  <a:lnTo>
                    <a:pt x="148" y="56"/>
                  </a:lnTo>
                  <a:lnTo>
                    <a:pt x="152" y="56"/>
                  </a:lnTo>
                  <a:lnTo>
                    <a:pt x="156" y="56"/>
                  </a:lnTo>
                  <a:lnTo>
                    <a:pt x="160" y="56"/>
                  </a:lnTo>
                  <a:lnTo>
                    <a:pt x="160" y="60"/>
                  </a:lnTo>
                  <a:lnTo>
                    <a:pt x="164" y="60"/>
                  </a:lnTo>
                  <a:lnTo>
                    <a:pt x="168" y="60"/>
                  </a:lnTo>
                  <a:lnTo>
                    <a:pt x="168" y="64"/>
                  </a:lnTo>
                  <a:lnTo>
                    <a:pt x="164" y="64"/>
                  </a:lnTo>
                  <a:lnTo>
                    <a:pt x="160" y="64"/>
                  </a:lnTo>
                  <a:lnTo>
                    <a:pt x="160" y="68"/>
                  </a:lnTo>
                  <a:lnTo>
                    <a:pt x="156" y="64"/>
                  </a:lnTo>
                  <a:lnTo>
                    <a:pt x="152" y="64"/>
                  </a:lnTo>
                  <a:lnTo>
                    <a:pt x="152" y="68"/>
                  </a:lnTo>
                  <a:lnTo>
                    <a:pt x="148" y="68"/>
                  </a:lnTo>
                  <a:lnTo>
                    <a:pt x="144" y="68"/>
                  </a:lnTo>
                  <a:lnTo>
                    <a:pt x="140" y="68"/>
                  </a:lnTo>
                  <a:lnTo>
                    <a:pt x="136" y="68"/>
                  </a:lnTo>
                  <a:lnTo>
                    <a:pt x="140" y="68"/>
                  </a:lnTo>
                  <a:lnTo>
                    <a:pt x="140" y="72"/>
                  </a:lnTo>
                  <a:lnTo>
                    <a:pt x="136" y="72"/>
                  </a:lnTo>
                  <a:lnTo>
                    <a:pt x="132" y="72"/>
                  </a:lnTo>
                  <a:lnTo>
                    <a:pt x="128" y="72"/>
                  </a:lnTo>
                  <a:lnTo>
                    <a:pt x="128" y="76"/>
                  </a:lnTo>
                  <a:lnTo>
                    <a:pt x="128" y="80"/>
                  </a:lnTo>
                  <a:lnTo>
                    <a:pt x="128" y="84"/>
                  </a:lnTo>
                  <a:lnTo>
                    <a:pt x="124" y="84"/>
                  </a:lnTo>
                  <a:lnTo>
                    <a:pt x="120" y="84"/>
                  </a:lnTo>
                  <a:lnTo>
                    <a:pt x="120" y="88"/>
                  </a:lnTo>
                  <a:lnTo>
                    <a:pt x="120" y="92"/>
                  </a:lnTo>
                  <a:lnTo>
                    <a:pt x="120" y="95"/>
                  </a:lnTo>
                  <a:lnTo>
                    <a:pt x="116" y="99"/>
                  </a:lnTo>
                  <a:lnTo>
                    <a:pt x="112" y="99"/>
                  </a:lnTo>
                  <a:lnTo>
                    <a:pt x="108" y="99"/>
                  </a:lnTo>
                  <a:lnTo>
                    <a:pt x="108" y="103"/>
                  </a:lnTo>
                  <a:lnTo>
                    <a:pt x="104" y="107"/>
                  </a:lnTo>
                  <a:lnTo>
                    <a:pt x="104" y="111"/>
                  </a:lnTo>
                  <a:lnTo>
                    <a:pt x="104" y="115"/>
                  </a:lnTo>
                  <a:lnTo>
                    <a:pt x="100" y="115"/>
                  </a:lnTo>
                  <a:lnTo>
                    <a:pt x="104" y="115"/>
                  </a:lnTo>
                  <a:lnTo>
                    <a:pt x="100" y="119"/>
                  </a:lnTo>
                  <a:lnTo>
                    <a:pt x="96" y="119"/>
                  </a:lnTo>
                  <a:lnTo>
                    <a:pt x="96" y="123"/>
                  </a:lnTo>
                  <a:lnTo>
                    <a:pt x="100" y="123"/>
                  </a:lnTo>
                  <a:lnTo>
                    <a:pt x="100" y="127"/>
                  </a:lnTo>
                  <a:lnTo>
                    <a:pt x="96" y="127"/>
                  </a:lnTo>
                  <a:lnTo>
                    <a:pt x="92" y="127"/>
                  </a:lnTo>
                  <a:lnTo>
                    <a:pt x="88" y="127"/>
                  </a:lnTo>
                  <a:lnTo>
                    <a:pt x="88" y="123"/>
                  </a:lnTo>
                  <a:lnTo>
                    <a:pt x="84" y="123"/>
                  </a:lnTo>
                  <a:lnTo>
                    <a:pt x="80" y="123"/>
                  </a:lnTo>
                  <a:lnTo>
                    <a:pt x="80" y="119"/>
                  </a:lnTo>
                  <a:lnTo>
                    <a:pt x="76" y="119"/>
                  </a:lnTo>
                  <a:lnTo>
                    <a:pt x="80" y="119"/>
                  </a:lnTo>
                  <a:lnTo>
                    <a:pt x="80" y="115"/>
                  </a:lnTo>
                  <a:lnTo>
                    <a:pt x="84" y="115"/>
                  </a:lnTo>
                  <a:lnTo>
                    <a:pt x="88" y="115"/>
                  </a:lnTo>
                  <a:lnTo>
                    <a:pt x="92" y="115"/>
                  </a:lnTo>
                  <a:lnTo>
                    <a:pt x="88" y="115"/>
                  </a:lnTo>
                  <a:lnTo>
                    <a:pt x="84" y="115"/>
                  </a:lnTo>
                  <a:lnTo>
                    <a:pt x="84" y="111"/>
                  </a:lnTo>
                  <a:lnTo>
                    <a:pt x="80" y="115"/>
                  </a:lnTo>
                  <a:lnTo>
                    <a:pt x="76" y="115"/>
                  </a:lnTo>
                  <a:lnTo>
                    <a:pt x="72" y="115"/>
                  </a:lnTo>
                  <a:lnTo>
                    <a:pt x="68" y="115"/>
                  </a:lnTo>
                  <a:lnTo>
                    <a:pt x="68" y="111"/>
                  </a:lnTo>
                  <a:lnTo>
                    <a:pt x="64" y="111"/>
                  </a:lnTo>
                  <a:lnTo>
                    <a:pt x="60" y="111"/>
                  </a:lnTo>
                  <a:close/>
                  <a:moveTo>
                    <a:pt x="24" y="80"/>
                  </a:moveTo>
                  <a:lnTo>
                    <a:pt x="20" y="80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64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72"/>
                  </a:lnTo>
                  <a:lnTo>
                    <a:pt x="20" y="72"/>
                  </a:lnTo>
                  <a:lnTo>
                    <a:pt x="24" y="76"/>
                  </a:lnTo>
                  <a:lnTo>
                    <a:pt x="24" y="80"/>
                  </a:lnTo>
                  <a:close/>
                  <a:moveTo>
                    <a:pt x="144" y="72"/>
                  </a:moveTo>
                  <a:lnTo>
                    <a:pt x="148" y="72"/>
                  </a:lnTo>
                  <a:lnTo>
                    <a:pt x="152" y="68"/>
                  </a:lnTo>
                  <a:lnTo>
                    <a:pt x="156" y="68"/>
                  </a:lnTo>
                  <a:lnTo>
                    <a:pt x="160" y="68"/>
                  </a:lnTo>
                  <a:lnTo>
                    <a:pt x="164" y="68"/>
                  </a:lnTo>
                  <a:lnTo>
                    <a:pt x="168" y="68"/>
                  </a:lnTo>
                  <a:lnTo>
                    <a:pt x="172" y="68"/>
                  </a:lnTo>
                  <a:lnTo>
                    <a:pt x="176" y="68"/>
                  </a:lnTo>
                  <a:lnTo>
                    <a:pt x="176" y="72"/>
                  </a:lnTo>
                  <a:lnTo>
                    <a:pt x="176" y="76"/>
                  </a:lnTo>
                  <a:lnTo>
                    <a:pt x="180" y="76"/>
                  </a:lnTo>
                  <a:lnTo>
                    <a:pt x="176" y="80"/>
                  </a:lnTo>
                  <a:lnTo>
                    <a:pt x="172" y="80"/>
                  </a:lnTo>
                  <a:lnTo>
                    <a:pt x="172" y="76"/>
                  </a:lnTo>
                  <a:lnTo>
                    <a:pt x="168" y="80"/>
                  </a:lnTo>
                  <a:lnTo>
                    <a:pt x="164" y="80"/>
                  </a:lnTo>
                  <a:lnTo>
                    <a:pt x="160" y="80"/>
                  </a:lnTo>
                  <a:lnTo>
                    <a:pt x="156" y="80"/>
                  </a:lnTo>
                  <a:lnTo>
                    <a:pt x="152" y="80"/>
                  </a:lnTo>
                  <a:lnTo>
                    <a:pt x="156" y="80"/>
                  </a:lnTo>
                  <a:lnTo>
                    <a:pt x="156" y="76"/>
                  </a:lnTo>
                  <a:lnTo>
                    <a:pt x="152" y="76"/>
                  </a:lnTo>
                  <a:lnTo>
                    <a:pt x="152" y="72"/>
                  </a:lnTo>
                  <a:lnTo>
                    <a:pt x="148" y="72"/>
                  </a:lnTo>
                  <a:lnTo>
                    <a:pt x="144" y="72"/>
                  </a:lnTo>
                  <a:close/>
                  <a:moveTo>
                    <a:pt x="184" y="107"/>
                  </a:moveTo>
                  <a:lnTo>
                    <a:pt x="180" y="107"/>
                  </a:lnTo>
                  <a:lnTo>
                    <a:pt x="180" y="103"/>
                  </a:lnTo>
                  <a:lnTo>
                    <a:pt x="184" y="99"/>
                  </a:lnTo>
                  <a:lnTo>
                    <a:pt x="180" y="99"/>
                  </a:lnTo>
                  <a:lnTo>
                    <a:pt x="176" y="99"/>
                  </a:lnTo>
                  <a:lnTo>
                    <a:pt x="172" y="99"/>
                  </a:lnTo>
                  <a:lnTo>
                    <a:pt x="168" y="99"/>
                  </a:lnTo>
                  <a:lnTo>
                    <a:pt x="164" y="99"/>
                  </a:lnTo>
                  <a:lnTo>
                    <a:pt x="164" y="103"/>
                  </a:lnTo>
                  <a:lnTo>
                    <a:pt x="160" y="103"/>
                  </a:lnTo>
                  <a:lnTo>
                    <a:pt x="156" y="103"/>
                  </a:lnTo>
                  <a:lnTo>
                    <a:pt x="156" y="99"/>
                  </a:lnTo>
                  <a:lnTo>
                    <a:pt x="160" y="99"/>
                  </a:lnTo>
                  <a:lnTo>
                    <a:pt x="160" y="95"/>
                  </a:lnTo>
                  <a:lnTo>
                    <a:pt x="164" y="95"/>
                  </a:lnTo>
                  <a:lnTo>
                    <a:pt x="164" y="92"/>
                  </a:lnTo>
                  <a:lnTo>
                    <a:pt x="168" y="88"/>
                  </a:lnTo>
                  <a:lnTo>
                    <a:pt x="164" y="88"/>
                  </a:lnTo>
                  <a:lnTo>
                    <a:pt x="160" y="84"/>
                  </a:lnTo>
                  <a:lnTo>
                    <a:pt x="156" y="84"/>
                  </a:lnTo>
                  <a:lnTo>
                    <a:pt x="156" y="80"/>
                  </a:lnTo>
                  <a:lnTo>
                    <a:pt x="160" y="80"/>
                  </a:lnTo>
                  <a:lnTo>
                    <a:pt x="164" y="80"/>
                  </a:lnTo>
                  <a:lnTo>
                    <a:pt x="168" y="80"/>
                  </a:lnTo>
                  <a:lnTo>
                    <a:pt x="172" y="80"/>
                  </a:lnTo>
                  <a:lnTo>
                    <a:pt x="176" y="80"/>
                  </a:lnTo>
                  <a:lnTo>
                    <a:pt x="180" y="80"/>
                  </a:lnTo>
                  <a:lnTo>
                    <a:pt x="188" y="80"/>
                  </a:lnTo>
                  <a:lnTo>
                    <a:pt x="192" y="80"/>
                  </a:lnTo>
                  <a:lnTo>
                    <a:pt x="196" y="80"/>
                  </a:lnTo>
                  <a:lnTo>
                    <a:pt x="196" y="84"/>
                  </a:lnTo>
                  <a:lnTo>
                    <a:pt x="192" y="84"/>
                  </a:lnTo>
                  <a:lnTo>
                    <a:pt x="188" y="84"/>
                  </a:lnTo>
                  <a:lnTo>
                    <a:pt x="192" y="84"/>
                  </a:lnTo>
                  <a:lnTo>
                    <a:pt x="192" y="88"/>
                  </a:lnTo>
                  <a:lnTo>
                    <a:pt x="196" y="88"/>
                  </a:lnTo>
                  <a:lnTo>
                    <a:pt x="200" y="88"/>
                  </a:lnTo>
                  <a:lnTo>
                    <a:pt x="200" y="92"/>
                  </a:lnTo>
                  <a:lnTo>
                    <a:pt x="204" y="92"/>
                  </a:lnTo>
                  <a:lnTo>
                    <a:pt x="204" y="88"/>
                  </a:lnTo>
                  <a:lnTo>
                    <a:pt x="208" y="88"/>
                  </a:lnTo>
                  <a:lnTo>
                    <a:pt x="212" y="92"/>
                  </a:lnTo>
                  <a:lnTo>
                    <a:pt x="216" y="92"/>
                  </a:lnTo>
                  <a:lnTo>
                    <a:pt x="220" y="92"/>
                  </a:lnTo>
                  <a:lnTo>
                    <a:pt x="216" y="92"/>
                  </a:lnTo>
                  <a:lnTo>
                    <a:pt x="212" y="95"/>
                  </a:lnTo>
                  <a:lnTo>
                    <a:pt x="208" y="95"/>
                  </a:lnTo>
                  <a:lnTo>
                    <a:pt x="204" y="95"/>
                  </a:lnTo>
                  <a:lnTo>
                    <a:pt x="204" y="99"/>
                  </a:lnTo>
                  <a:lnTo>
                    <a:pt x="200" y="103"/>
                  </a:lnTo>
                  <a:lnTo>
                    <a:pt x="196" y="103"/>
                  </a:lnTo>
                  <a:lnTo>
                    <a:pt x="192" y="103"/>
                  </a:lnTo>
                  <a:lnTo>
                    <a:pt x="188" y="103"/>
                  </a:lnTo>
                  <a:lnTo>
                    <a:pt x="188" y="107"/>
                  </a:lnTo>
                  <a:lnTo>
                    <a:pt x="184" y="10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6" name="Freeform 113"/>
            <p:cNvSpPr>
              <a:spLocks noEditPoints="1"/>
            </p:cNvSpPr>
            <p:nvPr>
              <p:custDataLst>
                <p:tags r:id="rId309"/>
              </p:custDataLst>
            </p:nvPr>
          </p:nvSpPr>
          <p:spPr bwMode="gray">
            <a:xfrm>
              <a:off x="4623733" y="2455893"/>
              <a:ext cx="296613" cy="508690"/>
            </a:xfrm>
            <a:custGeom>
              <a:avLst/>
              <a:gdLst/>
              <a:ahLst/>
              <a:cxnLst>
                <a:cxn ang="0">
                  <a:pos x="112" y="247"/>
                </a:cxn>
                <a:cxn ang="0">
                  <a:pos x="104" y="255"/>
                </a:cxn>
                <a:cxn ang="0">
                  <a:pos x="84" y="267"/>
                </a:cxn>
                <a:cxn ang="0">
                  <a:pos x="80" y="271"/>
                </a:cxn>
                <a:cxn ang="0">
                  <a:pos x="88" y="283"/>
                </a:cxn>
                <a:cxn ang="0">
                  <a:pos x="80" y="299"/>
                </a:cxn>
                <a:cxn ang="0">
                  <a:pos x="68" y="323"/>
                </a:cxn>
                <a:cxn ang="0">
                  <a:pos x="48" y="335"/>
                </a:cxn>
                <a:cxn ang="0">
                  <a:pos x="32" y="343"/>
                </a:cxn>
                <a:cxn ang="0">
                  <a:pos x="28" y="323"/>
                </a:cxn>
                <a:cxn ang="0">
                  <a:pos x="20" y="303"/>
                </a:cxn>
                <a:cxn ang="0">
                  <a:pos x="8" y="283"/>
                </a:cxn>
                <a:cxn ang="0">
                  <a:pos x="4" y="263"/>
                </a:cxn>
                <a:cxn ang="0">
                  <a:pos x="8" y="259"/>
                </a:cxn>
                <a:cxn ang="0">
                  <a:pos x="16" y="235"/>
                </a:cxn>
                <a:cxn ang="0">
                  <a:pos x="20" y="211"/>
                </a:cxn>
                <a:cxn ang="0">
                  <a:pos x="24" y="195"/>
                </a:cxn>
                <a:cxn ang="0">
                  <a:pos x="16" y="172"/>
                </a:cxn>
                <a:cxn ang="0">
                  <a:pos x="16" y="144"/>
                </a:cxn>
                <a:cxn ang="0">
                  <a:pos x="48" y="120"/>
                </a:cxn>
                <a:cxn ang="0">
                  <a:pos x="48" y="104"/>
                </a:cxn>
                <a:cxn ang="0">
                  <a:pos x="56" y="80"/>
                </a:cxn>
                <a:cxn ang="0">
                  <a:pos x="80" y="56"/>
                </a:cxn>
                <a:cxn ang="0">
                  <a:pos x="84" y="32"/>
                </a:cxn>
                <a:cxn ang="0">
                  <a:pos x="108" y="20"/>
                </a:cxn>
                <a:cxn ang="0">
                  <a:pos x="136" y="20"/>
                </a:cxn>
                <a:cxn ang="0">
                  <a:pos x="148" y="4"/>
                </a:cxn>
                <a:cxn ang="0">
                  <a:pos x="172" y="16"/>
                </a:cxn>
                <a:cxn ang="0">
                  <a:pos x="188" y="44"/>
                </a:cxn>
                <a:cxn ang="0">
                  <a:pos x="192" y="68"/>
                </a:cxn>
                <a:cxn ang="0">
                  <a:pos x="188" y="88"/>
                </a:cxn>
                <a:cxn ang="0">
                  <a:pos x="168" y="92"/>
                </a:cxn>
                <a:cxn ang="0">
                  <a:pos x="168" y="96"/>
                </a:cxn>
                <a:cxn ang="0">
                  <a:pos x="160" y="104"/>
                </a:cxn>
                <a:cxn ang="0">
                  <a:pos x="152" y="116"/>
                </a:cxn>
                <a:cxn ang="0">
                  <a:pos x="156" y="128"/>
                </a:cxn>
                <a:cxn ang="0">
                  <a:pos x="132" y="144"/>
                </a:cxn>
                <a:cxn ang="0">
                  <a:pos x="124" y="152"/>
                </a:cxn>
                <a:cxn ang="0">
                  <a:pos x="112" y="160"/>
                </a:cxn>
                <a:cxn ang="0">
                  <a:pos x="104" y="160"/>
                </a:cxn>
                <a:cxn ang="0">
                  <a:pos x="96" y="180"/>
                </a:cxn>
                <a:cxn ang="0">
                  <a:pos x="92" y="191"/>
                </a:cxn>
                <a:cxn ang="0">
                  <a:pos x="96" y="219"/>
                </a:cxn>
                <a:cxn ang="0">
                  <a:pos x="116" y="227"/>
                </a:cxn>
                <a:cxn ang="0">
                  <a:pos x="112" y="247"/>
                </a:cxn>
                <a:cxn ang="0">
                  <a:pos x="100" y="239"/>
                </a:cxn>
                <a:cxn ang="0">
                  <a:pos x="100" y="243"/>
                </a:cxn>
                <a:cxn ang="0">
                  <a:pos x="84" y="243"/>
                </a:cxn>
                <a:cxn ang="0">
                  <a:pos x="92" y="247"/>
                </a:cxn>
                <a:cxn ang="0">
                  <a:pos x="100" y="176"/>
                </a:cxn>
                <a:cxn ang="0">
                  <a:pos x="100" y="251"/>
                </a:cxn>
                <a:cxn ang="0">
                  <a:pos x="112" y="227"/>
                </a:cxn>
                <a:cxn ang="0">
                  <a:pos x="8" y="279"/>
                </a:cxn>
                <a:cxn ang="0">
                  <a:pos x="116" y="295"/>
                </a:cxn>
                <a:cxn ang="0">
                  <a:pos x="108" y="291"/>
                </a:cxn>
                <a:cxn ang="0">
                  <a:pos x="84" y="307"/>
                </a:cxn>
                <a:cxn ang="0">
                  <a:pos x="88" y="307"/>
                </a:cxn>
              </a:cxnLst>
              <a:rect l="0" t="0" r="r" b="b"/>
              <a:pathLst>
                <a:path w="200" h="343">
                  <a:moveTo>
                    <a:pt x="96" y="251"/>
                  </a:moveTo>
                  <a:lnTo>
                    <a:pt x="100" y="251"/>
                  </a:lnTo>
                  <a:lnTo>
                    <a:pt x="104" y="251"/>
                  </a:lnTo>
                  <a:lnTo>
                    <a:pt x="104" y="247"/>
                  </a:lnTo>
                  <a:lnTo>
                    <a:pt x="104" y="251"/>
                  </a:lnTo>
                  <a:lnTo>
                    <a:pt x="108" y="251"/>
                  </a:lnTo>
                  <a:lnTo>
                    <a:pt x="108" y="247"/>
                  </a:lnTo>
                  <a:lnTo>
                    <a:pt x="112" y="247"/>
                  </a:lnTo>
                  <a:lnTo>
                    <a:pt x="112" y="251"/>
                  </a:lnTo>
                  <a:lnTo>
                    <a:pt x="112" y="247"/>
                  </a:lnTo>
                  <a:lnTo>
                    <a:pt x="116" y="247"/>
                  </a:lnTo>
                  <a:lnTo>
                    <a:pt x="116" y="251"/>
                  </a:lnTo>
                  <a:lnTo>
                    <a:pt x="112" y="251"/>
                  </a:lnTo>
                  <a:lnTo>
                    <a:pt x="108" y="251"/>
                  </a:lnTo>
                  <a:lnTo>
                    <a:pt x="108" y="255"/>
                  </a:lnTo>
                  <a:lnTo>
                    <a:pt x="104" y="255"/>
                  </a:lnTo>
                  <a:lnTo>
                    <a:pt x="104" y="259"/>
                  </a:lnTo>
                  <a:lnTo>
                    <a:pt x="100" y="255"/>
                  </a:lnTo>
                  <a:lnTo>
                    <a:pt x="100" y="259"/>
                  </a:lnTo>
                  <a:lnTo>
                    <a:pt x="96" y="263"/>
                  </a:lnTo>
                  <a:lnTo>
                    <a:pt x="92" y="263"/>
                  </a:lnTo>
                  <a:lnTo>
                    <a:pt x="92" y="267"/>
                  </a:lnTo>
                  <a:lnTo>
                    <a:pt x="88" y="267"/>
                  </a:lnTo>
                  <a:lnTo>
                    <a:pt x="84" y="267"/>
                  </a:lnTo>
                  <a:lnTo>
                    <a:pt x="80" y="267"/>
                  </a:lnTo>
                  <a:lnTo>
                    <a:pt x="76" y="267"/>
                  </a:lnTo>
                  <a:lnTo>
                    <a:pt x="80" y="267"/>
                  </a:lnTo>
                  <a:lnTo>
                    <a:pt x="84" y="267"/>
                  </a:lnTo>
                  <a:lnTo>
                    <a:pt x="88" y="267"/>
                  </a:lnTo>
                  <a:lnTo>
                    <a:pt x="88" y="271"/>
                  </a:lnTo>
                  <a:lnTo>
                    <a:pt x="84" y="271"/>
                  </a:lnTo>
                  <a:lnTo>
                    <a:pt x="80" y="271"/>
                  </a:lnTo>
                  <a:lnTo>
                    <a:pt x="84" y="271"/>
                  </a:lnTo>
                  <a:lnTo>
                    <a:pt x="88" y="271"/>
                  </a:lnTo>
                  <a:lnTo>
                    <a:pt x="88" y="275"/>
                  </a:lnTo>
                  <a:lnTo>
                    <a:pt x="88" y="279"/>
                  </a:lnTo>
                  <a:lnTo>
                    <a:pt x="84" y="279"/>
                  </a:lnTo>
                  <a:lnTo>
                    <a:pt x="88" y="279"/>
                  </a:lnTo>
                  <a:lnTo>
                    <a:pt x="84" y="283"/>
                  </a:lnTo>
                  <a:lnTo>
                    <a:pt x="88" y="283"/>
                  </a:lnTo>
                  <a:lnTo>
                    <a:pt x="84" y="283"/>
                  </a:lnTo>
                  <a:lnTo>
                    <a:pt x="84" y="287"/>
                  </a:lnTo>
                  <a:lnTo>
                    <a:pt x="80" y="283"/>
                  </a:lnTo>
                  <a:lnTo>
                    <a:pt x="84" y="287"/>
                  </a:lnTo>
                  <a:lnTo>
                    <a:pt x="84" y="291"/>
                  </a:lnTo>
                  <a:lnTo>
                    <a:pt x="84" y="295"/>
                  </a:lnTo>
                  <a:lnTo>
                    <a:pt x="84" y="299"/>
                  </a:lnTo>
                  <a:lnTo>
                    <a:pt x="80" y="299"/>
                  </a:lnTo>
                  <a:lnTo>
                    <a:pt x="84" y="303"/>
                  </a:lnTo>
                  <a:lnTo>
                    <a:pt x="80" y="307"/>
                  </a:lnTo>
                  <a:lnTo>
                    <a:pt x="80" y="311"/>
                  </a:lnTo>
                  <a:lnTo>
                    <a:pt x="80" y="315"/>
                  </a:lnTo>
                  <a:lnTo>
                    <a:pt x="76" y="319"/>
                  </a:lnTo>
                  <a:lnTo>
                    <a:pt x="76" y="323"/>
                  </a:lnTo>
                  <a:lnTo>
                    <a:pt x="72" y="327"/>
                  </a:lnTo>
                  <a:lnTo>
                    <a:pt x="68" y="323"/>
                  </a:lnTo>
                  <a:lnTo>
                    <a:pt x="64" y="327"/>
                  </a:lnTo>
                  <a:lnTo>
                    <a:pt x="60" y="323"/>
                  </a:lnTo>
                  <a:lnTo>
                    <a:pt x="56" y="323"/>
                  </a:lnTo>
                  <a:lnTo>
                    <a:pt x="56" y="327"/>
                  </a:lnTo>
                  <a:lnTo>
                    <a:pt x="52" y="327"/>
                  </a:lnTo>
                  <a:lnTo>
                    <a:pt x="52" y="331"/>
                  </a:lnTo>
                  <a:lnTo>
                    <a:pt x="48" y="331"/>
                  </a:lnTo>
                  <a:lnTo>
                    <a:pt x="48" y="335"/>
                  </a:lnTo>
                  <a:lnTo>
                    <a:pt x="48" y="339"/>
                  </a:lnTo>
                  <a:lnTo>
                    <a:pt x="52" y="339"/>
                  </a:lnTo>
                  <a:lnTo>
                    <a:pt x="48" y="339"/>
                  </a:lnTo>
                  <a:lnTo>
                    <a:pt x="48" y="343"/>
                  </a:lnTo>
                  <a:lnTo>
                    <a:pt x="44" y="343"/>
                  </a:lnTo>
                  <a:lnTo>
                    <a:pt x="40" y="343"/>
                  </a:lnTo>
                  <a:lnTo>
                    <a:pt x="36" y="343"/>
                  </a:lnTo>
                  <a:lnTo>
                    <a:pt x="32" y="343"/>
                  </a:lnTo>
                  <a:lnTo>
                    <a:pt x="28" y="343"/>
                  </a:lnTo>
                  <a:lnTo>
                    <a:pt x="28" y="339"/>
                  </a:lnTo>
                  <a:lnTo>
                    <a:pt x="32" y="335"/>
                  </a:lnTo>
                  <a:lnTo>
                    <a:pt x="28" y="331"/>
                  </a:lnTo>
                  <a:lnTo>
                    <a:pt x="24" y="327"/>
                  </a:lnTo>
                  <a:lnTo>
                    <a:pt x="20" y="323"/>
                  </a:lnTo>
                  <a:lnTo>
                    <a:pt x="24" y="323"/>
                  </a:lnTo>
                  <a:lnTo>
                    <a:pt x="28" y="323"/>
                  </a:lnTo>
                  <a:lnTo>
                    <a:pt x="24" y="319"/>
                  </a:lnTo>
                  <a:lnTo>
                    <a:pt x="28" y="319"/>
                  </a:lnTo>
                  <a:lnTo>
                    <a:pt x="28" y="315"/>
                  </a:lnTo>
                  <a:lnTo>
                    <a:pt x="24" y="315"/>
                  </a:lnTo>
                  <a:lnTo>
                    <a:pt x="24" y="311"/>
                  </a:lnTo>
                  <a:lnTo>
                    <a:pt x="24" y="307"/>
                  </a:lnTo>
                  <a:lnTo>
                    <a:pt x="20" y="307"/>
                  </a:lnTo>
                  <a:lnTo>
                    <a:pt x="20" y="303"/>
                  </a:lnTo>
                  <a:lnTo>
                    <a:pt x="16" y="303"/>
                  </a:lnTo>
                  <a:lnTo>
                    <a:pt x="16" y="299"/>
                  </a:lnTo>
                  <a:lnTo>
                    <a:pt x="16" y="295"/>
                  </a:lnTo>
                  <a:lnTo>
                    <a:pt x="12" y="295"/>
                  </a:lnTo>
                  <a:lnTo>
                    <a:pt x="12" y="291"/>
                  </a:lnTo>
                  <a:lnTo>
                    <a:pt x="12" y="287"/>
                  </a:lnTo>
                  <a:lnTo>
                    <a:pt x="8" y="287"/>
                  </a:lnTo>
                  <a:lnTo>
                    <a:pt x="8" y="283"/>
                  </a:lnTo>
                  <a:lnTo>
                    <a:pt x="12" y="283"/>
                  </a:lnTo>
                  <a:lnTo>
                    <a:pt x="12" y="279"/>
                  </a:lnTo>
                  <a:lnTo>
                    <a:pt x="12" y="275"/>
                  </a:lnTo>
                  <a:lnTo>
                    <a:pt x="8" y="275"/>
                  </a:lnTo>
                  <a:lnTo>
                    <a:pt x="4" y="275"/>
                  </a:lnTo>
                  <a:lnTo>
                    <a:pt x="4" y="271"/>
                  </a:lnTo>
                  <a:lnTo>
                    <a:pt x="4" y="267"/>
                  </a:lnTo>
                  <a:lnTo>
                    <a:pt x="4" y="263"/>
                  </a:lnTo>
                  <a:lnTo>
                    <a:pt x="0" y="263"/>
                  </a:lnTo>
                  <a:lnTo>
                    <a:pt x="4" y="263"/>
                  </a:lnTo>
                  <a:lnTo>
                    <a:pt x="4" y="259"/>
                  </a:lnTo>
                  <a:lnTo>
                    <a:pt x="0" y="259"/>
                  </a:lnTo>
                  <a:lnTo>
                    <a:pt x="0" y="255"/>
                  </a:lnTo>
                  <a:lnTo>
                    <a:pt x="4" y="255"/>
                  </a:lnTo>
                  <a:lnTo>
                    <a:pt x="4" y="259"/>
                  </a:lnTo>
                  <a:lnTo>
                    <a:pt x="8" y="259"/>
                  </a:lnTo>
                  <a:lnTo>
                    <a:pt x="12" y="255"/>
                  </a:lnTo>
                  <a:lnTo>
                    <a:pt x="12" y="251"/>
                  </a:lnTo>
                  <a:lnTo>
                    <a:pt x="12" y="247"/>
                  </a:lnTo>
                  <a:lnTo>
                    <a:pt x="8" y="243"/>
                  </a:lnTo>
                  <a:lnTo>
                    <a:pt x="12" y="243"/>
                  </a:lnTo>
                  <a:lnTo>
                    <a:pt x="12" y="239"/>
                  </a:lnTo>
                  <a:lnTo>
                    <a:pt x="12" y="235"/>
                  </a:lnTo>
                  <a:lnTo>
                    <a:pt x="16" y="235"/>
                  </a:lnTo>
                  <a:lnTo>
                    <a:pt x="20" y="235"/>
                  </a:lnTo>
                  <a:lnTo>
                    <a:pt x="20" y="231"/>
                  </a:lnTo>
                  <a:lnTo>
                    <a:pt x="20" y="227"/>
                  </a:lnTo>
                  <a:lnTo>
                    <a:pt x="24" y="223"/>
                  </a:lnTo>
                  <a:lnTo>
                    <a:pt x="24" y="219"/>
                  </a:lnTo>
                  <a:lnTo>
                    <a:pt x="20" y="219"/>
                  </a:lnTo>
                  <a:lnTo>
                    <a:pt x="20" y="215"/>
                  </a:lnTo>
                  <a:lnTo>
                    <a:pt x="20" y="211"/>
                  </a:lnTo>
                  <a:lnTo>
                    <a:pt x="16" y="207"/>
                  </a:lnTo>
                  <a:lnTo>
                    <a:pt x="20" y="207"/>
                  </a:lnTo>
                  <a:lnTo>
                    <a:pt x="24" y="207"/>
                  </a:lnTo>
                  <a:lnTo>
                    <a:pt x="24" y="203"/>
                  </a:lnTo>
                  <a:lnTo>
                    <a:pt x="28" y="203"/>
                  </a:lnTo>
                  <a:lnTo>
                    <a:pt x="28" y="199"/>
                  </a:lnTo>
                  <a:lnTo>
                    <a:pt x="24" y="199"/>
                  </a:lnTo>
                  <a:lnTo>
                    <a:pt x="24" y="195"/>
                  </a:lnTo>
                  <a:lnTo>
                    <a:pt x="20" y="195"/>
                  </a:lnTo>
                  <a:lnTo>
                    <a:pt x="16" y="191"/>
                  </a:lnTo>
                  <a:lnTo>
                    <a:pt x="16" y="188"/>
                  </a:lnTo>
                  <a:lnTo>
                    <a:pt x="16" y="184"/>
                  </a:lnTo>
                  <a:lnTo>
                    <a:pt x="20" y="180"/>
                  </a:lnTo>
                  <a:lnTo>
                    <a:pt x="20" y="176"/>
                  </a:lnTo>
                  <a:lnTo>
                    <a:pt x="16" y="176"/>
                  </a:lnTo>
                  <a:lnTo>
                    <a:pt x="16" y="172"/>
                  </a:lnTo>
                  <a:lnTo>
                    <a:pt x="16" y="168"/>
                  </a:lnTo>
                  <a:lnTo>
                    <a:pt x="16" y="164"/>
                  </a:lnTo>
                  <a:lnTo>
                    <a:pt x="16" y="160"/>
                  </a:lnTo>
                  <a:lnTo>
                    <a:pt x="16" y="156"/>
                  </a:lnTo>
                  <a:lnTo>
                    <a:pt x="12" y="152"/>
                  </a:lnTo>
                  <a:lnTo>
                    <a:pt x="16" y="152"/>
                  </a:lnTo>
                  <a:lnTo>
                    <a:pt x="16" y="148"/>
                  </a:lnTo>
                  <a:lnTo>
                    <a:pt x="16" y="144"/>
                  </a:lnTo>
                  <a:lnTo>
                    <a:pt x="20" y="140"/>
                  </a:lnTo>
                  <a:lnTo>
                    <a:pt x="24" y="136"/>
                  </a:lnTo>
                  <a:lnTo>
                    <a:pt x="28" y="132"/>
                  </a:lnTo>
                  <a:lnTo>
                    <a:pt x="32" y="132"/>
                  </a:lnTo>
                  <a:lnTo>
                    <a:pt x="44" y="132"/>
                  </a:lnTo>
                  <a:lnTo>
                    <a:pt x="48" y="128"/>
                  </a:lnTo>
                  <a:lnTo>
                    <a:pt x="48" y="124"/>
                  </a:lnTo>
                  <a:lnTo>
                    <a:pt x="48" y="120"/>
                  </a:lnTo>
                  <a:lnTo>
                    <a:pt x="44" y="120"/>
                  </a:lnTo>
                  <a:lnTo>
                    <a:pt x="40" y="120"/>
                  </a:lnTo>
                  <a:lnTo>
                    <a:pt x="40" y="116"/>
                  </a:lnTo>
                  <a:lnTo>
                    <a:pt x="44" y="116"/>
                  </a:lnTo>
                  <a:lnTo>
                    <a:pt x="44" y="112"/>
                  </a:lnTo>
                  <a:lnTo>
                    <a:pt x="44" y="108"/>
                  </a:lnTo>
                  <a:lnTo>
                    <a:pt x="48" y="108"/>
                  </a:lnTo>
                  <a:lnTo>
                    <a:pt x="48" y="104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88"/>
                  </a:lnTo>
                  <a:lnTo>
                    <a:pt x="56" y="88"/>
                  </a:lnTo>
                  <a:lnTo>
                    <a:pt x="52" y="84"/>
                  </a:lnTo>
                  <a:lnTo>
                    <a:pt x="52" y="80"/>
                  </a:lnTo>
                  <a:lnTo>
                    <a:pt x="56" y="80"/>
                  </a:lnTo>
                  <a:lnTo>
                    <a:pt x="60" y="80"/>
                  </a:lnTo>
                  <a:lnTo>
                    <a:pt x="68" y="76"/>
                  </a:lnTo>
                  <a:lnTo>
                    <a:pt x="64" y="72"/>
                  </a:lnTo>
                  <a:lnTo>
                    <a:pt x="64" y="68"/>
                  </a:lnTo>
                  <a:lnTo>
                    <a:pt x="68" y="68"/>
                  </a:lnTo>
                  <a:lnTo>
                    <a:pt x="72" y="64"/>
                  </a:lnTo>
                  <a:lnTo>
                    <a:pt x="76" y="60"/>
                  </a:lnTo>
                  <a:lnTo>
                    <a:pt x="80" y="56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76" y="48"/>
                  </a:lnTo>
                  <a:lnTo>
                    <a:pt x="76" y="44"/>
                  </a:lnTo>
                  <a:lnTo>
                    <a:pt x="80" y="44"/>
                  </a:lnTo>
                  <a:lnTo>
                    <a:pt x="84" y="40"/>
                  </a:lnTo>
                  <a:lnTo>
                    <a:pt x="84" y="36"/>
                  </a:lnTo>
                  <a:lnTo>
                    <a:pt x="84" y="32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28"/>
                  </a:lnTo>
                  <a:lnTo>
                    <a:pt x="108" y="24"/>
                  </a:lnTo>
                  <a:lnTo>
                    <a:pt x="108" y="20"/>
                  </a:lnTo>
                  <a:lnTo>
                    <a:pt x="104" y="20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6" y="16"/>
                  </a:lnTo>
                  <a:lnTo>
                    <a:pt x="120" y="16"/>
                  </a:lnTo>
                  <a:lnTo>
                    <a:pt x="128" y="20"/>
                  </a:lnTo>
                  <a:lnTo>
                    <a:pt x="132" y="20"/>
                  </a:lnTo>
                  <a:lnTo>
                    <a:pt x="136" y="20"/>
                  </a:lnTo>
                  <a:lnTo>
                    <a:pt x="140" y="16"/>
                  </a:lnTo>
                  <a:lnTo>
                    <a:pt x="136" y="16"/>
                  </a:lnTo>
                  <a:lnTo>
                    <a:pt x="140" y="12"/>
                  </a:lnTo>
                  <a:lnTo>
                    <a:pt x="140" y="8"/>
                  </a:lnTo>
                  <a:lnTo>
                    <a:pt x="140" y="4"/>
                  </a:lnTo>
                  <a:lnTo>
                    <a:pt x="136" y="0"/>
                  </a:lnTo>
                  <a:lnTo>
                    <a:pt x="144" y="0"/>
                  </a:lnTo>
                  <a:lnTo>
                    <a:pt x="148" y="4"/>
                  </a:lnTo>
                  <a:lnTo>
                    <a:pt x="152" y="8"/>
                  </a:lnTo>
                  <a:lnTo>
                    <a:pt x="156" y="8"/>
                  </a:lnTo>
                  <a:lnTo>
                    <a:pt x="156" y="12"/>
                  </a:lnTo>
                  <a:lnTo>
                    <a:pt x="160" y="12"/>
                  </a:lnTo>
                  <a:lnTo>
                    <a:pt x="160" y="16"/>
                  </a:lnTo>
                  <a:lnTo>
                    <a:pt x="164" y="16"/>
                  </a:lnTo>
                  <a:lnTo>
                    <a:pt x="168" y="16"/>
                  </a:lnTo>
                  <a:lnTo>
                    <a:pt x="172" y="16"/>
                  </a:lnTo>
                  <a:lnTo>
                    <a:pt x="176" y="20"/>
                  </a:lnTo>
                  <a:lnTo>
                    <a:pt x="180" y="20"/>
                  </a:lnTo>
                  <a:lnTo>
                    <a:pt x="188" y="28"/>
                  </a:lnTo>
                  <a:lnTo>
                    <a:pt x="192" y="32"/>
                  </a:lnTo>
                  <a:lnTo>
                    <a:pt x="188" y="32"/>
                  </a:lnTo>
                  <a:lnTo>
                    <a:pt x="188" y="36"/>
                  </a:lnTo>
                  <a:lnTo>
                    <a:pt x="188" y="40"/>
                  </a:lnTo>
                  <a:lnTo>
                    <a:pt x="188" y="44"/>
                  </a:lnTo>
                  <a:lnTo>
                    <a:pt x="192" y="44"/>
                  </a:lnTo>
                  <a:lnTo>
                    <a:pt x="192" y="48"/>
                  </a:lnTo>
                  <a:lnTo>
                    <a:pt x="188" y="52"/>
                  </a:lnTo>
                  <a:lnTo>
                    <a:pt x="192" y="56"/>
                  </a:lnTo>
                  <a:lnTo>
                    <a:pt x="196" y="60"/>
                  </a:lnTo>
                  <a:lnTo>
                    <a:pt x="196" y="64"/>
                  </a:lnTo>
                  <a:lnTo>
                    <a:pt x="196" y="68"/>
                  </a:lnTo>
                  <a:lnTo>
                    <a:pt x="192" y="68"/>
                  </a:lnTo>
                  <a:lnTo>
                    <a:pt x="192" y="72"/>
                  </a:lnTo>
                  <a:lnTo>
                    <a:pt x="192" y="76"/>
                  </a:lnTo>
                  <a:lnTo>
                    <a:pt x="192" y="80"/>
                  </a:lnTo>
                  <a:lnTo>
                    <a:pt x="196" y="80"/>
                  </a:lnTo>
                  <a:lnTo>
                    <a:pt x="200" y="88"/>
                  </a:lnTo>
                  <a:lnTo>
                    <a:pt x="196" y="88"/>
                  </a:lnTo>
                  <a:lnTo>
                    <a:pt x="192" y="88"/>
                  </a:lnTo>
                  <a:lnTo>
                    <a:pt x="188" y="88"/>
                  </a:lnTo>
                  <a:lnTo>
                    <a:pt x="184" y="88"/>
                  </a:lnTo>
                  <a:lnTo>
                    <a:pt x="184" y="92"/>
                  </a:lnTo>
                  <a:lnTo>
                    <a:pt x="180" y="88"/>
                  </a:lnTo>
                  <a:lnTo>
                    <a:pt x="176" y="88"/>
                  </a:lnTo>
                  <a:lnTo>
                    <a:pt x="176" y="84"/>
                  </a:lnTo>
                  <a:lnTo>
                    <a:pt x="176" y="88"/>
                  </a:lnTo>
                  <a:lnTo>
                    <a:pt x="172" y="88"/>
                  </a:lnTo>
                  <a:lnTo>
                    <a:pt x="168" y="92"/>
                  </a:lnTo>
                  <a:lnTo>
                    <a:pt x="172" y="92"/>
                  </a:lnTo>
                  <a:lnTo>
                    <a:pt x="172" y="96"/>
                  </a:lnTo>
                  <a:lnTo>
                    <a:pt x="168" y="92"/>
                  </a:lnTo>
                  <a:lnTo>
                    <a:pt x="164" y="92"/>
                  </a:lnTo>
                  <a:lnTo>
                    <a:pt x="164" y="88"/>
                  </a:lnTo>
                  <a:lnTo>
                    <a:pt x="164" y="92"/>
                  </a:lnTo>
                  <a:lnTo>
                    <a:pt x="168" y="92"/>
                  </a:lnTo>
                  <a:lnTo>
                    <a:pt x="168" y="96"/>
                  </a:lnTo>
                  <a:lnTo>
                    <a:pt x="164" y="96"/>
                  </a:lnTo>
                  <a:lnTo>
                    <a:pt x="168" y="96"/>
                  </a:lnTo>
                  <a:lnTo>
                    <a:pt x="164" y="100"/>
                  </a:lnTo>
                  <a:lnTo>
                    <a:pt x="160" y="100"/>
                  </a:lnTo>
                  <a:lnTo>
                    <a:pt x="160" y="96"/>
                  </a:lnTo>
                  <a:lnTo>
                    <a:pt x="156" y="100"/>
                  </a:lnTo>
                  <a:lnTo>
                    <a:pt x="160" y="100"/>
                  </a:lnTo>
                  <a:lnTo>
                    <a:pt x="160" y="104"/>
                  </a:lnTo>
                  <a:lnTo>
                    <a:pt x="160" y="100"/>
                  </a:lnTo>
                  <a:lnTo>
                    <a:pt x="156" y="100"/>
                  </a:lnTo>
                  <a:lnTo>
                    <a:pt x="160" y="100"/>
                  </a:lnTo>
                  <a:lnTo>
                    <a:pt x="160" y="104"/>
                  </a:lnTo>
                  <a:lnTo>
                    <a:pt x="160" y="108"/>
                  </a:lnTo>
                  <a:lnTo>
                    <a:pt x="156" y="108"/>
                  </a:lnTo>
                  <a:lnTo>
                    <a:pt x="152" y="112"/>
                  </a:lnTo>
                  <a:lnTo>
                    <a:pt x="152" y="116"/>
                  </a:lnTo>
                  <a:lnTo>
                    <a:pt x="156" y="112"/>
                  </a:lnTo>
                  <a:lnTo>
                    <a:pt x="156" y="116"/>
                  </a:lnTo>
                  <a:lnTo>
                    <a:pt x="152" y="116"/>
                  </a:lnTo>
                  <a:lnTo>
                    <a:pt x="156" y="120"/>
                  </a:lnTo>
                  <a:lnTo>
                    <a:pt x="160" y="120"/>
                  </a:lnTo>
                  <a:lnTo>
                    <a:pt x="160" y="124"/>
                  </a:lnTo>
                  <a:lnTo>
                    <a:pt x="156" y="124"/>
                  </a:lnTo>
                  <a:lnTo>
                    <a:pt x="156" y="128"/>
                  </a:lnTo>
                  <a:lnTo>
                    <a:pt x="152" y="132"/>
                  </a:lnTo>
                  <a:lnTo>
                    <a:pt x="148" y="132"/>
                  </a:lnTo>
                  <a:lnTo>
                    <a:pt x="148" y="136"/>
                  </a:lnTo>
                  <a:lnTo>
                    <a:pt x="144" y="140"/>
                  </a:lnTo>
                  <a:lnTo>
                    <a:pt x="140" y="140"/>
                  </a:lnTo>
                  <a:lnTo>
                    <a:pt x="140" y="144"/>
                  </a:lnTo>
                  <a:lnTo>
                    <a:pt x="136" y="144"/>
                  </a:lnTo>
                  <a:lnTo>
                    <a:pt x="132" y="144"/>
                  </a:lnTo>
                  <a:lnTo>
                    <a:pt x="132" y="148"/>
                  </a:lnTo>
                  <a:lnTo>
                    <a:pt x="128" y="148"/>
                  </a:lnTo>
                  <a:lnTo>
                    <a:pt x="128" y="144"/>
                  </a:lnTo>
                  <a:lnTo>
                    <a:pt x="128" y="148"/>
                  </a:lnTo>
                  <a:lnTo>
                    <a:pt x="124" y="148"/>
                  </a:lnTo>
                  <a:lnTo>
                    <a:pt x="124" y="152"/>
                  </a:lnTo>
                  <a:lnTo>
                    <a:pt x="120" y="152"/>
                  </a:lnTo>
                  <a:lnTo>
                    <a:pt x="124" y="152"/>
                  </a:lnTo>
                  <a:lnTo>
                    <a:pt x="120" y="156"/>
                  </a:lnTo>
                  <a:lnTo>
                    <a:pt x="120" y="152"/>
                  </a:lnTo>
                  <a:lnTo>
                    <a:pt x="116" y="152"/>
                  </a:lnTo>
                  <a:lnTo>
                    <a:pt x="120" y="152"/>
                  </a:lnTo>
                  <a:lnTo>
                    <a:pt x="120" y="156"/>
                  </a:lnTo>
                  <a:lnTo>
                    <a:pt x="116" y="156"/>
                  </a:lnTo>
                  <a:lnTo>
                    <a:pt x="112" y="156"/>
                  </a:lnTo>
                  <a:lnTo>
                    <a:pt x="112" y="160"/>
                  </a:lnTo>
                  <a:lnTo>
                    <a:pt x="108" y="160"/>
                  </a:lnTo>
                  <a:lnTo>
                    <a:pt x="112" y="160"/>
                  </a:lnTo>
                  <a:lnTo>
                    <a:pt x="112" y="164"/>
                  </a:lnTo>
                  <a:lnTo>
                    <a:pt x="108" y="164"/>
                  </a:lnTo>
                  <a:lnTo>
                    <a:pt x="104" y="164"/>
                  </a:lnTo>
                  <a:lnTo>
                    <a:pt x="104" y="160"/>
                  </a:lnTo>
                  <a:lnTo>
                    <a:pt x="100" y="160"/>
                  </a:lnTo>
                  <a:lnTo>
                    <a:pt x="104" y="160"/>
                  </a:lnTo>
                  <a:lnTo>
                    <a:pt x="104" y="164"/>
                  </a:lnTo>
                  <a:lnTo>
                    <a:pt x="104" y="168"/>
                  </a:lnTo>
                  <a:lnTo>
                    <a:pt x="104" y="172"/>
                  </a:lnTo>
                  <a:lnTo>
                    <a:pt x="100" y="172"/>
                  </a:lnTo>
                  <a:lnTo>
                    <a:pt x="96" y="172"/>
                  </a:lnTo>
                  <a:lnTo>
                    <a:pt x="96" y="176"/>
                  </a:lnTo>
                  <a:lnTo>
                    <a:pt x="100" y="180"/>
                  </a:lnTo>
                  <a:lnTo>
                    <a:pt x="96" y="180"/>
                  </a:lnTo>
                  <a:lnTo>
                    <a:pt x="96" y="184"/>
                  </a:lnTo>
                  <a:lnTo>
                    <a:pt x="96" y="188"/>
                  </a:lnTo>
                  <a:lnTo>
                    <a:pt x="96" y="191"/>
                  </a:lnTo>
                  <a:lnTo>
                    <a:pt x="100" y="191"/>
                  </a:lnTo>
                  <a:lnTo>
                    <a:pt x="96" y="191"/>
                  </a:lnTo>
                  <a:lnTo>
                    <a:pt x="92" y="191"/>
                  </a:lnTo>
                  <a:lnTo>
                    <a:pt x="96" y="191"/>
                  </a:lnTo>
                  <a:lnTo>
                    <a:pt x="92" y="191"/>
                  </a:lnTo>
                  <a:lnTo>
                    <a:pt x="92" y="195"/>
                  </a:lnTo>
                  <a:lnTo>
                    <a:pt x="92" y="199"/>
                  </a:lnTo>
                  <a:lnTo>
                    <a:pt x="92" y="203"/>
                  </a:lnTo>
                  <a:lnTo>
                    <a:pt x="92" y="207"/>
                  </a:lnTo>
                  <a:lnTo>
                    <a:pt x="92" y="211"/>
                  </a:lnTo>
                  <a:lnTo>
                    <a:pt x="96" y="211"/>
                  </a:lnTo>
                  <a:lnTo>
                    <a:pt x="96" y="215"/>
                  </a:lnTo>
                  <a:lnTo>
                    <a:pt x="96" y="219"/>
                  </a:lnTo>
                  <a:lnTo>
                    <a:pt x="96" y="215"/>
                  </a:lnTo>
                  <a:lnTo>
                    <a:pt x="100" y="215"/>
                  </a:lnTo>
                  <a:lnTo>
                    <a:pt x="100" y="219"/>
                  </a:lnTo>
                  <a:lnTo>
                    <a:pt x="104" y="219"/>
                  </a:lnTo>
                  <a:lnTo>
                    <a:pt x="108" y="223"/>
                  </a:lnTo>
                  <a:lnTo>
                    <a:pt x="112" y="223"/>
                  </a:lnTo>
                  <a:lnTo>
                    <a:pt x="112" y="227"/>
                  </a:lnTo>
                  <a:lnTo>
                    <a:pt x="116" y="227"/>
                  </a:lnTo>
                  <a:lnTo>
                    <a:pt x="112" y="227"/>
                  </a:lnTo>
                  <a:lnTo>
                    <a:pt x="112" y="231"/>
                  </a:lnTo>
                  <a:lnTo>
                    <a:pt x="116" y="231"/>
                  </a:lnTo>
                  <a:lnTo>
                    <a:pt x="120" y="235"/>
                  </a:lnTo>
                  <a:lnTo>
                    <a:pt x="120" y="239"/>
                  </a:lnTo>
                  <a:lnTo>
                    <a:pt x="116" y="239"/>
                  </a:lnTo>
                  <a:lnTo>
                    <a:pt x="116" y="243"/>
                  </a:lnTo>
                  <a:lnTo>
                    <a:pt x="112" y="247"/>
                  </a:lnTo>
                  <a:lnTo>
                    <a:pt x="108" y="247"/>
                  </a:lnTo>
                  <a:lnTo>
                    <a:pt x="112" y="247"/>
                  </a:lnTo>
                  <a:lnTo>
                    <a:pt x="108" y="247"/>
                  </a:lnTo>
                  <a:lnTo>
                    <a:pt x="104" y="247"/>
                  </a:lnTo>
                  <a:lnTo>
                    <a:pt x="100" y="247"/>
                  </a:lnTo>
                  <a:lnTo>
                    <a:pt x="104" y="243"/>
                  </a:lnTo>
                  <a:lnTo>
                    <a:pt x="100" y="243"/>
                  </a:lnTo>
                  <a:lnTo>
                    <a:pt x="100" y="239"/>
                  </a:lnTo>
                  <a:lnTo>
                    <a:pt x="100" y="243"/>
                  </a:lnTo>
                  <a:lnTo>
                    <a:pt x="100" y="239"/>
                  </a:lnTo>
                  <a:lnTo>
                    <a:pt x="96" y="239"/>
                  </a:lnTo>
                  <a:lnTo>
                    <a:pt x="100" y="243"/>
                  </a:lnTo>
                  <a:lnTo>
                    <a:pt x="96" y="243"/>
                  </a:lnTo>
                  <a:lnTo>
                    <a:pt x="96" y="239"/>
                  </a:lnTo>
                  <a:lnTo>
                    <a:pt x="100" y="239"/>
                  </a:lnTo>
                  <a:lnTo>
                    <a:pt x="100" y="243"/>
                  </a:lnTo>
                  <a:lnTo>
                    <a:pt x="100" y="247"/>
                  </a:lnTo>
                  <a:lnTo>
                    <a:pt x="96" y="243"/>
                  </a:lnTo>
                  <a:lnTo>
                    <a:pt x="100" y="243"/>
                  </a:lnTo>
                  <a:lnTo>
                    <a:pt x="96" y="243"/>
                  </a:lnTo>
                  <a:lnTo>
                    <a:pt x="96" y="247"/>
                  </a:lnTo>
                  <a:lnTo>
                    <a:pt x="92" y="243"/>
                  </a:lnTo>
                  <a:lnTo>
                    <a:pt x="88" y="243"/>
                  </a:lnTo>
                  <a:lnTo>
                    <a:pt x="84" y="243"/>
                  </a:lnTo>
                  <a:lnTo>
                    <a:pt x="80" y="247"/>
                  </a:lnTo>
                  <a:lnTo>
                    <a:pt x="76" y="247"/>
                  </a:lnTo>
                  <a:lnTo>
                    <a:pt x="80" y="247"/>
                  </a:lnTo>
                  <a:lnTo>
                    <a:pt x="84" y="247"/>
                  </a:lnTo>
                  <a:lnTo>
                    <a:pt x="88" y="247"/>
                  </a:lnTo>
                  <a:lnTo>
                    <a:pt x="84" y="247"/>
                  </a:lnTo>
                  <a:lnTo>
                    <a:pt x="88" y="247"/>
                  </a:lnTo>
                  <a:lnTo>
                    <a:pt x="92" y="247"/>
                  </a:lnTo>
                  <a:lnTo>
                    <a:pt x="96" y="247"/>
                  </a:lnTo>
                  <a:lnTo>
                    <a:pt x="96" y="251"/>
                  </a:lnTo>
                  <a:lnTo>
                    <a:pt x="92" y="251"/>
                  </a:lnTo>
                  <a:lnTo>
                    <a:pt x="96" y="251"/>
                  </a:lnTo>
                  <a:close/>
                  <a:moveTo>
                    <a:pt x="96" y="176"/>
                  </a:moveTo>
                  <a:lnTo>
                    <a:pt x="96" y="172"/>
                  </a:lnTo>
                  <a:lnTo>
                    <a:pt x="96" y="176"/>
                  </a:lnTo>
                  <a:lnTo>
                    <a:pt x="100" y="176"/>
                  </a:lnTo>
                  <a:lnTo>
                    <a:pt x="96" y="176"/>
                  </a:lnTo>
                  <a:close/>
                  <a:moveTo>
                    <a:pt x="92" y="247"/>
                  </a:moveTo>
                  <a:lnTo>
                    <a:pt x="96" y="247"/>
                  </a:lnTo>
                  <a:lnTo>
                    <a:pt x="92" y="247"/>
                  </a:lnTo>
                  <a:close/>
                  <a:moveTo>
                    <a:pt x="100" y="251"/>
                  </a:moveTo>
                  <a:lnTo>
                    <a:pt x="100" y="247"/>
                  </a:lnTo>
                  <a:lnTo>
                    <a:pt x="104" y="251"/>
                  </a:lnTo>
                  <a:lnTo>
                    <a:pt x="100" y="251"/>
                  </a:lnTo>
                  <a:close/>
                  <a:moveTo>
                    <a:pt x="124" y="283"/>
                  </a:moveTo>
                  <a:lnTo>
                    <a:pt x="120" y="283"/>
                  </a:lnTo>
                  <a:lnTo>
                    <a:pt x="124" y="283"/>
                  </a:lnTo>
                  <a:close/>
                  <a:moveTo>
                    <a:pt x="112" y="227"/>
                  </a:moveTo>
                  <a:lnTo>
                    <a:pt x="112" y="223"/>
                  </a:lnTo>
                  <a:lnTo>
                    <a:pt x="112" y="219"/>
                  </a:lnTo>
                  <a:lnTo>
                    <a:pt x="112" y="223"/>
                  </a:lnTo>
                  <a:lnTo>
                    <a:pt x="112" y="227"/>
                  </a:lnTo>
                  <a:close/>
                  <a:moveTo>
                    <a:pt x="8" y="279"/>
                  </a:moveTo>
                  <a:lnTo>
                    <a:pt x="4" y="279"/>
                  </a:lnTo>
                  <a:lnTo>
                    <a:pt x="8" y="275"/>
                  </a:lnTo>
                  <a:lnTo>
                    <a:pt x="12" y="275"/>
                  </a:lnTo>
                  <a:lnTo>
                    <a:pt x="12" y="279"/>
                  </a:lnTo>
                  <a:lnTo>
                    <a:pt x="8" y="279"/>
                  </a:lnTo>
                  <a:close/>
                  <a:moveTo>
                    <a:pt x="8" y="283"/>
                  </a:moveTo>
                  <a:lnTo>
                    <a:pt x="8" y="279"/>
                  </a:lnTo>
                  <a:lnTo>
                    <a:pt x="12" y="279"/>
                  </a:lnTo>
                  <a:lnTo>
                    <a:pt x="12" y="283"/>
                  </a:lnTo>
                  <a:lnTo>
                    <a:pt x="8" y="283"/>
                  </a:lnTo>
                  <a:close/>
                  <a:moveTo>
                    <a:pt x="120" y="283"/>
                  </a:moveTo>
                  <a:lnTo>
                    <a:pt x="120" y="287"/>
                  </a:lnTo>
                  <a:lnTo>
                    <a:pt x="116" y="287"/>
                  </a:lnTo>
                  <a:lnTo>
                    <a:pt x="116" y="291"/>
                  </a:lnTo>
                  <a:lnTo>
                    <a:pt x="116" y="295"/>
                  </a:lnTo>
                  <a:lnTo>
                    <a:pt x="116" y="299"/>
                  </a:lnTo>
                  <a:lnTo>
                    <a:pt x="112" y="299"/>
                  </a:lnTo>
                  <a:lnTo>
                    <a:pt x="112" y="303"/>
                  </a:lnTo>
                  <a:lnTo>
                    <a:pt x="108" y="307"/>
                  </a:lnTo>
                  <a:lnTo>
                    <a:pt x="108" y="303"/>
                  </a:lnTo>
                  <a:lnTo>
                    <a:pt x="108" y="299"/>
                  </a:lnTo>
                  <a:lnTo>
                    <a:pt x="108" y="295"/>
                  </a:lnTo>
                  <a:lnTo>
                    <a:pt x="108" y="291"/>
                  </a:lnTo>
                  <a:lnTo>
                    <a:pt x="112" y="287"/>
                  </a:lnTo>
                  <a:lnTo>
                    <a:pt x="116" y="283"/>
                  </a:lnTo>
                  <a:lnTo>
                    <a:pt x="120" y="283"/>
                  </a:lnTo>
                  <a:close/>
                  <a:moveTo>
                    <a:pt x="80" y="323"/>
                  </a:moveTo>
                  <a:lnTo>
                    <a:pt x="80" y="319"/>
                  </a:lnTo>
                  <a:lnTo>
                    <a:pt x="80" y="315"/>
                  </a:lnTo>
                  <a:lnTo>
                    <a:pt x="84" y="311"/>
                  </a:lnTo>
                  <a:lnTo>
                    <a:pt x="84" y="307"/>
                  </a:lnTo>
                  <a:lnTo>
                    <a:pt x="88" y="307"/>
                  </a:lnTo>
                  <a:lnTo>
                    <a:pt x="88" y="303"/>
                  </a:lnTo>
                  <a:lnTo>
                    <a:pt x="88" y="299"/>
                  </a:lnTo>
                  <a:lnTo>
                    <a:pt x="92" y="295"/>
                  </a:lnTo>
                  <a:lnTo>
                    <a:pt x="92" y="299"/>
                  </a:lnTo>
                  <a:lnTo>
                    <a:pt x="92" y="303"/>
                  </a:lnTo>
                  <a:lnTo>
                    <a:pt x="88" y="303"/>
                  </a:lnTo>
                  <a:lnTo>
                    <a:pt x="88" y="307"/>
                  </a:lnTo>
                  <a:lnTo>
                    <a:pt x="88" y="311"/>
                  </a:lnTo>
                  <a:lnTo>
                    <a:pt x="84" y="311"/>
                  </a:lnTo>
                  <a:lnTo>
                    <a:pt x="84" y="315"/>
                  </a:lnTo>
                  <a:lnTo>
                    <a:pt x="84" y="319"/>
                  </a:lnTo>
                  <a:lnTo>
                    <a:pt x="84" y="323"/>
                  </a:lnTo>
                  <a:lnTo>
                    <a:pt x="80" y="32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7" name="Freeform 114"/>
            <p:cNvSpPr>
              <a:spLocks noEditPoints="1"/>
            </p:cNvSpPr>
            <p:nvPr>
              <p:custDataLst>
                <p:tags r:id="rId310"/>
              </p:custDataLst>
            </p:nvPr>
          </p:nvSpPr>
          <p:spPr bwMode="gray">
            <a:xfrm>
              <a:off x="4511020" y="3219671"/>
              <a:ext cx="100848" cy="65255"/>
            </a:xfrm>
            <a:custGeom>
              <a:avLst/>
              <a:gdLst/>
              <a:ahLst/>
              <a:cxnLst>
                <a:cxn ang="0">
                  <a:pos x="8" y="16"/>
                </a:cxn>
                <a:cxn ang="0">
                  <a:pos x="12" y="12"/>
                </a:cxn>
                <a:cxn ang="0">
                  <a:pos x="12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40" y="4"/>
                </a:cxn>
                <a:cxn ang="0">
                  <a:pos x="36" y="4"/>
                </a:cxn>
                <a:cxn ang="0">
                  <a:pos x="40" y="0"/>
                </a:cxn>
                <a:cxn ang="0">
                  <a:pos x="40" y="0"/>
                </a:cxn>
                <a:cxn ang="0">
                  <a:pos x="44" y="0"/>
                </a:cxn>
                <a:cxn ang="0">
                  <a:pos x="44" y="4"/>
                </a:cxn>
                <a:cxn ang="0">
                  <a:pos x="52" y="4"/>
                </a:cxn>
                <a:cxn ang="0">
                  <a:pos x="56" y="8"/>
                </a:cxn>
                <a:cxn ang="0">
                  <a:pos x="52" y="12"/>
                </a:cxn>
                <a:cxn ang="0">
                  <a:pos x="52" y="16"/>
                </a:cxn>
                <a:cxn ang="0">
                  <a:pos x="56" y="16"/>
                </a:cxn>
                <a:cxn ang="0">
                  <a:pos x="56" y="20"/>
                </a:cxn>
                <a:cxn ang="0">
                  <a:pos x="60" y="20"/>
                </a:cxn>
                <a:cxn ang="0">
                  <a:pos x="64" y="16"/>
                </a:cxn>
                <a:cxn ang="0">
                  <a:pos x="68" y="24"/>
                </a:cxn>
                <a:cxn ang="0">
                  <a:pos x="68" y="28"/>
                </a:cxn>
                <a:cxn ang="0">
                  <a:pos x="64" y="24"/>
                </a:cxn>
                <a:cxn ang="0">
                  <a:pos x="60" y="28"/>
                </a:cxn>
                <a:cxn ang="0">
                  <a:pos x="60" y="32"/>
                </a:cxn>
                <a:cxn ang="0">
                  <a:pos x="60" y="32"/>
                </a:cxn>
                <a:cxn ang="0">
                  <a:pos x="56" y="32"/>
                </a:cxn>
                <a:cxn ang="0">
                  <a:pos x="52" y="32"/>
                </a:cxn>
                <a:cxn ang="0">
                  <a:pos x="48" y="28"/>
                </a:cxn>
                <a:cxn ang="0">
                  <a:pos x="48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4" y="36"/>
                </a:cxn>
                <a:cxn ang="0">
                  <a:pos x="40" y="36"/>
                </a:cxn>
                <a:cxn ang="0">
                  <a:pos x="36" y="32"/>
                </a:cxn>
                <a:cxn ang="0">
                  <a:pos x="36" y="28"/>
                </a:cxn>
                <a:cxn ang="0">
                  <a:pos x="28" y="40"/>
                </a:cxn>
                <a:cxn ang="0">
                  <a:pos x="28" y="40"/>
                </a:cxn>
                <a:cxn ang="0">
                  <a:pos x="24" y="40"/>
                </a:cxn>
                <a:cxn ang="0">
                  <a:pos x="20" y="40"/>
                </a:cxn>
                <a:cxn ang="0">
                  <a:pos x="16" y="40"/>
                </a:cxn>
                <a:cxn ang="0">
                  <a:pos x="12" y="36"/>
                </a:cxn>
                <a:cxn ang="0">
                  <a:pos x="12" y="28"/>
                </a:cxn>
                <a:cxn ang="0">
                  <a:pos x="4" y="28"/>
                </a:cxn>
                <a:cxn ang="0">
                  <a:pos x="4" y="32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0" y="0"/>
                </a:cxn>
              </a:cxnLst>
              <a:rect l="0" t="0" r="r" b="b"/>
              <a:pathLst>
                <a:path w="68" h="44">
                  <a:moveTo>
                    <a:pt x="4" y="20"/>
                  </a:move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56" y="16"/>
                  </a:lnTo>
                  <a:lnTo>
                    <a:pt x="56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0"/>
                  </a:lnTo>
                  <a:lnTo>
                    <a:pt x="4" y="20"/>
                  </a:lnTo>
                  <a:close/>
                  <a:moveTo>
                    <a:pt x="40" y="0"/>
                  </a:move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8" name="Freeform 115"/>
            <p:cNvSpPr>
              <a:spLocks/>
            </p:cNvSpPr>
            <p:nvPr>
              <p:custDataLst>
                <p:tags r:id="rId311"/>
              </p:custDataLst>
            </p:nvPr>
          </p:nvSpPr>
          <p:spPr bwMode="gray">
            <a:xfrm>
              <a:off x="4872888" y="3065433"/>
              <a:ext cx="401910" cy="261019"/>
            </a:xfrm>
            <a:custGeom>
              <a:avLst/>
              <a:gdLst/>
              <a:ahLst/>
              <a:cxnLst>
                <a:cxn ang="0">
                  <a:pos x="103" y="144"/>
                </a:cxn>
                <a:cxn ang="0">
                  <a:pos x="111" y="132"/>
                </a:cxn>
                <a:cxn ang="0">
                  <a:pos x="115" y="132"/>
                </a:cxn>
                <a:cxn ang="0">
                  <a:pos x="111" y="116"/>
                </a:cxn>
                <a:cxn ang="0">
                  <a:pos x="107" y="104"/>
                </a:cxn>
                <a:cxn ang="0">
                  <a:pos x="91" y="96"/>
                </a:cxn>
                <a:cxn ang="0">
                  <a:pos x="68" y="92"/>
                </a:cxn>
                <a:cxn ang="0">
                  <a:pos x="48" y="104"/>
                </a:cxn>
                <a:cxn ang="0">
                  <a:pos x="24" y="100"/>
                </a:cxn>
                <a:cxn ang="0">
                  <a:pos x="8" y="96"/>
                </a:cxn>
                <a:cxn ang="0">
                  <a:pos x="4" y="80"/>
                </a:cxn>
                <a:cxn ang="0">
                  <a:pos x="16" y="52"/>
                </a:cxn>
                <a:cxn ang="0">
                  <a:pos x="28" y="40"/>
                </a:cxn>
                <a:cxn ang="0">
                  <a:pos x="24" y="20"/>
                </a:cxn>
                <a:cxn ang="0">
                  <a:pos x="44" y="12"/>
                </a:cxn>
                <a:cxn ang="0">
                  <a:pos x="68" y="16"/>
                </a:cxn>
                <a:cxn ang="0">
                  <a:pos x="88" y="20"/>
                </a:cxn>
                <a:cxn ang="0">
                  <a:pos x="99" y="20"/>
                </a:cxn>
                <a:cxn ang="0">
                  <a:pos x="115" y="24"/>
                </a:cxn>
                <a:cxn ang="0">
                  <a:pos x="127" y="20"/>
                </a:cxn>
                <a:cxn ang="0">
                  <a:pos x="143" y="8"/>
                </a:cxn>
                <a:cxn ang="0">
                  <a:pos x="167" y="0"/>
                </a:cxn>
                <a:cxn ang="0">
                  <a:pos x="183" y="12"/>
                </a:cxn>
                <a:cxn ang="0">
                  <a:pos x="187" y="28"/>
                </a:cxn>
                <a:cxn ang="0">
                  <a:pos x="203" y="40"/>
                </a:cxn>
                <a:cxn ang="0">
                  <a:pos x="211" y="44"/>
                </a:cxn>
                <a:cxn ang="0">
                  <a:pos x="227" y="48"/>
                </a:cxn>
                <a:cxn ang="0">
                  <a:pos x="247" y="52"/>
                </a:cxn>
                <a:cxn ang="0">
                  <a:pos x="263" y="60"/>
                </a:cxn>
                <a:cxn ang="0">
                  <a:pos x="267" y="76"/>
                </a:cxn>
                <a:cxn ang="0">
                  <a:pos x="271" y="96"/>
                </a:cxn>
                <a:cxn ang="0">
                  <a:pos x="251" y="104"/>
                </a:cxn>
                <a:cxn ang="0">
                  <a:pos x="239" y="120"/>
                </a:cxn>
                <a:cxn ang="0">
                  <a:pos x="219" y="128"/>
                </a:cxn>
                <a:cxn ang="0">
                  <a:pos x="203" y="132"/>
                </a:cxn>
                <a:cxn ang="0">
                  <a:pos x="199" y="136"/>
                </a:cxn>
                <a:cxn ang="0">
                  <a:pos x="183" y="136"/>
                </a:cxn>
                <a:cxn ang="0">
                  <a:pos x="179" y="140"/>
                </a:cxn>
                <a:cxn ang="0">
                  <a:pos x="187" y="144"/>
                </a:cxn>
                <a:cxn ang="0">
                  <a:pos x="199" y="156"/>
                </a:cxn>
                <a:cxn ang="0">
                  <a:pos x="195" y="148"/>
                </a:cxn>
                <a:cxn ang="0">
                  <a:pos x="211" y="156"/>
                </a:cxn>
                <a:cxn ang="0">
                  <a:pos x="207" y="164"/>
                </a:cxn>
                <a:cxn ang="0">
                  <a:pos x="187" y="172"/>
                </a:cxn>
                <a:cxn ang="0">
                  <a:pos x="171" y="168"/>
                </a:cxn>
                <a:cxn ang="0">
                  <a:pos x="159" y="156"/>
                </a:cxn>
                <a:cxn ang="0">
                  <a:pos x="171" y="144"/>
                </a:cxn>
                <a:cxn ang="0">
                  <a:pos x="155" y="140"/>
                </a:cxn>
                <a:cxn ang="0">
                  <a:pos x="147" y="132"/>
                </a:cxn>
                <a:cxn ang="0">
                  <a:pos x="151" y="132"/>
                </a:cxn>
                <a:cxn ang="0">
                  <a:pos x="147" y="120"/>
                </a:cxn>
                <a:cxn ang="0">
                  <a:pos x="143" y="128"/>
                </a:cxn>
                <a:cxn ang="0">
                  <a:pos x="123" y="144"/>
                </a:cxn>
                <a:cxn ang="0">
                  <a:pos x="115" y="156"/>
                </a:cxn>
                <a:cxn ang="0">
                  <a:pos x="99" y="160"/>
                </a:cxn>
              </a:cxnLst>
              <a:rect l="0" t="0" r="r" b="b"/>
              <a:pathLst>
                <a:path w="271" h="176">
                  <a:moveTo>
                    <a:pt x="91" y="156"/>
                  </a:moveTo>
                  <a:lnTo>
                    <a:pt x="91" y="152"/>
                  </a:lnTo>
                  <a:lnTo>
                    <a:pt x="95" y="152"/>
                  </a:lnTo>
                  <a:lnTo>
                    <a:pt x="95" y="148"/>
                  </a:lnTo>
                  <a:lnTo>
                    <a:pt x="99" y="148"/>
                  </a:lnTo>
                  <a:lnTo>
                    <a:pt x="99" y="144"/>
                  </a:lnTo>
                  <a:lnTo>
                    <a:pt x="103" y="144"/>
                  </a:lnTo>
                  <a:lnTo>
                    <a:pt x="103" y="140"/>
                  </a:lnTo>
                  <a:lnTo>
                    <a:pt x="103" y="136"/>
                  </a:lnTo>
                  <a:lnTo>
                    <a:pt x="103" y="132"/>
                  </a:lnTo>
                  <a:lnTo>
                    <a:pt x="107" y="132"/>
                  </a:lnTo>
                  <a:lnTo>
                    <a:pt x="107" y="136"/>
                  </a:lnTo>
                  <a:lnTo>
                    <a:pt x="107" y="132"/>
                  </a:lnTo>
                  <a:lnTo>
                    <a:pt x="111" y="132"/>
                  </a:lnTo>
                  <a:lnTo>
                    <a:pt x="111" y="136"/>
                  </a:lnTo>
                  <a:lnTo>
                    <a:pt x="115" y="136"/>
                  </a:lnTo>
                  <a:lnTo>
                    <a:pt x="115" y="132"/>
                  </a:lnTo>
                  <a:lnTo>
                    <a:pt x="115" y="136"/>
                  </a:lnTo>
                  <a:lnTo>
                    <a:pt x="119" y="136"/>
                  </a:lnTo>
                  <a:lnTo>
                    <a:pt x="119" y="132"/>
                  </a:lnTo>
                  <a:lnTo>
                    <a:pt x="115" y="132"/>
                  </a:lnTo>
                  <a:lnTo>
                    <a:pt x="119" y="132"/>
                  </a:lnTo>
                  <a:lnTo>
                    <a:pt x="119" y="128"/>
                  </a:lnTo>
                  <a:lnTo>
                    <a:pt x="119" y="124"/>
                  </a:lnTo>
                  <a:lnTo>
                    <a:pt x="115" y="124"/>
                  </a:lnTo>
                  <a:lnTo>
                    <a:pt x="111" y="124"/>
                  </a:lnTo>
                  <a:lnTo>
                    <a:pt x="111" y="120"/>
                  </a:lnTo>
                  <a:lnTo>
                    <a:pt x="111" y="116"/>
                  </a:lnTo>
                  <a:lnTo>
                    <a:pt x="111" y="112"/>
                  </a:lnTo>
                  <a:lnTo>
                    <a:pt x="111" y="116"/>
                  </a:lnTo>
                  <a:lnTo>
                    <a:pt x="107" y="112"/>
                  </a:lnTo>
                  <a:lnTo>
                    <a:pt x="111" y="112"/>
                  </a:lnTo>
                  <a:lnTo>
                    <a:pt x="107" y="112"/>
                  </a:lnTo>
                  <a:lnTo>
                    <a:pt x="107" y="108"/>
                  </a:lnTo>
                  <a:lnTo>
                    <a:pt x="107" y="104"/>
                  </a:lnTo>
                  <a:lnTo>
                    <a:pt x="107" y="100"/>
                  </a:lnTo>
                  <a:lnTo>
                    <a:pt x="103" y="100"/>
                  </a:lnTo>
                  <a:lnTo>
                    <a:pt x="99" y="96"/>
                  </a:lnTo>
                  <a:lnTo>
                    <a:pt x="95" y="96"/>
                  </a:lnTo>
                  <a:lnTo>
                    <a:pt x="95" y="92"/>
                  </a:lnTo>
                  <a:lnTo>
                    <a:pt x="91" y="92"/>
                  </a:lnTo>
                  <a:lnTo>
                    <a:pt x="91" y="96"/>
                  </a:lnTo>
                  <a:lnTo>
                    <a:pt x="91" y="92"/>
                  </a:lnTo>
                  <a:lnTo>
                    <a:pt x="88" y="92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76" y="92"/>
                  </a:lnTo>
                  <a:lnTo>
                    <a:pt x="72" y="92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4" y="96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48" y="100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0" y="104"/>
                  </a:lnTo>
                  <a:lnTo>
                    <a:pt x="40" y="100"/>
                  </a:lnTo>
                  <a:lnTo>
                    <a:pt x="36" y="100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24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96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8" y="96"/>
                  </a:lnTo>
                  <a:lnTo>
                    <a:pt x="4" y="92"/>
                  </a:lnTo>
                  <a:lnTo>
                    <a:pt x="0" y="88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8" y="44"/>
                  </a:lnTo>
                  <a:lnTo>
                    <a:pt x="32" y="44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8" y="20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80" y="20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91" y="20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5" y="20"/>
                  </a:lnTo>
                  <a:lnTo>
                    <a:pt x="99" y="20"/>
                  </a:lnTo>
                  <a:lnTo>
                    <a:pt x="99" y="24"/>
                  </a:lnTo>
                  <a:lnTo>
                    <a:pt x="99" y="20"/>
                  </a:lnTo>
                  <a:lnTo>
                    <a:pt x="103" y="20"/>
                  </a:lnTo>
                  <a:lnTo>
                    <a:pt x="107" y="20"/>
                  </a:lnTo>
                  <a:lnTo>
                    <a:pt x="107" y="24"/>
                  </a:lnTo>
                  <a:lnTo>
                    <a:pt x="111" y="24"/>
                  </a:lnTo>
                  <a:lnTo>
                    <a:pt x="111" y="20"/>
                  </a:lnTo>
                  <a:lnTo>
                    <a:pt x="115" y="20"/>
                  </a:lnTo>
                  <a:lnTo>
                    <a:pt x="115" y="24"/>
                  </a:lnTo>
                  <a:lnTo>
                    <a:pt x="119" y="20"/>
                  </a:lnTo>
                  <a:lnTo>
                    <a:pt x="123" y="20"/>
                  </a:lnTo>
                  <a:lnTo>
                    <a:pt x="123" y="24"/>
                  </a:lnTo>
                  <a:lnTo>
                    <a:pt x="127" y="24"/>
                  </a:lnTo>
                  <a:lnTo>
                    <a:pt x="127" y="28"/>
                  </a:lnTo>
                  <a:lnTo>
                    <a:pt x="127" y="24"/>
                  </a:lnTo>
                  <a:lnTo>
                    <a:pt x="127" y="20"/>
                  </a:lnTo>
                  <a:lnTo>
                    <a:pt x="127" y="16"/>
                  </a:lnTo>
                  <a:lnTo>
                    <a:pt x="127" y="12"/>
                  </a:lnTo>
                  <a:lnTo>
                    <a:pt x="131" y="12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51" y="8"/>
                  </a:lnTo>
                  <a:lnTo>
                    <a:pt x="155" y="8"/>
                  </a:lnTo>
                  <a:lnTo>
                    <a:pt x="155" y="4"/>
                  </a:lnTo>
                  <a:lnTo>
                    <a:pt x="159" y="4"/>
                  </a:lnTo>
                  <a:lnTo>
                    <a:pt x="163" y="4"/>
                  </a:lnTo>
                  <a:lnTo>
                    <a:pt x="167" y="0"/>
                  </a:lnTo>
                  <a:lnTo>
                    <a:pt x="171" y="0"/>
                  </a:lnTo>
                  <a:lnTo>
                    <a:pt x="171" y="4"/>
                  </a:lnTo>
                  <a:lnTo>
                    <a:pt x="175" y="4"/>
                  </a:lnTo>
                  <a:lnTo>
                    <a:pt x="175" y="0"/>
                  </a:lnTo>
                  <a:lnTo>
                    <a:pt x="179" y="4"/>
                  </a:lnTo>
                  <a:lnTo>
                    <a:pt x="179" y="8"/>
                  </a:lnTo>
                  <a:lnTo>
                    <a:pt x="183" y="12"/>
                  </a:lnTo>
                  <a:lnTo>
                    <a:pt x="187" y="16"/>
                  </a:lnTo>
                  <a:lnTo>
                    <a:pt x="183" y="16"/>
                  </a:lnTo>
                  <a:lnTo>
                    <a:pt x="179" y="16"/>
                  </a:lnTo>
                  <a:lnTo>
                    <a:pt x="183" y="20"/>
                  </a:lnTo>
                  <a:lnTo>
                    <a:pt x="183" y="24"/>
                  </a:lnTo>
                  <a:lnTo>
                    <a:pt x="183" y="28"/>
                  </a:lnTo>
                  <a:lnTo>
                    <a:pt x="187" y="28"/>
                  </a:lnTo>
                  <a:lnTo>
                    <a:pt x="191" y="28"/>
                  </a:lnTo>
                  <a:lnTo>
                    <a:pt x="195" y="28"/>
                  </a:lnTo>
                  <a:lnTo>
                    <a:pt x="195" y="32"/>
                  </a:lnTo>
                  <a:lnTo>
                    <a:pt x="199" y="32"/>
                  </a:lnTo>
                  <a:lnTo>
                    <a:pt x="199" y="36"/>
                  </a:lnTo>
                  <a:lnTo>
                    <a:pt x="203" y="36"/>
                  </a:lnTo>
                  <a:lnTo>
                    <a:pt x="203" y="40"/>
                  </a:lnTo>
                  <a:lnTo>
                    <a:pt x="199" y="40"/>
                  </a:lnTo>
                  <a:lnTo>
                    <a:pt x="199" y="44"/>
                  </a:lnTo>
                  <a:lnTo>
                    <a:pt x="203" y="44"/>
                  </a:lnTo>
                  <a:lnTo>
                    <a:pt x="203" y="48"/>
                  </a:lnTo>
                  <a:lnTo>
                    <a:pt x="207" y="48"/>
                  </a:lnTo>
                  <a:lnTo>
                    <a:pt x="207" y="44"/>
                  </a:lnTo>
                  <a:lnTo>
                    <a:pt x="211" y="44"/>
                  </a:lnTo>
                  <a:lnTo>
                    <a:pt x="211" y="48"/>
                  </a:lnTo>
                  <a:lnTo>
                    <a:pt x="215" y="48"/>
                  </a:lnTo>
                  <a:lnTo>
                    <a:pt x="219" y="48"/>
                  </a:lnTo>
                  <a:lnTo>
                    <a:pt x="219" y="52"/>
                  </a:lnTo>
                  <a:lnTo>
                    <a:pt x="219" y="48"/>
                  </a:lnTo>
                  <a:lnTo>
                    <a:pt x="223" y="48"/>
                  </a:lnTo>
                  <a:lnTo>
                    <a:pt x="227" y="48"/>
                  </a:lnTo>
                  <a:lnTo>
                    <a:pt x="231" y="44"/>
                  </a:lnTo>
                  <a:lnTo>
                    <a:pt x="235" y="52"/>
                  </a:lnTo>
                  <a:lnTo>
                    <a:pt x="239" y="52"/>
                  </a:lnTo>
                  <a:lnTo>
                    <a:pt x="239" y="56"/>
                  </a:lnTo>
                  <a:lnTo>
                    <a:pt x="243" y="56"/>
                  </a:lnTo>
                  <a:lnTo>
                    <a:pt x="243" y="52"/>
                  </a:lnTo>
                  <a:lnTo>
                    <a:pt x="247" y="52"/>
                  </a:lnTo>
                  <a:lnTo>
                    <a:pt x="247" y="56"/>
                  </a:lnTo>
                  <a:lnTo>
                    <a:pt x="251" y="56"/>
                  </a:lnTo>
                  <a:lnTo>
                    <a:pt x="255" y="56"/>
                  </a:lnTo>
                  <a:lnTo>
                    <a:pt x="255" y="60"/>
                  </a:lnTo>
                  <a:lnTo>
                    <a:pt x="259" y="56"/>
                  </a:lnTo>
                  <a:lnTo>
                    <a:pt x="259" y="60"/>
                  </a:lnTo>
                  <a:lnTo>
                    <a:pt x="263" y="60"/>
                  </a:lnTo>
                  <a:lnTo>
                    <a:pt x="263" y="64"/>
                  </a:lnTo>
                  <a:lnTo>
                    <a:pt x="267" y="64"/>
                  </a:lnTo>
                  <a:lnTo>
                    <a:pt x="271" y="64"/>
                  </a:lnTo>
                  <a:lnTo>
                    <a:pt x="271" y="68"/>
                  </a:lnTo>
                  <a:lnTo>
                    <a:pt x="271" y="72"/>
                  </a:lnTo>
                  <a:lnTo>
                    <a:pt x="271" y="76"/>
                  </a:lnTo>
                  <a:lnTo>
                    <a:pt x="267" y="76"/>
                  </a:lnTo>
                  <a:lnTo>
                    <a:pt x="267" y="80"/>
                  </a:lnTo>
                  <a:lnTo>
                    <a:pt x="271" y="80"/>
                  </a:lnTo>
                  <a:lnTo>
                    <a:pt x="267" y="80"/>
                  </a:lnTo>
                  <a:lnTo>
                    <a:pt x="267" y="84"/>
                  </a:lnTo>
                  <a:lnTo>
                    <a:pt x="267" y="88"/>
                  </a:lnTo>
                  <a:lnTo>
                    <a:pt x="271" y="92"/>
                  </a:lnTo>
                  <a:lnTo>
                    <a:pt x="271" y="96"/>
                  </a:lnTo>
                  <a:lnTo>
                    <a:pt x="267" y="96"/>
                  </a:lnTo>
                  <a:lnTo>
                    <a:pt x="267" y="100"/>
                  </a:lnTo>
                  <a:lnTo>
                    <a:pt x="267" y="104"/>
                  </a:lnTo>
                  <a:lnTo>
                    <a:pt x="263" y="104"/>
                  </a:lnTo>
                  <a:lnTo>
                    <a:pt x="259" y="104"/>
                  </a:lnTo>
                  <a:lnTo>
                    <a:pt x="255" y="104"/>
                  </a:lnTo>
                  <a:lnTo>
                    <a:pt x="251" y="104"/>
                  </a:lnTo>
                  <a:lnTo>
                    <a:pt x="251" y="108"/>
                  </a:lnTo>
                  <a:lnTo>
                    <a:pt x="247" y="108"/>
                  </a:lnTo>
                  <a:lnTo>
                    <a:pt x="243" y="108"/>
                  </a:lnTo>
                  <a:lnTo>
                    <a:pt x="243" y="112"/>
                  </a:lnTo>
                  <a:lnTo>
                    <a:pt x="243" y="116"/>
                  </a:lnTo>
                  <a:lnTo>
                    <a:pt x="243" y="120"/>
                  </a:lnTo>
                  <a:lnTo>
                    <a:pt x="239" y="120"/>
                  </a:lnTo>
                  <a:lnTo>
                    <a:pt x="235" y="120"/>
                  </a:lnTo>
                  <a:lnTo>
                    <a:pt x="231" y="120"/>
                  </a:lnTo>
                  <a:lnTo>
                    <a:pt x="231" y="124"/>
                  </a:lnTo>
                  <a:lnTo>
                    <a:pt x="227" y="124"/>
                  </a:lnTo>
                  <a:lnTo>
                    <a:pt x="223" y="124"/>
                  </a:lnTo>
                  <a:lnTo>
                    <a:pt x="223" y="128"/>
                  </a:lnTo>
                  <a:lnTo>
                    <a:pt x="219" y="128"/>
                  </a:lnTo>
                  <a:lnTo>
                    <a:pt x="219" y="124"/>
                  </a:lnTo>
                  <a:lnTo>
                    <a:pt x="219" y="128"/>
                  </a:lnTo>
                  <a:lnTo>
                    <a:pt x="215" y="128"/>
                  </a:lnTo>
                  <a:lnTo>
                    <a:pt x="211" y="128"/>
                  </a:lnTo>
                  <a:lnTo>
                    <a:pt x="207" y="128"/>
                  </a:lnTo>
                  <a:lnTo>
                    <a:pt x="207" y="132"/>
                  </a:lnTo>
                  <a:lnTo>
                    <a:pt x="203" y="132"/>
                  </a:lnTo>
                  <a:lnTo>
                    <a:pt x="199" y="136"/>
                  </a:lnTo>
                  <a:lnTo>
                    <a:pt x="199" y="140"/>
                  </a:lnTo>
                  <a:lnTo>
                    <a:pt x="195" y="140"/>
                  </a:lnTo>
                  <a:lnTo>
                    <a:pt x="199" y="140"/>
                  </a:lnTo>
                  <a:lnTo>
                    <a:pt x="199" y="136"/>
                  </a:lnTo>
                  <a:lnTo>
                    <a:pt x="199" y="132"/>
                  </a:lnTo>
                  <a:lnTo>
                    <a:pt x="199" y="136"/>
                  </a:lnTo>
                  <a:lnTo>
                    <a:pt x="195" y="136"/>
                  </a:lnTo>
                  <a:lnTo>
                    <a:pt x="191" y="140"/>
                  </a:lnTo>
                  <a:lnTo>
                    <a:pt x="187" y="140"/>
                  </a:lnTo>
                  <a:lnTo>
                    <a:pt x="187" y="144"/>
                  </a:lnTo>
                  <a:lnTo>
                    <a:pt x="187" y="140"/>
                  </a:lnTo>
                  <a:lnTo>
                    <a:pt x="183" y="140"/>
                  </a:lnTo>
                  <a:lnTo>
                    <a:pt x="183" y="136"/>
                  </a:lnTo>
                  <a:lnTo>
                    <a:pt x="183" y="140"/>
                  </a:lnTo>
                  <a:lnTo>
                    <a:pt x="179" y="140"/>
                  </a:lnTo>
                  <a:lnTo>
                    <a:pt x="183" y="140"/>
                  </a:lnTo>
                  <a:lnTo>
                    <a:pt x="179" y="140"/>
                  </a:lnTo>
                  <a:lnTo>
                    <a:pt x="175" y="136"/>
                  </a:lnTo>
                  <a:lnTo>
                    <a:pt x="175" y="140"/>
                  </a:lnTo>
                  <a:lnTo>
                    <a:pt x="179" y="140"/>
                  </a:lnTo>
                  <a:lnTo>
                    <a:pt x="179" y="144"/>
                  </a:lnTo>
                  <a:lnTo>
                    <a:pt x="179" y="140"/>
                  </a:lnTo>
                  <a:lnTo>
                    <a:pt x="179" y="144"/>
                  </a:lnTo>
                  <a:lnTo>
                    <a:pt x="183" y="144"/>
                  </a:lnTo>
                  <a:lnTo>
                    <a:pt x="187" y="144"/>
                  </a:lnTo>
                  <a:lnTo>
                    <a:pt x="183" y="144"/>
                  </a:lnTo>
                  <a:lnTo>
                    <a:pt x="187" y="144"/>
                  </a:lnTo>
                  <a:lnTo>
                    <a:pt x="187" y="148"/>
                  </a:lnTo>
                  <a:lnTo>
                    <a:pt x="191" y="148"/>
                  </a:lnTo>
                  <a:lnTo>
                    <a:pt x="191" y="152"/>
                  </a:lnTo>
                  <a:lnTo>
                    <a:pt x="195" y="152"/>
                  </a:lnTo>
                  <a:lnTo>
                    <a:pt x="195" y="156"/>
                  </a:lnTo>
                  <a:lnTo>
                    <a:pt x="199" y="160"/>
                  </a:lnTo>
                  <a:lnTo>
                    <a:pt x="199" y="156"/>
                  </a:lnTo>
                  <a:lnTo>
                    <a:pt x="195" y="152"/>
                  </a:lnTo>
                  <a:lnTo>
                    <a:pt x="195" y="148"/>
                  </a:lnTo>
                  <a:lnTo>
                    <a:pt x="191" y="148"/>
                  </a:lnTo>
                  <a:lnTo>
                    <a:pt x="191" y="144"/>
                  </a:lnTo>
                  <a:lnTo>
                    <a:pt x="191" y="140"/>
                  </a:lnTo>
                  <a:lnTo>
                    <a:pt x="191" y="144"/>
                  </a:lnTo>
                  <a:lnTo>
                    <a:pt x="195" y="148"/>
                  </a:lnTo>
                  <a:lnTo>
                    <a:pt x="195" y="152"/>
                  </a:lnTo>
                  <a:lnTo>
                    <a:pt x="199" y="156"/>
                  </a:lnTo>
                  <a:lnTo>
                    <a:pt x="203" y="156"/>
                  </a:lnTo>
                  <a:lnTo>
                    <a:pt x="203" y="160"/>
                  </a:lnTo>
                  <a:lnTo>
                    <a:pt x="203" y="156"/>
                  </a:lnTo>
                  <a:lnTo>
                    <a:pt x="207" y="156"/>
                  </a:lnTo>
                  <a:lnTo>
                    <a:pt x="211" y="156"/>
                  </a:lnTo>
                  <a:lnTo>
                    <a:pt x="215" y="156"/>
                  </a:lnTo>
                  <a:lnTo>
                    <a:pt x="219" y="156"/>
                  </a:lnTo>
                  <a:lnTo>
                    <a:pt x="215" y="156"/>
                  </a:lnTo>
                  <a:lnTo>
                    <a:pt x="215" y="160"/>
                  </a:lnTo>
                  <a:lnTo>
                    <a:pt x="215" y="164"/>
                  </a:lnTo>
                  <a:lnTo>
                    <a:pt x="211" y="164"/>
                  </a:lnTo>
                  <a:lnTo>
                    <a:pt x="207" y="164"/>
                  </a:lnTo>
                  <a:lnTo>
                    <a:pt x="203" y="164"/>
                  </a:lnTo>
                  <a:lnTo>
                    <a:pt x="203" y="160"/>
                  </a:lnTo>
                  <a:lnTo>
                    <a:pt x="199" y="164"/>
                  </a:lnTo>
                  <a:lnTo>
                    <a:pt x="195" y="168"/>
                  </a:lnTo>
                  <a:lnTo>
                    <a:pt x="191" y="168"/>
                  </a:lnTo>
                  <a:lnTo>
                    <a:pt x="187" y="168"/>
                  </a:lnTo>
                  <a:lnTo>
                    <a:pt x="187" y="172"/>
                  </a:lnTo>
                  <a:lnTo>
                    <a:pt x="183" y="172"/>
                  </a:lnTo>
                  <a:lnTo>
                    <a:pt x="183" y="176"/>
                  </a:lnTo>
                  <a:lnTo>
                    <a:pt x="179" y="176"/>
                  </a:lnTo>
                  <a:lnTo>
                    <a:pt x="175" y="176"/>
                  </a:lnTo>
                  <a:lnTo>
                    <a:pt x="171" y="176"/>
                  </a:lnTo>
                  <a:lnTo>
                    <a:pt x="171" y="172"/>
                  </a:lnTo>
                  <a:lnTo>
                    <a:pt x="171" y="168"/>
                  </a:lnTo>
                  <a:lnTo>
                    <a:pt x="175" y="168"/>
                  </a:lnTo>
                  <a:lnTo>
                    <a:pt x="175" y="164"/>
                  </a:lnTo>
                  <a:lnTo>
                    <a:pt x="171" y="164"/>
                  </a:lnTo>
                  <a:lnTo>
                    <a:pt x="171" y="160"/>
                  </a:lnTo>
                  <a:lnTo>
                    <a:pt x="167" y="160"/>
                  </a:lnTo>
                  <a:lnTo>
                    <a:pt x="163" y="156"/>
                  </a:lnTo>
                  <a:lnTo>
                    <a:pt x="159" y="156"/>
                  </a:lnTo>
                  <a:lnTo>
                    <a:pt x="155" y="156"/>
                  </a:lnTo>
                  <a:lnTo>
                    <a:pt x="159" y="152"/>
                  </a:lnTo>
                  <a:lnTo>
                    <a:pt x="163" y="152"/>
                  </a:lnTo>
                  <a:lnTo>
                    <a:pt x="163" y="148"/>
                  </a:lnTo>
                  <a:lnTo>
                    <a:pt x="167" y="148"/>
                  </a:lnTo>
                  <a:lnTo>
                    <a:pt x="171" y="148"/>
                  </a:lnTo>
                  <a:lnTo>
                    <a:pt x="171" y="144"/>
                  </a:lnTo>
                  <a:lnTo>
                    <a:pt x="175" y="144"/>
                  </a:lnTo>
                  <a:lnTo>
                    <a:pt x="175" y="140"/>
                  </a:lnTo>
                  <a:lnTo>
                    <a:pt x="171" y="140"/>
                  </a:lnTo>
                  <a:lnTo>
                    <a:pt x="167" y="140"/>
                  </a:lnTo>
                  <a:lnTo>
                    <a:pt x="163" y="140"/>
                  </a:lnTo>
                  <a:lnTo>
                    <a:pt x="159" y="140"/>
                  </a:lnTo>
                  <a:lnTo>
                    <a:pt x="155" y="140"/>
                  </a:lnTo>
                  <a:lnTo>
                    <a:pt x="151" y="140"/>
                  </a:lnTo>
                  <a:lnTo>
                    <a:pt x="151" y="136"/>
                  </a:lnTo>
                  <a:lnTo>
                    <a:pt x="147" y="136"/>
                  </a:lnTo>
                  <a:lnTo>
                    <a:pt x="151" y="136"/>
                  </a:lnTo>
                  <a:lnTo>
                    <a:pt x="147" y="132"/>
                  </a:lnTo>
                  <a:lnTo>
                    <a:pt x="143" y="132"/>
                  </a:lnTo>
                  <a:lnTo>
                    <a:pt x="147" y="132"/>
                  </a:lnTo>
                  <a:lnTo>
                    <a:pt x="151" y="132"/>
                  </a:lnTo>
                  <a:lnTo>
                    <a:pt x="155" y="132"/>
                  </a:lnTo>
                  <a:lnTo>
                    <a:pt x="159" y="128"/>
                  </a:lnTo>
                  <a:lnTo>
                    <a:pt x="155" y="128"/>
                  </a:lnTo>
                  <a:lnTo>
                    <a:pt x="155" y="132"/>
                  </a:lnTo>
                  <a:lnTo>
                    <a:pt x="151" y="128"/>
                  </a:lnTo>
                  <a:lnTo>
                    <a:pt x="151" y="132"/>
                  </a:lnTo>
                  <a:lnTo>
                    <a:pt x="147" y="128"/>
                  </a:lnTo>
                  <a:lnTo>
                    <a:pt x="147" y="124"/>
                  </a:lnTo>
                  <a:lnTo>
                    <a:pt x="147" y="120"/>
                  </a:lnTo>
                  <a:lnTo>
                    <a:pt x="147" y="116"/>
                  </a:lnTo>
                  <a:lnTo>
                    <a:pt x="143" y="116"/>
                  </a:lnTo>
                  <a:lnTo>
                    <a:pt x="147" y="116"/>
                  </a:lnTo>
                  <a:lnTo>
                    <a:pt x="147" y="120"/>
                  </a:lnTo>
                  <a:lnTo>
                    <a:pt x="147" y="124"/>
                  </a:lnTo>
                  <a:lnTo>
                    <a:pt x="147" y="128"/>
                  </a:lnTo>
                  <a:lnTo>
                    <a:pt x="143" y="128"/>
                  </a:lnTo>
                  <a:lnTo>
                    <a:pt x="139" y="128"/>
                  </a:lnTo>
                  <a:lnTo>
                    <a:pt x="143" y="128"/>
                  </a:lnTo>
                  <a:lnTo>
                    <a:pt x="143" y="124"/>
                  </a:lnTo>
                  <a:lnTo>
                    <a:pt x="143" y="128"/>
                  </a:lnTo>
                  <a:lnTo>
                    <a:pt x="139" y="128"/>
                  </a:lnTo>
                  <a:lnTo>
                    <a:pt x="135" y="128"/>
                  </a:lnTo>
                  <a:lnTo>
                    <a:pt x="131" y="132"/>
                  </a:lnTo>
                  <a:lnTo>
                    <a:pt x="131" y="136"/>
                  </a:lnTo>
                  <a:lnTo>
                    <a:pt x="127" y="136"/>
                  </a:lnTo>
                  <a:lnTo>
                    <a:pt x="127" y="140"/>
                  </a:lnTo>
                  <a:lnTo>
                    <a:pt x="123" y="144"/>
                  </a:lnTo>
                  <a:lnTo>
                    <a:pt x="119" y="148"/>
                  </a:lnTo>
                  <a:lnTo>
                    <a:pt x="115" y="148"/>
                  </a:lnTo>
                  <a:lnTo>
                    <a:pt x="115" y="152"/>
                  </a:lnTo>
                  <a:lnTo>
                    <a:pt x="115" y="148"/>
                  </a:lnTo>
                  <a:lnTo>
                    <a:pt x="111" y="148"/>
                  </a:lnTo>
                  <a:lnTo>
                    <a:pt x="111" y="152"/>
                  </a:lnTo>
                  <a:lnTo>
                    <a:pt x="115" y="156"/>
                  </a:lnTo>
                  <a:lnTo>
                    <a:pt x="115" y="160"/>
                  </a:lnTo>
                  <a:lnTo>
                    <a:pt x="115" y="156"/>
                  </a:lnTo>
                  <a:lnTo>
                    <a:pt x="111" y="156"/>
                  </a:lnTo>
                  <a:lnTo>
                    <a:pt x="107" y="156"/>
                  </a:lnTo>
                  <a:lnTo>
                    <a:pt x="103" y="156"/>
                  </a:lnTo>
                  <a:lnTo>
                    <a:pt x="99" y="156"/>
                  </a:lnTo>
                  <a:lnTo>
                    <a:pt x="99" y="160"/>
                  </a:lnTo>
                  <a:lnTo>
                    <a:pt x="95" y="160"/>
                  </a:lnTo>
                  <a:lnTo>
                    <a:pt x="95" y="156"/>
                  </a:lnTo>
                  <a:lnTo>
                    <a:pt x="91" y="1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9" name="Freeform 116"/>
            <p:cNvSpPr>
              <a:spLocks noEditPoints="1"/>
            </p:cNvSpPr>
            <p:nvPr>
              <p:custDataLst>
                <p:tags r:id="rId312"/>
              </p:custDataLst>
            </p:nvPr>
          </p:nvSpPr>
          <p:spPr bwMode="gray">
            <a:xfrm>
              <a:off x="4192161" y="2768820"/>
              <a:ext cx="225426" cy="379664"/>
            </a:xfrm>
            <a:custGeom>
              <a:avLst/>
              <a:gdLst/>
              <a:ahLst/>
              <a:cxnLst>
                <a:cxn ang="0">
                  <a:pos x="108" y="8"/>
                </a:cxn>
                <a:cxn ang="0">
                  <a:pos x="108" y="16"/>
                </a:cxn>
                <a:cxn ang="0">
                  <a:pos x="72" y="48"/>
                </a:cxn>
                <a:cxn ang="0">
                  <a:pos x="76" y="48"/>
                </a:cxn>
                <a:cxn ang="0">
                  <a:pos x="44" y="144"/>
                </a:cxn>
                <a:cxn ang="0">
                  <a:pos x="52" y="120"/>
                </a:cxn>
                <a:cxn ang="0">
                  <a:pos x="40" y="116"/>
                </a:cxn>
                <a:cxn ang="0">
                  <a:pos x="36" y="124"/>
                </a:cxn>
                <a:cxn ang="0">
                  <a:pos x="48" y="108"/>
                </a:cxn>
                <a:cxn ang="0">
                  <a:pos x="36" y="104"/>
                </a:cxn>
                <a:cxn ang="0">
                  <a:pos x="36" y="96"/>
                </a:cxn>
                <a:cxn ang="0">
                  <a:pos x="40" y="80"/>
                </a:cxn>
                <a:cxn ang="0">
                  <a:pos x="40" y="68"/>
                </a:cxn>
                <a:cxn ang="0">
                  <a:pos x="60" y="56"/>
                </a:cxn>
                <a:cxn ang="0">
                  <a:pos x="68" y="68"/>
                </a:cxn>
                <a:cxn ang="0">
                  <a:pos x="68" y="76"/>
                </a:cxn>
                <a:cxn ang="0">
                  <a:pos x="68" y="80"/>
                </a:cxn>
                <a:cxn ang="0">
                  <a:pos x="92" y="76"/>
                </a:cxn>
                <a:cxn ang="0">
                  <a:pos x="84" y="104"/>
                </a:cxn>
                <a:cxn ang="0">
                  <a:pos x="68" y="116"/>
                </a:cxn>
                <a:cxn ang="0">
                  <a:pos x="96" y="124"/>
                </a:cxn>
                <a:cxn ang="0">
                  <a:pos x="112" y="152"/>
                </a:cxn>
                <a:cxn ang="0">
                  <a:pos x="124" y="172"/>
                </a:cxn>
                <a:cxn ang="0">
                  <a:pos x="120" y="172"/>
                </a:cxn>
                <a:cxn ang="0">
                  <a:pos x="132" y="188"/>
                </a:cxn>
                <a:cxn ang="0">
                  <a:pos x="140" y="208"/>
                </a:cxn>
                <a:cxn ang="0">
                  <a:pos x="132" y="220"/>
                </a:cxn>
                <a:cxn ang="0">
                  <a:pos x="144" y="228"/>
                </a:cxn>
                <a:cxn ang="0">
                  <a:pos x="124" y="236"/>
                </a:cxn>
                <a:cxn ang="0">
                  <a:pos x="92" y="240"/>
                </a:cxn>
                <a:cxn ang="0">
                  <a:pos x="72" y="244"/>
                </a:cxn>
                <a:cxn ang="0">
                  <a:pos x="44" y="252"/>
                </a:cxn>
                <a:cxn ang="0">
                  <a:pos x="56" y="236"/>
                </a:cxn>
                <a:cxn ang="0">
                  <a:pos x="84" y="220"/>
                </a:cxn>
                <a:cxn ang="0">
                  <a:pos x="68" y="220"/>
                </a:cxn>
                <a:cxn ang="0">
                  <a:pos x="48" y="220"/>
                </a:cxn>
                <a:cxn ang="0">
                  <a:pos x="56" y="208"/>
                </a:cxn>
                <a:cxn ang="0">
                  <a:pos x="56" y="192"/>
                </a:cxn>
                <a:cxn ang="0">
                  <a:pos x="76" y="176"/>
                </a:cxn>
                <a:cxn ang="0">
                  <a:pos x="80" y="160"/>
                </a:cxn>
                <a:cxn ang="0">
                  <a:pos x="80" y="144"/>
                </a:cxn>
                <a:cxn ang="0">
                  <a:pos x="56" y="148"/>
                </a:cxn>
                <a:cxn ang="0">
                  <a:pos x="24" y="72"/>
                </a:cxn>
                <a:cxn ang="0">
                  <a:pos x="24" y="60"/>
                </a:cxn>
                <a:cxn ang="0">
                  <a:pos x="24" y="68"/>
                </a:cxn>
                <a:cxn ang="0">
                  <a:pos x="32" y="92"/>
                </a:cxn>
                <a:cxn ang="0">
                  <a:pos x="24" y="84"/>
                </a:cxn>
                <a:cxn ang="0">
                  <a:pos x="36" y="92"/>
                </a:cxn>
                <a:cxn ang="0">
                  <a:pos x="12" y="92"/>
                </a:cxn>
                <a:cxn ang="0">
                  <a:pos x="12" y="96"/>
                </a:cxn>
                <a:cxn ang="0">
                  <a:pos x="24" y="104"/>
                </a:cxn>
                <a:cxn ang="0">
                  <a:pos x="28" y="108"/>
                </a:cxn>
                <a:cxn ang="0">
                  <a:pos x="16" y="104"/>
                </a:cxn>
                <a:cxn ang="0">
                  <a:pos x="28" y="128"/>
                </a:cxn>
                <a:cxn ang="0">
                  <a:pos x="48" y="124"/>
                </a:cxn>
                <a:cxn ang="0">
                  <a:pos x="16" y="156"/>
                </a:cxn>
                <a:cxn ang="0">
                  <a:pos x="4" y="148"/>
                </a:cxn>
                <a:cxn ang="0">
                  <a:pos x="36" y="144"/>
                </a:cxn>
                <a:cxn ang="0">
                  <a:pos x="40" y="156"/>
                </a:cxn>
                <a:cxn ang="0">
                  <a:pos x="56" y="176"/>
                </a:cxn>
                <a:cxn ang="0">
                  <a:pos x="104" y="240"/>
                </a:cxn>
              </a:cxnLst>
              <a:rect l="0" t="0" r="r" b="b"/>
              <a:pathLst>
                <a:path w="152" h="256">
                  <a:moveTo>
                    <a:pt x="84" y="40"/>
                  </a:moveTo>
                  <a:lnTo>
                    <a:pt x="88" y="40"/>
                  </a:lnTo>
                  <a:lnTo>
                    <a:pt x="84" y="40"/>
                  </a:lnTo>
                  <a:close/>
                  <a:moveTo>
                    <a:pt x="112" y="4"/>
                  </a:moveTo>
                  <a:lnTo>
                    <a:pt x="108" y="4"/>
                  </a:lnTo>
                  <a:lnTo>
                    <a:pt x="112" y="0"/>
                  </a:lnTo>
                  <a:lnTo>
                    <a:pt x="112" y="4"/>
                  </a:lnTo>
                  <a:close/>
                  <a:moveTo>
                    <a:pt x="108" y="8"/>
                  </a:moveTo>
                  <a:lnTo>
                    <a:pt x="108" y="4"/>
                  </a:lnTo>
                  <a:lnTo>
                    <a:pt x="108" y="8"/>
                  </a:lnTo>
                  <a:close/>
                  <a:moveTo>
                    <a:pt x="100" y="16"/>
                  </a:moveTo>
                  <a:lnTo>
                    <a:pt x="104" y="12"/>
                  </a:lnTo>
                  <a:lnTo>
                    <a:pt x="100" y="12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08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4" y="20"/>
                  </a:lnTo>
                  <a:lnTo>
                    <a:pt x="104" y="16"/>
                  </a:lnTo>
                  <a:lnTo>
                    <a:pt x="100" y="20"/>
                  </a:lnTo>
                  <a:lnTo>
                    <a:pt x="100" y="16"/>
                  </a:lnTo>
                  <a:close/>
                  <a:moveTo>
                    <a:pt x="80" y="48"/>
                  </a:moveTo>
                  <a:lnTo>
                    <a:pt x="76" y="48"/>
                  </a:lnTo>
                  <a:lnTo>
                    <a:pt x="72" y="48"/>
                  </a:lnTo>
                  <a:lnTo>
                    <a:pt x="72" y="44"/>
                  </a:lnTo>
                  <a:lnTo>
                    <a:pt x="76" y="44"/>
                  </a:lnTo>
                  <a:lnTo>
                    <a:pt x="80" y="44"/>
                  </a:lnTo>
                  <a:lnTo>
                    <a:pt x="80" y="48"/>
                  </a:lnTo>
                  <a:lnTo>
                    <a:pt x="84" y="48"/>
                  </a:lnTo>
                  <a:lnTo>
                    <a:pt x="80" y="48"/>
                  </a:lnTo>
                  <a:close/>
                  <a:moveTo>
                    <a:pt x="76" y="52"/>
                  </a:moveTo>
                  <a:lnTo>
                    <a:pt x="72" y="52"/>
                  </a:lnTo>
                  <a:lnTo>
                    <a:pt x="72" y="48"/>
                  </a:lnTo>
                  <a:lnTo>
                    <a:pt x="76" y="48"/>
                  </a:lnTo>
                  <a:lnTo>
                    <a:pt x="76" y="52"/>
                  </a:lnTo>
                  <a:close/>
                  <a:moveTo>
                    <a:pt x="80" y="52"/>
                  </a:moveTo>
                  <a:lnTo>
                    <a:pt x="76" y="52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80" y="52"/>
                  </a:lnTo>
                  <a:close/>
                  <a:moveTo>
                    <a:pt x="52" y="148"/>
                  </a:moveTo>
                  <a:lnTo>
                    <a:pt x="48" y="148"/>
                  </a:lnTo>
                  <a:lnTo>
                    <a:pt x="48" y="144"/>
                  </a:lnTo>
                  <a:lnTo>
                    <a:pt x="44" y="144"/>
                  </a:lnTo>
                  <a:lnTo>
                    <a:pt x="44" y="140"/>
                  </a:lnTo>
                  <a:lnTo>
                    <a:pt x="48" y="140"/>
                  </a:lnTo>
                  <a:lnTo>
                    <a:pt x="48" y="136"/>
                  </a:lnTo>
                  <a:lnTo>
                    <a:pt x="52" y="136"/>
                  </a:lnTo>
                  <a:lnTo>
                    <a:pt x="52" y="132"/>
                  </a:lnTo>
                  <a:lnTo>
                    <a:pt x="52" y="128"/>
                  </a:lnTo>
                  <a:lnTo>
                    <a:pt x="52" y="124"/>
                  </a:lnTo>
                  <a:lnTo>
                    <a:pt x="48" y="124"/>
                  </a:lnTo>
                  <a:lnTo>
                    <a:pt x="48" y="120"/>
                  </a:lnTo>
                  <a:lnTo>
                    <a:pt x="52" y="120"/>
                  </a:lnTo>
                  <a:lnTo>
                    <a:pt x="56" y="120"/>
                  </a:lnTo>
                  <a:lnTo>
                    <a:pt x="52" y="120"/>
                  </a:lnTo>
                  <a:lnTo>
                    <a:pt x="52" y="116"/>
                  </a:lnTo>
                  <a:lnTo>
                    <a:pt x="48" y="116"/>
                  </a:lnTo>
                  <a:lnTo>
                    <a:pt x="48" y="120"/>
                  </a:lnTo>
                  <a:lnTo>
                    <a:pt x="44" y="120"/>
                  </a:lnTo>
                  <a:lnTo>
                    <a:pt x="44" y="116"/>
                  </a:lnTo>
                  <a:lnTo>
                    <a:pt x="48" y="112"/>
                  </a:lnTo>
                  <a:lnTo>
                    <a:pt x="44" y="116"/>
                  </a:lnTo>
                  <a:lnTo>
                    <a:pt x="40" y="116"/>
                  </a:lnTo>
                  <a:lnTo>
                    <a:pt x="40" y="120"/>
                  </a:lnTo>
                  <a:lnTo>
                    <a:pt x="44" y="124"/>
                  </a:lnTo>
                  <a:lnTo>
                    <a:pt x="40" y="124"/>
                  </a:lnTo>
                  <a:lnTo>
                    <a:pt x="40" y="132"/>
                  </a:lnTo>
                  <a:lnTo>
                    <a:pt x="36" y="136"/>
                  </a:lnTo>
                  <a:lnTo>
                    <a:pt x="36" y="132"/>
                  </a:lnTo>
                  <a:lnTo>
                    <a:pt x="36" y="128"/>
                  </a:lnTo>
                  <a:lnTo>
                    <a:pt x="36" y="124"/>
                  </a:lnTo>
                  <a:lnTo>
                    <a:pt x="40" y="124"/>
                  </a:lnTo>
                  <a:lnTo>
                    <a:pt x="36" y="124"/>
                  </a:lnTo>
                  <a:lnTo>
                    <a:pt x="36" y="120"/>
                  </a:lnTo>
                  <a:lnTo>
                    <a:pt x="40" y="120"/>
                  </a:lnTo>
                  <a:lnTo>
                    <a:pt x="40" y="116"/>
                  </a:lnTo>
                  <a:lnTo>
                    <a:pt x="36" y="120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4" y="108"/>
                  </a:lnTo>
                  <a:lnTo>
                    <a:pt x="48" y="108"/>
                  </a:lnTo>
                  <a:lnTo>
                    <a:pt x="48" y="104"/>
                  </a:lnTo>
                  <a:lnTo>
                    <a:pt x="44" y="108"/>
                  </a:lnTo>
                  <a:lnTo>
                    <a:pt x="44" y="104"/>
                  </a:lnTo>
                  <a:lnTo>
                    <a:pt x="44" y="100"/>
                  </a:lnTo>
                  <a:lnTo>
                    <a:pt x="48" y="100"/>
                  </a:lnTo>
                  <a:lnTo>
                    <a:pt x="44" y="100"/>
                  </a:lnTo>
                  <a:lnTo>
                    <a:pt x="40" y="104"/>
                  </a:lnTo>
                  <a:lnTo>
                    <a:pt x="36" y="104"/>
                  </a:lnTo>
                  <a:lnTo>
                    <a:pt x="32" y="104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40" y="100"/>
                  </a:lnTo>
                  <a:lnTo>
                    <a:pt x="36" y="100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32" y="100"/>
                  </a:lnTo>
                  <a:lnTo>
                    <a:pt x="36" y="100"/>
                  </a:lnTo>
                  <a:lnTo>
                    <a:pt x="36" y="96"/>
                  </a:lnTo>
                  <a:lnTo>
                    <a:pt x="40" y="96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6" y="96"/>
                  </a:lnTo>
                  <a:lnTo>
                    <a:pt x="40" y="96"/>
                  </a:lnTo>
                  <a:lnTo>
                    <a:pt x="36" y="92"/>
                  </a:lnTo>
                  <a:lnTo>
                    <a:pt x="40" y="92"/>
                  </a:lnTo>
                  <a:lnTo>
                    <a:pt x="40" y="88"/>
                  </a:lnTo>
                  <a:lnTo>
                    <a:pt x="40" y="84"/>
                  </a:lnTo>
                  <a:lnTo>
                    <a:pt x="36" y="84"/>
                  </a:lnTo>
                  <a:lnTo>
                    <a:pt x="36" y="80"/>
                  </a:lnTo>
                  <a:lnTo>
                    <a:pt x="40" y="80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76"/>
                  </a:lnTo>
                  <a:lnTo>
                    <a:pt x="40" y="72"/>
                  </a:lnTo>
                  <a:lnTo>
                    <a:pt x="44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60"/>
                  </a:lnTo>
                  <a:lnTo>
                    <a:pt x="56" y="56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8" y="56"/>
                  </a:lnTo>
                  <a:lnTo>
                    <a:pt x="72" y="56"/>
                  </a:lnTo>
                  <a:lnTo>
                    <a:pt x="76" y="56"/>
                  </a:lnTo>
                  <a:lnTo>
                    <a:pt x="80" y="56"/>
                  </a:lnTo>
                  <a:lnTo>
                    <a:pt x="76" y="60"/>
                  </a:lnTo>
                  <a:lnTo>
                    <a:pt x="76" y="64"/>
                  </a:lnTo>
                  <a:lnTo>
                    <a:pt x="72" y="64"/>
                  </a:lnTo>
                  <a:lnTo>
                    <a:pt x="72" y="68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4" y="76"/>
                  </a:lnTo>
                  <a:lnTo>
                    <a:pt x="64" y="72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56" y="80"/>
                  </a:lnTo>
                  <a:lnTo>
                    <a:pt x="60" y="80"/>
                  </a:lnTo>
                  <a:lnTo>
                    <a:pt x="60" y="76"/>
                  </a:lnTo>
                  <a:lnTo>
                    <a:pt x="64" y="80"/>
                  </a:lnTo>
                  <a:lnTo>
                    <a:pt x="60" y="80"/>
                  </a:lnTo>
                  <a:lnTo>
                    <a:pt x="60" y="84"/>
                  </a:lnTo>
                  <a:lnTo>
                    <a:pt x="64" y="80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72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76"/>
                  </a:lnTo>
                  <a:lnTo>
                    <a:pt x="84" y="76"/>
                  </a:lnTo>
                  <a:lnTo>
                    <a:pt x="88" y="80"/>
                  </a:lnTo>
                  <a:lnTo>
                    <a:pt x="92" y="80"/>
                  </a:lnTo>
                  <a:lnTo>
                    <a:pt x="92" y="76"/>
                  </a:lnTo>
                  <a:lnTo>
                    <a:pt x="96" y="76"/>
                  </a:lnTo>
                  <a:lnTo>
                    <a:pt x="96" y="80"/>
                  </a:lnTo>
                  <a:lnTo>
                    <a:pt x="96" y="84"/>
                  </a:lnTo>
                  <a:lnTo>
                    <a:pt x="96" y="88"/>
                  </a:lnTo>
                  <a:lnTo>
                    <a:pt x="92" y="88"/>
                  </a:lnTo>
                  <a:lnTo>
                    <a:pt x="92" y="92"/>
                  </a:lnTo>
                  <a:lnTo>
                    <a:pt x="92" y="96"/>
                  </a:lnTo>
                  <a:lnTo>
                    <a:pt x="88" y="100"/>
                  </a:lnTo>
                  <a:lnTo>
                    <a:pt x="88" y="104"/>
                  </a:lnTo>
                  <a:lnTo>
                    <a:pt x="84" y="104"/>
                  </a:lnTo>
                  <a:lnTo>
                    <a:pt x="84" y="108"/>
                  </a:lnTo>
                  <a:lnTo>
                    <a:pt x="80" y="108"/>
                  </a:lnTo>
                  <a:lnTo>
                    <a:pt x="76" y="108"/>
                  </a:lnTo>
                  <a:lnTo>
                    <a:pt x="80" y="108"/>
                  </a:lnTo>
                  <a:lnTo>
                    <a:pt x="84" y="108"/>
                  </a:lnTo>
                  <a:lnTo>
                    <a:pt x="84" y="112"/>
                  </a:lnTo>
                  <a:lnTo>
                    <a:pt x="80" y="112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68" y="116"/>
                  </a:lnTo>
                  <a:lnTo>
                    <a:pt x="72" y="116"/>
                  </a:lnTo>
                  <a:lnTo>
                    <a:pt x="76" y="120"/>
                  </a:lnTo>
                  <a:lnTo>
                    <a:pt x="80" y="120"/>
                  </a:lnTo>
                  <a:lnTo>
                    <a:pt x="80" y="116"/>
                  </a:lnTo>
                  <a:lnTo>
                    <a:pt x="84" y="116"/>
                  </a:lnTo>
                  <a:lnTo>
                    <a:pt x="88" y="116"/>
                  </a:lnTo>
                  <a:lnTo>
                    <a:pt x="88" y="120"/>
                  </a:lnTo>
                  <a:lnTo>
                    <a:pt x="92" y="120"/>
                  </a:lnTo>
                  <a:lnTo>
                    <a:pt x="92" y="124"/>
                  </a:lnTo>
                  <a:lnTo>
                    <a:pt x="96" y="124"/>
                  </a:lnTo>
                  <a:lnTo>
                    <a:pt x="96" y="128"/>
                  </a:lnTo>
                  <a:lnTo>
                    <a:pt x="100" y="128"/>
                  </a:lnTo>
                  <a:lnTo>
                    <a:pt x="100" y="132"/>
                  </a:lnTo>
                  <a:lnTo>
                    <a:pt x="100" y="136"/>
                  </a:lnTo>
                  <a:lnTo>
                    <a:pt x="100" y="140"/>
                  </a:lnTo>
                  <a:lnTo>
                    <a:pt x="104" y="140"/>
                  </a:lnTo>
                  <a:lnTo>
                    <a:pt x="104" y="144"/>
                  </a:lnTo>
                  <a:lnTo>
                    <a:pt x="104" y="148"/>
                  </a:lnTo>
                  <a:lnTo>
                    <a:pt x="108" y="148"/>
                  </a:lnTo>
                  <a:lnTo>
                    <a:pt x="112" y="152"/>
                  </a:lnTo>
                  <a:lnTo>
                    <a:pt x="116" y="152"/>
                  </a:lnTo>
                  <a:lnTo>
                    <a:pt x="116" y="156"/>
                  </a:lnTo>
                  <a:lnTo>
                    <a:pt x="120" y="156"/>
                  </a:lnTo>
                  <a:lnTo>
                    <a:pt x="120" y="160"/>
                  </a:lnTo>
                  <a:lnTo>
                    <a:pt x="124" y="160"/>
                  </a:lnTo>
                  <a:lnTo>
                    <a:pt x="120" y="160"/>
                  </a:lnTo>
                  <a:lnTo>
                    <a:pt x="120" y="164"/>
                  </a:lnTo>
                  <a:lnTo>
                    <a:pt x="120" y="168"/>
                  </a:lnTo>
                  <a:lnTo>
                    <a:pt x="124" y="168"/>
                  </a:lnTo>
                  <a:lnTo>
                    <a:pt x="124" y="172"/>
                  </a:lnTo>
                  <a:lnTo>
                    <a:pt x="128" y="172"/>
                  </a:lnTo>
                  <a:lnTo>
                    <a:pt x="124" y="176"/>
                  </a:lnTo>
                  <a:lnTo>
                    <a:pt x="124" y="172"/>
                  </a:lnTo>
                  <a:lnTo>
                    <a:pt x="128" y="172"/>
                  </a:lnTo>
                  <a:lnTo>
                    <a:pt x="124" y="172"/>
                  </a:lnTo>
                  <a:lnTo>
                    <a:pt x="120" y="172"/>
                  </a:lnTo>
                  <a:lnTo>
                    <a:pt x="116" y="172"/>
                  </a:lnTo>
                  <a:lnTo>
                    <a:pt x="112" y="172"/>
                  </a:lnTo>
                  <a:lnTo>
                    <a:pt x="116" y="172"/>
                  </a:lnTo>
                  <a:lnTo>
                    <a:pt x="120" y="172"/>
                  </a:lnTo>
                  <a:lnTo>
                    <a:pt x="124" y="172"/>
                  </a:lnTo>
                  <a:lnTo>
                    <a:pt x="124" y="176"/>
                  </a:lnTo>
                  <a:lnTo>
                    <a:pt x="128" y="176"/>
                  </a:lnTo>
                  <a:lnTo>
                    <a:pt x="128" y="180"/>
                  </a:lnTo>
                  <a:lnTo>
                    <a:pt x="128" y="184"/>
                  </a:lnTo>
                  <a:lnTo>
                    <a:pt x="128" y="188"/>
                  </a:lnTo>
                  <a:lnTo>
                    <a:pt x="124" y="188"/>
                  </a:lnTo>
                  <a:lnTo>
                    <a:pt x="128" y="192"/>
                  </a:lnTo>
                  <a:lnTo>
                    <a:pt x="132" y="192"/>
                  </a:lnTo>
                  <a:lnTo>
                    <a:pt x="132" y="188"/>
                  </a:lnTo>
                  <a:lnTo>
                    <a:pt x="136" y="188"/>
                  </a:lnTo>
                  <a:lnTo>
                    <a:pt x="140" y="188"/>
                  </a:lnTo>
                  <a:lnTo>
                    <a:pt x="144" y="188"/>
                  </a:lnTo>
                  <a:lnTo>
                    <a:pt x="148" y="192"/>
                  </a:lnTo>
                  <a:lnTo>
                    <a:pt x="152" y="196"/>
                  </a:lnTo>
                  <a:lnTo>
                    <a:pt x="152" y="200"/>
                  </a:lnTo>
                  <a:lnTo>
                    <a:pt x="148" y="204"/>
                  </a:lnTo>
                  <a:lnTo>
                    <a:pt x="148" y="208"/>
                  </a:lnTo>
                  <a:lnTo>
                    <a:pt x="144" y="212"/>
                  </a:lnTo>
                  <a:lnTo>
                    <a:pt x="140" y="208"/>
                  </a:lnTo>
                  <a:lnTo>
                    <a:pt x="144" y="212"/>
                  </a:lnTo>
                  <a:lnTo>
                    <a:pt x="144" y="216"/>
                  </a:lnTo>
                  <a:lnTo>
                    <a:pt x="140" y="216"/>
                  </a:lnTo>
                  <a:lnTo>
                    <a:pt x="140" y="212"/>
                  </a:lnTo>
                  <a:lnTo>
                    <a:pt x="140" y="216"/>
                  </a:lnTo>
                  <a:lnTo>
                    <a:pt x="136" y="216"/>
                  </a:lnTo>
                  <a:lnTo>
                    <a:pt x="140" y="216"/>
                  </a:lnTo>
                  <a:lnTo>
                    <a:pt x="140" y="220"/>
                  </a:lnTo>
                  <a:lnTo>
                    <a:pt x="136" y="220"/>
                  </a:lnTo>
                  <a:lnTo>
                    <a:pt x="132" y="220"/>
                  </a:lnTo>
                  <a:lnTo>
                    <a:pt x="128" y="224"/>
                  </a:lnTo>
                  <a:lnTo>
                    <a:pt x="132" y="224"/>
                  </a:lnTo>
                  <a:lnTo>
                    <a:pt x="132" y="220"/>
                  </a:lnTo>
                  <a:lnTo>
                    <a:pt x="136" y="220"/>
                  </a:lnTo>
                  <a:lnTo>
                    <a:pt x="136" y="224"/>
                  </a:lnTo>
                  <a:lnTo>
                    <a:pt x="132" y="224"/>
                  </a:lnTo>
                  <a:lnTo>
                    <a:pt x="136" y="224"/>
                  </a:lnTo>
                  <a:lnTo>
                    <a:pt x="140" y="224"/>
                  </a:lnTo>
                  <a:lnTo>
                    <a:pt x="144" y="224"/>
                  </a:lnTo>
                  <a:lnTo>
                    <a:pt x="144" y="228"/>
                  </a:lnTo>
                  <a:lnTo>
                    <a:pt x="144" y="232"/>
                  </a:lnTo>
                  <a:lnTo>
                    <a:pt x="140" y="232"/>
                  </a:lnTo>
                  <a:lnTo>
                    <a:pt x="140" y="236"/>
                  </a:lnTo>
                  <a:lnTo>
                    <a:pt x="136" y="236"/>
                  </a:lnTo>
                  <a:lnTo>
                    <a:pt x="136" y="232"/>
                  </a:lnTo>
                  <a:lnTo>
                    <a:pt x="136" y="236"/>
                  </a:lnTo>
                  <a:lnTo>
                    <a:pt x="132" y="236"/>
                  </a:lnTo>
                  <a:lnTo>
                    <a:pt x="128" y="236"/>
                  </a:lnTo>
                  <a:lnTo>
                    <a:pt x="128" y="240"/>
                  </a:lnTo>
                  <a:lnTo>
                    <a:pt x="124" y="236"/>
                  </a:lnTo>
                  <a:lnTo>
                    <a:pt x="120" y="236"/>
                  </a:lnTo>
                  <a:lnTo>
                    <a:pt x="116" y="236"/>
                  </a:lnTo>
                  <a:lnTo>
                    <a:pt x="112" y="236"/>
                  </a:lnTo>
                  <a:lnTo>
                    <a:pt x="112" y="240"/>
                  </a:lnTo>
                  <a:lnTo>
                    <a:pt x="112" y="236"/>
                  </a:lnTo>
                  <a:lnTo>
                    <a:pt x="108" y="236"/>
                  </a:lnTo>
                  <a:lnTo>
                    <a:pt x="104" y="236"/>
                  </a:lnTo>
                  <a:lnTo>
                    <a:pt x="100" y="240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88" y="240"/>
                  </a:lnTo>
                  <a:lnTo>
                    <a:pt x="88" y="244"/>
                  </a:lnTo>
                  <a:lnTo>
                    <a:pt x="88" y="240"/>
                  </a:lnTo>
                  <a:lnTo>
                    <a:pt x="84" y="240"/>
                  </a:lnTo>
                  <a:lnTo>
                    <a:pt x="80" y="240"/>
                  </a:lnTo>
                  <a:lnTo>
                    <a:pt x="76" y="240"/>
                  </a:lnTo>
                  <a:lnTo>
                    <a:pt x="72" y="240"/>
                  </a:lnTo>
                  <a:lnTo>
                    <a:pt x="72" y="244"/>
                  </a:lnTo>
                  <a:lnTo>
                    <a:pt x="68" y="248"/>
                  </a:lnTo>
                  <a:lnTo>
                    <a:pt x="68" y="252"/>
                  </a:lnTo>
                  <a:lnTo>
                    <a:pt x="64" y="248"/>
                  </a:lnTo>
                  <a:lnTo>
                    <a:pt x="60" y="248"/>
                  </a:lnTo>
                  <a:lnTo>
                    <a:pt x="56" y="248"/>
                  </a:lnTo>
                  <a:lnTo>
                    <a:pt x="52" y="248"/>
                  </a:lnTo>
                  <a:lnTo>
                    <a:pt x="48" y="252"/>
                  </a:lnTo>
                  <a:lnTo>
                    <a:pt x="48" y="256"/>
                  </a:lnTo>
                  <a:lnTo>
                    <a:pt x="44" y="256"/>
                  </a:lnTo>
                  <a:lnTo>
                    <a:pt x="44" y="252"/>
                  </a:lnTo>
                  <a:lnTo>
                    <a:pt x="40" y="252"/>
                  </a:lnTo>
                  <a:lnTo>
                    <a:pt x="40" y="256"/>
                  </a:lnTo>
                  <a:lnTo>
                    <a:pt x="36" y="256"/>
                  </a:lnTo>
                  <a:lnTo>
                    <a:pt x="36" y="252"/>
                  </a:lnTo>
                  <a:lnTo>
                    <a:pt x="40" y="252"/>
                  </a:lnTo>
                  <a:lnTo>
                    <a:pt x="44" y="248"/>
                  </a:lnTo>
                  <a:lnTo>
                    <a:pt x="48" y="244"/>
                  </a:lnTo>
                  <a:lnTo>
                    <a:pt x="48" y="240"/>
                  </a:lnTo>
                  <a:lnTo>
                    <a:pt x="52" y="240"/>
                  </a:lnTo>
                  <a:lnTo>
                    <a:pt x="56" y="236"/>
                  </a:lnTo>
                  <a:lnTo>
                    <a:pt x="56" y="232"/>
                  </a:lnTo>
                  <a:lnTo>
                    <a:pt x="60" y="232"/>
                  </a:lnTo>
                  <a:lnTo>
                    <a:pt x="60" y="228"/>
                  </a:lnTo>
                  <a:lnTo>
                    <a:pt x="64" y="228"/>
                  </a:lnTo>
                  <a:lnTo>
                    <a:pt x="68" y="228"/>
                  </a:lnTo>
                  <a:lnTo>
                    <a:pt x="72" y="228"/>
                  </a:lnTo>
                  <a:lnTo>
                    <a:pt x="80" y="228"/>
                  </a:lnTo>
                  <a:lnTo>
                    <a:pt x="80" y="224"/>
                  </a:lnTo>
                  <a:lnTo>
                    <a:pt x="80" y="220"/>
                  </a:lnTo>
                  <a:lnTo>
                    <a:pt x="84" y="220"/>
                  </a:lnTo>
                  <a:lnTo>
                    <a:pt x="84" y="216"/>
                  </a:lnTo>
                  <a:lnTo>
                    <a:pt x="88" y="216"/>
                  </a:lnTo>
                  <a:lnTo>
                    <a:pt x="84" y="216"/>
                  </a:lnTo>
                  <a:lnTo>
                    <a:pt x="84" y="220"/>
                  </a:lnTo>
                  <a:lnTo>
                    <a:pt x="80" y="220"/>
                  </a:lnTo>
                  <a:lnTo>
                    <a:pt x="76" y="220"/>
                  </a:lnTo>
                  <a:lnTo>
                    <a:pt x="76" y="224"/>
                  </a:lnTo>
                  <a:lnTo>
                    <a:pt x="72" y="224"/>
                  </a:lnTo>
                  <a:lnTo>
                    <a:pt x="68" y="224"/>
                  </a:lnTo>
                  <a:lnTo>
                    <a:pt x="68" y="220"/>
                  </a:lnTo>
                  <a:lnTo>
                    <a:pt x="64" y="220"/>
                  </a:lnTo>
                  <a:lnTo>
                    <a:pt x="60" y="220"/>
                  </a:lnTo>
                  <a:lnTo>
                    <a:pt x="64" y="216"/>
                  </a:lnTo>
                  <a:lnTo>
                    <a:pt x="60" y="216"/>
                  </a:lnTo>
                  <a:lnTo>
                    <a:pt x="56" y="216"/>
                  </a:lnTo>
                  <a:lnTo>
                    <a:pt x="52" y="216"/>
                  </a:lnTo>
                  <a:lnTo>
                    <a:pt x="52" y="220"/>
                  </a:lnTo>
                  <a:lnTo>
                    <a:pt x="52" y="216"/>
                  </a:lnTo>
                  <a:lnTo>
                    <a:pt x="52" y="220"/>
                  </a:lnTo>
                  <a:lnTo>
                    <a:pt x="48" y="220"/>
                  </a:lnTo>
                  <a:lnTo>
                    <a:pt x="48" y="216"/>
                  </a:lnTo>
                  <a:lnTo>
                    <a:pt x="52" y="216"/>
                  </a:lnTo>
                  <a:lnTo>
                    <a:pt x="48" y="216"/>
                  </a:lnTo>
                  <a:lnTo>
                    <a:pt x="44" y="216"/>
                  </a:lnTo>
                  <a:lnTo>
                    <a:pt x="48" y="216"/>
                  </a:lnTo>
                  <a:lnTo>
                    <a:pt x="48" y="212"/>
                  </a:lnTo>
                  <a:lnTo>
                    <a:pt x="44" y="212"/>
                  </a:lnTo>
                  <a:lnTo>
                    <a:pt x="48" y="212"/>
                  </a:lnTo>
                  <a:lnTo>
                    <a:pt x="52" y="208"/>
                  </a:lnTo>
                  <a:lnTo>
                    <a:pt x="56" y="208"/>
                  </a:lnTo>
                  <a:lnTo>
                    <a:pt x="60" y="204"/>
                  </a:lnTo>
                  <a:lnTo>
                    <a:pt x="60" y="200"/>
                  </a:lnTo>
                  <a:lnTo>
                    <a:pt x="64" y="200"/>
                  </a:lnTo>
                  <a:lnTo>
                    <a:pt x="64" y="196"/>
                  </a:lnTo>
                  <a:lnTo>
                    <a:pt x="60" y="196"/>
                  </a:lnTo>
                  <a:lnTo>
                    <a:pt x="64" y="192"/>
                  </a:lnTo>
                  <a:lnTo>
                    <a:pt x="60" y="192"/>
                  </a:lnTo>
                  <a:lnTo>
                    <a:pt x="60" y="188"/>
                  </a:lnTo>
                  <a:lnTo>
                    <a:pt x="56" y="188"/>
                  </a:lnTo>
                  <a:lnTo>
                    <a:pt x="56" y="192"/>
                  </a:lnTo>
                  <a:lnTo>
                    <a:pt x="52" y="192"/>
                  </a:lnTo>
                  <a:lnTo>
                    <a:pt x="52" y="188"/>
                  </a:lnTo>
                  <a:lnTo>
                    <a:pt x="56" y="188"/>
                  </a:lnTo>
                  <a:lnTo>
                    <a:pt x="60" y="184"/>
                  </a:lnTo>
                  <a:lnTo>
                    <a:pt x="60" y="180"/>
                  </a:lnTo>
                  <a:lnTo>
                    <a:pt x="64" y="180"/>
                  </a:lnTo>
                  <a:lnTo>
                    <a:pt x="68" y="180"/>
                  </a:lnTo>
                  <a:lnTo>
                    <a:pt x="72" y="180"/>
                  </a:lnTo>
                  <a:lnTo>
                    <a:pt x="76" y="180"/>
                  </a:lnTo>
                  <a:lnTo>
                    <a:pt x="76" y="176"/>
                  </a:lnTo>
                  <a:lnTo>
                    <a:pt x="80" y="180"/>
                  </a:lnTo>
                  <a:lnTo>
                    <a:pt x="84" y="180"/>
                  </a:lnTo>
                  <a:lnTo>
                    <a:pt x="80" y="180"/>
                  </a:lnTo>
                  <a:lnTo>
                    <a:pt x="80" y="176"/>
                  </a:lnTo>
                  <a:lnTo>
                    <a:pt x="76" y="176"/>
                  </a:lnTo>
                  <a:lnTo>
                    <a:pt x="76" y="172"/>
                  </a:lnTo>
                  <a:lnTo>
                    <a:pt x="80" y="172"/>
                  </a:lnTo>
                  <a:lnTo>
                    <a:pt x="76" y="168"/>
                  </a:lnTo>
                  <a:lnTo>
                    <a:pt x="80" y="164"/>
                  </a:lnTo>
                  <a:lnTo>
                    <a:pt x="80" y="160"/>
                  </a:lnTo>
                  <a:lnTo>
                    <a:pt x="76" y="164"/>
                  </a:lnTo>
                  <a:lnTo>
                    <a:pt x="76" y="160"/>
                  </a:lnTo>
                  <a:lnTo>
                    <a:pt x="72" y="160"/>
                  </a:lnTo>
                  <a:lnTo>
                    <a:pt x="72" y="156"/>
                  </a:lnTo>
                  <a:lnTo>
                    <a:pt x="72" y="152"/>
                  </a:lnTo>
                  <a:lnTo>
                    <a:pt x="68" y="152"/>
                  </a:lnTo>
                  <a:lnTo>
                    <a:pt x="68" y="148"/>
                  </a:lnTo>
                  <a:lnTo>
                    <a:pt x="72" y="144"/>
                  </a:lnTo>
                  <a:lnTo>
                    <a:pt x="76" y="144"/>
                  </a:lnTo>
                  <a:lnTo>
                    <a:pt x="80" y="144"/>
                  </a:lnTo>
                  <a:lnTo>
                    <a:pt x="80" y="140"/>
                  </a:lnTo>
                  <a:lnTo>
                    <a:pt x="76" y="140"/>
                  </a:lnTo>
                  <a:lnTo>
                    <a:pt x="72" y="140"/>
                  </a:lnTo>
                  <a:lnTo>
                    <a:pt x="68" y="140"/>
                  </a:lnTo>
                  <a:lnTo>
                    <a:pt x="68" y="144"/>
                  </a:lnTo>
                  <a:lnTo>
                    <a:pt x="64" y="144"/>
                  </a:lnTo>
                  <a:lnTo>
                    <a:pt x="64" y="148"/>
                  </a:lnTo>
                  <a:lnTo>
                    <a:pt x="60" y="148"/>
                  </a:lnTo>
                  <a:lnTo>
                    <a:pt x="56" y="144"/>
                  </a:lnTo>
                  <a:lnTo>
                    <a:pt x="56" y="148"/>
                  </a:lnTo>
                  <a:lnTo>
                    <a:pt x="60" y="148"/>
                  </a:lnTo>
                  <a:lnTo>
                    <a:pt x="56" y="148"/>
                  </a:lnTo>
                  <a:lnTo>
                    <a:pt x="52" y="144"/>
                  </a:lnTo>
                  <a:lnTo>
                    <a:pt x="48" y="144"/>
                  </a:lnTo>
                  <a:lnTo>
                    <a:pt x="48" y="148"/>
                  </a:lnTo>
                  <a:lnTo>
                    <a:pt x="52" y="148"/>
                  </a:lnTo>
                  <a:close/>
                  <a:moveTo>
                    <a:pt x="24" y="72"/>
                  </a:moveTo>
                  <a:lnTo>
                    <a:pt x="24" y="68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4" y="60"/>
                  </a:lnTo>
                  <a:lnTo>
                    <a:pt x="28" y="60"/>
                  </a:lnTo>
                  <a:lnTo>
                    <a:pt x="28" y="56"/>
                  </a:lnTo>
                  <a:lnTo>
                    <a:pt x="28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32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4" y="72"/>
                  </a:lnTo>
                  <a:close/>
                  <a:moveTo>
                    <a:pt x="16" y="80"/>
                  </a:moveTo>
                  <a:lnTo>
                    <a:pt x="12" y="80"/>
                  </a:lnTo>
                  <a:lnTo>
                    <a:pt x="8" y="80"/>
                  </a:lnTo>
                  <a:lnTo>
                    <a:pt x="12" y="80"/>
                  </a:lnTo>
                  <a:lnTo>
                    <a:pt x="16" y="76"/>
                  </a:lnTo>
                  <a:lnTo>
                    <a:pt x="16" y="80"/>
                  </a:lnTo>
                  <a:close/>
                  <a:moveTo>
                    <a:pt x="36" y="92"/>
                  </a:moveTo>
                  <a:lnTo>
                    <a:pt x="32" y="92"/>
                  </a:lnTo>
                  <a:lnTo>
                    <a:pt x="32" y="88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28" y="92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24" y="84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32" y="80"/>
                  </a:lnTo>
                  <a:lnTo>
                    <a:pt x="32" y="84"/>
                  </a:lnTo>
                  <a:lnTo>
                    <a:pt x="32" y="88"/>
                  </a:lnTo>
                  <a:lnTo>
                    <a:pt x="36" y="88"/>
                  </a:lnTo>
                  <a:lnTo>
                    <a:pt x="40" y="88"/>
                  </a:lnTo>
                  <a:lnTo>
                    <a:pt x="36" y="92"/>
                  </a:lnTo>
                  <a:close/>
                  <a:moveTo>
                    <a:pt x="32" y="88"/>
                  </a:moveTo>
                  <a:lnTo>
                    <a:pt x="32" y="84"/>
                  </a:lnTo>
                  <a:lnTo>
                    <a:pt x="32" y="80"/>
                  </a:lnTo>
                  <a:lnTo>
                    <a:pt x="32" y="84"/>
                  </a:lnTo>
                  <a:lnTo>
                    <a:pt x="32" y="88"/>
                  </a:lnTo>
                  <a:close/>
                  <a:moveTo>
                    <a:pt x="12" y="84"/>
                  </a:moveTo>
                  <a:lnTo>
                    <a:pt x="16" y="84"/>
                  </a:lnTo>
                  <a:lnTo>
                    <a:pt x="12" y="84"/>
                  </a:lnTo>
                  <a:close/>
                  <a:moveTo>
                    <a:pt x="16" y="92"/>
                  </a:move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6" y="84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8"/>
                  </a:lnTo>
                  <a:lnTo>
                    <a:pt x="12" y="92"/>
                  </a:lnTo>
                  <a:lnTo>
                    <a:pt x="16" y="92"/>
                  </a:lnTo>
                  <a:close/>
                  <a:moveTo>
                    <a:pt x="12" y="96"/>
                  </a:moveTo>
                  <a:lnTo>
                    <a:pt x="8" y="96"/>
                  </a:lnTo>
                  <a:lnTo>
                    <a:pt x="12" y="92"/>
                  </a:lnTo>
                  <a:lnTo>
                    <a:pt x="12" y="96"/>
                  </a:lnTo>
                  <a:close/>
                  <a:moveTo>
                    <a:pt x="28" y="96"/>
                  </a:moveTo>
                  <a:lnTo>
                    <a:pt x="28" y="92"/>
                  </a:lnTo>
                  <a:lnTo>
                    <a:pt x="28" y="96"/>
                  </a:lnTo>
                  <a:close/>
                  <a:moveTo>
                    <a:pt x="24" y="104"/>
                  </a:moveTo>
                  <a:lnTo>
                    <a:pt x="24" y="100"/>
                  </a:lnTo>
                  <a:lnTo>
                    <a:pt x="28" y="100"/>
                  </a:lnTo>
                  <a:lnTo>
                    <a:pt x="24" y="104"/>
                  </a:lnTo>
                  <a:close/>
                  <a:moveTo>
                    <a:pt x="32" y="104"/>
                  </a:moveTo>
                  <a:lnTo>
                    <a:pt x="36" y="104"/>
                  </a:lnTo>
                  <a:lnTo>
                    <a:pt x="36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12"/>
                  </a:lnTo>
                  <a:lnTo>
                    <a:pt x="36" y="108"/>
                  </a:lnTo>
                  <a:lnTo>
                    <a:pt x="32" y="112"/>
                  </a:lnTo>
                  <a:lnTo>
                    <a:pt x="28" y="112"/>
                  </a:lnTo>
                  <a:lnTo>
                    <a:pt x="28" y="108"/>
                  </a:lnTo>
                  <a:lnTo>
                    <a:pt x="28" y="112"/>
                  </a:lnTo>
                  <a:lnTo>
                    <a:pt x="32" y="108"/>
                  </a:lnTo>
                  <a:lnTo>
                    <a:pt x="28" y="108"/>
                  </a:lnTo>
                  <a:lnTo>
                    <a:pt x="32" y="108"/>
                  </a:lnTo>
                  <a:lnTo>
                    <a:pt x="32" y="104"/>
                  </a:lnTo>
                  <a:lnTo>
                    <a:pt x="32" y="108"/>
                  </a:lnTo>
                  <a:lnTo>
                    <a:pt x="28" y="104"/>
                  </a:lnTo>
                  <a:lnTo>
                    <a:pt x="32" y="104"/>
                  </a:lnTo>
                  <a:close/>
                  <a:moveTo>
                    <a:pt x="20" y="108"/>
                  </a:moveTo>
                  <a:lnTo>
                    <a:pt x="16" y="104"/>
                  </a:lnTo>
                  <a:lnTo>
                    <a:pt x="20" y="104"/>
                  </a:lnTo>
                  <a:lnTo>
                    <a:pt x="20" y="108"/>
                  </a:lnTo>
                  <a:close/>
                  <a:moveTo>
                    <a:pt x="32" y="124"/>
                  </a:moveTo>
                  <a:lnTo>
                    <a:pt x="32" y="120"/>
                  </a:lnTo>
                  <a:lnTo>
                    <a:pt x="32" y="116"/>
                  </a:lnTo>
                  <a:lnTo>
                    <a:pt x="36" y="116"/>
                  </a:lnTo>
                  <a:lnTo>
                    <a:pt x="36" y="120"/>
                  </a:lnTo>
                  <a:lnTo>
                    <a:pt x="32" y="120"/>
                  </a:lnTo>
                  <a:lnTo>
                    <a:pt x="32" y="124"/>
                  </a:lnTo>
                  <a:close/>
                  <a:moveTo>
                    <a:pt x="28" y="128"/>
                  </a:moveTo>
                  <a:lnTo>
                    <a:pt x="28" y="124"/>
                  </a:lnTo>
                  <a:lnTo>
                    <a:pt x="24" y="124"/>
                  </a:lnTo>
                  <a:lnTo>
                    <a:pt x="28" y="120"/>
                  </a:lnTo>
                  <a:lnTo>
                    <a:pt x="32" y="120"/>
                  </a:lnTo>
                  <a:lnTo>
                    <a:pt x="32" y="124"/>
                  </a:lnTo>
                  <a:lnTo>
                    <a:pt x="28" y="128"/>
                  </a:lnTo>
                  <a:close/>
                  <a:moveTo>
                    <a:pt x="48" y="124"/>
                  </a:moveTo>
                  <a:lnTo>
                    <a:pt x="44" y="120"/>
                  </a:lnTo>
                  <a:lnTo>
                    <a:pt x="48" y="120"/>
                  </a:lnTo>
                  <a:lnTo>
                    <a:pt x="48" y="124"/>
                  </a:lnTo>
                  <a:close/>
                  <a:moveTo>
                    <a:pt x="44" y="132"/>
                  </a:moveTo>
                  <a:lnTo>
                    <a:pt x="44" y="128"/>
                  </a:lnTo>
                  <a:lnTo>
                    <a:pt x="44" y="124"/>
                  </a:lnTo>
                  <a:lnTo>
                    <a:pt x="48" y="128"/>
                  </a:lnTo>
                  <a:lnTo>
                    <a:pt x="48" y="132"/>
                  </a:lnTo>
                  <a:lnTo>
                    <a:pt x="44" y="132"/>
                  </a:lnTo>
                  <a:close/>
                  <a:moveTo>
                    <a:pt x="24" y="164"/>
                  </a:moveTo>
                  <a:lnTo>
                    <a:pt x="20" y="160"/>
                  </a:lnTo>
                  <a:lnTo>
                    <a:pt x="20" y="156"/>
                  </a:lnTo>
                  <a:lnTo>
                    <a:pt x="16" y="156"/>
                  </a:lnTo>
                  <a:lnTo>
                    <a:pt x="16" y="160"/>
                  </a:lnTo>
                  <a:lnTo>
                    <a:pt x="12" y="160"/>
                  </a:lnTo>
                  <a:lnTo>
                    <a:pt x="8" y="160"/>
                  </a:lnTo>
                  <a:lnTo>
                    <a:pt x="4" y="160"/>
                  </a:lnTo>
                  <a:lnTo>
                    <a:pt x="4" y="156"/>
                  </a:lnTo>
                  <a:lnTo>
                    <a:pt x="0" y="156"/>
                  </a:lnTo>
                  <a:lnTo>
                    <a:pt x="0" y="152"/>
                  </a:lnTo>
                  <a:lnTo>
                    <a:pt x="4" y="152"/>
                  </a:lnTo>
                  <a:lnTo>
                    <a:pt x="8" y="152"/>
                  </a:lnTo>
                  <a:lnTo>
                    <a:pt x="4" y="148"/>
                  </a:lnTo>
                  <a:lnTo>
                    <a:pt x="8" y="148"/>
                  </a:lnTo>
                  <a:lnTo>
                    <a:pt x="12" y="144"/>
                  </a:lnTo>
                  <a:lnTo>
                    <a:pt x="12" y="140"/>
                  </a:lnTo>
                  <a:lnTo>
                    <a:pt x="16" y="140"/>
                  </a:lnTo>
                  <a:lnTo>
                    <a:pt x="20" y="136"/>
                  </a:lnTo>
                  <a:lnTo>
                    <a:pt x="24" y="136"/>
                  </a:lnTo>
                  <a:lnTo>
                    <a:pt x="28" y="136"/>
                  </a:lnTo>
                  <a:lnTo>
                    <a:pt x="32" y="136"/>
                  </a:lnTo>
                  <a:lnTo>
                    <a:pt x="32" y="140"/>
                  </a:lnTo>
                  <a:lnTo>
                    <a:pt x="36" y="144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36" y="148"/>
                  </a:lnTo>
                  <a:lnTo>
                    <a:pt x="40" y="148"/>
                  </a:lnTo>
                  <a:lnTo>
                    <a:pt x="40" y="152"/>
                  </a:lnTo>
                  <a:lnTo>
                    <a:pt x="40" y="156"/>
                  </a:lnTo>
                  <a:lnTo>
                    <a:pt x="40" y="152"/>
                  </a:lnTo>
                  <a:lnTo>
                    <a:pt x="36" y="152"/>
                  </a:lnTo>
                  <a:lnTo>
                    <a:pt x="40" y="152"/>
                  </a:lnTo>
                  <a:lnTo>
                    <a:pt x="40" y="156"/>
                  </a:lnTo>
                  <a:lnTo>
                    <a:pt x="40" y="160"/>
                  </a:lnTo>
                  <a:lnTo>
                    <a:pt x="36" y="160"/>
                  </a:lnTo>
                  <a:lnTo>
                    <a:pt x="36" y="164"/>
                  </a:lnTo>
                  <a:lnTo>
                    <a:pt x="32" y="164"/>
                  </a:lnTo>
                  <a:lnTo>
                    <a:pt x="28" y="160"/>
                  </a:lnTo>
                  <a:lnTo>
                    <a:pt x="28" y="164"/>
                  </a:lnTo>
                  <a:lnTo>
                    <a:pt x="24" y="164"/>
                  </a:lnTo>
                  <a:close/>
                  <a:moveTo>
                    <a:pt x="56" y="184"/>
                  </a:moveTo>
                  <a:lnTo>
                    <a:pt x="56" y="180"/>
                  </a:lnTo>
                  <a:lnTo>
                    <a:pt x="56" y="176"/>
                  </a:lnTo>
                  <a:lnTo>
                    <a:pt x="60" y="176"/>
                  </a:lnTo>
                  <a:lnTo>
                    <a:pt x="60" y="180"/>
                  </a:lnTo>
                  <a:lnTo>
                    <a:pt x="64" y="180"/>
                  </a:lnTo>
                  <a:lnTo>
                    <a:pt x="60" y="180"/>
                  </a:lnTo>
                  <a:lnTo>
                    <a:pt x="60" y="184"/>
                  </a:lnTo>
                  <a:lnTo>
                    <a:pt x="56" y="184"/>
                  </a:lnTo>
                  <a:close/>
                  <a:moveTo>
                    <a:pt x="136" y="224"/>
                  </a:moveTo>
                  <a:lnTo>
                    <a:pt x="140" y="224"/>
                  </a:lnTo>
                  <a:lnTo>
                    <a:pt x="136" y="224"/>
                  </a:lnTo>
                  <a:close/>
                  <a:moveTo>
                    <a:pt x="104" y="240"/>
                  </a:moveTo>
                  <a:lnTo>
                    <a:pt x="100" y="240"/>
                  </a:lnTo>
                  <a:lnTo>
                    <a:pt x="104" y="236"/>
                  </a:lnTo>
                  <a:lnTo>
                    <a:pt x="108" y="240"/>
                  </a:lnTo>
                  <a:lnTo>
                    <a:pt x="104" y="2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0" name="Freeform 117"/>
            <p:cNvSpPr>
              <a:spLocks/>
            </p:cNvSpPr>
            <p:nvPr>
              <p:custDataLst>
                <p:tags r:id="rId313"/>
              </p:custDataLst>
            </p:nvPr>
          </p:nvSpPr>
          <p:spPr bwMode="gray">
            <a:xfrm>
              <a:off x="4180296" y="3550394"/>
              <a:ext cx="461232" cy="526487"/>
            </a:xfrm>
            <a:custGeom>
              <a:avLst/>
              <a:gdLst/>
              <a:ahLst/>
              <a:cxnLst>
                <a:cxn ang="0">
                  <a:pos x="215" y="12"/>
                </a:cxn>
                <a:cxn ang="0">
                  <a:pos x="227" y="4"/>
                </a:cxn>
                <a:cxn ang="0">
                  <a:pos x="239" y="4"/>
                </a:cxn>
                <a:cxn ang="0">
                  <a:pos x="243" y="4"/>
                </a:cxn>
                <a:cxn ang="0">
                  <a:pos x="251" y="8"/>
                </a:cxn>
                <a:cxn ang="0">
                  <a:pos x="263" y="8"/>
                </a:cxn>
                <a:cxn ang="0">
                  <a:pos x="255" y="12"/>
                </a:cxn>
                <a:cxn ang="0">
                  <a:pos x="259" y="28"/>
                </a:cxn>
                <a:cxn ang="0">
                  <a:pos x="255" y="48"/>
                </a:cxn>
                <a:cxn ang="0">
                  <a:pos x="247" y="60"/>
                </a:cxn>
                <a:cxn ang="0">
                  <a:pos x="247" y="72"/>
                </a:cxn>
                <a:cxn ang="0">
                  <a:pos x="255" y="84"/>
                </a:cxn>
                <a:cxn ang="0">
                  <a:pos x="263" y="96"/>
                </a:cxn>
                <a:cxn ang="0">
                  <a:pos x="271" y="120"/>
                </a:cxn>
                <a:cxn ang="0">
                  <a:pos x="275" y="140"/>
                </a:cxn>
                <a:cxn ang="0">
                  <a:pos x="279" y="152"/>
                </a:cxn>
                <a:cxn ang="0">
                  <a:pos x="279" y="172"/>
                </a:cxn>
                <a:cxn ang="0">
                  <a:pos x="279" y="192"/>
                </a:cxn>
                <a:cxn ang="0">
                  <a:pos x="283" y="208"/>
                </a:cxn>
                <a:cxn ang="0">
                  <a:pos x="283" y="232"/>
                </a:cxn>
                <a:cxn ang="0">
                  <a:pos x="287" y="248"/>
                </a:cxn>
                <a:cxn ang="0">
                  <a:pos x="303" y="252"/>
                </a:cxn>
                <a:cxn ang="0">
                  <a:pos x="307" y="272"/>
                </a:cxn>
                <a:cxn ang="0">
                  <a:pos x="287" y="288"/>
                </a:cxn>
                <a:cxn ang="0">
                  <a:pos x="263" y="304"/>
                </a:cxn>
                <a:cxn ang="0">
                  <a:pos x="243" y="320"/>
                </a:cxn>
                <a:cxn ang="0">
                  <a:pos x="223" y="343"/>
                </a:cxn>
                <a:cxn ang="0">
                  <a:pos x="200" y="351"/>
                </a:cxn>
                <a:cxn ang="0">
                  <a:pos x="180" y="351"/>
                </a:cxn>
                <a:cxn ang="0">
                  <a:pos x="172" y="335"/>
                </a:cxn>
                <a:cxn ang="0">
                  <a:pos x="160" y="327"/>
                </a:cxn>
                <a:cxn ang="0">
                  <a:pos x="152" y="320"/>
                </a:cxn>
                <a:cxn ang="0">
                  <a:pos x="136" y="304"/>
                </a:cxn>
                <a:cxn ang="0">
                  <a:pos x="112" y="284"/>
                </a:cxn>
                <a:cxn ang="0">
                  <a:pos x="84" y="260"/>
                </a:cxn>
                <a:cxn ang="0">
                  <a:pos x="60" y="240"/>
                </a:cxn>
                <a:cxn ang="0">
                  <a:pos x="36" y="224"/>
                </a:cxn>
                <a:cxn ang="0">
                  <a:pos x="20" y="212"/>
                </a:cxn>
                <a:cxn ang="0">
                  <a:pos x="0" y="192"/>
                </a:cxn>
                <a:cxn ang="0">
                  <a:pos x="4" y="164"/>
                </a:cxn>
                <a:cxn ang="0">
                  <a:pos x="16" y="156"/>
                </a:cxn>
                <a:cxn ang="0">
                  <a:pos x="32" y="152"/>
                </a:cxn>
                <a:cxn ang="0">
                  <a:pos x="44" y="144"/>
                </a:cxn>
                <a:cxn ang="0">
                  <a:pos x="56" y="136"/>
                </a:cxn>
                <a:cxn ang="0">
                  <a:pos x="72" y="124"/>
                </a:cxn>
                <a:cxn ang="0">
                  <a:pos x="72" y="116"/>
                </a:cxn>
                <a:cxn ang="0">
                  <a:pos x="80" y="108"/>
                </a:cxn>
                <a:cxn ang="0">
                  <a:pos x="100" y="100"/>
                </a:cxn>
                <a:cxn ang="0">
                  <a:pos x="116" y="100"/>
                </a:cxn>
                <a:cxn ang="0">
                  <a:pos x="112" y="92"/>
                </a:cxn>
                <a:cxn ang="0">
                  <a:pos x="108" y="72"/>
                </a:cxn>
                <a:cxn ang="0">
                  <a:pos x="104" y="56"/>
                </a:cxn>
                <a:cxn ang="0">
                  <a:pos x="100" y="44"/>
                </a:cxn>
                <a:cxn ang="0">
                  <a:pos x="112" y="36"/>
                </a:cxn>
                <a:cxn ang="0">
                  <a:pos x="128" y="24"/>
                </a:cxn>
                <a:cxn ang="0">
                  <a:pos x="140" y="20"/>
                </a:cxn>
                <a:cxn ang="0">
                  <a:pos x="152" y="12"/>
                </a:cxn>
                <a:cxn ang="0">
                  <a:pos x="172" y="12"/>
                </a:cxn>
                <a:cxn ang="0">
                  <a:pos x="188" y="8"/>
                </a:cxn>
              </a:cxnLst>
              <a:rect l="0" t="0" r="r" b="b"/>
              <a:pathLst>
                <a:path w="311" h="355">
                  <a:moveTo>
                    <a:pt x="200" y="4"/>
                  </a:moveTo>
                  <a:lnTo>
                    <a:pt x="204" y="4"/>
                  </a:lnTo>
                  <a:lnTo>
                    <a:pt x="207" y="8"/>
                  </a:lnTo>
                  <a:lnTo>
                    <a:pt x="211" y="12"/>
                  </a:lnTo>
                  <a:lnTo>
                    <a:pt x="215" y="12"/>
                  </a:lnTo>
                  <a:lnTo>
                    <a:pt x="215" y="8"/>
                  </a:lnTo>
                  <a:lnTo>
                    <a:pt x="219" y="8"/>
                  </a:lnTo>
                  <a:lnTo>
                    <a:pt x="223" y="8"/>
                  </a:lnTo>
                  <a:lnTo>
                    <a:pt x="223" y="4"/>
                  </a:lnTo>
                  <a:lnTo>
                    <a:pt x="227" y="4"/>
                  </a:lnTo>
                  <a:lnTo>
                    <a:pt x="227" y="0"/>
                  </a:lnTo>
                  <a:lnTo>
                    <a:pt x="231" y="0"/>
                  </a:lnTo>
                  <a:lnTo>
                    <a:pt x="231" y="4"/>
                  </a:lnTo>
                  <a:lnTo>
                    <a:pt x="235" y="4"/>
                  </a:lnTo>
                  <a:lnTo>
                    <a:pt x="239" y="4"/>
                  </a:lnTo>
                  <a:lnTo>
                    <a:pt x="243" y="4"/>
                  </a:lnTo>
                  <a:lnTo>
                    <a:pt x="239" y="4"/>
                  </a:lnTo>
                  <a:lnTo>
                    <a:pt x="239" y="0"/>
                  </a:lnTo>
                  <a:lnTo>
                    <a:pt x="243" y="0"/>
                  </a:lnTo>
                  <a:lnTo>
                    <a:pt x="243" y="4"/>
                  </a:lnTo>
                  <a:lnTo>
                    <a:pt x="243" y="0"/>
                  </a:lnTo>
                  <a:lnTo>
                    <a:pt x="243" y="4"/>
                  </a:lnTo>
                  <a:lnTo>
                    <a:pt x="247" y="4"/>
                  </a:lnTo>
                  <a:lnTo>
                    <a:pt x="251" y="4"/>
                  </a:lnTo>
                  <a:lnTo>
                    <a:pt x="251" y="8"/>
                  </a:lnTo>
                  <a:lnTo>
                    <a:pt x="255" y="8"/>
                  </a:lnTo>
                  <a:lnTo>
                    <a:pt x="255" y="4"/>
                  </a:lnTo>
                  <a:lnTo>
                    <a:pt x="259" y="4"/>
                  </a:lnTo>
                  <a:lnTo>
                    <a:pt x="263" y="4"/>
                  </a:lnTo>
                  <a:lnTo>
                    <a:pt x="263" y="8"/>
                  </a:lnTo>
                  <a:lnTo>
                    <a:pt x="259" y="8"/>
                  </a:lnTo>
                  <a:lnTo>
                    <a:pt x="259" y="12"/>
                  </a:lnTo>
                  <a:lnTo>
                    <a:pt x="255" y="12"/>
                  </a:lnTo>
                  <a:lnTo>
                    <a:pt x="255" y="16"/>
                  </a:lnTo>
                  <a:lnTo>
                    <a:pt x="255" y="12"/>
                  </a:lnTo>
                  <a:lnTo>
                    <a:pt x="259" y="16"/>
                  </a:lnTo>
                  <a:lnTo>
                    <a:pt x="259" y="20"/>
                  </a:lnTo>
                  <a:lnTo>
                    <a:pt x="255" y="24"/>
                  </a:lnTo>
                  <a:lnTo>
                    <a:pt x="255" y="28"/>
                  </a:lnTo>
                  <a:lnTo>
                    <a:pt x="259" y="28"/>
                  </a:lnTo>
                  <a:lnTo>
                    <a:pt x="259" y="32"/>
                  </a:lnTo>
                  <a:lnTo>
                    <a:pt x="259" y="36"/>
                  </a:lnTo>
                  <a:lnTo>
                    <a:pt x="259" y="40"/>
                  </a:lnTo>
                  <a:lnTo>
                    <a:pt x="255" y="44"/>
                  </a:lnTo>
                  <a:lnTo>
                    <a:pt x="255" y="48"/>
                  </a:lnTo>
                  <a:lnTo>
                    <a:pt x="255" y="52"/>
                  </a:lnTo>
                  <a:lnTo>
                    <a:pt x="251" y="52"/>
                  </a:lnTo>
                  <a:lnTo>
                    <a:pt x="251" y="56"/>
                  </a:lnTo>
                  <a:lnTo>
                    <a:pt x="251" y="60"/>
                  </a:lnTo>
                  <a:lnTo>
                    <a:pt x="247" y="60"/>
                  </a:lnTo>
                  <a:lnTo>
                    <a:pt x="247" y="64"/>
                  </a:lnTo>
                  <a:lnTo>
                    <a:pt x="243" y="64"/>
                  </a:lnTo>
                  <a:lnTo>
                    <a:pt x="243" y="68"/>
                  </a:lnTo>
                  <a:lnTo>
                    <a:pt x="247" y="68"/>
                  </a:lnTo>
                  <a:lnTo>
                    <a:pt x="247" y="72"/>
                  </a:lnTo>
                  <a:lnTo>
                    <a:pt x="247" y="76"/>
                  </a:lnTo>
                  <a:lnTo>
                    <a:pt x="247" y="80"/>
                  </a:lnTo>
                  <a:lnTo>
                    <a:pt x="251" y="80"/>
                  </a:lnTo>
                  <a:lnTo>
                    <a:pt x="255" y="80"/>
                  </a:lnTo>
                  <a:lnTo>
                    <a:pt x="255" y="84"/>
                  </a:lnTo>
                  <a:lnTo>
                    <a:pt x="255" y="88"/>
                  </a:lnTo>
                  <a:lnTo>
                    <a:pt x="259" y="88"/>
                  </a:lnTo>
                  <a:lnTo>
                    <a:pt x="259" y="92"/>
                  </a:lnTo>
                  <a:lnTo>
                    <a:pt x="259" y="96"/>
                  </a:lnTo>
                  <a:lnTo>
                    <a:pt x="263" y="96"/>
                  </a:lnTo>
                  <a:lnTo>
                    <a:pt x="267" y="100"/>
                  </a:lnTo>
                  <a:lnTo>
                    <a:pt x="267" y="104"/>
                  </a:lnTo>
                  <a:lnTo>
                    <a:pt x="271" y="104"/>
                  </a:lnTo>
                  <a:lnTo>
                    <a:pt x="271" y="112"/>
                  </a:lnTo>
                  <a:lnTo>
                    <a:pt x="271" y="120"/>
                  </a:lnTo>
                  <a:lnTo>
                    <a:pt x="271" y="124"/>
                  </a:lnTo>
                  <a:lnTo>
                    <a:pt x="275" y="128"/>
                  </a:lnTo>
                  <a:lnTo>
                    <a:pt x="275" y="132"/>
                  </a:lnTo>
                  <a:lnTo>
                    <a:pt x="275" y="136"/>
                  </a:lnTo>
                  <a:lnTo>
                    <a:pt x="275" y="140"/>
                  </a:lnTo>
                  <a:lnTo>
                    <a:pt x="271" y="140"/>
                  </a:lnTo>
                  <a:lnTo>
                    <a:pt x="275" y="144"/>
                  </a:lnTo>
                  <a:lnTo>
                    <a:pt x="275" y="148"/>
                  </a:lnTo>
                  <a:lnTo>
                    <a:pt x="279" y="148"/>
                  </a:lnTo>
                  <a:lnTo>
                    <a:pt x="279" y="152"/>
                  </a:lnTo>
                  <a:lnTo>
                    <a:pt x="279" y="156"/>
                  </a:lnTo>
                  <a:lnTo>
                    <a:pt x="279" y="160"/>
                  </a:lnTo>
                  <a:lnTo>
                    <a:pt x="279" y="164"/>
                  </a:lnTo>
                  <a:lnTo>
                    <a:pt x="279" y="168"/>
                  </a:lnTo>
                  <a:lnTo>
                    <a:pt x="279" y="172"/>
                  </a:lnTo>
                  <a:lnTo>
                    <a:pt x="279" y="176"/>
                  </a:lnTo>
                  <a:lnTo>
                    <a:pt x="279" y="180"/>
                  </a:lnTo>
                  <a:lnTo>
                    <a:pt x="283" y="184"/>
                  </a:lnTo>
                  <a:lnTo>
                    <a:pt x="283" y="188"/>
                  </a:lnTo>
                  <a:lnTo>
                    <a:pt x="279" y="192"/>
                  </a:lnTo>
                  <a:lnTo>
                    <a:pt x="279" y="196"/>
                  </a:lnTo>
                  <a:lnTo>
                    <a:pt x="279" y="200"/>
                  </a:lnTo>
                  <a:lnTo>
                    <a:pt x="279" y="204"/>
                  </a:lnTo>
                  <a:lnTo>
                    <a:pt x="283" y="204"/>
                  </a:lnTo>
                  <a:lnTo>
                    <a:pt x="283" y="208"/>
                  </a:lnTo>
                  <a:lnTo>
                    <a:pt x="279" y="212"/>
                  </a:lnTo>
                  <a:lnTo>
                    <a:pt x="275" y="216"/>
                  </a:lnTo>
                  <a:lnTo>
                    <a:pt x="275" y="220"/>
                  </a:lnTo>
                  <a:lnTo>
                    <a:pt x="279" y="228"/>
                  </a:lnTo>
                  <a:lnTo>
                    <a:pt x="283" y="232"/>
                  </a:lnTo>
                  <a:lnTo>
                    <a:pt x="283" y="236"/>
                  </a:lnTo>
                  <a:lnTo>
                    <a:pt x="283" y="240"/>
                  </a:lnTo>
                  <a:lnTo>
                    <a:pt x="283" y="244"/>
                  </a:lnTo>
                  <a:lnTo>
                    <a:pt x="287" y="244"/>
                  </a:lnTo>
                  <a:lnTo>
                    <a:pt x="287" y="248"/>
                  </a:lnTo>
                  <a:lnTo>
                    <a:pt x="291" y="252"/>
                  </a:lnTo>
                  <a:lnTo>
                    <a:pt x="291" y="248"/>
                  </a:lnTo>
                  <a:lnTo>
                    <a:pt x="295" y="248"/>
                  </a:lnTo>
                  <a:lnTo>
                    <a:pt x="299" y="252"/>
                  </a:lnTo>
                  <a:lnTo>
                    <a:pt x="303" y="252"/>
                  </a:lnTo>
                  <a:lnTo>
                    <a:pt x="307" y="252"/>
                  </a:lnTo>
                  <a:lnTo>
                    <a:pt x="311" y="260"/>
                  </a:lnTo>
                  <a:lnTo>
                    <a:pt x="311" y="268"/>
                  </a:lnTo>
                  <a:lnTo>
                    <a:pt x="311" y="272"/>
                  </a:lnTo>
                  <a:lnTo>
                    <a:pt x="307" y="272"/>
                  </a:lnTo>
                  <a:lnTo>
                    <a:pt x="299" y="280"/>
                  </a:lnTo>
                  <a:lnTo>
                    <a:pt x="295" y="280"/>
                  </a:lnTo>
                  <a:lnTo>
                    <a:pt x="295" y="284"/>
                  </a:lnTo>
                  <a:lnTo>
                    <a:pt x="291" y="284"/>
                  </a:lnTo>
                  <a:lnTo>
                    <a:pt x="287" y="288"/>
                  </a:lnTo>
                  <a:lnTo>
                    <a:pt x="283" y="288"/>
                  </a:lnTo>
                  <a:lnTo>
                    <a:pt x="279" y="292"/>
                  </a:lnTo>
                  <a:lnTo>
                    <a:pt x="275" y="296"/>
                  </a:lnTo>
                  <a:lnTo>
                    <a:pt x="267" y="300"/>
                  </a:lnTo>
                  <a:lnTo>
                    <a:pt x="263" y="304"/>
                  </a:lnTo>
                  <a:lnTo>
                    <a:pt x="263" y="308"/>
                  </a:lnTo>
                  <a:lnTo>
                    <a:pt x="255" y="312"/>
                  </a:lnTo>
                  <a:lnTo>
                    <a:pt x="251" y="316"/>
                  </a:lnTo>
                  <a:lnTo>
                    <a:pt x="247" y="316"/>
                  </a:lnTo>
                  <a:lnTo>
                    <a:pt x="243" y="320"/>
                  </a:lnTo>
                  <a:lnTo>
                    <a:pt x="235" y="327"/>
                  </a:lnTo>
                  <a:lnTo>
                    <a:pt x="231" y="331"/>
                  </a:lnTo>
                  <a:lnTo>
                    <a:pt x="231" y="335"/>
                  </a:lnTo>
                  <a:lnTo>
                    <a:pt x="227" y="339"/>
                  </a:lnTo>
                  <a:lnTo>
                    <a:pt x="223" y="343"/>
                  </a:lnTo>
                  <a:lnTo>
                    <a:pt x="219" y="347"/>
                  </a:lnTo>
                  <a:lnTo>
                    <a:pt x="215" y="347"/>
                  </a:lnTo>
                  <a:lnTo>
                    <a:pt x="211" y="347"/>
                  </a:lnTo>
                  <a:lnTo>
                    <a:pt x="207" y="347"/>
                  </a:lnTo>
                  <a:lnTo>
                    <a:pt x="200" y="351"/>
                  </a:lnTo>
                  <a:lnTo>
                    <a:pt x="196" y="351"/>
                  </a:lnTo>
                  <a:lnTo>
                    <a:pt x="192" y="351"/>
                  </a:lnTo>
                  <a:lnTo>
                    <a:pt x="188" y="351"/>
                  </a:lnTo>
                  <a:lnTo>
                    <a:pt x="184" y="355"/>
                  </a:lnTo>
                  <a:lnTo>
                    <a:pt x="180" y="351"/>
                  </a:lnTo>
                  <a:lnTo>
                    <a:pt x="180" y="347"/>
                  </a:lnTo>
                  <a:lnTo>
                    <a:pt x="180" y="343"/>
                  </a:lnTo>
                  <a:lnTo>
                    <a:pt x="180" y="339"/>
                  </a:lnTo>
                  <a:lnTo>
                    <a:pt x="176" y="335"/>
                  </a:lnTo>
                  <a:lnTo>
                    <a:pt x="172" y="335"/>
                  </a:lnTo>
                  <a:lnTo>
                    <a:pt x="168" y="335"/>
                  </a:lnTo>
                  <a:lnTo>
                    <a:pt x="168" y="331"/>
                  </a:lnTo>
                  <a:lnTo>
                    <a:pt x="164" y="331"/>
                  </a:lnTo>
                  <a:lnTo>
                    <a:pt x="160" y="331"/>
                  </a:lnTo>
                  <a:lnTo>
                    <a:pt x="160" y="327"/>
                  </a:lnTo>
                  <a:lnTo>
                    <a:pt x="156" y="327"/>
                  </a:lnTo>
                  <a:lnTo>
                    <a:pt x="156" y="324"/>
                  </a:lnTo>
                  <a:lnTo>
                    <a:pt x="152" y="324"/>
                  </a:lnTo>
                  <a:lnTo>
                    <a:pt x="148" y="320"/>
                  </a:lnTo>
                  <a:lnTo>
                    <a:pt x="152" y="320"/>
                  </a:lnTo>
                  <a:lnTo>
                    <a:pt x="152" y="316"/>
                  </a:lnTo>
                  <a:lnTo>
                    <a:pt x="148" y="316"/>
                  </a:lnTo>
                  <a:lnTo>
                    <a:pt x="144" y="312"/>
                  </a:lnTo>
                  <a:lnTo>
                    <a:pt x="140" y="304"/>
                  </a:lnTo>
                  <a:lnTo>
                    <a:pt x="136" y="304"/>
                  </a:lnTo>
                  <a:lnTo>
                    <a:pt x="132" y="300"/>
                  </a:lnTo>
                  <a:lnTo>
                    <a:pt x="124" y="296"/>
                  </a:lnTo>
                  <a:lnTo>
                    <a:pt x="120" y="292"/>
                  </a:lnTo>
                  <a:lnTo>
                    <a:pt x="116" y="288"/>
                  </a:lnTo>
                  <a:lnTo>
                    <a:pt x="112" y="284"/>
                  </a:lnTo>
                  <a:lnTo>
                    <a:pt x="104" y="280"/>
                  </a:lnTo>
                  <a:lnTo>
                    <a:pt x="100" y="276"/>
                  </a:lnTo>
                  <a:lnTo>
                    <a:pt x="96" y="268"/>
                  </a:lnTo>
                  <a:lnTo>
                    <a:pt x="88" y="264"/>
                  </a:lnTo>
                  <a:lnTo>
                    <a:pt x="84" y="260"/>
                  </a:lnTo>
                  <a:lnTo>
                    <a:pt x="80" y="256"/>
                  </a:lnTo>
                  <a:lnTo>
                    <a:pt x="76" y="252"/>
                  </a:lnTo>
                  <a:lnTo>
                    <a:pt x="68" y="248"/>
                  </a:lnTo>
                  <a:lnTo>
                    <a:pt x="64" y="244"/>
                  </a:lnTo>
                  <a:lnTo>
                    <a:pt x="60" y="240"/>
                  </a:lnTo>
                  <a:lnTo>
                    <a:pt x="56" y="240"/>
                  </a:lnTo>
                  <a:lnTo>
                    <a:pt x="52" y="236"/>
                  </a:lnTo>
                  <a:lnTo>
                    <a:pt x="48" y="232"/>
                  </a:lnTo>
                  <a:lnTo>
                    <a:pt x="44" y="228"/>
                  </a:lnTo>
                  <a:lnTo>
                    <a:pt x="36" y="224"/>
                  </a:lnTo>
                  <a:lnTo>
                    <a:pt x="32" y="220"/>
                  </a:lnTo>
                  <a:lnTo>
                    <a:pt x="28" y="216"/>
                  </a:lnTo>
                  <a:lnTo>
                    <a:pt x="24" y="216"/>
                  </a:lnTo>
                  <a:lnTo>
                    <a:pt x="24" y="212"/>
                  </a:lnTo>
                  <a:lnTo>
                    <a:pt x="20" y="212"/>
                  </a:lnTo>
                  <a:lnTo>
                    <a:pt x="16" y="208"/>
                  </a:lnTo>
                  <a:lnTo>
                    <a:pt x="8" y="204"/>
                  </a:lnTo>
                  <a:lnTo>
                    <a:pt x="8" y="200"/>
                  </a:lnTo>
                  <a:lnTo>
                    <a:pt x="0" y="196"/>
                  </a:lnTo>
                  <a:lnTo>
                    <a:pt x="0" y="192"/>
                  </a:lnTo>
                  <a:lnTo>
                    <a:pt x="0" y="188"/>
                  </a:lnTo>
                  <a:lnTo>
                    <a:pt x="0" y="184"/>
                  </a:lnTo>
                  <a:lnTo>
                    <a:pt x="0" y="168"/>
                  </a:lnTo>
                  <a:lnTo>
                    <a:pt x="4" y="168"/>
                  </a:lnTo>
                  <a:lnTo>
                    <a:pt x="4" y="164"/>
                  </a:lnTo>
                  <a:lnTo>
                    <a:pt x="8" y="164"/>
                  </a:lnTo>
                  <a:lnTo>
                    <a:pt x="8" y="160"/>
                  </a:lnTo>
                  <a:lnTo>
                    <a:pt x="12" y="160"/>
                  </a:lnTo>
                  <a:lnTo>
                    <a:pt x="12" y="156"/>
                  </a:lnTo>
                  <a:lnTo>
                    <a:pt x="16" y="156"/>
                  </a:lnTo>
                  <a:lnTo>
                    <a:pt x="20" y="156"/>
                  </a:lnTo>
                  <a:lnTo>
                    <a:pt x="20" y="152"/>
                  </a:lnTo>
                  <a:lnTo>
                    <a:pt x="24" y="152"/>
                  </a:lnTo>
                  <a:lnTo>
                    <a:pt x="28" y="152"/>
                  </a:lnTo>
                  <a:lnTo>
                    <a:pt x="32" y="152"/>
                  </a:lnTo>
                  <a:lnTo>
                    <a:pt x="32" y="148"/>
                  </a:lnTo>
                  <a:lnTo>
                    <a:pt x="36" y="148"/>
                  </a:lnTo>
                  <a:lnTo>
                    <a:pt x="40" y="148"/>
                  </a:lnTo>
                  <a:lnTo>
                    <a:pt x="44" y="148"/>
                  </a:lnTo>
                  <a:lnTo>
                    <a:pt x="44" y="144"/>
                  </a:lnTo>
                  <a:lnTo>
                    <a:pt x="48" y="144"/>
                  </a:lnTo>
                  <a:lnTo>
                    <a:pt x="52" y="144"/>
                  </a:lnTo>
                  <a:lnTo>
                    <a:pt x="52" y="140"/>
                  </a:lnTo>
                  <a:lnTo>
                    <a:pt x="56" y="140"/>
                  </a:lnTo>
                  <a:lnTo>
                    <a:pt x="56" y="136"/>
                  </a:lnTo>
                  <a:lnTo>
                    <a:pt x="56" y="132"/>
                  </a:lnTo>
                  <a:lnTo>
                    <a:pt x="60" y="132"/>
                  </a:lnTo>
                  <a:lnTo>
                    <a:pt x="64" y="132"/>
                  </a:lnTo>
                  <a:lnTo>
                    <a:pt x="68" y="128"/>
                  </a:lnTo>
                  <a:lnTo>
                    <a:pt x="72" y="124"/>
                  </a:lnTo>
                  <a:lnTo>
                    <a:pt x="76" y="124"/>
                  </a:lnTo>
                  <a:lnTo>
                    <a:pt x="76" y="120"/>
                  </a:lnTo>
                  <a:lnTo>
                    <a:pt x="72" y="120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72" y="112"/>
                  </a:lnTo>
                  <a:lnTo>
                    <a:pt x="76" y="108"/>
                  </a:lnTo>
                  <a:lnTo>
                    <a:pt x="76" y="112"/>
                  </a:lnTo>
                  <a:lnTo>
                    <a:pt x="80" y="112"/>
                  </a:lnTo>
                  <a:lnTo>
                    <a:pt x="80" y="108"/>
                  </a:lnTo>
                  <a:lnTo>
                    <a:pt x="84" y="108"/>
                  </a:lnTo>
                  <a:lnTo>
                    <a:pt x="88" y="108"/>
                  </a:lnTo>
                  <a:lnTo>
                    <a:pt x="88" y="104"/>
                  </a:lnTo>
                  <a:lnTo>
                    <a:pt x="96" y="100"/>
                  </a:lnTo>
                  <a:lnTo>
                    <a:pt x="100" y="100"/>
                  </a:lnTo>
                  <a:lnTo>
                    <a:pt x="104" y="100"/>
                  </a:lnTo>
                  <a:lnTo>
                    <a:pt x="108" y="100"/>
                  </a:lnTo>
                  <a:lnTo>
                    <a:pt x="112" y="100"/>
                  </a:lnTo>
                  <a:lnTo>
                    <a:pt x="112" y="104"/>
                  </a:lnTo>
                  <a:lnTo>
                    <a:pt x="116" y="100"/>
                  </a:lnTo>
                  <a:lnTo>
                    <a:pt x="112" y="100"/>
                  </a:lnTo>
                  <a:lnTo>
                    <a:pt x="112" y="96"/>
                  </a:lnTo>
                  <a:lnTo>
                    <a:pt x="116" y="96"/>
                  </a:lnTo>
                  <a:lnTo>
                    <a:pt x="116" y="92"/>
                  </a:lnTo>
                  <a:lnTo>
                    <a:pt x="112" y="92"/>
                  </a:lnTo>
                  <a:lnTo>
                    <a:pt x="112" y="88"/>
                  </a:lnTo>
                  <a:lnTo>
                    <a:pt x="108" y="84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8" y="72"/>
                  </a:lnTo>
                  <a:lnTo>
                    <a:pt x="104" y="68"/>
                  </a:lnTo>
                  <a:lnTo>
                    <a:pt x="108" y="68"/>
                  </a:lnTo>
                  <a:lnTo>
                    <a:pt x="108" y="64"/>
                  </a:lnTo>
                  <a:lnTo>
                    <a:pt x="104" y="60"/>
                  </a:lnTo>
                  <a:lnTo>
                    <a:pt x="104" y="56"/>
                  </a:lnTo>
                  <a:lnTo>
                    <a:pt x="108" y="56"/>
                  </a:lnTo>
                  <a:lnTo>
                    <a:pt x="104" y="56"/>
                  </a:lnTo>
                  <a:lnTo>
                    <a:pt x="104" y="52"/>
                  </a:lnTo>
                  <a:lnTo>
                    <a:pt x="104" y="48"/>
                  </a:lnTo>
                  <a:lnTo>
                    <a:pt x="100" y="44"/>
                  </a:lnTo>
                  <a:lnTo>
                    <a:pt x="104" y="44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08" y="36"/>
                  </a:lnTo>
                  <a:lnTo>
                    <a:pt x="112" y="36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20" y="28"/>
                  </a:lnTo>
                  <a:lnTo>
                    <a:pt x="124" y="28"/>
                  </a:lnTo>
                  <a:lnTo>
                    <a:pt x="128" y="24"/>
                  </a:lnTo>
                  <a:lnTo>
                    <a:pt x="128" y="28"/>
                  </a:lnTo>
                  <a:lnTo>
                    <a:pt x="132" y="28"/>
                  </a:lnTo>
                  <a:lnTo>
                    <a:pt x="132" y="24"/>
                  </a:lnTo>
                  <a:lnTo>
                    <a:pt x="136" y="20"/>
                  </a:lnTo>
                  <a:lnTo>
                    <a:pt x="140" y="20"/>
                  </a:lnTo>
                  <a:lnTo>
                    <a:pt x="140" y="16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48" y="12"/>
                  </a:lnTo>
                  <a:lnTo>
                    <a:pt x="152" y="12"/>
                  </a:lnTo>
                  <a:lnTo>
                    <a:pt x="156" y="12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8" y="12"/>
                  </a:lnTo>
                  <a:lnTo>
                    <a:pt x="172" y="12"/>
                  </a:lnTo>
                  <a:lnTo>
                    <a:pt x="176" y="12"/>
                  </a:lnTo>
                  <a:lnTo>
                    <a:pt x="176" y="8"/>
                  </a:lnTo>
                  <a:lnTo>
                    <a:pt x="180" y="8"/>
                  </a:lnTo>
                  <a:lnTo>
                    <a:pt x="184" y="8"/>
                  </a:lnTo>
                  <a:lnTo>
                    <a:pt x="188" y="8"/>
                  </a:lnTo>
                  <a:lnTo>
                    <a:pt x="188" y="4"/>
                  </a:lnTo>
                  <a:lnTo>
                    <a:pt x="192" y="4"/>
                  </a:lnTo>
                  <a:lnTo>
                    <a:pt x="196" y="4"/>
                  </a:lnTo>
                  <a:lnTo>
                    <a:pt x="200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1" name="Freeform 118"/>
            <p:cNvSpPr>
              <a:spLocks noEditPoints="1"/>
            </p:cNvSpPr>
            <p:nvPr>
              <p:custDataLst>
                <p:tags r:id="rId314"/>
              </p:custDataLst>
            </p:nvPr>
          </p:nvSpPr>
          <p:spPr bwMode="gray">
            <a:xfrm>
              <a:off x="4641530" y="4716082"/>
              <a:ext cx="272884" cy="373732"/>
            </a:xfrm>
            <a:custGeom>
              <a:avLst/>
              <a:gdLst/>
              <a:ahLst/>
              <a:cxnLst>
                <a:cxn ang="0">
                  <a:pos x="12" y="12"/>
                </a:cxn>
                <a:cxn ang="0">
                  <a:pos x="4" y="24"/>
                </a:cxn>
                <a:cxn ang="0">
                  <a:pos x="4" y="8"/>
                </a:cxn>
                <a:cxn ang="0">
                  <a:pos x="16" y="0"/>
                </a:cxn>
                <a:cxn ang="0">
                  <a:pos x="172" y="244"/>
                </a:cxn>
                <a:cxn ang="0">
                  <a:pos x="152" y="248"/>
                </a:cxn>
                <a:cxn ang="0">
                  <a:pos x="136" y="252"/>
                </a:cxn>
                <a:cxn ang="0">
                  <a:pos x="124" y="248"/>
                </a:cxn>
                <a:cxn ang="0">
                  <a:pos x="108" y="248"/>
                </a:cxn>
                <a:cxn ang="0">
                  <a:pos x="96" y="240"/>
                </a:cxn>
                <a:cxn ang="0">
                  <a:pos x="72" y="240"/>
                </a:cxn>
                <a:cxn ang="0">
                  <a:pos x="44" y="240"/>
                </a:cxn>
                <a:cxn ang="0">
                  <a:pos x="32" y="236"/>
                </a:cxn>
                <a:cxn ang="0">
                  <a:pos x="16" y="232"/>
                </a:cxn>
                <a:cxn ang="0">
                  <a:pos x="0" y="236"/>
                </a:cxn>
                <a:cxn ang="0">
                  <a:pos x="0" y="220"/>
                </a:cxn>
                <a:cxn ang="0">
                  <a:pos x="4" y="204"/>
                </a:cxn>
                <a:cxn ang="0">
                  <a:pos x="8" y="188"/>
                </a:cxn>
                <a:cxn ang="0">
                  <a:pos x="8" y="172"/>
                </a:cxn>
                <a:cxn ang="0">
                  <a:pos x="12" y="160"/>
                </a:cxn>
                <a:cxn ang="0">
                  <a:pos x="20" y="152"/>
                </a:cxn>
                <a:cxn ang="0">
                  <a:pos x="24" y="144"/>
                </a:cxn>
                <a:cxn ang="0">
                  <a:pos x="28" y="132"/>
                </a:cxn>
                <a:cxn ang="0">
                  <a:pos x="28" y="116"/>
                </a:cxn>
                <a:cxn ang="0">
                  <a:pos x="24" y="100"/>
                </a:cxn>
                <a:cxn ang="0">
                  <a:pos x="20" y="88"/>
                </a:cxn>
                <a:cxn ang="0">
                  <a:pos x="16" y="84"/>
                </a:cxn>
                <a:cxn ang="0">
                  <a:pos x="24" y="76"/>
                </a:cxn>
                <a:cxn ang="0">
                  <a:pos x="20" y="64"/>
                </a:cxn>
                <a:cxn ang="0">
                  <a:pos x="16" y="48"/>
                </a:cxn>
                <a:cxn ang="0">
                  <a:pos x="8" y="36"/>
                </a:cxn>
                <a:cxn ang="0">
                  <a:pos x="12" y="28"/>
                </a:cxn>
                <a:cxn ang="0">
                  <a:pos x="20" y="28"/>
                </a:cxn>
                <a:cxn ang="0">
                  <a:pos x="32" y="24"/>
                </a:cxn>
                <a:cxn ang="0">
                  <a:pos x="44" y="24"/>
                </a:cxn>
                <a:cxn ang="0">
                  <a:pos x="68" y="24"/>
                </a:cxn>
                <a:cxn ang="0">
                  <a:pos x="72" y="36"/>
                </a:cxn>
                <a:cxn ang="0">
                  <a:pos x="76" y="52"/>
                </a:cxn>
                <a:cxn ang="0">
                  <a:pos x="84" y="64"/>
                </a:cxn>
                <a:cxn ang="0">
                  <a:pos x="92" y="68"/>
                </a:cxn>
                <a:cxn ang="0">
                  <a:pos x="104" y="64"/>
                </a:cxn>
                <a:cxn ang="0">
                  <a:pos x="112" y="60"/>
                </a:cxn>
                <a:cxn ang="0">
                  <a:pos x="116" y="48"/>
                </a:cxn>
                <a:cxn ang="0">
                  <a:pos x="132" y="44"/>
                </a:cxn>
                <a:cxn ang="0">
                  <a:pos x="148" y="52"/>
                </a:cxn>
                <a:cxn ang="0">
                  <a:pos x="152" y="64"/>
                </a:cxn>
                <a:cxn ang="0">
                  <a:pos x="152" y="80"/>
                </a:cxn>
                <a:cxn ang="0">
                  <a:pos x="152" y="96"/>
                </a:cxn>
                <a:cxn ang="0">
                  <a:pos x="160" y="112"/>
                </a:cxn>
                <a:cxn ang="0">
                  <a:pos x="156" y="124"/>
                </a:cxn>
                <a:cxn ang="0">
                  <a:pos x="168" y="120"/>
                </a:cxn>
                <a:cxn ang="0">
                  <a:pos x="184" y="120"/>
                </a:cxn>
                <a:cxn ang="0">
                  <a:pos x="184" y="128"/>
                </a:cxn>
                <a:cxn ang="0">
                  <a:pos x="184" y="148"/>
                </a:cxn>
                <a:cxn ang="0">
                  <a:pos x="176" y="156"/>
                </a:cxn>
                <a:cxn ang="0">
                  <a:pos x="152" y="156"/>
                </a:cxn>
                <a:cxn ang="0">
                  <a:pos x="152" y="184"/>
                </a:cxn>
                <a:cxn ang="0">
                  <a:pos x="152" y="212"/>
                </a:cxn>
                <a:cxn ang="0">
                  <a:pos x="156" y="224"/>
                </a:cxn>
                <a:cxn ang="0">
                  <a:pos x="172" y="240"/>
                </a:cxn>
              </a:cxnLst>
              <a:rect l="0" t="0" r="r" b="b"/>
              <a:pathLst>
                <a:path w="184" h="252">
                  <a:moveTo>
                    <a:pt x="20" y="4"/>
                  </a:moveTo>
                  <a:lnTo>
                    <a:pt x="16" y="4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20" y="4"/>
                  </a:lnTo>
                  <a:close/>
                  <a:moveTo>
                    <a:pt x="176" y="244"/>
                  </a:moveTo>
                  <a:lnTo>
                    <a:pt x="172" y="244"/>
                  </a:lnTo>
                  <a:lnTo>
                    <a:pt x="168" y="244"/>
                  </a:lnTo>
                  <a:lnTo>
                    <a:pt x="164" y="248"/>
                  </a:lnTo>
                  <a:lnTo>
                    <a:pt x="160" y="248"/>
                  </a:lnTo>
                  <a:lnTo>
                    <a:pt x="152" y="248"/>
                  </a:lnTo>
                  <a:lnTo>
                    <a:pt x="144" y="252"/>
                  </a:lnTo>
                  <a:lnTo>
                    <a:pt x="144" y="248"/>
                  </a:lnTo>
                  <a:lnTo>
                    <a:pt x="140" y="248"/>
                  </a:lnTo>
                  <a:lnTo>
                    <a:pt x="136" y="252"/>
                  </a:lnTo>
                  <a:lnTo>
                    <a:pt x="132" y="252"/>
                  </a:lnTo>
                  <a:lnTo>
                    <a:pt x="132" y="248"/>
                  </a:lnTo>
                  <a:lnTo>
                    <a:pt x="128" y="248"/>
                  </a:lnTo>
                  <a:lnTo>
                    <a:pt x="124" y="248"/>
                  </a:lnTo>
                  <a:lnTo>
                    <a:pt x="120" y="248"/>
                  </a:lnTo>
                  <a:lnTo>
                    <a:pt x="116" y="248"/>
                  </a:lnTo>
                  <a:lnTo>
                    <a:pt x="112" y="248"/>
                  </a:lnTo>
                  <a:lnTo>
                    <a:pt x="108" y="248"/>
                  </a:lnTo>
                  <a:lnTo>
                    <a:pt x="104" y="248"/>
                  </a:lnTo>
                  <a:lnTo>
                    <a:pt x="104" y="244"/>
                  </a:lnTo>
                  <a:lnTo>
                    <a:pt x="100" y="240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88" y="240"/>
                  </a:lnTo>
                  <a:lnTo>
                    <a:pt x="84" y="240"/>
                  </a:lnTo>
                  <a:lnTo>
                    <a:pt x="72" y="240"/>
                  </a:lnTo>
                  <a:lnTo>
                    <a:pt x="64" y="240"/>
                  </a:lnTo>
                  <a:lnTo>
                    <a:pt x="56" y="240"/>
                  </a:lnTo>
                  <a:lnTo>
                    <a:pt x="48" y="240"/>
                  </a:lnTo>
                  <a:lnTo>
                    <a:pt x="44" y="240"/>
                  </a:lnTo>
                  <a:lnTo>
                    <a:pt x="40" y="240"/>
                  </a:lnTo>
                  <a:lnTo>
                    <a:pt x="36" y="240"/>
                  </a:lnTo>
                  <a:lnTo>
                    <a:pt x="32" y="240"/>
                  </a:lnTo>
                  <a:lnTo>
                    <a:pt x="32" y="236"/>
                  </a:lnTo>
                  <a:lnTo>
                    <a:pt x="28" y="236"/>
                  </a:lnTo>
                  <a:lnTo>
                    <a:pt x="24" y="232"/>
                  </a:lnTo>
                  <a:lnTo>
                    <a:pt x="20" y="232"/>
                  </a:lnTo>
                  <a:lnTo>
                    <a:pt x="16" y="232"/>
                  </a:lnTo>
                  <a:lnTo>
                    <a:pt x="12" y="236"/>
                  </a:lnTo>
                  <a:lnTo>
                    <a:pt x="8" y="236"/>
                  </a:lnTo>
                  <a:lnTo>
                    <a:pt x="4" y="236"/>
                  </a:lnTo>
                  <a:lnTo>
                    <a:pt x="0" y="236"/>
                  </a:lnTo>
                  <a:lnTo>
                    <a:pt x="0" y="232"/>
                  </a:lnTo>
                  <a:lnTo>
                    <a:pt x="0" y="228"/>
                  </a:lnTo>
                  <a:lnTo>
                    <a:pt x="0" y="224"/>
                  </a:lnTo>
                  <a:lnTo>
                    <a:pt x="0" y="220"/>
                  </a:lnTo>
                  <a:lnTo>
                    <a:pt x="0" y="216"/>
                  </a:lnTo>
                  <a:lnTo>
                    <a:pt x="0" y="212"/>
                  </a:lnTo>
                  <a:lnTo>
                    <a:pt x="0" y="208"/>
                  </a:lnTo>
                  <a:lnTo>
                    <a:pt x="4" y="204"/>
                  </a:lnTo>
                  <a:lnTo>
                    <a:pt x="4" y="200"/>
                  </a:lnTo>
                  <a:lnTo>
                    <a:pt x="4" y="196"/>
                  </a:lnTo>
                  <a:lnTo>
                    <a:pt x="4" y="192"/>
                  </a:lnTo>
                  <a:lnTo>
                    <a:pt x="8" y="188"/>
                  </a:lnTo>
                  <a:lnTo>
                    <a:pt x="8" y="184"/>
                  </a:lnTo>
                  <a:lnTo>
                    <a:pt x="8" y="180"/>
                  </a:lnTo>
                  <a:lnTo>
                    <a:pt x="8" y="176"/>
                  </a:lnTo>
                  <a:lnTo>
                    <a:pt x="8" y="172"/>
                  </a:lnTo>
                  <a:lnTo>
                    <a:pt x="12" y="168"/>
                  </a:lnTo>
                  <a:lnTo>
                    <a:pt x="8" y="164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16" y="160"/>
                  </a:lnTo>
                  <a:lnTo>
                    <a:pt x="16" y="156"/>
                  </a:lnTo>
                  <a:lnTo>
                    <a:pt x="16" y="152"/>
                  </a:lnTo>
                  <a:lnTo>
                    <a:pt x="20" y="152"/>
                  </a:lnTo>
                  <a:lnTo>
                    <a:pt x="20" y="148"/>
                  </a:lnTo>
                  <a:lnTo>
                    <a:pt x="20" y="152"/>
                  </a:lnTo>
                  <a:lnTo>
                    <a:pt x="24" y="148"/>
                  </a:lnTo>
                  <a:lnTo>
                    <a:pt x="24" y="144"/>
                  </a:lnTo>
                  <a:lnTo>
                    <a:pt x="28" y="144"/>
                  </a:lnTo>
                  <a:lnTo>
                    <a:pt x="28" y="140"/>
                  </a:lnTo>
                  <a:lnTo>
                    <a:pt x="28" y="136"/>
                  </a:lnTo>
                  <a:lnTo>
                    <a:pt x="28" y="132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32" y="120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4" y="100"/>
                  </a:lnTo>
                  <a:lnTo>
                    <a:pt x="20" y="100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16" y="84"/>
                  </a:lnTo>
                  <a:lnTo>
                    <a:pt x="20" y="80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76" y="40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76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84" y="60"/>
                  </a:lnTo>
                  <a:lnTo>
                    <a:pt x="84" y="64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92" y="64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64"/>
                  </a:lnTo>
                  <a:lnTo>
                    <a:pt x="100" y="64"/>
                  </a:lnTo>
                  <a:lnTo>
                    <a:pt x="104" y="64"/>
                  </a:lnTo>
                  <a:lnTo>
                    <a:pt x="108" y="64"/>
                  </a:lnTo>
                  <a:lnTo>
                    <a:pt x="116" y="64"/>
                  </a:lnTo>
                  <a:lnTo>
                    <a:pt x="112" y="64"/>
                  </a:lnTo>
                  <a:lnTo>
                    <a:pt x="112" y="60"/>
                  </a:lnTo>
                  <a:lnTo>
                    <a:pt x="116" y="60"/>
                  </a:lnTo>
                  <a:lnTo>
                    <a:pt x="116" y="56"/>
                  </a:lnTo>
                  <a:lnTo>
                    <a:pt x="116" y="52"/>
                  </a:lnTo>
                  <a:lnTo>
                    <a:pt x="116" y="48"/>
                  </a:lnTo>
                  <a:lnTo>
                    <a:pt x="124" y="48"/>
                  </a:lnTo>
                  <a:lnTo>
                    <a:pt x="128" y="48"/>
                  </a:lnTo>
                  <a:lnTo>
                    <a:pt x="128" y="44"/>
                  </a:lnTo>
                  <a:lnTo>
                    <a:pt x="132" y="44"/>
                  </a:lnTo>
                  <a:lnTo>
                    <a:pt x="132" y="48"/>
                  </a:lnTo>
                  <a:lnTo>
                    <a:pt x="132" y="52"/>
                  </a:lnTo>
                  <a:lnTo>
                    <a:pt x="140" y="52"/>
                  </a:lnTo>
                  <a:lnTo>
                    <a:pt x="148" y="52"/>
                  </a:lnTo>
                  <a:lnTo>
                    <a:pt x="152" y="52"/>
                  </a:lnTo>
                  <a:lnTo>
                    <a:pt x="152" y="56"/>
                  </a:lnTo>
                  <a:lnTo>
                    <a:pt x="152" y="60"/>
                  </a:lnTo>
                  <a:lnTo>
                    <a:pt x="152" y="64"/>
                  </a:lnTo>
                  <a:lnTo>
                    <a:pt x="152" y="68"/>
                  </a:lnTo>
                  <a:lnTo>
                    <a:pt x="152" y="72"/>
                  </a:lnTo>
                  <a:lnTo>
                    <a:pt x="152" y="76"/>
                  </a:lnTo>
                  <a:lnTo>
                    <a:pt x="152" y="80"/>
                  </a:lnTo>
                  <a:lnTo>
                    <a:pt x="152" y="84"/>
                  </a:lnTo>
                  <a:lnTo>
                    <a:pt x="152" y="88"/>
                  </a:lnTo>
                  <a:lnTo>
                    <a:pt x="152" y="92"/>
                  </a:lnTo>
                  <a:lnTo>
                    <a:pt x="152" y="96"/>
                  </a:lnTo>
                  <a:lnTo>
                    <a:pt x="156" y="100"/>
                  </a:lnTo>
                  <a:lnTo>
                    <a:pt x="156" y="104"/>
                  </a:lnTo>
                  <a:lnTo>
                    <a:pt x="160" y="108"/>
                  </a:lnTo>
                  <a:lnTo>
                    <a:pt x="160" y="112"/>
                  </a:lnTo>
                  <a:lnTo>
                    <a:pt x="160" y="116"/>
                  </a:lnTo>
                  <a:lnTo>
                    <a:pt x="156" y="116"/>
                  </a:lnTo>
                  <a:lnTo>
                    <a:pt x="156" y="120"/>
                  </a:lnTo>
                  <a:lnTo>
                    <a:pt x="156" y="124"/>
                  </a:lnTo>
                  <a:lnTo>
                    <a:pt x="160" y="124"/>
                  </a:lnTo>
                  <a:lnTo>
                    <a:pt x="160" y="120"/>
                  </a:lnTo>
                  <a:lnTo>
                    <a:pt x="164" y="120"/>
                  </a:lnTo>
                  <a:lnTo>
                    <a:pt x="168" y="120"/>
                  </a:lnTo>
                  <a:lnTo>
                    <a:pt x="172" y="120"/>
                  </a:lnTo>
                  <a:lnTo>
                    <a:pt x="176" y="120"/>
                  </a:lnTo>
                  <a:lnTo>
                    <a:pt x="180" y="120"/>
                  </a:lnTo>
                  <a:lnTo>
                    <a:pt x="184" y="120"/>
                  </a:lnTo>
                  <a:lnTo>
                    <a:pt x="184" y="116"/>
                  </a:lnTo>
                  <a:lnTo>
                    <a:pt x="184" y="120"/>
                  </a:lnTo>
                  <a:lnTo>
                    <a:pt x="184" y="124"/>
                  </a:lnTo>
                  <a:lnTo>
                    <a:pt x="184" y="128"/>
                  </a:lnTo>
                  <a:lnTo>
                    <a:pt x="184" y="132"/>
                  </a:lnTo>
                  <a:lnTo>
                    <a:pt x="184" y="136"/>
                  </a:lnTo>
                  <a:lnTo>
                    <a:pt x="184" y="144"/>
                  </a:lnTo>
                  <a:lnTo>
                    <a:pt x="184" y="148"/>
                  </a:lnTo>
                  <a:lnTo>
                    <a:pt x="184" y="152"/>
                  </a:lnTo>
                  <a:lnTo>
                    <a:pt x="184" y="156"/>
                  </a:lnTo>
                  <a:lnTo>
                    <a:pt x="180" y="156"/>
                  </a:lnTo>
                  <a:lnTo>
                    <a:pt x="176" y="156"/>
                  </a:lnTo>
                  <a:lnTo>
                    <a:pt x="172" y="156"/>
                  </a:lnTo>
                  <a:lnTo>
                    <a:pt x="168" y="156"/>
                  </a:lnTo>
                  <a:lnTo>
                    <a:pt x="160" y="156"/>
                  </a:lnTo>
                  <a:lnTo>
                    <a:pt x="152" y="156"/>
                  </a:lnTo>
                  <a:lnTo>
                    <a:pt x="152" y="164"/>
                  </a:lnTo>
                  <a:lnTo>
                    <a:pt x="152" y="172"/>
                  </a:lnTo>
                  <a:lnTo>
                    <a:pt x="152" y="176"/>
                  </a:lnTo>
                  <a:lnTo>
                    <a:pt x="152" y="184"/>
                  </a:lnTo>
                  <a:lnTo>
                    <a:pt x="152" y="188"/>
                  </a:lnTo>
                  <a:lnTo>
                    <a:pt x="152" y="192"/>
                  </a:lnTo>
                  <a:lnTo>
                    <a:pt x="152" y="204"/>
                  </a:lnTo>
                  <a:lnTo>
                    <a:pt x="152" y="212"/>
                  </a:lnTo>
                  <a:lnTo>
                    <a:pt x="152" y="216"/>
                  </a:lnTo>
                  <a:lnTo>
                    <a:pt x="156" y="216"/>
                  </a:lnTo>
                  <a:lnTo>
                    <a:pt x="156" y="220"/>
                  </a:lnTo>
                  <a:lnTo>
                    <a:pt x="156" y="224"/>
                  </a:lnTo>
                  <a:lnTo>
                    <a:pt x="160" y="224"/>
                  </a:lnTo>
                  <a:lnTo>
                    <a:pt x="160" y="228"/>
                  </a:lnTo>
                  <a:lnTo>
                    <a:pt x="164" y="232"/>
                  </a:lnTo>
                  <a:lnTo>
                    <a:pt x="172" y="240"/>
                  </a:lnTo>
                  <a:lnTo>
                    <a:pt x="176" y="2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2" name="Freeform 119"/>
            <p:cNvSpPr>
              <a:spLocks/>
            </p:cNvSpPr>
            <p:nvPr>
              <p:custDataLst>
                <p:tags r:id="rId315"/>
              </p:custDataLst>
            </p:nvPr>
          </p:nvSpPr>
          <p:spPr bwMode="gray">
            <a:xfrm>
              <a:off x="4393857" y="4254850"/>
              <a:ext cx="71187" cy="172035"/>
            </a:xfrm>
            <a:custGeom>
              <a:avLst/>
              <a:gdLst/>
              <a:ahLst/>
              <a:cxnLst>
                <a:cxn ang="0">
                  <a:pos x="32" y="96"/>
                </a:cxn>
                <a:cxn ang="0">
                  <a:pos x="28" y="104"/>
                </a:cxn>
                <a:cxn ang="0">
                  <a:pos x="28" y="112"/>
                </a:cxn>
                <a:cxn ang="0">
                  <a:pos x="28" y="112"/>
                </a:cxn>
                <a:cxn ang="0">
                  <a:pos x="24" y="112"/>
                </a:cxn>
                <a:cxn ang="0">
                  <a:pos x="20" y="116"/>
                </a:cxn>
                <a:cxn ang="0">
                  <a:pos x="12" y="116"/>
                </a:cxn>
                <a:cxn ang="0">
                  <a:pos x="12" y="116"/>
                </a:cxn>
                <a:cxn ang="0">
                  <a:pos x="16" y="116"/>
                </a:cxn>
                <a:cxn ang="0">
                  <a:pos x="12" y="108"/>
                </a:cxn>
                <a:cxn ang="0">
                  <a:pos x="12" y="108"/>
                </a:cxn>
                <a:cxn ang="0">
                  <a:pos x="12" y="104"/>
                </a:cxn>
                <a:cxn ang="0">
                  <a:pos x="12" y="96"/>
                </a:cxn>
                <a:cxn ang="0">
                  <a:pos x="12" y="92"/>
                </a:cxn>
                <a:cxn ang="0">
                  <a:pos x="12" y="84"/>
                </a:cxn>
                <a:cxn ang="0">
                  <a:pos x="12" y="72"/>
                </a:cxn>
                <a:cxn ang="0">
                  <a:pos x="12" y="64"/>
                </a:cxn>
                <a:cxn ang="0">
                  <a:pos x="12" y="60"/>
                </a:cxn>
                <a:cxn ang="0">
                  <a:pos x="8" y="60"/>
                </a:cxn>
                <a:cxn ang="0">
                  <a:pos x="8" y="56"/>
                </a:cxn>
                <a:cxn ang="0">
                  <a:pos x="8" y="52"/>
                </a:cxn>
                <a:cxn ang="0">
                  <a:pos x="8" y="44"/>
                </a:cxn>
                <a:cxn ang="0">
                  <a:pos x="0" y="40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12" y="20"/>
                </a:cxn>
                <a:cxn ang="0">
                  <a:pos x="16" y="20"/>
                </a:cxn>
                <a:cxn ang="0">
                  <a:pos x="20" y="20"/>
                </a:cxn>
                <a:cxn ang="0">
                  <a:pos x="20" y="16"/>
                </a:cxn>
                <a:cxn ang="0">
                  <a:pos x="24" y="12"/>
                </a:cxn>
                <a:cxn ang="0">
                  <a:pos x="24" y="8"/>
                </a:cxn>
                <a:cxn ang="0">
                  <a:pos x="28" y="4"/>
                </a:cxn>
                <a:cxn ang="0">
                  <a:pos x="32" y="0"/>
                </a:cxn>
                <a:cxn ang="0">
                  <a:pos x="36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4" y="16"/>
                </a:cxn>
                <a:cxn ang="0">
                  <a:pos x="44" y="24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8" y="32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4" y="44"/>
                </a:cxn>
                <a:cxn ang="0">
                  <a:pos x="40" y="48"/>
                </a:cxn>
                <a:cxn ang="0">
                  <a:pos x="40" y="52"/>
                </a:cxn>
                <a:cxn ang="0">
                  <a:pos x="36" y="56"/>
                </a:cxn>
                <a:cxn ang="0">
                  <a:pos x="36" y="60"/>
                </a:cxn>
                <a:cxn ang="0">
                  <a:pos x="32" y="64"/>
                </a:cxn>
                <a:cxn ang="0">
                  <a:pos x="32" y="64"/>
                </a:cxn>
                <a:cxn ang="0">
                  <a:pos x="28" y="72"/>
                </a:cxn>
                <a:cxn ang="0">
                  <a:pos x="28" y="76"/>
                </a:cxn>
                <a:cxn ang="0">
                  <a:pos x="28" y="80"/>
                </a:cxn>
                <a:cxn ang="0">
                  <a:pos x="28" y="84"/>
                </a:cxn>
                <a:cxn ang="0">
                  <a:pos x="28" y="88"/>
                </a:cxn>
              </a:cxnLst>
              <a:rect l="0" t="0" r="r" b="b"/>
              <a:pathLst>
                <a:path w="48" h="116">
                  <a:moveTo>
                    <a:pt x="28" y="88"/>
                  </a:moveTo>
                  <a:lnTo>
                    <a:pt x="28" y="88"/>
                  </a:lnTo>
                  <a:lnTo>
                    <a:pt x="28" y="92"/>
                  </a:lnTo>
                  <a:lnTo>
                    <a:pt x="32" y="96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3" name="Freeform 120"/>
            <p:cNvSpPr>
              <a:spLocks/>
            </p:cNvSpPr>
            <p:nvPr>
              <p:custDataLst>
                <p:tags r:id="rId316"/>
              </p:custDataLst>
            </p:nvPr>
          </p:nvSpPr>
          <p:spPr bwMode="gray">
            <a:xfrm>
              <a:off x="4825430" y="5083882"/>
              <a:ext cx="206145" cy="253603"/>
            </a:xfrm>
            <a:custGeom>
              <a:avLst/>
              <a:gdLst/>
              <a:ahLst/>
              <a:cxnLst>
                <a:cxn ang="0">
                  <a:pos x="88" y="132"/>
                </a:cxn>
                <a:cxn ang="0">
                  <a:pos x="84" y="144"/>
                </a:cxn>
                <a:cxn ang="0">
                  <a:pos x="80" y="152"/>
                </a:cxn>
                <a:cxn ang="0">
                  <a:pos x="72" y="152"/>
                </a:cxn>
                <a:cxn ang="0">
                  <a:pos x="68" y="148"/>
                </a:cxn>
                <a:cxn ang="0">
                  <a:pos x="64" y="148"/>
                </a:cxn>
                <a:cxn ang="0">
                  <a:pos x="56" y="144"/>
                </a:cxn>
                <a:cxn ang="0">
                  <a:pos x="48" y="140"/>
                </a:cxn>
                <a:cxn ang="0">
                  <a:pos x="44" y="148"/>
                </a:cxn>
                <a:cxn ang="0">
                  <a:pos x="40" y="156"/>
                </a:cxn>
                <a:cxn ang="0">
                  <a:pos x="32" y="163"/>
                </a:cxn>
                <a:cxn ang="0">
                  <a:pos x="28" y="167"/>
                </a:cxn>
                <a:cxn ang="0">
                  <a:pos x="28" y="171"/>
                </a:cxn>
                <a:cxn ang="0">
                  <a:pos x="20" y="171"/>
                </a:cxn>
                <a:cxn ang="0">
                  <a:pos x="16" y="171"/>
                </a:cxn>
                <a:cxn ang="0">
                  <a:pos x="12" y="171"/>
                </a:cxn>
                <a:cxn ang="0">
                  <a:pos x="8" y="163"/>
                </a:cxn>
                <a:cxn ang="0">
                  <a:pos x="12" y="160"/>
                </a:cxn>
                <a:cxn ang="0">
                  <a:pos x="8" y="148"/>
                </a:cxn>
                <a:cxn ang="0">
                  <a:pos x="4" y="136"/>
                </a:cxn>
                <a:cxn ang="0">
                  <a:pos x="0" y="132"/>
                </a:cxn>
                <a:cxn ang="0">
                  <a:pos x="0" y="112"/>
                </a:cxn>
                <a:cxn ang="0">
                  <a:pos x="0" y="96"/>
                </a:cxn>
                <a:cxn ang="0">
                  <a:pos x="0" y="80"/>
                </a:cxn>
                <a:cxn ang="0">
                  <a:pos x="16" y="72"/>
                </a:cxn>
                <a:cxn ang="0">
                  <a:pos x="16" y="24"/>
                </a:cxn>
                <a:cxn ang="0">
                  <a:pos x="28" y="8"/>
                </a:cxn>
                <a:cxn ang="0">
                  <a:pos x="48" y="4"/>
                </a:cxn>
                <a:cxn ang="0">
                  <a:pos x="52" y="8"/>
                </a:cxn>
                <a:cxn ang="0">
                  <a:pos x="56" y="12"/>
                </a:cxn>
                <a:cxn ang="0">
                  <a:pos x="60" y="8"/>
                </a:cxn>
                <a:cxn ang="0">
                  <a:pos x="68" y="4"/>
                </a:cxn>
                <a:cxn ang="0">
                  <a:pos x="72" y="0"/>
                </a:cxn>
                <a:cxn ang="0">
                  <a:pos x="80" y="0"/>
                </a:cxn>
                <a:cxn ang="0">
                  <a:pos x="80" y="4"/>
                </a:cxn>
                <a:cxn ang="0">
                  <a:pos x="84" y="8"/>
                </a:cxn>
                <a:cxn ang="0">
                  <a:pos x="88" y="20"/>
                </a:cxn>
                <a:cxn ang="0">
                  <a:pos x="92" y="24"/>
                </a:cxn>
                <a:cxn ang="0">
                  <a:pos x="96" y="32"/>
                </a:cxn>
                <a:cxn ang="0">
                  <a:pos x="100" y="36"/>
                </a:cxn>
                <a:cxn ang="0">
                  <a:pos x="108" y="40"/>
                </a:cxn>
                <a:cxn ang="0">
                  <a:pos x="112" y="48"/>
                </a:cxn>
                <a:cxn ang="0">
                  <a:pos x="116" y="48"/>
                </a:cxn>
                <a:cxn ang="0">
                  <a:pos x="116" y="56"/>
                </a:cxn>
                <a:cxn ang="0">
                  <a:pos x="120" y="68"/>
                </a:cxn>
                <a:cxn ang="0">
                  <a:pos x="123" y="72"/>
                </a:cxn>
                <a:cxn ang="0">
                  <a:pos x="127" y="72"/>
                </a:cxn>
                <a:cxn ang="0">
                  <a:pos x="135" y="72"/>
                </a:cxn>
                <a:cxn ang="0">
                  <a:pos x="135" y="80"/>
                </a:cxn>
                <a:cxn ang="0">
                  <a:pos x="139" y="80"/>
                </a:cxn>
                <a:cxn ang="0">
                  <a:pos x="135" y="84"/>
                </a:cxn>
                <a:cxn ang="0">
                  <a:pos x="135" y="88"/>
                </a:cxn>
                <a:cxn ang="0">
                  <a:pos x="123" y="92"/>
                </a:cxn>
                <a:cxn ang="0">
                  <a:pos x="120" y="96"/>
                </a:cxn>
                <a:cxn ang="0">
                  <a:pos x="116" y="104"/>
                </a:cxn>
                <a:cxn ang="0">
                  <a:pos x="108" y="108"/>
                </a:cxn>
                <a:cxn ang="0">
                  <a:pos x="104" y="116"/>
                </a:cxn>
                <a:cxn ang="0">
                  <a:pos x="100" y="124"/>
                </a:cxn>
                <a:cxn ang="0">
                  <a:pos x="96" y="128"/>
                </a:cxn>
              </a:cxnLst>
              <a:rect l="0" t="0" r="r" b="b"/>
              <a:pathLst>
                <a:path w="139" h="171">
                  <a:moveTo>
                    <a:pt x="96" y="128"/>
                  </a:move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6"/>
                  </a:lnTo>
                  <a:lnTo>
                    <a:pt x="88" y="140"/>
                  </a:lnTo>
                  <a:lnTo>
                    <a:pt x="84" y="144"/>
                  </a:lnTo>
                  <a:lnTo>
                    <a:pt x="84" y="144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0" y="148"/>
                  </a:lnTo>
                  <a:lnTo>
                    <a:pt x="80" y="152"/>
                  </a:lnTo>
                  <a:lnTo>
                    <a:pt x="80" y="152"/>
                  </a:lnTo>
                  <a:lnTo>
                    <a:pt x="76" y="152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68" y="152"/>
                  </a:lnTo>
                  <a:lnTo>
                    <a:pt x="68" y="152"/>
                  </a:lnTo>
                  <a:lnTo>
                    <a:pt x="68" y="152"/>
                  </a:lnTo>
                  <a:lnTo>
                    <a:pt x="68" y="148"/>
                  </a:lnTo>
                  <a:lnTo>
                    <a:pt x="68" y="148"/>
                  </a:lnTo>
                  <a:lnTo>
                    <a:pt x="68" y="152"/>
                  </a:lnTo>
                  <a:lnTo>
                    <a:pt x="64" y="152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4" y="140"/>
                  </a:lnTo>
                  <a:lnTo>
                    <a:pt x="44" y="140"/>
                  </a:lnTo>
                  <a:lnTo>
                    <a:pt x="44" y="144"/>
                  </a:lnTo>
                  <a:lnTo>
                    <a:pt x="44" y="144"/>
                  </a:lnTo>
                  <a:lnTo>
                    <a:pt x="44" y="148"/>
                  </a:lnTo>
                  <a:lnTo>
                    <a:pt x="44" y="148"/>
                  </a:lnTo>
                  <a:lnTo>
                    <a:pt x="44" y="148"/>
                  </a:lnTo>
                  <a:lnTo>
                    <a:pt x="40" y="148"/>
                  </a:lnTo>
                  <a:lnTo>
                    <a:pt x="40" y="148"/>
                  </a:lnTo>
                  <a:lnTo>
                    <a:pt x="40" y="152"/>
                  </a:lnTo>
                  <a:lnTo>
                    <a:pt x="40" y="152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36" y="160"/>
                  </a:lnTo>
                  <a:lnTo>
                    <a:pt x="36" y="160"/>
                  </a:lnTo>
                  <a:lnTo>
                    <a:pt x="32" y="160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7"/>
                  </a:lnTo>
                  <a:lnTo>
                    <a:pt x="32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71"/>
                  </a:lnTo>
                  <a:lnTo>
                    <a:pt x="28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8" y="171"/>
                  </a:lnTo>
                  <a:lnTo>
                    <a:pt x="8" y="167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12" y="163"/>
                  </a:lnTo>
                  <a:lnTo>
                    <a:pt x="12" y="160"/>
                  </a:lnTo>
                  <a:lnTo>
                    <a:pt x="12" y="160"/>
                  </a:lnTo>
                  <a:lnTo>
                    <a:pt x="12" y="160"/>
                  </a:lnTo>
                  <a:lnTo>
                    <a:pt x="12" y="156"/>
                  </a:lnTo>
                  <a:lnTo>
                    <a:pt x="12" y="152"/>
                  </a:lnTo>
                  <a:lnTo>
                    <a:pt x="12" y="152"/>
                  </a:lnTo>
                  <a:lnTo>
                    <a:pt x="12" y="152"/>
                  </a:lnTo>
                  <a:lnTo>
                    <a:pt x="8" y="148"/>
                  </a:lnTo>
                  <a:lnTo>
                    <a:pt x="8" y="148"/>
                  </a:lnTo>
                  <a:lnTo>
                    <a:pt x="12" y="148"/>
                  </a:lnTo>
                  <a:lnTo>
                    <a:pt x="8" y="144"/>
                  </a:lnTo>
                  <a:lnTo>
                    <a:pt x="8" y="144"/>
                  </a:lnTo>
                  <a:lnTo>
                    <a:pt x="8" y="144"/>
                  </a:lnTo>
                  <a:lnTo>
                    <a:pt x="8" y="140"/>
                  </a:lnTo>
                  <a:lnTo>
                    <a:pt x="8" y="140"/>
                  </a:lnTo>
                  <a:lnTo>
                    <a:pt x="4" y="136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4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80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24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8" y="8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08" y="40"/>
                  </a:lnTo>
                  <a:lnTo>
                    <a:pt x="108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52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60"/>
                  </a:lnTo>
                  <a:lnTo>
                    <a:pt x="116" y="60"/>
                  </a:lnTo>
                  <a:lnTo>
                    <a:pt x="116" y="64"/>
                  </a:lnTo>
                  <a:lnTo>
                    <a:pt x="116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31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8"/>
                  </a:lnTo>
                  <a:lnTo>
                    <a:pt x="135" y="88"/>
                  </a:lnTo>
                  <a:lnTo>
                    <a:pt x="131" y="88"/>
                  </a:lnTo>
                  <a:lnTo>
                    <a:pt x="131" y="88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3" y="88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16" y="100"/>
                  </a:lnTo>
                  <a:lnTo>
                    <a:pt x="116" y="100"/>
                  </a:lnTo>
                  <a:lnTo>
                    <a:pt x="116" y="100"/>
                  </a:lnTo>
                  <a:lnTo>
                    <a:pt x="116" y="104"/>
                  </a:lnTo>
                  <a:lnTo>
                    <a:pt x="116" y="104"/>
                  </a:lnTo>
                  <a:lnTo>
                    <a:pt x="116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4" y="108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6"/>
                  </a:lnTo>
                  <a:lnTo>
                    <a:pt x="104" y="116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4" y="124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4" name="Freeform 121"/>
            <p:cNvSpPr>
              <a:spLocks/>
            </p:cNvSpPr>
            <p:nvPr>
              <p:custDataLst>
                <p:tags r:id="rId317"/>
              </p:custDataLst>
            </p:nvPr>
          </p:nvSpPr>
          <p:spPr bwMode="gray">
            <a:xfrm>
              <a:off x="4251483" y="4183663"/>
              <a:ext cx="177968" cy="154239"/>
            </a:xfrm>
            <a:custGeom>
              <a:avLst/>
              <a:gdLst/>
              <a:ahLst/>
              <a:cxnLst>
                <a:cxn ang="0">
                  <a:pos x="92" y="76"/>
                </a:cxn>
                <a:cxn ang="0">
                  <a:pos x="88" y="76"/>
                </a:cxn>
                <a:cxn ang="0">
                  <a:pos x="80" y="72"/>
                </a:cxn>
                <a:cxn ang="0">
                  <a:pos x="72" y="76"/>
                </a:cxn>
                <a:cxn ang="0">
                  <a:pos x="68" y="76"/>
                </a:cxn>
                <a:cxn ang="0">
                  <a:pos x="60" y="76"/>
                </a:cxn>
                <a:cxn ang="0">
                  <a:pos x="40" y="76"/>
                </a:cxn>
                <a:cxn ang="0">
                  <a:pos x="40" y="84"/>
                </a:cxn>
                <a:cxn ang="0">
                  <a:pos x="40" y="92"/>
                </a:cxn>
                <a:cxn ang="0">
                  <a:pos x="40" y="100"/>
                </a:cxn>
                <a:cxn ang="0">
                  <a:pos x="40" y="100"/>
                </a:cxn>
                <a:cxn ang="0">
                  <a:pos x="44" y="104"/>
                </a:cxn>
                <a:cxn ang="0">
                  <a:pos x="40" y="104"/>
                </a:cxn>
                <a:cxn ang="0">
                  <a:pos x="36" y="96"/>
                </a:cxn>
                <a:cxn ang="0">
                  <a:pos x="28" y="96"/>
                </a:cxn>
                <a:cxn ang="0">
                  <a:pos x="24" y="96"/>
                </a:cxn>
                <a:cxn ang="0">
                  <a:pos x="20" y="100"/>
                </a:cxn>
                <a:cxn ang="0">
                  <a:pos x="16" y="100"/>
                </a:cxn>
                <a:cxn ang="0">
                  <a:pos x="12" y="100"/>
                </a:cxn>
                <a:cxn ang="0">
                  <a:pos x="8" y="88"/>
                </a:cxn>
                <a:cxn ang="0">
                  <a:pos x="4" y="88"/>
                </a:cxn>
                <a:cxn ang="0">
                  <a:pos x="0" y="84"/>
                </a:cxn>
                <a:cxn ang="0">
                  <a:pos x="0" y="80"/>
                </a:cxn>
                <a:cxn ang="0">
                  <a:pos x="0" y="76"/>
                </a:cxn>
                <a:cxn ang="0">
                  <a:pos x="4" y="72"/>
                </a:cxn>
                <a:cxn ang="0">
                  <a:pos x="4" y="64"/>
                </a:cxn>
                <a:cxn ang="0">
                  <a:pos x="8" y="56"/>
                </a:cxn>
                <a:cxn ang="0">
                  <a:pos x="12" y="56"/>
                </a:cxn>
                <a:cxn ang="0">
                  <a:pos x="16" y="48"/>
                </a:cxn>
                <a:cxn ang="0">
                  <a:pos x="16" y="44"/>
                </a:cxn>
                <a:cxn ang="0">
                  <a:pos x="20" y="44"/>
                </a:cxn>
                <a:cxn ang="0">
                  <a:pos x="20" y="40"/>
                </a:cxn>
                <a:cxn ang="0">
                  <a:pos x="20" y="36"/>
                </a:cxn>
                <a:cxn ang="0">
                  <a:pos x="24" y="28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32" y="32"/>
                </a:cxn>
                <a:cxn ang="0">
                  <a:pos x="36" y="28"/>
                </a:cxn>
                <a:cxn ang="0">
                  <a:pos x="40" y="28"/>
                </a:cxn>
                <a:cxn ang="0">
                  <a:pos x="40" y="20"/>
                </a:cxn>
                <a:cxn ang="0">
                  <a:pos x="48" y="16"/>
                </a:cxn>
                <a:cxn ang="0">
                  <a:pos x="52" y="16"/>
                </a:cxn>
                <a:cxn ang="0">
                  <a:pos x="56" y="12"/>
                </a:cxn>
                <a:cxn ang="0">
                  <a:pos x="68" y="4"/>
                </a:cxn>
                <a:cxn ang="0">
                  <a:pos x="76" y="0"/>
                </a:cxn>
                <a:cxn ang="0">
                  <a:pos x="88" y="4"/>
                </a:cxn>
                <a:cxn ang="0">
                  <a:pos x="88" y="12"/>
                </a:cxn>
                <a:cxn ang="0">
                  <a:pos x="88" y="16"/>
                </a:cxn>
                <a:cxn ang="0">
                  <a:pos x="92" y="24"/>
                </a:cxn>
                <a:cxn ang="0">
                  <a:pos x="100" y="28"/>
                </a:cxn>
                <a:cxn ang="0">
                  <a:pos x="104" y="32"/>
                </a:cxn>
                <a:cxn ang="0">
                  <a:pos x="100" y="32"/>
                </a:cxn>
                <a:cxn ang="0">
                  <a:pos x="100" y="36"/>
                </a:cxn>
                <a:cxn ang="0">
                  <a:pos x="108" y="44"/>
                </a:cxn>
                <a:cxn ang="0">
                  <a:pos x="116" y="44"/>
                </a:cxn>
                <a:cxn ang="0">
                  <a:pos x="116" y="48"/>
                </a:cxn>
                <a:cxn ang="0">
                  <a:pos x="120" y="60"/>
                </a:cxn>
                <a:cxn ang="0">
                  <a:pos x="116" y="64"/>
                </a:cxn>
                <a:cxn ang="0">
                  <a:pos x="116" y="68"/>
                </a:cxn>
                <a:cxn ang="0">
                  <a:pos x="108" y="68"/>
                </a:cxn>
                <a:cxn ang="0">
                  <a:pos x="104" y="68"/>
                </a:cxn>
                <a:cxn ang="0">
                  <a:pos x="104" y="68"/>
                </a:cxn>
                <a:cxn ang="0">
                  <a:pos x="100" y="76"/>
                </a:cxn>
              </a:cxnLst>
              <a:rect l="0" t="0" r="r" b="b"/>
              <a:pathLst>
                <a:path w="120" h="104">
                  <a:moveTo>
                    <a:pt x="96" y="76"/>
                  </a:moveTo>
                  <a:lnTo>
                    <a:pt x="96" y="76"/>
                  </a:lnTo>
                  <a:lnTo>
                    <a:pt x="96" y="76"/>
                  </a:lnTo>
                  <a:lnTo>
                    <a:pt x="96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6"/>
                  </a:lnTo>
                  <a:lnTo>
                    <a:pt x="76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6"/>
                  </a:lnTo>
                  <a:lnTo>
                    <a:pt x="44" y="96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0" y="100"/>
                  </a:lnTo>
                  <a:lnTo>
                    <a:pt x="40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36" y="96"/>
                  </a:lnTo>
                  <a:lnTo>
                    <a:pt x="36" y="96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8" y="96"/>
                  </a:lnTo>
                  <a:lnTo>
                    <a:pt x="8" y="92"/>
                  </a:lnTo>
                  <a:lnTo>
                    <a:pt x="8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6"/>
                  </a:lnTo>
                  <a:lnTo>
                    <a:pt x="92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0" y="40"/>
                  </a:lnTo>
                  <a:lnTo>
                    <a:pt x="104" y="40"/>
                  </a:lnTo>
                  <a:lnTo>
                    <a:pt x="108" y="44"/>
                  </a:lnTo>
                  <a:lnTo>
                    <a:pt x="112" y="48"/>
                  </a:lnTo>
                  <a:lnTo>
                    <a:pt x="112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8"/>
                  </a:lnTo>
                  <a:lnTo>
                    <a:pt x="120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52"/>
                  </a:lnTo>
                  <a:lnTo>
                    <a:pt x="116" y="52"/>
                  </a:lnTo>
                  <a:lnTo>
                    <a:pt x="120" y="56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16" y="64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0" y="72"/>
                  </a:lnTo>
                  <a:lnTo>
                    <a:pt x="100" y="72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96" y="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5" name="Freeform 122"/>
            <p:cNvSpPr>
              <a:spLocks/>
            </p:cNvSpPr>
            <p:nvPr>
              <p:custDataLst>
                <p:tags r:id="rId318"/>
              </p:custDataLst>
            </p:nvPr>
          </p:nvSpPr>
          <p:spPr bwMode="gray">
            <a:xfrm>
              <a:off x="5025643" y="4658243"/>
              <a:ext cx="41526" cy="57839"/>
            </a:xfrm>
            <a:custGeom>
              <a:avLst/>
              <a:gdLst/>
              <a:ahLst/>
              <a:cxnLst>
                <a:cxn ang="0">
                  <a:pos x="28" y="15"/>
                </a:cxn>
                <a:cxn ang="0">
                  <a:pos x="28" y="19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20" y="23"/>
                </a:cxn>
                <a:cxn ang="0">
                  <a:pos x="20" y="27"/>
                </a:cxn>
                <a:cxn ang="0">
                  <a:pos x="20" y="27"/>
                </a:cxn>
                <a:cxn ang="0">
                  <a:pos x="20" y="31"/>
                </a:cxn>
                <a:cxn ang="0">
                  <a:pos x="12" y="39"/>
                </a:cxn>
                <a:cxn ang="0">
                  <a:pos x="8" y="39"/>
                </a:cxn>
                <a:cxn ang="0">
                  <a:pos x="8" y="35"/>
                </a:cxn>
                <a:cxn ang="0">
                  <a:pos x="4" y="31"/>
                </a:cxn>
                <a:cxn ang="0">
                  <a:pos x="4" y="31"/>
                </a:cxn>
                <a:cxn ang="0">
                  <a:pos x="4" y="31"/>
                </a:cxn>
                <a:cxn ang="0">
                  <a:pos x="4" y="27"/>
                </a:cxn>
                <a:cxn ang="0">
                  <a:pos x="4" y="27"/>
                </a:cxn>
                <a:cxn ang="0">
                  <a:pos x="4" y="23"/>
                </a:cxn>
                <a:cxn ang="0">
                  <a:pos x="4" y="19"/>
                </a:cxn>
                <a:cxn ang="0">
                  <a:pos x="4" y="19"/>
                </a:cxn>
                <a:cxn ang="0">
                  <a:pos x="4" y="15"/>
                </a:cxn>
                <a:cxn ang="0">
                  <a:pos x="4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0" y="12"/>
                </a:cxn>
                <a:cxn ang="0">
                  <a:pos x="24" y="12"/>
                </a:cxn>
                <a:cxn ang="0">
                  <a:pos x="24" y="12"/>
                </a:cxn>
              </a:cxnLst>
              <a:rect l="0" t="0" r="r" b="b"/>
              <a:pathLst>
                <a:path w="28" h="39">
                  <a:moveTo>
                    <a:pt x="28" y="12"/>
                  </a:moveTo>
                  <a:lnTo>
                    <a:pt x="28" y="12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0" y="23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6" name="Freeform 123"/>
            <p:cNvSpPr>
              <a:spLocks/>
            </p:cNvSpPr>
            <p:nvPr>
              <p:custDataLst>
                <p:tags r:id="rId319"/>
              </p:custDataLst>
            </p:nvPr>
          </p:nvSpPr>
          <p:spPr bwMode="gray">
            <a:xfrm>
              <a:off x="4564410" y="4237053"/>
              <a:ext cx="177968" cy="314410"/>
            </a:xfrm>
            <a:custGeom>
              <a:avLst/>
              <a:gdLst/>
              <a:ahLst/>
              <a:cxnLst>
                <a:cxn ang="0">
                  <a:pos x="24" y="200"/>
                </a:cxn>
                <a:cxn ang="0">
                  <a:pos x="20" y="188"/>
                </a:cxn>
                <a:cxn ang="0">
                  <a:pos x="20" y="180"/>
                </a:cxn>
                <a:cxn ang="0">
                  <a:pos x="20" y="172"/>
                </a:cxn>
                <a:cxn ang="0">
                  <a:pos x="12" y="172"/>
                </a:cxn>
                <a:cxn ang="0">
                  <a:pos x="8" y="164"/>
                </a:cxn>
                <a:cxn ang="0">
                  <a:pos x="8" y="160"/>
                </a:cxn>
                <a:cxn ang="0">
                  <a:pos x="4" y="160"/>
                </a:cxn>
                <a:cxn ang="0">
                  <a:pos x="4" y="152"/>
                </a:cxn>
                <a:cxn ang="0">
                  <a:pos x="8" y="140"/>
                </a:cxn>
                <a:cxn ang="0">
                  <a:pos x="12" y="128"/>
                </a:cxn>
                <a:cxn ang="0">
                  <a:pos x="20" y="120"/>
                </a:cxn>
                <a:cxn ang="0">
                  <a:pos x="28" y="112"/>
                </a:cxn>
                <a:cxn ang="0">
                  <a:pos x="32" y="112"/>
                </a:cxn>
                <a:cxn ang="0">
                  <a:pos x="40" y="116"/>
                </a:cxn>
                <a:cxn ang="0">
                  <a:pos x="44" y="124"/>
                </a:cxn>
                <a:cxn ang="0">
                  <a:pos x="48" y="116"/>
                </a:cxn>
                <a:cxn ang="0">
                  <a:pos x="52" y="104"/>
                </a:cxn>
                <a:cxn ang="0">
                  <a:pos x="56" y="96"/>
                </a:cxn>
                <a:cxn ang="0">
                  <a:pos x="56" y="92"/>
                </a:cxn>
                <a:cxn ang="0">
                  <a:pos x="60" y="84"/>
                </a:cxn>
                <a:cxn ang="0">
                  <a:pos x="68" y="76"/>
                </a:cxn>
                <a:cxn ang="0">
                  <a:pos x="72" y="68"/>
                </a:cxn>
                <a:cxn ang="0">
                  <a:pos x="72" y="56"/>
                </a:cxn>
                <a:cxn ang="0">
                  <a:pos x="76" y="48"/>
                </a:cxn>
                <a:cxn ang="0">
                  <a:pos x="84" y="36"/>
                </a:cxn>
                <a:cxn ang="0">
                  <a:pos x="92" y="32"/>
                </a:cxn>
                <a:cxn ang="0">
                  <a:pos x="92" y="24"/>
                </a:cxn>
                <a:cxn ang="0">
                  <a:pos x="92" y="20"/>
                </a:cxn>
                <a:cxn ang="0">
                  <a:pos x="92" y="16"/>
                </a:cxn>
                <a:cxn ang="0">
                  <a:pos x="88" y="8"/>
                </a:cxn>
                <a:cxn ang="0">
                  <a:pos x="88" y="0"/>
                </a:cxn>
                <a:cxn ang="0">
                  <a:pos x="92" y="8"/>
                </a:cxn>
                <a:cxn ang="0">
                  <a:pos x="100" y="20"/>
                </a:cxn>
                <a:cxn ang="0">
                  <a:pos x="100" y="32"/>
                </a:cxn>
                <a:cxn ang="0">
                  <a:pos x="100" y="44"/>
                </a:cxn>
                <a:cxn ang="0">
                  <a:pos x="104" y="52"/>
                </a:cxn>
                <a:cxn ang="0">
                  <a:pos x="104" y="60"/>
                </a:cxn>
                <a:cxn ang="0">
                  <a:pos x="92" y="60"/>
                </a:cxn>
                <a:cxn ang="0">
                  <a:pos x="88" y="72"/>
                </a:cxn>
                <a:cxn ang="0">
                  <a:pos x="100" y="80"/>
                </a:cxn>
                <a:cxn ang="0">
                  <a:pos x="104" y="92"/>
                </a:cxn>
                <a:cxn ang="0">
                  <a:pos x="108" y="100"/>
                </a:cxn>
                <a:cxn ang="0">
                  <a:pos x="104" y="108"/>
                </a:cxn>
                <a:cxn ang="0">
                  <a:pos x="100" y="116"/>
                </a:cxn>
                <a:cxn ang="0">
                  <a:pos x="96" y="128"/>
                </a:cxn>
                <a:cxn ang="0">
                  <a:pos x="92" y="136"/>
                </a:cxn>
                <a:cxn ang="0">
                  <a:pos x="92" y="144"/>
                </a:cxn>
                <a:cxn ang="0">
                  <a:pos x="96" y="156"/>
                </a:cxn>
                <a:cxn ang="0">
                  <a:pos x="100" y="164"/>
                </a:cxn>
                <a:cxn ang="0">
                  <a:pos x="104" y="172"/>
                </a:cxn>
                <a:cxn ang="0">
                  <a:pos x="112" y="184"/>
                </a:cxn>
                <a:cxn ang="0">
                  <a:pos x="116" y="196"/>
                </a:cxn>
                <a:cxn ang="0">
                  <a:pos x="116" y="200"/>
                </a:cxn>
                <a:cxn ang="0">
                  <a:pos x="116" y="212"/>
                </a:cxn>
                <a:cxn ang="0">
                  <a:pos x="108" y="208"/>
                </a:cxn>
                <a:cxn ang="0">
                  <a:pos x="100" y="204"/>
                </a:cxn>
                <a:cxn ang="0">
                  <a:pos x="88" y="204"/>
                </a:cxn>
                <a:cxn ang="0">
                  <a:pos x="72" y="200"/>
                </a:cxn>
                <a:cxn ang="0">
                  <a:pos x="60" y="200"/>
                </a:cxn>
                <a:cxn ang="0">
                  <a:pos x="48" y="200"/>
                </a:cxn>
                <a:cxn ang="0">
                  <a:pos x="40" y="204"/>
                </a:cxn>
              </a:cxnLst>
              <a:rect l="0" t="0" r="r" b="b"/>
              <a:pathLst>
                <a:path w="120" h="212">
                  <a:moveTo>
                    <a:pt x="28" y="204"/>
                  </a:moveTo>
                  <a:lnTo>
                    <a:pt x="24" y="204"/>
                  </a:lnTo>
                  <a:lnTo>
                    <a:pt x="24" y="200"/>
                  </a:lnTo>
                  <a:lnTo>
                    <a:pt x="20" y="200"/>
                  </a:lnTo>
                  <a:lnTo>
                    <a:pt x="20" y="196"/>
                  </a:lnTo>
                  <a:lnTo>
                    <a:pt x="20" y="188"/>
                  </a:lnTo>
                  <a:lnTo>
                    <a:pt x="24" y="188"/>
                  </a:lnTo>
                  <a:lnTo>
                    <a:pt x="24" y="184"/>
                  </a:lnTo>
                  <a:lnTo>
                    <a:pt x="20" y="180"/>
                  </a:lnTo>
                  <a:lnTo>
                    <a:pt x="20" y="176"/>
                  </a:lnTo>
                  <a:lnTo>
                    <a:pt x="16" y="172"/>
                  </a:lnTo>
                  <a:lnTo>
                    <a:pt x="20" y="172"/>
                  </a:lnTo>
                  <a:lnTo>
                    <a:pt x="16" y="168"/>
                  </a:lnTo>
                  <a:lnTo>
                    <a:pt x="16" y="172"/>
                  </a:lnTo>
                  <a:lnTo>
                    <a:pt x="12" y="172"/>
                  </a:lnTo>
                  <a:lnTo>
                    <a:pt x="12" y="168"/>
                  </a:lnTo>
                  <a:lnTo>
                    <a:pt x="8" y="168"/>
                  </a:lnTo>
                  <a:lnTo>
                    <a:pt x="8" y="164"/>
                  </a:lnTo>
                  <a:lnTo>
                    <a:pt x="8" y="160"/>
                  </a:lnTo>
                  <a:lnTo>
                    <a:pt x="8" y="156"/>
                  </a:lnTo>
                  <a:lnTo>
                    <a:pt x="8" y="160"/>
                  </a:lnTo>
                  <a:lnTo>
                    <a:pt x="4" y="160"/>
                  </a:lnTo>
                  <a:lnTo>
                    <a:pt x="4" y="156"/>
                  </a:lnTo>
                  <a:lnTo>
                    <a:pt x="4" y="160"/>
                  </a:lnTo>
                  <a:lnTo>
                    <a:pt x="0" y="160"/>
                  </a:lnTo>
                  <a:lnTo>
                    <a:pt x="0" y="156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8" y="144"/>
                  </a:lnTo>
                  <a:lnTo>
                    <a:pt x="8" y="140"/>
                  </a:lnTo>
                  <a:lnTo>
                    <a:pt x="8" y="136"/>
                  </a:lnTo>
                  <a:lnTo>
                    <a:pt x="8" y="132"/>
                  </a:lnTo>
                  <a:lnTo>
                    <a:pt x="12" y="128"/>
                  </a:lnTo>
                  <a:lnTo>
                    <a:pt x="16" y="124"/>
                  </a:lnTo>
                  <a:lnTo>
                    <a:pt x="20" y="124"/>
                  </a:lnTo>
                  <a:lnTo>
                    <a:pt x="20" y="120"/>
                  </a:lnTo>
                  <a:lnTo>
                    <a:pt x="20" y="116"/>
                  </a:lnTo>
                  <a:lnTo>
                    <a:pt x="24" y="116"/>
                  </a:lnTo>
                  <a:lnTo>
                    <a:pt x="28" y="112"/>
                  </a:lnTo>
                  <a:lnTo>
                    <a:pt x="28" y="116"/>
                  </a:lnTo>
                  <a:lnTo>
                    <a:pt x="32" y="116"/>
                  </a:lnTo>
                  <a:lnTo>
                    <a:pt x="32" y="112"/>
                  </a:lnTo>
                  <a:lnTo>
                    <a:pt x="36" y="112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0" y="120"/>
                  </a:lnTo>
                  <a:lnTo>
                    <a:pt x="40" y="124"/>
                  </a:lnTo>
                  <a:lnTo>
                    <a:pt x="44" y="124"/>
                  </a:lnTo>
                  <a:lnTo>
                    <a:pt x="44" y="120"/>
                  </a:lnTo>
                  <a:lnTo>
                    <a:pt x="48" y="120"/>
                  </a:lnTo>
                  <a:lnTo>
                    <a:pt x="48" y="116"/>
                  </a:lnTo>
                  <a:lnTo>
                    <a:pt x="52" y="112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56" y="104"/>
                  </a:lnTo>
                  <a:lnTo>
                    <a:pt x="56" y="100"/>
                  </a:lnTo>
                  <a:lnTo>
                    <a:pt x="56" y="96"/>
                  </a:lnTo>
                  <a:lnTo>
                    <a:pt x="56" y="92"/>
                  </a:lnTo>
                  <a:lnTo>
                    <a:pt x="60" y="92"/>
                  </a:lnTo>
                  <a:lnTo>
                    <a:pt x="56" y="92"/>
                  </a:lnTo>
                  <a:lnTo>
                    <a:pt x="56" y="88"/>
                  </a:lnTo>
                  <a:lnTo>
                    <a:pt x="60" y="88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8" y="80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8" y="68"/>
                  </a:lnTo>
                  <a:lnTo>
                    <a:pt x="72" y="68"/>
                  </a:lnTo>
                  <a:lnTo>
                    <a:pt x="72" y="64"/>
                  </a:lnTo>
                  <a:lnTo>
                    <a:pt x="72" y="60"/>
                  </a:lnTo>
                  <a:lnTo>
                    <a:pt x="72" y="56"/>
                  </a:lnTo>
                  <a:lnTo>
                    <a:pt x="76" y="56"/>
                  </a:lnTo>
                  <a:lnTo>
                    <a:pt x="76" y="52"/>
                  </a:lnTo>
                  <a:lnTo>
                    <a:pt x="76" y="48"/>
                  </a:lnTo>
                  <a:lnTo>
                    <a:pt x="80" y="44"/>
                  </a:lnTo>
                  <a:lnTo>
                    <a:pt x="80" y="40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28"/>
                  </a:lnTo>
                  <a:lnTo>
                    <a:pt x="92" y="28"/>
                  </a:lnTo>
                  <a:lnTo>
                    <a:pt x="92" y="24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96" y="16"/>
                  </a:lnTo>
                  <a:lnTo>
                    <a:pt x="92" y="16"/>
                  </a:lnTo>
                  <a:lnTo>
                    <a:pt x="88" y="16"/>
                  </a:lnTo>
                  <a:lnTo>
                    <a:pt x="88" y="12"/>
                  </a:lnTo>
                  <a:lnTo>
                    <a:pt x="88" y="8"/>
                  </a:lnTo>
                  <a:lnTo>
                    <a:pt x="88" y="4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0" y="44"/>
                  </a:lnTo>
                  <a:lnTo>
                    <a:pt x="100" y="48"/>
                  </a:lnTo>
                  <a:lnTo>
                    <a:pt x="104" y="48"/>
                  </a:lnTo>
                  <a:lnTo>
                    <a:pt x="104" y="52"/>
                  </a:lnTo>
                  <a:lnTo>
                    <a:pt x="108" y="56"/>
                  </a:lnTo>
                  <a:lnTo>
                    <a:pt x="108" y="60"/>
                  </a:lnTo>
                  <a:lnTo>
                    <a:pt x="104" y="60"/>
                  </a:lnTo>
                  <a:lnTo>
                    <a:pt x="100" y="60"/>
                  </a:lnTo>
                  <a:lnTo>
                    <a:pt x="96" y="60"/>
                  </a:lnTo>
                  <a:lnTo>
                    <a:pt x="92" y="60"/>
                  </a:lnTo>
                  <a:lnTo>
                    <a:pt x="88" y="60"/>
                  </a:lnTo>
                  <a:lnTo>
                    <a:pt x="84" y="64"/>
                  </a:lnTo>
                  <a:lnTo>
                    <a:pt x="88" y="72"/>
                  </a:lnTo>
                  <a:lnTo>
                    <a:pt x="92" y="76"/>
                  </a:lnTo>
                  <a:lnTo>
                    <a:pt x="96" y="80"/>
                  </a:lnTo>
                  <a:lnTo>
                    <a:pt x="100" y="80"/>
                  </a:lnTo>
                  <a:lnTo>
                    <a:pt x="100" y="84"/>
                  </a:lnTo>
                  <a:lnTo>
                    <a:pt x="104" y="88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8" y="96"/>
                  </a:lnTo>
                  <a:lnTo>
                    <a:pt x="108" y="100"/>
                  </a:lnTo>
                  <a:lnTo>
                    <a:pt x="108" y="104"/>
                  </a:lnTo>
                  <a:lnTo>
                    <a:pt x="108" y="108"/>
                  </a:lnTo>
                  <a:lnTo>
                    <a:pt x="104" y="108"/>
                  </a:lnTo>
                  <a:lnTo>
                    <a:pt x="104" y="112"/>
                  </a:lnTo>
                  <a:lnTo>
                    <a:pt x="100" y="112"/>
                  </a:lnTo>
                  <a:lnTo>
                    <a:pt x="100" y="116"/>
                  </a:lnTo>
                  <a:lnTo>
                    <a:pt x="100" y="120"/>
                  </a:lnTo>
                  <a:lnTo>
                    <a:pt x="96" y="124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2" y="132"/>
                  </a:lnTo>
                  <a:lnTo>
                    <a:pt x="92" y="136"/>
                  </a:lnTo>
                  <a:lnTo>
                    <a:pt x="96" y="136"/>
                  </a:lnTo>
                  <a:lnTo>
                    <a:pt x="92" y="140"/>
                  </a:lnTo>
                  <a:lnTo>
                    <a:pt x="92" y="144"/>
                  </a:lnTo>
                  <a:lnTo>
                    <a:pt x="96" y="148"/>
                  </a:lnTo>
                  <a:lnTo>
                    <a:pt x="96" y="152"/>
                  </a:lnTo>
                  <a:lnTo>
                    <a:pt x="96" y="156"/>
                  </a:lnTo>
                  <a:lnTo>
                    <a:pt x="96" y="160"/>
                  </a:lnTo>
                  <a:lnTo>
                    <a:pt x="100" y="160"/>
                  </a:lnTo>
                  <a:lnTo>
                    <a:pt x="100" y="164"/>
                  </a:lnTo>
                  <a:lnTo>
                    <a:pt x="100" y="168"/>
                  </a:lnTo>
                  <a:lnTo>
                    <a:pt x="100" y="172"/>
                  </a:lnTo>
                  <a:lnTo>
                    <a:pt x="104" y="172"/>
                  </a:lnTo>
                  <a:lnTo>
                    <a:pt x="104" y="176"/>
                  </a:lnTo>
                  <a:lnTo>
                    <a:pt x="108" y="180"/>
                  </a:lnTo>
                  <a:lnTo>
                    <a:pt x="112" y="184"/>
                  </a:lnTo>
                  <a:lnTo>
                    <a:pt x="116" y="188"/>
                  </a:lnTo>
                  <a:lnTo>
                    <a:pt x="116" y="192"/>
                  </a:lnTo>
                  <a:lnTo>
                    <a:pt x="116" y="196"/>
                  </a:lnTo>
                  <a:lnTo>
                    <a:pt x="116" y="200"/>
                  </a:lnTo>
                  <a:lnTo>
                    <a:pt x="120" y="200"/>
                  </a:lnTo>
                  <a:lnTo>
                    <a:pt x="116" y="200"/>
                  </a:lnTo>
                  <a:lnTo>
                    <a:pt x="116" y="204"/>
                  </a:lnTo>
                  <a:lnTo>
                    <a:pt x="116" y="208"/>
                  </a:lnTo>
                  <a:lnTo>
                    <a:pt x="116" y="212"/>
                  </a:lnTo>
                  <a:lnTo>
                    <a:pt x="116" y="208"/>
                  </a:lnTo>
                  <a:lnTo>
                    <a:pt x="112" y="208"/>
                  </a:lnTo>
                  <a:lnTo>
                    <a:pt x="108" y="208"/>
                  </a:lnTo>
                  <a:lnTo>
                    <a:pt x="108" y="204"/>
                  </a:lnTo>
                  <a:lnTo>
                    <a:pt x="104" y="204"/>
                  </a:lnTo>
                  <a:lnTo>
                    <a:pt x="100" y="204"/>
                  </a:lnTo>
                  <a:lnTo>
                    <a:pt x="96" y="204"/>
                  </a:lnTo>
                  <a:lnTo>
                    <a:pt x="92" y="204"/>
                  </a:lnTo>
                  <a:lnTo>
                    <a:pt x="88" y="204"/>
                  </a:lnTo>
                  <a:lnTo>
                    <a:pt x="80" y="204"/>
                  </a:lnTo>
                  <a:lnTo>
                    <a:pt x="72" y="204"/>
                  </a:lnTo>
                  <a:lnTo>
                    <a:pt x="72" y="200"/>
                  </a:lnTo>
                  <a:lnTo>
                    <a:pt x="68" y="200"/>
                  </a:lnTo>
                  <a:lnTo>
                    <a:pt x="64" y="200"/>
                  </a:lnTo>
                  <a:lnTo>
                    <a:pt x="60" y="200"/>
                  </a:lnTo>
                  <a:lnTo>
                    <a:pt x="56" y="200"/>
                  </a:lnTo>
                  <a:lnTo>
                    <a:pt x="52" y="200"/>
                  </a:lnTo>
                  <a:lnTo>
                    <a:pt x="48" y="200"/>
                  </a:lnTo>
                  <a:lnTo>
                    <a:pt x="44" y="200"/>
                  </a:lnTo>
                  <a:lnTo>
                    <a:pt x="44" y="204"/>
                  </a:lnTo>
                  <a:lnTo>
                    <a:pt x="40" y="204"/>
                  </a:lnTo>
                  <a:lnTo>
                    <a:pt x="32" y="204"/>
                  </a:lnTo>
                  <a:lnTo>
                    <a:pt x="28" y="20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7" name="Freeform 124"/>
            <p:cNvSpPr>
              <a:spLocks noEditPoints="1"/>
            </p:cNvSpPr>
            <p:nvPr>
              <p:custDataLst>
                <p:tags r:id="rId320"/>
              </p:custDataLst>
            </p:nvPr>
          </p:nvSpPr>
          <p:spPr bwMode="gray">
            <a:xfrm>
              <a:off x="3808048" y="4124340"/>
              <a:ext cx="59323" cy="65255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8" y="8"/>
                </a:cxn>
                <a:cxn ang="0">
                  <a:pos x="4" y="8"/>
                </a:cxn>
                <a:cxn ang="0">
                  <a:pos x="36" y="12"/>
                </a:cxn>
                <a:cxn ang="0">
                  <a:pos x="36" y="8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36" y="24"/>
                </a:cxn>
                <a:cxn ang="0">
                  <a:pos x="36" y="20"/>
                </a:cxn>
                <a:cxn ang="0">
                  <a:pos x="40" y="20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32" y="40"/>
                </a:cxn>
                <a:cxn ang="0">
                  <a:pos x="32" y="40"/>
                </a:cxn>
                <a:cxn ang="0">
                  <a:pos x="32" y="36"/>
                </a:cxn>
                <a:cxn ang="0">
                  <a:pos x="32" y="40"/>
                </a:cxn>
                <a:cxn ang="0">
                  <a:pos x="32" y="40"/>
                </a:cxn>
                <a:cxn ang="0">
                  <a:pos x="24" y="44"/>
                </a:cxn>
                <a:cxn ang="0">
                  <a:pos x="24" y="40"/>
                </a:cxn>
                <a:cxn ang="0">
                  <a:pos x="24" y="40"/>
                </a:cxn>
                <a:cxn ang="0">
                  <a:pos x="24" y="36"/>
                </a:cxn>
                <a:cxn ang="0">
                  <a:pos x="28" y="40"/>
                </a:cxn>
                <a:cxn ang="0">
                  <a:pos x="28" y="40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16" y="40"/>
                </a:cxn>
                <a:cxn ang="0">
                  <a:pos x="16" y="44"/>
                </a:cxn>
                <a:cxn ang="0">
                  <a:pos x="16" y="44"/>
                </a:cxn>
                <a:cxn ang="0">
                  <a:pos x="16" y="44"/>
                </a:cxn>
              </a:cxnLst>
              <a:rect l="0" t="0" r="r" b="b"/>
              <a:pathLst>
                <a:path w="40" h="44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close/>
                  <a:moveTo>
                    <a:pt x="36" y="12"/>
                  </a:moveTo>
                  <a:lnTo>
                    <a:pt x="36" y="12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close/>
                  <a:moveTo>
                    <a:pt x="16" y="12"/>
                  </a:move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close/>
                  <a:moveTo>
                    <a:pt x="36" y="24"/>
                  </a:move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36" y="24"/>
                  </a:lnTo>
                  <a:close/>
                  <a:moveTo>
                    <a:pt x="32" y="40"/>
                  </a:move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close/>
                  <a:moveTo>
                    <a:pt x="28" y="44"/>
                  </a:move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4"/>
                  </a:lnTo>
                  <a:close/>
                  <a:moveTo>
                    <a:pt x="12" y="44"/>
                  </a:move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8" name="Freeform 125"/>
            <p:cNvSpPr>
              <a:spLocks/>
            </p:cNvSpPr>
            <p:nvPr>
              <p:custDataLst>
                <p:tags r:id="rId321"/>
              </p:custDataLst>
            </p:nvPr>
          </p:nvSpPr>
          <p:spPr bwMode="gray">
            <a:xfrm>
              <a:off x="4700852" y="4296376"/>
              <a:ext cx="290681" cy="237290"/>
            </a:xfrm>
            <a:custGeom>
              <a:avLst/>
              <a:gdLst/>
              <a:ahLst/>
              <a:cxnLst>
                <a:cxn ang="0">
                  <a:pos x="88" y="112"/>
                </a:cxn>
                <a:cxn ang="0">
                  <a:pos x="76" y="108"/>
                </a:cxn>
                <a:cxn ang="0">
                  <a:pos x="64" y="120"/>
                </a:cxn>
                <a:cxn ang="0">
                  <a:pos x="64" y="124"/>
                </a:cxn>
                <a:cxn ang="0">
                  <a:pos x="64" y="140"/>
                </a:cxn>
                <a:cxn ang="0">
                  <a:pos x="56" y="140"/>
                </a:cxn>
                <a:cxn ang="0">
                  <a:pos x="44" y="136"/>
                </a:cxn>
                <a:cxn ang="0">
                  <a:pos x="36" y="136"/>
                </a:cxn>
                <a:cxn ang="0">
                  <a:pos x="28" y="148"/>
                </a:cxn>
                <a:cxn ang="0">
                  <a:pos x="28" y="156"/>
                </a:cxn>
                <a:cxn ang="0">
                  <a:pos x="24" y="152"/>
                </a:cxn>
                <a:cxn ang="0">
                  <a:pos x="12" y="136"/>
                </a:cxn>
                <a:cxn ang="0">
                  <a:pos x="8" y="124"/>
                </a:cxn>
                <a:cxn ang="0">
                  <a:pos x="4" y="112"/>
                </a:cxn>
                <a:cxn ang="0">
                  <a:pos x="4" y="96"/>
                </a:cxn>
                <a:cxn ang="0">
                  <a:pos x="4" y="88"/>
                </a:cxn>
                <a:cxn ang="0">
                  <a:pos x="8" y="72"/>
                </a:cxn>
                <a:cxn ang="0">
                  <a:pos x="16" y="64"/>
                </a:cxn>
                <a:cxn ang="0">
                  <a:pos x="28" y="60"/>
                </a:cxn>
                <a:cxn ang="0">
                  <a:pos x="36" y="60"/>
                </a:cxn>
                <a:cxn ang="0">
                  <a:pos x="52" y="56"/>
                </a:cxn>
                <a:cxn ang="0">
                  <a:pos x="64" y="52"/>
                </a:cxn>
                <a:cxn ang="0">
                  <a:pos x="72" y="44"/>
                </a:cxn>
                <a:cxn ang="0">
                  <a:pos x="76" y="36"/>
                </a:cxn>
                <a:cxn ang="0">
                  <a:pos x="92" y="36"/>
                </a:cxn>
                <a:cxn ang="0">
                  <a:pos x="104" y="20"/>
                </a:cxn>
                <a:cxn ang="0">
                  <a:pos x="112" y="12"/>
                </a:cxn>
                <a:cxn ang="0">
                  <a:pos x="116" y="4"/>
                </a:cxn>
                <a:cxn ang="0">
                  <a:pos x="128" y="0"/>
                </a:cxn>
                <a:cxn ang="0">
                  <a:pos x="136" y="16"/>
                </a:cxn>
                <a:cxn ang="0">
                  <a:pos x="140" y="32"/>
                </a:cxn>
                <a:cxn ang="0">
                  <a:pos x="136" y="44"/>
                </a:cxn>
                <a:cxn ang="0">
                  <a:pos x="144" y="44"/>
                </a:cxn>
                <a:cxn ang="0">
                  <a:pos x="152" y="52"/>
                </a:cxn>
                <a:cxn ang="0">
                  <a:pos x="164" y="56"/>
                </a:cxn>
                <a:cxn ang="0">
                  <a:pos x="168" y="68"/>
                </a:cxn>
                <a:cxn ang="0">
                  <a:pos x="180" y="80"/>
                </a:cxn>
                <a:cxn ang="0">
                  <a:pos x="180" y="88"/>
                </a:cxn>
                <a:cxn ang="0">
                  <a:pos x="188" y="96"/>
                </a:cxn>
                <a:cxn ang="0">
                  <a:pos x="192" y="100"/>
                </a:cxn>
                <a:cxn ang="0">
                  <a:pos x="196" y="112"/>
                </a:cxn>
                <a:cxn ang="0">
                  <a:pos x="184" y="108"/>
                </a:cxn>
                <a:cxn ang="0">
                  <a:pos x="176" y="108"/>
                </a:cxn>
                <a:cxn ang="0">
                  <a:pos x="164" y="104"/>
                </a:cxn>
                <a:cxn ang="0">
                  <a:pos x="156" y="112"/>
                </a:cxn>
                <a:cxn ang="0">
                  <a:pos x="148" y="112"/>
                </a:cxn>
                <a:cxn ang="0">
                  <a:pos x="132" y="116"/>
                </a:cxn>
                <a:cxn ang="0">
                  <a:pos x="124" y="116"/>
                </a:cxn>
                <a:cxn ang="0">
                  <a:pos x="120" y="128"/>
                </a:cxn>
                <a:cxn ang="0">
                  <a:pos x="108" y="124"/>
                </a:cxn>
                <a:cxn ang="0">
                  <a:pos x="92" y="120"/>
                </a:cxn>
              </a:cxnLst>
              <a:rect l="0" t="0" r="r" b="b"/>
              <a:pathLst>
                <a:path w="196" h="160">
                  <a:moveTo>
                    <a:pt x="92" y="120"/>
                  </a:moveTo>
                  <a:lnTo>
                    <a:pt x="92" y="116"/>
                  </a:lnTo>
                  <a:lnTo>
                    <a:pt x="88" y="116"/>
                  </a:lnTo>
                  <a:lnTo>
                    <a:pt x="88" y="112"/>
                  </a:lnTo>
                  <a:lnTo>
                    <a:pt x="84" y="112"/>
                  </a:lnTo>
                  <a:lnTo>
                    <a:pt x="80" y="112"/>
                  </a:lnTo>
                  <a:lnTo>
                    <a:pt x="80" y="108"/>
                  </a:lnTo>
                  <a:lnTo>
                    <a:pt x="76" y="108"/>
                  </a:lnTo>
                  <a:lnTo>
                    <a:pt x="72" y="112"/>
                  </a:lnTo>
                  <a:lnTo>
                    <a:pt x="68" y="112"/>
                  </a:lnTo>
                  <a:lnTo>
                    <a:pt x="68" y="116"/>
                  </a:lnTo>
                  <a:lnTo>
                    <a:pt x="64" y="120"/>
                  </a:lnTo>
                  <a:lnTo>
                    <a:pt x="64" y="124"/>
                  </a:lnTo>
                  <a:lnTo>
                    <a:pt x="64" y="120"/>
                  </a:lnTo>
                  <a:lnTo>
                    <a:pt x="60" y="124"/>
                  </a:lnTo>
                  <a:lnTo>
                    <a:pt x="64" y="124"/>
                  </a:lnTo>
                  <a:lnTo>
                    <a:pt x="64" y="128"/>
                  </a:lnTo>
                  <a:lnTo>
                    <a:pt x="64" y="132"/>
                  </a:lnTo>
                  <a:lnTo>
                    <a:pt x="64" y="136"/>
                  </a:lnTo>
                  <a:lnTo>
                    <a:pt x="64" y="140"/>
                  </a:lnTo>
                  <a:lnTo>
                    <a:pt x="64" y="136"/>
                  </a:lnTo>
                  <a:lnTo>
                    <a:pt x="60" y="136"/>
                  </a:lnTo>
                  <a:lnTo>
                    <a:pt x="56" y="136"/>
                  </a:lnTo>
                  <a:lnTo>
                    <a:pt x="56" y="140"/>
                  </a:lnTo>
                  <a:lnTo>
                    <a:pt x="56" y="136"/>
                  </a:lnTo>
                  <a:lnTo>
                    <a:pt x="52" y="136"/>
                  </a:lnTo>
                  <a:lnTo>
                    <a:pt x="48" y="136"/>
                  </a:lnTo>
                  <a:lnTo>
                    <a:pt x="44" y="136"/>
                  </a:lnTo>
                  <a:lnTo>
                    <a:pt x="44" y="132"/>
                  </a:lnTo>
                  <a:lnTo>
                    <a:pt x="44" y="136"/>
                  </a:lnTo>
                  <a:lnTo>
                    <a:pt x="40" y="136"/>
                  </a:lnTo>
                  <a:lnTo>
                    <a:pt x="36" y="136"/>
                  </a:lnTo>
                  <a:lnTo>
                    <a:pt x="32" y="136"/>
                  </a:lnTo>
                  <a:lnTo>
                    <a:pt x="32" y="140"/>
                  </a:lnTo>
                  <a:lnTo>
                    <a:pt x="32" y="144"/>
                  </a:lnTo>
                  <a:lnTo>
                    <a:pt x="28" y="148"/>
                  </a:lnTo>
                  <a:lnTo>
                    <a:pt x="32" y="148"/>
                  </a:lnTo>
                  <a:lnTo>
                    <a:pt x="32" y="152"/>
                  </a:lnTo>
                  <a:lnTo>
                    <a:pt x="28" y="152"/>
                  </a:lnTo>
                  <a:lnTo>
                    <a:pt x="28" y="156"/>
                  </a:lnTo>
                  <a:lnTo>
                    <a:pt x="28" y="160"/>
                  </a:lnTo>
                  <a:lnTo>
                    <a:pt x="24" y="160"/>
                  </a:lnTo>
                  <a:lnTo>
                    <a:pt x="24" y="156"/>
                  </a:lnTo>
                  <a:lnTo>
                    <a:pt x="24" y="152"/>
                  </a:lnTo>
                  <a:lnTo>
                    <a:pt x="24" y="148"/>
                  </a:lnTo>
                  <a:lnTo>
                    <a:pt x="20" y="144"/>
                  </a:lnTo>
                  <a:lnTo>
                    <a:pt x="16" y="140"/>
                  </a:lnTo>
                  <a:lnTo>
                    <a:pt x="12" y="136"/>
                  </a:lnTo>
                  <a:lnTo>
                    <a:pt x="12" y="132"/>
                  </a:lnTo>
                  <a:lnTo>
                    <a:pt x="8" y="132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8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4" y="96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8" y="64"/>
                  </a:lnTo>
                  <a:lnTo>
                    <a:pt x="28" y="60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4" y="56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6" y="56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52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72" y="44"/>
                  </a:lnTo>
                  <a:lnTo>
                    <a:pt x="68" y="40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96" y="28"/>
                  </a:lnTo>
                  <a:lnTo>
                    <a:pt x="100" y="24"/>
                  </a:lnTo>
                  <a:lnTo>
                    <a:pt x="104" y="20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08" y="12"/>
                  </a:lnTo>
                  <a:lnTo>
                    <a:pt x="108" y="8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0"/>
                  </a:lnTo>
                  <a:lnTo>
                    <a:pt x="120" y="0"/>
                  </a:lnTo>
                  <a:lnTo>
                    <a:pt x="124" y="0"/>
                  </a:lnTo>
                  <a:lnTo>
                    <a:pt x="128" y="0"/>
                  </a:lnTo>
                  <a:lnTo>
                    <a:pt x="128" y="4"/>
                  </a:lnTo>
                  <a:lnTo>
                    <a:pt x="132" y="8"/>
                  </a:lnTo>
                  <a:lnTo>
                    <a:pt x="136" y="12"/>
                  </a:lnTo>
                  <a:lnTo>
                    <a:pt x="136" y="16"/>
                  </a:lnTo>
                  <a:lnTo>
                    <a:pt x="140" y="20"/>
                  </a:lnTo>
                  <a:lnTo>
                    <a:pt x="140" y="24"/>
                  </a:lnTo>
                  <a:lnTo>
                    <a:pt x="140" y="28"/>
                  </a:lnTo>
                  <a:lnTo>
                    <a:pt x="140" y="32"/>
                  </a:lnTo>
                  <a:lnTo>
                    <a:pt x="136" y="32"/>
                  </a:lnTo>
                  <a:lnTo>
                    <a:pt x="136" y="36"/>
                  </a:lnTo>
                  <a:lnTo>
                    <a:pt x="136" y="40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0" y="40"/>
                  </a:lnTo>
                  <a:lnTo>
                    <a:pt x="144" y="40"/>
                  </a:lnTo>
                  <a:lnTo>
                    <a:pt x="144" y="44"/>
                  </a:lnTo>
                  <a:lnTo>
                    <a:pt x="148" y="44"/>
                  </a:lnTo>
                  <a:lnTo>
                    <a:pt x="148" y="48"/>
                  </a:lnTo>
                  <a:lnTo>
                    <a:pt x="148" y="52"/>
                  </a:lnTo>
                  <a:lnTo>
                    <a:pt x="152" y="52"/>
                  </a:lnTo>
                  <a:lnTo>
                    <a:pt x="156" y="52"/>
                  </a:lnTo>
                  <a:lnTo>
                    <a:pt x="160" y="52"/>
                  </a:lnTo>
                  <a:lnTo>
                    <a:pt x="160" y="56"/>
                  </a:lnTo>
                  <a:lnTo>
                    <a:pt x="164" y="56"/>
                  </a:lnTo>
                  <a:lnTo>
                    <a:pt x="164" y="60"/>
                  </a:lnTo>
                  <a:lnTo>
                    <a:pt x="164" y="64"/>
                  </a:lnTo>
                  <a:lnTo>
                    <a:pt x="164" y="68"/>
                  </a:lnTo>
                  <a:lnTo>
                    <a:pt x="168" y="68"/>
                  </a:lnTo>
                  <a:lnTo>
                    <a:pt x="172" y="72"/>
                  </a:lnTo>
                  <a:lnTo>
                    <a:pt x="176" y="72"/>
                  </a:lnTo>
                  <a:lnTo>
                    <a:pt x="176" y="76"/>
                  </a:lnTo>
                  <a:lnTo>
                    <a:pt x="180" y="80"/>
                  </a:lnTo>
                  <a:lnTo>
                    <a:pt x="180" y="84"/>
                  </a:lnTo>
                  <a:lnTo>
                    <a:pt x="180" y="88"/>
                  </a:lnTo>
                  <a:lnTo>
                    <a:pt x="184" y="88"/>
                  </a:lnTo>
                  <a:lnTo>
                    <a:pt x="180" y="88"/>
                  </a:lnTo>
                  <a:lnTo>
                    <a:pt x="180" y="92"/>
                  </a:lnTo>
                  <a:lnTo>
                    <a:pt x="184" y="92"/>
                  </a:lnTo>
                  <a:lnTo>
                    <a:pt x="188" y="92"/>
                  </a:lnTo>
                  <a:lnTo>
                    <a:pt x="188" y="96"/>
                  </a:lnTo>
                  <a:lnTo>
                    <a:pt x="192" y="96"/>
                  </a:lnTo>
                  <a:lnTo>
                    <a:pt x="192" y="100"/>
                  </a:lnTo>
                  <a:lnTo>
                    <a:pt x="196" y="100"/>
                  </a:lnTo>
                  <a:lnTo>
                    <a:pt x="192" y="100"/>
                  </a:lnTo>
                  <a:lnTo>
                    <a:pt x="192" y="104"/>
                  </a:lnTo>
                  <a:lnTo>
                    <a:pt x="196" y="104"/>
                  </a:lnTo>
                  <a:lnTo>
                    <a:pt x="196" y="108"/>
                  </a:lnTo>
                  <a:lnTo>
                    <a:pt x="196" y="112"/>
                  </a:lnTo>
                  <a:lnTo>
                    <a:pt x="196" y="108"/>
                  </a:lnTo>
                  <a:lnTo>
                    <a:pt x="192" y="108"/>
                  </a:lnTo>
                  <a:lnTo>
                    <a:pt x="188" y="108"/>
                  </a:lnTo>
                  <a:lnTo>
                    <a:pt x="184" y="108"/>
                  </a:lnTo>
                  <a:lnTo>
                    <a:pt x="180" y="108"/>
                  </a:lnTo>
                  <a:lnTo>
                    <a:pt x="176" y="108"/>
                  </a:lnTo>
                  <a:lnTo>
                    <a:pt x="176" y="104"/>
                  </a:lnTo>
                  <a:lnTo>
                    <a:pt x="176" y="108"/>
                  </a:lnTo>
                  <a:lnTo>
                    <a:pt x="172" y="108"/>
                  </a:lnTo>
                  <a:lnTo>
                    <a:pt x="172" y="104"/>
                  </a:lnTo>
                  <a:lnTo>
                    <a:pt x="168" y="104"/>
                  </a:lnTo>
                  <a:lnTo>
                    <a:pt x="164" y="104"/>
                  </a:lnTo>
                  <a:lnTo>
                    <a:pt x="164" y="108"/>
                  </a:lnTo>
                  <a:lnTo>
                    <a:pt x="164" y="112"/>
                  </a:lnTo>
                  <a:lnTo>
                    <a:pt x="160" y="112"/>
                  </a:lnTo>
                  <a:lnTo>
                    <a:pt x="156" y="112"/>
                  </a:lnTo>
                  <a:lnTo>
                    <a:pt x="152" y="108"/>
                  </a:lnTo>
                  <a:lnTo>
                    <a:pt x="148" y="108"/>
                  </a:lnTo>
                  <a:lnTo>
                    <a:pt x="152" y="108"/>
                  </a:lnTo>
                  <a:lnTo>
                    <a:pt x="148" y="112"/>
                  </a:lnTo>
                  <a:lnTo>
                    <a:pt x="144" y="112"/>
                  </a:lnTo>
                  <a:lnTo>
                    <a:pt x="140" y="112"/>
                  </a:lnTo>
                  <a:lnTo>
                    <a:pt x="136" y="116"/>
                  </a:lnTo>
                  <a:lnTo>
                    <a:pt x="132" y="116"/>
                  </a:lnTo>
                  <a:lnTo>
                    <a:pt x="128" y="116"/>
                  </a:lnTo>
                  <a:lnTo>
                    <a:pt x="128" y="112"/>
                  </a:lnTo>
                  <a:lnTo>
                    <a:pt x="128" y="116"/>
                  </a:lnTo>
                  <a:lnTo>
                    <a:pt x="124" y="116"/>
                  </a:lnTo>
                  <a:lnTo>
                    <a:pt x="124" y="120"/>
                  </a:lnTo>
                  <a:lnTo>
                    <a:pt x="124" y="124"/>
                  </a:lnTo>
                  <a:lnTo>
                    <a:pt x="120" y="124"/>
                  </a:lnTo>
                  <a:lnTo>
                    <a:pt x="120" y="128"/>
                  </a:lnTo>
                  <a:lnTo>
                    <a:pt x="116" y="128"/>
                  </a:lnTo>
                  <a:lnTo>
                    <a:pt x="116" y="124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0" y="124"/>
                  </a:lnTo>
                  <a:lnTo>
                    <a:pt x="100" y="120"/>
                  </a:lnTo>
                  <a:lnTo>
                    <a:pt x="96" y="120"/>
                  </a:lnTo>
                  <a:lnTo>
                    <a:pt x="92" y="1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9" name="Freeform 126"/>
            <p:cNvSpPr>
              <a:spLocks/>
            </p:cNvSpPr>
            <p:nvPr>
              <p:custDataLst>
                <p:tags r:id="rId322"/>
              </p:custDataLst>
            </p:nvPr>
          </p:nvSpPr>
          <p:spPr bwMode="gray">
            <a:xfrm>
              <a:off x="4677123" y="3953787"/>
              <a:ext cx="237290" cy="437503"/>
            </a:xfrm>
            <a:custGeom>
              <a:avLst/>
              <a:gdLst/>
              <a:ahLst/>
              <a:cxnLst>
                <a:cxn ang="0">
                  <a:pos x="24" y="251"/>
                </a:cxn>
                <a:cxn ang="0">
                  <a:pos x="32" y="251"/>
                </a:cxn>
                <a:cxn ang="0">
                  <a:pos x="28" y="243"/>
                </a:cxn>
                <a:cxn ang="0">
                  <a:pos x="24" y="235"/>
                </a:cxn>
                <a:cxn ang="0">
                  <a:pos x="24" y="223"/>
                </a:cxn>
                <a:cxn ang="0">
                  <a:pos x="24" y="211"/>
                </a:cxn>
                <a:cxn ang="0">
                  <a:pos x="16" y="199"/>
                </a:cxn>
                <a:cxn ang="0">
                  <a:pos x="16" y="191"/>
                </a:cxn>
                <a:cxn ang="0">
                  <a:pos x="0" y="175"/>
                </a:cxn>
                <a:cxn ang="0">
                  <a:pos x="4" y="167"/>
                </a:cxn>
                <a:cxn ang="0">
                  <a:pos x="4" y="159"/>
                </a:cxn>
                <a:cxn ang="0">
                  <a:pos x="16" y="139"/>
                </a:cxn>
                <a:cxn ang="0">
                  <a:pos x="32" y="119"/>
                </a:cxn>
                <a:cxn ang="0">
                  <a:pos x="36" y="71"/>
                </a:cxn>
                <a:cxn ang="0">
                  <a:pos x="32" y="52"/>
                </a:cxn>
                <a:cxn ang="0">
                  <a:pos x="32" y="44"/>
                </a:cxn>
                <a:cxn ang="0">
                  <a:pos x="28" y="28"/>
                </a:cxn>
                <a:cxn ang="0">
                  <a:pos x="40" y="0"/>
                </a:cxn>
                <a:cxn ang="0">
                  <a:pos x="84" y="24"/>
                </a:cxn>
                <a:cxn ang="0">
                  <a:pos x="144" y="63"/>
                </a:cxn>
                <a:cxn ang="0">
                  <a:pos x="160" y="95"/>
                </a:cxn>
                <a:cxn ang="0">
                  <a:pos x="156" y="143"/>
                </a:cxn>
                <a:cxn ang="0">
                  <a:pos x="152" y="143"/>
                </a:cxn>
                <a:cxn ang="0">
                  <a:pos x="148" y="143"/>
                </a:cxn>
                <a:cxn ang="0">
                  <a:pos x="144" y="151"/>
                </a:cxn>
                <a:cxn ang="0">
                  <a:pos x="144" y="155"/>
                </a:cxn>
                <a:cxn ang="0">
                  <a:pos x="136" y="163"/>
                </a:cxn>
                <a:cxn ang="0">
                  <a:pos x="136" y="171"/>
                </a:cxn>
                <a:cxn ang="0">
                  <a:pos x="132" y="175"/>
                </a:cxn>
                <a:cxn ang="0">
                  <a:pos x="132" y="191"/>
                </a:cxn>
                <a:cxn ang="0">
                  <a:pos x="128" y="199"/>
                </a:cxn>
                <a:cxn ang="0">
                  <a:pos x="132" y="199"/>
                </a:cxn>
                <a:cxn ang="0">
                  <a:pos x="140" y="211"/>
                </a:cxn>
                <a:cxn ang="0">
                  <a:pos x="140" y="219"/>
                </a:cxn>
                <a:cxn ang="0">
                  <a:pos x="144" y="231"/>
                </a:cxn>
                <a:cxn ang="0">
                  <a:pos x="132" y="235"/>
                </a:cxn>
                <a:cxn ang="0">
                  <a:pos x="124" y="239"/>
                </a:cxn>
                <a:cxn ang="0">
                  <a:pos x="124" y="247"/>
                </a:cxn>
                <a:cxn ang="0">
                  <a:pos x="120" y="251"/>
                </a:cxn>
                <a:cxn ang="0">
                  <a:pos x="112" y="259"/>
                </a:cxn>
                <a:cxn ang="0">
                  <a:pos x="108" y="263"/>
                </a:cxn>
                <a:cxn ang="0">
                  <a:pos x="100" y="267"/>
                </a:cxn>
                <a:cxn ang="0">
                  <a:pos x="84" y="267"/>
                </a:cxn>
                <a:cxn ang="0">
                  <a:pos x="84" y="271"/>
                </a:cxn>
                <a:cxn ang="0">
                  <a:pos x="84" y="279"/>
                </a:cxn>
                <a:cxn ang="0">
                  <a:pos x="80" y="283"/>
                </a:cxn>
                <a:cxn ang="0">
                  <a:pos x="68" y="287"/>
                </a:cxn>
                <a:cxn ang="0">
                  <a:pos x="60" y="287"/>
                </a:cxn>
                <a:cxn ang="0">
                  <a:pos x="52" y="295"/>
                </a:cxn>
                <a:cxn ang="0">
                  <a:pos x="48" y="287"/>
                </a:cxn>
                <a:cxn ang="0">
                  <a:pos x="40" y="295"/>
                </a:cxn>
                <a:cxn ang="0">
                  <a:pos x="36" y="295"/>
                </a:cxn>
                <a:cxn ang="0">
                  <a:pos x="32" y="295"/>
                </a:cxn>
                <a:cxn ang="0">
                  <a:pos x="32" y="291"/>
                </a:cxn>
                <a:cxn ang="0">
                  <a:pos x="28" y="283"/>
                </a:cxn>
                <a:cxn ang="0">
                  <a:pos x="20" y="271"/>
                </a:cxn>
                <a:cxn ang="0">
                  <a:pos x="8" y="255"/>
                </a:cxn>
                <a:cxn ang="0">
                  <a:pos x="12" y="251"/>
                </a:cxn>
              </a:cxnLst>
              <a:rect l="0" t="0" r="r" b="b"/>
              <a:pathLst>
                <a:path w="160" h="295">
                  <a:moveTo>
                    <a:pt x="12" y="251"/>
                  </a:moveTo>
                  <a:lnTo>
                    <a:pt x="16" y="251"/>
                  </a:lnTo>
                  <a:lnTo>
                    <a:pt x="16" y="251"/>
                  </a:lnTo>
                  <a:lnTo>
                    <a:pt x="20" y="251"/>
                  </a:lnTo>
                  <a:lnTo>
                    <a:pt x="20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8" y="251"/>
                  </a:lnTo>
                  <a:lnTo>
                    <a:pt x="28" y="251"/>
                  </a:lnTo>
                  <a:lnTo>
                    <a:pt x="28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28" y="243"/>
                  </a:lnTo>
                  <a:lnTo>
                    <a:pt x="28" y="243"/>
                  </a:lnTo>
                  <a:lnTo>
                    <a:pt x="28" y="239"/>
                  </a:lnTo>
                  <a:lnTo>
                    <a:pt x="24" y="239"/>
                  </a:lnTo>
                  <a:lnTo>
                    <a:pt x="24" y="239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1"/>
                  </a:lnTo>
                  <a:lnTo>
                    <a:pt x="24" y="231"/>
                  </a:lnTo>
                  <a:lnTo>
                    <a:pt x="24" y="227"/>
                  </a:lnTo>
                  <a:lnTo>
                    <a:pt x="24" y="227"/>
                  </a:lnTo>
                  <a:lnTo>
                    <a:pt x="24" y="223"/>
                  </a:lnTo>
                  <a:lnTo>
                    <a:pt x="24" y="223"/>
                  </a:lnTo>
                  <a:lnTo>
                    <a:pt x="24" y="223"/>
                  </a:lnTo>
                  <a:lnTo>
                    <a:pt x="24" y="219"/>
                  </a:lnTo>
                  <a:lnTo>
                    <a:pt x="24" y="219"/>
                  </a:lnTo>
                  <a:lnTo>
                    <a:pt x="24" y="215"/>
                  </a:lnTo>
                  <a:lnTo>
                    <a:pt x="24" y="211"/>
                  </a:lnTo>
                  <a:lnTo>
                    <a:pt x="24" y="211"/>
                  </a:lnTo>
                  <a:lnTo>
                    <a:pt x="24" y="211"/>
                  </a:lnTo>
                  <a:lnTo>
                    <a:pt x="24" y="211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0" y="199"/>
                  </a:lnTo>
                  <a:lnTo>
                    <a:pt x="20" y="199"/>
                  </a:lnTo>
                  <a:lnTo>
                    <a:pt x="20" y="199"/>
                  </a:lnTo>
                  <a:lnTo>
                    <a:pt x="16" y="199"/>
                  </a:lnTo>
                  <a:lnTo>
                    <a:pt x="16" y="199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2" y="191"/>
                  </a:lnTo>
                  <a:lnTo>
                    <a:pt x="8" y="191"/>
                  </a:lnTo>
                  <a:lnTo>
                    <a:pt x="8" y="187"/>
                  </a:lnTo>
                  <a:lnTo>
                    <a:pt x="4" y="183"/>
                  </a:lnTo>
                  <a:lnTo>
                    <a:pt x="4" y="179"/>
                  </a:lnTo>
                  <a:lnTo>
                    <a:pt x="4" y="179"/>
                  </a:lnTo>
                  <a:lnTo>
                    <a:pt x="4" y="179"/>
                  </a:lnTo>
                  <a:lnTo>
                    <a:pt x="0" y="175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4" y="167"/>
                  </a:lnTo>
                  <a:lnTo>
                    <a:pt x="4" y="167"/>
                  </a:lnTo>
                  <a:lnTo>
                    <a:pt x="4" y="167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8" y="155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6" y="143"/>
                  </a:lnTo>
                  <a:lnTo>
                    <a:pt x="16" y="139"/>
                  </a:lnTo>
                  <a:lnTo>
                    <a:pt x="24" y="131"/>
                  </a:lnTo>
                  <a:lnTo>
                    <a:pt x="24" y="127"/>
                  </a:lnTo>
                  <a:lnTo>
                    <a:pt x="28" y="127"/>
                  </a:lnTo>
                  <a:lnTo>
                    <a:pt x="28" y="123"/>
                  </a:lnTo>
                  <a:lnTo>
                    <a:pt x="32" y="123"/>
                  </a:lnTo>
                  <a:lnTo>
                    <a:pt x="32" y="123"/>
                  </a:lnTo>
                  <a:lnTo>
                    <a:pt x="32" y="123"/>
                  </a:lnTo>
                  <a:lnTo>
                    <a:pt x="32" y="119"/>
                  </a:lnTo>
                  <a:lnTo>
                    <a:pt x="32" y="111"/>
                  </a:lnTo>
                  <a:lnTo>
                    <a:pt x="32" y="99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32" y="87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6" y="71"/>
                  </a:lnTo>
                  <a:lnTo>
                    <a:pt x="36" y="67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59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52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8" y="16"/>
                  </a:lnTo>
                  <a:lnTo>
                    <a:pt x="76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8"/>
                  </a:lnTo>
                  <a:lnTo>
                    <a:pt x="96" y="32"/>
                  </a:lnTo>
                  <a:lnTo>
                    <a:pt x="104" y="40"/>
                  </a:lnTo>
                  <a:lnTo>
                    <a:pt x="116" y="44"/>
                  </a:lnTo>
                  <a:lnTo>
                    <a:pt x="120" y="48"/>
                  </a:lnTo>
                  <a:lnTo>
                    <a:pt x="128" y="52"/>
                  </a:lnTo>
                  <a:lnTo>
                    <a:pt x="136" y="55"/>
                  </a:lnTo>
                  <a:lnTo>
                    <a:pt x="144" y="63"/>
                  </a:lnTo>
                  <a:lnTo>
                    <a:pt x="152" y="67"/>
                  </a:lnTo>
                  <a:lnTo>
                    <a:pt x="160" y="71"/>
                  </a:lnTo>
                  <a:lnTo>
                    <a:pt x="160" y="71"/>
                  </a:lnTo>
                  <a:lnTo>
                    <a:pt x="160" y="75"/>
                  </a:lnTo>
                  <a:lnTo>
                    <a:pt x="160" y="83"/>
                  </a:lnTo>
                  <a:lnTo>
                    <a:pt x="160" y="87"/>
                  </a:lnTo>
                  <a:lnTo>
                    <a:pt x="160" y="91"/>
                  </a:lnTo>
                  <a:lnTo>
                    <a:pt x="160" y="95"/>
                  </a:lnTo>
                  <a:lnTo>
                    <a:pt x="160" y="131"/>
                  </a:lnTo>
                  <a:lnTo>
                    <a:pt x="160" y="135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56" y="143"/>
                  </a:lnTo>
                  <a:lnTo>
                    <a:pt x="156" y="143"/>
                  </a:lnTo>
                  <a:lnTo>
                    <a:pt x="156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0" y="155"/>
                  </a:lnTo>
                  <a:lnTo>
                    <a:pt x="140" y="159"/>
                  </a:lnTo>
                  <a:lnTo>
                    <a:pt x="140" y="159"/>
                  </a:lnTo>
                  <a:lnTo>
                    <a:pt x="140" y="159"/>
                  </a:lnTo>
                  <a:lnTo>
                    <a:pt x="140" y="163"/>
                  </a:lnTo>
                  <a:lnTo>
                    <a:pt x="140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36" y="171"/>
                  </a:lnTo>
                  <a:lnTo>
                    <a:pt x="136" y="171"/>
                  </a:lnTo>
                  <a:lnTo>
                    <a:pt x="140" y="171"/>
                  </a:lnTo>
                  <a:lnTo>
                    <a:pt x="140" y="171"/>
                  </a:lnTo>
                  <a:lnTo>
                    <a:pt x="140" y="171"/>
                  </a:lnTo>
                  <a:lnTo>
                    <a:pt x="136" y="175"/>
                  </a:lnTo>
                  <a:lnTo>
                    <a:pt x="136" y="175"/>
                  </a:lnTo>
                  <a:lnTo>
                    <a:pt x="136" y="175"/>
                  </a:lnTo>
                  <a:lnTo>
                    <a:pt x="132" y="175"/>
                  </a:lnTo>
                  <a:lnTo>
                    <a:pt x="132" y="175"/>
                  </a:lnTo>
                  <a:lnTo>
                    <a:pt x="132" y="179"/>
                  </a:lnTo>
                  <a:lnTo>
                    <a:pt x="132" y="183"/>
                  </a:lnTo>
                  <a:lnTo>
                    <a:pt x="132" y="183"/>
                  </a:lnTo>
                  <a:lnTo>
                    <a:pt x="136" y="187"/>
                  </a:lnTo>
                  <a:lnTo>
                    <a:pt x="136" y="187"/>
                  </a:lnTo>
                  <a:lnTo>
                    <a:pt x="136" y="187"/>
                  </a:lnTo>
                  <a:lnTo>
                    <a:pt x="132" y="191"/>
                  </a:lnTo>
                  <a:lnTo>
                    <a:pt x="132" y="191"/>
                  </a:lnTo>
                  <a:lnTo>
                    <a:pt x="132" y="191"/>
                  </a:lnTo>
                  <a:lnTo>
                    <a:pt x="128" y="191"/>
                  </a:lnTo>
                  <a:lnTo>
                    <a:pt x="128" y="195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6" y="199"/>
                  </a:lnTo>
                  <a:lnTo>
                    <a:pt x="136" y="199"/>
                  </a:lnTo>
                  <a:lnTo>
                    <a:pt x="136" y="203"/>
                  </a:lnTo>
                  <a:lnTo>
                    <a:pt x="136" y="207"/>
                  </a:lnTo>
                  <a:lnTo>
                    <a:pt x="136" y="211"/>
                  </a:lnTo>
                  <a:lnTo>
                    <a:pt x="140" y="211"/>
                  </a:lnTo>
                  <a:lnTo>
                    <a:pt x="140" y="211"/>
                  </a:lnTo>
                  <a:lnTo>
                    <a:pt x="140" y="215"/>
                  </a:lnTo>
                  <a:lnTo>
                    <a:pt x="140" y="215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23"/>
                  </a:lnTo>
                  <a:lnTo>
                    <a:pt x="140" y="223"/>
                  </a:lnTo>
                  <a:lnTo>
                    <a:pt x="144" y="223"/>
                  </a:lnTo>
                  <a:lnTo>
                    <a:pt x="144" y="227"/>
                  </a:lnTo>
                  <a:lnTo>
                    <a:pt x="144" y="227"/>
                  </a:lnTo>
                  <a:lnTo>
                    <a:pt x="144" y="231"/>
                  </a:lnTo>
                  <a:lnTo>
                    <a:pt x="144" y="231"/>
                  </a:lnTo>
                  <a:lnTo>
                    <a:pt x="144" y="231"/>
                  </a:lnTo>
                  <a:lnTo>
                    <a:pt x="140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2" y="231"/>
                  </a:lnTo>
                  <a:lnTo>
                    <a:pt x="132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43"/>
                  </a:lnTo>
                  <a:lnTo>
                    <a:pt x="128" y="243"/>
                  </a:lnTo>
                  <a:lnTo>
                    <a:pt x="124" y="243"/>
                  </a:lnTo>
                  <a:lnTo>
                    <a:pt x="124" y="243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0" y="247"/>
                  </a:lnTo>
                  <a:lnTo>
                    <a:pt x="120" y="247"/>
                  </a:lnTo>
                  <a:lnTo>
                    <a:pt x="120" y="247"/>
                  </a:lnTo>
                  <a:lnTo>
                    <a:pt x="120" y="247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16" y="255"/>
                  </a:lnTo>
                  <a:lnTo>
                    <a:pt x="116" y="255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0" y="267"/>
                  </a:lnTo>
                  <a:lnTo>
                    <a:pt x="100" y="267"/>
                  </a:lnTo>
                  <a:lnTo>
                    <a:pt x="100" y="267"/>
                  </a:lnTo>
                  <a:lnTo>
                    <a:pt x="100" y="267"/>
                  </a:lnTo>
                  <a:lnTo>
                    <a:pt x="96" y="267"/>
                  </a:lnTo>
                  <a:lnTo>
                    <a:pt x="92" y="267"/>
                  </a:lnTo>
                  <a:lnTo>
                    <a:pt x="92" y="267"/>
                  </a:lnTo>
                  <a:lnTo>
                    <a:pt x="88" y="267"/>
                  </a:lnTo>
                  <a:lnTo>
                    <a:pt x="88" y="267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8" y="275"/>
                  </a:lnTo>
                  <a:lnTo>
                    <a:pt x="88" y="275"/>
                  </a:lnTo>
                  <a:lnTo>
                    <a:pt x="84" y="275"/>
                  </a:lnTo>
                  <a:lnTo>
                    <a:pt x="84" y="275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0" y="279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7"/>
                  </a:lnTo>
                  <a:lnTo>
                    <a:pt x="80" y="287"/>
                  </a:lnTo>
                  <a:lnTo>
                    <a:pt x="76" y="287"/>
                  </a:lnTo>
                  <a:lnTo>
                    <a:pt x="76" y="287"/>
                  </a:lnTo>
                  <a:lnTo>
                    <a:pt x="72" y="287"/>
                  </a:lnTo>
                  <a:lnTo>
                    <a:pt x="68" y="287"/>
                  </a:lnTo>
                  <a:lnTo>
                    <a:pt x="68" y="287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0" y="287"/>
                  </a:lnTo>
                  <a:lnTo>
                    <a:pt x="60" y="287"/>
                  </a:lnTo>
                  <a:lnTo>
                    <a:pt x="60" y="287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2" y="291"/>
                  </a:lnTo>
                  <a:lnTo>
                    <a:pt x="52" y="291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48" y="291"/>
                  </a:lnTo>
                  <a:lnTo>
                    <a:pt x="48" y="291"/>
                  </a:lnTo>
                  <a:lnTo>
                    <a:pt x="48" y="287"/>
                  </a:lnTo>
                  <a:lnTo>
                    <a:pt x="48" y="287"/>
                  </a:lnTo>
                  <a:lnTo>
                    <a:pt x="48" y="287"/>
                  </a:lnTo>
                  <a:lnTo>
                    <a:pt x="44" y="291"/>
                  </a:lnTo>
                  <a:lnTo>
                    <a:pt x="44" y="291"/>
                  </a:lnTo>
                  <a:lnTo>
                    <a:pt x="44" y="291"/>
                  </a:lnTo>
                  <a:lnTo>
                    <a:pt x="44" y="291"/>
                  </a:lnTo>
                  <a:lnTo>
                    <a:pt x="44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87"/>
                  </a:lnTo>
                  <a:lnTo>
                    <a:pt x="32" y="287"/>
                  </a:lnTo>
                  <a:lnTo>
                    <a:pt x="28" y="287"/>
                  </a:lnTo>
                  <a:lnTo>
                    <a:pt x="28" y="283"/>
                  </a:lnTo>
                  <a:lnTo>
                    <a:pt x="28" y="283"/>
                  </a:lnTo>
                  <a:lnTo>
                    <a:pt x="28" y="283"/>
                  </a:lnTo>
                  <a:lnTo>
                    <a:pt x="28" y="283"/>
                  </a:lnTo>
                  <a:lnTo>
                    <a:pt x="28" y="279"/>
                  </a:lnTo>
                  <a:lnTo>
                    <a:pt x="28" y="279"/>
                  </a:lnTo>
                  <a:lnTo>
                    <a:pt x="28" y="279"/>
                  </a:lnTo>
                  <a:lnTo>
                    <a:pt x="24" y="275"/>
                  </a:lnTo>
                  <a:lnTo>
                    <a:pt x="24" y="271"/>
                  </a:lnTo>
                  <a:lnTo>
                    <a:pt x="20" y="271"/>
                  </a:lnTo>
                  <a:lnTo>
                    <a:pt x="20" y="271"/>
                  </a:lnTo>
                  <a:lnTo>
                    <a:pt x="20" y="271"/>
                  </a:lnTo>
                  <a:lnTo>
                    <a:pt x="16" y="267"/>
                  </a:lnTo>
                  <a:lnTo>
                    <a:pt x="16" y="267"/>
                  </a:lnTo>
                  <a:lnTo>
                    <a:pt x="12" y="263"/>
                  </a:lnTo>
                  <a:lnTo>
                    <a:pt x="12" y="263"/>
                  </a:lnTo>
                  <a:lnTo>
                    <a:pt x="12" y="263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2" y="25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0" name="Freeform 127"/>
            <p:cNvSpPr>
              <a:spLocks noEditPoints="1"/>
            </p:cNvSpPr>
            <p:nvPr>
              <p:custDataLst>
                <p:tags r:id="rId323"/>
              </p:custDataLst>
            </p:nvPr>
          </p:nvSpPr>
          <p:spPr bwMode="gray">
            <a:xfrm>
              <a:off x="5345984" y="4905914"/>
              <a:ext cx="29661" cy="23729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</a:cxnLst>
              <a:rect l="0" t="0" r="r" b="b"/>
              <a:pathLst>
                <a:path w="20" h="16">
                  <a:moveTo>
                    <a:pt x="4" y="8"/>
                  </a:moveTo>
                  <a:lnTo>
                    <a:pt x="4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close/>
                  <a:moveTo>
                    <a:pt x="20" y="16"/>
                  </a:move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close/>
                  <a:moveTo>
                    <a:pt x="8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1" name="Freeform 128"/>
            <p:cNvSpPr>
              <a:spLocks/>
            </p:cNvSpPr>
            <p:nvPr>
              <p:custDataLst>
                <p:tags r:id="rId324"/>
              </p:custDataLst>
            </p:nvPr>
          </p:nvSpPr>
          <p:spPr bwMode="gray">
            <a:xfrm>
              <a:off x="4623733" y="4492140"/>
              <a:ext cx="172035" cy="235807"/>
            </a:xfrm>
            <a:custGeom>
              <a:avLst/>
              <a:gdLst/>
              <a:ahLst/>
              <a:cxnLst>
                <a:cxn ang="0">
                  <a:pos x="68" y="147"/>
                </a:cxn>
                <a:cxn ang="0">
                  <a:pos x="60" y="155"/>
                </a:cxn>
                <a:cxn ang="0">
                  <a:pos x="52" y="159"/>
                </a:cxn>
                <a:cxn ang="0">
                  <a:pos x="52" y="147"/>
                </a:cxn>
                <a:cxn ang="0">
                  <a:pos x="40" y="151"/>
                </a:cxn>
                <a:cxn ang="0">
                  <a:pos x="36" y="159"/>
                </a:cxn>
                <a:cxn ang="0">
                  <a:pos x="32" y="155"/>
                </a:cxn>
                <a:cxn ang="0">
                  <a:pos x="24" y="151"/>
                </a:cxn>
                <a:cxn ang="0">
                  <a:pos x="16" y="159"/>
                </a:cxn>
                <a:cxn ang="0">
                  <a:pos x="12" y="151"/>
                </a:cxn>
                <a:cxn ang="0">
                  <a:pos x="4" y="147"/>
                </a:cxn>
                <a:cxn ang="0">
                  <a:pos x="0" y="139"/>
                </a:cxn>
                <a:cxn ang="0">
                  <a:pos x="12" y="135"/>
                </a:cxn>
                <a:cxn ang="0">
                  <a:pos x="8" y="127"/>
                </a:cxn>
                <a:cxn ang="0">
                  <a:pos x="8" y="124"/>
                </a:cxn>
                <a:cxn ang="0">
                  <a:pos x="8" y="112"/>
                </a:cxn>
                <a:cxn ang="0">
                  <a:pos x="16" y="112"/>
                </a:cxn>
                <a:cxn ang="0">
                  <a:pos x="20" y="108"/>
                </a:cxn>
                <a:cxn ang="0">
                  <a:pos x="28" y="104"/>
                </a:cxn>
                <a:cxn ang="0">
                  <a:pos x="32" y="112"/>
                </a:cxn>
                <a:cxn ang="0">
                  <a:pos x="40" y="112"/>
                </a:cxn>
                <a:cxn ang="0">
                  <a:pos x="44" y="116"/>
                </a:cxn>
                <a:cxn ang="0">
                  <a:pos x="48" y="108"/>
                </a:cxn>
                <a:cxn ang="0">
                  <a:pos x="52" y="100"/>
                </a:cxn>
                <a:cxn ang="0">
                  <a:pos x="52" y="88"/>
                </a:cxn>
                <a:cxn ang="0">
                  <a:pos x="48" y="80"/>
                </a:cxn>
                <a:cxn ang="0">
                  <a:pos x="44" y="72"/>
                </a:cxn>
                <a:cxn ang="0">
                  <a:pos x="44" y="60"/>
                </a:cxn>
                <a:cxn ang="0">
                  <a:pos x="52" y="52"/>
                </a:cxn>
                <a:cxn ang="0">
                  <a:pos x="44" y="44"/>
                </a:cxn>
                <a:cxn ang="0">
                  <a:pos x="36" y="48"/>
                </a:cxn>
                <a:cxn ang="0">
                  <a:pos x="32" y="40"/>
                </a:cxn>
                <a:cxn ang="0">
                  <a:pos x="40" y="32"/>
                </a:cxn>
                <a:cxn ang="0">
                  <a:pos x="56" y="32"/>
                </a:cxn>
                <a:cxn ang="0">
                  <a:pos x="68" y="32"/>
                </a:cxn>
                <a:cxn ang="0">
                  <a:pos x="76" y="36"/>
                </a:cxn>
                <a:cxn ang="0">
                  <a:pos x="76" y="32"/>
                </a:cxn>
                <a:cxn ang="0">
                  <a:pos x="80" y="24"/>
                </a:cxn>
                <a:cxn ang="0">
                  <a:pos x="84" y="16"/>
                </a:cxn>
                <a:cxn ang="0">
                  <a:pos x="84" y="8"/>
                </a:cxn>
                <a:cxn ang="0">
                  <a:pos x="92" y="4"/>
                </a:cxn>
                <a:cxn ang="0">
                  <a:pos x="96" y="4"/>
                </a:cxn>
                <a:cxn ang="0">
                  <a:pos x="108" y="4"/>
                </a:cxn>
                <a:cxn ang="0">
                  <a:pos x="112" y="4"/>
                </a:cxn>
                <a:cxn ang="0">
                  <a:pos x="116" y="12"/>
                </a:cxn>
                <a:cxn ang="0">
                  <a:pos x="112" y="20"/>
                </a:cxn>
                <a:cxn ang="0">
                  <a:pos x="108" y="28"/>
                </a:cxn>
                <a:cxn ang="0">
                  <a:pos x="108" y="40"/>
                </a:cxn>
                <a:cxn ang="0">
                  <a:pos x="104" y="56"/>
                </a:cxn>
                <a:cxn ang="0">
                  <a:pos x="104" y="68"/>
                </a:cxn>
                <a:cxn ang="0">
                  <a:pos x="100" y="76"/>
                </a:cxn>
                <a:cxn ang="0">
                  <a:pos x="96" y="88"/>
                </a:cxn>
                <a:cxn ang="0">
                  <a:pos x="88" y="96"/>
                </a:cxn>
                <a:cxn ang="0">
                  <a:pos x="84" y="104"/>
                </a:cxn>
                <a:cxn ang="0">
                  <a:pos x="76" y="108"/>
                </a:cxn>
                <a:cxn ang="0">
                  <a:pos x="80" y="120"/>
                </a:cxn>
                <a:cxn ang="0">
                  <a:pos x="76" y="127"/>
                </a:cxn>
                <a:cxn ang="0">
                  <a:pos x="76" y="135"/>
                </a:cxn>
                <a:cxn ang="0">
                  <a:pos x="72" y="143"/>
                </a:cxn>
              </a:cxnLst>
              <a:rect l="0" t="0" r="r" b="b"/>
              <a:pathLst>
                <a:path w="116" h="159">
                  <a:moveTo>
                    <a:pt x="72" y="143"/>
                  </a:moveTo>
                  <a:lnTo>
                    <a:pt x="68" y="143"/>
                  </a:lnTo>
                  <a:lnTo>
                    <a:pt x="68" y="147"/>
                  </a:lnTo>
                  <a:lnTo>
                    <a:pt x="64" y="147"/>
                  </a:lnTo>
                  <a:lnTo>
                    <a:pt x="60" y="151"/>
                  </a:lnTo>
                  <a:lnTo>
                    <a:pt x="60" y="155"/>
                  </a:lnTo>
                  <a:lnTo>
                    <a:pt x="56" y="155"/>
                  </a:lnTo>
                  <a:lnTo>
                    <a:pt x="56" y="159"/>
                  </a:lnTo>
                  <a:lnTo>
                    <a:pt x="52" y="159"/>
                  </a:lnTo>
                  <a:lnTo>
                    <a:pt x="52" y="155"/>
                  </a:lnTo>
                  <a:lnTo>
                    <a:pt x="52" y="151"/>
                  </a:lnTo>
                  <a:lnTo>
                    <a:pt x="52" y="147"/>
                  </a:lnTo>
                  <a:lnTo>
                    <a:pt x="48" y="147"/>
                  </a:lnTo>
                  <a:lnTo>
                    <a:pt x="44" y="151"/>
                  </a:lnTo>
                  <a:lnTo>
                    <a:pt x="40" y="151"/>
                  </a:lnTo>
                  <a:lnTo>
                    <a:pt x="40" y="155"/>
                  </a:lnTo>
                  <a:lnTo>
                    <a:pt x="36" y="155"/>
                  </a:lnTo>
                  <a:lnTo>
                    <a:pt x="36" y="159"/>
                  </a:lnTo>
                  <a:lnTo>
                    <a:pt x="32" y="155"/>
                  </a:lnTo>
                  <a:lnTo>
                    <a:pt x="32" y="151"/>
                  </a:lnTo>
                  <a:lnTo>
                    <a:pt x="32" y="155"/>
                  </a:lnTo>
                  <a:lnTo>
                    <a:pt x="28" y="155"/>
                  </a:lnTo>
                  <a:lnTo>
                    <a:pt x="28" y="151"/>
                  </a:lnTo>
                  <a:lnTo>
                    <a:pt x="24" y="151"/>
                  </a:lnTo>
                  <a:lnTo>
                    <a:pt x="20" y="155"/>
                  </a:lnTo>
                  <a:lnTo>
                    <a:pt x="16" y="155"/>
                  </a:lnTo>
                  <a:lnTo>
                    <a:pt x="16" y="159"/>
                  </a:lnTo>
                  <a:lnTo>
                    <a:pt x="12" y="159"/>
                  </a:lnTo>
                  <a:lnTo>
                    <a:pt x="12" y="155"/>
                  </a:lnTo>
                  <a:lnTo>
                    <a:pt x="12" y="151"/>
                  </a:lnTo>
                  <a:lnTo>
                    <a:pt x="8" y="151"/>
                  </a:lnTo>
                  <a:lnTo>
                    <a:pt x="8" y="147"/>
                  </a:lnTo>
                  <a:lnTo>
                    <a:pt x="4" y="147"/>
                  </a:lnTo>
                  <a:lnTo>
                    <a:pt x="4" y="143"/>
                  </a:lnTo>
                  <a:lnTo>
                    <a:pt x="0" y="143"/>
                  </a:lnTo>
                  <a:lnTo>
                    <a:pt x="0" y="139"/>
                  </a:lnTo>
                  <a:lnTo>
                    <a:pt x="4" y="135"/>
                  </a:lnTo>
                  <a:lnTo>
                    <a:pt x="8" y="135"/>
                  </a:lnTo>
                  <a:lnTo>
                    <a:pt x="12" y="135"/>
                  </a:lnTo>
                  <a:lnTo>
                    <a:pt x="12" y="131"/>
                  </a:lnTo>
                  <a:lnTo>
                    <a:pt x="12" y="127"/>
                  </a:lnTo>
                  <a:lnTo>
                    <a:pt x="8" y="127"/>
                  </a:lnTo>
                  <a:lnTo>
                    <a:pt x="12" y="124"/>
                  </a:lnTo>
                  <a:lnTo>
                    <a:pt x="8" y="120"/>
                  </a:lnTo>
                  <a:lnTo>
                    <a:pt x="8" y="124"/>
                  </a:lnTo>
                  <a:lnTo>
                    <a:pt x="8" y="120"/>
                  </a:lnTo>
                  <a:lnTo>
                    <a:pt x="8" y="116"/>
                  </a:lnTo>
                  <a:lnTo>
                    <a:pt x="8" y="112"/>
                  </a:lnTo>
                  <a:lnTo>
                    <a:pt x="12" y="116"/>
                  </a:lnTo>
                  <a:lnTo>
                    <a:pt x="12" y="112"/>
                  </a:lnTo>
                  <a:lnTo>
                    <a:pt x="16" y="112"/>
                  </a:lnTo>
                  <a:lnTo>
                    <a:pt x="16" y="116"/>
                  </a:lnTo>
                  <a:lnTo>
                    <a:pt x="20" y="112"/>
                  </a:lnTo>
                  <a:lnTo>
                    <a:pt x="20" y="108"/>
                  </a:lnTo>
                  <a:lnTo>
                    <a:pt x="20" y="104"/>
                  </a:lnTo>
                  <a:lnTo>
                    <a:pt x="24" y="104"/>
                  </a:lnTo>
                  <a:lnTo>
                    <a:pt x="28" y="104"/>
                  </a:lnTo>
                  <a:lnTo>
                    <a:pt x="28" y="108"/>
                  </a:lnTo>
                  <a:lnTo>
                    <a:pt x="28" y="112"/>
                  </a:lnTo>
                  <a:lnTo>
                    <a:pt x="32" y="112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4" y="112"/>
                  </a:lnTo>
                  <a:lnTo>
                    <a:pt x="44" y="116"/>
                  </a:lnTo>
                  <a:lnTo>
                    <a:pt x="48" y="116"/>
                  </a:lnTo>
                  <a:lnTo>
                    <a:pt x="48" y="112"/>
                  </a:lnTo>
                  <a:lnTo>
                    <a:pt x="48" y="108"/>
                  </a:lnTo>
                  <a:lnTo>
                    <a:pt x="48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88"/>
                  </a:lnTo>
                  <a:lnTo>
                    <a:pt x="52" y="84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60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48" y="48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0" y="44"/>
                  </a:lnTo>
                  <a:lnTo>
                    <a:pt x="40" y="48"/>
                  </a:lnTo>
                  <a:lnTo>
                    <a:pt x="36" y="48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40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36"/>
                  </a:lnTo>
                  <a:lnTo>
                    <a:pt x="76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24"/>
                  </a:lnTo>
                  <a:lnTo>
                    <a:pt x="80" y="20"/>
                  </a:lnTo>
                  <a:lnTo>
                    <a:pt x="84" y="20"/>
                  </a:lnTo>
                  <a:lnTo>
                    <a:pt x="84" y="16"/>
                  </a:lnTo>
                  <a:lnTo>
                    <a:pt x="80" y="16"/>
                  </a:lnTo>
                  <a:lnTo>
                    <a:pt x="84" y="12"/>
                  </a:lnTo>
                  <a:lnTo>
                    <a:pt x="84" y="8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0"/>
                  </a:lnTo>
                  <a:lnTo>
                    <a:pt x="96" y="4"/>
                  </a:lnTo>
                  <a:lnTo>
                    <a:pt x="100" y="4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16" y="12"/>
                  </a:lnTo>
                  <a:lnTo>
                    <a:pt x="112" y="12"/>
                  </a:lnTo>
                  <a:lnTo>
                    <a:pt x="112" y="16"/>
                  </a:lnTo>
                  <a:lnTo>
                    <a:pt x="112" y="20"/>
                  </a:lnTo>
                  <a:lnTo>
                    <a:pt x="112" y="24"/>
                  </a:lnTo>
                  <a:lnTo>
                    <a:pt x="108" y="24"/>
                  </a:lnTo>
                  <a:lnTo>
                    <a:pt x="108" y="28"/>
                  </a:lnTo>
                  <a:lnTo>
                    <a:pt x="108" y="32"/>
                  </a:lnTo>
                  <a:lnTo>
                    <a:pt x="108" y="36"/>
                  </a:lnTo>
                  <a:lnTo>
                    <a:pt x="108" y="40"/>
                  </a:lnTo>
                  <a:lnTo>
                    <a:pt x="104" y="48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4" y="60"/>
                  </a:lnTo>
                  <a:lnTo>
                    <a:pt x="104" y="64"/>
                  </a:lnTo>
                  <a:lnTo>
                    <a:pt x="104" y="68"/>
                  </a:lnTo>
                  <a:lnTo>
                    <a:pt x="100" y="68"/>
                  </a:lnTo>
                  <a:lnTo>
                    <a:pt x="100" y="72"/>
                  </a:lnTo>
                  <a:lnTo>
                    <a:pt x="100" y="76"/>
                  </a:lnTo>
                  <a:lnTo>
                    <a:pt x="100" y="80"/>
                  </a:lnTo>
                  <a:lnTo>
                    <a:pt x="100" y="84"/>
                  </a:lnTo>
                  <a:lnTo>
                    <a:pt x="96" y="88"/>
                  </a:lnTo>
                  <a:lnTo>
                    <a:pt x="92" y="88"/>
                  </a:lnTo>
                  <a:lnTo>
                    <a:pt x="88" y="92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4" y="104"/>
                  </a:lnTo>
                  <a:lnTo>
                    <a:pt x="80" y="104"/>
                  </a:lnTo>
                  <a:lnTo>
                    <a:pt x="80" y="108"/>
                  </a:lnTo>
                  <a:lnTo>
                    <a:pt x="76" y="108"/>
                  </a:lnTo>
                  <a:lnTo>
                    <a:pt x="76" y="112"/>
                  </a:lnTo>
                  <a:lnTo>
                    <a:pt x="80" y="116"/>
                  </a:lnTo>
                  <a:lnTo>
                    <a:pt x="80" y="120"/>
                  </a:lnTo>
                  <a:lnTo>
                    <a:pt x="76" y="120"/>
                  </a:lnTo>
                  <a:lnTo>
                    <a:pt x="76" y="124"/>
                  </a:lnTo>
                  <a:lnTo>
                    <a:pt x="76" y="127"/>
                  </a:lnTo>
                  <a:lnTo>
                    <a:pt x="80" y="131"/>
                  </a:lnTo>
                  <a:lnTo>
                    <a:pt x="76" y="131"/>
                  </a:lnTo>
                  <a:lnTo>
                    <a:pt x="76" y="135"/>
                  </a:lnTo>
                  <a:lnTo>
                    <a:pt x="76" y="139"/>
                  </a:lnTo>
                  <a:lnTo>
                    <a:pt x="72" y="139"/>
                  </a:lnTo>
                  <a:lnTo>
                    <a:pt x="72" y="1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2" name="Freeform 129"/>
            <p:cNvSpPr>
              <a:spLocks/>
            </p:cNvSpPr>
            <p:nvPr>
              <p:custDataLst>
                <p:tags r:id="rId325"/>
              </p:custDataLst>
            </p:nvPr>
          </p:nvSpPr>
          <p:spPr bwMode="gray">
            <a:xfrm>
              <a:off x="4647462" y="4450614"/>
              <a:ext cx="431571" cy="508690"/>
            </a:xfrm>
            <a:custGeom>
              <a:avLst/>
              <a:gdLst/>
              <a:ahLst/>
              <a:cxnLst>
                <a:cxn ang="0">
                  <a:pos x="32" y="207"/>
                </a:cxn>
                <a:cxn ang="0">
                  <a:pos x="12" y="203"/>
                </a:cxn>
                <a:cxn ang="0">
                  <a:pos x="4" y="203"/>
                </a:cxn>
                <a:cxn ang="0">
                  <a:pos x="16" y="183"/>
                </a:cxn>
                <a:cxn ang="0">
                  <a:pos x="24" y="179"/>
                </a:cxn>
                <a:cxn ang="0">
                  <a:pos x="36" y="187"/>
                </a:cxn>
                <a:cxn ang="0">
                  <a:pos x="52" y="175"/>
                </a:cxn>
                <a:cxn ang="0">
                  <a:pos x="60" y="159"/>
                </a:cxn>
                <a:cxn ang="0">
                  <a:pos x="64" y="144"/>
                </a:cxn>
                <a:cxn ang="0">
                  <a:pos x="68" y="128"/>
                </a:cxn>
                <a:cxn ang="0">
                  <a:pos x="84" y="112"/>
                </a:cxn>
                <a:cxn ang="0">
                  <a:pos x="88" y="92"/>
                </a:cxn>
                <a:cxn ang="0">
                  <a:pos x="92" y="64"/>
                </a:cxn>
                <a:cxn ang="0">
                  <a:pos x="96" y="44"/>
                </a:cxn>
                <a:cxn ang="0">
                  <a:pos x="100" y="24"/>
                </a:cxn>
                <a:cxn ang="0">
                  <a:pos x="104" y="12"/>
                </a:cxn>
                <a:cxn ang="0">
                  <a:pos x="120" y="8"/>
                </a:cxn>
                <a:cxn ang="0">
                  <a:pos x="136" y="16"/>
                </a:cxn>
                <a:cxn ang="0">
                  <a:pos x="156" y="24"/>
                </a:cxn>
                <a:cxn ang="0">
                  <a:pos x="164" y="8"/>
                </a:cxn>
                <a:cxn ang="0">
                  <a:pos x="184" y="8"/>
                </a:cxn>
                <a:cxn ang="0">
                  <a:pos x="200" y="8"/>
                </a:cxn>
                <a:cxn ang="0">
                  <a:pos x="212" y="4"/>
                </a:cxn>
                <a:cxn ang="0">
                  <a:pos x="228" y="4"/>
                </a:cxn>
                <a:cxn ang="0">
                  <a:pos x="243" y="16"/>
                </a:cxn>
                <a:cxn ang="0">
                  <a:pos x="259" y="16"/>
                </a:cxn>
                <a:cxn ang="0">
                  <a:pos x="267" y="16"/>
                </a:cxn>
                <a:cxn ang="0">
                  <a:pos x="279" y="28"/>
                </a:cxn>
                <a:cxn ang="0">
                  <a:pos x="283" y="48"/>
                </a:cxn>
                <a:cxn ang="0">
                  <a:pos x="287" y="60"/>
                </a:cxn>
                <a:cxn ang="0">
                  <a:pos x="275" y="80"/>
                </a:cxn>
                <a:cxn ang="0">
                  <a:pos x="267" y="96"/>
                </a:cxn>
                <a:cxn ang="0">
                  <a:pos x="263" y="116"/>
                </a:cxn>
                <a:cxn ang="0">
                  <a:pos x="259" y="136"/>
                </a:cxn>
                <a:cxn ang="0">
                  <a:pos x="259" y="155"/>
                </a:cxn>
                <a:cxn ang="0">
                  <a:pos x="263" y="179"/>
                </a:cxn>
                <a:cxn ang="0">
                  <a:pos x="263" y="195"/>
                </a:cxn>
                <a:cxn ang="0">
                  <a:pos x="267" y="219"/>
                </a:cxn>
                <a:cxn ang="0">
                  <a:pos x="279" y="235"/>
                </a:cxn>
                <a:cxn ang="0">
                  <a:pos x="275" y="247"/>
                </a:cxn>
                <a:cxn ang="0">
                  <a:pos x="255" y="259"/>
                </a:cxn>
                <a:cxn ang="0">
                  <a:pos x="251" y="279"/>
                </a:cxn>
                <a:cxn ang="0">
                  <a:pos x="247" y="299"/>
                </a:cxn>
                <a:cxn ang="0">
                  <a:pos x="251" y="319"/>
                </a:cxn>
                <a:cxn ang="0">
                  <a:pos x="267" y="323"/>
                </a:cxn>
                <a:cxn ang="0">
                  <a:pos x="267" y="343"/>
                </a:cxn>
                <a:cxn ang="0">
                  <a:pos x="251" y="335"/>
                </a:cxn>
                <a:cxn ang="0">
                  <a:pos x="236" y="323"/>
                </a:cxn>
                <a:cxn ang="0">
                  <a:pos x="224" y="319"/>
                </a:cxn>
                <a:cxn ang="0">
                  <a:pos x="200" y="311"/>
                </a:cxn>
                <a:cxn ang="0">
                  <a:pos x="184" y="307"/>
                </a:cxn>
                <a:cxn ang="0">
                  <a:pos x="180" y="299"/>
                </a:cxn>
                <a:cxn ang="0">
                  <a:pos x="156" y="299"/>
                </a:cxn>
                <a:cxn ang="0">
                  <a:pos x="156" y="291"/>
                </a:cxn>
                <a:cxn ang="0">
                  <a:pos x="148" y="267"/>
                </a:cxn>
                <a:cxn ang="0">
                  <a:pos x="148" y="243"/>
                </a:cxn>
                <a:cxn ang="0">
                  <a:pos x="128" y="231"/>
                </a:cxn>
                <a:cxn ang="0">
                  <a:pos x="112" y="227"/>
                </a:cxn>
                <a:cxn ang="0">
                  <a:pos x="112" y="243"/>
                </a:cxn>
                <a:cxn ang="0">
                  <a:pos x="88" y="247"/>
                </a:cxn>
                <a:cxn ang="0">
                  <a:pos x="76" y="235"/>
                </a:cxn>
                <a:cxn ang="0">
                  <a:pos x="68" y="215"/>
                </a:cxn>
              </a:cxnLst>
              <a:rect l="0" t="0" r="r" b="b"/>
              <a:pathLst>
                <a:path w="291" h="343">
                  <a:moveTo>
                    <a:pt x="60" y="203"/>
                  </a:moveTo>
                  <a:lnTo>
                    <a:pt x="56" y="203"/>
                  </a:lnTo>
                  <a:lnTo>
                    <a:pt x="44" y="203"/>
                  </a:lnTo>
                  <a:lnTo>
                    <a:pt x="40" y="203"/>
                  </a:lnTo>
                  <a:lnTo>
                    <a:pt x="36" y="207"/>
                  </a:lnTo>
                  <a:lnTo>
                    <a:pt x="32" y="207"/>
                  </a:lnTo>
                  <a:lnTo>
                    <a:pt x="32" y="203"/>
                  </a:lnTo>
                  <a:lnTo>
                    <a:pt x="28" y="203"/>
                  </a:lnTo>
                  <a:lnTo>
                    <a:pt x="24" y="203"/>
                  </a:lnTo>
                  <a:lnTo>
                    <a:pt x="20" y="203"/>
                  </a:lnTo>
                  <a:lnTo>
                    <a:pt x="16" y="203"/>
                  </a:lnTo>
                  <a:lnTo>
                    <a:pt x="12" y="203"/>
                  </a:lnTo>
                  <a:lnTo>
                    <a:pt x="8" y="203"/>
                  </a:lnTo>
                  <a:lnTo>
                    <a:pt x="8" y="207"/>
                  </a:lnTo>
                  <a:lnTo>
                    <a:pt x="4" y="207"/>
                  </a:lnTo>
                  <a:lnTo>
                    <a:pt x="4" y="203"/>
                  </a:lnTo>
                  <a:lnTo>
                    <a:pt x="0" y="203"/>
                  </a:lnTo>
                  <a:lnTo>
                    <a:pt x="4" y="203"/>
                  </a:lnTo>
                  <a:lnTo>
                    <a:pt x="8" y="203"/>
                  </a:lnTo>
                  <a:lnTo>
                    <a:pt x="8" y="195"/>
                  </a:lnTo>
                  <a:lnTo>
                    <a:pt x="8" y="191"/>
                  </a:lnTo>
                  <a:lnTo>
                    <a:pt x="8" y="187"/>
                  </a:lnTo>
                  <a:lnTo>
                    <a:pt x="12" y="183"/>
                  </a:lnTo>
                  <a:lnTo>
                    <a:pt x="16" y="183"/>
                  </a:lnTo>
                  <a:lnTo>
                    <a:pt x="16" y="179"/>
                  </a:lnTo>
                  <a:lnTo>
                    <a:pt x="16" y="183"/>
                  </a:lnTo>
                  <a:lnTo>
                    <a:pt x="20" y="187"/>
                  </a:lnTo>
                  <a:lnTo>
                    <a:pt x="20" y="183"/>
                  </a:lnTo>
                  <a:lnTo>
                    <a:pt x="24" y="183"/>
                  </a:lnTo>
                  <a:lnTo>
                    <a:pt x="24" y="179"/>
                  </a:lnTo>
                  <a:lnTo>
                    <a:pt x="28" y="179"/>
                  </a:lnTo>
                  <a:lnTo>
                    <a:pt x="32" y="175"/>
                  </a:lnTo>
                  <a:lnTo>
                    <a:pt x="36" y="175"/>
                  </a:lnTo>
                  <a:lnTo>
                    <a:pt x="36" y="179"/>
                  </a:lnTo>
                  <a:lnTo>
                    <a:pt x="36" y="183"/>
                  </a:lnTo>
                  <a:lnTo>
                    <a:pt x="36" y="187"/>
                  </a:lnTo>
                  <a:lnTo>
                    <a:pt x="40" y="187"/>
                  </a:lnTo>
                  <a:lnTo>
                    <a:pt x="40" y="183"/>
                  </a:lnTo>
                  <a:lnTo>
                    <a:pt x="44" y="183"/>
                  </a:lnTo>
                  <a:lnTo>
                    <a:pt x="44" y="179"/>
                  </a:lnTo>
                  <a:lnTo>
                    <a:pt x="48" y="175"/>
                  </a:lnTo>
                  <a:lnTo>
                    <a:pt x="52" y="175"/>
                  </a:lnTo>
                  <a:lnTo>
                    <a:pt x="52" y="171"/>
                  </a:lnTo>
                  <a:lnTo>
                    <a:pt x="56" y="171"/>
                  </a:lnTo>
                  <a:lnTo>
                    <a:pt x="56" y="167"/>
                  </a:lnTo>
                  <a:lnTo>
                    <a:pt x="60" y="167"/>
                  </a:lnTo>
                  <a:lnTo>
                    <a:pt x="60" y="163"/>
                  </a:lnTo>
                  <a:lnTo>
                    <a:pt x="60" y="159"/>
                  </a:lnTo>
                  <a:lnTo>
                    <a:pt x="64" y="159"/>
                  </a:lnTo>
                  <a:lnTo>
                    <a:pt x="60" y="155"/>
                  </a:lnTo>
                  <a:lnTo>
                    <a:pt x="60" y="152"/>
                  </a:lnTo>
                  <a:lnTo>
                    <a:pt x="60" y="148"/>
                  </a:lnTo>
                  <a:lnTo>
                    <a:pt x="64" y="148"/>
                  </a:lnTo>
                  <a:lnTo>
                    <a:pt x="64" y="144"/>
                  </a:lnTo>
                  <a:lnTo>
                    <a:pt x="60" y="140"/>
                  </a:lnTo>
                  <a:lnTo>
                    <a:pt x="60" y="136"/>
                  </a:lnTo>
                  <a:lnTo>
                    <a:pt x="64" y="136"/>
                  </a:lnTo>
                  <a:lnTo>
                    <a:pt x="64" y="132"/>
                  </a:lnTo>
                  <a:lnTo>
                    <a:pt x="68" y="132"/>
                  </a:lnTo>
                  <a:lnTo>
                    <a:pt x="68" y="128"/>
                  </a:lnTo>
                  <a:lnTo>
                    <a:pt x="68" y="124"/>
                  </a:lnTo>
                  <a:lnTo>
                    <a:pt x="72" y="124"/>
                  </a:lnTo>
                  <a:lnTo>
                    <a:pt x="72" y="120"/>
                  </a:lnTo>
                  <a:lnTo>
                    <a:pt x="76" y="116"/>
                  </a:lnTo>
                  <a:lnTo>
                    <a:pt x="80" y="116"/>
                  </a:lnTo>
                  <a:lnTo>
                    <a:pt x="84" y="112"/>
                  </a:lnTo>
                  <a:lnTo>
                    <a:pt x="84" y="108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96"/>
                  </a:lnTo>
                  <a:lnTo>
                    <a:pt x="88" y="96"/>
                  </a:lnTo>
                  <a:lnTo>
                    <a:pt x="88" y="92"/>
                  </a:lnTo>
                  <a:lnTo>
                    <a:pt x="88" y="88"/>
                  </a:lnTo>
                  <a:lnTo>
                    <a:pt x="88" y="84"/>
                  </a:lnTo>
                  <a:lnTo>
                    <a:pt x="88" y="80"/>
                  </a:lnTo>
                  <a:lnTo>
                    <a:pt x="88" y="76"/>
                  </a:lnTo>
                  <a:lnTo>
                    <a:pt x="92" y="68"/>
                  </a:lnTo>
                  <a:lnTo>
                    <a:pt x="92" y="64"/>
                  </a:lnTo>
                  <a:lnTo>
                    <a:pt x="92" y="60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96" y="52"/>
                  </a:lnTo>
                  <a:lnTo>
                    <a:pt x="96" y="48"/>
                  </a:lnTo>
                  <a:lnTo>
                    <a:pt x="96" y="44"/>
                  </a:lnTo>
                  <a:lnTo>
                    <a:pt x="96" y="40"/>
                  </a:lnTo>
                  <a:lnTo>
                    <a:pt x="100" y="40"/>
                  </a:lnTo>
                  <a:lnTo>
                    <a:pt x="100" y="36"/>
                  </a:lnTo>
                  <a:lnTo>
                    <a:pt x="100" y="32"/>
                  </a:lnTo>
                  <a:lnTo>
                    <a:pt x="100" y="28"/>
                  </a:lnTo>
                  <a:lnTo>
                    <a:pt x="100" y="24"/>
                  </a:lnTo>
                  <a:lnTo>
                    <a:pt x="100" y="20"/>
                  </a:lnTo>
                  <a:lnTo>
                    <a:pt x="96" y="20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0" y="16"/>
                  </a:lnTo>
                  <a:lnTo>
                    <a:pt x="104" y="12"/>
                  </a:lnTo>
                  <a:lnTo>
                    <a:pt x="104" y="8"/>
                  </a:lnTo>
                  <a:lnTo>
                    <a:pt x="108" y="8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20" y="8"/>
                  </a:lnTo>
                  <a:lnTo>
                    <a:pt x="124" y="8"/>
                  </a:lnTo>
                  <a:lnTo>
                    <a:pt x="124" y="12"/>
                  </a:lnTo>
                  <a:lnTo>
                    <a:pt x="128" y="12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20"/>
                  </a:lnTo>
                  <a:lnTo>
                    <a:pt x="144" y="20"/>
                  </a:lnTo>
                  <a:lnTo>
                    <a:pt x="148" y="20"/>
                  </a:lnTo>
                  <a:lnTo>
                    <a:pt x="152" y="20"/>
                  </a:lnTo>
                  <a:lnTo>
                    <a:pt x="152" y="24"/>
                  </a:lnTo>
                  <a:lnTo>
                    <a:pt x="156" y="24"/>
                  </a:lnTo>
                  <a:lnTo>
                    <a:pt x="156" y="20"/>
                  </a:lnTo>
                  <a:lnTo>
                    <a:pt x="160" y="20"/>
                  </a:lnTo>
                  <a:lnTo>
                    <a:pt x="160" y="16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4" y="8"/>
                  </a:lnTo>
                  <a:lnTo>
                    <a:pt x="164" y="12"/>
                  </a:lnTo>
                  <a:lnTo>
                    <a:pt x="168" y="12"/>
                  </a:lnTo>
                  <a:lnTo>
                    <a:pt x="172" y="12"/>
                  </a:lnTo>
                  <a:lnTo>
                    <a:pt x="176" y="8"/>
                  </a:lnTo>
                  <a:lnTo>
                    <a:pt x="180" y="8"/>
                  </a:lnTo>
                  <a:lnTo>
                    <a:pt x="184" y="8"/>
                  </a:lnTo>
                  <a:lnTo>
                    <a:pt x="188" y="4"/>
                  </a:lnTo>
                  <a:lnTo>
                    <a:pt x="184" y="4"/>
                  </a:lnTo>
                  <a:lnTo>
                    <a:pt x="188" y="4"/>
                  </a:lnTo>
                  <a:lnTo>
                    <a:pt x="192" y="8"/>
                  </a:lnTo>
                  <a:lnTo>
                    <a:pt x="196" y="8"/>
                  </a:lnTo>
                  <a:lnTo>
                    <a:pt x="200" y="8"/>
                  </a:lnTo>
                  <a:lnTo>
                    <a:pt x="200" y="4"/>
                  </a:lnTo>
                  <a:lnTo>
                    <a:pt x="200" y="0"/>
                  </a:lnTo>
                  <a:lnTo>
                    <a:pt x="204" y="0"/>
                  </a:lnTo>
                  <a:lnTo>
                    <a:pt x="208" y="0"/>
                  </a:lnTo>
                  <a:lnTo>
                    <a:pt x="208" y="4"/>
                  </a:lnTo>
                  <a:lnTo>
                    <a:pt x="212" y="4"/>
                  </a:lnTo>
                  <a:lnTo>
                    <a:pt x="212" y="0"/>
                  </a:lnTo>
                  <a:lnTo>
                    <a:pt x="212" y="4"/>
                  </a:lnTo>
                  <a:lnTo>
                    <a:pt x="216" y="4"/>
                  </a:lnTo>
                  <a:lnTo>
                    <a:pt x="220" y="4"/>
                  </a:lnTo>
                  <a:lnTo>
                    <a:pt x="224" y="4"/>
                  </a:lnTo>
                  <a:lnTo>
                    <a:pt x="228" y="4"/>
                  </a:lnTo>
                  <a:lnTo>
                    <a:pt x="232" y="4"/>
                  </a:lnTo>
                  <a:lnTo>
                    <a:pt x="232" y="8"/>
                  </a:lnTo>
                  <a:lnTo>
                    <a:pt x="236" y="8"/>
                  </a:lnTo>
                  <a:lnTo>
                    <a:pt x="236" y="12"/>
                  </a:lnTo>
                  <a:lnTo>
                    <a:pt x="240" y="16"/>
                  </a:lnTo>
                  <a:lnTo>
                    <a:pt x="243" y="16"/>
                  </a:lnTo>
                  <a:lnTo>
                    <a:pt x="243" y="20"/>
                  </a:lnTo>
                  <a:lnTo>
                    <a:pt x="247" y="20"/>
                  </a:lnTo>
                  <a:lnTo>
                    <a:pt x="247" y="16"/>
                  </a:lnTo>
                  <a:lnTo>
                    <a:pt x="251" y="16"/>
                  </a:lnTo>
                  <a:lnTo>
                    <a:pt x="255" y="16"/>
                  </a:lnTo>
                  <a:lnTo>
                    <a:pt x="259" y="16"/>
                  </a:lnTo>
                  <a:lnTo>
                    <a:pt x="259" y="20"/>
                  </a:lnTo>
                  <a:lnTo>
                    <a:pt x="259" y="16"/>
                  </a:lnTo>
                  <a:lnTo>
                    <a:pt x="263" y="16"/>
                  </a:lnTo>
                  <a:lnTo>
                    <a:pt x="263" y="12"/>
                  </a:lnTo>
                  <a:lnTo>
                    <a:pt x="267" y="12"/>
                  </a:lnTo>
                  <a:lnTo>
                    <a:pt x="267" y="16"/>
                  </a:lnTo>
                  <a:lnTo>
                    <a:pt x="267" y="20"/>
                  </a:lnTo>
                  <a:lnTo>
                    <a:pt x="271" y="20"/>
                  </a:lnTo>
                  <a:lnTo>
                    <a:pt x="271" y="24"/>
                  </a:lnTo>
                  <a:lnTo>
                    <a:pt x="275" y="24"/>
                  </a:lnTo>
                  <a:lnTo>
                    <a:pt x="275" y="28"/>
                  </a:lnTo>
                  <a:lnTo>
                    <a:pt x="279" y="28"/>
                  </a:lnTo>
                  <a:lnTo>
                    <a:pt x="279" y="32"/>
                  </a:lnTo>
                  <a:lnTo>
                    <a:pt x="283" y="32"/>
                  </a:lnTo>
                  <a:lnTo>
                    <a:pt x="283" y="36"/>
                  </a:lnTo>
                  <a:lnTo>
                    <a:pt x="283" y="40"/>
                  </a:lnTo>
                  <a:lnTo>
                    <a:pt x="283" y="44"/>
                  </a:lnTo>
                  <a:lnTo>
                    <a:pt x="283" y="48"/>
                  </a:lnTo>
                  <a:lnTo>
                    <a:pt x="283" y="52"/>
                  </a:lnTo>
                  <a:lnTo>
                    <a:pt x="283" y="56"/>
                  </a:lnTo>
                  <a:lnTo>
                    <a:pt x="287" y="52"/>
                  </a:lnTo>
                  <a:lnTo>
                    <a:pt x="287" y="56"/>
                  </a:lnTo>
                  <a:lnTo>
                    <a:pt x="291" y="60"/>
                  </a:lnTo>
                  <a:lnTo>
                    <a:pt x="287" y="60"/>
                  </a:lnTo>
                  <a:lnTo>
                    <a:pt x="287" y="64"/>
                  </a:lnTo>
                  <a:lnTo>
                    <a:pt x="283" y="68"/>
                  </a:lnTo>
                  <a:lnTo>
                    <a:pt x="279" y="72"/>
                  </a:lnTo>
                  <a:lnTo>
                    <a:pt x="279" y="76"/>
                  </a:lnTo>
                  <a:lnTo>
                    <a:pt x="275" y="76"/>
                  </a:lnTo>
                  <a:lnTo>
                    <a:pt x="275" y="80"/>
                  </a:lnTo>
                  <a:lnTo>
                    <a:pt x="271" y="80"/>
                  </a:lnTo>
                  <a:lnTo>
                    <a:pt x="271" y="84"/>
                  </a:lnTo>
                  <a:lnTo>
                    <a:pt x="271" y="88"/>
                  </a:lnTo>
                  <a:lnTo>
                    <a:pt x="271" y="92"/>
                  </a:lnTo>
                  <a:lnTo>
                    <a:pt x="267" y="92"/>
                  </a:lnTo>
                  <a:lnTo>
                    <a:pt x="267" y="96"/>
                  </a:lnTo>
                  <a:lnTo>
                    <a:pt x="267" y="100"/>
                  </a:lnTo>
                  <a:lnTo>
                    <a:pt x="267" y="104"/>
                  </a:lnTo>
                  <a:lnTo>
                    <a:pt x="267" y="108"/>
                  </a:lnTo>
                  <a:lnTo>
                    <a:pt x="263" y="108"/>
                  </a:lnTo>
                  <a:lnTo>
                    <a:pt x="263" y="112"/>
                  </a:lnTo>
                  <a:lnTo>
                    <a:pt x="263" y="116"/>
                  </a:lnTo>
                  <a:lnTo>
                    <a:pt x="263" y="120"/>
                  </a:lnTo>
                  <a:lnTo>
                    <a:pt x="263" y="124"/>
                  </a:lnTo>
                  <a:lnTo>
                    <a:pt x="259" y="124"/>
                  </a:lnTo>
                  <a:lnTo>
                    <a:pt x="259" y="128"/>
                  </a:lnTo>
                  <a:lnTo>
                    <a:pt x="259" y="132"/>
                  </a:lnTo>
                  <a:lnTo>
                    <a:pt x="259" y="136"/>
                  </a:lnTo>
                  <a:lnTo>
                    <a:pt x="259" y="140"/>
                  </a:lnTo>
                  <a:lnTo>
                    <a:pt x="255" y="140"/>
                  </a:lnTo>
                  <a:lnTo>
                    <a:pt x="255" y="144"/>
                  </a:lnTo>
                  <a:lnTo>
                    <a:pt x="255" y="148"/>
                  </a:lnTo>
                  <a:lnTo>
                    <a:pt x="259" y="152"/>
                  </a:lnTo>
                  <a:lnTo>
                    <a:pt x="259" y="155"/>
                  </a:lnTo>
                  <a:lnTo>
                    <a:pt x="259" y="159"/>
                  </a:lnTo>
                  <a:lnTo>
                    <a:pt x="259" y="163"/>
                  </a:lnTo>
                  <a:lnTo>
                    <a:pt x="259" y="167"/>
                  </a:lnTo>
                  <a:lnTo>
                    <a:pt x="259" y="171"/>
                  </a:lnTo>
                  <a:lnTo>
                    <a:pt x="263" y="175"/>
                  </a:lnTo>
                  <a:lnTo>
                    <a:pt x="263" y="179"/>
                  </a:lnTo>
                  <a:lnTo>
                    <a:pt x="263" y="183"/>
                  </a:lnTo>
                  <a:lnTo>
                    <a:pt x="259" y="183"/>
                  </a:lnTo>
                  <a:lnTo>
                    <a:pt x="259" y="187"/>
                  </a:lnTo>
                  <a:lnTo>
                    <a:pt x="259" y="191"/>
                  </a:lnTo>
                  <a:lnTo>
                    <a:pt x="263" y="191"/>
                  </a:lnTo>
                  <a:lnTo>
                    <a:pt x="263" y="195"/>
                  </a:lnTo>
                  <a:lnTo>
                    <a:pt x="263" y="199"/>
                  </a:lnTo>
                  <a:lnTo>
                    <a:pt x="263" y="203"/>
                  </a:lnTo>
                  <a:lnTo>
                    <a:pt x="263" y="207"/>
                  </a:lnTo>
                  <a:lnTo>
                    <a:pt x="263" y="211"/>
                  </a:lnTo>
                  <a:lnTo>
                    <a:pt x="263" y="215"/>
                  </a:lnTo>
                  <a:lnTo>
                    <a:pt x="267" y="219"/>
                  </a:lnTo>
                  <a:lnTo>
                    <a:pt x="271" y="223"/>
                  </a:lnTo>
                  <a:lnTo>
                    <a:pt x="275" y="223"/>
                  </a:lnTo>
                  <a:lnTo>
                    <a:pt x="275" y="227"/>
                  </a:lnTo>
                  <a:lnTo>
                    <a:pt x="275" y="231"/>
                  </a:lnTo>
                  <a:lnTo>
                    <a:pt x="275" y="235"/>
                  </a:lnTo>
                  <a:lnTo>
                    <a:pt x="279" y="235"/>
                  </a:lnTo>
                  <a:lnTo>
                    <a:pt x="279" y="239"/>
                  </a:lnTo>
                  <a:lnTo>
                    <a:pt x="279" y="243"/>
                  </a:lnTo>
                  <a:lnTo>
                    <a:pt x="283" y="243"/>
                  </a:lnTo>
                  <a:lnTo>
                    <a:pt x="283" y="247"/>
                  </a:lnTo>
                  <a:lnTo>
                    <a:pt x="279" y="247"/>
                  </a:lnTo>
                  <a:lnTo>
                    <a:pt x="275" y="247"/>
                  </a:lnTo>
                  <a:lnTo>
                    <a:pt x="271" y="251"/>
                  </a:lnTo>
                  <a:lnTo>
                    <a:pt x="263" y="251"/>
                  </a:lnTo>
                  <a:lnTo>
                    <a:pt x="259" y="251"/>
                  </a:lnTo>
                  <a:lnTo>
                    <a:pt x="255" y="251"/>
                  </a:lnTo>
                  <a:lnTo>
                    <a:pt x="255" y="255"/>
                  </a:lnTo>
                  <a:lnTo>
                    <a:pt x="255" y="259"/>
                  </a:lnTo>
                  <a:lnTo>
                    <a:pt x="251" y="259"/>
                  </a:lnTo>
                  <a:lnTo>
                    <a:pt x="251" y="263"/>
                  </a:lnTo>
                  <a:lnTo>
                    <a:pt x="247" y="267"/>
                  </a:lnTo>
                  <a:lnTo>
                    <a:pt x="247" y="271"/>
                  </a:lnTo>
                  <a:lnTo>
                    <a:pt x="251" y="275"/>
                  </a:lnTo>
                  <a:lnTo>
                    <a:pt x="251" y="279"/>
                  </a:lnTo>
                  <a:lnTo>
                    <a:pt x="251" y="283"/>
                  </a:lnTo>
                  <a:lnTo>
                    <a:pt x="251" y="287"/>
                  </a:lnTo>
                  <a:lnTo>
                    <a:pt x="251" y="291"/>
                  </a:lnTo>
                  <a:lnTo>
                    <a:pt x="251" y="295"/>
                  </a:lnTo>
                  <a:lnTo>
                    <a:pt x="247" y="295"/>
                  </a:lnTo>
                  <a:lnTo>
                    <a:pt x="247" y="299"/>
                  </a:lnTo>
                  <a:lnTo>
                    <a:pt x="247" y="303"/>
                  </a:lnTo>
                  <a:lnTo>
                    <a:pt x="247" y="307"/>
                  </a:lnTo>
                  <a:lnTo>
                    <a:pt x="247" y="311"/>
                  </a:lnTo>
                  <a:lnTo>
                    <a:pt x="247" y="315"/>
                  </a:lnTo>
                  <a:lnTo>
                    <a:pt x="251" y="315"/>
                  </a:lnTo>
                  <a:lnTo>
                    <a:pt x="251" y="319"/>
                  </a:lnTo>
                  <a:lnTo>
                    <a:pt x="255" y="323"/>
                  </a:lnTo>
                  <a:lnTo>
                    <a:pt x="259" y="323"/>
                  </a:lnTo>
                  <a:lnTo>
                    <a:pt x="263" y="327"/>
                  </a:lnTo>
                  <a:lnTo>
                    <a:pt x="263" y="323"/>
                  </a:lnTo>
                  <a:lnTo>
                    <a:pt x="267" y="319"/>
                  </a:lnTo>
                  <a:lnTo>
                    <a:pt x="267" y="323"/>
                  </a:lnTo>
                  <a:lnTo>
                    <a:pt x="267" y="327"/>
                  </a:lnTo>
                  <a:lnTo>
                    <a:pt x="267" y="331"/>
                  </a:lnTo>
                  <a:lnTo>
                    <a:pt x="267" y="339"/>
                  </a:lnTo>
                  <a:lnTo>
                    <a:pt x="267" y="343"/>
                  </a:lnTo>
                  <a:lnTo>
                    <a:pt x="263" y="343"/>
                  </a:lnTo>
                  <a:lnTo>
                    <a:pt x="267" y="343"/>
                  </a:lnTo>
                  <a:lnTo>
                    <a:pt x="263" y="339"/>
                  </a:lnTo>
                  <a:lnTo>
                    <a:pt x="263" y="343"/>
                  </a:lnTo>
                  <a:lnTo>
                    <a:pt x="259" y="343"/>
                  </a:lnTo>
                  <a:lnTo>
                    <a:pt x="255" y="343"/>
                  </a:lnTo>
                  <a:lnTo>
                    <a:pt x="255" y="339"/>
                  </a:lnTo>
                  <a:lnTo>
                    <a:pt x="251" y="335"/>
                  </a:lnTo>
                  <a:lnTo>
                    <a:pt x="247" y="335"/>
                  </a:lnTo>
                  <a:lnTo>
                    <a:pt x="247" y="331"/>
                  </a:lnTo>
                  <a:lnTo>
                    <a:pt x="247" y="327"/>
                  </a:lnTo>
                  <a:lnTo>
                    <a:pt x="243" y="327"/>
                  </a:lnTo>
                  <a:lnTo>
                    <a:pt x="240" y="323"/>
                  </a:lnTo>
                  <a:lnTo>
                    <a:pt x="236" y="323"/>
                  </a:lnTo>
                  <a:lnTo>
                    <a:pt x="232" y="319"/>
                  </a:lnTo>
                  <a:lnTo>
                    <a:pt x="232" y="315"/>
                  </a:lnTo>
                  <a:lnTo>
                    <a:pt x="228" y="315"/>
                  </a:lnTo>
                  <a:lnTo>
                    <a:pt x="228" y="311"/>
                  </a:lnTo>
                  <a:lnTo>
                    <a:pt x="224" y="315"/>
                  </a:lnTo>
                  <a:lnTo>
                    <a:pt x="224" y="319"/>
                  </a:lnTo>
                  <a:lnTo>
                    <a:pt x="220" y="319"/>
                  </a:lnTo>
                  <a:lnTo>
                    <a:pt x="216" y="315"/>
                  </a:lnTo>
                  <a:lnTo>
                    <a:pt x="212" y="315"/>
                  </a:lnTo>
                  <a:lnTo>
                    <a:pt x="208" y="315"/>
                  </a:lnTo>
                  <a:lnTo>
                    <a:pt x="204" y="311"/>
                  </a:lnTo>
                  <a:lnTo>
                    <a:pt x="200" y="311"/>
                  </a:lnTo>
                  <a:lnTo>
                    <a:pt x="200" y="307"/>
                  </a:lnTo>
                  <a:lnTo>
                    <a:pt x="200" y="303"/>
                  </a:lnTo>
                  <a:lnTo>
                    <a:pt x="196" y="303"/>
                  </a:lnTo>
                  <a:lnTo>
                    <a:pt x="192" y="307"/>
                  </a:lnTo>
                  <a:lnTo>
                    <a:pt x="188" y="307"/>
                  </a:lnTo>
                  <a:lnTo>
                    <a:pt x="184" y="307"/>
                  </a:lnTo>
                  <a:lnTo>
                    <a:pt x="188" y="303"/>
                  </a:lnTo>
                  <a:lnTo>
                    <a:pt x="188" y="299"/>
                  </a:lnTo>
                  <a:lnTo>
                    <a:pt x="184" y="299"/>
                  </a:lnTo>
                  <a:lnTo>
                    <a:pt x="180" y="299"/>
                  </a:lnTo>
                  <a:lnTo>
                    <a:pt x="180" y="295"/>
                  </a:lnTo>
                  <a:lnTo>
                    <a:pt x="180" y="299"/>
                  </a:lnTo>
                  <a:lnTo>
                    <a:pt x="176" y="299"/>
                  </a:lnTo>
                  <a:lnTo>
                    <a:pt x="172" y="299"/>
                  </a:lnTo>
                  <a:lnTo>
                    <a:pt x="168" y="299"/>
                  </a:lnTo>
                  <a:lnTo>
                    <a:pt x="164" y="299"/>
                  </a:lnTo>
                  <a:lnTo>
                    <a:pt x="160" y="299"/>
                  </a:lnTo>
                  <a:lnTo>
                    <a:pt x="156" y="299"/>
                  </a:lnTo>
                  <a:lnTo>
                    <a:pt x="156" y="303"/>
                  </a:lnTo>
                  <a:lnTo>
                    <a:pt x="152" y="303"/>
                  </a:lnTo>
                  <a:lnTo>
                    <a:pt x="152" y="299"/>
                  </a:lnTo>
                  <a:lnTo>
                    <a:pt x="152" y="295"/>
                  </a:lnTo>
                  <a:lnTo>
                    <a:pt x="156" y="295"/>
                  </a:lnTo>
                  <a:lnTo>
                    <a:pt x="156" y="291"/>
                  </a:lnTo>
                  <a:lnTo>
                    <a:pt x="156" y="287"/>
                  </a:lnTo>
                  <a:lnTo>
                    <a:pt x="152" y="283"/>
                  </a:lnTo>
                  <a:lnTo>
                    <a:pt x="152" y="279"/>
                  </a:lnTo>
                  <a:lnTo>
                    <a:pt x="148" y="275"/>
                  </a:lnTo>
                  <a:lnTo>
                    <a:pt x="148" y="271"/>
                  </a:lnTo>
                  <a:lnTo>
                    <a:pt x="148" y="267"/>
                  </a:lnTo>
                  <a:lnTo>
                    <a:pt x="148" y="263"/>
                  </a:lnTo>
                  <a:lnTo>
                    <a:pt x="148" y="259"/>
                  </a:lnTo>
                  <a:lnTo>
                    <a:pt x="148" y="255"/>
                  </a:lnTo>
                  <a:lnTo>
                    <a:pt x="148" y="251"/>
                  </a:lnTo>
                  <a:lnTo>
                    <a:pt x="148" y="247"/>
                  </a:lnTo>
                  <a:lnTo>
                    <a:pt x="148" y="243"/>
                  </a:lnTo>
                  <a:lnTo>
                    <a:pt x="148" y="239"/>
                  </a:lnTo>
                  <a:lnTo>
                    <a:pt x="148" y="235"/>
                  </a:lnTo>
                  <a:lnTo>
                    <a:pt x="148" y="231"/>
                  </a:lnTo>
                  <a:lnTo>
                    <a:pt x="144" y="231"/>
                  </a:lnTo>
                  <a:lnTo>
                    <a:pt x="136" y="231"/>
                  </a:lnTo>
                  <a:lnTo>
                    <a:pt x="128" y="231"/>
                  </a:lnTo>
                  <a:lnTo>
                    <a:pt x="128" y="227"/>
                  </a:lnTo>
                  <a:lnTo>
                    <a:pt x="128" y="223"/>
                  </a:lnTo>
                  <a:lnTo>
                    <a:pt x="124" y="223"/>
                  </a:lnTo>
                  <a:lnTo>
                    <a:pt x="124" y="227"/>
                  </a:lnTo>
                  <a:lnTo>
                    <a:pt x="120" y="227"/>
                  </a:lnTo>
                  <a:lnTo>
                    <a:pt x="112" y="227"/>
                  </a:lnTo>
                  <a:lnTo>
                    <a:pt x="112" y="231"/>
                  </a:lnTo>
                  <a:lnTo>
                    <a:pt x="112" y="235"/>
                  </a:lnTo>
                  <a:lnTo>
                    <a:pt x="112" y="239"/>
                  </a:lnTo>
                  <a:lnTo>
                    <a:pt x="108" y="239"/>
                  </a:lnTo>
                  <a:lnTo>
                    <a:pt x="108" y="243"/>
                  </a:lnTo>
                  <a:lnTo>
                    <a:pt x="112" y="243"/>
                  </a:lnTo>
                  <a:lnTo>
                    <a:pt x="104" y="243"/>
                  </a:lnTo>
                  <a:lnTo>
                    <a:pt x="100" y="243"/>
                  </a:lnTo>
                  <a:lnTo>
                    <a:pt x="96" y="243"/>
                  </a:lnTo>
                  <a:lnTo>
                    <a:pt x="92" y="243"/>
                  </a:lnTo>
                  <a:lnTo>
                    <a:pt x="92" y="247"/>
                  </a:lnTo>
                  <a:lnTo>
                    <a:pt x="88" y="247"/>
                  </a:lnTo>
                  <a:lnTo>
                    <a:pt x="88" y="243"/>
                  </a:lnTo>
                  <a:lnTo>
                    <a:pt x="84" y="247"/>
                  </a:lnTo>
                  <a:lnTo>
                    <a:pt x="84" y="243"/>
                  </a:lnTo>
                  <a:lnTo>
                    <a:pt x="80" y="243"/>
                  </a:lnTo>
                  <a:lnTo>
                    <a:pt x="80" y="239"/>
                  </a:lnTo>
                  <a:lnTo>
                    <a:pt x="76" y="235"/>
                  </a:lnTo>
                  <a:lnTo>
                    <a:pt x="76" y="231"/>
                  </a:lnTo>
                  <a:lnTo>
                    <a:pt x="72" y="231"/>
                  </a:lnTo>
                  <a:lnTo>
                    <a:pt x="72" y="227"/>
                  </a:lnTo>
                  <a:lnTo>
                    <a:pt x="72" y="223"/>
                  </a:lnTo>
                  <a:lnTo>
                    <a:pt x="72" y="219"/>
                  </a:lnTo>
                  <a:lnTo>
                    <a:pt x="68" y="215"/>
                  </a:lnTo>
                  <a:lnTo>
                    <a:pt x="68" y="211"/>
                  </a:lnTo>
                  <a:lnTo>
                    <a:pt x="68" y="207"/>
                  </a:lnTo>
                  <a:lnTo>
                    <a:pt x="68" y="203"/>
                  </a:lnTo>
                  <a:lnTo>
                    <a:pt x="64" y="203"/>
                  </a:lnTo>
                  <a:lnTo>
                    <a:pt x="60" y="20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3" name="Freeform 130"/>
            <p:cNvSpPr>
              <a:spLocks noEditPoints="1"/>
            </p:cNvSpPr>
            <p:nvPr>
              <p:custDataLst>
                <p:tags r:id="rId326"/>
              </p:custDataLst>
            </p:nvPr>
          </p:nvSpPr>
          <p:spPr bwMode="gray">
            <a:xfrm>
              <a:off x="4180296" y="4302308"/>
              <a:ext cx="142374" cy="177968"/>
            </a:xfrm>
            <a:custGeom>
              <a:avLst/>
              <a:gdLst/>
              <a:ahLst/>
              <a:cxnLst>
                <a:cxn ang="0">
                  <a:pos x="48" y="104"/>
                </a:cxn>
                <a:cxn ang="0">
                  <a:pos x="56" y="104"/>
                </a:cxn>
                <a:cxn ang="0">
                  <a:pos x="48" y="104"/>
                </a:cxn>
                <a:cxn ang="0">
                  <a:pos x="36" y="108"/>
                </a:cxn>
                <a:cxn ang="0">
                  <a:pos x="32" y="112"/>
                </a:cxn>
                <a:cxn ang="0">
                  <a:pos x="24" y="116"/>
                </a:cxn>
                <a:cxn ang="0">
                  <a:pos x="20" y="120"/>
                </a:cxn>
                <a:cxn ang="0">
                  <a:pos x="16" y="112"/>
                </a:cxn>
                <a:cxn ang="0">
                  <a:pos x="20" y="100"/>
                </a:cxn>
                <a:cxn ang="0">
                  <a:pos x="20" y="92"/>
                </a:cxn>
                <a:cxn ang="0">
                  <a:pos x="16" y="88"/>
                </a:cxn>
                <a:cxn ang="0">
                  <a:pos x="12" y="84"/>
                </a:cxn>
                <a:cxn ang="0">
                  <a:pos x="0" y="80"/>
                </a:cxn>
                <a:cxn ang="0">
                  <a:pos x="4" y="76"/>
                </a:cxn>
                <a:cxn ang="0">
                  <a:pos x="4" y="72"/>
                </a:cxn>
                <a:cxn ang="0">
                  <a:pos x="4" y="60"/>
                </a:cxn>
                <a:cxn ang="0">
                  <a:pos x="8" y="60"/>
                </a:cxn>
                <a:cxn ang="0">
                  <a:pos x="8" y="52"/>
                </a:cxn>
                <a:cxn ang="0">
                  <a:pos x="8" y="48"/>
                </a:cxn>
                <a:cxn ang="0">
                  <a:pos x="12" y="40"/>
                </a:cxn>
                <a:cxn ang="0">
                  <a:pos x="16" y="44"/>
                </a:cxn>
                <a:cxn ang="0">
                  <a:pos x="12" y="36"/>
                </a:cxn>
                <a:cxn ang="0">
                  <a:pos x="16" y="32"/>
                </a:cxn>
                <a:cxn ang="0">
                  <a:pos x="8" y="24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20" y="8"/>
                </a:cxn>
                <a:cxn ang="0">
                  <a:pos x="24" y="12"/>
                </a:cxn>
                <a:cxn ang="0">
                  <a:pos x="32" y="8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40" y="8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52" y="8"/>
                </a:cxn>
                <a:cxn ang="0">
                  <a:pos x="60" y="16"/>
                </a:cxn>
                <a:cxn ang="0">
                  <a:pos x="64" y="20"/>
                </a:cxn>
                <a:cxn ang="0">
                  <a:pos x="72" y="16"/>
                </a:cxn>
                <a:cxn ang="0">
                  <a:pos x="80" y="16"/>
                </a:cxn>
                <a:cxn ang="0">
                  <a:pos x="88" y="24"/>
                </a:cxn>
                <a:cxn ang="0">
                  <a:pos x="92" y="28"/>
                </a:cxn>
                <a:cxn ang="0">
                  <a:pos x="92" y="36"/>
                </a:cxn>
                <a:cxn ang="0">
                  <a:pos x="92" y="48"/>
                </a:cxn>
                <a:cxn ang="0">
                  <a:pos x="88" y="64"/>
                </a:cxn>
                <a:cxn ang="0">
                  <a:pos x="84" y="76"/>
                </a:cxn>
                <a:cxn ang="0">
                  <a:pos x="84" y="84"/>
                </a:cxn>
                <a:cxn ang="0">
                  <a:pos x="88" y="96"/>
                </a:cxn>
                <a:cxn ang="0">
                  <a:pos x="92" y="104"/>
                </a:cxn>
                <a:cxn ang="0">
                  <a:pos x="88" y="104"/>
                </a:cxn>
                <a:cxn ang="0">
                  <a:pos x="84" y="100"/>
                </a:cxn>
                <a:cxn ang="0">
                  <a:pos x="80" y="104"/>
                </a:cxn>
                <a:cxn ang="0">
                  <a:pos x="76" y="104"/>
                </a:cxn>
                <a:cxn ang="0">
                  <a:pos x="76" y="100"/>
                </a:cxn>
                <a:cxn ang="0">
                  <a:pos x="76" y="100"/>
                </a:cxn>
                <a:cxn ang="0">
                  <a:pos x="64" y="100"/>
                </a:cxn>
                <a:cxn ang="0">
                  <a:pos x="64" y="104"/>
                </a:cxn>
                <a:cxn ang="0">
                  <a:pos x="68" y="100"/>
                </a:cxn>
                <a:cxn ang="0">
                  <a:pos x="60" y="104"/>
                </a:cxn>
                <a:cxn ang="0">
                  <a:pos x="56" y="104"/>
                </a:cxn>
                <a:cxn ang="0">
                  <a:pos x="52" y="104"/>
                </a:cxn>
                <a:cxn ang="0">
                  <a:pos x="84" y="104"/>
                </a:cxn>
              </a:cxnLst>
              <a:rect l="0" t="0" r="r" b="b"/>
              <a:pathLst>
                <a:path w="96" h="120">
                  <a:moveTo>
                    <a:pt x="52" y="104"/>
                  </a:move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16" y="120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6" y="104"/>
                  </a:lnTo>
                  <a:lnTo>
                    <a:pt x="20" y="104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8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92" y="96"/>
                  </a:lnTo>
                  <a:lnTo>
                    <a:pt x="92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2" y="104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68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72" y="100"/>
                  </a:lnTo>
                  <a:lnTo>
                    <a:pt x="72" y="104"/>
                  </a:lnTo>
                  <a:lnTo>
                    <a:pt x="68" y="104"/>
                  </a:lnTo>
                  <a:lnTo>
                    <a:pt x="68" y="104"/>
                  </a:lnTo>
                  <a:lnTo>
                    <a:pt x="68" y="104"/>
                  </a:lnTo>
                  <a:lnTo>
                    <a:pt x="64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close/>
                  <a:moveTo>
                    <a:pt x="84" y="104"/>
                  </a:move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4" name="Freeform 131"/>
            <p:cNvSpPr>
              <a:spLocks/>
            </p:cNvSpPr>
            <p:nvPr>
              <p:custDataLst>
                <p:tags r:id="rId327"/>
              </p:custDataLst>
            </p:nvPr>
          </p:nvSpPr>
          <p:spPr bwMode="gray">
            <a:xfrm>
              <a:off x="5310391" y="4248918"/>
              <a:ext cx="41526" cy="47458"/>
            </a:xfrm>
            <a:custGeom>
              <a:avLst/>
              <a:gdLst/>
              <a:ahLst/>
              <a:cxnLst>
                <a:cxn ang="0">
                  <a:pos x="24" y="4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4" y="12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6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8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0" y="24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4"/>
                </a:cxn>
                <a:cxn ang="0">
                  <a:pos x="24" y="4"/>
                </a:cxn>
              </a:cxnLst>
              <a:rect l="0" t="0" r="r" b="b"/>
              <a:pathLst>
                <a:path w="28" h="32">
                  <a:moveTo>
                    <a:pt x="24" y="4"/>
                  </a:moveTo>
                  <a:lnTo>
                    <a:pt x="24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5" name="Freeform 132"/>
            <p:cNvSpPr>
              <a:spLocks/>
            </p:cNvSpPr>
            <p:nvPr>
              <p:custDataLst>
                <p:tags r:id="rId328"/>
              </p:custDataLst>
            </p:nvPr>
          </p:nvSpPr>
          <p:spPr bwMode="gray">
            <a:xfrm>
              <a:off x="4932210" y="3716497"/>
              <a:ext cx="271400" cy="272884"/>
            </a:xfrm>
            <a:custGeom>
              <a:avLst/>
              <a:gdLst/>
              <a:ahLst/>
              <a:cxnLst>
                <a:cxn ang="0">
                  <a:pos x="115" y="8"/>
                </a:cxn>
                <a:cxn ang="0">
                  <a:pos x="127" y="12"/>
                </a:cxn>
                <a:cxn ang="0">
                  <a:pos x="139" y="8"/>
                </a:cxn>
                <a:cxn ang="0">
                  <a:pos x="147" y="20"/>
                </a:cxn>
                <a:cxn ang="0">
                  <a:pos x="151" y="36"/>
                </a:cxn>
                <a:cxn ang="0">
                  <a:pos x="151" y="52"/>
                </a:cxn>
                <a:cxn ang="0">
                  <a:pos x="147" y="68"/>
                </a:cxn>
                <a:cxn ang="0">
                  <a:pos x="139" y="72"/>
                </a:cxn>
                <a:cxn ang="0">
                  <a:pos x="131" y="64"/>
                </a:cxn>
                <a:cxn ang="0">
                  <a:pos x="123" y="48"/>
                </a:cxn>
                <a:cxn ang="0">
                  <a:pos x="119" y="32"/>
                </a:cxn>
                <a:cxn ang="0">
                  <a:pos x="119" y="44"/>
                </a:cxn>
                <a:cxn ang="0">
                  <a:pos x="123" y="56"/>
                </a:cxn>
                <a:cxn ang="0">
                  <a:pos x="131" y="68"/>
                </a:cxn>
                <a:cxn ang="0">
                  <a:pos x="131" y="76"/>
                </a:cxn>
                <a:cxn ang="0">
                  <a:pos x="135" y="88"/>
                </a:cxn>
                <a:cxn ang="0">
                  <a:pos x="143" y="104"/>
                </a:cxn>
                <a:cxn ang="0">
                  <a:pos x="151" y="120"/>
                </a:cxn>
                <a:cxn ang="0">
                  <a:pos x="155" y="132"/>
                </a:cxn>
                <a:cxn ang="0">
                  <a:pos x="163" y="144"/>
                </a:cxn>
                <a:cxn ang="0">
                  <a:pos x="163" y="152"/>
                </a:cxn>
                <a:cxn ang="0">
                  <a:pos x="163" y="168"/>
                </a:cxn>
                <a:cxn ang="0">
                  <a:pos x="175" y="176"/>
                </a:cxn>
                <a:cxn ang="0">
                  <a:pos x="183" y="184"/>
                </a:cxn>
                <a:cxn ang="0">
                  <a:pos x="167" y="184"/>
                </a:cxn>
                <a:cxn ang="0">
                  <a:pos x="151" y="184"/>
                </a:cxn>
                <a:cxn ang="0">
                  <a:pos x="131" y="184"/>
                </a:cxn>
                <a:cxn ang="0">
                  <a:pos x="107" y="184"/>
                </a:cxn>
                <a:cxn ang="0">
                  <a:pos x="99" y="180"/>
                </a:cxn>
                <a:cxn ang="0">
                  <a:pos x="87" y="184"/>
                </a:cxn>
                <a:cxn ang="0">
                  <a:pos x="67" y="184"/>
                </a:cxn>
                <a:cxn ang="0">
                  <a:pos x="44" y="184"/>
                </a:cxn>
                <a:cxn ang="0">
                  <a:pos x="28" y="184"/>
                </a:cxn>
                <a:cxn ang="0">
                  <a:pos x="4" y="184"/>
                </a:cxn>
                <a:cxn ang="0">
                  <a:pos x="4" y="140"/>
                </a:cxn>
                <a:cxn ang="0">
                  <a:pos x="4" y="108"/>
                </a:cxn>
                <a:cxn ang="0">
                  <a:pos x="4" y="88"/>
                </a:cxn>
                <a:cxn ang="0">
                  <a:pos x="4" y="68"/>
                </a:cxn>
                <a:cxn ang="0">
                  <a:pos x="4" y="44"/>
                </a:cxn>
                <a:cxn ang="0">
                  <a:pos x="0" y="28"/>
                </a:cxn>
                <a:cxn ang="0">
                  <a:pos x="4" y="12"/>
                </a:cxn>
                <a:cxn ang="0">
                  <a:pos x="4" y="0"/>
                </a:cxn>
                <a:cxn ang="0">
                  <a:pos x="20" y="0"/>
                </a:cxn>
                <a:cxn ang="0">
                  <a:pos x="32" y="4"/>
                </a:cxn>
                <a:cxn ang="0">
                  <a:pos x="44" y="8"/>
                </a:cxn>
                <a:cxn ang="0">
                  <a:pos x="59" y="12"/>
                </a:cxn>
                <a:cxn ang="0">
                  <a:pos x="75" y="12"/>
                </a:cxn>
                <a:cxn ang="0">
                  <a:pos x="79" y="8"/>
                </a:cxn>
                <a:cxn ang="0">
                  <a:pos x="83" y="4"/>
                </a:cxn>
                <a:cxn ang="0">
                  <a:pos x="91" y="4"/>
                </a:cxn>
                <a:cxn ang="0">
                  <a:pos x="95" y="0"/>
                </a:cxn>
                <a:cxn ang="0">
                  <a:pos x="107" y="4"/>
                </a:cxn>
                <a:cxn ang="0">
                  <a:pos x="107" y="4"/>
                </a:cxn>
                <a:cxn ang="0">
                  <a:pos x="111" y="12"/>
                </a:cxn>
              </a:cxnLst>
              <a:rect l="0" t="0" r="r" b="b"/>
              <a:pathLst>
                <a:path w="183" h="184">
                  <a:moveTo>
                    <a:pt x="111" y="8"/>
                  </a:moveTo>
                  <a:lnTo>
                    <a:pt x="115" y="8"/>
                  </a:lnTo>
                  <a:lnTo>
                    <a:pt x="111" y="8"/>
                  </a:lnTo>
                  <a:lnTo>
                    <a:pt x="115" y="8"/>
                  </a:lnTo>
                  <a:lnTo>
                    <a:pt x="119" y="12"/>
                  </a:lnTo>
                  <a:lnTo>
                    <a:pt x="123" y="8"/>
                  </a:lnTo>
                  <a:lnTo>
                    <a:pt x="127" y="8"/>
                  </a:lnTo>
                  <a:lnTo>
                    <a:pt x="127" y="12"/>
                  </a:lnTo>
                  <a:lnTo>
                    <a:pt x="127" y="8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43" y="4"/>
                  </a:lnTo>
                  <a:lnTo>
                    <a:pt x="143" y="8"/>
                  </a:lnTo>
                  <a:lnTo>
                    <a:pt x="147" y="16"/>
                  </a:lnTo>
                  <a:lnTo>
                    <a:pt x="147" y="20"/>
                  </a:lnTo>
                  <a:lnTo>
                    <a:pt x="147" y="24"/>
                  </a:lnTo>
                  <a:lnTo>
                    <a:pt x="151" y="28"/>
                  </a:lnTo>
                  <a:lnTo>
                    <a:pt x="151" y="32"/>
                  </a:lnTo>
                  <a:lnTo>
                    <a:pt x="151" y="36"/>
                  </a:lnTo>
                  <a:lnTo>
                    <a:pt x="151" y="40"/>
                  </a:lnTo>
                  <a:lnTo>
                    <a:pt x="151" y="44"/>
                  </a:lnTo>
                  <a:lnTo>
                    <a:pt x="151" y="48"/>
                  </a:lnTo>
                  <a:lnTo>
                    <a:pt x="151" y="52"/>
                  </a:lnTo>
                  <a:lnTo>
                    <a:pt x="147" y="56"/>
                  </a:lnTo>
                  <a:lnTo>
                    <a:pt x="147" y="60"/>
                  </a:lnTo>
                  <a:lnTo>
                    <a:pt x="147" y="64"/>
                  </a:lnTo>
                  <a:lnTo>
                    <a:pt x="147" y="68"/>
                  </a:lnTo>
                  <a:lnTo>
                    <a:pt x="147" y="72"/>
                  </a:lnTo>
                  <a:lnTo>
                    <a:pt x="143" y="72"/>
                  </a:lnTo>
                  <a:lnTo>
                    <a:pt x="143" y="76"/>
                  </a:lnTo>
                  <a:lnTo>
                    <a:pt x="139" y="72"/>
                  </a:lnTo>
                  <a:lnTo>
                    <a:pt x="135" y="72"/>
                  </a:lnTo>
                  <a:lnTo>
                    <a:pt x="135" y="68"/>
                  </a:lnTo>
                  <a:lnTo>
                    <a:pt x="135" y="64"/>
                  </a:lnTo>
                  <a:lnTo>
                    <a:pt x="131" y="64"/>
                  </a:lnTo>
                  <a:lnTo>
                    <a:pt x="127" y="60"/>
                  </a:lnTo>
                  <a:lnTo>
                    <a:pt x="127" y="56"/>
                  </a:lnTo>
                  <a:lnTo>
                    <a:pt x="127" y="52"/>
                  </a:lnTo>
                  <a:lnTo>
                    <a:pt x="123" y="48"/>
                  </a:lnTo>
                  <a:lnTo>
                    <a:pt x="119" y="44"/>
                  </a:lnTo>
                  <a:lnTo>
                    <a:pt x="119" y="40"/>
                  </a:lnTo>
                  <a:lnTo>
                    <a:pt x="119" y="36"/>
                  </a:lnTo>
                  <a:lnTo>
                    <a:pt x="119" y="32"/>
                  </a:lnTo>
                  <a:lnTo>
                    <a:pt x="115" y="32"/>
                  </a:lnTo>
                  <a:lnTo>
                    <a:pt x="115" y="36"/>
                  </a:lnTo>
                  <a:lnTo>
                    <a:pt x="115" y="40"/>
                  </a:lnTo>
                  <a:lnTo>
                    <a:pt x="119" y="44"/>
                  </a:lnTo>
                  <a:lnTo>
                    <a:pt x="119" y="48"/>
                  </a:lnTo>
                  <a:lnTo>
                    <a:pt x="119" y="52"/>
                  </a:lnTo>
                  <a:lnTo>
                    <a:pt x="119" y="56"/>
                  </a:lnTo>
                  <a:lnTo>
                    <a:pt x="123" y="56"/>
                  </a:lnTo>
                  <a:lnTo>
                    <a:pt x="123" y="60"/>
                  </a:lnTo>
                  <a:lnTo>
                    <a:pt x="127" y="64"/>
                  </a:lnTo>
                  <a:lnTo>
                    <a:pt x="127" y="68"/>
                  </a:lnTo>
                  <a:lnTo>
                    <a:pt x="131" y="68"/>
                  </a:lnTo>
                  <a:lnTo>
                    <a:pt x="131" y="72"/>
                  </a:lnTo>
                  <a:lnTo>
                    <a:pt x="131" y="76"/>
                  </a:lnTo>
                  <a:lnTo>
                    <a:pt x="131" y="72"/>
                  </a:lnTo>
                  <a:lnTo>
                    <a:pt x="131" y="76"/>
                  </a:lnTo>
                  <a:lnTo>
                    <a:pt x="131" y="80"/>
                  </a:lnTo>
                  <a:lnTo>
                    <a:pt x="135" y="80"/>
                  </a:lnTo>
                  <a:lnTo>
                    <a:pt x="135" y="84"/>
                  </a:lnTo>
                  <a:lnTo>
                    <a:pt x="135" y="88"/>
                  </a:lnTo>
                  <a:lnTo>
                    <a:pt x="139" y="92"/>
                  </a:lnTo>
                  <a:lnTo>
                    <a:pt x="139" y="96"/>
                  </a:lnTo>
                  <a:lnTo>
                    <a:pt x="139" y="100"/>
                  </a:lnTo>
                  <a:lnTo>
                    <a:pt x="143" y="104"/>
                  </a:lnTo>
                  <a:lnTo>
                    <a:pt x="143" y="108"/>
                  </a:lnTo>
                  <a:lnTo>
                    <a:pt x="147" y="112"/>
                  </a:lnTo>
                  <a:lnTo>
                    <a:pt x="147" y="116"/>
                  </a:lnTo>
                  <a:lnTo>
                    <a:pt x="151" y="120"/>
                  </a:lnTo>
                  <a:lnTo>
                    <a:pt x="151" y="124"/>
                  </a:lnTo>
                  <a:lnTo>
                    <a:pt x="151" y="128"/>
                  </a:lnTo>
                  <a:lnTo>
                    <a:pt x="155" y="128"/>
                  </a:lnTo>
                  <a:lnTo>
                    <a:pt x="155" y="132"/>
                  </a:lnTo>
                  <a:lnTo>
                    <a:pt x="155" y="136"/>
                  </a:lnTo>
                  <a:lnTo>
                    <a:pt x="159" y="140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63" y="148"/>
                  </a:lnTo>
                  <a:lnTo>
                    <a:pt x="167" y="148"/>
                  </a:lnTo>
                  <a:lnTo>
                    <a:pt x="163" y="148"/>
                  </a:lnTo>
                  <a:lnTo>
                    <a:pt x="163" y="152"/>
                  </a:lnTo>
                  <a:lnTo>
                    <a:pt x="163" y="156"/>
                  </a:lnTo>
                  <a:lnTo>
                    <a:pt x="163" y="160"/>
                  </a:lnTo>
                  <a:lnTo>
                    <a:pt x="163" y="164"/>
                  </a:lnTo>
                  <a:lnTo>
                    <a:pt x="163" y="168"/>
                  </a:lnTo>
                  <a:lnTo>
                    <a:pt x="167" y="168"/>
                  </a:lnTo>
                  <a:lnTo>
                    <a:pt x="167" y="172"/>
                  </a:lnTo>
                  <a:lnTo>
                    <a:pt x="171" y="172"/>
                  </a:lnTo>
                  <a:lnTo>
                    <a:pt x="175" y="176"/>
                  </a:lnTo>
                  <a:lnTo>
                    <a:pt x="175" y="180"/>
                  </a:lnTo>
                  <a:lnTo>
                    <a:pt x="179" y="180"/>
                  </a:lnTo>
                  <a:lnTo>
                    <a:pt x="179" y="184"/>
                  </a:lnTo>
                  <a:lnTo>
                    <a:pt x="183" y="184"/>
                  </a:lnTo>
                  <a:lnTo>
                    <a:pt x="179" y="184"/>
                  </a:lnTo>
                  <a:lnTo>
                    <a:pt x="175" y="184"/>
                  </a:lnTo>
                  <a:lnTo>
                    <a:pt x="171" y="184"/>
                  </a:lnTo>
                  <a:lnTo>
                    <a:pt x="167" y="184"/>
                  </a:lnTo>
                  <a:lnTo>
                    <a:pt x="163" y="184"/>
                  </a:lnTo>
                  <a:lnTo>
                    <a:pt x="159" y="184"/>
                  </a:lnTo>
                  <a:lnTo>
                    <a:pt x="155" y="184"/>
                  </a:lnTo>
                  <a:lnTo>
                    <a:pt x="151" y="184"/>
                  </a:lnTo>
                  <a:lnTo>
                    <a:pt x="143" y="184"/>
                  </a:lnTo>
                  <a:lnTo>
                    <a:pt x="139" y="184"/>
                  </a:lnTo>
                  <a:lnTo>
                    <a:pt x="135" y="184"/>
                  </a:lnTo>
                  <a:lnTo>
                    <a:pt x="131" y="184"/>
                  </a:lnTo>
                  <a:lnTo>
                    <a:pt x="127" y="184"/>
                  </a:lnTo>
                  <a:lnTo>
                    <a:pt x="119" y="184"/>
                  </a:lnTo>
                  <a:lnTo>
                    <a:pt x="115" y="184"/>
                  </a:lnTo>
                  <a:lnTo>
                    <a:pt x="107" y="184"/>
                  </a:lnTo>
                  <a:lnTo>
                    <a:pt x="103" y="184"/>
                  </a:lnTo>
                  <a:lnTo>
                    <a:pt x="99" y="184"/>
                  </a:lnTo>
                  <a:lnTo>
                    <a:pt x="103" y="184"/>
                  </a:lnTo>
                  <a:lnTo>
                    <a:pt x="99" y="180"/>
                  </a:lnTo>
                  <a:lnTo>
                    <a:pt x="99" y="184"/>
                  </a:lnTo>
                  <a:lnTo>
                    <a:pt x="95" y="184"/>
                  </a:lnTo>
                  <a:lnTo>
                    <a:pt x="91" y="184"/>
                  </a:lnTo>
                  <a:lnTo>
                    <a:pt x="87" y="184"/>
                  </a:lnTo>
                  <a:lnTo>
                    <a:pt x="83" y="184"/>
                  </a:lnTo>
                  <a:lnTo>
                    <a:pt x="79" y="184"/>
                  </a:lnTo>
                  <a:lnTo>
                    <a:pt x="71" y="184"/>
                  </a:lnTo>
                  <a:lnTo>
                    <a:pt x="67" y="184"/>
                  </a:lnTo>
                  <a:lnTo>
                    <a:pt x="63" y="184"/>
                  </a:lnTo>
                  <a:lnTo>
                    <a:pt x="59" y="184"/>
                  </a:lnTo>
                  <a:lnTo>
                    <a:pt x="51" y="184"/>
                  </a:lnTo>
                  <a:lnTo>
                    <a:pt x="44" y="184"/>
                  </a:lnTo>
                  <a:lnTo>
                    <a:pt x="40" y="184"/>
                  </a:lnTo>
                  <a:lnTo>
                    <a:pt x="36" y="184"/>
                  </a:lnTo>
                  <a:lnTo>
                    <a:pt x="32" y="184"/>
                  </a:lnTo>
                  <a:lnTo>
                    <a:pt x="28" y="184"/>
                  </a:lnTo>
                  <a:lnTo>
                    <a:pt x="24" y="184"/>
                  </a:lnTo>
                  <a:lnTo>
                    <a:pt x="16" y="184"/>
                  </a:lnTo>
                  <a:lnTo>
                    <a:pt x="8" y="184"/>
                  </a:lnTo>
                  <a:lnTo>
                    <a:pt x="4" y="184"/>
                  </a:lnTo>
                  <a:lnTo>
                    <a:pt x="4" y="180"/>
                  </a:lnTo>
                  <a:lnTo>
                    <a:pt x="4" y="156"/>
                  </a:lnTo>
                  <a:lnTo>
                    <a:pt x="4" y="148"/>
                  </a:lnTo>
                  <a:lnTo>
                    <a:pt x="4" y="140"/>
                  </a:lnTo>
                  <a:lnTo>
                    <a:pt x="4" y="132"/>
                  </a:lnTo>
                  <a:lnTo>
                    <a:pt x="4" y="128"/>
                  </a:lnTo>
                  <a:lnTo>
                    <a:pt x="4" y="120"/>
                  </a:lnTo>
                  <a:lnTo>
                    <a:pt x="4" y="108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4" y="92"/>
                  </a:lnTo>
                  <a:lnTo>
                    <a:pt x="4" y="88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1" y="12"/>
                  </a:lnTo>
                  <a:lnTo>
                    <a:pt x="55" y="12"/>
                  </a:lnTo>
                  <a:lnTo>
                    <a:pt x="59" y="12"/>
                  </a:lnTo>
                  <a:lnTo>
                    <a:pt x="63" y="16"/>
                  </a:lnTo>
                  <a:lnTo>
                    <a:pt x="67" y="16"/>
                  </a:lnTo>
                  <a:lnTo>
                    <a:pt x="71" y="12"/>
                  </a:lnTo>
                  <a:lnTo>
                    <a:pt x="75" y="12"/>
                  </a:lnTo>
                  <a:lnTo>
                    <a:pt x="75" y="8"/>
                  </a:lnTo>
                  <a:lnTo>
                    <a:pt x="79" y="8"/>
                  </a:lnTo>
                  <a:lnTo>
                    <a:pt x="79" y="4"/>
                  </a:lnTo>
                  <a:lnTo>
                    <a:pt x="79" y="8"/>
                  </a:lnTo>
                  <a:lnTo>
                    <a:pt x="83" y="8"/>
                  </a:lnTo>
                  <a:lnTo>
                    <a:pt x="83" y="4"/>
                  </a:lnTo>
                  <a:lnTo>
                    <a:pt x="83" y="0"/>
                  </a:lnTo>
                  <a:lnTo>
                    <a:pt x="83" y="4"/>
                  </a:lnTo>
                  <a:lnTo>
                    <a:pt x="87" y="4"/>
                  </a:lnTo>
                  <a:lnTo>
                    <a:pt x="87" y="0"/>
                  </a:lnTo>
                  <a:lnTo>
                    <a:pt x="91" y="0"/>
                  </a:lnTo>
                  <a:lnTo>
                    <a:pt x="91" y="4"/>
                  </a:lnTo>
                  <a:lnTo>
                    <a:pt x="87" y="4"/>
                  </a:lnTo>
                  <a:lnTo>
                    <a:pt x="91" y="4"/>
                  </a:lnTo>
                  <a:lnTo>
                    <a:pt x="95" y="4"/>
                  </a:lnTo>
                  <a:lnTo>
                    <a:pt x="95" y="0"/>
                  </a:lnTo>
                  <a:lnTo>
                    <a:pt x="99" y="0"/>
                  </a:lnTo>
                  <a:lnTo>
                    <a:pt x="99" y="4"/>
                  </a:lnTo>
                  <a:lnTo>
                    <a:pt x="103" y="4"/>
                  </a:lnTo>
                  <a:lnTo>
                    <a:pt x="107" y="4"/>
                  </a:lnTo>
                  <a:lnTo>
                    <a:pt x="107" y="0"/>
                  </a:lnTo>
                  <a:lnTo>
                    <a:pt x="107" y="4"/>
                  </a:lnTo>
                  <a:lnTo>
                    <a:pt x="111" y="4"/>
                  </a:lnTo>
                  <a:lnTo>
                    <a:pt x="107" y="4"/>
                  </a:lnTo>
                  <a:lnTo>
                    <a:pt x="107" y="0"/>
                  </a:lnTo>
                  <a:lnTo>
                    <a:pt x="107" y="8"/>
                  </a:lnTo>
                  <a:lnTo>
                    <a:pt x="111" y="8"/>
                  </a:lnTo>
                  <a:lnTo>
                    <a:pt x="111" y="12"/>
                  </a:lnTo>
                  <a:lnTo>
                    <a:pt x="111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6" name="Freeform 133"/>
            <p:cNvSpPr>
              <a:spLocks noEditPoints="1"/>
            </p:cNvSpPr>
            <p:nvPr>
              <p:custDataLst>
                <p:tags r:id="rId329"/>
              </p:custDataLst>
            </p:nvPr>
          </p:nvSpPr>
          <p:spPr bwMode="gray">
            <a:xfrm>
              <a:off x="4564410" y="4492140"/>
              <a:ext cx="65255" cy="77119"/>
            </a:xfrm>
            <a:custGeom>
              <a:avLst/>
              <a:gdLst/>
              <a:ahLst/>
              <a:cxnLst>
                <a:cxn ang="0">
                  <a:pos x="28" y="52"/>
                </a:cxn>
                <a:cxn ang="0">
                  <a:pos x="28" y="52"/>
                </a:cxn>
                <a:cxn ang="0">
                  <a:pos x="24" y="52"/>
                </a:cxn>
                <a:cxn ang="0">
                  <a:pos x="24" y="52"/>
                </a:cxn>
                <a:cxn ang="0">
                  <a:pos x="24" y="52"/>
                </a:cxn>
                <a:cxn ang="0">
                  <a:pos x="20" y="52"/>
                </a:cxn>
                <a:cxn ang="0">
                  <a:pos x="20" y="52"/>
                </a:cxn>
                <a:cxn ang="0">
                  <a:pos x="20" y="52"/>
                </a:cxn>
                <a:cxn ang="0">
                  <a:pos x="20" y="48"/>
                </a:cxn>
                <a:cxn ang="0">
                  <a:pos x="20" y="52"/>
                </a:cxn>
                <a:cxn ang="0">
                  <a:pos x="16" y="48"/>
                </a:cxn>
                <a:cxn ang="0">
                  <a:pos x="16" y="48"/>
                </a:cxn>
                <a:cxn ang="0">
                  <a:pos x="16" y="48"/>
                </a:cxn>
                <a:cxn ang="0">
                  <a:pos x="16" y="48"/>
                </a:cxn>
                <a:cxn ang="0">
                  <a:pos x="16" y="44"/>
                </a:cxn>
                <a:cxn ang="0">
                  <a:pos x="20" y="40"/>
                </a:cxn>
                <a:cxn ang="0">
                  <a:pos x="16" y="40"/>
                </a:cxn>
                <a:cxn ang="0">
                  <a:pos x="20" y="40"/>
                </a:cxn>
                <a:cxn ang="0">
                  <a:pos x="20" y="36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20" y="28"/>
                </a:cxn>
                <a:cxn ang="0">
                  <a:pos x="24" y="28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8" y="32"/>
                </a:cxn>
                <a:cxn ang="0">
                  <a:pos x="32" y="32"/>
                </a:cxn>
                <a:cxn ang="0">
                  <a:pos x="32" y="32"/>
                </a:cxn>
                <a:cxn ang="0">
                  <a:pos x="32" y="32"/>
                </a:cxn>
                <a:cxn ang="0">
                  <a:pos x="40" y="32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4" y="52"/>
                </a:cxn>
                <a:cxn ang="0">
                  <a:pos x="40" y="52"/>
                </a:cxn>
                <a:cxn ang="0">
                  <a:pos x="36" y="52"/>
                </a:cxn>
                <a:cxn ang="0">
                  <a:pos x="32" y="52"/>
                </a:cxn>
                <a:cxn ang="0">
                  <a:pos x="8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</a:cxnLst>
              <a:rect l="0" t="0" r="r" b="b"/>
              <a:pathLst>
                <a:path w="44" h="52">
                  <a:moveTo>
                    <a:pt x="32" y="52"/>
                  </a:move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close/>
                  <a:moveTo>
                    <a:pt x="8" y="4"/>
                  </a:moveTo>
                  <a:lnTo>
                    <a:pt x="8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7" name="Freeform 134"/>
            <p:cNvSpPr>
              <a:spLocks noEditPoints="1"/>
            </p:cNvSpPr>
            <p:nvPr>
              <p:custDataLst>
                <p:tags r:id="rId330"/>
              </p:custDataLst>
            </p:nvPr>
          </p:nvSpPr>
          <p:spPr bwMode="gray">
            <a:xfrm>
              <a:off x="5191746" y="4100611"/>
              <a:ext cx="154239" cy="160171"/>
            </a:xfrm>
            <a:custGeom>
              <a:avLst/>
              <a:gdLst/>
              <a:ahLst/>
              <a:cxnLst>
                <a:cxn ang="0">
                  <a:pos x="44" y="36"/>
                </a:cxn>
                <a:cxn ang="0">
                  <a:pos x="48" y="48"/>
                </a:cxn>
                <a:cxn ang="0">
                  <a:pos x="48" y="48"/>
                </a:cxn>
                <a:cxn ang="0">
                  <a:pos x="52" y="56"/>
                </a:cxn>
                <a:cxn ang="0">
                  <a:pos x="52" y="52"/>
                </a:cxn>
                <a:cxn ang="0">
                  <a:pos x="52" y="48"/>
                </a:cxn>
                <a:cxn ang="0">
                  <a:pos x="56" y="56"/>
                </a:cxn>
                <a:cxn ang="0">
                  <a:pos x="60" y="56"/>
                </a:cxn>
                <a:cxn ang="0">
                  <a:pos x="68" y="64"/>
                </a:cxn>
                <a:cxn ang="0">
                  <a:pos x="76" y="72"/>
                </a:cxn>
                <a:cxn ang="0">
                  <a:pos x="80" y="76"/>
                </a:cxn>
                <a:cxn ang="0">
                  <a:pos x="88" y="80"/>
                </a:cxn>
                <a:cxn ang="0">
                  <a:pos x="88" y="84"/>
                </a:cxn>
                <a:cxn ang="0">
                  <a:pos x="92" y="88"/>
                </a:cxn>
                <a:cxn ang="0">
                  <a:pos x="96" y="92"/>
                </a:cxn>
                <a:cxn ang="0">
                  <a:pos x="100" y="100"/>
                </a:cxn>
                <a:cxn ang="0">
                  <a:pos x="104" y="100"/>
                </a:cxn>
                <a:cxn ang="0">
                  <a:pos x="96" y="108"/>
                </a:cxn>
                <a:cxn ang="0">
                  <a:pos x="92" y="104"/>
                </a:cxn>
                <a:cxn ang="0">
                  <a:pos x="92" y="104"/>
                </a:cxn>
                <a:cxn ang="0">
                  <a:pos x="88" y="100"/>
                </a:cxn>
                <a:cxn ang="0">
                  <a:pos x="84" y="96"/>
                </a:cxn>
                <a:cxn ang="0">
                  <a:pos x="84" y="92"/>
                </a:cxn>
                <a:cxn ang="0">
                  <a:pos x="80" y="88"/>
                </a:cxn>
                <a:cxn ang="0">
                  <a:pos x="72" y="84"/>
                </a:cxn>
                <a:cxn ang="0">
                  <a:pos x="72" y="80"/>
                </a:cxn>
                <a:cxn ang="0">
                  <a:pos x="68" y="72"/>
                </a:cxn>
                <a:cxn ang="0">
                  <a:pos x="64" y="72"/>
                </a:cxn>
                <a:cxn ang="0">
                  <a:pos x="60" y="68"/>
                </a:cxn>
                <a:cxn ang="0">
                  <a:pos x="56" y="68"/>
                </a:cxn>
                <a:cxn ang="0">
                  <a:pos x="52" y="68"/>
                </a:cxn>
                <a:cxn ang="0">
                  <a:pos x="44" y="68"/>
                </a:cxn>
                <a:cxn ang="0">
                  <a:pos x="40" y="64"/>
                </a:cxn>
                <a:cxn ang="0">
                  <a:pos x="36" y="68"/>
                </a:cxn>
                <a:cxn ang="0">
                  <a:pos x="28" y="64"/>
                </a:cxn>
                <a:cxn ang="0">
                  <a:pos x="24" y="60"/>
                </a:cxn>
                <a:cxn ang="0">
                  <a:pos x="20" y="76"/>
                </a:cxn>
                <a:cxn ang="0">
                  <a:pos x="12" y="68"/>
                </a:cxn>
                <a:cxn ang="0">
                  <a:pos x="12" y="72"/>
                </a:cxn>
                <a:cxn ang="0">
                  <a:pos x="4" y="72"/>
                </a:cxn>
                <a:cxn ang="0">
                  <a:pos x="0" y="56"/>
                </a:cxn>
                <a:cxn ang="0">
                  <a:pos x="4" y="44"/>
                </a:cxn>
                <a:cxn ang="0">
                  <a:pos x="8" y="36"/>
                </a:cxn>
                <a:cxn ang="0">
                  <a:pos x="8" y="28"/>
                </a:cxn>
                <a:cxn ang="0">
                  <a:pos x="8" y="20"/>
                </a:cxn>
                <a:cxn ang="0">
                  <a:pos x="16" y="20"/>
                </a:cxn>
                <a:cxn ang="0">
                  <a:pos x="16" y="16"/>
                </a:cxn>
                <a:cxn ang="0">
                  <a:pos x="24" y="12"/>
                </a:cxn>
                <a:cxn ang="0">
                  <a:pos x="32" y="8"/>
                </a:cxn>
                <a:cxn ang="0">
                  <a:pos x="36" y="4"/>
                </a:cxn>
                <a:cxn ang="0">
                  <a:pos x="40" y="16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56" y="44"/>
                </a:cxn>
                <a:cxn ang="0">
                  <a:pos x="60" y="44"/>
                </a:cxn>
                <a:cxn ang="0">
                  <a:pos x="60" y="44"/>
                </a:cxn>
                <a:cxn ang="0">
                  <a:pos x="60" y="48"/>
                </a:cxn>
                <a:cxn ang="0">
                  <a:pos x="56" y="48"/>
                </a:cxn>
                <a:cxn ang="0">
                  <a:pos x="56" y="44"/>
                </a:cxn>
                <a:cxn ang="0">
                  <a:pos x="56" y="44"/>
                </a:cxn>
                <a:cxn ang="0">
                  <a:pos x="56" y="44"/>
                </a:cxn>
              </a:cxnLst>
              <a:rect l="0" t="0" r="r" b="b"/>
              <a:pathLst>
                <a:path w="104" h="108">
                  <a:moveTo>
                    <a:pt x="44" y="32"/>
                  </a:move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72" y="64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72"/>
                  </a:lnTo>
                  <a:lnTo>
                    <a:pt x="80" y="72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8" y="80"/>
                  </a:lnTo>
                  <a:lnTo>
                    <a:pt x="88" y="80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92" y="84"/>
                  </a:lnTo>
                  <a:lnTo>
                    <a:pt x="92" y="88"/>
                  </a:lnTo>
                  <a:lnTo>
                    <a:pt x="92" y="88"/>
                  </a:lnTo>
                  <a:lnTo>
                    <a:pt x="92" y="88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0" y="100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88" y="104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0" y="92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76" y="88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4"/>
                  </a:lnTo>
                  <a:lnTo>
                    <a:pt x="20" y="68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close/>
                  <a:moveTo>
                    <a:pt x="56" y="40"/>
                  </a:moveTo>
                  <a:lnTo>
                    <a:pt x="56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56" y="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8" name="Freeform 135"/>
            <p:cNvSpPr>
              <a:spLocks/>
            </p:cNvSpPr>
            <p:nvPr>
              <p:custDataLst>
                <p:tags r:id="rId331"/>
              </p:custDataLst>
            </p:nvPr>
          </p:nvSpPr>
          <p:spPr bwMode="gray">
            <a:xfrm>
              <a:off x="5114627" y="4189595"/>
              <a:ext cx="338139" cy="314410"/>
            </a:xfrm>
            <a:custGeom>
              <a:avLst/>
              <a:gdLst/>
              <a:ahLst/>
              <a:cxnLst>
                <a:cxn ang="0">
                  <a:pos x="184" y="184"/>
                </a:cxn>
                <a:cxn ang="0">
                  <a:pos x="164" y="184"/>
                </a:cxn>
                <a:cxn ang="0">
                  <a:pos x="152" y="188"/>
                </a:cxn>
                <a:cxn ang="0">
                  <a:pos x="144" y="196"/>
                </a:cxn>
                <a:cxn ang="0">
                  <a:pos x="132" y="200"/>
                </a:cxn>
                <a:cxn ang="0">
                  <a:pos x="116" y="196"/>
                </a:cxn>
                <a:cxn ang="0">
                  <a:pos x="104" y="208"/>
                </a:cxn>
                <a:cxn ang="0">
                  <a:pos x="96" y="208"/>
                </a:cxn>
                <a:cxn ang="0">
                  <a:pos x="84" y="208"/>
                </a:cxn>
                <a:cxn ang="0">
                  <a:pos x="64" y="196"/>
                </a:cxn>
                <a:cxn ang="0">
                  <a:pos x="52" y="192"/>
                </a:cxn>
                <a:cxn ang="0">
                  <a:pos x="44" y="180"/>
                </a:cxn>
                <a:cxn ang="0">
                  <a:pos x="36" y="172"/>
                </a:cxn>
                <a:cxn ang="0">
                  <a:pos x="32" y="160"/>
                </a:cxn>
                <a:cxn ang="0">
                  <a:pos x="24" y="152"/>
                </a:cxn>
                <a:cxn ang="0">
                  <a:pos x="16" y="140"/>
                </a:cxn>
                <a:cxn ang="0">
                  <a:pos x="4" y="132"/>
                </a:cxn>
                <a:cxn ang="0">
                  <a:pos x="4" y="120"/>
                </a:cxn>
                <a:cxn ang="0">
                  <a:pos x="16" y="116"/>
                </a:cxn>
                <a:cxn ang="0">
                  <a:pos x="20" y="96"/>
                </a:cxn>
                <a:cxn ang="0">
                  <a:pos x="20" y="80"/>
                </a:cxn>
                <a:cxn ang="0">
                  <a:pos x="32" y="76"/>
                </a:cxn>
                <a:cxn ang="0">
                  <a:pos x="32" y="60"/>
                </a:cxn>
                <a:cxn ang="0">
                  <a:pos x="40" y="44"/>
                </a:cxn>
                <a:cxn ang="0">
                  <a:pos x="48" y="36"/>
                </a:cxn>
                <a:cxn ang="0">
                  <a:pos x="52" y="16"/>
                </a:cxn>
                <a:cxn ang="0">
                  <a:pos x="64" y="8"/>
                </a:cxn>
                <a:cxn ang="0">
                  <a:pos x="72" y="16"/>
                </a:cxn>
                <a:cxn ang="0">
                  <a:pos x="76" y="4"/>
                </a:cxn>
                <a:cxn ang="0">
                  <a:pos x="88" y="8"/>
                </a:cxn>
                <a:cxn ang="0">
                  <a:pos x="96" y="8"/>
                </a:cxn>
                <a:cxn ang="0">
                  <a:pos x="104" y="8"/>
                </a:cxn>
                <a:cxn ang="0">
                  <a:pos x="116" y="12"/>
                </a:cxn>
                <a:cxn ang="0">
                  <a:pos x="124" y="20"/>
                </a:cxn>
                <a:cxn ang="0">
                  <a:pos x="132" y="32"/>
                </a:cxn>
                <a:cxn ang="0">
                  <a:pos x="140" y="40"/>
                </a:cxn>
                <a:cxn ang="0">
                  <a:pos x="140" y="48"/>
                </a:cxn>
                <a:cxn ang="0">
                  <a:pos x="132" y="64"/>
                </a:cxn>
                <a:cxn ang="0">
                  <a:pos x="140" y="72"/>
                </a:cxn>
                <a:cxn ang="0">
                  <a:pos x="152" y="76"/>
                </a:cxn>
                <a:cxn ang="0">
                  <a:pos x="152" y="88"/>
                </a:cxn>
                <a:cxn ang="0">
                  <a:pos x="160" y="100"/>
                </a:cxn>
                <a:cxn ang="0">
                  <a:pos x="176" y="112"/>
                </a:cxn>
                <a:cxn ang="0">
                  <a:pos x="200" y="120"/>
                </a:cxn>
                <a:cxn ang="0">
                  <a:pos x="212" y="128"/>
                </a:cxn>
                <a:cxn ang="0">
                  <a:pos x="224" y="132"/>
                </a:cxn>
                <a:cxn ang="0">
                  <a:pos x="200" y="160"/>
                </a:cxn>
                <a:cxn ang="0">
                  <a:pos x="192" y="172"/>
                </a:cxn>
              </a:cxnLst>
              <a:rect l="0" t="0" r="r" b="b"/>
              <a:pathLst>
                <a:path w="228" h="212">
                  <a:moveTo>
                    <a:pt x="192" y="172"/>
                  </a:moveTo>
                  <a:lnTo>
                    <a:pt x="188" y="176"/>
                  </a:lnTo>
                  <a:lnTo>
                    <a:pt x="184" y="180"/>
                  </a:lnTo>
                  <a:lnTo>
                    <a:pt x="184" y="184"/>
                  </a:lnTo>
                  <a:lnTo>
                    <a:pt x="176" y="184"/>
                  </a:lnTo>
                  <a:lnTo>
                    <a:pt x="172" y="184"/>
                  </a:lnTo>
                  <a:lnTo>
                    <a:pt x="168" y="184"/>
                  </a:lnTo>
                  <a:lnTo>
                    <a:pt x="164" y="184"/>
                  </a:lnTo>
                  <a:lnTo>
                    <a:pt x="160" y="184"/>
                  </a:lnTo>
                  <a:lnTo>
                    <a:pt x="160" y="188"/>
                  </a:lnTo>
                  <a:lnTo>
                    <a:pt x="156" y="188"/>
                  </a:lnTo>
                  <a:lnTo>
                    <a:pt x="152" y="188"/>
                  </a:lnTo>
                  <a:lnTo>
                    <a:pt x="152" y="192"/>
                  </a:lnTo>
                  <a:lnTo>
                    <a:pt x="152" y="196"/>
                  </a:lnTo>
                  <a:lnTo>
                    <a:pt x="148" y="196"/>
                  </a:lnTo>
                  <a:lnTo>
                    <a:pt x="144" y="196"/>
                  </a:lnTo>
                  <a:lnTo>
                    <a:pt x="140" y="196"/>
                  </a:lnTo>
                  <a:lnTo>
                    <a:pt x="140" y="200"/>
                  </a:lnTo>
                  <a:lnTo>
                    <a:pt x="136" y="200"/>
                  </a:lnTo>
                  <a:lnTo>
                    <a:pt x="132" y="200"/>
                  </a:lnTo>
                  <a:lnTo>
                    <a:pt x="128" y="200"/>
                  </a:lnTo>
                  <a:lnTo>
                    <a:pt x="124" y="200"/>
                  </a:lnTo>
                  <a:lnTo>
                    <a:pt x="120" y="196"/>
                  </a:lnTo>
                  <a:lnTo>
                    <a:pt x="116" y="196"/>
                  </a:lnTo>
                  <a:lnTo>
                    <a:pt x="112" y="200"/>
                  </a:lnTo>
                  <a:lnTo>
                    <a:pt x="108" y="200"/>
                  </a:lnTo>
                  <a:lnTo>
                    <a:pt x="104" y="204"/>
                  </a:lnTo>
                  <a:lnTo>
                    <a:pt x="104" y="208"/>
                  </a:lnTo>
                  <a:lnTo>
                    <a:pt x="100" y="208"/>
                  </a:lnTo>
                  <a:lnTo>
                    <a:pt x="100" y="212"/>
                  </a:lnTo>
                  <a:lnTo>
                    <a:pt x="96" y="212"/>
                  </a:lnTo>
                  <a:lnTo>
                    <a:pt x="96" y="208"/>
                  </a:lnTo>
                  <a:lnTo>
                    <a:pt x="96" y="212"/>
                  </a:lnTo>
                  <a:lnTo>
                    <a:pt x="92" y="208"/>
                  </a:lnTo>
                  <a:lnTo>
                    <a:pt x="88" y="208"/>
                  </a:lnTo>
                  <a:lnTo>
                    <a:pt x="84" y="208"/>
                  </a:lnTo>
                  <a:lnTo>
                    <a:pt x="80" y="208"/>
                  </a:lnTo>
                  <a:lnTo>
                    <a:pt x="76" y="208"/>
                  </a:lnTo>
                  <a:lnTo>
                    <a:pt x="76" y="204"/>
                  </a:lnTo>
                  <a:lnTo>
                    <a:pt x="64" y="196"/>
                  </a:lnTo>
                  <a:lnTo>
                    <a:pt x="64" y="192"/>
                  </a:lnTo>
                  <a:lnTo>
                    <a:pt x="60" y="192"/>
                  </a:lnTo>
                  <a:lnTo>
                    <a:pt x="56" y="192"/>
                  </a:lnTo>
                  <a:lnTo>
                    <a:pt x="52" y="192"/>
                  </a:lnTo>
                  <a:lnTo>
                    <a:pt x="48" y="192"/>
                  </a:lnTo>
                  <a:lnTo>
                    <a:pt x="44" y="192"/>
                  </a:lnTo>
                  <a:lnTo>
                    <a:pt x="44" y="188"/>
                  </a:lnTo>
                  <a:lnTo>
                    <a:pt x="44" y="180"/>
                  </a:lnTo>
                  <a:lnTo>
                    <a:pt x="44" y="176"/>
                  </a:lnTo>
                  <a:lnTo>
                    <a:pt x="40" y="176"/>
                  </a:lnTo>
                  <a:lnTo>
                    <a:pt x="36" y="176"/>
                  </a:lnTo>
                  <a:lnTo>
                    <a:pt x="36" y="172"/>
                  </a:lnTo>
                  <a:lnTo>
                    <a:pt x="32" y="172"/>
                  </a:lnTo>
                  <a:lnTo>
                    <a:pt x="32" y="168"/>
                  </a:lnTo>
                  <a:lnTo>
                    <a:pt x="32" y="164"/>
                  </a:lnTo>
                  <a:lnTo>
                    <a:pt x="32" y="160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8" y="152"/>
                  </a:lnTo>
                  <a:lnTo>
                    <a:pt x="24" y="152"/>
                  </a:lnTo>
                  <a:lnTo>
                    <a:pt x="24" y="148"/>
                  </a:lnTo>
                  <a:lnTo>
                    <a:pt x="20" y="148"/>
                  </a:lnTo>
                  <a:lnTo>
                    <a:pt x="20" y="144"/>
                  </a:lnTo>
                  <a:lnTo>
                    <a:pt x="16" y="140"/>
                  </a:lnTo>
                  <a:lnTo>
                    <a:pt x="16" y="136"/>
                  </a:lnTo>
                  <a:lnTo>
                    <a:pt x="12" y="132"/>
                  </a:lnTo>
                  <a:lnTo>
                    <a:pt x="8" y="132"/>
                  </a:lnTo>
                  <a:lnTo>
                    <a:pt x="4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4" y="124"/>
                  </a:lnTo>
                  <a:lnTo>
                    <a:pt x="4" y="120"/>
                  </a:lnTo>
                  <a:lnTo>
                    <a:pt x="8" y="120"/>
                  </a:lnTo>
                  <a:lnTo>
                    <a:pt x="12" y="120"/>
                  </a:lnTo>
                  <a:lnTo>
                    <a:pt x="16" y="120"/>
                  </a:lnTo>
                  <a:lnTo>
                    <a:pt x="16" y="116"/>
                  </a:lnTo>
                  <a:lnTo>
                    <a:pt x="20" y="112"/>
                  </a:lnTo>
                  <a:lnTo>
                    <a:pt x="20" y="108"/>
                  </a:lnTo>
                  <a:lnTo>
                    <a:pt x="16" y="100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8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40" y="44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36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8"/>
                  </a:lnTo>
                  <a:lnTo>
                    <a:pt x="76" y="4"/>
                  </a:lnTo>
                  <a:lnTo>
                    <a:pt x="76" y="0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8"/>
                  </a:lnTo>
                  <a:lnTo>
                    <a:pt x="100" y="8"/>
                  </a:lnTo>
                  <a:lnTo>
                    <a:pt x="100" y="4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8" y="8"/>
                  </a:lnTo>
                  <a:lnTo>
                    <a:pt x="112" y="8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4" y="20"/>
                  </a:lnTo>
                  <a:lnTo>
                    <a:pt x="124" y="24"/>
                  </a:lnTo>
                  <a:lnTo>
                    <a:pt x="128" y="28"/>
                  </a:lnTo>
                  <a:lnTo>
                    <a:pt x="132" y="28"/>
                  </a:lnTo>
                  <a:lnTo>
                    <a:pt x="132" y="32"/>
                  </a:lnTo>
                  <a:lnTo>
                    <a:pt x="136" y="32"/>
                  </a:lnTo>
                  <a:lnTo>
                    <a:pt x="136" y="36"/>
                  </a:lnTo>
                  <a:lnTo>
                    <a:pt x="140" y="36"/>
                  </a:lnTo>
                  <a:lnTo>
                    <a:pt x="140" y="40"/>
                  </a:lnTo>
                  <a:lnTo>
                    <a:pt x="140" y="44"/>
                  </a:lnTo>
                  <a:lnTo>
                    <a:pt x="144" y="44"/>
                  </a:lnTo>
                  <a:lnTo>
                    <a:pt x="144" y="48"/>
                  </a:lnTo>
                  <a:lnTo>
                    <a:pt x="140" y="48"/>
                  </a:lnTo>
                  <a:lnTo>
                    <a:pt x="140" y="52"/>
                  </a:lnTo>
                  <a:lnTo>
                    <a:pt x="136" y="56"/>
                  </a:lnTo>
                  <a:lnTo>
                    <a:pt x="136" y="60"/>
                  </a:lnTo>
                  <a:lnTo>
                    <a:pt x="132" y="64"/>
                  </a:lnTo>
                  <a:lnTo>
                    <a:pt x="136" y="64"/>
                  </a:lnTo>
                  <a:lnTo>
                    <a:pt x="136" y="68"/>
                  </a:lnTo>
                  <a:lnTo>
                    <a:pt x="136" y="72"/>
                  </a:lnTo>
                  <a:lnTo>
                    <a:pt x="140" y="72"/>
                  </a:lnTo>
                  <a:lnTo>
                    <a:pt x="144" y="72"/>
                  </a:lnTo>
                  <a:lnTo>
                    <a:pt x="148" y="72"/>
                  </a:lnTo>
                  <a:lnTo>
                    <a:pt x="152" y="72"/>
                  </a:lnTo>
                  <a:lnTo>
                    <a:pt x="152" y="76"/>
                  </a:lnTo>
                  <a:lnTo>
                    <a:pt x="148" y="76"/>
                  </a:lnTo>
                  <a:lnTo>
                    <a:pt x="148" y="80"/>
                  </a:lnTo>
                  <a:lnTo>
                    <a:pt x="148" y="84"/>
                  </a:lnTo>
                  <a:lnTo>
                    <a:pt x="152" y="88"/>
                  </a:lnTo>
                  <a:lnTo>
                    <a:pt x="152" y="92"/>
                  </a:lnTo>
                  <a:lnTo>
                    <a:pt x="156" y="92"/>
                  </a:lnTo>
                  <a:lnTo>
                    <a:pt x="156" y="96"/>
                  </a:lnTo>
                  <a:lnTo>
                    <a:pt x="160" y="100"/>
                  </a:lnTo>
                  <a:lnTo>
                    <a:pt x="160" y="104"/>
                  </a:lnTo>
                  <a:lnTo>
                    <a:pt x="164" y="104"/>
                  </a:lnTo>
                  <a:lnTo>
                    <a:pt x="168" y="108"/>
                  </a:lnTo>
                  <a:lnTo>
                    <a:pt x="176" y="112"/>
                  </a:lnTo>
                  <a:lnTo>
                    <a:pt x="184" y="116"/>
                  </a:lnTo>
                  <a:lnTo>
                    <a:pt x="188" y="116"/>
                  </a:lnTo>
                  <a:lnTo>
                    <a:pt x="192" y="120"/>
                  </a:lnTo>
                  <a:lnTo>
                    <a:pt x="200" y="120"/>
                  </a:lnTo>
                  <a:lnTo>
                    <a:pt x="204" y="124"/>
                  </a:lnTo>
                  <a:lnTo>
                    <a:pt x="208" y="124"/>
                  </a:lnTo>
                  <a:lnTo>
                    <a:pt x="212" y="124"/>
                  </a:lnTo>
                  <a:lnTo>
                    <a:pt x="212" y="128"/>
                  </a:lnTo>
                  <a:lnTo>
                    <a:pt x="216" y="128"/>
                  </a:lnTo>
                  <a:lnTo>
                    <a:pt x="224" y="128"/>
                  </a:lnTo>
                  <a:lnTo>
                    <a:pt x="228" y="128"/>
                  </a:lnTo>
                  <a:lnTo>
                    <a:pt x="224" y="132"/>
                  </a:lnTo>
                  <a:lnTo>
                    <a:pt x="220" y="136"/>
                  </a:lnTo>
                  <a:lnTo>
                    <a:pt x="212" y="144"/>
                  </a:lnTo>
                  <a:lnTo>
                    <a:pt x="208" y="152"/>
                  </a:lnTo>
                  <a:lnTo>
                    <a:pt x="200" y="160"/>
                  </a:lnTo>
                  <a:lnTo>
                    <a:pt x="200" y="164"/>
                  </a:lnTo>
                  <a:lnTo>
                    <a:pt x="196" y="164"/>
                  </a:lnTo>
                  <a:lnTo>
                    <a:pt x="192" y="168"/>
                  </a:lnTo>
                  <a:lnTo>
                    <a:pt x="192" y="17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9" name="Freeform 136"/>
            <p:cNvSpPr>
              <a:spLocks noEditPoints="1"/>
            </p:cNvSpPr>
            <p:nvPr>
              <p:custDataLst>
                <p:tags r:id="rId332"/>
              </p:custDataLst>
            </p:nvPr>
          </p:nvSpPr>
          <p:spPr bwMode="gray">
            <a:xfrm>
              <a:off x="4570343" y="4533666"/>
              <a:ext cx="130510" cy="164620"/>
            </a:xfrm>
            <a:custGeom>
              <a:avLst/>
              <a:gdLst/>
              <a:ahLst/>
              <a:cxnLst>
                <a:cxn ang="0">
                  <a:pos x="48" y="96"/>
                </a:cxn>
                <a:cxn ang="0">
                  <a:pos x="48" y="103"/>
                </a:cxn>
                <a:cxn ang="0">
                  <a:pos x="48" y="107"/>
                </a:cxn>
                <a:cxn ang="0">
                  <a:pos x="44" y="107"/>
                </a:cxn>
                <a:cxn ang="0">
                  <a:pos x="36" y="111"/>
                </a:cxn>
                <a:cxn ang="0">
                  <a:pos x="32" y="107"/>
                </a:cxn>
                <a:cxn ang="0">
                  <a:pos x="28" y="99"/>
                </a:cxn>
                <a:cxn ang="0">
                  <a:pos x="20" y="92"/>
                </a:cxn>
                <a:cxn ang="0">
                  <a:pos x="16" y="88"/>
                </a:cxn>
                <a:cxn ang="0">
                  <a:pos x="20" y="88"/>
                </a:cxn>
                <a:cxn ang="0">
                  <a:pos x="16" y="88"/>
                </a:cxn>
                <a:cxn ang="0">
                  <a:pos x="12" y="80"/>
                </a:cxn>
                <a:cxn ang="0">
                  <a:pos x="12" y="80"/>
                </a:cxn>
                <a:cxn ang="0">
                  <a:pos x="8" y="76"/>
                </a:cxn>
                <a:cxn ang="0">
                  <a:pos x="8" y="72"/>
                </a:cxn>
                <a:cxn ang="0">
                  <a:pos x="4" y="64"/>
                </a:cxn>
                <a:cxn ang="0">
                  <a:pos x="12" y="72"/>
                </a:cxn>
                <a:cxn ang="0">
                  <a:pos x="12" y="72"/>
                </a:cxn>
                <a:cxn ang="0">
                  <a:pos x="8" y="68"/>
                </a:cxn>
                <a:cxn ang="0">
                  <a:pos x="4" y="68"/>
                </a:cxn>
                <a:cxn ang="0">
                  <a:pos x="0" y="52"/>
                </a:cxn>
                <a:cxn ang="0">
                  <a:pos x="4" y="56"/>
                </a:cxn>
                <a:cxn ang="0">
                  <a:pos x="8" y="48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12" y="40"/>
                </a:cxn>
                <a:cxn ang="0">
                  <a:pos x="16" y="40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16" y="28"/>
                </a:cxn>
                <a:cxn ang="0">
                  <a:pos x="16" y="24"/>
                </a:cxn>
                <a:cxn ang="0">
                  <a:pos x="20" y="24"/>
                </a:cxn>
                <a:cxn ang="0">
                  <a:pos x="28" y="24"/>
                </a:cxn>
                <a:cxn ang="0">
                  <a:pos x="40" y="12"/>
                </a:cxn>
                <a:cxn ang="0">
                  <a:pos x="40" y="0"/>
                </a:cxn>
                <a:cxn ang="0">
                  <a:pos x="56" y="0"/>
                </a:cxn>
                <a:cxn ang="0">
                  <a:pos x="68" y="0"/>
                </a:cxn>
                <a:cxn ang="0">
                  <a:pos x="68" y="4"/>
                </a:cxn>
                <a:cxn ang="0">
                  <a:pos x="68" y="12"/>
                </a:cxn>
                <a:cxn ang="0">
                  <a:pos x="68" y="20"/>
                </a:cxn>
                <a:cxn ang="0">
                  <a:pos x="76" y="16"/>
                </a:cxn>
                <a:cxn ang="0">
                  <a:pos x="84" y="16"/>
                </a:cxn>
                <a:cxn ang="0">
                  <a:pos x="88" y="24"/>
                </a:cxn>
                <a:cxn ang="0">
                  <a:pos x="80" y="32"/>
                </a:cxn>
                <a:cxn ang="0">
                  <a:pos x="80" y="44"/>
                </a:cxn>
                <a:cxn ang="0">
                  <a:pos x="84" y="48"/>
                </a:cxn>
                <a:cxn ang="0">
                  <a:pos x="88" y="52"/>
                </a:cxn>
                <a:cxn ang="0">
                  <a:pos x="88" y="64"/>
                </a:cxn>
                <a:cxn ang="0">
                  <a:pos x="88" y="76"/>
                </a:cxn>
                <a:cxn ang="0">
                  <a:pos x="84" y="80"/>
                </a:cxn>
                <a:cxn ang="0">
                  <a:pos x="80" y="88"/>
                </a:cxn>
                <a:cxn ang="0">
                  <a:pos x="76" y="84"/>
                </a:cxn>
                <a:cxn ang="0">
                  <a:pos x="68" y="84"/>
                </a:cxn>
                <a:cxn ang="0">
                  <a:pos x="64" y="84"/>
                </a:cxn>
                <a:cxn ang="0">
                  <a:pos x="60" y="76"/>
                </a:cxn>
                <a:cxn ang="0">
                  <a:pos x="56" y="80"/>
                </a:cxn>
                <a:cxn ang="0">
                  <a:pos x="52" y="84"/>
                </a:cxn>
                <a:cxn ang="0">
                  <a:pos x="44" y="84"/>
                </a:cxn>
                <a:cxn ang="0">
                  <a:pos x="44" y="92"/>
                </a:cxn>
                <a:cxn ang="0">
                  <a:pos x="4" y="56"/>
                </a:cxn>
                <a:cxn ang="0">
                  <a:pos x="4" y="56"/>
                </a:cxn>
              </a:cxnLst>
              <a:rect l="0" t="0" r="r" b="b"/>
              <a:pathLst>
                <a:path w="88" h="111">
                  <a:moveTo>
                    <a:pt x="44" y="92"/>
                  </a:moveTo>
                  <a:lnTo>
                    <a:pt x="44" y="92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2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4" y="99"/>
                  </a:lnTo>
                  <a:lnTo>
                    <a:pt x="44" y="99"/>
                  </a:lnTo>
                  <a:lnTo>
                    <a:pt x="44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0" y="107"/>
                  </a:lnTo>
                  <a:lnTo>
                    <a:pt x="40" y="107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07"/>
                  </a:lnTo>
                  <a:lnTo>
                    <a:pt x="36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3"/>
                  </a:lnTo>
                  <a:lnTo>
                    <a:pt x="28" y="103"/>
                  </a:lnTo>
                  <a:lnTo>
                    <a:pt x="28" y="103"/>
                  </a:lnTo>
                  <a:lnTo>
                    <a:pt x="28" y="103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92"/>
                  </a:lnTo>
                  <a:lnTo>
                    <a:pt x="24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8" y="68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4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48" y="88"/>
                  </a:lnTo>
                  <a:lnTo>
                    <a:pt x="48" y="88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close/>
                  <a:moveTo>
                    <a:pt x="4" y="56"/>
                  </a:move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0" name="Freeform 137"/>
            <p:cNvSpPr>
              <a:spLocks/>
            </p:cNvSpPr>
            <p:nvPr>
              <p:custDataLst>
                <p:tags r:id="rId333"/>
              </p:custDataLst>
            </p:nvPr>
          </p:nvSpPr>
          <p:spPr bwMode="gray">
            <a:xfrm>
              <a:off x="4304874" y="4290443"/>
              <a:ext cx="100848" cy="177968"/>
            </a:xfrm>
            <a:custGeom>
              <a:avLst/>
              <a:gdLst/>
              <a:ahLst/>
              <a:cxnLst>
                <a:cxn ang="0">
                  <a:pos x="0" y="84"/>
                </a:cxn>
                <a:cxn ang="0">
                  <a:pos x="0" y="76"/>
                </a:cxn>
                <a:cxn ang="0">
                  <a:pos x="4" y="64"/>
                </a:cxn>
                <a:cxn ang="0">
                  <a:pos x="12" y="56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4" y="24"/>
                </a:cxn>
                <a:cxn ang="0">
                  <a:pos x="4" y="12"/>
                </a:cxn>
                <a:cxn ang="0">
                  <a:pos x="4" y="4"/>
                </a:cxn>
                <a:cxn ang="0">
                  <a:pos x="24" y="4"/>
                </a:cxn>
                <a:cxn ang="0">
                  <a:pos x="36" y="4"/>
                </a:cxn>
                <a:cxn ang="0">
                  <a:pos x="44" y="4"/>
                </a:cxn>
                <a:cxn ang="0">
                  <a:pos x="48" y="4"/>
                </a:cxn>
                <a:cxn ang="0">
                  <a:pos x="48" y="8"/>
                </a:cxn>
                <a:cxn ang="0">
                  <a:pos x="48" y="12"/>
                </a:cxn>
                <a:cxn ang="0">
                  <a:pos x="52" y="16"/>
                </a:cxn>
                <a:cxn ang="0">
                  <a:pos x="56" y="20"/>
                </a:cxn>
                <a:cxn ang="0">
                  <a:pos x="52" y="32"/>
                </a:cxn>
                <a:cxn ang="0">
                  <a:pos x="56" y="32"/>
                </a:cxn>
                <a:cxn ang="0">
                  <a:pos x="56" y="36"/>
                </a:cxn>
                <a:cxn ang="0">
                  <a:pos x="56" y="44"/>
                </a:cxn>
                <a:cxn ang="0">
                  <a:pos x="56" y="48"/>
                </a:cxn>
                <a:cxn ang="0">
                  <a:pos x="60" y="56"/>
                </a:cxn>
                <a:cxn ang="0">
                  <a:pos x="56" y="64"/>
                </a:cxn>
                <a:cxn ang="0">
                  <a:pos x="56" y="72"/>
                </a:cxn>
                <a:cxn ang="0">
                  <a:pos x="56" y="76"/>
                </a:cxn>
                <a:cxn ang="0">
                  <a:pos x="56" y="84"/>
                </a:cxn>
                <a:cxn ang="0">
                  <a:pos x="60" y="88"/>
                </a:cxn>
                <a:cxn ang="0">
                  <a:pos x="64" y="88"/>
                </a:cxn>
                <a:cxn ang="0">
                  <a:pos x="68" y="96"/>
                </a:cxn>
                <a:cxn ang="0">
                  <a:pos x="64" y="96"/>
                </a:cxn>
                <a:cxn ang="0">
                  <a:pos x="60" y="100"/>
                </a:cxn>
                <a:cxn ang="0">
                  <a:pos x="56" y="100"/>
                </a:cxn>
                <a:cxn ang="0">
                  <a:pos x="56" y="96"/>
                </a:cxn>
                <a:cxn ang="0">
                  <a:pos x="52" y="96"/>
                </a:cxn>
                <a:cxn ang="0">
                  <a:pos x="52" y="96"/>
                </a:cxn>
                <a:cxn ang="0">
                  <a:pos x="56" y="96"/>
                </a:cxn>
                <a:cxn ang="0">
                  <a:pos x="56" y="100"/>
                </a:cxn>
                <a:cxn ang="0">
                  <a:pos x="52" y="100"/>
                </a:cxn>
                <a:cxn ang="0">
                  <a:pos x="44" y="104"/>
                </a:cxn>
                <a:cxn ang="0">
                  <a:pos x="40" y="108"/>
                </a:cxn>
                <a:cxn ang="0">
                  <a:pos x="36" y="112"/>
                </a:cxn>
                <a:cxn ang="0">
                  <a:pos x="32" y="112"/>
                </a:cxn>
                <a:cxn ang="0">
                  <a:pos x="24" y="112"/>
                </a:cxn>
                <a:cxn ang="0">
                  <a:pos x="20" y="120"/>
                </a:cxn>
                <a:cxn ang="0">
                  <a:pos x="12" y="116"/>
                </a:cxn>
                <a:cxn ang="0">
                  <a:pos x="8" y="116"/>
                </a:cxn>
                <a:cxn ang="0">
                  <a:pos x="0" y="112"/>
                </a:cxn>
                <a:cxn ang="0">
                  <a:pos x="8" y="112"/>
                </a:cxn>
                <a:cxn ang="0">
                  <a:pos x="4" y="108"/>
                </a:cxn>
                <a:cxn ang="0">
                  <a:pos x="4" y="104"/>
                </a:cxn>
                <a:cxn ang="0">
                  <a:pos x="0" y="92"/>
                </a:cxn>
              </a:cxnLst>
              <a:rect l="0" t="0" r="r" b="b"/>
              <a:pathLst>
                <a:path w="68" h="120">
                  <a:moveTo>
                    <a:pt x="0" y="92"/>
                  </a:move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4" y="92"/>
                  </a:lnTo>
                  <a:lnTo>
                    <a:pt x="64" y="92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12"/>
                  </a:lnTo>
                  <a:lnTo>
                    <a:pt x="36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20"/>
                  </a:lnTo>
                  <a:lnTo>
                    <a:pt x="16" y="120"/>
                  </a:lnTo>
                  <a:lnTo>
                    <a:pt x="16" y="120"/>
                  </a:lnTo>
                  <a:lnTo>
                    <a:pt x="16" y="120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4" y="108"/>
                  </a:lnTo>
                  <a:lnTo>
                    <a:pt x="4" y="108"/>
                  </a:lnTo>
                  <a:lnTo>
                    <a:pt x="8" y="108"/>
                  </a:lnTo>
                  <a:lnTo>
                    <a:pt x="8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0"/>
                  </a:lnTo>
                  <a:lnTo>
                    <a:pt x="4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1" name="Freeform 138"/>
            <p:cNvSpPr>
              <a:spLocks/>
            </p:cNvSpPr>
            <p:nvPr>
              <p:custDataLst>
                <p:tags r:id="rId334"/>
              </p:custDataLst>
            </p:nvPr>
          </p:nvSpPr>
          <p:spPr bwMode="gray">
            <a:xfrm>
              <a:off x="4037922" y="4248918"/>
              <a:ext cx="166103" cy="154239"/>
            </a:xfrm>
            <a:custGeom>
              <a:avLst/>
              <a:gdLst/>
              <a:ahLst/>
              <a:cxnLst>
                <a:cxn ang="0">
                  <a:pos x="104" y="92"/>
                </a:cxn>
                <a:cxn ang="0">
                  <a:pos x="100" y="96"/>
                </a:cxn>
                <a:cxn ang="0">
                  <a:pos x="96" y="92"/>
                </a:cxn>
                <a:cxn ang="0">
                  <a:pos x="92" y="100"/>
                </a:cxn>
                <a:cxn ang="0">
                  <a:pos x="88" y="100"/>
                </a:cxn>
                <a:cxn ang="0">
                  <a:pos x="84" y="96"/>
                </a:cxn>
                <a:cxn ang="0">
                  <a:pos x="84" y="92"/>
                </a:cxn>
                <a:cxn ang="0">
                  <a:pos x="80" y="80"/>
                </a:cxn>
                <a:cxn ang="0">
                  <a:pos x="72" y="80"/>
                </a:cxn>
                <a:cxn ang="0">
                  <a:pos x="64" y="80"/>
                </a:cxn>
                <a:cxn ang="0">
                  <a:pos x="68" y="68"/>
                </a:cxn>
                <a:cxn ang="0">
                  <a:pos x="64" y="64"/>
                </a:cxn>
                <a:cxn ang="0">
                  <a:pos x="60" y="56"/>
                </a:cxn>
                <a:cxn ang="0">
                  <a:pos x="52" y="52"/>
                </a:cxn>
                <a:cxn ang="0">
                  <a:pos x="44" y="52"/>
                </a:cxn>
                <a:cxn ang="0">
                  <a:pos x="36" y="56"/>
                </a:cxn>
                <a:cxn ang="0">
                  <a:pos x="32" y="64"/>
                </a:cxn>
                <a:cxn ang="0">
                  <a:pos x="28" y="68"/>
                </a:cxn>
                <a:cxn ang="0">
                  <a:pos x="24" y="64"/>
                </a:cxn>
                <a:cxn ang="0">
                  <a:pos x="20" y="60"/>
                </a:cxn>
                <a:cxn ang="0">
                  <a:pos x="20" y="56"/>
                </a:cxn>
                <a:cxn ang="0">
                  <a:pos x="20" y="52"/>
                </a:cxn>
                <a:cxn ang="0">
                  <a:pos x="16" y="48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4" y="32"/>
                </a:cxn>
                <a:cxn ang="0">
                  <a:pos x="0" y="32"/>
                </a:cxn>
                <a:cxn ang="0">
                  <a:pos x="0" y="32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16" y="20"/>
                </a:cxn>
                <a:cxn ang="0">
                  <a:pos x="16" y="12"/>
                </a:cxn>
                <a:cxn ang="0">
                  <a:pos x="20" y="8"/>
                </a:cxn>
                <a:cxn ang="0">
                  <a:pos x="20" y="4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40" y="4"/>
                </a:cxn>
                <a:cxn ang="0">
                  <a:pos x="44" y="8"/>
                </a:cxn>
                <a:cxn ang="0">
                  <a:pos x="52" y="4"/>
                </a:cxn>
                <a:cxn ang="0">
                  <a:pos x="52" y="8"/>
                </a:cxn>
                <a:cxn ang="0">
                  <a:pos x="56" y="12"/>
                </a:cxn>
                <a:cxn ang="0">
                  <a:pos x="64" y="8"/>
                </a:cxn>
                <a:cxn ang="0">
                  <a:pos x="68" y="12"/>
                </a:cxn>
                <a:cxn ang="0">
                  <a:pos x="80" y="12"/>
                </a:cxn>
                <a:cxn ang="0">
                  <a:pos x="84" y="8"/>
                </a:cxn>
                <a:cxn ang="0">
                  <a:pos x="88" y="4"/>
                </a:cxn>
                <a:cxn ang="0">
                  <a:pos x="92" y="8"/>
                </a:cxn>
                <a:cxn ang="0">
                  <a:pos x="92" y="20"/>
                </a:cxn>
                <a:cxn ang="0">
                  <a:pos x="96" y="24"/>
                </a:cxn>
                <a:cxn ang="0">
                  <a:pos x="100" y="24"/>
                </a:cxn>
                <a:cxn ang="0">
                  <a:pos x="96" y="28"/>
                </a:cxn>
                <a:cxn ang="0">
                  <a:pos x="104" y="36"/>
                </a:cxn>
                <a:cxn ang="0">
                  <a:pos x="108" y="44"/>
                </a:cxn>
                <a:cxn ang="0">
                  <a:pos x="104" y="52"/>
                </a:cxn>
                <a:cxn ang="0">
                  <a:pos x="104" y="60"/>
                </a:cxn>
                <a:cxn ang="0">
                  <a:pos x="108" y="64"/>
                </a:cxn>
                <a:cxn ang="0">
                  <a:pos x="108" y="68"/>
                </a:cxn>
                <a:cxn ang="0">
                  <a:pos x="108" y="72"/>
                </a:cxn>
                <a:cxn ang="0">
                  <a:pos x="112" y="80"/>
                </a:cxn>
                <a:cxn ang="0">
                  <a:pos x="104" y="84"/>
                </a:cxn>
                <a:cxn ang="0">
                  <a:pos x="108" y="88"/>
                </a:cxn>
              </a:cxnLst>
              <a:rect l="0" t="0" r="r" b="b"/>
              <a:pathLst>
                <a:path w="112" h="104">
                  <a:moveTo>
                    <a:pt x="108" y="88"/>
                  </a:moveTo>
                  <a:lnTo>
                    <a:pt x="108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88" y="100"/>
                  </a:lnTo>
                  <a:lnTo>
                    <a:pt x="88" y="104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8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4"/>
                  </a:lnTo>
                  <a:lnTo>
                    <a:pt x="84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0" y="76"/>
                  </a:lnTo>
                  <a:lnTo>
                    <a:pt x="80" y="80"/>
                  </a:lnTo>
                  <a:lnTo>
                    <a:pt x="80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4" y="64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6" y="12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96" y="28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36"/>
                  </a:lnTo>
                  <a:lnTo>
                    <a:pt x="100" y="36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12" y="72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4" y="80"/>
                  </a:lnTo>
                  <a:lnTo>
                    <a:pt x="104" y="80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8" y="84"/>
                  </a:lnTo>
                  <a:lnTo>
                    <a:pt x="108" y="84"/>
                  </a:lnTo>
                  <a:lnTo>
                    <a:pt x="108" y="88"/>
                  </a:lnTo>
                  <a:lnTo>
                    <a:pt x="108" y="8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2" name="Freeform 139"/>
            <p:cNvSpPr>
              <a:spLocks noEditPoints="1"/>
            </p:cNvSpPr>
            <p:nvPr>
              <p:custDataLst>
                <p:tags r:id="rId335"/>
              </p:custDataLst>
            </p:nvPr>
          </p:nvSpPr>
          <p:spPr bwMode="gray">
            <a:xfrm>
              <a:off x="4002329" y="4248918"/>
              <a:ext cx="65255" cy="47458"/>
            </a:xfrm>
            <a:custGeom>
              <a:avLst/>
              <a:gdLst/>
              <a:ahLst/>
              <a:cxnLst>
                <a:cxn ang="0">
                  <a:pos x="8" y="16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8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20" y="0"/>
                </a:cxn>
                <a:cxn ang="0">
                  <a:pos x="32" y="0"/>
                </a:cxn>
                <a:cxn ang="0">
                  <a:pos x="40" y="0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4" y="20"/>
                </a:cxn>
                <a:cxn ang="0">
                  <a:pos x="36" y="20"/>
                </a:cxn>
                <a:cxn ang="0">
                  <a:pos x="32" y="20"/>
                </a:cxn>
                <a:cxn ang="0">
                  <a:pos x="28" y="24"/>
                </a:cxn>
                <a:cxn ang="0">
                  <a:pos x="28" y="28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4" y="28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20" y="28"/>
                </a:cxn>
                <a:cxn ang="0">
                  <a:pos x="20" y="24"/>
                </a:cxn>
                <a:cxn ang="0">
                  <a:pos x="20" y="24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20" y="16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4" y="12"/>
                </a:cxn>
                <a:cxn ang="0">
                  <a:pos x="20" y="16"/>
                </a:cxn>
                <a:cxn ang="0">
                  <a:pos x="16" y="16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16" y="24"/>
                </a:cxn>
                <a:cxn ang="0">
                  <a:pos x="8" y="24"/>
                </a:cxn>
                <a:cxn ang="0">
                  <a:pos x="12" y="20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32"/>
                </a:cxn>
                <a:cxn ang="0">
                  <a:pos x="4" y="28"/>
                </a:cxn>
                <a:cxn ang="0">
                  <a:pos x="8" y="28"/>
                </a:cxn>
                <a:cxn ang="0">
                  <a:pos x="8" y="28"/>
                </a:cxn>
              </a:cxnLst>
              <a:rect l="0" t="0" r="r" b="b"/>
              <a:pathLst>
                <a:path w="44" h="32">
                  <a:moveTo>
                    <a:pt x="12" y="16"/>
                  </a:moveTo>
                  <a:lnTo>
                    <a:pt x="12" y="16"/>
                  </a:lnTo>
                  <a:lnTo>
                    <a:pt x="12" y="16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16"/>
                  </a:lnTo>
                  <a:close/>
                  <a:moveTo>
                    <a:pt x="12" y="28"/>
                  </a:move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close/>
                  <a:moveTo>
                    <a:pt x="8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close/>
                  <a:moveTo>
                    <a:pt x="16" y="20"/>
                  </a:move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close/>
                  <a:moveTo>
                    <a:pt x="8" y="24"/>
                  </a:move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close/>
                  <a:moveTo>
                    <a:pt x="4" y="24"/>
                  </a:move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close/>
                  <a:moveTo>
                    <a:pt x="8" y="32"/>
                  </a:move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3" name="Freeform 140"/>
            <p:cNvSpPr>
              <a:spLocks noEditPoints="1"/>
            </p:cNvSpPr>
            <p:nvPr>
              <p:custDataLst>
                <p:tags r:id="rId336"/>
              </p:custDataLst>
            </p:nvPr>
          </p:nvSpPr>
          <p:spPr bwMode="gray">
            <a:xfrm>
              <a:off x="5138356" y="4468411"/>
              <a:ext cx="177968" cy="253603"/>
            </a:xfrm>
            <a:custGeom>
              <a:avLst/>
              <a:gdLst/>
              <a:ahLst/>
              <a:cxnLst>
                <a:cxn ang="0">
                  <a:pos x="0" y="88"/>
                </a:cxn>
                <a:cxn ang="0">
                  <a:pos x="0" y="84"/>
                </a:cxn>
                <a:cxn ang="0">
                  <a:pos x="4" y="76"/>
                </a:cxn>
                <a:cxn ang="0">
                  <a:pos x="8" y="68"/>
                </a:cxn>
                <a:cxn ang="0">
                  <a:pos x="12" y="64"/>
                </a:cxn>
                <a:cxn ang="0">
                  <a:pos x="12" y="60"/>
                </a:cxn>
                <a:cxn ang="0">
                  <a:pos x="12" y="60"/>
                </a:cxn>
                <a:cxn ang="0">
                  <a:pos x="16" y="56"/>
                </a:cxn>
                <a:cxn ang="0">
                  <a:pos x="12" y="44"/>
                </a:cxn>
                <a:cxn ang="0">
                  <a:pos x="12" y="36"/>
                </a:cxn>
                <a:cxn ang="0">
                  <a:pos x="8" y="32"/>
                </a:cxn>
                <a:cxn ang="0">
                  <a:pos x="8" y="24"/>
                </a:cxn>
                <a:cxn ang="0">
                  <a:pos x="4" y="16"/>
                </a:cxn>
                <a:cxn ang="0">
                  <a:pos x="0" y="8"/>
                </a:cxn>
                <a:cxn ang="0">
                  <a:pos x="8" y="0"/>
                </a:cxn>
                <a:cxn ang="0">
                  <a:pos x="16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40" y="4"/>
                </a:cxn>
                <a:cxn ang="0">
                  <a:pos x="48" y="8"/>
                </a:cxn>
                <a:cxn ang="0">
                  <a:pos x="64" y="20"/>
                </a:cxn>
                <a:cxn ang="0">
                  <a:pos x="76" y="20"/>
                </a:cxn>
                <a:cxn ang="0">
                  <a:pos x="80" y="24"/>
                </a:cxn>
                <a:cxn ang="0">
                  <a:pos x="84" y="24"/>
                </a:cxn>
                <a:cxn ang="0">
                  <a:pos x="88" y="20"/>
                </a:cxn>
                <a:cxn ang="0">
                  <a:pos x="100" y="8"/>
                </a:cxn>
                <a:cxn ang="0">
                  <a:pos x="108" y="12"/>
                </a:cxn>
                <a:cxn ang="0">
                  <a:pos x="112" y="12"/>
                </a:cxn>
                <a:cxn ang="0">
                  <a:pos x="120" y="12"/>
                </a:cxn>
                <a:cxn ang="0">
                  <a:pos x="120" y="16"/>
                </a:cxn>
                <a:cxn ang="0">
                  <a:pos x="108" y="60"/>
                </a:cxn>
                <a:cxn ang="0">
                  <a:pos x="116" y="116"/>
                </a:cxn>
                <a:cxn ang="0">
                  <a:pos x="112" y="120"/>
                </a:cxn>
                <a:cxn ang="0">
                  <a:pos x="104" y="124"/>
                </a:cxn>
                <a:cxn ang="0">
                  <a:pos x="104" y="128"/>
                </a:cxn>
                <a:cxn ang="0">
                  <a:pos x="104" y="128"/>
                </a:cxn>
                <a:cxn ang="0">
                  <a:pos x="100" y="132"/>
                </a:cxn>
                <a:cxn ang="0">
                  <a:pos x="96" y="132"/>
                </a:cxn>
                <a:cxn ang="0">
                  <a:pos x="92" y="140"/>
                </a:cxn>
                <a:cxn ang="0">
                  <a:pos x="92" y="147"/>
                </a:cxn>
                <a:cxn ang="0">
                  <a:pos x="88" y="151"/>
                </a:cxn>
                <a:cxn ang="0">
                  <a:pos x="88" y="155"/>
                </a:cxn>
                <a:cxn ang="0">
                  <a:pos x="80" y="171"/>
                </a:cxn>
                <a:cxn ang="0">
                  <a:pos x="72" y="163"/>
                </a:cxn>
                <a:cxn ang="0">
                  <a:pos x="56" y="151"/>
                </a:cxn>
                <a:cxn ang="0">
                  <a:pos x="56" y="147"/>
                </a:cxn>
                <a:cxn ang="0">
                  <a:pos x="56" y="143"/>
                </a:cxn>
                <a:cxn ang="0">
                  <a:pos x="48" y="136"/>
                </a:cxn>
                <a:cxn ang="0">
                  <a:pos x="32" y="124"/>
                </a:cxn>
                <a:cxn ang="0">
                  <a:pos x="8" y="108"/>
                </a:cxn>
                <a:cxn ang="0">
                  <a:pos x="108" y="128"/>
                </a:cxn>
                <a:cxn ang="0">
                  <a:pos x="108" y="124"/>
                </a:cxn>
                <a:cxn ang="0">
                  <a:pos x="108" y="124"/>
                </a:cxn>
              </a:cxnLst>
              <a:rect l="0" t="0" r="r" b="b"/>
              <a:pathLst>
                <a:path w="120" h="171">
                  <a:moveTo>
                    <a:pt x="0" y="104"/>
                  </a:moveTo>
                  <a:lnTo>
                    <a:pt x="0" y="104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88" y="16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16" y="12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8" y="44"/>
                  </a:lnTo>
                  <a:lnTo>
                    <a:pt x="108" y="60"/>
                  </a:lnTo>
                  <a:lnTo>
                    <a:pt x="108" y="84"/>
                  </a:lnTo>
                  <a:lnTo>
                    <a:pt x="108" y="100"/>
                  </a:lnTo>
                  <a:lnTo>
                    <a:pt x="108" y="104"/>
                  </a:lnTo>
                  <a:lnTo>
                    <a:pt x="112" y="112"/>
                  </a:lnTo>
                  <a:lnTo>
                    <a:pt x="116" y="116"/>
                  </a:lnTo>
                  <a:lnTo>
                    <a:pt x="116" y="116"/>
                  </a:lnTo>
                  <a:lnTo>
                    <a:pt x="116" y="116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8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36"/>
                  </a:lnTo>
                  <a:lnTo>
                    <a:pt x="96" y="136"/>
                  </a:lnTo>
                  <a:lnTo>
                    <a:pt x="96" y="136"/>
                  </a:lnTo>
                  <a:lnTo>
                    <a:pt x="92" y="136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9"/>
                  </a:lnTo>
                  <a:lnTo>
                    <a:pt x="88" y="159"/>
                  </a:lnTo>
                  <a:lnTo>
                    <a:pt x="88" y="159"/>
                  </a:lnTo>
                  <a:lnTo>
                    <a:pt x="84" y="167"/>
                  </a:lnTo>
                  <a:lnTo>
                    <a:pt x="84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76" y="167"/>
                  </a:lnTo>
                  <a:lnTo>
                    <a:pt x="72" y="163"/>
                  </a:lnTo>
                  <a:lnTo>
                    <a:pt x="72" y="163"/>
                  </a:lnTo>
                  <a:lnTo>
                    <a:pt x="68" y="163"/>
                  </a:lnTo>
                  <a:lnTo>
                    <a:pt x="68" y="159"/>
                  </a:lnTo>
                  <a:lnTo>
                    <a:pt x="60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3"/>
                  </a:lnTo>
                  <a:lnTo>
                    <a:pt x="56" y="143"/>
                  </a:lnTo>
                  <a:lnTo>
                    <a:pt x="56" y="140"/>
                  </a:lnTo>
                  <a:lnTo>
                    <a:pt x="56" y="140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48" y="136"/>
                  </a:lnTo>
                  <a:lnTo>
                    <a:pt x="48" y="136"/>
                  </a:lnTo>
                  <a:lnTo>
                    <a:pt x="48" y="136"/>
                  </a:lnTo>
                  <a:lnTo>
                    <a:pt x="40" y="132"/>
                  </a:lnTo>
                  <a:lnTo>
                    <a:pt x="36" y="128"/>
                  </a:lnTo>
                  <a:lnTo>
                    <a:pt x="32" y="128"/>
                  </a:lnTo>
                  <a:lnTo>
                    <a:pt x="32" y="124"/>
                  </a:lnTo>
                  <a:lnTo>
                    <a:pt x="28" y="124"/>
                  </a:lnTo>
                  <a:lnTo>
                    <a:pt x="24" y="120"/>
                  </a:lnTo>
                  <a:lnTo>
                    <a:pt x="20" y="116"/>
                  </a:lnTo>
                  <a:lnTo>
                    <a:pt x="12" y="112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close/>
                  <a:moveTo>
                    <a:pt x="108" y="128"/>
                  </a:moveTo>
                  <a:lnTo>
                    <a:pt x="108" y="128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4" name="Freeform 141"/>
            <p:cNvSpPr>
              <a:spLocks/>
            </p:cNvSpPr>
            <p:nvPr>
              <p:custDataLst>
                <p:tags r:id="rId337"/>
              </p:custDataLst>
            </p:nvPr>
          </p:nvSpPr>
          <p:spPr bwMode="gray">
            <a:xfrm>
              <a:off x="4985600" y="5384945"/>
              <a:ext cx="51907" cy="59323"/>
            </a:xfrm>
            <a:custGeom>
              <a:avLst/>
              <a:gdLst/>
              <a:ahLst/>
              <a:cxnLst>
                <a:cxn ang="0">
                  <a:pos x="27" y="28"/>
                </a:cxn>
                <a:cxn ang="0">
                  <a:pos x="23" y="32"/>
                </a:cxn>
                <a:cxn ang="0">
                  <a:pos x="23" y="32"/>
                </a:cxn>
                <a:cxn ang="0">
                  <a:pos x="19" y="32"/>
                </a:cxn>
                <a:cxn ang="0">
                  <a:pos x="19" y="32"/>
                </a:cxn>
                <a:cxn ang="0">
                  <a:pos x="15" y="36"/>
                </a:cxn>
                <a:cxn ang="0">
                  <a:pos x="15" y="4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5" y="4"/>
                </a:cxn>
                <a:cxn ang="0">
                  <a:pos x="15" y="4"/>
                </a:cxn>
                <a:cxn ang="0">
                  <a:pos x="19" y="4"/>
                </a:cxn>
                <a:cxn ang="0">
                  <a:pos x="19" y="0"/>
                </a:cxn>
                <a:cxn ang="0">
                  <a:pos x="19" y="0"/>
                </a:cxn>
                <a:cxn ang="0">
                  <a:pos x="19" y="0"/>
                </a:cxn>
                <a:cxn ang="0">
                  <a:pos x="23" y="0"/>
                </a:cxn>
                <a:cxn ang="0">
                  <a:pos x="23" y="4"/>
                </a:cxn>
                <a:cxn ang="0">
                  <a:pos x="27" y="4"/>
                </a:cxn>
                <a:cxn ang="0">
                  <a:pos x="27" y="4"/>
                </a:cxn>
                <a:cxn ang="0">
                  <a:pos x="27" y="8"/>
                </a:cxn>
                <a:cxn ang="0">
                  <a:pos x="31" y="8"/>
                </a:cxn>
                <a:cxn ang="0">
                  <a:pos x="31" y="12"/>
                </a:cxn>
                <a:cxn ang="0">
                  <a:pos x="35" y="16"/>
                </a:cxn>
                <a:cxn ang="0">
                  <a:pos x="35" y="16"/>
                </a:cxn>
                <a:cxn ang="0">
                  <a:pos x="31" y="16"/>
                </a:cxn>
                <a:cxn ang="0">
                  <a:pos x="31" y="20"/>
                </a:cxn>
                <a:cxn ang="0">
                  <a:pos x="31" y="20"/>
                </a:cxn>
                <a:cxn ang="0">
                  <a:pos x="31" y="20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27" y="28"/>
                </a:cxn>
                <a:cxn ang="0">
                  <a:pos x="27" y="28"/>
                </a:cxn>
              </a:cxnLst>
              <a:rect l="0" t="0" r="r" b="b"/>
              <a:pathLst>
                <a:path w="35" h="40">
                  <a:moveTo>
                    <a:pt x="27" y="28"/>
                  </a:moveTo>
                  <a:lnTo>
                    <a:pt x="27" y="28"/>
                  </a:lnTo>
                  <a:lnTo>
                    <a:pt x="27" y="28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5" y="32"/>
                  </a:lnTo>
                  <a:lnTo>
                    <a:pt x="15" y="36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5" name="Freeform 142"/>
            <p:cNvSpPr>
              <a:spLocks/>
            </p:cNvSpPr>
            <p:nvPr>
              <p:custDataLst>
                <p:tags r:id="rId338"/>
              </p:custDataLst>
            </p:nvPr>
          </p:nvSpPr>
          <p:spPr bwMode="gray">
            <a:xfrm>
              <a:off x="4115041" y="4361630"/>
              <a:ext cx="94916" cy="118645"/>
            </a:xfrm>
            <a:custGeom>
              <a:avLst/>
              <a:gdLst/>
              <a:ahLst/>
              <a:cxnLst>
                <a:cxn ang="0">
                  <a:pos x="4" y="28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16" y="12"/>
                </a:cxn>
                <a:cxn ang="0">
                  <a:pos x="16" y="8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8" y="0"/>
                </a:cxn>
                <a:cxn ang="0">
                  <a:pos x="32" y="8"/>
                </a:cxn>
                <a:cxn ang="0">
                  <a:pos x="32" y="12"/>
                </a:cxn>
                <a:cxn ang="0">
                  <a:pos x="32" y="16"/>
                </a:cxn>
                <a:cxn ang="0">
                  <a:pos x="32" y="20"/>
                </a:cxn>
                <a:cxn ang="0">
                  <a:pos x="32" y="24"/>
                </a:cxn>
                <a:cxn ang="0">
                  <a:pos x="36" y="24"/>
                </a:cxn>
                <a:cxn ang="0">
                  <a:pos x="36" y="24"/>
                </a:cxn>
                <a:cxn ang="0">
                  <a:pos x="40" y="24"/>
                </a:cxn>
                <a:cxn ang="0">
                  <a:pos x="44" y="20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48" y="20"/>
                </a:cxn>
                <a:cxn ang="0">
                  <a:pos x="48" y="24"/>
                </a:cxn>
                <a:cxn ang="0">
                  <a:pos x="52" y="28"/>
                </a:cxn>
                <a:cxn ang="0">
                  <a:pos x="48" y="32"/>
                </a:cxn>
                <a:cxn ang="0">
                  <a:pos x="48" y="36"/>
                </a:cxn>
                <a:cxn ang="0">
                  <a:pos x="48" y="36"/>
                </a:cxn>
                <a:cxn ang="0">
                  <a:pos x="44" y="40"/>
                </a:cxn>
                <a:cxn ang="0">
                  <a:pos x="48" y="40"/>
                </a:cxn>
                <a:cxn ang="0">
                  <a:pos x="52" y="44"/>
                </a:cxn>
                <a:cxn ang="0">
                  <a:pos x="56" y="44"/>
                </a:cxn>
                <a:cxn ang="0">
                  <a:pos x="56" y="48"/>
                </a:cxn>
                <a:cxn ang="0">
                  <a:pos x="60" y="52"/>
                </a:cxn>
                <a:cxn ang="0">
                  <a:pos x="64" y="52"/>
                </a:cxn>
                <a:cxn ang="0">
                  <a:pos x="64" y="56"/>
                </a:cxn>
                <a:cxn ang="0">
                  <a:pos x="64" y="56"/>
                </a:cxn>
                <a:cxn ang="0">
                  <a:pos x="64" y="60"/>
                </a:cxn>
                <a:cxn ang="0">
                  <a:pos x="60" y="68"/>
                </a:cxn>
                <a:cxn ang="0">
                  <a:pos x="60" y="72"/>
                </a:cxn>
                <a:cxn ang="0">
                  <a:pos x="60" y="80"/>
                </a:cxn>
                <a:cxn ang="0">
                  <a:pos x="56" y="76"/>
                </a:cxn>
                <a:cxn ang="0">
                  <a:pos x="56" y="76"/>
                </a:cxn>
                <a:cxn ang="0">
                  <a:pos x="48" y="72"/>
                </a:cxn>
                <a:cxn ang="0">
                  <a:pos x="44" y="68"/>
                </a:cxn>
                <a:cxn ang="0">
                  <a:pos x="40" y="68"/>
                </a:cxn>
                <a:cxn ang="0">
                  <a:pos x="36" y="64"/>
                </a:cxn>
                <a:cxn ang="0">
                  <a:pos x="32" y="60"/>
                </a:cxn>
                <a:cxn ang="0">
                  <a:pos x="28" y="56"/>
                </a:cxn>
                <a:cxn ang="0">
                  <a:pos x="20" y="48"/>
                </a:cxn>
                <a:cxn ang="0">
                  <a:pos x="20" y="44"/>
                </a:cxn>
                <a:cxn ang="0">
                  <a:pos x="16" y="44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4" y="36"/>
                </a:cxn>
                <a:cxn ang="0">
                  <a:pos x="4" y="32"/>
                </a:cxn>
              </a:cxnLst>
              <a:rect l="0" t="0" r="r" b="b"/>
              <a:pathLst>
                <a:path w="64" h="80">
                  <a:moveTo>
                    <a:pt x="0" y="32"/>
                  </a:moveTo>
                  <a:lnTo>
                    <a:pt x="0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4" y="52"/>
                  </a:lnTo>
                  <a:lnTo>
                    <a:pt x="24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6" name="Freeform 143"/>
            <p:cNvSpPr>
              <a:spLocks/>
            </p:cNvSpPr>
            <p:nvPr>
              <p:custDataLst>
                <p:tags r:id="rId339"/>
              </p:custDataLst>
            </p:nvPr>
          </p:nvSpPr>
          <p:spPr bwMode="gray">
            <a:xfrm>
              <a:off x="4582207" y="3669039"/>
              <a:ext cx="355935" cy="390045"/>
            </a:xfrm>
            <a:custGeom>
              <a:avLst/>
              <a:gdLst/>
              <a:ahLst/>
              <a:cxnLst>
                <a:cxn ang="0">
                  <a:pos x="80" y="12"/>
                </a:cxn>
                <a:cxn ang="0">
                  <a:pos x="92" y="20"/>
                </a:cxn>
                <a:cxn ang="0">
                  <a:pos x="96" y="36"/>
                </a:cxn>
                <a:cxn ang="0">
                  <a:pos x="108" y="40"/>
                </a:cxn>
                <a:cxn ang="0">
                  <a:pos x="124" y="40"/>
                </a:cxn>
                <a:cxn ang="0">
                  <a:pos x="132" y="48"/>
                </a:cxn>
                <a:cxn ang="0">
                  <a:pos x="144" y="56"/>
                </a:cxn>
                <a:cxn ang="0">
                  <a:pos x="152" y="56"/>
                </a:cxn>
                <a:cxn ang="0">
                  <a:pos x="164" y="44"/>
                </a:cxn>
                <a:cxn ang="0">
                  <a:pos x="164" y="28"/>
                </a:cxn>
                <a:cxn ang="0">
                  <a:pos x="172" y="12"/>
                </a:cxn>
                <a:cxn ang="0">
                  <a:pos x="184" y="8"/>
                </a:cxn>
                <a:cxn ang="0">
                  <a:pos x="196" y="4"/>
                </a:cxn>
                <a:cxn ang="0">
                  <a:pos x="208" y="8"/>
                </a:cxn>
                <a:cxn ang="0">
                  <a:pos x="212" y="20"/>
                </a:cxn>
                <a:cxn ang="0">
                  <a:pos x="224" y="24"/>
                </a:cxn>
                <a:cxn ang="0">
                  <a:pos x="240" y="24"/>
                </a:cxn>
                <a:cxn ang="0">
                  <a:pos x="236" y="36"/>
                </a:cxn>
                <a:cxn ang="0">
                  <a:pos x="240" y="52"/>
                </a:cxn>
                <a:cxn ang="0">
                  <a:pos x="236" y="68"/>
                </a:cxn>
                <a:cxn ang="0">
                  <a:pos x="240" y="84"/>
                </a:cxn>
                <a:cxn ang="0">
                  <a:pos x="240" y="108"/>
                </a:cxn>
                <a:cxn ang="0">
                  <a:pos x="240" y="128"/>
                </a:cxn>
                <a:cxn ang="0">
                  <a:pos x="240" y="160"/>
                </a:cxn>
                <a:cxn ang="0">
                  <a:pos x="240" y="188"/>
                </a:cxn>
                <a:cxn ang="0">
                  <a:pos x="240" y="255"/>
                </a:cxn>
                <a:cxn ang="0">
                  <a:pos x="224" y="255"/>
                </a:cxn>
                <a:cxn ang="0">
                  <a:pos x="200" y="247"/>
                </a:cxn>
                <a:cxn ang="0">
                  <a:pos x="168" y="232"/>
                </a:cxn>
                <a:cxn ang="0">
                  <a:pos x="144" y="216"/>
                </a:cxn>
                <a:cxn ang="0">
                  <a:pos x="116" y="200"/>
                </a:cxn>
                <a:cxn ang="0">
                  <a:pos x="88" y="196"/>
                </a:cxn>
                <a:cxn ang="0">
                  <a:pos x="76" y="204"/>
                </a:cxn>
                <a:cxn ang="0">
                  <a:pos x="64" y="196"/>
                </a:cxn>
                <a:cxn ang="0">
                  <a:pos x="48" y="192"/>
                </a:cxn>
                <a:cxn ang="0">
                  <a:pos x="36" y="172"/>
                </a:cxn>
                <a:cxn ang="0">
                  <a:pos x="20" y="168"/>
                </a:cxn>
                <a:cxn ang="0">
                  <a:pos x="12" y="164"/>
                </a:cxn>
                <a:cxn ang="0">
                  <a:pos x="8" y="148"/>
                </a:cxn>
                <a:cxn ang="0">
                  <a:pos x="12" y="128"/>
                </a:cxn>
                <a:cxn ang="0">
                  <a:pos x="8" y="116"/>
                </a:cxn>
                <a:cxn ang="0">
                  <a:pos x="8" y="100"/>
                </a:cxn>
                <a:cxn ang="0">
                  <a:pos x="8" y="84"/>
                </a:cxn>
                <a:cxn ang="0">
                  <a:pos x="8" y="68"/>
                </a:cxn>
                <a:cxn ang="0">
                  <a:pos x="4" y="60"/>
                </a:cxn>
                <a:cxn ang="0">
                  <a:pos x="16" y="48"/>
                </a:cxn>
                <a:cxn ang="0">
                  <a:pos x="12" y="36"/>
                </a:cxn>
                <a:cxn ang="0">
                  <a:pos x="24" y="24"/>
                </a:cxn>
                <a:cxn ang="0">
                  <a:pos x="36" y="16"/>
                </a:cxn>
                <a:cxn ang="0">
                  <a:pos x="36" y="0"/>
                </a:cxn>
                <a:cxn ang="0">
                  <a:pos x="44" y="8"/>
                </a:cxn>
                <a:cxn ang="0">
                  <a:pos x="60" y="8"/>
                </a:cxn>
                <a:cxn ang="0">
                  <a:pos x="68" y="8"/>
                </a:cxn>
              </a:cxnLst>
              <a:rect l="0" t="0" r="r" b="b"/>
              <a:pathLst>
                <a:path w="240" h="263">
                  <a:moveTo>
                    <a:pt x="72" y="8"/>
                  </a:move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4" y="16"/>
                  </a:lnTo>
                  <a:lnTo>
                    <a:pt x="88" y="16"/>
                  </a:lnTo>
                  <a:lnTo>
                    <a:pt x="92" y="16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100" y="36"/>
                  </a:lnTo>
                  <a:lnTo>
                    <a:pt x="104" y="36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12" y="40"/>
                  </a:lnTo>
                  <a:lnTo>
                    <a:pt x="116" y="40"/>
                  </a:lnTo>
                  <a:lnTo>
                    <a:pt x="120" y="40"/>
                  </a:lnTo>
                  <a:lnTo>
                    <a:pt x="124" y="40"/>
                  </a:lnTo>
                  <a:lnTo>
                    <a:pt x="124" y="44"/>
                  </a:lnTo>
                  <a:lnTo>
                    <a:pt x="128" y="44"/>
                  </a:lnTo>
                  <a:lnTo>
                    <a:pt x="132" y="44"/>
                  </a:lnTo>
                  <a:lnTo>
                    <a:pt x="132" y="48"/>
                  </a:lnTo>
                  <a:lnTo>
                    <a:pt x="136" y="48"/>
                  </a:lnTo>
                  <a:lnTo>
                    <a:pt x="136" y="52"/>
                  </a:lnTo>
                  <a:lnTo>
                    <a:pt x="140" y="52"/>
                  </a:lnTo>
                  <a:lnTo>
                    <a:pt x="144" y="56"/>
                  </a:lnTo>
                  <a:lnTo>
                    <a:pt x="148" y="56"/>
                  </a:lnTo>
                  <a:lnTo>
                    <a:pt x="148" y="60"/>
                  </a:lnTo>
                  <a:lnTo>
                    <a:pt x="152" y="60"/>
                  </a:lnTo>
                  <a:lnTo>
                    <a:pt x="152" y="56"/>
                  </a:lnTo>
                  <a:lnTo>
                    <a:pt x="156" y="56"/>
                  </a:lnTo>
                  <a:lnTo>
                    <a:pt x="160" y="52"/>
                  </a:lnTo>
                  <a:lnTo>
                    <a:pt x="164" y="48"/>
                  </a:lnTo>
                  <a:lnTo>
                    <a:pt x="164" y="44"/>
                  </a:lnTo>
                  <a:lnTo>
                    <a:pt x="164" y="40"/>
                  </a:lnTo>
                  <a:lnTo>
                    <a:pt x="164" y="36"/>
                  </a:lnTo>
                  <a:lnTo>
                    <a:pt x="164" y="32"/>
                  </a:lnTo>
                  <a:lnTo>
                    <a:pt x="164" y="28"/>
                  </a:lnTo>
                  <a:lnTo>
                    <a:pt x="164" y="24"/>
                  </a:lnTo>
                  <a:lnTo>
                    <a:pt x="164" y="20"/>
                  </a:lnTo>
                  <a:lnTo>
                    <a:pt x="168" y="16"/>
                  </a:lnTo>
                  <a:lnTo>
                    <a:pt x="172" y="12"/>
                  </a:lnTo>
                  <a:lnTo>
                    <a:pt x="176" y="12"/>
                  </a:lnTo>
                  <a:lnTo>
                    <a:pt x="176" y="8"/>
                  </a:lnTo>
                  <a:lnTo>
                    <a:pt x="180" y="8"/>
                  </a:lnTo>
                  <a:lnTo>
                    <a:pt x="184" y="8"/>
                  </a:lnTo>
                  <a:lnTo>
                    <a:pt x="188" y="8"/>
                  </a:lnTo>
                  <a:lnTo>
                    <a:pt x="188" y="4"/>
                  </a:lnTo>
                  <a:lnTo>
                    <a:pt x="192" y="4"/>
                  </a:lnTo>
                  <a:lnTo>
                    <a:pt x="196" y="4"/>
                  </a:lnTo>
                  <a:lnTo>
                    <a:pt x="196" y="8"/>
                  </a:lnTo>
                  <a:lnTo>
                    <a:pt x="200" y="8"/>
                  </a:lnTo>
                  <a:lnTo>
                    <a:pt x="204" y="8"/>
                  </a:lnTo>
                  <a:lnTo>
                    <a:pt x="208" y="8"/>
                  </a:lnTo>
                  <a:lnTo>
                    <a:pt x="208" y="12"/>
                  </a:lnTo>
                  <a:lnTo>
                    <a:pt x="212" y="12"/>
                  </a:lnTo>
                  <a:lnTo>
                    <a:pt x="212" y="16"/>
                  </a:lnTo>
                  <a:lnTo>
                    <a:pt x="212" y="20"/>
                  </a:lnTo>
                  <a:lnTo>
                    <a:pt x="216" y="20"/>
                  </a:lnTo>
                  <a:lnTo>
                    <a:pt x="220" y="20"/>
                  </a:lnTo>
                  <a:lnTo>
                    <a:pt x="224" y="20"/>
                  </a:lnTo>
                  <a:lnTo>
                    <a:pt x="224" y="24"/>
                  </a:lnTo>
                  <a:lnTo>
                    <a:pt x="228" y="24"/>
                  </a:lnTo>
                  <a:lnTo>
                    <a:pt x="232" y="24"/>
                  </a:lnTo>
                  <a:lnTo>
                    <a:pt x="236" y="24"/>
                  </a:lnTo>
                  <a:lnTo>
                    <a:pt x="240" y="24"/>
                  </a:lnTo>
                  <a:lnTo>
                    <a:pt x="240" y="28"/>
                  </a:lnTo>
                  <a:lnTo>
                    <a:pt x="240" y="32"/>
                  </a:lnTo>
                  <a:lnTo>
                    <a:pt x="240" y="36"/>
                  </a:lnTo>
                  <a:lnTo>
                    <a:pt x="236" y="36"/>
                  </a:lnTo>
                  <a:lnTo>
                    <a:pt x="236" y="40"/>
                  </a:lnTo>
                  <a:lnTo>
                    <a:pt x="240" y="44"/>
                  </a:lnTo>
                  <a:lnTo>
                    <a:pt x="240" y="48"/>
                  </a:lnTo>
                  <a:lnTo>
                    <a:pt x="240" y="52"/>
                  </a:lnTo>
                  <a:lnTo>
                    <a:pt x="236" y="56"/>
                  </a:lnTo>
                  <a:lnTo>
                    <a:pt x="236" y="60"/>
                  </a:lnTo>
                  <a:lnTo>
                    <a:pt x="236" y="64"/>
                  </a:lnTo>
                  <a:lnTo>
                    <a:pt x="236" y="68"/>
                  </a:lnTo>
                  <a:lnTo>
                    <a:pt x="236" y="72"/>
                  </a:lnTo>
                  <a:lnTo>
                    <a:pt x="240" y="76"/>
                  </a:lnTo>
                  <a:lnTo>
                    <a:pt x="240" y="80"/>
                  </a:lnTo>
                  <a:lnTo>
                    <a:pt x="240" y="84"/>
                  </a:lnTo>
                  <a:lnTo>
                    <a:pt x="240" y="96"/>
                  </a:lnTo>
                  <a:lnTo>
                    <a:pt x="240" y="100"/>
                  </a:lnTo>
                  <a:lnTo>
                    <a:pt x="240" y="104"/>
                  </a:lnTo>
                  <a:lnTo>
                    <a:pt x="240" y="108"/>
                  </a:lnTo>
                  <a:lnTo>
                    <a:pt x="240" y="112"/>
                  </a:lnTo>
                  <a:lnTo>
                    <a:pt x="240" y="120"/>
                  </a:lnTo>
                  <a:lnTo>
                    <a:pt x="240" y="124"/>
                  </a:lnTo>
                  <a:lnTo>
                    <a:pt x="240" y="128"/>
                  </a:lnTo>
                  <a:lnTo>
                    <a:pt x="240" y="132"/>
                  </a:lnTo>
                  <a:lnTo>
                    <a:pt x="240" y="140"/>
                  </a:lnTo>
                  <a:lnTo>
                    <a:pt x="240" y="152"/>
                  </a:lnTo>
                  <a:lnTo>
                    <a:pt x="240" y="160"/>
                  </a:lnTo>
                  <a:lnTo>
                    <a:pt x="240" y="164"/>
                  </a:lnTo>
                  <a:lnTo>
                    <a:pt x="240" y="172"/>
                  </a:lnTo>
                  <a:lnTo>
                    <a:pt x="240" y="180"/>
                  </a:lnTo>
                  <a:lnTo>
                    <a:pt x="240" y="188"/>
                  </a:lnTo>
                  <a:lnTo>
                    <a:pt x="240" y="212"/>
                  </a:lnTo>
                  <a:lnTo>
                    <a:pt x="240" y="216"/>
                  </a:lnTo>
                  <a:lnTo>
                    <a:pt x="240" y="236"/>
                  </a:lnTo>
                  <a:lnTo>
                    <a:pt x="240" y="255"/>
                  </a:lnTo>
                  <a:lnTo>
                    <a:pt x="236" y="255"/>
                  </a:lnTo>
                  <a:lnTo>
                    <a:pt x="232" y="255"/>
                  </a:lnTo>
                  <a:lnTo>
                    <a:pt x="228" y="255"/>
                  </a:lnTo>
                  <a:lnTo>
                    <a:pt x="224" y="255"/>
                  </a:lnTo>
                  <a:lnTo>
                    <a:pt x="224" y="263"/>
                  </a:lnTo>
                  <a:lnTo>
                    <a:pt x="216" y="259"/>
                  </a:lnTo>
                  <a:lnTo>
                    <a:pt x="208" y="255"/>
                  </a:lnTo>
                  <a:lnTo>
                    <a:pt x="200" y="247"/>
                  </a:lnTo>
                  <a:lnTo>
                    <a:pt x="192" y="244"/>
                  </a:lnTo>
                  <a:lnTo>
                    <a:pt x="184" y="240"/>
                  </a:lnTo>
                  <a:lnTo>
                    <a:pt x="180" y="236"/>
                  </a:lnTo>
                  <a:lnTo>
                    <a:pt x="168" y="232"/>
                  </a:lnTo>
                  <a:lnTo>
                    <a:pt x="160" y="224"/>
                  </a:lnTo>
                  <a:lnTo>
                    <a:pt x="152" y="220"/>
                  </a:lnTo>
                  <a:lnTo>
                    <a:pt x="148" y="216"/>
                  </a:lnTo>
                  <a:lnTo>
                    <a:pt x="144" y="216"/>
                  </a:lnTo>
                  <a:lnTo>
                    <a:pt x="140" y="212"/>
                  </a:lnTo>
                  <a:lnTo>
                    <a:pt x="132" y="208"/>
                  </a:lnTo>
                  <a:lnTo>
                    <a:pt x="128" y="204"/>
                  </a:lnTo>
                  <a:lnTo>
                    <a:pt x="116" y="200"/>
                  </a:lnTo>
                  <a:lnTo>
                    <a:pt x="108" y="192"/>
                  </a:lnTo>
                  <a:lnTo>
                    <a:pt x="104" y="192"/>
                  </a:lnTo>
                  <a:lnTo>
                    <a:pt x="92" y="196"/>
                  </a:lnTo>
                  <a:lnTo>
                    <a:pt x="88" y="196"/>
                  </a:lnTo>
                  <a:lnTo>
                    <a:pt x="88" y="200"/>
                  </a:lnTo>
                  <a:lnTo>
                    <a:pt x="84" y="200"/>
                  </a:lnTo>
                  <a:lnTo>
                    <a:pt x="80" y="204"/>
                  </a:lnTo>
                  <a:lnTo>
                    <a:pt x="76" y="204"/>
                  </a:lnTo>
                  <a:lnTo>
                    <a:pt x="76" y="208"/>
                  </a:lnTo>
                  <a:lnTo>
                    <a:pt x="72" y="200"/>
                  </a:lnTo>
                  <a:lnTo>
                    <a:pt x="68" y="196"/>
                  </a:lnTo>
                  <a:lnTo>
                    <a:pt x="64" y="196"/>
                  </a:lnTo>
                  <a:lnTo>
                    <a:pt x="60" y="192"/>
                  </a:lnTo>
                  <a:lnTo>
                    <a:pt x="56" y="192"/>
                  </a:lnTo>
                  <a:lnTo>
                    <a:pt x="52" y="192"/>
                  </a:lnTo>
                  <a:lnTo>
                    <a:pt x="48" y="192"/>
                  </a:lnTo>
                  <a:lnTo>
                    <a:pt x="44" y="188"/>
                  </a:lnTo>
                  <a:lnTo>
                    <a:pt x="40" y="188"/>
                  </a:lnTo>
                  <a:lnTo>
                    <a:pt x="40" y="180"/>
                  </a:lnTo>
                  <a:lnTo>
                    <a:pt x="36" y="172"/>
                  </a:lnTo>
                  <a:lnTo>
                    <a:pt x="32" y="172"/>
                  </a:lnTo>
                  <a:lnTo>
                    <a:pt x="28" y="172"/>
                  </a:lnTo>
                  <a:lnTo>
                    <a:pt x="24" y="168"/>
                  </a:lnTo>
                  <a:lnTo>
                    <a:pt x="20" y="168"/>
                  </a:lnTo>
                  <a:lnTo>
                    <a:pt x="20" y="172"/>
                  </a:lnTo>
                  <a:lnTo>
                    <a:pt x="16" y="168"/>
                  </a:lnTo>
                  <a:lnTo>
                    <a:pt x="16" y="164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12" y="156"/>
                  </a:lnTo>
                  <a:lnTo>
                    <a:pt x="12" y="152"/>
                  </a:lnTo>
                  <a:lnTo>
                    <a:pt x="8" y="148"/>
                  </a:lnTo>
                  <a:lnTo>
                    <a:pt x="4" y="140"/>
                  </a:lnTo>
                  <a:lnTo>
                    <a:pt x="4" y="136"/>
                  </a:lnTo>
                  <a:lnTo>
                    <a:pt x="8" y="132"/>
                  </a:lnTo>
                  <a:lnTo>
                    <a:pt x="12" y="128"/>
                  </a:lnTo>
                  <a:lnTo>
                    <a:pt x="12" y="124"/>
                  </a:lnTo>
                  <a:lnTo>
                    <a:pt x="8" y="124"/>
                  </a:lnTo>
                  <a:lnTo>
                    <a:pt x="8" y="120"/>
                  </a:lnTo>
                  <a:lnTo>
                    <a:pt x="8" y="116"/>
                  </a:lnTo>
                  <a:lnTo>
                    <a:pt x="8" y="112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8" y="100"/>
                  </a:lnTo>
                  <a:lnTo>
                    <a:pt x="8" y="96"/>
                  </a:lnTo>
                  <a:lnTo>
                    <a:pt x="8" y="92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72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7" name="Freeform 144"/>
            <p:cNvSpPr>
              <a:spLocks noEditPoints="1"/>
            </p:cNvSpPr>
            <p:nvPr>
              <p:custDataLst>
                <p:tags r:id="rId340"/>
              </p:custDataLst>
            </p:nvPr>
          </p:nvSpPr>
          <p:spPr bwMode="gray">
            <a:xfrm>
              <a:off x="5345984" y="4917779"/>
              <a:ext cx="166103" cy="385597"/>
            </a:xfrm>
            <a:custGeom>
              <a:avLst/>
              <a:gdLst/>
              <a:ahLst/>
              <a:cxnLst>
                <a:cxn ang="0">
                  <a:pos x="76" y="28"/>
                </a:cxn>
                <a:cxn ang="0">
                  <a:pos x="80" y="172"/>
                </a:cxn>
                <a:cxn ang="0">
                  <a:pos x="76" y="188"/>
                </a:cxn>
                <a:cxn ang="0">
                  <a:pos x="72" y="204"/>
                </a:cxn>
                <a:cxn ang="0">
                  <a:pos x="68" y="216"/>
                </a:cxn>
                <a:cxn ang="0">
                  <a:pos x="64" y="228"/>
                </a:cxn>
                <a:cxn ang="0">
                  <a:pos x="60" y="244"/>
                </a:cxn>
                <a:cxn ang="0">
                  <a:pos x="48" y="252"/>
                </a:cxn>
                <a:cxn ang="0">
                  <a:pos x="36" y="256"/>
                </a:cxn>
                <a:cxn ang="0">
                  <a:pos x="28" y="256"/>
                </a:cxn>
                <a:cxn ang="0">
                  <a:pos x="16" y="252"/>
                </a:cxn>
                <a:cxn ang="0">
                  <a:pos x="12" y="248"/>
                </a:cxn>
                <a:cxn ang="0">
                  <a:pos x="8" y="232"/>
                </a:cxn>
                <a:cxn ang="0">
                  <a:pos x="8" y="216"/>
                </a:cxn>
                <a:cxn ang="0">
                  <a:pos x="4" y="204"/>
                </a:cxn>
                <a:cxn ang="0">
                  <a:pos x="0" y="192"/>
                </a:cxn>
                <a:cxn ang="0">
                  <a:pos x="4" y="180"/>
                </a:cxn>
                <a:cxn ang="0">
                  <a:pos x="12" y="172"/>
                </a:cxn>
                <a:cxn ang="0">
                  <a:pos x="16" y="156"/>
                </a:cxn>
                <a:cxn ang="0">
                  <a:pos x="20" y="144"/>
                </a:cxn>
                <a:cxn ang="0">
                  <a:pos x="16" y="132"/>
                </a:cxn>
                <a:cxn ang="0">
                  <a:pos x="12" y="120"/>
                </a:cxn>
                <a:cxn ang="0">
                  <a:pos x="12" y="104"/>
                </a:cxn>
                <a:cxn ang="0">
                  <a:pos x="16" y="92"/>
                </a:cxn>
                <a:cxn ang="0">
                  <a:pos x="16" y="84"/>
                </a:cxn>
                <a:cxn ang="0">
                  <a:pos x="28" y="76"/>
                </a:cxn>
                <a:cxn ang="0">
                  <a:pos x="36" y="76"/>
                </a:cxn>
                <a:cxn ang="0">
                  <a:pos x="40" y="72"/>
                </a:cxn>
                <a:cxn ang="0">
                  <a:pos x="48" y="72"/>
                </a:cxn>
                <a:cxn ang="0">
                  <a:pos x="48" y="68"/>
                </a:cxn>
                <a:cxn ang="0">
                  <a:pos x="60" y="64"/>
                </a:cxn>
                <a:cxn ang="0">
                  <a:pos x="60" y="64"/>
                </a:cxn>
                <a:cxn ang="0">
                  <a:pos x="64" y="56"/>
                </a:cxn>
                <a:cxn ang="0">
                  <a:pos x="68" y="56"/>
                </a:cxn>
                <a:cxn ang="0">
                  <a:pos x="72" y="52"/>
                </a:cxn>
                <a:cxn ang="0">
                  <a:pos x="72" y="44"/>
                </a:cxn>
                <a:cxn ang="0">
                  <a:pos x="72" y="36"/>
                </a:cxn>
                <a:cxn ang="0">
                  <a:pos x="80" y="32"/>
                </a:cxn>
                <a:cxn ang="0">
                  <a:pos x="84" y="28"/>
                </a:cxn>
                <a:cxn ang="0">
                  <a:pos x="88" y="16"/>
                </a:cxn>
                <a:cxn ang="0">
                  <a:pos x="92" y="8"/>
                </a:cxn>
                <a:cxn ang="0">
                  <a:pos x="92" y="0"/>
                </a:cxn>
                <a:cxn ang="0">
                  <a:pos x="92" y="8"/>
                </a:cxn>
                <a:cxn ang="0">
                  <a:pos x="100" y="16"/>
                </a:cxn>
                <a:cxn ang="0">
                  <a:pos x="100" y="24"/>
                </a:cxn>
                <a:cxn ang="0">
                  <a:pos x="104" y="36"/>
                </a:cxn>
                <a:cxn ang="0">
                  <a:pos x="108" y="48"/>
                </a:cxn>
                <a:cxn ang="0">
                  <a:pos x="108" y="60"/>
                </a:cxn>
                <a:cxn ang="0">
                  <a:pos x="108" y="76"/>
                </a:cxn>
                <a:cxn ang="0">
                  <a:pos x="96" y="68"/>
                </a:cxn>
                <a:cxn ang="0">
                  <a:pos x="100" y="80"/>
                </a:cxn>
                <a:cxn ang="0">
                  <a:pos x="96" y="92"/>
                </a:cxn>
                <a:cxn ang="0">
                  <a:pos x="96" y="108"/>
                </a:cxn>
                <a:cxn ang="0">
                  <a:pos x="92" y="124"/>
                </a:cxn>
                <a:cxn ang="0">
                  <a:pos x="88" y="136"/>
                </a:cxn>
                <a:cxn ang="0">
                  <a:pos x="84" y="148"/>
                </a:cxn>
                <a:cxn ang="0">
                  <a:pos x="80" y="160"/>
                </a:cxn>
                <a:cxn ang="0">
                  <a:pos x="104" y="96"/>
                </a:cxn>
              </a:cxnLst>
              <a:rect l="0" t="0" r="r" b="b"/>
              <a:pathLst>
                <a:path w="112" h="260">
                  <a:moveTo>
                    <a:pt x="76" y="28"/>
                  </a:moveTo>
                  <a:lnTo>
                    <a:pt x="76" y="24"/>
                  </a:lnTo>
                  <a:lnTo>
                    <a:pt x="80" y="28"/>
                  </a:lnTo>
                  <a:lnTo>
                    <a:pt x="76" y="28"/>
                  </a:lnTo>
                  <a:close/>
                  <a:moveTo>
                    <a:pt x="80" y="160"/>
                  </a:moveTo>
                  <a:lnTo>
                    <a:pt x="80" y="164"/>
                  </a:lnTo>
                  <a:lnTo>
                    <a:pt x="80" y="168"/>
                  </a:lnTo>
                  <a:lnTo>
                    <a:pt x="80" y="172"/>
                  </a:lnTo>
                  <a:lnTo>
                    <a:pt x="80" y="176"/>
                  </a:lnTo>
                  <a:lnTo>
                    <a:pt x="76" y="180"/>
                  </a:lnTo>
                  <a:lnTo>
                    <a:pt x="76" y="184"/>
                  </a:lnTo>
                  <a:lnTo>
                    <a:pt x="76" y="188"/>
                  </a:lnTo>
                  <a:lnTo>
                    <a:pt x="72" y="192"/>
                  </a:lnTo>
                  <a:lnTo>
                    <a:pt x="72" y="196"/>
                  </a:lnTo>
                  <a:lnTo>
                    <a:pt x="72" y="200"/>
                  </a:lnTo>
                  <a:lnTo>
                    <a:pt x="72" y="204"/>
                  </a:lnTo>
                  <a:lnTo>
                    <a:pt x="72" y="208"/>
                  </a:lnTo>
                  <a:lnTo>
                    <a:pt x="68" y="208"/>
                  </a:lnTo>
                  <a:lnTo>
                    <a:pt x="68" y="212"/>
                  </a:lnTo>
                  <a:lnTo>
                    <a:pt x="68" y="216"/>
                  </a:lnTo>
                  <a:lnTo>
                    <a:pt x="68" y="220"/>
                  </a:lnTo>
                  <a:lnTo>
                    <a:pt x="68" y="224"/>
                  </a:lnTo>
                  <a:lnTo>
                    <a:pt x="64" y="224"/>
                  </a:lnTo>
                  <a:lnTo>
                    <a:pt x="64" y="228"/>
                  </a:lnTo>
                  <a:lnTo>
                    <a:pt x="64" y="232"/>
                  </a:lnTo>
                  <a:lnTo>
                    <a:pt x="64" y="236"/>
                  </a:lnTo>
                  <a:lnTo>
                    <a:pt x="60" y="240"/>
                  </a:lnTo>
                  <a:lnTo>
                    <a:pt x="60" y="244"/>
                  </a:lnTo>
                  <a:lnTo>
                    <a:pt x="60" y="248"/>
                  </a:lnTo>
                  <a:lnTo>
                    <a:pt x="56" y="248"/>
                  </a:lnTo>
                  <a:lnTo>
                    <a:pt x="52" y="252"/>
                  </a:lnTo>
                  <a:lnTo>
                    <a:pt x="48" y="252"/>
                  </a:lnTo>
                  <a:lnTo>
                    <a:pt x="44" y="252"/>
                  </a:lnTo>
                  <a:lnTo>
                    <a:pt x="40" y="252"/>
                  </a:lnTo>
                  <a:lnTo>
                    <a:pt x="40" y="256"/>
                  </a:lnTo>
                  <a:lnTo>
                    <a:pt x="36" y="256"/>
                  </a:lnTo>
                  <a:lnTo>
                    <a:pt x="36" y="260"/>
                  </a:lnTo>
                  <a:lnTo>
                    <a:pt x="32" y="260"/>
                  </a:lnTo>
                  <a:lnTo>
                    <a:pt x="28" y="260"/>
                  </a:lnTo>
                  <a:lnTo>
                    <a:pt x="28" y="256"/>
                  </a:lnTo>
                  <a:lnTo>
                    <a:pt x="24" y="256"/>
                  </a:lnTo>
                  <a:lnTo>
                    <a:pt x="24" y="252"/>
                  </a:lnTo>
                  <a:lnTo>
                    <a:pt x="20" y="252"/>
                  </a:lnTo>
                  <a:lnTo>
                    <a:pt x="16" y="252"/>
                  </a:lnTo>
                  <a:lnTo>
                    <a:pt x="20" y="252"/>
                  </a:lnTo>
                  <a:lnTo>
                    <a:pt x="16" y="252"/>
                  </a:lnTo>
                  <a:lnTo>
                    <a:pt x="16" y="248"/>
                  </a:lnTo>
                  <a:lnTo>
                    <a:pt x="12" y="248"/>
                  </a:lnTo>
                  <a:lnTo>
                    <a:pt x="12" y="244"/>
                  </a:lnTo>
                  <a:lnTo>
                    <a:pt x="12" y="240"/>
                  </a:lnTo>
                  <a:lnTo>
                    <a:pt x="8" y="236"/>
                  </a:lnTo>
                  <a:lnTo>
                    <a:pt x="8" y="232"/>
                  </a:lnTo>
                  <a:lnTo>
                    <a:pt x="8" y="228"/>
                  </a:lnTo>
                  <a:lnTo>
                    <a:pt x="8" y="224"/>
                  </a:lnTo>
                  <a:lnTo>
                    <a:pt x="8" y="220"/>
                  </a:lnTo>
                  <a:lnTo>
                    <a:pt x="8" y="216"/>
                  </a:lnTo>
                  <a:lnTo>
                    <a:pt x="4" y="216"/>
                  </a:lnTo>
                  <a:lnTo>
                    <a:pt x="4" y="212"/>
                  </a:lnTo>
                  <a:lnTo>
                    <a:pt x="4" y="208"/>
                  </a:lnTo>
                  <a:lnTo>
                    <a:pt x="4" y="204"/>
                  </a:lnTo>
                  <a:lnTo>
                    <a:pt x="0" y="204"/>
                  </a:lnTo>
                  <a:lnTo>
                    <a:pt x="0" y="200"/>
                  </a:lnTo>
                  <a:lnTo>
                    <a:pt x="0" y="196"/>
                  </a:lnTo>
                  <a:lnTo>
                    <a:pt x="0" y="192"/>
                  </a:lnTo>
                  <a:lnTo>
                    <a:pt x="0" y="188"/>
                  </a:lnTo>
                  <a:lnTo>
                    <a:pt x="0" y="184"/>
                  </a:lnTo>
                  <a:lnTo>
                    <a:pt x="4" y="184"/>
                  </a:lnTo>
                  <a:lnTo>
                    <a:pt x="4" y="180"/>
                  </a:lnTo>
                  <a:lnTo>
                    <a:pt x="4" y="176"/>
                  </a:lnTo>
                  <a:lnTo>
                    <a:pt x="8" y="176"/>
                  </a:lnTo>
                  <a:lnTo>
                    <a:pt x="8" y="172"/>
                  </a:lnTo>
                  <a:lnTo>
                    <a:pt x="12" y="172"/>
                  </a:lnTo>
                  <a:lnTo>
                    <a:pt x="12" y="168"/>
                  </a:lnTo>
                  <a:lnTo>
                    <a:pt x="12" y="164"/>
                  </a:lnTo>
                  <a:lnTo>
                    <a:pt x="16" y="160"/>
                  </a:lnTo>
                  <a:lnTo>
                    <a:pt x="16" y="156"/>
                  </a:lnTo>
                  <a:lnTo>
                    <a:pt x="20" y="152"/>
                  </a:lnTo>
                  <a:lnTo>
                    <a:pt x="20" y="148"/>
                  </a:lnTo>
                  <a:lnTo>
                    <a:pt x="16" y="148"/>
                  </a:lnTo>
                  <a:lnTo>
                    <a:pt x="20" y="144"/>
                  </a:lnTo>
                  <a:lnTo>
                    <a:pt x="20" y="140"/>
                  </a:lnTo>
                  <a:lnTo>
                    <a:pt x="16" y="140"/>
                  </a:lnTo>
                  <a:lnTo>
                    <a:pt x="16" y="136"/>
                  </a:lnTo>
                  <a:lnTo>
                    <a:pt x="16" y="132"/>
                  </a:lnTo>
                  <a:lnTo>
                    <a:pt x="16" y="128"/>
                  </a:lnTo>
                  <a:lnTo>
                    <a:pt x="16" y="124"/>
                  </a:lnTo>
                  <a:lnTo>
                    <a:pt x="12" y="124"/>
                  </a:lnTo>
                  <a:lnTo>
                    <a:pt x="12" y="120"/>
                  </a:lnTo>
                  <a:lnTo>
                    <a:pt x="12" y="116"/>
                  </a:lnTo>
                  <a:lnTo>
                    <a:pt x="12" y="112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6" y="100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32" y="76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72"/>
                  </a:lnTo>
                  <a:lnTo>
                    <a:pt x="40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8" y="76"/>
                  </a:lnTo>
                  <a:lnTo>
                    <a:pt x="48" y="72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52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8" y="56"/>
                  </a:lnTo>
                  <a:lnTo>
                    <a:pt x="68" y="52"/>
                  </a:lnTo>
                  <a:lnTo>
                    <a:pt x="72" y="52"/>
                  </a:lnTo>
                  <a:lnTo>
                    <a:pt x="72" y="56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72" y="44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2" y="32"/>
                  </a:lnTo>
                  <a:lnTo>
                    <a:pt x="76" y="32"/>
                  </a:lnTo>
                  <a:lnTo>
                    <a:pt x="76" y="36"/>
                  </a:lnTo>
                  <a:lnTo>
                    <a:pt x="80" y="32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0" y="28"/>
                  </a:lnTo>
                  <a:lnTo>
                    <a:pt x="84" y="28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88" y="16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0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96" y="12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0" y="24"/>
                  </a:lnTo>
                  <a:lnTo>
                    <a:pt x="104" y="24"/>
                  </a:lnTo>
                  <a:lnTo>
                    <a:pt x="104" y="28"/>
                  </a:lnTo>
                  <a:lnTo>
                    <a:pt x="104" y="32"/>
                  </a:lnTo>
                  <a:lnTo>
                    <a:pt x="104" y="36"/>
                  </a:lnTo>
                  <a:lnTo>
                    <a:pt x="104" y="40"/>
                  </a:lnTo>
                  <a:lnTo>
                    <a:pt x="104" y="44"/>
                  </a:lnTo>
                  <a:lnTo>
                    <a:pt x="108" y="44"/>
                  </a:lnTo>
                  <a:lnTo>
                    <a:pt x="108" y="48"/>
                  </a:lnTo>
                  <a:lnTo>
                    <a:pt x="104" y="48"/>
                  </a:lnTo>
                  <a:lnTo>
                    <a:pt x="108" y="52"/>
                  </a:lnTo>
                  <a:lnTo>
                    <a:pt x="108" y="56"/>
                  </a:lnTo>
                  <a:lnTo>
                    <a:pt x="108" y="60"/>
                  </a:lnTo>
                  <a:lnTo>
                    <a:pt x="112" y="64"/>
                  </a:lnTo>
                  <a:lnTo>
                    <a:pt x="108" y="68"/>
                  </a:lnTo>
                  <a:lnTo>
                    <a:pt x="108" y="72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4" y="72"/>
                  </a:lnTo>
                  <a:lnTo>
                    <a:pt x="100" y="68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100" y="72"/>
                  </a:lnTo>
                  <a:lnTo>
                    <a:pt x="100" y="76"/>
                  </a:lnTo>
                  <a:lnTo>
                    <a:pt x="100" y="80"/>
                  </a:lnTo>
                  <a:lnTo>
                    <a:pt x="100" y="84"/>
                  </a:lnTo>
                  <a:lnTo>
                    <a:pt x="100" y="88"/>
                  </a:lnTo>
                  <a:lnTo>
                    <a:pt x="100" y="92"/>
                  </a:lnTo>
                  <a:lnTo>
                    <a:pt x="96" y="92"/>
                  </a:lnTo>
                  <a:lnTo>
                    <a:pt x="96" y="96"/>
                  </a:lnTo>
                  <a:lnTo>
                    <a:pt x="96" y="100"/>
                  </a:lnTo>
                  <a:lnTo>
                    <a:pt x="96" y="104"/>
                  </a:lnTo>
                  <a:lnTo>
                    <a:pt x="96" y="108"/>
                  </a:lnTo>
                  <a:lnTo>
                    <a:pt x="96" y="112"/>
                  </a:lnTo>
                  <a:lnTo>
                    <a:pt x="96" y="116"/>
                  </a:lnTo>
                  <a:lnTo>
                    <a:pt x="92" y="120"/>
                  </a:lnTo>
                  <a:lnTo>
                    <a:pt x="92" y="124"/>
                  </a:lnTo>
                  <a:lnTo>
                    <a:pt x="92" y="128"/>
                  </a:lnTo>
                  <a:lnTo>
                    <a:pt x="92" y="132"/>
                  </a:lnTo>
                  <a:lnTo>
                    <a:pt x="88" y="132"/>
                  </a:lnTo>
                  <a:lnTo>
                    <a:pt x="88" y="136"/>
                  </a:lnTo>
                  <a:lnTo>
                    <a:pt x="88" y="140"/>
                  </a:lnTo>
                  <a:lnTo>
                    <a:pt x="88" y="144"/>
                  </a:lnTo>
                  <a:lnTo>
                    <a:pt x="84" y="144"/>
                  </a:lnTo>
                  <a:lnTo>
                    <a:pt x="84" y="148"/>
                  </a:lnTo>
                  <a:lnTo>
                    <a:pt x="84" y="152"/>
                  </a:lnTo>
                  <a:lnTo>
                    <a:pt x="84" y="156"/>
                  </a:lnTo>
                  <a:lnTo>
                    <a:pt x="84" y="160"/>
                  </a:lnTo>
                  <a:lnTo>
                    <a:pt x="80" y="160"/>
                  </a:lnTo>
                  <a:close/>
                  <a:moveTo>
                    <a:pt x="100" y="96"/>
                  </a:moveTo>
                  <a:lnTo>
                    <a:pt x="100" y="92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0" y="9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8" name="Freeform 145"/>
            <p:cNvSpPr>
              <a:spLocks noEditPoints="1"/>
            </p:cNvSpPr>
            <p:nvPr>
              <p:custDataLst>
                <p:tags r:id="rId341"/>
              </p:custDataLst>
            </p:nvPr>
          </p:nvSpPr>
          <p:spPr bwMode="gray">
            <a:xfrm>
              <a:off x="5108694" y="4852524"/>
              <a:ext cx="71187" cy="213561"/>
            </a:xfrm>
            <a:custGeom>
              <a:avLst/>
              <a:gdLst/>
              <a:ahLst/>
              <a:cxnLst>
                <a:cxn ang="0">
                  <a:pos x="4" y="84"/>
                </a:cxn>
                <a:cxn ang="0">
                  <a:pos x="0" y="76"/>
                </a:cxn>
                <a:cxn ang="0">
                  <a:pos x="4" y="72"/>
                </a:cxn>
                <a:cxn ang="0">
                  <a:pos x="4" y="64"/>
                </a:cxn>
                <a:cxn ang="0">
                  <a:pos x="4" y="60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2" y="52"/>
                </a:cxn>
                <a:cxn ang="0">
                  <a:pos x="8" y="40"/>
                </a:cxn>
                <a:cxn ang="0">
                  <a:pos x="12" y="32"/>
                </a:cxn>
                <a:cxn ang="0">
                  <a:pos x="8" y="28"/>
                </a:cxn>
                <a:cxn ang="0">
                  <a:pos x="12" y="24"/>
                </a:cxn>
                <a:cxn ang="0">
                  <a:pos x="16" y="20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12" y="0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8" y="8"/>
                </a:cxn>
                <a:cxn ang="0">
                  <a:pos x="28" y="16"/>
                </a:cxn>
                <a:cxn ang="0">
                  <a:pos x="28" y="20"/>
                </a:cxn>
                <a:cxn ang="0">
                  <a:pos x="28" y="28"/>
                </a:cxn>
                <a:cxn ang="0">
                  <a:pos x="32" y="32"/>
                </a:cxn>
                <a:cxn ang="0">
                  <a:pos x="36" y="40"/>
                </a:cxn>
                <a:cxn ang="0">
                  <a:pos x="28" y="40"/>
                </a:cxn>
                <a:cxn ang="0">
                  <a:pos x="28" y="44"/>
                </a:cxn>
                <a:cxn ang="0">
                  <a:pos x="24" y="52"/>
                </a:cxn>
                <a:cxn ang="0">
                  <a:pos x="28" y="56"/>
                </a:cxn>
                <a:cxn ang="0">
                  <a:pos x="28" y="60"/>
                </a:cxn>
                <a:cxn ang="0">
                  <a:pos x="28" y="72"/>
                </a:cxn>
                <a:cxn ang="0">
                  <a:pos x="32" y="76"/>
                </a:cxn>
                <a:cxn ang="0">
                  <a:pos x="44" y="88"/>
                </a:cxn>
                <a:cxn ang="0">
                  <a:pos x="48" y="100"/>
                </a:cxn>
                <a:cxn ang="0">
                  <a:pos x="48" y="108"/>
                </a:cxn>
                <a:cxn ang="0">
                  <a:pos x="48" y="120"/>
                </a:cxn>
                <a:cxn ang="0">
                  <a:pos x="44" y="124"/>
                </a:cxn>
                <a:cxn ang="0">
                  <a:pos x="40" y="132"/>
                </a:cxn>
                <a:cxn ang="0">
                  <a:pos x="40" y="132"/>
                </a:cxn>
                <a:cxn ang="0">
                  <a:pos x="40" y="140"/>
                </a:cxn>
                <a:cxn ang="0">
                  <a:pos x="36" y="140"/>
                </a:cxn>
                <a:cxn ang="0">
                  <a:pos x="36" y="136"/>
                </a:cxn>
                <a:cxn ang="0">
                  <a:pos x="32" y="132"/>
                </a:cxn>
                <a:cxn ang="0">
                  <a:pos x="28" y="128"/>
                </a:cxn>
                <a:cxn ang="0">
                  <a:pos x="28" y="124"/>
                </a:cxn>
                <a:cxn ang="0">
                  <a:pos x="24" y="120"/>
                </a:cxn>
                <a:cxn ang="0">
                  <a:pos x="24" y="116"/>
                </a:cxn>
                <a:cxn ang="0">
                  <a:pos x="28" y="112"/>
                </a:cxn>
                <a:cxn ang="0">
                  <a:pos x="28" y="108"/>
                </a:cxn>
                <a:cxn ang="0">
                  <a:pos x="28" y="104"/>
                </a:cxn>
                <a:cxn ang="0">
                  <a:pos x="28" y="96"/>
                </a:cxn>
                <a:cxn ang="0">
                  <a:pos x="24" y="92"/>
                </a:cxn>
                <a:cxn ang="0">
                  <a:pos x="16" y="92"/>
                </a:cxn>
                <a:cxn ang="0">
                  <a:pos x="8" y="84"/>
                </a:cxn>
                <a:cxn ang="0">
                  <a:pos x="32" y="48"/>
                </a:cxn>
              </a:cxnLst>
              <a:rect l="0" t="0" r="r" b="b"/>
              <a:pathLst>
                <a:path w="48" h="144">
                  <a:moveTo>
                    <a:pt x="8" y="84"/>
                  </a:move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8" y="52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40" y="80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20"/>
                  </a:lnTo>
                  <a:lnTo>
                    <a:pt x="48" y="120"/>
                  </a:lnTo>
                  <a:lnTo>
                    <a:pt x="48" y="124"/>
                  </a:lnTo>
                  <a:lnTo>
                    <a:pt x="48" y="124"/>
                  </a:lnTo>
                  <a:lnTo>
                    <a:pt x="48" y="12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40" y="124"/>
                  </a:lnTo>
                  <a:lnTo>
                    <a:pt x="40" y="124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40" y="132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40" y="132"/>
                  </a:lnTo>
                  <a:lnTo>
                    <a:pt x="40" y="132"/>
                  </a:lnTo>
                  <a:lnTo>
                    <a:pt x="40" y="132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2" y="132"/>
                  </a:lnTo>
                  <a:lnTo>
                    <a:pt x="32" y="132"/>
                  </a:lnTo>
                  <a:lnTo>
                    <a:pt x="32" y="132"/>
                  </a:lnTo>
                  <a:lnTo>
                    <a:pt x="32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0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0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4"/>
                  </a:lnTo>
                  <a:close/>
                  <a:moveTo>
                    <a:pt x="28" y="48"/>
                  </a:move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close/>
                  <a:moveTo>
                    <a:pt x="32" y="48"/>
                  </a:move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9" name="Freeform 146"/>
            <p:cNvSpPr>
              <a:spLocks/>
            </p:cNvSpPr>
            <p:nvPr>
              <p:custDataLst>
                <p:tags r:id="rId342"/>
              </p:custDataLst>
            </p:nvPr>
          </p:nvSpPr>
          <p:spPr bwMode="gray">
            <a:xfrm>
              <a:off x="4103177" y="3906329"/>
              <a:ext cx="367800" cy="413774"/>
            </a:xfrm>
            <a:custGeom>
              <a:avLst/>
              <a:gdLst/>
              <a:ahLst/>
              <a:cxnLst>
                <a:cxn ang="0">
                  <a:pos x="28" y="243"/>
                </a:cxn>
                <a:cxn ang="0">
                  <a:pos x="20" y="239"/>
                </a:cxn>
                <a:cxn ang="0">
                  <a:pos x="8" y="239"/>
                </a:cxn>
                <a:cxn ang="0">
                  <a:pos x="12" y="223"/>
                </a:cxn>
                <a:cxn ang="0">
                  <a:pos x="0" y="215"/>
                </a:cxn>
                <a:cxn ang="0">
                  <a:pos x="4" y="203"/>
                </a:cxn>
                <a:cxn ang="0">
                  <a:pos x="0" y="195"/>
                </a:cxn>
                <a:cxn ang="0">
                  <a:pos x="8" y="179"/>
                </a:cxn>
                <a:cxn ang="0">
                  <a:pos x="20" y="187"/>
                </a:cxn>
                <a:cxn ang="0">
                  <a:pos x="32" y="183"/>
                </a:cxn>
                <a:cxn ang="0">
                  <a:pos x="44" y="179"/>
                </a:cxn>
                <a:cxn ang="0">
                  <a:pos x="64" y="179"/>
                </a:cxn>
                <a:cxn ang="0">
                  <a:pos x="88" y="179"/>
                </a:cxn>
                <a:cxn ang="0">
                  <a:pos x="104" y="163"/>
                </a:cxn>
                <a:cxn ang="0">
                  <a:pos x="96" y="131"/>
                </a:cxn>
                <a:cxn ang="0">
                  <a:pos x="92" y="99"/>
                </a:cxn>
                <a:cxn ang="0">
                  <a:pos x="92" y="72"/>
                </a:cxn>
                <a:cxn ang="0">
                  <a:pos x="88" y="44"/>
                </a:cxn>
                <a:cxn ang="0">
                  <a:pos x="84" y="12"/>
                </a:cxn>
                <a:cxn ang="0">
                  <a:pos x="96" y="0"/>
                </a:cxn>
                <a:cxn ang="0">
                  <a:pos x="128" y="12"/>
                </a:cxn>
                <a:cxn ang="0">
                  <a:pos x="152" y="36"/>
                </a:cxn>
                <a:cxn ang="0">
                  <a:pos x="176" y="56"/>
                </a:cxn>
                <a:cxn ang="0">
                  <a:pos x="200" y="76"/>
                </a:cxn>
                <a:cxn ang="0">
                  <a:pos x="208" y="84"/>
                </a:cxn>
                <a:cxn ang="0">
                  <a:pos x="220" y="91"/>
                </a:cxn>
                <a:cxn ang="0">
                  <a:pos x="232" y="103"/>
                </a:cxn>
                <a:cxn ang="0">
                  <a:pos x="244" y="111"/>
                </a:cxn>
                <a:cxn ang="0">
                  <a:pos x="248" y="139"/>
                </a:cxn>
                <a:cxn ang="0">
                  <a:pos x="248" y="163"/>
                </a:cxn>
                <a:cxn ang="0">
                  <a:pos x="240" y="175"/>
                </a:cxn>
                <a:cxn ang="0">
                  <a:pos x="228" y="179"/>
                </a:cxn>
                <a:cxn ang="0">
                  <a:pos x="200" y="187"/>
                </a:cxn>
                <a:cxn ang="0">
                  <a:pos x="188" y="191"/>
                </a:cxn>
                <a:cxn ang="0">
                  <a:pos x="176" y="187"/>
                </a:cxn>
                <a:cxn ang="0">
                  <a:pos x="156" y="199"/>
                </a:cxn>
                <a:cxn ang="0">
                  <a:pos x="140" y="207"/>
                </a:cxn>
                <a:cxn ang="0">
                  <a:pos x="136" y="215"/>
                </a:cxn>
                <a:cxn ang="0">
                  <a:pos x="128" y="219"/>
                </a:cxn>
                <a:cxn ang="0">
                  <a:pos x="120" y="227"/>
                </a:cxn>
                <a:cxn ang="0">
                  <a:pos x="112" y="243"/>
                </a:cxn>
                <a:cxn ang="0">
                  <a:pos x="104" y="259"/>
                </a:cxn>
                <a:cxn ang="0">
                  <a:pos x="100" y="275"/>
                </a:cxn>
                <a:cxn ang="0">
                  <a:pos x="88" y="275"/>
                </a:cxn>
                <a:cxn ang="0">
                  <a:pos x="88" y="267"/>
                </a:cxn>
                <a:cxn ang="0">
                  <a:pos x="80" y="279"/>
                </a:cxn>
                <a:cxn ang="0">
                  <a:pos x="64" y="275"/>
                </a:cxn>
                <a:cxn ang="0">
                  <a:pos x="56" y="267"/>
                </a:cxn>
                <a:cxn ang="0">
                  <a:pos x="52" y="259"/>
                </a:cxn>
                <a:cxn ang="0">
                  <a:pos x="48" y="251"/>
                </a:cxn>
                <a:cxn ang="0">
                  <a:pos x="44" y="235"/>
                </a:cxn>
                <a:cxn ang="0">
                  <a:pos x="36" y="243"/>
                </a:cxn>
              </a:cxnLst>
              <a:rect l="0" t="0" r="r" b="b"/>
              <a:pathLst>
                <a:path w="248" h="279">
                  <a:moveTo>
                    <a:pt x="36" y="243"/>
                  </a:moveTo>
                  <a:lnTo>
                    <a:pt x="32" y="243"/>
                  </a:lnTo>
                  <a:lnTo>
                    <a:pt x="32" y="239"/>
                  </a:lnTo>
                  <a:lnTo>
                    <a:pt x="28" y="239"/>
                  </a:lnTo>
                  <a:lnTo>
                    <a:pt x="28" y="243"/>
                  </a:lnTo>
                  <a:lnTo>
                    <a:pt x="24" y="243"/>
                  </a:lnTo>
                  <a:lnTo>
                    <a:pt x="24" y="247"/>
                  </a:lnTo>
                  <a:lnTo>
                    <a:pt x="20" y="247"/>
                  </a:lnTo>
                  <a:lnTo>
                    <a:pt x="20" y="243"/>
                  </a:lnTo>
                  <a:lnTo>
                    <a:pt x="20" y="239"/>
                  </a:lnTo>
                  <a:lnTo>
                    <a:pt x="16" y="239"/>
                  </a:lnTo>
                  <a:lnTo>
                    <a:pt x="16" y="243"/>
                  </a:lnTo>
                  <a:lnTo>
                    <a:pt x="12" y="243"/>
                  </a:lnTo>
                  <a:lnTo>
                    <a:pt x="8" y="243"/>
                  </a:lnTo>
                  <a:lnTo>
                    <a:pt x="8" y="239"/>
                  </a:lnTo>
                  <a:lnTo>
                    <a:pt x="12" y="239"/>
                  </a:lnTo>
                  <a:lnTo>
                    <a:pt x="12" y="235"/>
                  </a:lnTo>
                  <a:lnTo>
                    <a:pt x="12" y="231"/>
                  </a:lnTo>
                  <a:lnTo>
                    <a:pt x="12" y="227"/>
                  </a:lnTo>
                  <a:lnTo>
                    <a:pt x="12" y="223"/>
                  </a:lnTo>
                  <a:lnTo>
                    <a:pt x="8" y="223"/>
                  </a:lnTo>
                  <a:lnTo>
                    <a:pt x="8" y="219"/>
                  </a:lnTo>
                  <a:lnTo>
                    <a:pt x="4" y="219"/>
                  </a:lnTo>
                  <a:lnTo>
                    <a:pt x="4" y="215"/>
                  </a:lnTo>
                  <a:lnTo>
                    <a:pt x="0" y="215"/>
                  </a:lnTo>
                  <a:lnTo>
                    <a:pt x="0" y="211"/>
                  </a:lnTo>
                  <a:lnTo>
                    <a:pt x="4" y="211"/>
                  </a:lnTo>
                  <a:lnTo>
                    <a:pt x="4" y="207"/>
                  </a:lnTo>
                  <a:lnTo>
                    <a:pt x="0" y="207"/>
                  </a:lnTo>
                  <a:lnTo>
                    <a:pt x="4" y="203"/>
                  </a:lnTo>
                  <a:lnTo>
                    <a:pt x="0" y="203"/>
                  </a:lnTo>
                  <a:lnTo>
                    <a:pt x="0" y="199"/>
                  </a:lnTo>
                  <a:lnTo>
                    <a:pt x="0" y="195"/>
                  </a:lnTo>
                  <a:lnTo>
                    <a:pt x="0" y="191"/>
                  </a:lnTo>
                  <a:lnTo>
                    <a:pt x="0" y="195"/>
                  </a:lnTo>
                  <a:lnTo>
                    <a:pt x="4" y="191"/>
                  </a:lnTo>
                  <a:lnTo>
                    <a:pt x="4" y="187"/>
                  </a:lnTo>
                  <a:lnTo>
                    <a:pt x="4" y="183"/>
                  </a:lnTo>
                  <a:lnTo>
                    <a:pt x="4" y="179"/>
                  </a:lnTo>
                  <a:lnTo>
                    <a:pt x="8" y="179"/>
                  </a:lnTo>
                  <a:lnTo>
                    <a:pt x="8" y="175"/>
                  </a:lnTo>
                  <a:lnTo>
                    <a:pt x="12" y="175"/>
                  </a:lnTo>
                  <a:lnTo>
                    <a:pt x="12" y="179"/>
                  </a:lnTo>
                  <a:lnTo>
                    <a:pt x="16" y="183"/>
                  </a:lnTo>
                  <a:lnTo>
                    <a:pt x="20" y="187"/>
                  </a:lnTo>
                  <a:lnTo>
                    <a:pt x="20" y="183"/>
                  </a:lnTo>
                  <a:lnTo>
                    <a:pt x="20" y="179"/>
                  </a:lnTo>
                  <a:lnTo>
                    <a:pt x="24" y="179"/>
                  </a:lnTo>
                  <a:lnTo>
                    <a:pt x="28" y="179"/>
                  </a:lnTo>
                  <a:lnTo>
                    <a:pt x="32" y="183"/>
                  </a:lnTo>
                  <a:lnTo>
                    <a:pt x="36" y="183"/>
                  </a:lnTo>
                  <a:lnTo>
                    <a:pt x="36" y="179"/>
                  </a:lnTo>
                  <a:lnTo>
                    <a:pt x="40" y="179"/>
                  </a:lnTo>
                  <a:lnTo>
                    <a:pt x="44" y="175"/>
                  </a:lnTo>
                  <a:lnTo>
                    <a:pt x="44" y="179"/>
                  </a:lnTo>
                  <a:lnTo>
                    <a:pt x="48" y="179"/>
                  </a:lnTo>
                  <a:lnTo>
                    <a:pt x="52" y="179"/>
                  </a:lnTo>
                  <a:lnTo>
                    <a:pt x="56" y="179"/>
                  </a:lnTo>
                  <a:lnTo>
                    <a:pt x="60" y="179"/>
                  </a:lnTo>
                  <a:lnTo>
                    <a:pt x="64" y="179"/>
                  </a:lnTo>
                  <a:lnTo>
                    <a:pt x="68" y="179"/>
                  </a:lnTo>
                  <a:lnTo>
                    <a:pt x="72" y="179"/>
                  </a:lnTo>
                  <a:lnTo>
                    <a:pt x="76" y="179"/>
                  </a:lnTo>
                  <a:lnTo>
                    <a:pt x="84" y="179"/>
                  </a:lnTo>
                  <a:lnTo>
                    <a:pt x="88" y="179"/>
                  </a:lnTo>
                  <a:lnTo>
                    <a:pt x="92" y="179"/>
                  </a:lnTo>
                  <a:lnTo>
                    <a:pt x="100" y="179"/>
                  </a:lnTo>
                  <a:lnTo>
                    <a:pt x="100" y="171"/>
                  </a:lnTo>
                  <a:lnTo>
                    <a:pt x="104" y="167"/>
                  </a:lnTo>
                  <a:lnTo>
                    <a:pt x="104" y="163"/>
                  </a:lnTo>
                  <a:lnTo>
                    <a:pt x="100" y="159"/>
                  </a:lnTo>
                  <a:lnTo>
                    <a:pt x="100" y="155"/>
                  </a:lnTo>
                  <a:lnTo>
                    <a:pt x="96" y="143"/>
                  </a:lnTo>
                  <a:lnTo>
                    <a:pt x="96" y="135"/>
                  </a:lnTo>
                  <a:lnTo>
                    <a:pt x="96" y="131"/>
                  </a:lnTo>
                  <a:lnTo>
                    <a:pt x="96" y="127"/>
                  </a:lnTo>
                  <a:lnTo>
                    <a:pt x="96" y="119"/>
                  </a:lnTo>
                  <a:lnTo>
                    <a:pt x="96" y="111"/>
                  </a:lnTo>
                  <a:lnTo>
                    <a:pt x="96" y="107"/>
                  </a:lnTo>
                  <a:lnTo>
                    <a:pt x="92" y="99"/>
                  </a:lnTo>
                  <a:lnTo>
                    <a:pt x="92" y="91"/>
                  </a:lnTo>
                  <a:lnTo>
                    <a:pt x="92" y="84"/>
                  </a:lnTo>
                  <a:lnTo>
                    <a:pt x="92" y="80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92" y="68"/>
                  </a:lnTo>
                  <a:lnTo>
                    <a:pt x="92" y="64"/>
                  </a:lnTo>
                  <a:lnTo>
                    <a:pt x="88" y="60"/>
                  </a:lnTo>
                  <a:lnTo>
                    <a:pt x="88" y="56"/>
                  </a:lnTo>
                  <a:lnTo>
                    <a:pt x="88" y="44"/>
                  </a:lnTo>
                  <a:lnTo>
                    <a:pt x="88" y="40"/>
                  </a:lnTo>
                  <a:lnTo>
                    <a:pt x="88" y="32"/>
                  </a:lnTo>
                  <a:lnTo>
                    <a:pt x="88" y="24"/>
                  </a:lnTo>
                  <a:lnTo>
                    <a:pt x="84" y="16"/>
                  </a:lnTo>
                  <a:lnTo>
                    <a:pt x="84" y="12"/>
                  </a:lnTo>
                  <a:lnTo>
                    <a:pt x="84" y="8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6" y="0"/>
                  </a:lnTo>
                  <a:lnTo>
                    <a:pt x="108" y="0"/>
                  </a:lnTo>
                  <a:lnTo>
                    <a:pt x="112" y="0"/>
                  </a:lnTo>
                  <a:lnTo>
                    <a:pt x="116" y="4"/>
                  </a:lnTo>
                  <a:lnTo>
                    <a:pt x="120" y="8"/>
                  </a:lnTo>
                  <a:lnTo>
                    <a:pt x="128" y="12"/>
                  </a:lnTo>
                  <a:lnTo>
                    <a:pt x="132" y="16"/>
                  </a:lnTo>
                  <a:lnTo>
                    <a:pt x="136" y="20"/>
                  </a:lnTo>
                  <a:lnTo>
                    <a:pt x="140" y="24"/>
                  </a:lnTo>
                  <a:lnTo>
                    <a:pt x="148" y="28"/>
                  </a:lnTo>
                  <a:lnTo>
                    <a:pt x="152" y="36"/>
                  </a:lnTo>
                  <a:lnTo>
                    <a:pt x="156" y="40"/>
                  </a:lnTo>
                  <a:lnTo>
                    <a:pt x="164" y="44"/>
                  </a:lnTo>
                  <a:lnTo>
                    <a:pt x="168" y="48"/>
                  </a:lnTo>
                  <a:lnTo>
                    <a:pt x="172" y="52"/>
                  </a:lnTo>
                  <a:lnTo>
                    <a:pt x="176" y="56"/>
                  </a:lnTo>
                  <a:lnTo>
                    <a:pt x="184" y="60"/>
                  </a:lnTo>
                  <a:lnTo>
                    <a:pt x="188" y="64"/>
                  </a:lnTo>
                  <a:lnTo>
                    <a:pt x="192" y="64"/>
                  </a:lnTo>
                  <a:lnTo>
                    <a:pt x="196" y="72"/>
                  </a:lnTo>
                  <a:lnTo>
                    <a:pt x="200" y="76"/>
                  </a:lnTo>
                  <a:lnTo>
                    <a:pt x="204" y="76"/>
                  </a:lnTo>
                  <a:lnTo>
                    <a:pt x="204" y="80"/>
                  </a:lnTo>
                  <a:lnTo>
                    <a:pt x="200" y="80"/>
                  </a:lnTo>
                  <a:lnTo>
                    <a:pt x="204" y="84"/>
                  </a:lnTo>
                  <a:lnTo>
                    <a:pt x="208" y="84"/>
                  </a:lnTo>
                  <a:lnTo>
                    <a:pt x="208" y="87"/>
                  </a:lnTo>
                  <a:lnTo>
                    <a:pt x="212" y="87"/>
                  </a:lnTo>
                  <a:lnTo>
                    <a:pt x="212" y="91"/>
                  </a:lnTo>
                  <a:lnTo>
                    <a:pt x="216" y="91"/>
                  </a:lnTo>
                  <a:lnTo>
                    <a:pt x="220" y="91"/>
                  </a:lnTo>
                  <a:lnTo>
                    <a:pt x="220" y="95"/>
                  </a:lnTo>
                  <a:lnTo>
                    <a:pt x="224" y="95"/>
                  </a:lnTo>
                  <a:lnTo>
                    <a:pt x="228" y="95"/>
                  </a:lnTo>
                  <a:lnTo>
                    <a:pt x="232" y="99"/>
                  </a:lnTo>
                  <a:lnTo>
                    <a:pt x="232" y="103"/>
                  </a:lnTo>
                  <a:lnTo>
                    <a:pt x="232" y="107"/>
                  </a:lnTo>
                  <a:lnTo>
                    <a:pt x="232" y="111"/>
                  </a:lnTo>
                  <a:lnTo>
                    <a:pt x="236" y="115"/>
                  </a:lnTo>
                  <a:lnTo>
                    <a:pt x="240" y="111"/>
                  </a:lnTo>
                  <a:lnTo>
                    <a:pt x="244" y="111"/>
                  </a:lnTo>
                  <a:lnTo>
                    <a:pt x="248" y="111"/>
                  </a:lnTo>
                  <a:lnTo>
                    <a:pt x="248" y="115"/>
                  </a:lnTo>
                  <a:lnTo>
                    <a:pt x="248" y="119"/>
                  </a:lnTo>
                  <a:lnTo>
                    <a:pt x="248" y="131"/>
                  </a:lnTo>
                  <a:lnTo>
                    <a:pt x="248" y="139"/>
                  </a:lnTo>
                  <a:lnTo>
                    <a:pt x="248" y="143"/>
                  </a:lnTo>
                  <a:lnTo>
                    <a:pt x="248" y="147"/>
                  </a:lnTo>
                  <a:lnTo>
                    <a:pt x="248" y="151"/>
                  </a:lnTo>
                  <a:lnTo>
                    <a:pt x="248" y="155"/>
                  </a:lnTo>
                  <a:lnTo>
                    <a:pt x="248" y="163"/>
                  </a:lnTo>
                  <a:lnTo>
                    <a:pt x="244" y="163"/>
                  </a:lnTo>
                  <a:lnTo>
                    <a:pt x="244" y="167"/>
                  </a:lnTo>
                  <a:lnTo>
                    <a:pt x="244" y="171"/>
                  </a:lnTo>
                  <a:lnTo>
                    <a:pt x="244" y="175"/>
                  </a:lnTo>
                  <a:lnTo>
                    <a:pt x="240" y="175"/>
                  </a:lnTo>
                  <a:lnTo>
                    <a:pt x="240" y="179"/>
                  </a:lnTo>
                  <a:lnTo>
                    <a:pt x="236" y="179"/>
                  </a:lnTo>
                  <a:lnTo>
                    <a:pt x="236" y="183"/>
                  </a:lnTo>
                  <a:lnTo>
                    <a:pt x="232" y="179"/>
                  </a:lnTo>
                  <a:lnTo>
                    <a:pt x="228" y="179"/>
                  </a:lnTo>
                  <a:lnTo>
                    <a:pt x="228" y="183"/>
                  </a:lnTo>
                  <a:lnTo>
                    <a:pt x="224" y="183"/>
                  </a:lnTo>
                  <a:lnTo>
                    <a:pt x="212" y="183"/>
                  </a:lnTo>
                  <a:lnTo>
                    <a:pt x="204" y="183"/>
                  </a:lnTo>
                  <a:lnTo>
                    <a:pt x="200" y="187"/>
                  </a:lnTo>
                  <a:lnTo>
                    <a:pt x="196" y="191"/>
                  </a:lnTo>
                  <a:lnTo>
                    <a:pt x="192" y="191"/>
                  </a:lnTo>
                  <a:lnTo>
                    <a:pt x="192" y="187"/>
                  </a:lnTo>
                  <a:lnTo>
                    <a:pt x="192" y="191"/>
                  </a:lnTo>
                  <a:lnTo>
                    <a:pt x="188" y="191"/>
                  </a:lnTo>
                  <a:lnTo>
                    <a:pt x="188" y="187"/>
                  </a:lnTo>
                  <a:lnTo>
                    <a:pt x="188" y="191"/>
                  </a:lnTo>
                  <a:lnTo>
                    <a:pt x="184" y="187"/>
                  </a:lnTo>
                  <a:lnTo>
                    <a:pt x="180" y="187"/>
                  </a:lnTo>
                  <a:lnTo>
                    <a:pt x="176" y="187"/>
                  </a:lnTo>
                  <a:lnTo>
                    <a:pt x="172" y="187"/>
                  </a:lnTo>
                  <a:lnTo>
                    <a:pt x="168" y="191"/>
                  </a:lnTo>
                  <a:lnTo>
                    <a:pt x="164" y="195"/>
                  </a:lnTo>
                  <a:lnTo>
                    <a:pt x="160" y="199"/>
                  </a:lnTo>
                  <a:lnTo>
                    <a:pt x="156" y="199"/>
                  </a:lnTo>
                  <a:lnTo>
                    <a:pt x="152" y="199"/>
                  </a:lnTo>
                  <a:lnTo>
                    <a:pt x="152" y="203"/>
                  </a:lnTo>
                  <a:lnTo>
                    <a:pt x="148" y="203"/>
                  </a:lnTo>
                  <a:lnTo>
                    <a:pt x="144" y="203"/>
                  </a:lnTo>
                  <a:lnTo>
                    <a:pt x="140" y="207"/>
                  </a:lnTo>
                  <a:lnTo>
                    <a:pt x="140" y="211"/>
                  </a:lnTo>
                  <a:lnTo>
                    <a:pt x="140" y="215"/>
                  </a:lnTo>
                  <a:lnTo>
                    <a:pt x="136" y="215"/>
                  </a:lnTo>
                  <a:lnTo>
                    <a:pt x="136" y="211"/>
                  </a:lnTo>
                  <a:lnTo>
                    <a:pt x="136" y="215"/>
                  </a:lnTo>
                  <a:lnTo>
                    <a:pt x="136" y="219"/>
                  </a:lnTo>
                  <a:lnTo>
                    <a:pt x="132" y="219"/>
                  </a:lnTo>
                  <a:lnTo>
                    <a:pt x="132" y="223"/>
                  </a:lnTo>
                  <a:lnTo>
                    <a:pt x="128" y="223"/>
                  </a:lnTo>
                  <a:lnTo>
                    <a:pt x="128" y="219"/>
                  </a:lnTo>
                  <a:lnTo>
                    <a:pt x="124" y="219"/>
                  </a:lnTo>
                  <a:lnTo>
                    <a:pt x="124" y="215"/>
                  </a:lnTo>
                  <a:lnTo>
                    <a:pt x="120" y="219"/>
                  </a:lnTo>
                  <a:lnTo>
                    <a:pt x="120" y="223"/>
                  </a:lnTo>
                  <a:lnTo>
                    <a:pt x="120" y="227"/>
                  </a:lnTo>
                  <a:lnTo>
                    <a:pt x="120" y="231"/>
                  </a:lnTo>
                  <a:lnTo>
                    <a:pt x="116" y="231"/>
                  </a:lnTo>
                  <a:lnTo>
                    <a:pt x="116" y="235"/>
                  </a:lnTo>
                  <a:lnTo>
                    <a:pt x="116" y="239"/>
                  </a:lnTo>
                  <a:lnTo>
                    <a:pt x="112" y="243"/>
                  </a:lnTo>
                  <a:lnTo>
                    <a:pt x="108" y="243"/>
                  </a:lnTo>
                  <a:lnTo>
                    <a:pt x="104" y="247"/>
                  </a:lnTo>
                  <a:lnTo>
                    <a:pt x="104" y="251"/>
                  </a:lnTo>
                  <a:lnTo>
                    <a:pt x="104" y="255"/>
                  </a:lnTo>
                  <a:lnTo>
                    <a:pt x="104" y="259"/>
                  </a:lnTo>
                  <a:lnTo>
                    <a:pt x="104" y="263"/>
                  </a:lnTo>
                  <a:lnTo>
                    <a:pt x="100" y="263"/>
                  </a:lnTo>
                  <a:lnTo>
                    <a:pt x="100" y="267"/>
                  </a:lnTo>
                  <a:lnTo>
                    <a:pt x="100" y="271"/>
                  </a:lnTo>
                  <a:lnTo>
                    <a:pt x="100" y="275"/>
                  </a:lnTo>
                  <a:lnTo>
                    <a:pt x="100" y="271"/>
                  </a:lnTo>
                  <a:lnTo>
                    <a:pt x="96" y="275"/>
                  </a:lnTo>
                  <a:lnTo>
                    <a:pt x="92" y="275"/>
                  </a:lnTo>
                  <a:lnTo>
                    <a:pt x="92" y="279"/>
                  </a:lnTo>
                  <a:lnTo>
                    <a:pt x="88" y="275"/>
                  </a:lnTo>
                  <a:lnTo>
                    <a:pt x="92" y="275"/>
                  </a:lnTo>
                  <a:lnTo>
                    <a:pt x="92" y="271"/>
                  </a:lnTo>
                  <a:lnTo>
                    <a:pt x="88" y="271"/>
                  </a:lnTo>
                  <a:lnTo>
                    <a:pt x="92" y="271"/>
                  </a:lnTo>
                  <a:lnTo>
                    <a:pt x="88" y="267"/>
                  </a:lnTo>
                  <a:lnTo>
                    <a:pt x="88" y="271"/>
                  </a:lnTo>
                  <a:lnTo>
                    <a:pt x="84" y="271"/>
                  </a:lnTo>
                  <a:lnTo>
                    <a:pt x="84" y="275"/>
                  </a:lnTo>
                  <a:lnTo>
                    <a:pt x="80" y="275"/>
                  </a:lnTo>
                  <a:lnTo>
                    <a:pt x="80" y="279"/>
                  </a:lnTo>
                  <a:lnTo>
                    <a:pt x="76" y="279"/>
                  </a:lnTo>
                  <a:lnTo>
                    <a:pt x="76" y="275"/>
                  </a:lnTo>
                  <a:lnTo>
                    <a:pt x="72" y="275"/>
                  </a:lnTo>
                  <a:lnTo>
                    <a:pt x="68" y="275"/>
                  </a:lnTo>
                  <a:lnTo>
                    <a:pt x="64" y="275"/>
                  </a:lnTo>
                  <a:lnTo>
                    <a:pt x="64" y="279"/>
                  </a:lnTo>
                  <a:lnTo>
                    <a:pt x="64" y="275"/>
                  </a:lnTo>
                  <a:lnTo>
                    <a:pt x="60" y="275"/>
                  </a:lnTo>
                  <a:lnTo>
                    <a:pt x="60" y="271"/>
                  </a:lnTo>
                  <a:lnTo>
                    <a:pt x="56" y="267"/>
                  </a:lnTo>
                  <a:lnTo>
                    <a:pt x="60" y="267"/>
                  </a:lnTo>
                  <a:lnTo>
                    <a:pt x="60" y="263"/>
                  </a:lnTo>
                  <a:lnTo>
                    <a:pt x="56" y="263"/>
                  </a:lnTo>
                  <a:lnTo>
                    <a:pt x="52" y="263"/>
                  </a:lnTo>
                  <a:lnTo>
                    <a:pt x="52" y="259"/>
                  </a:lnTo>
                  <a:lnTo>
                    <a:pt x="56" y="259"/>
                  </a:lnTo>
                  <a:lnTo>
                    <a:pt x="56" y="255"/>
                  </a:lnTo>
                  <a:lnTo>
                    <a:pt x="52" y="255"/>
                  </a:lnTo>
                  <a:lnTo>
                    <a:pt x="52" y="251"/>
                  </a:lnTo>
                  <a:lnTo>
                    <a:pt x="48" y="251"/>
                  </a:lnTo>
                  <a:lnTo>
                    <a:pt x="52" y="247"/>
                  </a:lnTo>
                  <a:lnTo>
                    <a:pt x="52" y="243"/>
                  </a:lnTo>
                  <a:lnTo>
                    <a:pt x="48" y="239"/>
                  </a:lnTo>
                  <a:lnTo>
                    <a:pt x="48" y="235"/>
                  </a:lnTo>
                  <a:lnTo>
                    <a:pt x="44" y="235"/>
                  </a:lnTo>
                  <a:lnTo>
                    <a:pt x="40" y="235"/>
                  </a:lnTo>
                  <a:lnTo>
                    <a:pt x="44" y="235"/>
                  </a:lnTo>
                  <a:lnTo>
                    <a:pt x="44" y="239"/>
                  </a:lnTo>
                  <a:lnTo>
                    <a:pt x="40" y="239"/>
                  </a:lnTo>
                  <a:lnTo>
                    <a:pt x="36" y="2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0" name="Freeform 147"/>
            <p:cNvSpPr>
              <a:spLocks noEditPoints="1"/>
            </p:cNvSpPr>
            <p:nvPr>
              <p:custDataLst>
                <p:tags r:id="rId343"/>
              </p:custDataLst>
            </p:nvPr>
          </p:nvSpPr>
          <p:spPr bwMode="gray">
            <a:xfrm>
              <a:off x="3990464" y="3841075"/>
              <a:ext cx="278816" cy="354452"/>
            </a:xfrm>
            <a:custGeom>
              <a:avLst/>
              <a:gdLst/>
              <a:ahLst/>
              <a:cxnLst>
                <a:cxn ang="0">
                  <a:pos x="96" y="231"/>
                </a:cxn>
                <a:cxn ang="0">
                  <a:pos x="88" y="223"/>
                </a:cxn>
                <a:cxn ang="0">
                  <a:pos x="84" y="219"/>
                </a:cxn>
                <a:cxn ang="0">
                  <a:pos x="80" y="223"/>
                </a:cxn>
                <a:cxn ang="0">
                  <a:pos x="80" y="231"/>
                </a:cxn>
                <a:cxn ang="0">
                  <a:pos x="76" y="235"/>
                </a:cxn>
                <a:cxn ang="0">
                  <a:pos x="68" y="231"/>
                </a:cxn>
                <a:cxn ang="0">
                  <a:pos x="64" y="227"/>
                </a:cxn>
                <a:cxn ang="0">
                  <a:pos x="64" y="223"/>
                </a:cxn>
                <a:cxn ang="0">
                  <a:pos x="56" y="211"/>
                </a:cxn>
                <a:cxn ang="0">
                  <a:pos x="52" y="211"/>
                </a:cxn>
                <a:cxn ang="0">
                  <a:pos x="40" y="203"/>
                </a:cxn>
                <a:cxn ang="0">
                  <a:pos x="32" y="203"/>
                </a:cxn>
                <a:cxn ang="0">
                  <a:pos x="28" y="203"/>
                </a:cxn>
                <a:cxn ang="0">
                  <a:pos x="20" y="203"/>
                </a:cxn>
                <a:cxn ang="0">
                  <a:pos x="16" y="203"/>
                </a:cxn>
                <a:cxn ang="0">
                  <a:pos x="12" y="207"/>
                </a:cxn>
                <a:cxn ang="0">
                  <a:pos x="8" y="207"/>
                </a:cxn>
                <a:cxn ang="0">
                  <a:pos x="12" y="203"/>
                </a:cxn>
                <a:cxn ang="0">
                  <a:pos x="16" y="191"/>
                </a:cxn>
                <a:cxn ang="0">
                  <a:pos x="16" y="183"/>
                </a:cxn>
                <a:cxn ang="0">
                  <a:pos x="16" y="167"/>
                </a:cxn>
                <a:cxn ang="0">
                  <a:pos x="16" y="163"/>
                </a:cxn>
                <a:cxn ang="0">
                  <a:pos x="12" y="155"/>
                </a:cxn>
                <a:cxn ang="0">
                  <a:pos x="12" y="151"/>
                </a:cxn>
                <a:cxn ang="0">
                  <a:pos x="12" y="147"/>
                </a:cxn>
                <a:cxn ang="0">
                  <a:pos x="12" y="147"/>
                </a:cxn>
                <a:cxn ang="0">
                  <a:pos x="12" y="131"/>
                </a:cxn>
                <a:cxn ang="0">
                  <a:pos x="8" y="128"/>
                </a:cxn>
                <a:cxn ang="0">
                  <a:pos x="4" y="120"/>
                </a:cxn>
                <a:cxn ang="0">
                  <a:pos x="0" y="124"/>
                </a:cxn>
                <a:cxn ang="0">
                  <a:pos x="4" y="116"/>
                </a:cxn>
                <a:cxn ang="0">
                  <a:pos x="32" y="116"/>
                </a:cxn>
                <a:cxn ang="0">
                  <a:pos x="64" y="116"/>
                </a:cxn>
                <a:cxn ang="0">
                  <a:pos x="60" y="92"/>
                </a:cxn>
                <a:cxn ang="0">
                  <a:pos x="64" y="84"/>
                </a:cxn>
                <a:cxn ang="0">
                  <a:pos x="76" y="76"/>
                </a:cxn>
                <a:cxn ang="0">
                  <a:pos x="76" y="48"/>
                </a:cxn>
                <a:cxn ang="0">
                  <a:pos x="76" y="32"/>
                </a:cxn>
                <a:cxn ang="0">
                  <a:pos x="108" y="24"/>
                </a:cxn>
                <a:cxn ang="0">
                  <a:pos x="128" y="24"/>
                </a:cxn>
                <a:cxn ang="0">
                  <a:pos x="128" y="0"/>
                </a:cxn>
                <a:cxn ang="0">
                  <a:pos x="152" y="20"/>
                </a:cxn>
                <a:cxn ang="0">
                  <a:pos x="176" y="36"/>
                </a:cxn>
                <a:cxn ang="0">
                  <a:pos x="184" y="44"/>
                </a:cxn>
                <a:cxn ang="0">
                  <a:pos x="160" y="52"/>
                </a:cxn>
                <a:cxn ang="0">
                  <a:pos x="164" y="84"/>
                </a:cxn>
                <a:cxn ang="0">
                  <a:pos x="168" y="116"/>
                </a:cxn>
                <a:cxn ang="0">
                  <a:pos x="172" y="151"/>
                </a:cxn>
                <a:cxn ang="0">
                  <a:pos x="172" y="179"/>
                </a:cxn>
                <a:cxn ang="0">
                  <a:pos x="176" y="215"/>
                </a:cxn>
                <a:cxn ang="0">
                  <a:pos x="164" y="223"/>
                </a:cxn>
                <a:cxn ang="0">
                  <a:pos x="140" y="223"/>
                </a:cxn>
                <a:cxn ang="0">
                  <a:pos x="124" y="223"/>
                </a:cxn>
                <a:cxn ang="0">
                  <a:pos x="116" y="223"/>
                </a:cxn>
                <a:cxn ang="0">
                  <a:pos x="112" y="227"/>
                </a:cxn>
                <a:cxn ang="0">
                  <a:pos x="104" y="223"/>
                </a:cxn>
                <a:cxn ang="0">
                  <a:pos x="12" y="147"/>
                </a:cxn>
                <a:cxn ang="0">
                  <a:pos x="12" y="143"/>
                </a:cxn>
                <a:cxn ang="0">
                  <a:pos x="12" y="147"/>
                </a:cxn>
              </a:cxnLst>
              <a:rect l="0" t="0" r="r" b="b"/>
              <a:pathLst>
                <a:path w="188" h="239">
                  <a:moveTo>
                    <a:pt x="96" y="223"/>
                  </a:move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31"/>
                  </a:lnTo>
                  <a:lnTo>
                    <a:pt x="96" y="231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19"/>
                  </a:lnTo>
                  <a:lnTo>
                    <a:pt x="88" y="219"/>
                  </a:lnTo>
                  <a:lnTo>
                    <a:pt x="84" y="219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80" y="227"/>
                  </a:lnTo>
                  <a:lnTo>
                    <a:pt x="80" y="227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76" y="239"/>
                  </a:lnTo>
                  <a:lnTo>
                    <a:pt x="76" y="239"/>
                  </a:lnTo>
                  <a:lnTo>
                    <a:pt x="76" y="235"/>
                  </a:lnTo>
                  <a:lnTo>
                    <a:pt x="76" y="235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72" y="231"/>
                  </a:lnTo>
                  <a:lnTo>
                    <a:pt x="68" y="231"/>
                  </a:lnTo>
                  <a:lnTo>
                    <a:pt x="68" y="231"/>
                  </a:lnTo>
                  <a:lnTo>
                    <a:pt x="68" y="231"/>
                  </a:lnTo>
                  <a:lnTo>
                    <a:pt x="68" y="231"/>
                  </a:lnTo>
                  <a:lnTo>
                    <a:pt x="64" y="231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19"/>
                  </a:lnTo>
                  <a:lnTo>
                    <a:pt x="60" y="219"/>
                  </a:lnTo>
                  <a:lnTo>
                    <a:pt x="56" y="215"/>
                  </a:lnTo>
                  <a:lnTo>
                    <a:pt x="56" y="211"/>
                  </a:lnTo>
                  <a:lnTo>
                    <a:pt x="56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48" y="211"/>
                  </a:lnTo>
                  <a:lnTo>
                    <a:pt x="48" y="207"/>
                  </a:lnTo>
                  <a:lnTo>
                    <a:pt x="48" y="207"/>
                  </a:lnTo>
                  <a:lnTo>
                    <a:pt x="44" y="203"/>
                  </a:lnTo>
                  <a:lnTo>
                    <a:pt x="44" y="203"/>
                  </a:lnTo>
                  <a:lnTo>
                    <a:pt x="40" y="203"/>
                  </a:lnTo>
                  <a:lnTo>
                    <a:pt x="40" y="203"/>
                  </a:lnTo>
                  <a:lnTo>
                    <a:pt x="40" y="203"/>
                  </a:lnTo>
                  <a:lnTo>
                    <a:pt x="36" y="203"/>
                  </a:lnTo>
                  <a:lnTo>
                    <a:pt x="36" y="203"/>
                  </a:lnTo>
                  <a:lnTo>
                    <a:pt x="36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199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7"/>
                  </a:lnTo>
                  <a:lnTo>
                    <a:pt x="12" y="207"/>
                  </a:lnTo>
                  <a:lnTo>
                    <a:pt x="12" y="207"/>
                  </a:lnTo>
                  <a:lnTo>
                    <a:pt x="12" y="207"/>
                  </a:lnTo>
                  <a:lnTo>
                    <a:pt x="12" y="211"/>
                  </a:lnTo>
                  <a:lnTo>
                    <a:pt x="8" y="211"/>
                  </a:lnTo>
                  <a:lnTo>
                    <a:pt x="8" y="211"/>
                  </a:lnTo>
                  <a:lnTo>
                    <a:pt x="8" y="211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199"/>
                  </a:lnTo>
                  <a:lnTo>
                    <a:pt x="12" y="199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6" y="183"/>
                  </a:lnTo>
                  <a:lnTo>
                    <a:pt x="16" y="183"/>
                  </a:lnTo>
                  <a:lnTo>
                    <a:pt x="16" y="183"/>
                  </a:lnTo>
                  <a:lnTo>
                    <a:pt x="16" y="179"/>
                  </a:lnTo>
                  <a:lnTo>
                    <a:pt x="16" y="175"/>
                  </a:lnTo>
                  <a:lnTo>
                    <a:pt x="16" y="175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3"/>
                  </a:lnTo>
                  <a:lnTo>
                    <a:pt x="16" y="163"/>
                  </a:lnTo>
                  <a:lnTo>
                    <a:pt x="16" y="159"/>
                  </a:lnTo>
                  <a:lnTo>
                    <a:pt x="16" y="159"/>
                  </a:lnTo>
                  <a:lnTo>
                    <a:pt x="16" y="159"/>
                  </a:lnTo>
                  <a:lnTo>
                    <a:pt x="12" y="159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1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3"/>
                  </a:lnTo>
                  <a:lnTo>
                    <a:pt x="12" y="139"/>
                  </a:lnTo>
                  <a:lnTo>
                    <a:pt x="12" y="139"/>
                  </a:lnTo>
                  <a:lnTo>
                    <a:pt x="16" y="135"/>
                  </a:lnTo>
                  <a:lnTo>
                    <a:pt x="12" y="135"/>
                  </a:lnTo>
                  <a:lnTo>
                    <a:pt x="12" y="131"/>
                  </a:lnTo>
                  <a:lnTo>
                    <a:pt x="12" y="131"/>
                  </a:lnTo>
                  <a:lnTo>
                    <a:pt x="12" y="128"/>
                  </a:lnTo>
                  <a:lnTo>
                    <a:pt x="12" y="128"/>
                  </a:lnTo>
                  <a:lnTo>
                    <a:pt x="12" y="128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4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20"/>
                  </a:lnTo>
                  <a:lnTo>
                    <a:pt x="0" y="120"/>
                  </a:lnTo>
                  <a:lnTo>
                    <a:pt x="4" y="120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28" y="116"/>
                  </a:lnTo>
                  <a:lnTo>
                    <a:pt x="32" y="116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4" y="116"/>
                  </a:lnTo>
                  <a:lnTo>
                    <a:pt x="44" y="116"/>
                  </a:lnTo>
                  <a:lnTo>
                    <a:pt x="48" y="116"/>
                  </a:lnTo>
                  <a:lnTo>
                    <a:pt x="56" y="116"/>
                  </a:lnTo>
                  <a:lnTo>
                    <a:pt x="64" y="116"/>
                  </a:lnTo>
                  <a:lnTo>
                    <a:pt x="64" y="112"/>
                  </a:lnTo>
                  <a:lnTo>
                    <a:pt x="64" y="104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72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68"/>
                  </a:lnTo>
                  <a:lnTo>
                    <a:pt x="76" y="64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28" y="24"/>
                  </a:lnTo>
                  <a:lnTo>
                    <a:pt x="128" y="24"/>
                  </a:lnTo>
                  <a:lnTo>
                    <a:pt x="128" y="24"/>
                  </a:lnTo>
                  <a:lnTo>
                    <a:pt x="128" y="16"/>
                  </a:lnTo>
                  <a:lnTo>
                    <a:pt x="128" y="8"/>
                  </a:lnTo>
                  <a:lnTo>
                    <a:pt x="128" y="8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36" y="4"/>
                  </a:lnTo>
                  <a:lnTo>
                    <a:pt x="136" y="8"/>
                  </a:lnTo>
                  <a:lnTo>
                    <a:pt x="144" y="12"/>
                  </a:lnTo>
                  <a:lnTo>
                    <a:pt x="144" y="12"/>
                  </a:lnTo>
                  <a:lnTo>
                    <a:pt x="148" y="16"/>
                  </a:lnTo>
                  <a:lnTo>
                    <a:pt x="152" y="16"/>
                  </a:lnTo>
                  <a:lnTo>
                    <a:pt x="152" y="20"/>
                  </a:lnTo>
                  <a:lnTo>
                    <a:pt x="156" y="20"/>
                  </a:lnTo>
                  <a:lnTo>
                    <a:pt x="160" y="24"/>
                  </a:lnTo>
                  <a:lnTo>
                    <a:pt x="164" y="28"/>
                  </a:lnTo>
                  <a:lnTo>
                    <a:pt x="164" y="28"/>
                  </a:lnTo>
                  <a:lnTo>
                    <a:pt x="172" y="32"/>
                  </a:lnTo>
                  <a:lnTo>
                    <a:pt x="172" y="32"/>
                  </a:lnTo>
                  <a:lnTo>
                    <a:pt x="176" y="36"/>
                  </a:lnTo>
                  <a:lnTo>
                    <a:pt x="180" y="40"/>
                  </a:lnTo>
                  <a:lnTo>
                    <a:pt x="184" y="44"/>
                  </a:lnTo>
                  <a:lnTo>
                    <a:pt x="184" y="44"/>
                  </a:lnTo>
                  <a:lnTo>
                    <a:pt x="188" y="44"/>
                  </a:lnTo>
                  <a:lnTo>
                    <a:pt x="188" y="44"/>
                  </a:lnTo>
                  <a:lnTo>
                    <a:pt x="188" y="44"/>
                  </a:lnTo>
                  <a:lnTo>
                    <a:pt x="184" y="44"/>
                  </a:lnTo>
                  <a:lnTo>
                    <a:pt x="172" y="44"/>
                  </a:lnTo>
                  <a:lnTo>
                    <a:pt x="168" y="44"/>
                  </a:lnTo>
                  <a:lnTo>
                    <a:pt x="164" y="44"/>
                  </a:lnTo>
                  <a:lnTo>
                    <a:pt x="164" y="44"/>
                  </a:lnTo>
                  <a:lnTo>
                    <a:pt x="160" y="44"/>
                  </a:lnTo>
                  <a:lnTo>
                    <a:pt x="160" y="44"/>
                  </a:lnTo>
                  <a:lnTo>
                    <a:pt x="160" y="52"/>
                  </a:lnTo>
                  <a:lnTo>
                    <a:pt x="160" y="52"/>
                  </a:lnTo>
                  <a:lnTo>
                    <a:pt x="160" y="56"/>
                  </a:lnTo>
                  <a:lnTo>
                    <a:pt x="160" y="60"/>
                  </a:lnTo>
                  <a:lnTo>
                    <a:pt x="164" y="68"/>
                  </a:lnTo>
                  <a:lnTo>
                    <a:pt x="164" y="76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8"/>
                  </a:lnTo>
                  <a:lnTo>
                    <a:pt x="164" y="100"/>
                  </a:lnTo>
                  <a:lnTo>
                    <a:pt x="164" y="104"/>
                  </a:lnTo>
                  <a:lnTo>
                    <a:pt x="168" y="108"/>
                  </a:lnTo>
                  <a:lnTo>
                    <a:pt x="168" y="112"/>
                  </a:lnTo>
                  <a:lnTo>
                    <a:pt x="168" y="116"/>
                  </a:lnTo>
                  <a:lnTo>
                    <a:pt x="168" y="120"/>
                  </a:lnTo>
                  <a:lnTo>
                    <a:pt x="168" y="124"/>
                  </a:lnTo>
                  <a:lnTo>
                    <a:pt x="168" y="128"/>
                  </a:lnTo>
                  <a:lnTo>
                    <a:pt x="168" y="135"/>
                  </a:lnTo>
                  <a:lnTo>
                    <a:pt x="168" y="143"/>
                  </a:lnTo>
                  <a:lnTo>
                    <a:pt x="168" y="143"/>
                  </a:lnTo>
                  <a:lnTo>
                    <a:pt x="172" y="151"/>
                  </a:lnTo>
                  <a:lnTo>
                    <a:pt x="172" y="155"/>
                  </a:lnTo>
                  <a:lnTo>
                    <a:pt x="172" y="155"/>
                  </a:lnTo>
                  <a:lnTo>
                    <a:pt x="172" y="163"/>
                  </a:lnTo>
                  <a:lnTo>
                    <a:pt x="172" y="163"/>
                  </a:lnTo>
                  <a:lnTo>
                    <a:pt x="172" y="171"/>
                  </a:lnTo>
                  <a:lnTo>
                    <a:pt x="172" y="175"/>
                  </a:lnTo>
                  <a:lnTo>
                    <a:pt x="172" y="179"/>
                  </a:lnTo>
                  <a:lnTo>
                    <a:pt x="172" y="187"/>
                  </a:lnTo>
                  <a:lnTo>
                    <a:pt x="176" y="199"/>
                  </a:lnTo>
                  <a:lnTo>
                    <a:pt x="176" y="203"/>
                  </a:lnTo>
                  <a:lnTo>
                    <a:pt x="180" y="207"/>
                  </a:lnTo>
                  <a:lnTo>
                    <a:pt x="180" y="211"/>
                  </a:lnTo>
                  <a:lnTo>
                    <a:pt x="180" y="211"/>
                  </a:lnTo>
                  <a:lnTo>
                    <a:pt x="176" y="215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68" y="223"/>
                  </a:lnTo>
                  <a:lnTo>
                    <a:pt x="164" y="223"/>
                  </a:lnTo>
                  <a:lnTo>
                    <a:pt x="164" y="223"/>
                  </a:lnTo>
                  <a:lnTo>
                    <a:pt x="164" y="223"/>
                  </a:lnTo>
                  <a:lnTo>
                    <a:pt x="160" y="223"/>
                  </a:lnTo>
                  <a:lnTo>
                    <a:pt x="152" y="223"/>
                  </a:lnTo>
                  <a:lnTo>
                    <a:pt x="148" y="223"/>
                  </a:lnTo>
                  <a:lnTo>
                    <a:pt x="148" y="223"/>
                  </a:lnTo>
                  <a:lnTo>
                    <a:pt x="144" y="223"/>
                  </a:lnTo>
                  <a:lnTo>
                    <a:pt x="140" y="223"/>
                  </a:lnTo>
                  <a:lnTo>
                    <a:pt x="136" y="223"/>
                  </a:lnTo>
                  <a:lnTo>
                    <a:pt x="132" y="223"/>
                  </a:lnTo>
                  <a:lnTo>
                    <a:pt x="132" y="223"/>
                  </a:lnTo>
                  <a:lnTo>
                    <a:pt x="128" y="223"/>
                  </a:lnTo>
                  <a:lnTo>
                    <a:pt x="124" y="223"/>
                  </a:lnTo>
                  <a:lnTo>
                    <a:pt x="124" y="223"/>
                  </a:lnTo>
                  <a:lnTo>
                    <a:pt x="124" y="223"/>
                  </a:lnTo>
                  <a:lnTo>
                    <a:pt x="120" y="223"/>
                  </a:lnTo>
                  <a:lnTo>
                    <a:pt x="120" y="223"/>
                  </a:lnTo>
                  <a:lnTo>
                    <a:pt x="120" y="223"/>
                  </a:lnTo>
                  <a:lnTo>
                    <a:pt x="120" y="223"/>
                  </a:lnTo>
                  <a:lnTo>
                    <a:pt x="120" y="219"/>
                  </a:lnTo>
                  <a:lnTo>
                    <a:pt x="120" y="219"/>
                  </a:lnTo>
                  <a:lnTo>
                    <a:pt x="116" y="223"/>
                  </a:lnTo>
                  <a:lnTo>
                    <a:pt x="116" y="223"/>
                  </a:lnTo>
                  <a:lnTo>
                    <a:pt x="116" y="223"/>
                  </a:lnTo>
                  <a:lnTo>
                    <a:pt x="112" y="223"/>
                  </a:lnTo>
                  <a:lnTo>
                    <a:pt x="112" y="223"/>
                  </a:lnTo>
                  <a:lnTo>
                    <a:pt x="112" y="227"/>
                  </a:lnTo>
                  <a:lnTo>
                    <a:pt x="112" y="227"/>
                  </a:lnTo>
                  <a:lnTo>
                    <a:pt x="112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4" y="223"/>
                  </a:lnTo>
                  <a:lnTo>
                    <a:pt x="104" y="223"/>
                  </a:lnTo>
                  <a:lnTo>
                    <a:pt x="104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96" y="223"/>
                  </a:lnTo>
                  <a:lnTo>
                    <a:pt x="96" y="223"/>
                  </a:lnTo>
                  <a:close/>
                  <a:moveTo>
                    <a:pt x="12" y="147"/>
                  </a:moveTo>
                  <a:lnTo>
                    <a:pt x="12" y="147"/>
                  </a:lnTo>
                  <a:lnTo>
                    <a:pt x="12" y="147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1" name="Freeform 148"/>
            <p:cNvSpPr>
              <a:spLocks/>
            </p:cNvSpPr>
            <p:nvPr>
              <p:custDataLst>
                <p:tags r:id="rId344"/>
              </p:custDataLst>
            </p:nvPr>
          </p:nvSpPr>
          <p:spPr bwMode="gray">
            <a:xfrm>
              <a:off x="4079448" y="3585988"/>
              <a:ext cx="272884" cy="243222"/>
            </a:xfrm>
            <a:custGeom>
              <a:avLst/>
              <a:gdLst/>
              <a:ahLst/>
              <a:cxnLst>
                <a:cxn ang="0">
                  <a:pos x="136" y="16"/>
                </a:cxn>
                <a:cxn ang="0">
                  <a:pos x="144" y="16"/>
                </a:cxn>
                <a:cxn ang="0">
                  <a:pos x="152" y="16"/>
                </a:cxn>
                <a:cxn ang="0">
                  <a:pos x="156" y="16"/>
                </a:cxn>
                <a:cxn ang="0">
                  <a:pos x="156" y="16"/>
                </a:cxn>
                <a:cxn ang="0">
                  <a:pos x="160" y="16"/>
                </a:cxn>
                <a:cxn ang="0">
                  <a:pos x="168" y="20"/>
                </a:cxn>
                <a:cxn ang="0">
                  <a:pos x="172" y="28"/>
                </a:cxn>
                <a:cxn ang="0">
                  <a:pos x="176" y="40"/>
                </a:cxn>
                <a:cxn ang="0">
                  <a:pos x="176" y="48"/>
                </a:cxn>
                <a:cxn ang="0">
                  <a:pos x="176" y="60"/>
                </a:cxn>
                <a:cxn ang="0">
                  <a:pos x="184" y="68"/>
                </a:cxn>
                <a:cxn ang="0">
                  <a:pos x="180" y="76"/>
                </a:cxn>
                <a:cxn ang="0">
                  <a:pos x="180" y="80"/>
                </a:cxn>
                <a:cxn ang="0">
                  <a:pos x="172" y="76"/>
                </a:cxn>
                <a:cxn ang="0">
                  <a:pos x="164" y="76"/>
                </a:cxn>
                <a:cxn ang="0">
                  <a:pos x="156" y="80"/>
                </a:cxn>
                <a:cxn ang="0">
                  <a:pos x="152" y="84"/>
                </a:cxn>
                <a:cxn ang="0">
                  <a:pos x="144" y="84"/>
                </a:cxn>
                <a:cxn ang="0">
                  <a:pos x="140" y="92"/>
                </a:cxn>
                <a:cxn ang="0">
                  <a:pos x="144" y="100"/>
                </a:cxn>
                <a:cxn ang="0">
                  <a:pos x="140" y="100"/>
                </a:cxn>
                <a:cxn ang="0">
                  <a:pos x="136" y="104"/>
                </a:cxn>
                <a:cxn ang="0">
                  <a:pos x="128" y="108"/>
                </a:cxn>
                <a:cxn ang="0">
                  <a:pos x="124" y="116"/>
                </a:cxn>
                <a:cxn ang="0">
                  <a:pos x="120" y="120"/>
                </a:cxn>
                <a:cxn ang="0">
                  <a:pos x="108" y="124"/>
                </a:cxn>
                <a:cxn ang="0">
                  <a:pos x="104" y="124"/>
                </a:cxn>
                <a:cxn ang="0">
                  <a:pos x="100" y="128"/>
                </a:cxn>
                <a:cxn ang="0">
                  <a:pos x="92" y="128"/>
                </a:cxn>
                <a:cxn ang="0">
                  <a:pos x="84" y="132"/>
                </a:cxn>
                <a:cxn ang="0">
                  <a:pos x="80" y="132"/>
                </a:cxn>
                <a:cxn ang="0">
                  <a:pos x="72" y="140"/>
                </a:cxn>
                <a:cxn ang="0">
                  <a:pos x="68" y="164"/>
                </a:cxn>
                <a:cxn ang="0">
                  <a:pos x="48" y="164"/>
                </a:cxn>
                <a:cxn ang="0">
                  <a:pos x="0" y="164"/>
                </a:cxn>
                <a:cxn ang="0">
                  <a:pos x="4" y="160"/>
                </a:cxn>
                <a:cxn ang="0">
                  <a:pos x="20" y="156"/>
                </a:cxn>
                <a:cxn ang="0">
                  <a:pos x="32" y="144"/>
                </a:cxn>
                <a:cxn ang="0">
                  <a:pos x="40" y="140"/>
                </a:cxn>
                <a:cxn ang="0">
                  <a:pos x="44" y="132"/>
                </a:cxn>
                <a:cxn ang="0">
                  <a:pos x="52" y="124"/>
                </a:cxn>
                <a:cxn ang="0">
                  <a:pos x="56" y="112"/>
                </a:cxn>
                <a:cxn ang="0">
                  <a:pos x="52" y="104"/>
                </a:cxn>
                <a:cxn ang="0">
                  <a:pos x="52" y="92"/>
                </a:cxn>
                <a:cxn ang="0">
                  <a:pos x="52" y="84"/>
                </a:cxn>
                <a:cxn ang="0">
                  <a:pos x="60" y="68"/>
                </a:cxn>
                <a:cxn ang="0">
                  <a:pos x="64" y="64"/>
                </a:cxn>
                <a:cxn ang="0">
                  <a:pos x="72" y="56"/>
                </a:cxn>
                <a:cxn ang="0">
                  <a:pos x="76" y="52"/>
                </a:cxn>
                <a:cxn ang="0">
                  <a:pos x="88" y="44"/>
                </a:cxn>
                <a:cxn ang="0">
                  <a:pos x="96" y="40"/>
                </a:cxn>
                <a:cxn ang="0">
                  <a:pos x="104" y="24"/>
                </a:cxn>
                <a:cxn ang="0">
                  <a:pos x="108" y="12"/>
                </a:cxn>
                <a:cxn ang="0">
                  <a:pos x="116" y="4"/>
                </a:cxn>
                <a:cxn ang="0">
                  <a:pos x="120" y="4"/>
                </a:cxn>
                <a:cxn ang="0">
                  <a:pos x="120" y="8"/>
                </a:cxn>
              </a:cxnLst>
              <a:rect l="0" t="0" r="r" b="b"/>
              <a:pathLst>
                <a:path w="184" h="164">
                  <a:moveTo>
                    <a:pt x="132" y="16"/>
                  </a:moveTo>
                  <a:lnTo>
                    <a:pt x="132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52" y="16"/>
                  </a:lnTo>
                  <a:lnTo>
                    <a:pt x="152" y="16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60" y="16"/>
                  </a:lnTo>
                  <a:lnTo>
                    <a:pt x="160" y="16"/>
                  </a:lnTo>
                  <a:lnTo>
                    <a:pt x="160" y="16"/>
                  </a:lnTo>
                  <a:lnTo>
                    <a:pt x="160" y="20"/>
                  </a:lnTo>
                  <a:lnTo>
                    <a:pt x="160" y="20"/>
                  </a:lnTo>
                  <a:lnTo>
                    <a:pt x="164" y="16"/>
                  </a:lnTo>
                  <a:lnTo>
                    <a:pt x="164" y="16"/>
                  </a:lnTo>
                  <a:lnTo>
                    <a:pt x="164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72" y="24"/>
                  </a:lnTo>
                  <a:lnTo>
                    <a:pt x="172" y="24"/>
                  </a:lnTo>
                  <a:lnTo>
                    <a:pt x="172" y="24"/>
                  </a:lnTo>
                  <a:lnTo>
                    <a:pt x="172" y="28"/>
                  </a:lnTo>
                  <a:lnTo>
                    <a:pt x="172" y="28"/>
                  </a:lnTo>
                  <a:lnTo>
                    <a:pt x="172" y="28"/>
                  </a:lnTo>
                  <a:lnTo>
                    <a:pt x="172" y="32"/>
                  </a:lnTo>
                  <a:lnTo>
                    <a:pt x="176" y="32"/>
                  </a:lnTo>
                  <a:lnTo>
                    <a:pt x="172" y="32"/>
                  </a:lnTo>
                  <a:lnTo>
                    <a:pt x="172" y="32"/>
                  </a:lnTo>
                  <a:lnTo>
                    <a:pt x="172" y="32"/>
                  </a:lnTo>
                  <a:lnTo>
                    <a:pt x="172" y="36"/>
                  </a:lnTo>
                  <a:lnTo>
                    <a:pt x="176" y="40"/>
                  </a:lnTo>
                  <a:lnTo>
                    <a:pt x="176" y="40"/>
                  </a:lnTo>
                  <a:lnTo>
                    <a:pt x="176" y="40"/>
                  </a:lnTo>
                  <a:lnTo>
                    <a:pt x="176" y="44"/>
                  </a:lnTo>
                  <a:lnTo>
                    <a:pt x="172" y="44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52"/>
                  </a:lnTo>
                  <a:lnTo>
                    <a:pt x="176" y="52"/>
                  </a:lnTo>
                  <a:lnTo>
                    <a:pt x="176" y="52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80" y="64"/>
                  </a:lnTo>
                  <a:lnTo>
                    <a:pt x="180" y="68"/>
                  </a:lnTo>
                  <a:lnTo>
                    <a:pt x="184" y="68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0" y="72"/>
                  </a:lnTo>
                  <a:lnTo>
                    <a:pt x="180" y="72"/>
                  </a:lnTo>
                  <a:lnTo>
                    <a:pt x="180" y="72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4" y="76"/>
                  </a:lnTo>
                  <a:lnTo>
                    <a:pt x="184" y="76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80" y="76"/>
                  </a:lnTo>
                  <a:lnTo>
                    <a:pt x="176" y="76"/>
                  </a:lnTo>
                  <a:lnTo>
                    <a:pt x="176" y="76"/>
                  </a:lnTo>
                  <a:lnTo>
                    <a:pt x="176" y="76"/>
                  </a:lnTo>
                  <a:lnTo>
                    <a:pt x="172" y="76"/>
                  </a:lnTo>
                  <a:lnTo>
                    <a:pt x="172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4"/>
                  </a:lnTo>
                  <a:lnTo>
                    <a:pt x="156" y="84"/>
                  </a:lnTo>
                  <a:lnTo>
                    <a:pt x="156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48" y="84"/>
                  </a:lnTo>
                  <a:lnTo>
                    <a:pt x="148" y="84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44" y="88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0" y="88"/>
                  </a:lnTo>
                  <a:lnTo>
                    <a:pt x="140" y="88"/>
                  </a:lnTo>
                  <a:lnTo>
                    <a:pt x="140" y="92"/>
                  </a:lnTo>
                  <a:lnTo>
                    <a:pt x="140" y="92"/>
                  </a:lnTo>
                  <a:lnTo>
                    <a:pt x="144" y="92"/>
                  </a:lnTo>
                  <a:lnTo>
                    <a:pt x="140" y="96"/>
                  </a:lnTo>
                  <a:lnTo>
                    <a:pt x="140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28" y="108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6"/>
                  </a:lnTo>
                  <a:lnTo>
                    <a:pt x="124" y="116"/>
                  </a:lnTo>
                  <a:lnTo>
                    <a:pt x="120" y="116"/>
                  </a:lnTo>
                  <a:lnTo>
                    <a:pt x="120" y="116"/>
                  </a:lnTo>
                  <a:lnTo>
                    <a:pt x="120" y="116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16" y="120"/>
                  </a:lnTo>
                  <a:lnTo>
                    <a:pt x="116" y="120"/>
                  </a:lnTo>
                  <a:lnTo>
                    <a:pt x="116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0" y="132"/>
                  </a:lnTo>
                  <a:lnTo>
                    <a:pt x="80" y="136"/>
                  </a:lnTo>
                  <a:lnTo>
                    <a:pt x="76" y="136"/>
                  </a:lnTo>
                  <a:lnTo>
                    <a:pt x="76" y="140"/>
                  </a:lnTo>
                  <a:lnTo>
                    <a:pt x="76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68" y="144"/>
                  </a:lnTo>
                  <a:lnTo>
                    <a:pt x="68" y="144"/>
                  </a:lnTo>
                  <a:lnTo>
                    <a:pt x="68" y="144"/>
                  </a:lnTo>
                  <a:lnTo>
                    <a:pt x="68" y="160"/>
                  </a:lnTo>
                  <a:lnTo>
                    <a:pt x="68" y="164"/>
                  </a:lnTo>
                  <a:lnTo>
                    <a:pt x="60" y="164"/>
                  </a:lnTo>
                  <a:lnTo>
                    <a:pt x="60" y="164"/>
                  </a:lnTo>
                  <a:lnTo>
                    <a:pt x="52" y="164"/>
                  </a:lnTo>
                  <a:lnTo>
                    <a:pt x="52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4" y="164"/>
                  </a:lnTo>
                  <a:lnTo>
                    <a:pt x="4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12" y="156"/>
                  </a:lnTo>
                  <a:lnTo>
                    <a:pt x="16" y="156"/>
                  </a:lnTo>
                  <a:lnTo>
                    <a:pt x="20" y="156"/>
                  </a:lnTo>
                  <a:lnTo>
                    <a:pt x="20" y="156"/>
                  </a:lnTo>
                  <a:lnTo>
                    <a:pt x="24" y="152"/>
                  </a:lnTo>
                  <a:lnTo>
                    <a:pt x="24" y="152"/>
                  </a:lnTo>
                  <a:lnTo>
                    <a:pt x="24" y="152"/>
                  </a:lnTo>
                  <a:lnTo>
                    <a:pt x="28" y="152"/>
                  </a:lnTo>
                  <a:lnTo>
                    <a:pt x="28" y="148"/>
                  </a:lnTo>
                  <a:lnTo>
                    <a:pt x="28" y="148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6" y="144"/>
                  </a:lnTo>
                  <a:lnTo>
                    <a:pt x="36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4" y="136"/>
                  </a:lnTo>
                  <a:lnTo>
                    <a:pt x="44" y="136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8" y="132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52" y="124"/>
                  </a:lnTo>
                  <a:lnTo>
                    <a:pt x="52" y="124"/>
                  </a:lnTo>
                  <a:lnTo>
                    <a:pt x="52" y="124"/>
                  </a:lnTo>
                  <a:lnTo>
                    <a:pt x="52" y="120"/>
                  </a:lnTo>
                  <a:lnTo>
                    <a:pt x="52" y="120"/>
                  </a:lnTo>
                  <a:lnTo>
                    <a:pt x="52" y="120"/>
                  </a:lnTo>
                  <a:lnTo>
                    <a:pt x="52" y="116"/>
                  </a:lnTo>
                  <a:lnTo>
                    <a:pt x="52" y="116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0"/>
                  </a:lnTo>
                  <a:lnTo>
                    <a:pt x="68" y="60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88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28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8" y="16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8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4"/>
                  </a:lnTo>
                  <a:lnTo>
                    <a:pt x="116" y="4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8"/>
                  </a:lnTo>
                  <a:lnTo>
                    <a:pt x="120" y="8"/>
                  </a:lnTo>
                  <a:lnTo>
                    <a:pt x="124" y="12"/>
                  </a:lnTo>
                  <a:lnTo>
                    <a:pt x="124" y="12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2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2" name="Freeform 149"/>
            <p:cNvSpPr>
              <a:spLocks noEditPoints="1"/>
            </p:cNvSpPr>
            <p:nvPr>
              <p:custDataLst>
                <p:tags r:id="rId345"/>
              </p:custDataLst>
            </p:nvPr>
          </p:nvSpPr>
          <p:spPr bwMode="gray">
            <a:xfrm>
              <a:off x="5055304" y="4882185"/>
              <a:ext cx="237290" cy="455300"/>
            </a:xfrm>
            <a:custGeom>
              <a:avLst/>
              <a:gdLst/>
              <a:ahLst/>
              <a:cxnLst>
                <a:cxn ang="0">
                  <a:pos x="24" y="292"/>
                </a:cxn>
                <a:cxn ang="0">
                  <a:pos x="24" y="272"/>
                </a:cxn>
                <a:cxn ang="0">
                  <a:pos x="24" y="256"/>
                </a:cxn>
                <a:cxn ang="0">
                  <a:pos x="20" y="240"/>
                </a:cxn>
                <a:cxn ang="0">
                  <a:pos x="24" y="212"/>
                </a:cxn>
                <a:cxn ang="0">
                  <a:pos x="36" y="188"/>
                </a:cxn>
                <a:cxn ang="0">
                  <a:pos x="40" y="168"/>
                </a:cxn>
                <a:cxn ang="0">
                  <a:pos x="40" y="156"/>
                </a:cxn>
                <a:cxn ang="0">
                  <a:pos x="44" y="144"/>
                </a:cxn>
                <a:cxn ang="0">
                  <a:pos x="40" y="128"/>
                </a:cxn>
                <a:cxn ang="0">
                  <a:pos x="36" y="112"/>
                </a:cxn>
                <a:cxn ang="0">
                  <a:pos x="24" y="104"/>
                </a:cxn>
                <a:cxn ang="0">
                  <a:pos x="8" y="100"/>
                </a:cxn>
                <a:cxn ang="0">
                  <a:pos x="0" y="84"/>
                </a:cxn>
                <a:cxn ang="0">
                  <a:pos x="12" y="76"/>
                </a:cxn>
                <a:cxn ang="0">
                  <a:pos x="28" y="72"/>
                </a:cxn>
                <a:cxn ang="0">
                  <a:pos x="48" y="68"/>
                </a:cxn>
                <a:cxn ang="0">
                  <a:pos x="64" y="72"/>
                </a:cxn>
                <a:cxn ang="0">
                  <a:pos x="64" y="92"/>
                </a:cxn>
                <a:cxn ang="0">
                  <a:pos x="64" y="108"/>
                </a:cxn>
                <a:cxn ang="0">
                  <a:pos x="72" y="124"/>
                </a:cxn>
                <a:cxn ang="0">
                  <a:pos x="72" y="112"/>
                </a:cxn>
                <a:cxn ang="0">
                  <a:pos x="84" y="104"/>
                </a:cxn>
                <a:cxn ang="0">
                  <a:pos x="84" y="80"/>
                </a:cxn>
                <a:cxn ang="0">
                  <a:pos x="72" y="56"/>
                </a:cxn>
                <a:cxn ang="0">
                  <a:pos x="64" y="40"/>
                </a:cxn>
                <a:cxn ang="0">
                  <a:pos x="64" y="28"/>
                </a:cxn>
                <a:cxn ang="0">
                  <a:pos x="76" y="20"/>
                </a:cxn>
                <a:cxn ang="0">
                  <a:pos x="96" y="20"/>
                </a:cxn>
                <a:cxn ang="0">
                  <a:pos x="116" y="20"/>
                </a:cxn>
                <a:cxn ang="0">
                  <a:pos x="120" y="12"/>
                </a:cxn>
                <a:cxn ang="0">
                  <a:pos x="136" y="12"/>
                </a:cxn>
                <a:cxn ang="0">
                  <a:pos x="148" y="4"/>
                </a:cxn>
                <a:cxn ang="0">
                  <a:pos x="156" y="12"/>
                </a:cxn>
                <a:cxn ang="0">
                  <a:pos x="156" y="24"/>
                </a:cxn>
                <a:cxn ang="0">
                  <a:pos x="152" y="44"/>
                </a:cxn>
                <a:cxn ang="0">
                  <a:pos x="156" y="60"/>
                </a:cxn>
                <a:cxn ang="0">
                  <a:pos x="156" y="72"/>
                </a:cxn>
                <a:cxn ang="0">
                  <a:pos x="156" y="84"/>
                </a:cxn>
                <a:cxn ang="0">
                  <a:pos x="152" y="92"/>
                </a:cxn>
                <a:cxn ang="0">
                  <a:pos x="144" y="108"/>
                </a:cxn>
                <a:cxn ang="0">
                  <a:pos x="132" y="120"/>
                </a:cxn>
                <a:cxn ang="0">
                  <a:pos x="116" y="128"/>
                </a:cxn>
                <a:cxn ang="0">
                  <a:pos x="100" y="140"/>
                </a:cxn>
                <a:cxn ang="0">
                  <a:pos x="92" y="148"/>
                </a:cxn>
                <a:cxn ang="0">
                  <a:pos x="88" y="156"/>
                </a:cxn>
                <a:cxn ang="0">
                  <a:pos x="76" y="168"/>
                </a:cxn>
                <a:cxn ang="0">
                  <a:pos x="68" y="172"/>
                </a:cxn>
                <a:cxn ang="0">
                  <a:pos x="72" y="188"/>
                </a:cxn>
                <a:cxn ang="0">
                  <a:pos x="76" y="204"/>
                </a:cxn>
                <a:cxn ang="0">
                  <a:pos x="76" y="224"/>
                </a:cxn>
                <a:cxn ang="0">
                  <a:pos x="80" y="224"/>
                </a:cxn>
                <a:cxn ang="0">
                  <a:pos x="76" y="244"/>
                </a:cxn>
                <a:cxn ang="0">
                  <a:pos x="80" y="252"/>
                </a:cxn>
                <a:cxn ang="0">
                  <a:pos x="72" y="264"/>
                </a:cxn>
                <a:cxn ang="0">
                  <a:pos x="56" y="272"/>
                </a:cxn>
                <a:cxn ang="0">
                  <a:pos x="40" y="280"/>
                </a:cxn>
                <a:cxn ang="0">
                  <a:pos x="36" y="296"/>
                </a:cxn>
                <a:cxn ang="0">
                  <a:pos x="40" y="307"/>
                </a:cxn>
                <a:cxn ang="0">
                  <a:pos x="76" y="212"/>
                </a:cxn>
              </a:cxnLst>
              <a:rect l="0" t="0" r="r" b="b"/>
              <a:pathLst>
                <a:path w="160" h="307">
                  <a:moveTo>
                    <a:pt x="28" y="307"/>
                  </a:moveTo>
                  <a:lnTo>
                    <a:pt x="28" y="299"/>
                  </a:lnTo>
                  <a:lnTo>
                    <a:pt x="28" y="296"/>
                  </a:lnTo>
                  <a:lnTo>
                    <a:pt x="28" y="292"/>
                  </a:lnTo>
                  <a:lnTo>
                    <a:pt x="24" y="292"/>
                  </a:lnTo>
                  <a:lnTo>
                    <a:pt x="24" y="288"/>
                  </a:lnTo>
                  <a:lnTo>
                    <a:pt x="24" y="284"/>
                  </a:lnTo>
                  <a:lnTo>
                    <a:pt x="24" y="280"/>
                  </a:lnTo>
                  <a:lnTo>
                    <a:pt x="28" y="272"/>
                  </a:lnTo>
                  <a:lnTo>
                    <a:pt x="24" y="272"/>
                  </a:lnTo>
                  <a:lnTo>
                    <a:pt x="24" y="268"/>
                  </a:lnTo>
                  <a:lnTo>
                    <a:pt x="24" y="264"/>
                  </a:lnTo>
                  <a:lnTo>
                    <a:pt x="28" y="260"/>
                  </a:lnTo>
                  <a:lnTo>
                    <a:pt x="24" y="260"/>
                  </a:lnTo>
                  <a:lnTo>
                    <a:pt x="24" y="256"/>
                  </a:lnTo>
                  <a:lnTo>
                    <a:pt x="24" y="252"/>
                  </a:lnTo>
                  <a:lnTo>
                    <a:pt x="24" y="248"/>
                  </a:lnTo>
                  <a:lnTo>
                    <a:pt x="20" y="248"/>
                  </a:lnTo>
                  <a:lnTo>
                    <a:pt x="20" y="244"/>
                  </a:lnTo>
                  <a:lnTo>
                    <a:pt x="20" y="240"/>
                  </a:lnTo>
                  <a:lnTo>
                    <a:pt x="20" y="236"/>
                  </a:lnTo>
                  <a:lnTo>
                    <a:pt x="16" y="224"/>
                  </a:lnTo>
                  <a:lnTo>
                    <a:pt x="16" y="220"/>
                  </a:lnTo>
                  <a:lnTo>
                    <a:pt x="20" y="216"/>
                  </a:lnTo>
                  <a:lnTo>
                    <a:pt x="24" y="212"/>
                  </a:lnTo>
                  <a:lnTo>
                    <a:pt x="32" y="200"/>
                  </a:lnTo>
                  <a:lnTo>
                    <a:pt x="32" y="196"/>
                  </a:lnTo>
                  <a:lnTo>
                    <a:pt x="32" y="192"/>
                  </a:lnTo>
                  <a:lnTo>
                    <a:pt x="32" y="188"/>
                  </a:lnTo>
                  <a:lnTo>
                    <a:pt x="36" y="188"/>
                  </a:lnTo>
                  <a:lnTo>
                    <a:pt x="36" y="184"/>
                  </a:lnTo>
                  <a:lnTo>
                    <a:pt x="40" y="180"/>
                  </a:lnTo>
                  <a:lnTo>
                    <a:pt x="40" y="176"/>
                  </a:lnTo>
                  <a:lnTo>
                    <a:pt x="40" y="172"/>
                  </a:lnTo>
                  <a:lnTo>
                    <a:pt x="40" y="168"/>
                  </a:lnTo>
                  <a:lnTo>
                    <a:pt x="36" y="168"/>
                  </a:lnTo>
                  <a:lnTo>
                    <a:pt x="36" y="164"/>
                  </a:lnTo>
                  <a:lnTo>
                    <a:pt x="40" y="164"/>
                  </a:lnTo>
                  <a:lnTo>
                    <a:pt x="40" y="160"/>
                  </a:lnTo>
                  <a:lnTo>
                    <a:pt x="40" y="156"/>
                  </a:lnTo>
                  <a:lnTo>
                    <a:pt x="36" y="156"/>
                  </a:lnTo>
                  <a:lnTo>
                    <a:pt x="36" y="152"/>
                  </a:lnTo>
                  <a:lnTo>
                    <a:pt x="40" y="152"/>
                  </a:lnTo>
                  <a:lnTo>
                    <a:pt x="40" y="148"/>
                  </a:lnTo>
                  <a:lnTo>
                    <a:pt x="44" y="144"/>
                  </a:lnTo>
                  <a:lnTo>
                    <a:pt x="40" y="144"/>
                  </a:lnTo>
                  <a:lnTo>
                    <a:pt x="40" y="140"/>
                  </a:lnTo>
                  <a:lnTo>
                    <a:pt x="40" y="136"/>
                  </a:lnTo>
                  <a:lnTo>
                    <a:pt x="40" y="132"/>
                  </a:lnTo>
                  <a:lnTo>
                    <a:pt x="40" y="128"/>
                  </a:lnTo>
                  <a:lnTo>
                    <a:pt x="40" y="124"/>
                  </a:lnTo>
                  <a:lnTo>
                    <a:pt x="40" y="120"/>
                  </a:lnTo>
                  <a:lnTo>
                    <a:pt x="40" y="116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2" y="112"/>
                  </a:lnTo>
                  <a:lnTo>
                    <a:pt x="32" y="108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0" y="104"/>
                  </a:lnTo>
                  <a:lnTo>
                    <a:pt x="16" y="104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8" y="100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16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8" y="72"/>
                  </a:lnTo>
                  <a:lnTo>
                    <a:pt x="32" y="68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8"/>
                  </a:lnTo>
                  <a:lnTo>
                    <a:pt x="48" y="68"/>
                  </a:lnTo>
                  <a:lnTo>
                    <a:pt x="48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4" y="96"/>
                  </a:lnTo>
                  <a:lnTo>
                    <a:pt x="60" y="96"/>
                  </a:lnTo>
                  <a:lnTo>
                    <a:pt x="60" y="100"/>
                  </a:lnTo>
                  <a:lnTo>
                    <a:pt x="64" y="104"/>
                  </a:lnTo>
                  <a:lnTo>
                    <a:pt x="64" y="108"/>
                  </a:lnTo>
                  <a:lnTo>
                    <a:pt x="68" y="108"/>
                  </a:lnTo>
                  <a:lnTo>
                    <a:pt x="68" y="112"/>
                  </a:lnTo>
                  <a:lnTo>
                    <a:pt x="72" y="116"/>
                  </a:lnTo>
                  <a:lnTo>
                    <a:pt x="72" y="120"/>
                  </a:lnTo>
                  <a:lnTo>
                    <a:pt x="72" y="124"/>
                  </a:lnTo>
                  <a:lnTo>
                    <a:pt x="76" y="124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76" y="112"/>
                  </a:lnTo>
                  <a:lnTo>
                    <a:pt x="72" y="112"/>
                  </a:lnTo>
                  <a:lnTo>
                    <a:pt x="76" y="112"/>
                  </a:lnTo>
                  <a:lnTo>
                    <a:pt x="76" y="108"/>
                  </a:lnTo>
                  <a:lnTo>
                    <a:pt x="76" y="104"/>
                  </a:lnTo>
                  <a:lnTo>
                    <a:pt x="80" y="104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92"/>
                  </a:lnTo>
                  <a:lnTo>
                    <a:pt x="84" y="88"/>
                  </a:lnTo>
                  <a:lnTo>
                    <a:pt x="84" y="84"/>
                  </a:lnTo>
                  <a:lnTo>
                    <a:pt x="84" y="80"/>
                  </a:lnTo>
                  <a:lnTo>
                    <a:pt x="84" y="76"/>
                  </a:lnTo>
                  <a:lnTo>
                    <a:pt x="80" y="68"/>
                  </a:lnTo>
                  <a:lnTo>
                    <a:pt x="76" y="60"/>
                  </a:lnTo>
                  <a:lnTo>
                    <a:pt x="72" y="60"/>
                  </a:lnTo>
                  <a:lnTo>
                    <a:pt x="72" y="56"/>
                  </a:lnTo>
                  <a:lnTo>
                    <a:pt x="68" y="56"/>
                  </a:lnTo>
                  <a:lnTo>
                    <a:pt x="64" y="52"/>
                  </a:lnTo>
                  <a:lnTo>
                    <a:pt x="64" y="48"/>
                  </a:lnTo>
                  <a:lnTo>
                    <a:pt x="64" y="44"/>
                  </a:lnTo>
                  <a:lnTo>
                    <a:pt x="64" y="40"/>
                  </a:lnTo>
                  <a:lnTo>
                    <a:pt x="64" y="36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80" y="20"/>
                  </a:lnTo>
                  <a:lnTo>
                    <a:pt x="84" y="16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8" y="20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16" y="16"/>
                  </a:lnTo>
                  <a:lnTo>
                    <a:pt x="112" y="16"/>
                  </a:lnTo>
                  <a:lnTo>
                    <a:pt x="116" y="16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2"/>
                  </a:lnTo>
                  <a:lnTo>
                    <a:pt x="136" y="8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4" y="4"/>
                  </a:lnTo>
                  <a:lnTo>
                    <a:pt x="148" y="4"/>
                  </a:lnTo>
                  <a:lnTo>
                    <a:pt x="152" y="0"/>
                  </a:lnTo>
                  <a:lnTo>
                    <a:pt x="156" y="0"/>
                  </a:lnTo>
                  <a:lnTo>
                    <a:pt x="156" y="4"/>
                  </a:lnTo>
                  <a:lnTo>
                    <a:pt x="156" y="8"/>
                  </a:lnTo>
                  <a:lnTo>
                    <a:pt x="156" y="12"/>
                  </a:lnTo>
                  <a:lnTo>
                    <a:pt x="152" y="12"/>
                  </a:lnTo>
                  <a:lnTo>
                    <a:pt x="152" y="16"/>
                  </a:lnTo>
                  <a:lnTo>
                    <a:pt x="156" y="16"/>
                  </a:lnTo>
                  <a:lnTo>
                    <a:pt x="152" y="20"/>
                  </a:lnTo>
                  <a:lnTo>
                    <a:pt x="156" y="24"/>
                  </a:lnTo>
                  <a:lnTo>
                    <a:pt x="156" y="32"/>
                  </a:lnTo>
                  <a:lnTo>
                    <a:pt x="156" y="36"/>
                  </a:lnTo>
                  <a:lnTo>
                    <a:pt x="156" y="40"/>
                  </a:lnTo>
                  <a:lnTo>
                    <a:pt x="156" y="44"/>
                  </a:lnTo>
                  <a:lnTo>
                    <a:pt x="152" y="44"/>
                  </a:lnTo>
                  <a:lnTo>
                    <a:pt x="156" y="44"/>
                  </a:lnTo>
                  <a:lnTo>
                    <a:pt x="156" y="48"/>
                  </a:lnTo>
                  <a:lnTo>
                    <a:pt x="156" y="52"/>
                  </a:lnTo>
                  <a:lnTo>
                    <a:pt x="156" y="56"/>
                  </a:lnTo>
                  <a:lnTo>
                    <a:pt x="156" y="60"/>
                  </a:lnTo>
                  <a:lnTo>
                    <a:pt x="156" y="64"/>
                  </a:lnTo>
                  <a:lnTo>
                    <a:pt x="156" y="68"/>
                  </a:lnTo>
                  <a:lnTo>
                    <a:pt x="160" y="68"/>
                  </a:lnTo>
                  <a:lnTo>
                    <a:pt x="160" y="72"/>
                  </a:lnTo>
                  <a:lnTo>
                    <a:pt x="156" y="72"/>
                  </a:lnTo>
                  <a:lnTo>
                    <a:pt x="160" y="72"/>
                  </a:lnTo>
                  <a:lnTo>
                    <a:pt x="160" y="76"/>
                  </a:lnTo>
                  <a:lnTo>
                    <a:pt x="160" y="80"/>
                  </a:lnTo>
                  <a:lnTo>
                    <a:pt x="160" y="84"/>
                  </a:lnTo>
                  <a:lnTo>
                    <a:pt x="156" y="84"/>
                  </a:lnTo>
                  <a:lnTo>
                    <a:pt x="156" y="88"/>
                  </a:lnTo>
                  <a:lnTo>
                    <a:pt x="156" y="84"/>
                  </a:lnTo>
                  <a:lnTo>
                    <a:pt x="156" y="88"/>
                  </a:lnTo>
                  <a:lnTo>
                    <a:pt x="156" y="92"/>
                  </a:lnTo>
                  <a:lnTo>
                    <a:pt x="152" y="92"/>
                  </a:lnTo>
                  <a:lnTo>
                    <a:pt x="152" y="96"/>
                  </a:lnTo>
                  <a:lnTo>
                    <a:pt x="148" y="100"/>
                  </a:lnTo>
                  <a:lnTo>
                    <a:pt x="148" y="104"/>
                  </a:lnTo>
                  <a:lnTo>
                    <a:pt x="144" y="104"/>
                  </a:lnTo>
                  <a:lnTo>
                    <a:pt x="144" y="108"/>
                  </a:lnTo>
                  <a:lnTo>
                    <a:pt x="144" y="112"/>
                  </a:lnTo>
                  <a:lnTo>
                    <a:pt x="140" y="112"/>
                  </a:lnTo>
                  <a:lnTo>
                    <a:pt x="136" y="116"/>
                  </a:lnTo>
                  <a:lnTo>
                    <a:pt x="132" y="116"/>
                  </a:lnTo>
                  <a:lnTo>
                    <a:pt x="132" y="120"/>
                  </a:lnTo>
                  <a:lnTo>
                    <a:pt x="128" y="120"/>
                  </a:lnTo>
                  <a:lnTo>
                    <a:pt x="124" y="124"/>
                  </a:lnTo>
                  <a:lnTo>
                    <a:pt x="120" y="124"/>
                  </a:lnTo>
                  <a:lnTo>
                    <a:pt x="116" y="124"/>
                  </a:lnTo>
                  <a:lnTo>
                    <a:pt x="116" y="128"/>
                  </a:lnTo>
                  <a:lnTo>
                    <a:pt x="112" y="128"/>
                  </a:lnTo>
                  <a:lnTo>
                    <a:pt x="108" y="132"/>
                  </a:lnTo>
                  <a:lnTo>
                    <a:pt x="104" y="132"/>
                  </a:lnTo>
                  <a:lnTo>
                    <a:pt x="104" y="136"/>
                  </a:lnTo>
                  <a:lnTo>
                    <a:pt x="100" y="140"/>
                  </a:lnTo>
                  <a:lnTo>
                    <a:pt x="100" y="136"/>
                  </a:lnTo>
                  <a:lnTo>
                    <a:pt x="100" y="140"/>
                  </a:lnTo>
                  <a:lnTo>
                    <a:pt x="100" y="144"/>
                  </a:lnTo>
                  <a:lnTo>
                    <a:pt x="96" y="148"/>
                  </a:lnTo>
                  <a:lnTo>
                    <a:pt x="92" y="148"/>
                  </a:lnTo>
                  <a:lnTo>
                    <a:pt x="92" y="152"/>
                  </a:lnTo>
                  <a:lnTo>
                    <a:pt x="92" y="156"/>
                  </a:lnTo>
                  <a:lnTo>
                    <a:pt x="88" y="156"/>
                  </a:lnTo>
                  <a:lnTo>
                    <a:pt x="88" y="152"/>
                  </a:lnTo>
                  <a:lnTo>
                    <a:pt x="88" y="156"/>
                  </a:lnTo>
                  <a:lnTo>
                    <a:pt x="84" y="156"/>
                  </a:lnTo>
                  <a:lnTo>
                    <a:pt x="84" y="160"/>
                  </a:lnTo>
                  <a:lnTo>
                    <a:pt x="80" y="160"/>
                  </a:lnTo>
                  <a:lnTo>
                    <a:pt x="80" y="164"/>
                  </a:lnTo>
                  <a:lnTo>
                    <a:pt x="76" y="168"/>
                  </a:lnTo>
                  <a:lnTo>
                    <a:pt x="72" y="172"/>
                  </a:lnTo>
                  <a:lnTo>
                    <a:pt x="68" y="172"/>
                  </a:lnTo>
                  <a:lnTo>
                    <a:pt x="64" y="168"/>
                  </a:lnTo>
                  <a:lnTo>
                    <a:pt x="64" y="172"/>
                  </a:lnTo>
                  <a:lnTo>
                    <a:pt x="68" y="172"/>
                  </a:lnTo>
                  <a:lnTo>
                    <a:pt x="68" y="176"/>
                  </a:lnTo>
                  <a:lnTo>
                    <a:pt x="68" y="180"/>
                  </a:lnTo>
                  <a:lnTo>
                    <a:pt x="68" y="184"/>
                  </a:lnTo>
                  <a:lnTo>
                    <a:pt x="68" y="188"/>
                  </a:lnTo>
                  <a:lnTo>
                    <a:pt x="72" y="188"/>
                  </a:lnTo>
                  <a:lnTo>
                    <a:pt x="72" y="192"/>
                  </a:lnTo>
                  <a:lnTo>
                    <a:pt x="72" y="196"/>
                  </a:lnTo>
                  <a:lnTo>
                    <a:pt x="72" y="200"/>
                  </a:lnTo>
                  <a:lnTo>
                    <a:pt x="72" y="204"/>
                  </a:lnTo>
                  <a:lnTo>
                    <a:pt x="76" y="204"/>
                  </a:lnTo>
                  <a:lnTo>
                    <a:pt x="76" y="208"/>
                  </a:lnTo>
                  <a:lnTo>
                    <a:pt x="76" y="212"/>
                  </a:lnTo>
                  <a:lnTo>
                    <a:pt x="76" y="216"/>
                  </a:lnTo>
                  <a:lnTo>
                    <a:pt x="76" y="220"/>
                  </a:lnTo>
                  <a:lnTo>
                    <a:pt x="76" y="224"/>
                  </a:lnTo>
                  <a:lnTo>
                    <a:pt x="76" y="220"/>
                  </a:lnTo>
                  <a:lnTo>
                    <a:pt x="76" y="216"/>
                  </a:lnTo>
                  <a:lnTo>
                    <a:pt x="80" y="216"/>
                  </a:lnTo>
                  <a:lnTo>
                    <a:pt x="80" y="220"/>
                  </a:lnTo>
                  <a:lnTo>
                    <a:pt x="80" y="224"/>
                  </a:lnTo>
                  <a:lnTo>
                    <a:pt x="80" y="228"/>
                  </a:lnTo>
                  <a:lnTo>
                    <a:pt x="80" y="232"/>
                  </a:lnTo>
                  <a:lnTo>
                    <a:pt x="80" y="236"/>
                  </a:lnTo>
                  <a:lnTo>
                    <a:pt x="80" y="240"/>
                  </a:lnTo>
                  <a:lnTo>
                    <a:pt x="76" y="244"/>
                  </a:lnTo>
                  <a:lnTo>
                    <a:pt x="76" y="248"/>
                  </a:lnTo>
                  <a:lnTo>
                    <a:pt x="76" y="252"/>
                  </a:lnTo>
                  <a:lnTo>
                    <a:pt x="76" y="248"/>
                  </a:lnTo>
                  <a:lnTo>
                    <a:pt x="80" y="248"/>
                  </a:lnTo>
                  <a:lnTo>
                    <a:pt x="80" y="252"/>
                  </a:lnTo>
                  <a:lnTo>
                    <a:pt x="80" y="256"/>
                  </a:lnTo>
                  <a:lnTo>
                    <a:pt x="76" y="256"/>
                  </a:lnTo>
                  <a:lnTo>
                    <a:pt x="76" y="260"/>
                  </a:lnTo>
                  <a:lnTo>
                    <a:pt x="76" y="264"/>
                  </a:lnTo>
                  <a:lnTo>
                    <a:pt x="72" y="264"/>
                  </a:lnTo>
                  <a:lnTo>
                    <a:pt x="68" y="268"/>
                  </a:lnTo>
                  <a:lnTo>
                    <a:pt x="64" y="268"/>
                  </a:lnTo>
                  <a:lnTo>
                    <a:pt x="60" y="268"/>
                  </a:lnTo>
                  <a:lnTo>
                    <a:pt x="60" y="272"/>
                  </a:lnTo>
                  <a:lnTo>
                    <a:pt x="56" y="272"/>
                  </a:lnTo>
                  <a:lnTo>
                    <a:pt x="52" y="272"/>
                  </a:lnTo>
                  <a:lnTo>
                    <a:pt x="48" y="276"/>
                  </a:lnTo>
                  <a:lnTo>
                    <a:pt x="44" y="276"/>
                  </a:lnTo>
                  <a:lnTo>
                    <a:pt x="44" y="280"/>
                  </a:lnTo>
                  <a:lnTo>
                    <a:pt x="40" y="280"/>
                  </a:lnTo>
                  <a:lnTo>
                    <a:pt x="40" y="284"/>
                  </a:lnTo>
                  <a:lnTo>
                    <a:pt x="36" y="284"/>
                  </a:lnTo>
                  <a:lnTo>
                    <a:pt x="36" y="288"/>
                  </a:lnTo>
                  <a:lnTo>
                    <a:pt x="36" y="292"/>
                  </a:lnTo>
                  <a:lnTo>
                    <a:pt x="36" y="296"/>
                  </a:lnTo>
                  <a:lnTo>
                    <a:pt x="40" y="296"/>
                  </a:lnTo>
                  <a:lnTo>
                    <a:pt x="40" y="292"/>
                  </a:lnTo>
                  <a:lnTo>
                    <a:pt x="40" y="296"/>
                  </a:lnTo>
                  <a:lnTo>
                    <a:pt x="40" y="303"/>
                  </a:lnTo>
                  <a:lnTo>
                    <a:pt x="40" y="307"/>
                  </a:lnTo>
                  <a:lnTo>
                    <a:pt x="36" y="307"/>
                  </a:lnTo>
                  <a:lnTo>
                    <a:pt x="32" y="307"/>
                  </a:lnTo>
                  <a:lnTo>
                    <a:pt x="28" y="307"/>
                  </a:lnTo>
                  <a:close/>
                  <a:moveTo>
                    <a:pt x="80" y="212"/>
                  </a:moveTo>
                  <a:lnTo>
                    <a:pt x="76" y="212"/>
                  </a:lnTo>
                  <a:lnTo>
                    <a:pt x="76" y="208"/>
                  </a:lnTo>
                  <a:lnTo>
                    <a:pt x="80" y="204"/>
                  </a:lnTo>
                  <a:lnTo>
                    <a:pt x="80" y="208"/>
                  </a:lnTo>
                  <a:lnTo>
                    <a:pt x="80" y="2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3" name="Freeform 150"/>
            <p:cNvSpPr>
              <a:spLocks/>
            </p:cNvSpPr>
            <p:nvPr>
              <p:custDataLst>
                <p:tags r:id="rId346"/>
              </p:custDataLst>
            </p:nvPr>
          </p:nvSpPr>
          <p:spPr bwMode="gray">
            <a:xfrm>
              <a:off x="4635597" y="5060153"/>
              <a:ext cx="308477" cy="336655"/>
            </a:xfrm>
            <a:custGeom>
              <a:avLst/>
              <a:gdLst/>
              <a:ahLst/>
              <a:cxnLst>
                <a:cxn ang="0">
                  <a:pos x="128" y="132"/>
                </a:cxn>
                <a:cxn ang="0">
                  <a:pos x="128" y="148"/>
                </a:cxn>
                <a:cxn ang="0">
                  <a:pos x="128" y="164"/>
                </a:cxn>
                <a:cxn ang="0">
                  <a:pos x="128" y="195"/>
                </a:cxn>
                <a:cxn ang="0">
                  <a:pos x="128" y="215"/>
                </a:cxn>
                <a:cxn ang="0">
                  <a:pos x="116" y="223"/>
                </a:cxn>
                <a:cxn ang="0">
                  <a:pos x="104" y="227"/>
                </a:cxn>
                <a:cxn ang="0">
                  <a:pos x="92" y="223"/>
                </a:cxn>
                <a:cxn ang="0">
                  <a:pos x="88" y="211"/>
                </a:cxn>
                <a:cxn ang="0">
                  <a:pos x="80" y="211"/>
                </a:cxn>
                <a:cxn ang="0">
                  <a:pos x="72" y="219"/>
                </a:cxn>
                <a:cxn ang="0">
                  <a:pos x="64" y="207"/>
                </a:cxn>
                <a:cxn ang="0">
                  <a:pos x="60" y="203"/>
                </a:cxn>
                <a:cxn ang="0">
                  <a:pos x="56" y="187"/>
                </a:cxn>
                <a:cxn ang="0">
                  <a:pos x="52" y="176"/>
                </a:cxn>
                <a:cxn ang="0">
                  <a:pos x="48" y="164"/>
                </a:cxn>
                <a:cxn ang="0">
                  <a:pos x="48" y="148"/>
                </a:cxn>
                <a:cxn ang="0">
                  <a:pos x="44" y="136"/>
                </a:cxn>
                <a:cxn ang="0">
                  <a:pos x="44" y="120"/>
                </a:cxn>
                <a:cxn ang="0">
                  <a:pos x="44" y="104"/>
                </a:cxn>
                <a:cxn ang="0">
                  <a:pos x="36" y="92"/>
                </a:cxn>
                <a:cxn ang="0">
                  <a:pos x="32" y="80"/>
                </a:cxn>
                <a:cxn ang="0">
                  <a:pos x="24" y="68"/>
                </a:cxn>
                <a:cxn ang="0">
                  <a:pos x="20" y="56"/>
                </a:cxn>
                <a:cxn ang="0">
                  <a:pos x="16" y="44"/>
                </a:cxn>
                <a:cxn ang="0">
                  <a:pos x="8" y="32"/>
                </a:cxn>
                <a:cxn ang="0">
                  <a:pos x="4" y="20"/>
                </a:cxn>
                <a:cxn ang="0">
                  <a:pos x="4" y="8"/>
                </a:cxn>
                <a:cxn ang="0">
                  <a:pos x="16" y="4"/>
                </a:cxn>
                <a:cxn ang="0">
                  <a:pos x="32" y="4"/>
                </a:cxn>
                <a:cxn ang="0">
                  <a:pos x="44" y="8"/>
                </a:cxn>
                <a:cxn ang="0">
                  <a:pos x="68" y="8"/>
                </a:cxn>
                <a:cxn ang="0">
                  <a:pos x="96" y="8"/>
                </a:cxn>
                <a:cxn ang="0">
                  <a:pos x="108" y="16"/>
                </a:cxn>
                <a:cxn ang="0">
                  <a:pos x="124" y="16"/>
                </a:cxn>
                <a:cxn ang="0">
                  <a:pos x="136" y="20"/>
                </a:cxn>
                <a:cxn ang="0">
                  <a:pos x="148" y="20"/>
                </a:cxn>
                <a:cxn ang="0">
                  <a:pos x="172" y="12"/>
                </a:cxn>
                <a:cxn ang="0">
                  <a:pos x="188" y="8"/>
                </a:cxn>
                <a:cxn ang="0">
                  <a:pos x="204" y="8"/>
                </a:cxn>
                <a:cxn ang="0">
                  <a:pos x="200" y="16"/>
                </a:cxn>
                <a:cxn ang="0">
                  <a:pos x="192" y="20"/>
                </a:cxn>
                <a:cxn ang="0">
                  <a:pos x="184" y="28"/>
                </a:cxn>
                <a:cxn ang="0">
                  <a:pos x="176" y="20"/>
                </a:cxn>
                <a:cxn ang="0">
                  <a:pos x="156" y="24"/>
                </a:cxn>
                <a:cxn ang="0">
                  <a:pos x="144" y="32"/>
                </a:cxn>
                <a:cxn ang="0">
                  <a:pos x="144" y="72"/>
                </a:cxn>
                <a:cxn ang="0">
                  <a:pos x="144" y="92"/>
                </a:cxn>
                <a:cxn ang="0">
                  <a:pos x="132" y="96"/>
                </a:cxn>
                <a:cxn ang="0">
                  <a:pos x="128" y="108"/>
                </a:cxn>
              </a:cxnLst>
              <a:rect l="0" t="0" r="r" b="b"/>
              <a:pathLst>
                <a:path w="208" h="227">
                  <a:moveTo>
                    <a:pt x="128" y="120"/>
                  </a:moveTo>
                  <a:lnTo>
                    <a:pt x="128" y="124"/>
                  </a:lnTo>
                  <a:lnTo>
                    <a:pt x="128" y="128"/>
                  </a:lnTo>
                  <a:lnTo>
                    <a:pt x="128" y="132"/>
                  </a:lnTo>
                  <a:lnTo>
                    <a:pt x="128" y="136"/>
                  </a:lnTo>
                  <a:lnTo>
                    <a:pt x="128" y="140"/>
                  </a:lnTo>
                  <a:lnTo>
                    <a:pt x="128" y="144"/>
                  </a:lnTo>
                  <a:lnTo>
                    <a:pt x="128" y="148"/>
                  </a:lnTo>
                  <a:lnTo>
                    <a:pt x="128" y="152"/>
                  </a:lnTo>
                  <a:lnTo>
                    <a:pt x="128" y="156"/>
                  </a:lnTo>
                  <a:lnTo>
                    <a:pt x="128" y="160"/>
                  </a:lnTo>
                  <a:lnTo>
                    <a:pt x="128" y="164"/>
                  </a:lnTo>
                  <a:lnTo>
                    <a:pt x="128" y="168"/>
                  </a:lnTo>
                  <a:lnTo>
                    <a:pt x="128" y="179"/>
                  </a:lnTo>
                  <a:lnTo>
                    <a:pt x="128" y="191"/>
                  </a:lnTo>
                  <a:lnTo>
                    <a:pt x="128" y="195"/>
                  </a:lnTo>
                  <a:lnTo>
                    <a:pt x="128" y="199"/>
                  </a:lnTo>
                  <a:lnTo>
                    <a:pt x="128" y="207"/>
                  </a:lnTo>
                  <a:lnTo>
                    <a:pt x="128" y="211"/>
                  </a:lnTo>
                  <a:lnTo>
                    <a:pt x="128" y="215"/>
                  </a:lnTo>
                  <a:lnTo>
                    <a:pt x="124" y="219"/>
                  </a:lnTo>
                  <a:lnTo>
                    <a:pt x="120" y="219"/>
                  </a:lnTo>
                  <a:lnTo>
                    <a:pt x="120" y="223"/>
                  </a:lnTo>
                  <a:lnTo>
                    <a:pt x="116" y="223"/>
                  </a:lnTo>
                  <a:lnTo>
                    <a:pt x="116" y="227"/>
                  </a:lnTo>
                  <a:lnTo>
                    <a:pt x="112" y="227"/>
                  </a:lnTo>
                  <a:lnTo>
                    <a:pt x="108" y="223"/>
                  </a:lnTo>
                  <a:lnTo>
                    <a:pt x="104" y="227"/>
                  </a:lnTo>
                  <a:lnTo>
                    <a:pt x="100" y="227"/>
                  </a:lnTo>
                  <a:lnTo>
                    <a:pt x="96" y="227"/>
                  </a:lnTo>
                  <a:lnTo>
                    <a:pt x="96" y="223"/>
                  </a:lnTo>
                  <a:lnTo>
                    <a:pt x="92" y="223"/>
                  </a:lnTo>
                  <a:lnTo>
                    <a:pt x="88" y="223"/>
                  </a:lnTo>
                  <a:lnTo>
                    <a:pt x="88" y="219"/>
                  </a:lnTo>
                  <a:lnTo>
                    <a:pt x="88" y="215"/>
                  </a:lnTo>
                  <a:lnTo>
                    <a:pt x="88" y="211"/>
                  </a:lnTo>
                  <a:lnTo>
                    <a:pt x="88" y="215"/>
                  </a:lnTo>
                  <a:lnTo>
                    <a:pt x="84" y="215"/>
                  </a:lnTo>
                  <a:lnTo>
                    <a:pt x="84" y="211"/>
                  </a:lnTo>
                  <a:lnTo>
                    <a:pt x="80" y="211"/>
                  </a:lnTo>
                  <a:lnTo>
                    <a:pt x="80" y="215"/>
                  </a:lnTo>
                  <a:lnTo>
                    <a:pt x="80" y="219"/>
                  </a:lnTo>
                  <a:lnTo>
                    <a:pt x="76" y="219"/>
                  </a:lnTo>
                  <a:lnTo>
                    <a:pt x="72" y="219"/>
                  </a:lnTo>
                  <a:lnTo>
                    <a:pt x="68" y="215"/>
                  </a:lnTo>
                  <a:lnTo>
                    <a:pt x="68" y="211"/>
                  </a:lnTo>
                  <a:lnTo>
                    <a:pt x="64" y="211"/>
                  </a:lnTo>
                  <a:lnTo>
                    <a:pt x="64" y="207"/>
                  </a:lnTo>
                  <a:lnTo>
                    <a:pt x="60" y="207"/>
                  </a:lnTo>
                  <a:lnTo>
                    <a:pt x="64" y="207"/>
                  </a:lnTo>
                  <a:lnTo>
                    <a:pt x="60" y="207"/>
                  </a:lnTo>
                  <a:lnTo>
                    <a:pt x="60" y="203"/>
                  </a:lnTo>
                  <a:lnTo>
                    <a:pt x="56" y="199"/>
                  </a:lnTo>
                  <a:lnTo>
                    <a:pt x="56" y="195"/>
                  </a:lnTo>
                  <a:lnTo>
                    <a:pt x="56" y="191"/>
                  </a:lnTo>
                  <a:lnTo>
                    <a:pt x="56" y="187"/>
                  </a:lnTo>
                  <a:lnTo>
                    <a:pt x="52" y="183"/>
                  </a:lnTo>
                  <a:lnTo>
                    <a:pt x="56" y="183"/>
                  </a:lnTo>
                  <a:lnTo>
                    <a:pt x="52" y="179"/>
                  </a:lnTo>
                  <a:lnTo>
                    <a:pt x="52" y="176"/>
                  </a:lnTo>
                  <a:lnTo>
                    <a:pt x="52" y="172"/>
                  </a:lnTo>
                  <a:lnTo>
                    <a:pt x="52" y="168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48" y="160"/>
                  </a:lnTo>
                  <a:lnTo>
                    <a:pt x="48" y="156"/>
                  </a:lnTo>
                  <a:lnTo>
                    <a:pt x="48" y="152"/>
                  </a:lnTo>
                  <a:lnTo>
                    <a:pt x="48" y="148"/>
                  </a:lnTo>
                  <a:lnTo>
                    <a:pt x="48" y="144"/>
                  </a:lnTo>
                  <a:lnTo>
                    <a:pt x="44" y="144"/>
                  </a:lnTo>
                  <a:lnTo>
                    <a:pt x="44" y="140"/>
                  </a:lnTo>
                  <a:lnTo>
                    <a:pt x="44" y="136"/>
                  </a:lnTo>
                  <a:lnTo>
                    <a:pt x="44" y="132"/>
                  </a:lnTo>
                  <a:lnTo>
                    <a:pt x="44" y="128"/>
                  </a:lnTo>
                  <a:lnTo>
                    <a:pt x="44" y="124"/>
                  </a:lnTo>
                  <a:lnTo>
                    <a:pt x="44" y="120"/>
                  </a:lnTo>
                  <a:lnTo>
                    <a:pt x="44" y="116"/>
                  </a:lnTo>
                  <a:lnTo>
                    <a:pt x="44" y="112"/>
                  </a:lnTo>
                  <a:lnTo>
                    <a:pt x="44" y="108"/>
                  </a:lnTo>
                  <a:lnTo>
                    <a:pt x="44" y="104"/>
                  </a:lnTo>
                  <a:lnTo>
                    <a:pt x="44" y="100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36" y="92"/>
                  </a:lnTo>
                  <a:lnTo>
                    <a:pt x="36" y="88"/>
                  </a:lnTo>
                  <a:lnTo>
                    <a:pt x="36" y="84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28" y="72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60" y="8"/>
                  </a:lnTo>
                  <a:lnTo>
                    <a:pt x="68" y="8"/>
                  </a:lnTo>
                  <a:lnTo>
                    <a:pt x="76" y="8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6" y="16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20"/>
                  </a:lnTo>
                  <a:lnTo>
                    <a:pt x="140" y="20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48" y="20"/>
                  </a:lnTo>
                  <a:lnTo>
                    <a:pt x="156" y="16"/>
                  </a:lnTo>
                  <a:lnTo>
                    <a:pt x="164" y="16"/>
                  </a:lnTo>
                  <a:lnTo>
                    <a:pt x="168" y="16"/>
                  </a:lnTo>
                  <a:lnTo>
                    <a:pt x="172" y="12"/>
                  </a:lnTo>
                  <a:lnTo>
                    <a:pt x="176" y="12"/>
                  </a:lnTo>
                  <a:lnTo>
                    <a:pt x="180" y="12"/>
                  </a:lnTo>
                  <a:lnTo>
                    <a:pt x="184" y="12"/>
                  </a:lnTo>
                  <a:lnTo>
                    <a:pt x="188" y="8"/>
                  </a:lnTo>
                  <a:lnTo>
                    <a:pt x="192" y="8"/>
                  </a:lnTo>
                  <a:lnTo>
                    <a:pt x="196" y="8"/>
                  </a:lnTo>
                  <a:lnTo>
                    <a:pt x="200" y="8"/>
                  </a:lnTo>
                  <a:lnTo>
                    <a:pt x="204" y="8"/>
                  </a:lnTo>
                  <a:lnTo>
                    <a:pt x="204" y="12"/>
                  </a:lnTo>
                  <a:lnTo>
                    <a:pt x="208" y="16"/>
                  </a:lnTo>
                  <a:lnTo>
                    <a:pt x="204" y="16"/>
                  </a:lnTo>
                  <a:lnTo>
                    <a:pt x="200" y="16"/>
                  </a:lnTo>
                  <a:lnTo>
                    <a:pt x="196" y="20"/>
                  </a:lnTo>
                  <a:lnTo>
                    <a:pt x="196" y="16"/>
                  </a:lnTo>
                  <a:lnTo>
                    <a:pt x="192" y="16"/>
                  </a:lnTo>
                  <a:lnTo>
                    <a:pt x="192" y="20"/>
                  </a:lnTo>
                  <a:lnTo>
                    <a:pt x="188" y="20"/>
                  </a:lnTo>
                  <a:lnTo>
                    <a:pt x="188" y="24"/>
                  </a:lnTo>
                  <a:lnTo>
                    <a:pt x="184" y="24"/>
                  </a:lnTo>
                  <a:lnTo>
                    <a:pt x="184" y="28"/>
                  </a:lnTo>
                  <a:lnTo>
                    <a:pt x="180" y="28"/>
                  </a:lnTo>
                  <a:lnTo>
                    <a:pt x="180" y="24"/>
                  </a:lnTo>
                  <a:lnTo>
                    <a:pt x="180" y="20"/>
                  </a:lnTo>
                  <a:lnTo>
                    <a:pt x="176" y="20"/>
                  </a:lnTo>
                  <a:lnTo>
                    <a:pt x="168" y="20"/>
                  </a:lnTo>
                  <a:lnTo>
                    <a:pt x="164" y="20"/>
                  </a:lnTo>
                  <a:lnTo>
                    <a:pt x="160" y="20"/>
                  </a:lnTo>
                  <a:lnTo>
                    <a:pt x="156" y="24"/>
                  </a:lnTo>
                  <a:lnTo>
                    <a:pt x="148" y="24"/>
                  </a:lnTo>
                  <a:lnTo>
                    <a:pt x="144" y="24"/>
                  </a:lnTo>
                  <a:lnTo>
                    <a:pt x="144" y="28"/>
                  </a:lnTo>
                  <a:lnTo>
                    <a:pt x="144" y="32"/>
                  </a:lnTo>
                  <a:lnTo>
                    <a:pt x="144" y="40"/>
                  </a:lnTo>
                  <a:lnTo>
                    <a:pt x="144" y="56"/>
                  </a:lnTo>
                  <a:lnTo>
                    <a:pt x="144" y="60"/>
                  </a:lnTo>
                  <a:lnTo>
                    <a:pt x="144" y="72"/>
                  </a:lnTo>
                  <a:lnTo>
                    <a:pt x="144" y="76"/>
                  </a:lnTo>
                  <a:lnTo>
                    <a:pt x="144" y="80"/>
                  </a:lnTo>
                  <a:lnTo>
                    <a:pt x="144" y="88"/>
                  </a:lnTo>
                  <a:lnTo>
                    <a:pt x="144" y="92"/>
                  </a:lnTo>
                  <a:lnTo>
                    <a:pt x="144" y="96"/>
                  </a:lnTo>
                  <a:lnTo>
                    <a:pt x="140" y="96"/>
                  </a:lnTo>
                  <a:lnTo>
                    <a:pt x="136" y="96"/>
                  </a:lnTo>
                  <a:lnTo>
                    <a:pt x="132" y="96"/>
                  </a:lnTo>
                  <a:lnTo>
                    <a:pt x="128" y="96"/>
                  </a:lnTo>
                  <a:lnTo>
                    <a:pt x="128" y="100"/>
                  </a:lnTo>
                  <a:lnTo>
                    <a:pt x="128" y="104"/>
                  </a:lnTo>
                  <a:lnTo>
                    <a:pt x="128" y="108"/>
                  </a:lnTo>
                  <a:lnTo>
                    <a:pt x="128" y="112"/>
                  </a:lnTo>
                  <a:lnTo>
                    <a:pt x="128" y="116"/>
                  </a:lnTo>
                  <a:lnTo>
                    <a:pt x="128" y="1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4" name="Freeform 151"/>
            <p:cNvSpPr>
              <a:spLocks/>
            </p:cNvSpPr>
            <p:nvPr>
              <p:custDataLst>
                <p:tags r:id="rId347"/>
              </p:custDataLst>
            </p:nvPr>
          </p:nvSpPr>
          <p:spPr bwMode="gray">
            <a:xfrm>
              <a:off x="4381993" y="3947855"/>
              <a:ext cx="354452" cy="330723"/>
            </a:xfrm>
            <a:custGeom>
              <a:avLst/>
              <a:gdLst/>
              <a:ahLst/>
              <a:cxnLst>
                <a:cxn ang="0">
                  <a:pos x="91" y="187"/>
                </a:cxn>
                <a:cxn ang="0">
                  <a:pos x="87" y="183"/>
                </a:cxn>
                <a:cxn ang="0">
                  <a:pos x="75" y="183"/>
                </a:cxn>
                <a:cxn ang="0">
                  <a:pos x="64" y="183"/>
                </a:cxn>
                <a:cxn ang="0">
                  <a:pos x="56" y="199"/>
                </a:cxn>
                <a:cxn ang="0">
                  <a:pos x="52" y="215"/>
                </a:cxn>
                <a:cxn ang="0">
                  <a:pos x="52" y="223"/>
                </a:cxn>
                <a:cxn ang="0">
                  <a:pos x="48" y="219"/>
                </a:cxn>
                <a:cxn ang="0">
                  <a:pos x="40" y="211"/>
                </a:cxn>
                <a:cxn ang="0">
                  <a:pos x="32" y="211"/>
                </a:cxn>
                <a:cxn ang="0">
                  <a:pos x="32" y="215"/>
                </a:cxn>
                <a:cxn ang="0">
                  <a:pos x="28" y="203"/>
                </a:cxn>
                <a:cxn ang="0">
                  <a:pos x="16" y="199"/>
                </a:cxn>
                <a:cxn ang="0">
                  <a:pos x="12" y="191"/>
                </a:cxn>
                <a:cxn ang="0">
                  <a:pos x="16" y="191"/>
                </a:cxn>
                <a:cxn ang="0">
                  <a:pos x="8" y="187"/>
                </a:cxn>
                <a:cxn ang="0">
                  <a:pos x="4" y="175"/>
                </a:cxn>
                <a:cxn ang="0">
                  <a:pos x="0" y="167"/>
                </a:cxn>
                <a:cxn ang="0">
                  <a:pos x="0" y="159"/>
                </a:cxn>
                <a:cxn ang="0">
                  <a:pos x="4" y="163"/>
                </a:cxn>
                <a:cxn ang="0">
                  <a:pos x="12" y="159"/>
                </a:cxn>
                <a:cxn ang="0">
                  <a:pos x="40" y="155"/>
                </a:cxn>
                <a:cxn ang="0">
                  <a:pos x="52" y="151"/>
                </a:cxn>
                <a:cxn ang="0">
                  <a:pos x="56" y="147"/>
                </a:cxn>
                <a:cxn ang="0">
                  <a:pos x="60" y="135"/>
                </a:cxn>
                <a:cxn ang="0">
                  <a:pos x="60" y="119"/>
                </a:cxn>
                <a:cxn ang="0">
                  <a:pos x="60" y="83"/>
                </a:cxn>
                <a:cxn ang="0">
                  <a:pos x="79" y="79"/>
                </a:cxn>
                <a:cxn ang="0">
                  <a:pos x="95" y="63"/>
                </a:cxn>
                <a:cxn ang="0">
                  <a:pos x="127" y="40"/>
                </a:cxn>
                <a:cxn ang="0">
                  <a:pos x="155" y="16"/>
                </a:cxn>
                <a:cxn ang="0">
                  <a:pos x="179" y="0"/>
                </a:cxn>
                <a:cxn ang="0">
                  <a:pos x="195" y="4"/>
                </a:cxn>
                <a:cxn ang="0">
                  <a:pos x="203" y="8"/>
                </a:cxn>
                <a:cxn ang="0">
                  <a:pos x="219" y="12"/>
                </a:cxn>
                <a:cxn ang="0">
                  <a:pos x="227" y="28"/>
                </a:cxn>
                <a:cxn ang="0">
                  <a:pos x="231" y="48"/>
                </a:cxn>
                <a:cxn ang="0">
                  <a:pos x="231" y="52"/>
                </a:cxn>
                <a:cxn ang="0">
                  <a:pos x="235" y="63"/>
                </a:cxn>
                <a:cxn ang="0">
                  <a:pos x="231" y="91"/>
                </a:cxn>
                <a:cxn ang="0">
                  <a:pos x="231" y="127"/>
                </a:cxn>
                <a:cxn ang="0">
                  <a:pos x="215" y="147"/>
                </a:cxn>
                <a:cxn ang="0">
                  <a:pos x="203" y="163"/>
                </a:cxn>
                <a:cxn ang="0">
                  <a:pos x="203" y="171"/>
                </a:cxn>
                <a:cxn ang="0">
                  <a:pos x="199" y="171"/>
                </a:cxn>
                <a:cxn ang="0">
                  <a:pos x="195" y="187"/>
                </a:cxn>
                <a:cxn ang="0">
                  <a:pos x="187" y="191"/>
                </a:cxn>
                <a:cxn ang="0">
                  <a:pos x="187" y="195"/>
                </a:cxn>
                <a:cxn ang="0">
                  <a:pos x="175" y="195"/>
                </a:cxn>
                <a:cxn ang="0">
                  <a:pos x="167" y="191"/>
                </a:cxn>
                <a:cxn ang="0">
                  <a:pos x="163" y="191"/>
                </a:cxn>
                <a:cxn ang="0">
                  <a:pos x="159" y="191"/>
                </a:cxn>
                <a:cxn ang="0">
                  <a:pos x="155" y="191"/>
                </a:cxn>
                <a:cxn ang="0">
                  <a:pos x="147" y="195"/>
                </a:cxn>
                <a:cxn ang="0">
                  <a:pos x="143" y="203"/>
                </a:cxn>
                <a:cxn ang="0">
                  <a:pos x="131" y="199"/>
                </a:cxn>
                <a:cxn ang="0">
                  <a:pos x="123" y="195"/>
                </a:cxn>
                <a:cxn ang="0">
                  <a:pos x="119" y="195"/>
                </a:cxn>
                <a:cxn ang="0">
                  <a:pos x="107" y="195"/>
                </a:cxn>
              </a:cxnLst>
              <a:rect l="0" t="0" r="r" b="b"/>
              <a:pathLst>
                <a:path w="239" h="223">
                  <a:moveTo>
                    <a:pt x="103" y="199"/>
                  </a:moveTo>
                  <a:lnTo>
                    <a:pt x="99" y="199"/>
                  </a:lnTo>
                  <a:lnTo>
                    <a:pt x="99" y="195"/>
                  </a:lnTo>
                  <a:lnTo>
                    <a:pt x="99" y="195"/>
                  </a:lnTo>
                  <a:lnTo>
                    <a:pt x="95" y="191"/>
                  </a:lnTo>
                  <a:lnTo>
                    <a:pt x="95" y="191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87" y="187"/>
                  </a:lnTo>
                  <a:lnTo>
                    <a:pt x="87" y="183"/>
                  </a:lnTo>
                  <a:lnTo>
                    <a:pt x="87" y="183"/>
                  </a:lnTo>
                  <a:lnTo>
                    <a:pt x="83" y="183"/>
                  </a:lnTo>
                  <a:lnTo>
                    <a:pt x="83" y="183"/>
                  </a:lnTo>
                  <a:lnTo>
                    <a:pt x="79" y="183"/>
                  </a:lnTo>
                  <a:lnTo>
                    <a:pt x="79" y="183"/>
                  </a:lnTo>
                  <a:lnTo>
                    <a:pt x="79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1" y="183"/>
                  </a:lnTo>
                  <a:lnTo>
                    <a:pt x="71" y="183"/>
                  </a:lnTo>
                  <a:lnTo>
                    <a:pt x="71" y="183"/>
                  </a:lnTo>
                  <a:lnTo>
                    <a:pt x="68" y="183"/>
                  </a:lnTo>
                  <a:lnTo>
                    <a:pt x="64" y="183"/>
                  </a:lnTo>
                  <a:lnTo>
                    <a:pt x="60" y="187"/>
                  </a:lnTo>
                  <a:lnTo>
                    <a:pt x="60" y="187"/>
                  </a:lnTo>
                  <a:lnTo>
                    <a:pt x="60" y="191"/>
                  </a:lnTo>
                  <a:lnTo>
                    <a:pt x="60" y="191"/>
                  </a:lnTo>
                  <a:lnTo>
                    <a:pt x="60" y="195"/>
                  </a:lnTo>
                  <a:lnTo>
                    <a:pt x="60" y="199"/>
                  </a:lnTo>
                  <a:lnTo>
                    <a:pt x="56" y="199"/>
                  </a:lnTo>
                  <a:lnTo>
                    <a:pt x="56" y="203"/>
                  </a:lnTo>
                  <a:lnTo>
                    <a:pt x="56" y="203"/>
                  </a:lnTo>
                  <a:lnTo>
                    <a:pt x="52" y="207"/>
                  </a:lnTo>
                  <a:lnTo>
                    <a:pt x="52" y="207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5"/>
                  </a:lnTo>
                  <a:lnTo>
                    <a:pt x="52" y="215"/>
                  </a:lnTo>
                  <a:lnTo>
                    <a:pt x="52" y="215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23"/>
                  </a:lnTo>
                  <a:lnTo>
                    <a:pt x="52" y="223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4" y="219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0" y="211"/>
                  </a:lnTo>
                  <a:lnTo>
                    <a:pt x="40" y="211"/>
                  </a:lnTo>
                  <a:lnTo>
                    <a:pt x="40" y="207"/>
                  </a:lnTo>
                  <a:lnTo>
                    <a:pt x="40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2" y="211"/>
                  </a:lnTo>
                  <a:lnTo>
                    <a:pt x="32" y="211"/>
                  </a:lnTo>
                  <a:lnTo>
                    <a:pt x="32" y="215"/>
                  </a:lnTo>
                  <a:lnTo>
                    <a:pt x="32" y="215"/>
                  </a:lnTo>
                  <a:lnTo>
                    <a:pt x="32" y="219"/>
                  </a:lnTo>
                  <a:lnTo>
                    <a:pt x="32" y="219"/>
                  </a:lnTo>
                  <a:lnTo>
                    <a:pt x="32" y="219"/>
                  </a:lnTo>
                  <a:lnTo>
                    <a:pt x="32" y="215"/>
                  </a:lnTo>
                  <a:lnTo>
                    <a:pt x="28" y="211"/>
                  </a:lnTo>
                  <a:lnTo>
                    <a:pt x="28" y="211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32" y="207"/>
                  </a:lnTo>
                  <a:lnTo>
                    <a:pt x="28" y="207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4" y="203"/>
                  </a:lnTo>
                  <a:lnTo>
                    <a:pt x="24" y="207"/>
                  </a:lnTo>
                  <a:lnTo>
                    <a:pt x="20" y="203"/>
                  </a:lnTo>
                  <a:lnTo>
                    <a:pt x="16" y="199"/>
                  </a:lnTo>
                  <a:lnTo>
                    <a:pt x="12" y="199"/>
                  </a:lnTo>
                  <a:lnTo>
                    <a:pt x="12" y="199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87"/>
                  </a:lnTo>
                  <a:lnTo>
                    <a:pt x="12" y="187"/>
                  </a:lnTo>
                  <a:lnTo>
                    <a:pt x="12" y="187"/>
                  </a:lnTo>
                  <a:lnTo>
                    <a:pt x="8" y="187"/>
                  </a:lnTo>
                  <a:lnTo>
                    <a:pt x="4" y="187"/>
                  </a:lnTo>
                  <a:lnTo>
                    <a:pt x="4" y="183"/>
                  </a:lnTo>
                  <a:lnTo>
                    <a:pt x="4" y="183"/>
                  </a:lnTo>
                  <a:lnTo>
                    <a:pt x="4" y="179"/>
                  </a:lnTo>
                  <a:lnTo>
                    <a:pt x="0" y="175"/>
                  </a:lnTo>
                  <a:lnTo>
                    <a:pt x="0" y="175"/>
                  </a:lnTo>
                  <a:lnTo>
                    <a:pt x="4" y="175"/>
                  </a:lnTo>
                  <a:lnTo>
                    <a:pt x="0" y="175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59"/>
                  </a:lnTo>
                  <a:lnTo>
                    <a:pt x="0" y="159"/>
                  </a:lnTo>
                  <a:lnTo>
                    <a:pt x="0" y="163"/>
                  </a:lnTo>
                  <a:lnTo>
                    <a:pt x="4" y="163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6" y="155"/>
                  </a:lnTo>
                  <a:lnTo>
                    <a:pt x="24" y="155"/>
                  </a:lnTo>
                  <a:lnTo>
                    <a:pt x="24" y="155"/>
                  </a:lnTo>
                  <a:lnTo>
                    <a:pt x="36" y="155"/>
                  </a:lnTo>
                  <a:lnTo>
                    <a:pt x="36" y="155"/>
                  </a:lnTo>
                  <a:lnTo>
                    <a:pt x="40" y="155"/>
                  </a:lnTo>
                  <a:lnTo>
                    <a:pt x="40" y="155"/>
                  </a:lnTo>
                  <a:lnTo>
                    <a:pt x="40" y="151"/>
                  </a:lnTo>
                  <a:lnTo>
                    <a:pt x="44" y="151"/>
                  </a:lnTo>
                  <a:lnTo>
                    <a:pt x="48" y="155"/>
                  </a:lnTo>
                  <a:lnTo>
                    <a:pt x="48" y="155"/>
                  </a:lnTo>
                  <a:lnTo>
                    <a:pt x="48" y="155"/>
                  </a:lnTo>
                  <a:lnTo>
                    <a:pt x="48" y="151"/>
                  </a:lnTo>
                  <a:lnTo>
                    <a:pt x="52" y="151"/>
                  </a:lnTo>
                  <a:lnTo>
                    <a:pt x="52" y="147"/>
                  </a:lnTo>
                  <a:lnTo>
                    <a:pt x="52" y="147"/>
                  </a:lnTo>
                  <a:lnTo>
                    <a:pt x="52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3"/>
                  </a:lnTo>
                  <a:lnTo>
                    <a:pt x="56" y="139"/>
                  </a:lnTo>
                  <a:lnTo>
                    <a:pt x="56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27"/>
                  </a:lnTo>
                  <a:lnTo>
                    <a:pt x="60" y="127"/>
                  </a:lnTo>
                  <a:lnTo>
                    <a:pt x="60" y="123"/>
                  </a:lnTo>
                  <a:lnTo>
                    <a:pt x="60" y="123"/>
                  </a:lnTo>
                  <a:lnTo>
                    <a:pt x="60" y="119"/>
                  </a:lnTo>
                  <a:lnTo>
                    <a:pt x="60" y="115"/>
                  </a:lnTo>
                  <a:lnTo>
                    <a:pt x="60" y="111"/>
                  </a:lnTo>
                  <a:lnTo>
                    <a:pt x="60" y="103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87"/>
                  </a:lnTo>
                  <a:lnTo>
                    <a:pt x="60" y="83"/>
                  </a:lnTo>
                  <a:lnTo>
                    <a:pt x="60" y="83"/>
                  </a:lnTo>
                  <a:lnTo>
                    <a:pt x="64" y="83"/>
                  </a:lnTo>
                  <a:lnTo>
                    <a:pt x="64" y="83"/>
                  </a:lnTo>
                  <a:lnTo>
                    <a:pt x="71" y="79"/>
                  </a:lnTo>
                  <a:lnTo>
                    <a:pt x="75" y="79"/>
                  </a:lnTo>
                  <a:lnTo>
                    <a:pt x="79" y="79"/>
                  </a:lnTo>
                  <a:lnTo>
                    <a:pt x="79" y="79"/>
                  </a:lnTo>
                  <a:lnTo>
                    <a:pt x="83" y="79"/>
                  </a:lnTo>
                  <a:lnTo>
                    <a:pt x="83" y="79"/>
                  </a:lnTo>
                  <a:lnTo>
                    <a:pt x="87" y="75"/>
                  </a:lnTo>
                  <a:lnTo>
                    <a:pt x="87" y="75"/>
                  </a:lnTo>
                  <a:lnTo>
                    <a:pt x="91" y="71"/>
                  </a:lnTo>
                  <a:lnTo>
                    <a:pt x="95" y="67"/>
                  </a:lnTo>
                  <a:lnTo>
                    <a:pt x="95" y="63"/>
                  </a:lnTo>
                  <a:lnTo>
                    <a:pt x="99" y="59"/>
                  </a:lnTo>
                  <a:lnTo>
                    <a:pt x="107" y="52"/>
                  </a:lnTo>
                  <a:lnTo>
                    <a:pt x="111" y="48"/>
                  </a:lnTo>
                  <a:lnTo>
                    <a:pt x="111" y="48"/>
                  </a:lnTo>
                  <a:lnTo>
                    <a:pt x="115" y="48"/>
                  </a:lnTo>
                  <a:lnTo>
                    <a:pt x="119" y="44"/>
                  </a:lnTo>
                  <a:lnTo>
                    <a:pt x="127" y="40"/>
                  </a:lnTo>
                  <a:lnTo>
                    <a:pt x="127" y="36"/>
                  </a:lnTo>
                  <a:lnTo>
                    <a:pt x="131" y="32"/>
                  </a:lnTo>
                  <a:lnTo>
                    <a:pt x="139" y="28"/>
                  </a:lnTo>
                  <a:lnTo>
                    <a:pt x="143" y="24"/>
                  </a:lnTo>
                  <a:lnTo>
                    <a:pt x="147" y="20"/>
                  </a:lnTo>
                  <a:lnTo>
                    <a:pt x="151" y="20"/>
                  </a:lnTo>
                  <a:lnTo>
                    <a:pt x="155" y="16"/>
                  </a:lnTo>
                  <a:lnTo>
                    <a:pt x="159" y="16"/>
                  </a:lnTo>
                  <a:lnTo>
                    <a:pt x="159" y="12"/>
                  </a:lnTo>
                  <a:lnTo>
                    <a:pt x="163" y="12"/>
                  </a:lnTo>
                  <a:lnTo>
                    <a:pt x="171" y="4"/>
                  </a:lnTo>
                  <a:lnTo>
                    <a:pt x="175" y="4"/>
                  </a:lnTo>
                  <a:lnTo>
                    <a:pt x="175" y="0"/>
                  </a:lnTo>
                  <a:lnTo>
                    <a:pt x="179" y="0"/>
                  </a:lnTo>
                  <a:lnTo>
                    <a:pt x="183" y="4"/>
                  </a:lnTo>
                  <a:lnTo>
                    <a:pt x="183" y="4"/>
                  </a:lnTo>
                  <a:lnTo>
                    <a:pt x="183" y="4"/>
                  </a:lnTo>
                  <a:lnTo>
                    <a:pt x="183" y="4"/>
                  </a:lnTo>
                  <a:lnTo>
                    <a:pt x="187" y="4"/>
                  </a:lnTo>
                  <a:lnTo>
                    <a:pt x="191" y="4"/>
                  </a:lnTo>
                  <a:lnTo>
                    <a:pt x="195" y="4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203" y="8"/>
                  </a:lnTo>
                  <a:lnTo>
                    <a:pt x="203" y="8"/>
                  </a:lnTo>
                  <a:lnTo>
                    <a:pt x="207" y="12"/>
                  </a:lnTo>
                  <a:lnTo>
                    <a:pt x="211" y="20"/>
                  </a:lnTo>
                  <a:lnTo>
                    <a:pt x="211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9" y="12"/>
                  </a:lnTo>
                  <a:lnTo>
                    <a:pt x="219" y="12"/>
                  </a:lnTo>
                  <a:lnTo>
                    <a:pt x="223" y="12"/>
                  </a:lnTo>
                  <a:lnTo>
                    <a:pt x="223" y="12"/>
                  </a:lnTo>
                  <a:lnTo>
                    <a:pt x="223" y="12"/>
                  </a:lnTo>
                  <a:lnTo>
                    <a:pt x="223" y="16"/>
                  </a:lnTo>
                  <a:lnTo>
                    <a:pt x="227" y="28"/>
                  </a:lnTo>
                  <a:lnTo>
                    <a:pt x="227" y="28"/>
                  </a:lnTo>
                  <a:lnTo>
                    <a:pt x="227" y="32"/>
                  </a:lnTo>
                  <a:lnTo>
                    <a:pt x="227" y="36"/>
                  </a:lnTo>
                  <a:lnTo>
                    <a:pt x="227" y="36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31" y="48"/>
                  </a:lnTo>
                  <a:lnTo>
                    <a:pt x="231" y="48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6"/>
                  </a:lnTo>
                  <a:lnTo>
                    <a:pt x="231" y="56"/>
                  </a:lnTo>
                  <a:lnTo>
                    <a:pt x="239" y="59"/>
                  </a:lnTo>
                  <a:lnTo>
                    <a:pt x="239" y="59"/>
                  </a:lnTo>
                  <a:lnTo>
                    <a:pt x="235" y="63"/>
                  </a:lnTo>
                  <a:lnTo>
                    <a:pt x="235" y="67"/>
                  </a:lnTo>
                  <a:lnTo>
                    <a:pt x="235" y="67"/>
                  </a:lnTo>
                  <a:lnTo>
                    <a:pt x="235" y="71"/>
                  </a:lnTo>
                  <a:lnTo>
                    <a:pt x="235" y="75"/>
                  </a:lnTo>
                  <a:lnTo>
                    <a:pt x="231" y="87"/>
                  </a:lnTo>
                  <a:lnTo>
                    <a:pt x="231" y="87"/>
                  </a:lnTo>
                  <a:lnTo>
                    <a:pt x="231" y="91"/>
                  </a:lnTo>
                  <a:lnTo>
                    <a:pt x="231" y="99"/>
                  </a:lnTo>
                  <a:lnTo>
                    <a:pt x="231" y="99"/>
                  </a:lnTo>
                  <a:lnTo>
                    <a:pt x="231" y="103"/>
                  </a:lnTo>
                  <a:lnTo>
                    <a:pt x="231" y="115"/>
                  </a:lnTo>
                  <a:lnTo>
                    <a:pt x="231" y="123"/>
                  </a:lnTo>
                  <a:lnTo>
                    <a:pt x="231" y="127"/>
                  </a:lnTo>
                  <a:lnTo>
                    <a:pt x="231" y="127"/>
                  </a:lnTo>
                  <a:lnTo>
                    <a:pt x="231" y="127"/>
                  </a:lnTo>
                  <a:lnTo>
                    <a:pt x="227" y="127"/>
                  </a:lnTo>
                  <a:lnTo>
                    <a:pt x="227" y="131"/>
                  </a:lnTo>
                  <a:lnTo>
                    <a:pt x="223" y="131"/>
                  </a:lnTo>
                  <a:lnTo>
                    <a:pt x="223" y="135"/>
                  </a:lnTo>
                  <a:lnTo>
                    <a:pt x="215" y="143"/>
                  </a:lnTo>
                  <a:lnTo>
                    <a:pt x="215" y="147"/>
                  </a:lnTo>
                  <a:lnTo>
                    <a:pt x="211" y="151"/>
                  </a:lnTo>
                  <a:lnTo>
                    <a:pt x="211" y="151"/>
                  </a:lnTo>
                  <a:lnTo>
                    <a:pt x="207" y="155"/>
                  </a:lnTo>
                  <a:lnTo>
                    <a:pt x="207" y="155"/>
                  </a:lnTo>
                  <a:lnTo>
                    <a:pt x="207" y="159"/>
                  </a:lnTo>
                  <a:lnTo>
                    <a:pt x="203" y="163"/>
                  </a:lnTo>
                  <a:lnTo>
                    <a:pt x="203" y="163"/>
                  </a:lnTo>
                  <a:lnTo>
                    <a:pt x="203" y="163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9"/>
                  </a:lnTo>
                  <a:lnTo>
                    <a:pt x="203" y="183"/>
                  </a:lnTo>
                  <a:lnTo>
                    <a:pt x="203" y="183"/>
                  </a:lnTo>
                  <a:lnTo>
                    <a:pt x="199" y="183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1" y="187"/>
                  </a:lnTo>
                  <a:lnTo>
                    <a:pt x="191" y="187"/>
                  </a:lnTo>
                  <a:lnTo>
                    <a:pt x="191" y="187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5"/>
                  </a:lnTo>
                  <a:lnTo>
                    <a:pt x="187" y="195"/>
                  </a:lnTo>
                  <a:lnTo>
                    <a:pt x="187" y="195"/>
                  </a:lnTo>
                  <a:lnTo>
                    <a:pt x="183" y="195"/>
                  </a:lnTo>
                  <a:lnTo>
                    <a:pt x="183" y="195"/>
                  </a:lnTo>
                  <a:lnTo>
                    <a:pt x="183" y="195"/>
                  </a:lnTo>
                  <a:lnTo>
                    <a:pt x="183" y="195"/>
                  </a:lnTo>
                  <a:lnTo>
                    <a:pt x="179" y="195"/>
                  </a:lnTo>
                  <a:lnTo>
                    <a:pt x="179" y="195"/>
                  </a:lnTo>
                  <a:lnTo>
                    <a:pt x="175" y="195"/>
                  </a:lnTo>
                  <a:lnTo>
                    <a:pt x="175" y="191"/>
                  </a:lnTo>
                  <a:lnTo>
                    <a:pt x="171" y="191"/>
                  </a:lnTo>
                  <a:lnTo>
                    <a:pt x="171" y="191"/>
                  </a:lnTo>
                  <a:lnTo>
                    <a:pt x="171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3" y="195"/>
                  </a:lnTo>
                  <a:lnTo>
                    <a:pt x="143" y="199"/>
                  </a:lnTo>
                  <a:lnTo>
                    <a:pt x="143" y="203"/>
                  </a:lnTo>
                  <a:lnTo>
                    <a:pt x="143" y="203"/>
                  </a:lnTo>
                  <a:lnTo>
                    <a:pt x="139" y="203"/>
                  </a:lnTo>
                  <a:lnTo>
                    <a:pt x="135" y="199"/>
                  </a:lnTo>
                  <a:lnTo>
                    <a:pt x="135" y="199"/>
                  </a:lnTo>
                  <a:lnTo>
                    <a:pt x="131" y="199"/>
                  </a:lnTo>
                  <a:lnTo>
                    <a:pt x="131" y="199"/>
                  </a:lnTo>
                  <a:lnTo>
                    <a:pt x="131" y="199"/>
                  </a:lnTo>
                  <a:lnTo>
                    <a:pt x="131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19" y="195"/>
                  </a:lnTo>
                  <a:lnTo>
                    <a:pt x="119" y="195"/>
                  </a:lnTo>
                  <a:lnTo>
                    <a:pt x="119" y="195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5" y="191"/>
                  </a:lnTo>
                  <a:lnTo>
                    <a:pt x="107" y="195"/>
                  </a:lnTo>
                  <a:lnTo>
                    <a:pt x="107" y="195"/>
                  </a:lnTo>
                  <a:lnTo>
                    <a:pt x="103" y="195"/>
                  </a:lnTo>
                  <a:lnTo>
                    <a:pt x="103" y="195"/>
                  </a:lnTo>
                  <a:lnTo>
                    <a:pt x="103" y="199"/>
                  </a:lnTo>
                  <a:lnTo>
                    <a:pt x="103" y="19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5" name="Freeform 152"/>
            <p:cNvSpPr>
              <a:spLocks noEditPoints="1"/>
            </p:cNvSpPr>
            <p:nvPr>
              <p:custDataLst>
                <p:tags r:id="rId348"/>
              </p:custDataLst>
            </p:nvPr>
          </p:nvSpPr>
          <p:spPr bwMode="gray">
            <a:xfrm>
              <a:off x="4435383" y="4219256"/>
              <a:ext cx="271400" cy="261019"/>
            </a:xfrm>
            <a:custGeom>
              <a:avLst/>
              <a:gdLst/>
              <a:ahLst/>
              <a:cxnLst>
                <a:cxn ang="0">
                  <a:pos x="135" y="132"/>
                </a:cxn>
                <a:cxn ang="0">
                  <a:pos x="127" y="132"/>
                </a:cxn>
                <a:cxn ang="0">
                  <a:pos x="119" y="124"/>
                </a:cxn>
                <a:cxn ang="0">
                  <a:pos x="111" y="128"/>
                </a:cxn>
                <a:cxn ang="0">
                  <a:pos x="103" y="136"/>
                </a:cxn>
                <a:cxn ang="0">
                  <a:pos x="95" y="152"/>
                </a:cxn>
                <a:cxn ang="0">
                  <a:pos x="87" y="164"/>
                </a:cxn>
                <a:cxn ang="0">
                  <a:pos x="83" y="168"/>
                </a:cxn>
                <a:cxn ang="0">
                  <a:pos x="75" y="172"/>
                </a:cxn>
                <a:cxn ang="0">
                  <a:pos x="67" y="168"/>
                </a:cxn>
                <a:cxn ang="0">
                  <a:pos x="63" y="172"/>
                </a:cxn>
                <a:cxn ang="0">
                  <a:pos x="63" y="172"/>
                </a:cxn>
                <a:cxn ang="0">
                  <a:pos x="63" y="168"/>
                </a:cxn>
                <a:cxn ang="0">
                  <a:pos x="55" y="172"/>
                </a:cxn>
                <a:cxn ang="0">
                  <a:pos x="43" y="168"/>
                </a:cxn>
                <a:cxn ang="0">
                  <a:pos x="39" y="160"/>
                </a:cxn>
                <a:cxn ang="0">
                  <a:pos x="43" y="156"/>
                </a:cxn>
                <a:cxn ang="0">
                  <a:pos x="39" y="152"/>
                </a:cxn>
                <a:cxn ang="0">
                  <a:pos x="32" y="140"/>
                </a:cxn>
                <a:cxn ang="0">
                  <a:pos x="20" y="136"/>
                </a:cxn>
                <a:cxn ang="0">
                  <a:pos x="20" y="132"/>
                </a:cxn>
                <a:cxn ang="0">
                  <a:pos x="12" y="136"/>
                </a:cxn>
                <a:cxn ang="0">
                  <a:pos x="0" y="132"/>
                </a:cxn>
                <a:cxn ang="0">
                  <a:pos x="4" y="120"/>
                </a:cxn>
                <a:cxn ang="0">
                  <a:pos x="0" y="104"/>
                </a:cxn>
                <a:cxn ang="0">
                  <a:pos x="4" y="88"/>
                </a:cxn>
                <a:cxn ang="0">
                  <a:pos x="12" y="76"/>
                </a:cxn>
                <a:cxn ang="0">
                  <a:pos x="16" y="64"/>
                </a:cxn>
                <a:cxn ang="0">
                  <a:pos x="16" y="56"/>
                </a:cxn>
                <a:cxn ang="0">
                  <a:pos x="12" y="40"/>
                </a:cxn>
                <a:cxn ang="0">
                  <a:pos x="16" y="28"/>
                </a:cxn>
                <a:cxn ang="0">
                  <a:pos x="24" y="16"/>
                </a:cxn>
                <a:cxn ang="0">
                  <a:pos x="28" y="0"/>
                </a:cxn>
                <a:cxn ang="0">
                  <a:pos x="43" y="0"/>
                </a:cxn>
                <a:cxn ang="0">
                  <a:pos x="55" y="4"/>
                </a:cxn>
                <a:cxn ang="0">
                  <a:pos x="67" y="16"/>
                </a:cxn>
                <a:cxn ang="0">
                  <a:pos x="83" y="8"/>
                </a:cxn>
                <a:cxn ang="0">
                  <a:pos x="95" y="16"/>
                </a:cxn>
                <a:cxn ang="0">
                  <a:pos x="107" y="16"/>
                </a:cxn>
                <a:cxn ang="0">
                  <a:pos x="119" y="8"/>
                </a:cxn>
                <a:cxn ang="0">
                  <a:pos x="135" y="8"/>
                </a:cxn>
                <a:cxn ang="0">
                  <a:pos x="147" y="12"/>
                </a:cxn>
                <a:cxn ang="0">
                  <a:pos x="159" y="4"/>
                </a:cxn>
                <a:cxn ang="0">
                  <a:pos x="171" y="8"/>
                </a:cxn>
                <a:cxn ang="0">
                  <a:pos x="175" y="24"/>
                </a:cxn>
                <a:cxn ang="0">
                  <a:pos x="183" y="32"/>
                </a:cxn>
                <a:cxn ang="0">
                  <a:pos x="179" y="36"/>
                </a:cxn>
                <a:cxn ang="0">
                  <a:pos x="175" y="44"/>
                </a:cxn>
                <a:cxn ang="0">
                  <a:pos x="167" y="56"/>
                </a:cxn>
                <a:cxn ang="0">
                  <a:pos x="159" y="68"/>
                </a:cxn>
                <a:cxn ang="0">
                  <a:pos x="155" y="80"/>
                </a:cxn>
                <a:cxn ang="0">
                  <a:pos x="151" y="96"/>
                </a:cxn>
                <a:cxn ang="0">
                  <a:pos x="143" y="104"/>
                </a:cxn>
                <a:cxn ang="0">
                  <a:pos x="143" y="112"/>
                </a:cxn>
                <a:cxn ang="0">
                  <a:pos x="67" y="172"/>
                </a:cxn>
              </a:cxnLst>
              <a:rect l="0" t="0" r="r" b="b"/>
              <a:pathLst>
                <a:path w="183" h="176">
                  <a:moveTo>
                    <a:pt x="139" y="120"/>
                  </a:moveTo>
                  <a:lnTo>
                    <a:pt x="139" y="124"/>
                  </a:lnTo>
                  <a:lnTo>
                    <a:pt x="135" y="128"/>
                  </a:lnTo>
                  <a:lnTo>
                    <a:pt x="135" y="132"/>
                  </a:lnTo>
                  <a:lnTo>
                    <a:pt x="131" y="132"/>
                  </a:lnTo>
                  <a:lnTo>
                    <a:pt x="131" y="136"/>
                  </a:lnTo>
                  <a:lnTo>
                    <a:pt x="127" y="136"/>
                  </a:lnTo>
                  <a:lnTo>
                    <a:pt x="127" y="132"/>
                  </a:lnTo>
                  <a:lnTo>
                    <a:pt x="127" y="128"/>
                  </a:lnTo>
                  <a:lnTo>
                    <a:pt x="123" y="128"/>
                  </a:lnTo>
                  <a:lnTo>
                    <a:pt x="123" y="124"/>
                  </a:lnTo>
                  <a:lnTo>
                    <a:pt x="119" y="124"/>
                  </a:lnTo>
                  <a:lnTo>
                    <a:pt x="119" y="128"/>
                  </a:lnTo>
                  <a:lnTo>
                    <a:pt x="115" y="128"/>
                  </a:lnTo>
                  <a:lnTo>
                    <a:pt x="115" y="124"/>
                  </a:lnTo>
                  <a:lnTo>
                    <a:pt x="111" y="128"/>
                  </a:lnTo>
                  <a:lnTo>
                    <a:pt x="107" y="128"/>
                  </a:lnTo>
                  <a:lnTo>
                    <a:pt x="107" y="132"/>
                  </a:lnTo>
                  <a:lnTo>
                    <a:pt x="107" y="136"/>
                  </a:lnTo>
                  <a:lnTo>
                    <a:pt x="103" y="136"/>
                  </a:lnTo>
                  <a:lnTo>
                    <a:pt x="99" y="140"/>
                  </a:lnTo>
                  <a:lnTo>
                    <a:pt x="95" y="144"/>
                  </a:lnTo>
                  <a:lnTo>
                    <a:pt x="95" y="148"/>
                  </a:lnTo>
                  <a:lnTo>
                    <a:pt x="95" y="152"/>
                  </a:lnTo>
                  <a:lnTo>
                    <a:pt x="95" y="156"/>
                  </a:lnTo>
                  <a:lnTo>
                    <a:pt x="91" y="160"/>
                  </a:lnTo>
                  <a:lnTo>
                    <a:pt x="91" y="164"/>
                  </a:lnTo>
                  <a:lnTo>
                    <a:pt x="87" y="164"/>
                  </a:lnTo>
                  <a:lnTo>
                    <a:pt x="87" y="168"/>
                  </a:lnTo>
                  <a:lnTo>
                    <a:pt x="87" y="164"/>
                  </a:lnTo>
                  <a:lnTo>
                    <a:pt x="83" y="164"/>
                  </a:lnTo>
                  <a:lnTo>
                    <a:pt x="83" y="168"/>
                  </a:lnTo>
                  <a:lnTo>
                    <a:pt x="87" y="168"/>
                  </a:lnTo>
                  <a:lnTo>
                    <a:pt x="83" y="172"/>
                  </a:lnTo>
                  <a:lnTo>
                    <a:pt x="79" y="172"/>
                  </a:lnTo>
                  <a:lnTo>
                    <a:pt x="75" y="172"/>
                  </a:lnTo>
                  <a:lnTo>
                    <a:pt x="75" y="168"/>
                  </a:lnTo>
                  <a:lnTo>
                    <a:pt x="71" y="172"/>
                  </a:lnTo>
                  <a:lnTo>
                    <a:pt x="67" y="172"/>
                  </a:lnTo>
                  <a:lnTo>
                    <a:pt x="67" y="168"/>
                  </a:lnTo>
                  <a:lnTo>
                    <a:pt x="67" y="172"/>
                  </a:lnTo>
                  <a:lnTo>
                    <a:pt x="67" y="168"/>
                  </a:lnTo>
                  <a:lnTo>
                    <a:pt x="63" y="168"/>
                  </a:lnTo>
                  <a:lnTo>
                    <a:pt x="63" y="172"/>
                  </a:lnTo>
                  <a:lnTo>
                    <a:pt x="67" y="172"/>
                  </a:lnTo>
                  <a:lnTo>
                    <a:pt x="63" y="172"/>
                  </a:lnTo>
                  <a:lnTo>
                    <a:pt x="63" y="168"/>
                  </a:lnTo>
                  <a:lnTo>
                    <a:pt x="63" y="172"/>
                  </a:lnTo>
                  <a:lnTo>
                    <a:pt x="63" y="176"/>
                  </a:lnTo>
                  <a:lnTo>
                    <a:pt x="59" y="172"/>
                  </a:lnTo>
                  <a:lnTo>
                    <a:pt x="63" y="172"/>
                  </a:lnTo>
                  <a:lnTo>
                    <a:pt x="63" y="168"/>
                  </a:lnTo>
                  <a:lnTo>
                    <a:pt x="59" y="172"/>
                  </a:lnTo>
                  <a:lnTo>
                    <a:pt x="59" y="176"/>
                  </a:lnTo>
                  <a:lnTo>
                    <a:pt x="55" y="176"/>
                  </a:lnTo>
                  <a:lnTo>
                    <a:pt x="55" y="172"/>
                  </a:lnTo>
                  <a:lnTo>
                    <a:pt x="55" y="176"/>
                  </a:lnTo>
                  <a:lnTo>
                    <a:pt x="51" y="176"/>
                  </a:lnTo>
                  <a:lnTo>
                    <a:pt x="47" y="172"/>
                  </a:lnTo>
                  <a:lnTo>
                    <a:pt x="43" y="168"/>
                  </a:lnTo>
                  <a:lnTo>
                    <a:pt x="43" y="164"/>
                  </a:lnTo>
                  <a:lnTo>
                    <a:pt x="39" y="160"/>
                  </a:lnTo>
                  <a:lnTo>
                    <a:pt x="43" y="160"/>
                  </a:lnTo>
                  <a:lnTo>
                    <a:pt x="39" y="160"/>
                  </a:lnTo>
                  <a:lnTo>
                    <a:pt x="39" y="156"/>
                  </a:lnTo>
                  <a:lnTo>
                    <a:pt x="43" y="156"/>
                  </a:lnTo>
                  <a:lnTo>
                    <a:pt x="43" y="152"/>
                  </a:lnTo>
                  <a:lnTo>
                    <a:pt x="43" y="156"/>
                  </a:lnTo>
                  <a:lnTo>
                    <a:pt x="39" y="156"/>
                  </a:lnTo>
                  <a:lnTo>
                    <a:pt x="39" y="152"/>
                  </a:lnTo>
                  <a:lnTo>
                    <a:pt x="43" y="152"/>
                  </a:lnTo>
                  <a:lnTo>
                    <a:pt x="39" y="152"/>
                  </a:lnTo>
                  <a:lnTo>
                    <a:pt x="35" y="148"/>
                  </a:lnTo>
                  <a:lnTo>
                    <a:pt x="35" y="144"/>
                  </a:lnTo>
                  <a:lnTo>
                    <a:pt x="32" y="144"/>
                  </a:lnTo>
                  <a:lnTo>
                    <a:pt x="32" y="140"/>
                  </a:lnTo>
                  <a:lnTo>
                    <a:pt x="28" y="140"/>
                  </a:lnTo>
                  <a:lnTo>
                    <a:pt x="28" y="136"/>
                  </a:lnTo>
                  <a:lnTo>
                    <a:pt x="24" y="136"/>
                  </a:lnTo>
                  <a:lnTo>
                    <a:pt x="20" y="136"/>
                  </a:lnTo>
                  <a:lnTo>
                    <a:pt x="16" y="136"/>
                  </a:lnTo>
                  <a:lnTo>
                    <a:pt x="12" y="136"/>
                  </a:lnTo>
                  <a:lnTo>
                    <a:pt x="16" y="136"/>
                  </a:lnTo>
                  <a:lnTo>
                    <a:pt x="20" y="132"/>
                  </a:lnTo>
                  <a:lnTo>
                    <a:pt x="16" y="132"/>
                  </a:lnTo>
                  <a:lnTo>
                    <a:pt x="12" y="136"/>
                  </a:lnTo>
                  <a:lnTo>
                    <a:pt x="12" y="132"/>
                  </a:lnTo>
                  <a:lnTo>
                    <a:pt x="12" y="136"/>
                  </a:lnTo>
                  <a:lnTo>
                    <a:pt x="8" y="136"/>
                  </a:lnTo>
                  <a:lnTo>
                    <a:pt x="4" y="136"/>
                  </a:lnTo>
                  <a:lnTo>
                    <a:pt x="0" y="136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4" y="124"/>
                  </a:lnTo>
                  <a:lnTo>
                    <a:pt x="4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4" y="88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5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51" y="0"/>
                  </a:lnTo>
                  <a:lnTo>
                    <a:pt x="51" y="4"/>
                  </a:lnTo>
                  <a:lnTo>
                    <a:pt x="55" y="4"/>
                  </a:lnTo>
                  <a:lnTo>
                    <a:pt x="59" y="8"/>
                  </a:lnTo>
                  <a:lnTo>
                    <a:pt x="63" y="12"/>
                  </a:lnTo>
                  <a:lnTo>
                    <a:pt x="63" y="16"/>
                  </a:lnTo>
                  <a:lnTo>
                    <a:pt x="67" y="16"/>
                  </a:lnTo>
                  <a:lnTo>
                    <a:pt x="67" y="12"/>
                  </a:lnTo>
                  <a:lnTo>
                    <a:pt x="71" y="12"/>
                  </a:lnTo>
                  <a:lnTo>
                    <a:pt x="79" y="8"/>
                  </a:lnTo>
                  <a:lnTo>
                    <a:pt x="83" y="8"/>
                  </a:lnTo>
                  <a:lnTo>
                    <a:pt x="83" y="12"/>
                  </a:lnTo>
                  <a:lnTo>
                    <a:pt x="87" y="12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9" y="16"/>
                  </a:lnTo>
                  <a:lnTo>
                    <a:pt x="103" y="20"/>
                  </a:lnTo>
                  <a:lnTo>
                    <a:pt x="107" y="20"/>
                  </a:lnTo>
                  <a:lnTo>
                    <a:pt x="107" y="16"/>
                  </a:lnTo>
                  <a:lnTo>
                    <a:pt x="107" y="12"/>
                  </a:lnTo>
                  <a:lnTo>
                    <a:pt x="111" y="12"/>
                  </a:lnTo>
                  <a:lnTo>
                    <a:pt x="115" y="8"/>
                  </a:lnTo>
                  <a:lnTo>
                    <a:pt x="119" y="8"/>
                  </a:lnTo>
                  <a:lnTo>
                    <a:pt x="123" y="8"/>
                  </a:lnTo>
                  <a:lnTo>
                    <a:pt x="127" y="8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39" y="12"/>
                  </a:lnTo>
                  <a:lnTo>
                    <a:pt x="143" y="12"/>
                  </a:lnTo>
                  <a:lnTo>
                    <a:pt x="147" y="12"/>
                  </a:lnTo>
                  <a:lnTo>
                    <a:pt x="151" y="12"/>
                  </a:lnTo>
                  <a:lnTo>
                    <a:pt x="151" y="8"/>
                  </a:lnTo>
                  <a:lnTo>
                    <a:pt x="155" y="4"/>
                  </a:lnTo>
                  <a:lnTo>
                    <a:pt x="159" y="4"/>
                  </a:lnTo>
                  <a:lnTo>
                    <a:pt x="163" y="0"/>
                  </a:lnTo>
                  <a:lnTo>
                    <a:pt x="167" y="0"/>
                  </a:lnTo>
                  <a:lnTo>
                    <a:pt x="167" y="4"/>
                  </a:lnTo>
                  <a:lnTo>
                    <a:pt x="171" y="8"/>
                  </a:lnTo>
                  <a:lnTo>
                    <a:pt x="171" y="12"/>
                  </a:lnTo>
                  <a:lnTo>
                    <a:pt x="175" y="16"/>
                  </a:lnTo>
                  <a:lnTo>
                    <a:pt x="175" y="20"/>
                  </a:lnTo>
                  <a:lnTo>
                    <a:pt x="175" y="24"/>
                  </a:lnTo>
                  <a:lnTo>
                    <a:pt x="175" y="28"/>
                  </a:lnTo>
                  <a:lnTo>
                    <a:pt x="179" y="28"/>
                  </a:lnTo>
                  <a:lnTo>
                    <a:pt x="183" y="28"/>
                  </a:lnTo>
                  <a:lnTo>
                    <a:pt x="183" y="32"/>
                  </a:lnTo>
                  <a:lnTo>
                    <a:pt x="179" y="32"/>
                  </a:lnTo>
                  <a:lnTo>
                    <a:pt x="183" y="32"/>
                  </a:lnTo>
                  <a:lnTo>
                    <a:pt x="183" y="36"/>
                  </a:lnTo>
                  <a:lnTo>
                    <a:pt x="179" y="36"/>
                  </a:lnTo>
                  <a:lnTo>
                    <a:pt x="179" y="40"/>
                  </a:lnTo>
                  <a:lnTo>
                    <a:pt x="183" y="40"/>
                  </a:lnTo>
                  <a:lnTo>
                    <a:pt x="179" y="44"/>
                  </a:lnTo>
                  <a:lnTo>
                    <a:pt x="175" y="44"/>
                  </a:lnTo>
                  <a:lnTo>
                    <a:pt x="175" y="48"/>
                  </a:lnTo>
                  <a:lnTo>
                    <a:pt x="171" y="48"/>
                  </a:lnTo>
                  <a:lnTo>
                    <a:pt x="167" y="52"/>
                  </a:lnTo>
                  <a:lnTo>
                    <a:pt x="167" y="56"/>
                  </a:lnTo>
                  <a:lnTo>
                    <a:pt x="163" y="60"/>
                  </a:lnTo>
                  <a:lnTo>
                    <a:pt x="163" y="64"/>
                  </a:lnTo>
                  <a:lnTo>
                    <a:pt x="163" y="68"/>
                  </a:lnTo>
                  <a:lnTo>
                    <a:pt x="159" y="68"/>
                  </a:lnTo>
                  <a:lnTo>
                    <a:pt x="159" y="72"/>
                  </a:lnTo>
                  <a:lnTo>
                    <a:pt x="159" y="76"/>
                  </a:lnTo>
                  <a:lnTo>
                    <a:pt x="159" y="80"/>
                  </a:lnTo>
                  <a:lnTo>
                    <a:pt x="155" y="80"/>
                  </a:lnTo>
                  <a:lnTo>
                    <a:pt x="155" y="84"/>
                  </a:lnTo>
                  <a:lnTo>
                    <a:pt x="155" y="88"/>
                  </a:lnTo>
                  <a:lnTo>
                    <a:pt x="155" y="92"/>
                  </a:lnTo>
                  <a:lnTo>
                    <a:pt x="151" y="96"/>
                  </a:lnTo>
                  <a:lnTo>
                    <a:pt x="147" y="96"/>
                  </a:lnTo>
                  <a:lnTo>
                    <a:pt x="147" y="100"/>
                  </a:lnTo>
                  <a:lnTo>
                    <a:pt x="143" y="100"/>
                  </a:lnTo>
                  <a:lnTo>
                    <a:pt x="143" y="104"/>
                  </a:lnTo>
                  <a:lnTo>
                    <a:pt x="147" y="104"/>
                  </a:lnTo>
                  <a:lnTo>
                    <a:pt x="143" y="104"/>
                  </a:lnTo>
                  <a:lnTo>
                    <a:pt x="143" y="108"/>
                  </a:lnTo>
                  <a:lnTo>
                    <a:pt x="143" y="112"/>
                  </a:lnTo>
                  <a:lnTo>
                    <a:pt x="143" y="116"/>
                  </a:lnTo>
                  <a:lnTo>
                    <a:pt x="139" y="116"/>
                  </a:lnTo>
                  <a:lnTo>
                    <a:pt x="139" y="120"/>
                  </a:lnTo>
                  <a:close/>
                  <a:moveTo>
                    <a:pt x="67" y="172"/>
                  </a:moveTo>
                  <a:lnTo>
                    <a:pt x="71" y="172"/>
                  </a:lnTo>
                  <a:lnTo>
                    <a:pt x="67" y="17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6" name="Freeform 153"/>
            <p:cNvSpPr>
              <a:spLocks/>
            </p:cNvSpPr>
            <p:nvPr>
              <p:custDataLst>
                <p:tags r:id="rId349"/>
              </p:custDataLst>
            </p:nvPr>
          </p:nvSpPr>
          <p:spPr bwMode="gray">
            <a:xfrm>
              <a:off x="5025643" y="4622650"/>
              <a:ext cx="41526" cy="47458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0" y="32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4" y="0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6"/>
                </a:cxn>
                <a:cxn ang="0">
                  <a:pos x="28" y="20"/>
                </a:cxn>
                <a:cxn ang="0">
                  <a:pos x="28" y="24"/>
                </a:cxn>
                <a:cxn ang="0">
                  <a:pos x="28" y="24"/>
                </a:cxn>
                <a:cxn ang="0">
                  <a:pos x="28" y="24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0" y="24"/>
                </a:cxn>
                <a:cxn ang="0">
                  <a:pos x="16" y="28"/>
                </a:cxn>
                <a:cxn ang="0">
                  <a:pos x="16" y="24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32"/>
                </a:cxn>
              </a:cxnLst>
              <a:rect l="0" t="0" r="r" b="b"/>
              <a:pathLst>
                <a:path w="28" h="32">
                  <a:moveTo>
                    <a:pt x="0" y="32"/>
                  </a:move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8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7" name="Freeform 154"/>
            <p:cNvSpPr>
              <a:spLocks noEditPoints="1"/>
            </p:cNvSpPr>
            <p:nvPr>
              <p:custDataLst>
                <p:tags r:id="rId350"/>
              </p:custDataLst>
            </p:nvPr>
          </p:nvSpPr>
          <p:spPr bwMode="gray">
            <a:xfrm>
              <a:off x="4522885" y="4551463"/>
              <a:ext cx="17797" cy="41526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</a:cxnLst>
              <a:rect l="0" t="0" r="r" b="b"/>
              <a:pathLst>
                <a:path w="12" h="28">
                  <a:moveTo>
                    <a:pt x="12" y="0"/>
                  </a:move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close/>
                  <a:moveTo>
                    <a:pt x="0" y="28"/>
                  </a:move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8" name="Freeform 155"/>
            <p:cNvSpPr>
              <a:spLocks/>
            </p:cNvSpPr>
            <p:nvPr>
              <p:custDataLst>
                <p:tags r:id="rId351"/>
              </p:custDataLst>
            </p:nvPr>
          </p:nvSpPr>
          <p:spPr bwMode="gray">
            <a:xfrm>
              <a:off x="3978600" y="4136205"/>
              <a:ext cx="142374" cy="124577"/>
            </a:xfrm>
            <a:custGeom>
              <a:avLst/>
              <a:gdLst/>
              <a:ahLst/>
              <a:cxnLst>
                <a:cxn ang="0">
                  <a:pos x="88" y="84"/>
                </a:cxn>
                <a:cxn ang="0">
                  <a:pos x="84" y="84"/>
                </a:cxn>
                <a:cxn ang="0">
                  <a:pos x="76" y="84"/>
                </a:cxn>
                <a:cxn ang="0">
                  <a:pos x="68" y="80"/>
                </a:cxn>
                <a:cxn ang="0">
                  <a:pos x="64" y="76"/>
                </a:cxn>
                <a:cxn ang="0">
                  <a:pos x="48" y="76"/>
                </a:cxn>
                <a:cxn ang="0">
                  <a:pos x="32" y="80"/>
                </a:cxn>
                <a:cxn ang="0">
                  <a:pos x="24" y="80"/>
                </a:cxn>
                <a:cxn ang="0">
                  <a:pos x="16" y="84"/>
                </a:cxn>
                <a:cxn ang="0">
                  <a:pos x="16" y="76"/>
                </a:cxn>
                <a:cxn ang="0">
                  <a:pos x="24" y="80"/>
                </a:cxn>
                <a:cxn ang="0">
                  <a:pos x="28" y="80"/>
                </a:cxn>
                <a:cxn ang="0">
                  <a:pos x="32" y="76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16" y="76"/>
                </a:cxn>
                <a:cxn ang="0">
                  <a:pos x="12" y="80"/>
                </a:cxn>
                <a:cxn ang="0">
                  <a:pos x="12" y="72"/>
                </a:cxn>
                <a:cxn ang="0">
                  <a:pos x="28" y="68"/>
                </a:cxn>
                <a:cxn ang="0">
                  <a:pos x="36" y="64"/>
                </a:cxn>
                <a:cxn ang="0">
                  <a:pos x="40" y="60"/>
                </a:cxn>
                <a:cxn ang="0">
                  <a:pos x="44" y="64"/>
                </a:cxn>
                <a:cxn ang="0">
                  <a:pos x="48" y="68"/>
                </a:cxn>
                <a:cxn ang="0">
                  <a:pos x="56" y="64"/>
                </a:cxn>
                <a:cxn ang="0">
                  <a:pos x="60" y="60"/>
                </a:cxn>
                <a:cxn ang="0">
                  <a:pos x="52" y="60"/>
                </a:cxn>
                <a:cxn ang="0">
                  <a:pos x="48" y="60"/>
                </a:cxn>
                <a:cxn ang="0">
                  <a:pos x="44" y="60"/>
                </a:cxn>
                <a:cxn ang="0">
                  <a:pos x="44" y="56"/>
                </a:cxn>
                <a:cxn ang="0">
                  <a:pos x="36" y="56"/>
                </a:cxn>
                <a:cxn ang="0">
                  <a:pos x="32" y="60"/>
                </a:cxn>
                <a:cxn ang="0">
                  <a:pos x="16" y="60"/>
                </a:cxn>
                <a:cxn ang="0">
                  <a:pos x="16" y="56"/>
                </a:cxn>
                <a:cxn ang="0">
                  <a:pos x="16" y="52"/>
                </a:cxn>
                <a:cxn ang="0">
                  <a:pos x="20" y="48"/>
                </a:cxn>
                <a:cxn ang="0">
                  <a:pos x="16" y="52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4" y="40"/>
                </a:cxn>
                <a:cxn ang="0">
                  <a:pos x="8" y="36"/>
                </a:cxn>
                <a:cxn ang="0">
                  <a:pos x="12" y="24"/>
                </a:cxn>
                <a:cxn ang="0">
                  <a:pos x="16" y="20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32" y="4"/>
                </a:cxn>
                <a:cxn ang="0">
                  <a:pos x="40" y="4"/>
                </a:cxn>
                <a:cxn ang="0">
                  <a:pos x="48" y="4"/>
                </a:cxn>
                <a:cxn ang="0">
                  <a:pos x="60" y="12"/>
                </a:cxn>
                <a:cxn ang="0">
                  <a:pos x="64" y="16"/>
                </a:cxn>
                <a:cxn ang="0">
                  <a:pos x="72" y="28"/>
                </a:cxn>
                <a:cxn ang="0">
                  <a:pos x="72" y="32"/>
                </a:cxn>
                <a:cxn ang="0">
                  <a:pos x="80" y="36"/>
                </a:cxn>
                <a:cxn ang="0">
                  <a:pos x="84" y="44"/>
                </a:cxn>
                <a:cxn ang="0">
                  <a:pos x="88" y="52"/>
                </a:cxn>
                <a:cxn ang="0">
                  <a:pos x="84" y="56"/>
                </a:cxn>
                <a:cxn ang="0">
                  <a:pos x="88" y="64"/>
                </a:cxn>
                <a:cxn ang="0">
                  <a:pos x="92" y="68"/>
                </a:cxn>
                <a:cxn ang="0">
                  <a:pos x="96" y="76"/>
                </a:cxn>
              </a:cxnLst>
              <a:rect l="0" t="0" r="r" b="b"/>
              <a:pathLst>
                <a:path w="96" h="84">
                  <a:moveTo>
                    <a:pt x="96" y="80"/>
                  </a:moveTo>
                  <a:lnTo>
                    <a:pt x="96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0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0" y="80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32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4"/>
                  </a:lnTo>
                  <a:lnTo>
                    <a:pt x="48" y="64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96" y="72"/>
                  </a:lnTo>
                  <a:lnTo>
                    <a:pt x="96" y="72"/>
                  </a:lnTo>
                  <a:lnTo>
                    <a:pt x="96" y="76"/>
                  </a:lnTo>
                  <a:lnTo>
                    <a:pt x="96" y="80"/>
                  </a:lnTo>
                  <a:lnTo>
                    <a:pt x="96" y="80"/>
                  </a:lnTo>
                  <a:lnTo>
                    <a:pt x="96" y="80"/>
                  </a:lnTo>
                  <a:lnTo>
                    <a:pt x="96" y="8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9" name="Freeform 156"/>
            <p:cNvSpPr>
              <a:spLocks noEditPoints="1"/>
            </p:cNvSpPr>
            <p:nvPr>
              <p:custDataLst>
                <p:tags r:id="rId352"/>
              </p:custDataLst>
            </p:nvPr>
          </p:nvSpPr>
          <p:spPr bwMode="gray">
            <a:xfrm>
              <a:off x="5411239" y="4716082"/>
              <a:ext cx="212078" cy="136442"/>
            </a:xfrm>
            <a:custGeom>
              <a:avLst/>
              <a:gdLst/>
              <a:ahLst/>
              <a:cxnLst>
                <a:cxn ang="0">
                  <a:pos x="4" y="92"/>
                </a:cxn>
                <a:cxn ang="0">
                  <a:pos x="4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88"/>
                </a:cxn>
                <a:cxn ang="0">
                  <a:pos x="4" y="88"/>
                </a:cxn>
                <a:cxn ang="0">
                  <a:pos x="4" y="88"/>
                </a:cxn>
                <a:cxn ang="0">
                  <a:pos x="8" y="88"/>
                </a:cxn>
                <a:cxn ang="0">
                  <a:pos x="8" y="92"/>
                </a:cxn>
                <a:cxn ang="0">
                  <a:pos x="8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39" y="4"/>
                </a:cxn>
                <a:cxn ang="0">
                  <a:pos x="139" y="0"/>
                </a:cxn>
                <a:cxn ang="0">
                  <a:pos x="139" y="0"/>
                </a:cxn>
                <a:cxn ang="0">
                  <a:pos x="143" y="0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</a:cxnLst>
              <a:rect l="0" t="0" r="r" b="b"/>
              <a:pathLst>
                <a:path w="143" h="92">
                  <a:moveTo>
                    <a:pt x="4" y="92"/>
                  </a:moveTo>
                  <a:lnTo>
                    <a:pt x="4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8" y="88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close/>
                  <a:moveTo>
                    <a:pt x="143" y="4"/>
                  </a:move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39" y="4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43" y="0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0" name="Freeform 157"/>
            <p:cNvSpPr>
              <a:spLocks noEditPoints="1"/>
            </p:cNvSpPr>
            <p:nvPr>
              <p:custDataLst>
                <p:tags r:id="rId353"/>
              </p:custDataLst>
            </p:nvPr>
          </p:nvSpPr>
          <p:spPr bwMode="gray">
            <a:xfrm>
              <a:off x="4079448" y="4326037"/>
              <a:ext cx="65255" cy="83052"/>
            </a:xfrm>
            <a:custGeom>
              <a:avLst/>
              <a:gdLst/>
              <a:ahLst/>
              <a:cxnLst>
                <a:cxn ang="0">
                  <a:pos x="24" y="52"/>
                </a:cxn>
                <a:cxn ang="0">
                  <a:pos x="20" y="52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6" y="44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36" y="8"/>
                </a:cxn>
                <a:cxn ang="0">
                  <a:pos x="40" y="12"/>
                </a:cxn>
                <a:cxn ang="0">
                  <a:pos x="36" y="16"/>
                </a:cxn>
                <a:cxn ang="0">
                  <a:pos x="40" y="16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40" y="28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0" y="32"/>
                </a:cxn>
                <a:cxn ang="0">
                  <a:pos x="40" y="36"/>
                </a:cxn>
                <a:cxn ang="0">
                  <a:pos x="36" y="40"/>
                </a:cxn>
                <a:cxn ang="0">
                  <a:pos x="36" y="44"/>
                </a:cxn>
                <a:cxn ang="0">
                  <a:pos x="32" y="48"/>
                </a:cxn>
                <a:cxn ang="0">
                  <a:pos x="32" y="48"/>
                </a:cxn>
                <a:cxn ang="0">
                  <a:pos x="28" y="52"/>
                </a:cxn>
                <a:cxn ang="0">
                  <a:pos x="28" y="56"/>
                </a:cxn>
                <a:cxn ang="0">
                  <a:pos x="8" y="40"/>
                </a:cxn>
                <a:cxn ang="0">
                  <a:pos x="8" y="40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4" y="44"/>
                </a:cxn>
              </a:cxnLst>
              <a:rect l="0" t="0" r="r" b="b"/>
              <a:pathLst>
                <a:path w="44" h="56">
                  <a:moveTo>
                    <a:pt x="24" y="56"/>
                  </a:moveTo>
                  <a:lnTo>
                    <a:pt x="24" y="56"/>
                  </a:lnTo>
                  <a:lnTo>
                    <a:pt x="24" y="56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6"/>
                  </a:lnTo>
                  <a:lnTo>
                    <a:pt x="24" y="56"/>
                  </a:lnTo>
                  <a:lnTo>
                    <a:pt x="24" y="56"/>
                  </a:lnTo>
                  <a:close/>
                  <a:moveTo>
                    <a:pt x="4" y="44"/>
                  </a:move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1" name="Freeform 158"/>
            <p:cNvSpPr>
              <a:spLocks/>
            </p:cNvSpPr>
            <p:nvPr>
              <p:custDataLst>
                <p:tags r:id="rId354"/>
              </p:custDataLst>
            </p:nvPr>
          </p:nvSpPr>
          <p:spPr bwMode="gray">
            <a:xfrm>
              <a:off x="5298526" y="4266714"/>
              <a:ext cx="231358" cy="373732"/>
            </a:xfrm>
            <a:custGeom>
              <a:avLst/>
              <a:gdLst/>
              <a:ahLst/>
              <a:cxnLst>
                <a:cxn ang="0">
                  <a:pos x="84" y="24"/>
                </a:cxn>
                <a:cxn ang="0">
                  <a:pos x="100" y="16"/>
                </a:cxn>
                <a:cxn ang="0">
                  <a:pos x="116" y="12"/>
                </a:cxn>
                <a:cxn ang="0">
                  <a:pos x="128" y="12"/>
                </a:cxn>
                <a:cxn ang="0">
                  <a:pos x="144" y="8"/>
                </a:cxn>
                <a:cxn ang="0">
                  <a:pos x="152" y="4"/>
                </a:cxn>
                <a:cxn ang="0">
                  <a:pos x="152" y="16"/>
                </a:cxn>
                <a:cxn ang="0">
                  <a:pos x="152" y="32"/>
                </a:cxn>
                <a:cxn ang="0">
                  <a:pos x="152" y="32"/>
                </a:cxn>
                <a:cxn ang="0">
                  <a:pos x="148" y="48"/>
                </a:cxn>
                <a:cxn ang="0">
                  <a:pos x="140" y="60"/>
                </a:cxn>
                <a:cxn ang="0">
                  <a:pos x="136" y="72"/>
                </a:cxn>
                <a:cxn ang="0">
                  <a:pos x="132" y="84"/>
                </a:cxn>
                <a:cxn ang="0">
                  <a:pos x="124" y="92"/>
                </a:cxn>
                <a:cxn ang="0">
                  <a:pos x="120" y="108"/>
                </a:cxn>
                <a:cxn ang="0">
                  <a:pos x="112" y="128"/>
                </a:cxn>
                <a:cxn ang="0">
                  <a:pos x="104" y="136"/>
                </a:cxn>
                <a:cxn ang="0">
                  <a:pos x="96" y="148"/>
                </a:cxn>
                <a:cxn ang="0">
                  <a:pos x="88" y="160"/>
                </a:cxn>
                <a:cxn ang="0">
                  <a:pos x="80" y="172"/>
                </a:cxn>
                <a:cxn ang="0">
                  <a:pos x="68" y="180"/>
                </a:cxn>
                <a:cxn ang="0">
                  <a:pos x="60" y="188"/>
                </a:cxn>
                <a:cxn ang="0">
                  <a:pos x="48" y="200"/>
                </a:cxn>
                <a:cxn ang="0">
                  <a:pos x="40" y="208"/>
                </a:cxn>
                <a:cxn ang="0">
                  <a:pos x="28" y="220"/>
                </a:cxn>
                <a:cxn ang="0">
                  <a:pos x="20" y="228"/>
                </a:cxn>
                <a:cxn ang="0">
                  <a:pos x="12" y="240"/>
                </a:cxn>
                <a:cxn ang="0">
                  <a:pos x="8" y="252"/>
                </a:cxn>
                <a:cxn ang="0">
                  <a:pos x="0" y="220"/>
                </a:cxn>
                <a:cxn ang="0">
                  <a:pos x="4" y="164"/>
                </a:cxn>
                <a:cxn ang="0">
                  <a:pos x="16" y="144"/>
                </a:cxn>
                <a:cxn ang="0">
                  <a:pos x="28" y="140"/>
                </a:cxn>
                <a:cxn ang="0">
                  <a:pos x="36" y="132"/>
                </a:cxn>
                <a:cxn ang="0">
                  <a:pos x="52" y="132"/>
                </a:cxn>
                <a:cxn ang="0">
                  <a:pos x="68" y="120"/>
                </a:cxn>
                <a:cxn ang="0">
                  <a:pos x="76" y="108"/>
                </a:cxn>
                <a:cxn ang="0">
                  <a:pos x="100" y="80"/>
                </a:cxn>
                <a:cxn ang="0">
                  <a:pos x="88" y="76"/>
                </a:cxn>
                <a:cxn ang="0">
                  <a:pos x="76" y="68"/>
                </a:cxn>
                <a:cxn ang="0">
                  <a:pos x="52" y="60"/>
                </a:cxn>
                <a:cxn ang="0">
                  <a:pos x="36" y="48"/>
                </a:cxn>
                <a:cxn ang="0">
                  <a:pos x="28" y="36"/>
                </a:cxn>
                <a:cxn ang="0">
                  <a:pos x="28" y="24"/>
                </a:cxn>
                <a:cxn ang="0">
                  <a:pos x="32" y="12"/>
                </a:cxn>
                <a:cxn ang="0">
                  <a:pos x="40" y="24"/>
                </a:cxn>
                <a:cxn ang="0">
                  <a:pos x="52" y="32"/>
                </a:cxn>
                <a:cxn ang="0">
                  <a:pos x="60" y="28"/>
                </a:cxn>
                <a:cxn ang="0">
                  <a:pos x="68" y="24"/>
                </a:cxn>
              </a:cxnLst>
              <a:rect l="0" t="0" r="r" b="b"/>
              <a:pathLst>
                <a:path w="156" h="252">
                  <a:moveTo>
                    <a:pt x="72" y="24"/>
                  </a:moveTo>
                  <a:lnTo>
                    <a:pt x="76" y="24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16" y="16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2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4" y="4"/>
                  </a:lnTo>
                  <a:lnTo>
                    <a:pt x="148" y="0"/>
                  </a:lnTo>
                  <a:lnTo>
                    <a:pt x="148" y="4"/>
                  </a:lnTo>
                  <a:lnTo>
                    <a:pt x="152" y="4"/>
                  </a:lnTo>
                  <a:lnTo>
                    <a:pt x="156" y="4"/>
                  </a:lnTo>
                  <a:lnTo>
                    <a:pt x="152" y="8"/>
                  </a:lnTo>
                  <a:lnTo>
                    <a:pt x="152" y="12"/>
                  </a:lnTo>
                  <a:lnTo>
                    <a:pt x="152" y="16"/>
                  </a:lnTo>
                  <a:lnTo>
                    <a:pt x="152" y="20"/>
                  </a:lnTo>
                  <a:lnTo>
                    <a:pt x="152" y="24"/>
                  </a:lnTo>
                  <a:lnTo>
                    <a:pt x="152" y="28"/>
                  </a:lnTo>
                  <a:lnTo>
                    <a:pt x="152" y="32"/>
                  </a:lnTo>
                  <a:lnTo>
                    <a:pt x="152" y="28"/>
                  </a:lnTo>
                  <a:lnTo>
                    <a:pt x="156" y="28"/>
                  </a:lnTo>
                  <a:lnTo>
                    <a:pt x="156" y="32"/>
                  </a:lnTo>
                  <a:lnTo>
                    <a:pt x="152" y="32"/>
                  </a:lnTo>
                  <a:lnTo>
                    <a:pt x="148" y="32"/>
                  </a:lnTo>
                  <a:lnTo>
                    <a:pt x="148" y="36"/>
                  </a:lnTo>
                  <a:lnTo>
                    <a:pt x="148" y="44"/>
                  </a:lnTo>
                  <a:lnTo>
                    <a:pt x="148" y="48"/>
                  </a:lnTo>
                  <a:lnTo>
                    <a:pt x="148" y="52"/>
                  </a:lnTo>
                  <a:lnTo>
                    <a:pt x="144" y="52"/>
                  </a:lnTo>
                  <a:lnTo>
                    <a:pt x="144" y="56"/>
                  </a:lnTo>
                  <a:lnTo>
                    <a:pt x="140" y="60"/>
                  </a:lnTo>
                  <a:lnTo>
                    <a:pt x="140" y="64"/>
                  </a:lnTo>
                  <a:lnTo>
                    <a:pt x="140" y="68"/>
                  </a:lnTo>
                  <a:lnTo>
                    <a:pt x="136" y="68"/>
                  </a:lnTo>
                  <a:lnTo>
                    <a:pt x="136" y="72"/>
                  </a:lnTo>
                  <a:lnTo>
                    <a:pt x="136" y="76"/>
                  </a:lnTo>
                  <a:lnTo>
                    <a:pt x="132" y="76"/>
                  </a:lnTo>
                  <a:lnTo>
                    <a:pt x="132" y="80"/>
                  </a:lnTo>
                  <a:lnTo>
                    <a:pt x="132" y="84"/>
                  </a:lnTo>
                  <a:lnTo>
                    <a:pt x="128" y="84"/>
                  </a:lnTo>
                  <a:lnTo>
                    <a:pt x="128" y="88"/>
                  </a:lnTo>
                  <a:lnTo>
                    <a:pt x="128" y="92"/>
                  </a:lnTo>
                  <a:lnTo>
                    <a:pt x="124" y="92"/>
                  </a:lnTo>
                  <a:lnTo>
                    <a:pt x="124" y="96"/>
                  </a:lnTo>
                  <a:lnTo>
                    <a:pt x="124" y="100"/>
                  </a:lnTo>
                  <a:lnTo>
                    <a:pt x="120" y="104"/>
                  </a:lnTo>
                  <a:lnTo>
                    <a:pt x="120" y="108"/>
                  </a:lnTo>
                  <a:lnTo>
                    <a:pt x="116" y="116"/>
                  </a:lnTo>
                  <a:lnTo>
                    <a:pt x="116" y="120"/>
                  </a:lnTo>
                  <a:lnTo>
                    <a:pt x="112" y="124"/>
                  </a:lnTo>
                  <a:lnTo>
                    <a:pt x="112" y="128"/>
                  </a:lnTo>
                  <a:lnTo>
                    <a:pt x="108" y="128"/>
                  </a:lnTo>
                  <a:lnTo>
                    <a:pt x="108" y="132"/>
                  </a:lnTo>
                  <a:lnTo>
                    <a:pt x="108" y="136"/>
                  </a:lnTo>
                  <a:lnTo>
                    <a:pt x="104" y="136"/>
                  </a:lnTo>
                  <a:lnTo>
                    <a:pt x="104" y="140"/>
                  </a:lnTo>
                  <a:lnTo>
                    <a:pt x="100" y="144"/>
                  </a:lnTo>
                  <a:lnTo>
                    <a:pt x="100" y="148"/>
                  </a:lnTo>
                  <a:lnTo>
                    <a:pt x="96" y="148"/>
                  </a:lnTo>
                  <a:lnTo>
                    <a:pt x="96" y="152"/>
                  </a:lnTo>
                  <a:lnTo>
                    <a:pt x="92" y="156"/>
                  </a:lnTo>
                  <a:lnTo>
                    <a:pt x="92" y="160"/>
                  </a:lnTo>
                  <a:lnTo>
                    <a:pt x="88" y="160"/>
                  </a:lnTo>
                  <a:lnTo>
                    <a:pt x="84" y="164"/>
                  </a:lnTo>
                  <a:lnTo>
                    <a:pt x="84" y="168"/>
                  </a:lnTo>
                  <a:lnTo>
                    <a:pt x="80" y="168"/>
                  </a:lnTo>
                  <a:lnTo>
                    <a:pt x="80" y="172"/>
                  </a:lnTo>
                  <a:lnTo>
                    <a:pt x="76" y="172"/>
                  </a:lnTo>
                  <a:lnTo>
                    <a:pt x="76" y="176"/>
                  </a:lnTo>
                  <a:lnTo>
                    <a:pt x="72" y="180"/>
                  </a:lnTo>
                  <a:lnTo>
                    <a:pt x="68" y="180"/>
                  </a:lnTo>
                  <a:lnTo>
                    <a:pt x="68" y="184"/>
                  </a:lnTo>
                  <a:lnTo>
                    <a:pt x="64" y="184"/>
                  </a:lnTo>
                  <a:lnTo>
                    <a:pt x="64" y="188"/>
                  </a:lnTo>
                  <a:lnTo>
                    <a:pt x="60" y="188"/>
                  </a:lnTo>
                  <a:lnTo>
                    <a:pt x="56" y="188"/>
                  </a:lnTo>
                  <a:lnTo>
                    <a:pt x="52" y="192"/>
                  </a:lnTo>
                  <a:lnTo>
                    <a:pt x="48" y="196"/>
                  </a:lnTo>
                  <a:lnTo>
                    <a:pt x="48" y="200"/>
                  </a:lnTo>
                  <a:lnTo>
                    <a:pt x="44" y="200"/>
                  </a:lnTo>
                  <a:lnTo>
                    <a:pt x="44" y="204"/>
                  </a:lnTo>
                  <a:lnTo>
                    <a:pt x="40" y="204"/>
                  </a:lnTo>
                  <a:lnTo>
                    <a:pt x="40" y="208"/>
                  </a:lnTo>
                  <a:lnTo>
                    <a:pt x="36" y="212"/>
                  </a:lnTo>
                  <a:lnTo>
                    <a:pt x="32" y="212"/>
                  </a:lnTo>
                  <a:lnTo>
                    <a:pt x="32" y="216"/>
                  </a:lnTo>
                  <a:lnTo>
                    <a:pt x="28" y="220"/>
                  </a:lnTo>
                  <a:lnTo>
                    <a:pt x="28" y="224"/>
                  </a:lnTo>
                  <a:lnTo>
                    <a:pt x="24" y="224"/>
                  </a:lnTo>
                  <a:lnTo>
                    <a:pt x="24" y="228"/>
                  </a:lnTo>
                  <a:lnTo>
                    <a:pt x="20" y="228"/>
                  </a:lnTo>
                  <a:lnTo>
                    <a:pt x="20" y="232"/>
                  </a:lnTo>
                  <a:lnTo>
                    <a:pt x="16" y="236"/>
                  </a:lnTo>
                  <a:lnTo>
                    <a:pt x="16" y="240"/>
                  </a:lnTo>
                  <a:lnTo>
                    <a:pt x="12" y="240"/>
                  </a:lnTo>
                  <a:lnTo>
                    <a:pt x="12" y="244"/>
                  </a:lnTo>
                  <a:lnTo>
                    <a:pt x="12" y="248"/>
                  </a:lnTo>
                  <a:lnTo>
                    <a:pt x="8" y="248"/>
                  </a:lnTo>
                  <a:lnTo>
                    <a:pt x="8" y="252"/>
                  </a:lnTo>
                  <a:lnTo>
                    <a:pt x="4" y="248"/>
                  </a:lnTo>
                  <a:lnTo>
                    <a:pt x="0" y="240"/>
                  </a:lnTo>
                  <a:lnTo>
                    <a:pt x="0" y="236"/>
                  </a:lnTo>
                  <a:lnTo>
                    <a:pt x="0" y="220"/>
                  </a:lnTo>
                  <a:lnTo>
                    <a:pt x="0" y="196"/>
                  </a:lnTo>
                  <a:lnTo>
                    <a:pt x="0" y="180"/>
                  </a:lnTo>
                  <a:lnTo>
                    <a:pt x="0" y="172"/>
                  </a:lnTo>
                  <a:lnTo>
                    <a:pt x="4" y="164"/>
                  </a:lnTo>
                  <a:lnTo>
                    <a:pt x="12" y="152"/>
                  </a:lnTo>
                  <a:lnTo>
                    <a:pt x="12" y="148"/>
                  </a:lnTo>
                  <a:lnTo>
                    <a:pt x="16" y="148"/>
                  </a:lnTo>
                  <a:lnTo>
                    <a:pt x="16" y="144"/>
                  </a:lnTo>
                  <a:lnTo>
                    <a:pt x="20" y="144"/>
                  </a:lnTo>
                  <a:lnTo>
                    <a:pt x="24" y="144"/>
                  </a:lnTo>
                  <a:lnTo>
                    <a:pt x="28" y="144"/>
                  </a:lnTo>
                  <a:lnTo>
                    <a:pt x="28" y="140"/>
                  </a:lnTo>
                  <a:lnTo>
                    <a:pt x="28" y="136"/>
                  </a:lnTo>
                  <a:lnTo>
                    <a:pt x="32" y="136"/>
                  </a:lnTo>
                  <a:lnTo>
                    <a:pt x="36" y="136"/>
                  </a:lnTo>
                  <a:lnTo>
                    <a:pt x="36" y="132"/>
                  </a:lnTo>
                  <a:lnTo>
                    <a:pt x="40" y="132"/>
                  </a:lnTo>
                  <a:lnTo>
                    <a:pt x="44" y="132"/>
                  </a:lnTo>
                  <a:lnTo>
                    <a:pt x="48" y="132"/>
                  </a:lnTo>
                  <a:lnTo>
                    <a:pt x="52" y="132"/>
                  </a:lnTo>
                  <a:lnTo>
                    <a:pt x="60" y="132"/>
                  </a:lnTo>
                  <a:lnTo>
                    <a:pt x="60" y="128"/>
                  </a:lnTo>
                  <a:lnTo>
                    <a:pt x="64" y="124"/>
                  </a:lnTo>
                  <a:lnTo>
                    <a:pt x="68" y="120"/>
                  </a:lnTo>
                  <a:lnTo>
                    <a:pt x="68" y="116"/>
                  </a:lnTo>
                  <a:lnTo>
                    <a:pt x="72" y="112"/>
                  </a:lnTo>
                  <a:lnTo>
                    <a:pt x="76" y="112"/>
                  </a:lnTo>
                  <a:lnTo>
                    <a:pt x="76" y="108"/>
                  </a:lnTo>
                  <a:lnTo>
                    <a:pt x="84" y="100"/>
                  </a:lnTo>
                  <a:lnTo>
                    <a:pt x="88" y="92"/>
                  </a:lnTo>
                  <a:lnTo>
                    <a:pt x="96" y="84"/>
                  </a:lnTo>
                  <a:lnTo>
                    <a:pt x="100" y="80"/>
                  </a:lnTo>
                  <a:lnTo>
                    <a:pt x="104" y="76"/>
                  </a:lnTo>
                  <a:lnTo>
                    <a:pt x="100" y="76"/>
                  </a:lnTo>
                  <a:lnTo>
                    <a:pt x="92" y="76"/>
                  </a:lnTo>
                  <a:lnTo>
                    <a:pt x="88" y="76"/>
                  </a:lnTo>
                  <a:lnTo>
                    <a:pt x="88" y="72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76" y="68"/>
                  </a:lnTo>
                  <a:lnTo>
                    <a:pt x="68" y="68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52" y="60"/>
                  </a:lnTo>
                  <a:lnTo>
                    <a:pt x="44" y="56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48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6" y="28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8" y="24"/>
                  </a:lnTo>
                  <a:lnTo>
                    <a:pt x="72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2" name="Freeform 160"/>
            <p:cNvSpPr>
              <a:spLocks/>
            </p:cNvSpPr>
            <p:nvPr>
              <p:custDataLst>
                <p:tags r:id="rId355"/>
              </p:custDataLst>
            </p:nvPr>
          </p:nvSpPr>
          <p:spPr bwMode="gray">
            <a:xfrm>
              <a:off x="5067168" y="5303376"/>
              <a:ext cx="29661" cy="45975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0" y="23"/>
                </a:cxn>
                <a:cxn ang="0">
                  <a:pos x="0" y="23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15"/>
                </a:cxn>
                <a:cxn ang="0">
                  <a:pos x="20" y="15"/>
                </a:cxn>
                <a:cxn ang="0">
                  <a:pos x="20" y="15"/>
                </a:cxn>
                <a:cxn ang="0">
                  <a:pos x="20" y="23"/>
                </a:cxn>
                <a:cxn ang="0">
                  <a:pos x="20" y="23"/>
                </a:cxn>
                <a:cxn ang="0">
                  <a:pos x="20" y="23"/>
                </a:cxn>
                <a:cxn ang="0">
                  <a:pos x="16" y="23"/>
                </a:cxn>
                <a:cxn ang="0">
                  <a:pos x="16" y="27"/>
                </a:cxn>
                <a:cxn ang="0">
                  <a:pos x="16" y="27"/>
                </a:cxn>
                <a:cxn ang="0">
                  <a:pos x="16" y="27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2" y="31"/>
                </a:cxn>
                <a:cxn ang="0">
                  <a:pos x="12" y="31"/>
                </a:cxn>
                <a:cxn ang="0">
                  <a:pos x="8" y="31"/>
                </a:cxn>
                <a:cxn ang="0">
                  <a:pos x="8" y="31"/>
                </a:cxn>
                <a:cxn ang="0">
                  <a:pos x="4" y="31"/>
                </a:cxn>
                <a:cxn ang="0">
                  <a:pos x="4" y="31"/>
                </a:cxn>
                <a:cxn ang="0">
                  <a:pos x="4" y="27"/>
                </a:cxn>
                <a:cxn ang="0">
                  <a:pos x="4" y="23"/>
                </a:cxn>
                <a:cxn ang="0">
                  <a:pos x="0" y="23"/>
                </a:cxn>
                <a:cxn ang="0">
                  <a:pos x="0" y="19"/>
                </a:cxn>
              </a:cxnLst>
              <a:rect l="0" t="0" r="r" b="b"/>
              <a:pathLst>
                <a:path w="20" h="31">
                  <a:moveTo>
                    <a:pt x="0" y="19"/>
                  </a:moveTo>
                  <a:lnTo>
                    <a:pt x="0" y="23"/>
                  </a:lnTo>
                  <a:lnTo>
                    <a:pt x="0" y="23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16" y="23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3"/>
                  </a:lnTo>
                  <a:lnTo>
                    <a:pt x="0" y="23"/>
                  </a:lnTo>
                  <a:lnTo>
                    <a:pt x="0" y="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3" name="Freeform 161"/>
            <p:cNvSpPr>
              <a:spLocks noEditPoints="1"/>
            </p:cNvSpPr>
            <p:nvPr>
              <p:custDataLst>
                <p:tags r:id="rId356"/>
              </p:custDataLst>
            </p:nvPr>
          </p:nvSpPr>
          <p:spPr bwMode="gray">
            <a:xfrm>
              <a:off x="5031575" y="4622650"/>
              <a:ext cx="249155" cy="289197"/>
            </a:xfrm>
            <a:custGeom>
              <a:avLst/>
              <a:gdLst/>
              <a:ahLst/>
              <a:cxnLst>
                <a:cxn ang="0">
                  <a:pos x="68" y="159"/>
                </a:cxn>
                <a:cxn ang="0">
                  <a:pos x="56" y="155"/>
                </a:cxn>
                <a:cxn ang="0">
                  <a:pos x="44" y="147"/>
                </a:cxn>
                <a:cxn ang="0">
                  <a:pos x="32" y="139"/>
                </a:cxn>
                <a:cxn ang="0">
                  <a:pos x="24" y="131"/>
                </a:cxn>
                <a:cxn ang="0">
                  <a:pos x="20" y="119"/>
                </a:cxn>
                <a:cxn ang="0">
                  <a:pos x="16" y="107"/>
                </a:cxn>
                <a:cxn ang="0">
                  <a:pos x="4" y="95"/>
                </a:cxn>
                <a:cxn ang="0">
                  <a:pos x="4" y="79"/>
                </a:cxn>
                <a:cxn ang="0">
                  <a:pos x="0" y="67"/>
                </a:cxn>
                <a:cxn ang="0">
                  <a:pos x="12" y="59"/>
                </a:cxn>
                <a:cxn ang="0">
                  <a:pos x="20" y="47"/>
                </a:cxn>
                <a:cxn ang="0">
                  <a:pos x="24" y="36"/>
                </a:cxn>
                <a:cxn ang="0">
                  <a:pos x="20" y="24"/>
                </a:cxn>
                <a:cxn ang="0">
                  <a:pos x="24" y="12"/>
                </a:cxn>
                <a:cxn ang="0">
                  <a:pos x="20" y="0"/>
                </a:cxn>
                <a:cxn ang="0">
                  <a:pos x="36" y="0"/>
                </a:cxn>
                <a:cxn ang="0">
                  <a:pos x="60" y="0"/>
                </a:cxn>
                <a:cxn ang="0">
                  <a:pos x="84" y="8"/>
                </a:cxn>
                <a:cxn ang="0">
                  <a:pos x="104" y="20"/>
                </a:cxn>
                <a:cxn ang="0">
                  <a:pos x="120" y="32"/>
                </a:cxn>
                <a:cxn ang="0">
                  <a:pos x="128" y="43"/>
                </a:cxn>
                <a:cxn ang="0">
                  <a:pos x="140" y="59"/>
                </a:cxn>
                <a:cxn ang="0">
                  <a:pos x="152" y="71"/>
                </a:cxn>
                <a:cxn ang="0">
                  <a:pos x="144" y="87"/>
                </a:cxn>
                <a:cxn ang="0">
                  <a:pos x="148" y="99"/>
                </a:cxn>
                <a:cxn ang="0">
                  <a:pos x="156" y="111"/>
                </a:cxn>
                <a:cxn ang="0">
                  <a:pos x="152" y="123"/>
                </a:cxn>
                <a:cxn ang="0">
                  <a:pos x="152" y="135"/>
                </a:cxn>
                <a:cxn ang="0">
                  <a:pos x="152" y="143"/>
                </a:cxn>
                <a:cxn ang="0">
                  <a:pos x="156" y="151"/>
                </a:cxn>
                <a:cxn ang="0">
                  <a:pos x="160" y="167"/>
                </a:cxn>
                <a:cxn ang="0">
                  <a:pos x="168" y="167"/>
                </a:cxn>
                <a:cxn ang="0">
                  <a:pos x="160" y="179"/>
                </a:cxn>
                <a:cxn ang="0">
                  <a:pos x="152" y="187"/>
                </a:cxn>
                <a:cxn ang="0">
                  <a:pos x="136" y="191"/>
                </a:cxn>
                <a:cxn ang="0">
                  <a:pos x="128" y="191"/>
                </a:cxn>
                <a:cxn ang="0">
                  <a:pos x="124" y="195"/>
                </a:cxn>
                <a:cxn ang="0">
                  <a:pos x="108" y="195"/>
                </a:cxn>
                <a:cxn ang="0">
                  <a:pos x="92" y="195"/>
                </a:cxn>
                <a:cxn ang="0">
                  <a:pos x="84" y="187"/>
                </a:cxn>
                <a:cxn ang="0">
                  <a:pos x="84" y="175"/>
                </a:cxn>
                <a:cxn ang="0">
                  <a:pos x="80" y="163"/>
                </a:cxn>
                <a:cxn ang="0">
                  <a:pos x="160" y="75"/>
                </a:cxn>
                <a:cxn ang="0">
                  <a:pos x="160" y="83"/>
                </a:cxn>
                <a:cxn ang="0">
                  <a:pos x="152" y="91"/>
                </a:cxn>
                <a:cxn ang="0">
                  <a:pos x="156" y="95"/>
                </a:cxn>
                <a:cxn ang="0">
                  <a:pos x="152" y="91"/>
                </a:cxn>
                <a:cxn ang="0">
                  <a:pos x="156" y="127"/>
                </a:cxn>
              </a:cxnLst>
              <a:rect l="0" t="0" r="r" b="b"/>
              <a:pathLst>
                <a:path w="168" h="195">
                  <a:moveTo>
                    <a:pt x="76" y="155"/>
                  </a:moveTo>
                  <a:lnTo>
                    <a:pt x="72" y="155"/>
                  </a:lnTo>
                  <a:lnTo>
                    <a:pt x="72" y="159"/>
                  </a:lnTo>
                  <a:lnTo>
                    <a:pt x="68" y="159"/>
                  </a:lnTo>
                  <a:lnTo>
                    <a:pt x="64" y="159"/>
                  </a:lnTo>
                  <a:lnTo>
                    <a:pt x="64" y="155"/>
                  </a:lnTo>
                  <a:lnTo>
                    <a:pt x="60" y="155"/>
                  </a:lnTo>
                  <a:lnTo>
                    <a:pt x="56" y="155"/>
                  </a:lnTo>
                  <a:lnTo>
                    <a:pt x="52" y="151"/>
                  </a:lnTo>
                  <a:lnTo>
                    <a:pt x="48" y="151"/>
                  </a:lnTo>
                  <a:lnTo>
                    <a:pt x="48" y="147"/>
                  </a:lnTo>
                  <a:lnTo>
                    <a:pt x="44" y="147"/>
                  </a:lnTo>
                  <a:lnTo>
                    <a:pt x="40" y="147"/>
                  </a:lnTo>
                  <a:lnTo>
                    <a:pt x="40" y="143"/>
                  </a:lnTo>
                  <a:lnTo>
                    <a:pt x="36" y="143"/>
                  </a:lnTo>
                  <a:lnTo>
                    <a:pt x="32" y="139"/>
                  </a:lnTo>
                  <a:lnTo>
                    <a:pt x="28" y="139"/>
                  </a:lnTo>
                  <a:lnTo>
                    <a:pt x="24" y="139"/>
                  </a:lnTo>
                  <a:lnTo>
                    <a:pt x="24" y="135"/>
                  </a:lnTo>
                  <a:lnTo>
                    <a:pt x="24" y="131"/>
                  </a:lnTo>
                  <a:lnTo>
                    <a:pt x="24" y="127"/>
                  </a:lnTo>
                  <a:lnTo>
                    <a:pt x="20" y="127"/>
                  </a:lnTo>
                  <a:lnTo>
                    <a:pt x="20" y="123"/>
                  </a:lnTo>
                  <a:lnTo>
                    <a:pt x="20" y="119"/>
                  </a:lnTo>
                  <a:lnTo>
                    <a:pt x="16" y="119"/>
                  </a:lnTo>
                  <a:lnTo>
                    <a:pt x="16" y="115"/>
                  </a:lnTo>
                  <a:lnTo>
                    <a:pt x="16" y="111"/>
                  </a:lnTo>
                  <a:lnTo>
                    <a:pt x="16" y="107"/>
                  </a:lnTo>
                  <a:lnTo>
                    <a:pt x="12" y="107"/>
                  </a:lnTo>
                  <a:lnTo>
                    <a:pt x="8" y="103"/>
                  </a:lnTo>
                  <a:lnTo>
                    <a:pt x="4" y="99"/>
                  </a:lnTo>
                  <a:lnTo>
                    <a:pt x="4" y="95"/>
                  </a:lnTo>
                  <a:lnTo>
                    <a:pt x="4" y="91"/>
                  </a:lnTo>
                  <a:lnTo>
                    <a:pt x="4" y="87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5"/>
                  </a:lnTo>
                  <a:lnTo>
                    <a:pt x="0" y="75"/>
                  </a:lnTo>
                  <a:lnTo>
                    <a:pt x="0" y="71"/>
                  </a:lnTo>
                  <a:lnTo>
                    <a:pt x="0" y="67"/>
                  </a:lnTo>
                  <a:lnTo>
                    <a:pt x="4" y="67"/>
                  </a:lnTo>
                  <a:lnTo>
                    <a:pt x="4" y="63"/>
                  </a:lnTo>
                  <a:lnTo>
                    <a:pt x="8" y="63"/>
                  </a:lnTo>
                  <a:lnTo>
                    <a:pt x="12" y="59"/>
                  </a:lnTo>
                  <a:lnTo>
                    <a:pt x="16" y="55"/>
                  </a:lnTo>
                  <a:lnTo>
                    <a:pt x="16" y="51"/>
                  </a:lnTo>
                  <a:lnTo>
                    <a:pt x="16" y="47"/>
                  </a:lnTo>
                  <a:lnTo>
                    <a:pt x="20" y="47"/>
                  </a:lnTo>
                  <a:lnTo>
                    <a:pt x="20" y="43"/>
                  </a:lnTo>
                  <a:lnTo>
                    <a:pt x="24" y="43"/>
                  </a:lnTo>
                  <a:lnTo>
                    <a:pt x="24" y="39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72" y="0"/>
                  </a:lnTo>
                  <a:lnTo>
                    <a:pt x="80" y="4"/>
                  </a:lnTo>
                  <a:lnTo>
                    <a:pt x="84" y="8"/>
                  </a:lnTo>
                  <a:lnTo>
                    <a:pt x="92" y="12"/>
                  </a:lnTo>
                  <a:lnTo>
                    <a:pt x="96" y="16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12" y="28"/>
                  </a:lnTo>
                  <a:lnTo>
                    <a:pt x="120" y="32"/>
                  </a:lnTo>
                  <a:lnTo>
                    <a:pt x="124" y="36"/>
                  </a:lnTo>
                  <a:lnTo>
                    <a:pt x="128" y="36"/>
                  </a:lnTo>
                  <a:lnTo>
                    <a:pt x="128" y="39"/>
                  </a:lnTo>
                  <a:lnTo>
                    <a:pt x="128" y="43"/>
                  </a:lnTo>
                  <a:lnTo>
                    <a:pt x="128" y="47"/>
                  </a:lnTo>
                  <a:lnTo>
                    <a:pt x="132" y="47"/>
                  </a:lnTo>
                  <a:lnTo>
                    <a:pt x="140" y="55"/>
                  </a:lnTo>
                  <a:lnTo>
                    <a:pt x="140" y="59"/>
                  </a:lnTo>
                  <a:lnTo>
                    <a:pt x="144" y="59"/>
                  </a:lnTo>
                  <a:lnTo>
                    <a:pt x="148" y="63"/>
                  </a:lnTo>
                  <a:lnTo>
                    <a:pt x="152" y="67"/>
                  </a:lnTo>
                  <a:lnTo>
                    <a:pt x="152" y="71"/>
                  </a:lnTo>
                  <a:lnTo>
                    <a:pt x="148" y="75"/>
                  </a:lnTo>
                  <a:lnTo>
                    <a:pt x="148" y="79"/>
                  </a:lnTo>
                  <a:lnTo>
                    <a:pt x="148" y="83"/>
                  </a:lnTo>
                  <a:lnTo>
                    <a:pt x="144" y="87"/>
                  </a:lnTo>
                  <a:lnTo>
                    <a:pt x="144" y="91"/>
                  </a:lnTo>
                  <a:lnTo>
                    <a:pt x="144" y="95"/>
                  </a:lnTo>
                  <a:lnTo>
                    <a:pt x="144" y="99"/>
                  </a:lnTo>
                  <a:lnTo>
                    <a:pt x="148" y="99"/>
                  </a:lnTo>
                  <a:lnTo>
                    <a:pt x="152" y="103"/>
                  </a:lnTo>
                  <a:lnTo>
                    <a:pt x="152" y="107"/>
                  </a:lnTo>
                  <a:lnTo>
                    <a:pt x="156" y="107"/>
                  </a:lnTo>
                  <a:lnTo>
                    <a:pt x="156" y="111"/>
                  </a:lnTo>
                  <a:lnTo>
                    <a:pt x="156" y="115"/>
                  </a:lnTo>
                  <a:lnTo>
                    <a:pt x="152" y="115"/>
                  </a:lnTo>
                  <a:lnTo>
                    <a:pt x="152" y="119"/>
                  </a:lnTo>
                  <a:lnTo>
                    <a:pt x="152" y="123"/>
                  </a:lnTo>
                  <a:lnTo>
                    <a:pt x="156" y="123"/>
                  </a:lnTo>
                  <a:lnTo>
                    <a:pt x="156" y="127"/>
                  </a:lnTo>
                  <a:lnTo>
                    <a:pt x="152" y="131"/>
                  </a:lnTo>
                  <a:lnTo>
                    <a:pt x="152" y="135"/>
                  </a:lnTo>
                  <a:lnTo>
                    <a:pt x="152" y="131"/>
                  </a:lnTo>
                  <a:lnTo>
                    <a:pt x="152" y="135"/>
                  </a:lnTo>
                  <a:lnTo>
                    <a:pt x="152" y="139"/>
                  </a:lnTo>
                  <a:lnTo>
                    <a:pt x="152" y="143"/>
                  </a:lnTo>
                  <a:lnTo>
                    <a:pt x="156" y="143"/>
                  </a:lnTo>
                  <a:lnTo>
                    <a:pt x="152" y="143"/>
                  </a:lnTo>
                  <a:lnTo>
                    <a:pt x="156" y="147"/>
                  </a:lnTo>
                  <a:lnTo>
                    <a:pt x="156" y="151"/>
                  </a:lnTo>
                  <a:lnTo>
                    <a:pt x="160" y="155"/>
                  </a:lnTo>
                  <a:lnTo>
                    <a:pt x="160" y="159"/>
                  </a:lnTo>
                  <a:lnTo>
                    <a:pt x="160" y="163"/>
                  </a:lnTo>
                  <a:lnTo>
                    <a:pt x="160" y="167"/>
                  </a:lnTo>
                  <a:lnTo>
                    <a:pt x="164" y="167"/>
                  </a:lnTo>
                  <a:lnTo>
                    <a:pt x="164" y="171"/>
                  </a:lnTo>
                  <a:lnTo>
                    <a:pt x="168" y="171"/>
                  </a:lnTo>
                  <a:lnTo>
                    <a:pt x="168" y="167"/>
                  </a:lnTo>
                  <a:lnTo>
                    <a:pt x="168" y="171"/>
                  </a:lnTo>
                  <a:lnTo>
                    <a:pt x="168" y="175"/>
                  </a:lnTo>
                  <a:lnTo>
                    <a:pt x="164" y="179"/>
                  </a:lnTo>
                  <a:lnTo>
                    <a:pt x="160" y="179"/>
                  </a:lnTo>
                  <a:lnTo>
                    <a:pt x="160" y="183"/>
                  </a:lnTo>
                  <a:lnTo>
                    <a:pt x="156" y="183"/>
                  </a:lnTo>
                  <a:lnTo>
                    <a:pt x="152" y="183"/>
                  </a:lnTo>
                  <a:lnTo>
                    <a:pt x="152" y="187"/>
                  </a:lnTo>
                  <a:lnTo>
                    <a:pt x="148" y="187"/>
                  </a:lnTo>
                  <a:lnTo>
                    <a:pt x="144" y="187"/>
                  </a:lnTo>
                  <a:lnTo>
                    <a:pt x="140" y="191"/>
                  </a:lnTo>
                  <a:lnTo>
                    <a:pt x="136" y="191"/>
                  </a:lnTo>
                  <a:lnTo>
                    <a:pt x="136" y="187"/>
                  </a:lnTo>
                  <a:lnTo>
                    <a:pt x="132" y="187"/>
                  </a:lnTo>
                  <a:lnTo>
                    <a:pt x="132" y="191"/>
                  </a:lnTo>
                  <a:lnTo>
                    <a:pt x="128" y="191"/>
                  </a:lnTo>
                  <a:lnTo>
                    <a:pt x="132" y="191"/>
                  </a:lnTo>
                  <a:lnTo>
                    <a:pt x="132" y="195"/>
                  </a:lnTo>
                  <a:lnTo>
                    <a:pt x="128" y="195"/>
                  </a:lnTo>
                  <a:lnTo>
                    <a:pt x="124" y="195"/>
                  </a:lnTo>
                  <a:lnTo>
                    <a:pt x="120" y="195"/>
                  </a:lnTo>
                  <a:lnTo>
                    <a:pt x="116" y="195"/>
                  </a:lnTo>
                  <a:lnTo>
                    <a:pt x="112" y="195"/>
                  </a:lnTo>
                  <a:lnTo>
                    <a:pt x="108" y="195"/>
                  </a:lnTo>
                  <a:lnTo>
                    <a:pt x="104" y="195"/>
                  </a:lnTo>
                  <a:lnTo>
                    <a:pt x="100" y="191"/>
                  </a:lnTo>
                  <a:lnTo>
                    <a:pt x="96" y="195"/>
                  </a:lnTo>
                  <a:lnTo>
                    <a:pt x="92" y="195"/>
                  </a:lnTo>
                  <a:lnTo>
                    <a:pt x="88" y="195"/>
                  </a:lnTo>
                  <a:lnTo>
                    <a:pt x="88" y="191"/>
                  </a:lnTo>
                  <a:lnTo>
                    <a:pt x="84" y="191"/>
                  </a:lnTo>
                  <a:lnTo>
                    <a:pt x="84" y="187"/>
                  </a:lnTo>
                  <a:lnTo>
                    <a:pt x="80" y="187"/>
                  </a:lnTo>
                  <a:lnTo>
                    <a:pt x="80" y="183"/>
                  </a:lnTo>
                  <a:lnTo>
                    <a:pt x="84" y="179"/>
                  </a:lnTo>
                  <a:lnTo>
                    <a:pt x="84" y="175"/>
                  </a:lnTo>
                  <a:lnTo>
                    <a:pt x="80" y="175"/>
                  </a:lnTo>
                  <a:lnTo>
                    <a:pt x="80" y="171"/>
                  </a:lnTo>
                  <a:lnTo>
                    <a:pt x="80" y="167"/>
                  </a:lnTo>
                  <a:lnTo>
                    <a:pt x="80" y="163"/>
                  </a:lnTo>
                  <a:lnTo>
                    <a:pt x="76" y="163"/>
                  </a:lnTo>
                  <a:lnTo>
                    <a:pt x="76" y="159"/>
                  </a:lnTo>
                  <a:lnTo>
                    <a:pt x="76" y="155"/>
                  </a:lnTo>
                  <a:close/>
                  <a:moveTo>
                    <a:pt x="160" y="75"/>
                  </a:moveTo>
                  <a:lnTo>
                    <a:pt x="160" y="71"/>
                  </a:lnTo>
                  <a:lnTo>
                    <a:pt x="160" y="75"/>
                  </a:lnTo>
                  <a:lnTo>
                    <a:pt x="160" y="79"/>
                  </a:lnTo>
                  <a:lnTo>
                    <a:pt x="160" y="83"/>
                  </a:lnTo>
                  <a:lnTo>
                    <a:pt x="156" y="79"/>
                  </a:lnTo>
                  <a:lnTo>
                    <a:pt x="160" y="79"/>
                  </a:lnTo>
                  <a:lnTo>
                    <a:pt x="160" y="75"/>
                  </a:lnTo>
                  <a:close/>
                  <a:moveTo>
                    <a:pt x="152" y="91"/>
                  </a:moveTo>
                  <a:lnTo>
                    <a:pt x="152" y="87"/>
                  </a:lnTo>
                  <a:lnTo>
                    <a:pt x="152" y="91"/>
                  </a:lnTo>
                  <a:lnTo>
                    <a:pt x="156" y="91"/>
                  </a:lnTo>
                  <a:lnTo>
                    <a:pt x="156" y="95"/>
                  </a:lnTo>
                  <a:lnTo>
                    <a:pt x="156" y="99"/>
                  </a:lnTo>
                  <a:lnTo>
                    <a:pt x="156" y="95"/>
                  </a:lnTo>
                  <a:lnTo>
                    <a:pt x="152" y="95"/>
                  </a:lnTo>
                  <a:lnTo>
                    <a:pt x="152" y="91"/>
                  </a:lnTo>
                  <a:close/>
                  <a:moveTo>
                    <a:pt x="156" y="127"/>
                  </a:moveTo>
                  <a:lnTo>
                    <a:pt x="160" y="123"/>
                  </a:lnTo>
                  <a:lnTo>
                    <a:pt x="160" y="127"/>
                  </a:lnTo>
                  <a:lnTo>
                    <a:pt x="156" y="12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4" name="Freeform 162"/>
            <p:cNvSpPr>
              <a:spLocks/>
            </p:cNvSpPr>
            <p:nvPr>
              <p:custDataLst>
                <p:tags r:id="rId357"/>
              </p:custDataLst>
            </p:nvPr>
          </p:nvSpPr>
          <p:spPr bwMode="gray">
            <a:xfrm>
              <a:off x="3996396" y="4219256"/>
              <a:ext cx="71187" cy="17797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0" y="4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12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2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36" y="8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4"/>
                </a:cxn>
                <a:cxn ang="0">
                  <a:pos x="48" y="4"/>
                </a:cxn>
                <a:cxn ang="0">
                  <a:pos x="48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36" y="8"/>
                </a:cxn>
                <a:cxn ang="0">
                  <a:pos x="32" y="8"/>
                </a:cxn>
                <a:cxn ang="0">
                  <a:pos x="32" y="8"/>
                </a:cxn>
                <a:cxn ang="0">
                  <a:pos x="28" y="8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0" y="8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4"/>
                </a:cxn>
              </a:cxnLst>
              <a:rect l="0" t="0" r="r" b="b"/>
              <a:pathLst>
                <a:path w="48" h="12"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5" name="Freeform 163"/>
            <p:cNvSpPr>
              <a:spLocks/>
            </p:cNvSpPr>
            <p:nvPr>
              <p:custDataLst>
                <p:tags r:id="rId358"/>
              </p:custDataLst>
            </p:nvPr>
          </p:nvSpPr>
          <p:spPr bwMode="gray">
            <a:xfrm>
              <a:off x="4370128" y="4290443"/>
              <a:ext cx="47458" cy="142374"/>
            </a:xfrm>
            <a:custGeom>
              <a:avLst/>
              <a:gdLst/>
              <a:ahLst/>
              <a:cxnLst>
                <a:cxn ang="0">
                  <a:pos x="28" y="72"/>
                </a:cxn>
                <a:cxn ang="0">
                  <a:pos x="28" y="80"/>
                </a:cxn>
                <a:cxn ang="0">
                  <a:pos x="28" y="84"/>
                </a:cxn>
                <a:cxn ang="0">
                  <a:pos x="28" y="84"/>
                </a:cxn>
                <a:cxn ang="0">
                  <a:pos x="32" y="88"/>
                </a:cxn>
                <a:cxn ang="0">
                  <a:pos x="28" y="92"/>
                </a:cxn>
                <a:cxn ang="0">
                  <a:pos x="28" y="92"/>
                </a:cxn>
                <a:cxn ang="0">
                  <a:pos x="24" y="92"/>
                </a:cxn>
                <a:cxn ang="0">
                  <a:pos x="20" y="92"/>
                </a:cxn>
                <a:cxn ang="0">
                  <a:pos x="16" y="88"/>
                </a:cxn>
                <a:cxn ang="0">
                  <a:pos x="16" y="88"/>
                </a:cxn>
                <a:cxn ang="0">
                  <a:pos x="16" y="84"/>
                </a:cxn>
                <a:cxn ang="0">
                  <a:pos x="12" y="84"/>
                </a:cxn>
                <a:cxn ang="0">
                  <a:pos x="12" y="76"/>
                </a:cxn>
                <a:cxn ang="0">
                  <a:pos x="12" y="72"/>
                </a:cxn>
                <a:cxn ang="0">
                  <a:pos x="12" y="68"/>
                </a:cxn>
                <a:cxn ang="0">
                  <a:pos x="12" y="68"/>
                </a:cxn>
                <a:cxn ang="0">
                  <a:pos x="12" y="56"/>
                </a:cxn>
                <a:cxn ang="0">
                  <a:pos x="16" y="52"/>
                </a:cxn>
                <a:cxn ang="0">
                  <a:pos x="12" y="52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20" y="20"/>
                </a:cxn>
                <a:cxn ang="0">
                  <a:pos x="24" y="24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8" y="36"/>
                </a:cxn>
                <a:cxn ang="0">
                  <a:pos x="28" y="36"/>
                </a:cxn>
                <a:cxn ang="0">
                  <a:pos x="28" y="44"/>
                </a:cxn>
                <a:cxn ang="0">
                  <a:pos x="28" y="52"/>
                </a:cxn>
                <a:cxn ang="0">
                  <a:pos x="28" y="68"/>
                </a:cxn>
              </a:cxnLst>
              <a:rect l="0" t="0" r="r" b="b"/>
              <a:pathLst>
                <a:path w="32" h="96">
                  <a:moveTo>
                    <a:pt x="28" y="68"/>
                  </a:moveTo>
                  <a:lnTo>
                    <a:pt x="28" y="68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8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6" name="Freeform 164"/>
            <p:cNvSpPr>
              <a:spLocks noEditPoints="1"/>
            </p:cNvSpPr>
            <p:nvPr>
              <p:custDataLst>
                <p:tags r:id="rId359"/>
              </p:custDataLst>
            </p:nvPr>
          </p:nvSpPr>
          <p:spPr bwMode="gray">
            <a:xfrm>
              <a:off x="4540681" y="3544462"/>
              <a:ext cx="94916" cy="213561"/>
            </a:xfrm>
            <a:custGeom>
              <a:avLst/>
              <a:gdLst/>
              <a:ahLst/>
              <a:cxnLst>
                <a:cxn ang="0">
                  <a:pos x="44" y="12"/>
                </a:cxn>
                <a:cxn ang="0">
                  <a:pos x="48" y="12"/>
                </a:cxn>
                <a:cxn ang="0">
                  <a:pos x="48" y="8"/>
                </a:cxn>
                <a:cxn ang="0">
                  <a:pos x="52" y="8"/>
                </a:cxn>
                <a:cxn ang="0">
                  <a:pos x="52" y="16"/>
                </a:cxn>
                <a:cxn ang="0">
                  <a:pos x="52" y="20"/>
                </a:cxn>
                <a:cxn ang="0">
                  <a:pos x="48" y="20"/>
                </a:cxn>
                <a:cxn ang="0">
                  <a:pos x="48" y="32"/>
                </a:cxn>
                <a:cxn ang="0">
                  <a:pos x="52" y="36"/>
                </a:cxn>
                <a:cxn ang="0">
                  <a:pos x="56" y="36"/>
                </a:cxn>
                <a:cxn ang="0">
                  <a:pos x="56" y="44"/>
                </a:cxn>
                <a:cxn ang="0">
                  <a:pos x="52" y="56"/>
                </a:cxn>
                <a:cxn ang="0">
                  <a:pos x="48" y="60"/>
                </a:cxn>
                <a:cxn ang="0">
                  <a:pos x="40" y="64"/>
                </a:cxn>
                <a:cxn ang="0">
                  <a:pos x="40" y="68"/>
                </a:cxn>
                <a:cxn ang="0">
                  <a:pos x="44" y="76"/>
                </a:cxn>
                <a:cxn ang="0">
                  <a:pos x="48" y="76"/>
                </a:cxn>
                <a:cxn ang="0">
                  <a:pos x="52" y="80"/>
                </a:cxn>
                <a:cxn ang="0">
                  <a:pos x="56" y="76"/>
                </a:cxn>
                <a:cxn ang="0">
                  <a:pos x="56" y="80"/>
                </a:cxn>
                <a:cxn ang="0">
                  <a:pos x="60" y="84"/>
                </a:cxn>
                <a:cxn ang="0">
                  <a:pos x="64" y="88"/>
                </a:cxn>
                <a:cxn ang="0">
                  <a:pos x="64" y="96"/>
                </a:cxn>
                <a:cxn ang="0">
                  <a:pos x="64" y="100"/>
                </a:cxn>
                <a:cxn ang="0">
                  <a:pos x="52" y="108"/>
                </a:cxn>
                <a:cxn ang="0">
                  <a:pos x="48" y="112"/>
                </a:cxn>
                <a:cxn ang="0">
                  <a:pos x="40" y="116"/>
                </a:cxn>
                <a:cxn ang="0">
                  <a:pos x="44" y="132"/>
                </a:cxn>
                <a:cxn ang="0">
                  <a:pos x="36" y="140"/>
                </a:cxn>
                <a:cxn ang="0">
                  <a:pos x="32" y="132"/>
                </a:cxn>
                <a:cxn ang="0">
                  <a:pos x="24" y="108"/>
                </a:cxn>
                <a:cxn ang="0">
                  <a:pos x="16" y="96"/>
                </a:cxn>
                <a:cxn ang="0">
                  <a:pos x="12" y="88"/>
                </a:cxn>
                <a:cxn ang="0">
                  <a:pos x="4" y="84"/>
                </a:cxn>
                <a:cxn ang="0">
                  <a:pos x="4" y="72"/>
                </a:cxn>
                <a:cxn ang="0">
                  <a:pos x="4" y="68"/>
                </a:cxn>
                <a:cxn ang="0">
                  <a:pos x="4" y="64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6" y="44"/>
                </a:cxn>
                <a:cxn ang="0">
                  <a:pos x="16" y="36"/>
                </a:cxn>
                <a:cxn ang="0">
                  <a:pos x="12" y="32"/>
                </a:cxn>
                <a:cxn ang="0">
                  <a:pos x="16" y="24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4"/>
                </a:cxn>
                <a:cxn ang="0">
                  <a:pos x="36" y="0"/>
                </a:cxn>
                <a:cxn ang="0">
                  <a:pos x="36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56" y="52"/>
                </a:cxn>
                <a:cxn ang="0">
                  <a:pos x="60" y="52"/>
                </a:cxn>
                <a:cxn ang="0">
                  <a:pos x="52" y="76"/>
                </a:cxn>
                <a:cxn ang="0">
                  <a:pos x="52" y="72"/>
                </a:cxn>
                <a:cxn ang="0">
                  <a:pos x="52" y="72"/>
                </a:cxn>
                <a:cxn ang="0">
                  <a:pos x="56" y="72"/>
                </a:cxn>
                <a:cxn ang="0">
                  <a:pos x="52" y="76"/>
                </a:cxn>
              </a:cxnLst>
              <a:rect l="0" t="0" r="r" b="b"/>
              <a:pathLst>
                <a:path w="64" h="144">
                  <a:moveTo>
                    <a:pt x="44" y="8"/>
                  </a:move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4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0" y="116"/>
                  </a:lnTo>
                  <a:lnTo>
                    <a:pt x="40" y="120"/>
                  </a:lnTo>
                  <a:lnTo>
                    <a:pt x="44" y="120"/>
                  </a:lnTo>
                  <a:lnTo>
                    <a:pt x="44" y="124"/>
                  </a:lnTo>
                  <a:lnTo>
                    <a:pt x="44" y="128"/>
                  </a:lnTo>
                  <a:lnTo>
                    <a:pt x="44" y="128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0" y="136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0"/>
                  </a:lnTo>
                  <a:lnTo>
                    <a:pt x="32" y="136"/>
                  </a:lnTo>
                  <a:lnTo>
                    <a:pt x="32" y="136"/>
                  </a:lnTo>
                  <a:lnTo>
                    <a:pt x="32" y="132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16"/>
                  </a:lnTo>
                  <a:lnTo>
                    <a:pt x="28" y="116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4" y="104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close/>
                  <a:moveTo>
                    <a:pt x="56" y="56"/>
                  </a:moveTo>
                  <a:lnTo>
                    <a:pt x="56" y="56"/>
                  </a:lnTo>
                  <a:lnTo>
                    <a:pt x="56" y="56"/>
                  </a:lnTo>
                  <a:lnTo>
                    <a:pt x="56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close/>
                  <a:moveTo>
                    <a:pt x="52" y="76"/>
                  </a:moveTo>
                  <a:lnTo>
                    <a:pt x="52" y="76"/>
                  </a:lnTo>
                  <a:lnTo>
                    <a:pt x="52" y="76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7" name="Freeform 165"/>
            <p:cNvSpPr>
              <a:spLocks/>
            </p:cNvSpPr>
            <p:nvPr>
              <p:custDataLst>
                <p:tags r:id="rId360"/>
              </p:custDataLst>
            </p:nvPr>
          </p:nvSpPr>
          <p:spPr bwMode="gray">
            <a:xfrm>
              <a:off x="5037507" y="4480276"/>
              <a:ext cx="124577" cy="154239"/>
            </a:xfrm>
            <a:custGeom>
              <a:avLst/>
              <a:gdLst/>
              <a:ahLst/>
              <a:cxnLst>
                <a:cxn ang="0">
                  <a:pos x="44" y="96"/>
                </a:cxn>
                <a:cxn ang="0">
                  <a:pos x="24" y="96"/>
                </a:cxn>
                <a:cxn ang="0">
                  <a:pos x="16" y="96"/>
                </a:cxn>
                <a:cxn ang="0">
                  <a:pos x="12" y="100"/>
                </a:cxn>
                <a:cxn ang="0">
                  <a:pos x="8" y="104"/>
                </a:cxn>
                <a:cxn ang="0">
                  <a:pos x="4" y="104"/>
                </a:cxn>
                <a:cxn ang="0">
                  <a:pos x="4" y="104"/>
                </a:cxn>
                <a:cxn ang="0">
                  <a:pos x="0" y="104"/>
                </a:cxn>
                <a:cxn ang="0">
                  <a:pos x="0" y="96"/>
                </a:cxn>
                <a:cxn ang="0">
                  <a:pos x="4" y="88"/>
                </a:cxn>
                <a:cxn ang="0">
                  <a:pos x="4" y="80"/>
                </a:cxn>
                <a:cxn ang="0">
                  <a:pos x="4" y="76"/>
                </a:cxn>
                <a:cxn ang="0">
                  <a:pos x="8" y="68"/>
                </a:cxn>
                <a:cxn ang="0">
                  <a:pos x="8" y="64"/>
                </a:cxn>
                <a:cxn ang="0">
                  <a:pos x="8" y="60"/>
                </a:cxn>
                <a:cxn ang="0">
                  <a:pos x="12" y="56"/>
                </a:cxn>
                <a:cxn ang="0">
                  <a:pos x="16" y="56"/>
                </a:cxn>
                <a:cxn ang="0">
                  <a:pos x="24" y="44"/>
                </a:cxn>
                <a:cxn ang="0">
                  <a:pos x="24" y="36"/>
                </a:cxn>
                <a:cxn ang="0">
                  <a:pos x="20" y="36"/>
                </a:cxn>
                <a:cxn ang="0">
                  <a:pos x="20" y="32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8" y="8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52" y="8"/>
                </a:cxn>
                <a:cxn ang="0">
                  <a:pos x="60" y="8"/>
                </a:cxn>
                <a:cxn ang="0">
                  <a:pos x="68" y="0"/>
                </a:cxn>
                <a:cxn ang="0">
                  <a:pos x="72" y="8"/>
                </a:cxn>
                <a:cxn ang="0">
                  <a:pos x="76" y="12"/>
                </a:cxn>
                <a:cxn ang="0">
                  <a:pos x="76" y="20"/>
                </a:cxn>
                <a:cxn ang="0">
                  <a:pos x="80" y="24"/>
                </a:cxn>
                <a:cxn ang="0">
                  <a:pos x="80" y="28"/>
                </a:cxn>
                <a:cxn ang="0">
                  <a:pos x="80" y="36"/>
                </a:cxn>
                <a:cxn ang="0">
                  <a:pos x="84" y="44"/>
                </a:cxn>
                <a:cxn ang="0">
                  <a:pos x="80" y="48"/>
                </a:cxn>
                <a:cxn ang="0">
                  <a:pos x="80" y="52"/>
                </a:cxn>
                <a:cxn ang="0">
                  <a:pos x="80" y="56"/>
                </a:cxn>
                <a:cxn ang="0">
                  <a:pos x="80" y="56"/>
                </a:cxn>
                <a:cxn ang="0">
                  <a:pos x="76" y="60"/>
                </a:cxn>
                <a:cxn ang="0">
                  <a:pos x="76" y="64"/>
                </a:cxn>
                <a:cxn ang="0">
                  <a:pos x="68" y="72"/>
                </a:cxn>
                <a:cxn ang="0">
                  <a:pos x="68" y="76"/>
                </a:cxn>
                <a:cxn ang="0">
                  <a:pos x="68" y="84"/>
                </a:cxn>
                <a:cxn ang="0">
                  <a:pos x="60" y="96"/>
                </a:cxn>
                <a:cxn ang="0">
                  <a:pos x="56" y="96"/>
                </a:cxn>
              </a:cxnLst>
              <a:rect l="0" t="0" r="r" b="b"/>
              <a:pathLst>
                <a:path w="84" h="104">
                  <a:moveTo>
                    <a:pt x="52" y="96"/>
                  </a:move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4" y="96"/>
                  </a:lnTo>
                  <a:lnTo>
                    <a:pt x="32" y="96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2" y="96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20" y="48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44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96"/>
                  </a:lnTo>
                  <a:lnTo>
                    <a:pt x="68" y="96"/>
                  </a:lnTo>
                  <a:lnTo>
                    <a:pt x="68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2" y="96"/>
                  </a:lnTo>
                  <a:lnTo>
                    <a:pt x="52" y="9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8" name="Freeform 166"/>
            <p:cNvSpPr>
              <a:spLocks/>
            </p:cNvSpPr>
            <p:nvPr>
              <p:custDataLst>
                <p:tags r:id="rId361"/>
              </p:custDataLst>
            </p:nvPr>
          </p:nvSpPr>
          <p:spPr bwMode="gray">
            <a:xfrm>
              <a:off x="3990464" y="3829210"/>
              <a:ext cx="189832" cy="195764"/>
            </a:xfrm>
            <a:custGeom>
              <a:avLst/>
              <a:gdLst/>
              <a:ahLst/>
              <a:cxnLst>
                <a:cxn ang="0">
                  <a:pos x="0" y="128"/>
                </a:cxn>
                <a:cxn ang="0">
                  <a:pos x="0" y="120"/>
                </a:cxn>
                <a:cxn ang="0">
                  <a:pos x="4" y="116"/>
                </a:cxn>
                <a:cxn ang="0">
                  <a:pos x="4" y="112"/>
                </a:cxn>
                <a:cxn ang="0">
                  <a:pos x="8" y="104"/>
                </a:cxn>
                <a:cxn ang="0">
                  <a:pos x="12" y="104"/>
                </a:cxn>
                <a:cxn ang="0">
                  <a:pos x="12" y="100"/>
                </a:cxn>
                <a:cxn ang="0">
                  <a:pos x="12" y="96"/>
                </a:cxn>
                <a:cxn ang="0">
                  <a:pos x="16" y="92"/>
                </a:cxn>
                <a:cxn ang="0">
                  <a:pos x="16" y="88"/>
                </a:cxn>
                <a:cxn ang="0">
                  <a:pos x="16" y="84"/>
                </a:cxn>
                <a:cxn ang="0">
                  <a:pos x="16" y="84"/>
                </a:cxn>
                <a:cxn ang="0">
                  <a:pos x="20" y="80"/>
                </a:cxn>
                <a:cxn ang="0">
                  <a:pos x="20" y="76"/>
                </a:cxn>
                <a:cxn ang="0">
                  <a:pos x="20" y="76"/>
                </a:cxn>
                <a:cxn ang="0">
                  <a:pos x="20" y="76"/>
                </a:cxn>
                <a:cxn ang="0">
                  <a:pos x="20" y="72"/>
                </a:cxn>
                <a:cxn ang="0">
                  <a:pos x="28" y="68"/>
                </a:cxn>
                <a:cxn ang="0">
                  <a:pos x="28" y="64"/>
                </a:cxn>
                <a:cxn ang="0">
                  <a:pos x="32" y="60"/>
                </a:cxn>
                <a:cxn ang="0">
                  <a:pos x="36" y="56"/>
                </a:cxn>
                <a:cxn ang="0">
                  <a:pos x="36" y="52"/>
                </a:cxn>
                <a:cxn ang="0">
                  <a:pos x="36" y="44"/>
                </a:cxn>
                <a:cxn ang="0">
                  <a:pos x="36" y="36"/>
                </a:cxn>
                <a:cxn ang="0">
                  <a:pos x="40" y="36"/>
                </a:cxn>
                <a:cxn ang="0">
                  <a:pos x="40" y="32"/>
                </a:cxn>
                <a:cxn ang="0">
                  <a:pos x="40" y="32"/>
                </a:cxn>
                <a:cxn ang="0">
                  <a:pos x="44" y="28"/>
                </a:cxn>
                <a:cxn ang="0">
                  <a:pos x="44" y="28"/>
                </a:cxn>
                <a:cxn ang="0">
                  <a:pos x="48" y="24"/>
                </a:cxn>
                <a:cxn ang="0">
                  <a:pos x="52" y="20"/>
                </a:cxn>
                <a:cxn ang="0">
                  <a:pos x="56" y="16"/>
                </a:cxn>
                <a:cxn ang="0">
                  <a:pos x="56" y="12"/>
                </a:cxn>
                <a:cxn ang="0">
                  <a:pos x="56" y="8"/>
                </a:cxn>
                <a:cxn ang="0">
                  <a:pos x="60" y="4"/>
                </a:cxn>
                <a:cxn ang="0">
                  <a:pos x="60" y="0"/>
                </a:cxn>
                <a:cxn ang="0">
                  <a:pos x="108" y="0"/>
                </a:cxn>
                <a:cxn ang="0">
                  <a:pos x="112" y="0"/>
                </a:cxn>
                <a:cxn ang="0">
                  <a:pos x="128" y="0"/>
                </a:cxn>
                <a:cxn ang="0">
                  <a:pos x="128" y="16"/>
                </a:cxn>
                <a:cxn ang="0">
                  <a:pos x="128" y="32"/>
                </a:cxn>
                <a:cxn ang="0">
                  <a:pos x="112" y="32"/>
                </a:cxn>
                <a:cxn ang="0">
                  <a:pos x="108" y="32"/>
                </a:cxn>
                <a:cxn ang="0">
                  <a:pos x="88" y="32"/>
                </a:cxn>
                <a:cxn ang="0">
                  <a:pos x="76" y="40"/>
                </a:cxn>
                <a:cxn ang="0">
                  <a:pos x="76" y="48"/>
                </a:cxn>
                <a:cxn ang="0">
                  <a:pos x="76" y="64"/>
                </a:cxn>
                <a:cxn ang="0">
                  <a:pos x="76" y="84"/>
                </a:cxn>
                <a:cxn ang="0">
                  <a:pos x="68" y="84"/>
                </a:cxn>
                <a:cxn ang="0">
                  <a:pos x="64" y="92"/>
                </a:cxn>
                <a:cxn ang="0">
                  <a:pos x="60" y="96"/>
                </a:cxn>
                <a:cxn ang="0">
                  <a:pos x="60" y="104"/>
                </a:cxn>
                <a:cxn ang="0">
                  <a:pos x="64" y="112"/>
                </a:cxn>
                <a:cxn ang="0">
                  <a:pos x="48" y="124"/>
                </a:cxn>
                <a:cxn ang="0">
                  <a:pos x="36" y="124"/>
                </a:cxn>
                <a:cxn ang="0">
                  <a:pos x="20" y="124"/>
                </a:cxn>
                <a:cxn ang="0">
                  <a:pos x="4" y="124"/>
                </a:cxn>
                <a:cxn ang="0">
                  <a:pos x="0" y="128"/>
                </a:cxn>
              </a:cxnLst>
              <a:rect l="0" t="0" r="r" b="b"/>
              <a:pathLst>
                <a:path w="128" h="132">
                  <a:moveTo>
                    <a:pt x="0" y="132"/>
                  </a:moveTo>
                  <a:lnTo>
                    <a:pt x="0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6" y="20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104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28" y="0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8" y="8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24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0" y="32"/>
                  </a:lnTo>
                  <a:lnTo>
                    <a:pt x="96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76" y="32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72"/>
                  </a:lnTo>
                  <a:lnTo>
                    <a:pt x="76" y="76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4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8"/>
                  </a:lnTo>
                  <a:lnTo>
                    <a:pt x="60" y="108"/>
                  </a:lnTo>
                  <a:lnTo>
                    <a:pt x="64" y="112"/>
                  </a:lnTo>
                  <a:lnTo>
                    <a:pt x="64" y="120"/>
                  </a:lnTo>
                  <a:lnTo>
                    <a:pt x="64" y="124"/>
                  </a:lnTo>
                  <a:lnTo>
                    <a:pt x="56" y="124"/>
                  </a:lnTo>
                  <a:lnTo>
                    <a:pt x="48" y="12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40" y="124"/>
                  </a:lnTo>
                  <a:lnTo>
                    <a:pt x="36" y="124"/>
                  </a:lnTo>
                  <a:lnTo>
                    <a:pt x="32" y="124"/>
                  </a:lnTo>
                  <a:lnTo>
                    <a:pt x="28" y="124"/>
                  </a:lnTo>
                  <a:lnTo>
                    <a:pt x="20" y="124"/>
                  </a:lnTo>
                  <a:lnTo>
                    <a:pt x="20" y="124"/>
                  </a:lnTo>
                  <a:lnTo>
                    <a:pt x="16" y="124"/>
                  </a:lnTo>
                  <a:lnTo>
                    <a:pt x="16" y="124"/>
                  </a:lnTo>
                  <a:lnTo>
                    <a:pt x="8" y="124"/>
                  </a:lnTo>
                  <a:lnTo>
                    <a:pt x="4" y="124"/>
                  </a:lnTo>
                  <a:lnTo>
                    <a:pt x="4" y="124"/>
                  </a:lnTo>
                  <a:lnTo>
                    <a:pt x="4" y="128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9" name="Freeform 167"/>
            <p:cNvSpPr>
              <a:spLocks/>
            </p:cNvSpPr>
            <p:nvPr>
              <p:custDataLst>
                <p:tags r:id="rId362"/>
              </p:custDataLst>
            </p:nvPr>
          </p:nvSpPr>
          <p:spPr bwMode="gray">
            <a:xfrm>
              <a:off x="4866955" y="4816931"/>
              <a:ext cx="265468" cy="272884"/>
            </a:xfrm>
            <a:custGeom>
              <a:avLst/>
              <a:gdLst/>
              <a:ahLst/>
              <a:cxnLst>
                <a:cxn ang="0">
                  <a:pos x="127" y="140"/>
                </a:cxn>
                <a:cxn ang="0">
                  <a:pos x="115" y="140"/>
                </a:cxn>
                <a:cxn ang="0">
                  <a:pos x="103" y="148"/>
                </a:cxn>
                <a:cxn ang="0">
                  <a:pos x="95" y="160"/>
                </a:cxn>
                <a:cxn ang="0">
                  <a:pos x="88" y="172"/>
                </a:cxn>
                <a:cxn ang="0">
                  <a:pos x="76" y="180"/>
                </a:cxn>
                <a:cxn ang="0">
                  <a:pos x="64" y="180"/>
                </a:cxn>
                <a:cxn ang="0">
                  <a:pos x="56" y="180"/>
                </a:cxn>
                <a:cxn ang="0">
                  <a:pos x="44" y="172"/>
                </a:cxn>
                <a:cxn ang="0">
                  <a:pos x="28" y="176"/>
                </a:cxn>
                <a:cxn ang="0">
                  <a:pos x="8" y="160"/>
                </a:cxn>
                <a:cxn ang="0">
                  <a:pos x="4" y="148"/>
                </a:cxn>
                <a:cxn ang="0">
                  <a:pos x="0" y="124"/>
                </a:cxn>
                <a:cxn ang="0">
                  <a:pos x="0" y="104"/>
                </a:cxn>
                <a:cxn ang="0">
                  <a:pos x="16" y="88"/>
                </a:cxn>
                <a:cxn ang="0">
                  <a:pos x="32" y="88"/>
                </a:cxn>
                <a:cxn ang="0">
                  <a:pos x="32" y="68"/>
                </a:cxn>
                <a:cxn ang="0">
                  <a:pos x="32" y="52"/>
                </a:cxn>
                <a:cxn ang="0">
                  <a:pos x="40" y="52"/>
                </a:cxn>
                <a:cxn ang="0">
                  <a:pos x="44" y="60"/>
                </a:cxn>
                <a:cxn ang="0">
                  <a:pos x="52" y="64"/>
                </a:cxn>
                <a:cxn ang="0">
                  <a:pos x="68" y="68"/>
                </a:cxn>
                <a:cxn ang="0">
                  <a:pos x="80" y="64"/>
                </a:cxn>
                <a:cxn ang="0">
                  <a:pos x="88" y="76"/>
                </a:cxn>
                <a:cxn ang="0">
                  <a:pos x="99" y="84"/>
                </a:cxn>
                <a:cxn ang="0">
                  <a:pos x="107" y="96"/>
                </a:cxn>
                <a:cxn ang="0">
                  <a:pos x="119" y="96"/>
                </a:cxn>
                <a:cxn ang="0">
                  <a:pos x="119" y="84"/>
                </a:cxn>
                <a:cxn ang="0">
                  <a:pos x="115" y="76"/>
                </a:cxn>
                <a:cxn ang="0">
                  <a:pos x="103" y="72"/>
                </a:cxn>
                <a:cxn ang="0">
                  <a:pos x="99" y="60"/>
                </a:cxn>
                <a:cxn ang="0">
                  <a:pos x="103" y="48"/>
                </a:cxn>
                <a:cxn ang="0">
                  <a:pos x="103" y="32"/>
                </a:cxn>
                <a:cxn ang="0">
                  <a:pos x="103" y="16"/>
                </a:cxn>
                <a:cxn ang="0">
                  <a:pos x="107" y="4"/>
                </a:cxn>
                <a:cxn ang="0">
                  <a:pos x="127" y="0"/>
                </a:cxn>
                <a:cxn ang="0">
                  <a:pos x="135" y="8"/>
                </a:cxn>
                <a:cxn ang="0">
                  <a:pos x="151" y="12"/>
                </a:cxn>
                <a:cxn ang="0">
                  <a:pos x="159" y="20"/>
                </a:cxn>
                <a:cxn ang="0">
                  <a:pos x="171" y="28"/>
                </a:cxn>
                <a:cxn ang="0">
                  <a:pos x="171" y="36"/>
                </a:cxn>
                <a:cxn ang="0">
                  <a:pos x="175" y="48"/>
                </a:cxn>
                <a:cxn ang="0">
                  <a:pos x="175" y="56"/>
                </a:cxn>
                <a:cxn ang="0">
                  <a:pos x="171" y="72"/>
                </a:cxn>
                <a:cxn ang="0">
                  <a:pos x="167" y="80"/>
                </a:cxn>
                <a:cxn ang="0">
                  <a:pos x="167" y="96"/>
                </a:cxn>
                <a:cxn ang="0">
                  <a:pos x="167" y="108"/>
                </a:cxn>
                <a:cxn ang="0">
                  <a:pos x="155" y="116"/>
                </a:cxn>
                <a:cxn ang="0">
                  <a:pos x="143" y="120"/>
                </a:cxn>
                <a:cxn ang="0">
                  <a:pos x="131" y="124"/>
                </a:cxn>
              </a:cxnLst>
              <a:rect l="0" t="0" r="r" b="b"/>
              <a:pathLst>
                <a:path w="179" h="184">
                  <a:moveTo>
                    <a:pt x="127" y="128"/>
                  </a:moveTo>
                  <a:lnTo>
                    <a:pt x="127" y="132"/>
                  </a:lnTo>
                  <a:lnTo>
                    <a:pt x="127" y="136"/>
                  </a:lnTo>
                  <a:lnTo>
                    <a:pt x="127" y="140"/>
                  </a:lnTo>
                  <a:lnTo>
                    <a:pt x="123" y="140"/>
                  </a:lnTo>
                  <a:lnTo>
                    <a:pt x="119" y="136"/>
                  </a:lnTo>
                  <a:lnTo>
                    <a:pt x="119" y="140"/>
                  </a:lnTo>
                  <a:lnTo>
                    <a:pt x="115" y="140"/>
                  </a:lnTo>
                  <a:lnTo>
                    <a:pt x="111" y="140"/>
                  </a:lnTo>
                  <a:lnTo>
                    <a:pt x="107" y="144"/>
                  </a:lnTo>
                  <a:lnTo>
                    <a:pt x="107" y="148"/>
                  </a:lnTo>
                  <a:lnTo>
                    <a:pt x="103" y="148"/>
                  </a:lnTo>
                  <a:lnTo>
                    <a:pt x="103" y="152"/>
                  </a:lnTo>
                  <a:lnTo>
                    <a:pt x="103" y="156"/>
                  </a:lnTo>
                  <a:lnTo>
                    <a:pt x="99" y="156"/>
                  </a:lnTo>
                  <a:lnTo>
                    <a:pt x="95" y="160"/>
                  </a:lnTo>
                  <a:lnTo>
                    <a:pt x="92" y="160"/>
                  </a:lnTo>
                  <a:lnTo>
                    <a:pt x="92" y="164"/>
                  </a:lnTo>
                  <a:lnTo>
                    <a:pt x="88" y="168"/>
                  </a:lnTo>
                  <a:lnTo>
                    <a:pt x="88" y="172"/>
                  </a:lnTo>
                  <a:lnTo>
                    <a:pt x="84" y="172"/>
                  </a:lnTo>
                  <a:lnTo>
                    <a:pt x="84" y="176"/>
                  </a:lnTo>
                  <a:lnTo>
                    <a:pt x="80" y="180"/>
                  </a:lnTo>
                  <a:lnTo>
                    <a:pt x="76" y="180"/>
                  </a:lnTo>
                  <a:lnTo>
                    <a:pt x="76" y="184"/>
                  </a:lnTo>
                  <a:lnTo>
                    <a:pt x="72" y="184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4" y="184"/>
                  </a:lnTo>
                  <a:lnTo>
                    <a:pt x="60" y="184"/>
                  </a:lnTo>
                  <a:lnTo>
                    <a:pt x="60" y="180"/>
                  </a:lnTo>
                  <a:lnTo>
                    <a:pt x="56" y="180"/>
                  </a:lnTo>
                  <a:lnTo>
                    <a:pt x="52" y="180"/>
                  </a:lnTo>
                  <a:lnTo>
                    <a:pt x="48" y="176"/>
                  </a:lnTo>
                  <a:lnTo>
                    <a:pt x="48" y="172"/>
                  </a:lnTo>
                  <a:lnTo>
                    <a:pt x="44" y="172"/>
                  </a:lnTo>
                  <a:lnTo>
                    <a:pt x="40" y="172"/>
                  </a:lnTo>
                  <a:lnTo>
                    <a:pt x="36" y="172"/>
                  </a:lnTo>
                  <a:lnTo>
                    <a:pt x="32" y="172"/>
                  </a:lnTo>
                  <a:lnTo>
                    <a:pt x="28" y="176"/>
                  </a:lnTo>
                  <a:lnTo>
                    <a:pt x="24" y="176"/>
                  </a:lnTo>
                  <a:lnTo>
                    <a:pt x="20" y="172"/>
                  </a:lnTo>
                  <a:lnTo>
                    <a:pt x="12" y="164"/>
                  </a:lnTo>
                  <a:lnTo>
                    <a:pt x="8" y="160"/>
                  </a:lnTo>
                  <a:lnTo>
                    <a:pt x="8" y="156"/>
                  </a:lnTo>
                  <a:lnTo>
                    <a:pt x="4" y="156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0" y="148"/>
                  </a:lnTo>
                  <a:lnTo>
                    <a:pt x="0" y="144"/>
                  </a:lnTo>
                  <a:lnTo>
                    <a:pt x="0" y="136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96"/>
                  </a:lnTo>
                  <a:lnTo>
                    <a:pt x="0" y="88"/>
                  </a:lnTo>
                  <a:lnTo>
                    <a:pt x="8" y="88"/>
                  </a:lnTo>
                  <a:lnTo>
                    <a:pt x="16" y="88"/>
                  </a:lnTo>
                  <a:lnTo>
                    <a:pt x="20" y="88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52"/>
                  </a:lnTo>
                  <a:lnTo>
                    <a:pt x="36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60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60" y="68"/>
                  </a:lnTo>
                  <a:lnTo>
                    <a:pt x="64" y="68"/>
                  </a:lnTo>
                  <a:lnTo>
                    <a:pt x="68" y="68"/>
                  </a:lnTo>
                  <a:lnTo>
                    <a:pt x="72" y="72"/>
                  </a:lnTo>
                  <a:lnTo>
                    <a:pt x="76" y="72"/>
                  </a:lnTo>
                  <a:lnTo>
                    <a:pt x="76" y="68"/>
                  </a:lnTo>
                  <a:lnTo>
                    <a:pt x="80" y="64"/>
                  </a:lnTo>
                  <a:lnTo>
                    <a:pt x="80" y="68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8" y="76"/>
                  </a:lnTo>
                  <a:lnTo>
                    <a:pt x="92" y="76"/>
                  </a:lnTo>
                  <a:lnTo>
                    <a:pt x="95" y="80"/>
                  </a:lnTo>
                  <a:lnTo>
                    <a:pt x="99" y="80"/>
                  </a:lnTo>
                  <a:lnTo>
                    <a:pt x="99" y="84"/>
                  </a:lnTo>
                  <a:lnTo>
                    <a:pt x="99" y="88"/>
                  </a:lnTo>
                  <a:lnTo>
                    <a:pt x="103" y="88"/>
                  </a:lnTo>
                  <a:lnTo>
                    <a:pt x="107" y="92"/>
                  </a:lnTo>
                  <a:lnTo>
                    <a:pt x="107" y="96"/>
                  </a:lnTo>
                  <a:lnTo>
                    <a:pt x="111" y="96"/>
                  </a:lnTo>
                  <a:lnTo>
                    <a:pt x="115" y="96"/>
                  </a:lnTo>
                  <a:lnTo>
                    <a:pt x="115" y="92"/>
                  </a:lnTo>
                  <a:lnTo>
                    <a:pt x="119" y="96"/>
                  </a:lnTo>
                  <a:lnTo>
                    <a:pt x="115" y="96"/>
                  </a:lnTo>
                  <a:lnTo>
                    <a:pt x="119" y="96"/>
                  </a:lnTo>
                  <a:lnTo>
                    <a:pt x="119" y="92"/>
                  </a:lnTo>
                  <a:lnTo>
                    <a:pt x="119" y="84"/>
                  </a:lnTo>
                  <a:lnTo>
                    <a:pt x="119" y="80"/>
                  </a:lnTo>
                  <a:lnTo>
                    <a:pt x="119" y="76"/>
                  </a:lnTo>
                  <a:lnTo>
                    <a:pt x="119" y="72"/>
                  </a:lnTo>
                  <a:lnTo>
                    <a:pt x="115" y="76"/>
                  </a:lnTo>
                  <a:lnTo>
                    <a:pt x="115" y="80"/>
                  </a:lnTo>
                  <a:lnTo>
                    <a:pt x="111" y="76"/>
                  </a:lnTo>
                  <a:lnTo>
                    <a:pt x="107" y="76"/>
                  </a:lnTo>
                  <a:lnTo>
                    <a:pt x="103" y="72"/>
                  </a:lnTo>
                  <a:lnTo>
                    <a:pt x="103" y="68"/>
                  </a:lnTo>
                  <a:lnTo>
                    <a:pt x="99" y="68"/>
                  </a:lnTo>
                  <a:lnTo>
                    <a:pt x="99" y="64"/>
                  </a:lnTo>
                  <a:lnTo>
                    <a:pt x="99" y="60"/>
                  </a:lnTo>
                  <a:lnTo>
                    <a:pt x="99" y="56"/>
                  </a:lnTo>
                  <a:lnTo>
                    <a:pt x="99" y="52"/>
                  </a:lnTo>
                  <a:lnTo>
                    <a:pt x="99" y="48"/>
                  </a:lnTo>
                  <a:lnTo>
                    <a:pt x="103" y="48"/>
                  </a:lnTo>
                  <a:lnTo>
                    <a:pt x="103" y="44"/>
                  </a:lnTo>
                  <a:lnTo>
                    <a:pt x="103" y="40"/>
                  </a:lnTo>
                  <a:lnTo>
                    <a:pt x="103" y="36"/>
                  </a:lnTo>
                  <a:lnTo>
                    <a:pt x="103" y="32"/>
                  </a:lnTo>
                  <a:lnTo>
                    <a:pt x="103" y="28"/>
                  </a:lnTo>
                  <a:lnTo>
                    <a:pt x="99" y="24"/>
                  </a:lnTo>
                  <a:lnTo>
                    <a:pt x="99" y="20"/>
                  </a:lnTo>
                  <a:lnTo>
                    <a:pt x="103" y="16"/>
                  </a:lnTo>
                  <a:lnTo>
                    <a:pt x="103" y="12"/>
                  </a:lnTo>
                  <a:lnTo>
                    <a:pt x="107" y="12"/>
                  </a:lnTo>
                  <a:lnTo>
                    <a:pt x="107" y="8"/>
                  </a:lnTo>
                  <a:lnTo>
                    <a:pt x="107" y="4"/>
                  </a:lnTo>
                  <a:lnTo>
                    <a:pt x="111" y="4"/>
                  </a:lnTo>
                  <a:lnTo>
                    <a:pt x="115" y="4"/>
                  </a:lnTo>
                  <a:lnTo>
                    <a:pt x="123" y="4"/>
                  </a:lnTo>
                  <a:lnTo>
                    <a:pt x="127" y="0"/>
                  </a:lnTo>
                  <a:lnTo>
                    <a:pt x="131" y="0"/>
                  </a:lnTo>
                  <a:lnTo>
                    <a:pt x="135" y="0"/>
                  </a:lnTo>
                  <a:lnTo>
                    <a:pt x="135" y="4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43" y="8"/>
                  </a:lnTo>
                  <a:lnTo>
                    <a:pt x="147" y="12"/>
                  </a:lnTo>
                  <a:lnTo>
                    <a:pt x="151" y="12"/>
                  </a:lnTo>
                  <a:lnTo>
                    <a:pt x="151" y="16"/>
                  </a:lnTo>
                  <a:lnTo>
                    <a:pt x="155" y="16"/>
                  </a:lnTo>
                  <a:lnTo>
                    <a:pt x="159" y="16"/>
                  </a:lnTo>
                  <a:lnTo>
                    <a:pt x="159" y="20"/>
                  </a:lnTo>
                  <a:lnTo>
                    <a:pt x="163" y="20"/>
                  </a:lnTo>
                  <a:lnTo>
                    <a:pt x="167" y="24"/>
                  </a:lnTo>
                  <a:lnTo>
                    <a:pt x="167" y="28"/>
                  </a:lnTo>
                  <a:lnTo>
                    <a:pt x="171" y="28"/>
                  </a:lnTo>
                  <a:lnTo>
                    <a:pt x="171" y="32"/>
                  </a:lnTo>
                  <a:lnTo>
                    <a:pt x="175" y="32"/>
                  </a:lnTo>
                  <a:lnTo>
                    <a:pt x="171" y="32"/>
                  </a:lnTo>
                  <a:lnTo>
                    <a:pt x="171" y="36"/>
                  </a:lnTo>
                  <a:lnTo>
                    <a:pt x="175" y="36"/>
                  </a:lnTo>
                  <a:lnTo>
                    <a:pt x="175" y="40"/>
                  </a:lnTo>
                  <a:lnTo>
                    <a:pt x="179" y="44"/>
                  </a:lnTo>
                  <a:lnTo>
                    <a:pt x="175" y="48"/>
                  </a:lnTo>
                  <a:lnTo>
                    <a:pt x="171" y="48"/>
                  </a:lnTo>
                  <a:lnTo>
                    <a:pt x="171" y="52"/>
                  </a:lnTo>
                  <a:lnTo>
                    <a:pt x="175" y="52"/>
                  </a:lnTo>
                  <a:lnTo>
                    <a:pt x="175" y="56"/>
                  </a:lnTo>
                  <a:lnTo>
                    <a:pt x="171" y="60"/>
                  </a:lnTo>
                  <a:lnTo>
                    <a:pt x="171" y="64"/>
                  </a:lnTo>
                  <a:lnTo>
                    <a:pt x="171" y="68"/>
                  </a:lnTo>
                  <a:lnTo>
                    <a:pt x="171" y="72"/>
                  </a:lnTo>
                  <a:lnTo>
                    <a:pt x="175" y="76"/>
                  </a:lnTo>
                  <a:lnTo>
                    <a:pt x="175" y="80"/>
                  </a:lnTo>
                  <a:lnTo>
                    <a:pt x="171" y="80"/>
                  </a:lnTo>
                  <a:lnTo>
                    <a:pt x="167" y="80"/>
                  </a:lnTo>
                  <a:lnTo>
                    <a:pt x="167" y="84"/>
                  </a:lnTo>
                  <a:lnTo>
                    <a:pt x="167" y="88"/>
                  </a:lnTo>
                  <a:lnTo>
                    <a:pt x="167" y="92"/>
                  </a:lnTo>
                  <a:lnTo>
                    <a:pt x="167" y="96"/>
                  </a:lnTo>
                  <a:lnTo>
                    <a:pt x="167" y="100"/>
                  </a:lnTo>
                  <a:lnTo>
                    <a:pt x="163" y="100"/>
                  </a:lnTo>
                  <a:lnTo>
                    <a:pt x="167" y="104"/>
                  </a:lnTo>
                  <a:lnTo>
                    <a:pt x="167" y="108"/>
                  </a:lnTo>
                  <a:lnTo>
                    <a:pt x="171" y="108"/>
                  </a:lnTo>
                  <a:lnTo>
                    <a:pt x="167" y="108"/>
                  </a:lnTo>
                  <a:lnTo>
                    <a:pt x="159" y="112"/>
                  </a:lnTo>
                  <a:lnTo>
                    <a:pt x="155" y="116"/>
                  </a:lnTo>
                  <a:lnTo>
                    <a:pt x="151" y="116"/>
                  </a:lnTo>
                  <a:lnTo>
                    <a:pt x="147" y="116"/>
                  </a:lnTo>
                  <a:lnTo>
                    <a:pt x="147" y="120"/>
                  </a:lnTo>
                  <a:lnTo>
                    <a:pt x="143" y="120"/>
                  </a:lnTo>
                  <a:lnTo>
                    <a:pt x="139" y="120"/>
                  </a:lnTo>
                  <a:lnTo>
                    <a:pt x="135" y="120"/>
                  </a:lnTo>
                  <a:lnTo>
                    <a:pt x="135" y="124"/>
                  </a:lnTo>
                  <a:lnTo>
                    <a:pt x="131" y="124"/>
                  </a:lnTo>
                  <a:lnTo>
                    <a:pt x="127" y="124"/>
                  </a:lnTo>
                  <a:lnTo>
                    <a:pt x="127" y="1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0" name="Freeform 168"/>
            <p:cNvSpPr>
              <a:spLocks/>
            </p:cNvSpPr>
            <p:nvPr>
              <p:custDataLst>
                <p:tags r:id="rId363"/>
              </p:custDataLst>
            </p:nvPr>
          </p:nvSpPr>
          <p:spPr bwMode="gray">
            <a:xfrm>
              <a:off x="4944075" y="5018627"/>
              <a:ext cx="176484" cy="195764"/>
            </a:xfrm>
            <a:custGeom>
              <a:avLst/>
              <a:gdLst/>
              <a:ahLst/>
              <a:cxnLst>
                <a:cxn ang="0">
                  <a:pos x="95" y="124"/>
                </a:cxn>
                <a:cxn ang="0">
                  <a:pos x="91" y="128"/>
                </a:cxn>
                <a:cxn ang="0">
                  <a:pos x="87" y="128"/>
                </a:cxn>
                <a:cxn ang="0">
                  <a:pos x="79" y="128"/>
                </a:cxn>
                <a:cxn ang="0">
                  <a:pos x="75" y="128"/>
                </a:cxn>
                <a:cxn ang="0">
                  <a:pos x="67" y="124"/>
                </a:cxn>
                <a:cxn ang="0">
                  <a:pos x="59" y="124"/>
                </a:cxn>
                <a:cxn ang="0">
                  <a:pos x="55" y="124"/>
                </a:cxn>
                <a:cxn ang="0">
                  <a:pos x="55" y="120"/>
                </a:cxn>
                <a:cxn ang="0">
                  <a:pos x="55" y="116"/>
                </a:cxn>
                <a:cxn ang="0">
                  <a:pos x="47" y="116"/>
                </a:cxn>
                <a:cxn ang="0">
                  <a:pos x="43" y="116"/>
                </a:cxn>
                <a:cxn ang="0">
                  <a:pos x="40" y="112"/>
                </a:cxn>
                <a:cxn ang="0">
                  <a:pos x="36" y="104"/>
                </a:cxn>
                <a:cxn ang="0">
                  <a:pos x="36" y="100"/>
                </a:cxn>
                <a:cxn ang="0">
                  <a:pos x="32" y="92"/>
                </a:cxn>
                <a:cxn ang="0">
                  <a:pos x="32" y="92"/>
                </a:cxn>
                <a:cxn ang="0">
                  <a:pos x="28" y="84"/>
                </a:cxn>
                <a:cxn ang="0">
                  <a:pos x="20" y="80"/>
                </a:cxn>
                <a:cxn ang="0">
                  <a:pos x="16" y="76"/>
                </a:cxn>
                <a:cxn ang="0">
                  <a:pos x="12" y="72"/>
                </a:cxn>
                <a:cxn ang="0">
                  <a:pos x="12" y="64"/>
                </a:cxn>
                <a:cxn ang="0">
                  <a:pos x="8" y="56"/>
                </a:cxn>
                <a:cxn ang="0">
                  <a:pos x="4" y="52"/>
                </a:cxn>
                <a:cxn ang="0">
                  <a:pos x="0" y="48"/>
                </a:cxn>
                <a:cxn ang="0">
                  <a:pos x="0" y="44"/>
                </a:cxn>
                <a:cxn ang="0">
                  <a:pos x="4" y="44"/>
                </a:cxn>
                <a:cxn ang="0">
                  <a:pos x="12" y="48"/>
                </a:cxn>
                <a:cxn ang="0">
                  <a:pos x="16" y="44"/>
                </a:cxn>
                <a:cxn ang="0">
                  <a:pos x="24" y="48"/>
                </a:cxn>
                <a:cxn ang="0">
                  <a:pos x="28" y="44"/>
                </a:cxn>
                <a:cxn ang="0">
                  <a:pos x="40" y="28"/>
                </a:cxn>
                <a:cxn ang="0">
                  <a:pos x="51" y="20"/>
                </a:cxn>
                <a:cxn ang="0">
                  <a:pos x="51" y="12"/>
                </a:cxn>
                <a:cxn ang="0">
                  <a:pos x="55" y="8"/>
                </a:cxn>
                <a:cxn ang="0">
                  <a:pos x="67" y="4"/>
                </a:cxn>
                <a:cxn ang="0">
                  <a:pos x="75" y="4"/>
                </a:cxn>
                <a:cxn ang="0">
                  <a:pos x="83" y="8"/>
                </a:cxn>
                <a:cxn ang="0">
                  <a:pos x="91" y="12"/>
                </a:cxn>
                <a:cxn ang="0">
                  <a:pos x="95" y="12"/>
                </a:cxn>
                <a:cxn ang="0">
                  <a:pos x="103" y="16"/>
                </a:cxn>
                <a:cxn ang="0">
                  <a:pos x="107" y="16"/>
                </a:cxn>
                <a:cxn ang="0">
                  <a:pos x="111" y="24"/>
                </a:cxn>
                <a:cxn ang="0">
                  <a:pos x="115" y="24"/>
                </a:cxn>
                <a:cxn ang="0">
                  <a:pos x="115" y="28"/>
                </a:cxn>
                <a:cxn ang="0">
                  <a:pos x="115" y="32"/>
                </a:cxn>
                <a:cxn ang="0">
                  <a:pos x="115" y="36"/>
                </a:cxn>
                <a:cxn ang="0">
                  <a:pos x="115" y="44"/>
                </a:cxn>
                <a:cxn ang="0">
                  <a:pos x="115" y="48"/>
                </a:cxn>
                <a:cxn ang="0">
                  <a:pos x="115" y="56"/>
                </a:cxn>
                <a:cxn ang="0">
                  <a:pos x="115" y="60"/>
                </a:cxn>
                <a:cxn ang="0">
                  <a:pos x="111" y="60"/>
                </a:cxn>
                <a:cxn ang="0">
                  <a:pos x="115" y="64"/>
                </a:cxn>
                <a:cxn ang="0">
                  <a:pos x="115" y="76"/>
                </a:cxn>
                <a:cxn ang="0">
                  <a:pos x="115" y="84"/>
                </a:cxn>
                <a:cxn ang="0">
                  <a:pos x="111" y="92"/>
                </a:cxn>
                <a:cxn ang="0">
                  <a:pos x="107" y="100"/>
                </a:cxn>
                <a:cxn ang="0">
                  <a:pos x="107" y="108"/>
                </a:cxn>
              </a:cxnLst>
              <a:rect l="0" t="0" r="r" b="b"/>
              <a:pathLst>
                <a:path w="119" h="132">
                  <a:moveTo>
                    <a:pt x="107" y="108"/>
                  </a:moveTo>
                  <a:lnTo>
                    <a:pt x="107" y="108"/>
                  </a:lnTo>
                  <a:lnTo>
                    <a:pt x="107" y="108"/>
                  </a:lnTo>
                  <a:lnTo>
                    <a:pt x="107" y="108"/>
                  </a:lnTo>
                  <a:lnTo>
                    <a:pt x="99" y="120"/>
                  </a:lnTo>
                  <a:lnTo>
                    <a:pt x="95" y="124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91" y="132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5" y="128"/>
                  </a:lnTo>
                  <a:lnTo>
                    <a:pt x="75" y="128"/>
                  </a:lnTo>
                  <a:lnTo>
                    <a:pt x="75" y="128"/>
                  </a:lnTo>
                  <a:lnTo>
                    <a:pt x="71" y="128"/>
                  </a:lnTo>
                  <a:lnTo>
                    <a:pt x="71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3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1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0" y="116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4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28" y="88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7" y="20"/>
                  </a:lnTo>
                  <a:lnTo>
                    <a:pt x="51" y="20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2"/>
                  </a:lnTo>
                  <a:lnTo>
                    <a:pt x="55" y="12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9" y="4"/>
                  </a:lnTo>
                  <a:lnTo>
                    <a:pt x="59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0"/>
                  </a:lnTo>
                  <a:lnTo>
                    <a:pt x="71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8"/>
                  </a:lnTo>
                  <a:lnTo>
                    <a:pt x="83" y="8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91" y="8"/>
                  </a:lnTo>
                  <a:lnTo>
                    <a:pt x="91" y="8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20"/>
                  </a:lnTo>
                  <a:lnTo>
                    <a:pt x="111" y="20"/>
                  </a:lnTo>
                  <a:lnTo>
                    <a:pt x="111" y="20"/>
                  </a:lnTo>
                  <a:lnTo>
                    <a:pt x="111" y="24"/>
                  </a:lnTo>
                  <a:lnTo>
                    <a:pt x="111" y="24"/>
                  </a:lnTo>
                  <a:lnTo>
                    <a:pt x="111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8"/>
                  </a:lnTo>
                  <a:lnTo>
                    <a:pt x="115" y="28"/>
                  </a:lnTo>
                  <a:lnTo>
                    <a:pt x="115" y="28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4"/>
                  </a:lnTo>
                  <a:lnTo>
                    <a:pt x="115" y="44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9" y="52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1" y="60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5" y="64"/>
                  </a:lnTo>
                  <a:lnTo>
                    <a:pt x="115" y="68"/>
                  </a:lnTo>
                  <a:lnTo>
                    <a:pt x="115" y="72"/>
                  </a:lnTo>
                  <a:lnTo>
                    <a:pt x="115" y="72"/>
                  </a:lnTo>
                  <a:lnTo>
                    <a:pt x="111" y="72"/>
                  </a:lnTo>
                  <a:lnTo>
                    <a:pt x="111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80"/>
                  </a:lnTo>
                  <a:lnTo>
                    <a:pt x="115" y="80"/>
                  </a:lnTo>
                  <a:lnTo>
                    <a:pt x="115" y="84"/>
                  </a:lnTo>
                  <a:lnTo>
                    <a:pt x="115" y="84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1" y="92"/>
                  </a:lnTo>
                  <a:lnTo>
                    <a:pt x="111" y="96"/>
                  </a:lnTo>
                  <a:lnTo>
                    <a:pt x="111" y="96"/>
                  </a:lnTo>
                  <a:lnTo>
                    <a:pt x="107" y="96"/>
                  </a:lnTo>
                  <a:lnTo>
                    <a:pt x="107" y="96"/>
                  </a:lnTo>
                  <a:lnTo>
                    <a:pt x="107" y="100"/>
                  </a:lnTo>
                  <a:lnTo>
                    <a:pt x="107" y="100"/>
                  </a:lnTo>
                  <a:lnTo>
                    <a:pt x="107" y="100"/>
                  </a:lnTo>
                  <a:lnTo>
                    <a:pt x="107" y="104"/>
                  </a:lnTo>
                  <a:lnTo>
                    <a:pt x="107" y="104"/>
                  </a:lnTo>
                  <a:lnTo>
                    <a:pt x="107" y="104"/>
                  </a:lnTo>
                  <a:lnTo>
                    <a:pt x="107" y="108"/>
                  </a:lnTo>
                  <a:lnTo>
                    <a:pt x="107" y="108"/>
                  </a:lnTo>
                  <a:lnTo>
                    <a:pt x="107" y="10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1" name="Freeform 169"/>
            <p:cNvSpPr>
              <a:spLocks noEditPoints="1"/>
            </p:cNvSpPr>
            <p:nvPr>
              <p:custDataLst>
                <p:tags r:id="rId364"/>
              </p:custDataLst>
            </p:nvPr>
          </p:nvSpPr>
          <p:spPr bwMode="gray">
            <a:xfrm>
              <a:off x="2725411" y="5190663"/>
              <a:ext cx="443436" cy="1023314"/>
            </a:xfrm>
            <a:custGeom>
              <a:avLst/>
              <a:gdLst/>
              <a:ahLst/>
              <a:cxnLst>
                <a:cxn ang="0">
                  <a:pos x="28" y="351"/>
                </a:cxn>
                <a:cxn ang="0">
                  <a:pos x="40" y="327"/>
                </a:cxn>
                <a:cxn ang="0">
                  <a:pos x="40" y="291"/>
                </a:cxn>
                <a:cxn ang="0">
                  <a:pos x="48" y="259"/>
                </a:cxn>
                <a:cxn ang="0">
                  <a:pos x="56" y="223"/>
                </a:cxn>
                <a:cxn ang="0">
                  <a:pos x="44" y="187"/>
                </a:cxn>
                <a:cxn ang="0">
                  <a:pos x="56" y="155"/>
                </a:cxn>
                <a:cxn ang="0">
                  <a:pos x="64" y="123"/>
                </a:cxn>
                <a:cxn ang="0">
                  <a:pos x="76" y="91"/>
                </a:cxn>
                <a:cxn ang="0">
                  <a:pos x="80" y="52"/>
                </a:cxn>
                <a:cxn ang="0">
                  <a:pos x="96" y="24"/>
                </a:cxn>
                <a:cxn ang="0">
                  <a:pos x="112" y="4"/>
                </a:cxn>
                <a:cxn ang="0">
                  <a:pos x="139" y="24"/>
                </a:cxn>
                <a:cxn ang="0">
                  <a:pos x="167" y="12"/>
                </a:cxn>
                <a:cxn ang="0">
                  <a:pos x="187" y="40"/>
                </a:cxn>
                <a:cxn ang="0">
                  <a:pos x="223" y="60"/>
                </a:cxn>
                <a:cxn ang="0">
                  <a:pos x="235" y="84"/>
                </a:cxn>
                <a:cxn ang="0">
                  <a:pos x="239" y="107"/>
                </a:cxn>
                <a:cxn ang="0">
                  <a:pos x="271" y="107"/>
                </a:cxn>
                <a:cxn ang="0">
                  <a:pos x="291" y="76"/>
                </a:cxn>
                <a:cxn ang="0">
                  <a:pos x="295" y="103"/>
                </a:cxn>
                <a:cxn ang="0">
                  <a:pos x="267" y="123"/>
                </a:cxn>
                <a:cxn ang="0">
                  <a:pos x="255" y="147"/>
                </a:cxn>
                <a:cxn ang="0">
                  <a:pos x="235" y="183"/>
                </a:cxn>
                <a:cxn ang="0">
                  <a:pos x="231" y="215"/>
                </a:cxn>
                <a:cxn ang="0">
                  <a:pos x="231" y="251"/>
                </a:cxn>
                <a:cxn ang="0">
                  <a:pos x="247" y="283"/>
                </a:cxn>
                <a:cxn ang="0">
                  <a:pos x="243" y="315"/>
                </a:cxn>
                <a:cxn ang="0">
                  <a:pos x="207" y="339"/>
                </a:cxn>
                <a:cxn ang="0">
                  <a:pos x="167" y="335"/>
                </a:cxn>
                <a:cxn ang="0">
                  <a:pos x="171" y="355"/>
                </a:cxn>
                <a:cxn ang="0">
                  <a:pos x="163" y="383"/>
                </a:cxn>
                <a:cxn ang="0">
                  <a:pos x="131" y="375"/>
                </a:cxn>
                <a:cxn ang="0">
                  <a:pos x="135" y="407"/>
                </a:cxn>
                <a:cxn ang="0">
                  <a:pos x="151" y="415"/>
                </a:cxn>
                <a:cxn ang="0">
                  <a:pos x="135" y="423"/>
                </a:cxn>
                <a:cxn ang="0">
                  <a:pos x="127" y="443"/>
                </a:cxn>
                <a:cxn ang="0">
                  <a:pos x="104" y="471"/>
                </a:cxn>
                <a:cxn ang="0">
                  <a:pos x="92" y="503"/>
                </a:cxn>
                <a:cxn ang="0">
                  <a:pos x="116" y="526"/>
                </a:cxn>
                <a:cxn ang="0">
                  <a:pos x="96" y="546"/>
                </a:cxn>
                <a:cxn ang="0">
                  <a:pos x="88" y="574"/>
                </a:cxn>
                <a:cxn ang="0">
                  <a:pos x="80" y="578"/>
                </a:cxn>
                <a:cxn ang="0">
                  <a:pos x="68" y="606"/>
                </a:cxn>
                <a:cxn ang="0">
                  <a:pos x="76" y="626"/>
                </a:cxn>
                <a:cxn ang="0">
                  <a:pos x="36" y="622"/>
                </a:cxn>
                <a:cxn ang="0">
                  <a:pos x="16" y="590"/>
                </a:cxn>
                <a:cxn ang="0">
                  <a:pos x="0" y="574"/>
                </a:cxn>
                <a:cxn ang="0">
                  <a:pos x="16" y="550"/>
                </a:cxn>
                <a:cxn ang="0">
                  <a:pos x="20" y="523"/>
                </a:cxn>
                <a:cxn ang="0">
                  <a:pos x="28" y="491"/>
                </a:cxn>
                <a:cxn ang="0">
                  <a:pos x="24" y="463"/>
                </a:cxn>
                <a:cxn ang="0">
                  <a:pos x="24" y="447"/>
                </a:cxn>
                <a:cxn ang="0">
                  <a:pos x="20" y="423"/>
                </a:cxn>
                <a:cxn ang="0">
                  <a:pos x="24" y="391"/>
                </a:cxn>
                <a:cxn ang="0">
                  <a:pos x="80" y="642"/>
                </a:cxn>
                <a:cxn ang="0">
                  <a:pos x="92" y="666"/>
                </a:cxn>
                <a:cxn ang="0">
                  <a:pos x="124" y="686"/>
                </a:cxn>
                <a:cxn ang="0">
                  <a:pos x="84" y="686"/>
                </a:cxn>
                <a:cxn ang="0">
                  <a:pos x="76" y="634"/>
                </a:cxn>
                <a:cxn ang="0">
                  <a:pos x="143" y="682"/>
                </a:cxn>
              </a:cxnLst>
              <a:rect l="0" t="0" r="r" b="b"/>
              <a:pathLst>
                <a:path w="299" h="690">
                  <a:moveTo>
                    <a:pt x="24" y="383"/>
                  </a:moveTo>
                  <a:lnTo>
                    <a:pt x="24" y="379"/>
                  </a:lnTo>
                  <a:lnTo>
                    <a:pt x="24" y="375"/>
                  </a:lnTo>
                  <a:lnTo>
                    <a:pt x="24" y="371"/>
                  </a:lnTo>
                  <a:lnTo>
                    <a:pt x="28" y="371"/>
                  </a:lnTo>
                  <a:lnTo>
                    <a:pt x="28" y="367"/>
                  </a:lnTo>
                  <a:lnTo>
                    <a:pt x="24" y="367"/>
                  </a:lnTo>
                  <a:lnTo>
                    <a:pt x="28" y="363"/>
                  </a:lnTo>
                  <a:lnTo>
                    <a:pt x="28" y="359"/>
                  </a:lnTo>
                  <a:lnTo>
                    <a:pt x="28" y="355"/>
                  </a:lnTo>
                  <a:lnTo>
                    <a:pt x="28" y="351"/>
                  </a:lnTo>
                  <a:lnTo>
                    <a:pt x="28" y="355"/>
                  </a:lnTo>
                  <a:lnTo>
                    <a:pt x="32" y="355"/>
                  </a:lnTo>
                  <a:lnTo>
                    <a:pt x="32" y="351"/>
                  </a:lnTo>
                  <a:lnTo>
                    <a:pt x="32" y="347"/>
                  </a:lnTo>
                  <a:lnTo>
                    <a:pt x="32" y="343"/>
                  </a:lnTo>
                  <a:lnTo>
                    <a:pt x="32" y="339"/>
                  </a:lnTo>
                  <a:lnTo>
                    <a:pt x="36" y="339"/>
                  </a:lnTo>
                  <a:lnTo>
                    <a:pt x="36" y="335"/>
                  </a:lnTo>
                  <a:lnTo>
                    <a:pt x="40" y="335"/>
                  </a:lnTo>
                  <a:lnTo>
                    <a:pt x="40" y="331"/>
                  </a:lnTo>
                  <a:lnTo>
                    <a:pt x="40" y="327"/>
                  </a:lnTo>
                  <a:lnTo>
                    <a:pt x="40" y="323"/>
                  </a:lnTo>
                  <a:lnTo>
                    <a:pt x="36" y="319"/>
                  </a:lnTo>
                  <a:lnTo>
                    <a:pt x="36" y="315"/>
                  </a:lnTo>
                  <a:lnTo>
                    <a:pt x="36" y="311"/>
                  </a:lnTo>
                  <a:lnTo>
                    <a:pt x="36" y="307"/>
                  </a:lnTo>
                  <a:lnTo>
                    <a:pt x="36" y="303"/>
                  </a:lnTo>
                  <a:lnTo>
                    <a:pt x="36" y="299"/>
                  </a:lnTo>
                  <a:lnTo>
                    <a:pt x="36" y="295"/>
                  </a:lnTo>
                  <a:lnTo>
                    <a:pt x="36" y="291"/>
                  </a:lnTo>
                  <a:lnTo>
                    <a:pt x="40" y="287"/>
                  </a:lnTo>
                  <a:lnTo>
                    <a:pt x="40" y="291"/>
                  </a:lnTo>
                  <a:lnTo>
                    <a:pt x="44" y="287"/>
                  </a:lnTo>
                  <a:lnTo>
                    <a:pt x="44" y="283"/>
                  </a:lnTo>
                  <a:lnTo>
                    <a:pt x="48" y="283"/>
                  </a:lnTo>
                  <a:lnTo>
                    <a:pt x="48" y="279"/>
                  </a:lnTo>
                  <a:lnTo>
                    <a:pt x="48" y="275"/>
                  </a:lnTo>
                  <a:lnTo>
                    <a:pt x="48" y="271"/>
                  </a:lnTo>
                  <a:lnTo>
                    <a:pt x="48" y="267"/>
                  </a:lnTo>
                  <a:lnTo>
                    <a:pt x="44" y="267"/>
                  </a:lnTo>
                  <a:lnTo>
                    <a:pt x="44" y="263"/>
                  </a:lnTo>
                  <a:lnTo>
                    <a:pt x="48" y="263"/>
                  </a:lnTo>
                  <a:lnTo>
                    <a:pt x="48" y="259"/>
                  </a:lnTo>
                  <a:lnTo>
                    <a:pt x="48" y="255"/>
                  </a:lnTo>
                  <a:lnTo>
                    <a:pt x="48" y="251"/>
                  </a:lnTo>
                  <a:lnTo>
                    <a:pt x="52" y="251"/>
                  </a:lnTo>
                  <a:lnTo>
                    <a:pt x="52" y="247"/>
                  </a:lnTo>
                  <a:lnTo>
                    <a:pt x="52" y="243"/>
                  </a:lnTo>
                  <a:lnTo>
                    <a:pt x="56" y="243"/>
                  </a:lnTo>
                  <a:lnTo>
                    <a:pt x="56" y="239"/>
                  </a:lnTo>
                  <a:lnTo>
                    <a:pt x="56" y="235"/>
                  </a:lnTo>
                  <a:lnTo>
                    <a:pt x="56" y="231"/>
                  </a:lnTo>
                  <a:lnTo>
                    <a:pt x="56" y="227"/>
                  </a:lnTo>
                  <a:lnTo>
                    <a:pt x="56" y="223"/>
                  </a:lnTo>
                  <a:lnTo>
                    <a:pt x="52" y="223"/>
                  </a:lnTo>
                  <a:lnTo>
                    <a:pt x="52" y="219"/>
                  </a:lnTo>
                  <a:lnTo>
                    <a:pt x="52" y="215"/>
                  </a:lnTo>
                  <a:lnTo>
                    <a:pt x="52" y="211"/>
                  </a:lnTo>
                  <a:lnTo>
                    <a:pt x="52" y="207"/>
                  </a:lnTo>
                  <a:lnTo>
                    <a:pt x="48" y="207"/>
                  </a:lnTo>
                  <a:lnTo>
                    <a:pt x="48" y="203"/>
                  </a:lnTo>
                  <a:lnTo>
                    <a:pt x="48" y="199"/>
                  </a:lnTo>
                  <a:lnTo>
                    <a:pt x="48" y="195"/>
                  </a:lnTo>
                  <a:lnTo>
                    <a:pt x="44" y="191"/>
                  </a:lnTo>
                  <a:lnTo>
                    <a:pt x="44" y="187"/>
                  </a:lnTo>
                  <a:lnTo>
                    <a:pt x="44" y="183"/>
                  </a:lnTo>
                  <a:lnTo>
                    <a:pt x="48" y="183"/>
                  </a:lnTo>
                  <a:lnTo>
                    <a:pt x="48" y="179"/>
                  </a:lnTo>
                  <a:lnTo>
                    <a:pt x="48" y="175"/>
                  </a:lnTo>
                  <a:lnTo>
                    <a:pt x="48" y="171"/>
                  </a:lnTo>
                  <a:lnTo>
                    <a:pt x="52" y="171"/>
                  </a:lnTo>
                  <a:lnTo>
                    <a:pt x="52" y="167"/>
                  </a:lnTo>
                  <a:lnTo>
                    <a:pt x="56" y="167"/>
                  </a:lnTo>
                  <a:lnTo>
                    <a:pt x="56" y="163"/>
                  </a:lnTo>
                  <a:lnTo>
                    <a:pt x="56" y="159"/>
                  </a:lnTo>
                  <a:lnTo>
                    <a:pt x="56" y="155"/>
                  </a:lnTo>
                  <a:lnTo>
                    <a:pt x="52" y="151"/>
                  </a:lnTo>
                  <a:lnTo>
                    <a:pt x="56" y="151"/>
                  </a:lnTo>
                  <a:lnTo>
                    <a:pt x="52" y="151"/>
                  </a:lnTo>
                  <a:lnTo>
                    <a:pt x="52" y="147"/>
                  </a:lnTo>
                  <a:lnTo>
                    <a:pt x="56" y="143"/>
                  </a:lnTo>
                  <a:lnTo>
                    <a:pt x="56" y="139"/>
                  </a:lnTo>
                  <a:lnTo>
                    <a:pt x="56" y="135"/>
                  </a:lnTo>
                  <a:lnTo>
                    <a:pt x="56" y="131"/>
                  </a:lnTo>
                  <a:lnTo>
                    <a:pt x="60" y="131"/>
                  </a:lnTo>
                  <a:lnTo>
                    <a:pt x="60" y="127"/>
                  </a:lnTo>
                  <a:lnTo>
                    <a:pt x="64" y="123"/>
                  </a:lnTo>
                  <a:lnTo>
                    <a:pt x="64" y="119"/>
                  </a:lnTo>
                  <a:lnTo>
                    <a:pt x="68" y="119"/>
                  </a:lnTo>
                  <a:lnTo>
                    <a:pt x="68" y="115"/>
                  </a:lnTo>
                  <a:lnTo>
                    <a:pt x="68" y="111"/>
                  </a:lnTo>
                  <a:lnTo>
                    <a:pt x="72" y="107"/>
                  </a:lnTo>
                  <a:lnTo>
                    <a:pt x="72" y="103"/>
                  </a:lnTo>
                  <a:lnTo>
                    <a:pt x="76" y="103"/>
                  </a:lnTo>
                  <a:lnTo>
                    <a:pt x="80" y="103"/>
                  </a:lnTo>
                  <a:lnTo>
                    <a:pt x="80" y="99"/>
                  </a:lnTo>
                  <a:lnTo>
                    <a:pt x="76" y="95"/>
                  </a:lnTo>
                  <a:lnTo>
                    <a:pt x="76" y="91"/>
                  </a:lnTo>
                  <a:lnTo>
                    <a:pt x="76" y="88"/>
                  </a:lnTo>
                  <a:lnTo>
                    <a:pt x="76" y="84"/>
                  </a:lnTo>
                  <a:lnTo>
                    <a:pt x="76" y="80"/>
                  </a:lnTo>
                  <a:lnTo>
                    <a:pt x="76" y="76"/>
                  </a:lnTo>
                  <a:lnTo>
                    <a:pt x="76" y="72"/>
                  </a:lnTo>
                  <a:lnTo>
                    <a:pt x="76" y="68"/>
                  </a:lnTo>
                  <a:lnTo>
                    <a:pt x="80" y="64"/>
                  </a:lnTo>
                  <a:lnTo>
                    <a:pt x="76" y="60"/>
                  </a:lnTo>
                  <a:lnTo>
                    <a:pt x="76" y="56"/>
                  </a:lnTo>
                  <a:lnTo>
                    <a:pt x="76" y="52"/>
                  </a:lnTo>
                  <a:lnTo>
                    <a:pt x="80" y="52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92" y="48"/>
                  </a:lnTo>
                  <a:lnTo>
                    <a:pt x="92" y="44"/>
                  </a:lnTo>
                  <a:lnTo>
                    <a:pt x="96" y="40"/>
                  </a:lnTo>
                  <a:lnTo>
                    <a:pt x="96" y="36"/>
                  </a:lnTo>
                  <a:lnTo>
                    <a:pt x="96" y="32"/>
                  </a:lnTo>
                  <a:lnTo>
                    <a:pt x="96" y="28"/>
                  </a:lnTo>
                  <a:lnTo>
                    <a:pt x="100" y="28"/>
                  </a:lnTo>
                  <a:lnTo>
                    <a:pt x="100" y="24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100" y="20"/>
                  </a:lnTo>
                  <a:lnTo>
                    <a:pt x="100" y="16"/>
                  </a:lnTo>
                  <a:lnTo>
                    <a:pt x="104" y="16"/>
                  </a:lnTo>
                  <a:lnTo>
                    <a:pt x="104" y="12"/>
                  </a:lnTo>
                  <a:lnTo>
                    <a:pt x="104" y="8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2" y="0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20" y="8"/>
                  </a:lnTo>
                  <a:lnTo>
                    <a:pt x="127" y="8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5" y="12"/>
                  </a:lnTo>
                  <a:lnTo>
                    <a:pt x="135" y="16"/>
                  </a:lnTo>
                  <a:lnTo>
                    <a:pt x="135" y="20"/>
                  </a:lnTo>
                  <a:lnTo>
                    <a:pt x="139" y="20"/>
                  </a:lnTo>
                  <a:lnTo>
                    <a:pt x="139" y="24"/>
                  </a:lnTo>
                  <a:lnTo>
                    <a:pt x="139" y="20"/>
                  </a:lnTo>
                  <a:lnTo>
                    <a:pt x="139" y="16"/>
                  </a:lnTo>
                  <a:lnTo>
                    <a:pt x="143" y="12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51" y="8"/>
                  </a:lnTo>
                  <a:lnTo>
                    <a:pt x="155" y="8"/>
                  </a:lnTo>
                  <a:lnTo>
                    <a:pt x="159" y="8"/>
                  </a:lnTo>
                  <a:lnTo>
                    <a:pt x="163" y="8"/>
                  </a:lnTo>
                  <a:lnTo>
                    <a:pt x="163" y="12"/>
                  </a:lnTo>
                  <a:lnTo>
                    <a:pt x="167" y="12"/>
                  </a:lnTo>
                  <a:lnTo>
                    <a:pt x="167" y="16"/>
                  </a:lnTo>
                  <a:lnTo>
                    <a:pt x="171" y="16"/>
                  </a:lnTo>
                  <a:lnTo>
                    <a:pt x="171" y="20"/>
                  </a:lnTo>
                  <a:lnTo>
                    <a:pt x="175" y="24"/>
                  </a:lnTo>
                  <a:lnTo>
                    <a:pt x="175" y="28"/>
                  </a:lnTo>
                  <a:lnTo>
                    <a:pt x="179" y="28"/>
                  </a:lnTo>
                  <a:lnTo>
                    <a:pt x="179" y="32"/>
                  </a:lnTo>
                  <a:lnTo>
                    <a:pt x="183" y="32"/>
                  </a:lnTo>
                  <a:lnTo>
                    <a:pt x="183" y="36"/>
                  </a:lnTo>
                  <a:lnTo>
                    <a:pt x="187" y="36"/>
                  </a:lnTo>
                  <a:lnTo>
                    <a:pt x="187" y="40"/>
                  </a:lnTo>
                  <a:lnTo>
                    <a:pt x="191" y="40"/>
                  </a:lnTo>
                  <a:lnTo>
                    <a:pt x="195" y="40"/>
                  </a:lnTo>
                  <a:lnTo>
                    <a:pt x="195" y="44"/>
                  </a:lnTo>
                  <a:lnTo>
                    <a:pt x="199" y="44"/>
                  </a:lnTo>
                  <a:lnTo>
                    <a:pt x="203" y="44"/>
                  </a:lnTo>
                  <a:lnTo>
                    <a:pt x="211" y="48"/>
                  </a:lnTo>
                  <a:lnTo>
                    <a:pt x="211" y="52"/>
                  </a:lnTo>
                  <a:lnTo>
                    <a:pt x="215" y="52"/>
                  </a:lnTo>
                  <a:lnTo>
                    <a:pt x="215" y="56"/>
                  </a:lnTo>
                  <a:lnTo>
                    <a:pt x="219" y="56"/>
                  </a:lnTo>
                  <a:lnTo>
                    <a:pt x="223" y="60"/>
                  </a:lnTo>
                  <a:lnTo>
                    <a:pt x="227" y="60"/>
                  </a:lnTo>
                  <a:lnTo>
                    <a:pt x="231" y="64"/>
                  </a:lnTo>
                  <a:lnTo>
                    <a:pt x="235" y="64"/>
                  </a:lnTo>
                  <a:lnTo>
                    <a:pt x="239" y="68"/>
                  </a:lnTo>
                  <a:lnTo>
                    <a:pt x="239" y="72"/>
                  </a:lnTo>
                  <a:lnTo>
                    <a:pt x="243" y="72"/>
                  </a:lnTo>
                  <a:lnTo>
                    <a:pt x="243" y="76"/>
                  </a:lnTo>
                  <a:lnTo>
                    <a:pt x="239" y="76"/>
                  </a:lnTo>
                  <a:lnTo>
                    <a:pt x="239" y="80"/>
                  </a:lnTo>
                  <a:lnTo>
                    <a:pt x="235" y="80"/>
                  </a:lnTo>
                  <a:lnTo>
                    <a:pt x="235" y="84"/>
                  </a:lnTo>
                  <a:lnTo>
                    <a:pt x="231" y="88"/>
                  </a:lnTo>
                  <a:lnTo>
                    <a:pt x="231" y="91"/>
                  </a:lnTo>
                  <a:lnTo>
                    <a:pt x="231" y="95"/>
                  </a:lnTo>
                  <a:lnTo>
                    <a:pt x="231" y="99"/>
                  </a:lnTo>
                  <a:lnTo>
                    <a:pt x="227" y="99"/>
                  </a:lnTo>
                  <a:lnTo>
                    <a:pt x="227" y="103"/>
                  </a:lnTo>
                  <a:lnTo>
                    <a:pt x="223" y="103"/>
                  </a:lnTo>
                  <a:lnTo>
                    <a:pt x="227" y="107"/>
                  </a:lnTo>
                  <a:lnTo>
                    <a:pt x="231" y="107"/>
                  </a:lnTo>
                  <a:lnTo>
                    <a:pt x="235" y="107"/>
                  </a:lnTo>
                  <a:lnTo>
                    <a:pt x="239" y="107"/>
                  </a:lnTo>
                  <a:lnTo>
                    <a:pt x="243" y="111"/>
                  </a:lnTo>
                  <a:lnTo>
                    <a:pt x="247" y="111"/>
                  </a:lnTo>
                  <a:lnTo>
                    <a:pt x="251" y="111"/>
                  </a:lnTo>
                  <a:lnTo>
                    <a:pt x="255" y="111"/>
                  </a:lnTo>
                  <a:lnTo>
                    <a:pt x="259" y="111"/>
                  </a:lnTo>
                  <a:lnTo>
                    <a:pt x="259" y="107"/>
                  </a:lnTo>
                  <a:lnTo>
                    <a:pt x="263" y="107"/>
                  </a:lnTo>
                  <a:lnTo>
                    <a:pt x="267" y="107"/>
                  </a:lnTo>
                  <a:lnTo>
                    <a:pt x="267" y="111"/>
                  </a:lnTo>
                  <a:lnTo>
                    <a:pt x="271" y="111"/>
                  </a:lnTo>
                  <a:lnTo>
                    <a:pt x="271" y="107"/>
                  </a:lnTo>
                  <a:lnTo>
                    <a:pt x="271" y="103"/>
                  </a:lnTo>
                  <a:lnTo>
                    <a:pt x="275" y="99"/>
                  </a:lnTo>
                  <a:lnTo>
                    <a:pt x="279" y="99"/>
                  </a:lnTo>
                  <a:lnTo>
                    <a:pt x="279" y="95"/>
                  </a:lnTo>
                  <a:lnTo>
                    <a:pt x="283" y="95"/>
                  </a:lnTo>
                  <a:lnTo>
                    <a:pt x="283" y="91"/>
                  </a:lnTo>
                  <a:lnTo>
                    <a:pt x="287" y="88"/>
                  </a:lnTo>
                  <a:lnTo>
                    <a:pt x="287" y="84"/>
                  </a:lnTo>
                  <a:lnTo>
                    <a:pt x="287" y="80"/>
                  </a:lnTo>
                  <a:lnTo>
                    <a:pt x="287" y="76"/>
                  </a:lnTo>
                  <a:lnTo>
                    <a:pt x="291" y="76"/>
                  </a:lnTo>
                  <a:lnTo>
                    <a:pt x="291" y="72"/>
                  </a:lnTo>
                  <a:lnTo>
                    <a:pt x="295" y="72"/>
                  </a:lnTo>
                  <a:lnTo>
                    <a:pt x="299" y="76"/>
                  </a:lnTo>
                  <a:lnTo>
                    <a:pt x="299" y="80"/>
                  </a:lnTo>
                  <a:lnTo>
                    <a:pt x="299" y="84"/>
                  </a:lnTo>
                  <a:lnTo>
                    <a:pt x="299" y="88"/>
                  </a:lnTo>
                  <a:lnTo>
                    <a:pt x="299" y="91"/>
                  </a:lnTo>
                  <a:lnTo>
                    <a:pt x="299" y="95"/>
                  </a:lnTo>
                  <a:lnTo>
                    <a:pt x="299" y="99"/>
                  </a:lnTo>
                  <a:lnTo>
                    <a:pt x="299" y="103"/>
                  </a:lnTo>
                  <a:lnTo>
                    <a:pt x="295" y="103"/>
                  </a:lnTo>
                  <a:lnTo>
                    <a:pt x="295" y="107"/>
                  </a:lnTo>
                  <a:lnTo>
                    <a:pt x="291" y="107"/>
                  </a:lnTo>
                  <a:lnTo>
                    <a:pt x="291" y="111"/>
                  </a:lnTo>
                  <a:lnTo>
                    <a:pt x="287" y="111"/>
                  </a:lnTo>
                  <a:lnTo>
                    <a:pt x="283" y="111"/>
                  </a:lnTo>
                  <a:lnTo>
                    <a:pt x="283" y="115"/>
                  </a:lnTo>
                  <a:lnTo>
                    <a:pt x="279" y="119"/>
                  </a:lnTo>
                  <a:lnTo>
                    <a:pt x="275" y="119"/>
                  </a:lnTo>
                  <a:lnTo>
                    <a:pt x="275" y="123"/>
                  </a:lnTo>
                  <a:lnTo>
                    <a:pt x="271" y="123"/>
                  </a:lnTo>
                  <a:lnTo>
                    <a:pt x="267" y="123"/>
                  </a:lnTo>
                  <a:lnTo>
                    <a:pt x="267" y="127"/>
                  </a:lnTo>
                  <a:lnTo>
                    <a:pt x="271" y="127"/>
                  </a:lnTo>
                  <a:lnTo>
                    <a:pt x="267" y="127"/>
                  </a:lnTo>
                  <a:lnTo>
                    <a:pt x="267" y="131"/>
                  </a:lnTo>
                  <a:lnTo>
                    <a:pt x="263" y="131"/>
                  </a:lnTo>
                  <a:lnTo>
                    <a:pt x="263" y="135"/>
                  </a:lnTo>
                  <a:lnTo>
                    <a:pt x="259" y="135"/>
                  </a:lnTo>
                  <a:lnTo>
                    <a:pt x="259" y="139"/>
                  </a:lnTo>
                  <a:lnTo>
                    <a:pt x="259" y="143"/>
                  </a:lnTo>
                  <a:lnTo>
                    <a:pt x="255" y="143"/>
                  </a:lnTo>
                  <a:lnTo>
                    <a:pt x="255" y="147"/>
                  </a:lnTo>
                  <a:lnTo>
                    <a:pt x="251" y="151"/>
                  </a:lnTo>
                  <a:lnTo>
                    <a:pt x="251" y="155"/>
                  </a:lnTo>
                  <a:lnTo>
                    <a:pt x="247" y="155"/>
                  </a:lnTo>
                  <a:lnTo>
                    <a:pt x="243" y="159"/>
                  </a:lnTo>
                  <a:lnTo>
                    <a:pt x="243" y="163"/>
                  </a:lnTo>
                  <a:lnTo>
                    <a:pt x="239" y="163"/>
                  </a:lnTo>
                  <a:lnTo>
                    <a:pt x="239" y="167"/>
                  </a:lnTo>
                  <a:lnTo>
                    <a:pt x="235" y="171"/>
                  </a:lnTo>
                  <a:lnTo>
                    <a:pt x="239" y="175"/>
                  </a:lnTo>
                  <a:lnTo>
                    <a:pt x="235" y="179"/>
                  </a:lnTo>
                  <a:lnTo>
                    <a:pt x="235" y="183"/>
                  </a:lnTo>
                  <a:lnTo>
                    <a:pt x="235" y="187"/>
                  </a:lnTo>
                  <a:lnTo>
                    <a:pt x="235" y="191"/>
                  </a:lnTo>
                  <a:lnTo>
                    <a:pt x="235" y="195"/>
                  </a:lnTo>
                  <a:lnTo>
                    <a:pt x="231" y="195"/>
                  </a:lnTo>
                  <a:lnTo>
                    <a:pt x="231" y="199"/>
                  </a:lnTo>
                  <a:lnTo>
                    <a:pt x="231" y="203"/>
                  </a:lnTo>
                  <a:lnTo>
                    <a:pt x="235" y="203"/>
                  </a:lnTo>
                  <a:lnTo>
                    <a:pt x="235" y="207"/>
                  </a:lnTo>
                  <a:lnTo>
                    <a:pt x="231" y="207"/>
                  </a:lnTo>
                  <a:lnTo>
                    <a:pt x="231" y="211"/>
                  </a:lnTo>
                  <a:lnTo>
                    <a:pt x="231" y="215"/>
                  </a:lnTo>
                  <a:lnTo>
                    <a:pt x="231" y="219"/>
                  </a:lnTo>
                  <a:lnTo>
                    <a:pt x="227" y="219"/>
                  </a:lnTo>
                  <a:lnTo>
                    <a:pt x="227" y="223"/>
                  </a:lnTo>
                  <a:lnTo>
                    <a:pt x="227" y="227"/>
                  </a:lnTo>
                  <a:lnTo>
                    <a:pt x="227" y="231"/>
                  </a:lnTo>
                  <a:lnTo>
                    <a:pt x="227" y="235"/>
                  </a:lnTo>
                  <a:lnTo>
                    <a:pt x="227" y="239"/>
                  </a:lnTo>
                  <a:lnTo>
                    <a:pt x="227" y="243"/>
                  </a:lnTo>
                  <a:lnTo>
                    <a:pt x="227" y="247"/>
                  </a:lnTo>
                  <a:lnTo>
                    <a:pt x="227" y="251"/>
                  </a:lnTo>
                  <a:lnTo>
                    <a:pt x="231" y="251"/>
                  </a:lnTo>
                  <a:lnTo>
                    <a:pt x="231" y="255"/>
                  </a:lnTo>
                  <a:lnTo>
                    <a:pt x="235" y="255"/>
                  </a:lnTo>
                  <a:lnTo>
                    <a:pt x="239" y="255"/>
                  </a:lnTo>
                  <a:lnTo>
                    <a:pt x="243" y="259"/>
                  </a:lnTo>
                  <a:lnTo>
                    <a:pt x="243" y="263"/>
                  </a:lnTo>
                  <a:lnTo>
                    <a:pt x="247" y="263"/>
                  </a:lnTo>
                  <a:lnTo>
                    <a:pt x="247" y="267"/>
                  </a:lnTo>
                  <a:lnTo>
                    <a:pt x="247" y="271"/>
                  </a:lnTo>
                  <a:lnTo>
                    <a:pt x="243" y="275"/>
                  </a:lnTo>
                  <a:lnTo>
                    <a:pt x="243" y="279"/>
                  </a:lnTo>
                  <a:lnTo>
                    <a:pt x="247" y="283"/>
                  </a:lnTo>
                  <a:lnTo>
                    <a:pt x="247" y="287"/>
                  </a:lnTo>
                  <a:lnTo>
                    <a:pt x="251" y="287"/>
                  </a:lnTo>
                  <a:lnTo>
                    <a:pt x="255" y="287"/>
                  </a:lnTo>
                  <a:lnTo>
                    <a:pt x="255" y="291"/>
                  </a:lnTo>
                  <a:lnTo>
                    <a:pt x="255" y="295"/>
                  </a:lnTo>
                  <a:lnTo>
                    <a:pt x="255" y="299"/>
                  </a:lnTo>
                  <a:lnTo>
                    <a:pt x="251" y="303"/>
                  </a:lnTo>
                  <a:lnTo>
                    <a:pt x="251" y="307"/>
                  </a:lnTo>
                  <a:lnTo>
                    <a:pt x="247" y="307"/>
                  </a:lnTo>
                  <a:lnTo>
                    <a:pt x="247" y="311"/>
                  </a:lnTo>
                  <a:lnTo>
                    <a:pt x="243" y="315"/>
                  </a:lnTo>
                  <a:lnTo>
                    <a:pt x="243" y="319"/>
                  </a:lnTo>
                  <a:lnTo>
                    <a:pt x="243" y="323"/>
                  </a:lnTo>
                  <a:lnTo>
                    <a:pt x="239" y="323"/>
                  </a:lnTo>
                  <a:lnTo>
                    <a:pt x="239" y="327"/>
                  </a:lnTo>
                  <a:lnTo>
                    <a:pt x="231" y="327"/>
                  </a:lnTo>
                  <a:lnTo>
                    <a:pt x="231" y="331"/>
                  </a:lnTo>
                  <a:lnTo>
                    <a:pt x="223" y="331"/>
                  </a:lnTo>
                  <a:lnTo>
                    <a:pt x="219" y="335"/>
                  </a:lnTo>
                  <a:lnTo>
                    <a:pt x="215" y="335"/>
                  </a:lnTo>
                  <a:lnTo>
                    <a:pt x="211" y="335"/>
                  </a:lnTo>
                  <a:lnTo>
                    <a:pt x="207" y="339"/>
                  </a:lnTo>
                  <a:lnTo>
                    <a:pt x="203" y="339"/>
                  </a:lnTo>
                  <a:lnTo>
                    <a:pt x="199" y="339"/>
                  </a:lnTo>
                  <a:lnTo>
                    <a:pt x="195" y="339"/>
                  </a:lnTo>
                  <a:lnTo>
                    <a:pt x="191" y="339"/>
                  </a:lnTo>
                  <a:lnTo>
                    <a:pt x="187" y="339"/>
                  </a:lnTo>
                  <a:lnTo>
                    <a:pt x="183" y="339"/>
                  </a:lnTo>
                  <a:lnTo>
                    <a:pt x="179" y="339"/>
                  </a:lnTo>
                  <a:lnTo>
                    <a:pt x="175" y="339"/>
                  </a:lnTo>
                  <a:lnTo>
                    <a:pt x="171" y="339"/>
                  </a:lnTo>
                  <a:lnTo>
                    <a:pt x="171" y="335"/>
                  </a:lnTo>
                  <a:lnTo>
                    <a:pt x="167" y="335"/>
                  </a:lnTo>
                  <a:lnTo>
                    <a:pt x="167" y="339"/>
                  </a:lnTo>
                  <a:lnTo>
                    <a:pt x="171" y="339"/>
                  </a:lnTo>
                  <a:lnTo>
                    <a:pt x="171" y="343"/>
                  </a:lnTo>
                  <a:lnTo>
                    <a:pt x="167" y="343"/>
                  </a:lnTo>
                  <a:lnTo>
                    <a:pt x="167" y="347"/>
                  </a:lnTo>
                  <a:lnTo>
                    <a:pt x="171" y="347"/>
                  </a:lnTo>
                  <a:lnTo>
                    <a:pt x="175" y="347"/>
                  </a:lnTo>
                  <a:lnTo>
                    <a:pt x="175" y="351"/>
                  </a:lnTo>
                  <a:lnTo>
                    <a:pt x="171" y="347"/>
                  </a:lnTo>
                  <a:lnTo>
                    <a:pt x="171" y="351"/>
                  </a:lnTo>
                  <a:lnTo>
                    <a:pt x="171" y="355"/>
                  </a:lnTo>
                  <a:lnTo>
                    <a:pt x="171" y="359"/>
                  </a:lnTo>
                  <a:lnTo>
                    <a:pt x="167" y="363"/>
                  </a:lnTo>
                  <a:lnTo>
                    <a:pt x="167" y="367"/>
                  </a:lnTo>
                  <a:lnTo>
                    <a:pt x="167" y="371"/>
                  </a:lnTo>
                  <a:lnTo>
                    <a:pt x="171" y="371"/>
                  </a:lnTo>
                  <a:lnTo>
                    <a:pt x="171" y="375"/>
                  </a:lnTo>
                  <a:lnTo>
                    <a:pt x="167" y="375"/>
                  </a:lnTo>
                  <a:lnTo>
                    <a:pt x="171" y="375"/>
                  </a:lnTo>
                  <a:lnTo>
                    <a:pt x="171" y="379"/>
                  </a:lnTo>
                  <a:lnTo>
                    <a:pt x="167" y="379"/>
                  </a:lnTo>
                  <a:lnTo>
                    <a:pt x="163" y="383"/>
                  </a:lnTo>
                  <a:lnTo>
                    <a:pt x="159" y="383"/>
                  </a:lnTo>
                  <a:lnTo>
                    <a:pt x="159" y="387"/>
                  </a:lnTo>
                  <a:lnTo>
                    <a:pt x="155" y="387"/>
                  </a:lnTo>
                  <a:lnTo>
                    <a:pt x="151" y="387"/>
                  </a:lnTo>
                  <a:lnTo>
                    <a:pt x="147" y="387"/>
                  </a:lnTo>
                  <a:lnTo>
                    <a:pt x="147" y="383"/>
                  </a:lnTo>
                  <a:lnTo>
                    <a:pt x="143" y="383"/>
                  </a:lnTo>
                  <a:lnTo>
                    <a:pt x="139" y="383"/>
                  </a:lnTo>
                  <a:lnTo>
                    <a:pt x="135" y="379"/>
                  </a:lnTo>
                  <a:lnTo>
                    <a:pt x="131" y="379"/>
                  </a:lnTo>
                  <a:lnTo>
                    <a:pt x="131" y="375"/>
                  </a:lnTo>
                  <a:lnTo>
                    <a:pt x="127" y="375"/>
                  </a:lnTo>
                  <a:lnTo>
                    <a:pt x="127" y="379"/>
                  </a:lnTo>
                  <a:lnTo>
                    <a:pt x="127" y="383"/>
                  </a:lnTo>
                  <a:lnTo>
                    <a:pt x="127" y="387"/>
                  </a:lnTo>
                  <a:lnTo>
                    <a:pt x="127" y="391"/>
                  </a:lnTo>
                  <a:lnTo>
                    <a:pt x="127" y="395"/>
                  </a:lnTo>
                  <a:lnTo>
                    <a:pt x="127" y="399"/>
                  </a:lnTo>
                  <a:lnTo>
                    <a:pt x="127" y="403"/>
                  </a:lnTo>
                  <a:lnTo>
                    <a:pt x="127" y="407"/>
                  </a:lnTo>
                  <a:lnTo>
                    <a:pt x="131" y="407"/>
                  </a:lnTo>
                  <a:lnTo>
                    <a:pt x="135" y="407"/>
                  </a:lnTo>
                  <a:lnTo>
                    <a:pt x="135" y="411"/>
                  </a:lnTo>
                  <a:lnTo>
                    <a:pt x="143" y="411"/>
                  </a:lnTo>
                  <a:lnTo>
                    <a:pt x="143" y="407"/>
                  </a:lnTo>
                  <a:lnTo>
                    <a:pt x="139" y="407"/>
                  </a:lnTo>
                  <a:lnTo>
                    <a:pt x="143" y="407"/>
                  </a:lnTo>
                  <a:lnTo>
                    <a:pt x="147" y="407"/>
                  </a:lnTo>
                  <a:lnTo>
                    <a:pt x="147" y="403"/>
                  </a:lnTo>
                  <a:lnTo>
                    <a:pt x="147" y="407"/>
                  </a:lnTo>
                  <a:lnTo>
                    <a:pt x="151" y="407"/>
                  </a:lnTo>
                  <a:lnTo>
                    <a:pt x="151" y="411"/>
                  </a:lnTo>
                  <a:lnTo>
                    <a:pt x="151" y="415"/>
                  </a:lnTo>
                  <a:lnTo>
                    <a:pt x="151" y="419"/>
                  </a:lnTo>
                  <a:lnTo>
                    <a:pt x="147" y="419"/>
                  </a:lnTo>
                  <a:lnTo>
                    <a:pt x="143" y="423"/>
                  </a:lnTo>
                  <a:lnTo>
                    <a:pt x="139" y="419"/>
                  </a:lnTo>
                  <a:lnTo>
                    <a:pt x="139" y="415"/>
                  </a:lnTo>
                  <a:lnTo>
                    <a:pt x="135" y="415"/>
                  </a:lnTo>
                  <a:lnTo>
                    <a:pt x="131" y="415"/>
                  </a:lnTo>
                  <a:lnTo>
                    <a:pt x="127" y="419"/>
                  </a:lnTo>
                  <a:lnTo>
                    <a:pt x="131" y="419"/>
                  </a:lnTo>
                  <a:lnTo>
                    <a:pt x="131" y="423"/>
                  </a:lnTo>
                  <a:lnTo>
                    <a:pt x="135" y="423"/>
                  </a:lnTo>
                  <a:lnTo>
                    <a:pt x="139" y="423"/>
                  </a:lnTo>
                  <a:lnTo>
                    <a:pt x="139" y="427"/>
                  </a:lnTo>
                  <a:lnTo>
                    <a:pt x="135" y="427"/>
                  </a:lnTo>
                  <a:lnTo>
                    <a:pt x="131" y="427"/>
                  </a:lnTo>
                  <a:lnTo>
                    <a:pt x="131" y="431"/>
                  </a:lnTo>
                  <a:lnTo>
                    <a:pt x="127" y="431"/>
                  </a:lnTo>
                  <a:lnTo>
                    <a:pt x="127" y="435"/>
                  </a:lnTo>
                  <a:lnTo>
                    <a:pt x="124" y="435"/>
                  </a:lnTo>
                  <a:lnTo>
                    <a:pt x="124" y="439"/>
                  </a:lnTo>
                  <a:lnTo>
                    <a:pt x="124" y="443"/>
                  </a:lnTo>
                  <a:lnTo>
                    <a:pt x="127" y="443"/>
                  </a:lnTo>
                  <a:lnTo>
                    <a:pt x="124" y="447"/>
                  </a:lnTo>
                  <a:lnTo>
                    <a:pt x="124" y="451"/>
                  </a:lnTo>
                  <a:lnTo>
                    <a:pt x="124" y="455"/>
                  </a:lnTo>
                  <a:lnTo>
                    <a:pt x="120" y="459"/>
                  </a:lnTo>
                  <a:lnTo>
                    <a:pt x="120" y="463"/>
                  </a:lnTo>
                  <a:lnTo>
                    <a:pt x="120" y="467"/>
                  </a:lnTo>
                  <a:lnTo>
                    <a:pt x="116" y="467"/>
                  </a:lnTo>
                  <a:lnTo>
                    <a:pt x="112" y="467"/>
                  </a:lnTo>
                  <a:lnTo>
                    <a:pt x="108" y="467"/>
                  </a:lnTo>
                  <a:lnTo>
                    <a:pt x="108" y="471"/>
                  </a:lnTo>
                  <a:lnTo>
                    <a:pt x="104" y="471"/>
                  </a:lnTo>
                  <a:lnTo>
                    <a:pt x="100" y="471"/>
                  </a:lnTo>
                  <a:lnTo>
                    <a:pt x="100" y="475"/>
                  </a:lnTo>
                  <a:lnTo>
                    <a:pt x="96" y="475"/>
                  </a:lnTo>
                  <a:lnTo>
                    <a:pt x="96" y="479"/>
                  </a:lnTo>
                  <a:lnTo>
                    <a:pt x="92" y="479"/>
                  </a:lnTo>
                  <a:lnTo>
                    <a:pt x="92" y="483"/>
                  </a:lnTo>
                  <a:lnTo>
                    <a:pt x="92" y="487"/>
                  </a:lnTo>
                  <a:lnTo>
                    <a:pt x="88" y="491"/>
                  </a:lnTo>
                  <a:lnTo>
                    <a:pt x="92" y="495"/>
                  </a:lnTo>
                  <a:lnTo>
                    <a:pt x="92" y="499"/>
                  </a:lnTo>
                  <a:lnTo>
                    <a:pt x="92" y="503"/>
                  </a:lnTo>
                  <a:lnTo>
                    <a:pt x="96" y="503"/>
                  </a:lnTo>
                  <a:lnTo>
                    <a:pt x="100" y="507"/>
                  </a:lnTo>
                  <a:lnTo>
                    <a:pt x="100" y="511"/>
                  </a:lnTo>
                  <a:lnTo>
                    <a:pt x="104" y="511"/>
                  </a:lnTo>
                  <a:lnTo>
                    <a:pt x="108" y="511"/>
                  </a:lnTo>
                  <a:lnTo>
                    <a:pt x="112" y="511"/>
                  </a:lnTo>
                  <a:lnTo>
                    <a:pt x="116" y="511"/>
                  </a:lnTo>
                  <a:lnTo>
                    <a:pt x="116" y="515"/>
                  </a:lnTo>
                  <a:lnTo>
                    <a:pt x="120" y="519"/>
                  </a:lnTo>
                  <a:lnTo>
                    <a:pt x="116" y="523"/>
                  </a:lnTo>
                  <a:lnTo>
                    <a:pt x="116" y="526"/>
                  </a:lnTo>
                  <a:lnTo>
                    <a:pt x="112" y="526"/>
                  </a:lnTo>
                  <a:lnTo>
                    <a:pt x="116" y="526"/>
                  </a:lnTo>
                  <a:lnTo>
                    <a:pt x="116" y="530"/>
                  </a:lnTo>
                  <a:lnTo>
                    <a:pt x="116" y="534"/>
                  </a:lnTo>
                  <a:lnTo>
                    <a:pt x="112" y="534"/>
                  </a:lnTo>
                  <a:lnTo>
                    <a:pt x="108" y="538"/>
                  </a:lnTo>
                  <a:lnTo>
                    <a:pt x="104" y="538"/>
                  </a:lnTo>
                  <a:lnTo>
                    <a:pt x="104" y="542"/>
                  </a:lnTo>
                  <a:lnTo>
                    <a:pt x="100" y="542"/>
                  </a:lnTo>
                  <a:lnTo>
                    <a:pt x="100" y="546"/>
                  </a:lnTo>
                  <a:lnTo>
                    <a:pt x="96" y="546"/>
                  </a:lnTo>
                  <a:lnTo>
                    <a:pt x="96" y="550"/>
                  </a:lnTo>
                  <a:lnTo>
                    <a:pt x="92" y="550"/>
                  </a:lnTo>
                  <a:lnTo>
                    <a:pt x="92" y="554"/>
                  </a:lnTo>
                  <a:lnTo>
                    <a:pt x="88" y="554"/>
                  </a:lnTo>
                  <a:lnTo>
                    <a:pt x="88" y="558"/>
                  </a:lnTo>
                  <a:lnTo>
                    <a:pt x="88" y="562"/>
                  </a:lnTo>
                  <a:lnTo>
                    <a:pt x="88" y="558"/>
                  </a:lnTo>
                  <a:lnTo>
                    <a:pt x="88" y="562"/>
                  </a:lnTo>
                  <a:lnTo>
                    <a:pt x="88" y="566"/>
                  </a:lnTo>
                  <a:lnTo>
                    <a:pt x="88" y="570"/>
                  </a:lnTo>
                  <a:lnTo>
                    <a:pt x="88" y="574"/>
                  </a:lnTo>
                  <a:lnTo>
                    <a:pt x="84" y="574"/>
                  </a:lnTo>
                  <a:lnTo>
                    <a:pt x="84" y="578"/>
                  </a:lnTo>
                  <a:lnTo>
                    <a:pt x="80" y="578"/>
                  </a:lnTo>
                  <a:lnTo>
                    <a:pt x="76" y="578"/>
                  </a:lnTo>
                  <a:lnTo>
                    <a:pt x="76" y="574"/>
                  </a:lnTo>
                  <a:lnTo>
                    <a:pt x="72" y="574"/>
                  </a:lnTo>
                  <a:lnTo>
                    <a:pt x="68" y="574"/>
                  </a:lnTo>
                  <a:lnTo>
                    <a:pt x="72" y="574"/>
                  </a:lnTo>
                  <a:lnTo>
                    <a:pt x="76" y="574"/>
                  </a:lnTo>
                  <a:lnTo>
                    <a:pt x="76" y="578"/>
                  </a:lnTo>
                  <a:lnTo>
                    <a:pt x="80" y="578"/>
                  </a:lnTo>
                  <a:lnTo>
                    <a:pt x="76" y="578"/>
                  </a:lnTo>
                  <a:lnTo>
                    <a:pt x="76" y="582"/>
                  </a:lnTo>
                  <a:lnTo>
                    <a:pt x="72" y="582"/>
                  </a:lnTo>
                  <a:lnTo>
                    <a:pt x="68" y="582"/>
                  </a:lnTo>
                  <a:lnTo>
                    <a:pt x="68" y="586"/>
                  </a:lnTo>
                  <a:lnTo>
                    <a:pt x="68" y="590"/>
                  </a:lnTo>
                  <a:lnTo>
                    <a:pt x="68" y="594"/>
                  </a:lnTo>
                  <a:lnTo>
                    <a:pt x="64" y="598"/>
                  </a:lnTo>
                  <a:lnTo>
                    <a:pt x="68" y="598"/>
                  </a:lnTo>
                  <a:lnTo>
                    <a:pt x="68" y="602"/>
                  </a:lnTo>
                  <a:lnTo>
                    <a:pt x="68" y="606"/>
                  </a:lnTo>
                  <a:lnTo>
                    <a:pt x="68" y="610"/>
                  </a:lnTo>
                  <a:lnTo>
                    <a:pt x="64" y="610"/>
                  </a:lnTo>
                  <a:lnTo>
                    <a:pt x="60" y="610"/>
                  </a:lnTo>
                  <a:lnTo>
                    <a:pt x="64" y="610"/>
                  </a:lnTo>
                  <a:lnTo>
                    <a:pt x="68" y="610"/>
                  </a:lnTo>
                  <a:lnTo>
                    <a:pt x="68" y="614"/>
                  </a:lnTo>
                  <a:lnTo>
                    <a:pt x="72" y="614"/>
                  </a:lnTo>
                  <a:lnTo>
                    <a:pt x="72" y="618"/>
                  </a:lnTo>
                  <a:lnTo>
                    <a:pt x="72" y="622"/>
                  </a:lnTo>
                  <a:lnTo>
                    <a:pt x="76" y="622"/>
                  </a:lnTo>
                  <a:lnTo>
                    <a:pt x="76" y="626"/>
                  </a:lnTo>
                  <a:lnTo>
                    <a:pt x="76" y="630"/>
                  </a:lnTo>
                  <a:lnTo>
                    <a:pt x="76" y="626"/>
                  </a:lnTo>
                  <a:lnTo>
                    <a:pt x="72" y="626"/>
                  </a:lnTo>
                  <a:lnTo>
                    <a:pt x="68" y="626"/>
                  </a:lnTo>
                  <a:lnTo>
                    <a:pt x="64" y="622"/>
                  </a:lnTo>
                  <a:lnTo>
                    <a:pt x="60" y="622"/>
                  </a:lnTo>
                  <a:lnTo>
                    <a:pt x="56" y="622"/>
                  </a:lnTo>
                  <a:lnTo>
                    <a:pt x="52" y="622"/>
                  </a:lnTo>
                  <a:lnTo>
                    <a:pt x="48" y="622"/>
                  </a:lnTo>
                  <a:lnTo>
                    <a:pt x="44" y="622"/>
                  </a:lnTo>
                  <a:lnTo>
                    <a:pt x="36" y="622"/>
                  </a:lnTo>
                  <a:lnTo>
                    <a:pt x="28" y="622"/>
                  </a:lnTo>
                  <a:lnTo>
                    <a:pt x="24" y="618"/>
                  </a:lnTo>
                  <a:lnTo>
                    <a:pt x="20" y="614"/>
                  </a:lnTo>
                  <a:lnTo>
                    <a:pt x="16" y="610"/>
                  </a:lnTo>
                  <a:lnTo>
                    <a:pt x="20" y="606"/>
                  </a:lnTo>
                  <a:lnTo>
                    <a:pt x="20" y="602"/>
                  </a:lnTo>
                  <a:lnTo>
                    <a:pt x="16" y="602"/>
                  </a:lnTo>
                  <a:lnTo>
                    <a:pt x="16" y="598"/>
                  </a:lnTo>
                  <a:lnTo>
                    <a:pt x="20" y="598"/>
                  </a:lnTo>
                  <a:lnTo>
                    <a:pt x="20" y="594"/>
                  </a:lnTo>
                  <a:lnTo>
                    <a:pt x="16" y="590"/>
                  </a:lnTo>
                  <a:lnTo>
                    <a:pt x="20" y="590"/>
                  </a:lnTo>
                  <a:lnTo>
                    <a:pt x="16" y="590"/>
                  </a:lnTo>
                  <a:lnTo>
                    <a:pt x="12" y="590"/>
                  </a:lnTo>
                  <a:lnTo>
                    <a:pt x="8" y="590"/>
                  </a:lnTo>
                  <a:lnTo>
                    <a:pt x="8" y="594"/>
                  </a:lnTo>
                  <a:lnTo>
                    <a:pt x="4" y="594"/>
                  </a:lnTo>
                  <a:lnTo>
                    <a:pt x="4" y="590"/>
                  </a:lnTo>
                  <a:lnTo>
                    <a:pt x="4" y="586"/>
                  </a:lnTo>
                  <a:lnTo>
                    <a:pt x="4" y="582"/>
                  </a:lnTo>
                  <a:lnTo>
                    <a:pt x="0" y="578"/>
                  </a:lnTo>
                  <a:lnTo>
                    <a:pt x="0" y="574"/>
                  </a:lnTo>
                  <a:lnTo>
                    <a:pt x="0" y="570"/>
                  </a:lnTo>
                  <a:lnTo>
                    <a:pt x="0" y="566"/>
                  </a:lnTo>
                  <a:lnTo>
                    <a:pt x="0" y="562"/>
                  </a:lnTo>
                  <a:lnTo>
                    <a:pt x="0" y="558"/>
                  </a:lnTo>
                  <a:lnTo>
                    <a:pt x="4" y="558"/>
                  </a:lnTo>
                  <a:lnTo>
                    <a:pt x="8" y="558"/>
                  </a:lnTo>
                  <a:lnTo>
                    <a:pt x="4" y="558"/>
                  </a:lnTo>
                  <a:lnTo>
                    <a:pt x="8" y="554"/>
                  </a:lnTo>
                  <a:lnTo>
                    <a:pt x="8" y="550"/>
                  </a:lnTo>
                  <a:lnTo>
                    <a:pt x="12" y="550"/>
                  </a:lnTo>
                  <a:lnTo>
                    <a:pt x="16" y="550"/>
                  </a:lnTo>
                  <a:lnTo>
                    <a:pt x="16" y="546"/>
                  </a:lnTo>
                  <a:lnTo>
                    <a:pt x="16" y="542"/>
                  </a:lnTo>
                  <a:lnTo>
                    <a:pt x="12" y="542"/>
                  </a:lnTo>
                  <a:lnTo>
                    <a:pt x="16" y="542"/>
                  </a:lnTo>
                  <a:lnTo>
                    <a:pt x="16" y="538"/>
                  </a:lnTo>
                  <a:lnTo>
                    <a:pt x="20" y="538"/>
                  </a:lnTo>
                  <a:lnTo>
                    <a:pt x="20" y="534"/>
                  </a:lnTo>
                  <a:lnTo>
                    <a:pt x="16" y="530"/>
                  </a:lnTo>
                  <a:lnTo>
                    <a:pt x="16" y="526"/>
                  </a:lnTo>
                  <a:lnTo>
                    <a:pt x="16" y="523"/>
                  </a:lnTo>
                  <a:lnTo>
                    <a:pt x="20" y="523"/>
                  </a:lnTo>
                  <a:lnTo>
                    <a:pt x="16" y="519"/>
                  </a:lnTo>
                  <a:lnTo>
                    <a:pt x="20" y="519"/>
                  </a:lnTo>
                  <a:lnTo>
                    <a:pt x="24" y="515"/>
                  </a:lnTo>
                  <a:lnTo>
                    <a:pt x="24" y="511"/>
                  </a:lnTo>
                  <a:lnTo>
                    <a:pt x="24" y="507"/>
                  </a:lnTo>
                  <a:lnTo>
                    <a:pt x="28" y="503"/>
                  </a:lnTo>
                  <a:lnTo>
                    <a:pt x="28" y="499"/>
                  </a:lnTo>
                  <a:lnTo>
                    <a:pt x="28" y="495"/>
                  </a:lnTo>
                  <a:lnTo>
                    <a:pt x="28" y="491"/>
                  </a:lnTo>
                  <a:lnTo>
                    <a:pt x="24" y="491"/>
                  </a:lnTo>
                  <a:lnTo>
                    <a:pt x="28" y="491"/>
                  </a:lnTo>
                  <a:lnTo>
                    <a:pt x="28" y="487"/>
                  </a:lnTo>
                  <a:lnTo>
                    <a:pt x="28" y="483"/>
                  </a:lnTo>
                  <a:lnTo>
                    <a:pt x="28" y="479"/>
                  </a:lnTo>
                  <a:lnTo>
                    <a:pt x="32" y="475"/>
                  </a:lnTo>
                  <a:lnTo>
                    <a:pt x="32" y="471"/>
                  </a:lnTo>
                  <a:lnTo>
                    <a:pt x="32" y="467"/>
                  </a:lnTo>
                  <a:lnTo>
                    <a:pt x="28" y="467"/>
                  </a:lnTo>
                  <a:lnTo>
                    <a:pt x="24" y="467"/>
                  </a:lnTo>
                  <a:lnTo>
                    <a:pt x="24" y="463"/>
                  </a:lnTo>
                  <a:lnTo>
                    <a:pt x="20" y="463"/>
                  </a:lnTo>
                  <a:lnTo>
                    <a:pt x="24" y="463"/>
                  </a:lnTo>
                  <a:lnTo>
                    <a:pt x="28" y="463"/>
                  </a:lnTo>
                  <a:lnTo>
                    <a:pt x="32" y="463"/>
                  </a:lnTo>
                  <a:lnTo>
                    <a:pt x="36" y="463"/>
                  </a:lnTo>
                  <a:lnTo>
                    <a:pt x="36" y="459"/>
                  </a:lnTo>
                  <a:lnTo>
                    <a:pt x="36" y="455"/>
                  </a:lnTo>
                  <a:lnTo>
                    <a:pt x="32" y="455"/>
                  </a:lnTo>
                  <a:lnTo>
                    <a:pt x="28" y="455"/>
                  </a:lnTo>
                  <a:lnTo>
                    <a:pt x="24" y="455"/>
                  </a:lnTo>
                  <a:lnTo>
                    <a:pt x="24" y="451"/>
                  </a:lnTo>
                  <a:lnTo>
                    <a:pt x="28" y="451"/>
                  </a:lnTo>
                  <a:lnTo>
                    <a:pt x="24" y="447"/>
                  </a:lnTo>
                  <a:lnTo>
                    <a:pt x="28" y="447"/>
                  </a:lnTo>
                  <a:lnTo>
                    <a:pt x="28" y="443"/>
                  </a:lnTo>
                  <a:lnTo>
                    <a:pt x="28" y="439"/>
                  </a:lnTo>
                  <a:lnTo>
                    <a:pt x="28" y="435"/>
                  </a:lnTo>
                  <a:lnTo>
                    <a:pt x="24" y="435"/>
                  </a:lnTo>
                  <a:lnTo>
                    <a:pt x="24" y="431"/>
                  </a:lnTo>
                  <a:lnTo>
                    <a:pt x="28" y="431"/>
                  </a:lnTo>
                  <a:lnTo>
                    <a:pt x="28" y="427"/>
                  </a:lnTo>
                  <a:lnTo>
                    <a:pt x="24" y="427"/>
                  </a:lnTo>
                  <a:lnTo>
                    <a:pt x="20" y="427"/>
                  </a:lnTo>
                  <a:lnTo>
                    <a:pt x="20" y="423"/>
                  </a:lnTo>
                  <a:lnTo>
                    <a:pt x="20" y="419"/>
                  </a:lnTo>
                  <a:lnTo>
                    <a:pt x="20" y="415"/>
                  </a:lnTo>
                  <a:lnTo>
                    <a:pt x="24" y="411"/>
                  </a:lnTo>
                  <a:lnTo>
                    <a:pt x="20" y="411"/>
                  </a:lnTo>
                  <a:lnTo>
                    <a:pt x="24" y="407"/>
                  </a:lnTo>
                  <a:lnTo>
                    <a:pt x="28" y="407"/>
                  </a:lnTo>
                  <a:lnTo>
                    <a:pt x="28" y="403"/>
                  </a:lnTo>
                  <a:lnTo>
                    <a:pt x="28" y="399"/>
                  </a:lnTo>
                  <a:lnTo>
                    <a:pt x="24" y="399"/>
                  </a:lnTo>
                  <a:lnTo>
                    <a:pt x="24" y="395"/>
                  </a:lnTo>
                  <a:lnTo>
                    <a:pt x="24" y="391"/>
                  </a:lnTo>
                  <a:lnTo>
                    <a:pt x="24" y="387"/>
                  </a:lnTo>
                  <a:lnTo>
                    <a:pt x="24" y="383"/>
                  </a:lnTo>
                  <a:close/>
                  <a:moveTo>
                    <a:pt x="175" y="347"/>
                  </a:moveTo>
                  <a:lnTo>
                    <a:pt x="171" y="343"/>
                  </a:lnTo>
                  <a:lnTo>
                    <a:pt x="175" y="343"/>
                  </a:lnTo>
                  <a:lnTo>
                    <a:pt x="175" y="347"/>
                  </a:lnTo>
                  <a:close/>
                  <a:moveTo>
                    <a:pt x="76" y="634"/>
                  </a:moveTo>
                  <a:lnTo>
                    <a:pt x="76" y="638"/>
                  </a:lnTo>
                  <a:lnTo>
                    <a:pt x="80" y="642"/>
                  </a:lnTo>
                  <a:lnTo>
                    <a:pt x="80" y="646"/>
                  </a:lnTo>
                  <a:lnTo>
                    <a:pt x="80" y="642"/>
                  </a:lnTo>
                  <a:lnTo>
                    <a:pt x="76" y="642"/>
                  </a:lnTo>
                  <a:lnTo>
                    <a:pt x="76" y="646"/>
                  </a:lnTo>
                  <a:lnTo>
                    <a:pt x="76" y="650"/>
                  </a:lnTo>
                  <a:lnTo>
                    <a:pt x="80" y="650"/>
                  </a:lnTo>
                  <a:lnTo>
                    <a:pt x="84" y="650"/>
                  </a:lnTo>
                  <a:lnTo>
                    <a:pt x="84" y="654"/>
                  </a:lnTo>
                  <a:lnTo>
                    <a:pt x="84" y="658"/>
                  </a:lnTo>
                  <a:lnTo>
                    <a:pt x="88" y="658"/>
                  </a:lnTo>
                  <a:lnTo>
                    <a:pt x="88" y="662"/>
                  </a:lnTo>
                  <a:lnTo>
                    <a:pt x="92" y="662"/>
                  </a:lnTo>
                  <a:lnTo>
                    <a:pt x="92" y="666"/>
                  </a:lnTo>
                  <a:lnTo>
                    <a:pt x="96" y="666"/>
                  </a:lnTo>
                  <a:lnTo>
                    <a:pt x="100" y="670"/>
                  </a:lnTo>
                  <a:lnTo>
                    <a:pt x="104" y="670"/>
                  </a:lnTo>
                  <a:lnTo>
                    <a:pt x="104" y="674"/>
                  </a:lnTo>
                  <a:lnTo>
                    <a:pt x="108" y="678"/>
                  </a:lnTo>
                  <a:lnTo>
                    <a:pt x="112" y="678"/>
                  </a:lnTo>
                  <a:lnTo>
                    <a:pt x="116" y="682"/>
                  </a:lnTo>
                  <a:lnTo>
                    <a:pt x="120" y="682"/>
                  </a:lnTo>
                  <a:lnTo>
                    <a:pt x="124" y="682"/>
                  </a:lnTo>
                  <a:lnTo>
                    <a:pt x="127" y="682"/>
                  </a:lnTo>
                  <a:lnTo>
                    <a:pt x="124" y="686"/>
                  </a:lnTo>
                  <a:lnTo>
                    <a:pt x="120" y="686"/>
                  </a:lnTo>
                  <a:lnTo>
                    <a:pt x="116" y="686"/>
                  </a:lnTo>
                  <a:lnTo>
                    <a:pt x="112" y="690"/>
                  </a:lnTo>
                  <a:lnTo>
                    <a:pt x="108" y="690"/>
                  </a:lnTo>
                  <a:lnTo>
                    <a:pt x="104" y="690"/>
                  </a:lnTo>
                  <a:lnTo>
                    <a:pt x="104" y="686"/>
                  </a:lnTo>
                  <a:lnTo>
                    <a:pt x="100" y="686"/>
                  </a:lnTo>
                  <a:lnTo>
                    <a:pt x="96" y="686"/>
                  </a:lnTo>
                  <a:lnTo>
                    <a:pt x="92" y="686"/>
                  </a:lnTo>
                  <a:lnTo>
                    <a:pt x="88" y="686"/>
                  </a:lnTo>
                  <a:lnTo>
                    <a:pt x="84" y="686"/>
                  </a:lnTo>
                  <a:lnTo>
                    <a:pt x="80" y="686"/>
                  </a:lnTo>
                  <a:lnTo>
                    <a:pt x="76" y="686"/>
                  </a:lnTo>
                  <a:lnTo>
                    <a:pt x="76" y="678"/>
                  </a:lnTo>
                  <a:lnTo>
                    <a:pt x="76" y="674"/>
                  </a:lnTo>
                  <a:lnTo>
                    <a:pt x="76" y="666"/>
                  </a:lnTo>
                  <a:lnTo>
                    <a:pt x="76" y="662"/>
                  </a:lnTo>
                  <a:lnTo>
                    <a:pt x="76" y="654"/>
                  </a:lnTo>
                  <a:lnTo>
                    <a:pt x="76" y="650"/>
                  </a:lnTo>
                  <a:lnTo>
                    <a:pt x="76" y="646"/>
                  </a:lnTo>
                  <a:lnTo>
                    <a:pt x="76" y="638"/>
                  </a:lnTo>
                  <a:lnTo>
                    <a:pt x="76" y="634"/>
                  </a:lnTo>
                  <a:close/>
                  <a:moveTo>
                    <a:pt x="135" y="686"/>
                  </a:moveTo>
                  <a:lnTo>
                    <a:pt x="131" y="686"/>
                  </a:lnTo>
                  <a:lnTo>
                    <a:pt x="135" y="682"/>
                  </a:lnTo>
                  <a:lnTo>
                    <a:pt x="135" y="686"/>
                  </a:lnTo>
                  <a:lnTo>
                    <a:pt x="135" y="682"/>
                  </a:lnTo>
                  <a:lnTo>
                    <a:pt x="139" y="682"/>
                  </a:lnTo>
                  <a:lnTo>
                    <a:pt x="143" y="682"/>
                  </a:lnTo>
                  <a:lnTo>
                    <a:pt x="147" y="682"/>
                  </a:lnTo>
                  <a:lnTo>
                    <a:pt x="147" y="686"/>
                  </a:lnTo>
                  <a:lnTo>
                    <a:pt x="143" y="686"/>
                  </a:lnTo>
                  <a:lnTo>
                    <a:pt x="143" y="682"/>
                  </a:lnTo>
                  <a:lnTo>
                    <a:pt x="143" y="686"/>
                  </a:lnTo>
                  <a:lnTo>
                    <a:pt x="139" y="686"/>
                  </a:lnTo>
                  <a:lnTo>
                    <a:pt x="135" y="68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2" name="Freeform 170"/>
            <p:cNvSpPr>
              <a:spLocks/>
            </p:cNvSpPr>
            <p:nvPr>
              <p:custDataLst>
                <p:tags r:id="rId365"/>
              </p:custDataLst>
            </p:nvPr>
          </p:nvSpPr>
          <p:spPr bwMode="gray">
            <a:xfrm>
              <a:off x="2814395" y="4858456"/>
              <a:ext cx="271400" cy="367800"/>
            </a:xfrm>
            <a:custGeom>
              <a:avLst/>
              <a:gdLst/>
              <a:ahLst/>
              <a:cxnLst>
                <a:cxn ang="0">
                  <a:pos x="111" y="212"/>
                </a:cxn>
                <a:cxn ang="0">
                  <a:pos x="103" y="232"/>
                </a:cxn>
                <a:cxn ang="0">
                  <a:pos x="95" y="232"/>
                </a:cxn>
                <a:cxn ang="0">
                  <a:pos x="83" y="236"/>
                </a:cxn>
                <a:cxn ang="0">
                  <a:pos x="79" y="244"/>
                </a:cxn>
                <a:cxn ang="0">
                  <a:pos x="75" y="232"/>
                </a:cxn>
                <a:cxn ang="0">
                  <a:pos x="56" y="232"/>
                </a:cxn>
                <a:cxn ang="0">
                  <a:pos x="52" y="228"/>
                </a:cxn>
                <a:cxn ang="0">
                  <a:pos x="44" y="236"/>
                </a:cxn>
                <a:cxn ang="0">
                  <a:pos x="36" y="244"/>
                </a:cxn>
                <a:cxn ang="0">
                  <a:pos x="28" y="240"/>
                </a:cxn>
                <a:cxn ang="0">
                  <a:pos x="24" y="228"/>
                </a:cxn>
                <a:cxn ang="0">
                  <a:pos x="16" y="208"/>
                </a:cxn>
                <a:cxn ang="0">
                  <a:pos x="12" y="204"/>
                </a:cxn>
                <a:cxn ang="0">
                  <a:pos x="16" y="192"/>
                </a:cxn>
                <a:cxn ang="0">
                  <a:pos x="16" y="180"/>
                </a:cxn>
                <a:cxn ang="0">
                  <a:pos x="8" y="168"/>
                </a:cxn>
                <a:cxn ang="0">
                  <a:pos x="4" y="156"/>
                </a:cxn>
                <a:cxn ang="0">
                  <a:pos x="0" y="144"/>
                </a:cxn>
                <a:cxn ang="0">
                  <a:pos x="4" y="132"/>
                </a:cxn>
                <a:cxn ang="0">
                  <a:pos x="12" y="124"/>
                </a:cxn>
                <a:cxn ang="0">
                  <a:pos x="4" y="108"/>
                </a:cxn>
                <a:cxn ang="0">
                  <a:pos x="4" y="100"/>
                </a:cxn>
                <a:cxn ang="0">
                  <a:pos x="8" y="84"/>
                </a:cxn>
                <a:cxn ang="0">
                  <a:pos x="8" y="76"/>
                </a:cxn>
                <a:cxn ang="0">
                  <a:pos x="8" y="60"/>
                </a:cxn>
                <a:cxn ang="0">
                  <a:pos x="12" y="48"/>
                </a:cxn>
                <a:cxn ang="0">
                  <a:pos x="4" y="36"/>
                </a:cxn>
                <a:cxn ang="0">
                  <a:pos x="4" y="24"/>
                </a:cxn>
                <a:cxn ang="0">
                  <a:pos x="16" y="28"/>
                </a:cxn>
                <a:cxn ang="0">
                  <a:pos x="24" y="20"/>
                </a:cxn>
                <a:cxn ang="0">
                  <a:pos x="28" y="16"/>
                </a:cxn>
                <a:cxn ang="0">
                  <a:pos x="40" y="12"/>
                </a:cxn>
                <a:cxn ang="0">
                  <a:pos x="52" y="0"/>
                </a:cxn>
                <a:cxn ang="0">
                  <a:pos x="60" y="0"/>
                </a:cxn>
                <a:cxn ang="0">
                  <a:pos x="64" y="12"/>
                </a:cxn>
                <a:cxn ang="0">
                  <a:pos x="64" y="28"/>
                </a:cxn>
                <a:cxn ang="0">
                  <a:pos x="67" y="36"/>
                </a:cxn>
                <a:cxn ang="0">
                  <a:pos x="75" y="48"/>
                </a:cxn>
                <a:cxn ang="0">
                  <a:pos x="91" y="52"/>
                </a:cxn>
                <a:cxn ang="0">
                  <a:pos x="99" y="60"/>
                </a:cxn>
                <a:cxn ang="0">
                  <a:pos x="111" y="68"/>
                </a:cxn>
                <a:cxn ang="0">
                  <a:pos x="123" y="72"/>
                </a:cxn>
                <a:cxn ang="0">
                  <a:pos x="139" y="76"/>
                </a:cxn>
                <a:cxn ang="0">
                  <a:pos x="139" y="88"/>
                </a:cxn>
                <a:cxn ang="0">
                  <a:pos x="135" y="100"/>
                </a:cxn>
                <a:cxn ang="0">
                  <a:pos x="143" y="124"/>
                </a:cxn>
                <a:cxn ang="0">
                  <a:pos x="171" y="124"/>
                </a:cxn>
                <a:cxn ang="0">
                  <a:pos x="167" y="136"/>
                </a:cxn>
                <a:cxn ang="0">
                  <a:pos x="175" y="144"/>
                </a:cxn>
                <a:cxn ang="0">
                  <a:pos x="183" y="160"/>
                </a:cxn>
                <a:cxn ang="0">
                  <a:pos x="175" y="176"/>
                </a:cxn>
                <a:cxn ang="0">
                  <a:pos x="175" y="188"/>
                </a:cxn>
                <a:cxn ang="0">
                  <a:pos x="171" y="188"/>
                </a:cxn>
                <a:cxn ang="0">
                  <a:pos x="151" y="180"/>
                </a:cxn>
                <a:cxn ang="0">
                  <a:pos x="135" y="184"/>
                </a:cxn>
                <a:cxn ang="0">
                  <a:pos x="119" y="188"/>
                </a:cxn>
              </a:cxnLst>
              <a:rect l="0" t="0" r="r" b="b"/>
              <a:pathLst>
                <a:path w="183" h="248">
                  <a:moveTo>
                    <a:pt x="111" y="200"/>
                  </a:moveTo>
                  <a:lnTo>
                    <a:pt x="111" y="204"/>
                  </a:lnTo>
                  <a:lnTo>
                    <a:pt x="111" y="208"/>
                  </a:lnTo>
                  <a:lnTo>
                    <a:pt x="111" y="212"/>
                  </a:lnTo>
                  <a:lnTo>
                    <a:pt x="107" y="220"/>
                  </a:lnTo>
                  <a:lnTo>
                    <a:pt x="107" y="224"/>
                  </a:lnTo>
                  <a:lnTo>
                    <a:pt x="107" y="228"/>
                  </a:lnTo>
                  <a:lnTo>
                    <a:pt x="103" y="232"/>
                  </a:lnTo>
                  <a:lnTo>
                    <a:pt x="103" y="236"/>
                  </a:lnTo>
                  <a:lnTo>
                    <a:pt x="103" y="232"/>
                  </a:lnTo>
                  <a:lnTo>
                    <a:pt x="99" y="232"/>
                  </a:lnTo>
                  <a:lnTo>
                    <a:pt x="95" y="232"/>
                  </a:lnTo>
                  <a:lnTo>
                    <a:pt x="91" y="232"/>
                  </a:lnTo>
                  <a:lnTo>
                    <a:pt x="87" y="232"/>
                  </a:lnTo>
                  <a:lnTo>
                    <a:pt x="83" y="232"/>
                  </a:lnTo>
                  <a:lnTo>
                    <a:pt x="83" y="236"/>
                  </a:lnTo>
                  <a:lnTo>
                    <a:pt x="79" y="240"/>
                  </a:lnTo>
                  <a:lnTo>
                    <a:pt x="79" y="244"/>
                  </a:lnTo>
                  <a:lnTo>
                    <a:pt x="79" y="248"/>
                  </a:lnTo>
                  <a:lnTo>
                    <a:pt x="79" y="244"/>
                  </a:lnTo>
                  <a:lnTo>
                    <a:pt x="75" y="244"/>
                  </a:lnTo>
                  <a:lnTo>
                    <a:pt x="75" y="240"/>
                  </a:lnTo>
                  <a:lnTo>
                    <a:pt x="75" y="236"/>
                  </a:lnTo>
                  <a:lnTo>
                    <a:pt x="75" y="232"/>
                  </a:lnTo>
                  <a:lnTo>
                    <a:pt x="71" y="232"/>
                  </a:lnTo>
                  <a:lnTo>
                    <a:pt x="67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56" y="228"/>
                  </a:lnTo>
                  <a:lnTo>
                    <a:pt x="52" y="228"/>
                  </a:lnTo>
                  <a:lnTo>
                    <a:pt x="52" y="224"/>
                  </a:lnTo>
                  <a:lnTo>
                    <a:pt x="52" y="228"/>
                  </a:lnTo>
                  <a:lnTo>
                    <a:pt x="48" y="228"/>
                  </a:lnTo>
                  <a:lnTo>
                    <a:pt x="48" y="232"/>
                  </a:lnTo>
                  <a:lnTo>
                    <a:pt x="44" y="232"/>
                  </a:lnTo>
                  <a:lnTo>
                    <a:pt x="44" y="236"/>
                  </a:lnTo>
                  <a:lnTo>
                    <a:pt x="44" y="240"/>
                  </a:lnTo>
                  <a:lnTo>
                    <a:pt x="40" y="240"/>
                  </a:lnTo>
                  <a:lnTo>
                    <a:pt x="40" y="244"/>
                  </a:lnTo>
                  <a:lnTo>
                    <a:pt x="36" y="244"/>
                  </a:lnTo>
                  <a:lnTo>
                    <a:pt x="32" y="248"/>
                  </a:lnTo>
                  <a:lnTo>
                    <a:pt x="28" y="248"/>
                  </a:lnTo>
                  <a:lnTo>
                    <a:pt x="24" y="244"/>
                  </a:lnTo>
                  <a:lnTo>
                    <a:pt x="28" y="240"/>
                  </a:lnTo>
                  <a:lnTo>
                    <a:pt x="24" y="240"/>
                  </a:lnTo>
                  <a:lnTo>
                    <a:pt x="24" y="236"/>
                  </a:lnTo>
                  <a:lnTo>
                    <a:pt x="24" y="232"/>
                  </a:lnTo>
                  <a:lnTo>
                    <a:pt x="24" y="228"/>
                  </a:lnTo>
                  <a:lnTo>
                    <a:pt x="24" y="224"/>
                  </a:lnTo>
                  <a:lnTo>
                    <a:pt x="20" y="224"/>
                  </a:lnTo>
                  <a:lnTo>
                    <a:pt x="20" y="216"/>
                  </a:lnTo>
                  <a:lnTo>
                    <a:pt x="16" y="208"/>
                  </a:lnTo>
                  <a:lnTo>
                    <a:pt x="16" y="212"/>
                  </a:lnTo>
                  <a:lnTo>
                    <a:pt x="16" y="208"/>
                  </a:lnTo>
                  <a:lnTo>
                    <a:pt x="16" y="204"/>
                  </a:lnTo>
                  <a:lnTo>
                    <a:pt x="12" y="204"/>
                  </a:lnTo>
                  <a:lnTo>
                    <a:pt x="12" y="200"/>
                  </a:lnTo>
                  <a:lnTo>
                    <a:pt x="12" y="196"/>
                  </a:lnTo>
                  <a:lnTo>
                    <a:pt x="12" y="192"/>
                  </a:lnTo>
                  <a:lnTo>
                    <a:pt x="16" y="192"/>
                  </a:lnTo>
                  <a:lnTo>
                    <a:pt x="16" y="188"/>
                  </a:lnTo>
                  <a:lnTo>
                    <a:pt x="12" y="188"/>
                  </a:lnTo>
                  <a:lnTo>
                    <a:pt x="16" y="184"/>
                  </a:lnTo>
                  <a:lnTo>
                    <a:pt x="16" y="180"/>
                  </a:lnTo>
                  <a:lnTo>
                    <a:pt x="12" y="180"/>
                  </a:lnTo>
                  <a:lnTo>
                    <a:pt x="12" y="176"/>
                  </a:lnTo>
                  <a:lnTo>
                    <a:pt x="8" y="172"/>
                  </a:lnTo>
                  <a:lnTo>
                    <a:pt x="8" y="168"/>
                  </a:lnTo>
                  <a:lnTo>
                    <a:pt x="8" y="164"/>
                  </a:lnTo>
                  <a:lnTo>
                    <a:pt x="8" y="160"/>
                  </a:lnTo>
                  <a:lnTo>
                    <a:pt x="8" y="156"/>
                  </a:lnTo>
                  <a:lnTo>
                    <a:pt x="4" y="156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0" y="148"/>
                  </a:lnTo>
                  <a:lnTo>
                    <a:pt x="0" y="144"/>
                  </a:lnTo>
                  <a:lnTo>
                    <a:pt x="0" y="140"/>
                  </a:lnTo>
                  <a:lnTo>
                    <a:pt x="0" y="136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8" y="132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12" y="124"/>
                  </a:lnTo>
                  <a:lnTo>
                    <a:pt x="8" y="120"/>
                  </a:lnTo>
                  <a:lnTo>
                    <a:pt x="4" y="120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4" y="104"/>
                  </a:lnTo>
                  <a:lnTo>
                    <a:pt x="8" y="104"/>
                  </a:lnTo>
                  <a:lnTo>
                    <a:pt x="8" y="100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4" y="92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7" y="36"/>
                  </a:lnTo>
                  <a:lnTo>
                    <a:pt x="67" y="40"/>
                  </a:lnTo>
                  <a:lnTo>
                    <a:pt x="67" y="36"/>
                  </a:lnTo>
                  <a:lnTo>
                    <a:pt x="67" y="40"/>
                  </a:lnTo>
                  <a:lnTo>
                    <a:pt x="67" y="44"/>
                  </a:lnTo>
                  <a:lnTo>
                    <a:pt x="71" y="44"/>
                  </a:lnTo>
                  <a:lnTo>
                    <a:pt x="75" y="48"/>
                  </a:lnTo>
                  <a:lnTo>
                    <a:pt x="79" y="52"/>
                  </a:lnTo>
                  <a:lnTo>
                    <a:pt x="83" y="52"/>
                  </a:lnTo>
                  <a:lnTo>
                    <a:pt x="87" y="52"/>
                  </a:lnTo>
                  <a:lnTo>
                    <a:pt x="91" y="52"/>
                  </a:lnTo>
                  <a:lnTo>
                    <a:pt x="91" y="56"/>
                  </a:lnTo>
                  <a:lnTo>
                    <a:pt x="95" y="56"/>
                  </a:lnTo>
                  <a:lnTo>
                    <a:pt x="99" y="56"/>
                  </a:lnTo>
                  <a:lnTo>
                    <a:pt x="99" y="60"/>
                  </a:lnTo>
                  <a:lnTo>
                    <a:pt x="103" y="60"/>
                  </a:lnTo>
                  <a:lnTo>
                    <a:pt x="107" y="64"/>
                  </a:lnTo>
                  <a:lnTo>
                    <a:pt x="111" y="64"/>
                  </a:lnTo>
                  <a:lnTo>
                    <a:pt x="111" y="68"/>
                  </a:lnTo>
                  <a:lnTo>
                    <a:pt x="115" y="68"/>
                  </a:lnTo>
                  <a:lnTo>
                    <a:pt x="115" y="72"/>
                  </a:lnTo>
                  <a:lnTo>
                    <a:pt x="119" y="72"/>
                  </a:lnTo>
                  <a:lnTo>
                    <a:pt x="123" y="72"/>
                  </a:lnTo>
                  <a:lnTo>
                    <a:pt x="127" y="72"/>
                  </a:lnTo>
                  <a:lnTo>
                    <a:pt x="131" y="72"/>
                  </a:lnTo>
                  <a:lnTo>
                    <a:pt x="135" y="76"/>
                  </a:lnTo>
                  <a:lnTo>
                    <a:pt x="139" y="76"/>
                  </a:lnTo>
                  <a:lnTo>
                    <a:pt x="139" y="80"/>
                  </a:lnTo>
                  <a:lnTo>
                    <a:pt x="135" y="84"/>
                  </a:lnTo>
                  <a:lnTo>
                    <a:pt x="139" y="84"/>
                  </a:lnTo>
                  <a:lnTo>
                    <a:pt x="139" y="88"/>
                  </a:lnTo>
                  <a:lnTo>
                    <a:pt x="139" y="92"/>
                  </a:lnTo>
                  <a:lnTo>
                    <a:pt x="139" y="96"/>
                  </a:lnTo>
                  <a:lnTo>
                    <a:pt x="139" y="100"/>
                  </a:lnTo>
                  <a:lnTo>
                    <a:pt x="135" y="100"/>
                  </a:lnTo>
                  <a:lnTo>
                    <a:pt x="139" y="104"/>
                  </a:lnTo>
                  <a:lnTo>
                    <a:pt x="139" y="108"/>
                  </a:lnTo>
                  <a:lnTo>
                    <a:pt x="143" y="116"/>
                  </a:lnTo>
                  <a:lnTo>
                    <a:pt x="143" y="124"/>
                  </a:lnTo>
                  <a:lnTo>
                    <a:pt x="151" y="124"/>
                  </a:lnTo>
                  <a:lnTo>
                    <a:pt x="159" y="124"/>
                  </a:lnTo>
                  <a:lnTo>
                    <a:pt x="167" y="124"/>
                  </a:lnTo>
                  <a:lnTo>
                    <a:pt x="171" y="124"/>
                  </a:lnTo>
                  <a:lnTo>
                    <a:pt x="171" y="128"/>
                  </a:lnTo>
                  <a:lnTo>
                    <a:pt x="167" y="128"/>
                  </a:lnTo>
                  <a:lnTo>
                    <a:pt x="167" y="132"/>
                  </a:lnTo>
                  <a:lnTo>
                    <a:pt x="167" y="136"/>
                  </a:lnTo>
                  <a:lnTo>
                    <a:pt x="167" y="140"/>
                  </a:lnTo>
                  <a:lnTo>
                    <a:pt x="171" y="140"/>
                  </a:lnTo>
                  <a:lnTo>
                    <a:pt x="171" y="144"/>
                  </a:lnTo>
                  <a:lnTo>
                    <a:pt x="175" y="144"/>
                  </a:lnTo>
                  <a:lnTo>
                    <a:pt x="179" y="148"/>
                  </a:lnTo>
                  <a:lnTo>
                    <a:pt x="179" y="152"/>
                  </a:lnTo>
                  <a:lnTo>
                    <a:pt x="179" y="156"/>
                  </a:lnTo>
                  <a:lnTo>
                    <a:pt x="183" y="160"/>
                  </a:lnTo>
                  <a:lnTo>
                    <a:pt x="179" y="164"/>
                  </a:lnTo>
                  <a:lnTo>
                    <a:pt x="179" y="172"/>
                  </a:lnTo>
                  <a:lnTo>
                    <a:pt x="179" y="176"/>
                  </a:lnTo>
                  <a:lnTo>
                    <a:pt x="175" y="176"/>
                  </a:lnTo>
                  <a:lnTo>
                    <a:pt x="175" y="180"/>
                  </a:lnTo>
                  <a:lnTo>
                    <a:pt x="175" y="188"/>
                  </a:lnTo>
                  <a:lnTo>
                    <a:pt x="171" y="188"/>
                  </a:lnTo>
                  <a:lnTo>
                    <a:pt x="175" y="188"/>
                  </a:lnTo>
                  <a:lnTo>
                    <a:pt x="175" y="192"/>
                  </a:lnTo>
                  <a:lnTo>
                    <a:pt x="171" y="196"/>
                  </a:lnTo>
                  <a:lnTo>
                    <a:pt x="171" y="192"/>
                  </a:lnTo>
                  <a:lnTo>
                    <a:pt x="171" y="188"/>
                  </a:lnTo>
                  <a:lnTo>
                    <a:pt x="167" y="184"/>
                  </a:lnTo>
                  <a:lnTo>
                    <a:pt x="163" y="184"/>
                  </a:lnTo>
                  <a:lnTo>
                    <a:pt x="159" y="180"/>
                  </a:lnTo>
                  <a:lnTo>
                    <a:pt x="151" y="180"/>
                  </a:lnTo>
                  <a:lnTo>
                    <a:pt x="143" y="180"/>
                  </a:lnTo>
                  <a:lnTo>
                    <a:pt x="139" y="180"/>
                  </a:lnTo>
                  <a:lnTo>
                    <a:pt x="135" y="180"/>
                  </a:lnTo>
                  <a:lnTo>
                    <a:pt x="135" y="184"/>
                  </a:lnTo>
                  <a:lnTo>
                    <a:pt x="131" y="184"/>
                  </a:lnTo>
                  <a:lnTo>
                    <a:pt x="123" y="184"/>
                  </a:lnTo>
                  <a:lnTo>
                    <a:pt x="119" y="184"/>
                  </a:lnTo>
                  <a:lnTo>
                    <a:pt x="119" y="188"/>
                  </a:lnTo>
                  <a:lnTo>
                    <a:pt x="115" y="192"/>
                  </a:lnTo>
                  <a:lnTo>
                    <a:pt x="111" y="2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3" name="Freeform 171"/>
            <p:cNvSpPr>
              <a:spLocks noEditPoints="1"/>
            </p:cNvSpPr>
            <p:nvPr>
              <p:custDataLst>
                <p:tags r:id="rId366"/>
              </p:custDataLst>
            </p:nvPr>
          </p:nvSpPr>
          <p:spPr bwMode="gray">
            <a:xfrm>
              <a:off x="2713547" y="4450614"/>
              <a:ext cx="880940" cy="1088569"/>
            </a:xfrm>
            <a:custGeom>
              <a:avLst/>
              <a:gdLst/>
              <a:ahLst/>
              <a:cxnLst>
                <a:cxn ang="0">
                  <a:pos x="451" y="152"/>
                </a:cxn>
                <a:cxn ang="0">
                  <a:pos x="494" y="152"/>
                </a:cxn>
                <a:cxn ang="0">
                  <a:pos x="550" y="179"/>
                </a:cxn>
                <a:cxn ang="0">
                  <a:pos x="594" y="223"/>
                </a:cxn>
                <a:cxn ang="0">
                  <a:pos x="566" y="291"/>
                </a:cxn>
                <a:cxn ang="0">
                  <a:pos x="538" y="335"/>
                </a:cxn>
                <a:cxn ang="0">
                  <a:pos x="530" y="355"/>
                </a:cxn>
                <a:cxn ang="0">
                  <a:pos x="530" y="423"/>
                </a:cxn>
                <a:cxn ang="0">
                  <a:pos x="502" y="483"/>
                </a:cxn>
                <a:cxn ang="0">
                  <a:pos x="463" y="523"/>
                </a:cxn>
                <a:cxn ang="0">
                  <a:pos x="435" y="539"/>
                </a:cxn>
                <a:cxn ang="0">
                  <a:pos x="391" y="567"/>
                </a:cxn>
                <a:cxn ang="0">
                  <a:pos x="387" y="606"/>
                </a:cxn>
                <a:cxn ang="0">
                  <a:pos x="363" y="650"/>
                </a:cxn>
                <a:cxn ang="0">
                  <a:pos x="331" y="694"/>
                </a:cxn>
                <a:cxn ang="0">
                  <a:pos x="351" y="666"/>
                </a:cxn>
                <a:cxn ang="0">
                  <a:pos x="331" y="702"/>
                </a:cxn>
                <a:cxn ang="0">
                  <a:pos x="307" y="706"/>
                </a:cxn>
                <a:cxn ang="0">
                  <a:pos x="271" y="670"/>
                </a:cxn>
                <a:cxn ang="0">
                  <a:pos x="267" y="638"/>
                </a:cxn>
                <a:cxn ang="0">
                  <a:pos x="307" y="602"/>
                </a:cxn>
                <a:cxn ang="0">
                  <a:pos x="295" y="539"/>
                </a:cxn>
                <a:cxn ang="0">
                  <a:pos x="255" y="511"/>
                </a:cxn>
                <a:cxn ang="0">
                  <a:pos x="247" y="447"/>
                </a:cxn>
                <a:cxn ang="0">
                  <a:pos x="207" y="383"/>
                </a:cxn>
                <a:cxn ang="0">
                  <a:pos x="175" y="339"/>
                </a:cxn>
                <a:cxn ang="0">
                  <a:pos x="132" y="295"/>
                </a:cxn>
                <a:cxn ang="0">
                  <a:pos x="96" y="291"/>
                </a:cxn>
                <a:cxn ang="0">
                  <a:pos x="52" y="279"/>
                </a:cxn>
                <a:cxn ang="0">
                  <a:pos x="12" y="259"/>
                </a:cxn>
                <a:cxn ang="0">
                  <a:pos x="16" y="199"/>
                </a:cxn>
                <a:cxn ang="0">
                  <a:pos x="64" y="175"/>
                </a:cxn>
                <a:cxn ang="0">
                  <a:pos x="60" y="88"/>
                </a:cxn>
                <a:cxn ang="0">
                  <a:pos x="92" y="68"/>
                </a:cxn>
                <a:cxn ang="0">
                  <a:pos x="128" y="84"/>
                </a:cxn>
                <a:cxn ang="0">
                  <a:pos x="151" y="44"/>
                </a:cxn>
                <a:cxn ang="0">
                  <a:pos x="159" y="24"/>
                </a:cxn>
                <a:cxn ang="0">
                  <a:pos x="203" y="4"/>
                </a:cxn>
                <a:cxn ang="0">
                  <a:pos x="215" y="56"/>
                </a:cxn>
                <a:cxn ang="0">
                  <a:pos x="255" y="60"/>
                </a:cxn>
                <a:cxn ang="0">
                  <a:pos x="303" y="56"/>
                </a:cxn>
                <a:cxn ang="0">
                  <a:pos x="343" y="24"/>
                </a:cxn>
                <a:cxn ang="0">
                  <a:pos x="367" y="76"/>
                </a:cxn>
                <a:cxn ang="0">
                  <a:pos x="327" y="128"/>
                </a:cxn>
                <a:cxn ang="0">
                  <a:pos x="343" y="128"/>
                </a:cxn>
                <a:cxn ang="0">
                  <a:pos x="359" y="132"/>
                </a:cxn>
                <a:cxn ang="0">
                  <a:pos x="387" y="124"/>
                </a:cxn>
                <a:cxn ang="0">
                  <a:pos x="411" y="112"/>
                </a:cxn>
                <a:cxn ang="0">
                  <a:pos x="439" y="124"/>
                </a:cxn>
                <a:cxn ang="0">
                  <a:pos x="351" y="124"/>
                </a:cxn>
                <a:cxn ang="0">
                  <a:pos x="375" y="100"/>
                </a:cxn>
                <a:cxn ang="0">
                  <a:pos x="363" y="80"/>
                </a:cxn>
                <a:cxn ang="0">
                  <a:pos x="359" y="92"/>
                </a:cxn>
                <a:cxn ang="0">
                  <a:pos x="375" y="96"/>
                </a:cxn>
                <a:cxn ang="0">
                  <a:pos x="347" y="100"/>
                </a:cxn>
                <a:cxn ang="0">
                  <a:pos x="347" y="112"/>
                </a:cxn>
                <a:cxn ang="0">
                  <a:pos x="387" y="120"/>
                </a:cxn>
                <a:cxn ang="0">
                  <a:pos x="443" y="128"/>
                </a:cxn>
                <a:cxn ang="0">
                  <a:pos x="447" y="148"/>
                </a:cxn>
                <a:cxn ang="0">
                  <a:pos x="387" y="606"/>
                </a:cxn>
                <a:cxn ang="0">
                  <a:pos x="455" y="527"/>
                </a:cxn>
              </a:cxnLst>
              <a:rect l="0" t="0" r="r" b="b"/>
              <a:pathLst>
                <a:path w="594" h="734">
                  <a:moveTo>
                    <a:pt x="443" y="132"/>
                  </a:moveTo>
                  <a:lnTo>
                    <a:pt x="447" y="132"/>
                  </a:lnTo>
                  <a:lnTo>
                    <a:pt x="447" y="136"/>
                  </a:lnTo>
                  <a:lnTo>
                    <a:pt x="447" y="140"/>
                  </a:lnTo>
                  <a:lnTo>
                    <a:pt x="447" y="136"/>
                  </a:lnTo>
                  <a:lnTo>
                    <a:pt x="451" y="140"/>
                  </a:lnTo>
                  <a:lnTo>
                    <a:pt x="447" y="144"/>
                  </a:lnTo>
                  <a:lnTo>
                    <a:pt x="447" y="148"/>
                  </a:lnTo>
                  <a:lnTo>
                    <a:pt x="443" y="152"/>
                  </a:lnTo>
                  <a:lnTo>
                    <a:pt x="447" y="152"/>
                  </a:lnTo>
                  <a:lnTo>
                    <a:pt x="443" y="155"/>
                  </a:lnTo>
                  <a:lnTo>
                    <a:pt x="443" y="159"/>
                  </a:lnTo>
                  <a:lnTo>
                    <a:pt x="447" y="155"/>
                  </a:lnTo>
                  <a:lnTo>
                    <a:pt x="447" y="152"/>
                  </a:lnTo>
                  <a:lnTo>
                    <a:pt x="451" y="148"/>
                  </a:lnTo>
                  <a:lnTo>
                    <a:pt x="451" y="144"/>
                  </a:lnTo>
                  <a:lnTo>
                    <a:pt x="455" y="144"/>
                  </a:lnTo>
                  <a:lnTo>
                    <a:pt x="455" y="148"/>
                  </a:lnTo>
                  <a:lnTo>
                    <a:pt x="451" y="148"/>
                  </a:lnTo>
                  <a:lnTo>
                    <a:pt x="451" y="152"/>
                  </a:lnTo>
                  <a:lnTo>
                    <a:pt x="455" y="148"/>
                  </a:lnTo>
                  <a:lnTo>
                    <a:pt x="455" y="144"/>
                  </a:lnTo>
                  <a:lnTo>
                    <a:pt x="459" y="144"/>
                  </a:lnTo>
                  <a:lnTo>
                    <a:pt x="463" y="144"/>
                  </a:lnTo>
                  <a:lnTo>
                    <a:pt x="463" y="140"/>
                  </a:lnTo>
                  <a:lnTo>
                    <a:pt x="467" y="140"/>
                  </a:lnTo>
                  <a:lnTo>
                    <a:pt x="467" y="144"/>
                  </a:lnTo>
                  <a:lnTo>
                    <a:pt x="471" y="144"/>
                  </a:lnTo>
                  <a:lnTo>
                    <a:pt x="475" y="144"/>
                  </a:lnTo>
                  <a:lnTo>
                    <a:pt x="475" y="148"/>
                  </a:lnTo>
                  <a:lnTo>
                    <a:pt x="479" y="148"/>
                  </a:lnTo>
                  <a:lnTo>
                    <a:pt x="483" y="148"/>
                  </a:lnTo>
                  <a:lnTo>
                    <a:pt x="483" y="152"/>
                  </a:lnTo>
                  <a:lnTo>
                    <a:pt x="483" y="148"/>
                  </a:lnTo>
                  <a:lnTo>
                    <a:pt x="487" y="148"/>
                  </a:lnTo>
                  <a:lnTo>
                    <a:pt x="487" y="152"/>
                  </a:lnTo>
                  <a:lnTo>
                    <a:pt x="487" y="148"/>
                  </a:lnTo>
                  <a:lnTo>
                    <a:pt x="490" y="148"/>
                  </a:lnTo>
                  <a:lnTo>
                    <a:pt x="490" y="152"/>
                  </a:lnTo>
                  <a:lnTo>
                    <a:pt x="494" y="152"/>
                  </a:lnTo>
                  <a:lnTo>
                    <a:pt x="498" y="152"/>
                  </a:lnTo>
                  <a:lnTo>
                    <a:pt x="494" y="152"/>
                  </a:lnTo>
                  <a:lnTo>
                    <a:pt x="498" y="152"/>
                  </a:lnTo>
                  <a:lnTo>
                    <a:pt x="502" y="152"/>
                  </a:lnTo>
                  <a:lnTo>
                    <a:pt x="506" y="152"/>
                  </a:lnTo>
                  <a:lnTo>
                    <a:pt x="506" y="148"/>
                  </a:lnTo>
                  <a:lnTo>
                    <a:pt x="510" y="148"/>
                  </a:lnTo>
                  <a:lnTo>
                    <a:pt x="514" y="152"/>
                  </a:lnTo>
                  <a:lnTo>
                    <a:pt x="518" y="152"/>
                  </a:lnTo>
                  <a:lnTo>
                    <a:pt x="522" y="155"/>
                  </a:lnTo>
                  <a:lnTo>
                    <a:pt x="526" y="155"/>
                  </a:lnTo>
                  <a:lnTo>
                    <a:pt x="526" y="159"/>
                  </a:lnTo>
                  <a:lnTo>
                    <a:pt x="530" y="159"/>
                  </a:lnTo>
                  <a:lnTo>
                    <a:pt x="534" y="163"/>
                  </a:lnTo>
                  <a:lnTo>
                    <a:pt x="538" y="167"/>
                  </a:lnTo>
                  <a:lnTo>
                    <a:pt x="542" y="167"/>
                  </a:lnTo>
                  <a:lnTo>
                    <a:pt x="542" y="171"/>
                  </a:lnTo>
                  <a:lnTo>
                    <a:pt x="542" y="175"/>
                  </a:lnTo>
                  <a:lnTo>
                    <a:pt x="546" y="175"/>
                  </a:lnTo>
                  <a:lnTo>
                    <a:pt x="550" y="179"/>
                  </a:lnTo>
                  <a:lnTo>
                    <a:pt x="550" y="183"/>
                  </a:lnTo>
                  <a:lnTo>
                    <a:pt x="554" y="183"/>
                  </a:lnTo>
                  <a:lnTo>
                    <a:pt x="558" y="183"/>
                  </a:lnTo>
                  <a:lnTo>
                    <a:pt x="558" y="187"/>
                  </a:lnTo>
                  <a:lnTo>
                    <a:pt x="562" y="187"/>
                  </a:lnTo>
                  <a:lnTo>
                    <a:pt x="562" y="191"/>
                  </a:lnTo>
                  <a:lnTo>
                    <a:pt x="566" y="191"/>
                  </a:lnTo>
                  <a:lnTo>
                    <a:pt x="570" y="191"/>
                  </a:lnTo>
                  <a:lnTo>
                    <a:pt x="574" y="191"/>
                  </a:lnTo>
                  <a:lnTo>
                    <a:pt x="578" y="191"/>
                  </a:lnTo>
                  <a:lnTo>
                    <a:pt x="582" y="191"/>
                  </a:lnTo>
                  <a:lnTo>
                    <a:pt x="586" y="191"/>
                  </a:lnTo>
                  <a:lnTo>
                    <a:pt x="586" y="195"/>
                  </a:lnTo>
                  <a:lnTo>
                    <a:pt x="586" y="199"/>
                  </a:lnTo>
                  <a:lnTo>
                    <a:pt x="586" y="203"/>
                  </a:lnTo>
                  <a:lnTo>
                    <a:pt x="590" y="207"/>
                  </a:lnTo>
                  <a:lnTo>
                    <a:pt x="590" y="211"/>
                  </a:lnTo>
                  <a:lnTo>
                    <a:pt x="590" y="215"/>
                  </a:lnTo>
                  <a:lnTo>
                    <a:pt x="590" y="219"/>
                  </a:lnTo>
                  <a:lnTo>
                    <a:pt x="594" y="223"/>
                  </a:lnTo>
                  <a:lnTo>
                    <a:pt x="594" y="227"/>
                  </a:lnTo>
                  <a:lnTo>
                    <a:pt x="594" y="231"/>
                  </a:lnTo>
                  <a:lnTo>
                    <a:pt x="594" y="235"/>
                  </a:lnTo>
                  <a:lnTo>
                    <a:pt x="594" y="239"/>
                  </a:lnTo>
                  <a:lnTo>
                    <a:pt x="594" y="243"/>
                  </a:lnTo>
                  <a:lnTo>
                    <a:pt x="594" y="247"/>
                  </a:lnTo>
                  <a:lnTo>
                    <a:pt x="590" y="251"/>
                  </a:lnTo>
                  <a:lnTo>
                    <a:pt x="590" y="255"/>
                  </a:lnTo>
                  <a:lnTo>
                    <a:pt x="590" y="259"/>
                  </a:lnTo>
                  <a:lnTo>
                    <a:pt x="590" y="263"/>
                  </a:lnTo>
                  <a:lnTo>
                    <a:pt x="586" y="263"/>
                  </a:lnTo>
                  <a:lnTo>
                    <a:pt x="586" y="267"/>
                  </a:lnTo>
                  <a:lnTo>
                    <a:pt x="582" y="271"/>
                  </a:lnTo>
                  <a:lnTo>
                    <a:pt x="582" y="275"/>
                  </a:lnTo>
                  <a:lnTo>
                    <a:pt x="578" y="275"/>
                  </a:lnTo>
                  <a:lnTo>
                    <a:pt x="578" y="279"/>
                  </a:lnTo>
                  <a:lnTo>
                    <a:pt x="574" y="283"/>
                  </a:lnTo>
                  <a:lnTo>
                    <a:pt x="570" y="287"/>
                  </a:lnTo>
                  <a:lnTo>
                    <a:pt x="570" y="291"/>
                  </a:lnTo>
                  <a:lnTo>
                    <a:pt x="566" y="291"/>
                  </a:lnTo>
                  <a:lnTo>
                    <a:pt x="562" y="295"/>
                  </a:lnTo>
                  <a:lnTo>
                    <a:pt x="562" y="299"/>
                  </a:lnTo>
                  <a:lnTo>
                    <a:pt x="558" y="299"/>
                  </a:lnTo>
                  <a:lnTo>
                    <a:pt x="558" y="295"/>
                  </a:lnTo>
                  <a:lnTo>
                    <a:pt x="558" y="299"/>
                  </a:lnTo>
                  <a:lnTo>
                    <a:pt x="558" y="303"/>
                  </a:lnTo>
                  <a:lnTo>
                    <a:pt x="558" y="299"/>
                  </a:lnTo>
                  <a:lnTo>
                    <a:pt x="558" y="303"/>
                  </a:lnTo>
                  <a:lnTo>
                    <a:pt x="554" y="307"/>
                  </a:lnTo>
                  <a:lnTo>
                    <a:pt x="554" y="303"/>
                  </a:lnTo>
                  <a:lnTo>
                    <a:pt x="554" y="307"/>
                  </a:lnTo>
                  <a:lnTo>
                    <a:pt x="554" y="311"/>
                  </a:lnTo>
                  <a:lnTo>
                    <a:pt x="550" y="315"/>
                  </a:lnTo>
                  <a:lnTo>
                    <a:pt x="550" y="319"/>
                  </a:lnTo>
                  <a:lnTo>
                    <a:pt x="550" y="323"/>
                  </a:lnTo>
                  <a:lnTo>
                    <a:pt x="546" y="323"/>
                  </a:lnTo>
                  <a:lnTo>
                    <a:pt x="546" y="327"/>
                  </a:lnTo>
                  <a:lnTo>
                    <a:pt x="546" y="331"/>
                  </a:lnTo>
                  <a:lnTo>
                    <a:pt x="542" y="335"/>
                  </a:lnTo>
                  <a:lnTo>
                    <a:pt x="538" y="335"/>
                  </a:lnTo>
                  <a:lnTo>
                    <a:pt x="538" y="331"/>
                  </a:lnTo>
                  <a:lnTo>
                    <a:pt x="534" y="331"/>
                  </a:lnTo>
                  <a:lnTo>
                    <a:pt x="534" y="327"/>
                  </a:lnTo>
                  <a:lnTo>
                    <a:pt x="534" y="331"/>
                  </a:lnTo>
                  <a:lnTo>
                    <a:pt x="534" y="335"/>
                  </a:lnTo>
                  <a:lnTo>
                    <a:pt x="534" y="331"/>
                  </a:lnTo>
                  <a:lnTo>
                    <a:pt x="530" y="331"/>
                  </a:lnTo>
                  <a:lnTo>
                    <a:pt x="534" y="331"/>
                  </a:lnTo>
                  <a:lnTo>
                    <a:pt x="530" y="331"/>
                  </a:lnTo>
                  <a:lnTo>
                    <a:pt x="534" y="335"/>
                  </a:lnTo>
                  <a:lnTo>
                    <a:pt x="534" y="339"/>
                  </a:lnTo>
                  <a:lnTo>
                    <a:pt x="530" y="339"/>
                  </a:lnTo>
                  <a:lnTo>
                    <a:pt x="530" y="343"/>
                  </a:lnTo>
                  <a:lnTo>
                    <a:pt x="530" y="347"/>
                  </a:lnTo>
                  <a:lnTo>
                    <a:pt x="530" y="351"/>
                  </a:lnTo>
                  <a:lnTo>
                    <a:pt x="530" y="355"/>
                  </a:lnTo>
                  <a:lnTo>
                    <a:pt x="530" y="359"/>
                  </a:lnTo>
                  <a:lnTo>
                    <a:pt x="530" y="355"/>
                  </a:lnTo>
                  <a:lnTo>
                    <a:pt x="530" y="351"/>
                  </a:lnTo>
                  <a:lnTo>
                    <a:pt x="530" y="355"/>
                  </a:lnTo>
                  <a:lnTo>
                    <a:pt x="530" y="359"/>
                  </a:lnTo>
                  <a:lnTo>
                    <a:pt x="530" y="363"/>
                  </a:lnTo>
                  <a:lnTo>
                    <a:pt x="530" y="367"/>
                  </a:lnTo>
                  <a:lnTo>
                    <a:pt x="530" y="371"/>
                  </a:lnTo>
                  <a:lnTo>
                    <a:pt x="530" y="375"/>
                  </a:lnTo>
                  <a:lnTo>
                    <a:pt x="530" y="379"/>
                  </a:lnTo>
                  <a:lnTo>
                    <a:pt x="530" y="383"/>
                  </a:lnTo>
                  <a:lnTo>
                    <a:pt x="530" y="387"/>
                  </a:lnTo>
                  <a:lnTo>
                    <a:pt x="530" y="391"/>
                  </a:lnTo>
                  <a:lnTo>
                    <a:pt x="530" y="395"/>
                  </a:lnTo>
                  <a:lnTo>
                    <a:pt x="530" y="399"/>
                  </a:lnTo>
                  <a:lnTo>
                    <a:pt x="530" y="403"/>
                  </a:lnTo>
                  <a:lnTo>
                    <a:pt x="530" y="407"/>
                  </a:lnTo>
                  <a:lnTo>
                    <a:pt x="526" y="407"/>
                  </a:lnTo>
                  <a:lnTo>
                    <a:pt x="530" y="407"/>
                  </a:lnTo>
                  <a:lnTo>
                    <a:pt x="526" y="411"/>
                  </a:lnTo>
                  <a:lnTo>
                    <a:pt x="526" y="415"/>
                  </a:lnTo>
                  <a:lnTo>
                    <a:pt x="526" y="419"/>
                  </a:lnTo>
                  <a:lnTo>
                    <a:pt x="526" y="423"/>
                  </a:lnTo>
                  <a:lnTo>
                    <a:pt x="530" y="423"/>
                  </a:lnTo>
                  <a:lnTo>
                    <a:pt x="526" y="427"/>
                  </a:lnTo>
                  <a:lnTo>
                    <a:pt x="522" y="427"/>
                  </a:lnTo>
                  <a:lnTo>
                    <a:pt x="522" y="431"/>
                  </a:lnTo>
                  <a:lnTo>
                    <a:pt x="522" y="435"/>
                  </a:lnTo>
                  <a:lnTo>
                    <a:pt x="518" y="435"/>
                  </a:lnTo>
                  <a:lnTo>
                    <a:pt x="518" y="439"/>
                  </a:lnTo>
                  <a:lnTo>
                    <a:pt x="518" y="443"/>
                  </a:lnTo>
                  <a:lnTo>
                    <a:pt x="518" y="447"/>
                  </a:lnTo>
                  <a:lnTo>
                    <a:pt x="518" y="451"/>
                  </a:lnTo>
                  <a:lnTo>
                    <a:pt x="518" y="455"/>
                  </a:lnTo>
                  <a:lnTo>
                    <a:pt x="518" y="459"/>
                  </a:lnTo>
                  <a:lnTo>
                    <a:pt x="518" y="463"/>
                  </a:lnTo>
                  <a:lnTo>
                    <a:pt x="514" y="463"/>
                  </a:lnTo>
                  <a:lnTo>
                    <a:pt x="514" y="467"/>
                  </a:lnTo>
                  <a:lnTo>
                    <a:pt x="514" y="471"/>
                  </a:lnTo>
                  <a:lnTo>
                    <a:pt x="510" y="471"/>
                  </a:lnTo>
                  <a:lnTo>
                    <a:pt x="510" y="475"/>
                  </a:lnTo>
                  <a:lnTo>
                    <a:pt x="510" y="479"/>
                  </a:lnTo>
                  <a:lnTo>
                    <a:pt x="506" y="483"/>
                  </a:lnTo>
                  <a:lnTo>
                    <a:pt x="502" y="483"/>
                  </a:lnTo>
                  <a:lnTo>
                    <a:pt x="502" y="487"/>
                  </a:lnTo>
                  <a:lnTo>
                    <a:pt x="502" y="491"/>
                  </a:lnTo>
                  <a:lnTo>
                    <a:pt x="498" y="495"/>
                  </a:lnTo>
                  <a:lnTo>
                    <a:pt x="498" y="499"/>
                  </a:lnTo>
                  <a:lnTo>
                    <a:pt x="502" y="503"/>
                  </a:lnTo>
                  <a:lnTo>
                    <a:pt x="498" y="507"/>
                  </a:lnTo>
                  <a:lnTo>
                    <a:pt x="494" y="507"/>
                  </a:lnTo>
                  <a:lnTo>
                    <a:pt x="490" y="511"/>
                  </a:lnTo>
                  <a:lnTo>
                    <a:pt x="487" y="515"/>
                  </a:lnTo>
                  <a:lnTo>
                    <a:pt x="487" y="519"/>
                  </a:lnTo>
                  <a:lnTo>
                    <a:pt x="483" y="523"/>
                  </a:lnTo>
                  <a:lnTo>
                    <a:pt x="479" y="523"/>
                  </a:lnTo>
                  <a:lnTo>
                    <a:pt x="475" y="523"/>
                  </a:lnTo>
                  <a:lnTo>
                    <a:pt x="471" y="523"/>
                  </a:lnTo>
                  <a:lnTo>
                    <a:pt x="467" y="523"/>
                  </a:lnTo>
                  <a:lnTo>
                    <a:pt x="467" y="519"/>
                  </a:lnTo>
                  <a:lnTo>
                    <a:pt x="471" y="519"/>
                  </a:lnTo>
                  <a:lnTo>
                    <a:pt x="467" y="519"/>
                  </a:lnTo>
                  <a:lnTo>
                    <a:pt x="467" y="523"/>
                  </a:lnTo>
                  <a:lnTo>
                    <a:pt x="463" y="523"/>
                  </a:lnTo>
                  <a:lnTo>
                    <a:pt x="459" y="527"/>
                  </a:lnTo>
                  <a:lnTo>
                    <a:pt x="455" y="527"/>
                  </a:lnTo>
                  <a:lnTo>
                    <a:pt x="455" y="523"/>
                  </a:lnTo>
                  <a:lnTo>
                    <a:pt x="455" y="527"/>
                  </a:lnTo>
                  <a:lnTo>
                    <a:pt x="459" y="527"/>
                  </a:lnTo>
                  <a:lnTo>
                    <a:pt x="463" y="523"/>
                  </a:lnTo>
                  <a:lnTo>
                    <a:pt x="459" y="523"/>
                  </a:lnTo>
                  <a:lnTo>
                    <a:pt x="455" y="523"/>
                  </a:lnTo>
                  <a:lnTo>
                    <a:pt x="451" y="527"/>
                  </a:lnTo>
                  <a:lnTo>
                    <a:pt x="451" y="523"/>
                  </a:lnTo>
                  <a:lnTo>
                    <a:pt x="447" y="523"/>
                  </a:lnTo>
                  <a:lnTo>
                    <a:pt x="447" y="527"/>
                  </a:lnTo>
                  <a:lnTo>
                    <a:pt x="443" y="527"/>
                  </a:lnTo>
                  <a:lnTo>
                    <a:pt x="447" y="527"/>
                  </a:lnTo>
                  <a:lnTo>
                    <a:pt x="447" y="531"/>
                  </a:lnTo>
                  <a:lnTo>
                    <a:pt x="443" y="531"/>
                  </a:lnTo>
                  <a:lnTo>
                    <a:pt x="439" y="531"/>
                  </a:lnTo>
                  <a:lnTo>
                    <a:pt x="439" y="535"/>
                  </a:lnTo>
                  <a:lnTo>
                    <a:pt x="435" y="535"/>
                  </a:lnTo>
                  <a:lnTo>
                    <a:pt x="435" y="539"/>
                  </a:lnTo>
                  <a:lnTo>
                    <a:pt x="431" y="539"/>
                  </a:lnTo>
                  <a:lnTo>
                    <a:pt x="427" y="539"/>
                  </a:lnTo>
                  <a:lnTo>
                    <a:pt x="423" y="539"/>
                  </a:lnTo>
                  <a:lnTo>
                    <a:pt x="423" y="543"/>
                  </a:lnTo>
                  <a:lnTo>
                    <a:pt x="423" y="539"/>
                  </a:lnTo>
                  <a:lnTo>
                    <a:pt x="423" y="543"/>
                  </a:lnTo>
                  <a:lnTo>
                    <a:pt x="419" y="543"/>
                  </a:lnTo>
                  <a:lnTo>
                    <a:pt x="419" y="539"/>
                  </a:lnTo>
                  <a:lnTo>
                    <a:pt x="419" y="543"/>
                  </a:lnTo>
                  <a:lnTo>
                    <a:pt x="415" y="547"/>
                  </a:lnTo>
                  <a:lnTo>
                    <a:pt x="411" y="547"/>
                  </a:lnTo>
                  <a:lnTo>
                    <a:pt x="411" y="551"/>
                  </a:lnTo>
                  <a:lnTo>
                    <a:pt x="407" y="555"/>
                  </a:lnTo>
                  <a:lnTo>
                    <a:pt x="403" y="555"/>
                  </a:lnTo>
                  <a:lnTo>
                    <a:pt x="399" y="559"/>
                  </a:lnTo>
                  <a:lnTo>
                    <a:pt x="395" y="559"/>
                  </a:lnTo>
                  <a:lnTo>
                    <a:pt x="395" y="563"/>
                  </a:lnTo>
                  <a:lnTo>
                    <a:pt x="395" y="567"/>
                  </a:lnTo>
                  <a:lnTo>
                    <a:pt x="391" y="571"/>
                  </a:lnTo>
                  <a:lnTo>
                    <a:pt x="391" y="567"/>
                  </a:lnTo>
                  <a:lnTo>
                    <a:pt x="387" y="567"/>
                  </a:lnTo>
                  <a:lnTo>
                    <a:pt x="387" y="571"/>
                  </a:lnTo>
                  <a:lnTo>
                    <a:pt x="383" y="571"/>
                  </a:lnTo>
                  <a:lnTo>
                    <a:pt x="387" y="571"/>
                  </a:lnTo>
                  <a:lnTo>
                    <a:pt x="387" y="575"/>
                  </a:lnTo>
                  <a:lnTo>
                    <a:pt x="387" y="579"/>
                  </a:lnTo>
                  <a:lnTo>
                    <a:pt x="383" y="579"/>
                  </a:lnTo>
                  <a:lnTo>
                    <a:pt x="387" y="579"/>
                  </a:lnTo>
                  <a:lnTo>
                    <a:pt x="387" y="583"/>
                  </a:lnTo>
                  <a:lnTo>
                    <a:pt x="387" y="587"/>
                  </a:lnTo>
                  <a:lnTo>
                    <a:pt x="383" y="587"/>
                  </a:lnTo>
                  <a:lnTo>
                    <a:pt x="383" y="583"/>
                  </a:lnTo>
                  <a:lnTo>
                    <a:pt x="383" y="587"/>
                  </a:lnTo>
                  <a:lnTo>
                    <a:pt x="383" y="590"/>
                  </a:lnTo>
                  <a:lnTo>
                    <a:pt x="387" y="590"/>
                  </a:lnTo>
                  <a:lnTo>
                    <a:pt x="383" y="590"/>
                  </a:lnTo>
                  <a:lnTo>
                    <a:pt x="383" y="594"/>
                  </a:lnTo>
                  <a:lnTo>
                    <a:pt x="383" y="598"/>
                  </a:lnTo>
                  <a:lnTo>
                    <a:pt x="387" y="602"/>
                  </a:lnTo>
                  <a:lnTo>
                    <a:pt x="387" y="606"/>
                  </a:lnTo>
                  <a:lnTo>
                    <a:pt x="387" y="602"/>
                  </a:lnTo>
                  <a:lnTo>
                    <a:pt x="383" y="606"/>
                  </a:lnTo>
                  <a:lnTo>
                    <a:pt x="383" y="610"/>
                  </a:lnTo>
                  <a:lnTo>
                    <a:pt x="387" y="610"/>
                  </a:lnTo>
                  <a:lnTo>
                    <a:pt x="383" y="614"/>
                  </a:lnTo>
                  <a:lnTo>
                    <a:pt x="387" y="614"/>
                  </a:lnTo>
                  <a:lnTo>
                    <a:pt x="387" y="618"/>
                  </a:lnTo>
                  <a:lnTo>
                    <a:pt x="383" y="622"/>
                  </a:lnTo>
                  <a:lnTo>
                    <a:pt x="383" y="630"/>
                  </a:lnTo>
                  <a:lnTo>
                    <a:pt x="383" y="626"/>
                  </a:lnTo>
                  <a:lnTo>
                    <a:pt x="383" y="630"/>
                  </a:lnTo>
                  <a:lnTo>
                    <a:pt x="379" y="634"/>
                  </a:lnTo>
                  <a:lnTo>
                    <a:pt x="375" y="634"/>
                  </a:lnTo>
                  <a:lnTo>
                    <a:pt x="375" y="638"/>
                  </a:lnTo>
                  <a:lnTo>
                    <a:pt x="371" y="638"/>
                  </a:lnTo>
                  <a:lnTo>
                    <a:pt x="371" y="642"/>
                  </a:lnTo>
                  <a:lnTo>
                    <a:pt x="371" y="646"/>
                  </a:lnTo>
                  <a:lnTo>
                    <a:pt x="367" y="646"/>
                  </a:lnTo>
                  <a:lnTo>
                    <a:pt x="367" y="650"/>
                  </a:lnTo>
                  <a:lnTo>
                    <a:pt x="363" y="650"/>
                  </a:lnTo>
                  <a:lnTo>
                    <a:pt x="363" y="654"/>
                  </a:lnTo>
                  <a:lnTo>
                    <a:pt x="363" y="658"/>
                  </a:lnTo>
                  <a:lnTo>
                    <a:pt x="363" y="662"/>
                  </a:lnTo>
                  <a:lnTo>
                    <a:pt x="359" y="662"/>
                  </a:lnTo>
                  <a:lnTo>
                    <a:pt x="359" y="666"/>
                  </a:lnTo>
                  <a:lnTo>
                    <a:pt x="359" y="670"/>
                  </a:lnTo>
                  <a:lnTo>
                    <a:pt x="355" y="674"/>
                  </a:lnTo>
                  <a:lnTo>
                    <a:pt x="355" y="678"/>
                  </a:lnTo>
                  <a:lnTo>
                    <a:pt x="351" y="678"/>
                  </a:lnTo>
                  <a:lnTo>
                    <a:pt x="351" y="682"/>
                  </a:lnTo>
                  <a:lnTo>
                    <a:pt x="347" y="686"/>
                  </a:lnTo>
                  <a:lnTo>
                    <a:pt x="347" y="690"/>
                  </a:lnTo>
                  <a:lnTo>
                    <a:pt x="343" y="694"/>
                  </a:lnTo>
                  <a:lnTo>
                    <a:pt x="339" y="694"/>
                  </a:lnTo>
                  <a:lnTo>
                    <a:pt x="335" y="698"/>
                  </a:lnTo>
                  <a:lnTo>
                    <a:pt x="331" y="702"/>
                  </a:lnTo>
                  <a:lnTo>
                    <a:pt x="331" y="698"/>
                  </a:lnTo>
                  <a:lnTo>
                    <a:pt x="335" y="698"/>
                  </a:lnTo>
                  <a:lnTo>
                    <a:pt x="331" y="698"/>
                  </a:lnTo>
                  <a:lnTo>
                    <a:pt x="331" y="694"/>
                  </a:lnTo>
                  <a:lnTo>
                    <a:pt x="335" y="694"/>
                  </a:lnTo>
                  <a:lnTo>
                    <a:pt x="339" y="694"/>
                  </a:lnTo>
                  <a:lnTo>
                    <a:pt x="339" y="690"/>
                  </a:lnTo>
                  <a:lnTo>
                    <a:pt x="343" y="690"/>
                  </a:lnTo>
                  <a:lnTo>
                    <a:pt x="343" y="686"/>
                  </a:lnTo>
                  <a:lnTo>
                    <a:pt x="347" y="686"/>
                  </a:lnTo>
                  <a:lnTo>
                    <a:pt x="347" y="682"/>
                  </a:lnTo>
                  <a:lnTo>
                    <a:pt x="347" y="678"/>
                  </a:lnTo>
                  <a:lnTo>
                    <a:pt x="347" y="682"/>
                  </a:lnTo>
                  <a:lnTo>
                    <a:pt x="351" y="682"/>
                  </a:lnTo>
                  <a:lnTo>
                    <a:pt x="351" y="678"/>
                  </a:lnTo>
                  <a:lnTo>
                    <a:pt x="351" y="674"/>
                  </a:lnTo>
                  <a:lnTo>
                    <a:pt x="355" y="674"/>
                  </a:lnTo>
                  <a:lnTo>
                    <a:pt x="355" y="670"/>
                  </a:lnTo>
                  <a:lnTo>
                    <a:pt x="355" y="666"/>
                  </a:lnTo>
                  <a:lnTo>
                    <a:pt x="355" y="670"/>
                  </a:lnTo>
                  <a:lnTo>
                    <a:pt x="355" y="666"/>
                  </a:lnTo>
                  <a:lnTo>
                    <a:pt x="355" y="662"/>
                  </a:lnTo>
                  <a:lnTo>
                    <a:pt x="355" y="666"/>
                  </a:lnTo>
                  <a:lnTo>
                    <a:pt x="351" y="666"/>
                  </a:lnTo>
                  <a:lnTo>
                    <a:pt x="347" y="666"/>
                  </a:lnTo>
                  <a:lnTo>
                    <a:pt x="347" y="662"/>
                  </a:lnTo>
                  <a:lnTo>
                    <a:pt x="347" y="658"/>
                  </a:lnTo>
                  <a:lnTo>
                    <a:pt x="343" y="658"/>
                  </a:lnTo>
                  <a:lnTo>
                    <a:pt x="343" y="662"/>
                  </a:lnTo>
                  <a:lnTo>
                    <a:pt x="343" y="666"/>
                  </a:lnTo>
                  <a:lnTo>
                    <a:pt x="347" y="666"/>
                  </a:lnTo>
                  <a:lnTo>
                    <a:pt x="343" y="670"/>
                  </a:lnTo>
                  <a:lnTo>
                    <a:pt x="343" y="674"/>
                  </a:lnTo>
                  <a:lnTo>
                    <a:pt x="343" y="670"/>
                  </a:lnTo>
                  <a:lnTo>
                    <a:pt x="343" y="674"/>
                  </a:lnTo>
                  <a:lnTo>
                    <a:pt x="343" y="678"/>
                  </a:lnTo>
                  <a:lnTo>
                    <a:pt x="343" y="682"/>
                  </a:lnTo>
                  <a:lnTo>
                    <a:pt x="339" y="682"/>
                  </a:lnTo>
                  <a:lnTo>
                    <a:pt x="335" y="686"/>
                  </a:lnTo>
                  <a:lnTo>
                    <a:pt x="335" y="690"/>
                  </a:lnTo>
                  <a:lnTo>
                    <a:pt x="331" y="690"/>
                  </a:lnTo>
                  <a:lnTo>
                    <a:pt x="331" y="694"/>
                  </a:lnTo>
                  <a:lnTo>
                    <a:pt x="331" y="698"/>
                  </a:lnTo>
                  <a:lnTo>
                    <a:pt x="331" y="702"/>
                  </a:lnTo>
                  <a:lnTo>
                    <a:pt x="331" y="706"/>
                  </a:lnTo>
                  <a:lnTo>
                    <a:pt x="327" y="710"/>
                  </a:lnTo>
                  <a:lnTo>
                    <a:pt x="327" y="714"/>
                  </a:lnTo>
                  <a:lnTo>
                    <a:pt x="327" y="718"/>
                  </a:lnTo>
                  <a:lnTo>
                    <a:pt x="323" y="722"/>
                  </a:lnTo>
                  <a:lnTo>
                    <a:pt x="319" y="726"/>
                  </a:lnTo>
                  <a:lnTo>
                    <a:pt x="315" y="730"/>
                  </a:lnTo>
                  <a:lnTo>
                    <a:pt x="315" y="734"/>
                  </a:lnTo>
                  <a:lnTo>
                    <a:pt x="311" y="734"/>
                  </a:lnTo>
                  <a:lnTo>
                    <a:pt x="311" y="730"/>
                  </a:lnTo>
                  <a:lnTo>
                    <a:pt x="311" y="726"/>
                  </a:lnTo>
                  <a:lnTo>
                    <a:pt x="311" y="722"/>
                  </a:lnTo>
                  <a:lnTo>
                    <a:pt x="311" y="718"/>
                  </a:lnTo>
                  <a:lnTo>
                    <a:pt x="315" y="718"/>
                  </a:lnTo>
                  <a:lnTo>
                    <a:pt x="315" y="714"/>
                  </a:lnTo>
                  <a:lnTo>
                    <a:pt x="319" y="714"/>
                  </a:lnTo>
                  <a:lnTo>
                    <a:pt x="315" y="710"/>
                  </a:lnTo>
                  <a:lnTo>
                    <a:pt x="311" y="710"/>
                  </a:lnTo>
                  <a:lnTo>
                    <a:pt x="311" y="706"/>
                  </a:lnTo>
                  <a:lnTo>
                    <a:pt x="307" y="706"/>
                  </a:lnTo>
                  <a:lnTo>
                    <a:pt x="307" y="702"/>
                  </a:lnTo>
                  <a:lnTo>
                    <a:pt x="307" y="698"/>
                  </a:lnTo>
                  <a:lnTo>
                    <a:pt x="303" y="698"/>
                  </a:lnTo>
                  <a:lnTo>
                    <a:pt x="303" y="694"/>
                  </a:lnTo>
                  <a:lnTo>
                    <a:pt x="299" y="694"/>
                  </a:lnTo>
                  <a:lnTo>
                    <a:pt x="295" y="690"/>
                  </a:lnTo>
                  <a:lnTo>
                    <a:pt x="295" y="686"/>
                  </a:lnTo>
                  <a:lnTo>
                    <a:pt x="291" y="686"/>
                  </a:lnTo>
                  <a:lnTo>
                    <a:pt x="287" y="686"/>
                  </a:lnTo>
                  <a:lnTo>
                    <a:pt x="283" y="682"/>
                  </a:lnTo>
                  <a:lnTo>
                    <a:pt x="283" y="678"/>
                  </a:lnTo>
                  <a:lnTo>
                    <a:pt x="279" y="678"/>
                  </a:lnTo>
                  <a:lnTo>
                    <a:pt x="279" y="674"/>
                  </a:lnTo>
                  <a:lnTo>
                    <a:pt x="279" y="678"/>
                  </a:lnTo>
                  <a:lnTo>
                    <a:pt x="275" y="678"/>
                  </a:lnTo>
                  <a:lnTo>
                    <a:pt x="271" y="678"/>
                  </a:lnTo>
                  <a:lnTo>
                    <a:pt x="275" y="678"/>
                  </a:lnTo>
                  <a:lnTo>
                    <a:pt x="275" y="674"/>
                  </a:lnTo>
                  <a:lnTo>
                    <a:pt x="271" y="674"/>
                  </a:lnTo>
                  <a:lnTo>
                    <a:pt x="271" y="670"/>
                  </a:lnTo>
                  <a:lnTo>
                    <a:pt x="267" y="670"/>
                  </a:lnTo>
                  <a:lnTo>
                    <a:pt x="267" y="666"/>
                  </a:lnTo>
                  <a:lnTo>
                    <a:pt x="263" y="666"/>
                  </a:lnTo>
                  <a:lnTo>
                    <a:pt x="263" y="662"/>
                  </a:lnTo>
                  <a:lnTo>
                    <a:pt x="259" y="662"/>
                  </a:lnTo>
                  <a:lnTo>
                    <a:pt x="255" y="662"/>
                  </a:lnTo>
                  <a:lnTo>
                    <a:pt x="255" y="666"/>
                  </a:lnTo>
                  <a:lnTo>
                    <a:pt x="251" y="662"/>
                  </a:lnTo>
                  <a:lnTo>
                    <a:pt x="251" y="666"/>
                  </a:lnTo>
                  <a:lnTo>
                    <a:pt x="251" y="662"/>
                  </a:lnTo>
                  <a:lnTo>
                    <a:pt x="247" y="662"/>
                  </a:lnTo>
                  <a:lnTo>
                    <a:pt x="251" y="662"/>
                  </a:lnTo>
                  <a:lnTo>
                    <a:pt x="251" y="658"/>
                  </a:lnTo>
                  <a:lnTo>
                    <a:pt x="255" y="654"/>
                  </a:lnTo>
                  <a:lnTo>
                    <a:pt x="259" y="654"/>
                  </a:lnTo>
                  <a:lnTo>
                    <a:pt x="259" y="650"/>
                  </a:lnTo>
                  <a:lnTo>
                    <a:pt x="263" y="646"/>
                  </a:lnTo>
                  <a:lnTo>
                    <a:pt x="263" y="642"/>
                  </a:lnTo>
                  <a:lnTo>
                    <a:pt x="267" y="642"/>
                  </a:lnTo>
                  <a:lnTo>
                    <a:pt x="267" y="638"/>
                  </a:lnTo>
                  <a:lnTo>
                    <a:pt x="267" y="634"/>
                  </a:lnTo>
                  <a:lnTo>
                    <a:pt x="271" y="634"/>
                  </a:lnTo>
                  <a:lnTo>
                    <a:pt x="271" y="630"/>
                  </a:lnTo>
                  <a:lnTo>
                    <a:pt x="275" y="630"/>
                  </a:lnTo>
                  <a:lnTo>
                    <a:pt x="275" y="626"/>
                  </a:lnTo>
                  <a:lnTo>
                    <a:pt x="279" y="626"/>
                  </a:lnTo>
                  <a:lnTo>
                    <a:pt x="275" y="626"/>
                  </a:lnTo>
                  <a:lnTo>
                    <a:pt x="275" y="622"/>
                  </a:lnTo>
                  <a:lnTo>
                    <a:pt x="279" y="622"/>
                  </a:lnTo>
                  <a:lnTo>
                    <a:pt x="283" y="622"/>
                  </a:lnTo>
                  <a:lnTo>
                    <a:pt x="283" y="618"/>
                  </a:lnTo>
                  <a:lnTo>
                    <a:pt x="287" y="618"/>
                  </a:lnTo>
                  <a:lnTo>
                    <a:pt x="291" y="614"/>
                  </a:lnTo>
                  <a:lnTo>
                    <a:pt x="291" y="610"/>
                  </a:lnTo>
                  <a:lnTo>
                    <a:pt x="295" y="610"/>
                  </a:lnTo>
                  <a:lnTo>
                    <a:pt x="299" y="610"/>
                  </a:lnTo>
                  <a:lnTo>
                    <a:pt x="299" y="606"/>
                  </a:lnTo>
                  <a:lnTo>
                    <a:pt x="303" y="606"/>
                  </a:lnTo>
                  <a:lnTo>
                    <a:pt x="303" y="602"/>
                  </a:lnTo>
                  <a:lnTo>
                    <a:pt x="307" y="602"/>
                  </a:lnTo>
                  <a:lnTo>
                    <a:pt x="307" y="598"/>
                  </a:lnTo>
                  <a:lnTo>
                    <a:pt x="307" y="594"/>
                  </a:lnTo>
                  <a:lnTo>
                    <a:pt x="307" y="590"/>
                  </a:lnTo>
                  <a:lnTo>
                    <a:pt x="307" y="587"/>
                  </a:lnTo>
                  <a:lnTo>
                    <a:pt x="307" y="583"/>
                  </a:lnTo>
                  <a:lnTo>
                    <a:pt x="307" y="579"/>
                  </a:lnTo>
                  <a:lnTo>
                    <a:pt x="307" y="575"/>
                  </a:lnTo>
                  <a:lnTo>
                    <a:pt x="303" y="571"/>
                  </a:lnTo>
                  <a:lnTo>
                    <a:pt x="299" y="571"/>
                  </a:lnTo>
                  <a:lnTo>
                    <a:pt x="299" y="575"/>
                  </a:lnTo>
                  <a:lnTo>
                    <a:pt x="295" y="575"/>
                  </a:lnTo>
                  <a:lnTo>
                    <a:pt x="295" y="571"/>
                  </a:lnTo>
                  <a:lnTo>
                    <a:pt x="295" y="567"/>
                  </a:lnTo>
                  <a:lnTo>
                    <a:pt x="295" y="563"/>
                  </a:lnTo>
                  <a:lnTo>
                    <a:pt x="299" y="559"/>
                  </a:lnTo>
                  <a:lnTo>
                    <a:pt x="299" y="555"/>
                  </a:lnTo>
                  <a:lnTo>
                    <a:pt x="299" y="551"/>
                  </a:lnTo>
                  <a:lnTo>
                    <a:pt x="299" y="547"/>
                  </a:lnTo>
                  <a:lnTo>
                    <a:pt x="299" y="543"/>
                  </a:lnTo>
                  <a:lnTo>
                    <a:pt x="295" y="539"/>
                  </a:lnTo>
                  <a:lnTo>
                    <a:pt x="291" y="543"/>
                  </a:lnTo>
                  <a:lnTo>
                    <a:pt x="287" y="543"/>
                  </a:lnTo>
                  <a:lnTo>
                    <a:pt x="283" y="543"/>
                  </a:lnTo>
                  <a:lnTo>
                    <a:pt x="283" y="539"/>
                  </a:lnTo>
                  <a:lnTo>
                    <a:pt x="283" y="535"/>
                  </a:lnTo>
                  <a:lnTo>
                    <a:pt x="279" y="535"/>
                  </a:lnTo>
                  <a:lnTo>
                    <a:pt x="279" y="531"/>
                  </a:lnTo>
                  <a:lnTo>
                    <a:pt x="279" y="527"/>
                  </a:lnTo>
                  <a:lnTo>
                    <a:pt x="279" y="523"/>
                  </a:lnTo>
                  <a:lnTo>
                    <a:pt x="279" y="519"/>
                  </a:lnTo>
                  <a:lnTo>
                    <a:pt x="279" y="515"/>
                  </a:lnTo>
                  <a:lnTo>
                    <a:pt x="275" y="515"/>
                  </a:lnTo>
                  <a:lnTo>
                    <a:pt x="275" y="511"/>
                  </a:lnTo>
                  <a:lnTo>
                    <a:pt x="271" y="511"/>
                  </a:lnTo>
                  <a:lnTo>
                    <a:pt x="267" y="511"/>
                  </a:lnTo>
                  <a:lnTo>
                    <a:pt x="267" y="507"/>
                  </a:lnTo>
                  <a:lnTo>
                    <a:pt x="263" y="507"/>
                  </a:lnTo>
                  <a:lnTo>
                    <a:pt x="263" y="511"/>
                  </a:lnTo>
                  <a:lnTo>
                    <a:pt x="259" y="511"/>
                  </a:lnTo>
                  <a:lnTo>
                    <a:pt x="255" y="511"/>
                  </a:lnTo>
                  <a:lnTo>
                    <a:pt x="251" y="511"/>
                  </a:lnTo>
                  <a:lnTo>
                    <a:pt x="247" y="507"/>
                  </a:lnTo>
                  <a:lnTo>
                    <a:pt x="243" y="507"/>
                  </a:lnTo>
                  <a:lnTo>
                    <a:pt x="243" y="503"/>
                  </a:lnTo>
                  <a:lnTo>
                    <a:pt x="243" y="499"/>
                  </a:lnTo>
                  <a:lnTo>
                    <a:pt x="243" y="495"/>
                  </a:lnTo>
                  <a:lnTo>
                    <a:pt x="243" y="491"/>
                  </a:lnTo>
                  <a:lnTo>
                    <a:pt x="247" y="487"/>
                  </a:lnTo>
                  <a:lnTo>
                    <a:pt x="243" y="483"/>
                  </a:lnTo>
                  <a:lnTo>
                    <a:pt x="243" y="479"/>
                  </a:lnTo>
                  <a:lnTo>
                    <a:pt x="243" y="475"/>
                  </a:lnTo>
                  <a:lnTo>
                    <a:pt x="239" y="471"/>
                  </a:lnTo>
                  <a:lnTo>
                    <a:pt x="243" y="467"/>
                  </a:lnTo>
                  <a:lnTo>
                    <a:pt x="243" y="463"/>
                  </a:lnTo>
                  <a:lnTo>
                    <a:pt x="239" y="463"/>
                  </a:lnTo>
                  <a:lnTo>
                    <a:pt x="243" y="463"/>
                  </a:lnTo>
                  <a:lnTo>
                    <a:pt x="243" y="455"/>
                  </a:lnTo>
                  <a:lnTo>
                    <a:pt x="243" y="451"/>
                  </a:lnTo>
                  <a:lnTo>
                    <a:pt x="247" y="451"/>
                  </a:lnTo>
                  <a:lnTo>
                    <a:pt x="247" y="447"/>
                  </a:lnTo>
                  <a:lnTo>
                    <a:pt x="247" y="439"/>
                  </a:lnTo>
                  <a:lnTo>
                    <a:pt x="251" y="435"/>
                  </a:lnTo>
                  <a:lnTo>
                    <a:pt x="247" y="431"/>
                  </a:lnTo>
                  <a:lnTo>
                    <a:pt x="247" y="427"/>
                  </a:lnTo>
                  <a:lnTo>
                    <a:pt x="247" y="423"/>
                  </a:lnTo>
                  <a:lnTo>
                    <a:pt x="243" y="419"/>
                  </a:lnTo>
                  <a:lnTo>
                    <a:pt x="239" y="419"/>
                  </a:lnTo>
                  <a:lnTo>
                    <a:pt x="239" y="415"/>
                  </a:lnTo>
                  <a:lnTo>
                    <a:pt x="235" y="415"/>
                  </a:lnTo>
                  <a:lnTo>
                    <a:pt x="235" y="411"/>
                  </a:lnTo>
                  <a:lnTo>
                    <a:pt x="235" y="407"/>
                  </a:lnTo>
                  <a:lnTo>
                    <a:pt x="235" y="403"/>
                  </a:lnTo>
                  <a:lnTo>
                    <a:pt x="239" y="403"/>
                  </a:lnTo>
                  <a:lnTo>
                    <a:pt x="239" y="399"/>
                  </a:lnTo>
                  <a:lnTo>
                    <a:pt x="235" y="399"/>
                  </a:lnTo>
                  <a:lnTo>
                    <a:pt x="227" y="399"/>
                  </a:lnTo>
                  <a:lnTo>
                    <a:pt x="219" y="399"/>
                  </a:lnTo>
                  <a:lnTo>
                    <a:pt x="211" y="399"/>
                  </a:lnTo>
                  <a:lnTo>
                    <a:pt x="211" y="391"/>
                  </a:lnTo>
                  <a:lnTo>
                    <a:pt x="207" y="383"/>
                  </a:lnTo>
                  <a:lnTo>
                    <a:pt x="207" y="379"/>
                  </a:lnTo>
                  <a:lnTo>
                    <a:pt x="203" y="375"/>
                  </a:lnTo>
                  <a:lnTo>
                    <a:pt x="207" y="375"/>
                  </a:lnTo>
                  <a:lnTo>
                    <a:pt x="207" y="371"/>
                  </a:lnTo>
                  <a:lnTo>
                    <a:pt x="207" y="367"/>
                  </a:lnTo>
                  <a:lnTo>
                    <a:pt x="207" y="363"/>
                  </a:lnTo>
                  <a:lnTo>
                    <a:pt x="207" y="359"/>
                  </a:lnTo>
                  <a:lnTo>
                    <a:pt x="203" y="359"/>
                  </a:lnTo>
                  <a:lnTo>
                    <a:pt x="207" y="355"/>
                  </a:lnTo>
                  <a:lnTo>
                    <a:pt x="207" y="351"/>
                  </a:lnTo>
                  <a:lnTo>
                    <a:pt x="203" y="351"/>
                  </a:lnTo>
                  <a:lnTo>
                    <a:pt x="199" y="347"/>
                  </a:lnTo>
                  <a:lnTo>
                    <a:pt x="195" y="347"/>
                  </a:lnTo>
                  <a:lnTo>
                    <a:pt x="191" y="347"/>
                  </a:lnTo>
                  <a:lnTo>
                    <a:pt x="187" y="347"/>
                  </a:lnTo>
                  <a:lnTo>
                    <a:pt x="183" y="347"/>
                  </a:lnTo>
                  <a:lnTo>
                    <a:pt x="183" y="343"/>
                  </a:lnTo>
                  <a:lnTo>
                    <a:pt x="179" y="343"/>
                  </a:lnTo>
                  <a:lnTo>
                    <a:pt x="179" y="339"/>
                  </a:lnTo>
                  <a:lnTo>
                    <a:pt x="175" y="339"/>
                  </a:lnTo>
                  <a:lnTo>
                    <a:pt x="171" y="335"/>
                  </a:lnTo>
                  <a:lnTo>
                    <a:pt x="167" y="335"/>
                  </a:lnTo>
                  <a:lnTo>
                    <a:pt x="167" y="331"/>
                  </a:lnTo>
                  <a:lnTo>
                    <a:pt x="163" y="331"/>
                  </a:lnTo>
                  <a:lnTo>
                    <a:pt x="159" y="331"/>
                  </a:lnTo>
                  <a:lnTo>
                    <a:pt x="159" y="327"/>
                  </a:lnTo>
                  <a:lnTo>
                    <a:pt x="155" y="327"/>
                  </a:lnTo>
                  <a:lnTo>
                    <a:pt x="151" y="327"/>
                  </a:lnTo>
                  <a:lnTo>
                    <a:pt x="147" y="327"/>
                  </a:lnTo>
                  <a:lnTo>
                    <a:pt x="143" y="323"/>
                  </a:lnTo>
                  <a:lnTo>
                    <a:pt x="139" y="319"/>
                  </a:lnTo>
                  <a:lnTo>
                    <a:pt x="135" y="319"/>
                  </a:lnTo>
                  <a:lnTo>
                    <a:pt x="135" y="315"/>
                  </a:lnTo>
                  <a:lnTo>
                    <a:pt x="135" y="311"/>
                  </a:lnTo>
                  <a:lnTo>
                    <a:pt x="135" y="315"/>
                  </a:lnTo>
                  <a:lnTo>
                    <a:pt x="135" y="311"/>
                  </a:lnTo>
                  <a:lnTo>
                    <a:pt x="132" y="307"/>
                  </a:lnTo>
                  <a:lnTo>
                    <a:pt x="132" y="303"/>
                  </a:lnTo>
                  <a:lnTo>
                    <a:pt x="132" y="299"/>
                  </a:lnTo>
                  <a:lnTo>
                    <a:pt x="132" y="295"/>
                  </a:lnTo>
                  <a:lnTo>
                    <a:pt x="132" y="291"/>
                  </a:lnTo>
                  <a:lnTo>
                    <a:pt x="132" y="287"/>
                  </a:lnTo>
                  <a:lnTo>
                    <a:pt x="132" y="283"/>
                  </a:lnTo>
                  <a:lnTo>
                    <a:pt x="132" y="279"/>
                  </a:lnTo>
                  <a:lnTo>
                    <a:pt x="132" y="275"/>
                  </a:lnTo>
                  <a:lnTo>
                    <a:pt x="128" y="275"/>
                  </a:lnTo>
                  <a:lnTo>
                    <a:pt x="128" y="279"/>
                  </a:lnTo>
                  <a:lnTo>
                    <a:pt x="128" y="275"/>
                  </a:lnTo>
                  <a:lnTo>
                    <a:pt x="124" y="275"/>
                  </a:lnTo>
                  <a:lnTo>
                    <a:pt x="120" y="275"/>
                  </a:lnTo>
                  <a:lnTo>
                    <a:pt x="116" y="279"/>
                  </a:lnTo>
                  <a:lnTo>
                    <a:pt x="112" y="279"/>
                  </a:lnTo>
                  <a:lnTo>
                    <a:pt x="108" y="283"/>
                  </a:lnTo>
                  <a:lnTo>
                    <a:pt x="108" y="287"/>
                  </a:lnTo>
                  <a:lnTo>
                    <a:pt x="104" y="287"/>
                  </a:lnTo>
                  <a:lnTo>
                    <a:pt x="100" y="287"/>
                  </a:lnTo>
                  <a:lnTo>
                    <a:pt x="100" y="291"/>
                  </a:lnTo>
                  <a:lnTo>
                    <a:pt x="96" y="291"/>
                  </a:lnTo>
                  <a:lnTo>
                    <a:pt x="96" y="295"/>
                  </a:lnTo>
                  <a:lnTo>
                    <a:pt x="96" y="291"/>
                  </a:lnTo>
                  <a:lnTo>
                    <a:pt x="92" y="291"/>
                  </a:lnTo>
                  <a:lnTo>
                    <a:pt x="92" y="295"/>
                  </a:lnTo>
                  <a:lnTo>
                    <a:pt x="88" y="295"/>
                  </a:lnTo>
                  <a:lnTo>
                    <a:pt x="88" y="299"/>
                  </a:lnTo>
                  <a:lnTo>
                    <a:pt x="84" y="299"/>
                  </a:lnTo>
                  <a:lnTo>
                    <a:pt x="84" y="303"/>
                  </a:lnTo>
                  <a:lnTo>
                    <a:pt x="80" y="303"/>
                  </a:lnTo>
                  <a:lnTo>
                    <a:pt x="80" y="299"/>
                  </a:lnTo>
                  <a:lnTo>
                    <a:pt x="76" y="299"/>
                  </a:lnTo>
                  <a:lnTo>
                    <a:pt x="72" y="299"/>
                  </a:lnTo>
                  <a:lnTo>
                    <a:pt x="68" y="299"/>
                  </a:lnTo>
                  <a:lnTo>
                    <a:pt x="64" y="299"/>
                  </a:lnTo>
                  <a:lnTo>
                    <a:pt x="60" y="299"/>
                  </a:lnTo>
                  <a:lnTo>
                    <a:pt x="56" y="299"/>
                  </a:lnTo>
                  <a:lnTo>
                    <a:pt x="52" y="299"/>
                  </a:lnTo>
                  <a:lnTo>
                    <a:pt x="52" y="295"/>
                  </a:lnTo>
                  <a:lnTo>
                    <a:pt x="52" y="291"/>
                  </a:lnTo>
                  <a:lnTo>
                    <a:pt x="52" y="287"/>
                  </a:lnTo>
                  <a:lnTo>
                    <a:pt x="52" y="283"/>
                  </a:lnTo>
                  <a:lnTo>
                    <a:pt x="52" y="279"/>
                  </a:lnTo>
                  <a:lnTo>
                    <a:pt x="52" y="275"/>
                  </a:lnTo>
                  <a:lnTo>
                    <a:pt x="52" y="271"/>
                  </a:lnTo>
                  <a:lnTo>
                    <a:pt x="48" y="275"/>
                  </a:lnTo>
                  <a:lnTo>
                    <a:pt x="48" y="279"/>
                  </a:lnTo>
                  <a:lnTo>
                    <a:pt x="44" y="279"/>
                  </a:lnTo>
                  <a:lnTo>
                    <a:pt x="40" y="279"/>
                  </a:lnTo>
                  <a:lnTo>
                    <a:pt x="36" y="279"/>
                  </a:lnTo>
                  <a:lnTo>
                    <a:pt x="32" y="279"/>
                  </a:lnTo>
                  <a:lnTo>
                    <a:pt x="28" y="279"/>
                  </a:lnTo>
                  <a:lnTo>
                    <a:pt x="28" y="275"/>
                  </a:lnTo>
                  <a:lnTo>
                    <a:pt x="28" y="271"/>
                  </a:lnTo>
                  <a:lnTo>
                    <a:pt x="24" y="271"/>
                  </a:lnTo>
                  <a:lnTo>
                    <a:pt x="20" y="271"/>
                  </a:lnTo>
                  <a:lnTo>
                    <a:pt x="16" y="271"/>
                  </a:lnTo>
                  <a:lnTo>
                    <a:pt x="12" y="271"/>
                  </a:lnTo>
                  <a:lnTo>
                    <a:pt x="12" y="267"/>
                  </a:lnTo>
                  <a:lnTo>
                    <a:pt x="16" y="267"/>
                  </a:lnTo>
                  <a:lnTo>
                    <a:pt x="16" y="263"/>
                  </a:lnTo>
                  <a:lnTo>
                    <a:pt x="16" y="259"/>
                  </a:lnTo>
                  <a:lnTo>
                    <a:pt x="12" y="259"/>
                  </a:lnTo>
                  <a:lnTo>
                    <a:pt x="12" y="255"/>
                  </a:lnTo>
                  <a:lnTo>
                    <a:pt x="8" y="251"/>
                  </a:lnTo>
                  <a:lnTo>
                    <a:pt x="8" y="247"/>
                  </a:lnTo>
                  <a:lnTo>
                    <a:pt x="8" y="243"/>
                  </a:lnTo>
                  <a:lnTo>
                    <a:pt x="4" y="243"/>
                  </a:lnTo>
                  <a:lnTo>
                    <a:pt x="4" y="239"/>
                  </a:lnTo>
                  <a:lnTo>
                    <a:pt x="0" y="235"/>
                  </a:lnTo>
                  <a:lnTo>
                    <a:pt x="0" y="231"/>
                  </a:lnTo>
                  <a:lnTo>
                    <a:pt x="4" y="231"/>
                  </a:lnTo>
                  <a:lnTo>
                    <a:pt x="4" y="227"/>
                  </a:lnTo>
                  <a:lnTo>
                    <a:pt x="4" y="223"/>
                  </a:lnTo>
                  <a:lnTo>
                    <a:pt x="8" y="219"/>
                  </a:lnTo>
                  <a:lnTo>
                    <a:pt x="12" y="219"/>
                  </a:lnTo>
                  <a:lnTo>
                    <a:pt x="12" y="215"/>
                  </a:lnTo>
                  <a:lnTo>
                    <a:pt x="16" y="215"/>
                  </a:lnTo>
                  <a:lnTo>
                    <a:pt x="12" y="211"/>
                  </a:lnTo>
                  <a:lnTo>
                    <a:pt x="12" y="207"/>
                  </a:lnTo>
                  <a:lnTo>
                    <a:pt x="12" y="203"/>
                  </a:lnTo>
                  <a:lnTo>
                    <a:pt x="16" y="203"/>
                  </a:lnTo>
                  <a:lnTo>
                    <a:pt x="16" y="199"/>
                  </a:lnTo>
                  <a:lnTo>
                    <a:pt x="16" y="195"/>
                  </a:lnTo>
                  <a:lnTo>
                    <a:pt x="16" y="191"/>
                  </a:lnTo>
                  <a:lnTo>
                    <a:pt x="20" y="191"/>
                  </a:lnTo>
                  <a:lnTo>
                    <a:pt x="24" y="187"/>
                  </a:lnTo>
                  <a:lnTo>
                    <a:pt x="24" y="183"/>
                  </a:lnTo>
                  <a:lnTo>
                    <a:pt x="28" y="183"/>
                  </a:lnTo>
                  <a:lnTo>
                    <a:pt x="32" y="183"/>
                  </a:lnTo>
                  <a:lnTo>
                    <a:pt x="32" y="179"/>
                  </a:lnTo>
                  <a:lnTo>
                    <a:pt x="36" y="179"/>
                  </a:lnTo>
                  <a:lnTo>
                    <a:pt x="40" y="179"/>
                  </a:lnTo>
                  <a:lnTo>
                    <a:pt x="44" y="175"/>
                  </a:lnTo>
                  <a:lnTo>
                    <a:pt x="44" y="179"/>
                  </a:lnTo>
                  <a:lnTo>
                    <a:pt x="48" y="179"/>
                  </a:lnTo>
                  <a:lnTo>
                    <a:pt x="48" y="175"/>
                  </a:lnTo>
                  <a:lnTo>
                    <a:pt x="52" y="175"/>
                  </a:lnTo>
                  <a:lnTo>
                    <a:pt x="56" y="175"/>
                  </a:lnTo>
                  <a:lnTo>
                    <a:pt x="56" y="171"/>
                  </a:lnTo>
                  <a:lnTo>
                    <a:pt x="56" y="175"/>
                  </a:lnTo>
                  <a:lnTo>
                    <a:pt x="60" y="175"/>
                  </a:lnTo>
                  <a:lnTo>
                    <a:pt x="64" y="175"/>
                  </a:lnTo>
                  <a:lnTo>
                    <a:pt x="64" y="167"/>
                  </a:lnTo>
                  <a:lnTo>
                    <a:pt x="64" y="159"/>
                  </a:lnTo>
                  <a:lnTo>
                    <a:pt x="68" y="144"/>
                  </a:lnTo>
                  <a:lnTo>
                    <a:pt x="68" y="140"/>
                  </a:lnTo>
                  <a:lnTo>
                    <a:pt x="68" y="132"/>
                  </a:lnTo>
                  <a:lnTo>
                    <a:pt x="68" y="124"/>
                  </a:lnTo>
                  <a:lnTo>
                    <a:pt x="72" y="124"/>
                  </a:lnTo>
                  <a:lnTo>
                    <a:pt x="72" y="120"/>
                  </a:lnTo>
                  <a:lnTo>
                    <a:pt x="72" y="116"/>
                  </a:lnTo>
                  <a:lnTo>
                    <a:pt x="68" y="116"/>
                  </a:lnTo>
                  <a:lnTo>
                    <a:pt x="72" y="116"/>
                  </a:lnTo>
                  <a:lnTo>
                    <a:pt x="68" y="116"/>
                  </a:lnTo>
                  <a:lnTo>
                    <a:pt x="68" y="112"/>
                  </a:lnTo>
                  <a:lnTo>
                    <a:pt x="68" y="108"/>
                  </a:lnTo>
                  <a:lnTo>
                    <a:pt x="64" y="108"/>
                  </a:lnTo>
                  <a:lnTo>
                    <a:pt x="64" y="104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88"/>
                  </a:lnTo>
                  <a:lnTo>
                    <a:pt x="64" y="88"/>
                  </a:lnTo>
                  <a:lnTo>
                    <a:pt x="68" y="84"/>
                  </a:lnTo>
                  <a:lnTo>
                    <a:pt x="72" y="84"/>
                  </a:lnTo>
                  <a:lnTo>
                    <a:pt x="72" y="88"/>
                  </a:lnTo>
                  <a:lnTo>
                    <a:pt x="76" y="88"/>
                  </a:lnTo>
                  <a:lnTo>
                    <a:pt x="76" y="84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4" y="80"/>
                  </a:lnTo>
                  <a:lnTo>
                    <a:pt x="64" y="68"/>
                  </a:lnTo>
                  <a:lnTo>
                    <a:pt x="68" y="64"/>
                  </a:lnTo>
                  <a:lnTo>
                    <a:pt x="72" y="68"/>
                  </a:lnTo>
                  <a:lnTo>
                    <a:pt x="76" y="68"/>
                  </a:lnTo>
                  <a:lnTo>
                    <a:pt x="80" y="68"/>
                  </a:lnTo>
                  <a:lnTo>
                    <a:pt x="88" y="68"/>
                  </a:lnTo>
                  <a:lnTo>
                    <a:pt x="88" y="64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92" y="64"/>
                  </a:lnTo>
                  <a:lnTo>
                    <a:pt x="92" y="68"/>
                  </a:lnTo>
                  <a:lnTo>
                    <a:pt x="92" y="64"/>
                  </a:lnTo>
                  <a:lnTo>
                    <a:pt x="96" y="64"/>
                  </a:lnTo>
                  <a:lnTo>
                    <a:pt x="96" y="60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4" y="64"/>
                  </a:lnTo>
                  <a:lnTo>
                    <a:pt x="104" y="68"/>
                  </a:lnTo>
                  <a:lnTo>
                    <a:pt x="108" y="72"/>
                  </a:lnTo>
                  <a:lnTo>
                    <a:pt x="104" y="72"/>
                  </a:lnTo>
                  <a:lnTo>
                    <a:pt x="104" y="76"/>
                  </a:lnTo>
                  <a:lnTo>
                    <a:pt x="108" y="76"/>
                  </a:lnTo>
                  <a:lnTo>
                    <a:pt x="112" y="76"/>
                  </a:lnTo>
                  <a:lnTo>
                    <a:pt x="116" y="84"/>
                  </a:lnTo>
                  <a:lnTo>
                    <a:pt x="120" y="84"/>
                  </a:lnTo>
                  <a:lnTo>
                    <a:pt x="124" y="84"/>
                  </a:lnTo>
                  <a:lnTo>
                    <a:pt x="124" y="80"/>
                  </a:lnTo>
                  <a:lnTo>
                    <a:pt x="128" y="80"/>
                  </a:lnTo>
                  <a:lnTo>
                    <a:pt x="128" y="84"/>
                  </a:lnTo>
                  <a:lnTo>
                    <a:pt x="128" y="88"/>
                  </a:lnTo>
                  <a:lnTo>
                    <a:pt x="128" y="84"/>
                  </a:lnTo>
                  <a:lnTo>
                    <a:pt x="132" y="84"/>
                  </a:lnTo>
                  <a:lnTo>
                    <a:pt x="132" y="80"/>
                  </a:lnTo>
                  <a:lnTo>
                    <a:pt x="135" y="80"/>
                  </a:lnTo>
                  <a:lnTo>
                    <a:pt x="135" y="76"/>
                  </a:lnTo>
                  <a:lnTo>
                    <a:pt x="139" y="76"/>
                  </a:lnTo>
                  <a:lnTo>
                    <a:pt x="143" y="72"/>
                  </a:lnTo>
                  <a:lnTo>
                    <a:pt x="147" y="72"/>
                  </a:lnTo>
                  <a:lnTo>
                    <a:pt x="151" y="68"/>
                  </a:lnTo>
                  <a:lnTo>
                    <a:pt x="151" y="64"/>
                  </a:lnTo>
                  <a:lnTo>
                    <a:pt x="151" y="60"/>
                  </a:lnTo>
                  <a:lnTo>
                    <a:pt x="155" y="60"/>
                  </a:lnTo>
                  <a:lnTo>
                    <a:pt x="159" y="60"/>
                  </a:lnTo>
                  <a:lnTo>
                    <a:pt x="159" y="56"/>
                  </a:lnTo>
                  <a:lnTo>
                    <a:pt x="163" y="56"/>
                  </a:lnTo>
                  <a:lnTo>
                    <a:pt x="163" y="52"/>
                  </a:lnTo>
                  <a:lnTo>
                    <a:pt x="159" y="52"/>
                  </a:lnTo>
                  <a:lnTo>
                    <a:pt x="155" y="52"/>
                  </a:lnTo>
                  <a:lnTo>
                    <a:pt x="151" y="52"/>
                  </a:lnTo>
                  <a:lnTo>
                    <a:pt x="151" y="48"/>
                  </a:lnTo>
                  <a:lnTo>
                    <a:pt x="151" y="44"/>
                  </a:lnTo>
                  <a:lnTo>
                    <a:pt x="151" y="40"/>
                  </a:lnTo>
                  <a:lnTo>
                    <a:pt x="147" y="40"/>
                  </a:lnTo>
                  <a:lnTo>
                    <a:pt x="147" y="36"/>
                  </a:lnTo>
                  <a:lnTo>
                    <a:pt x="147" y="32"/>
                  </a:lnTo>
                  <a:lnTo>
                    <a:pt x="147" y="28"/>
                  </a:lnTo>
                  <a:lnTo>
                    <a:pt x="143" y="28"/>
                  </a:lnTo>
                  <a:lnTo>
                    <a:pt x="143" y="24"/>
                  </a:lnTo>
                  <a:lnTo>
                    <a:pt x="139" y="24"/>
                  </a:lnTo>
                  <a:lnTo>
                    <a:pt x="139" y="20"/>
                  </a:lnTo>
                  <a:lnTo>
                    <a:pt x="143" y="20"/>
                  </a:lnTo>
                  <a:lnTo>
                    <a:pt x="143" y="24"/>
                  </a:lnTo>
                  <a:lnTo>
                    <a:pt x="147" y="20"/>
                  </a:lnTo>
                  <a:lnTo>
                    <a:pt x="147" y="24"/>
                  </a:lnTo>
                  <a:lnTo>
                    <a:pt x="151" y="24"/>
                  </a:lnTo>
                  <a:lnTo>
                    <a:pt x="151" y="28"/>
                  </a:lnTo>
                  <a:lnTo>
                    <a:pt x="151" y="24"/>
                  </a:lnTo>
                  <a:lnTo>
                    <a:pt x="155" y="24"/>
                  </a:lnTo>
                  <a:lnTo>
                    <a:pt x="159" y="24"/>
                  </a:lnTo>
                  <a:lnTo>
                    <a:pt x="159" y="28"/>
                  </a:lnTo>
                  <a:lnTo>
                    <a:pt x="159" y="24"/>
                  </a:lnTo>
                  <a:lnTo>
                    <a:pt x="163" y="24"/>
                  </a:lnTo>
                  <a:lnTo>
                    <a:pt x="163" y="28"/>
                  </a:lnTo>
                  <a:lnTo>
                    <a:pt x="167" y="32"/>
                  </a:lnTo>
                  <a:lnTo>
                    <a:pt x="171" y="32"/>
                  </a:lnTo>
                  <a:lnTo>
                    <a:pt x="171" y="28"/>
                  </a:lnTo>
                  <a:lnTo>
                    <a:pt x="171" y="24"/>
                  </a:lnTo>
                  <a:lnTo>
                    <a:pt x="175" y="24"/>
                  </a:lnTo>
                  <a:lnTo>
                    <a:pt x="175" y="20"/>
                  </a:lnTo>
                  <a:lnTo>
                    <a:pt x="179" y="20"/>
                  </a:lnTo>
                  <a:lnTo>
                    <a:pt x="179" y="24"/>
                  </a:lnTo>
                  <a:lnTo>
                    <a:pt x="183" y="20"/>
                  </a:lnTo>
                  <a:lnTo>
                    <a:pt x="187" y="20"/>
                  </a:lnTo>
                  <a:lnTo>
                    <a:pt x="191" y="20"/>
                  </a:lnTo>
                  <a:lnTo>
                    <a:pt x="191" y="16"/>
                  </a:lnTo>
                  <a:lnTo>
                    <a:pt x="195" y="16"/>
                  </a:lnTo>
                  <a:lnTo>
                    <a:pt x="199" y="16"/>
                  </a:lnTo>
                  <a:lnTo>
                    <a:pt x="199" y="12"/>
                  </a:lnTo>
                  <a:lnTo>
                    <a:pt x="203" y="12"/>
                  </a:lnTo>
                  <a:lnTo>
                    <a:pt x="203" y="8"/>
                  </a:lnTo>
                  <a:lnTo>
                    <a:pt x="203" y="4"/>
                  </a:lnTo>
                  <a:lnTo>
                    <a:pt x="207" y="4"/>
                  </a:lnTo>
                  <a:lnTo>
                    <a:pt x="207" y="0"/>
                  </a:lnTo>
                  <a:lnTo>
                    <a:pt x="211" y="0"/>
                  </a:lnTo>
                  <a:lnTo>
                    <a:pt x="211" y="4"/>
                  </a:lnTo>
                  <a:lnTo>
                    <a:pt x="211" y="8"/>
                  </a:lnTo>
                  <a:lnTo>
                    <a:pt x="211" y="12"/>
                  </a:lnTo>
                  <a:lnTo>
                    <a:pt x="211" y="16"/>
                  </a:lnTo>
                  <a:lnTo>
                    <a:pt x="215" y="16"/>
                  </a:lnTo>
                  <a:lnTo>
                    <a:pt x="219" y="16"/>
                  </a:lnTo>
                  <a:lnTo>
                    <a:pt x="215" y="20"/>
                  </a:lnTo>
                  <a:lnTo>
                    <a:pt x="219" y="24"/>
                  </a:lnTo>
                  <a:lnTo>
                    <a:pt x="219" y="28"/>
                  </a:lnTo>
                  <a:lnTo>
                    <a:pt x="215" y="32"/>
                  </a:lnTo>
                  <a:lnTo>
                    <a:pt x="215" y="36"/>
                  </a:lnTo>
                  <a:lnTo>
                    <a:pt x="215" y="40"/>
                  </a:lnTo>
                  <a:lnTo>
                    <a:pt x="211" y="44"/>
                  </a:lnTo>
                  <a:lnTo>
                    <a:pt x="211" y="48"/>
                  </a:lnTo>
                  <a:lnTo>
                    <a:pt x="211" y="52"/>
                  </a:lnTo>
                  <a:lnTo>
                    <a:pt x="215" y="52"/>
                  </a:lnTo>
                  <a:lnTo>
                    <a:pt x="215" y="56"/>
                  </a:lnTo>
                  <a:lnTo>
                    <a:pt x="215" y="60"/>
                  </a:lnTo>
                  <a:lnTo>
                    <a:pt x="215" y="64"/>
                  </a:lnTo>
                  <a:lnTo>
                    <a:pt x="219" y="64"/>
                  </a:lnTo>
                  <a:lnTo>
                    <a:pt x="219" y="68"/>
                  </a:lnTo>
                  <a:lnTo>
                    <a:pt x="223" y="68"/>
                  </a:lnTo>
                  <a:lnTo>
                    <a:pt x="223" y="72"/>
                  </a:lnTo>
                  <a:lnTo>
                    <a:pt x="227" y="72"/>
                  </a:lnTo>
                  <a:lnTo>
                    <a:pt x="227" y="76"/>
                  </a:lnTo>
                  <a:lnTo>
                    <a:pt x="231" y="76"/>
                  </a:lnTo>
                  <a:lnTo>
                    <a:pt x="235" y="76"/>
                  </a:lnTo>
                  <a:lnTo>
                    <a:pt x="235" y="72"/>
                  </a:lnTo>
                  <a:lnTo>
                    <a:pt x="239" y="68"/>
                  </a:lnTo>
                  <a:lnTo>
                    <a:pt x="239" y="72"/>
                  </a:lnTo>
                  <a:lnTo>
                    <a:pt x="243" y="72"/>
                  </a:lnTo>
                  <a:lnTo>
                    <a:pt x="243" y="68"/>
                  </a:lnTo>
                  <a:lnTo>
                    <a:pt x="247" y="68"/>
                  </a:lnTo>
                  <a:lnTo>
                    <a:pt x="251" y="68"/>
                  </a:lnTo>
                  <a:lnTo>
                    <a:pt x="251" y="64"/>
                  </a:lnTo>
                  <a:lnTo>
                    <a:pt x="251" y="60"/>
                  </a:lnTo>
                  <a:lnTo>
                    <a:pt x="255" y="60"/>
                  </a:lnTo>
                  <a:lnTo>
                    <a:pt x="255" y="64"/>
                  </a:lnTo>
                  <a:lnTo>
                    <a:pt x="255" y="60"/>
                  </a:lnTo>
                  <a:lnTo>
                    <a:pt x="259" y="64"/>
                  </a:lnTo>
                  <a:lnTo>
                    <a:pt x="263" y="64"/>
                  </a:lnTo>
                  <a:lnTo>
                    <a:pt x="267" y="64"/>
                  </a:lnTo>
                  <a:lnTo>
                    <a:pt x="271" y="64"/>
                  </a:lnTo>
                  <a:lnTo>
                    <a:pt x="275" y="64"/>
                  </a:lnTo>
                  <a:lnTo>
                    <a:pt x="275" y="60"/>
                  </a:lnTo>
                  <a:lnTo>
                    <a:pt x="271" y="56"/>
                  </a:lnTo>
                  <a:lnTo>
                    <a:pt x="271" y="52"/>
                  </a:lnTo>
                  <a:lnTo>
                    <a:pt x="275" y="52"/>
                  </a:lnTo>
                  <a:lnTo>
                    <a:pt x="279" y="56"/>
                  </a:lnTo>
                  <a:lnTo>
                    <a:pt x="279" y="52"/>
                  </a:lnTo>
                  <a:lnTo>
                    <a:pt x="287" y="52"/>
                  </a:lnTo>
                  <a:lnTo>
                    <a:pt x="291" y="52"/>
                  </a:lnTo>
                  <a:lnTo>
                    <a:pt x="291" y="56"/>
                  </a:lnTo>
                  <a:lnTo>
                    <a:pt x="295" y="56"/>
                  </a:lnTo>
                  <a:lnTo>
                    <a:pt x="299" y="60"/>
                  </a:lnTo>
                  <a:lnTo>
                    <a:pt x="303" y="60"/>
                  </a:lnTo>
                  <a:lnTo>
                    <a:pt x="303" y="56"/>
                  </a:lnTo>
                  <a:lnTo>
                    <a:pt x="307" y="56"/>
                  </a:lnTo>
                  <a:lnTo>
                    <a:pt x="311" y="56"/>
                  </a:lnTo>
                  <a:lnTo>
                    <a:pt x="315" y="56"/>
                  </a:lnTo>
                  <a:lnTo>
                    <a:pt x="319" y="56"/>
                  </a:lnTo>
                  <a:lnTo>
                    <a:pt x="319" y="60"/>
                  </a:lnTo>
                  <a:lnTo>
                    <a:pt x="319" y="56"/>
                  </a:lnTo>
                  <a:lnTo>
                    <a:pt x="323" y="56"/>
                  </a:lnTo>
                  <a:lnTo>
                    <a:pt x="323" y="52"/>
                  </a:lnTo>
                  <a:lnTo>
                    <a:pt x="327" y="52"/>
                  </a:lnTo>
                  <a:lnTo>
                    <a:pt x="327" y="48"/>
                  </a:lnTo>
                  <a:lnTo>
                    <a:pt x="327" y="44"/>
                  </a:lnTo>
                  <a:lnTo>
                    <a:pt x="327" y="40"/>
                  </a:lnTo>
                  <a:lnTo>
                    <a:pt x="331" y="40"/>
                  </a:lnTo>
                  <a:lnTo>
                    <a:pt x="331" y="36"/>
                  </a:lnTo>
                  <a:lnTo>
                    <a:pt x="335" y="32"/>
                  </a:lnTo>
                  <a:lnTo>
                    <a:pt x="335" y="28"/>
                  </a:lnTo>
                  <a:lnTo>
                    <a:pt x="335" y="24"/>
                  </a:lnTo>
                  <a:lnTo>
                    <a:pt x="339" y="24"/>
                  </a:lnTo>
                  <a:lnTo>
                    <a:pt x="339" y="20"/>
                  </a:lnTo>
                  <a:lnTo>
                    <a:pt x="343" y="24"/>
                  </a:lnTo>
                  <a:lnTo>
                    <a:pt x="339" y="20"/>
                  </a:lnTo>
                  <a:lnTo>
                    <a:pt x="339" y="16"/>
                  </a:lnTo>
                  <a:lnTo>
                    <a:pt x="343" y="20"/>
                  </a:lnTo>
                  <a:lnTo>
                    <a:pt x="347" y="24"/>
                  </a:lnTo>
                  <a:lnTo>
                    <a:pt x="347" y="28"/>
                  </a:lnTo>
                  <a:lnTo>
                    <a:pt x="347" y="32"/>
                  </a:lnTo>
                  <a:lnTo>
                    <a:pt x="347" y="36"/>
                  </a:lnTo>
                  <a:lnTo>
                    <a:pt x="347" y="40"/>
                  </a:lnTo>
                  <a:lnTo>
                    <a:pt x="347" y="44"/>
                  </a:lnTo>
                  <a:lnTo>
                    <a:pt x="351" y="44"/>
                  </a:lnTo>
                  <a:lnTo>
                    <a:pt x="351" y="48"/>
                  </a:lnTo>
                  <a:lnTo>
                    <a:pt x="351" y="52"/>
                  </a:lnTo>
                  <a:lnTo>
                    <a:pt x="355" y="60"/>
                  </a:lnTo>
                  <a:lnTo>
                    <a:pt x="355" y="64"/>
                  </a:lnTo>
                  <a:lnTo>
                    <a:pt x="359" y="64"/>
                  </a:lnTo>
                  <a:lnTo>
                    <a:pt x="363" y="64"/>
                  </a:lnTo>
                  <a:lnTo>
                    <a:pt x="367" y="68"/>
                  </a:lnTo>
                  <a:lnTo>
                    <a:pt x="367" y="72"/>
                  </a:lnTo>
                  <a:lnTo>
                    <a:pt x="363" y="76"/>
                  </a:lnTo>
                  <a:lnTo>
                    <a:pt x="367" y="76"/>
                  </a:lnTo>
                  <a:lnTo>
                    <a:pt x="363" y="76"/>
                  </a:lnTo>
                  <a:lnTo>
                    <a:pt x="363" y="80"/>
                  </a:lnTo>
                  <a:lnTo>
                    <a:pt x="359" y="80"/>
                  </a:lnTo>
                  <a:lnTo>
                    <a:pt x="359" y="84"/>
                  </a:lnTo>
                  <a:lnTo>
                    <a:pt x="355" y="88"/>
                  </a:lnTo>
                  <a:lnTo>
                    <a:pt x="355" y="92"/>
                  </a:lnTo>
                  <a:lnTo>
                    <a:pt x="351" y="96"/>
                  </a:lnTo>
                  <a:lnTo>
                    <a:pt x="347" y="96"/>
                  </a:lnTo>
                  <a:lnTo>
                    <a:pt x="347" y="100"/>
                  </a:lnTo>
                  <a:lnTo>
                    <a:pt x="343" y="100"/>
                  </a:lnTo>
                  <a:lnTo>
                    <a:pt x="343" y="104"/>
                  </a:lnTo>
                  <a:lnTo>
                    <a:pt x="343" y="108"/>
                  </a:lnTo>
                  <a:lnTo>
                    <a:pt x="339" y="108"/>
                  </a:lnTo>
                  <a:lnTo>
                    <a:pt x="339" y="112"/>
                  </a:lnTo>
                  <a:lnTo>
                    <a:pt x="339" y="116"/>
                  </a:lnTo>
                  <a:lnTo>
                    <a:pt x="335" y="120"/>
                  </a:lnTo>
                  <a:lnTo>
                    <a:pt x="335" y="124"/>
                  </a:lnTo>
                  <a:lnTo>
                    <a:pt x="331" y="124"/>
                  </a:lnTo>
                  <a:lnTo>
                    <a:pt x="327" y="124"/>
                  </a:lnTo>
                  <a:lnTo>
                    <a:pt x="327" y="128"/>
                  </a:lnTo>
                  <a:lnTo>
                    <a:pt x="323" y="124"/>
                  </a:lnTo>
                  <a:lnTo>
                    <a:pt x="323" y="128"/>
                  </a:lnTo>
                  <a:lnTo>
                    <a:pt x="327" y="128"/>
                  </a:lnTo>
                  <a:lnTo>
                    <a:pt x="331" y="128"/>
                  </a:lnTo>
                  <a:lnTo>
                    <a:pt x="335" y="128"/>
                  </a:lnTo>
                  <a:lnTo>
                    <a:pt x="335" y="124"/>
                  </a:lnTo>
                  <a:lnTo>
                    <a:pt x="339" y="124"/>
                  </a:lnTo>
                  <a:lnTo>
                    <a:pt x="343" y="124"/>
                  </a:lnTo>
                  <a:lnTo>
                    <a:pt x="347" y="120"/>
                  </a:lnTo>
                  <a:lnTo>
                    <a:pt x="347" y="116"/>
                  </a:lnTo>
                  <a:lnTo>
                    <a:pt x="351" y="116"/>
                  </a:lnTo>
                  <a:lnTo>
                    <a:pt x="351" y="120"/>
                  </a:lnTo>
                  <a:lnTo>
                    <a:pt x="351" y="124"/>
                  </a:lnTo>
                  <a:lnTo>
                    <a:pt x="351" y="128"/>
                  </a:lnTo>
                  <a:lnTo>
                    <a:pt x="355" y="128"/>
                  </a:lnTo>
                  <a:lnTo>
                    <a:pt x="355" y="132"/>
                  </a:lnTo>
                  <a:lnTo>
                    <a:pt x="351" y="132"/>
                  </a:lnTo>
                  <a:lnTo>
                    <a:pt x="347" y="132"/>
                  </a:lnTo>
                  <a:lnTo>
                    <a:pt x="343" y="132"/>
                  </a:lnTo>
                  <a:lnTo>
                    <a:pt x="343" y="128"/>
                  </a:lnTo>
                  <a:lnTo>
                    <a:pt x="343" y="132"/>
                  </a:lnTo>
                  <a:lnTo>
                    <a:pt x="343" y="136"/>
                  </a:lnTo>
                  <a:lnTo>
                    <a:pt x="339" y="136"/>
                  </a:lnTo>
                  <a:lnTo>
                    <a:pt x="343" y="140"/>
                  </a:lnTo>
                  <a:lnTo>
                    <a:pt x="343" y="136"/>
                  </a:lnTo>
                  <a:lnTo>
                    <a:pt x="343" y="132"/>
                  </a:lnTo>
                  <a:lnTo>
                    <a:pt x="347" y="132"/>
                  </a:lnTo>
                  <a:lnTo>
                    <a:pt x="347" y="136"/>
                  </a:lnTo>
                  <a:lnTo>
                    <a:pt x="347" y="140"/>
                  </a:lnTo>
                  <a:lnTo>
                    <a:pt x="347" y="144"/>
                  </a:lnTo>
                  <a:lnTo>
                    <a:pt x="351" y="144"/>
                  </a:lnTo>
                  <a:lnTo>
                    <a:pt x="347" y="140"/>
                  </a:lnTo>
                  <a:lnTo>
                    <a:pt x="351" y="136"/>
                  </a:lnTo>
                  <a:lnTo>
                    <a:pt x="355" y="140"/>
                  </a:lnTo>
                  <a:lnTo>
                    <a:pt x="351" y="136"/>
                  </a:lnTo>
                  <a:lnTo>
                    <a:pt x="351" y="132"/>
                  </a:lnTo>
                  <a:lnTo>
                    <a:pt x="355" y="132"/>
                  </a:lnTo>
                  <a:lnTo>
                    <a:pt x="359" y="132"/>
                  </a:lnTo>
                  <a:lnTo>
                    <a:pt x="355" y="132"/>
                  </a:lnTo>
                  <a:lnTo>
                    <a:pt x="359" y="132"/>
                  </a:lnTo>
                  <a:lnTo>
                    <a:pt x="363" y="132"/>
                  </a:lnTo>
                  <a:lnTo>
                    <a:pt x="367" y="132"/>
                  </a:lnTo>
                  <a:lnTo>
                    <a:pt x="371" y="132"/>
                  </a:lnTo>
                  <a:lnTo>
                    <a:pt x="371" y="128"/>
                  </a:lnTo>
                  <a:lnTo>
                    <a:pt x="375" y="128"/>
                  </a:lnTo>
                  <a:lnTo>
                    <a:pt x="375" y="132"/>
                  </a:lnTo>
                  <a:lnTo>
                    <a:pt x="375" y="136"/>
                  </a:lnTo>
                  <a:lnTo>
                    <a:pt x="371" y="136"/>
                  </a:lnTo>
                  <a:lnTo>
                    <a:pt x="371" y="140"/>
                  </a:lnTo>
                  <a:lnTo>
                    <a:pt x="371" y="144"/>
                  </a:lnTo>
                  <a:lnTo>
                    <a:pt x="371" y="140"/>
                  </a:lnTo>
                  <a:lnTo>
                    <a:pt x="375" y="140"/>
                  </a:lnTo>
                  <a:lnTo>
                    <a:pt x="375" y="136"/>
                  </a:lnTo>
                  <a:lnTo>
                    <a:pt x="375" y="132"/>
                  </a:lnTo>
                  <a:lnTo>
                    <a:pt x="379" y="132"/>
                  </a:lnTo>
                  <a:lnTo>
                    <a:pt x="383" y="128"/>
                  </a:lnTo>
                  <a:lnTo>
                    <a:pt x="383" y="124"/>
                  </a:lnTo>
                  <a:lnTo>
                    <a:pt x="387" y="124"/>
                  </a:lnTo>
                  <a:lnTo>
                    <a:pt x="387" y="128"/>
                  </a:lnTo>
                  <a:lnTo>
                    <a:pt x="387" y="124"/>
                  </a:lnTo>
                  <a:lnTo>
                    <a:pt x="391" y="124"/>
                  </a:lnTo>
                  <a:lnTo>
                    <a:pt x="387" y="124"/>
                  </a:lnTo>
                  <a:lnTo>
                    <a:pt x="387" y="120"/>
                  </a:lnTo>
                  <a:lnTo>
                    <a:pt x="387" y="124"/>
                  </a:lnTo>
                  <a:lnTo>
                    <a:pt x="391" y="124"/>
                  </a:lnTo>
                  <a:lnTo>
                    <a:pt x="391" y="120"/>
                  </a:lnTo>
                  <a:lnTo>
                    <a:pt x="391" y="116"/>
                  </a:lnTo>
                  <a:lnTo>
                    <a:pt x="391" y="112"/>
                  </a:lnTo>
                  <a:lnTo>
                    <a:pt x="395" y="112"/>
                  </a:lnTo>
                  <a:lnTo>
                    <a:pt x="399" y="108"/>
                  </a:lnTo>
                  <a:lnTo>
                    <a:pt x="399" y="112"/>
                  </a:lnTo>
                  <a:lnTo>
                    <a:pt x="399" y="108"/>
                  </a:lnTo>
                  <a:lnTo>
                    <a:pt x="403" y="108"/>
                  </a:lnTo>
                  <a:lnTo>
                    <a:pt x="403" y="112"/>
                  </a:lnTo>
                  <a:lnTo>
                    <a:pt x="403" y="108"/>
                  </a:lnTo>
                  <a:lnTo>
                    <a:pt x="407" y="108"/>
                  </a:lnTo>
                  <a:lnTo>
                    <a:pt x="407" y="112"/>
                  </a:lnTo>
                  <a:lnTo>
                    <a:pt x="411" y="112"/>
                  </a:lnTo>
                  <a:lnTo>
                    <a:pt x="411" y="116"/>
                  </a:lnTo>
                  <a:lnTo>
                    <a:pt x="411" y="112"/>
                  </a:lnTo>
                  <a:lnTo>
                    <a:pt x="415" y="112"/>
                  </a:lnTo>
                  <a:lnTo>
                    <a:pt x="415" y="116"/>
                  </a:lnTo>
                  <a:lnTo>
                    <a:pt x="419" y="116"/>
                  </a:lnTo>
                  <a:lnTo>
                    <a:pt x="423" y="116"/>
                  </a:lnTo>
                  <a:lnTo>
                    <a:pt x="423" y="120"/>
                  </a:lnTo>
                  <a:lnTo>
                    <a:pt x="419" y="120"/>
                  </a:lnTo>
                  <a:lnTo>
                    <a:pt x="423" y="120"/>
                  </a:lnTo>
                  <a:lnTo>
                    <a:pt x="427" y="116"/>
                  </a:lnTo>
                  <a:lnTo>
                    <a:pt x="427" y="120"/>
                  </a:lnTo>
                  <a:lnTo>
                    <a:pt x="431" y="120"/>
                  </a:lnTo>
                  <a:lnTo>
                    <a:pt x="431" y="124"/>
                  </a:lnTo>
                  <a:lnTo>
                    <a:pt x="431" y="120"/>
                  </a:lnTo>
                  <a:lnTo>
                    <a:pt x="435" y="124"/>
                  </a:lnTo>
                  <a:lnTo>
                    <a:pt x="431" y="124"/>
                  </a:lnTo>
                  <a:lnTo>
                    <a:pt x="431" y="128"/>
                  </a:lnTo>
                  <a:lnTo>
                    <a:pt x="435" y="128"/>
                  </a:lnTo>
                  <a:lnTo>
                    <a:pt x="435" y="124"/>
                  </a:lnTo>
                  <a:lnTo>
                    <a:pt x="435" y="128"/>
                  </a:lnTo>
                  <a:lnTo>
                    <a:pt x="435" y="124"/>
                  </a:lnTo>
                  <a:lnTo>
                    <a:pt x="439" y="124"/>
                  </a:lnTo>
                  <a:lnTo>
                    <a:pt x="443" y="124"/>
                  </a:lnTo>
                  <a:lnTo>
                    <a:pt x="443" y="128"/>
                  </a:lnTo>
                  <a:lnTo>
                    <a:pt x="439" y="128"/>
                  </a:lnTo>
                  <a:lnTo>
                    <a:pt x="443" y="128"/>
                  </a:lnTo>
                  <a:lnTo>
                    <a:pt x="443" y="132"/>
                  </a:lnTo>
                  <a:close/>
                  <a:moveTo>
                    <a:pt x="383" y="124"/>
                  </a:moveTo>
                  <a:lnTo>
                    <a:pt x="379" y="124"/>
                  </a:lnTo>
                  <a:lnTo>
                    <a:pt x="375" y="128"/>
                  </a:lnTo>
                  <a:lnTo>
                    <a:pt x="371" y="128"/>
                  </a:lnTo>
                  <a:lnTo>
                    <a:pt x="371" y="132"/>
                  </a:lnTo>
                  <a:lnTo>
                    <a:pt x="367" y="128"/>
                  </a:lnTo>
                  <a:lnTo>
                    <a:pt x="367" y="132"/>
                  </a:lnTo>
                  <a:lnTo>
                    <a:pt x="363" y="132"/>
                  </a:lnTo>
                  <a:lnTo>
                    <a:pt x="363" y="128"/>
                  </a:lnTo>
                  <a:lnTo>
                    <a:pt x="363" y="132"/>
                  </a:lnTo>
                  <a:lnTo>
                    <a:pt x="359" y="132"/>
                  </a:lnTo>
                  <a:lnTo>
                    <a:pt x="355" y="132"/>
                  </a:lnTo>
                  <a:lnTo>
                    <a:pt x="355" y="128"/>
                  </a:lnTo>
                  <a:lnTo>
                    <a:pt x="351" y="128"/>
                  </a:lnTo>
                  <a:lnTo>
                    <a:pt x="351" y="124"/>
                  </a:lnTo>
                  <a:lnTo>
                    <a:pt x="351" y="120"/>
                  </a:lnTo>
                  <a:lnTo>
                    <a:pt x="355" y="120"/>
                  </a:lnTo>
                  <a:lnTo>
                    <a:pt x="355" y="116"/>
                  </a:lnTo>
                  <a:lnTo>
                    <a:pt x="355" y="120"/>
                  </a:lnTo>
                  <a:lnTo>
                    <a:pt x="355" y="116"/>
                  </a:lnTo>
                  <a:lnTo>
                    <a:pt x="351" y="116"/>
                  </a:lnTo>
                  <a:lnTo>
                    <a:pt x="351" y="112"/>
                  </a:lnTo>
                  <a:lnTo>
                    <a:pt x="351" y="108"/>
                  </a:lnTo>
                  <a:lnTo>
                    <a:pt x="355" y="108"/>
                  </a:lnTo>
                  <a:lnTo>
                    <a:pt x="355" y="112"/>
                  </a:lnTo>
                  <a:lnTo>
                    <a:pt x="355" y="108"/>
                  </a:lnTo>
                  <a:lnTo>
                    <a:pt x="355" y="104"/>
                  </a:lnTo>
                  <a:lnTo>
                    <a:pt x="355" y="100"/>
                  </a:lnTo>
                  <a:lnTo>
                    <a:pt x="359" y="100"/>
                  </a:lnTo>
                  <a:lnTo>
                    <a:pt x="363" y="100"/>
                  </a:lnTo>
                  <a:lnTo>
                    <a:pt x="367" y="100"/>
                  </a:lnTo>
                  <a:lnTo>
                    <a:pt x="367" y="104"/>
                  </a:lnTo>
                  <a:lnTo>
                    <a:pt x="371" y="104"/>
                  </a:lnTo>
                  <a:lnTo>
                    <a:pt x="375" y="104"/>
                  </a:lnTo>
                  <a:lnTo>
                    <a:pt x="375" y="100"/>
                  </a:lnTo>
                  <a:lnTo>
                    <a:pt x="379" y="100"/>
                  </a:lnTo>
                  <a:lnTo>
                    <a:pt x="383" y="100"/>
                  </a:lnTo>
                  <a:lnTo>
                    <a:pt x="383" y="104"/>
                  </a:lnTo>
                  <a:lnTo>
                    <a:pt x="387" y="104"/>
                  </a:lnTo>
                  <a:lnTo>
                    <a:pt x="387" y="108"/>
                  </a:lnTo>
                  <a:lnTo>
                    <a:pt x="387" y="112"/>
                  </a:lnTo>
                  <a:lnTo>
                    <a:pt x="387" y="116"/>
                  </a:lnTo>
                  <a:lnTo>
                    <a:pt x="383" y="116"/>
                  </a:lnTo>
                  <a:lnTo>
                    <a:pt x="383" y="120"/>
                  </a:lnTo>
                  <a:lnTo>
                    <a:pt x="383" y="124"/>
                  </a:lnTo>
                  <a:close/>
                  <a:moveTo>
                    <a:pt x="355" y="60"/>
                  </a:moveTo>
                  <a:lnTo>
                    <a:pt x="355" y="56"/>
                  </a:lnTo>
                  <a:lnTo>
                    <a:pt x="359" y="56"/>
                  </a:lnTo>
                  <a:lnTo>
                    <a:pt x="359" y="60"/>
                  </a:lnTo>
                  <a:lnTo>
                    <a:pt x="355" y="60"/>
                  </a:lnTo>
                  <a:close/>
                  <a:moveTo>
                    <a:pt x="359" y="64"/>
                  </a:moveTo>
                  <a:lnTo>
                    <a:pt x="355" y="60"/>
                  </a:lnTo>
                  <a:lnTo>
                    <a:pt x="359" y="60"/>
                  </a:lnTo>
                  <a:lnTo>
                    <a:pt x="359" y="64"/>
                  </a:lnTo>
                  <a:close/>
                  <a:moveTo>
                    <a:pt x="363" y="80"/>
                  </a:moveTo>
                  <a:lnTo>
                    <a:pt x="367" y="80"/>
                  </a:lnTo>
                  <a:lnTo>
                    <a:pt x="363" y="80"/>
                  </a:lnTo>
                  <a:close/>
                  <a:moveTo>
                    <a:pt x="359" y="84"/>
                  </a:moveTo>
                  <a:lnTo>
                    <a:pt x="359" y="80"/>
                  </a:lnTo>
                  <a:lnTo>
                    <a:pt x="363" y="80"/>
                  </a:lnTo>
                  <a:lnTo>
                    <a:pt x="363" y="84"/>
                  </a:lnTo>
                  <a:lnTo>
                    <a:pt x="363" y="80"/>
                  </a:lnTo>
                  <a:lnTo>
                    <a:pt x="363" y="84"/>
                  </a:lnTo>
                  <a:lnTo>
                    <a:pt x="359" y="84"/>
                  </a:lnTo>
                  <a:close/>
                  <a:moveTo>
                    <a:pt x="359" y="92"/>
                  </a:moveTo>
                  <a:lnTo>
                    <a:pt x="359" y="88"/>
                  </a:lnTo>
                  <a:lnTo>
                    <a:pt x="363" y="88"/>
                  </a:lnTo>
                  <a:lnTo>
                    <a:pt x="363" y="92"/>
                  </a:lnTo>
                  <a:lnTo>
                    <a:pt x="359" y="92"/>
                  </a:lnTo>
                  <a:close/>
                  <a:moveTo>
                    <a:pt x="359" y="96"/>
                  </a:moveTo>
                  <a:lnTo>
                    <a:pt x="355" y="96"/>
                  </a:lnTo>
                  <a:lnTo>
                    <a:pt x="355" y="92"/>
                  </a:lnTo>
                  <a:lnTo>
                    <a:pt x="359" y="92"/>
                  </a:lnTo>
                  <a:lnTo>
                    <a:pt x="359" y="88"/>
                  </a:lnTo>
                  <a:lnTo>
                    <a:pt x="359" y="92"/>
                  </a:lnTo>
                  <a:lnTo>
                    <a:pt x="359" y="96"/>
                  </a:lnTo>
                  <a:close/>
                  <a:moveTo>
                    <a:pt x="363" y="96"/>
                  </a:moveTo>
                  <a:lnTo>
                    <a:pt x="359" y="96"/>
                  </a:lnTo>
                  <a:lnTo>
                    <a:pt x="363" y="96"/>
                  </a:lnTo>
                  <a:lnTo>
                    <a:pt x="363" y="92"/>
                  </a:lnTo>
                  <a:lnTo>
                    <a:pt x="367" y="92"/>
                  </a:lnTo>
                  <a:lnTo>
                    <a:pt x="371" y="92"/>
                  </a:lnTo>
                  <a:lnTo>
                    <a:pt x="371" y="96"/>
                  </a:lnTo>
                  <a:lnTo>
                    <a:pt x="367" y="96"/>
                  </a:lnTo>
                  <a:lnTo>
                    <a:pt x="367" y="100"/>
                  </a:lnTo>
                  <a:lnTo>
                    <a:pt x="363" y="100"/>
                  </a:lnTo>
                  <a:lnTo>
                    <a:pt x="363" y="96"/>
                  </a:lnTo>
                  <a:close/>
                  <a:moveTo>
                    <a:pt x="355" y="100"/>
                  </a:moveTo>
                  <a:lnTo>
                    <a:pt x="355" y="96"/>
                  </a:lnTo>
                  <a:lnTo>
                    <a:pt x="359" y="96"/>
                  </a:lnTo>
                  <a:lnTo>
                    <a:pt x="359" y="100"/>
                  </a:lnTo>
                  <a:lnTo>
                    <a:pt x="355" y="100"/>
                  </a:lnTo>
                  <a:close/>
                  <a:moveTo>
                    <a:pt x="367" y="96"/>
                  </a:moveTo>
                  <a:lnTo>
                    <a:pt x="371" y="96"/>
                  </a:lnTo>
                  <a:lnTo>
                    <a:pt x="375" y="96"/>
                  </a:lnTo>
                  <a:lnTo>
                    <a:pt x="375" y="100"/>
                  </a:lnTo>
                  <a:lnTo>
                    <a:pt x="371" y="100"/>
                  </a:lnTo>
                  <a:lnTo>
                    <a:pt x="367" y="100"/>
                  </a:lnTo>
                  <a:lnTo>
                    <a:pt x="367" y="96"/>
                  </a:lnTo>
                  <a:close/>
                  <a:moveTo>
                    <a:pt x="351" y="96"/>
                  </a:moveTo>
                  <a:lnTo>
                    <a:pt x="355" y="96"/>
                  </a:lnTo>
                  <a:lnTo>
                    <a:pt x="351" y="96"/>
                  </a:lnTo>
                  <a:lnTo>
                    <a:pt x="351" y="100"/>
                  </a:lnTo>
                  <a:lnTo>
                    <a:pt x="351" y="96"/>
                  </a:lnTo>
                  <a:close/>
                  <a:moveTo>
                    <a:pt x="351" y="104"/>
                  </a:moveTo>
                  <a:lnTo>
                    <a:pt x="347" y="104"/>
                  </a:lnTo>
                  <a:lnTo>
                    <a:pt x="347" y="100"/>
                  </a:lnTo>
                  <a:lnTo>
                    <a:pt x="351" y="100"/>
                  </a:lnTo>
                  <a:lnTo>
                    <a:pt x="355" y="100"/>
                  </a:lnTo>
                  <a:lnTo>
                    <a:pt x="351" y="100"/>
                  </a:lnTo>
                  <a:lnTo>
                    <a:pt x="351" y="104"/>
                  </a:lnTo>
                  <a:close/>
                  <a:moveTo>
                    <a:pt x="343" y="108"/>
                  </a:moveTo>
                  <a:lnTo>
                    <a:pt x="343" y="104"/>
                  </a:lnTo>
                  <a:lnTo>
                    <a:pt x="347" y="104"/>
                  </a:lnTo>
                  <a:lnTo>
                    <a:pt x="347" y="100"/>
                  </a:lnTo>
                  <a:lnTo>
                    <a:pt x="347" y="104"/>
                  </a:lnTo>
                  <a:lnTo>
                    <a:pt x="343" y="108"/>
                  </a:lnTo>
                  <a:close/>
                  <a:moveTo>
                    <a:pt x="347" y="108"/>
                  </a:moveTo>
                  <a:lnTo>
                    <a:pt x="347" y="104"/>
                  </a:lnTo>
                  <a:lnTo>
                    <a:pt x="351" y="104"/>
                  </a:lnTo>
                  <a:lnTo>
                    <a:pt x="347" y="104"/>
                  </a:lnTo>
                  <a:lnTo>
                    <a:pt x="347" y="108"/>
                  </a:lnTo>
                  <a:close/>
                  <a:moveTo>
                    <a:pt x="351" y="108"/>
                  </a:moveTo>
                  <a:lnTo>
                    <a:pt x="351" y="104"/>
                  </a:lnTo>
                  <a:lnTo>
                    <a:pt x="351" y="108"/>
                  </a:lnTo>
                  <a:close/>
                  <a:moveTo>
                    <a:pt x="347" y="108"/>
                  </a:moveTo>
                  <a:lnTo>
                    <a:pt x="347" y="104"/>
                  </a:lnTo>
                  <a:lnTo>
                    <a:pt x="351" y="104"/>
                  </a:lnTo>
                  <a:lnTo>
                    <a:pt x="351" y="108"/>
                  </a:lnTo>
                  <a:lnTo>
                    <a:pt x="347" y="108"/>
                  </a:lnTo>
                  <a:close/>
                  <a:moveTo>
                    <a:pt x="347" y="116"/>
                  </a:moveTo>
                  <a:lnTo>
                    <a:pt x="347" y="112"/>
                  </a:lnTo>
                  <a:lnTo>
                    <a:pt x="351" y="108"/>
                  </a:lnTo>
                  <a:lnTo>
                    <a:pt x="351" y="112"/>
                  </a:lnTo>
                  <a:lnTo>
                    <a:pt x="347" y="112"/>
                  </a:lnTo>
                  <a:lnTo>
                    <a:pt x="347" y="116"/>
                  </a:lnTo>
                  <a:close/>
                  <a:moveTo>
                    <a:pt x="343" y="120"/>
                  </a:moveTo>
                  <a:lnTo>
                    <a:pt x="343" y="116"/>
                  </a:lnTo>
                  <a:lnTo>
                    <a:pt x="347" y="116"/>
                  </a:lnTo>
                  <a:lnTo>
                    <a:pt x="347" y="112"/>
                  </a:lnTo>
                  <a:lnTo>
                    <a:pt x="347" y="116"/>
                  </a:lnTo>
                  <a:lnTo>
                    <a:pt x="347" y="120"/>
                  </a:lnTo>
                  <a:lnTo>
                    <a:pt x="343" y="120"/>
                  </a:lnTo>
                  <a:close/>
                  <a:moveTo>
                    <a:pt x="351" y="112"/>
                  </a:moveTo>
                  <a:lnTo>
                    <a:pt x="351" y="116"/>
                  </a:lnTo>
                  <a:lnTo>
                    <a:pt x="347" y="116"/>
                  </a:lnTo>
                  <a:lnTo>
                    <a:pt x="347" y="120"/>
                  </a:lnTo>
                  <a:lnTo>
                    <a:pt x="347" y="116"/>
                  </a:lnTo>
                  <a:lnTo>
                    <a:pt x="347" y="112"/>
                  </a:lnTo>
                  <a:lnTo>
                    <a:pt x="351" y="112"/>
                  </a:lnTo>
                  <a:close/>
                  <a:moveTo>
                    <a:pt x="415" y="116"/>
                  </a:moveTo>
                  <a:lnTo>
                    <a:pt x="419" y="116"/>
                  </a:lnTo>
                  <a:lnTo>
                    <a:pt x="415" y="116"/>
                  </a:lnTo>
                  <a:close/>
                  <a:moveTo>
                    <a:pt x="391" y="120"/>
                  </a:moveTo>
                  <a:lnTo>
                    <a:pt x="387" y="120"/>
                  </a:lnTo>
                  <a:lnTo>
                    <a:pt x="387" y="116"/>
                  </a:lnTo>
                  <a:lnTo>
                    <a:pt x="391" y="116"/>
                  </a:lnTo>
                  <a:lnTo>
                    <a:pt x="391" y="120"/>
                  </a:lnTo>
                  <a:close/>
                  <a:moveTo>
                    <a:pt x="431" y="124"/>
                  </a:moveTo>
                  <a:lnTo>
                    <a:pt x="431" y="120"/>
                  </a:lnTo>
                  <a:lnTo>
                    <a:pt x="431" y="124"/>
                  </a:lnTo>
                  <a:close/>
                  <a:moveTo>
                    <a:pt x="439" y="124"/>
                  </a:moveTo>
                  <a:lnTo>
                    <a:pt x="439" y="120"/>
                  </a:lnTo>
                  <a:lnTo>
                    <a:pt x="443" y="120"/>
                  </a:lnTo>
                  <a:lnTo>
                    <a:pt x="443" y="124"/>
                  </a:lnTo>
                  <a:lnTo>
                    <a:pt x="439" y="124"/>
                  </a:lnTo>
                  <a:close/>
                  <a:moveTo>
                    <a:pt x="327" y="124"/>
                  </a:moveTo>
                  <a:lnTo>
                    <a:pt x="331" y="124"/>
                  </a:lnTo>
                  <a:lnTo>
                    <a:pt x="327" y="124"/>
                  </a:lnTo>
                  <a:close/>
                  <a:moveTo>
                    <a:pt x="331" y="128"/>
                  </a:moveTo>
                  <a:lnTo>
                    <a:pt x="331" y="124"/>
                  </a:lnTo>
                  <a:lnTo>
                    <a:pt x="335" y="124"/>
                  </a:lnTo>
                  <a:lnTo>
                    <a:pt x="335" y="128"/>
                  </a:lnTo>
                  <a:lnTo>
                    <a:pt x="331" y="128"/>
                  </a:lnTo>
                  <a:close/>
                  <a:moveTo>
                    <a:pt x="443" y="128"/>
                  </a:moveTo>
                  <a:lnTo>
                    <a:pt x="447" y="128"/>
                  </a:lnTo>
                  <a:lnTo>
                    <a:pt x="443" y="128"/>
                  </a:lnTo>
                  <a:close/>
                  <a:moveTo>
                    <a:pt x="379" y="132"/>
                  </a:moveTo>
                  <a:lnTo>
                    <a:pt x="379" y="128"/>
                  </a:lnTo>
                  <a:lnTo>
                    <a:pt x="379" y="132"/>
                  </a:lnTo>
                  <a:close/>
                  <a:moveTo>
                    <a:pt x="379" y="132"/>
                  </a:moveTo>
                  <a:lnTo>
                    <a:pt x="375" y="132"/>
                  </a:lnTo>
                  <a:lnTo>
                    <a:pt x="379" y="132"/>
                  </a:lnTo>
                  <a:lnTo>
                    <a:pt x="379" y="128"/>
                  </a:lnTo>
                  <a:lnTo>
                    <a:pt x="379" y="132"/>
                  </a:lnTo>
                  <a:close/>
                  <a:moveTo>
                    <a:pt x="351" y="136"/>
                  </a:moveTo>
                  <a:lnTo>
                    <a:pt x="351" y="132"/>
                  </a:lnTo>
                  <a:lnTo>
                    <a:pt x="351" y="136"/>
                  </a:lnTo>
                  <a:lnTo>
                    <a:pt x="347" y="136"/>
                  </a:lnTo>
                  <a:lnTo>
                    <a:pt x="347" y="132"/>
                  </a:lnTo>
                  <a:lnTo>
                    <a:pt x="351" y="132"/>
                  </a:lnTo>
                  <a:lnTo>
                    <a:pt x="351" y="136"/>
                  </a:lnTo>
                  <a:close/>
                  <a:moveTo>
                    <a:pt x="447" y="155"/>
                  </a:moveTo>
                  <a:lnTo>
                    <a:pt x="447" y="152"/>
                  </a:lnTo>
                  <a:lnTo>
                    <a:pt x="447" y="148"/>
                  </a:lnTo>
                  <a:lnTo>
                    <a:pt x="447" y="152"/>
                  </a:lnTo>
                  <a:lnTo>
                    <a:pt x="447" y="155"/>
                  </a:lnTo>
                  <a:close/>
                  <a:moveTo>
                    <a:pt x="534" y="339"/>
                  </a:moveTo>
                  <a:lnTo>
                    <a:pt x="534" y="335"/>
                  </a:lnTo>
                  <a:lnTo>
                    <a:pt x="538" y="335"/>
                  </a:lnTo>
                  <a:lnTo>
                    <a:pt x="534" y="335"/>
                  </a:lnTo>
                  <a:lnTo>
                    <a:pt x="534" y="339"/>
                  </a:lnTo>
                  <a:close/>
                  <a:moveTo>
                    <a:pt x="530" y="347"/>
                  </a:moveTo>
                  <a:lnTo>
                    <a:pt x="530" y="343"/>
                  </a:lnTo>
                  <a:lnTo>
                    <a:pt x="530" y="347"/>
                  </a:lnTo>
                  <a:close/>
                  <a:moveTo>
                    <a:pt x="387" y="590"/>
                  </a:moveTo>
                  <a:lnTo>
                    <a:pt x="383" y="590"/>
                  </a:lnTo>
                  <a:lnTo>
                    <a:pt x="383" y="587"/>
                  </a:lnTo>
                  <a:lnTo>
                    <a:pt x="387" y="583"/>
                  </a:lnTo>
                  <a:lnTo>
                    <a:pt x="387" y="587"/>
                  </a:lnTo>
                  <a:lnTo>
                    <a:pt x="387" y="590"/>
                  </a:lnTo>
                  <a:close/>
                  <a:moveTo>
                    <a:pt x="387" y="618"/>
                  </a:moveTo>
                  <a:lnTo>
                    <a:pt x="387" y="614"/>
                  </a:lnTo>
                  <a:lnTo>
                    <a:pt x="387" y="610"/>
                  </a:lnTo>
                  <a:lnTo>
                    <a:pt x="387" y="606"/>
                  </a:lnTo>
                  <a:lnTo>
                    <a:pt x="387" y="610"/>
                  </a:lnTo>
                  <a:lnTo>
                    <a:pt x="387" y="614"/>
                  </a:lnTo>
                  <a:lnTo>
                    <a:pt x="387" y="618"/>
                  </a:lnTo>
                  <a:close/>
                  <a:moveTo>
                    <a:pt x="335" y="124"/>
                  </a:moveTo>
                  <a:lnTo>
                    <a:pt x="335" y="120"/>
                  </a:lnTo>
                  <a:lnTo>
                    <a:pt x="339" y="120"/>
                  </a:lnTo>
                  <a:lnTo>
                    <a:pt x="339" y="116"/>
                  </a:lnTo>
                  <a:lnTo>
                    <a:pt x="339" y="112"/>
                  </a:lnTo>
                  <a:lnTo>
                    <a:pt x="339" y="108"/>
                  </a:lnTo>
                  <a:lnTo>
                    <a:pt x="343" y="108"/>
                  </a:lnTo>
                  <a:lnTo>
                    <a:pt x="347" y="108"/>
                  </a:lnTo>
                  <a:lnTo>
                    <a:pt x="347" y="112"/>
                  </a:lnTo>
                  <a:lnTo>
                    <a:pt x="347" y="116"/>
                  </a:lnTo>
                  <a:lnTo>
                    <a:pt x="343" y="116"/>
                  </a:lnTo>
                  <a:lnTo>
                    <a:pt x="343" y="120"/>
                  </a:lnTo>
                  <a:lnTo>
                    <a:pt x="339" y="120"/>
                  </a:lnTo>
                  <a:lnTo>
                    <a:pt x="339" y="124"/>
                  </a:lnTo>
                  <a:lnTo>
                    <a:pt x="335" y="124"/>
                  </a:lnTo>
                  <a:close/>
                  <a:moveTo>
                    <a:pt x="451" y="527"/>
                  </a:moveTo>
                  <a:lnTo>
                    <a:pt x="455" y="527"/>
                  </a:lnTo>
                  <a:lnTo>
                    <a:pt x="451" y="527"/>
                  </a:lnTo>
                  <a:close/>
                  <a:moveTo>
                    <a:pt x="435" y="543"/>
                  </a:moveTo>
                  <a:lnTo>
                    <a:pt x="435" y="539"/>
                  </a:lnTo>
                  <a:lnTo>
                    <a:pt x="435" y="5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4" name="Freeform 172"/>
            <p:cNvSpPr>
              <a:spLocks noEditPoints="1"/>
            </p:cNvSpPr>
            <p:nvPr>
              <p:custDataLst>
                <p:tags r:id="rId367"/>
              </p:custDataLst>
            </p:nvPr>
          </p:nvSpPr>
          <p:spPr bwMode="gray">
            <a:xfrm>
              <a:off x="2600834" y="4254850"/>
              <a:ext cx="272884" cy="455300"/>
            </a:xfrm>
            <a:custGeom>
              <a:avLst/>
              <a:gdLst/>
              <a:ahLst/>
              <a:cxnLst>
                <a:cxn ang="0">
                  <a:pos x="72" y="32"/>
                </a:cxn>
                <a:cxn ang="0">
                  <a:pos x="88" y="24"/>
                </a:cxn>
                <a:cxn ang="0">
                  <a:pos x="104" y="8"/>
                </a:cxn>
                <a:cxn ang="0">
                  <a:pos x="112" y="0"/>
                </a:cxn>
                <a:cxn ang="0">
                  <a:pos x="112" y="12"/>
                </a:cxn>
                <a:cxn ang="0">
                  <a:pos x="100" y="28"/>
                </a:cxn>
                <a:cxn ang="0">
                  <a:pos x="92" y="48"/>
                </a:cxn>
                <a:cxn ang="0">
                  <a:pos x="92" y="64"/>
                </a:cxn>
                <a:cxn ang="0">
                  <a:pos x="104" y="80"/>
                </a:cxn>
                <a:cxn ang="0">
                  <a:pos x="104" y="96"/>
                </a:cxn>
                <a:cxn ang="0">
                  <a:pos x="120" y="104"/>
                </a:cxn>
                <a:cxn ang="0">
                  <a:pos x="136" y="104"/>
                </a:cxn>
                <a:cxn ang="0">
                  <a:pos x="152" y="116"/>
                </a:cxn>
                <a:cxn ang="0">
                  <a:pos x="176" y="116"/>
                </a:cxn>
                <a:cxn ang="0">
                  <a:pos x="172" y="140"/>
                </a:cxn>
                <a:cxn ang="0">
                  <a:pos x="176" y="160"/>
                </a:cxn>
                <a:cxn ang="0">
                  <a:pos x="172" y="176"/>
                </a:cxn>
                <a:cxn ang="0">
                  <a:pos x="184" y="200"/>
                </a:cxn>
                <a:cxn ang="0">
                  <a:pos x="180" y="200"/>
                </a:cxn>
                <a:cxn ang="0">
                  <a:pos x="168" y="196"/>
                </a:cxn>
                <a:cxn ang="0">
                  <a:pos x="164" y="200"/>
                </a:cxn>
                <a:cxn ang="0">
                  <a:pos x="140" y="212"/>
                </a:cxn>
                <a:cxn ang="0">
                  <a:pos x="148" y="216"/>
                </a:cxn>
                <a:cxn ang="0">
                  <a:pos x="136" y="232"/>
                </a:cxn>
                <a:cxn ang="0">
                  <a:pos x="148" y="248"/>
                </a:cxn>
                <a:cxn ang="0">
                  <a:pos x="144" y="264"/>
                </a:cxn>
                <a:cxn ang="0">
                  <a:pos x="136" y="307"/>
                </a:cxn>
                <a:cxn ang="0">
                  <a:pos x="136" y="280"/>
                </a:cxn>
                <a:cxn ang="0">
                  <a:pos x="120" y="272"/>
                </a:cxn>
                <a:cxn ang="0">
                  <a:pos x="104" y="276"/>
                </a:cxn>
                <a:cxn ang="0">
                  <a:pos x="92" y="272"/>
                </a:cxn>
                <a:cxn ang="0">
                  <a:pos x="84" y="264"/>
                </a:cxn>
                <a:cxn ang="0">
                  <a:pos x="72" y="244"/>
                </a:cxn>
                <a:cxn ang="0">
                  <a:pos x="64" y="232"/>
                </a:cxn>
                <a:cxn ang="0">
                  <a:pos x="48" y="224"/>
                </a:cxn>
                <a:cxn ang="0">
                  <a:pos x="24" y="224"/>
                </a:cxn>
                <a:cxn ang="0">
                  <a:pos x="12" y="212"/>
                </a:cxn>
                <a:cxn ang="0">
                  <a:pos x="0" y="196"/>
                </a:cxn>
                <a:cxn ang="0">
                  <a:pos x="8" y="188"/>
                </a:cxn>
                <a:cxn ang="0">
                  <a:pos x="16" y="180"/>
                </a:cxn>
                <a:cxn ang="0">
                  <a:pos x="24" y="172"/>
                </a:cxn>
                <a:cxn ang="0">
                  <a:pos x="28" y="156"/>
                </a:cxn>
                <a:cxn ang="0">
                  <a:pos x="24" y="152"/>
                </a:cxn>
                <a:cxn ang="0">
                  <a:pos x="24" y="136"/>
                </a:cxn>
                <a:cxn ang="0">
                  <a:pos x="24" y="120"/>
                </a:cxn>
                <a:cxn ang="0">
                  <a:pos x="20" y="100"/>
                </a:cxn>
                <a:cxn ang="0">
                  <a:pos x="28" y="88"/>
                </a:cxn>
                <a:cxn ang="0">
                  <a:pos x="24" y="72"/>
                </a:cxn>
                <a:cxn ang="0">
                  <a:pos x="36" y="80"/>
                </a:cxn>
                <a:cxn ang="0">
                  <a:pos x="40" y="64"/>
                </a:cxn>
                <a:cxn ang="0">
                  <a:pos x="52" y="48"/>
                </a:cxn>
                <a:cxn ang="0">
                  <a:pos x="56" y="36"/>
                </a:cxn>
                <a:cxn ang="0">
                  <a:pos x="64" y="28"/>
                </a:cxn>
                <a:cxn ang="0">
                  <a:pos x="12" y="184"/>
                </a:cxn>
              </a:cxnLst>
              <a:rect l="0" t="0" r="r" b="b"/>
              <a:pathLst>
                <a:path w="184" h="307">
                  <a:moveTo>
                    <a:pt x="64" y="24"/>
                  </a:moveTo>
                  <a:lnTo>
                    <a:pt x="68" y="28"/>
                  </a:lnTo>
                  <a:lnTo>
                    <a:pt x="72" y="28"/>
                  </a:lnTo>
                  <a:lnTo>
                    <a:pt x="68" y="28"/>
                  </a:lnTo>
                  <a:lnTo>
                    <a:pt x="68" y="32"/>
                  </a:lnTo>
                  <a:lnTo>
                    <a:pt x="72" y="32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6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16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4" y="8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2" y="0"/>
                  </a:lnTo>
                  <a:lnTo>
                    <a:pt x="116" y="0"/>
                  </a:lnTo>
                  <a:lnTo>
                    <a:pt x="120" y="4"/>
                  </a:lnTo>
                  <a:lnTo>
                    <a:pt x="120" y="8"/>
                  </a:lnTo>
                  <a:lnTo>
                    <a:pt x="120" y="12"/>
                  </a:lnTo>
                  <a:lnTo>
                    <a:pt x="116" y="12"/>
                  </a:lnTo>
                  <a:lnTo>
                    <a:pt x="112" y="12"/>
                  </a:lnTo>
                  <a:lnTo>
                    <a:pt x="112" y="16"/>
                  </a:lnTo>
                  <a:lnTo>
                    <a:pt x="108" y="16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96" y="28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92" y="40"/>
                  </a:lnTo>
                  <a:lnTo>
                    <a:pt x="92" y="44"/>
                  </a:lnTo>
                  <a:lnTo>
                    <a:pt x="92" y="48"/>
                  </a:lnTo>
                  <a:lnTo>
                    <a:pt x="92" y="52"/>
                  </a:lnTo>
                  <a:lnTo>
                    <a:pt x="92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92" y="60"/>
                  </a:lnTo>
                  <a:lnTo>
                    <a:pt x="92" y="64"/>
                  </a:lnTo>
                  <a:lnTo>
                    <a:pt x="96" y="64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100" y="76"/>
                  </a:lnTo>
                  <a:lnTo>
                    <a:pt x="100" y="80"/>
                  </a:lnTo>
                  <a:lnTo>
                    <a:pt x="104" y="80"/>
                  </a:lnTo>
                  <a:lnTo>
                    <a:pt x="104" y="84"/>
                  </a:lnTo>
                  <a:lnTo>
                    <a:pt x="100" y="84"/>
                  </a:lnTo>
                  <a:lnTo>
                    <a:pt x="100" y="88"/>
                  </a:lnTo>
                  <a:lnTo>
                    <a:pt x="100" y="92"/>
                  </a:lnTo>
                  <a:lnTo>
                    <a:pt x="100" y="96"/>
                  </a:lnTo>
                  <a:lnTo>
                    <a:pt x="104" y="96"/>
                  </a:lnTo>
                  <a:lnTo>
                    <a:pt x="104" y="100"/>
                  </a:lnTo>
                  <a:lnTo>
                    <a:pt x="108" y="100"/>
                  </a:lnTo>
                  <a:lnTo>
                    <a:pt x="112" y="100"/>
                  </a:lnTo>
                  <a:lnTo>
                    <a:pt x="116" y="100"/>
                  </a:lnTo>
                  <a:lnTo>
                    <a:pt x="120" y="100"/>
                  </a:lnTo>
                  <a:lnTo>
                    <a:pt x="120" y="104"/>
                  </a:lnTo>
                  <a:lnTo>
                    <a:pt x="120" y="100"/>
                  </a:lnTo>
                  <a:lnTo>
                    <a:pt x="124" y="100"/>
                  </a:lnTo>
                  <a:lnTo>
                    <a:pt x="128" y="100"/>
                  </a:lnTo>
                  <a:lnTo>
                    <a:pt x="132" y="100"/>
                  </a:lnTo>
                  <a:lnTo>
                    <a:pt x="132" y="104"/>
                  </a:lnTo>
                  <a:lnTo>
                    <a:pt x="136" y="104"/>
                  </a:lnTo>
                  <a:lnTo>
                    <a:pt x="136" y="100"/>
                  </a:lnTo>
                  <a:lnTo>
                    <a:pt x="136" y="104"/>
                  </a:lnTo>
                  <a:lnTo>
                    <a:pt x="140" y="112"/>
                  </a:lnTo>
                  <a:lnTo>
                    <a:pt x="148" y="116"/>
                  </a:lnTo>
                  <a:lnTo>
                    <a:pt x="148" y="120"/>
                  </a:lnTo>
                  <a:lnTo>
                    <a:pt x="152" y="116"/>
                  </a:lnTo>
                  <a:lnTo>
                    <a:pt x="156" y="116"/>
                  </a:lnTo>
                  <a:lnTo>
                    <a:pt x="160" y="116"/>
                  </a:lnTo>
                  <a:lnTo>
                    <a:pt x="164" y="116"/>
                  </a:lnTo>
                  <a:lnTo>
                    <a:pt x="168" y="116"/>
                  </a:lnTo>
                  <a:lnTo>
                    <a:pt x="172" y="116"/>
                  </a:lnTo>
                  <a:lnTo>
                    <a:pt x="176" y="116"/>
                  </a:lnTo>
                  <a:lnTo>
                    <a:pt x="176" y="120"/>
                  </a:lnTo>
                  <a:lnTo>
                    <a:pt x="172" y="124"/>
                  </a:lnTo>
                  <a:lnTo>
                    <a:pt x="172" y="128"/>
                  </a:lnTo>
                  <a:lnTo>
                    <a:pt x="172" y="132"/>
                  </a:lnTo>
                  <a:lnTo>
                    <a:pt x="172" y="136"/>
                  </a:lnTo>
                  <a:lnTo>
                    <a:pt x="172" y="140"/>
                  </a:lnTo>
                  <a:lnTo>
                    <a:pt x="172" y="144"/>
                  </a:lnTo>
                  <a:lnTo>
                    <a:pt x="168" y="148"/>
                  </a:lnTo>
                  <a:lnTo>
                    <a:pt x="172" y="152"/>
                  </a:lnTo>
                  <a:lnTo>
                    <a:pt x="172" y="156"/>
                  </a:lnTo>
                  <a:lnTo>
                    <a:pt x="172" y="160"/>
                  </a:lnTo>
                  <a:lnTo>
                    <a:pt x="176" y="160"/>
                  </a:lnTo>
                  <a:lnTo>
                    <a:pt x="176" y="164"/>
                  </a:lnTo>
                  <a:lnTo>
                    <a:pt x="176" y="168"/>
                  </a:lnTo>
                  <a:lnTo>
                    <a:pt x="180" y="168"/>
                  </a:lnTo>
                  <a:lnTo>
                    <a:pt x="176" y="168"/>
                  </a:lnTo>
                  <a:lnTo>
                    <a:pt x="176" y="172"/>
                  </a:lnTo>
                  <a:lnTo>
                    <a:pt x="172" y="176"/>
                  </a:lnTo>
                  <a:lnTo>
                    <a:pt x="172" y="180"/>
                  </a:lnTo>
                  <a:lnTo>
                    <a:pt x="176" y="180"/>
                  </a:lnTo>
                  <a:lnTo>
                    <a:pt x="180" y="184"/>
                  </a:lnTo>
                  <a:lnTo>
                    <a:pt x="180" y="188"/>
                  </a:lnTo>
                  <a:lnTo>
                    <a:pt x="180" y="192"/>
                  </a:lnTo>
                  <a:lnTo>
                    <a:pt x="184" y="200"/>
                  </a:lnTo>
                  <a:lnTo>
                    <a:pt x="184" y="204"/>
                  </a:lnTo>
                  <a:lnTo>
                    <a:pt x="184" y="208"/>
                  </a:lnTo>
                  <a:lnTo>
                    <a:pt x="180" y="208"/>
                  </a:lnTo>
                  <a:lnTo>
                    <a:pt x="180" y="204"/>
                  </a:lnTo>
                  <a:lnTo>
                    <a:pt x="184" y="204"/>
                  </a:lnTo>
                  <a:lnTo>
                    <a:pt x="180" y="200"/>
                  </a:lnTo>
                  <a:lnTo>
                    <a:pt x="180" y="196"/>
                  </a:lnTo>
                  <a:lnTo>
                    <a:pt x="180" y="192"/>
                  </a:lnTo>
                  <a:lnTo>
                    <a:pt x="176" y="192"/>
                  </a:lnTo>
                  <a:lnTo>
                    <a:pt x="172" y="192"/>
                  </a:lnTo>
                  <a:lnTo>
                    <a:pt x="172" y="196"/>
                  </a:lnTo>
                  <a:lnTo>
                    <a:pt x="168" y="196"/>
                  </a:lnTo>
                  <a:lnTo>
                    <a:pt x="168" y="200"/>
                  </a:lnTo>
                  <a:lnTo>
                    <a:pt x="168" y="196"/>
                  </a:lnTo>
                  <a:lnTo>
                    <a:pt x="164" y="196"/>
                  </a:lnTo>
                  <a:lnTo>
                    <a:pt x="164" y="192"/>
                  </a:lnTo>
                  <a:lnTo>
                    <a:pt x="164" y="196"/>
                  </a:lnTo>
                  <a:lnTo>
                    <a:pt x="164" y="200"/>
                  </a:lnTo>
                  <a:lnTo>
                    <a:pt x="156" y="200"/>
                  </a:lnTo>
                  <a:lnTo>
                    <a:pt x="152" y="200"/>
                  </a:lnTo>
                  <a:lnTo>
                    <a:pt x="148" y="200"/>
                  </a:lnTo>
                  <a:lnTo>
                    <a:pt x="144" y="196"/>
                  </a:lnTo>
                  <a:lnTo>
                    <a:pt x="140" y="200"/>
                  </a:lnTo>
                  <a:lnTo>
                    <a:pt x="140" y="212"/>
                  </a:lnTo>
                  <a:lnTo>
                    <a:pt x="144" y="212"/>
                  </a:lnTo>
                  <a:lnTo>
                    <a:pt x="148" y="212"/>
                  </a:lnTo>
                  <a:lnTo>
                    <a:pt x="152" y="216"/>
                  </a:lnTo>
                  <a:lnTo>
                    <a:pt x="152" y="220"/>
                  </a:lnTo>
                  <a:lnTo>
                    <a:pt x="148" y="220"/>
                  </a:lnTo>
                  <a:lnTo>
                    <a:pt x="148" y="216"/>
                  </a:lnTo>
                  <a:lnTo>
                    <a:pt x="144" y="216"/>
                  </a:lnTo>
                  <a:lnTo>
                    <a:pt x="140" y="220"/>
                  </a:lnTo>
                  <a:lnTo>
                    <a:pt x="136" y="220"/>
                  </a:lnTo>
                  <a:lnTo>
                    <a:pt x="136" y="224"/>
                  </a:lnTo>
                  <a:lnTo>
                    <a:pt x="136" y="228"/>
                  </a:lnTo>
                  <a:lnTo>
                    <a:pt x="136" y="232"/>
                  </a:lnTo>
                  <a:lnTo>
                    <a:pt x="140" y="236"/>
                  </a:lnTo>
                  <a:lnTo>
                    <a:pt x="140" y="240"/>
                  </a:lnTo>
                  <a:lnTo>
                    <a:pt x="144" y="240"/>
                  </a:lnTo>
                  <a:lnTo>
                    <a:pt x="144" y="244"/>
                  </a:lnTo>
                  <a:lnTo>
                    <a:pt x="144" y="248"/>
                  </a:lnTo>
                  <a:lnTo>
                    <a:pt x="148" y="248"/>
                  </a:lnTo>
                  <a:lnTo>
                    <a:pt x="144" y="248"/>
                  </a:lnTo>
                  <a:lnTo>
                    <a:pt x="148" y="248"/>
                  </a:lnTo>
                  <a:lnTo>
                    <a:pt x="148" y="252"/>
                  </a:lnTo>
                  <a:lnTo>
                    <a:pt x="148" y="256"/>
                  </a:lnTo>
                  <a:lnTo>
                    <a:pt x="144" y="256"/>
                  </a:lnTo>
                  <a:lnTo>
                    <a:pt x="144" y="264"/>
                  </a:lnTo>
                  <a:lnTo>
                    <a:pt x="144" y="272"/>
                  </a:lnTo>
                  <a:lnTo>
                    <a:pt x="144" y="276"/>
                  </a:lnTo>
                  <a:lnTo>
                    <a:pt x="140" y="291"/>
                  </a:lnTo>
                  <a:lnTo>
                    <a:pt x="140" y="299"/>
                  </a:lnTo>
                  <a:lnTo>
                    <a:pt x="140" y="307"/>
                  </a:lnTo>
                  <a:lnTo>
                    <a:pt x="136" y="307"/>
                  </a:lnTo>
                  <a:lnTo>
                    <a:pt x="136" y="303"/>
                  </a:lnTo>
                  <a:lnTo>
                    <a:pt x="132" y="299"/>
                  </a:lnTo>
                  <a:lnTo>
                    <a:pt x="128" y="299"/>
                  </a:lnTo>
                  <a:lnTo>
                    <a:pt x="128" y="295"/>
                  </a:lnTo>
                  <a:lnTo>
                    <a:pt x="132" y="291"/>
                  </a:lnTo>
                  <a:lnTo>
                    <a:pt x="136" y="280"/>
                  </a:lnTo>
                  <a:lnTo>
                    <a:pt x="136" y="276"/>
                  </a:lnTo>
                  <a:lnTo>
                    <a:pt x="132" y="276"/>
                  </a:lnTo>
                  <a:lnTo>
                    <a:pt x="128" y="276"/>
                  </a:lnTo>
                  <a:lnTo>
                    <a:pt x="128" y="272"/>
                  </a:lnTo>
                  <a:lnTo>
                    <a:pt x="124" y="272"/>
                  </a:lnTo>
                  <a:lnTo>
                    <a:pt x="120" y="272"/>
                  </a:lnTo>
                  <a:lnTo>
                    <a:pt x="116" y="272"/>
                  </a:lnTo>
                  <a:lnTo>
                    <a:pt x="112" y="272"/>
                  </a:lnTo>
                  <a:lnTo>
                    <a:pt x="112" y="268"/>
                  </a:lnTo>
                  <a:lnTo>
                    <a:pt x="108" y="272"/>
                  </a:lnTo>
                  <a:lnTo>
                    <a:pt x="108" y="276"/>
                  </a:lnTo>
                  <a:lnTo>
                    <a:pt x="104" y="276"/>
                  </a:lnTo>
                  <a:lnTo>
                    <a:pt x="100" y="276"/>
                  </a:lnTo>
                  <a:lnTo>
                    <a:pt x="96" y="276"/>
                  </a:lnTo>
                  <a:lnTo>
                    <a:pt x="92" y="276"/>
                  </a:lnTo>
                  <a:lnTo>
                    <a:pt x="92" y="272"/>
                  </a:lnTo>
                  <a:lnTo>
                    <a:pt x="92" y="276"/>
                  </a:lnTo>
                  <a:lnTo>
                    <a:pt x="92" y="272"/>
                  </a:lnTo>
                  <a:lnTo>
                    <a:pt x="88" y="272"/>
                  </a:lnTo>
                  <a:lnTo>
                    <a:pt x="92" y="272"/>
                  </a:lnTo>
                  <a:lnTo>
                    <a:pt x="92" y="268"/>
                  </a:lnTo>
                  <a:lnTo>
                    <a:pt x="92" y="264"/>
                  </a:lnTo>
                  <a:lnTo>
                    <a:pt x="88" y="264"/>
                  </a:lnTo>
                  <a:lnTo>
                    <a:pt x="84" y="264"/>
                  </a:lnTo>
                  <a:lnTo>
                    <a:pt x="84" y="260"/>
                  </a:lnTo>
                  <a:lnTo>
                    <a:pt x="84" y="256"/>
                  </a:lnTo>
                  <a:lnTo>
                    <a:pt x="80" y="252"/>
                  </a:lnTo>
                  <a:lnTo>
                    <a:pt x="76" y="248"/>
                  </a:lnTo>
                  <a:lnTo>
                    <a:pt x="72" y="248"/>
                  </a:lnTo>
                  <a:lnTo>
                    <a:pt x="72" y="244"/>
                  </a:lnTo>
                  <a:lnTo>
                    <a:pt x="72" y="240"/>
                  </a:lnTo>
                  <a:lnTo>
                    <a:pt x="68" y="236"/>
                  </a:lnTo>
                  <a:lnTo>
                    <a:pt x="64" y="236"/>
                  </a:lnTo>
                  <a:lnTo>
                    <a:pt x="64" y="232"/>
                  </a:lnTo>
                  <a:lnTo>
                    <a:pt x="64" y="236"/>
                  </a:lnTo>
                  <a:lnTo>
                    <a:pt x="64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52" y="232"/>
                  </a:lnTo>
                  <a:lnTo>
                    <a:pt x="52" y="228"/>
                  </a:lnTo>
                  <a:lnTo>
                    <a:pt x="48" y="228"/>
                  </a:lnTo>
                  <a:lnTo>
                    <a:pt x="48" y="224"/>
                  </a:lnTo>
                  <a:lnTo>
                    <a:pt x="44" y="224"/>
                  </a:lnTo>
                  <a:lnTo>
                    <a:pt x="40" y="224"/>
                  </a:lnTo>
                  <a:lnTo>
                    <a:pt x="36" y="224"/>
                  </a:lnTo>
                  <a:lnTo>
                    <a:pt x="32" y="224"/>
                  </a:lnTo>
                  <a:lnTo>
                    <a:pt x="28" y="224"/>
                  </a:lnTo>
                  <a:lnTo>
                    <a:pt x="24" y="224"/>
                  </a:lnTo>
                  <a:lnTo>
                    <a:pt x="24" y="220"/>
                  </a:lnTo>
                  <a:lnTo>
                    <a:pt x="24" y="216"/>
                  </a:lnTo>
                  <a:lnTo>
                    <a:pt x="20" y="216"/>
                  </a:lnTo>
                  <a:lnTo>
                    <a:pt x="16" y="216"/>
                  </a:lnTo>
                  <a:lnTo>
                    <a:pt x="16" y="212"/>
                  </a:lnTo>
                  <a:lnTo>
                    <a:pt x="12" y="212"/>
                  </a:lnTo>
                  <a:lnTo>
                    <a:pt x="8" y="208"/>
                  </a:lnTo>
                  <a:lnTo>
                    <a:pt x="4" y="208"/>
                  </a:lnTo>
                  <a:lnTo>
                    <a:pt x="4" y="204"/>
                  </a:lnTo>
                  <a:lnTo>
                    <a:pt x="4" y="200"/>
                  </a:lnTo>
                  <a:lnTo>
                    <a:pt x="0" y="200"/>
                  </a:lnTo>
                  <a:lnTo>
                    <a:pt x="0" y="196"/>
                  </a:lnTo>
                  <a:lnTo>
                    <a:pt x="4" y="196"/>
                  </a:lnTo>
                  <a:lnTo>
                    <a:pt x="8" y="196"/>
                  </a:lnTo>
                  <a:lnTo>
                    <a:pt x="8" y="192"/>
                  </a:lnTo>
                  <a:lnTo>
                    <a:pt x="4" y="192"/>
                  </a:lnTo>
                  <a:lnTo>
                    <a:pt x="4" y="188"/>
                  </a:lnTo>
                  <a:lnTo>
                    <a:pt x="8" y="188"/>
                  </a:lnTo>
                  <a:lnTo>
                    <a:pt x="8" y="184"/>
                  </a:lnTo>
                  <a:lnTo>
                    <a:pt x="8" y="188"/>
                  </a:lnTo>
                  <a:lnTo>
                    <a:pt x="8" y="184"/>
                  </a:lnTo>
                  <a:lnTo>
                    <a:pt x="12" y="184"/>
                  </a:lnTo>
                  <a:lnTo>
                    <a:pt x="16" y="184"/>
                  </a:lnTo>
                  <a:lnTo>
                    <a:pt x="16" y="180"/>
                  </a:lnTo>
                  <a:lnTo>
                    <a:pt x="16" y="184"/>
                  </a:lnTo>
                  <a:lnTo>
                    <a:pt x="20" y="184"/>
                  </a:lnTo>
                  <a:lnTo>
                    <a:pt x="20" y="180"/>
                  </a:lnTo>
                  <a:lnTo>
                    <a:pt x="20" y="176"/>
                  </a:lnTo>
                  <a:lnTo>
                    <a:pt x="24" y="176"/>
                  </a:lnTo>
                  <a:lnTo>
                    <a:pt x="24" y="172"/>
                  </a:lnTo>
                  <a:lnTo>
                    <a:pt x="24" y="168"/>
                  </a:lnTo>
                  <a:lnTo>
                    <a:pt x="28" y="164"/>
                  </a:lnTo>
                  <a:lnTo>
                    <a:pt x="28" y="160"/>
                  </a:lnTo>
                  <a:lnTo>
                    <a:pt x="32" y="160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4" y="156"/>
                  </a:lnTo>
                  <a:lnTo>
                    <a:pt x="24" y="160"/>
                  </a:lnTo>
                  <a:lnTo>
                    <a:pt x="24" y="156"/>
                  </a:lnTo>
                  <a:lnTo>
                    <a:pt x="24" y="152"/>
                  </a:lnTo>
                  <a:lnTo>
                    <a:pt x="28" y="152"/>
                  </a:lnTo>
                  <a:lnTo>
                    <a:pt x="24" y="152"/>
                  </a:lnTo>
                  <a:lnTo>
                    <a:pt x="24" y="148"/>
                  </a:lnTo>
                  <a:lnTo>
                    <a:pt x="28" y="148"/>
                  </a:lnTo>
                  <a:lnTo>
                    <a:pt x="28" y="144"/>
                  </a:lnTo>
                  <a:lnTo>
                    <a:pt x="28" y="140"/>
                  </a:lnTo>
                  <a:lnTo>
                    <a:pt x="24" y="140"/>
                  </a:lnTo>
                  <a:lnTo>
                    <a:pt x="24" y="136"/>
                  </a:lnTo>
                  <a:lnTo>
                    <a:pt x="24" y="132"/>
                  </a:lnTo>
                  <a:lnTo>
                    <a:pt x="24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20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2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0" y="104"/>
                  </a:lnTo>
                  <a:lnTo>
                    <a:pt x="20" y="100"/>
                  </a:lnTo>
                  <a:lnTo>
                    <a:pt x="16" y="96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20" y="92"/>
                  </a:lnTo>
                  <a:lnTo>
                    <a:pt x="24" y="92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8" y="84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32" y="80"/>
                  </a:lnTo>
                  <a:lnTo>
                    <a:pt x="32" y="84"/>
                  </a:lnTo>
                  <a:lnTo>
                    <a:pt x="36" y="84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2" y="44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56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4"/>
                  </a:lnTo>
                  <a:close/>
                  <a:moveTo>
                    <a:pt x="24" y="152"/>
                  </a:moveTo>
                  <a:lnTo>
                    <a:pt x="28" y="152"/>
                  </a:lnTo>
                  <a:lnTo>
                    <a:pt x="24" y="152"/>
                  </a:lnTo>
                  <a:close/>
                  <a:moveTo>
                    <a:pt x="16" y="184"/>
                  </a:moveTo>
                  <a:lnTo>
                    <a:pt x="12" y="184"/>
                  </a:lnTo>
                  <a:lnTo>
                    <a:pt x="12" y="180"/>
                  </a:lnTo>
                  <a:lnTo>
                    <a:pt x="16" y="18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5" name="Freeform 173"/>
            <p:cNvSpPr>
              <a:spLocks noEditPoints="1"/>
            </p:cNvSpPr>
            <p:nvPr>
              <p:custDataLst>
                <p:tags r:id="rId368"/>
              </p:custDataLst>
            </p:nvPr>
          </p:nvSpPr>
          <p:spPr bwMode="gray">
            <a:xfrm>
              <a:off x="2317568" y="4557395"/>
              <a:ext cx="372249" cy="170552"/>
            </a:xfrm>
            <a:custGeom>
              <a:avLst/>
              <a:gdLst/>
              <a:ahLst/>
              <a:cxnLst>
                <a:cxn ang="0">
                  <a:pos x="179" y="107"/>
                </a:cxn>
                <a:cxn ang="0">
                  <a:pos x="175" y="107"/>
                </a:cxn>
                <a:cxn ang="0">
                  <a:pos x="171" y="99"/>
                </a:cxn>
                <a:cxn ang="0">
                  <a:pos x="171" y="87"/>
                </a:cxn>
                <a:cxn ang="0">
                  <a:pos x="179" y="83"/>
                </a:cxn>
                <a:cxn ang="0">
                  <a:pos x="179" y="72"/>
                </a:cxn>
                <a:cxn ang="0">
                  <a:pos x="179" y="68"/>
                </a:cxn>
                <a:cxn ang="0">
                  <a:pos x="175" y="68"/>
                </a:cxn>
                <a:cxn ang="0">
                  <a:pos x="175" y="72"/>
                </a:cxn>
                <a:cxn ang="0">
                  <a:pos x="167" y="72"/>
                </a:cxn>
                <a:cxn ang="0">
                  <a:pos x="163" y="64"/>
                </a:cxn>
                <a:cxn ang="0">
                  <a:pos x="163" y="60"/>
                </a:cxn>
                <a:cxn ang="0">
                  <a:pos x="167" y="52"/>
                </a:cxn>
                <a:cxn ang="0">
                  <a:pos x="167" y="44"/>
                </a:cxn>
                <a:cxn ang="0">
                  <a:pos x="171" y="36"/>
                </a:cxn>
                <a:cxn ang="0">
                  <a:pos x="175" y="28"/>
                </a:cxn>
                <a:cxn ang="0">
                  <a:pos x="175" y="16"/>
                </a:cxn>
                <a:cxn ang="0">
                  <a:pos x="179" y="8"/>
                </a:cxn>
                <a:cxn ang="0">
                  <a:pos x="191" y="4"/>
                </a:cxn>
                <a:cxn ang="0">
                  <a:pos x="195" y="4"/>
                </a:cxn>
                <a:cxn ang="0">
                  <a:pos x="207" y="8"/>
                </a:cxn>
                <a:cxn ang="0">
                  <a:pos x="215" y="12"/>
                </a:cxn>
                <a:cxn ang="0">
                  <a:pos x="219" y="20"/>
                </a:cxn>
                <a:cxn ang="0">
                  <a:pos x="231" y="20"/>
                </a:cxn>
                <a:cxn ang="0">
                  <a:pos x="239" y="24"/>
                </a:cxn>
                <a:cxn ang="0">
                  <a:pos x="247" y="28"/>
                </a:cxn>
                <a:cxn ang="0">
                  <a:pos x="247" y="36"/>
                </a:cxn>
                <a:cxn ang="0">
                  <a:pos x="247" y="44"/>
                </a:cxn>
                <a:cxn ang="0">
                  <a:pos x="243" y="56"/>
                </a:cxn>
                <a:cxn ang="0">
                  <a:pos x="235" y="64"/>
                </a:cxn>
                <a:cxn ang="0">
                  <a:pos x="223" y="76"/>
                </a:cxn>
                <a:cxn ang="0">
                  <a:pos x="211" y="80"/>
                </a:cxn>
                <a:cxn ang="0">
                  <a:pos x="207" y="87"/>
                </a:cxn>
                <a:cxn ang="0">
                  <a:pos x="203" y="87"/>
                </a:cxn>
                <a:cxn ang="0">
                  <a:pos x="199" y="95"/>
                </a:cxn>
                <a:cxn ang="0">
                  <a:pos x="195" y="103"/>
                </a:cxn>
                <a:cxn ang="0">
                  <a:pos x="195" y="107"/>
                </a:cxn>
                <a:cxn ang="0">
                  <a:pos x="187" y="115"/>
                </a:cxn>
                <a:cxn ang="0">
                  <a:pos x="20" y="40"/>
                </a:cxn>
                <a:cxn ang="0">
                  <a:pos x="20" y="36"/>
                </a:cxn>
                <a:cxn ang="0">
                  <a:pos x="20" y="40"/>
                </a:cxn>
                <a:cxn ang="0">
                  <a:pos x="4" y="40"/>
                </a:cxn>
                <a:cxn ang="0">
                  <a:pos x="4" y="32"/>
                </a:cxn>
                <a:cxn ang="0">
                  <a:pos x="0" y="24"/>
                </a:cxn>
                <a:cxn ang="0">
                  <a:pos x="8" y="28"/>
                </a:cxn>
                <a:cxn ang="0">
                  <a:pos x="12" y="36"/>
                </a:cxn>
                <a:cxn ang="0">
                  <a:pos x="8" y="44"/>
                </a:cxn>
                <a:cxn ang="0">
                  <a:pos x="12" y="28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32" y="40"/>
                </a:cxn>
                <a:cxn ang="0">
                  <a:pos x="32" y="44"/>
                </a:cxn>
                <a:cxn ang="0">
                  <a:pos x="20" y="48"/>
                </a:cxn>
                <a:cxn ang="0">
                  <a:pos x="171" y="80"/>
                </a:cxn>
                <a:cxn ang="0">
                  <a:pos x="179" y="76"/>
                </a:cxn>
              </a:cxnLst>
              <a:rect l="0" t="0" r="r" b="b"/>
              <a:pathLst>
                <a:path w="251" h="115">
                  <a:moveTo>
                    <a:pt x="183" y="111"/>
                  </a:moveTo>
                  <a:lnTo>
                    <a:pt x="183" y="107"/>
                  </a:lnTo>
                  <a:lnTo>
                    <a:pt x="179" y="107"/>
                  </a:lnTo>
                  <a:lnTo>
                    <a:pt x="175" y="107"/>
                  </a:lnTo>
                  <a:lnTo>
                    <a:pt x="175" y="103"/>
                  </a:lnTo>
                  <a:lnTo>
                    <a:pt x="175" y="107"/>
                  </a:lnTo>
                  <a:lnTo>
                    <a:pt x="171" y="107"/>
                  </a:lnTo>
                  <a:lnTo>
                    <a:pt x="171" y="103"/>
                  </a:lnTo>
                  <a:lnTo>
                    <a:pt x="171" y="99"/>
                  </a:lnTo>
                  <a:lnTo>
                    <a:pt x="175" y="95"/>
                  </a:lnTo>
                  <a:lnTo>
                    <a:pt x="175" y="91"/>
                  </a:lnTo>
                  <a:lnTo>
                    <a:pt x="171" y="87"/>
                  </a:lnTo>
                  <a:lnTo>
                    <a:pt x="175" y="87"/>
                  </a:lnTo>
                  <a:lnTo>
                    <a:pt x="175" y="83"/>
                  </a:lnTo>
                  <a:lnTo>
                    <a:pt x="179" y="83"/>
                  </a:lnTo>
                  <a:lnTo>
                    <a:pt x="179" y="80"/>
                  </a:lnTo>
                  <a:lnTo>
                    <a:pt x="179" y="76"/>
                  </a:lnTo>
                  <a:lnTo>
                    <a:pt x="179" y="72"/>
                  </a:lnTo>
                  <a:lnTo>
                    <a:pt x="179" y="68"/>
                  </a:lnTo>
                  <a:lnTo>
                    <a:pt x="179" y="64"/>
                  </a:lnTo>
                  <a:lnTo>
                    <a:pt x="179" y="68"/>
                  </a:lnTo>
                  <a:lnTo>
                    <a:pt x="179" y="72"/>
                  </a:lnTo>
                  <a:lnTo>
                    <a:pt x="175" y="72"/>
                  </a:lnTo>
                  <a:lnTo>
                    <a:pt x="175" y="68"/>
                  </a:lnTo>
                  <a:lnTo>
                    <a:pt x="179" y="68"/>
                  </a:lnTo>
                  <a:lnTo>
                    <a:pt x="175" y="68"/>
                  </a:lnTo>
                  <a:lnTo>
                    <a:pt x="175" y="72"/>
                  </a:lnTo>
                  <a:lnTo>
                    <a:pt x="175" y="76"/>
                  </a:lnTo>
                  <a:lnTo>
                    <a:pt x="171" y="76"/>
                  </a:lnTo>
                  <a:lnTo>
                    <a:pt x="167" y="72"/>
                  </a:lnTo>
                  <a:lnTo>
                    <a:pt x="167" y="68"/>
                  </a:lnTo>
                  <a:lnTo>
                    <a:pt x="163" y="68"/>
                  </a:lnTo>
                  <a:lnTo>
                    <a:pt x="163" y="64"/>
                  </a:lnTo>
                  <a:lnTo>
                    <a:pt x="167" y="64"/>
                  </a:lnTo>
                  <a:lnTo>
                    <a:pt x="167" y="60"/>
                  </a:lnTo>
                  <a:lnTo>
                    <a:pt x="163" y="60"/>
                  </a:lnTo>
                  <a:lnTo>
                    <a:pt x="163" y="56"/>
                  </a:lnTo>
                  <a:lnTo>
                    <a:pt x="163" y="52"/>
                  </a:lnTo>
                  <a:lnTo>
                    <a:pt x="167" y="52"/>
                  </a:lnTo>
                  <a:lnTo>
                    <a:pt x="163" y="48"/>
                  </a:lnTo>
                  <a:lnTo>
                    <a:pt x="163" y="44"/>
                  </a:lnTo>
                  <a:lnTo>
                    <a:pt x="167" y="44"/>
                  </a:lnTo>
                  <a:lnTo>
                    <a:pt x="167" y="40"/>
                  </a:lnTo>
                  <a:lnTo>
                    <a:pt x="171" y="40"/>
                  </a:lnTo>
                  <a:lnTo>
                    <a:pt x="171" y="36"/>
                  </a:lnTo>
                  <a:lnTo>
                    <a:pt x="171" y="32"/>
                  </a:lnTo>
                  <a:lnTo>
                    <a:pt x="171" y="28"/>
                  </a:lnTo>
                  <a:lnTo>
                    <a:pt x="175" y="28"/>
                  </a:lnTo>
                  <a:lnTo>
                    <a:pt x="175" y="24"/>
                  </a:lnTo>
                  <a:lnTo>
                    <a:pt x="175" y="20"/>
                  </a:lnTo>
                  <a:lnTo>
                    <a:pt x="175" y="16"/>
                  </a:lnTo>
                  <a:lnTo>
                    <a:pt x="175" y="12"/>
                  </a:lnTo>
                  <a:lnTo>
                    <a:pt x="179" y="12"/>
                  </a:lnTo>
                  <a:lnTo>
                    <a:pt x="179" y="8"/>
                  </a:lnTo>
                  <a:lnTo>
                    <a:pt x="183" y="8"/>
                  </a:lnTo>
                  <a:lnTo>
                    <a:pt x="187" y="8"/>
                  </a:lnTo>
                  <a:lnTo>
                    <a:pt x="191" y="4"/>
                  </a:lnTo>
                  <a:lnTo>
                    <a:pt x="195" y="4"/>
                  </a:lnTo>
                  <a:lnTo>
                    <a:pt x="195" y="0"/>
                  </a:lnTo>
                  <a:lnTo>
                    <a:pt x="195" y="4"/>
                  </a:lnTo>
                  <a:lnTo>
                    <a:pt x="199" y="4"/>
                  </a:lnTo>
                  <a:lnTo>
                    <a:pt x="203" y="8"/>
                  </a:lnTo>
                  <a:lnTo>
                    <a:pt x="207" y="8"/>
                  </a:lnTo>
                  <a:lnTo>
                    <a:pt x="207" y="12"/>
                  </a:lnTo>
                  <a:lnTo>
                    <a:pt x="211" y="12"/>
                  </a:lnTo>
                  <a:lnTo>
                    <a:pt x="215" y="12"/>
                  </a:lnTo>
                  <a:lnTo>
                    <a:pt x="215" y="16"/>
                  </a:lnTo>
                  <a:lnTo>
                    <a:pt x="215" y="20"/>
                  </a:lnTo>
                  <a:lnTo>
                    <a:pt x="219" y="20"/>
                  </a:lnTo>
                  <a:lnTo>
                    <a:pt x="223" y="20"/>
                  </a:lnTo>
                  <a:lnTo>
                    <a:pt x="227" y="20"/>
                  </a:lnTo>
                  <a:lnTo>
                    <a:pt x="231" y="20"/>
                  </a:lnTo>
                  <a:lnTo>
                    <a:pt x="235" y="20"/>
                  </a:lnTo>
                  <a:lnTo>
                    <a:pt x="239" y="20"/>
                  </a:lnTo>
                  <a:lnTo>
                    <a:pt x="239" y="24"/>
                  </a:lnTo>
                  <a:lnTo>
                    <a:pt x="243" y="24"/>
                  </a:lnTo>
                  <a:lnTo>
                    <a:pt x="243" y="28"/>
                  </a:lnTo>
                  <a:lnTo>
                    <a:pt x="247" y="28"/>
                  </a:lnTo>
                  <a:lnTo>
                    <a:pt x="243" y="28"/>
                  </a:lnTo>
                  <a:lnTo>
                    <a:pt x="247" y="32"/>
                  </a:lnTo>
                  <a:lnTo>
                    <a:pt x="247" y="36"/>
                  </a:lnTo>
                  <a:lnTo>
                    <a:pt x="247" y="40"/>
                  </a:lnTo>
                  <a:lnTo>
                    <a:pt x="251" y="44"/>
                  </a:lnTo>
                  <a:lnTo>
                    <a:pt x="247" y="44"/>
                  </a:lnTo>
                  <a:lnTo>
                    <a:pt x="247" y="48"/>
                  </a:lnTo>
                  <a:lnTo>
                    <a:pt x="243" y="52"/>
                  </a:lnTo>
                  <a:lnTo>
                    <a:pt x="243" y="56"/>
                  </a:lnTo>
                  <a:lnTo>
                    <a:pt x="239" y="60"/>
                  </a:lnTo>
                  <a:lnTo>
                    <a:pt x="239" y="64"/>
                  </a:lnTo>
                  <a:lnTo>
                    <a:pt x="235" y="64"/>
                  </a:lnTo>
                  <a:lnTo>
                    <a:pt x="231" y="68"/>
                  </a:lnTo>
                  <a:lnTo>
                    <a:pt x="227" y="72"/>
                  </a:lnTo>
                  <a:lnTo>
                    <a:pt x="223" y="76"/>
                  </a:lnTo>
                  <a:lnTo>
                    <a:pt x="219" y="76"/>
                  </a:lnTo>
                  <a:lnTo>
                    <a:pt x="215" y="80"/>
                  </a:lnTo>
                  <a:lnTo>
                    <a:pt x="211" y="80"/>
                  </a:lnTo>
                  <a:lnTo>
                    <a:pt x="207" y="80"/>
                  </a:lnTo>
                  <a:lnTo>
                    <a:pt x="207" y="83"/>
                  </a:lnTo>
                  <a:lnTo>
                    <a:pt x="207" y="87"/>
                  </a:lnTo>
                  <a:lnTo>
                    <a:pt x="203" y="87"/>
                  </a:lnTo>
                  <a:lnTo>
                    <a:pt x="203" y="91"/>
                  </a:lnTo>
                  <a:lnTo>
                    <a:pt x="203" y="87"/>
                  </a:lnTo>
                  <a:lnTo>
                    <a:pt x="203" y="91"/>
                  </a:lnTo>
                  <a:lnTo>
                    <a:pt x="203" y="95"/>
                  </a:lnTo>
                  <a:lnTo>
                    <a:pt x="199" y="95"/>
                  </a:lnTo>
                  <a:lnTo>
                    <a:pt x="199" y="99"/>
                  </a:lnTo>
                  <a:lnTo>
                    <a:pt x="199" y="103"/>
                  </a:lnTo>
                  <a:lnTo>
                    <a:pt x="195" y="103"/>
                  </a:lnTo>
                  <a:lnTo>
                    <a:pt x="195" y="107"/>
                  </a:lnTo>
                  <a:lnTo>
                    <a:pt x="199" y="107"/>
                  </a:lnTo>
                  <a:lnTo>
                    <a:pt x="195" y="107"/>
                  </a:lnTo>
                  <a:lnTo>
                    <a:pt x="195" y="111"/>
                  </a:lnTo>
                  <a:lnTo>
                    <a:pt x="191" y="115"/>
                  </a:lnTo>
                  <a:lnTo>
                    <a:pt x="187" y="115"/>
                  </a:lnTo>
                  <a:lnTo>
                    <a:pt x="187" y="111"/>
                  </a:lnTo>
                  <a:lnTo>
                    <a:pt x="183" y="111"/>
                  </a:lnTo>
                  <a:close/>
                  <a:moveTo>
                    <a:pt x="20" y="40"/>
                  </a:moveTo>
                  <a:lnTo>
                    <a:pt x="16" y="40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4" y="40"/>
                  </a:lnTo>
                  <a:lnTo>
                    <a:pt x="20" y="40"/>
                  </a:lnTo>
                  <a:close/>
                  <a:moveTo>
                    <a:pt x="8" y="44"/>
                  </a:moveTo>
                  <a:lnTo>
                    <a:pt x="4" y="44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8" y="44"/>
                  </a:lnTo>
                  <a:close/>
                  <a:moveTo>
                    <a:pt x="16" y="32"/>
                  </a:moveTo>
                  <a:lnTo>
                    <a:pt x="12" y="32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32"/>
                  </a:lnTo>
                  <a:close/>
                  <a:moveTo>
                    <a:pt x="4" y="36"/>
                  </a:moveTo>
                  <a:lnTo>
                    <a:pt x="0" y="36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6"/>
                  </a:lnTo>
                  <a:close/>
                  <a:moveTo>
                    <a:pt x="32" y="44"/>
                  </a:moveTo>
                  <a:lnTo>
                    <a:pt x="32" y="40"/>
                  </a:lnTo>
                  <a:lnTo>
                    <a:pt x="36" y="40"/>
                  </a:lnTo>
                  <a:lnTo>
                    <a:pt x="36" y="44"/>
                  </a:lnTo>
                  <a:lnTo>
                    <a:pt x="32" y="44"/>
                  </a:lnTo>
                  <a:close/>
                  <a:moveTo>
                    <a:pt x="20" y="52"/>
                  </a:moveTo>
                  <a:lnTo>
                    <a:pt x="16" y="48"/>
                  </a:lnTo>
                  <a:lnTo>
                    <a:pt x="20" y="48"/>
                  </a:lnTo>
                  <a:lnTo>
                    <a:pt x="20" y="52"/>
                  </a:lnTo>
                  <a:close/>
                  <a:moveTo>
                    <a:pt x="175" y="80"/>
                  </a:moveTo>
                  <a:lnTo>
                    <a:pt x="171" y="80"/>
                  </a:lnTo>
                  <a:lnTo>
                    <a:pt x="171" y="76"/>
                  </a:lnTo>
                  <a:lnTo>
                    <a:pt x="175" y="76"/>
                  </a:lnTo>
                  <a:lnTo>
                    <a:pt x="179" y="76"/>
                  </a:lnTo>
                  <a:lnTo>
                    <a:pt x="175" y="8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6" name="Freeform 174"/>
            <p:cNvSpPr>
              <a:spLocks/>
            </p:cNvSpPr>
            <p:nvPr>
              <p:custDataLst>
                <p:tags r:id="rId369"/>
              </p:custDataLst>
            </p:nvPr>
          </p:nvSpPr>
          <p:spPr bwMode="gray">
            <a:xfrm>
              <a:off x="3151050" y="4438750"/>
              <a:ext cx="65255" cy="100848"/>
            </a:xfrm>
            <a:custGeom>
              <a:avLst/>
              <a:gdLst/>
              <a:ahLst/>
              <a:cxnLst>
                <a:cxn ang="0">
                  <a:pos x="0" y="60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8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32" y="16"/>
                </a:cxn>
                <a:cxn ang="0">
                  <a:pos x="40" y="20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40" y="28"/>
                </a:cxn>
                <a:cxn ang="0">
                  <a:pos x="40" y="24"/>
                </a:cxn>
                <a:cxn ang="0">
                  <a:pos x="40" y="24"/>
                </a:cxn>
                <a:cxn ang="0">
                  <a:pos x="40" y="24"/>
                </a:cxn>
                <a:cxn ang="0">
                  <a:pos x="40" y="20"/>
                </a:cxn>
                <a:cxn ang="0">
                  <a:pos x="44" y="24"/>
                </a:cxn>
                <a:cxn ang="0">
                  <a:pos x="44" y="24"/>
                </a:cxn>
                <a:cxn ang="0">
                  <a:pos x="44" y="28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0" y="36"/>
                </a:cxn>
                <a:cxn ang="0">
                  <a:pos x="40" y="40"/>
                </a:cxn>
                <a:cxn ang="0">
                  <a:pos x="36" y="44"/>
                </a:cxn>
                <a:cxn ang="0">
                  <a:pos x="36" y="48"/>
                </a:cxn>
                <a:cxn ang="0">
                  <a:pos x="32" y="48"/>
                </a:cxn>
                <a:cxn ang="0">
                  <a:pos x="32" y="52"/>
                </a:cxn>
                <a:cxn ang="0">
                  <a:pos x="32" y="56"/>
                </a:cxn>
                <a:cxn ang="0">
                  <a:pos x="32" y="60"/>
                </a:cxn>
                <a:cxn ang="0">
                  <a:pos x="28" y="64"/>
                </a:cxn>
                <a:cxn ang="0">
                  <a:pos x="24" y="64"/>
                </a:cxn>
                <a:cxn ang="0">
                  <a:pos x="24" y="64"/>
                </a:cxn>
                <a:cxn ang="0">
                  <a:pos x="20" y="64"/>
                </a:cxn>
                <a:cxn ang="0">
                  <a:pos x="20" y="64"/>
                </a:cxn>
                <a:cxn ang="0">
                  <a:pos x="20" y="64"/>
                </a:cxn>
                <a:cxn ang="0">
                  <a:pos x="16" y="64"/>
                </a:cxn>
                <a:cxn ang="0">
                  <a:pos x="12" y="64"/>
                </a:cxn>
                <a:cxn ang="0">
                  <a:pos x="8" y="64"/>
                </a:cxn>
                <a:cxn ang="0">
                  <a:pos x="8" y="68"/>
                </a:cxn>
                <a:cxn ang="0">
                  <a:pos x="0" y="64"/>
                </a:cxn>
                <a:cxn ang="0">
                  <a:pos x="0" y="64"/>
                </a:cxn>
              </a:cxnLst>
              <a:rect l="0" t="0" r="r" b="b"/>
              <a:pathLst>
                <a:path w="44" h="68">
                  <a:moveTo>
                    <a:pt x="0" y="64"/>
                  </a:moveTo>
                  <a:lnTo>
                    <a:pt x="0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7" name="Freeform 175"/>
            <p:cNvSpPr>
              <a:spLocks/>
            </p:cNvSpPr>
            <p:nvPr>
              <p:custDataLst>
                <p:tags r:id="rId370"/>
              </p:custDataLst>
            </p:nvPr>
          </p:nvSpPr>
          <p:spPr bwMode="gray">
            <a:xfrm>
              <a:off x="2996811" y="4361630"/>
              <a:ext cx="112713" cy="201697"/>
            </a:xfrm>
            <a:custGeom>
              <a:avLst/>
              <a:gdLst/>
              <a:ahLst/>
              <a:cxnLst>
                <a:cxn ang="0">
                  <a:pos x="52" y="36"/>
                </a:cxn>
                <a:cxn ang="0">
                  <a:pos x="56" y="40"/>
                </a:cxn>
                <a:cxn ang="0">
                  <a:pos x="60" y="44"/>
                </a:cxn>
                <a:cxn ang="0">
                  <a:pos x="64" y="48"/>
                </a:cxn>
                <a:cxn ang="0">
                  <a:pos x="64" y="60"/>
                </a:cxn>
                <a:cxn ang="0">
                  <a:pos x="64" y="64"/>
                </a:cxn>
                <a:cxn ang="0">
                  <a:pos x="60" y="64"/>
                </a:cxn>
                <a:cxn ang="0">
                  <a:pos x="56" y="68"/>
                </a:cxn>
                <a:cxn ang="0">
                  <a:pos x="52" y="72"/>
                </a:cxn>
                <a:cxn ang="0">
                  <a:pos x="52" y="80"/>
                </a:cxn>
                <a:cxn ang="0">
                  <a:pos x="52" y="84"/>
                </a:cxn>
                <a:cxn ang="0">
                  <a:pos x="52" y="88"/>
                </a:cxn>
                <a:cxn ang="0">
                  <a:pos x="56" y="92"/>
                </a:cxn>
                <a:cxn ang="0">
                  <a:pos x="56" y="96"/>
                </a:cxn>
                <a:cxn ang="0">
                  <a:pos x="64" y="100"/>
                </a:cxn>
                <a:cxn ang="0">
                  <a:pos x="64" y="104"/>
                </a:cxn>
                <a:cxn ang="0">
                  <a:pos x="68" y="116"/>
                </a:cxn>
                <a:cxn ang="0">
                  <a:pos x="76" y="124"/>
                </a:cxn>
                <a:cxn ang="0">
                  <a:pos x="72" y="124"/>
                </a:cxn>
                <a:cxn ang="0">
                  <a:pos x="64" y="120"/>
                </a:cxn>
                <a:cxn ang="0">
                  <a:pos x="64" y="120"/>
                </a:cxn>
                <a:cxn ang="0">
                  <a:pos x="60" y="128"/>
                </a:cxn>
                <a:cxn ang="0">
                  <a:pos x="56" y="128"/>
                </a:cxn>
                <a:cxn ang="0">
                  <a:pos x="48" y="132"/>
                </a:cxn>
                <a:cxn ang="0">
                  <a:pos x="44" y="132"/>
                </a:cxn>
                <a:cxn ang="0">
                  <a:pos x="40" y="136"/>
                </a:cxn>
                <a:cxn ang="0">
                  <a:pos x="36" y="136"/>
                </a:cxn>
                <a:cxn ang="0">
                  <a:pos x="32" y="128"/>
                </a:cxn>
                <a:cxn ang="0">
                  <a:pos x="28" y="124"/>
                </a:cxn>
                <a:cxn ang="0">
                  <a:pos x="24" y="116"/>
                </a:cxn>
                <a:cxn ang="0">
                  <a:pos x="24" y="112"/>
                </a:cxn>
                <a:cxn ang="0">
                  <a:pos x="20" y="104"/>
                </a:cxn>
                <a:cxn ang="0">
                  <a:pos x="24" y="96"/>
                </a:cxn>
                <a:cxn ang="0">
                  <a:pos x="28" y="88"/>
                </a:cxn>
                <a:cxn ang="0">
                  <a:pos x="28" y="76"/>
                </a:cxn>
                <a:cxn ang="0">
                  <a:pos x="20" y="76"/>
                </a:cxn>
                <a:cxn ang="0">
                  <a:pos x="20" y="72"/>
                </a:cxn>
                <a:cxn ang="0">
                  <a:pos x="20" y="64"/>
                </a:cxn>
                <a:cxn ang="0">
                  <a:pos x="16" y="64"/>
                </a:cxn>
                <a:cxn ang="0">
                  <a:pos x="12" y="64"/>
                </a:cxn>
                <a:cxn ang="0">
                  <a:pos x="0" y="48"/>
                </a:cxn>
                <a:cxn ang="0">
                  <a:pos x="4" y="44"/>
                </a:cxn>
                <a:cxn ang="0">
                  <a:pos x="4" y="36"/>
                </a:cxn>
                <a:cxn ang="0">
                  <a:pos x="12" y="36"/>
                </a:cxn>
                <a:cxn ang="0">
                  <a:pos x="12" y="32"/>
                </a:cxn>
                <a:cxn ang="0">
                  <a:pos x="16" y="28"/>
                </a:cxn>
                <a:cxn ang="0">
                  <a:pos x="12" y="28"/>
                </a:cxn>
                <a:cxn ang="0">
                  <a:pos x="12" y="24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20" y="12"/>
                </a:cxn>
                <a:cxn ang="0">
                  <a:pos x="24" y="8"/>
                </a:cxn>
                <a:cxn ang="0">
                  <a:pos x="20" y="0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6" y="12"/>
                </a:cxn>
                <a:cxn ang="0">
                  <a:pos x="40" y="20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4" y="40"/>
                </a:cxn>
                <a:cxn ang="0">
                  <a:pos x="44" y="36"/>
                </a:cxn>
                <a:cxn ang="0">
                  <a:pos x="48" y="32"/>
                </a:cxn>
              </a:cxnLst>
              <a:rect l="0" t="0" r="r" b="b"/>
              <a:pathLst>
                <a:path w="76" h="136">
                  <a:moveTo>
                    <a:pt x="48" y="32"/>
                  </a:move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0" y="60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2" y="72"/>
                  </a:lnTo>
                  <a:lnTo>
                    <a:pt x="52" y="76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8" y="112"/>
                  </a:lnTo>
                  <a:lnTo>
                    <a:pt x="68" y="112"/>
                  </a:lnTo>
                  <a:lnTo>
                    <a:pt x="68" y="116"/>
                  </a:lnTo>
                  <a:lnTo>
                    <a:pt x="68" y="116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68" y="124"/>
                  </a:lnTo>
                  <a:lnTo>
                    <a:pt x="68" y="124"/>
                  </a:lnTo>
                  <a:lnTo>
                    <a:pt x="68" y="124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24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0" y="120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60" y="128"/>
                  </a:lnTo>
                  <a:lnTo>
                    <a:pt x="60" y="128"/>
                  </a:lnTo>
                  <a:lnTo>
                    <a:pt x="60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2" y="128"/>
                  </a:lnTo>
                  <a:lnTo>
                    <a:pt x="52" y="128"/>
                  </a:lnTo>
                  <a:lnTo>
                    <a:pt x="52" y="128"/>
                  </a:lnTo>
                  <a:lnTo>
                    <a:pt x="52" y="132"/>
                  </a:lnTo>
                  <a:lnTo>
                    <a:pt x="48" y="132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6"/>
                  </a:lnTo>
                  <a:lnTo>
                    <a:pt x="44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32" y="132"/>
                  </a:lnTo>
                  <a:lnTo>
                    <a:pt x="32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4" y="124"/>
                  </a:lnTo>
                  <a:lnTo>
                    <a:pt x="24" y="124"/>
                  </a:lnTo>
                  <a:lnTo>
                    <a:pt x="24" y="124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0" y="112"/>
                  </a:lnTo>
                  <a:lnTo>
                    <a:pt x="20" y="108"/>
                  </a:lnTo>
                  <a:lnTo>
                    <a:pt x="20" y="104"/>
                  </a:lnTo>
                  <a:lnTo>
                    <a:pt x="20" y="104"/>
                  </a:lnTo>
                  <a:lnTo>
                    <a:pt x="20" y="104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4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16" y="60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4" y="56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8" name="Freeform 176"/>
            <p:cNvSpPr>
              <a:spLocks/>
            </p:cNvSpPr>
            <p:nvPr>
              <p:custDataLst>
                <p:tags r:id="rId371"/>
              </p:custDataLst>
            </p:nvPr>
          </p:nvSpPr>
          <p:spPr bwMode="gray">
            <a:xfrm>
              <a:off x="2967150" y="5125408"/>
              <a:ext cx="189832" cy="229874"/>
            </a:xfrm>
            <a:custGeom>
              <a:avLst/>
              <a:gdLst/>
              <a:ahLst/>
              <a:cxnLst>
                <a:cxn ang="0">
                  <a:pos x="72" y="108"/>
                </a:cxn>
                <a:cxn ang="0">
                  <a:pos x="68" y="108"/>
                </a:cxn>
                <a:cxn ang="0">
                  <a:pos x="60" y="104"/>
                </a:cxn>
                <a:cxn ang="0">
                  <a:pos x="52" y="96"/>
                </a:cxn>
                <a:cxn ang="0">
                  <a:pos x="40" y="88"/>
                </a:cxn>
                <a:cxn ang="0">
                  <a:pos x="36" y="88"/>
                </a:cxn>
                <a:cxn ang="0">
                  <a:pos x="28" y="84"/>
                </a:cxn>
                <a:cxn ang="0">
                  <a:pos x="20" y="76"/>
                </a:cxn>
                <a:cxn ang="0">
                  <a:pos x="16" y="72"/>
                </a:cxn>
                <a:cxn ang="0">
                  <a:pos x="12" y="68"/>
                </a:cxn>
                <a:cxn ang="0">
                  <a:pos x="8" y="60"/>
                </a:cxn>
                <a:cxn ang="0">
                  <a:pos x="0" y="56"/>
                </a:cxn>
                <a:cxn ang="0">
                  <a:pos x="4" y="40"/>
                </a:cxn>
                <a:cxn ang="0">
                  <a:pos x="8" y="20"/>
                </a:cxn>
                <a:cxn ang="0">
                  <a:pos x="20" y="4"/>
                </a:cxn>
                <a:cxn ang="0">
                  <a:pos x="40" y="0"/>
                </a:cxn>
                <a:cxn ang="0">
                  <a:pos x="68" y="8"/>
                </a:cxn>
                <a:cxn ang="0">
                  <a:pos x="68" y="16"/>
                </a:cxn>
                <a:cxn ang="0">
                  <a:pos x="72" y="24"/>
                </a:cxn>
                <a:cxn ang="0">
                  <a:pos x="72" y="40"/>
                </a:cxn>
                <a:cxn ang="0">
                  <a:pos x="72" y="52"/>
                </a:cxn>
                <a:cxn ang="0">
                  <a:pos x="76" y="52"/>
                </a:cxn>
                <a:cxn ang="0">
                  <a:pos x="84" y="56"/>
                </a:cxn>
                <a:cxn ang="0">
                  <a:pos x="92" y="56"/>
                </a:cxn>
                <a:cxn ang="0">
                  <a:pos x="96" y="52"/>
                </a:cxn>
                <a:cxn ang="0">
                  <a:pos x="100" y="56"/>
                </a:cxn>
                <a:cxn ang="0">
                  <a:pos x="104" y="60"/>
                </a:cxn>
                <a:cxn ang="0">
                  <a:pos x="108" y="60"/>
                </a:cxn>
                <a:cxn ang="0">
                  <a:pos x="108" y="72"/>
                </a:cxn>
                <a:cxn ang="0">
                  <a:pos x="108" y="80"/>
                </a:cxn>
                <a:cxn ang="0">
                  <a:pos x="112" y="88"/>
                </a:cxn>
                <a:cxn ang="0">
                  <a:pos x="116" y="88"/>
                </a:cxn>
                <a:cxn ang="0">
                  <a:pos x="128" y="88"/>
                </a:cxn>
                <a:cxn ang="0">
                  <a:pos x="128" y="92"/>
                </a:cxn>
                <a:cxn ang="0">
                  <a:pos x="128" y="96"/>
                </a:cxn>
                <a:cxn ang="0">
                  <a:pos x="128" y="100"/>
                </a:cxn>
                <a:cxn ang="0">
                  <a:pos x="124" y="112"/>
                </a:cxn>
                <a:cxn ang="0">
                  <a:pos x="124" y="116"/>
                </a:cxn>
                <a:cxn ang="0">
                  <a:pos x="124" y="132"/>
                </a:cxn>
                <a:cxn ang="0">
                  <a:pos x="120" y="139"/>
                </a:cxn>
                <a:cxn ang="0">
                  <a:pos x="116" y="143"/>
                </a:cxn>
                <a:cxn ang="0">
                  <a:pos x="108" y="147"/>
                </a:cxn>
                <a:cxn ang="0">
                  <a:pos x="108" y="155"/>
                </a:cxn>
                <a:cxn ang="0">
                  <a:pos x="104" y="151"/>
                </a:cxn>
                <a:cxn ang="0">
                  <a:pos x="96" y="155"/>
                </a:cxn>
                <a:cxn ang="0">
                  <a:pos x="96" y="155"/>
                </a:cxn>
                <a:cxn ang="0">
                  <a:pos x="92" y="155"/>
                </a:cxn>
                <a:cxn ang="0">
                  <a:pos x="88" y="155"/>
                </a:cxn>
                <a:cxn ang="0">
                  <a:pos x="84" y="155"/>
                </a:cxn>
                <a:cxn ang="0">
                  <a:pos x="80" y="155"/>
                </a:cxn>
                <a:cxn ang="0">
                  <a:pos x="76" y="151"/>
                </a:cxn>
                <a:cxn ang="0">
                  <a:pos x="64" y="151"/>
                </a:cxn>
                <a:cxn ang="0">
                  <a:pos x="60" y="147"/>
                </a:cxn>
                <a:cxn ang="0">
                  <a:pos x="68" y="143"/>
                </a:cxn>
                <a:cxn ang="0">
                  <a:pos x="68" y="132"/>
                </a:cxn>
                <a:cxn ang="0">
                  <a:pos x="72" y="124"/>
                </a:cxn>
                <a:cxn ang="0">
                  <a:pos x="80" y="116"/>
                </a:cxn>
              </a:cxnLst>
              <a:rect l="0" t="0" r="r" b="b"/>
              <a:pathLst>
                <a:path w="128" h="155">
                  <a:moveTo>
                    <a:pt x="76" y="112"/>
                  </a:moveTo>
                  <a:lnTo>
                    <a:pt x="76" y="112"/>
                  </a:lnTo>
                  <a:lnTo>
                    <a:pt x="76" y="112"/>
                  </a:lnTo>
                  <a:lnTo>
                    <a:pt x="76" y="112"/>
                  </a:lnTo>
                  <a:lnTo>
                    <a:pt x="76" y="112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2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6" y="32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8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6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12" y="80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20" y="88"/>
                  </a:lnTo>
                  <a:lnTo>
                    <a:pt x="120" y="88"/>
                  </a:lnTo>
                  <a:lnTo>
                    <a:pt x="120" y="88"/>
                  </a:lnTo>
                  <a:lnTo>
                    <a:pt x="124" y="84"/>
                  </a:lnTo>
                  <a:lnTo>
                    <a:pt x="124" y="84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4"/>
                  </a:lnTo>
                  <a:lnTo>
                    <a:pt x="128" y="104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6"/>
                  </a:lnTo>
                  <a:lnTo>
                    <a:pt x="124" y="116"/>
                  </a:lnTo>
                  <a:lnTo>
                    <a:pt x="124" y="116"/>
                  </a:lnTo>
                  <a:lnTo>
                    <a:pt x="124" y="120"/>
                  </a:lnTo>
                  <a:lnTo>
                    <a:pt x="124" y="120"/>
                  </a:lnTo>
                  <a:lnTo>
                    <a:pt x="124" y="124"/>
                  </a:lnTo>
                  <a:lnTo>
                    <a:pt x="124" y="124"/>
                  </a:lnTo>
                  <a:lnTo>
                    <a:pt x="124" y="128"/>
                  </a:lnTo>
                  <a:lnTo>
                    <a:pt x="124" y="128"/>
                  </a:lnTo>
                  <a:lnTo>
                    <a:pt x="124" y="132"/>
                  </a:lnTo>
                  <a:lnTo>
                    <a:pt x="124" y="132"/>
                  </a:lnTo>
                  <a:lnTo>
                    <a:pt x="124" y="132"/>
                  </a:lnTo>
                  <a:lnTo>
                    <a:pt x="124" y="132"/>
                  </a:lnTo>
                  <a:lnTo>
                    <a:pt x="120" y="135"/>
                  </a:lnTo>
                  <a:lnTo>
                    <a:pt x="120" y="139"/>
                  </a:lnTo>
                  <a:lnTo>
                    <a:pt x="120" y="139"/>
                  </a:lnTo>
                  <a:lnTo>
                    <a:pt x="120" y="139"/>
                  </a:lnTo>
                  <a:lnTo>
                    <a:pt x="120" y="139"/>
                  </a:lnTo>
                  <a:lnTo>
                    <a:pt x="120" y="139"/>
                  </a:lnTo>
                  <a:lnTo>
                    <a:pt x="116" y="139"/>
                  </a:lnTo>
                  <a:lnTo>
                    <a:pt x="116" y="139"/>
                  </a:lnTo>
                  <a:lnTo>
                    <a:pt x="116" y="143"/>
                  </a:lnTo>
                  <a:lnTo>
                    <a:pt x="116" y="143"/>
                  </a:lnTo>
                  <a:lnTo>
                    <a:pt x="116" y="143"/>
                  </a:lnTo>
                  <a:lnTo>
                    <a:pt x="116" y="143"/>
                  </a:lnTo>
                  <a:lnTo>
                    <a:pt x="112" y="143"/>
                  </a:lnTo>
                  <a:lnTo>
                    <a:pt x="112" y="143"/>
                  </a:lnTo>
                  <a:lnTo>
                    <a:pt x="112" y="143"/>
                  </a:lnTo>
                  <a:lnTo>
                    <a:pt x="112" y="143"/>
                  </a:lnTo>
                  <a:lnTo>
                    <a:pt x="112" y="143"/>
                  </a:lnTo>
                  <a:lnTo>
                    <a:pt x="108" y="147"/>
                  </a:lnTo>
                  <a:lnTo>
                    <a:pt x="108" y="147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5"/>
                  </a:lnTo>
                  <a:lnTo>
                    <a:pt x="104" y="155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0" y="151"/>
                  </a:lnTo>
                  <a:lnTo>
                    <a:pt x="100" y="151"/>
                  </a:lnTo>
                  <a:lnTo>
                    <a:pt x="100" y="151"/>
                  </a:lnTo>
                  <a:lnTo>
                    <a:pt x="100" y="151"/>
                  </a:lnTo>
                  <a:lnTo>
                    <a:pt x="96" y="151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68" y="151"/>
                  </a:lnTo>
                  <a:lnTo>
                    <a:pt x="68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0" y="147"/>
                  </a:lnTo>
                  <a:lnTo>
                    <a:pt x="60" y="147"/>
                  </a:lnTo>
                  <a:lnTo>
                    <a:pt x="64" y="147"/>
                  </a:lnTo>
                  <a:lnTo>
                    <a:pt x="64" y="147"/>
                  </a:lnTo>
                  <a:lnTo>
                    <a:pt x="64" y="147"/>
                  </a:lnTo>
                  <a:lnTo>
                    <a:pt x="64" y="143"/>
                  </a:lnTo>
                  <a:lnTo>
                    <a:pt x="64" y="143"/>
                  </a:lnTo>
                  <a:lnTo>
                    <a:pt x="68" y="143"/>
                  </a:lnTo>
                  <a:lnTo>
                    <a:pt x="68" y="143"/>
                  </a:lnTo>
                  <a:lnTo>
                    <a:pt x="68" y="139"/>
                  </a:lnTo>
                  <a:lnTo>
                    <a:pt x="68" y="139"/>
                  </a:lnTo>
                  <a:lnTo>
                    <a:pt x="68" y="135"/>
                  </a:lnTo>
                  <a:lnTo>
                    <a:pt x="68" y="135"/>
                  </a:lnTo>
                  <a:lnTo>
                    <a:pt x="68" y="135"/>
                  </a:lnTo>
                  <a:lnTo>
                    <a:pt x="68" y="132"/>
                  </a:lnTo>
                  <a:lnTo>
                    <a:pt x="68" y="132"/>
                  </a:lnTo>
                  <a:lnTo>
                    <a:pt x="68" y="132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6" y="120"/>
                  </a:lnTo>
                  <a:lnTo>
                    <a:pt x="80" y="120"/>
                  </a:lnTo>
                  <a:lnTo>
                    <a:pt x="80" y="116"/>
                  </a:lnTo>
                  <a:lnTo>
                    <a:pt x="80" y="116"/>
                  </a:lnTo>
                  <a:lnTo>
                    <a:pt x="76" y="116"/>
                  </a:lnTo>
                  <a:lnTo>
                    <a:pt x="76" y="116"/>
                  </a:lnTo>
                  <a:lnTo>
                    <a:pt x="76" y="112"/>
                  </a:lnTo>
                  <a:lnTo>
                    <a:pt x="76" y="1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9" name="Freeform 177"/>
            <p:cNvSpPr>
              <a:spLocks/>
            </p:cNvSpPr>
            <p:nvPr>
              <p:custDataLst>
                <p:tags r:id="rId372"/>
              </p:custDataLst>
            </p:nvPr>
          </p:nvSpPr>
          <p:spPr bwMode="gray">
            <a:xfrm>
              <a:off x="2547443" y="4598921"/>
              <a:ext cx="284748" cy="496826"/>
            </a:xfrm>
            <a:custGeom>
              <a:avLst/>
              <a:gdLst/>
              <a:ahLst/>
              <a:cxnLst>
                <a:cxn ang="0">
                  <a:pos x="176" y="331"/>
                </a:cxn>
                <a:cxn ang="0">
                  <a:pos x="164" y="331"/>
                </a:cxn>
                <a:cxn ang="0">
                  <a:pos x="152" y="319"/>
                </a:cxn>
                <a:cxn ang="0">
                  <a:pos x="140" y="311"/>
                </a:cxn>
                <a:cxn ang="0">
                  <a:pos x="128" y="303"/>
                </a:cxn>
                <a:cxn ang="0">
                  <a:pos x="112" y="295"/>
                </a:cxn>
                <a:cxn ang="0">
                  <a:pos x="100" y="283"/>
                </a:cxn>
                <a:cxn ang="0">
                  <a:pos x="88" y="271"/>
                </a:cxn>
                <a:cxn ang="0">
                  <a:pos x="80" y="255"/>
                </a:cxn>
                <a:cxn ang="0">
                  <a:pos x="80" y="247"/>
                </a:cxn>
                <a:cxn ang="0">
                  <a:pos x="72" y="227"/>
                </a:cxn>
                <a:cxn ang="0">
                  <a:pos x="64" y="215"/>
                </a:cxn>
                <a:cxn ang="0">
                  <a:pos x="56" y="199"/>
                </a:cxn>
                <a:cxn ang="0">
                  <a:pos x="48" y="179"/>
                </a:cxn>
                <a:cxn ang="0">
                  <a:pos x="40" y="163"/>
                </a:cxn>
                <a:cxn ang="0">
                  <a:pos x="36" y="147"/>
                </a:cxn>
                <a:cxn ang="0">
                  <a:pos x="28" y="135"/>
                </a:cxn>
                <a:cxn ang="0">
                  <a:pos x="20" y="123"/>
                </a:cxn>
                <a:cxn ang="0">
                  <a:pos x="12" y="111"/>
                </a:cxn>
                <a:cxn ang="0">
                  <a:pos x="8" y="103"/>
                </a:cxn>
                <a:cxn ang="0">
                  <a:pos x="4" y="87"/>
                </a:cxn>
                <a:cxn ang="0">
                  <a:pos x="4" y="71"/>
                </a:cxn>
                <a:cxn ang="0">
                  <a:pos x="16" y="59"/>
                </a:cxn>
                <a:cxn ang="0">
                  <a:pos x="16" y="79"/>
                </a:cxn>
                <a:cxn ang="0">
                  <a:pos x="28" y="79"/>
                </a:cxn>
                <a:cxn ang="0">
                  <a:pos x="40" y="83"/>
                </a:cxn>
                <a:cxn ang="0">
                  <a:pos x="44" y="75"/>
                </a:cxn>
                <a:cxn ang="0">
                  <a:pos x="48" y="59"/>
                </a:cxn>
                <a:cxn ang="0">
                  <a:pos x="52" y="52"/>
                </a:cxn>
                <a:cxn ang="0">
                  <a:pos x="72" y="44"/>
                </a:cxn>
                <a:cxn ang="0">
                  <a:pos x="88" y="28"/>
                </a:cxn>
                <a:cxn ang="0">
                  <a:pos x="92" y="12"/>
                </a:cxn>
                <a:cxn ang="0">
                  <a:pos x="96" y="0"/>
                </a:cxn>
                <a:cxn ang="0">
                  <a:pos x="104" y="4"/>
                </a:cxn>
                <a:cxn ang="0">
                  <a:pos x="116" y="20"/>
                </a:cxn>
                <a:cxn ang="0">
                  <a:pos x="128" y="32"/>
                </a:cxn>
                <a:cxn ang="0">
                  <a:pos x="128" y="44"/>
                </a:cxn>
                <a:cxn ang="0">
                  <a:pos x="140" y="44"/>
                </a:cxn>
                <a:cxn ang="0">
                  <a:pos x="152" y="40"/>
                </a:cxn>
                <a:cxn ang="0">
                  <a:pos x="168" y="44"/>
                </a:cxn>
                <a:cxn ang="0">
                  <a:pos x="164" y="67"/>
                </a:cxn>
                <a:cxn ang="0">
                  <a:pos x="172" y="75"/>
                </a:cxn>
                <a:cxn ang="0">
                  <a:pos x="160" y="75"/>
                </a:cxn>
                <a:cxn ang="0">
                  <a:pos x="148" y="79"/>
                </a:cxn>
                <a:cxn ang="0">
                  <a:pos x="136" y="87"/>
                </a:cxn>
                <a:cxn ang="0">
                  <a:pos x="128" y="103"/>
                </a:cxn>
                <a:cxn ang="0">
                  <a:pos x="124" y="115"/>
                </a:cxn>
                <a:cxn ang="0">
                  <a:pos x="116" y="131"/>
                </a:cxn>
                <a:cxn ang="0">
                  <a:pos x="120" y="143"/>
                </a:cxn>
                <a:cxn ang="0">
                  <a:pos x="128" y="159"/>
                </a:cxn>
                <a:cxn ang="0">
                  <a:pos x="128" y="171"/>
                </a:cxn>
                <a:cxn ang="0">
                  <a:pos x="140" y="179"/>
                </a:cxn>
                <a:cxn ang="0">
                  <a:pos x="160" y="179"/>
                </a:cxn>
                <a:cxn ang="0">
                  <a:pos x="164" y="183"/>
                </a:cxn>
                <a:cxn ang="0">
                  <a:pos x="168" y="199"/>
                </a:cxn>
                <a:cxn ang="0">
                  <a:pos x="184" y="207"/>
                </a:cxn>
                <a:cxn ang="0">
                  <a:pos x="192" y="223"/>
                </a:cxn>
                <a:cxn ang="0">
                  <a:pos x="188" y="239"/>
                </a:cxn>
                <a:cxn ang="0">
                  <a:pos x="192" y="255"/>
                </a:cxn>
                <a:cxn ang="0">
                  <a:pos x="184" y="271"/>
                </a:cxn>
                <a:cxn ang="0">
                  <a:pos x="184" y="283"/>
                </a:cxn>
                <a:cxn ang="0">
                  <a:pos x="188" y="299"/>
                </a:cxn>
                <a:cxn ang="0">
                  <a:pos x="180" y="311"/>
                </a:cxn>
              </a:cxnLst>
              <a:rect l="0" t="0" r="r" b="b"/>
              <a:pathLst>
                <a:path w="192" h="335">
                  <a:moveTo>
                    <a:pt x="180" y="319"/>
                  </a:moveTo>
                  <a:lnTo>
                    <a:pt x="180" y="323"/>
                  </a:lnTo>
                  <a:lnTo>
                    <a:pt x="176" y="323"/>
                  </a:lnTo>
                  <a:lnTo>
                    <a:pt x="176" y="327"/>
                  </a:lnTo>
                  <a:lnTo>
                    <a:pt x="176" y="331"/>
                  </a:lnTo>
                  <a:lnTo>
                    <a:pt x="176" y="335"/>
                  </a:lnTo>
                  <a:lnTo>
                    <a:pt x="172" y="335"/>
                  </a:lnTo>
                  <a:lnTo>
                    <a:pt x="168" y="335"/>
                  </a:lnTo>
                  <a:lnTo>
                    <a:pt x="164" y="335"/>
                  </a:lnTo>
                  <a:lnTo>
                    <a:pt x="164" y="331"/>
                  </a:lnTo>
                  <a:lnTo>
                    <a:pt x="160" y="331"/>
                  </a:lnTo>
                  <a:lnTo>
                    <a:pt x="160" y="327"/>
                  </a:lnTo>
                  <a:lnTo>
                    <a:pt x="156" y="327"/>
                  </a:lnTo>
                  <a:lnTo>
                    <a:pt x="152" y="323"/>
                  </a:lnTo>
                  <a:lnTo>
                    <a:pt x="152" y="319"/>
                  </a:lnTo>
                  <a:lnTo>
                    <a:pt x="152" y="315"/>
                  </a:lnTo>
                  <a:lnTo>
                    <a:pt x="148" y="315"/>
                  </a:lnTo>
                  <a:lnTo>
                    <a:pt x="144" y="315"/>
                  </a:lnTo>
                  <a:lnTo>
                    <a:pt x="144" y="311"/>
                  </a:lnTo>
                  <a:lnTo>
                    <a:pt x="140" y="311"/>
                  </a:lnTo>
                  <a:lnTo>
                    <a:pt x="140" y="307"/>
                  </a:lnTo>
                  <a:lnTo>
                    <a:pt x="136" y="307"/>
                  </a:lnTo>
                  <a:lnTo>
                    <a:pt x="136" y="303"/>
                  </a:lnTo>
                  <a:lnTo>
                    <a:pt x="132" y="303"/>
                  </a:lnTo>
                  <a:lnTo>
                    <a:pt x="128" y="303"/>
                  </a:lnTo>
                  <a:lnTo>
                    <a:pt x="124" y="299"/>
                  </a:lnTo>
                  <a:lnTo>
                    <a:pt x="120" y="299"/>
                  </a:lnTo>
                  <a:lnTo>
                    <a:pt x="120" y="295"/>
                  </a:lnTo>
                  <a:lnTo>
                    <a:pt x="116" y="295"/>
                  </a:lnTo>
                  <a:lnTo>
                    <a:pt x="112" y="295"/>
                  </a:lnTo>
                  <a:lnTo>
                    <a:pt x="112" y="291"/>
                  </a:lnTo>
                  <a:lnTo>
                    <a:pt x="108" y="291"/>
                  </a:lnTo>
                  <a:lnTo>
                    <a:pt x="108" y="287"/>
                  </a:lnTo>
                  <a:lnTo>
                    <a:pt x="104" y="287"/>
                  </a:lnTo>
                  <a:lnTo>
                    <a:pt x="100" y="283"/>
                  </a:lnTo>
                  <a:lnTo>
                    <a:pt x="96" y="283"/>
                  </a:lnTo>
                  <a:lnTo>
                    <a:pt x="96" y="279"/>
                  </a:lnTo>
                  <a:lnTo>
                    <a:pt x="92" y="279"/>
                  </a:lnTo>
                  <a:lnTo>
                    <a:pt x="92" y="275"/>
                  </a:lnTo>
                  <a:lnTo>
                    <a:pt x="88" y="271"/>
                  </a:lnTo>
                  <a:lnTo>
                    <a:pt x="84" y="267"/>
                  </a:lnTo>
                  <a:lnTo>
                    <a:pt x="84" y="263"/>
                  </a:lnTo>
                  <a:lnTo>
                    <a:pt x="80" y="263"/>
                  </a:lnTo>
                  <a:lnTo>
                    <a:pt x="80" y="259"/>
                  </a:lnTo>
                  <a:lnTo>
                    <a:pt x="80" y="255"/>
                  </a:lnTo>
                  <a:lnTo>
                    <a:pt x="76" y="251"/>
                  </a:lnTo>
                  <a:lnTo>
                    <a:pt x="76" y="255"/>
                  </a:lnTo>
                  <a:lnTo>
                    <a:pt x="76" y="251"/>
                  </a:lnTo>
                  <a:lnTo>
                    <a:pt x="80" y="251"/>
                  </a:lnTo>
                  <a:lnTo>
                    <a:pt x="80" y="247"/>
                  </a:lnTo>
                  <a:lnTo>
                    <a:pt x="80" y="243"/>
                  </a:lnTo>
                  <a:lnTo>
                    <a:pt x="76" y="239"/>
                  </a:lnTo>
                  <a:lnTo>
                    <a:pt x="76" y="235"/>
                  </a:lnTo>
                  <a:lnTo>
                    <a:pt x="72" y="231"/>
                  </a:lnTo>
                  <a:lnTo>
                    <a:pt x="72" y="227"/>
                  </a:lnTo>
                  <a:lnTo>
                    <a:pt x="72" y="223"/>
                  </a:lnTo>
                  <a:lnTo>
                    <a:pt x="68" y="223"/>
                  </a:lnTo>
                  <a:lnTo>
                    <a:pt x="68" y="219"/>
                  </a:lnTo>
                  <a:lnTo>
                    <a:pt x="64" y="219"/>
                  </a:lnTo>
                  <a:lnTo>
                    <a:pt x="64" y="215"/>
                  </a:lnTo>
                  <a:lnTo>
                    <a:pt x="64" y="211"/>
                  </a:lnTo>
                  <a:lnTo>
                    <a:pt x="64" y="207"/>
                  </a:lnTo>
                  <a:lnTo>
                    <a:pt x="60" y="207"/>
                  </a:lnTo>
                  <a:lnTo>
                    <a:pt x="56" y="203"/>
                  </a:lnTo>
                  <a:lnTo>
                    <a:pt x="56" y="199"/>
                  </a:lnTo>
                  <a:lnTo>
                    <a:pt x="56" y="195"/>
                  </a:lnTo>
                  <a:lnTo>
                    <a:pt x="52" y="191"/>
                  </a:lnTo>
                  <a:lnTo>
                    <a:pt x="52" y="187"/>
                  </a:lnTo>
                  <a:lnTo>
                    <a:pt x="48" y="183"/>
                  </a:lnTo>
                  <a:lnTo>
                    <a:pt x="48" y="179"/>
                  </a:lnTo>
                  <a:lnTo>
                    <a:pt x="48" y="175"/>
                  </a:lnTo>
                  <a:lnTo>
                    <a:pt x="44" y="171"/>
                  </a:lnTo>
                  <a:lnTo>
                    <a:pt x="44" y="167"/>
                  </a:lnTo>
                  <a:lnTo>
                    <a:pt x="44" y="163"/>
                  </a:lnTo>
                  <a:lnTo>
                    <a:pt x="40" y="163"/>
                  </a:lnTo>
                  <a:lnTo>
                    <a:pt x="40" y="159"/>
                  </a:lnTo>
                  <a:lnTo>
                    <a:pt x="40" y="155"/>
                  </a:lnTo>
                  <a:lnTo>
                    <a:pt x="36" y="151"/>
                  </a:lnTo>
                  <a:lnTo>
                    <a:pt x="40" y="151"/>
                  </a:lnTo>
                  <a:lnTo>
                    <a:pt x="36" y="147"/>
                  </a:lnTo>
                  <a:lnTo>
                    <a:pt x="36" y="143"/>
                  </a:lnTo>
                  <a:lnTo>
                    <a:pt x="32" y="143"/>
                  </a:lnTo>
                  <a:lnTo>
                    <a:pt x="32" y="139"/>
                  </a:lnTo>
                  <a:lnTo>
                    <a:pt x="28" y="139"/>
                  </a:lnTo>
                  <a:lnTo>
                    <a:pt x="28" y="135"/>
                  </a:lnTo>
                  <a:lnTo>
                    <a:pt x="28" y="131"/>
                  </a:lnTo>
                  <a:lnTo>
                    <a:pt x="28" y="127"/>
                  </a:lnTo>
                  <a:lnTo>
                    <a:pt x="24" y="127"/>
                  </a:lnTo>
                  <a:lnTo>
                    <a:pt x="24" y="123"/>
                  </a:lnTo>
                  <a:lnTo>
                    <a:pt x="20" y="123"/>
                  </a:lnTo>
                  <a:lnTo>
                    <a:pt x="20" y="119"/>
                  </a:lnTo>
                  <a:lnTo>
                    <a:pt x="16" y="119"/>
                  </a:lnTo>
                  <a:lnTo>
                    <a:pt x="16" y="115"/>
                  </a:lnTo>
                  <a:lnTo>
                    <a:pt x="12" y="115"/>
                  </a:lnTo>
                  <a:lnTo>
                    <a:pt x="12" y="111"/>
                  </a:lnTo>
                  <a:lnTo>
                    <a:pt x="8" y="111"/>
                  </a:lnTo>
                  <a:lnTo>
                    <a:pt x="4" y="111"/>
                  </a:lnTo>
                  <a:lnTo>
                    <a:pt x="4" y="107"/>
                  </a:lnTo>
                  <a:lnTo>
                    <a:pt x="4" y="103"/>
                  </a:lnTo>
                  <a:lnTo>
                    <a:pt x="8" y="103"/>
                  </a:lnTo>
                  <a:lnTo>
                    <a:pt x="8" y="99"/>
                  </a:lnTo>
                  <a:lnTo>
                    <a:pt x="8" y="95"/>
                  </a:lnTo>
                  <a:lnTo>
                    <a:pt x="4" y="95"/>
                  </a:lnTo>
                  <a:lnTo>
                    <a:pt x="4" y="91"/>
                  </a:lnTo>
                  <a:lnTo>
                    <a:pt x="4" y="87"/>
                  </a:lnTo>
                  <a:lnTo>
                    <a:pt x="0" y="83"/>
                  </a:lnTo>
                  <a:lnTo>
                    <a:pt x="0" y="79"/>
                  </a:lnTo>
                  <a:lnTo>
                    <a:pt x="4" y="79"/>
                  </a:lnTo>
                  <a:lnTo>
                    <a:pt x="4" y="75"/>
                  </a:lnTo>
                  <a:lnTo>
                    <a:pt x="4" y="71"/>
                  </a:lnTo>
                  <a:lnTo>
                    <a:pt x="8" y="71"/>
                  </a:lnTo>
                  <a:lnTo>
                    <a:pt x="8" y="67"/>
                  </a:lnTo>
                  <a:lnTo>
                    <a:pt x="12" y="63"/>
                  </a:lnTo>
                  <a:lnTo>
                    <a:pt x="16" y="63"/>
                  </a:lnTo>
                  <a:lnTo>
                    <a:pt x="16" y="59"/>
                  </a:lnTo>
                  <a:lnTo>
                    <a:pt x="20" y="63"/>
                  </a:lnTo>
                  <a:lnTo>
                    <a:pt x="20" y="67"/>
                  </a:lnTo>
                  <a:lnTo>
                    <a:pt x="16" y="71"/>
                  </a:lnTo>
                  <a:lnTo>
                    <a:pt x="16" y="75"/>
                  </a:lnTo>
                  <a:lnTo>
                    <a:pt x="16" y="79"/>
                  </a:lnTo>
                  <a:lnTo>
                    <a:pt x="20" y="79"/>
                  </a:lnTo>
                  <a:lnTo>
                    <a:pt x="20" y="75"/>
                  </a:lnTo>
                  <a:lnTo>
                    <a:pt x="20" y="79"/>
                  </a:lnTo>
                  <a:lnTo>
                    <a:pt x="24" y="79"/>
                  </a:lnTo>
                  <a:lnTo>
                    <a:pt x="28" y="79"/>
                  </a:lnTo>
                  <a:lnTo>
                    <a:pt x="28" y="83"/>
                  </a:lnTo>
                  <a:lnTo>
                    <a:pt x="32" y="83"/>
                  </a:lnTo>
                  <a:lnTo>
                    <a:pt x="32" y="87"/>
                  </a:lnTo>
                  <a:lnTo>
                    <a:pt x="36" y="87"/>
                  </a:lnTo>
                  <a:lnTo>
                    <a:pt x="40" y="83"/>
                  </a:lnTo>
                  <a:lnTo>
                    <a:pt x="40" y="79"/>
                  </a:lnTo>
                  <a:lnTo>
                    <a:pt x="44" y="79"/>
                  </a:lnTo>
                  <a:lnTo>
                    <a:pt x="40" y="79"/>
                  </a:lnTo>
                  <a:lnTo>
                    <a:pt x="40" y="75"/>
                  </a:lnTo>
                  <a:lnTo>
                    <a:pt x="44" y="75"/>
                  </a:lnTo>
                  <a:lnTo>
                    <a:pt x="44" y="71"/>
                  </a:lnTo>
                  <a:lnTo>
                    <a:pt x="44" y="67"/>
                  </a:lnTo>
                  <a:lnTo>
                    <a:pt x="48" y="67"/>
                  </a:lnTo>
                  <a:lnTo>
                    <a:pt x="48" y="63"/>
                  </a:lnTo>
                  <a:lnTo>
                    <a:pt x="48" y="59"/>
                  </a:lnTo>
                  <a:lnTo>
                    <a:pt x="48" y="63"/>
                  </a:lnTo>
                  <a:lnTo>
                    <a:pt x="48" y="59"/>
                  </a:lnTo>
                  <a:lnTo>
                    <a:pt x="52" y="59"/>
                  </a:lnTo>
                  <a:lnTo>
                    <a:pt x="52" y="55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60" y="52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72" y="44"/>
                  </a:lnTo>
                  <a:lnTo>
                    <a:pt x="76" y="40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32"/>
                  </a:lnTo>
                  <a:lnTo>
                    <a:pt x="88" y="28"/>
                  </a:lnTo>
                  <a:lnTo>
                    <a:pt x="88" y="24"/>
                  </a:lnTo>
                  <a:lnTo>
                    <a:pt x="92" y="20"/>
                  </a:lnTo>
                  <a:lnTo>
                    <a:pt x="92" y="16"/>
                  </a:lnTo>
                  <a:lnTo>
                    <a:pt x="96" y="16"/>
                  </a:lnTo>
                  <a:lnTo>
                    <a:pt x="92" y="12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6" y="0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4" y="4"/>
                  </a:lnTo>
                  <a:lnTo>
                    <a:pt x="108" y="8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6" y="20"/>
                  </a:lnTo>
                  <a:lnTo>
                    <a:pt x="120" y="24"/>
                  </a:lnTo>
                  <a:lnTo>
                    <a:pt x="120" y="28"/>
                  </a:lnTo>
                  <a:lnTo>
                    <a:pt x="120" y="32"/>
                  </a:lnTo>
                  <a:lnTo>
                    <a:pt x="124" y="32"/>
                  </a:lnTo>
                  <a:lnTo>
                    <a:pt x="128" y="32"/>
                  </a:lnTo>
                  <a:lnTo>
                    <a:pt x="128" y="36"/>
                  </a:lnTo>
                  <a:lnTo>
                    <a:pt x="128" y="40"/>
                  </a:lnTo>
                  <a:lnTo>
                    <a:pt x="124" y="40"/>
                  </a:lnTo>
                  <a:lnTo>
                    <a:pt x="128" y="40"/>
                  </a:lnTo>
                  <a:lnTo>
                    <a:pt x="128" y="44"/>
                  </a:lnTo>
                  <a:lnTo>
                    <a:pt x="128" y="40"/>
                  </a:lnTo>
                  <a:lnTo>
                    <a:pt x="128" y="44"/>
                  </a:lnTo>
                  <a:lnTo>
                    <a:pt x="132" y="44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4" y="44"/>
                  </a:lnTo>
                  <a:lnTo>
                    <a:pt x="144" y="40"/>
                  </a:lnTo>
                  <a:lnTo>
                    <a:pt x="148" y="36"/>
                  </a:lnTo>
                  <a:lnTo>
                    <a:pt x="148" y="40"/>
                  </a:lnTo>
                  <a:lnTo>
                    <a:pt x="152" y="40"/>
                  </a:lnTo>
                  <a:lnTo>
                    <a:pt x="156" y="40"/>
                  </a:lnTo>
                  <a:lnTo>
                    <a:pt x="160" y="40"/>
                  </a:lnTo>
                  <a:lnTo>
                    <a:pt x="164" y="40"/>
                  </a:lnTo>
                  <a:lnTo>
                    <a:pt x="164" y="44"/>
                  </a:lnTo>
                  <a:lnTo>
                    <a:pt x="168" y="44"/>
                  </a:lnTo>
                  <a:lnTo>
                    <a:pt x="172" y="44"/>
                  </a:lnTo>
                  <a:lnTo>
                    <a:pt x="172" y="48"/>
                  </a:lnTo>
                  <a:lnTo>
                    <a:pt x="168" y="59"/>
                  </a:lnTo>
                  <a:lnTo>
                    <a:pt x="164" y="63"/>
                  </a:lnTo>
                  <a:lnTo>
                    <a:pt x="164" y="67"/>
                  </a:lnTo>
                  <a:lnTo>
                    <a:pt x="168" y="67"/>
                  </a:lnTo>
                  <a:lnTo>
                    <a:pt x="172" y="71"/>
                  </a:lnTo>
                  <a:lnTo>
                    <a:pt x="172" y="75"/>
                  </a:lnTo>
                  <a:lnTo>
                    <a:pt x="176" y="75"/>
                  </a:lnTo>
                  <a:lnTo>
                    <a:pt x="172" y="75"/>
                  </a:lnTo>
                  <a:lnTo>
                    <a:pt x="168" y="75"/>
                  </a:lnTo>
                  <a:lnTo>
                    <a:pt x="168" y="71"/>
                  </a:lnTo>
                  <a:lnTo>
                    <a:pt x="168" y="75"/>
                  </a:lnTo>
                  <a:lnTo>
                    <a:pt x="164" y="75"/>
                  </a:lnTo>
                  <a:lnTo>
                    <a:pt x="160" y="75"/>
                  </a:lnTo>
                  <a:lnTo>
                    <a:pt x="160" y="79"/>
                  </a:lnTo>
                  <a:lnTo>
                    <a:pt x="156" y="79"/>
                  </a:lnTo>
                  <a:lnTo>
                    <a:pt x="156" y="75"/>
                  </a:lnTo>
                  <a:lnTo>
                    <a:pt x="152" y="79"/>
                  </a:lnTo>
                  <a:lnTo>
                    <a:pt x="148" y="79"/>
                  </a:lnTo>
                  <a:lnTo>
                    <a:pt x="144" y="79"/>
                  </a:lnTo>
                  <a:lnTo>
                    <a:pt x="144" y="83"/>
                  </a:lnTo>
                  <a:lnTo>
                    <a:pt x="140" y="83"/>
                  </a:lnTo>
                  <a:lnTo>
                    <a:pt x="136" y="83"/>
                  </a:lnTo>
                  <a:lnTo>
                    <a:pt x="136" y="87"/>
                  </a:lnTo>
                  <a:lnTo>
                    <a:pt x="132" y="91"/>
                  </a:lnTo>
                  <a:lnTo>
                    <a:pt x="128" y="91"/>
                  </a:lnTo>
                  <a:lnTo>
                    <a:pt x="128" y="95"/>
                  </a:lnTo>
                  <a:lnTo>
                    <a:pt x="128" y="99"/>
                  </a:lnTo>
                  <a:lnTo>
                    <a:pt x="128" y="103"/>
                  </a:lnTo>
                  <a:lnTo>
                    <a:pt x="124" y="103"/>
                  </a:lnTo>
                  <a:lnTo>
                    <a:pt x="124" y="107"/>
                  </a:lnTo>
                  <a:lnTo>
                    <a:pt x="124" y="111"/>
                  </a:lnTo>
                  <a:lnTo>
                    <a:pt x="128" y="115"/>
                  </a:lnTo>
                  <a:lnTo>
                    <a:pt x="124" y="115"/>
                  </a:lnTo>
                  <a:lnTo>
                    <a:pt x="124" y="119"/>
                  </a:lnTo>
                  <a:lnTo>
                    <a:pt x="120" y="119"/>
                  </a:lnTo>
                  <a:lnTo>
                    <a:pt x="116" y="123"/>
                  </a:lnTo>
                  <a:lnTo>
                    <a:pt x="116" y="127"/>
                  </a:lnTo>
                  <a:lnTo>
                    <a:pt x="116" y="131"/>
                  </a:lnTo>
                  <a:lnTo>
                    <a:pt x="112" y="131"/>
                  </a:lnTo>
                  <a:lnTo>
                    <a:pt x="112" y="135"/>
                  </a:lnTo>
                  <a:lnTo>
                    <a:pt x="116" y="139"/>
                  </a:lnTo>
                  <a:lnTo>
                    <a:pt x="116" y="143"/>
                  </a:lnTo>
                  <a:lnTo>
                    <a:pt x="120" y="143"/>
                  </a:lnTo>
                  <a:lnTo>
                    <a:pt x="120" y="147"/>
                  </a:lnTo>
                  <a:lnTo>
                    <a:pt x="120" y="151"/>
                  </a:lnTo>
                  <a:lnTo>
                    <a:pt x="124" y="155"/>
                  </a:lnTo>
                  <a:lnTo>
                    <a:pt x="124" y="159"/>
                  </a:lnTo>
                  <a:lnTo>
                    <a:pt x="128" y="159"/>
                  </a:lnTo>
                  <a:lnTo>
                    <a:pt x="128" y="163"/>
                  </a:lnTo>
                  <a:lnTo>
                    <a:pt x="128" y="167"/>
                  </a:lnTo>
                  <a:lnTo>
                    <a:pt x="124" y="167"/>
                  </a:lnTo>
                  <a:lnTo>
                    <a:pt x="124" y="171"/>
                  </a:lnTo>
                  <a:lnTo>
                    <a:pt x="128" y="171"/>
                  </a:lnTo>
                  <a:lnTo>
                    <a:pt x="132" y="171"/>
                  </a:lnTo>
                  <a:lnTo>
                    <a:pt x="136" y="171"/>
                  </a:lnTo>
                  <a:lnTo>
                    <a:pt x="140" y="171"/>
                  </a:lnTo>
                  <a:lnTo>
                    <a:pt x="140" y="175"/>
                  </a:lnTo>
                  <a:lnTo>
                    <a:pt x="140" y="179"/>
                  </a:lnTo>
                  <a:lnTo>
                    <a:pt x="144" y="179"/>
                  </a:lnTo>
                  <a:lnTo>
                    <a:pt x="148" y="179"/>
                  </a:lnTo>
                  <a:lnTo>
                    <a:pt x="152" y="179"/>
                  </a:lnTo>
                  <a:lnTo>
                    <a:pt x="156" y="179"/>
                  </a:lnTo>
                  <a:lnTo>
                    <a:pt x="160" y="179"/>
                  </a:lnTo>
                  <a:lnTo>
                    <a:pt x="160" y="175"/>
                  </a:lnTo>
                  <a:lnTo>
                    <a:pt x="164" y="171"/>
                  </a:lnTo>
                  <a:lnTo>
                    <a:pt x="164" y="175"/>
                  </a:lnTo>
                  <a:lnTo>
                    <a:pt x="164" y="179"/>
                  </a:lnTo>
                  <a:lnTo>
                    <a:pt x="164" y="183"/>
                  </a:lnTo>
                  <a:lnTo>
                    <a:pt x="164" y="187"/>
                  </a:lnTo>
                  <a:lnTo>
                    <a:pt x="164" y="191"/>
                  </a:lnTo>
                  <a:lnTo>
                    <a:pt x="164" y="195"/>
                  </a:lnTo>
                  <a:lnTo>
                    <a:pt x="164" y="199"/>
                  </a:lnTo>
                  <a:lnTo>
                    <a:pt x="168" y="199"/>
                  </a:lnTo>
                  <a:lnTo>
                    <a:pt x="172" y="199"/>
                  </a:lnTo>
                  <a:lnTo>
                    <a:pt x="176" y="199"/>
                  </a:lnTo>
                  <a:lnTo>
                    <a:pt x="180" y="199"/>
                  </a:lnTo>
                  <a:lnTo>
                    <a:pt x="184" y="203"/>
                  </a:lnTo>
                  <a:lnTo>
                    <a:pt x="184" y="207"/>
                  </a:lnTo>
                  <a:lnTo>
                    <a:pt x="184" y="211"/>
                  </a:lnTo>
                  <a:lnTo>
                    <a:pt x="188" y="215"/>
                  </a:lnTo>
                  <a:lnTo>
                    <a:pt x="188" y="219"/>
                  </a:lnTo>
                  <a:lnTo>
                    <a:pt x="192" y="219"/>
                  </a:lnTo>
                  <a:lnTo>
                    <a:pt x="192" y="223"/>
                  </a:lnTo>
                  <a:lnTo>
                    <a:pt x="192" y="227"/>
                  </a:lnTo>
                  <a:lnTo>
                    <a:pt x="192" y="231"/>
                  </a:lnTo>
                  <a:lnTo>
                    <a:pt x="188" y="231"/>
                  </a:lnTo>
                  <a:lnTo>
                    <a:pt x="188" y="235"/>
                  </a:lnTo>
                  <a:lnTo>
                    <a:pt x="188" y="239"/>
                  </a:lnTo>
                  <a:lnTo>
                    <a:pt x="188" y="243"/>
                  </a:lnTo>
                  <a:lnTo>
                    <a:pt x="188" y="247"/>
                  </a:lnTo>
                  <a:lnTo>
                    <a:pt x="188" y="251"/>
                  </a:lnTo>
                  <a:lnTo>
                    <a:pt x="188" y="255"/>
                  </a:lnTo>
                  <a:lnTo>
                    <a:pt x="192" y="255"/>
                  </a:lnTo>
                  <a:lnTo>
                    <a:pt x="192" y="259"/>
                  </a:lnTo>
                  <a:lnTo>
                    <a:pt x="188" y="259"/>
                  </a:lnTo>
                  <a:lnTo>
                    <a:pt x="188" y="263"/>
                  </a:lnTo>
                  <a:lnTo>
                    <a:pt x="184" y="267"/>
                  </a:lnTo>
                  <a:lnTo>
                    <a:pt x="184" y="271"/>
                  </a:lnTo>
                  <a:lnTo>
                    <a:pt x="184" y="275"/>
                  </a:lnTo>
                  <a:lnTo>
                    <a:pt x="188" y="275"/>
                  </a:lnTo>
                  <a:lnTo>
                    <a:pt x="188" y="279"/>
                  </a:lnTo>
                  <a:lnTo>
                    <a:pt x="184" y="279"/>
                  </a:lnTo>
                  <a:lnTo>
                    <a:pt x="184" y="283"/>
                  </a:lnTo>
                  <a:lnTo>
                    <a:pt x="184" y="287"/>
                  </a:lnTo>
                  <a:lnTo>
                    <a:pt x="184" y="295"/>
                  </a:lnTo>
                  <a:lnTo>
                    <a:pt x="188" y="295"/>
                  </a:lnTo>
                  <a:lnTo>
                    <a:pt x="192" y="299"/>
                  </a:lnTo>
                  <a:lnTo>
                    <a:pt x="188" y="299"/>
                  </a:lnTo>
                  <a:lnTo>
                    <a:pt x="188" y="303"/>
                  </a:lnTo>
                  <a:lnTo>
                    <a:pt x="188" y="307"/>
                  </a:lnTo>
                  <a:lnTo>
                    <a:pt x="184" y="307"/>
                  </a:lnTo>
                  <a:lnTo>
                    <a:pt x="184" y="311"/>
                  </a:lnTo>
                  <a:lnTo>
                    <a:pt x="180" y="311"/>
                  </a:lnTo>
                  <a:lnTo>
                    <a:pt x="180" y="315"/>
                  </a:lnTo>
                  <a:lnTo>
                    <a:pt x="180" y="3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0" name="Freeform 178"/>
            <p:cNvSpPr>
              <a:spLocks/>
            </p:cNvSpPr>
            <p:nvPr>
              <p:custDataLst>
                <p:tags r:id="rId373"/>
              </p:custDataLst>
            </p:nvPr>
          </p:nvSpPr>
          <p:spPr bwMode="gray">
            <a:xfrm>
              <a:off x="3073931" y="4432818"/>
              <a:ext cx="88984" cy="112713"/>
            </a:xfrm>
            <a:custGeom>
              <a:avLst/>
              <a:gdLst/>
              <a:ahLst/>
              <a:cxnLst>
                <a:cxn ang="0">
                  <a:pos x="44" y="4"/>
                </a:cxn>
                <a:cxn ang="0">
                  <a:pos x="44" y="4"/>
                </a:cxn>
                <a:cxn ang="0">
                  <a:pos x="44" y="0"/>
                </a:cxn>
                <a:cxn ang="0">
                  <a:pos x="48" y="0"/>
                </a:cxn>
                <a:cxn ang="0">
                  <a:pos x="56" y="4"/>
                </a:cxn>
                <a:cxn ang="0">
                  <a:pos x="60" y="4"/>
                </a:cxn>
                <a:cxn ang="0">
                  <a:pos x="60" y="8"/>
                </a:cxn>
                <a:cxn ang="0">
                  <a:pos x="56" y="12"/>
                </a:cxn>
                <a:cxn ang="0">
                  <a:pos x="56" y="12"/>
                </a:cxn>
                <a:cxn ang="0">
                  <a:pos x="56" y="16"/>
                </a:cxn>
                <a:cxn ang="0">
                  <a:pos x="52" y="24"/>
                </a:cxn>
                <a:cxn ang="0">
                  <a:pos x="52" y="28"/>
                </a:cxn>
                <a:cxn ang="0">
                  <a:pos x="52" y="28"/>
                </a:cxn>
                <a:cxn ang="0">
                  <a:pos x="56" y="36"/>
                </a:cxn>
                <a:cxn ang="0">
                  <a:pos x="60" y="44"/>
                </a:cxn>
                <a:cxn ang="0">
                  <a:pos x="60" y="48"/>
                </a:cxn>
                <a:cxn ang="0">
                  <a:pos x="56" y="52"/>
                </a:cxn>
                <a:cxn ang="0">
                  <a:pos x="56" y="60"/>
                </a:cxn>
                <a:cxn ang="0">
                  <a:pos x="56" y="60"/>
                </a:cxn>
                <a:cxn ang="0">
                  <a:pos x="52" y="64"/>
                </a:cxn>
                <a:cxn ang="0">
                  <a:pos x="48" y="68"/>
                </a:cxn>
                <a:cxn ang="0">
                  <a:pos x="48" y="64"/>
                </a:cxn>
                <a:cxn ang="0">
                  <a:pos x="48" y="64"/>
                </a:cxn>
                <a:cxn ang="0">
                  <a:pos x="36" y="64"/>
                </a:cxn>
                <a:cxn ang="0">
                  <a:pos x="32" y="64"/>
                </a:cxn>
                <a:cxn ang="0">
                  <a:pos x="28" y="64"/>
                </a:cxn>
                <a:cxn ang="0">
                  <a:pos x="32" y="72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20" y="72"/>
                </a:cxn>
                <a:cxn ang="0">
                  <a:pos x="16" y="64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2" y="48"/>
                </a:cxn>
                <a:cxn ang="0">
                  <a:pos x="4" y="48"/>
                </a:cxn>
                <a:cxn ang="0">
                  <a:pos x="4" y="44"/>
                </a:cxn>
                <a:cxn ang="0">
                  <a:pos x="4" y="44"/>
                </a:cxn>
                <a:cxn ang="0">
                  <a:pos x="0" y="40"/>
                </a:cxn>
                <a:cxn ang="0">
                  <a:pos x="0" y="40"/>
                </a:cxn>
                <a:cxn ang="0">
                  <a:pos x="0" y="32"/>
                </a:cxn>
                <a:cxn ang="0">
                  <a:pos x="0" y="32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0"/>
                </a:cxn>
                <a:cxn ang="0">
                  <a:pos x="8" y="20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20" y="0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32" y="4"/>
                </a:cxn>
                <a:cxn ang="0">
                  <a:pos x="32" y="0"/>
                </a:cxn>
                <a:cxn ang="0">
                  <a:pos x="40" y="0"/>
                </a:cxn>
                <a:cxn ang="0">
                  <a:pos x="40" y="0"/>
                </a:cxn>
                <a:cxn ang="0">
                  <a:pos x="44" y="4"/>
                </a:cxn>
              </a:cxnLst>
              <a:rect l="0" t="0" r="r" b="b"/>
              <a:pathLst>
                <a:path w="60" h="76">
                  <a:moveTo>
                    <a:pt x="44" y="4"/>
                  </a:move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2" y="64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36" y="64"/>
                  </a:lnTo>
                  <a:lnTo>
                    <a:pt x="36" y="68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1" name="Freeform 179"/>
            <p:cNvSpPr>
              <a:spLocks/>
            </p:cNvSpPr>
            <p:nvPr>
              <p:custDataLst>
                <p:tags r:id="rId374"/>
              </p:custDataLst>
            </p:nvPr>
          </p:nvSpPr>
          <p:spPr bwMode="gray">
            <a:xfrm>
              <a:off x="3062066" y="5432403"/>
              <a:ext cx="124577" cy="142374"/>
            </a:xfrm>
            <a:custGeom>
              <a:avLst/>
              <a:gdLst/>
              <a:ahLst/>
              <a:cxnLst>
                <a:cxn ang="0">
                  <a:pos x="4" y="64"/>
                </a:cxn>
                <a:cxn ang="0">
                  <a:pos x="4" y="60"/>
                </a:cxn>
                <a:cxn ang="0">
                  <a:pos x="4" y="60"/>
                </a:cxn>
                <a:cxn ang="0">
                  <a:pos x="8" y="52"/>
                </a:cxn>
                <a:cxn ang="0">
                  <a:pos x="4" y="52"/>
                </a:cxn>
                <a:cxn ang="0">
                  <a:pos x="4" y="44"/>
                </a:cxn>
                <a:cxn ang="0">
                  <a:pos x="4" y="44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8" y="28"/>
                </a:cxn>
                <a:cxn ang="0">
                  <a:pos x="8" y="24"/>
                </a:cxn>
                <a:cxn ang="0">
                  <a:pos x="8" y="16"/>
                </a:cxn>
                <a:cxn ang="0">
                  <a:pos x="12" y="12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4"/>
                </a:cxn>
                <a:cxn ang="0">
                  <a:pos x="36" y="8"/>
                </a:cxn>
                <a:cxn ang="0">
                  <a:pos x="40" y="16"/>
                </a:cxn>
                <a:cxn ang="0">
                  <a:pos x="40" y="16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52" y="24"/>
                </a:cxn>
                <a:cxn ang="0">
                  <a:pos x="56" y="24"/>
                </a:cxn>
                <a:cxn ang="0">
                  <a:pos x="56" y="24"/>
                </a:cxn>
                <a:cxn ang="0">
                  <a:pos x="64" y="32"/>
                </a:cxn>
                <a:cxn ang="0">
                  <a:pos x="68" y="32"/>
                </a:cxn>
                <a:cxn ang="0">
                  <a:pos x="72" y="40"/>
                </a:cxn>
                <a:cxn ang="0">
                  <a:pos x="76" y="44"/>
                </a:cxn>
                <a:cxn ang="0">
                  <a:pos x="80" y="48"/>
                </a:cxn>
                <a:cxn ang="0">
                  <a:pos x="80" y="52"/>
                </a:cxn>
                <a:cxn ang="0">
                  <a:pos x="76" y="56"/>
                </a:cxn>
                <a:cxn ang="0">
                  <a:pos x="76" y="60"/>
                </a:cxn>
                <a:cxn ang="0">
                  <a:pos x="76" y="64"/>
                </a:cxn>
                <a:cxn ang="0">
                  <a:pos x="76" y="68"/>
                </a:cxn>
                <a:cxn ang="0">
                  <a:pos x="76" y="72"/>
                </a:cxn>
                <a:cxn ang="0">
                  <a:pos x="76" y="72"/>
                </a:cxn>
                <a:cxn ang="0">
                  <a:pos x="76" y="76"/>
                </a:cxn>
                <a:cxn ang="0">
                  <a:pos x="72" y="84"/>
                </a:cxn>
                <a:cxn ang="0">
                  <a:pos x="68" y="88"/>
                </a:cxn>
                <a:cxn ang="0">
                  <a:pos x="64" y="88"/>
                </a:cxn>
                <a:cxn ang="0">
                  <a:pos x="64" y="88"/>
                </a:cxn>
                <a:cxn ang="0">
                  <a:pos x="56" y="92"/>
                </a:cxn>
                <a:cxn ang="0">
                  <a:pos x="52" y="92"/>
                </a:cxn>
                <a:cxn ang="0">
                  <a:pos x="48" y="96"/>
                </a:cxn>
                <a:cxn ang="0">
                  <a:pos x="48" y="92"/>
                </a:cxn>
                <a:cxn ang="0">
                  <a:pos x="40" y="92"/>
                </a:cxn>
                <a:cxn ang="0">
                  <a:pos x="36" y="92"/>
                </a:cxn>
                <a:cxn ang="0">
                  <a:pos x="32" y="92"/>
                </a:cxn>
                <a:cxn ang="0">
                  <a:pos x="24" y="88"/>
                </a:cxn>
                <a:cxn ang="0">
                  <a:pos x="16" y="84"/>
                </a:cxn>
                <a:cxn ang="0">
                  <a:pos x="8" y="84"/>
                </a:cxn>
                <a:cxn ang="0">
                  <a:pos x="4" y="80"/>
                </a:cxn>
                <a:cxn ang="0">
                  <a:pos x="4" y="76"/>
                </a:cxn>
                <a:cxn ang="0">
                  <a:pos x="0" y="68"/>
                </a:cxn>
                <a:cxn ang="0">
                  <a:pos x="0" y="64"/>
                </a:cxn>
              </a:cxnLst>
              <a:rect l="0" t="0" r="r" b="b"/>
              <a:pathLst>
                <a:path w="84" h="96">
                  <a:moveTo>
                    <a:pt x="0" y="64"/>
                  </a:move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4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6"/>
                  </a:lnTo>
                  <a:lnTo>
                    <a:pt x="32" y="96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28" y="92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0" y="76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2" name="Freeform 180"/>
            <p:cNvSpPr>
              <a:spLocks noEditPoints="1"/>
            </p:cNvSpPr>
            <p:nvPr>
              <p:custDataLst>
                <p:tags r:id="rId375"/>
              </p:custDataLst>
            </p:nvPr>
          </p:nvSpPr>
          <p:spPr bwMode="gray">
            <a:xfrm>
              <a:off x="2731343" y="4260782"/>
              <a:ext cx="301061" cy="320342"/>
            </a:xfrm>
            <a:custGeom>
              <a:avLst/>
              <a:gdLst/>
              <a:ahLst/>
              <a:cxnLst>
                <a:cxn ang="0">
                  <a:pos x="116" y="40"/>
                </a:cxn>
                <a:cxn ang="0">
                  <a:pos x="135" y="32"/>
                </a:cxn>
                <a:cxn ang="0">
                  <a:pos x="135" y="32"/>
                </a:cxn>
                <a:cxn ang="0">
                  <a:pos x="159" y="28"/>
                </a:cxn>
                <a:cxn ang="0">
                  <a:pos x="163" y="32"/>
                </a:cxn>
                <a:cxn ang="0">
                  <a:pos x="159" y="36"/>
                </a:cxn>
                <a:cxn ang="0">
                  <a:pos x="163" y="44"/>
                </a:cxn>
                <a:cxn ang="0">
                  <a:pos x="167" y="44"/>
                </a:cxn>
                <a:cxn ang="0">
                  <a:pos x="171" y="44"/>
                </a:cxn>
                <a:cxn ang="0">
                  <a:pos x="183" y="48"/>
                </a:cxn>
                <a:cxn ang="0">
                  <a:pos x="183" y="60"/>
                </a:cxn>
                <a:cxn ang="0">
                  <a:pos x="179" y="72"/>
                </a:cxn>
                <a:cxn ang="0">
                  <a:pos x="203" y="72"/>
                </a:cxn>
                <a:cxn ang="0">
                  <a:pos x="191" y="88"/>
                </a:cxn>
                <a:cxn ang="0">
                  <a:pos x="191" y="100"/>
                </a:cxn>
                <a:cxn ang="0">
                  <a:pos x="183" y="112"/>
                </a:cxn>
                <a:cxn ang="0">
                  <a:pos x="191" y="136"/>
                </a:cxn>
                <a:cxn ang="0">
                  <a:pos x="179" y="148"/>
                </a:cxn>
                <a:cxn ang="0">
                  <a:pos x="163" y="152"/>
                </a:cxn>
                <a:cxn ang="0">
                  <a:pos x="151" y="152"/>
                </a:cxn>
                <a:cxn ang="0">
                  <a:pos x="139" y="156"/>
                </a:cxn>
                <a:cxn ang="0">
                  <a:pos x="127" y="148"/>
                </a:cxn>
                <a:cxn ang="0">
                  <a:pos x="135" y="164"/>
                </a:cxn>
                <a:cxn ang="0">
                  <a:pos x="143" y="180"/>
                </a:cxn>
                <a:cxn ang="0">
                  <a:pos x="143" y="188"/>
                </a:cxn>
                <a:cxn ang="0">
                  <a:pos x="127" y="204"/>
                </a:cxn>
                <a:cxn ang="0">
                  <a:pos x="116" y="216"/>
                </a:cxn>
                <a:cxn ang="0">
                  <a:pos x="104" y="212"/>
                </a:cxn>
                <a:cxn ang="0">
                  <a:pos x="92" y="184"/>
                </a:cxn>
                <a:cxn ang="0">
                  <a:pos x="88" y="164"/>
                </a:cxn>
                <a:cxn ang="0">
                  <a:pos x="84" y="152"/>
                </a:cxn>
                <a:cxn ang="0">
                  <a:pos x="84" y="128"/>
                </a:cxn>
                <a:cxn ang="0">
                  <a:pos x="80" y="112"/>
                </a:cxn>
                <a:cxn ang="0">
                  <a:pos x="60" y="112"/>
                </a:cxn>
                <a:cxn ang="0">
                  <a:pos x="44" y="96"/>
                </a:cxn>
                <a:cxn ang="0">
                  <a:pos x="28" y="96"/>
                </a:cxn>
                <a:cxn ang="0">
                  <a:pos x="12" y="88"/>
                </a:cxn>
                <a:cxn ang="0">
                  <a:pos x="12" y="72"/>
                </a:cxn>
                <a:cxn ang="0">
                  <a:pos x="0" y="56"/>
                </a:cxn>
                <a:cxn ang="0">
                  <a:pos x="4" y="36"/>
                </a:cxn>
                <a:cxn ang="0">
                  <a:pos x="16" y="20"/>
                </a:cxn>
                <a:cxn ang="0">
                  <a:pos x="28" y="12"/>
                </a:cxn>
                <a:cxn ang="0">
                  <a:pos x="24" y="24"/>
                </a:cxn>
                <a:cxn ang="0">
                  <a:pos x="16" y="44"/>
                </a:cxn>
                <a:cxn ang="0">
                  <a:pos x="24" y="60"/>
                </a:cxn>
                <a:cxn ang="0">
                  <a:pos x="32" y="40"/>
                </a:cxn>
                <a:cxn ang="0">
                  <a:pos x="28" y="24"/>
                </a:cxn>
                <a:cxn ang="0">
                  <a:pos x="44" y="16"/>
                </a:cxn>
                <a:cxn ang="0">
                  <a:pos x="48" y="12"/>
                </a:cxn>
                <a:cxn ang="0">
                  <a:pos x="52" y="8"/>
                </a:cxn>
                <a:cxn ang="0">
                  <a:pos x="68" y="16"/>
                </a:cxn>
                <a:cxn ang="0">
                  <a:pos x="84" y="32"/>
                </a:cxn>
                <a:cxn ang="0">
                  <a:pos x="183" y="64"/>
                </a:cxn>
                <a:cxn ang="0">
                  <a:pos x="187" y="64"/>
                </a:cxn>
                <a:cxn ang="0">
                  <a:pos x="187" y="64"/>
                </a:cxn>
                <a:cxn ang="0">
                  <a:pos x="183" y="68"/>
                </a:cxn>
                <a:cxn ang="0">
                  <a:pos x="175" y="68"/>
                </a:cxn>
                <a:cxn ang="0">
                  <a:pos x="139" y="28"/>
                </a:cxn>
                <a:cxn ang="0">
                  <a:pos x="143" y="24"/>
                </a:cxn>
                <a:cxn ang="0">
                  <a:pos x="120" y="28"/>
                </a:cxn>
              </a:cxnLst>
              <a:rect l="0" t="0" r="r" b="b"/>
              <a:pathLst>
                <a:path w="203" h="216">
                  <a:moveTo>
                    <a:pt x="104" y="32"/>
                  </a:moveTo>
                  <a:lnTo>
                    <a:pt x="108" y="32"/>
                  </a:lnTo>
                  <a:lnTo>
                    <a:pt x="108" y="36"/>
                  </a:lnTo>
                  <a:lnTo>
                    <a:pt x="112" y="36"/>
                  </a:lnTo>
                  <a:lnTo>
                    <a:pt x="112" y="40"/>
                  </a:lnTo>
                  <a:lnTo>
                    <a:pt x="116" y="40"/>
                  </a:lnTo>
                  <a:lnTo>
                    <a:pt x="120" y="40"/>
                  </a:lnTo>
                  <a:lnTo>
                    <a:pt x="123" y="40"/>
                  </a:lnTo>
                  <a:lnTo>
                    <a:pt x="127" y="40"/>
                  </a:lnTo>
                  <a:lnTo>
                    <a:pt x="131" y="36"/>
                  </a:lnTo>
                  <a:lnTo>
                    <a:pt x="135" y="36"/>
                  </a:lnTo>
                  <a:lnTo>
                    <a:pt x="135" y="32"/>
                  </a:lnTo>
                  <a:lnTo>
                    <a:pt x="139" y="32"/>
                  </a:lnTo>
                  <a:lnTo>
                    <a:pt x="139" y="36"/>
                  </a:lnTo>
                  <a:lnTo>
                    <a:pt x="143" y="36"/>
                  </a:lnTo>
                  <a:lnTo>
                    <a:pt x="143" y="32"/>
                  </a:lnTo>
                  <a:lnTo>
                    <a:pt x="139" y="32"/>
                  </a:lnTo>
                  <a:lnTo>
                    <a:pt x="135" y="32"/>
                  </a:lnTo>
                  <a:lnTo>
                    <a:pt x="139" y="32"/>
                  </a:lnTo>
                  <a:lnTo>
                    <a:pt x="143" y="32"/>
                  </a:lnTo>
                  <a:lnTo>
                    <a:pt x="147" y="32"/>
                  </a:lnTo>
                  <a:lnTo>
                    <a:pt x="151" y="28"/>
                  </a:lnTo>
                  <a:lnTo>
                    <a:pt x="155" y="28"/>
                  </a:lnTo>
                  <a:lnTo>
                    <a:pt x="159" y="28"/>
                  </a:lnTo>
                  <a:lnTo>
                    <a:pt x="163" y="28"/>
                  </a:lnTo>
                  <a:lnTo>
                    <a:pt x="167" y="28"/>
                  </a:lnTo>
                  <a:lnTo>
                    <a:pt x="171" y="28"/>
                  </a:lnTo>
                  <a:lnTo>
                    <a:pt x="171" y="32"/>
                  </a:lnTo>
                  <a:lnTo>
                    <a:pt x="167" y="32"/>
                  </a:lnTo>
                  <a:lnTo>
                    <a:pt x="163" y="32"/>
                  </a:lnTo>
                  <a:lnTo>
                    <a:pt x="159" y="32"/>
                  </a:lnTo>
                  <a:lnTo>
                    <a:pt x="155" y="32"/>
                  </a:lnTo>
                  <a:lnTo>
                    <a:pt x="159" y="32"/>
                  </a:lnTo>
                  <a:lnTo>
                    <a:pt x="159" y="36"/>
                  </a:lnTo>
                  <a:lnTo>
                    <a:pt x="155" y="36"/>
                  </a:lnTo>
                  <a:lnTo>
                    <a:pt x="159" y="36"/>
                  </a:lnTo>
                  <a:lnTo>
                    <a:pt x="159" y="40"/>
                  </a:lnTo>
                  <a:lnTo>
                    <a:pt x="155" y="40"/>
                  </a:lnTo>
                  <a:lnTo>
                    <a:pt x="159" y="44"/>
                  </a:lnTo>
                  <a:lnTo>
                    <a:pt x="159" y="40"/>
                  </a:lnTo>
                  <a:lnTo>
                    <a:pt x="163" y="40"/>
                  </a:lnTo>
                  <a:lnTo>
                    <a:pt x="163" y="44"/>
                  </a:lnTo>
                  <a:lnTo>
                    <a:pt x="167" y="48"/>
                  </a:lnTo>
                  <a:lnTo>
                    <a:pt x="163" y="48"/>
                  </a:lnTo>
                  <a:lnTo>
                    <a:pt x="167" y="48"/>
                  </a:lnTo>
                  <a:lnTo>
                    <a:pt x="167" y="44"/>
                  </a:lnTo>
                  <a:lnTo>
                    <a:pt x="167" y="48"/>
                  </a:lnTo>
                  <a:lnTo>
                    <a:pt x="167" y="44"/>
                  </a:lnTo>
                  <a:lnTo>
                    <a:pt x="171" y="44"/>
                  </a:lnTo>
                  <a:lnTo>
                    <a:pt x="167" y="44"/>
                  </a:lnTo>
                  <a:lnTo>
                    <a:pt x="171" y="44"/>
                  </a:lnTo>
                  <a:lnTo>
                    <a:pt x="171" y="48"/>
                  </a:lnTo>
                  <a:lnTo>
                    <a:pt x="175" y="48"/>
                  </a:lnTo>
                  <a:lnTo>
                    <a:pt x="171" y="44"/>
                  </a:lnTo>
                  <a:lnTo>
                    <a:pt x="175" y="44"/>
                  </a:lnTo>
                  <a:lnTo>
                    <a:pt x="175" y="48"/>
                  </a:lnTo>
                  <a:lnTo>
                    <a:pt x="175" y="44"/>
                  </a:lnTo>
                  <a:lnTo>
                    <a:pt x="179" y="44"/>
                  </a:lnTo>
                  <a:lnTo>
                    <a:pt x="179" y="48"/>
                  </a:lnTo>
                  <a:lnTo>
                    <a:pt x="183" y="48"/>
                  </a:lnTo>
                  <a:lnTo>
                    <a:pt x="183" y="52"/>
                  </a:lnTo>
                  <a:lnTo>
                    <a:pt x="187" y="52"/>
                  </a:lnTo>
                  <a:lnTo>
                    <a:pt x="187" y="56"/>
                  </a:lnTo>
                  <a:lnTo>
                    <a:pt x="183" y="60"/>
                  </a:lnTo>
                  <a:lnTo>
                    <a:pt x="187" y="56"/>
                  </a:lnTo>
                  <a:lnTo>
                    <a:pt x="183" y="60"/>
                  </a:lnTo>
                  <a:lnTo>
                    <a:pt x="183" y="64"/>
                  </a:lnTo>
                  <a:lnTo>
                    <a:pt x="183" y="68"/>
                  </a:lnTo>
                  <a:lnTo>
                    <a:pt x="179" y="68"/>
                  </a:lnTo>
                  <a:lnTo>
                    <a:pt x="175" y="68"/>
                  </a:lnTo>
                  <a:lnTo>
                    <a:pt x="179" y="68"/>
                  </a:lnTo>
                  <a:lnTo>
                    <a:pt x="179" y="72"/>
                  </a:lnTo>
                  <a:lnTo>
                    <a:pt x="183" y="72"/>
                  </a:lnTo>
                  <a:lnTo>
                    <a:pt x="187" y="68"/>
                  </a:lnTo>
                  <a:lnTo>
                    <a:pt x="191" y="68"/>
                  </a:lnTo>
                  <a:lnTo>
                    <a:pt x="195" y="68"/>
                  </a:lnTo>
                  <a:lnTo>
                    <a:pt x="199" y="68"/>
                  </a:lnTo>
                  <a:lnTo>
                    <a:pt x="203" y="72"/>
                  </a:lnTo>
                  <a:lnTo>
                    <a:pt x="203" y="76"/>
                  </a:lnTo>
                  <a:lnTo>
                    <a:pt x="199" y="76"/>
                  </a:lnTo>
                  <a:lnTo>
                    <a:pt x="199" y="80"/>
                  </a:lnTo>
                  <a:lnTo>
                    <a:pt x="195" y="80"/>
                  </a:lnTo>
                  <a:lnTo>
                    <a:pt x="191" y="84"/>
                  </a:lnTo>
                  <a:lnTo>
                    <a:pt x="191" y="88"/>
                  </a:lnTo>
                  <a:lnTo>
                    <a:pt x="191" y="92"/>
                  </a:lnTo>
                  <a:lnTo>
                    <a:pt x="191" y="96"/>
                  </a:lnTo>
                  <a:lnTo>
                    <a:pt x="195" y="92"/>
                  </a:lnTo>
                  <a:lnTo>
                    <a:pt x="195" y="96"/>
                  </a:lnTo>
                  <a:lnTo>
                    <a:pt x="195" y="100"/>
                  </a:lnTo>
                  <a:lnTo>
                    <a:pt x="191" y="100"/>
                  </a:lnTo>
                  <a:lnTo>
                    <a:pt x="191" y="104"/>
                  </a:lnTo>
                  <a:lnTo>
                    <a:pt x="187" y="100"/>
                  </a:lnTo>
                  <a:lnTo>
                    <a:pt x="187" y="104"/>
                  </a:lnTo>
                  <a:lnTo>
                    <a:pt x="183" y="104"/>
                  </a:lnTo>
                  <a:lnTo>
                    <a:pt x="183" y="108"/>
                  </a:lnTo>
                  <a:lnTo>
                    <a:pt x="183" y="112"/>
                  </a:lnTo>
                  <a:lnTo>
                    <a:pt x="179" y="116"/>
                  </a:lnTo>
                  <a:lnTo>
                    <a:pt x="183" y="124"/>
                  </a:lnTo>
                  <a:lnTo>
                    <a:pt x="187" y="128"/>
                  </a:lnTo>
                  <a:lnTo>
                    <a:pt x="187" y="132"/>
                  </a:lnTo>
                  <a:lnTo>
                    <a:pt x="191" y="132"/>
                  </a:lnTo>
                  <a:lnTo>
                    <a:pt x="191" y="136"/>
                  </a:lnTo>
                  <a:lnTo>
                    <a:pt x="191" y="140"/>
                  </a:lnTo>
                  <a:lnTo>
                    <a:pt x="187" y="140"/>
                  </a:lnTo>
                  <a:lnTo>
                    <a:pt x="187" y="144"/>
                  </a:lnTo>
                  <a:lnTo>
                    <a:pt x="183" y="144"/>
                  </a:lnTo>
                  <a:lnTo>
                    <a:pt x="179" y="144"/>
                  </a:lnTo>
                  <a:lnTo>
                    <a:pt x="179" y="148"/>
                  </a:lnTo>
                  <a:lnTo>
                    <a:pt x="175" y="148"/>
                  </a:lnTo>
                  <a:lnTo>
                    <a:pt x="171" y="148"/>
                  </a:lnTo>
                  <a:lnTo>
                    <a:pt x="167" y="152"/>
                  </a:lnTo>
                  <a:lnTo>
                    <a:pt x="167" y="148"/>
                  </a:lnTo>
                  <a:lnTo>
                    <a:pt x="163" y="148"/>
                  </a:lnTo>
                  <a:lnTo>
                    <a:pt x="163" y="152"/>
                  </a:lnTo>
                  <a:lnTo>
                    <a:pt x="159" y="152"/>
                  </a:lnTo>
                  <a:lnTo>
                    <a:pt x="159" y="156"/>
                  </a:lnTo>
                  <a:lnTo>
                    <a:pt x="159" y="160"/>
                  </a:lnTo>
                  <a:lnTo>
                    <a:pt x="155" y="160"/>
                  </a:lnTo>
                  <a:lnTo>
                    <a:pt x="151" y="156"/>
                  </a:lnTo>
                  <a:lnTo>
                    <a:pt x="151" y="152"/>
                  </a:lnTo>
                  <a:lnTo>
                    <a:pt x="147" y="152"/>
                  </a:lnTo>
                  <a:lnTo>
                    <a:pt x="147" y="156"/>
                  </a:lnTo>
                  <a:lnTo>
                    <a:pt x="147" y="152"/>
                  </a:lnTo>
                  <a:lnTo>
                    <a:pt x="143" y="152"/>
                  </a:lnTo>
                  <a:lnTo>
                    <a:pt x="139" y="152"/>
                  </a:lnTo>
                  <a:lnTo>
                    <a:pt x="139" y="156"/>
                  </a:lnTo>
                  <a:lnTo>
                    <a:pt x="139" y="152"/>
                  </a:lnTo>
                  <a:lnTo>
                    <a:pt x="135" y="152"/>
                  </a:lnTo>
                  <a:lnTo>
                    <a:pt x="135" y="148"/>
                  </a:lnTo>
                  <a:lnTo>
                    <a:pt x="131" y="152"/>
                  </a:lnTo>
                  <a:lnTo>
                    <a:pt x="131" y="148"/>
                  </a:lnTo>
                  <a:lnTo>
                    <a:pt x="127" y="148"/>
                  </a:lnTo>
                  <a:lnTo>
                    <a:pt x="127" y="152"/>
                  </a:lnTo>
                  <a:lnTo>
                    <a:pt x="131" y="152"/>
                  </a:lnTo>
                  <a:lnTo>
                    <a:pt x="131" y="156"/>
                  </a:lnTo>
                  <a:lnTo>
                    <a:pt x="135" y="156"/>
                  </a:lnTo>
                  <a:lnTo>
                    <a:pt x="135" y="160"/>
                  </a:lnTo>
                  <a:lnTo>
                    <a:pt x="135" y="164"/>
                  </a:lnTo>
                  <a:lnTo>
                    <a:pt x="135" y="168"/>
                  </a:lnTo>
                  <a:lnTo>
                    <a:pt x="139" y="168"/>
                  </a:lnTo>
                  <a:lnTo>
                    <a:pt x="139" y="172"/>
                  </a:lnTo>
                  <a:lnTo>
                    <a:pt x="139" y="176"/>
                  </a:lnTo>
                  <a:lnTo>
                    <a:pt x="139" y="180"/>
                  </a:lnTo>
                  <a:lnTo>
                    <a:pt x="143" y="180"/>
                  </a:lnTo>
                  <a:lnTo>
                    <a:pt x="147" y="180"/>
                  </a:lnTo>
                  <a:lnTo>
                    <a:pt x="151" y="180"/>
                  </a:lnTo>
                  <a:lnTo>
                    <a:pt x="151" y="184"/>
                  </a:lnTo>
                  <a:lnTo>
                    <a:pt x="147" y="184"/>
                  </a:lnTo>
                  <a:lnTo>
                    <a:pt x="147" y="188"/>
                  </a:lnTo>
                  <a:lnTo>
                    <a:pt x="143" y="188"/>
                  </a:lnTo>
                  <a:lnTo>
                    <a:pt x="139" y="188"/>
                  </a:lnTo>
                  <a:lnTo>
                    <a:pt x="139" y="192"/>
                  </a:lnTo>
                  <a:lnTo>
                    <a:pt x="139" y="196"/>
                  </a:lnTo>
                  <a:lnTo>
                    <a:pt x="135" y="200"/>
                  </a:lnTo>
                  <a:lnTo>
                    <a:pt x="131" y="200"/>
                  </a:lnTo>
                  <a:lnTo>
                    <a:pt x="127" y="204"/>
                  </a:lnTo>
                  <a:lnTo>
                    <a:pt x="123" y="204"/>
                  </a:lnTo>
                  <a:lnTo>
                    <a:pt x="123" y="208"/>
                  </a:lnTo>
                  <a:lnTo>
                    <a:pt x="120" y="208"/>
                  </a:lnTo>
                  <a:lnTo>
                    <a:pt x="120" y="212"/>
                  </a:lnTo>
                  <a:lnTo>
                    <a:pt x="116" y="212"/>
                  </a:lnTo>
                  <a:lnTo>
                    <a:pt x="116" y="216"/>
                  </a:lnTo>
                  <a:lnTo>
                    <a:pt x="116" y="212"/>
                  </a:lnTo>
                  <a:lnTo>
                    <a:pt x="116" y="208"/>
                  </a:lnTo>
                  <a:lnTo>
                    <a:pt x="112" y="208"/>
                  </a:lnTo>
                  <a:lnTo>
                    <a:pt x="112" y="212"/>
                  </a:lnTo>
                  <a:lnTo>
                    <a:pt x="108" y="212"/>
                  </a:lnTo>
                  <a:lnTo>
                    <a:pt x="104" y="212"/>
                  </a:lnTo>
                  <a:lnTo>
                    <a:pt x="100" y="204"/>
                  </a:lnTo>
                  <a:lnTo>
                    <a:pt x="96" y="204"/>
                  </a:lnTo>
                  <a:lnTo>
                    <a:pt x="96" y="200"/>
                  </a:lnTo>
                  <a:lnTo>
                    <a:pt x="96" y="196"/>
                  </a:lnTo>
                  <a:lnTo>
                    <a:pt x="92" y="188"/>
                  </a:lnTo>
                  <a:lnTo>
                    <a:pt x="92" y="184"/>
                  </a:lnTo>
                  <a:lnTo>
                    <a:pt x="92" y="180"/>
                  </a:lnTo>
                  <a:lnTo>
                    <a:pt x="88" y="176"/>
                  </a:lnTo>
                  <a:lnTo>
                    <a:pt x="84" y="176"/>
                  </a:lnTo>
                  <a:lnTo>
                    <a:pt x="84" y="172"/>
                  </a:lnTo>
                  <a:lnTo>
                    <a:pt x="88" y="168"/>
                  </a:lnTo>
                  <a:lnTo>
                    <a:pt x="88" y="164"/>
                  </a:lnTo>
                  <a:lnTo>
                    <a:pt x="92" y="164"/>
                  </a:lnTo>
                  <a:lnTo>
                    <a:pt x="88" y="164"/>
                  </a:lnTo>
                  <a:lnTo>
                    <a:pt x="88" y="160"/>
                  </a:lnTo>
                  <a:lnTo>
                    <a:pt x="88" y="156"/>
                  </a:lnTo>
                  <a:lnTo>
                    <a:pt x="84" y="156"/>
                  </a:lnTo>
                  <a:lnTo>
                    <a:pt x="84" y="152"/>
                  </a:lnTo>
                  <a:lnTo>
                    <a:pt x="84" y="148"/>
                  </a:lnTo>
                  <a:lnTo>
                    <a:pt x="80" y="144"/>
                  </a:lnTo>
                  <a:lnTo>
                    <a:pt x="84" y="140"/>
                  </a:lnTo>
                  <a:lnTo>
                    <a:pt x="84" y="136"/>
                  </a:lnTo>
                  <a:lnTo>
                    <a:pt x="84" y="132"/>
                  </a:lnTo>
                  <a:lnTo>
                    <a:pt x="84" y="128"/>
                  </a:lnTo>
                  <a:lnTo>
                    <a:pt x="84" y="124"/>
                  </a:lnTo>
                  <a:lnTo>
                    <a:pt x="84" y="120"/>
                  </a:lnTo>
                  <a:lnTo>
                    <a:pt x="88" y="116"/>
                  </a:lnTo>
                  <a:lnTo>
                    <a:pt x="88" y="112"/>
                  </a:lnTo>
                  <a:lnTo>
                    <a:pt x="84" y="112"/>
                  </a:lnTo>
                  <a:lnTo>
                    <a:pt x="80" y="112"/>
                  </a:lnTo>
                  <a:lnTo>
                    <a:pt x="76" y="112"/>
                  </a:lnTo>
                  <a:lnTo>
                    <a:pt x="72" y="112"/>
                  </a:lnTo>
                  <a:lnTo>
                    <a:pt x="68" y="112"/>
                  </a:lnTo>
                  <a:lnTo>
                    <a:pt x="64" y="112"/>
                  </a:lnTo>
                  <a:lnTo>
                    <a:pt x="60" y="116"/>
                  </a:lnTo>
                  <a:lnTo>
                    <a:pt x="60" y="112"/>
                  </a:lnTo>
                  <a:lnTo>
                    <a:pt x="52" y="108"/>
                  </a:lnTo>
                  <a:lnTo>
                    <a:pt x="48" y="100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44" y="100"/>
                  </a:lnTo>
                  <a:lnTo>
                    <a:pt x="44" y="96"/>
                  </a:lnTo>
                  <a:lnTo>
                    <a:pt x="40" y="96"/>
                  </a:lnTo>
                  <a:lnTo>
                    <a:pt x="36" y="96"/>
                  </a:lnTo>
                  <a:lnTo>
                    <a:pt x="32" y="96"/>
                  </a:lnTo>
                  <a:lnTo>
                    <a:pt x="32" y="100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20" y="40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20" y="48"/>
                  </a:lnTo>
                  <a:lnTo>
                    <a:pt x="20" y="52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4" y="60"/>
                  </a:lnTo>
                  <a:lnTo>
                    <a:pt x="28" y="60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60" y="12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72" y="20"/>
                  </a:lnTo>
                  <a:lnTo>
                    <a:pt x="76" y="24"/>
                  </a:lnTo>
                  <a:lnTo>
                    <a:pt x="76" y="28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4" y="32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104" y="32"/>
                  </a:lnTo>
                  <a:close/>
                  <a:moveTo>
                    <a:pt x="187" y="60"/>
                  </a:moveTo>
                  <a:lnTo>
                    <a:pt x="183" y="64"/>
                  </a:lnTo>
                  <a:lnTo>
                    <a:pt x="183" y="60"/>
                  </a:lnTo>
                  <a:lnTo>
                    <a:pt x="187" y="60"/>
                  </a:lnTo>
                  <a:close/>
                  <a:moveTo>
                    <a:pt x="187" y="64"/>
                  </a:moveTo>
                  <a:lnTo>
                    <a:pt x="183" y="64"/>
                  </a:lnTo>
                  <a:lnTo>
                    <a:pt x="187" y="60"/>
                  </a:lnTo>
                  <a:lnTo>
                    <a:pt x="187" y="64"/>
                  </a:lnTo>
                  <a:close/>
                  <a:moveTo>
                    <a:pt x="183" y="68"/>
                  </a:moveTo>
                  <a:lnTo>
                    <a:pt x="183" y="64"/>
                  </a:lnTo>
                  <a:lnTo>
                    <a:pt x="187" y="64"/>
                  </a:lnTo>
                  <a:lnTo>
                    <a:pt x="183" y="68"/>
                  </a:lnTo>
                  <a:close/>
                  <a:moveTo>
                    <a:pt x="187" y="68"/>
                  </a:moveTo>
                  <a:lnTo>
                    <a:pt x="187" y="64"/>
                  </a:lnTo>
                  <a:lnTo>
                    <a:pt x="187" y="68"/>
                  </a:lnTo>
                  <a:close/>
                  <a:moveTo>
                    <a:pt x="183" y="68"/>
                  </a:moveTo>
                  <a:lnTo>
                    <a:pt x="187" y="64"/>
                  </a:lnTo>
                  <a:lnTo>
                    <a:pt x="187" y="68"/>
                  </a:lnTo>
                  <a:lnTo>
                    <a:pt x="183" y="68"/>
                  </a:lnTo>
                  <a:close/>
                  <a:moveTo>
                    <a:pt x="183" y="68"/>
                  </a:moveTo>
                  <a:lnTo>
                    <a:pt x="187" y="68"/>
                  </a:lnTo>
                  <a:lnTo>
                    <a:pt x="183" y="68"/>
                  </a:lnTo>
                  <a:close/>
                  <a:moveTo>
                    <a:pt x="183" y="72"/>
                  </a:moveTo>
                  <a:lnTo>
                    <a:pt x="179" y="72"/>
                  </a:lnTo>
                  <a:lnTo>
                    <a:pt x="179" y="68"/>
                  </a:lnTo>
                  <a:lnTo>
                    <a:pt x="175" y="68"/>
                  </a:lnTo>
                  <a:lnTo>
                    <a:pt x="179" y="68"/>
                  </a:lnTo>
                  <a:lnTo>
                    <a:pt x="183" y="68"/>
                  </a:lnTo>
                  <a:lnTo>
                    <a:pt x="179" y="68"/>
                  </a:lnTo>
                  <a:lnTo>
                    <a:pt x="183" y="68"/>
                  </a:lnTo>
                  <a:lnTo>
                    <a:pt x="183" y="72"/>
                  </a:lnTo>
                  <a:close/>
                  <a:moveTo>
                    <a:pt x="139" y="28"/>
                  </a:moveTo>
                  <a:lnTo>
                    <a:pt x="139" y="24"/>
                  </a:lnTo>
                  <a:lnTo>
                    <a:pt x="135" y="24"/>
                  </a:lnTo>
                  <a:lnTo>
                    <a:pt x="139" y="24"/>
                  </a:lnTo>
                  <a:lnTo>
                    <a:pt x="139" y="20"/>
                  </a:lnTo>
                  <a:lnTo>
                    <a:pt x="143" y="20"/>
                  </a:lnTo>
                  <a:lnTo>
                    <a:pt x="143" y="24"/>
                  </a:lnTo>
                  <a:lnTo>
                    <a:pt x="139" y="24"/>
                  </a:lnTo>
                  <a:lnTo>
                    <a:pt x="139" y="28"/>
                  </a:lnTo>
                  <a:close/>
                  <a:moveTo>
                    <a:pt x="120" y="28"/>
                  </a:moveTo>
                  <a:lnTo>
                    <a:pt x="120" y="24"/>
                  </a:lnTo>
                  <a:lnTo>
                    <a:pt x="123" y="24"/>
                  </a:lnTo>
                  <a:lnTo>
                    <a:pt x="120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3" name="Freeform 181"/>
            <p:cNvSpPr>
              <a:spLocks noEditPoints="1"/>
            </p:cNvSpPr>
            <p:nvPr>
              <p:custDataLst>
                <p:tags r:id="rId376"/>
              </p:custDataLst>
            </p:nvPr>
          </p:nvSpPr>
          <p:spPr bwMode="gray">
            <a:xfrm>
              <a:off x="6907651" y="4870321"/>
              <a:ext cx="1035179" cy="1331791"/>
            </a:xfrm>
            <a:custGeom>
              <a:avLst/>
              <a:gdLst/>
              <a:ahLst/>
              <a:cxnLst>
                <a:cxn ang="0">
                  <a:pos x="610" y="304"/>
                </a:cxn>
                <a:cxn ang="0">
                  <a:pos x="614" y="375"/>
                </a:cxn>
                <a:cxn ang="0">
                  <a:pos x="582" y="447"/>
                </a:cxn>
                <a:cxn ang="0">
                  <a:pos x="566" y="503"/>
                </a:cxn>
                <a:cxn ang="0">
                  <a:pos x="522" y="539"/>
                </a:cxn>
                <a:cxn ang="0">
                  <a:pos x="490" y="543"/>
                </a:cxn>
                <a:cxn ang="0">
                  <a:pos x="455" y="547"/>
                </a:cxn>
                <a:cxn ang="0">
                  <a:pos x="407" y="519"/>
                </a:cxn>
                <a:cxn ang="0">
                  <a:pos x="399" y="483"/>
                </a:cxn>
                <a:cxn ang="0">
                  <a:pos x="379" y="479"/>
                </a:cxn>
                <a:cxn ang="0">
                  <a:pos x="383" y="435"/>
                </a:cxn>
                <a:cxn ang="0">
                  <a:pos x="351" y="467"/>
                </a:cxn>
                <a:cxn ang="0">
                  <a:pos x="335" y="443"/>
                </a:cxn>
                <a:cxn ang="0">
                  <a:pos x="291" y="415"/>
                </a:cxn>
                <a:cxn ang="0">
                  <a:pos x="219" y="419"/>
                </a:cxn>
                <a:cxn ang="0">
                  <a:pos x="163" y="451"/>
                </a:cxn>
                <a:cxn ang="0">
                  <a:pos x="112" y="455"/>
                </a:cxn>
                <a:cxn ang="0">
                  <a:pos x="72" y="475"/>
                </a:cxn>
                <a:cxn ang="0">
                  <a:pos x="36" y="447"/>
                </a:cxn>
                <a:cxn ang="0">
                  <a:pos x="36" y="387"/>
                </a:cxn>
                <a:cxn ang="0">
                  <a:pos x="16" y="315"/>
                </a:cxn>
                <a:cxn ang="0">
                  <a:pos x="12" y="292"/>
                </a:cxn>
                <a:cxn ang="0">
                  <a:pos x="8" y="268"/>
                </a:cxn>
                <a:cxn ang="0">
                  <a:pos x="24" y="232"/>
                </a:cxn>
                <a:cxn ang="0">
                  <a:pos x="72" y="196"/>
                </a:cxn>
                <a:cxn ang="0">
                  <a:pos x="135" y="156"/>
                </a:cxn>
                <a:cxn ang="0">
                  <a:pos x="159" y="132"/>
                </a:cxn>
                <a:cxn ang="0">
                  <a:pos x="171" y="112"/>
                </a:cxn>
                <a:cxn ang="0">
                  <a:pos x="187" y="96"/>
                </a:cxn>
                <a:cxn ang="0">
                  <a:pos x="195" y="84"/>
                </a:cxn>
                <a:cxn ang="0">
                  <a:pos x="227" y="76"/>
                </a:cxn>
                <a:cxn ang="0">
                  <a:pos x="247" y="92"/>
                </a:cxn>
                <a:cxn ang="0">
                  <a:pos x="259" y="64"/>
                </a:cxn>
                <a:cxn ang="0">
                  <a:pos x="287" y="40"/>
                </a:cxn>
                <a:cxn ang="0">
                  <a:pos x="295" y="24"/>
                </a:cxn>
                <a:cxn ang="0">
                  <a:pos x="335" y="40"/>
                </a:cxn>
                <a:cxn ang="0">
                  <a:pos x="363" y="36"/>
                </a:cxn>
                <a:cxn ang="0">
                  <a:pos x="343" y="92"/>
                </a:cxn>
                <a:cxn ang="0">
                  <a:pos x="399" y="124"/>
                </a:cxn>
                <a:cxn ang="0">
                  <a:pos x="435" y="112"/>
                </a:cxn>
                <a:cxn ang="0">
                  <a:pos x="439" y="52"/>
                </a:cxn>
                <a:cxn ang="0">
                  <a:pos x="455" y="20"/>
                </a:cxn>
                <a:cxn ang="0">
                  <a:pos x="479" y="76"/>
                </a:cxn>
                <a:cxn ang="0">
                  <a:pos x="502" y="132"/>
                </a:cxn>
                <a:cxn ang="0">
                  <a:pos x="530" y="180"/>
                </a:cxn>
                <a:cxn ang="0">
                  <a:pos x="554" y="216"/>
                </a:cxn>
                <a:cxn ang="0">
                  <a:pos x="574" y="244"/>
                </a:cxn>
                <a:cxn ang="0">
                  <a:pos x="614" y="276"/>
                </a:cxn>
                <a:cxn ang="0">
                  <a:pos x="403" y="128"/>
                </a:cxn>
                <a:cxn ang="0">
                  <a:pos x="443" y="8"/>
                </a:cxn>
                <a:cxn ang="0">
                  <a:pos x="275" y="20"/>
                </a:cxn>
                <a:cxn ang="0">
                  <a:pos x="271" y="32"/>
                </a:cxn>
                <a:cxn ang="0">
                  <a:pos x="355" y="68"/>
                </a:cxn>
                <a:cxn ang="0">
                  <a:pos x="582" y="252"/>
                </a:cxn>
                <a:cxn ang="0">
                  <a:pos x="614" y="323"/>
                </a:cxn>
                <a:cxn ang="0">
                  <a:pos x="490" y="543"/>
                </a:cxn>
                <a:cxn ang="0">
                  <a:pos x="514" y="651"/>
                </a:cxn>
                <a:cxn ang="0">
                  <a:pos x="490" y="623"/>
                </a:cxn>
                <a:cxn ang="0">
                  <a:pos x="518" y="599"/>
                </a:cxn>
                <a:cxn ang="0">
                  <a:pos x="534" y="631"/>
                </a:cxn>
                <a:cxn ang="0">
                  <a:pos x="522" y="643"/>
                </a:cxn>
              </a:cxnLst>
              <a:rect l="0" t="0" r="r" b="b"/>
              <a:pathLst>
                <a:path w="698" h="898">
                  <a:moveTo>
                    <a:pt x="586" y="260"/>
                  </a:moveTo>
                  <a:lnTo>
                    <a:pt x="586" y="264"/>
                  </a:lnTo>
                  <a:lnTo>
                    <a:pt x="586" y="260"/>
                  </a:lnTo>
                  <a:lnTo>
                    <a:pt x="590" y="260"/>
                  </a:lnTo>
                  <a:lnTo>
                    <a:pt x="590" y="264"/>
                  </a:lnTo>
                  <a:lnTo>
                    <a:pt x="594" y="264"/>
                  </a:lnTo>
                  <a:lnTo>
                    <a:pt x="594" y="268"/>
                  </a:lnTo>
                  <a:lnTo>
                    <a:pt x="594" y="272"/>
                  </a:lnTo>
                  <a:lnTo>
                    <a:pt x="598" y="272"/>
                  </a:lnTo>
                  <a:lnTo>
                    <a:pt x="598" y="276"/>
                  </a:lnTo>
                  <a:lnTo>
                    <a:pt x="602" y="276"/>
                  </a:lnTo>
                  <a:lnTo>
                    <a:pt x="602" y="280"/>
                  </a:lnTo>
                  <a:lnTo>
                    <a:pt x="602" y="284"/>
                  </a:lnTo>
                  <a:lnTo>
                    <a:pt x="606" y="284"/>
                  </a:lnTo>
                  <a:lnTo>
                    <a:pt x="606" y="288"/>
                  </a:lnTo>
                  <a:lnTo>
                    <a:pt x="606" y="292"/>
                  </a:lnTo>
                  <a:lnTo>
                    <a:pt x="606" y="296"/>
                  </a:lnTo>
                  <a:lnTo>
                    <a:pt x="610" y="296"/>
                  </a:lnTo>
                  <a:lnTo>
                    <a:pt x="610" y="300"/>
                  </a:lnTo>
                  <a:lnTo>
                    <a:pt x="610" y="304"/>
                  </a:lnTo>
                  <a:lnTo>
                    <a:pt x="610" y="307"/>
                  </a:lnTo>
                  <a:lnTo>
                    <a:pt x="610" y="311"/>
                  </a:lnTo>
                  <a:lnTo>
                    <a:pt x="610" y="315"/>
                  </a:lnTo>
                  <a:lnTo>
                    <a:pt x="610" y="319"/>
                  </a:lnTo>
                  <a:lnTo>
                    <a:pt x="610" y="323"/>
                  </a:lnTo>
                  <a:lnTo>
                    <a:pt x="614" y="327"/>
                  </a:lnTo>
                  <a:lnTo>
                    <a:pt x="614" y="331"/>
                  </a:lnTo>
                  <a:lnTo>
                    <a:pt x="614" y="335"/>
                  </a:lnTo>
                  <a:lnTo>
                    <a:pt x="614" y="339"/>
                  </a:lnTo>
                  <a:lnTo>
                    <a:pt x="618" y="339"/>
                  </a:lnTo>
                  <a:lnTo>
                    <a:pt x="618" y="343"/>
                  </a:lnTo>
                  <a:lnTo>
                    <a:pt x="618" y="347"/>
                  </a:lnTo>
                  <a:lnTo>
                    <a:pt x="618" y="351"/>
                  </a:lnTo>
                  <a:lnTo>
                    <a:pt x="618" y="355"/>
                  </a:lnTo>
                  <a:lnTo>
                    <a:pt x="614" y="355"/>
                  </a:lnTo>
                  <a:lnTo>
                    <a:pt x="614" y="359"/>
                  </a:lnTo>
                  <a:lnTo>
                    <a:pt x="614" y="363"/>
                  </a:lnTo>
                  <a:lnTo>
                    <a:pt x="614" y="367"/>
                  </a:lnTo>
                  <a:lnTo>
                    <a:pt x="614" y="371"/>
                  </a:lnTo>
                  <a:lnTo>
                    <a:pt x="614" y="375"/>
                  </a:lnTo>
                  <a:lnTo>
                    <a:pt x="610" y="379"/>
                  </a:lnTo>
                  <a:lnTo>
                    <a:pt x="610" y="387"/>
                  </a:lnTo>
                  <a:lnTo>
                    <a:pt x="610" y="391"/>
                  </a:lnTo>
                  <a:lnTo>
                    <a:pt x="610" y="395"/>
                  </a:lnTo>
                  <a:lnTo>
                    <a:pt x="610" y="399"/>
                  </a:lnTo>
                  <a:lnTo>
                    <a:pt x="606" y="403"/>
                  </a:lnTo>
                  <a:lnTo>
                    <a:pt x="606" y="407"/>
                  </a:lnTo>
                  <a:lnTo>
                    <a:pt x="606" y="411"/>
                  </a:lnTo>
                  <a:lnTo>
                    <a:pt x="602" y="411"/>
                  </a:lnTo>
                  <a:lnTo>
                    <a:pt x="602" y="415"/>
                  </a:lnTo>
                  <a:lnTo>
                    <a:pt x="602" y="419"/>
                  </a:lnTo>
                  <a:lnTo>
                    <a:pt x="602" y="423"/>
                  </a:lnTo>
                  <a:lnTo>
                    <a:pt x="598" y="427"/>
                  </a:lnTo>
                  <a:lnTo>
                    <a:pt x="594" y="427"/>
                  </a:lnTo>
                  <a:lnTo>
                    <a:pt x="594" y="431"/>
                  </a:lnTo>
                  <a:lnTo>
                    <a:pt x="590" y="431"/>
                  </a:lnTo>
                  <a:lnTo>
                    <a:pt x="590" y="435"/>
                  </a:lnTo>
                  <a:lnTo>
                    <a:pt x="586" y="439"/>
                  </a:lnTo>
                  <a:lnTo>
                    <a:pt x="586" y="443"/>
                  </a:lnTo>
                  <a:lnTo>
                    <a:pt x="582" y="447"/>
                  </a:lnTo>
                  <a:lnTo>
                    <a:pt x="582" y="451"/>
                  </a:lnTo>
                  <a:lnTo>
                    <a:pt x="582" y="455"/>
                  </a:lnTo>
                  <a:lnTo>
                    <a:pt x="578" y="455"/>
                  </a:lnTo>
                  <a:lnTo>
                    <a:pt x="582" y="455"/>
                  </a:lnTo>
                  <a:lnTo>
                    <a:pt x="578" y="459"/>
                  </a:lnTo>
                  <a:lnTo>
                    <a:pt x="578" y="463"/>
                  </a:lnTo>
                  <a:lnTo>
                    <a:pt x="574" y="467"/>
                  </a:lnTo>
                  <a:lnTo>
                    <a:pt x="578" y="467"/>
                  </a:lnTo>
                  <a:lnTo>
                    <a:pt x="574" y="471"/>
                  </a:lnTo>
                  <a:lnTo>
                    <a:pt x="574" y="475"/>
                  </a:lnTo>
                  <a:lnTo>
                    <a:pt x="574" y="479"/>
                  </a:lnTo>
                  <a:lnTo>
                    <a:pt x="574" y="475"/>
                  </a:lnTo>
                  <a:lnTo>
                    <a:pt x="574" y="479"/>
                  </a:lnTo>
                  <a:lnTo>
                    <a:pt x="570" y="479"/>
                  </a:lnTo>
                  <a:lnTo>
                    <a:pt x="570" y="483"/>
                  </a:lnTo>
                  <a:lnTo>
                    <a:pt x="570" y="487"/>
                  </a:lnTo>
                  <a:lnTo>
                    <a:pt x="566" y="491"/>
                  </a:lnTo>
                  <a:lnTo>
                    <a:pt x="566" y="495"/>
                  </a:lnTo>
                  <a:lnTo>
                    <a:pt x="566" y="499"/>
                  </a:lnTo>
                  <a:lnTo>
                    <a:pt x="566" y="503"/>
                  </a:lnTo>
                  <a:lnTo>
                    <a:pt x="562" y="503"/>
                  </a:lnTo>
                  <a:lnTo>
                    <a:pt x="562" y="507"/>
                  </a:lnTo>
                  <a:lnTo>
                    <a:pt x="562" y="511"/>
                  </a:lnTo>
                  <a:lnTo>
                    <a:pt x="562" y="515"/>
                  </a:lnTo>
                  <a:lnTo>
                    <a:pt x="562" y="519"/>
                  </a:lnTo>
                  <a:lnTo>
                    <a:pt x="562" y="523"/>
                  </a:lnTo>
                  <a:lnTo>
                    <a:pt x="562" y="527"/>
                  </a:lnTo>
                  <a:lnTo>
                    <a:pt x="558" y="527"/>
                  </a:lnTo>
                  <a:lnTo>
                    <a:pt x="558" y="531"/>
                  </a:lnTo>
                  <a:lnTo>
                    <a:pt x="554" y="531"/>
                  </a:lnTo>
                  <a:lnTo>
                    <a:pt x="550" y="531"/>
                  </a:lnTo>
                  <a:lnTo>
                    <a:pt x="546" y="531"/>
                  </a:lnTo>
                  <a:lnTo>
                    <a:pt x="542" y="531"/>
                  </a:lnTo>
                  <a:lnTo>
                    <a:pt x="538" y="531"/>
                  </a:lnTo>
                  <a:lnTo>
                    <a:pt x="534" y="531"/>
                  </a:lnTo>
                  <a:lnTo>
                    <a:pt x="534" y="535"/>
                  </a:lnTo>
                  <a:lnTo>
                    <a:pt x="530" y="535"/>
                  </a:lnTo>
                  <a:lnTo>
                    <a:pt x="526" y="535"/>
                  </a:lnTo>
                  <a:lnTo>
                    <a:pt x="526" y="539"/>
                  </a:lnTo>
                  <a:lnTo>
                    <a:pt x="522" y="539"/>
                  </a:lnTo>
                  <a:lnTo>
                    <a:pt x="522" y="543"/>
                  </a:lnTo>
                  <a:lnTo>
                    <a:pt x="518" y="547"/>
                  </a:lnTo>
                  <a:lnTo>
                    <a:pt x="514" y="551"/>
                  </a:lnTo>
                  <a:lnTo>
                    <a:pt x="510" y="551"/>
                  </a:lnTo>
                  <a:lnTo>
                    <a:pt x="506" y="551"/>
                  </a:lnTo>
                  <a:lnTo>
                    <a:pt x="506" y="555"/>
                  </a:lnTo>
                  <a:lnTo>
                    <a:pt x="510" y="555"/>
                  </a:lnTo>
                  <a:lnTo>
                    <a:pt x="510" y="551"/>
                  </a:lnTo>
                  <a:lnTo>
                    <a:pt x="510" y="559"/>
                  </a:lnTo>
                  <a:lnTo>
                    <a:pt x="506" y="559"/>
                  </a:lnTo>
                  <a:lnTo>
                    <a:pt x="506" y="555"/>
                  </a:lnTo>
                  <a:lnTo>
                    <a:pt x="502" y="551"/>
                  </a:lnTo>
                  <a:lnTo>
                    <a:pt x="502" y="555"/>
                  </a:lnTo>
                  <a:lnTo>
                    <a:pt x="498" y="551"/>
                  </a:lnTo>
                  <a:lnTo>
                    <a:pt x="494" y="551"/>
                  </a:lnTo>
                  <a:lnTo>
                    <a:pt x="494" y="547"/>
                  </a:lnTo>
                  <a:lnTo>
                    <a:pt x="494" y="543"/>
                  </a:lnTo>
                  <a:lnTo>
                    <a:pt x="494" y="539"/>
                  </a:lnTo>
                  <a:lnTo>
                    <a:pt x="490" y="539"/>
                  </a:lnTo>
                  <a:lnTo>
                    <a:pt x="490" y="543"/>
                  </a:lnTo>
                  <a:lnTo>
                    <a:pt x="486" y="547"/>
                  </a:lnTo>
                  <a:lnTo>
                    <a:pt x="483" y="543"/>
                  </a:lnTo>
                  <a:lnTo>
                    <a:pt x="486" y="543"/>
                  </a:lnTo>
                  <a:lnTo>
                    <a:pt x="490" y="539"/>
                  </a:lnTo>
                  <a:lnTo>
                    <a:pt x="490" y="535"/>
                  </a:lnTo>
                  <a:lnTo>
                    <a:pt x="486" y="535"/>
                  </a:lnTo>
                  <a:lnTo>
                    <a:pt x="483" y="535"/>
                  </a:lnTo>
                  <a:lnTo>
                    <a:pt x="479" y="539"/>
                  </a:lnTo>
                  <a:lnTo>
                    <a:pt x="483" y="539"/>
                  </a:lnTo>
                  <a:lnTo>
                    <a:pt x="483" y="543"/>
                  </a:lnTo>
                  <a:lnTo>
                    <a:pt x="479" y="543"/>
                  </a:lnTo>
                  <a:lnTo>
                    <a:pt x="475" y="547"/>
                  </a:lnTo>
                  <a:lnTo>
                    <a:pt x="471" y="547"/>
                  </a:lnTo>
                  <a:lnTo>
                    <a:pt x="471" y="551"/>
                  </a:lnTo>
                  <a:lnTo>
                    <a:pt x="467" y="551"/>
                  </a:lnTo>
                  <a:lnTo>
                    <a:pt x="467" y="555"/>
                  </a:lnTo>
                  <a:lnTo>
                    <a:pt x="463" y="551"/>
                  </a:lnTo>
                  <a:lnTo>
                    <a:pt x="459" y="551"/>
                  </a:lnTo>
                  <a:lnTo>
                    <a:pt x="459" y="547"/>
                  </a:lnTo>
                  <a:lnTo>
                    <a:pt x="455" y="547"/>
                  </a:lnTo>
                  <a:lnTo>
                    <a:pt x="451" y="547"/>
                  </a:lnTo>
                  <a:lnTo>
                    <a:pt x="451" y="543"/>
                  </a:lnTo>
                  <a:lnTo>
                    <a:pt x="447" y="543"/>
                  </a:lnTo>
                  <a:lnTo>
                    <a:pt x="443" y="543"/>
                  </a:lnTo>
                  <a:lnTo>
                    <a:pt x="439" y="543"/>
                  </a:lnTo>
                  <a:lnTo>
                    <a:pt x="435" y="543"/>
                  </a:lnTo>
                  <a:lnTo>
                    <a:pt x="439" y="543"/>
                  </a:lnTo>
                  <a:lnTo>
                    <a:pt x="435" y="543"/>
                  </a:lnTo>
                  <a:lnTo>
                    <a:pt x="431" y="543"/>
                  </a:lnTo>
                  <a:lnTo>
                    <a:pt x="431" y="539"/>
                  </a:lnTo>
                  <a:lnTo>
                    <a:pt x="427" y="539"/>
                  </a:lnTo>
                  <a:lnTo>
                    <a:pt x="423" y="539"/>
                  </a:lnTo>
                  <a:lnTo>
                    <a:pt x="423" y="535"/>
                  </a:lnTo>
                  <a:lnTo>
                    <a:pt x="419" y="535"/>
                  </a:lnTo>
                  <a:lnTo>
                    <a:pt x="419" y="531"/>
                  </a:lnTo>
                  <a:lnTo>
                    <a:pt x="415" y="531"/>
                  </a:lnTo>
                  <a:lnTo>
                    <a:pt x="415" y="527"/>
                  </a:lnTo>
                  <a:lnTo>
                    <a:pt x="411" y="527"/>
                  </a:lnTo>
                  <a:lnTo>
                    <a:pt x="411" y="523"/>
                  </a:lnTo>
                  <a:lnTo>
                    <a:pt x="407" y="519"/>
                  </a:lnTo>
                  <a:lnTo>
                    <a:pt x="407" y="515"/>
                  </a:lnTo>
                  <a:lnTo>
                    <a:pt x="411" y="511"/>
                  </a:lnTo>
                  <a:lnTo>
                    <a:pt x="411" y="507"/>
                  </a:lnTo>
                  <a:lnTo>
                    <a:pt x="407" y="499"/>
                  </a:lnTo>
                  <a:lnTo>
                    <a:pt x="403" y="495"/>
                  </a:lnTo>
                  <a:lnTo>
                    <a:pt x="403" y="491"/>
                  </a:lnTo>
                  <a:lnTo>
                    <a:pt x="399" y="491"/>
                  </a:lnTo>
                  <a:lnTo>
                    <a:pt x="399" y="487"/>
                  </a:lnTo>
                  <a:lnTo>
                    <a:pt x="399" y="491"/>
                  </a:lnTo>
                  <a:lnTo>
                    <a:pt x="403" y="491"/>
                  </a:lnTo>
                  <a:lnTo>
                    <a:pt x="403" y="495"/>
                  </a:lnTo>
                  <a:lnTo>
                    <a:pt x="407" y="499"/>
                  </a:lnTo>
                  <a:lnTo>
                    <a:pt x="407" y="495"/>
                  </a:lnTo>
                  <a:lnTo>
                    <a:pt x="403" y="495"/>
                  </a:lnTo>
                  <a:lnTo>
                    <a:pt x="403" y="491"/>
                  </a:lnTo>
                  <a:lnTo>
                    <a:pt x="399" y="487"/>
                  </a:lnTo>
                  <a:lnTo>
                    <a:pt x="399" y="491"/>
                  </a:lnTo>
                  <a:lnTo>
                    <a:pt x="403" y="487"/>
                  </a:lnTo>
                  <a:lnTo>
                    <a:pt x="403" y="483"/>
                  </a:lnTo>
                  <a:lnTo>
                    <a:pt x="399" y="483"/>
                  </a:lnTo>
                  <a:lnTo>
                    <a:pt x="395" y="483"/>
                  </a:lnTo>
                  <a:lnTo>
                    <a:pt x="399" y="483"/>
                  </a:lnTo>
                  <a:lnTo>
                    <a:pt x="399" y="487"/>
                  </a:lnTo>
                  <a:lnTo>
                    <a:pt x="395" y="487"/>
                  </a:lnTo>
                  <a:lnTo>
                    <a:pt x="391" y="487"/>
                  </a:lnTo>
                  <a:lnTo>
                    <a:pt x="383" y="487"/>
                  </a:lnTo>
                  <a:lnTo>
                    <a:pt x="387" y="487"/>
                  </a:lnTo>
                  <a:lnTo>
                    <a:pt x="387" y="483"/>
                  </a:lnTo>
                  <a:lnTo>
                    <a:pt x="387" y="479"/>
                  </a:lnTo>
                  <a:lnTo>
                    <a:pt x="391" y="475"/>
                  </a:lnTo>
                  <a:lnTo>
                    <a:pt x="391" y="471"/>
                  </a:lnTo>
                  <a:lnTo>
                    <a:pt x="387" y="467"/>
                  </a:lnTo>
                  <a:lnTo>
                    <a:pt x="387" y="463"/>
                  </a:lnTo>
                  <a:lnTo>
                    <a:pt x="383" y="459"/>
                  </a:lnTo>
                  <a:lnTo>
                    <a:pt x="383" y="463"/>
                  </a:lnTo>
                  <a:lnTo>
                    <a:pt x="379" y="463"/>
                  </a:lnTo>
                  <a:lnTo>
                    <a:pt x="379" y="467"/>
                  </a:lnTo>
                  <a:lnTo>
                    <a:pt x="379" y="471"/>
                  </a:lnTo>
                  <a:lnTo>
                    <a:pt x="379" y="475"/>
                  </a:lnTo>
                  <a:lnTo>
                    <a:pt x="379" y="479"/>
                  </a:lnTo>
                  <a:lnTo>
                    <a:pt x="375" y="479"/>
                  </a:lnTo>
                  <a:lnTo>
                    <a:pt x="371" y="479"/>
                  </a:lnTo>
                  <a:lnTo>
                    <a:pt x="367" y="479"/>
                  </a:lnTo>
                  <a:lnTo>
                    <a:pt x="363" y="483"/>
                  </a:lnTo>
                  <a:lnTo>
                    <a:pt x="363" y="479"/>
                  </a:lnTo>
                  <a:lnTo>
                    <a:pt x="367" y="479"/>
                  </a:lnTo>
                  <a:lnTo>
                    <a:pt x="367" y="475"/>
                  </a:lnTo>
                  <a:lnTo>
                    <a:pt x="371" y="475"/>
                  </a:lnTo>
                  <a:lnTo>
                    <a:pt x="375" y="475"/>
                  </a:lnTo>
                  <a:lnTo>
                    <a:pt x="375" y="471"/>
                  </a:lnTo>
                  <a:lnTo>
                    <a:pt x="375" y="467"/>
                  </a:lnTo>
                  <a:lnTo>
                    <a:pt x="375" y="463"/>
                  </a:lnTo>
                  <a:lnTo>
                    <a:pt x="375" y="459"/>
                  </a:lnTo>
                  <a:lnTo>
                    <a:pt x="375" y="455"/>
                  </a:lnTo>
                  <a:lnTo>
                    <a:pt x="375" y="451"/>
                  </a:lnTo>
                  <a:lnTo>
                    <a:pt x="379" y="447"/>
                  </a:lnTo>
                  <a:lnTo>
                    <a:pt x="379" y="443"/>
                  </a:lnTo>
                  <a:lnTo>
                    <a:pt x="379" y="439"/>
                  </a:lnTo>
                  <a:lnTo>
                    <a:pt x="383" y="439"/>
                  </a:lnTo>
                  <a:lnTo>
                    <a:pt x="383" y="435"/>
                  </a:lnTo>
                  <a:lnTo>
                    <a:pt x="379" y="431"/>
                  </a:lnTo>
                  <a:lnTo>
                    <a:pt x="379" y="427"/>
                  </a:lnTo>
                  <a:lnTo>
                    <a:pt x="379" y="431"/>
                  </a:lnTo>
                  <a:lnTo>
                    <a:pt x="379" y="435"/>
                  </a:lnTo>
                  <a:lnTo>
                    <a:pt x="375" y="435"/>
                  </a:lnTo>
                  <a:lnTo>
                    <a:pt x="375" y="439"/>
                  </a:lnTo>
                  <a:lnTo>
                    <a:pt x="371" y="439"/>
                  </a:lnTo>
                  <a:lnTo>
                    <a:pt x="371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7" y="447"/>
                  </a:lnTo>
                  <a:lnTo>
                    <a:pt x="363" y="451"/>
                  </a:lnTo>
                  <a:lnTo>
                    <a:pt x="367" y="451"/>
                  </a:lnTo>
                  <a:lnTo>
                    <a:pt x="363" y="451"/>
                  </a:lnTo>
                  <a:lnTo>
                    <a:pt x="359" y="455"/>
                  </a:lnTo>
                  <a:lnTo>
                    <a:pt x="355" y="455"/>
                  </a:lnTo>
                  <a:lnTo>
                    <a:pt x="355" y="459"/>
                  </a:lnTo>
                  <a:lnTo>
                    <a:pt x="355" y="463"/>
                  </a:lnTo>
                  <a:lnTo>
                    <a:pt x="351" y="463"/>
                  </a:lnTo>
                  <a:lnTo>
                    <a:pt x="351" y="467"/>
                  </a:lnTo>
                  <a:lnTo>
                    <a:pt x="347" y="471"/>
                  </a:lnTo>
                  <a:lnTo>
                    <a:pt x="351" y="471"/>
                  </a:lnTo>
                  <a:lnTo>
                    <a:pt x="351" y="475"/>
                  </a:lnTo>
                  <a:lnTo>
                    <a:pt x="351" y="471"/>
                  </a:lnTo>
                  <a:lnTo>
                    <a:pt x="347" y="471"/>
                  </a:lnTo>
                  <a:lnTo>
                    <a:pt x="347" y="475"/>
                  </a:lnTo>
                  <a:lnTo>
                    <a:pt x="347" y="471"/>
                  </a:lnTo>
                  <a:lnTo>
                    <a:pt x="343" y="471"/>
                  </a:lnTo>
                  <a:lnTo>
                    <a:pt x="343" y="467"/>
                  </a:lnTo>
                  <a:lnTo>
                    <a:pt x="339" y="467"/>
                  </a:lnTo>
                  <a:lnTo>
                    <a:pt x="339" y="463"/>
                  </a:lnTo>
                  <a:lnTo>
                    <a:pt x="343" y="467"/>
                  </a:lnTo>
                  <a:lnTo>
                    <a:pt x="343" y="463"/>
                  </a:lnTo>
                  <a:lnTo>
                    <a:pt x="343" y="459"/>
                  </a:lnTo>
                  <a:lnTo>
                    <a:pt x="339" y="459"/>
                  </a:lnTo>
                  <a:lnTo>
                    <a:pt x="339" y="455"/>
                  </a:lnTo>
                  <a:lnTo>
                    <a:pt x="339" y="451"/>
                  </a:lnTo>
                  <a:lnTo>
                    <a:pt x="335" y="451"/>
                  </a:lnTo>
                  <a:lnTo>
                    <a:pt x="335" y="447"/>
                  </a:lnTo>
                  <a:lnTo>
                    <a:pt x="335" y="443"/>
                  </a:lnTo>
                  <a:lnTo>
                    <a:pt x="331" y="439"/>
                  </a:lnTo>
                  <a:lnTo>
                    <a:pt x="327" y="439"/>
                  </a:lnTo>
                  <a:lnTo>
                    <a:pt x="323" y="435"/>
                  </a:lnTo>
                  <a:lnTo>
                    <a:pt x="323" y="431"/>
                  </a:lnTo>
                  <a:lnTo>
                    <a:pt x="327" y="431"/>
                  </a:lnTo>
                  <a:lnTo>
                    <a:pt x="327" y="427"/>
                  </a:lnTo>
                  <a:lnTo>
                    <a:pt x="323" y="427"/>
                  </a:lnTo>
                  <a:lnTo>
                    <a:pt x="323" y="423"/>
                  </a:lnTo>
                  <a:lnTo>
                    <a:pt x="319" y="423"/>
                  </a:lnTo>
                  <a:lnTo>
                    <a:pt x="319" y="427"/>
                  </a:lnTo>
                  <a:lnTo>
                    <a:pt x="319" y="423"/>
                  </a:lnTo>
                  <a:lnTo>
                    <a:pt x="319" y="419"/>
                  </a:lnTo>
                  <a:lnTo>
                    <a:pt x="315" y="419"/>
                  </a:lnTo>
                  <a:lnTo>
                    <a:pt x="311" y="419"/>
                  </a:lnTo>
                  <a:lnTo>
                    <a:pt x="307" y="419"/>
                  </a:lnTo>
                  <a:lnTo>
                    <a:pt x="307" y="415"/>
                  </a:lnTo>
                  <a:lnTo>
                    <a:pt x="303" y="415"/>
                  </a:lnTo>
                  <a:lnTo>
                    <a:pt x="299" y="415"/>
                  </a:lnTo>
                  <a:lnTo>
                    <a:pt x="295" y="415"/>
                  </a:lnTo>
                  <a:lnTo>
                    <a:pt x="291" y="415"/>
                  </a:lnTo>
                  <a:lnTo>
                    <a:pt x="291" y="411"/>
                  </a:lnTo>
                  <a:lnTo>
                    <a:pt x="287" y="411"/>
                  </a:lnTo>
                  <a:lnTo>
                    <a:pt x="287" y="407"/>
                  </a:lnTo>
                  <a:lnTo>
                    <a:pt x="283" y="407"/>
                  </a:lnTo>
                  <a:lnTo>
                    <a:pt x="279" y="407"/>
                  </a:lnTo>
                  <a:lnTo>
                    <a:pt x="279" y="403"/>
                  </a:lnTo>
                  <a:lnTo>
                    <a:pt x="275" y="407"/>
                  </a:lnTo>
                  <a:lnTo>
                    <a:pt x="271" y="407"/>
                  </a:lnTo>
                  <a:lnTo>
                    <a:pt x="263" y="407"/>
                  </a:lnTo>
                  <a:lnTo>
                    <a:pt x="259" y="407"/>
                  </a:lnTo>
                  <a:lnTo>
                    <a:pt x="255" y="407"/>
                  </a:lnTo>
                  <a:lnTo>
                    <a:pt x="251" y="407"/>
                  </a:lnTo>
                  <a:lnTo>
                    <a:pt x="247" y="407"/>
                  </a:lnTo>
                  <a:lnTo>
                    <a:pt x="243" y="411"/>
                  </a:lnTo>
                  <a:lnTo>
                    <a:pt x="239" y="411"/>
                  </a:lnTo>
                  <a:lnTo>
                    <a:pt x="231" y="415"/>
                  </a:lnTo>
                  <a:lnTo>
                    <a:pt x="231" y="419"/>
                  </a:lnTo>
                  <a:lnTo>
                    <a:pt x="227" y="419"/>
                  </a:lnTo>
                  <a:lnTo>
                    <a:pt x="223" y="419"/>
                  </a:lnTo>
                  <a:lnTo>
                    <a:pt x="219" y="419"/>
                  </a:lnTo>
                  <a:lnTo>
                    <a:pt x="215" y="419"/>
                  </a:lnTo>
                  <a:lnTo>
                    <a:pt x="215" y="423"/>
                  </a:lnTo>
                  <a:lnTo>
                    <a:pt x="211" y="423"/>
                  </a:lnTo>
                  <a:lnTo>
                    <a:pt x="207" y="423"/>
                  </a:lnTo>
                  <a:lnTo>
                    <a:pt x="207" y="419"/>
                  </a:lnTo>
                  <a:lnTo>
                    <a:pt x="203" y="419"/>
                  </a:lnTo>
                  <a:lnTo>
                    <a:pt x="199" y="419"/>
                  </a:lnTo>
                  <a:lnTo>
                    <a:pt x="195" y="423"/>
                  </a:lnTo>
                  <a:lnTo>
                    <a:pt x="191" y="427"/>
                  </a:lnTo>
                  <a:lnTo>
                    <a:pt x="187" y="427"/>
                  </a:lnTo>
                  <a:lnTo>
                    <a:pt x="183" y="431"/>
                  </a:lnTo>
                  <a:lnTo>
                    <a:pt x="179" y="431"/>
                  </a:lnTo>
                  <a:lnTo>
                    <a:pt x="179" y="435"/>
                  </a:lnTo>
                  <a:lnTo>
                    <a:pt x="175" y="435"/>
                  </a:lnTo>
                  <a:lnTo>
                    <a:pt x="171" y="435"/>
                  </a:lnTo>
                  <a:lnTo>
                    <a:pt x="171" y="439"/>
                  </a:lnTo>
                  <a:lnTo>
                    <a:pt x="171" y="443"/>
                  </a:lnTo>
                  <a:lnTo>
                    <a:pt x="167" y="447"/>
                  </a:lnTo>
                  <a:lnTo>
                    <a:pt x="167" y="451"/>
                  </a:lnTo>
                  <a:lnTo>
                    <a:pt x="163" y="451"/>
                  </a:lnTo>
                  <a:lnTo>
                    <a:pt x="163" y="455"/>
                  </a:lnTo>
                  <a:lnTo>
                    <a:pt x="159" y="451"/>
                  </a:lnTo>
                  <a:lnTo>
                    <a:pt x="159" y="455"/>
                  </a:lnTo>
                  <a:lnTo>
                    <a:pt x="155" y="455"/>
                  </a:lnTo>
                  <a:lnTo>
                    <a:pt x="155" y="451"/>
                  </a:lnTo>
                  <a:lnTo>
                    <a:pt x="151" y="451"/>
                  </a:lnTo>
                  <a:lnTo>
                    <a:pt x="151" y="455"/>
                  </a:lnTo>
                  <a:lnTo>
                    <a:pt x="151" y="451"/>
                  </a:lnTo>
                  <a:lnTo>
                    <a:pt x="147" y="451"/>
                  </a:lnTo>
                  <a:lnTo>
                    <a:pt x="147" y="455"/>
                  </a:lnTo>
                  <a:lnTo>
                    <a:pt x="143" y="455"/>
                  </a:lnTo>
                  <a:lnTo>
                    <a:pt x="139" y="455"/>
                  </a:lnTo>
                  <a:lnTo>
                    <a:pt x="139" y="451"/>
                  </a:lnTo>
                  <a:lnTo>
                    <a:pt x="135" y="451"/>
                  </a:lnTo>
                  <a:lnTo>
                    <a:pt x="131" y="451"/>
                  </a:lnTo>
                  <a:lnTo>
                    <a:pt x="128" y="451"/>
                  </a:lnTo>
                  <a:lnTo>
                    <a:pt x="124" y="451"/>
                  </a:lnTo>
                  <a:lnTo>
                    <a:pt x="120" y="451"/>
                  </a:lnTo>
                  <a:lnTo>
                    <a:pt x="116" y="455"/>
                  </a:lnTo>
                  <a:lnTo>
                    <a:pt x="112" y="455"/>
                  </a:lnTo>
                  <a:lnTo>
                    <a:pt x="108" y="455"/>
                  </a:lnTo>
                  <a:lnTo>
                    <a:pt x="104" y="455"/>
                  </a:lnTo>
                  <a:lnTo>
                    <a:pt x="104" y="459"/>
                  </a:lnTo>
                  <a:lnTo>
                    <a:pt x="100" y="459"/>
                  </a:lnTo>
                  <a:lnTo>
                    <a:pt x="100" y="463"/>
                  </a:lnTo>
                  <a:lnTo>
                    <a:pt x="96" y="467"/>
                  </a:lnTo>
                  <a:lnTo>
                    <a:pt x="96" y="463"/>
                  </a:lnTo>
                  <a:lnTo>
                    <a:pt x="92" y="463"/>
                  </a:lnTo>
                  <a:lnTo>
                    <a:pt x="92" y="467"/>
                  </a:lnTo>
                  <a:lnTo>
                    <a:pt x="88" y="467"/>
                  </a:lnTo>
                  <a:lnTo>
                    <a:pt x="88" y="471"/>
                  </a:lnTo>
                  <a:lnTo>
                    <a:pt x="84" y="471"/>
                  </a:lnTo>
                  <a:lnTo>
                    <a:pt x="84" y="475"/>
                  </a:lnTo>
                  <a:lnTo>
                    <a:pt x="80" y="475"/>
                  </a:lnTo>
                  <a:lnTo>
                    <a:pt x="76" y="475"/>
                  </a:lnTo>
                  <a:lnTo>
                    <a:pt x="80" y="475"/>
                  </a:lnTo>
                  <a:lnTo>
                    <a:pt x="80" y="479"/>
                  </a:lnTo>
                  <a:lnTo>
                    <a:pt x="76" y="479"/>
                  </a:lnTo>
                  <a:lnTo>
                    <a:pt x="76" y="475"/>
                  </a:lnTo>
                  <a:lnTo>
                    <a:pt x="72" y="475"/>
                  </a:lnTo>
                  <a:lnTo>
                    <a:pt x="72" y="479"/>
                  </a:lnTo>
                  <a:lnTo>
                    <a:pt x="72" y="475"/>
                  </a:lnTo>
                  <a:lnTo>
                    <a:pt x="68" y="475"/>
                  </a:lnTo>
                  <a:lnTo>
                    <a:pt x="64" y="475"/>
                  </a:lnTo>
                  <a:lnTo>
                    <a:pt x="60" y="475"/>
                  </a:lnTo>
                  <a:lnTo>
                    <a:pt x="56" y="475"/>
                  </a:lnTo>
                  <a:lnTo>
                    <a:pt x="52" y="475"/>
                  </a:lnTo>
                  <a:lnTo>
                    <a:pt x="52" y="471"/>
                  </a:lnTo>
                  <a:lnTo>
                    <a:pt x="48" y="471"/>
                  </a:lnTo>
                  <a:lnTo>
                    <a:pt x="48" y="467"/>
                  </a:lnTo>
                  <a:lnTo>
                    <a:pt x="44" y="467"/>
                  </a:lnTo>
                  <a:lnTo>
                    <a:pt x="44" y="463"/>
                  </a:lnTo>
                  <a:lnTo>
                    <a:pt x="40" y="463"/>
                  </a:lnTo>
                  <a:lnTo>
                    <a:pt x="36" y="459"/>
                  </a:lnTo>
                  <a:lnTo>
                    <a:pt x="36" y="463"/>
                  </a:lnTo>
                  <a:lnTo>
                    <a:pt x="32" y="459"/>
                  </a:lnTo>
                  <a:lnTo>
                    <a:pt x="32" y="455"/>
                  </a:lnTo>
                  <a:lnTo>
                    <a:pt x="32" y="451"/>
                  </a:lnTo>
                  <a:lnTo>
                    <a:pt x="32" y="447"/>
                  </a:lnTo>
                  <a:lnTo>
                    <a:pt x="36" y="447"/>
                  </a:lnTo>
                  <a:lnTo>
                    <a:pt x="40" y="447"/>
                  </a:lnTo>
                  <a:lnTo>
                    <a:pt x="44" y="443"/>
                  </a:lnTo>
                  <a:lnTo>
                    <a:pt x="44" y="439"/>
                  </a:lnTo>
                  <a:lnTo>
                    <a:pt x="44" y="435"/>
                  </a:lnTo>
                  <a:lnTo>
                    <a:pt x="44" y="431"/>
                  </a:lnTo>
                  <a:lnTo>
                    <a:pt x="44" y="427"/>
                  </a:lnTo>
                  <a:lnTo>
                    <a:pt x="44" y="431"/>
                  </a:lnTo>
                  <a:lnTo>
                    <a:pt x="44" y="427"/>
                  </a:lnTo>
                  <a:lnTo>
                    <a:pt x="44" y="423"/>
                  </a:lnTo>
                  <a:lnTo>
                    <a:pt x="44" y="419"/>
                  </a:lnTo>
                  <a:lnTo>
                    <a:pt x="44" y="415"/>
                  </a:lnTo>
                  <a:lnTo>
                    <a:pt x="44" y="411"/>
                  </a:lnTo>
                  <a:lnTo>
                    <a:pt x="44" y="407"/>
                  </a:lnTo>
                  <a:lnTo>
                    <a:pt x="44" y="403"/>
                  </a:lnTo>
                  <a:lnTo>
                    <a:pt x="40" y="403"/>
                  </a:lnTo>
                  <a:lnTo>
                    <a:pt x="40" y="399"/>
                  </a:lnTo>
                  <a:lnTo>
                    <a:pt x="40" y="395"/>
                  </a:lnTo>
                  <a:lnTo>
                    <a:pt x="36" y="395"/>
                  </a:lnTo>
                  <a:lnTo>
                    <a:pt x="36" y="391"/>
                  </a:lnTo>
                  <a:lnTo>
                    <a:pt x="36" y="387"/>
                  </a:lnTo>
                  <a:lnTo>
                    <a:pt x="36" y="383"/>
                  </a:lnTo>
                  <a:lnTo>
                    <a:pt x="36" y="379"/>
                  </a:lnTo>
                  <a:lnTo>
                    <a:pt x="32" y="379"/>
                  </a:lnTo>
                  <a:lnTo>
                    <a:pt x="32" y="375"/>
                  </a:lnTo>
                  <a:lnTo>
                    <a:pt x="32" y="371"/>
                  </a:lnTo>
                  <a:lnTo>
                    <a:pt x="32" y="367"/>
                  </a:lnTo>
                  <a:lnTo>
                    <a:pt x="32" y="363"/>
                  </a:lnTo>
                  <a:lnTo>
                    <a:pt x="32" y="359"/>
                  </a:lnTo>
                  <a:lnTo>
                    <a:pt x="28" y="355"/>
                  </a:lnTo>
                  <a:lnTo>
                    <a:pt x="28" y="351"/>
                  </a:lnTo>
                  <a:lnTo>
                    <a:pt x="28" y="347"/>
                  </a:lnTo>
                  <a:lnTo>
                    <a:pt x="24" y="343"/>
                  </a:lnTo>
                  <a:lnTo>
                    <a:pt x="24" y="339"/>
                  </a:lnTo>
                  <a:lnTo>
                    <a:pt x="20" y="339"/>
                  </a:lnTo>
                  <a:lnTo>
                    <a:pt x="20" y="335"/>
                  </a:lnTo>
                  <a:lnTo>
                    <a:pt x="20" y="331"/>
                  </a:lnTo>
                  <a:lnTo>
                    <a:pt x="20" y="327"/>
                  </a:lnTo>
                  <a:lnTo>
                    <a:pt x="20" y="323"/>
                  </a:lnTo>
                  <a:lnTo>
                    <a:pt x="16" y="319"/>
                  </a:lnTo>
                  <a:lnTo>
                    <a:pt x="16" y="315"/>
                  </a:lnTo>
                  <a:lnTo>
                    <a:pt x="12" y="315"/>
                  </a:lnTo>
                  <a:lnTo>
                    <a:pt x="12" y="311"/>
                  </a:lnTo>
                  <a:lnTo>
                    <a:pt x="12" y="307"/>
                  </a:lnTo>
                  <a:lnTo>
                    <a:pt x="8" y="307"/>
                  </a:lnTo>
                  <a:lnTo>
                    <a:pt x="8" y="304"/>
                  </a:lnTo>
                  <a:lnTo>
                    <a:pt x="8" y="300"/>
                  </a:lnTo>
                  <a:lnTo>
                    <a:pt x="8" y="304"/>
                  </a:lnTo>
                  <a:lnTo>
                    <a:pt x="8" y="300"/>
                  </a:lnTo>
                  <a:lnTo>
                    <a:pt x="12" y="304"/>
                  </a:lnTo>
                  <a:lnTo>
                    <a:pt x="12" y="307"/>
                  </a:lnTo>
                  <a:lnTo>
                    <a:pt x="12" y="311"/>
                  </a:lnTo>
                  <a:lnTo>
                    <a:pt x="16" y="311"/>
                  </a:lnTo>
                  <a:lnTo>
                    <a:pt x="16" y="307"/>
                  </a:lnTo>
                  <a:lnTo>
                    <a:pt x="16" y="304"/>
                  </a:lnTo>
                  <a:lnTo>
                    <a:pt x="12" y="304"/>
                  </a:lnTo>
                  <a:lnTo>
                    <a:pt x="12" y="300"/>
                  </a:lnTo>
                  <a:lnTo>
                    <a:pt x="12" y="296"/>
                  </a:lnTo>
                  <a:lnTo>
                    <a:pt x="8" y="292"/>
                  </a:lnTo>
                  <a:lnTo>
                    <a:pt x="12" y="288"/>
                  </a:lnTo>
                  <a:lnTo>
                    <a:pt x="12" y="292"/>
                  </a:lnTo>
                  <a:lnTo>
                    <a:pt x="12" y="296"/>
                  </a:lnTo>
                  <a:lnTo>
                    <a:pt x="16" y="296"/>
                  </a:lnTo>
                  <a:lnTo>
                    <a:pt x="16" y="300"/>
                  </a:lnTo>
                  <a:lnTo>
                    <a:pt x="12" y="300"/>
                  </a:lnTo>
                  <a:lnTo>
                    <a:pt x="16" y="304"/>
                  </a:lnTo>
                  <a:lnTo>
                    <a:pt x="16" y="300"/>
                  </a:lnTo>
                  <a:lnTo>
                    <a:pt x="16" y="304"/>
                  </a:lnTo>
                  <a:lnTo>
                    <a:pt x="20" y="307"/>
                  </a:lnTo>
                  <a:lnTo>
                    <a:pt x="20" y="304"/>
                  </a:lnTo>
                  <a:lnTo>
                    <a:pt x="20" y="300"/>
                  </a:lnTo>
                  <a:lnTo>
                    <a:pt x="24" y="300"/>
                  </a:lnTo>
                  <a:lnTo>
                    <a:pt x="24" y="296"/>
                  </a:lnTo>
                  <a:lnTo>
                    <a:pt x="20" y="292"/>
                  </a:lnTo>
                  <a:lnTo>
                    <a:pt x="16" y="288"/>
                  </a:lnTo>
                  <a:lnTo>
                    <a:pt x="16" y="284"/>
                  </a:lnTo>
                  <a:lnTo>
                    <a:pt x="12" y="280"/>
                  </a:lnTo>
                  <a:lnTo>
                    <a:pt x="12" y="276"/>
                  </a:lnTo>
                  <a:lnTo>
                    <a:pt x="12" y="272"/>
                  </a:lnTo>
                  <a:lnTo>
                    <a:pt x="8" y="272"/>
                  </a:lnTo>
                  <a:lnTo>
                    <a:pt x="8" y="268"/>
                  </a:lnTo>
                  <a:lnTo>
                    <a:pt x="8" y="264"/>
                  </a:lnTo>
                  <a:lnTo>
                    <a:pt x="12" y="260"/>
                  </a:lnTo>
                  <a:lnTo>
                    <a:pt x="12" y="256"/>
                  </a:lnTo>
                  <a:lnTo>
                    <a:pt x="12" y="252"/>
                  </a:lnTo>
                  <a:lnTo>
                    <a:pt x="16" y="252"/>
                  </a:lnTo>
                  <a:lnTo>
                    <a:pt x="16" y="248"/>
                  </a:lnTo>
                  <a:lnTo>
                    <a:pt x="16" y="244"/>
                  </a:lnTo>
                  <a:lnTo>
                    <a:pt x="16" y="240"/>
                  </a:lnTo>
                  <a:lnTo>
                    <a:pt x="16" y="236"/>
                  </a:lnTo>
                  <a:lnTo>
                    <a:pt x="12" y="236"/>
                  </a:lnTo>
                  <a:lnTo>
                    <a:pt x="12" y="232"/>
                  </a:lnTo>
                  <a:lnTo>
                    <a:pt x="16" y="232"/>
                  </a:lnTo>
                  <a:lnTo>
                    <a:pt x="16" y="228"/>
                  </a:lnTo>
                  <a:lnTo>
                    <a:pt x="16" y="224"/>
                  </a:lnTo>
                  <a:lnTo>
                    <a:pt x="16" y="220"/>
                  </a:lnTo>
                  <a:lnTo>
                    <a:pt x="20" y="220"/>
                  </a:lnTo>
                  <a:lnTo>
                    <a:pt x="20" y="224"/>
                  </a:lnTo>
                  <a:lnTo>
                    <a:pt x="20" y="228"/>
                  </a:lnTo>
                  <a:lnTo>
                    <a:pt x="20" y="232"/>
                  </a:lnTo>
                  <a:lnTo>
                    <a:pt x="24" y="232"/>
                  </a:lnTo>
                  <a:lnTo>
                    <a:pt x="24" y="228"/>
                  </a:lnTo>
                  <a:lnTo>
                    <a:pt x="24" y="224"/>
                  </a:lnTo>
                  <a:lnTo>
                    <a:pt x="28" y="224"/>
                  </a:lnTo>
                  <a:lnTo>
                    <a:pt x="28" y="220"/>
                  </a:lnTo>
                  <a:lnTo>
                    <a:pt x="32" y="216"/>
                  </a:lnTo>
                  <a:lnTo>
                    <a:pt x="36" y="216"/>
                  </a:lnTo>
                  <a:lnTo>
                    <a:pt x="40" y="212"/>
                  </a:lnTo>
                  <a:lnTo>
                    <a:pt x="44" y="208"/>
                  </a:lnTo>
                  <a:lnTo>
                    <a:pt x="48" y="208"/>
                  </a:lnTo>
                  <a:lnTo>
                    <a:pt x="48" y="204"/>
                  </a:lnTo>
                  <a:lnTo>
                    <a:pt x="52" y="204"/>
                  </a:lnTo>
                  <a:lnTo>
                    <a:pt x="52" y="200"/>
                  </a:lnTo>
                  <a:lnTo>
                    <a:pt x="56" y="200"/>
                  </a:lnTo>
                  <a:lnTo>
                    <a:pt x="60" y="200"/>
                  </a:lnTo>
                  <a:lnTo>
                    <a:pt x="60" y="196"/>
                  </a:lnTo>
                  <a:lnTo>
                    <a:pt x="64" y="196"/>
                  </a:lnTo>
                  <a:lnTo>
                    <a:pt x="68" y="196"/>
                  </a:lnTo>
                  <a:lnTo>
                    <a:pt x="68" y="200"/>
                  </a:lnTo>
                  <a:lnTo>
                    <a:pt x="72" y="200"/>
                  </a:lnTo>
                  <a:lnTo>
                    <a:pt x="72" y="196"/>
                  </a:lnTo>
                  <a:lnTo>
                    <a:pt x="76" y="196"/>
                  </a:lnTo>
                  <a:lnTo>
                    <a:pt x="80" y="196"/>
                  </a:lnTo>
                  <a:lnTo>
                    <a:pt x="80" y="192"/>
                  </a:lnTo>
                  <a:lnTo>
                    <a:pt x="84" y="192"/>
                  </a:lnTo>
                  <a:lnTo>
                    <a:pt x="88" y="192"/>
                  </a:lnTo>
                  <a:lnTo>
                    <a:pt x="92" y="188"/>
                  </a:lnTo>
                  <a:lnTo>
                    <a:pt x="96" y="184"/>
                  </a:lnTo>
                  <a:lnTo>
                    <a:pt x="100" y="184"/>
                  </a:lnTo>
                  <a:lnTo>
                    <a:pt x="104" y="184"/>
                  </a:lnTo>
                  <a:lnTo>
                    <a:pt x="108" y="184"/>
                  </a:lnTo>
                  <a:lnTo>
                    <a:pt x="112" y="184"/>
                  </a:lnTo>
                  <a:lnTo>
                    <a:pt x="116" y="180"/>
                  </a:lnTo>
                  <a:lnTo>
                    <a:pt x="120" y="180"/>
                  </a:lnTo>
                  <a:lnTo>
                    <a:pt x="124" y="176"/>
                  </a:lnTo>
                  <a:lnTo>
                    <a:pt x="128" y="176"/>
                  </a:lnTo>
                  <a:lnTo>
                    <a:pt x="128" y="172"/>
                  </a:lnTo>
                  <a:lnTo>
                    <a:pt x="131" y="168"/>
                  </a:lnTo>
                  <a:lnTo>
                    <a:pt x="131" y="164"/>
                  </a:lnTo>
                  <a:lnTo>
                    <a:pt x="135" y="160"/>
                  </a:lnTo>
                  <a:lnTo>
                    <a:pt x="135" y="156"/>
                  </a:lnTo>
                  <a:lnTo>
                    <a:pt x="139" y="156"/>
                  </a:lnTo>
                  <a:lnTo>
                    <a:pt x="139" y="152"/>
                  </a:lnTo>
                  <a:lnTo>
                    <a:pt x="143" y="148"/>
                  </a:lnTo>
                  <a:lnTo>
                    <a:pt x="143" y="144"/>
                  </a:lnTo>
                  <a:lnTo>
                    <a:pt x="143" y="140"/>
                  </a:lnTo>
                  <a:lnTo>
                    <a:pt x="143" y="136"/>
                  </a:lnTo>
                  <a:lnTo>
                    <a:pt x="143" y="132"/>
                  </a:lnTo>
                  <a:lnTo>
                    <a:pt x="143" y="128"/>
                  </a:lnTo>
                  <a:lnTo>
                    <a:pt x="147" y="128"/>
                  </a:lnTo>
                  <a:lnTo>
                    <a:pt x="147" y="124"/>
                  </a:lnTo>
                  <a:lnTo>
                    <a:pt x="151" y="124"/>
                  </a:lnTo>
                  <a:lnTo>
                    <a:pt x="151" y="120"/>
                  </a:lnTo>
                  <a:lnTo>
                    <a:pt x="151" y="116"/>
                  </a:lnTo>
                  <a:lnTo>
                    <a:pt x="155" y="116"/>
                  </a:lnTo>
                  <a:lnTo>
                    <a:pt x="155" y="120"/>
                  </a:lnTo>
                  <a:lnTo>
                    <a:pt x="155" y="116"/>
                  </a:lnTo>
                  <a:lnTo>
                    <a:pt x="155" y="120"/>
                  </a:lnTo>
                  <a:lnTo>
                    <a:pt x="155" y="124"/>
                  </a:lnTo>
                  <a:lnTo>
                    <a:pt x="159" y="128"/>
                  </a:lnTo>
                  <a:lnTo>
                    <a:pt x="159" y="132"/>
                  </a:lnTo>
                  <a:lnTo>
                    <a:pt x="159" y="136"/>
                  </a:lnTo>
                  <a:lnTo>
                    <a:pt x="163" y="136"/>
                  </a:lnTo>
                  <a:lnTo>
                    <a:pt x="163" y="140"/>
                  </a:lnTo>
                  <a:lnTo>
                    <a:pt x="163" y="136"/>
                  </a:lnTo>
                  <a:lnTo>
                    <a:pt x="163" y="132"/>
                  </a:lnTo>
                  <a:lnTo>
                    <a:pt x="163" y="128"/>
                  </a:lnTo>
                  <a:lnTo>
                    <a:pt x="167" y="128"/>
                  </a:lnTo>
                  <a:lnTo>
                    <a:pt x="167" y="132"/>
                  </a:lnTo>
                  <a:lnTo>
                    <a:pt x="167" y="128"/>
                  </a:lnTo>
                  <a:lnTo>
                    <a:pt x="167" y="124"/>
                  </a:lnTo>
                  <a:lnTo>
                    <a:pt x="163" y="124"/>
                  </a:lnTo>
                  <a:lnTo>
                    <a:pt x="163" y="120"/>
                  </a:lnTo>
                  <a:lnTo>
                    <a:pt x="159" y="120"/>
                  </a:lnTo>
                  <a:lnTo>
                    <a:pt x="163" y="120"/>
                  </a:lnTo>
                  <a:lnTo>
                    <a:pt x="163" y="116"/>
                  </a:lnTo>
                  <a:lnTo>
                    <a:pt x="163" y="112"/>
                  </a:lnTo>
                  <a:lnTo>
                    <a:pt x="167" y="112"/>
                  </a:lnTo>
                  <a:lnTo>
                    <a:pt x="167" y="116"/>
                  </a:lnTo>
                  <a:lnTo>
                    <a:pt x="167" y="112"/>
                  </a:lnTo>
                  <a:lnTo>
                    <a:pt x="171" y="112"/>
                  </a:lnTo>
                  <a:lnTo>
                    <a:pt x="171" y="116"/>
                  </a:lnTo>
                  <a:lnTo>
                    <a:pt x="175" y="116"/>
                  </a:lnTo>
                  <a:lnTo>
                    <a:pt x="179" y="116"/>
                  </a:lnTo>
                  <a:lnTo>
                    <a:pt x="183" y="116"/>
                  </a:lnTo>
                  <a:lnTo>
                    <a:pt x="179" y="116"/>
                  </a:lnTo>
                  <a:lnTo>
                    <a:pt x="175" y="116"/>
                  </a:lnTo>
                  <a:lnTo>
                    <a:pt x="175" y="112"/>
                  </a:lnTo>
                  <a:lnTo>
                    <a:pt x="179" y="112"/>
                  </a:lnTo>
                  <a:lnTo>
                    <a:pt x="179" y="108"/>
                  </a:lnTo>
                  <a:lnTo>
                    <a:pt x="179" y="104"/>
                  </a:lnTo>
                  <a:lnTo>
                    <a:pt x="179" y="108"/>
                  </a:lnTo>
                  <a:lnTo>
                    <a:pt x="175" y="108"/>
                  </a:lnTo>
                  <a:lnTo>
                    <a:pt x="175" y="104"/>
                  </a:lnTo>
                  <a:lnTo>
                    <a:pt x="175" y="100"/>
                  </a:lnTo>
                  <a:lnTo>
                    <a:pt x="179" y="100"/>
                  </a:lnTo>
                  <a:lnTo>
                    <a:pt x="179" y="96"/>
                  </a:lnTo>
                  <a:lnTo>
                    <a:pt x="183" y="96"/>
                  </a:lnTo>
                  <a:lnTo>
                    <a:pt x="183" y="100"/>
                  </a:lnTo>
                  <a:lnTo>
                    <a:pt x="187" y="100"/>
                  </a:lnTo>
                  <a:lnTo>
                    <a:pt x="187" y="96"/>
                  </a:lnTo>
                  <a:lnTo>
                    <a:pt x="183" y="96"/>
                  </a:lnTo>
                  <a:lnTo>
                    <a:pt x="187" y="92"/>
                  </a:lnTo>
                  <a:lnTo>
                    <a:pt x="183" y="92"/>
                  </a:lnTo>
                  <a:lnTo>
                    <a:pt x="183" y="96"/>
                  </a:lnTo>
                  <a:lnTo>
                    <a:pt x="183" y="92"/>
                  </a:lnTo>
                  <a:lnTo>
                    <a:pt x="187" y="92"/>
                  </a:lnTo>
                  <a:lnTo>
                    <a:pt x="191" y="92"/>
                  </a:lnTo>
                  <a:lnTo>
                    <a:pt x="187" y="92"/>
                  </a:lnTo>
                  <a:lnTo>
                    <a:pt x="187" y="88"/>
                  </a:lnTo>
                  <a:lnTo>
                    <a:pt x="187" y="84"/>
                  </a:lnTo>
                  <a:lnTo>
                    <a:pt x="191" y="80"/>
                  </a:lnTo>
                  <a:lnTo>
                    <a:pt x="191" y="84"/>
                  </a:lnTo>
                  <a:lnTo>
                    <a:pt x="195" y="84"/>
                  </a:lnTo>
                  <a:lnTo>
                    <a:pt x="195" y="80"/>
                  </a:lnTo>
                  <a:lnTo>
                    <a:pt x="195" y="76"/>
                  </a:lnTo>
                  <a:lnTo>
                    <a:pt x="195" y="80"/>
                  </a:lnTo>
                  <a:lnTo>
                    <a:pt x="195" y="84"/>
                  </a:lnTo>
                  <a:lnTo>
                    <a:pt x="195" y="80"/>
                  </a:lnTo>
                  <a:lnTo>
                    <a:pt x="199" y="80"/>
                  </a:lnTo>
                  <a:lnTo>
                    <a:pt x="195" y="84"/>
                  </a:lnTo>
                  <a:lnTo>
                    <a:pt x="199" y="84"/>
                  </a:lnTo>
                  <a:lnTo>
                    <a:pt x="199" y="80"/>
                  </a:lnTo>
                  <a:lnTo>
                    <a:pt x="203" y="76"/>
                  </a:lnTo>
                  <a:lnTo>
                    <a:pt x="199" y="72"/>
                  </a:lnTo>
                  <a:lnTo>
                    <a:pt x="203" y="72"/>
                  </a:lnTo>
                  <a:lnTo>
                    <a:pt x="203" y="76"/>
                  </a:lnTo>
                  <a:lnTo>
                    <a:pt x="203" y="72"/>
                  </a:lnTo>
                  <a:lnTo>
                    <a:pt x="207" y="72"/>
                  </a:lnTo>
                  <a:lnTo>
                    <a:pt x="207" y="76"/>
                  </a:lnTo>
                  <a:lnTo>
                    <a:pt x="211" y="76"/>
                  </a:lnTo>
                  <a:lnTo>
                    <a:pt x="211" y="72"/>
                  </a:lnTo>
                  <a:lnTo>
                    <a:pt x="211" y="68"/>
                  </a:lnTo>
                  <a:lnTo>
                    <a:pt x="215" y="68"/>
                  </a:lnTo>
                  <a:lnTo>
                    <a:pt x="215" y="72"/>
                  </a:lnTo>
                  <a:lnTo>
                    <a:pt x="219" y="72"/>
                  </a:lnTo>
                  <a:lnTo>
                    <a:pt x="219" y="68"/>
                  </a:lnTo>
                  <a:lnTo>
                    <a:pt x="219" y="72"/>
                  </a:lnTo>
                  <a:lnTo>
                    <a:pt x="223" y="72"/>
                  </a:lnTo>
                  <a:lnTo>
                    <a:pt x="223" y="76"/>
                  </a:lnTo>
                  <a:lnTo>
                    <a:pt x="227" y="76"/>
                  </a:lnTo>
                  <a:lnTo>
                    <a:pt x="227" y="80"/>
                  </a:lnTo>
                  <a:lnTo>
                    <a:pt x="231" y="84"/>
                  </a:lnTo>
                  <a:lnTo>
                    <a:pt x="231" y="88"/>
                  </a:lnTo>
                  <a:lnTo>
                    <a:pt x="231" y="92"/>
                  </a:lnTo>
                  <a:lnTo>
                    <a:pt x="231" y="96"/>
                  </a:lnTo>
                  <a:lnTo>
                    <a:pt x="231" y="100"/>
                  </a:lnTo>
                  <a:lnTo>
                    <a:pt x="231" y="96"/>
                  </a:lnTo>
                  <a:lnTo>
                    <a:pt x="235" y="96"/>
                  </a:lnTo>
                  <a:lnTo>
                    <a:pt x="235" y="92"/>
                  </a:lnTo>
                  <a:lnTo>
                    <a:pt x="231" y="92"/>
                  </a:lnTo>
                  <a:lnTo>
                    <a:pt x="235" y="92"/>
                  </a:lnTo>
                  <a:lnTo>
                    <a:pt x="235" y="88"/>
                  </a:lnTo>
                  <a:lnTo>
                    <a:pt x="235" y="92"/>
                  </a:lnTo>
                  <a:lnTo>
                    <a:pt x="235" y="88"/>
                  </a:lnTo>
                  <a:lnTo>
                    <a:pt x="239" y="88"/>
                  </a:lnTo>
                  <a:lnTo>
                    <a:pt x="239" y="84"/>
                  </a:lnTo>
                  <a:lnTo>
                    <a:pt x="239" y="88"/>
                  </a:lnTo>
                  <a:lnTo>
                    <a:pt x="243" y="88"/>
                  </a:lnTo>
                  <a:lnTo>
                    <a:pt x="247" y="88"/>
                  </a:lnTo>
                  <a:lnTo>
                    <a:pt x="247" y="92"/>
                  </a:lnTo>
                  <a:lnTo>
                    <a:pt x="251" y="92"/>
                  </a:lnTo>
                  <a:lnTo>
                    <a:pt x="247" y="92"/>
                  </a:lnTo>
                  <a:lnTo>
                    <a:pt x="247" y="88"/>
                  </a:lnTo>
                  <a:lnTo>
                    <a:pt x="251" y="88"/>
                  </a:lnTo>
                  <a:lnTo>
                    <a:pt x="255" y="92"/>
                  </a:lnTo>
                  <a:lnTo>
                    <a:pt x="255" y="96"/>
                  </a:lnTo>
                  <a:lnTo>
                    <a:pt x="255" y="92"/>
                  </a:lnTo>
                  <a:lnTo>
                    <a:pt x="255" y="88"/>
                  </a:lnTo>
                  <a:lnTo>
                    <a:pt x="259" y="88"/>
                  </a:lnTo>
                  <a:lnTo>
                    <a:pt x="255" y="88"/>
                  </a:lnTo>
                  <a:lnTo>
                    <a:pt x="255" y="84"/>
                  </a:lnTo>
                  <a:lnTo>
                    <a:pt x="255" y="80"/>
                  </a:lnTo>
                  <a:lnTo>
                    <a:pt x="255" y="84"/>
                  </a:lnTo>
                  <a:lnTo>
                    <a:pt x="251" y="80"/>
                  </a:lnTo>
                  <a:lnTo>
                    <a:pt x="251" y="76"/>
                  </a:lnTo>
                  <a:lnTo>
                    <a:pt x="255" y="72"/>
                  </a:lnTo>
                  <a:lnTo>
                    <a:pt x="259" y="68"/>
                  </a:lnTo>
                  <a:lnTo>
                    <a:pt x="259" y="64"/>
                  </a:lnTo>
                  <a:lnTo>
                    <a:pt x="259" y="60"/>
                  </a:lnTo>
                  <a:lnTo>
                    <a:pt x="259" y="64"/>
                  </a:lnTo>
                  <a:lnTo>
                    <a:pt x="263" y="60"/>
                  </a:lnTo>
                  <a:lnTo>
                    <a:pt x="263" y="56"/>
                  </a:lnTo>
                  <a:lnTo>
                    <a:pt x="263" y="52"/>
                  </a:lnTo>
                  <a:lnTo>
                    <a:pt x="267" y="52"/>
                  </a:lnTo>
                  <a:lnTo>
                    <a:pt x="267" y="48"/>
                  </a:lnTo>
                  <a:lnTo>
                    <a:pt x="267" y="44"/>
                  </a:lnTo>
                  <a:lnTo>
                    <a:pt x="267" y="48"/>
                  </a:lnTo>
                  <a:lnTo>
                    <a:pt x="271" y="48"/>
                  </a:lnTo>
                  <a:lnTo>
                    <a:pt x="271" y="44"/>
                  </a:lnTo>
                  <a:lnTo>
                    <a:pt x="271" y="40"/>
                  </a:lnTo>
                  <a:lnTo>
                    <a:pt x="271" y="44"/>
                  </a:lnTo>
                  <a:lnTo>
                    <a:pt x="275" y="48"/>
                  </a:lnTo>
                  <a:lnTo>
                    <a:pt x="275" y="44"/>
                  </a:lnTo>
                  <a:lnTo>
                    <a:pt x="271" y="44"/>
                  </a:lnTo>
                  <a:lnTo>
                    <a:pt x="275" y="40"/>
                  </a:lnTo>
                  <a:lnTo>
                    <a:pt x="275" y="36"/>
                  </a:lnTo>
                  <a:lnTo>
                    <a:pt x="279" y="36"/>
                  </a:lnTo>
                  <a:lnTo>
                    <a:pt x="279" y="40"/>
                  </a:lnTo>
                  <a:lnTo>
                    <a:pt x="283" y="40"/>
                  </a:lnTo>
                  <a:lnTo>
                    <a:pt x="287" y="40"/>
                  </a:lnTo>
                  <a:lnTo>
                    <a:pt x="291" y="40"/>
                  </a:lnTo>
                  <a:lnTo>
                    <a:pt x="295" y="40"/>
                  </a:lnTo>
                  <a:lnTo>
                    <a:pt x="299" y="40"/>
                  </a:lnTo>
                  <a:lnTo>
                    <a:pt x="295" y="40"/>
                  </a:lnTo>
                  <a:lnTo>
                    <a:pt x="299" y="40"/>
                  </a:lnTo>
                  <a:lnTo>
                    <a:pt x="299" y="36"/>
                  </a:lnTo>
                  <a:lnTo>
                    <a:pt x="303" y="36"/>
                  </a:lnTo>
                  <a:lnTo>
                    <a:pt x="299" y="36"/>
                  </a:lnTo>
                  <a:lnTo>
                    <a:pt x="299" y="32"/>
                  </a:lnTo>
                  <a:lnTo>
                    <a:pt x="299" y="28"/>
                  </a:lnTo>
                  <a:lnTo>
                    <a:pt x="303" y="28"/>
                  </a:lnTo>
                  <a:lnTo>
                    <a:pt x="299" y="28"/>
                  </a:lnTo>
                  <a:lnTo>
                    <a:pt x="299" y="24"/>
                  </a:lnTo>
                  <a:lnTo>
                    <a:pt x="295" y="24"/>
                  </a:lnTo>
                  <a:lnTo>
                    <a:pt x="291" y="24"/>
                  </a:lnTo>
                  <a:lnTo>
                    <a:pt x="287" y="20"/>
                  </a:lnTo>
                  <a:lnTo>
                    <a:pt x="287" y="24"/>
                  </a:lnTo>
                  <a:lnTo>
                    <a:pt x="287" y="20"/>
                  </a:lnTo>
                  <a:lnTo>
                    <a:pt x="291" y="20"/>
                  </a:lnTo>
                  <a:lnTo>
                    <a:pt x="295" y="24"/>
                  </a:lnTo>
                  <a:lnTo>
                    <a:pt x="295" y="20"/>
                  </a:lnTo>
                  <a:lnTo>
                    <a:pt x="291" y="20"/>
                  </a:lnTo>
                  <a:lnTo>
                    <a:pt x="295" y="20"/>
                  </a:lnTo>
                  <a:lnTo>
                    <a:pt x="299" y="20"/>
                  </a:lnTo>
                  <a:lnTo>
                    <a:pt x="299" y="24"/>
                  </a:lnTo>
                  <a:lnTo>
                    <a:pt x="303" y="24"/>
                  </a:lnTo>
                  <a:lnTo>
                    <a:pt x="307" y="24"/>
                  </a:lnTo>
                  <a:lnTo>
                    <a:pt x="307" y="28"/>
                  </a:lnTo>
                  <a:lnTo>
                    <a:pt x="311" y="28"/>
                  </a:lnTo>
                  <a:lnTo>
                    <a:pt x="311" y="32"/>
                  </a:lnTo>
                  <a:lnTo>
                    <a:pt x="315" y="32"/>
                  </a:lnTo>
                  <a:lnTo>
                    <a:pt x="319" y="32"/>
                  </a:lnTo>
                  <a:lnTo>
                    <a:pt x="319" y="28"/>
                  </a:lnTo>
                  <a:lnTo>
                    <a:pt x="319" y="32"/>
                  </a:lnTo>
                  <a:lnTo>
                    <a:pt x="323" y="32"/>
                  </a:lnTo>
                  <a:lnTo>
                    <a:pt x="323" y="36"/>
                  </a:lnTo>
                  <a:lnTo>
                    <a:pt x="327" y="36"/>
                  </a:lnTo>
                  <a:lnTo>
                    <a:pt x="331" y="36"/>
                  </a:lnTo>
                  <a:lnTo>
                    <a:pt x="335" y="36"/>
                  </a:lnTo>
                  <a:lnTo>
                    <a:pt x="335" y="40"/>
                  </a:lnTo>
                  <a:lnTo>
                    <a:pt x="339" y="40"/>
                  </a:lnTo>
                  <a:lnTo>
                    <a:pt x="339" y="36"/>
                  </a:lnTo>
                  <a:lnTo>
                    <a:pt x="343" y="36"/>
                  </a:lnTo>
                  <a:lnTo>
                    <a:pt x="347" y="36"/>
                  </a:lnTo>
                  <a:lnTo>
                    <a:pt x="343" y="36"/>
                  </a:lnTo>
                  <a:lnTo>
                    <a:pt x="347" y="32"/>
                  </a:lnTo>
                  <a:lnTo>
                    <a:pt x="351" y="32"/>
                  </a:lnTo>
                  <a:lnTo>
                    <a:pt x="347" y="36"/>
                  </a:lnTo>
                  <a:lnTo>
                    <a:pt x="347" y="40"/>
                  </a:lnTo>
                  <a:lnTo>
                    <a:pt x="351" y="36"/>
                  </a:lnTo>
                  <a:lnTo>
                    <a:pt x="351" y="40"/>
                  </a:lnTo>
                  <a:lnTo>
                    <a:pt x="351" y="44"/>
                  </a:lnTo>
                  <a:lnTo>
                    <a:pt x="355" y="44"/>
                  </a:lnTo>
                  <a:lnTo>
                    <a:pt x="355" y="40"/>
                  </a:lnTo>
                  <a:lnTo>
                    <a:pt x="355" y="36"/>
                  </a:lnTo>
                  <a:lnTo>
                    <a:pt x="359" y="32"/>
                  </a:lnTo>
                  <a:lnTo>
                    <a:pt x="359" y="36"/>
                  </a:lnTo>
                  <a:lnTo>
                    <a:pt x="359" y="40"/>
                  </a:lnTo>
                  <a:lnTo>
                    <a:pt x="363" y="40"/>
                  </a:lnTo>
                  <a:lnTo>
                    <a:pt x="363" y="36"/>
                  </a:lnTo>
                  <a:lnTo>
                    <a:pt x="363" y="40"/>
                  </a:lnTo>
                  <a:lnTo>
                    <a:pt x="367" y="40"/>
                  </a:lnTo>
                  <a:lnTo>
                    <a:pt x="363" y="44"/>
                  </a:lnTo>
                  <a:lnTo>
                    <a:pt x="363" y="48"/>
                  </a:lnTo>
                  <a:lnTo>
                    <a:pt x="359" y="48"/>
                  </a:lnTo>
                  <a:lnTo>
                    <a:pt x="359" y="52"/>
                  </a:lnTo>
                  <a:lnTo>
                    <a:pt x="359" y="56"/>
                  </a:lnTo>
                  <a:lnTo>
                    <a:pt x="355" y="56"/>
                  </a:lnTo>
                  <a:lnTo>
                    <a:pt x="351" y="56"/>
                  </a:lnTo>
                  <a:lnTo>
                    <a:pt x="351" y="60"/>
                  </a:lnTo>
                  <a:lnTo>
                    <a:pt x="351" y="64"/>
                  </a:lnTo>
                  <a:lnTo>
                    <a:pt x="351" y="68"/>
                  </a:lnTo>
                  <a:lnTo>
                    <a:pt x="351" y="72"/>
                  </a:lnTo>
                  <a:lnTo>
                    <a:pt x="351" y="76"/>
                  </a:lnTo>
                  <a:lnTo>
                    <a:pt x="347" y="76"/>
                  </a:lnTo>
                  <a:lnTo>
                    <a:pt x="347" y="80"/>
                  </a:lnTo>
                  <a:lnTo>
                    <a:pt x="343" y="80"/>
                  </a:lnTo>
                  <a:lnTo>
                    <a:pt x="343" y="84"/>
                  </a:lnTo>
                  <a:lnTo>
                    <a:pt x="343" y="88"/>
                  </a:lnTo>
                  <a:lnTo>
                    <a:pt x="343" y="92"/>
                  </a:lnTo>
                  <a:lnTo>
                    <a:pt x="347" y="92"/>
                  </a:lnTo>
                  <a:lnTo>
                    <a:pt x="351" y="92"/>
                  </a:lnTo>
                  <a:lnTo>
                    <a:pt x="351" y="96"/>
                  </a:lnTo>
                  <a:lnTo>
                    <a:pt x="355" y="96"/>
                  </a:lnTo>
                  <a:lnTo>
                    <a:pt x="355" y="100"/>
                  </a:lnTo>
                  <a:lnTo>
                    <a:pt x="359" y="104"/>
                  </a:lnTo>
                  <a:lnTo>
                    <a:pt x="363" y="104"/>
                  </a:lnTo>
                  <a:lnTo>
                    <a:pt x="363" y="108"/>
                  </a:lnTo>
                  <a:lnTo>
                    <a:pt x="367" y="108"/>
                  </a:lnTo>
                  <a:lnTo>
                    <a:pt x="371" y="112"/>
                  </a:lnTo>
                  <a:lnTo>
                    <a:pt x="375" y="112"/>
                  </a:lnTo>
                  <a:lnTo>
                    <a:pt x="379" y="112"/>
                  </a:lnTo>
                  <a:lnTo>
                    <a:pt x="379" y="116"/>
                  </a:lnTo>
                  <a:lnTo>
                    <a:pt x="379" y="120"/>
                  </a:lnTo>
                  <a:lnTo>
                    <a:pt x="383" y="120"/>
                  </a:lnTo>
                  <a:lnTo>
                    <a:pt x="383" y="124"/>
                  </a:lnTo>
                  <a:lnTo>
                    <a:pt x="387" y="124"/>
                  </a:lnTo>
                  <a:lnTo>
                    <a:pt x="391" y="124"/>
                  </a:lnTo>
                  <a:lnTo>
                    <a:pt x="395" y="124"/>
                  </a:lnTo>
                  <a:lnTo>
                    <a:pt x="399" y="124"/>
                  </a:lnTo>
                  <a:lnTo>
                    <a:pt x="399" y="128"/>
                  </a:lnTo>
                  <a:lnTo>
                    <a:pt x="399" y="132"/>
                  </a:lnTo>
                  <a:lnTo>
                    <a:pt x="399" y="136"/>
                  </a:lnTo>
                  <a:lnTo>
                    <a:pt x="403" y="136"/>
                  </a:lnTo>
                  <a:lnTo>
                    <a:pt x="407" y="136"/>
                  </a:lnTo>
                  <a:lnTo>
                    <a:pt x="407" y="140"/>
                  </a:lnTo>
                  <a:lnTo>
                    <a:pt x="411" y="140"/>
                  </a:lnTo>
                  <a:lnTo>
                    <a:pt x="415" y="140"/>
                  </a:lnTo>
                  <a:lnTo>
                    <a:pt x="419" y="140"/>
                  </a:lnTo>
                  <a:lnTo>
                    <a:pt x="423" y="140"/>
                  </a:lnTo>
                  <a:lnTo>
                    <a:pt x="423" y="136"/>
                  </a:lnTo>
                  <a:lnTo>
                    <a:pt x="427" y="136"/>
                  </a:lnTo>
                  <a:lnTo>
                    <a:pt x="427" y="132"/>
                  </a:lnTo>
                  <a:lnTo>
                    <a:pt x="427" y="128"/>
                  </a:lnTo>
                  <a:lnTo>
                    <a:pt x="427" y="124"/>
                  </a:lnTo>
                  <a:lnTo>
                    <a:pt x="431" y="124"/>
                  </a:lnTo>
                  <a:lnTo>
                    <a:pt x="431" y="120"/>
                  </a:lnTo>
                  <a:lnTo>
                    <a:pt x="431" y="116"/>
                  </a:lnTo>
                  <a:lnTo>
                    <a:pt x="431" y="112"/>
                  </a:lnTo>
                  <a:lnTo>
                    <a:pt x="435" y="112"/>
                  </a:lnTo>
                  <a:lnTo>
                    <a:pt x="435" y="108"/>
                  </a:lnTo>
                  <a:lnTo>
                    <a:pt x="435" y="104"/>
                  </a:lnTo>
                  <a:lnTo>
                    <a:pt x="435" y="100"/>
                  </a:lnTo>
                  <a:lnTo>
                    <a:pt x="435" y="96"/>
                  </a:lnTo>
                  <a:lnTo>
                    <a:pt x="435" y="92"/>
                  </a:lnTo>
                  <a:lnTo>
                    <a:pt x="439" y="92"/>
                  </a:lnTo>
                  <a:lnTo>
                    <a:pt x="435" y="88"/>
                  </a:lnTo>
                  <a:lnTo>
                    <a:pt x="435" y="80"/>
                  </a:lnTo>
                  <a:lnTo>
                    <a:pt x="435" y="76"/>
                  </a:lnTo>
                  <a:lnTo>
                    <a:pt x="435" y="72"/>
                  </a:lnTo>
                  <a:lnTo>
                    <a:pt x="435" y="68"/>
                  </a:lnTo>
                  <a:lnTo>
                    <a:pt x="435" y="64"/>
                  </a:lnTo>
                  <a:lnTo>
                    <a:pt x="435" y="60"/>
                  </a:lnTo>
                  <a:lnTo>
                    <a:pt x="439" y="60"/>
                  </a:lnTo>
                  <a:lnTo>
                    <a:pt x="439" y="56"/>
                  </a:lnTo>
                  <a:lnTo>
                    <a:pt x="435" y="56"/>
                  </a:lnTo>
                  <a:lnTo>
                    <a:pt x="435" y="52"/>
                  </a:lnTo>
                  <a:lnTo>
                    <a:pt x="439" y="52"/>
                  </a:lnTo>
                  <a:lnTo>
                    <a:pt x="439" y="48"/>
                  </a:lnTo>
                  <a:lnTo>
                    <a:pt x="439" y="52"/>
                  </a:lnTo>
                  <a:lnTo>
                    <a:pt x="443" y="52"/>
                  </a:lnTo>
                  <a:lnTo>
                    <a:pt x="439" y="48"/>
                  </a:lnTo>
                  <a:lnTo>
                    <a:pt x="439" y="44"/>
                  </a:lnTo>
                  <a:lnTo>
                    <a:pt x="435" y="44"/>
                  </a:lnTo>
                  <a:lnTo>
                    <a:pt x="439" y="44"/>
                  </a:lnTo>
                  <a:lnTo>
                    <a:pt x="439" y="40"/>
                  </a:lnTo>
                  <a:lnTo>
                    <a:pt x="439" y="36"/>
                  </a:lnTo>
                  <a:lnTo>
                    <a:pt x="443" y="36"/>
                  </a:lnTo>
                  <a:lnTo>
                    <a:pt x="443" y="32"/>
                  </a:lnTo>
                  <a:lnTo>
                    <a:pt x="443" y="28"/>
                  </a:lnTo>
                  <a:lnTo>
                    <a:pt x="443" y="24"/>
                  </a:lnTo>
                  <a:lnTo>
                    <a:pt x="443" y="20"/>
                  </a:lnTo>
                  <a:lnTo>
                    <a:pt x="443" y="16"/>
                  </a:lnTo>
                  <a:lnTo>
                    <a:pt x="447" y="16"/>
                  </a:lnTo>
                  <a:lnTo>
                    <a:pt x="447" y="12"/>
                  </a:lnTo>
                  <a:lnTo>
                    <a:pt x="451" y="12"/>
                  </a:lnTo>
                  <a:lnTo>
                    <a:pt x="451" y="16"/>
                  </a:lnTo>
                  <a:lnTo>
                    <a:pt x="451" y="12"/>
                  </a:lnTo>
                  <a:lnTo>
                    <a:pt x="455" y="16"/>
                  </a:lnTo>
                  <a:lnTo>
                    <a:pt x="455" y="20"/>
                  </a:lnTo>
                  <a:lnTo>
                    <a:pt x="455" y="24"/>
                  </a:lnTo>
                  <a:lnTo>
                    <a:pt x="455" y="28"/>
                  </a:lnTo>
                  <a:lnTo>
                    <a:pt x="455" y="32"/>
                  </a:lnTo>
                  <a:lnTo>
                    <a:pt x="459" y="32"/>
                  </a:lnTo>
                  <a:lnTo>
                    <a:pt x="459" y="36"/>
                  </a:lnTo>
                  <a:lnTo>
                    <a:pt x="459" y="40"/>
                  </a:lnTo>
                  <a:lnTo>
                    <a:pt x="463" y="40"/>
                  </a:lnTo>
                  <a:lnTo>
                    <a:pt x="463" y="44"/>
                  </a:lnTo>
                  <a:lnTo>
                    <a:pt x="463" y="48"/>
                  </a:lnTo>
                  <a:lnTo>
                    <a:pt x="463" y="52"/>
                  </a:lnTo>
                  <a:lnTo>
                    <a:pt x="467" y="52"/>
                  </a:lnTo>
                  <a:lnTo>
                    <a:pt x="467" y="56"/>
                  </a:lnTo>
                  <a:lnTo>
                    <a:pt x="467" y="60"/>
                  </a:lnTo>
                  <a:lnTo>
                    <a:pt x="467" y="64"/>
                  </a:lnTo>
                  <a:lnTo>
                    <a:pt x="467" y="68"/>
                  </a:lnTo>
                  <a:lnTo>
                    <a:pt x="467" y="72"/>
                  </a:lnTo>
                  <a:lnTo>
                    <a:pt x="467" y="76"/>
                  </a:lnTo>
                  <a:lnTo>
                    <a:pt x="471" y="80"/>
                  </a:lnTo>
                  <a:lnTo>
                    <a:pt x="475" y="80"/>
                  </a:lnTo>
                  <a:lnTo>
                    <a:pt x="479" y="76"/>
                  </a:lnTo>
                  <a:lnTo>
                    <a:pt x="483" y="76"/>
                  </a:lnTo>
                  <a:lnTo>
                    <a:pt x="483" y="80"/>
                  </a:lnTo>
                  <a:lnTo>
                    <a:pt x="483" y="84"/>
                  </a:lnTo>
                  <a:lnTo>
                    <a:pt x="486" y="84"/>
                  </a:lnTo>
                  <a:lnTo>
                    <a:pt x="486" y="88"/>
                  </a:lnTo>
                  <a:lnTo>
                    <a:pt x="490" y="88"/>
                  </a:lnTo>
                  <a:lnTo>
                    <a:pt x="490" y="92"/>
                  </a:lnTo>
                  <a:lnTo>
                    <a:pt x="490" y="96"/>
                  </a:lnTo>
                  <a:lnTo>
                    <a:pt x="490" y="100"/>
                  </a:lnTo>
                  <a:lnTo>
                    <a:pt x="494" y="104"/>
                  </a:lnTo>
                  <a:lnTo>
                    <a:pt x="494" y="108"/>
                  </a:lnTo>
                  <a:lnTo>
                    <a:pt x="494" y="112"/>
                  </a:lnTo>
                  <a:lnTo>
                    <a:pt x="494" y="116"/>
                  </a:lnTo>
                  <a:lnTo>
                    <a:pt x="494" y="120"/>
                  </a:lnTo>
                  <a:lnTo>
                    <a:pt x="498" y="124"/>
                  </a:lnTo>
                  <a:lnTo>
                    <a:pt x="498" y="128"/>
                  </a:lnTo>
                  <a:lnTo>
                    <a:pt x="498" y="124"/>
                  </a:lnTo>
                  <a:lnTo>
                    <a:pt x="502" y="124"/>
                  </a:lnTo>
                  <a:lnTo>
                    <a:pt x="502" y="128"/>
                  </a:lnTo>
                  <a:lnTo>
                    <a:pt x="502" y="132"/>
                  </a:lnTo>
                  <a:lnTo>
                    <a:pt x="502" y="136"/>
                  </a:lnTo>
                  <a:lnTo>
                    <a:pt x="502" y="140"/>
                  </a:lnTo>
                  <a:lnTo>
                    <a:pt x="502" y="144"/>
                  </a:lnTo>
                  <a:lnTo>
                    <a:pt x="502" y="148"/>
                  </a:lnTo>
                  <a:lnTo>
                    <a:pt x="502" y="152"/>
                  </a:lnTo>
                  <a:lnTo>
                    <a:pt x="506" y="156"/>
                  </a:lnTo>
                  <a:lnTo>
                    <a:pt x="506" y="160"/>
                  </a:lnTo>
                  <a:lnTo>
                    <a:pt x="506" y="164"/>
                  </a:lnTo>
                  <a:lnTo>
                    <a:pt x="510" y="164"/>
                  </a:lnTo>
                  <a:lnTo>
                    <a:pt x="510" y="168"/>
                  </a:lnTo>
                  <a:lnTo>
                    <a:pt x="514" y="168"/>
                  </a:lnTo>
                  <a:lnTo>
                    <a:pt x="514" y="172"/>
                  </a:lnTo>
                  <a:lnTo>
                    <a:pt x="518" y="172"/>
                  </a:lnTo>
                  <a:lnTo>
                    <a:pt x="522" y="172"/>
                  </a:lnTo>
                  <a:lnTo>
                    <a:pt x="526" y="172"/>
                  </a:lnTo>
                  <a:lnTo>
                    <a:pt x="522" y="172"/>
                  </a:lnTo>
                  <a:lnTo>
                    <a:pt x="526" y="172"/>
                  </a:lnTo>
                  <a:lnTo>
                    <a:pt x="526" y="176"/>
                  </a:lnTo>
                  <a:lnTo>
                    <a:pt x="526" y="180"/>
                  </a:lnTo>
                  <a:lnTo>
                    <a:pt x="530" y="180"/>
                  </a:lnTo>
                  <a:lnTo>
                    <a:pt x="530" y="184"/>
                  </a:lnTo>
                  <a:lnTo>
                    <a:pt x="534" y="184"/>
                  </a:lnTo>
                  <a:lnTo>
                    <a:pt x="538" y="184"/>
                  </a:lnTo>
                  <a:lnTo>
                    <a:pt x="538" y="188"/>
                  </a:lnTo>
                  <a:lnTo>
                    <a:pt x="538" y="184"/>
                  </a:lnTo>
                  <a:lnTo>
                    <a:pt x="542" y="184"/>
                  </a:lnTo>
                  <a:lnTo>
                    <a:pt x="542" y="188"/>
                  </a:lnTo>
                  <a:lnTo>
                    <a:pt x="546" y="188"/>
                  </a:lnTo>
                  <a:lnTo>
                    <a:pt x="546" y="192"/>
                  </a:lnTo>
                  <a:lnTo>
                    <a:pt x="546" y="196"/>
                  </a:lnTo>
                  <a:lnTo>
                    <a:pt x="546" y="192"/>
                  </a:lnTo>
                  <a:lnTo>
                    <a:pt x="542" y="192"/>
                  </a:lnTo>
                  <a:lnTo>
                    <a:pt x="542" y="196"/>
                  </a:lnTo>
                  <a:lnTo>
                    <a:pt x="546" y="200"/>
                  </a:lnTo>
                  <a:lnTo>
                    <a:pt x="550" y="200"/>
                  </a:lnTo>
                  <a:lnTo>
                    <a:pt x="550" y="204"/>
                  </a:lnTo>
                  <a:lnTo>
                    <a:pt x="550" y="208"/>
                  </a:lnTo>
                  <a:lnTo>
                    <a:pt x="554" y="208"/>
                  </a:lnTo>
                  <a:lnTo>
                    <a:pt x="554" y="212"/>
                  </a:lnTo>
                  <a:lnTo>
                    <a:pt x="554" y="216"/>
                  </a:lnTo>
                  <a:lnTo>
                    <a:pt x="554" y="220"/>
                  </a:lnTo>
                  <a:lnTo>
                    <a:pt x="554" y="224"/>
                  </a:lnTo>
                  <a:lnTo>
                    <a:pt x="558" y="228"/>
                  </a:lnTo>
                  <a:lnTo>
                    <a:pt x="558" y="232"/>
                  </a:lnTo>
                  <a:lnTo>
                    <a:pt x="562" y="228"/>
                  </a:lnTo>
                  <a:lnTo>
                    <a:pt x="562" y="232"/>
                  </a:lnTo>
                  <a:lnTo>
                    <a:pt x="562" y="236"/>
                  </a:lnTo>
                  <a:lnTo>
                    <a:pt x="562" y="232"/>
                  </a:lnTo>
                  <a:lnTo>
                    <a:pt x="562" y="228"/>
                  </a:lnTo>
                  <a:lnTo>
                    <a:pt x="562" y="224"/>
                  </a:lnTo>
                  <a:lnTo>
                    <a:pt x="566" y="224"/>
                  </a:lnTo>
                  <a:lnTo>
                    <a:pt x="566" y="228"/>
                  </a:lnTo>
                  <a:lnTo>
                    <a:pt x="566" y="232"/>
                  </a:lnTo>
                  <a:lnTo>
                    <a:pt x="570" y="232"/>
                  </a:lnTo>
                  <a:lnTo>
                    <a:pt x="570" y="228"/>
                  </a:lnTo>
                  <a:lnTo>
                    <a:pt x="574" y="228"/>
                  </a:lnTo>
                  <a:lnTo>
                    <a:pt x="574" y="232"/>
                  </a:lnTo>
                  <a:lnTo>
                    <a:pt x="574" y="236"/>
                  </a:lnTo>
                  <a:lnTo>
                    <a:pt x="574" y="240"/>
                  </a:lnTo>
                  <a:lnTo>
                    <a:pt x="574" y="244"/>
                  </a:lnTo>
                  <a:lnTo>
                    <a:pt x="574" y="248"/>
                  </a:lnTo>
                  <a:lnTo>
                    <a:pt x="578" y="252"/>
                  </a:lnTo>
                  <a:lnTo>
                    <a:pt x="582" y="256"/>
                  </a:lnTo>
                  <a:lnTo>
                    <a:pt x="586" y="260"/>
                  </a:lnTo>
                  <a:close/>
                  <a:moveTo>
                    <a:pt x="179" y="100"/>
                  </a:moveTo>
                  <a:lnTo>
                    <a:pt x="175" y="96"/>
                  </a:lnTo>
                  <a:lnTo>
                    <a:pt x="179" y="96"/>
                  </a:lnTo>
                  <a:lnTo>
                    <a:pt x="179" y="100"/>
                  </a:lnTo>
                  <a:close/>
                  <a:moveTo>
                    <a:pt x="610" y="296"/>
                  </a:moveTo>
                  <a:lnTo>
                    <a:pt x="610" y="292"/>
                  </a:lnTo>
                  <a:lnTo>
                    <a:pt x="606" y="292"/>
                  </a:lnTo>
                  <a:lnTo>
                    <a:pt x="610" y="288"/>
                  </a:lnTo>
                  <a:lnTo>
                    <a:pt x="610" y="284"/>
                  </a:lnTo>
                  <a:lnTo>
                    <a:pt x="610" y="280"/>
                  </a:lnTo>
                  <a:lnTo>
                    <a:pt x="614" y="280"/>
                  </a:lnTo>
                  <a:lnTo>
                    <a:pt x="614" y="276"/>
                  </a:lnTo>
                  <a:lnTo>
                    <a:pt x="610" y="276"/>
                  </a:lnTo>
                  <a:lnTo>
                    <a:pt x="614" y="276"/>
                  </a:lnTo>
                  <a:lnTo>
                    <a:pt x="614" y="272"/>
                  </a:lnTo>
                  <a:lnTo>
                    <a:pt x="614" y="276"/>
                  </a:lnTo>
                  <a:lnTo>
                    <a:pt x="614" y="280"/>
                  </a:lnTo>
                  <a:lnTo>
                    <a:pt x="614" y="284"/>
                  </a:lnTo>
                  <a:lnTo>
                    <a:pt x="610" y="288"/>
                  </a:lnTo>
                  <a:lnTo>
                    <a:pt x="610" y="292"/>
                  </a:lnTo>
                  <a:lnTo>
                    <a:pt x="610" y="296"/>
                  </a:lnTo>
                  <a:close/>
                  <a:moveTo>
                    <a:pt x="534" y="583"/>
                  </a:moveTo>
                  <a:lnTo>
                    <a:pt x="534" y="579"/>
                  </a:lnTo>
                  <a:lnTo>
                    <a:pt x="530" y="575"/>
                  </a:lnTo>
                  <a:lnTo>
                    <a:pt x="530" y="571"/>
                  </a:lnTo>
                  <a:lnTo>
                    <a:pt x="534" y="571"/>
                  </a:lnTo>
                  <a:lnTo>
                    <a:pt x="534" y="575"/>
                  </a:lnTo>
                  <a:lnTo>
                    <a:pt x="538" y="575"/>
                  </a:lnTo>
                  <a:lnTo>
                    <a:pt x="538" y="579"/>
                  </a:lnTo>
                  <a:lnTo>
                    <a:pt x="538" y="583"/>
                  </a:lnTo>
                  <a:lnTo>
                    <a:pt x="534" y="583"/>
                  </a:lnTo>
                  <a:close/>
                  <a:moveTo>
                    <a:pt x="534" y="635"/>
                  </a:moveTo>
                  <a:lnTo>
                    <a:pt x="534" y="631"/>
                  </a:lnTo>
                  <a:lnTo>
                    <a:pt x="534" y="635"/>
                  </a:lnTo>
                  <a:close/>
                  <a:moveTo>
                    <a:pt x="403" y="132"/>
                  </a:moveTo>
                  <a:lnTo>
                    <a:pt x="403" y="128"/>
                  </a:lnTo>
                  <a:lnTo>
                    <a:pt x="407" y="128"/>
                  </a:lnTo>
                  <a:lnTo>
                    <a:pt x="403" y="128"/>
                  </a:lnTo>
                  <a:lnTo>
                    <a:pt x="403" y="132"/>
                  </a:lnTo>
                  <a:close/>
                  <a:moveTo>
                    <a:pt x="506" y="156"/>
                  </a:moveTo>
                  <a:lnTo>
                    <a:pt x="506" y="152"/>
                  </a:lnTo>
                  <a:lnTo>
                    <a:pt x="502" y="152"/>
                  </a:lnTo>
                  <a:lnTo>
                    <a:pt x="506" y="152"/>
                  </a:lnTo>
                  <a:lnTo>
                    <a:pt x="506" y="156"/>
                  </a:lnTo>
                  <a:close/>
                  <a:moveTo>
                    <a:pt x="40" y="200"/>
                  </a:moveTo>
                  <a:lnTo>
                    <a:pt x="40" y="196"/>
                  </a:lnTo>
                  <a:lnTo>
                    <a:pt x="40" y="200"/>
                  </a:lnTo>
                  <a:close/>
                  <a:moveTo>
                    <a:pt x="698" y="898"/>
                  </a:moveTo>
                  <a:lnTo>
                    <a:pt x="698" y="894"/>
                  </a:lnTo>
                  <a:lnTo>
                    <a:pt x="698" y="898"/>
                  </a:lnTo>
                  <a:close/>
                  <a:moveTo>
                    <a:pt x="447" y="4"/>
                  </a:moveTo>
                  <a:lnTo>
                    <a:pt x="447" y="0"/>
                  </a:lnTo>
                  <a:lnTo>
                    <a:pt x="447" y="4"/>
                  </a:lnTo>
                  <a:close/>
                  <a:moveTo>
                    <a:pt x="447" y="12"/>
                  </a:moveTo>
                  <a:lnTo>
                    <a:pt x="443" y="12"/>
                  </a:lnTo>
                  <a:lnTo>
                    <a:pt x="443" y="8"/>
                  </a:lnTo>
                  <a:lnTo>
                    <a:pt x="447" y="8"/>
                  </a:lnTo>
                  <a:lnTo>
                    <a:pt x="447" y="12"/>
                  </a:lnTo>
                  <a:close/>
                  <a:moveTo>
                    <a:pt x="359" y="24"/>
                  </a:moveTo>
                  <a:lnTo>
                    <a:pt x="363" y="20"/>
                  </a:lnTo>
                  <a:lnTo>
                    <a:pt x="363" y="16"/>
                  </a:lnTo>
                  <a:lnTo>
                    <a:pt x="363" y="20"/>
                  </a:lnTo>
                  <a:lnTo>
                    <a:pt x="359" y="24"/>
                  </a:lnTo>
                  <a:close/>
                  <a:moveTo>
                    <a:pt x="299" y="24"/>
                  </a:moveTo>
                  <a:lnTo>
                    <a:pt x="299" y="20"/>
                  </a:lnTo>
                  <a:lnTo>
                    <a:pt x="299" y="16"/>
                  </a:lnTo>
                  <a:lnTo>
                    <a:pt x="299" y="20"/>
                  </a:lnTo>
                  <a:lnTo>
                    <a:pt x="299" y="24"/>
                  </a:lnTo>
                  <a:close/>
                  <a:moveTo>
                    <a:pt x="275" y="32"/>
                  </a:moveTo>
                  <a:lnTo>
                    <a:pt x="271" y="32"/>
                  </a:lnTo>
                  <a:lnTo>
                    <a:pt x="267" y="28"/>
                  </a:lnTo>
                  <a:lnTo>
                    <a:pt x="267" y="24"/>
                  </a:lnTo>
                  <a:lnTo>
                    <a:pt x="267" y="20"/>
                  </a:lnTo>
                  <a:lnTo>
                    <a:pt x="271" y="24"/>
                  </a:lnTo>
                  <a:lnTo>
                    <a:pt x="275" y="24"/>
                  </a:lnTo>
                  <a:lnTo>
                    <a:pt x="275" y="20"/>
                  </a:lnTo>
                  <a:lnTo>
                    <a:pt x="275" y="24"/>
                  </a:lnTo>
                  <a:lnTo>
                    <a:pt x="275" y="20"/>
                  </a:lnTo>
                  <a:lnTo>
                    <a:pt x="279" y="20"/>
                  </a:lnTo>
                  <a:lnTo>
                    <a:pt x="279" y="24"/>
                  </a:lnTo>
                  <a:lnTo>
                    <a:pt x="279" y="20"/>
                  </a:lnTo>
                  <a:lnTo>
                    <a:pt x="283" y="20"/>
                  </a:lnTo>
                  <a:lnTo>
                    <a:pt x="283" y="24"/>
                  </a:lnTo>
                  <a:lnTo>
                    <a:pt x="283" y="28"/>
                  </a:lnTo>
                  <a:lnTo>
                    <a:pt x="279" y="28"/>
                  </a:lnTo>
                  <a:lnTo>
                    <a:pt x="279" y="32"/>
                  </a:lnTo>
                  <a:lnTo>
                    <a:pt x="275" y="32"/>
                  </a:lnTo>
                  <a:close/>
                  <a:moveTo>
                    <a:pt x="267" y="32"/>
                  </a:moveTo>
                  <a:lnTo>
                    <a:pt x="263" y="32"/>
                  </a:lnTo>
                  <a:lnTo>
                    <a:pt x="259" y="32"/>
                  </a:lnTo>
                  <a:lnTo>
                    <a:pt x="263" y="28"/>
                  </a:lnTo>
                  <a:lnTo>
                    <a:pt x="263" y="24"/>
                  </a:lnTo>
                  <a:lnTo>
                    <a:pt x="267" y="24"/>
                  </a:lnTo>
                  <a:lnTo>
                    <a:pt x="267" y="28"/>
                  </a:lnTo>
                  <a:lnTo>
                    <a:pt x="271" y="28"/>
                  </a:lnTo>
                  <a:lnTo>
                    <a:pt x="271" y="32"/>
                  </a:lnTo>
                  <a:lnTo>
                    <a:pt x="267" y="32"/>
                  </a:lnTo>
                  <a:close/>
                  <a:moveTo>
                    <a:pt x="355" y="28"/>
                  </a:moveTo>
                  <a:lnTo>
                    <a:pt x="359" y="24"/>
                  </a:lnTo>
                  <a:lnTo>
                    <a:pt x="359" y="28"/>
                  </a:lnTo>
                  <a:lnTo>
                    <a:pt x="355" y="28"/>
                  </a:lnTo>
                  <a:close/>
                  <a:moveTo>
                    <a:pt x="367" y="76"/>
                  </a:moveTo>
                  <a:lnTo>
                    <a:pt x="363" y="76"/>
                  </a:lnTo>
                  <a:lnTo>
                    <a:pt x="359" y="76"/>
                  </a:lnTo>
                  <a:lnTo>
                    <a:pt x="359" y="72"/>
                  </a:lnTo>
                  <a:lnTo>
                    <a:pt x="359" y="68"/>
                  </a:lnTo>
                  <a:lnTo>
                    <a:pt x="363" y="64"/>
                  </a:lnTo>
                  <a:lnTo>
                    <a:pt x="363" y="68"/>
                  </a:lnTo>
                  <a:lnTo>
                    <a:pt x="367" y="68"/>
                  </a:lnTo>
                  <a:lnTo>
                    <a:pt x="363" y="68"/>
                  </a:lnTo>
                  <a:lnTo>
                    <a:pt x="363" y="72"/>
                  </a:lnTo>
                  <a:lnTo>
                    <a:pt x="363" y="76"/>
                  </a:lnTo>
                  <a:lnTo>
                    <a:pt x="367" y="76"/>
                  </a:lnTo>
                  <a:close/>
                  <a:moveTo>
                    <a:pt x="355" y="68"/>
                  </a:moveTo>
                  <a:lnTo>
                    <a:pt x="355" y="64"/>
                  </a:lnTo>
                  <a:lnTo>
                    <a:pt x="355" y="68"/>
                  </a:lnTo>
                  <a:close/>
                  <a:moveTo>
                    <a:pt x="187" y="84"/>
                  </a:moveTo>
                  <a:lnTo>
                    <a:pt x="187" y="80"/>
                  </a:lnTo>
                  <a:lnTo>
                    <a:pt x="187" y="84"/>
                  </a:lnTo>
                  <a:close/>
                  <a:moveTo>
                    <a:pt x="359" y="104"/>
                  </a:moveTo>
                  <a:lnTo>
                    <a:pt x="359" y="100"/>
                  </a:lnTo>
                  <a:lnTo>
                    <a:pt x="359" y="104"/>
                  </a:lnTo>
                  <a:close/>
                  <a:moveTo>
                    <a:pt x="367" y="104"/>
                  </a:moveTo>
                  <a:lnTo>
                    <a:pt x="367" y="100"/>
                  </a:lnTo>
                  <a:lnTo>
                    <a:pt x="367" y="104"/>
                  </a:lnTo>
                  <a:close/>
                  <a:moveTo>
                    <a:pt x="399" y="124"/>
                  </a:moveTo>
                  <a:lnTo>
                    <a:pt x="399" y="120"/>
                  </a:lnTo>
                  <a:lnTo>
                    <a:pt x="403" y="120"/>
                  </a:lnTo>
                  <a:lnTo>
                    <a:pt x="403" y="116"/>
                  </a:lnTo>
                  <a:lnTo>
                    <a:pt x="407" y="116"/>
                  </a:lnTo>
                  <a:lnTo>
                    <a:pt x="407" y="120"/>
                  </a:lnTo>
                  <a:lnTo>
                    <a:pt x="403" y="120"/>
                  </a:lnTo>
                  <a:lnTo>
                    <a:pt x="403" y="124"/>
                  </a:lnTo>
                  <a:lnTo>
                    <a:pt x="399" y="124"/>
                  </a:lnTo>
                  <a:close/>
                  <a:moveTo>
                    <a:pt x="582" y="256"/>
                  </a:moveTo>
                  <a:lnTo>
                    <a:pt x="582" y="252"/>
                  </a:lnTo>
                  <a:lnTo>
                    <a:pt x="578" y="252"/>
                  </a:lnTo>
                  <a:lnTo>
                    <a:pt x="578" y="248"/>
                  </a:lnTo>
                  <a:lnTo>
                    <a:pt x="582" y="252"/>
                  </a:lnTo>
                  <a:lnTo>
                    <a:pt x="582" y="256"/>
                  </a:lnTo>
                  <a:close/>
                  <a:moveTo>
                    <a:pt x="8" y="300"/>
                  </a:moveTo>
                  <a:lnTo>
                    <a:pt x="4" y="300"/>
                  </a:lnTo>
                  <a:lnTo>
                    <a:pt x="4" y="296"/>
                  </a:lnTo>
                  <a:lnTo>
                    <a:pt x="0" y="292"/>
                  </a:lnTo>
                  <a:lnTo>
                    <a:pt x="0" y="288"/>
                  </a:lnTo>
                  <a:lnTo>
                    <a:pt x="4" y="288"/>
                  </a:lnTo>
                  <a:lnTo>
                    <a:pt x="4" y="292"/>
                  </a:lnTo>
                  <a:lnTo>
                    <a:pt x="4" y="296"/>
                  </a:lnTo>
                  <a:lnTo>
                    <a:pt x="4" y="300"/>
                  </a:lnTo>
                  <a:lnTo>
                    <a:pt x="8" y="300"/>
                  </a:lnTo>
                  <a:close/>
                  <a:moveTo>
                    <a:pt x="614" y="323"/>
                  </a:moveTo>
                  <a:lnTo>
                    <a:pt x="614" y="319"/>
                  </a:lnTo>
                  <a:lnTo>
                    <a:pt x="614" y="323"/>
                  </a:lnTo>
                  <a:close/>
                  <a:moveTo>
                    <a:pt x="614" y="331"/>
                  </a:moveTo>
                  <a:lnTo>
                    <a:pt x="614" y="327"/>
                  </a:lnTo>
                  <a:lnTo>
                    <a:pt x="614" y="323"/>
                  </a:lnTo>
                  <a:lnTo>
                    <a:pt x="618" y="327"/>
                  </a:lnTo>
                  <a:lnTo>
                    <a:pt x="614" y="327"/>
                  </a:lnTo>
                  <a:lnTo>
                    <a:pt x="614" y="331"/>
                  </a:lnTo>
                  <a:close/>
                  <a:moveTo>
                    <a:pt x="379" y="491"/>
                  </a:moveTo>
                  <a:lnTo>
                    <a:pt x="383" y="491"/>
                  </a:lnTo>
                  <a:lnTo>
                    <a:pt x="383" y="495"/>
                  </a:lnTo>
                  <a:lnTo>
                    <a:pt x="379" y="491"/>
                  </a:lnTo>
                  <a:lnTo>
                    <a:pt x="375" y="495"/>
                  </a:lnTo>
                  <a:lnTo>
                    <a:pt x="371" y="495"/>
                  </a:lnTo>
                  <a:lnTo>
                    <a:pt x="367" y="495"/>
                  </a:lnTo>
                  <a:lnTo>
                    <a:pt x="363" y="495"/>
                  </a:lnTo>
                  <a:lnTo>
                    <a:pt x="359" y="495"/>
                  </a:lnTo>
                  <a:lnTo>
                    <a:pt x="359" y="491"/>
                  </a:lnTo>
                  <a:lnTo>
                    <a:pt x="367" y="487"/>
                  </a:lnTo>
                  <a:lnTo>
                    <a:pt x="371" y="487"/>
                  </a:lnTo>
                  <a:lnTo>
                    <a:pt x="375" y="487"/>
                  </a:lnTo>
                  <a:lnTo>
                    <a:pt x="375" y="491"/>
                  </a:lnTo>
                  <a:lnTo>
                    <a:pt x="379" y="491"/>
                  </a:lnTo>
                  <a:close/>
                  <a:moveTo>
                    <a:pt x="494" y="543"/>
                  </a:moveTo>
                  <a:lnTo>
                    <a:pt x="490" y="543"/>
                  </a:lnTo>
                  <a:lnTo>
                    <a:pt x="494" y="543"/>
                  </a:lnTo>
                  <a:close/>
                  <a:moveTo>
                    <a:pt x="494" y="547"/>
                  </a:moveTo>
                  <a:lnTo>
                    <a:pt x="490" y="547"/>
                  </a:lnTo>
                  <a:lnTo>
                    <a:pt x="494" y="547"/>
                  </a:lnTo>
                  <a:close/>
                  <a:moveTo>
                    <a:pt x="471" y="579"/>
                  </a:moveTo>
                  <a:lnTo>
                    <a:pt x="471" y="575"/>
                  </a:lnTo>
                  <a:lnTo>
                    <a:pt x="471" y="571"/>
                  </a:lnTo>
                  <a:lnTo>
                    <a:pt x="471" y="567"/>
                  </a:lnTo>
                  <a:lnTo>
                    <a:pt x="475" y="571"/>
                  </a:lnTo>
                  <a:lnTo>
                    <a:pt x="475" y="575"/>
                  </a:lnTo>
                  <a:lnTo>
                    <a:pt x="475" y="579"/>
                  </a:lnTo>
                  <a:lnTo>
                    <a:pt x="471" y="579"/>
                  </a:lnTo>
                  <a:close/>
                  <a:moveTo>
                    <a:pt x="538" y="587"/>
                  </a:moveTo>
                  <a:lnTo>
                    <a:pt x="534" y="587"/>
                  </a:lnTo>
                  <a:lnTo>
                    <a:pt x="534" y="583"/>
                  </a:lnTo>
                  <a:lnTo>
                    <a:pt x="538" y="583"/>
                  </a:lnTo>
                  <a:lnTo>
                    <a:pt x="538" y="587"/>
                  </a:lnTo>
                  <a:close/>
                  <a:moveTo>
                    <a:pt x="518" y="655"/>
                  </a:moveTo>
                  <a:lnTo>
                    <a:pt x="514" y="655"/>
                  </a:lnTo>
                  <a:lnTo>
                    <a:pt x="514" y="651"/>
                  </a:lnTo>
                  <a:lnTo>
                    <a:pt x="510" y="651"/>
                  </a:lnTo>
                  <a:lnTo>
                    <a:pt x="506" y="651"/>
                  </a:lnTo>
                  <a:lnTo>
                    <a:pt x="502" y="651"/>
                  </a:lnTo>
                  <a:lnTo>
                    <a:pt x="502" y="647"/>
                  </a:lnTo>
                  <a:lnTo>
                    <a:pt x="506" y="647"/>
                  </a:lnTo>
                  <a:lnTo>
                    <a:pt x="502" y="647"/>
                  </a:lnTo>
                  <a:lnTo>
                    <a:pt x="498" y="647"/>
                  </a:lnTo>
                  <a:lnTo>
                    <a:pt x="498" y="643"/>
                  </a:lnTo>
                  <a:lnTo>
                    <a:pt x="498" y="639"/>
                  </a:lnTo>
                  <a:lnTo>
                    <a:pt x="494" y="639"/>
                  </a:lnTo>
                  <a:lnTo>
                    <a:pt x="494" y="635"/>
                  </a:lnTo>
                  <a:lnTo>
                    <a:pt x="494" y="631"/>
                  </a:lnTo>
                  <a:lnTo>
                    <a:pt x="490" y="631"/>
                  </a:lnTo>
                  <a:lnTo>
                    <a:pt x="490" y="627"/>
                  </a:lnTo>
                  <a:lnTo>
                    <a:pt x="490" y="623"/>
                  </a:lnTo>
                  <a:lnTo>
                    <a:pt x="490" y="627"/>
                  </a:lnTo>
                  <a:lnTo>
                    <a:pt x="494" y="627"/>
                  </a:lnTo>
                  <a:lnTo>
                    <a:pt x="494" y="631"/>
                  </a:lnTo>
                  <a:lnTo>
                    <a:pt x="494" y="627"/>
                  </a:lnTo>
                  <a:lnTo>
                    <a:pt x="490" y="623"/>
                  </a:lnTo>
                  <a:lnTo>
                    <a:pt x="490" y="619"/>
                  </a:lnTo>
                  <a:lnTo>
                    <a:pt x="486" y="615"/>
                  </a:lnTo>
                  <a:lnTo>
                    <a:pt x="486" y="611"/>
                  </a:lnTo>
                  <a:lnTo>
                    <a:pt x="483" y="607"/>
                  </a:lnTo>
                  <a:lnTo>
                    <a:pt x="483" y="603"/>
                  </a:lnTo>
                  <a:lnTo>
                    <a:pt x="483" y="599"/>
                  </a:lnTo>
                  <a:lnTo>
                    <a:pt x="483" y="595"/>
                  </a:lnTo>
                  <a:lnTo>
                    <a:pt x="483" y="591"/>
                  </a:lnTo>
                  <a:lnTo>
                    <a:pt x="486" y="591"/>
                  </a:lnTo>
                  <a:lnTo>
                    <a:pt x="486" y="595"/>
                  </a:lnTo>
                  <a:lnTo>
                    <a:pt x="490" y="595"/>
                  </a:lnTo>
                  <a:lnTo>
                    <a:pt x="494" y="595"/>
                  </a:lnTo>
                  <a:lnTo>
                    <a:pt x="498" y="599"/>
                  </a:lnTo>
                  <a:lnTo>
                    <a:pt x="502" y="599"/>
                  </a:lnTo>
                  <a:lnTo>
                    <a:pt x="506" y="603"/>
                  </a:lnTo>
                  <a:lnTo>
                    <a:pt x="510" y="603"/>
                  </a:lnTo>
                  <a:lnTo>
                    <a:pt x="514" y="599"/>
                  </a:lnTo>
                  <a:lnTo>
                    <a:pt x="514" y="603"/>
                  </a:lnTo>
                  <a:lnTo>
                    <a:pt x="518" y="603"/>
                  </a:lnTo>
                  <a:lnTo>
                    <a:pt x="518" y="599"/>
                  </a:lnTo>
                  <a:lnTo>
                    <a:pt x="514" y="599"/>
                  </a:lnTo>
                  <a:lnTo>
                    <a:pt x="518" y="599"/>
                  </a:lnTo>
                  <a:lnTo>
                    <a:pt x="522" y="599"/>
                  </a:lnTo>
                  <a:lnTo>
                    <a:pt x="526" y="599"/>
                  </a:lnTo>
                  <a:lnTo>
                    <a:pt x="526" y="595"/>
                  </a:lnTo>
                  <a:lnTo>
                    <a:pt x="530" y="595"/>
                  </a:lnTo>
                  <a:lnTo>
                    <a:pt x="534" y="591"/>
                  </a:lnTo>
                  <a:lnTo>
                    <a:pt x="534" y="595"/>
                  </a:lnTo>
                  <a:lnTo>
                    <a:pt x="538" y="595"/>
                  </a:lnTo>
                  <a:lnTo>
                    <a:pt x="538" y="599"/>
                  </a:lnTo>
                  <a:lnTo>
                    <a:pt x="538" y="603"/>
                  </a:lnTo>
                  <a:lnTo>
                    <a:pt x="538" y="607"/>
                  </a:lnTo>
                  <a:lnTo>
                    <a:pt x="538" y="611"/>
                  </a:lnTo>
                  <a:lnTo>
                    <a:pt x="538" y="615"/>
                  </a:lnTo>
                  <a:lnTo>
                    <a:pt x="538" y="619"/>
                  </a:lnTo>
                  <a:lnTo>
                    <a:pt x="538" y="623"/>
                  </a:lnTo>
                  <a:lnTo>
                    <a:pt x="538" y="619"/>
                  </a:lnTo>
                  <a:lnTo>
                    <a:pt x="534" y="619"/>
                  </a:lnTo>
                  <a:lnTo>
                    <a:pt x="534" y="623"/>
                  </a:lnTo>
                  <a:lnTo>
                    <a:pt x="534" y="631"/>
                  </a:lnTo>
                  <a:lnTo>
                    <a:pt x="530" y="631"/>
                  </a:lnTo>
                  <a:lnTo>
                    <a:pt x="530" y="635"/>
                  </a:lnTo>
                  <a:lnTo>
                    <a:pt x="530" y="639"/>
                  </a:lnTo>
                  <a:lnTo>
                    <a:pt x="530" y="635"/>
                  </a:lnTo>
                  <a:lnTo>
                    <a:pt x="534" y="639"/>
                  </a:lnTo>
                  <a:lnTo>
                    <a:pt x="530" y="643"/>
                  </a:lnTo>
                  <a:lnTo>
                    <a:pt x="534" y="643"/>
                  </a:lnTo>
                  <a:lnTo>
                    <a:pt x="530" y="643"/>
                  </a:lnTo>
                  <a:lnTo>
                    <a:pt x="530" y="647"/>
                  </a:lnTo>
                  <a:lnTo>
                    <a:pt x="526" y="643"/>
                  </a:lnTo>
                  <a:lnTo>
                    <a:pt x="526" y="639"/>
                  </a:lnTo>
                  <a:lnTo>
                    <a:pt x="530" y="639"/>
                  </a:lnTo>
                  <a:lnTo>
                    <a:pt x="530" y="643"/>
                  </a:lnTo>
                  <a:lnTo>
                    <a:pt x="530" y="639"/>
                  </a:lnTo>
                  <a:lnTo>
                    <a:pt x="526" y="635"/>
                  </a:lnTo>
                  <a:lnTo>
                    <a:pt x="526" y="639"/>
                  </a:lnTo>
                  <a:lnTo>
                    <a:pt x="522" y="639"/>
                  </a:lnTo>
                  <a:lnTo>
                    <a:pt x="522" y="635"/>
                  </a:lnTo>
                  <a:lnTo>
                    <a:pt x="522" y="639"/>
                  </a:lnTo>
                  <a:lnTo>
                    <a:pt x="522" y="643"/>
                  </a:lnTo>
                  <a:lnTo>
                    <a:pt x="522" y="647"/>
                  </a:lnTo>
                  <a:lnTo>
                    <a:pt x="518" y="647"/>
                  </a:lnTo>
                  <a:lnTo>
                    <a:pt x="518" y="643"/>
                  </a:lnTo>
                  <a:lnTo>
                    <a:pt x="518" y="647"/>
                  </a:lnTo>
                  <a:lnTo>
                    <a:pt x="518" y="651"/>
                  </a:lnTo>
                  <a:lnTo>
                    <a:pt x="518" y="655"/>
                  </a:lnTo>
                  <a:close/>
                  <a:moveTo>
                    <a:pt x="522" y="647"/>
                  </a:moveTo>
                  <a:lnTo>
                    <a:pt x="522" y="643"/>
                  </a:lnTo>
                  <a:lnTo>
                    <a:pt x="522" y="647"/>
                  </a:lnTo>
                  <a:close/>
                  <a:moveTo>
                    <a:pt x="522" y="651"/>
                  </a:moveTo>
                  <a:lnTo>
                    <a:pt x="518" y="651"/>
                  </a:lnTo>
                  <a:lnTo>
                    <a:pt x="522" y="647"/>
                  </a:lnTo>
                  <a:lnTo>
                    <a:pt x="522" y="65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4" name="Freeform 182"/>
            <p:cNvSpPr>
              <a:spLocks noEditPoints="1"/>
            </p:cNvSpPr>
            <p:nvPr>
              <p:custDataLst>
                <p:tags r:id="rId377"/>
              </p:custDataLst>
            </p:nvPr>
          </p:nvSpPr>
          <p:spPr bwMode="gray">
            <a:xfrm>
              <a:off x="1920107" y="5072018"/>
              <a:ext cx="965474" cy="1171620"/>
            </a:xfrm>
            <a:custGeom>
              <a:avLst/>
              <a:gdLst/>
              <a:ahLst/>
              <a:cxnLst>
                <a:cxn ang="0">
                  <a:pos x="559" y="475"/>
                </a:cxn>
                <a:cxn ang="0">
                  <a:pos x="547" y="419"/>
                </a:cxn>
                <a:cxn ang="0">
                  <a:pos x="563" y="343"/>
                </a:cxn>
                <a:cxn ang="0">
                  <a:pos x="575" y="247"/>
                </a:cxn>
                <a:cxn ang="0">
                  <a:pos x="591" y="152"/>
                </a:cxn>
                <a:cxn ang="0">
                  <a:pos x="595" y="64"/>
                </a:cxn>
                <a:cxn ang="0">
                  <a:pos x="615" y="32"/>
                </a:cxn>
                <a:cxn ang="0">
                  <a:pos x="643" y="104"/>
                </a:cxn>
                <a:cxn ang="0">
                  <a:pos x="611" y="191"/>
                </a:cxn>
                <a:cxn ang="0">
                  <a:pos x="591" y="275"/>
                </a:cxn>
                <a:cxn ang="0">
                  <a:pos x="591" y="363"/>
                </a:cxn>
                <a:cxn ang="0">
                  <a:pos x="571" y="443"/>
                </a:cxn>
                <a:cxn ang="0">
                  <a:pos x="571" y="519"/>
                </a:cxn>
                <a:cxn ang="0">
                  <a:pos x="571" y="575"/>
                </a:cxn>
                <a:cxn ang="0">
                  <a:pos x="543" y="646"/>
                </a:cxn>
                <a:cxn ang="0">
                  <a:pos x="599" y="702"/>
                </a:cxn>
                <a:cxn ang="0">
                  <a:pos x="563" y="738"/>
                </a:cxn>
                <a:cxn ang="0">
                  <a:pos x="555" y="730"/>
                </a:cxn>
                <a:cxn ang="0">
                  <a:pos x="555" y="714"/>
                </a:cxn>
                <a:cxn ang="0">
                  <a:pos x="551" y="706"/>
                </a:cxn>
                <a:cxn ang="0">
                  <a:pos x="559" y="694"/>
                </a:cxn>
                <a:cxn ang="0">
                  <a:pos x="539" y="686"/>
                </a:cxn>
                <a:cxn ang="0">
                  <a:pos x="539" y="662"/>
                </a:cxn>
                <a:cxn ang="0">
                  <a:pos x="535" y="642"/>
                </a:cxn>
                <a:cxn ang="0">
                  <a:pos x="547" y="614"/>
                </a:cxn>
                <a:cxn ang="0">
                  <a:pos x="531" y="587"/>
                </a:cxn>
                <a:cxn ang="0">
                  <a:pos x="523" y="571"/>
                </a:cxn>
                <a:cxn ang="0">
                  <a:pos x="543" y="575"/>
                </a:cxn>
                <a:cxn ang="0">
                  <a:pos x="547" y="531"/>
                </a:cxn>
                <a:cxn ang="0">
                  <a:pos x="535" y="531"/>
                </a:cxn>
                <a:cxn ang="0">
                  <a:pos x="535" y="686"/>
                </a:cxn>
                <a:cxn ang="0">
                  <a:pos x="543" y="503"/>
                </a:cxn>
                <a:cxn ang="0">
                  <a:pos x="539" y="495"/>
                </a:cxn>
                <a:cxn ang="0">
                  <a:pos x="539" y="527"/>
                </a:cxn>
                <a:cxn ang="0">
                  <a:pos x="535" y="535"/>
                </a:cxn>
                <a:cxn ang="0">
                  <a:pos x="535" y="543"/>
                </a:cxn>
                <a:cxn ang="0">
                  <a:pos x="527" y="551"/>
                </a:cxn>
                <a:cxn ang="0">
                  <a:pos x="535" y="563"/>
                </a:cxn>
                <a:cxn ang="0">
                  <a:pos x="531" y="610"/>
                </a:cxn>
                <a:cxn ang="0">
                  <a:pos x="511" y="610"/>
                </a:cxn>
                <a:cxn ang="0">
                  <a:pos x="527" y="614"/>
                </a:cxn>
                <a:cxn ang="0">
                  <a:pos x="527" y="654"/>
                </a:cxn>
                <a:cxn ang="0">
                  <a:pos x="519" y="638"/>
                </a:cxn>
                <a:cxn ang="0">
                  <a:pos x="515" y="638"/>
                </a:cxn>
                <a:cxn ang="0">
                  <a:pos x="515" y="658"/>
                </a:cxn>
                <a:cxn ang="0">
                  <a:pos x="515" y="674"/>
                </a:cxn>
                <a:cxn ang="0">
                  <a:pos x="519" y="686"/>
                </a:cxn>
                <a:cxn ang="0">
                  <a:pos x="523" y="694"/>
                </a:cxn>
                <a:cxn ang="0">
                  <a:pos x="523" y="702"/>
                </a:cxn>
                <a:cxn ang="0">
                  <a:pos x="539" y="706"/>
                </a:cxn>
                <a:cxn ang="0">
                  <a:pos x="579" y="758"/>
                </a:cxn>
                <a:cxn ang="0">
                  <a:pos x="587" y="754"/>
                </a:cxn>
                <a:cxn ang="0">
                  <a:pos x="599" y="738"/>
                </a:cxn>
                <a:cxn ang="0">
                  <a:pos x="619" y="746"/>
                </a:cxn>
                <a:cxn ang="0">
                  <a:pos x="543" y="718"/>
                </a:cxn>
                <a:cxn ang="0">
                  <a:pos x="559" y="738"/>
                </a:cxn>
                <a:cxn ang="0">
                  <a:pos x="591" y="734"/>
                </a:cxn>
                <a:cxn ang="0">
                  <a:pos x="575" y="754"/>
                </a:cxn>
                <a:cxn ang="0">
                  <a:pos x="591" y="766"/>
                </a:cxn>
                <a:cxn ang="0">
                  <a:pos x="639" y="766"/>
                </a:cxn>
                <a:cxn ang="0">
                  <a:pos x="615" y="774"/>
                </a:cxn>
                <a:cxn ang="0">
                  <a:pos x="623" y="774"/>
                </a:cxn>
                <a:cxn ang="0">
                  <a:pos x="635" y="790"/>
                </a:cxn>
              </a:cxnLst>
              <a:rect l="0" t="0" r="r" b="b"/>
              <a:pathLst>
                <a:path w="651" h="790">
                  <a:moveTo>
                    <a:pt x="551" y="519"/>
                  </a:moveTo>
                  <a:lnTo>
                    <a:pt x="551" y="515"/>
                  </a:lnTo>
                  <a:lnTo>
                    <a:pt x="551" y="511"/>
                  </a:lnTo>
                  <a:lnTo>
                    <a:pt x="551" y="507"/>
                  </a:lnTo>
                  <a:lnTo>
                    <a:pt x="551" y="503"/>
                  </a:lnTo>
                  <a:lnTo>
                    <a:pt x="555" y="503"/>
                  </a:lnTo>
                  <a:lnTo>
                    <a:pt x="555" y="507"/>
                  </a:lnTo>
                  <a:lnTo>
                    <a:pt x="555" y="503"/>
                  </a:lnTo>
                  <a:lnTo>
                    <a:pt x="555" y="499"/>
                  </a:lnTo>
                  <a:lnTo>
                    <a:pt x="555" y="495"/>
                  </a:lnTo>
                  <a:lnTo>
                    <a:pt x="559" y="495"/>
                  </a:lnTo>
                  <a:lnTo>
                    <a:pt x="555" y="495"/>
                  </a:lnTo>
                  <a:lnTo>
                    <a:pt x="555" y="491"/>
                  </a:lnTo>
                  <a:lnTo>
                    <a:pt x="555" y="487"/>
                  </a:lnTo>
                  <a:lnTo>
                    <a:pt x="559" y="487"/>
                  </a:lnTo>
                  <a:lnTo>
                    <a:pt x="559" y="491"/>
                  </a:lnTo>
                  <a:lnTo>
                    <a:pt x="559" y="487"/>
                  </a:lnTo>
                  <a:lnTo>
                    <a:pt x="559" y="483"/>
                  </a:lnTo>
                  <a:lnTo>
                    <a:pt x="555" y="483"/>
                  </a:lnTo>
                  <a:lnTo>
                    <a:pt x="551" y="483"/>
                  </a:lnTo>
                  <a:lnTo>
                    <a:pt x="555" y="483"/>
                  </a:lnTo>
                  <a:lnTo>
                    <a:pt x="555" y="479"/>
                  </a:lnTo>
                  <a:lnTo>
                    <a:pt x="559" y="479"/>
                  </a:lnTo>
                  <a:lnTo>
                    <a:pt x="559" y="475"/>
                  </a:lnTo>
                  <a:lnTo>
                    <a:pt x="563" y="475"/>
                  </a:lnTo>
                  <a:lnTo>
                    <a:pt x="563" y="471"/>
                  </a:lnTo>
                  <a:lnTo>
                    <a:pt x="559" y="471"/>
                  </a:lnTo>
                  <a:lnTo>
                    <a:pt x="559" y="475"/>
                  </a:lnTo>
                  <a:lnTo>
                    <a:pt x="555" y="475"/>
                  </a:lnTo>
                  <a:lnTo>
                    <a:pt x="555" y="471"/>
                  </a:lnTo>
                  <a:lnTo>
                    <a:pt x="551" y="471"/>
                  </a:lnTo>
                  <a:lnTo>
                    <a:pt x="551" y="475"/>
                  </a:lnTo>
                  <a:lnTo>
                    <a:pt x="547" y="479"/>
                  </a:lnTo>
                  <a:lnTo>
                    <a:pt x="543" y="479"/>
                  </a:lnTo>
                  <a:lnTo>
                    <a:pt x="539" y="479"/>
                  </a:lnTo>
                  <a:lnTo>
                    <a:pt x="539" y="475"/>
                  </a:lnTo>
                  <a:lnTo>
                    <a:pt x="543" y="475"/>
                  </a:lnTo>
                  <a:lnTo>
                    <a:pt x="543" y="471"/>
                  </a:lnTo>
                  <a:lnTo>
                    <a:pt x="543" y="475"/>
                  </a:lnTo>
                  <a:lnTo>
                    <a:pt x="539" y="475"/>
                  </a:lnTo>
                  <a:lnTo>
                    <a:pt x="539" y="471"/>
                  </a:lnTo>
                  <a:lnTo>
                    <a:pt x="539" y="467"/>
                  </a:lnTo>
                  <a:lnTo>
                    <a:pt x="535" y="467"/>
                  </a:lnTo>
                  <a:lnTo>
                    <a:pt x="535" y="463"/>
                  </a:lnTo>
                  <a:lnTo>
                    <a:pt x="535" y="459"/>
                  </a:lnTo>
                  <a:lnTo>
                    <a:pt x="539" y="455"/>
                  </a:lnTo>
                  <a:lnTo>
                    <a:pt x="539" y="451"/>
                  </a:lnTo>
                  <a:lnTo>
                    <a:pt x="539" y="443"/>
                  </a:lnTo>
                  <a:lnTo>
                    <a:pt x="539" y="439"/>
                  </a:lnTo>
                  <a:lnTo>
                    <a:pt x="543" y="439"/>
                  </a:lnTo>
                  <a:lnTo>
                    <a:pt x="547" y="439"/>
                  </a:lnTo>
                  <a:lnTo>
                    <a:pt x="547" y="435"/>
                  </a:lnTo>
                  <a:lnTo>
                    <a:pt x="547" y="431"/>
                  </a:lnTo>
                  <a:lnTo>
                    <a:pt x="547" y="427"/>
                  </a:lnTo>
                  <a:lnTo>
                    <a:pt x="547" y="423"/>
                  </a:lnTo>
                  <a:lnTo>
                    <a:pt x="547" y="419"/>
                  </a:lnTo>
                  <a:lnTo>
                    <a:pt x="543" y="415"/>
                  </a:lnTo>
                  <a:lnTo>
                    <a:pt x="543" y="411"/>
                  </a:lnTo>
                  <a:lnTo>
                    <a:pt x="543" y="407"/>
                  </a:lnTo>
                  <a:lnTo>
                    <a:pt x="543" y="403"/>
                  </a:lnTo>
                  <a:lnTo>
                    <a:pt x="543" y="399"/>
                  </a:lnTo>
                  <a:lnTo>
                    <a:pt x="543" y="395"/>
                  </a:lnTo>
                  <a:lnTo>
                    <a:pt x="539" y="395"/>
                  </a:lnTo>
                  <a:lnTo>
                    <a:pt x="539" y="391"/>
                  </a:lnTo>
                  <a:lnTo>
                    <a:pt x="543" y="391"/>
                  </a:lnTo>
                  <a:lnTo>
                    <a:pt x="543" y="387"/>
                  </a:lnTo>
                  <a:lnTo>
                    <a:pt x="539" y="387"/>
                  </a:lnTo>
                  <a:lnTo>
                    <a:pt x="543" y="383"/>
                  </a:lnTo>
                  <a:lnTo>
                    <a:pt x="547" y="383"/>
                  </a:lnTo>
                  <a:lnTo>
                    <a:pt x="547" y="379"/>
                  </a:lnTo>
                  <a:lnTo>
                    <a:pt x="547" y="375"/>
                  </a:lnTo>
                  <a:lnTo>
                    <a:pt x="551" y="375"/>
                  </a:lnTo>
                  <a:lnTo>
                    <a:pt x="551" y="371"/>
                  </a:lnTo>
                  <a:lnTo>
                    <a:pt x="551" y="367"/>
                  </a:lnTo>
                  <a:lnTo>
                    <a:pt x="555" y="367"/>
                  </a:lnTo>
                  <a:lnTo>
                    <a:pt x="555" y="363"/>
                  </a:lnTo>
                  <a:lnTo>
                    <a:pt x="555" y="359"/>
                  </a:lnTo>
                  <a:lnTo>
                    <a:pt x="555" y="355"/>
                  </a:lnTo>
                  <a:lnTo>
                    <a:pt x="559" y="355"/>
                  </a:lnTo>
                  <a:lnTo>
                    <a:pt x="555" y="351"/>
                  </a:lnTo>
                  <a:lnTo>
                    <a:pt x="559" y="351"/>
                  </a:lnTo>
                  <a:lnTo>
                    <a:pt x="559" y="347"/>
                  </a:lnTo>
                  <a:lnTo>
                    <a:pt x="559" y="343"/>
                  </a:lnTo>
                  <a:lnTo>
                    <a:pt x="563" y="343"/>
                  </a:lnTo>
                  <a:lnTo>
                    <a:pt x="563" y="339"/>
                  </a:lnTo>
                  <a:lnTo>
                    <a:pt x="563" y="335"/>
                  </a:lnTo>
                  <a:lnTo>
                    <a:pt x="567" y="331"/>
                  </a:lnTo>
                  <a:lnTo>
                    <a:pt x="567" y="327"/>
                  </a:lnTo>
                  <a:lnTo>
                    <a:pt x="567" y="323"/>
                  </a:lnTo>
                  <a:lnTo>
                    <a:pt x="567" y="319"/>
                  </a:lnTo>
                  <a:lnTo>
                    <a:pt x="567" y="315"/>
                  </a:lnTo>
                  <a:lnTo>
                    <a:pt x="571" y="315"/>
                  </a:lnTo>
                  <a:lnTo>
                    <a:pt x="571" y="311"/>
                  </a:lnTo>
                  <a:lnTo>
                    <a:pt x="571" y="307"/>
                  </a:lnTo>
                  <a:lnTo>
                    <a:pt x="571" y="303"/>
                  </a:lnTo>
                  <a:lnTo>
                    <a:pt x="571" y="299"/>
                  </a:lnTo>
                  <a:lnTo>
                    <a:pt x="575" y="295"/>
                  </a:lnTo>
                  <a:lnTo>
                    <a:pt x="575" y="291"/>
                  </a:lnTo>
                  <a:lnTo>
                    <a:pt x="575" y="287"/>
                  </a:lnTo>
                  <a:lnTo>
                    <a:pt x="575" y="283"/>
                  </a:lnTo>
                  <a:lnTo>
                    <a:pt x="575" y="279"/>
                  </a:lnTo>
                  <a:lnTo>
                    <a:pt x="575" y="275"/>
                  </a:lnTo>
                  <a:lnTo>
                    <a:pt x="571" y="271"/>
                  </a:lnTo>
                  <a:lnTo>
                    <a:pt x="571" y="267"/>
                  </a:lnTo>
                  <a:lnTo>
                    <a:pt x="571" y="263"/>
                  </a:lnTo>
                  <a:lnTo>
                    <a:pt x="571" y="259"/>
                  </a:lnTo>
                  <a:lnTo>
                    <a:pt x="571" y="255"/>
                  </a:lnTo>
                  <a:lnTo>
                    <a:pt x="571" y="251"/>
                  </a:lnTo>
                  <a:lnTo>
                    <a:pt x="571" y="247"/>
                  </a:lnTo>
                  <a:lnTo>
                    <a:pt x="571" y="243"/>
                  </a:lnTo>
                  <a:lnTo>
                    <a:pt x="571" y="247"/>
                  </a:lnTo>
                  <a:lnTo>
                    <a:pt x="575" y="247"/>
                  </a:lnTo>
                  <a:lnTo>
                    <a:pt x="575" y="243"/>
                  </a:lnTo>
                  <a:lnTo>
                    <a:pt x="575" y="239"/>
                  </a:lnTo>
                  <a:lnTo>
                    <a:pt x="575" y="235"/>
                  </a:lnTo>
                  <a:lnTo>
                    <a:pt x="575" y="231"/>
                  </a:lnTo>
                  <a:lnTo>
                    <a:pt x="575" y="227"/>
                  </a:lnTo>
                  <a:lnTo>
                    <a:pt x="575" y="223"/>
                  </a:lnTo>
                  <a:lnTo>
                    <a:pt x="575" y="219"/>
                  </a:lnTo>
                  <a:lnTo>
                    <a:pt x="575" y="215"/>
                  </a:lnTo>
                  <a:lnTo>
                    <a:pt x="575" y="211"/>
                  </a:lnTo>
                  <a:lnTo>
                    <a:pt x="579" y="211"/>
                  </a:lnTo>
                  <a:lnTo>
                    <a:pt x="579" y="207"/>
                  </a:lnTo>
                  <a:lnTo>
                    <a:pt x="579" y="203"/>
                  </a:lnTo>
                  <a:lnTo>
                    <a:pt x="579" y="199"/>
                  </a:lnTo>
                  <a:lnTo>
                    <a:pt x="579" y="195"/>
                  </a:lnTo>
                  <a:lnTo>
                    <a:pt x="583" y="195"/>
                  </a:lnTo>
                  <a:lnTo>
                    <a:pt x="583" y="191"/>
                  </a:lnTo>
                  <a:lnTo>
                    <a:pt x="583" y="187"/>
                  </a:lnTo>
                  <a:lnTo>
                    <a:pt x="583" y="183"/>
                  </a:lnTo>
                  <a:lnTo>
                    <a:pt x="583" y="179"/>
                  </a:lnTo>
                  <a:lnTo>
                    <a:pt x="583" y="175"/>
                  </a:lnTo>
                  <a:lnTo>
                    <a:pt x="587" y="175"/>
                  </a:lnTo>
                  <a:lnTo>
                    <a:pt x="587" y="171"/>
                  </a:lnTo>
                  <a:lnTo>
                    <a:pt x="587" y="168"/>
                  </a:lnTo>
                  <a:lnTo>
                    <a:pt x="587" y="164"/>
                  </a:lnTo>
                  <a:lnTo>
                    <a:pt x="587" y="160"/>
                  </a:lnTo>
                  <a:lnTo>
                    <a:pt x="587" y="156"/>
                  </a:lnTo>
                  <a:lnTo>
                    <a:pt x="587" y="152"/>
                  </a:lnTo>
                  <a:lnTo>
                    <a:pt x="591" y="152"/>
                  </a:lnTo>
                  <a:lnTo>
                    <a:pt x="591" y="148"/>
                  </a:lnTo>
                  <a:lnTo>
                    <a:pt x="587" y="144"/>
                  </a:lnTo>
                  <a:lnTo>
                    <a:pt x="587" y="140"/>
                  </a:lnTo>
                  <a:lnTo>
                    <a:pt x="587" y="136"/>
                  </a:lnTo>
                  <a:lnTo>
                    <a:pt x="587" y="132"/>
                  </a:lnTo>
                  <a:lnTo>
                    <a:pt x="587" y="128"/>
                  </a:lnTo>
                  <a:lnTo>
                    <a:pt x="587" y="124"/>
                  </a:lnTo>
                  <a:lnTo>
                    <a:pt x="587" y="120"/>
                  </a:lnTo>
                  <a:lnTo>
                    <a:pt x="591" y="120"/>
                  </a:lnTo>
                  <a:lnTo>
                    <a:pt x="591" y="116"/>
                  </a:lnTo>
                  <a:lnTo>
                    <a:pt x="591" y="112"/>
                  </a:lnTo>
                  <a:lnTo>
                    <a:pt x="587" y="112"/>
                  </a:lnTo>
                  <a:lnTo>
                    <a:pt x="587" y="116"/>
                  </a:lnTo>
                  <a:lnTo>
                    <a:pt x="587" y="112"/>
                  </a:lnTo>
                  <a:lnTo>
                    <a:pt x="587" y="108"/>
                  </a:lnTo>
                  <a:lnTo>
                    <a:pt x="587" y="104"/>
                  </a:lnTo>
                  <a:lnTo>
                    <a:pt x="587" y="108"/>
                  </a:lnTo>
                  <a:lnTo>
                    <a:pt x="591" y="108"/>
                  </a:lnTo>
                  <a:lnTo>
                    <a:pt x="591" y="104"/>
                  </a:lnTo>
                  <a:lnTo>
                    <a:pt x="591" y="100"/>
                  </a:lnTo>
                  <a:lnTo>
                    <a:pt x="591" y="96"/>
                  </a:lnTo>
                  <a:lnTo>
                    <a:pt x="591" y="92"/>
                  </a:lnTo>
                  <a:lnTo>
                    <a:pt x="595" y="88"/>
                  </a:lnTo>
                  <a:lnTo>
                    <a:pt x="595" y="80"/>
                  </a:lnTo>
                  <a:lnTo>
                    <a:pt x="595" y="76"/>
                  </a:lnTo>
                  <a:lnTo>
                    <a:pt x="595" y="72"/>
                  </a:lnTo>
                  <a:lnTo>
                    <a:pt x="595" y="68"/>
                  </a:lnTo>
                  <a:lnTo>
                    <a:pt x="595" y="64"/>
                  </a:lnTo>
                  <a:lnTo>
                    <a:pt x="595" y="56"/>
                  </a:lnTo>
                  <a:lnTo>
                    <a:pt x="595" y="52"/>
                  </a:lnTo>
                  <a:lnTo>
                    <a:pt x="595" y="48"/>
                  </a:lnTo>
                  <a:lnTo>
                    <a:pt x="595" y="44"/>
                  </a:lnTo>
                  <a:lnTo>
                    <a:pt x="595" y="40"/>
                  </a:lnTo>
                  <a:lnTo>
                    <a:pt x="591" y="36"/>
                  </a:lnTo>
                  <a:lnTo>
                    <a:pt x="591" y="32"/>
                  </a:lnTo>
                  <a:lnTo>
                    <a:pt x="591" y="28"/>
                  </a:lnTo>
                  <a:lnTo>
                    <a:pt x="591" y="24"/>
                  </a:lnTo>
                  <a:lnTo>
                    <a:pt x="591" y="20"/>
                  </a:lnTo>
                  <a:lnTo>
                    <a:pt x="591" y="16"/>
                  </a:lnTo>
                  <a:lnTo>
                    <a:pt x="595" y="16"/>
                  </a:lnTo>
                  <a:lnTo>
                    <a:pt x="599" y="16"/>
                  </a:lnTo>
                  <a:lnTo>
                    <a:pt x="599" y="12"/>
                  </a:lnTo>
                  <a:lnTo>
                    <a:pt x="599" y="8"/>
                  </a:lnTo>
                  <a:lnTo>
                    <a:pt x="599" y="4"/>
                  </a:lnTo>
                  <a:lnTo>
                    <a:pt x="603" y="4"/>
                  </a:lnTo>
                  <a:lnTo>
                    <a:pt x="603" y="0"/>
                  </a:lnTo>
                  <a:lnTo>
                    <a:pt x="603" y="4"/>
                  </a:lnTo>
                  <a:lnTo>
                    <a:pt x="607" y="4"/>
                  </a:lnTo>
                  <a:lnTo>
                    <a:pt x="607" y="8"/>
                  </a:lnTo>
                  <a:lnTo>
                    <a:pt x="607" y="12"/>
                  </a:lnTo>
                  <a:lnTo>
                    <a:pt x="611" y="12"/>
                  </a:lnTo>
                  <a:lnTo>
                    <a:pt x="611" y="16"/>
                  </a:lnTo>
                  <a:lnTo>
                    <a:pt x="611" y="20"/>
                  </a:lnTo>
                  <a:lnTo>
                    <a:pt x="611" y="24"/>
                  </a:lnTo>
                  <a:lnTo>
                    <a:pt x="611" y="28"/>
                  </a:lnTo>
                  <a:lnTo>
                    <a:pt x="615" y="32"/>
                  </a:lnTo>
                  <a:lnTo>
                    <a:pt x="615" y="36"/>
                  </a:lnTo>
                  <a:lnTo>
                    <a:pt x="619" y="36"/>
                  </a:lnTo>
                  <a:lnTo>
                    <a:pt x="619" y="40"/>
                  </a:lnTo>
                  <a:lnTo>
                    <a:pt x="615" y="44"/>
                  </a:lnTo>
                  <a:lnTo>
                    <a:pt x="619" y="44"/>
                  </a:lnTo>
                  <a:lnTo>
                    <a:pt x="619" y="48"/>
                  </a:lnTo>
                  <a:lnTo>
                    <a:pt x="615" y="48"/>
                  </a:lnTo>
                  <a:lnTo>
                    <a:pt x="615" y="52"/>
                  </a:lnTo>
                  <a:lnTo>
                    <a:pt x="615" y="56"/>
                  </a:lnTo>
                  <a:lnTo>
                    <a:pt x="615" y="60"/>
                  </a:lnTo>
                  <a:lnTo>
                    <a:pt x="619" y="60"/>
                  </a:lnTo>
                  <a:lnTo>
                    <a:pt x="619" y="64"/>
                  </a:lnTo>
                  <a:lnTo>
                    <a:pt x="619" y="68"/>
                  </a:lnTo>
                  <a:lnTo>
                    <a:pt x="619" y="64"/>
                  </a:lnTo>
                  <a:lnTo>
                    <a:pt x="623" y="72"/>
                  </a:lnTo>
                  <a:lnTo>
                    <a:pt x="623" y="80"/>
                  </a:lnTo>
                  <a:lnTo>
                    <a:pt x="627" y="80"/>
                  </a:lnTo>
                  <a:lnTo>
                    <a:pt x="627" y="84"/>
                  </a:lnTo>
                  <a:lnTo>
                    <a:pt x="627" y="88"/>
                  </a:lnTo>
                  <a:lnTo>
                    <a:pt x="627" y="92"/>
                  </a:lnTo>
                  <a:lnTo>
                    <a:pt x="627" y="96"/>
                  </a:lnTo>
                  <a:lnTo>
                    <a:pt x="631" y="96"/>
                  </a:lnTo>
                  <a:lnTo>
                    <a:pt x="627" y="100"/>
                  </a:lnTo>
                  <a:lnTo>
                    <a:pt x="631" y="104"/>
                  </a:lnTo>
                  <a:lnTo>
                    <a:pt x="635" y="104"/>
                  </a:lnTo>
                  <a:lnTo>
                    <a:pt x="639" y="100"/>
                  </a:lnTo>
                  <a:lnTo>
                    <a:pt x="639" y="104"/>
                  </a:lnTo>
                  <a:lnTo>
                    <a:pt x="643" y="104"/>
                  </a:lnTo>
                  <a:lnTo>
                    <a:pt x="643" y="108"/>
                  </a:lnTo>
                  <a:lnTo>
                    <a:pt x="639" y="108"/>
                  </a:lnTo>
                  <a:lnTo>
                    <a:pt x="639" y="112"/>
                  </a:lnTo>
                  <a:lnTo>
                    <a:pt x="639" y="116"/>
                  </a:lnTo>
                  <a:lnTo>
                    <a:pt x="639" y="120"/>
                  </a:lnTo>
                  <a:lnTo>
                    <a:pt x="635" y="124"/>
                  </a:lnTo>
                  <a:lnTo>
                    <a:pt x="635" y="128"/>
                  </a:lnTo>
                  <a:lnTo>
                    <a:pt x="631" y="128"/>
                  </a:lnTo>
                  <a:lnTo>
                    <a:pt x="627" y="128"/>
                  </a:lnTo>
                  <a:lnTo>
                    <a:pt x="623" y="132"/>
                  </a:lnTo>
                  <a:lnTo>
                    <a:pt x="619" y="132"/>
                  </a:lnTo>
                  <a:lnTo>
                    <a:pt x="619" y="136"/>
                  </a:lnTo>
                  <a:lnTo>
                    <a:pt x="619" y="140"/>
                  </a:lnTo>
                  <a:lnTo>
                    <a:pt x="623" y="144"/>
                  </a:lnTo>
                  <a:lnTo>
                    <a:pt x="619" y="148"/>
                  </a:lnTo>
                  <a:lnTo>
                    <a:pt x="619" y="152"/>
                  </a:lnTo>
                  <a:lnTo>
                    <a:pt x="619" y="156"/>
                  </a:lnTo>
                  <a:lnTo>
                    <a:pt x="619" y="160"/>
                  </a:lnTo>
                  <a:lnTo>
                    <a:pt x="619" y="164"/>
                  </a:lnTo>
                  <a:lnTo>
                    <a:pt x="619" y="168"/>
                  </a:lnTo>
                  <a:lnTo>
                    <a:pt x="619" y="171"/>
                  </a:lnTo>
                  <a:lnTo>
                    <a:pt x="619" y="175"/>
                  </a:lnTo>
                  <a:lnTo>
                    <a:pt x="623" y="179"/>
                  </a:lnTo>
                  <a:lnTo>
                    <a:pt x="623" y="183"/>
                  </a:lnTo>
                  <a:lnTo>
                    <a:pt x="619" y="183"/>
                  </a:lnTo>
                  <a:lnTo>
                    <a:pt x="615" y="183"/>
                  </a:lnTo>
                  <a:lnTo>
                    <a:pt x="615" y="187"/>
                  </a:lnTo>
                  <a:lnTo>
                    <a:pt x="611" y="191"/>
                  </a:lnTo>
                  <a:lnTo>
                    <a:pt x="611" y="195"/>
                  </a:lnTo>
                  <a:lnTo>
                    <a:pt x="611" y="199"/>
                  </a:lnTo>
                  <a:lnTo>
                    <a:pt x="607" y="199"/>
                  </a:lnTo>
                  <a:lnTo>
                    <a:pt x="607" y="203"/>
                  </a:lnTo>
                  <a:lnTo>
                    <a:pt x="603" y="207"/>
                  </a:lnTo>
                  <a:lnTo>
                    <a:pt x="603" y="211"/>
                  </a:lnTo>
                  <a:lnTo>
                    <a:pt x="599" y="211"/>
                  </a:lnTo>
                  <a:lnTo>
                    <a:pt x="599" y="215"/>
                  </a:lnTo>
                  <a:lnTo>
                    <a:pt x="599" y="219"/>
                  </a:lnTo>
                  <a:lnTo>
                    <a:pt x="599" y="223"/>
                  </a:lnTo>
                  <a:lnTo>
                    <a:pt x="595" y="227"/>
                  </a:lnTo>
                  <a:lnTo>
                    <a:pt x="595" y="231"/>
                  </a:lnTo>
                  <a:lnTo>
                    <a:pt x="599" y="231"/>
                  </a:lnTo>
                  <a:lnTo>
                    <a:pt x="595" y="231"/>
                  </a:lnTo>
                  <a:lnTo>
                    <a:pt x="599" y="235"/>
                  </a:lnTo>
                  <a:lnTo>
                    <a:pt x="599" y="239"/>
                  </a:lnTo>
                  <a:lnTo>
                    <a:pt x="599" y="243"/>
                  </a:lnTo>
                  <a:lnTo>
                    <a:pt x="599" y="247"/>
                  </a:lnTo>
                  <a:lnTo>
                    <a:pt x="595" y="247"/>
                  </a:lnTo>
                  <a:lnTo>
                    <a:pt x="595" y="251"/>
                  </a:lnTo>
                  <a:lnTo>
                    <a:pt x="591" y="251"/>
                  </a:lnTo>
                  <a:lnTo>
                    <a:pt x="591" y="255"/>
                  </a:lnTo>
                  <a:lnTo>
                    <a:pt x="591" y="259"/>
                  </a:lnTo>
                  <a:lnTo>
                    <a:pt x="591" y="263"/>
                  </a:lnTo>
                  <a:lnTo>
                    <a:pt x="587" y="263"/>
                  </a:lnTo>
                  <a:lnTo>
                    <a:pt x="587" y="267"/>
                  </a:lnTo>
                  <a:lnTo>
                    <a:pt x="587" y="271"/>
                  </a:lnTo>
                  <a:lnTo>
                    <a:pt x="591" y="275"/>
                  </a:lnTo>
                  <a:lnTo>
                    <a:pt x="591" y="279"/>
                  </a:lnTo>
                  <a:lnTo>
                    <a:pt x="591" y="283"/>
                  </a:lnTo>
                  <a:lnTo>
                    <a:pt x="591" y="287"/>
                  </a:lnTo>
                  <a:lnTo>
                    <a:pt x="595" y="287"/>
                  </a:lnTo>
                  <a:lnTo>
                    <a:pt x="595" y="291"/>
                  </a:lnTo>
                  <a:lnTo>
                    <a:pt x="595" y="295"/>
                  </a:lnTo>
                  <a:lnTo>
                    <a:pt x="595" y="299"/>
                  </a:lnTo>
                  <a:lnTo>
                    <a:pt x="595" y="303"/>
                  </a:lnTo>
                  <a:lnTo>
                    <a:pt x="599" y="303"/>
                  </a:lnTo>
                  <a:lnTo>
                    <a:pt x="599" y="307"/>
                  </a:lnTo>
                  <a:lnTo>
                    <a:pt x="599" y="311"/>
                  </a:lnTo>
                  <a:lnTo>
                    <a:pt x="599" y="315"/>
                  </a:lnTo>
                  <a:lnTo>
                    <a:pt x="599" y="319"/>
                  </a:lnTo>
                  <a:lnTo>
                    <a:pt x="599" y="323"/>
                  </a:lnTo>
                  <a:lnTo>
                    <a:pt x="595" y="323"/>
                  </a:lnTo>
                  <a:lnTo>
                    <a:pt x="595" y="327"/>
                  </a:lnTo>
                  <a:lnTo>
                    <a:pt x="595" y="331"/>
                  </a:lnTo>
                  <a:lnTo>
                    <a:pt x="591" y="331"/>
                  </a:lnTo>
                  <a:lnTo>
                    <a:pt x="591" y="335"/>
                  </a:lnTo>
                  <a:lnTo>
                    <a:pt x="591" y="339"/>
                  </a:lnTo>
                  <a:lnTo>
                    <a:pt x="591" y="343"/>
                  </a:lnTo>
                  <a:lnTo>
                    <a:pt x="587" y="343"/>
                  </a:lnTo>
                  <a:lnTo>
                    <a:pt x="587" y="347"/>
                  </a:lnTo>
                  <a:lnTo>
                    <a:pt x="591" y="347"/>
                  </a:lnTo>
                  <a:lnTo>
                    <a:pt x="591" y="351"/>
                  </a:lnTo>
                  <a:lnTo>
                    <a:pt x="591" y="355"/>
                  </a:lnTo>
                  <a:lnTo>
                    <a:pt x="591" y="359"/>
                  </a:lnTo>
                  <a:lnTo>
                    <a:pt x="591" y="363"/>
                  </a:lnTo>
                  <a:lnTo>
                    <a:pt x="587" y="363"/>
                  </a:lnTo>
                  <a:lnTo>
                    <a:pt x="587" y="367"/>
                  </a:lnTo>
                  <a:lnTo>
                    <a:pt x="583" y="371"/>
                  </a:lnTo>
                  <a:lnTo>
                    <a:pt x="583" y="367"/>
                  </a:lnTo>
                  <a:lnTo>
                    <a:pt x="579" y="371"/>
                  </a:lnTo>
                  <a:lnTo>
                    <a:pt x="579" y="375"/>
                  </a:lnTo>
                  <a:lnTo>
                    <a:pt x="579" y="379"/>
                  </a:lnTo>
                  <a:lnTo>
                    <a:pt x="579" y="383"/>
                  </a:lnTo>
                  <a:lnTo>
                    <a:pt x="579" y="387"/>
                  </a:lnTo>
                  <a:lnTo>
                    <a:pt x="579" y="391"/>
                  </a:lnTo>
                  <a:lnTo>
                    <a:pt x="579" y="395"/>
                  </a:lnTo>
                  <a:lnTo>
                    <a:pt x="579" y="399"/>
                  </a:lnTo>
                  <a:lnTo>
                    <a:pt x="583" y="403"/>
                  </a:lnTo>
                  <a:lnTo>
                    <a:pt x="583" y="407"/>
                  </a:lnTo>
                  <a:lnTo>
                    <a:pt x="583" y="411"/>
                  </a:lnTo>
                  <a:lnTo>
                    <a:pt x="583" y="415"/>
                  </a:lnTo>
                  <a:lnTo>
                    <a:pt x="579" y="415"/>
                  </a:lnTo>
                  <a:lnTo>
                    <a:pt x="579" y="419"/>
                  </a:lnTo>
                  <a:lnTo>
                    <a:pt x="575" y="419"/>
                  </a:lnTo>
                  <a:lnTo>
                    <a:pt x="575" y="423"/>
                  </a:lnTo>
                  <a:lnTo>
                    <a:pt x="575" y="427"/>
                  </a:lnTo>
                  <a:lnTo>
                    <a:pt x="575" y="431"/>
                  </a:lnTo>
                  <a:lnTo>
                    <a:pt x="575" y="435"/>
                  </a:lnTo>
                  <a:lnTo>
                    <a:pt x="571" y="435"/>
                  </a:lnTo>
                  <a:lnTo>
                    <a:pt x="571" y="431"/>
                  </a:lnTo>
                  <a:lnTo>
                    <a:pt x="571" y="435"/>
                  </a:lnTo>
                  <a:lnTo>
                    <a:pt x="571" y="439"/>
                  </a:lnTo>
                  <a:lnTo>
                    <a:pt x="571" y="443"/>
                  </a:lnTo>
                  <a:lnTo>
                    <a:pt x="567" y="447"/>
                  </a:lnTo>
                  <a:lnTo>
                    <a:pt x="571" y="447"/>
                  </a:lnTo>
                  <a:lnTo>
                    <a:pt x="571" y="451"/>
                  </a:lnTo>
                  <a:lnTo>
                    <a:pt x="567" y="451"/>
                  </a:lnTo>
                  <a:lnTo>
                    <a:pt x="567" y="455"/>
                  </a:lnTo>
                  <a:lnTo>
                    <a:pt x="567" y="459"/>
                  </a:lnTo>
                  <a:lnTo>
                    <a:pt x="567" y="463"/>
                  </a:lnTo>
                  <a:lnTo>
                    <a:pt x="567" y="467"/>
                  </a:lnTo>
                  <a:lnTo>
                    <a:pt x="567" y="471"/>
                  </a:lnTo>
                  <a:lnTo>
                    <a:pt x="567" y="475"/>
                  </a:lnTo>
                  <a:lnTo>
                    <a:pt x="567" y="479"/>
                  </a:lnTo>
                  <a:lnTo>
                    <a:pt x="571" y="479"/>
                  </a:lnTo>
                  <a:lnTo>
                    <a:pt x="571" y="483"/>
                  </a:lnTo>
                  <a:lnTo>
                    <a:pt x="571" y="487"/>
                  </a:lnTo>
                  <a:lnTo>
                    <a:pt x="567" y="487"/>
                  </a:lnTo>
                  <a:lnTo>
                    <a:pt x="563" y="491"/>
                  </a:lnTo>
                  <a:lnTo>
                    <a:pt x="567" y="491"/>
                  </a:lnTo>
                  <a:lnTo>
                    <a:pt x="563" y="495"/>
                  </a:lnTo>
                  <a:lnTo>
                    <a:pt x="563" y="499"/>
                  </a:lnTo>
                  <a:lnTo>
                    <a:pt x="563" y="503"/>
                  </a:lnTo>
                  <a:lnTo>
                    <a:pt x="563" y="507"/>
                  </a:lnTo>
                  <a:lnTo>
                    <a:pt x="567" y="507"/>
                  </a:lnTo>
                  <a:lnTo>
                    <a:pt x="571" y="507"/>
                  </a:lnTo>
                  <a:lnTo>
                    <a:pt x="571" y="511"/>
                  </a:lnTo>
                  <a:lnTo>
                    <a:pt x="567" y="511"/>
                  </a:lnTo>
                  <a:lnTo>
                    <a:pt x="567" y="515"/>
                  </a:lnTo>
                  <a:lnTo>
                    <a:pt x="571" y="515"/>
                  </a:lnTo>
                  <a:lnTo>
                    <a:pt x="571" y="519"/>
                  </a:lnTo>
                  <a:lnTo>
                    <a:pt x="571" y="523"/>
                  </a:lnTo>
                  <a:lnTo>
                    <a:pt x="571" y="527"/>
                  </a:lnTo>
                  <a:lnTo>
                    <a:pt x="567" y="527"/>
                  </a:lnTo>
                  <a:lnTo>
                    <a:pt x="571" y="531"/>
                  </a:lnTo>
                  <a:lnTo>
                    <a:pt x="567" y="531"/>
                  </a:lnTo>
                  <a:lnTo>
                    <a:pt x="567" y="535"/>
                  </a:lnTo>
                  <a:lnTo>
                    <a:pt x="571" y="535"/>
                  </a:lnTo>
                  <a:lnTo>
                    <a:pt x="575" y="535"/>
                  </a:lnTo>
                  <a:lnTo>
                    <a:pt x="579" y="535"/>
                  </a:lnTo>
                  <a:lnTo>
                    <a:pt x="579" y="539"/>
                  </a:lnTo>
                  <a:lnTo>
                    <a:pt x="579" y="543"/>
                  </a:lnTo>
                  <a:lnTo>
                    <a:pt x="575" y="543"/>
                  </a:lnTo>
                  <a:lnTo>
                    <a:pt x="571" y="543"/>
                  </a:lnTo>
                  <a:lnTo>
                    <a:pt x="567" y="543"/>
                  </a:lnTo>
                  <a:lnTo>
                    <a:pt x="563" y="543"/>
                  </a:lnTo>
                  <a:lnTo>
                    <a:pt x="567" y="543"/>
                  </a:lnTo>
                  <a:lnTo>
                    <a:pt x="567" y="547"/>
                  </a:lnTo>
                  <a:lnTo>
                    <a:pt x="571" y="547"/>
                  </a:lnTo>
                  <a:lnTo>
                    <a:pt x="575" y="547"/>
                  </a:lnTo>
                  <a:lnTo>
                    <a:pt x="575" y="551"/>
                  </a:lnTo>
                  <a:lnTo>
                    <a:pt x="575" y="555"/>
                  </a:lnTo>
                  <a:lnTo>
                    <a:pt x="571" y="559"/>
                  </a:lnTo>
                  <a:lnTo>
                    <a:pt x="571" y="563"/>
                  </a:lnTo>
                  <a:lnTo>
                    <a:pt x="571" y="567"/>
                  </a:lnTo>
                  <a:lnTo>
                    <a:pt x="571" y="571"/>
                  </a:lnTo>
                  <a:lnTo>
                    <a:pt x="567" y="571"/>
                  </a:lnTo>
                  <a:lnTo>
                    <a:pt x="571" y="571"/>
                  </a:lnTo>
                  <a:lnTo>
                    <a:pt x="571" y="575"/>
                  </a:lnTo>
                  <a:lnTo>
                    <a:pt x="571" y="579"/>
                  </a:lnTo>
                  <a:lnTo>
                    <a:pt x="571" y="583"/>
                  </a:lnTo>
                  <a:lnTo>
                    <a:pt x="567" y="587"/>
                  </a:lnTo>
                  <a:lnTo>
                    <a:pt x="567" y="591"/>
                  </a:lnTo>
                  <a:lnTo>
                    <a:pt x="567" y="595"/>
                  </a:lnTo>
                  <a:lnTo>
                    <a:pt x="563" y="599"/>
                  </a:lnTo>
                  <a:lnTo>
                    <a:pt x="559" y="599"/>
                  </a:lnTo>
                  <a:lnTo>
                    <a:pt x="563" y="603"/>
                  </a:lnTo>
                  <a:lnTo>
                    <a:pt x="559" y="603"/>
                  </a:lnTo>
                  <a:lnTo>
                    <a:pt x="559" y="606"/>
                  </a:lnTo>
                  <a:lnTo>
                    <a:pt x="559" y="610"/>
                  </a:lnTo>
                  <a:lnTo>
                    <a:pt x="563" y="614"/>
                  </a:lnTo>
                  <a:lnTo>
                    <a:pt x="563" y="618"/>
                  </a:lnTo>
                  <a:lnTo>
                    <a:pt x="559" y="618"/>
                  </a:lnTo>
                  <a:lnTo>
                    <a:pt x="559" y="622"/>
                  </a:lnTo>
                  <a:lnTo>
                    <a:pt x="555" y="622"/>
                  </a:lnTo>
                  <a:lnTo>
                    <a:pt x="559" y="622"/>
                  </a:lnTo>
                  <a:lnTo>
                    <a:pt x="559" y="626"/>
                  </a:lnTo>
                  <a:lnTo>
                    <a:pt x="559" y="630"/>
                  </a:lnTo>
                  <a:lnTo>
                    <a:pt x="555" y="630"/>
                  </a:lnTo>
                  <a:lnTo>
                    <a:pt x="551" y="630"/>
                  </a:lnTo>
                  <a:lnTo>
                    <a:pt x="551" y="634"/>
                  </a:lnTo>
                  <a:lnTo>
                    <a:pt x="547" y="638"/>
                  </a:lnTo>
                  <a:lnTo>
                    <a:pt x="551" y="638"/>
                  </a:lnTo>
                  <a:lnTo>
                    <a:pt x="547" y="638"/>
                  </a:lnTo>
                  <a:lnTo>
                    <a:pt x="543" y="638"/>
                  </a:lnTo>
                  <a:lnTo>
                    <a:pt x="543" y="642"/>
                  </a:lnTo>
                  <a:lnTo>
                    <a:pt x="543" y="646"/>
                  </a:lnTo>
                  <a:lnTo>
                    <a:pt x="543" y="650"/>
                  </a:lnTo>
                  <a:lnTo>
                    <a:pt x="543" y="654"/>
                  </a:lnTo>
                  <a:lnTo>
                    <a:pt x="543" y="658"/>
                  </a:lnTo>
                  <a:lnTo>
                    <a:pt x="547" y="662"/>
                  </a:lnTo>
                  <a:lnTo>
                    <a:pt x="547" y="666"/>
                  </a:lnTo>
                  <a:lnTo>
                    <a:pt x="547" y="670"/>
                  </a:lnTo>
                  <a:lnTo>
                    <a:pt x="547" y="674"/>
                  </a:lnTo>
                  <a:lnTo>
                    <a:pt x="551" y="674"/>
                  </a:lnTo>
                  <a:lnTo>
                    <a:pt x="551" y="670"/>
                  </a:lnTo>
                  <a:lnTo>
                    <a:pt x="555" y="670"/>
                  </a:lnTo>
                  <a:lnTo>
                    <a:pt x="559" y="670"/>
                  </a:lnTo>
                  <a:lnTo>
                    <a:pt x="563" y="670"/>
                  </a:lnTo>
                  <a:lnTo>
                    <a:pt x="559" y="670"/>
                  </a:lnTo>
                  <a:lnTo>
                    <a:pt x="563" y="674"/>
                  </a:lnTo>
                  <a:lnTo>
                    <a:pt x="563" y="678"/>
                  </a:lnTo>
                  <a:lnTo>
                    <a:pt x="559" y="678"/>
                  </a:lnTo>
                  <a:lnTo>
                    <a:pt x="559" y="682"/>
                  </a:lnTo>
                  <a:lnTo>
                    <a:pt x="563" y="682"/>
                  </a:lnTo>
                  <a:lnTo>
                    <a:pt x="563" y="686"/>
                  </a:lnTo>
                  <a:lnTo>
                    <a:pt x="559" y="690"/>
                  </a:lnTo>
                  <a:lnTo>
                    <a:pt x="563" y="694"/>
                  </a:lnTo>
                  <a:lnTo>
                    <a:pt x="567" y="698"/>
                  </a:lnTo>
                  <a:lnTo>
                    <a:pt x="571" y="702"/>
                  </a:lnTo>
                  <a:lnTo>
                    <a:pt x="579" y="702"/>
                  </a:lnTo>
                  <a:lnTo>
                    <a:pt x="587" y="702"/>
                  </a:lnTo>
                  <a:lnTo>
                    <a:pt x="591" y="702"/>
                  </a:lnTo>
                  <a:lnTo>
                    <a:pt x="595" y="702"/>
                  </a:lnTo>
                  <a:lnTo>
                    <a:pt x="599" y="702"/>
                  </a:lnTo>
                  <a:lnTo>
                    <a:pt x="603" y="702"/>
                  </a:lnTo>
                  <a:lnTo>
                    <a:pt x="607" y="702"/>
                  </a:lnTo>
                  <a:lnTo>
                    <a:pt x="611" y="706"/>
                  </a:lnTo>
                  <a:lnTo>
                    <a:pt x="615" y="706"/>
                  </a:lnTo>
                  <a:lnTo>
                    <a:pt x="619" y="706"/>
                  </a:lnTo>
                  <a:lnTo>
                    <a:pt x="619" y="710"/>
                  </a:lnTo>
                  <a:lnTo>
                    <a:pt x="619" y="706"/>
                  </a:lnTo>
                  <a:lnTo>
                    <a:pt x="615" y="706"/>
                  </a:lnTo>
                  <a:lnTo>
                    <a:pt x="611" y="706"/>
                  </a:lnTo>
                  <a:lnTo>
                    <a:pt x="607" y="706"/>
                  </a:lnTo>
                  <a:lnTo>
                    <a:pt x="603" y="706"/>
                  </a:lnTo>
                  <a:lnTo>
                    <a:pt x="603" y="710"/>
                  </a:lnTo>
                  <a:lnTo>
                    <a:pt x="603" y="714"/>
                  </a:lnTo>
                  <a:lnTo>
                    <a:pt x="599" y="710"/>
                  </a:lnTo>
                  <a:lnTo>
                    <a:pt x="595" y="714"/>
                  </a:lnTo>
                  <a:lnTo>
                    <a:pt x="587" y="718"/>
                  </a:lnTo>
                  <a:lnTo>
                    <a:pt x="583" y="718"/>
                  </a:lnTo>
                  <a:lnTo>
                    <a:pt x="583" y="722"/>
                  </a:lnTo>
                  <a:lnTo>
                    <a:pt x="583" y="726"/>
                  </a:lnTo>
                  <a:lnTo>
                    <a:pt x="583" y="730"/>
                  </a:lnTo>
                  <a:lnTo>
                    <a:pt x="583" y="734"/>
                  </a:lnTo>
                  <a:lnTo>
                    <a:pt x="583" y="738"/>
                  </a:lnTo>
                  <a:lnTo>
                    <a:pt x="583" y="742"/>
                  </a:lnTo>
                  <a:lnTo>
                    <a:pt x="579" y="742"/>
                  </a:lnTo>
                  <a:lnTo>
                    <a:pt x="575" y="742"/>
                  </a:lnTo>
                  <a:lnTo>
                    <a:pt x="571" y="742"/>
                  </a:lnTo>
                  <a:lnTo>
                    <a:pt x="567" y="738"/>
                  </a:lnTo>
                  <a:lnTo>
                    <a:pt x="563" y="738"/>
                  </a:lnTo>
                  <a:lnTo>
                    <a:pt x="559" y="734"/>
                  </a:lnTo>
                  <a:lnTo>
                    <a:pt x="559" y="730"/>
                  </a:lnTo>
                  <a:lnTo>
                    <a:pt x="563" y="730"/>
                  </a:lnTo>
                  <a:lnTo>
                    <a:pt x="563" y="734"/>
                  </a:lnTo>
                  <a:lnTo>
                    <a:pt x="567" y="734"/>
                  </a:lnTo>
                  <a:lnTo>
                    <a:pt x="567" y="730"/>
                  </a:lnTo>
                  <a:lnTo>
                    <a:pt x="567" y="726"/>
                  </a:lnTo>
                  <a:lnTo>
                    <a:pt x="567" y="730"/>
                  </a:lnTo>
                  <a:lnTo>
                    <a:pt x="571" y="734"/>
                  </a:lnTo>
                  <a:lnTo>
                    <a:pt x="567" y="734"/>
                  </a:lnTo>
                  <a:lnTo>
                    <a:pt x="571" y="734"/>
                  </a:lnTo>
                  <a:lnTo>
                    <a:pt x="571" y="730"/>
                  </a:lnTo>
                  <a:lnTo>
                    <a:pt x="571" y="726"/>
                  </a:lnTo>
                  <a:lnTo>
                    <a:pt x="575" y="726"/>
                  </a:lnTo>
                  <a:lnTo>
                    <a:pt x="579" y="722"/>
                  </a:lnTo>
                  <a:lnTo>
                    <a:pt x="579" y="718"/>
                  </a:lnTo>
                  <a:lnTo>
                    <a:pt x="575" y="718"/>
                  </a:lnTo>
                  <a:lnTo>
                    <a:pt x="571" y="722"/>
                  </a:lnTo>
                  <a:lnTo>
                    <a:pt x="567" y="722"/>
                  </a:lnTo>
                  <a:lnTo>
                    <a:pt x="567" y="726"/>
                  </a:lnTo>
                  <a:lnTo>
                    <a:pt x="563" y="726"/>
                  </a:lnTo>
                  <a:lnTo>
                    <a:pt x="563" y="722"/>
                  </a:lnTo>
                  <a:lnTo>
                    <a:pt x="559" y="726"/>
                  </a:lnTo>
                  <a:lnTo>
                    <a:pt x="563" y="726"/>
                  </a:lnTo>
                  <a:lnTo>
                    <a:pt x="559" y="730"/>
                  </a:lnTo>
                  <a:lnTo>
                    <a:pt x="559" y="726"/>
                  </a:lnTo>
                  <a:lnTo>
                    <a:pt x="559" y="730"/>
                  </a:lnTo>
                  <a:lnTo>
                    <a:pt x="555" y="730"/>
                  </a:lnTo>
                  <a:lnTo>
                    <a:pt x="559" y="734"/>
                  </a:lnTo>
                  <a:lnTo>
                    <a:pt x="555" y="734"/>
                  </a:lnTo>
                  <a:lnTo>
                    <a:pt x="551" y="730"/>
                  </a:lnTo>
                  <a:lnTo>
                    <a:pt x="547" y="730"/>
                  </a:lnTo>
                  <a:lnTo>
                    <a:pt x="547" y="726"/>
                  </a:lnTo>
                  <a:lnTo>
                    <a:pt x="551" y="726"/>
                  </a:lnTo>
                  <a:lnTo>
                    <a:pt x="555" y="726"/>
                  </a:lnTo>
                  <a:lnTo>
                    <a:pt x="555" y="730"/>
                  </a:lnTo>
                  <a:lnTo>
                    <a:pt x="555" y="726"/>
                  </a:lnTo>
                  <a:lnTo>
                    <a:pt x="551" y="726"/>
                  </a:lnTo>
                  <a:lnTo>
                    <a:pt x="551" y="722"/>
                  </a:lnTo>
                  <a:lnTo>
                    <a:pt x="551" y="718"/>
                  </a:lnTo>
                  <a:lnTo>
                    <a:pt x="555" y="718"/>
                  </a:lnTo>
                  <a:lnTo>
                    <a:pt x="559" y="718"/>
                  </a:lnTo>
                  <a:lnTo>
                    <a:pt x="563" y="718"/>
                  </a:lnTo>
                  <a:lnTo>
                    <a:pt x="563" y="714"/>
                  </a:lnTo>
                  <a:lnTo>
                    <a:pt x="567" y="714"/>
                  </a:lnTo>
                  <a:lnTo>
                    <a:pt x="571" y="714"/>
                  </a:lnTo>
                  <a:lnTo>
                    <a:pt x="575" y="714"/>
                  </a:lnTo>
                  <a:lnTo>
                    <a:pt x="571" y="714"/>
                  </a:lnTo>
                  <a:lnTo>
                    <a:pt x="567" y="714"/>
                  </a:lnTo>
                  <a:lnTo>
                    <a:pt x="563" y="710"/>
                  </a:lnTo>
                  <a:lnTo>
                    <a:pt x="559" y="714"/>
                  </a:lnTo>
                  <a:lnTo>
                    <a:pt x="559" y="710"/>
                  </a:lnTo>
                  <a:lnTo>
                    <a:pt x="559" y="714"/>
                  </a:lnTo>
                  <a:lnTo>
                    <a:pt x="555" y="714"/>
                  </a:lnTo>
                  <a:lnTo>
                    <a:pt x="551" y="714"/>
                  </a:lnTo>
                  <a:lnTo>
                    <a:pt x="555" y="714"/>
                  </a:lnTo>
                  <a:lnTo>
                    <a:pt x="555" y="718"/>
                  </a:lnTo>
                  <a:lnTo>
                    <a:pt x="551" y="718"/>
                  </a:lnTo>
                  <a:lnTo>
                    <a:pt x="551" y="722"/>
                  </a:lnTo>
                  <a:lnTo>
                    <a:pt x="551" y="726"/>
                  </a:lnTo>
                  <a:lnTo>
                    <a:pt x="547" y="726"/>
                  </a:lnTo>
                  <a:lnTo>
                    <a:pt x="543" y="722"/>
                  </a:lnTo>
                  <a:lnTo>
                    <a:pt x="547" y="722"/>
                  </a:lnTo>
                  <a:lnTo>
                    <a:pt x="543" y="718"/>
                  </a:lnTo>
                  <a:lnTo>
                    <a:pt x="547" y="718"/>
                  </a:lnTo>
                  <a:lnTo>
                    <a:pt x="551" y="710"/>
                  </a:lnTo>
                  <a:lnTo>
                    <a:pt x="547" y="710"/>
                  </a:lnTo>
                  <a:lnTo>
                    <a:pt x="547" y="714"/>
                  </a:lnTo>
                  <a:lnTo>
                    <a:pt x="543" y="714"/>
                  </a:lnTo>
                  <a:lnTo>
                    <a:pt x="543" y="718"/>
                  </a:lnTo>
                  <a:lnTo>
                    <a:pt x="539" y="718"/>
                  </a:lnTo>
                  <a:lnTo>
                    <a:pt x="539" y="714"/>
                  </a:lnTo>
                  <a:lnTo>
                    <a:pt x="543" y="714"/>
                  </a:lnTo>
                  <a:lnTo>
                    <a:pt x="543" y="710"/>
                  </a:lnTo>
                  <a:lnTo>
                    <a:pt x="539" y="710"/>
                  </a:lnTo>
                  <a:lnTo>
                    <a:pt x="543" y="710"/>
                  </a:lnTo>
                  <a:lnTo>
                    <a:pt x="543" y="706"/>
                  </a:lnTo>
                  <a:lnTo>
                    <a:pt x="543" y="702"/>
                  </a:lnTo>
                  <a:lnTo>
                    <a:pt x="539" y="702"/>
                  </a:lnTo>
                  <a:lnTo>
                    <a:pt x="543" y="706"/>
                  </a:lnTo>
                  <a:lnTo>
                    <a:pt x="547" y="706"/>
                  </a:lnTo>
                  <a:lnTo>
                    <a:pt x="547" y="702"/>
                  </a:lnTo>
                  <a:lnTo>
                    <a:pt x="551" y="702"/>
                  </a:lnTo>
                  <a:lnTo>
                    <a:pt x="551" y="706"/>
                  </a:lnTo>
                  <a:lnTo>
                    <a:pt x="555" y="706"/>
                  </a:lnTo>
                  <a:lnTo>
                    <a:pt x="555" y="702"/>
                  </a:lnTo>
                  <a:lnTo>
                    <a:pt x="551" y="706"/>
                  </a:lnTo>
                  <a:lnTo>
                    <a:pt x="551" y="702"/>
                  </a:lnTo>
                  <a:lnTo>
                    <a:pt x="555" y="698"/>
                  </a:lnTo>
                  <a:lnTo>
                    <a:pt x="555" y="702"/>
                  </a:lnTo>
                  <a:lnTo>
                    <a:pt x="559" y="702"/>
                  </a:lnTo>
                  <a:lnTo>
                    <a:pt x="559" y="706"/>
                  </a:lnTo>
                  <a:lnTo>
                    <a:pt x="555" y="706"/>
                  </a:lnTo>
                  <a:lnTo>
                    <a:pt x="555" y="710"/>
                  </a:lnTo>
                  <a:lnTo>
                    <a:pt x="551" y="710"/>
                  </a:lnTo>
                  <a:lnTo>
                    <a:pt x="555" y="710"/>
                  </a:lnTo>
                  <a:lnTo>
                    <a:pt x="559" y="710"/>
                  </a:lnTo>
                  <a:lnTo>
                    <a:pt x="559" y="706"/>
                  </a:lnTo>
                  <a:lnTo>
                    <a:pt x="559" y="702"/>
                  </a:lnTo>
                  <a:lnTo>
                    <a:pt x="555" y="702"/>
                  </a:lnTo>
                  <a:lnTo>
                    <a:pt x="555" y="698"/>
                  </a:lnTo>
                  <a:lnTo>
                    <a:pt x="559" y="698"/>
                  </a:lnTo>
                  <a:lnTo>
                    <a:pt x="559" y="694"/>
                  </a:lnTo>
                  <a:lnTo>
                    <a:pt x="555" y="690"/>
                  </a:lnTo>
                  <a:lnTo>
                    <a:pt x="551" y="690"/>
                  </a:lnTo>
                  <a:lnTo>
                    <a:pt x="551" y="686"/>
                  </a:lnTo>
                  <a:lnTo>
                    <a:pt x="547" y="686"/>
                  </a:lnTo>
                  <a:lnTo>
                    <a:pt x="547" y="690"/>
                  </a:lnTo>
                  <a:lnTo>
                    <a:pt x="551" y="690"/>
                  </a:lnTo>
                  <a:lnTo>
                    <a:pt x="555" y="690"/>
                  </a:lnTo>
                  <a:lnTo>
                    <a:pt x="555" y="694"/>
                  </a:lnTo>
                  <a:lnTo>
                    <a:pt x="559" y="694"/>
                  </a:lnTo>
                  <a:lnTo>
                    <a:pt x="555" y="698"/>
                  </a:lnTo>
                  <a:lnTo>
                    <a:pt x="555" y="694"/>
                  </a:lnTo>
                  <a:lnTo>
                    <a:pt x="551" y="694"/>
                  </a:lnTo>
                  <a:lnTo>
                    <a:pt x="547" y="690"/>
                  </a:lnTo>
                  <a:lnTo>
                    <a:pt x="547" y="694"/>
                  </a:lnTo>
                  <a:lnTo>
                    <a:pt x="551" y="694"/>
                  </a:lnTo>
                  <a:lnTo>
                    <a:pt x="551" y="698"/>
                  </a:lnTo>
                  <a:lnTo>
                    <a:pt x="547" y="698"/>
                  </a:lnTo>
                  <a:lnTo>
                    <a:pt x="551" y="698"/>
                  </a:lnTo>
                  <a:lnTo>
                    <a:pt x="547" y="698"/>
                  </a:lnTo>
                  <a:lnTo>
                    <a:pt x="547" y="702"/>
                  </a:lnTo>
                  <a:lnTo>
                    <a:pt x="547" y="698"/>
                  </a:lnTo>
                  <a:lnTo>
                    <a:pt x="547" y="694"/>
                  </a:lnTo>
                  <a:lnTo>
                    <a:pt x="547" y="702"/>
                  </a:lnTo>
                  <a:lnTo>
                    <a:pt x="543" y="702"/>
                  </a:lnTo>
                  <a:lnTo>
                    <a:pt x="543" y="698"/>
                  </a:lnTo>
                  <a:lnTo>
                    <a:pt x="543" y="694"/>
                  </a:lnTo>
                  <a:lnTo>
                    <a:pt x="543" y="698"/>
                  </a:lnTo>
                  <a:lnTo>
                    <a:pt x="543" y="702"/>
                  </a:lnTo>
                  <a:lnTo>
                    <a:pt x="543" y="698"/>
                  </a:lnTo>
                  <a:lnTo>
                    <a:pt x="543" y="694"/>
                  </a:lnTo>
                  <a:lnTo>
                    <a:pt x="539" y="694"/>
                  </a:lnTo>
                  <a:lnTo>
                    <a:pt x="539" y="690"/>
                  </a:lnTo>
                  <a:lnTo>
                    <a:pt x="535" y="686"/>
                  </a:lnTo>
                  <a:lnTo>
                    <a:pt x="539" y="686"/>
                  </a:lnTo>
                  <a:lnTo>
                    <a:pt x="539" y="690"/>
                  </a:lnTo>
                  <a:lnTo>
                    <a:pt x="543" y="690"/>
                  </a:lnTo>
                  <a:lnTo>
                    <a:pt x="539" y="686"/>
                  </a:lnTo>
                  <a:lnTo>
                    <a:pt x="539" y="682"/>
                  </a:lnTo>
                  <a:lnTo>
                    <a:pt x="535" y="682"/>
                  </a:lnTo>
                  <a:lnTo>
                    <a:pt x="535" y="678"/>
                  </a:lnTo>
                  <a:lnTo>
                    <a:pt x="531" y="678"/>
                  </a:lnTo>
                  <a:lnTo>
                    <a:pt x="531" y="674"/>
                  </a:lnTo>
                  <a:lnTo>
                    <a:pt x="535" y="674"/>
                  </a:lnTo>
                  <a:lnTo>
                    <a:pt x="539" y="674"/>
                  </a:lnTo>
                  <a:lnTo>
                    <a:pt x="539" y="670"/>
                  </a:lnTo>
                  <a:lnTo>
                    <a:pt x="543" y="670"/>
                  </a:lnTo>
                  <a:lnTo>
                    <a:pt x="539" y="670"/>
                  </a:lnTo>
                  <a:lnTo>
                    <a:pt x="539" y="666"/>
                  </a:lnTo>
                  <a:lnTo>
                    <a:pt x="543" y="666"/>
                  </a:lnTo>
                  <a:lnTo>
                    <a:pt x="539" y="666"/>
                  </a:lnTo>
                  <a:lnTo>
                    <a:pt x="539" y="670"/>
                  </a:lnTo>
                  <a:lnTo>
                    <a:pt x="539" y="674"/>
                  </a:lnTo>
                  <a:lnTo>
                    <a:pt x="535" y="674"/>
                  </a:lnTo>
                  <a:lnTo>
                    <a:pt x="535" y="670"/>
                  </a:lnTo>
                  <a:lnTo>
                    <a:pt x="531" y="670"/>
                  </a:lnTo>
                  <a:lnTo>
                    <a:pt x="531" y="666"/>
                  </a:lnTo>
                  <a:lnTo>
                    <a:pt x="535" y="666"/>
                  </a:lnTo>
                  <a:lnTo>
                    <a:pt x="539" y="666"/>
                  </a:lnTo>
                  <a:lnTo>
                    <a:pt x="535" y="666"/>
                  </a:lnTo>
                  <a:lnTo>
                    <a:pt x="531" y="666"/>
                  </a:lnTo>
                  <a:lnTo>
                    <a:pt x="527" y="662"/>
                  </a:lnTo>
                  <a:lnTo>
                    <a:pt x="527" y="658"/>
                  </a:lnTo>
                  <a:lnTo>
                    <a:pt x="531" y="658"/>
                  </a:lnTo>
                  <a:lnTo>
                    <a:pt x="535" y="662"/>
                  </a:lnTo>
                  <a:lnTo>
                    <a:pt x="539" y="662"/>
                  </a:lnTo>
                  <a:lnTo>
                    <a:pt x="535" y="658"/>
                  </a:lnTo>
                  <a:lnTo>
                    <a:pt x="531" y="658"/>
                  </a:lnTo>
                  <a:lnTo>
                    <a:pt x="531" y="654"/>
                  </a:lnTo>
                  <a:lnTo>
                    <a:pt x="535" y="654"/>
                  </a:lnTo>
                  <a:lnTo>
                    <a:pt x="539" y="658"/>
                  </a:lnTo>
                  <a:lnTo>
                    <a:pt x="539" y="654"/>
                  </a:lnTo>
                  <a:lnTo>
                    <a:pt x="535" y="654"/>
                  </a:lnTo>
                  <a:lnTo>
                    <a:pt x="531" y="654"/>
                  </a:lnTo>
                  <a:lnTo>
                    <a:pt x="531" y="650"/>
                  </a:lnTo>
                  <a:lnTo>
                    <a:pt x="535" y="650"/>
                  </a:lnTo>
                  <a:lnTo>
                    <a:pt x="531" y="650"/>
                  </a:lnTo>
                  <a:lnTo>
                    <a:pt x="531" y="646"/>
                  </a:lnTo>
                  <a:lnTo>
                    <a:pt x="535" y="646"/>
                  </a:lnTo>
                  <a:lnTo>
                    <a:pt x="539" y="646"/>
                  </a:lnTo>
                  <a:lnTo>
                    <a:pt x="539" y="650"/>
                  </a:lnTo>
                  <a:lnTo>
                    <a:pt x="539" y="646"/>
                  </a:lnTo>
                  <a:lnTo>
                    <a:pt x="535" y="646"/>
                  </a:lnTo>
                  <a:lnTo>
                    <a:pt x="535" y="642"/>
                  </a:lnTo>
                  <a:lnTo>
                    <a:pt x="535" y="638"/>
                  </a:lnTo>
                  <a:lnTo>
                    <a:pt x="535" y="642"/>
                  </a:lnTo>
                  <a:lnTo>
                    <a:pt x="539" y="642"/>
                  </a:lnTo>
                  <a:lnTo>
                    <a:pt x="535" y="642"/>
                  </a:lnTo>
                  <a:lnTo>
                    <a:pt x="535" y="638"/>
                  </a:lnTo>
                  <a:lnTo>
                    <a:pt x="535" y="634"/>
                  </a:lnTo>
                  <a:lnTo>
                    <a:pt x="539" y="634"/>
                  </a:lnTo>
                  <a:lnTo>
                    <a:pt x="535" y="634"/>
                  </a:lnTo>
                  <a:lnTo>
                    <a:pt x="535" y="638"/>
                  </a:lnTo>
                  <a:lnTo>
                    <a:pt x="535" y="642"/>
                  </a:lnTo>
                  <a:lnTo>
                    <a:pt x="531" y="646"/>
                  </a:lnTo>
                  <a:lnTo>
                    <a:pt x="531" y="642"/>
                  </a:lnTo>
                  <a:lnTo>
                    <a:pt x="531" y="638"/>
                  </a:lnTo>
                  <a:lnTo>
                    <a:pt x="531" y="634"/>
                  </a:lnTo>
                  <a:lnTo>
                    <a:pt x="531" y="630"/>
                  </a:lnTo>
                  <a:lnTo>
                    <a:pt x="527" y="630"/>
                  </a:lnTo>
                  <a:lnTo>
                    <a:pt x="531" y="630"/>
                  </a:lnTo>
                  <a:lnTo>
                    <a:pt x="531" y="626"/>
                  </a:lnTo>
                  <a:lnTo>
                    <a:pt x="535" y="626"/>
                  </a:lnTo>
                  <a:lnTo>
                    <a:pt x="531" y="626"/>
                  </a:lnTo>
                  <a:lnTo>
                    <a:pt x="531" y="622"/>
                  </a:lnTo>
                  <a:lnTo>
                    <a:pt x="535" y="622"/>
                  </a:lnTo>
                  <a:lnTo>
                    <a:pt x="535" y="618"/>
                  </a:lnTo>
                  <a:lnTo>
                    <a:pt x="531" y="618"/>
                  </a:lnTo>
                  <a:lnTo>
                    <a:pt x="535" y="618"/>
                  </a:lnTo>
                  <a:lnTo>
                    <a:pt x="531" y="618"/>
                  </a:lnTo>
                  <a:lnTo>
                    <a:pt x="531" y="614"/>
                  </a:lnTo>
                  <a:lnTo>
                    <a:pt x="527" y="614"/>
                  </a:lnTo>
                  <a:lnTo>
                    <a:pt x="527" y="610"/>
                  </a:lnTo>
                  <a:lnTo>
                    <a:pt x="531" y="610"/>
                  </a:lnTo>
                  <a:lnTo>
                    <a:pt x="531" y="614"/>
                  </a:lnTo>
                  <a:lnTo>
                    <a:pt x="531" y="610"/>
                  </a:lnTo>
                  <a:lnTo>
                    <a:pt x="535" y="610"/>
                  </a:lnTo>
                  <a:lnTo>
                    <a:pt x="539" y="610"/>
                  </a:lnTo>
                  <a:lnTo>
                    <a:pt x="543" y="614"/>
                  </a:lnTo>
                  <a:lnTo>
                    <a:pt x="543" y="618"/>
                  </a:lnTo>
                  <a:lnTo>
                    <a:pt x="543" y="614"/>
                  </a:lnTo>
                  <a:lnTo>
                    <a:pt x="547" y="614"/>
                  </a:lnTo>
                  <a:lnTo>
                    <a:pt x="543" y="614"/>
                  </a:lnTo>
                  <a:lnTo>
                    <a:pt x="543" y="610"/>
                  </a:lnTo>
                  <a:lnTo>
                    <a:pt x="539" y="610"/>
                  </a:lnTo>
                  <a:lnTo>
                    <a:pt x="543" y="610"/>
                  </a:lnTo>
                  <a:lnTo>
                    <a:pt x="547" y="610"/>
                  </a:lnTo>
                  <a:lnTo>
                    <a:pt x="543" y="610"/>
                  </a:lnTo>
                  <a:lnTo>
                    <a:pt x="539" y="606"/>
                  </a:lnTo>
                  <a:lnTo>
                    <a:pt x="539" y="603"/>
                  </a:lnTo>
                  <a:lnTo>
                    <a:pt x="539" y="606"/>
                  </a:lnTo>
                  <a:lnTo>
                    <a:pt x="535" y="606"/>
                  </a:lnTo>
                  <a:lnTo>
                    <a:pt x="531" y="606"/>
                  </a:lnTo>
                  <a:lnTo>
                    <a:pt x="527" y="606"/>
                  </a:lnTo>
                  <a:lnTo>
                    <a:pt x="523" y="606"/>
                  </a:lnTo>
                  <a:lnTo>
                    <a:pt x="527" y="603"/>
                  </a:lnTo>
                  <a:lnTo>
                    <a:pt x="531" y="603"/>
                  </a:lnTo>
                  <a:lnTo>
                    <a:pt x="531" y="606"/>
                  </a:lnTo>
                  <a:lnTo>
                    <a:pt x="535" y="606"/>
                  </a:lnTo>
                  <a:lnTo>
                    <a:pt x="531" y="606"/>
                  </a:lnTo>
                  <a:lnTo>
                    <a:pt x="531" y="603"/>
                  </a:lnTo>
                  <a:lnTo>
                    <a:pt x="535" y="603"/>
                  </a:lnTo>
                  <a:lnTo>
                    <a:pt x="531" y="603"/>
                  </a:lnTo>
                  <a:lnTo>
                    <a:pt x="527" y="599"/>
                  </a:lnTo>
                  <a:lnTo>
                    <a:pt x="531" y="595"/>
                  </a:lnTo>
                  <a:lnTo>
                    <a:pt x="535" y="595"/>
                  </a:lnTo>
                  <a:lnTo>
                    <a:pt x="535" y="599"/>
                  </a:lnTo>
                  <a:lnTo>
                    <a:pt x="535" y="595"/>
                  </a:lnTo>
                  <a:lnTo>
                    <a:pt x="535" y="591"/>
                  </a:lnTo>
                  <a:lnTo>
                    <a:pt x="531" y="587"/>
                  </a:lnTo>
                  <a:lnTo>
                    <a:pt x="531" y="583"/>
                  </a:lnTo>
                  <a:lnTo>
                    <a:pt x="527" y="587"/>
                  </a:lnTo>
                  <a:lnTo>
                    <a:pt x="531" y="587"/>
                  </a:lnTo>
                  <a:lnTo>
                    <a:pt x="527" y="587"/>
                  </a:lnTo>
                  <a:lnTo>
                    <a:pt x="523" y="587"/>
                  </a:lnTo>
                  <a:lnTo>
                    <a:pt x="519" y="583"/>
                  </a:lnTo>
                  <a:lnTo>
                    <a:pt x="519" y="579"/>
                  </a:lnTo>
                  <a:lnTo>
                    <a:pt x="523" y="579"/>
                  </a:lnTo>
                  <a:lnTo>
                    <a:pt x="519" y="579"/>
                  </a:lnTo>
                  <a:lnTo>
                    <a:pt x="519" y="583"/>
                  </a:lnTo>
                  <a:lnTo>
                    <a:pt x="515" y="583"/>
                  </a:lnTo>
                  <a:lnTo>
                    <a:pt x="511" y="583"/>
                  </a:lnTo>
                  <a:lnTo>
                    <a:pt x="511" y="587"/>
                  </a:lnTo>
                  <a:lnTo>
                    <a:pt x="511" y="583"/>
                  </a:lnTo>
                  <a:lnTo>
                    <a:pt x="515" y="583"/>
                  </a:lnTo>
                  <a:lnTo>
                    <a:pt x="515" y="587"/>
                  </a:lnTo>
                  <a:lnTo>
                    <a:pt x="515" y="591"/>
                  </a:lnTo>
                  <a:lnTo>
                    <a:pt x="511" y="591"/>
                  </a:lnTo>
                  <a:lnTo>
                    <a:pt x="511" y="587"/>
                  </a:lnTo>
                  <a:lnTo>
                    <a:pt x="511" y="583"/>
                  </a:lnTo>
                  <a:lnTo>
                    <a:pt x="511" y="579"/>
                  </a:lnTo>
                  <a:lnTo>
                    <a:pt x="515" y="579"/>
                  </a:lnTo>
                  <a:lnTo>
                    <a:pt x="515" y="575"/>
                  </a:lnTo>
                  <a:lnTo>
                    <a:pt x="519" y="575"/>
                  </a:lnTo>
                  <a:lnTo>
                    <a:pt x="519" y="579"/>
                  </a:lnTo>
                  <a:lnTo>
                    <a:pt x="519" y="575"/>
                  </a:lnTo>
                  <a:lnTo>
                    <a:pt x="519" y="571"/>
                  </a:lnTo>
                  <a:lnTo>
                    <a:pt x="523" y="571"/>
                  </a:lnTo>
                  <a:lnTo>
                    <a:pt x="523" y="567"/>
                  </a:lnTo>
                  <a:lnTo>
                    <a:pt x="527" y="563"/>
                  </a:lnTo>
                  <a:lnTo>
                    <a:pt x="531" y="563"/>
                  </a:lnTo>
                  <a:lnTo>
                    <a:pt x="535" y="563"/>
                  </a:lnTo>
                  <a:lnTo>
                    <a:pt x="535" y="567"/>
                  </a:lnTo>
                  <a:lnTo>
                    <a:pt x="535" y="571"/>
                  </a:lnTo>
                  <a:lnTo>
                    <a:pt x="535" y="567"/>
                  </a:lnTo>
                  <a:lnTo>
                    <a:pt x="535" y="571"/>
                  </a:lnTo>
                  <a:lnTo>
                    <a:pt x="531" y="575"/>
                  </a:lnTo>
                  <a:lnTo>
                    <a:pt x="531" y="571"/>
                  </a:lnTo>
                  <a:lnTo>
                    <a:pt x="527" y="571"/>
                  </a:lnTo>
                  <a:lnTo>
                    <a:pt x="531" y="575"/>
                  </a:lnTo>
                  <a:lnTo>
                    <a:pt x="535" y="575"/>
                  </a:lnTo>
                  <a:lnTo>
                    <a:pt x="535" y="571"/>
                  </a:lnTo>
                  <a:lnTo>
                    <a:pt x="535" y="575"/>
                  </a:lnTo>
                  <a:lnTo>
                    <a:pt x="539" y="575"/>
                  </a:lnTo>
                  <a:lnTo>
                    <a:pt x="535" y="575"/>
                  </a:lnTo>
                  <a:lnTo>
                    <a:pt x="535" y="571"/>
                  </a:lnTo>
                  <a:lnTo>
                    <a:pt x="539" y="571"/>
                  </a:lnTo>
                  <a:lnTo>
                    <a:pt x="539" y="575"/>
                  </a:lnTo>
                  <a:lnTo>
                    <a:pt x="539" y="579"/>
                  </a:lnTo>
                  <a:lnTo>
                    <a:pt x="535" y="579"/>
                  </a:lnTo>
                  <a:lnTo>
                    <a:pt x="539" y="583"/>
                  </a:lnTo>
                  <a:lnTo>
                    <a:pt x="539" y="579"/>
                  </a:lnTo>
                  <a:lnTo>
                    <a:pt x="539" y="575"/>
                  </a:lnTo>
                  <a:lnTo>
                    <a:pt x="543" y="575"/>
                  </a:lnTo>
                  <a:lnTo>
                    <a:pt x="543" y="571"/>
                  </a:lnTo>
                  <a:lnTo>
                    <a:pt x="543" y="575"/>
                  </a:lnTo>
                  <a:lnTo>
                    <a:pt x="539" y="575"/>
                  </a:lnTo>
                  <a:lnTo>
                    <a:pt x="543" y="571"/>
                  </a:lnTo>
                  <a:lnTo>
                    <a:pt x="543" y="567"/>
                  </a:lnTo>
                  <a:lnTo>
                    <a:pt x="539" y="567"/>
                  </a:lnTo>
                  <a:lnTo>
                    <a:pt x="543" y="563"/>
                  </a:lnTo>
                  <a:lnTo>
                    <a:pt x="547" y="563"/>
                  </a:lnTo>
                  <a:lnTo>
                    <a:pt x="547" y="559"/>
                  </a:lnTo>
                  <a:lnTo>
                    <a:pt x="543" y="559"/>
                  </a:lnTo>
                  <a:lnTo>
                    <a:pt x="543" y="563"/>
                  </a:lnTo>
                  <a:lnTo>
                    <a:pt x="543" y="555"/>
                  </a:lnTo>
                  <a:lnTo>
                    <a:pt x="547" y="555"/>
                  </a:lnTo>
                  <a:lnTo>
                    <a:pt x="551" y="555"/>
                  </a:lnTo>
                  <a:lnTo>
                    <a:pt x="555" y="555"/>
                  </a:lnTo>
                  <a:lnTo>
                    <a:pt x="551" y="555"/>
                  </a:lnTo>
                  <a:lnTo>
                    <a:pt x="547" y="555"/>
                  </a:lnTo>
                  <a:lnTo>
                    <a:pt x="547" y="551"/>
                  </a:lnTo>
                  <a:lnTo>
                    <a:pt x="547" y="555"/>
                  </a:lnTo>
                  <a:lnTo>
                    <a:pt x="543" y="551"/>
                  </a:lnTo>
                  <a:lnTo>
                    <a:pt x="547" y="551"/>
                  </a:lnTo>
                  <a:lnTo>
                    <a:pt x="547" y="547"/>
                  </a:lnTo>
                  <a:lnTo>
                    <a:pt x="543" y="547"/>
                  </a:lnTo>
                  <a:lnTo>
                    <a:pt x="547" y="547"/>
                  </a:lnTo>
                  <a:lnTo>
                    <a:pt x="551" y="543"/>
                  </a:lnTo>
                  <a:lnTo>
                    <a:pt x="555" y="543"/>
                  </a:lnTo>
                  <a:lnTo>
                    <a:pt x="555" y="539"/>
                  </a:lnTo>
                  <a:lnTo>
                    <a:pt x="555" y="535"/>
                  </a:lnTo>
                  <a:lnTo>
                    <a:pt x="551" y="531"/>
                  </a:lnTo>
                  <a:lnTo>
                    <a:pt x="547" y="531"/>
                  </a:lnTo>
                  <a:lnTo>
                    <a:pt x="547" y="527"/>
                  </a:lnTo>
                  <a:lnTo>
                    <a:pt x="551" y="523"/>
                  </a:lnTo>
                  <a:lnTo>
                    <a:pt x="555" y="519"/>
                  </a:lnTo>
                  <a:lnTo>
                    <a:pt x="551" y="519"/>
                  </a:lnTo>
                  <a:close/>
                  <a:moveTo>
                    <a:pt x="539" y="547"/>
                  </a:moveTo>
                  <a:lnTo>
                    <a:pt x="539" y="543"/>
                  </a:lnTo>
                  <a:lnTo>
                    <a:pt x="535" y="543"/>
                  </a:lnTo>
                  <a:lnTo>
                    <a:pt x="539" y="543"/>
                  </a:lnTo>
                  <a:lnTo>
                    <a:pt x="539" y="547"/>
                  </a:lnTo>
                  <a:close/>
                  <a:moveTo>
                    <a:pt x="511" y="630"/>
                  </a:moveTo>
                  <a:lnTo>
                    <a:pt x="511" y="626"/>
                  </a:lnTo>
                  <a:lnTo>
                    <a:pt x="515" y="626"/>
                  </a:lnTo>
                  <a:lnTo>
                    <a:pt x="515" y="630"/>
                  </a:lnTo>
                  <a:lnTo>
                    <a:pt x="511" y="630"/>
                  </a:lnTo>
                  <a:close/>
                  <a:moveTo>
                    <a:pt x="519" y="630"/>
                  </a:moveTo>
                  <a:lnTo>
                    <a:pt x="515" y="630"/>
                  </a:lnTo>
                  <a:lnTo>
                    <a:pt x="515" y="626"/>
                  </a:lnTo>
                  <a:lnTo>
                    <a:pt x="519" y="626"/>
                  </a:lnTo>
                  <a:lnTo>
                    <a:pt x="519" y="630"/>
                  </a:lnTo>
                  <a:close/>
                  <a:moveTo>
                    <a:pt x="535" y="718"/>
                  </a:moveTo>
                  <a:lnTo>
                    <a:pt x="535" y="714"/>
                  </a:lnTo>
                  <a:lnTo>
                    <a:pt x="535" y="710"/>
                  </a:lnTo>
                  <a:lnTo>
                    <a:pt x="539" y="710"/>
                  </a:lnTo>
                  <a:lnTo>
                    <a:pt x="539" y="714"/>
                  </a:lnTo>
                  <a:lnTo>
                    <a:pt x="539" y="718"/>
                  </a:lnTo>
                  <a:lnTo>
                    <a:pt x="535" y="718"/>
                  </a:lnTo>
                  <a:close/>
                  <a:moveTo>
                    <a:pt x="539" y="531"/>
                  </a:moveTo>
                  <a:lnTo>
                    <a:pt x="535" y="531"/>
                  </a:lnTo>
                  <a:lnTo>
                    <a:pt x="539" y="531"/>
                  </a:lnTo>
                  <a:close/>
                  <a:moveTo>
                    <a:pt x="519" y="571"/>
                  </a:moveTo>
                  <a:lnTo>
                    <a:pt x="519" y="567"/>
                  </a:lnTo>
                  <a:lnTo>
                    <a:pt x="523" y="567"/>
                  </a:lnTo>
                  <a:lnTo>
                    <a:pt x="519" y="567"/>
                  </a:lnTo>
                  <a:lnTo>
                    <a:pt x="523" y="567"/>
                  </a:lnTo>
                  <a:lnTo>
                    <a:pt x="523" y="563"/>
                  </a:lnTo>
                  <a:lnTo>
                    <a:pt x="523" y="567"/>
                  </a:lnTo>
                  <a:lnTo>
                    <a:pt x="523" y="571"/>
                  </a:lnTo>
                  <a:lnTo>
                    <a:pt x="519" y="571"/>
                  </a:lnTo>
                  <a:close/>
                  <a:moveTo>
                    <a:pt x="535" y="595"/>
                  </a:moveTo>
                  <a:lnTo>
                    <a:pt x="531" y="595"/>
                  </a:lnTo>
                  <a:lnTo>
                    <a:pt x="531" y="591"/>
                  </a:lnTo>
                  <a:lnTo>
                    <a:pt x="535" y="591"/>
                  </a:lnTo>
                  <a:lnTo>
                    <a:pt x="535" y="595"/>
                  </a:lnTo>
                  <a:close/>
                  <a:moveTo>
                    <a:pt x="531" y="622"/>
                  </a:moveTo>
                  <a:lnTo>
                    <a:pt x="527" y="622"/>
                  </a:lnTo>
                  <a:lnTo>
                    <a:pt x="527" y="618"/>
                  </a:lnTo>
                  <a:lnTo>
                    <a:pt x="531" y="622"/>
                  </a:lnTo>
                  <a:close/>
                  <a:moveTo>
                    <a:pt x="519" y="626"/>
                  </a:moveTo>
                  <a:lnTo>
                    <a:pt x="523" y="626"/>
                  </a:lnTo>
                  <a:lnTo>
                    <a:pt x="519" y="626"/>
                  </a:lnTo>
                  <a:close/>
                  <a:moveTo>
                    <a:pt x="511" y="638"/>
                  </a:moveTo>
                  <a:lnTo>
                    <a:pt x="511" y="634"/>
                  </a:lnTo>
                  <a:lnTo>
                    <a:pt x="515" y="634"/>
                  </a:lnTo>
                  <a:lnTo>
                    <a:pt x="515" y="638"/>
                  </a:lnTo>
                  <a:lnTo>
                    <a:pt x="511" y="638"/>
                  </a:lnTo>
                  <a:close/>
                  <a:moveTo>
                    <a:pt x="535" y="686"/>
                  </a:moveTo>
                  <a:lnTo>
                    <a:pt x="531" y="686"/>
                  </a:lnTo>
                  <a:lnTo>
                    <a:pt x="531" y="682"/>
                  </a:lnTo>
                  <a:lnTo>
                    <a:pt x="535" y="682"/>
                  </a:lnTo>
                  <a:lnTo>
                    <a:pt x="535" y="686"/>
                  </a:lnTo>
                  <a:close/>
                  <a:moveTo>
                    <a:pt x="523" y="706"/>
                  </a:moveTo>
                  <a:lnTo>
                    <a:pt x="523" y="702"/>
                  </a:lnTo>
                  <a:lnTo>
                    <a:pt x="527" y="702"/>
                  </a:lnTo>
                  <a:lnTo>
                    <a:pt x="523" y="706"/>
                  </a:lnTo>
                  <a:close/>
                  <a:moveTo>
                    <a:pt x="543" y="730"/>
                  </a:moveTo>
                  <a:lnTo>
                    <a:pt x="543" y="734"/>
                  </a:lnTo>
                  <a:lnTo>
                    <a:pt x="543" y="738"/>
                  </a:lnTo>
                  <a:lnTo>
                    <a:pt x="543" y="734"/>
                  </a:lnTo>
                  <a:lnTo>
                    <a:pt x="539" y="734"/>
                  </a:lnTo>
                  <a:lnTo>
                    <a:pt x="543" y="734"/>
                  </a:lnTo>
                  <a:lnTo>
                    <a:pt x="543" y="730"/>
                  </a:lnTo>
                  <a:close/>
                  <a:moveTo>
                    <a:pt x="591" y="754"/>
                  </a:moveTo>
                  <a:lnTo>
                    <a:pt x="591" y="750"/>
                  </a:lnTo>
                  <a:lnTo>
                    <a:pt x="587" y="750"/>
                  </a:lnTo>
                  <a:lnTo>
                    <a:pt x="591" y="750"/>
                  </a:lnTo>
                  <a:lnTo>
                    <a:pt x="595" y="750"/>
                  </a:lnTo>
                  <a:lnTo>
                    <a:pt x="591" y="750"/>
                  </a:lnTo>
                  <a:lnTo>
                    <a:pt x="591" y="754"/>
                  </a:lnTo>
                  <a:close/>
                  <a:moveTo>
                    <a:pt x="0" y="187"/>
                  </a:moveTo>
                  <a:lnTo>
                    <a:pt x="0" y="183"/>
                  </a:lnTo>
                  <a:lnTo>
                    <a:pt x="4" y="183"/>
                  </a:lnTo>
                  <a:lnTo>
                    <a:pt x="0" y="183"/>
                  </a:lnTo>
                  <a:lnTo>
                    <a:pt x="0" y="187"/>
                  </a:lnTo>
                  <a:close/>
                  <a:moveTo>
                    <a:pt x="543" y="503"/>
                  </a:moveTo>
                  <a:lnTo>
                    <a:pt x="543" y="507"/>
                  </a:lnTo>
                  <a:lnTo>
                    <a:pt x="539" y="507"/>
                  </a:lnTo>
                  <a:lnTo>
                    <a:pt x="539" y="511"/>
                  </a:lnTo>
                  <a:lnTo>
                    <a:pt x="535" y="511"/>
                  </a:lnTo>
                  <a:lnTo>
                    <a:pt x="531" y="511"/>
                  </a:lnTo>
                  <a:lnTo>
                    <a:pt x="531" y="507"/>
                  </a:lnTo>
                  <a:lnTo>
                    <a:pt x="531" y="503"/>
                  </a:lnTo>
                  <a:lnTo>
                    <a:pt x="535" y="503"/>
                  </a:lnTo>
                  <a:lnTo>
                    <a:pt x="535" y="495"/>
                  </a:lnTo>
                  <a:lnTo>
                    <a:pt x="531" y="495"/>
                  </a:lnTo>
                  <a:lnTo>
                    <a:pt x="531" y="491"/>
                  </a:lnTo>
                  <a:lnTo>
                    <a:pt x="535" y="487"/>
                  </a:lnTo>
                  <a:lnTo>
                    <a:pt x="535" y="483"/>
                  </a:lnTo>
                  <a:lnTo>
                    <a:pt x="535" y="479"/>
                  </a:lnTo>
                  <a:lnTo>
                    <a:pt x="539" y="479"/>
                  </a:lnTo>
                  <a:lnTo>
                    <a:pt x="535" y="479"/>
                  </a:lnTo>
                  <a:lnTo>
                    <a:pt x="539" y="479"/>
                  </a:lnTo>
                  <a:lnTo>
                    <a:pt x="543" y="479"/>
                  </a:lnTo>
                  <a:lnTo>
                    <a:pt x="543" y="483"/>
                  </a:lnTo>
                  <a:lnTo>
                    <a:pt x="543" y="487"/>
                  </a:lnTo>
                  <a:lnTo>
                    <a:pt x="547" y="487"/>
                  </a:lnTo>
                  <a:lnTo>
                    <a:pt x="543" y="491"/>
                  </a:lnTo>
                  <a:lnTo>
                    <a:pt x="539" y="491"/>
                  </a:lnTo>
                  <a:lnTo>
                    <a:pt x="539" y="495"/>
                  </a:lnTo>
                  <a:lnTo>
                    <a:pt x="543" y="495"/>
                  </a:lnTo>
                  <a:lnTo>
                    <a:pt x="539" y="495"/>
                  </a:lnTo>
                  <a:lnTo>
                    <a:pt x="539" y="491"/>
                  </a:lnTo>
                  <a:lnTo>
                    <a:pt x="539" y="495"/>
                  </a:lnTo>
                  <a:lnTo>
                    <a:pt x="543" y="499"/>
                  </a:lnTo>
                  <a:lnTo>
                    <a:pt x="543" y="503"/>
                  </a:lnTo>
                  <a:close/>
                  <a:moveTo>
                    <a:pt x="543" y="495"/>
                  </a:moveTo>
                  <a:lnTo>
                    <a:pt x="543" y="491"/>
                  </a:lnTo>
                  <a:lnTo>
                    <a:pt x="539" y="491"/>
                  </a:lnTo>
                  <a:lnTo>
                    <a:pt x="543" y="491"/>
                  </a:lnTo>
                  <a:lnTo>
                    <a:pt x="543" y="495"/>
                  </a:lnTo>
                  <a:close/>
                  <a:moveTo>
                    <a:pt x="523" y="519"/>
                  </a:moveTo>
                  <a:lnTo>
                    <a:pt x="523" y="515"/>
                  </a:lnTo>
                  <a:lnTo>
                    <a:pt x="527" y="515"/>
                  </a:lnTo>
                  <a:lnTo>
                    <a:pt x="527" y="519"/>
                  </a:lnTo>
                  <a:lnTo>
                    <a:pt x="523" y="519"/>
                  </a:lnTo>
                  <a:close/>
                  <a:moveTo>
                    <a:pt x="535" y="523"/>
                  </a:moveTo>
                  <a:lnTo>
                    <a:pt x="539" y="523"/>
                  </a:lnTo>
                  <a:lnTo>
                    <a:pt x="539" y="519"/>
                  </a:lnTo>
                  <a:lnTo>
                    <a:pt x="539" y="523"/>
                  </a:lnTo>
                  <a:lnTo>
                    <a:pt x="535" y="523"/>
                  </a:lnTo>
                  <a:close/>
                  <a:moveTo>
                    <a:pt x="547" y="527"/>
                  </a:moveTo>
                  <a:lnTo>
                    <a:pt x="547" y="523"/>
                  </a:lnTo>
                  <a:lnTo>
                    <a:pt x="547" y="527"/>
                  </a:lnTo>
                  <a:close/>
                  <a:moveTo>
                    <a:pt x="539" y="527"/>
                  </a:moveTo>
                  <a:lnTo>
                    <a:pt x="539" y="523"/>
                  </a:lnTo>
                  <a:lnTo>
                    <a:pt x="543" y="527"/>
                  </a:lnTo>
                  <a:lnTo>
                    <a:pt x="539" y="527"/>
                  </a:lnTo>
                  <a:close/>
                  <a:moveTo>
                    <a:pt x="539" y="531"/>
                  </a:moveTo>
                  <a:lnTo>
                    <a:pt x="535" y="531"/>
                  </a:lnTo>
                  <a:lnTo>
                    <a:pt x="535" y="527"/>
                  </a:lnTo>
                  <a:lnTo>
                    <a:pt x="539" y="527"/>
                  </a:lnTo>
                  <a:lnTo>
                    <a:pt x="539" y="531"/>
                  </a:lnTo>
                  <a:close/>
                  <a:moveTo>
                    <a:pt x="535" y="531"/>
                  </a:moveTo>
                  <a:lnTo>
                    <a:pt x="535" y="527"/>
                  </a:lnTo>
                  <a:lnTo>
                    <a:pt x="535" y="531"/>
                  </a:lnTo>
                  <a:close/>
                  <a:moveTo>
                    <a:pt x="535" y="535"/>
                  </a:moveTo>
                  <a:lnTo>
                    <a:pt x="535" y="531"/>
                  </a:lnTo>
                  <a:lnTo>
                    <a:pt x="535" y="535"/>
                  </a:lnTo>
                  <a:close/>
                  <a:moveTo>
                    <a:pt x="551" y="543"/>
                  </a:moveTo>
                  <a:lnTo>
                    <a:pt x="547" y="543"/>
                  </a:lnTo>
                  <a:lnTo>
                    <a:pt x="547" y="547"/>
                  </a:lnTo>
                  <a:lnTo>
                    <a:pt x="543" y="543"/>
                  </a:lnTo>
                  <a:lnTo>
                    <a:pt x="547" y="543"/>
                  </a:lnTo>
                  <a:lnTo>
                    <a:pt x="543" y="543"/>
                  </a:lnTo>
                  <a:lnTo>
                    <a:pt x="543" y="539"/>
                  </a:lnTo>
                  <a:lnTo>
                    <a:pt x="547" y="539"/>
                  </a:lnTo>
                  <a:lnTo>
                    <a:pt x="547" y="535"/>
                  </a:lnTo>
                  <a:lnTo>
                    <a:pt x="551" y="535"/>
                  </a:lnTo>
                  <a:lnTo>
                    <a:pt x="555" y="535"/>
                  </a:lnTo>
                  <a:lnTo>
                    <a:pt x="555" y="539"/>
                  </a:lnTo>
                  <a:lnTo>
                    <a:pt x="551" y="539"/>
                  </a:lnTo>
                  <a:lnTo>
                    <a:pt x="555" y="539"/>
                  </a:lnTo>
                  <a:lnTo>
                    <a:pt x="551" y="543"/>
                  </a:lnTo>
                  <a:close/>
                  <a:moveTo>
                    <a:pt x="531" y="539"/>
                  </a:moveTo>
                  <a:lnTo>
                    <a:pt x="527" y="535"/>
                  </a:lnTo>
                  <a:lnTo>
                    <a:pt x="531" y="535"/>
                  </a:lnTo>
                  <a:lnTo>
                    <a:pt x="531" y="539"/>
                  </a:lnTo>
                  <a:close/>
                  <a:moveTo>
                    <a:pt x="535" y="539"/>
                  </a:moveTo>
                  <a:lnTo>
                    <a:pt x="535" y="535"/>
                  </a:lnTo>
                  <a:lnTo>
                    <a:pt x="535" y="539"/>
                  </a:lnTo>
                  <a:close/>
                  <a:moveTo>
                    <a:pt x="531" y="539"/>
                  </a:moveTo>
                  <a:lnTo>
                    <a:pt x="531" y="535"/>
                  </a:lnTo>
                  <a:lnTo>
                    <a:pt x="535" y="539"/>
                  </a:lnTo>
                  <a:lnTo>
                    <a:pt x="531" y="539"/>
                  </a:lnTo>
                  <a:close/>
                  <a:moveTo>
                    <a:pt x="539" y="543"/>
                  </a:moveTo>
                  <a:lnTo>
                    <a:pt x="539" y="539"/>
                  </a:lnTo>
                  <a:lnTo>
                    <a:pt x="539" y="535"/>
                  </a:lnTo>
                  <a:lnTo>
                    <a:pt x="539" y="539"/>
                  </a:lnTo>
                  <a:lnTo>
                    <a:pt x="543" y="539"/>
                  </a:lnTo>
                  <a:lnTo>
                    <a:pt x="539" y="543"/>
                  </a:lnTo>
                  <a:close/>
                  <a:moveTo>
                    <a:pt x="531" y="543"/>
                  </a:moveTo>
                  <a:lnTo>
                    <a:pt x="531" y="539"/>
                  </a:lnTo>
                  <a:lnTo>
                    <a:pt x="535" y="539"/>
                  </a:lnTo>
                  <a:lnTo>
                    <a:pt x="539" y="539"/>
                  </a:lnTo>
                  <a:lnTo>
                    <a:pt x="535" y="539"/>
                  </a:lnTo>
                  <a:lnTo>
                    <a:pt x="531" y="543"/>
                  </a:lnTo>
                  <a:close/>
                  <a:moveTo>
                    <a:pt x="531" y="543"/>
                  </a:moveTo>
                  <a:lnTo>
                    <a:pt x="527" y="543"/>
                  </a:lnTo>
                  <a:lnTo>
                    <a:pt x="527" y="539"/>
                  </a:lnTo>
                  <a:lnTo>
                    <a:pt x="531" y="539"/>
                  </a:lnTo>
                  <a:lnTo>
                    <a:pt x="531" y="543"/>
                  </a:lnTo>
                  <a:close/>
                  <a:moveTo>
                    <a:pt x="539" y="543"/>
                  </a:moveTo>
                  <a:lnTo>
                    <a:pt x="543" y="543"/>
                  </a:lnTo>
                  <a:lnTo>
                    <a:pt x="539" y="543"/>
                  </a:lnTo>
                  <a:close/>
                  <a:moveTo>
                    <a:pt x="535" y="543"/>
                  </a:moveTo>
                  <a:lnTo>
                    <a:pt x="531" y="543"/>
                  </a:lnTo>
                  <a:lnTo>
                    <a:pt x="535" y="543"/>
                  </a:lnTo>
                  <a:close/>
                  <a:moveTo>
                    <a:pt x="519" y="547"/>
                  </a:moveTo>
                  <a:lnTo>
                    <a:pt x="519" y="543"/>
                  </a:lnTo>
                  <a:lnTo>
                    <a:pt x="519" y="547"/>
                  </a:lnTo>
                  <a:close/>
                  <a:moveTo>
                    <a:pt x="531" y="547"/>
                  </a:moveTo>
                  <a:lnTo>
                    <a:pt x="531" y="543"/>
                  </a:lnTo>
                  <a:lnTo>
                    <a:pt x="535" y="543"/>
                  </a:lnTo>
                  <a:lnTo>
                    <a:pt x="535" y="547"/>
                  </a:lnTo>
                  <a:lnTo>
                    <a:pt x="539" y="547"/>
                  </a:lnTo>
                  <a:lnTo>
                    <a:pt x="535" y="547"/>
                  </a:lnTo>
                  <a:lnTo>
                    <a:pt x="531" y="547"/>
                  </a:lnTo>
                  <a:close/>
                  <a:moveTo>
                    <a:pt x="539" y="551"/>
                  </a:moveTo>
                  <a:lnTo>
                    <a:pt x="535" y="551"/>
                  </a:lnTo>
                  <a:lnTo>
                    <a:pt x="531" y="551"/>
                  </a:lnTo>
                  <a:lnTo>
                    <a:pt x="531" y="547"/>
                  </a:lnTo>
                  <a:lnTo>
                    <a:pt x="535" y="547"/>
                  </a:lnTo>
                  <a:lnTo>
                    <a:pt x="539" y="547"/>
                  </a:lnTo>
                  <a:lnTo>
                    <a:pt x="539" y="551"/>
                  </a:lnTo>
                  <a:close/>
                  <a:moveTo>
                    <a:pt x="531" y="555"/>
                  </a:moveTo>
                  <a:lnTo>
                    <a:pt x="531" y="551"/>
                  </a:lnTo>
                  <a:lnTo>
                    <a:pt x="531" y="555"/>
                  </a:lnTo>
                  <a:close/>
                  <a:moveTo>
                    <a:pt x="535" y="555"/>
                  </a:moveTo>
                  <a:lnTo>
                    <a:pt x="535" y="551"/>
                  </a:lnTo>
                  <a:lnTo>
                    <a:pt x="539" y="551"/>
                  </a:lnTo>
                  <a:lnTo>
                    <a:pt x="539" y="555"/>
                  </a:lnTo>
                  <a:lnTo>
                    <a:pt x="535" y="555"/>
                  </a:lnTo>
                  <a:close/>
                  <a:moveTo>
                    <a:pt x="531" y="555"/>
                  </a:moveTo>
                  <a:lnTo>
                    <a:pt x="527" y="555"/>
                  </a:lnTo>
                  <a:lnTo>
                    <a:pt x="527" y="551"/>
                  </a:lnTo>
                  <a:lnTo>
                    <a:pt x="531" y="551"/>
                  </a:lnTo>
                  <a:lnTo>
                    <a:pt x="531" y="555"/>
                  </a:lnTo>
                  <a:close/>
                  <a:moveTo>
                    <a:pt x="535" y="555"/>
                  </a:moveTo>
                  <a:lnTo>
                    <a:pt x="539" y="555"/>
                  </a:lnTo>
                  <a:lnTo>
                    <a:pt x="535" y="555"/>
                  </a:lnTo>
                  <a:close/>
                  <a:moveTo>
                    <a:pt x="535" y="559"/>
                  </a:moveTo>
                  <a:lnTo>
                    <a:pt x="535" y="555"/>
                  </a:lnTo>
                  <a:lnTo>
                    <a:pt x="539" y="555"/>
                  </a:lnTo>
                  <a:lnTo>
                    <a:pt x="539" y="559"/>
                  </a:lnTo>
                  <a:lnTo>
                    <a:pt x="535" y="559"/>
                  </a:lnTo>
                  <a:close/>
                  <a:moveTo>
                    <a:pt x="543" y="563"/>
                  </a:moveTo>
                  <a:lnTo>
                    <a:pt x="539" y="563"/>
                  </a:lnTo>
                  <a:lnTo>
                    <a:pt x="539" y="559"/>
                  </a:lnTo>
                  <a:lnTo>
                    <a:pt x="539" y="555"/>
                  </a:lnTo>
                  <a:lnTo>
                    <a:pt x="543" y="555"/>
                  </a:lnTo>
                  <a:lnTo>
                    <a:pt x="543" y="559"/>
                  </a:lnTo>
                  <a:lnTo>
                    <a:pt x="543" y="563"/>
                  </a:lnTo>
                  <a:close/>
                  <a:moveTo>
                    <a:pt x="527" y="563"/>
                  </a:moveTo>
                  <a:lnTo>
                    <a:pt x="527" y="559"/>
                  </a:lnTo>
                  <a:lnTo>
                    <a:pt x="531" y="555"/>
                  </a:lnTo>
                  <a:lnTo>
                    <a:pt x="531" y="559"/>
                  </a:lnTo>
                  <a:lnTo>
                    <a:pt x="531" y="563"/>
                  </a:lnTo>
                  <a:lnTo>
                    <a:pt x="527" y="563"/>
                  </a:lnTo>
                  <a:close/>
                  <a:moveTo>
                    <a:pt x="535" y="563"/>
                  </a:moveTo>
                  <a:lnTo>
                    <a:pt x="535" y="559"/>
                  </a:lnTo>
                  <a:lnTo>
                    <a:pt x="539" y="559"/>
                  </a:lnTo>
                  <a:lnTo>
                    <a:pt x="539" y="563"/>
                  </a:lnTo>
                  <a:lnTo>
                    <a:pt x="535" y="563"/>
                  </a:lnTo>
                  <a:close/>
                  <a:moveTo>
                    <a:pt x="527" y="563"/>
                  </a:moveTo>
                  <a:lnTo>
                    <a:pt x="527" y="559"/>
                  </a:lnTo>
                  <a:lnTo>
                    <a:pt x="527" y="563"/>
                  </a:lnTo>
                  <a:close/>
                  <a:moveTo>
                    <a:pt x="535" y="567"/>
                  </a:moveTo>
                  <a:lnTo>
                    <a:pt x="535" y="563"/>
                  </a:lnTo>
                  <a:lnTo>
                    <a:pt x="535" y="567"/>
                  </a:lnTo>
                  <a:close/>
                  <a:moveTo>
                    <a:pt x="539" y="567"/>
                  </a:moveTo>
                  <a:lnTo>
                    <a:pt x="535" y="567"/>
                  </a:lnTo>
                  <a:lnTo>
                    <a:pt x="539" y="567"/>
                  </a:lnTo>
                  <a:lnTo>
                    <a:pt x="539" y="563"/>
                  </a:lnTo>
                  <a:lnTo>
                    <a:pt x="539" y="567"/>
                  </a:lnTo>
                  <a:close/>
                  <a:moveTo>
                    <a:pt x="539" y="571"/>
                  </a:moveTo>
                  <a:lnTo>
                    <a:pt x="535" y="571"/>
                  </a:lnTo>
                  <a:lnTo>
                    <a:pt x="535" y="567"/>
                  </a:lnTo>
                  <a:lnTo>
                    <a:pt x="539" y="567"/>
                  </a:lnTo>
                  <a:lnTo>
                    <a:pt x="539" y="571"/>
                  </a:lnTo>
                  <a:close/>
                  <a:moveTo>
                    <a:pt x="527" y="595"/>
                  </a:moveTo>
                  <a:lnTo>
                    <a:pt x="527" y="591"/>
                  </a:lnTo>
                  <a:lnTo>
                    <a:pt x="531" y="591"/>
                  </a:lnTo>
                  <a:lnTo>
                    <a:pt x="531" y="595"/>
                  </a:lnTo>
                  <a:lnTo>
                    <a:pt x="527" y="595"/>
                  </a:lnTo>
                  <a:close/>
                  <a:moveTo>
                    <a:pt x="519" y="606"/>
                  </a:moveTo>
                  <a:lnTo>
                    <a:pt x="523" y="606"/>
                  </a:lnTo>
                  <a:lnTo>
                    <a:pt x="519" y="606"/>
                  </a:lnTo>
                  <a:close/>
                  <a:moveTo>
                    <a:pt x="519" y="606"/>
                  </a:moveTo>
                  <a:lnTo>
                    <a:pt x="515" y="606"/>
                  </a:lnTo>
                  <a:lnTo>
                    <a:pt x="519" y="606"/>
                  </a:lnTo>
                  <a:close/>
                  <a:moveTo>
                    <a:pt x="531" y="610"/>
                  </a:moveTo>
                  <a:lnTo>
                    <a:pt x="527" y="610"/>
                  </a:lnTo>
                  <a:lnTo>
                    <a:pt x="531" y="606"/>
                  </a:lnTo>
                  <a:lnTo>
                    <a:pt x="535" y="606"/>
                  </a:lnTo>
                  <a:lnTo>
                    <a:pt x="535" y="610"/>
                  </a:lnTo>
                  <a:lnTo>
                    <a:pt x="539" y="610"/>
                  </a:lnTo>
                  <a:lnTo>
                    <a:pt x="539" y="606"/>
                  </a:lnTo>
                  <a:lnTo>
                    <a:pt x="539" y="610"/>
                  </a:lnTo>
                  <a:lnTo>
                    <a:pt x="535" y="610"/>
                  </a:lnTo>
                  <a:lnTo>
                    <a:pt x="531" y="610"/>
                  </a:lnTo>
                  <a:close/>
                  <a:moveTo>
                    <a:pt x="523" y="614"/>
                  </a:moveTo>
                  <a:lnTo>
                    <a:pt x="519" y="610"/>
                  </a:lnTo>
                  <a:lnTo>
                    <a:pt x="515" y="610"/>
                  </a:lnTo>
                  <a:lnTo>
                    <a:pt x="519" y="610"/>
                  </a:lnTo>
                  <a:lnTo>
                    <a:pt x="523" y="610"/>
                  </a:lnTo>
                  <a:lnTo>
                    <a:pt x="523" y="606"/>
                  </a:lnTo>
                  <a:lnTo>
                    <a:pt x="523" y="610"/>
                  </a:lnTo>
                  <a:lnTo>
                    <a:pt x="523" y="614"/>
                  </a:lnTo>
                  <a:close/>
                  <a:moveTo>
                    <a:pt x="519" y="626"/>
                  </a:moveTo>
                  <a:lnTo>
                    <a:pt x="515" y="626"/>
                  </a:lnTo>
                  <a:lnTo>
                    <a:pt x="515" y="622"/>
                  </a:lnTo>
                  <a:lnTo>
                    <a:pt x="515" y="618"/>
                  </a:lnTo>
                  <a:lnTo>
                    <a:pt x="515" y="622"/>
                  </a:lnTo>
                  <a:lnTo>
                    <a:pt x="511" y="622"/>
                  </a:lnTo>
                  <a:lnTo>
                    <a:pt x="511" y="618"/>
                  </a:lnTo>
                  <a:lnTo>
                    <a:pt x="515" y="618"/>
                  </a:lnTo>
                  <a:lnTo>
                    <a:pt x="511" y="618"/>
                  </a:lnTo>
                  <a:lnTo>
                    <a:pt x="511" y="614"/>
                  </a:lnTo>
                  <a:lnTo>
                    <a:pt x="511" y="610"/>
                  </a:lnTo>
                  <a:lnTo>
                    <a:pt x="515" y="610"/>
                  </a:lnTo>
                  <a:lnTo>
                    <a:pt x="515" y="614"/>
                  </a:lnTo>
                  <a:lnTo>
                    <a:pt x="515" y="618"/>
                  </a:lnTo>
                  <a:lnTo>
                    <a:pt x="519" y="618"/>
                  </a:lnTo>
                  <a:lnTo>
                    <a:pt x="519" y="622"/>
                  </a:lnTo>
                  <a:lnTo>
                    <a:pt x="519" y="626"/>
                  </a:lnTo>
                  <a:close/>
                  <a:moveTo>
                    <a:pt x="519" y="622"/>
                  </a:moveTo>
                  <a:lnTo>
                    <a:pt x="519" y="614"/>
                  </a:lnTo>
                  <a:lnTo>
                    <a:pt x="515" y="614"/>
                  </a:lnTo>
                  <a:lnTo>
                    <a:pt x="519" y="614"/>
                  </a:lnTo>
                  <a:lnTo>
                    <a:pt x="523" y="614"/>
                  </a:lnTo>
                  <a:lnTo>
                    <a:pt x="523" y="618"/>
                  </a:lnTo>
                  <a:lnTo>
                    <a:pt x="519" y="622"/>
                  </a:lnTo>
                  <a:close/>
                  <a:moveTo>
                    <a:pt x="527" y="618"/>
                  </a:moveTo>
                  <a:lnTo>
                    <a:pt x="527" y="614"/>
                  </a:lnTo>
                  <a:lnTo>
                    <a:pt x="531" y="614"/>
                  </a:lnTo>
                  <a:lnTo>
                    <a:pt x="531" y="618"/>
                  </a:lnTo>
                  <a:lnTo>
                    <a:pt x="527" y="618"/>
                  </a:lnTo>
                  <a:close/>
                  <a:moveTo>
                    <a:pt x="527" y="626"/>
                  </a:moveTo>
                  <a:lnTo>
                    <a:pt x="523" y="626"/>
                  </a:lnTo>
                  <a:lnTo>
                    <a:pt x="519" y="626"/>
                  </a:lnTo>
                  <a:lnTo>
                    <a:pt x="519" y="622"/>
                  </a:lnTo>
                  <a:lnTo>
                    <a:pt x="523" y="622"/>
                  </a:lnTo>
                  <a:lnTo>
                    <a:pt x="523" y="618"/>
                  </a:lnTo>
                  <a:lnTo>
                    <a:pt x="523" y="622"/>
                  </a:lnTo>
                  <a:lnTo>
                    <a:pt x="523" y="618"/>
                  </a:lnTo>
                  <a:lnTo>
                    <a:pt x="523" y="614"/>
                  </a:lnTo>
                  <a:lnTo>
                    <a:pt x="527" y="614"/>
                  </a:lnTo>
                  <a:lnTo>
                    <a:pt x="527" y="618"/>
                  </a:lnTo>
                  <a:lnTo>
                    <a:pt x="527" y="622"/>
                  </a:lnTo>
                  <a:lnTo>
                    <a:pt x="527" y="626"/>
                  </a:lnTo>
                  <a:lnTo>
                    <a:pt x="527" y="622"/>
                  </a:lnTo>
                  <a:lnTo>
                    <a:pt x="527" y="626"/>
                  </a:lnTo>
                  <a:close/>
                  <a:moveTo>
                    <a:pt x="531" y="622"/>
                  </a:moveTo>
                  <a:lnTo>
                    <a:pt x="531" y="618"/>
                  </a:lnTo>
                  <a:lnTo>
                    <a:pt x="527" y="618"/>
                  </a:lnTo>
                  <a:lnTo>
                    <a:pt x="531" y="618"/>
                  </a:lnTo>
                  <a:lnTo>
                    <a:pt x="531" y="622"/>
                  </a:lnTo>
                  <a:close/>
                  <a:moveTo>
                    <a:pt x="535" y="622"/>
                  </a:moveTo>
                  <a:lnTo>
                    <a:pt x="531" y="622"/>
                  </a:lnTo>
                  <a:lnTo>
                    <a:pt x="531" y="618"/>
                  </a:lnTo>
                  <a:lnTo>
                    <a:pt x="535" y="618"/>
                  </a:lnTo>
                  <a:lnTo>
                    <a:pt x="535" y="622"/>
                  </a:lnTo>
                  <a:close/>
                  <a:moveTo>
                    <a:pt x="511" y="626"/>
                  </a:moveTo>
                  <a:lnTo>
                    <a:pt x="515" y="626"/>
                  </a:lnTo>
                  <a:lnTo>
                    <a:pt x="511" y="626"/>
                  </a:lnTo>
                  <a:lnTo>
                    <a:pt x="511" y="622"/>
                  </a:lnTo>
                  <a:lnTo>
                    <a:pt x="515" y="622"/>
                  </a:lnTo>
                  <a:lnTo>
                    <a:pt x="515" y="626"/>
                  </a:lnTo>
                  <a:lnTo>
                    <a:pt x="511" y="626"/>
                  </a:lnTo>
                  <a:close/>
                  <a:moveTo>
                    <a:pt x="527" y="646"/>
                  </a:moveTo>
                  <a:lnTo>
                    <a:pt x="527" y="650"/>
                  </a:lnTo>
                  <a:lnTo>
                    <a:pt x="527" y="646"/>
                  </a:lnTo>
                  <a:lnTo>
                    <a:pt x="531" y="646"/>
                  </a:lnTo>
                  <a:lnTo>
                    <a:pt x="531" y="650"/>
                  </a:lnTo>
                  <a:lnTo>
                    <a:pt x="527" y="654"/>
                  </a:lnTo>
                  <a:lnTo>
                    <a:pt x="527" y="658"/>
                  </a:lnTo>
                  <a:lnTo>
                    <a:pt x="523" y="658"/>
                  </a:lnTo>
                  <a:lnTo>
                    <a:pt x="523" y="654"/>
                  </a:lnTo>
                  <a:lnTo>
                    <a:pt x="527" y="654"/>
                  </a:lnTo>
                  <a:lnTo>
                    <a:pt x="523" y="654"/>
                  </a:lnTo>
                  <a:lnTo>
                    <a:pt x="523" y="650"/>
                  </a:lnTo>
                  <a:lnTo>
                    <a:pt x="523" y="646"/>
                  </a:lnTo>
                  <a:lnTo>
                    <a:pt x="523" y="642"/>
                  </a:lnTo>
                  <a:lnTo>
                    <a:pt x="527" y="642"/>
                  </a:lnTo>
                  <a:lnTo>
                    <a:pt x="523" y="642"/>
                  </a:lnTo>
                  <a:lnTo>
                    <a:pt x="523" y="646"/>
                  </a:lnTo>
                  <a:lnTo>
                    <a:pt x="523" y="642"/>
                  </a:lnTo>
                  <a:lnTo>
                    <a:pt x="519" y="646"/>
                  </a:lnTo>
                  <a:lnTo>
                    <a:pt x="523" y="646"/>
                  </a:lnTo>
                  <a:lnTo>
                    <a:pt x="519" y="650"/>
                  </a:lnTo>
                  <a:lnTo>
                    <a:pt x="519" y="654"/>
                  </a:lnTo>
                  <a:lnTo>
                    <a:pt x="519" y="650"/>
                  </a:lnTo>
                  <a:lnTo>
                    <a:pt x="515" y="646"/>
                  </a:lnTo>
                  <a:lnTo>
                    <a:pt x="515" y="642"/>
                  </a:lnTo>
                  <a:lnTo>
                    <a:pt x="515" y="638"/>
                  </a:lnTo>
                  <a:lnTo>
                    <a:pt x="515" y="642"/>
                  </a:lnTo>
                  <a:lnTo>
                    <a:pt x="519" y="642"/>
                  </a:lnTo>
                  <a:lnTo>
                    <a:pt x="519" y="646"/>
                  </a:lnTo>
                  <a:lnTo>
                    <a:pt x="519" y="642"/>
                  </a:lnTo>
                  <a:lnTo>
                    <a:pt x="515" y="642"/>
                  </a:lnTo>
                  <a:lnTo>
                    <a:pt x="515" y="638"/>
                  </a:lnTo>
                  <a:lnTo>
                    <a:pt x="519" y="642"/>
                  </a:lnTo>
                  <a:lnTo>
                    <a:pt x="519" y="638"/>
                  </a:lnTo>
                  <a:lnTo>
                    <a:pt x="523" y="642"/>
                  </a:lnTo>
                  <a:lnTo>
                    <a:pt x="523" y="638"/>
                  </a:lnTo>
                  <a:lnTo>
                    <a:pt x="523" y="634"/>
                  </a:lnTo>
                  <a:lnTo>
                    <a:pt x="519" y="630"/>
                  </a:lnTo>
                  <a:lnTo>
                    <a:pt x="519" y="626"/>
                  </a:lnTo>
                  <a:lnTo>
                    <a:pt x="523" y="626"/>
                  </a:lnTo>
                  <a:lnTo>
                    <a:pt x="527" y="626"/>
                  </a:lnTo>
                  <a:lnTo>
                    <a:pt x="527" y="630"/>
                  </a:lnTo>
                  <a:lnTo>
                    <a:pt x="527" y="634"/>
                  </a:lnTo>
                  <a:lnTo>
                    <a:pt x="527" y="638"/>
                  </a:lnTo>
                  <a:lnTo>
                    <a:pt x="531" y="638"/>
                  </a:lnTo>
                  <a:lnTo>
                    <a:pt x="527" y="642"/>
                  </a:lnTo>
                  <a:lnTo>
                    <a:pt x="527" y="646"/>
                  </a:lnTo>
                  <a:close/>
                  <a:moveTo>
                    <a:pt x="519" y="634"/>
                  </a:moveTo>
                  <a:lnTo>
                    <a:pt x="515" y="630"/>
                  </a:lnTo>
                  <a:lnTo>
                    <a:pt x="519" y="630"/>
                  </a:lnTo>
                  <a:lnTo>
                    <a:pt x="519" y="634"/>
                  </a:lnTo>
                  <a:close/>
                  <a:moveTo>
                    <a:pt x="515" y="634"/>
                  </a:moveTo>
                  <a:lnTo>
                    <a:pt x="515" y="630"/>
                  </a:lnTo>
                  <a:lnTo>
                    <a:pt x="515" y="634"/>
                  </a:lnTo>
                  <a:lnTo>
                    <a:pt x="511" y="634"/>
                  </a:lnTo>
                  <a:lnTo>
                    <a:pt x="511" y="630"/>
                  </a:lnTo>
                  <a:lnTo>
                    <a:pt x="515" y="630"/>
                  </a:lnTo>
                  <a:lnTo>
                    <a:pt x="519" y="634"/>
                  </a:lnTo>
                  <a:lnTo>
                    <a:pt x="515" y="634"/>
                  </a:lnTo>
                  <a:close/>
                  <a:moveTo>
                    <a:pt x="523" y="638"/>
                  </a:moveTo>
                  <a:lnTo>
                    <a:pt x="519" y="638"/>
                  </a:lnTo>
                  <a:lnTo>
                    <a:pt x="515" y="638"/>
                  </a:lnTo>
                  <a:lnTo>
                    <a:pt x="515" y="634"/>
                  </a:lnTo>
                  <a:lnTo>
                    <a:pt x="519" y="634"/>
                  </a:lnTo>
                  <a:lnTo>
                    <a:pt x="523" y="634"/>
                  </a:lnTo>
                  <a:lnTo>
                    <a:pt x="523" y="638"/>
                  </a:lnTo>
                  <a:close/>
                  <a:moveTo>
                    <a:pt x="531" y="646"/>
                  </a:moveTo>
                  <a:lnTo>
                    <a:pt x="527" y="642"/>
                  </a:lnTo>
                  <a:lnTo>
                    <a:pt x="531" y="642"/>
                  </a:lnTo>
                  <a:lnTo>
                    <a:pt x="531" y="646"/>
                  </a:lnTo>
                  <a:close/>
                  <a:moveTo>
                    <a:pt x="519" y="654"/>
                  </a:moveTo>
                  <a:lnTo>
                    <a:pt x="515" y="650"/>
                  </a:lnTo>
                  <a:lnTo>
                    <a:pt x="515" y="654"/>
                  </a:lnTo>
                  <a:lnTo>
                    <a:pt x="515" y="650"/>
                  </a:lnTo>
                  <a:lnTo>
                    <a:pt x="511" y="650"/>
                  </a:lnTo>
                  <a:lnTo>
                    <a:pt x="511" y="646"/>
                  </a:lnTo>
                  <a:lnTo>
                    <a:pt x="515" y="646"/>
                  </a:lnTo>
                  <a:lnTo>
                    <a:pt x="519" y="650"/>
                  </a:lnTo>
                  <a:lnTo>
                    <a:pt x="519" y="654"/>
                  </a:lnTo>
                  <a:close/>
                  <a:moveTo>
                    <a:pt x="519" y="662"/>
                  </a:moveTo>
                  <a:lnTo>
                    <a:pt x="519" y="666"/>
                  </a:lnTo>
                  <a:lnTo>
                    <a:pt x="515" y="666"/>
                  </a:lnTo>
                  <a:lnTo>
                    <a:pt x="515" y="662"/>
                  </a:lnTo>
                  <a:lnTo>
                    <a:pt x="519" y="662"/>
                  </a:lnTo>
                  <a:lnTo>
                    <a:pt x="515" y="662"/>
                  </a:lnTo>
                  <a:lnTo>
                    <a:pt x="515" y="658"/>
                  </a:lnTo>
                  <a:lnTo>
                    <a:pt x="515" y="662"/>
                  </a:lnTo>
                  <a:lnTo>
                    <a:pt x="519" y="662"/>
                  </a:lnTo>
                  <a:lnTo>
                    <a:pt x="519" y="658"/>
                  </a:lnTo>
                  <a:lnTo>
                    <a:pt x="515" y="658"/>
                  </a:lnTo>
                  <a:lnTo>
                    <a:pt x="515" y="654"/>
                  </a:lnTo>
                  <a:lnTo>
                    <a:pt x="519" y="654"/>
                  </a:lnTo>
                  <a:lnTo>
                    <a:pt x="519" y="658"/>
                  </a:lnTo>
                  <a:lnTo>
                    <a:pt x="523" y="658"/>
                  </a:lnTo>
                  <a:lnTo>
                    <a:pt x="519" y="662"/>
                  </a:lnTo>
                  <a:close/>
                  <a:moveTo>
                    <a:pt x="523" y="666"/>
                  </a:moveTo>
                  <a:lnTo>
                    <a:pt x="523" y="662"/>
                  </a:lnTo>
                  <a:lnTo>
                    <a:pt x="527" y="662"/>
                  </a:lnTo>
                  <a:lnTo>
                    <a:pt x="527" y="666"/>
                  </a:lnTo>
                  <a:lnTo>
                    <a:pt x="523" y="666"/>
                  </a:lnTo>
                  <a:close/>
                  <a:moveTo>
                    <a:pt x="531" y="674"/>
                  </a:moveTo>
                  <a:lnTo>
                    <a:pt x="527" y="670"/>
                  </a:lnTo>
                  <a:lnTo>
                    <a:pt x="527" y="666"/>
                  </a:lnTo>
                  <a:lnTo>
                    <a:pt x="531" y="666"/>
                  </a:lnTo>
                  <a:lnTo>
                    <a:pt x="527" y="666"/>
                  </a:lnTo>
                  <a:lnTo>
                    <a:pt x="531" y="666"/>
                  </a:lnTo>
                  <a:lnTo>
                    <a:pt x="531" y="670"/>
                  </a:lnTo>
                  <a:lnTo>
                    <a:pt x="531" y="674"/>
                  </a:lnTo>
                  <a:lnTo>
                    <a:pt x="535" y="674"/>
                  </a:lnTo>
                  <a:lnTo>
                    <a:pt x="531" y="674"/>
                  </a:lnTo>
                  <a:close/>
                  <a:moveTo>
                    <a:pt x="515" y="674"/>
                  </a:moveTo>
                  <a:lnTo>
                    <a:pt x="511" y="670"/>
                  </a:lnTo>
                  <a:lnTo>
                    <a:pt x="515" y="670"/>
                  </a:lnTo>
                  <a:lnTo>
                    <a:pt x="515" y="666"/>
                  </a:lnTo>
                  <a:lnTo>
                    <a:pt x="519" y="666"/>
                  </a:lnTo>
                  <a:lnTo>
                    <a:pt x="519" y="670"/>
                  </a:lnTo>
                  <a:lnTo>
                    <a:pt x="515" y="670"/>
                  </a:lnTo>
                  <a:lnTo>
                    <a:pt x="515" y="674"/>
                  </a:lnTo>
                  <a:close/>
                  <a:moveTo>
                    <a:pt x="519" y="674"/>
                  </a:moveTo>
                  <a:lnTo>
                    <a:pt x="519" y="670"/>
                  </a:lnTo>
                  <a:lnTo>
                    <a:pt x="519" y="674"/>
                  </a:lnTo>
                  <a:close/>
                  <a:moveTo>
                    <a:pt x="527" y="674"/>
                  </a:moveTo>
                  <a:lnTo>
                    <a:pt x="523" y="674"/>
                  </a:lnTo>
                  <a:lnTo>
                    <a:pt x="523" y="670"/>
                  </a:lnTo>
                  <a:lnTo>
                    <a:pt x="527" y="674"/>
                  </a:lnTo>
                  <a:close/>
                  <a:moveTo>
                    <a:pt x="523" y="682"/>
                  </a:moveTo>
                  <a:lnTo>
                    <a:pt x="523" y="678"/>
                  </a:lnTo>
                  <a:lnTo>
                    <a:pt x="523" y="674"/>
                  </a:lnTo>
                  <a:lnTo>
                    <a:pt x="527" y="674"/>
                  </a:lnTo>
                  <a:lnTo>
                    <a:pt x="527" y="670"/>
                  </a:lnTo>
                  <a:lnTo>
                    <a:pt x="527" y="674"/>
                  </a:lnTo>
                  <a:lnTo>
                    <a:pt x="531" y="674"/>
                  </a:lnTo>
                  <a:lnTo>
                    <a:pt x="531" y="678"/>
                  </a:lnTo>
                  <a:lnTo>
                    <a:pt x="527" y="678"/>
                  </a:lnTo>
                  <a:lnTo>
                    <a:pt x="523" y="682"/>
                  </a:lnTo>
                  <a:close/>
                  <a:moveTo>
                    <a:pt x="531" y="682"/>
                  </a:moveTo>
                  <a:lnTo>
                    <a:pt x="531" y="678"/>
                  </a:lnTo>
                  <a:lnTo>
                    <a:pt x="531" y="674"/>
                  </a:lnTo>
                  <a:lnTo>
                    <a:pt x="531" y="678"/>
                  </a:lnTo>
                  <a:lnTo>
                    <a:pt x="531" y="682"/>
                  </a:lnTo>
                  <a:close/>
                  <a:moveTo>
                    <a:pt x="531" y="682"/>
                  </a:moveTo>
                  <a:lnTo>
                    <a:pt x="527" y="682"/>
                  </a:lnTo>
                  <a:lnTo>
                    <a:pt x="527" y="678"/>
                  </a:lnTo>
                  <a:lnTo>
                    <a:pt x="531" y="682"/>
                  </a:lnTo>
                  <a:close/>
                  <a:moveTo>
                    <a:pt x="519" y="690"/>
                  </a:moveTo>
                  <a:lnTo>
                    <a:pt x="519" y="686"/>
                  </a:lnTo>
                  <a:lnTo>
                    <a:pt x="523" y="686"/>
                  </a:lnTo>
                  <a:lnTo>
                    <a:pt x="523" y="682"/>
                  </a:lnTo>
                  <a:lnTo>
                    <a:pt x="527" y="682"/>
                  </a:lnTo>
                  <a:lnTo>
                    <a:pt x="527" y="686"/>
                  </a:lnTo>
                  <a:lnTo>
                    <a:pt x="523" y="686"/>
                  </a:lnTo>
                  <a:lnTo>
                    <a:pt x="519" y="690"/>
                  </a:lnTo>
                  <a:close/>
                  <a:moveTo>
                    <a:pt x="535" y="686"/>
                  </a:moveTo>
                  <a:lnTo>
                    <a:pt x="535" y="682"/>
                  </a:lnTo>
                  <a:lnTo>
                    <a:pt x="535" y="686"/>
                  </a:lnTo>
                  <a:close/>
                  <a:moveTo>
                    <a:pt x="539" y="686"/>
                  </a:moveTo>
                  <a:lnTo>
                    <a:pt x="539" y="682"/>
                  </a:lnTo>
                  <a:lnTo>
                    <a:pt x="539" y="686"/>
                  </a:lnTo>
                  <a:close/>
                  <a:moveTo>
                    <a:pt x="515" y="690"/>
                  </a:moveTo>
                  <a:lnTo>
                    <a:pt x="519" y="690"/>
                  </a:lnTo>
                  <a:lnTo>
                    <a:pt x="519" y="686"/>
                  </a:lnTo>
                  <a:lnTo>
                    <a:pt x="519" y="682"/>
                  </a:lnTo>
                  <a:lnTo>
                    <a:pt x="519" y="686"/>
                  </a:lnTo>
                  <a:lnTo>
                    <a:pt x="519" y="690"/>
                  </a:lnTo>
                  <a:lnTo>
                    <a:pt x="515" y="690"/>
                  </a:lnTo>
                  <a:close/>
                  <a:moveTo>
                    <a:pt x="535" y="694"/>
                  </a:moveTo>
                  <a:lnTo>
                    <a:pt x="531" y="694"/>
                  </a:lnTo>
                  <a:lnTo>
                    <a:pt x="535" y="694"/>
                  </a:lnTo>
                  <a:lnTo>
                    <a:pt x="535" y="690"/>
                  </a:lnTo>
                  <a:lnTo>
                    <a:pt x="535" y="694"/>
                  </a:lnTo>
                  <a:close/>
                  <a:moveTo>
                    <a:pt x="523" y="702"/>
                  </a:moveTo>
                  <a:lnTo>
                    <a:pt x="519" y="702"/>
                  </a:lnTo>
                  <a:lnTo>
                    <a:pt x="519" y="698"/>
                  </a:lnTo>
                  <a:lnTo>
                    <a:pt x="523" y="694"/>
                  </a:lnTo>
                  <a:lnTo>
                    <a:pt x="523" y="698"/>
                  </a:lnTo>
                  <a:lnTo>
                    <a:pt x="523" y="694"/>
                  </a:lnTo>
                  <a:lnTo>
                    <a:pt x="523" y="690"/>
                  </a:lnTo>
                  <a:lnTo>
                    <a:pt x="523" y="694"/>
                  </a:lnTo>
                  <a:lnTo>
                    <a:pt x="523" y="698"/>
                  </a:lnTo>
                  <a:lnTo>
                    <a:pt x="523" y="702"/>
                  </a:lnTo>
                  <a:close/>
                  <a:moveTo>
                    <a:pt x="539" y="694"/>
                  </a:moveTo>
                  <a:lnTo>
                    <a:pt x="535" y="694"/>
                  </a:lnTo>
                  <a:lnTo>
                    <a:pt x="539" y="694"/>
                  </a:lnTo>
                  <a:close/>
                  <a:moveTo>
                    <a:pt x="535" y="698"/>
                  </a:moveTo>
                  <a:lnTo>
                    <a:pt x="531" y="698"/>
                  </a:lnTo>
                  <a:lnTo>
                    <a:pt x="527" y="694"/>
                  </a:lnTo>
                  <a:lnTo>
                    <a:pt x="531" y="694"/>
                  </a:lnTo>
                  <a:lnTo>
                    <a:pt x="535" y="698"/>
                  </a:lnTo>
                  <a:close/>
                  <a:moveTo>
                    <a:pt x="519" y="698"/>
                  </a:moveTo>
                  <a:lnTo>
                    <a:pt x="519" y="694"/>
                  </a:lnTo>
                  <a:lnTo>
                    <a:pt x="523" y="694"/>
                  </a:lnTo>
                  <a:lnTo>
                    <a:pt x="519" y="694"/>
                  </a:lnTo>
                  <a:lnTo>
                    <a:pt x="519" y="698"/>
                  </a:lnTo>
                  <a:close/>
                  <a:moveTo>
                    <a:pt x="539" y="698"/>
                  </a:moveTo>
                  <a:lnTo>
                    <a:pt x="535" y="698"/>
                  </a:lnTo>
                  <a:lnTo>
                    <a:pt x="535" y="694"/>
                  </a:lnTo>
                  <a:lnTo>
                    <a:pt x="539" y="694"/>
                  </a:lnTo>
                  <a:lnTo>
                    <a:pt x="539" y="698"/>
                  </a:lnTo>
                  <a:close/>
                  <a:moveTo>
                    <a:pt x="523" y="702"/>
                  </a:moveTo>
                  <a:lnTo>
                    <a:pt x="523" y="698"/>
                  </a:lnTo>
                  <a:lnTo>
                    <a:pt x="527" y="698"/>
                  </a:lnTo>
                  <a:lnTo>
                    <a:pt x="523" y="702"/>
                  </a:lnTo>
                  <a:close/>
                  <a:moveTo>
                    <a:pt x="551" y="702"/>
                  </a:moveTo>
                  <a:lnTo>
                    <a:pt x="551" y="698"/>
                  </a:lnTo>
                  <a:lnTo>
                    <a:pt x="551" y="702"/>
                  </a:lnTo>
                  <a:close/>
                  <a:moveTo>
                    <a:pt x="539" y="706"/>
                  </a:moveTo>
                  <a:lnTo>
                    <a:pt x="539" y="702"/>
                  </a:lnTo>
                  <a:lnTo>
                    <a:pt x="535" y="702"/>
                  </a:lnTo>
                  <a:lnTo>
                    <a:pt x="535" y="698"/>
                  </a:lnTo>
                  <a:lnTo>
                    <a:pt x="539" y="702"/>
                  </a:lnTo>
                  <a:lnTo>
                    <a:pt x="539" y="706"/>
                  </a:lnTo>
                  <a:close/>
                  <a:moveTo>
                    <a:pt x="523" y="702"/>
                  </a:moveTo>
                  <a:lnTo>
                    <a:pt x="527" y="702"/>
                  </a:lnTo>
                  <a:lnTo>
                    <a:pt x="527" y="698"/>
                  </a:lnTo>
                  <a:lnTo>
                    <a:pt x="527" y="702"/>
                  </a:lnTo>
                  <a:lnTo>
                    <a:pt x="523" y="702"/>
                  </a:lnTo>
                  <a:close/>
                  <a:moveTo>
                    <a:pt x="535" y="710"/>
                  </a:moveTo>
                  <a:lnTo>
                    <a:pt x="531" y="710"/>
                  </a:lnTo>
                  <a:lnTo>
                    <a:pt x="531" y="706"/>
                  </a:lnTo>
                  <a:lnTo>
                    <a:pt x="535" y="706"/>
                  </a:lnTo>
                  <a:lnTo>
                    <a:pt x="531" y="706"/>
                  </a:lnTo>
                  <a:lnTo>
                    <a:pt x="531" y="702"/>
                  </a:lnTo>
                  <a:lnTo>
                    <a:pt x="535" y="706"/>
                  </a:lnTo>
                  <a:lnTo>
                    <a:pt x="535" y="710"/>
                  </a:lnTo>
                  <a:close/>
                  <a:moveTo>
                    <a:pt x="539" y="710"/>
                  </a:moveTo>
                  <a:lnTo>
                    <a:pt x="539" y="706"/>
                  </a:lnTo>
                  <a:lnTo>
                    <a:pt x="535" y="706"/>
                  </a:lnTo>
                  <a:lnTo>
                    <a:pt x="535" y="702"/>
                  </a:lnTo>
                  <a:lnTo>
                    <a:pt x="535" y="706"/>
                  </a:lnTo>
                  <a:lnTo>
                    <a:pt x="539" y="706"/>
                  </a:lnTo>
                  <a:lnTo>
                    <a:pt x="539" y="710"/>
                  </a:lnTo>
                  <a:close/>
                  <a:moveTo>
                    <a:pt x="523" y="706"/>
                  </a:moveTo>
                  <a:lnTo>
                    <a:pt x="527" y="706"/>
                  </a:lnTo>
                  <a:lnTo>
                    <a:pt x="523" y="706"/>
                  </a:lnTo>
                  <a:close/>
                  <a:moveTo>
                    <a:pt x="619" y="766"/>
                  </a:moveTo>
                  <a:lnTo>
                    <a:pt x="615" y="766"/>
                  </a:lnTo>
                  <a:lnTo>
                    <a:pt x="611" y="766"/>
                  </a:lnTo>
                  <a:lnTo>
                    <a:pt x="603" y="766"/>
                  </a:lnTo>
                  <a:lnTo>
                    <a:pt x="603" y="762"/>
                  </a:lnTo>
                  <a:lnTo>
                    <a:pt x="599" y="762"/>
                  </a:lnTo>
                  <a:lnTo>
                    <a:pt x="599" y="766"/>
                  </a:lnTo>
                  <a:lnTo>
                    <a:pt x="595" y="766"/>
                  </a:lnTo>
                  <a:lnTo>
                    <a:pt x="591" y="766"/>
                  </a:lnTo>
                  <a:lnTo>
                    <a:pt x="591" y="762"/>
                  </a:lnTo>
                  <a:lnTo>
                    <a:pt x="591" y="766"/>
                  </a:lnTo>
                  <a:lnTo>
                    <a:pt x="587" y="766"/>
                  </a:lnTo>
                  <a:lnTo>
                    <a:pt x="583" y="766"/>
                  </a:lnTo>
                  <a:lnTo>
                    <a:pt x="583" y="762"/>
                  </a:lnTo>
                  <a:lnTo>
                    <a:pt x="587" y="762"/>
                  </a:lnTo>
                  <a:lnTo>
                    <a:pt x="591" y="762"/>
                  </a:lnTo>
                  <a:lnTo>
                    <a:pt x="587" y="762"/>
                  </a:lnTo>
                  <a:lnTo>
                    <a:pt x="583" y="762"/>
                  </a:lnTo>
                  <a:lnTo>
                    <a:pt x="579" y="762"/>
                  </a:lnTo>
                  <a:lnTo>
                    <a:pt x="583" y="762"/>
                  </a:lnTo>
                  <a:lnTo>
                    <a:pt x="579" y="762"/>
                  </a:lnTo>
                  <a:lnTo>
                    <a:pt x="575" y="762"/>
                  </a:lnTo>
                  <a:lnTo>
                    <a:pt x="579" y="762"/>
                  </a:lnTo>
                  <a:lnTo>
                    <a:pt x="579" y="758"/>
                  </a:lnTo>
                  <a:lnTo>
                    <a:pt x="575" y="758"/>
                  </a:lnTo>
                  <a:lnTo>
                    <a:pt x="575" y="762"/>
                  </a:lnTo>
                  <a:lnTo>
                    <a:pt x="571" y="762"/>
                  </a:lnTo>
                  <a:lnTo>
                    <a:pt x="571" y="758"/>
                  </a:lnTo>
                  <a:lnTo>
                    <a:pt x="571" y="762"/>
                  </a:lnTo>
                  <a:lnTo>
                    <a:pt x="567" y="762"/>
                  </a:lnTo>
                  <a:lnTo>
                    <a:pt x="567" y="758"/>
                  </a:lnTo>
                  <a:lnTo>
                    <a:pt x="571" y="758"/>
                  </a:lnTo>
                  <a:lnTo>
                    <a:pt x="567" y="758"/>
                  </a:lnTo>
                  <a:lnTo>
                    <a:pt x="567" y="754"/>
                  </a:lnTo>
                  <a:lnTo>
                    <a:pt x="571" y="754"/>
                  </a:lnTo>
                  <a:lnTo>
                    <a:pt x="571" y="758"/>
                  </a:lnTo>
                  <a:lnTo>
                    <a:pt x="575" y="758"/>
                  </a:lnTo>
                  <a:lnTo>
                    <a:pt x="571" y="758"/>
                  </a:lnTo>
                  <a:lnTo>
                    <a:pt x="571" y="754"/>
                  </a:lnTo>
                  <a:lnTo>
                    <a:pt x="575" y="758"/>
                  </a:lnTo>
                  <a:lnTo>
                    <a:pt x="575" y="754"/>
                  </a:lnTo>
                  <a:lnTo>
                    <a:pt x="579" y="754"/>
                  </a:lnTo>
                  <a:lnTo>
                    <a:pt x="583" y="758"/>
                  </a:lnTo>
                  <a:lnTo>
                    <a:pt x="583" y="754"/>
                  </a:lnTo>
                  <a:lnTo>
                    <a:pt x="587" y="754"/>
                  </a:lnTo>
                  <a:lnTo>
                    <a:pt x="587" y="758"/>
                  </a:lnTo>
                  <a:lnTo>
                    <a:pt x="587" y="754"/>
                  </a:lnTo>
                  <a:lnTo>
                    <a:pt x="591" y="758"/>
                  </a:lnTo>
                  <a:lnTo>
                    <a:pt x="595" y="758"/>
                  </a:lnTo>
                  <a:lnTo>
                    <a:pt x="591" y="758"/>
                  </a:lnTo>
                  <a:lnTo>
                    <a:pt x="591" y="754"/>
                  </a:lnTo>
                  <a:lnTo>
                    <a:pt x="587" y="754"/>
                  </a:lnTo>
                  <a:lnTo>
                    <a:pt x="583" y="754"/>
                  </a:lnTo>
                  <a:lnTo>
                    <a:pt x="583" y="750"/>
                  </a:lnTo>
                  <a:lnTo>
                    <a:pt x="587" y="750"/>
                  </a:lnTo>
                  <a:lnTo>
                    <a:pt x="591" y="754"/>
                  </a:lnTo>
                  <a:lnTo>
                    <a:pt x="595" y="754"/>
                  </a:lnTo>
                  <a:lnTo>
                    <a:pt x="595" y="750"/>
                  </a:lnTo>
                  <a:lnTo>
                    <a:pt x="595" y="754"/>
                  </a:lnTo>
                  <a:lnTo>
                    <a:pt x="599" y="754"/>
                  </a:lnTo>
                  <a:lnTo>
                    <a:pt x="599" y="758"/>
                  </a:lnTo>
                  <a:lnTo>
                    <a:pt x="599" y="754"/>
                  </a:lnTo>
                  <a:lnTo>
                    <a:pt x="603" y="754"/>
                  </a:lnTo>
                  <a:lnTo>
                    <a:pt x="607" y="754"/>
                  </a:lnTo>
                  <a:lnTo>
                    <a:pt x="607" y="758"/>
                  </a:lnTo>
                  <a:lnTo>
                    <a:pt x="607" y="762"/>
                  </a:lnTo>
                  <a:lnTo>
                    <a:pt x="607" y="758"/>
                  </a:lnTo>
                  <a:lnTo>
                    <a:pt x="611" y="758"/>
                  </a:lnTo>
                  <a:lnTo>
                    <a:pt x="607" y="758"/>
                  </a:lnTo>
                  <a:lnTo>
                    <a:pt x="611" y="758"/>
                  </a:lnTo>
                  <a:lnTo>
                    <a:pt x="611" y="754"/>
                  </a:lnTo>
                  <a:lnTo>
                    <a:pt x="607" y="754"/>
                  </a:lnTo>
                  <a:lnTo>
                    <a:pt x="603" y="754"/>
                  </a:lnTo>
                  <a:lnTo>
                    <a:pt x="603" y="750"/>
                  </a:lnTo>
                  <a:lnTo>
                    <a:pt x="599" y="750"/>
                  </a:lnTo>
                  <a:lnTo>
                    <a:pt x="595" y="750"/>
                  </a:lnTo>
                  <a:lnTo>
                    <a:pt x="595" y="746"/>
                  </a:lnTo>
                  <a:lnTo>
                    <a:pt x="595" y="742"/>
                  </a:lnTo>
                  <a:lnTo>
                    <a:pt x="595" y="738"/>
                  </a:lnTo>
                  <a:lnTo>
                    <a:pt x="599" y="738"/>
                  </a:lnTo>
                  <a:lnTo>
                    <a:pt x="607" y="734"/>
                  </a:lnTo>
                  <a:lnTo>
                    <a:pt x="607" y="730"/>
                  </a:lnTo>
                  <a:lnTo>
                    <a:pt x="603" y="730"/>
                  </a:lnTo>
                  <a:lnTo>
                    <a:pt x="599" y="730"/>
                  </a:lnTo>
                  <a:lnTo>
                    <a:pt x="595" y="730"/>
                  </a:lnTo>
                  <a:lnTo>
                    <a:pt x="595" y="734"/>
                  </a:lnTo>
                  <a:lnTo>
                    <a:pt x="591" y="734"/>
                  </a:lnTo>
                  <a:lnTo>
                    <a:pt x="591" y="730"/>
                  </a:lnTo>
                  <a:lnTo>
                    <a:pt x="591" y="726"/>
                  </a:lnTo>
                  <a:lnTo>
                    <a:pt x="591" y="722"/>
                  </a:lnTo>
                  <a:lnTo>
                    <a:pt x="595" y="722"/>
                  </a:lnTo>
                  <a:lnTo>
                    <a:pt x="595" y="718"/>
                  </a:lnTo>
                  <a:lnTo>
                    <a:pt x="591" y="718"/>
                  </a:lnTo>
                  <a:lnTo>
                    <a:pt x="595" y="718"/>
                  </a:lnTo>
                  <a:lnTo>
                    <a:pt x="599" y="718"/>
                  </a:lnTo>
                  <a:lnTo>
                    <a:pt x="603" y="714"/>
                  </a:lnTo>
                  <a:lnTo>
                    <a:pt x="603" y="710"/>
                  </a:lnTo>
                  <a:lnTo>
                    <a:pt x="607" y="710"/>
                  </a:lnTo>
                  <a:lnTo>
                    <a:pt x="607" y="714"/>
                  </a:lnTo>
                  <a:lnTo>
                    <a:pt x="611" y="714"/>
                  </a:lnTo>
                  <a:lnTo>
                    <a:pt x="615" y="714"/>
                  </a:lnTo>
                  <a:lnTo>
                    <a:pt x="619" y="714"/>
                  </a:lnTo>
                  <a:lnTo>
                    <a:pt x="619" y="718"/>
                  </a:lnTo>
                  <a:lnTo>
                    <a:pt x="619" y="726"/>
                  </a:lnTo>
                  <a:lnTo>
                    <a:pt x="619" y="730"/>
                  </a:lnTo>
                  <a:lnTo>
                    <a:pt x="619" y="734"/>
                  </a:lnTo>
                  <a:lnTo>
                    <a:pt x="619" y="742"/>
                  </a:lnTo>
                  <a:lnTo>
                    <a:pt x="619" y="746"/>
                  </a:lnTo>
                  <a:lnTo>
                    <a:pt x="619" y="754"/>
                  </a:lnTo>
                  <a:lnTo>
                    <a:pt x="619" y="758"/>
                  </a:lnTo>
                  <a:lnTo>
                    <a:pt x="619" y="766"/>
                  </a:lnTo>
                  <a:close/>
                  <a:moveTo>
                    <a:pt x="547" y="730"/>
                  </a:moveTo>
                  <a:lnTo>
                    <a:pt x="551" y="730"/>
                  </a:lnTo>
                  <a:lnTo>
                    <a:pt x="547" y="730"/>
                  </a:lnTo>
                  <a:lnTo>
                    <a:pt x="543" y="730"/>
                  </a:lnTo>
                  <a:lnTo>
                    <a:pt x="539" y="726"/>
                  </a:lnTo>
                  <a:lnTo>
                    <a:pt x="535" y="726"/>
                  </a:lnTo>
                  <a:lnTo>
                    <a:pt x="531" y="726"/>
                  </a:lnTo>
                  <a:lnTo>
                    <a:pt x="531" y="722"/>
                  </a:lnTo>
                  <a:lnTo>
                    <a:pt x="527" y="722"/>
                  </a:lnTo>
                  <a:lnTo>
                    <a:pt x="527" y="718"/>
                  </a:lnTo>
                  <a:lnTo>
                    <a:pt x="523" y="718"/>
                  </a:lnTo>
                  <a:lnTo>
                    <a:pt x="527" y="718"/>
                  </a:lnTo>
                  <a:lnTo>
                    <a:pt x="531" y="718"/>
                  </a:lnTo>
                  <a:lnTo>
                    <a:pt x="531" y="722"/>
                  </a:lnTo>
                  <a:lnTo>
                    <a:pt x="535" y="722"/>
                  </a:lnTo>
                  <a:lnTo>
                    <a:pt x="539" y="722"/>
                  </a:lnTo>
                  <a:lnTo>
                    <a:pt x="539" y="726"/>
                  </a:lnTo>
                  <a:lnTo>
                    <a:pt x="543" y="726"/>
                  </a:lnTo>
                  <a:lnTo>
                    <a:pt x="543" y="730"/>
                  </a:lnTo>
                  <a:lnTo>
                    <a:pt x="543" y="726"/>
                  </a:lnTo>
                  <a:lnTo>
                    <a:pt x="547" y="730"/>
                  </a:lnTo>
                  <a:close/>
                  <a:moveTo>
                    <a:pt x="543" y="722"/>
                  </a:moveTo>
                  <a:lnTo>
                    <a:pt x="539" y="722"/>
                  </a:lnTo>
                  <a:lnTo>
                    <a:pt x="539" y="718"/>
                  </a:lnTo>
                  <a:lnTo>
                    <a:pt x="543" y="718"/>
                  </a:lnTo>
                  <a:lnTo>
                    <a:pt x="543" y="722"/>
                  </a:lnTo>
                  <a:lnTo>
                    <a:pt x="547" y="722"/>
                  </a:lnTo>
                  <a:lnTo>
                    <a:pt x="543" y="722"/>
                  </a:lnTo>
                  <a:close/>
                  <a:moveTo>
                    <a:pt x="535" y="730"/>
                  </a:moveTo>
                  <a:lnTo>
                    <a:pt x="531" y="730"/>
                  </a:lnTo>
                  <a:lnTo>
                    <a:pt x="535" y="730"/>
                  </a:lnTo>
                  <a:close/>
                  <a:moveTo>
                    <a:pt x="547" y="742"/>
                  </a:moveTo>
                  <a:lnTo>
                    <a:pt x="547" y="738"/>
                  </a:lnTo>
                  <a:lnTo>
                    <a:pt x="543" y="738"/>
                  </a:lnTo>
                  <a:lnTo>
                    <a:pt x="543" y="742"/>
                  </a:lnTo>
                  <a:lnTo>
                    <a:pt x="543" y="738"/>
                  </a:lnTo>
                  <a:lnTo>
                    <a:pt x="543" y="734"/>
                  </a:lnTo>
                  <a:lnTo>
                    <a:pt x="547" y="738"/>
                  </a:lnTo>
                  <a:lnTo>
                    <a:pt x="551" y="738"/>
                  </a:lnTo>
                  <a:lnTo>
                    <a:pt x="547" y="738"/>
                  </a:lnTo>
                  <a:lnTo>
                    <a:pt x="543" y="734"/>
                  </a:lnTo>
                  <a:lnTo>
                    <a:pt x="547" y="734"/>
                  </a:lnTo>
                  <a:lnTo>
                    <a:pt x="551" y="734"/>
                  </a:lnTo>
                  <a:lnTo>
                    <a:pt x="547" y="734"/>
                  </a:lnTo>
                  <a:lnTo>
                    <a:pt x="551" y="734"/>
                  </a:lnTo>
                  <a:lnTo>
                    <a:pt x="551" y="738"/>
                  </a:lnTo>
                  <a:lnTo>
                    <a:pt x="555" y="738"/>
                  </a:lnTo>
                  <a:lnTo>
                    <a:pt x="555" y="734"/>
                  </a:lnTo>
                  <a:lnTo>
                    <a:pt x="555" y="738"/>
                  </a:lnTo>
                  <a:lnTo>
                    <a:pt x="559" y="734"/>
                  </a:lnTo>
                  <a:lnTo>
                    <a:pt x="559" y="738"/>
                  </a:lnTo>
                  <a:lnTo>
                    <a:pt x="559" y="742"/>
                  </a:lnTo>
                  <a:lnTo>
                    <a:pt x="559" y="738"/>
                  </a:lnTo>
                  <a:lnTo>
                    <a:pt x="563" y="738"/>
                  </a:lnTo>
                  <a:lnTo>
                    <a:pt x="563" y="742"/>
                  </a:lnTo>
                  <a:lnTo>
                    <a:pt x="559" y="742"/>
                  </a:lnTo>
                  <a:lnTo>
                    <a:pt x="559" y="746"/>
                  </a:lnTo>
                  <a:lnTo>
                    <a:pt x="563" y="746"/>
                  </a:lnTo>
                  <a:lnTo>
                    <a:pt x="559" y="746"/>
                  </a:lnTo>
                  <a:lnTo>
                    <a:pt x="559" y="750"/>
                  </a:lnTo>
                  <a:lnTo>
                    <a:pt x="555" y="746"/>
                  </a:lnTo>
                  <a:lnTo>
                    <a:pt x="555" y="750"/>
                  </a:lnTo>
                  <a:lnTo>
                    <a:pt x="551" y="750"/>
                  </a:lnTo>
                  <a:lnTo>
                    <a:pt x="551" y="746"/>
                  </a:lnTo>
                  <a:lnTo>
                    <a:pt x="555" y="746"/>
                  </a:lnTo>
                  <a:lnTo>
                    <a:pt x="555" y="742"/>
                  </a:lnTo>
                  <a:lnTo>
                    <a:pt x="551" y="742"/>
                  </a:lnTo>
                  <a:lnTo>
                    <a:pt x="551" y="746"/>
                  </a:lnTo>
                  <a:lnTo>
                    <a:pt x="547" y="746"/>
                  </a:lnTo>
                  <a:lnTo>
                    <a:pt x="547" y="742"/>
                  </a:lnTo>
                  <a:close/>
                  <a:moveTo>
                    <a:pt x="539" y="738"/>
                  </a:moveTo>
                  <a:lnTo>
                    <a:pt x="539" y="734"/>
                  </a:lnTo>
                  <a:lnTo>
                    <a:pt x="539" y="738"/>
                  </a:lnTo>
                  <a:close/>
                  <a:moveTo>
                    <a:pt x="587" y="750"/>
                  </a:moveTo>
                  <a:lnTo>
                    <a:pt x="583" y="750"/>
                  </a:lnTo>
                  <a:lnTo>
                    <a:pt x="583" y="746"/>
                  </a:lnTo>
                  <a:lnTo>
                    <a:pt x="583" y="742"/>
                  </a:lnTo>
                  <a:lnTo>
                    <a:pt x="587" y="742"/>
                  </a:lnTo>
                  <a:lnTo>
                    <a:pt x="587" y="738"/>
                  </a:lnTo>
                  <a:lnTo>
                    <a:pt x="587" y="734"/>
                  </a:lnTo>
                  <a:lnTo>
                    <a:pt x="591" y="734"/>
                  </a:lnTo>
                  <a:lnTo>
                    <a:pt x="591" y="738"/>
                  </a:lnTo>
                  <a:lnTo>
                    <a:pt x="587" y="738"/>
                  </a:lnTo>
                  <a:lnTo>
                    <a:pt x="591" y="742"/>
                  </a:lnTo>
                  <a:lnTo>
                    <a:pt x="591" y="746"/>
                  </a:lnTo>
                  <a:lnTo>
                    <a:pt x="587" y="746"/>
                  </a:lnTo>
                  <a:lnTo>
                    <a:pt x="587" y="742"/>
                  </a:lnTo>
                  <a:lnTo>
                    <a:pt x="587" y="746"/>
                  </a:lnTo>
                  <a:lnTo>
                    <a:pt x="587" y="750"/>
                  </a:lnTo>
                  <a:close/>
                  <a:moveTo>
                    <a:pt x="571" y="746"/>
                  </a:moveTo>
                  <a:lnTo>
                    <a:pt x="571" y="750"/>
                  </a:lnTo>
                  <a:lnTo>
                    <a:pt x="567" y="750"/>
                  </a:lnTo>
                  <a:lnTo>
                    <a:pt x="567" y="746"/>
                  </a:lnTo>
                  <a:lnTo>
                    <a:pt x="567" y="750"/>
                  </a:lnTo>
                  <a:lnTo>
                    <a:pt x="571" y="750"/>
                  </a:lnTo>
                  <a:lnTo>
                    <a:pt x="567" y="754"/>
                  </a:lnTo>
                  <a:lnTo>
                    <a:pt x="567" y="750"/>
                  </a:lnTo>
                  <a:lnTo>
                    <a:pt x="563" y="750"/>
                  </a:lnTo>
                  <a:lnTo>
                    <a:pt x="563" y="746"/>
                  </a:lnTo>
                  <a:lnTo>
                    <a:pt x="567" y="746"/>
                  </a:lnTo>
                  <a:lnTo>
                    <a:pt x="567" y="742"/>
                  </a:lnTo>
                  <a:lnTo>
                    <a:pt x="571" y="742"/>
                  </a:lnTo>
                  <a:lnTo>
                    <a:pt x="571" y="746"/>
                  </a:lnTo>
                  <a:close/>
                  <a:moveTo>
                    <a:pt x="575" y="746"/>
                  </a:moveTo>
                  <a:lnTo>
                    <a:pt x="579" y="746"/>
                  </a:lnTo>
                  <a:lnTo>
                    <a:pt x="583" y="750"/>
                  </a:lnTo>
                  <a:lnTo>
                    <a:pt x="583" y="754"/>
                  </a:lnTo>
                  <a:lnTo>
                    <a:pt x="579" y="754"/>
                  </a:lnTo>
                  <a:lnTo>
                    <a:pt x="575" y="754"/>
                  </a:lnTo>
                  <a:lnTo>
                    <a:pt x="575" y="750"/>
                  </a:lnTo>
                  <a:lnTo>
                    <a:pt x="571" y="750"/>
                  </a:lnTo>
                  <a:lnTo>
                    <a:pt x="571" y="746"/>
                  </a:lnTo>
                  <a:lnTo>
                    <a:pt x="575" y="746"/>
                  </a:lnTo>
                  <a:close/>
                  <a:moveTo>
                    <a:pt x="547" y="750"/>
                  </a:moveTo>
                  <a:lnTo>
                    <a:pt x="543" y="746"/>
                  </a:lnTo>
                  <a:lnTo>
                    <a:pt x="547" y="746"/>
                  </a:lnTo>
                  <a:lnTo>
                    <a:pt x="547" y="750"/>
                  </a:lnTo>
                  <a:close/>
                  <a:moveTo>
                    <a:pt x="591" y="750"/>
                  </a:moveTo>
                  <a:lnTo>
                    <a:pt x="587" y="746"/>
                  </a:lnTo>
                  <a:lnTo>
                    <a:pt x="591" y="746"/>
                  </a:lnTo>
                  <a:lnTo>
                    <a:pt x="591" y="750"/>
                  </a:lnTo>
                  <a:close/>
                  <a:moveTo>
                    <a:pt x="563" y="746"/>
                  </a:moveTo>
                  <a:lnTo>
                    <a:pt x="563" y="750"/>
                  </a:lnTo>
                  <a:lnTo>
                    <a:pt x="559" y="750"/>
                  </a:lnTo>
                  <a:lnTo>
                    <a:pt x="559" y="746"/>
                  </a:lnTo>
                  <a:lnTo>
                    <a:pt x="563" y="746"/>
                  </a:lnTo>
                  <a:close/>
                  <a:moveTo>
                    <a:pt x="559" y="754"/>
                  </a:moveTo>
                  <a:lnTo>
                    <a:pt x="563" y="754"/>
                  </a:lnTo>
                  <a:lnTo>
                    <a:pt x="559" y="754"/>
                  </a:lnTo>
                  <a:close/>
                  <a:moveTo>
                    <a:pt x="579" y="766"/>
                  </a:moveTo>
                  <a:lnTo>
                    <a:pt x="575" y="766"/>
                  </a:lnTo>
                  <a:lnTo>
                    <a:pt x="579" y="766"/>
                  </a:lnTo>
                  <a:lnTo>
                    <a:pt x="583" y="766"/>
                  </a:lnTo>
                  <a:lnTo>
                    <a:pt x="579" y="766"/>
                  </a:lnTo>
                  <a:close/>
                  <a:moveTo>
                    <a:pt x="591" y="766"/>
                  </a:moveTo>
                  <a:lnTo>
                    <a:pt x="587" y="766"/>
                  </a:lnTo>
                  <a:lnTo>
                    <a:pt x="591" y="766"/>
                  </a:lnTo>
                  <a:close/>
                  <a:moveTo>
                    <a:pt x="599" y="770"/>
                  </a:moveTo>
                  <a:lnTo>
                    <a:pt x="599" y="766"/>
                  </a:lnTo>
                  <a:lnTo>
                    <a:pt x="603" y="766"/>
                  </a:lnTo>
                  <a:lnTo>
                    <a:pt x="607" y="766"/>
                  </a:lnTo>
                  <a:lnTo>
                    <a:pt x="611" y="770"/>
                  </a:lnTo>
                  <a:lnTo>
                    <a:pt x="607" y="770"/>
                  </a:lnTo>
                  <a:lnTo>
                    <a:pt x="603" y="770"/>
                  </a:lnTo>
                  <a:lnTo>
                    <a:pt x="599" y="770"/>
                  </a:lnTo>
                  <a:close/>
                  <a:moveTo>
                    <a:pt x="591" y="766"/>
                  </a:moveTo>
                  <a:lnTo>
                    <a:pt x="587" y="766"/>
                  </a:lnTo>
                  <a:lnTo>
                    <a:pt x="587" y="770"/>
                  </a:lnTo>
                  <a:lnTo>
                    <a:pt x="591" y="770"/>
                  </a:lnTo>
                  <a:lnTo>
                    <a:pt x="591" y="774"/>
                  </a:lnTo>
                  <a:lnTo>
                    <a:pt x="591" y="770"/>
                  </a:lnTo>
                  <a:lnTo>
                    <a:pt x="591" y="774"/>
                  </a:lnTo>
                  <a:lnTo>
                    <a:pt x="587" y="774"/>
                  </a:lnTo>
                  <a:lnTo>
                    <a:pt x="587" y="770"/>
                  </a:lnTo>
                  <a:lnTo>
                    <a:pt x="587" y="774"/>
                  </a:lnTo>
                  <a:lnTo>
                    <a:pt x="587" y="770"/>
                  </a:lnTo>
                  <a:lnTo>
                    <a:pt x="583" y="770"/>
                  </a:lnTo>
                  <a:lnTo>
                    <a:pt x="583" y="766"/>
                  </a:lnTo>
                  <a:lnTo>
                    <a:pt x="587" y="770"/>
                  </a:lnTo>
                  <a:lnTo>
                    <a:pt x="587" y="766"/>
                  </a:lnTo>
                  <a:lnTo>
                    <a:pt x="591" y="766"/>
                  </a:lnTo>
                  <a:close/>
                  <a:moveTo>
                    <a:pt x="627" y="766"/>
                  </a:moveTo>
                  <a:lnTo>
                    <a:pt x="631" y="766"/>
                  </a:lnTo>
                  <a:lnTo>
                    <a:pt x="635" y="766"/>
                  </a:lnTo>
                  <a:lnTo>
                    <a:pt x="639" y="766"/>
                  </a:lnTo>
                  <a:lnTo>
                    <a:pt x="639" y="770"/>
                  </a:lnTo>
                  <a:lnTo>
                    <a:pt x="643" y="770"/>
                  </a:lnTo>
                  <a:lnTo>
                    <a:pt x="643" y="774"/>
                  </a:lnTo>
                  <a:lnTo>
                    <a:pt x="639" y="774"/>
                  </a:lnTo>
                  <a:lnTo>
                    <a:pt x="639" y="778"/>
                  </a:lnTo>
                  <a:lnTo>
                    <a:pt x="635" y="774"/>
                  </a:lnTo>
                  <a:lnTo>
                    <a:pt x="631" y="774"/>
                  </a:lnTo>
                  <a:lnTo>
                    <a:pt x="627" y="774"/>
                  </a:lnTo>
                  <a:lnTo>
                    <a:pt x="631" y="774"/>
                  </a:lnTo>
                  <a:lnTo>
                    <a:pt x="627" y="774"/>
                  </a:lnTo>
                  <a:lnTo>
                    <a:pt x="623" y="774"/>
                  </a:lnTo>
                  <a:lnTo>
                    <a:pt x="623" y="770"/>
                  </a:lnTo>
                  <a:lnTo>
                    <a:pt x="623" y="766"/>
                  </a:lnTo>
                  <a:lnTo>
                    <a:pt x="627" y="766"/>
                  </a:lnTo>
                  <a:close/>
                  <a:moveTo>
                    <a:pt x="595" y="770"/>
                  </a:moveTo>
                  <a:lnTo>
                    <a:pt x="595" y="766"/>
                  </a:lnTo>
                  <a:lnTo>
                    <a:pt x="595" y="770"/>
                  </a:lnTo>
                  <a:close/>
                  <a:moveTo>
                    <a:pt x="627" y="786"/>
                  </a:moveTo>
                  <a:lnTo>
                    <a:pt x="623" y="786"/>
                  </a:lnTo>
                  <a:lnTo>
                    <a:pt x="623" y="782"/>
                  </a:lnTo>
                  <a:lnTo>
                    <a:pt x="619" y="782"/>
                  </a:lnTo>
                  <a:lnTo>
                    <a:pt x="619" y="778"/>
                  </a:lnTo>
                  <a:lnTo>
                    <a:pt x="615" y="778"/>
                  </a:lnTo>
                  <a:lnTo>
                    <a:pt x="615" y="782"/>
                  </a:lnTo>
                  <a:lnTo>
                    <a:pt x="611" y="778"/>
                  </a:lnTo>
                  <a:lnTo>
                    <a:pt x="615" y="778"/>
                  </a:lnTo>
                  <a:lnTo>
                    <a:pt x="611" y="778"/>
                  </a:lnTo>
                  <a:lnTo>
                    <a:pt x="615" y="774"/>
                  </a:lnTo>
                  <a:lnTo>
                    <a:pt x="611" y="774"/>
                  </a:lnTo>
                  <a:lnTo>
                    <a:pt x="607" y="774"/>
                  </a:lnTo>
                  <a:lnTo>
                    <a:pt x="607" y="778"/>
                  </a:lnTo>
                  <a:lnTo>
                    <a:pt x="611" y="778"/>
                  </a:lnTo>
                  <a:lnTo>
                    <a:pt x="611" y="782"/>
                  </a:lnTo>
                  <a:lnTo>
                    <a:pt x="607" y="782"/>
                  </a:lnTo>
                  <a:lnTo>
                    <a:pt x="603" y="778"/>
                  </a:lnTo>
                  <a:lnTo>
                    <a:pt x="607" y="778"/>
                  </a:lnTo>
                  <a:lnTo>
                    <a:pt x="603" y="778"/>
                  </a:lnTo>
                  <a:lnTo>
                    <a:pt x="599" y="778"/>
                  </a:lnTo>
                  <a:lnTo>
                    <a:pt x="603" y="774"/>
                  </a:lnTo>
                  <a:lnTo>
                    <a:pt x="599" y="774"/>
                  </a:lnTo>
                  <a:lnTo>
                    <a:pt x="595" y="774"/>
                  </a:lnTo>
                  <a:lnTo>
                    <a:pt x="599" y="770"/>
                  </a:lnTo>
                  <a:lnTo>
                    <a:pt x="603" y="770"/>
                  </a:lnTo>
                  <a:lnTo>
                    <a:pt x="607" y="770"/>
                  </a:lnTo>
                  <a:lnTo>
                    <a:pt x="611" y="770"/>
                  </a:lnTo>
                  <a:lnTo>
                    <a:pt x="615" y="770"/>
                  </a:lnTo>
                  <a:lnTo>
                    <a:pt x="615" y="766"/>
                  </a:lnTo>
                  <a:lnTo>
                    <a:pt x="619" y="766"/>
                  </a:lnTo>
                  <a:lnTo>
                    <a:pt x="623" y="770"/>
                  </a:lnTo>
                  <a:lnTo>
                    <a:pt x="619" y="774"/>
                  </a:lnTo>
                  <a:lnTo>
                    <a:pt x="615" y="774"/>
                  </a:lnTo>
                  <a:lnTo>
                    <a:pt x="615" y="770"/>
                  </a:lnTo>
                  <a:lnTo>
                    <a:pt x="611" y="770"/>
                  </a:lnTo>
                  <a:lnTo>
                    <a:pt x="615" y="774"/>
                  </a:lnTo>
                  <a:lnTo>
                    <a:pt x="619" y="774"/>
                  </a:lnTo>
                  <a:lnTo>
                    <a:pt x="623" y="774"/>
                  </a:lnTo>
                  <a:lnTo>
                    <a:pt x="619" y="778"/>
                  </a:lnTo>
                  <a:lnTo>
                    <a:pt x="619" y="774"/>
                  </a:lnTo>
                  <a:lnTo>
                    <a:pt x="615" y="774"/>
                  </a:lnTo>
                  <a:lnTo>
                    <a:pt x="619" y="778"/>
                  </a:lnTo>
                  <a:lnTo>
                    <a:pt x="623" y="778"/>
                  </a:lnTo>
                  <a:lnTo>
                    <a:pt x="623" y="782"/>
                  </a:lnTo>
                  <a:lnTo>
                    <a:pt x="627" y="778"/>
                  </a:lnTo>
                  <a:lnTo>
                    <a:pt x="627" y="782"/>
                  </a:lnTo>
                  <a:lnTo>
                    <a:pt x="627" y="786"/>
                  </a:lnTo>
                  <a:close/>
                  <a:moveTo>
                    <a:pt x="643" y="770"/>
                  </a:moveTo>
                  <a:lnTo>
                    <a:pt x="639" y="770"/>
                  </a:lnTo>
                  <a:lnTo>
                    <a:pt x="643" y="770"/>
                  </a:lnTo>
                  <a:close/>
                  <a:moveTo>
                    <a:pt x="647" y="774"/>
                  </a:moveTo>
                  <a:lnTo>
                    <a:pt x="651" y="774"/>
                  </a:lnTo>
                  <a:lnTo>
                    <a:pt x="647" y="774"/>
                  </a:lnTo>
                  <a:close/>
                  <a:moveTo>
                    <a:pt x="643" y="774"/>
                  </a:moveTo>
                  <a:lnTo>
                    <a:pt x="643" y="778"/>
                  </a:lnTo>
                  <a:lnTo>
                    <a:pt x="639" y="774"/>
                  </a:lnTo>
                  <a:lnTo>
                    <a:pt x="643" y="774"/>
                  </a:lnTo>
                  <a:close/>
                  <a:moveTo>
                    <a:pt x="631" y="782"/>
                  </a:moveTo>
                  <a:lnTo>
                    <a:pt x="635" y="782"/>
                  </a:lnTo>
                  <a:lnTo>
                    <a:pt x="631" y="782"/>
                  </a:lnTo>
                  <a:close/>
                  <a:moveTo>
                    <a:pt x="635" y="786"/>
                  </a:moveTo>
                  <a:lnTo>
                    <a:pt x="635" y="782"/>
                  </a:lnTo>
                  <a:lnTo>
                    <a:pt x="639" y="786"/>
                  </a:lnTo>
                  <a:lnTo>
                    <a:pt x="635" y="786"/>
                  </a:lnTo>
                  <a:close/>
                  <a:moveTo>
                    <a:pt x="631" y="790"/>
                  </a:moveTo>
                  <a:lnTo>
                    <a:pt x="635" y="790"/>
                  </a:lnTo>
                  <a:lnTo>
                    <a:pt x="635" y="786"/>
                  </a:lnTo>
                  <a:lnTo>
                    <a:pt x="635" y="790"/>
                  </a:lnTo>
                  <a:lnTo>
                    <a:pt x="631" y="790"/>
                  </a:lnTo>
                  <a:close/>
                  <a:moveTo>
                    <a:pt x="639" y="790"/>
                  </a:moveTo>
                  <a:lnTo>
                    <a:pt x="635" y="790"/>
                  </a:lnTo>
                  <a:lnTo>
                    <a:pt x="639" y="79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5" name="Freeform 183"/>
            <p:cNvSpPr>
              <a:spLocks noEditPoints="1"/>
            </p:cNvSpPr>
            <p:nvPr>
              <p:custDataLst>
                <p:tags r:id="rId378"/>
              </p:custDataLst>
            </p:nvPr>
          </p:nvSpPr>
          <p:spPr bwMode="gray">
            <a:xfrm>
              <a:off x="7540919" y="4634514"/>
              <a:ext cx="336655" cy="277332"/>
            </a:xfrm>
            <a:custGeom>
              <a:avLst/>
              <a:gdLst/>
              <a:ahLst/>
              <a:cxnLst>
                <a:cxn ang="0">
                  <a:pos x="95" y="12"/>
                </a:cxn>
                <a:cxn ang="0">
                  <a:pos x="83" y="16"/>
                </a:cxn>
                <a:cxn ang="0">
                  <a:pos x="139" y="24"/>
                </a:cxn>
                <a:cxn ang="0">
                  <a:pos x="179" y="43"/>
                </a:cxn>
                <a:cxn ang="0">
                  <a:pos x="179" y="59"/>
                </a:cxn>
                <a:cxn ang="0">
                  <a:pos x="167" y="35"/>
                </a:cxn>
                <a:cxn ang="0">
                  <a:pos x="151" y="24"/>
                </a:cxn>
                <a:cxn ang="0">
                  <a:pos x="155" y="28"/>
                </a:cxn>
                <a:cxn ang="0">
                  <a:pos x="175" y="39"/>
                </a:cxn>
                <a:cxn ang="0">
                  <a:pos x="71" y="119"/>
                </a:cxn>
                <a:cxn ang="0">
                  <a:pos x="56" y="115"/>
                </a:cxn>
                <a:cxn ang="0">
                  <a:pos x="44" y="111"/>
                </a:cxn>
                <a:cxn ang="0">
                  <a:pos x="40" y="119"/>
                </a:cxn>
                <a:cxn ang="0">
                  <a:pos x="24" y="127"/>
                </a:cxn>
                <a:cxn ang="0">
                  <a:pos x="28" y="127"/>
                </a:cxn>
                <a:cxn ang="0">
                  <a:pos x="28" y="143"/>
                </a:cxn>
                <a:cxn ang="0">
                  <a:pos x="4" y="143"/>
                </a:cxn>
                <a:cxn ang="0">
                  <a:pos x="0" y="63"/>
                </a:cxn>
                <a:cxn ang="0">
                  <a:pos x="16" y="31"/>
                </a:cxn>
                <a:cxn ang="0">
                  <a:pos x="40" y="39"/>
                </a:cxn>
                <a:cxn ang="0">
                  <a:pos x="59" y="47"/>
                </a:cxn>
                <a:cxn ang="0">
                  <a:pos x="71" y="67"/>
                </a:cxn>
                <a:cxn ang="0">
                  <a:pos x="87" y="79"/>
                </a:cxn>
                <a:cxn ang="0">
                  <a:pos x="103" y="91"/>
                </a:cxn>
                <a:cxn ang="0">
                  <a:pos x="91" y="107"/>
                </a:cxn>
                <a:cxn ang="0">
                  <a:pos x="107" y="119"/>
                </a:cxn>
                <a:cxn ang="0">
                  <a:pos x="115" y="139"/>
                </a:cxn>
                <a:cxn ang="0">
                  <a:pos x="127" y="147"/>
                </a:cxn>
                <a:cxn ang="0">
                  <a:pos x="139" y="159"/>
                </a:cxn>
                <a:cxn ang="0">
                  <a:pos x="147" y="163"/>
                </a:cxn>
                <a:cxn ang="0">
                  <a:pos x="139" y="167"/>
                </a:cxn>
                <a:cxn ang="0">
                  <a:pos x="123" y="163"/>
                </a:cxn>
                <a:cxn ang="0">
                  <a:pos x="99" y="151"/>
                </a:cxn>
                <a:cxn ang="0">
                  <a:pos x="91" y="139"/>
                </a:cxn>
                <a:cxn ang="0">
                  <a:pos x="151" y="28"/>
                </a:cxn>
                <a:cxn ang="0">
                  <a:pos x="131" y="75"/>
                </a:cxn>
                <a:cxn ang="0">
                  <a:pos x="135" y="71"/>
                </a:cxn>
                <a:cxn ang="0">
                  <a:pos x="151" y="71"/>
                </a:cxn>
                <a:cxn ang="0">
                  <a:pos x="159" y="51"/>
                </a:cxn>
                <a:cxn ang="0">
                  <a:pos x="171" y="59"/>
                </a:cxn>
                <a:cxn ang="0">
                  <a:pos x="159" y="75"/>
                </a:cxn>
                <a:cxn ang="0">
                  <a:pos x="143" y="87"/>
                </a:cxn>
                <a:cxn ang="0">
                  <a:pos x="123" y="83"/>
                </a:cxn>
                <a:cxn ang="0">
                  <a:pos x="111" y="75"/>
                </a:cxn>
                <a:cxn ang="0">
                  <a:pos x="207" y="75"/>
                </a:cxn>
                <a:cxn ang="0">
                  <a:pos x="207" y="75"/>
                </a:cxn>
                <a:cxn ang="0">
                  <a:pos x="223" y="87"/>
                </a:cxn>
                <a:cxn ang="0">
                  <a:pos x="215" y="95"/>
                </a:cxn>
                <a:cxn ang="0">
                  <a:pos x="207" y="75"/>
                </a:cxn>
                <a:cxn ang="0">
                  <a:pos x="107" y="75"/>
                </a:cxn>
                <a:cxn ang="0">
                  <a:pos x="36" y="131"/>
                </a:cxn>
                <a:cxn ang="0">
                  <a:pos x="155" y="135"/>
                </a:cxn>
                <a:cxn ang="0">
                  <a:pos x="179" y="143"/>
                </a:cxn>
                <a:cxn ang="0">
                  <a:pos x="36" y="143"/>
                </a:cxn>
                <a:cxn ang="0">
                  <a:pos x="147" y="151"/>
                </a:cxn>
                <a:cxn ang="0">
                  <a:pos x="151" y="151"/>
                </a:cxn>
                <a:cxn ang="0">
                  <a:pos x="151" y="155"/>
                </a:cxn>
                <a:cxn ang="0">
                  <a:pos x="151" y="167"/>
                </a:cxn>
                <a:cxn ang="0">
                  <a:pos x="195" y="183"/>
                </a:cxn>
                <a:cxn ang="0">
                  <a:pos x="187" y="187"/>
                </a:cxn>
                <a:cxn ang="0">
                  <a:pos x="191" y="187"/>
                </a:cxn>
              </a:cxnLst>
              <a:rect l="0" t="0" r="r" b="b"/>
              <a:pathLst>
                <a:path w="227" h="187">
                  <a:moveTo>
                    <a:pt x="131" y="4"/>
                  </a:moveTo>
                  <a:lnTo>
                    <a:pt x="131" y="0"/>
                  </a:lnTo>
                  <a:lnTo>
                    <a:pt x="127" y="0"/>
                  </a:lnTo>
                  <a:lnTo>
                    <a:pt x="131" y="0"/>
                  </a:lnTo>
                  <a:lnTo>
                    <a:pt x="131" y="4"/>
                  </a:lnTo>
                  <a:close/>
                  <a:moveTo>
                    <a:pt x="95" y="8"/>
                  </a:moveTo>
                  <a:lnTo>
                    <a:pt x="95" y="12"/>
                  </a:lnTo>
                  <a:lnTo>
                    <a:pt x="99" y="12"/>
                  </a:lnTo>
                  <a:lnTo>
                    <a:pt x="95" y="12"/>
                  </a:lnTo>
                  <a:lnTo>
                    <a:pt x="95" y="16"/>
                  </a:lnTo>
                  <a:lnTo>
                    <a:pt x="91" y="16"/>
                  </a:lnTo>
                  <a:lnTo>
                    <a:pt x="87" y="16"/>
                  </a:lnTo>
                  <a:lnTo>
                    <a:pt x="87" y="12"/>
                  </a:lnTo>
                  <a:lnTo>
                    <a:pt x="83" y="16"/>
                  </a:lnTo>
                  <a:lnTo>
                    <a:pt x="83" y="12"/>
                  </a:lnTo>
                  <a:lnTo>
                    <a:pt x="87" y="8"/>
                  </a:lnTo>
                  <a:lnTo>
                    <a:pt x="91" y="12"/>
                  </a:lnTo>
                  <a:lnTo>
                    <a:pt x="95" y="12"/>
                  </a:lnTo>
                  <a:lnTo>
                    <a:pt x="95" y="8"/>
                  </a:lnTo>
                  <a:close/>
                  <a:moveTo>
                    <a:pt x="143" y="24"/>
                  </a:moveTo>
                  <a:lnTo>
                    <a:pt x="139" y="24"/>
                  </a:lnTo>
                  <a:lnTo>
                    <a:pt x="135" y="20"/>
                  </a:lnTo>
                  <a:lnTo>
                    <a:pt x="139" y="20"/>
                  </a:lnTo>
                  <a:lnTo>
                    <a:pt x="139" y="16"/>
                  </a:lnTo>
                  <a:lnTo>
                    <a:pt x="143" y="20"/>
                  </a:lnTo>
                  <a:lnTo>
                    <a:pt x="143" y="24"/>
                  </a:lnTo>
                  <a:close/>
                  <a:moveTo>
                    <a:pt x="175" y="43"/>
                  </a:moveTo>
                  <a:lnTo>
                    <a:pt x="179" y="43"/>
                  </a:lnTo>
                  <a:lnTo>
                    <a:pt x="179" y="47"/>
                  </a:lnTo>
                  <a:lnTo>
                    <a:pt x="183" y="47"/>
                  </a:lnTo>
                  <a:lnTo>
                    <a:pt x="183" y="51"/>
                  </a:lnTo>
                  <a:lnTo>
                    <a:pt x="183" y="55"/>
                  </a:lnTo>
                  <a:lnTo>
                    <a:pt x="183" y="59"/>
                  </a:lnTo>
                  <a:lnTo>
                    <a:pt x="179" y="63"/>
                  </a:lnTo>
                  <a:lnTo>
                    <a:pt x="179" y="59"/>
                  </a:lnTo>
                  <a:lnTo>
                    <a:pt x="175" y="55"/>
                  </a:lnTo>
                  <a:lnTo>
                    <a:pt x="175" y="51"/>
                  </a:lnTo>
                  <a:lnTo>
                    <a:pt x="175" y="47"/>
                  </a:lnTo>
                  <a:lnTo>
                    <a:pt x="175" y="43"/>
                  </a:lnTo>
                  <a:lnTo>
                    <a:pt x="171" y="43"/>
                  </a:lnTo>
                  <a:lnTo>
                    <a:pt x="171" y="39"/>
                  </a:lnTo>
                  <a:lnTo>
                    <a:pt x="167" y="35"/>
                  </a:lnTo>
                  <a:lnTo>
                    <a:pt x="163" y="35"/>
                  </a:lnTo>
                  <a:lnTo>
                    <a:pt x="163" y="31"/>
                  </a:lnTo>
                  <a:lnTo>
                    <a:pt x="159" y="31"/>
                  </a:lnTo>
                  <a:lnTo>
                    <a:pt x="159" y="28"/>
                  </a:lnTo>
                  <a:lnTo>
                    <a:pt x="155" y="28"/>
                  </a:lnTo>
                  <a:lnTo>
                    <a:pt x="151" y="28"/>
                  </a:lnTo>
                  <a:lnTo>
                    <a:pt x="151" y="24"/>
                  </a:lnTo>
                  <a:lnTo>
                    <a:pt x="147" y="24"/>
                  </a:lnTo>
                  <a:lnTo>
                    <a:pt x="151" y="24"/>
                  </a:lnTo>
                  <a:lnTo>
                    <a:pt x="147" y="24"/>
                  </a:lnTo>
                  <a:lnTo>
                    <a:pt x="147" y="20"/>
                  </a:lnTo>
                  <a:lnTo>
                    <a:pt x="151" y="24"/>
                  </a:lnTo>
                  <a:lnTo>
                    <a:pt x="155" y="24"/>
                  </a:lnTo>
                  <a:lnTo>
                    <a:pt x="155" y="28"/>
                  </a:lnTo>
                  <a:lnTo>
                    <a:pt x="159" y="28"/>
                  </a:lnTo>
                  <a:lnTo>
                    <a:pt x="163" y="31"/>
                  </a:lnTo>
                  <a:lnTo>
                    <a:pt x="167" y="31"/>
                  </a:lnTo>
                  <a:lnTo>
                    <a:pt x="167" y="35"/>
                  </a:lnTo>
                  <a:lnTo>
                    <a:pt x="171" y="35"/>
                  </a:lnTo>
                  <a:lnTo>
                    <a:pt x="171" y="39"/>
                  </a:lnTo>
                  <a:lnTo>
                    <a:pt x="175" y="39"/>
                  </a:lnTo>
                  <a:lnTo>
                    <a:pt x="175" y="43"/>
                  </a:lnTo>
                  <a:close/>
                  <a:moveTo>
                    <a:pt x="79" y="131"/>
                  </a:moveTo>
                  <a:lnTo>
                    <a:pt x="79" y="127"/>
                  </a:lnTo>
                  <a:lnTo>
                    <a:pt x="79" y="123"/>
                  </a:lnTo>
                  <a:lnTo>
                    <a:pt x="75" y="123"/>
                  </a:lnTo>
                  <a:lnTo>
                    <a:pt x="75" y="119"/>
                  </a:lnTo>
                  <a:lnTo>
                    <a:pt x="71" y="119"/>
                  </a:lnTo>
                  <a:lnTo>
                    <a:pt x="67" y="119"/>
                  </a:lnTo>
                  <a:lnTo>
                    <a:pt x="63" y="119"/>
                  </a:lnTo>
                  <a:lnTo>
                    <a:pt x="63" y="115"/>
                  </a:lnTo>
                  <a:lnTo>
                    <a:pt x="59" y="115"/>
                  </a:lnTo>
                  <a:lnTo>
                    <a:pt x="59" y="111"/>
                  </a:lnTo>
                  <a:lnTo>
                    <a:pt x="59" y="115"/>
                  </a:lnTo>
                  <a:lnTo>
                    <a:pt x="56" y="115"/>
                  </a:lnTo>
                  <a:lnTo>
                    <a:pt x="56" y="111"/>
                  </a:lnTo>
                  <a:lnTo>
                    <a:pt x="52" y="111"/>
                  </a:lnTo>
                  <a:lnTo>
                    <a:pt x="52" y="115"/>
                  </a:lnTo>
                  <a:lnTo>
                    <a:pt x="52" y="111"/>
                  </a:lnTo>
                  <a:lnTo>
                    <a:pt x="48" y="115"/>
                  </a:lnTo>
                  <a:lnTo>
                    <a:pt x="44" y="115"/>
                  </a:lnTo>
                  <a:lnTo>
                    <a:pt x="44" y="111"/>
                  </a:lnTo>
                  <a:lnTo>
                    <a:pt x="40" y="111"/>
                  </a:lnTo>
                  <a:lnTo>
                    <a:pt x="44" y="111"/>
                  </a:lnTo>
                  <a:lnTo>
                    <a:pt x="44" y="115"/>
                  </a:lnTo>
                  <a:lnTo>
                    <a:pt x="44" y="119"/>
                  </a:lnTo>
                  <a:lnTo>
                    <a:pt x="40" y="119"/>
                  </a:lnTo>
                  <a:lnTo>
                    <a:pt x="36" y="119"/>
                  </a:lnTo>
                  <a:lnTo>
                    <a:pt x="40" y="119"/>
                  </a:lnTo>
                  <a:lnTo>
                    <a:pt x="40" y="123"/>
                  </a:lnTo>
                  <a:lnTo>
                    <a:pt x="36" y="123"/>
                  </a:lnTo>
                  <a:lnTo>
                    <a:pt x="32" y="127"/>
                  </a:lnTo>
                  <a:lnTo>
                    <a:pt x="28" y="127"/>
                  </a:lnTo>
                  <a:lnTo>
                    <a:pt x="28" y="123"/>
                  </a:lnTo>
                  <a:lnTo>
                    <a:pt x="24" y="123"/>
                  </a:lnTo>
                  <a:lnTo>
                    <a:pt x="24" y="127"/>
                  </a:lnTo>
                  <a:lnTo>
                    <a:pt x="20" y="127"/>
                  </a:lnTo>
                  <a:lnTo>
                    <a:pt x="20" y="123"/>
                  </a:lnTo>
                  <a:lnTo>
                    <a:pt x="16" y="123"/>
                  </a:lnTo>
                  <a:lnTo>
                    <a:pt x="20" y="123"/>
                  </a:lnTo>
                  <a:lnTo>
                    <a:pt x="20" y="127"/>
                  </a:lnTo>
                  <a:lnTo>
                    <a:pt x="24" y="127"/>
                  </a:lnTo>
                  <a:lnTo>
                    <a:pt x="28" y="127"/>
                  </a:lnTo>
                  <a:lnTo>
                    <a:pt x="32" y="127"/>
                  </a:lnTo>
                  <a:lnTo>
                    <a:pt x="32" y="131"/>
                  </a:lnTo>
                  <a:lnTo>
                    <a:pt x="36" y="131"/>
                  </a:lnTo>
                  <a:lnTo>
                    <a:pt x="36" y="135"/>
                  </a:lnTo>
                  <a:lnTo>
                    <a:pt x="36" y="139"/>
                  </a:lnTo>
                  <a:lnTo>
                    <a:pt x="32" y="139"/>
                  </a:lnTo>
                  <a:lnTo>
                    <a:pt x="28" y="143"/>
                  </a:lnTo>
                  <a:lnTo>
                    <a:pt x="24" y="143"/>
                  </a:lnTo>
                  <a:lnTo>
                    <a:pt x="20" y="143"/>
                  </a:lnTo>
                  <a:lnTo>
                    <a:pt x="16" y="143"/>
                  </a:lnTo>
                  <a:lnTo>
                    <a:pt x="12" y="143"/>
                  </a:lnTo>
                  <a:lnTo>
                    <a:pt x="8" y="143"/>
                  </a:lnTo>
                  <a:lnTo>
                    <a:pt x="8" y="139"/>
                  </a:lnTo>
                  <a:lnTo>
                    <a:pt x="4" y="143"/>
                  </a:lnTo>
                  <a:lnTo>
                    <a:pt x="0" y="143"/>
                  </a:lnTo>
                  <a:lnTo>
                    <a:pt x="0" y="139"/>
                  </a:lnTo>
                  <a:lnTo>
                    <a:pt x="0" y="99"/>
                  </a:lnTo>
                  <a:lnTo>
                    <a:pt x="0" y="95"/>
                  </a:lnTo>
                  <a:lnTo>
                    <a:pt x="0" y="91"/>
                  </a:lnTo>
                  <a:lnTo>
                    <a:pt x="0" y="83"/>
                  </a:lnTo>
                  <a:lnTo>
                    <a:pt x="0" y="63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31"/>
                  </a:lnTo>
                  <a:lnTo>
                    <a:pt x="20" y="31"/>
                  </a:lnTo>
                  <a:lnTo>
                    <a:pt x="24" y="31"/>
                  </a:lnTo>
                  <a:lnTo>
                    <a:pt x="28" y="35"/>
                  </a:lnTo>
                  <a:lnTo>
                    <a:pt x="32" y="35"/>
                  </a:lnTo>
                  <a:lnTo>
                    <a:pt x="36" y="35"/>
                  </a:lnTo>
                  <a:lnTo>
                    <a:pt x="40" y="35"/>
                  </a:lnTo>
                  <a:lnTo>
                    <a:pt x="40" y="39"/>
                  </a:lnTo>
                  <a:lnTo>
                    <a:pt x="44" y="39"/>
                  </a:lnTo>
                  <a:lnTo>
                    <a:pt x="44" y="43"/>
                  </a:lnTo>
                  <a:lnTo>
                    <a:pt x="48" y="43"/>
                  </a:lnTo>
                  <a:lnTo>
                    <a:pt x="52" y="43"/>
                  </a:lnTo>
                  <a:lnTo>
                    <a:pt x="56" y="43"/>
                  </a:lnTo>
                  <a:lnTo>
                    <a:pt x="56" y="47"/>
                  </a:lnTo>
                  <a:lnTo>
                    <a:pt x="59" y="47"/>
                  </a:lnTo>
                  <a:lnTo>
                    <a:pt x="59" y="51"/>
                  </a:lnTo>
                  <a:lnTo>
                    <a:pt x="63" y="55"/>
                  </a:lnTo>
                  <a:lnTo>
                    <a:pt x="67" y="55"/>
                  </a:lnTo>
                  <a:lnTo>
                    <a:pt x="67" y="59"/>
                  </a:lnTo>
                  <a:lnTo>
                    <a:pt x="71" y="59"/>
                  </a:lnTo>
                  <a:lnTo>
                    <a:pt x="71" y="63"/>
                  </a:lnTo>
                  <a:lnTo>
                    <a:pt x="71" y="67"/>
                  </a:lnTo>
                  <a:lnTo>
                    <a:pt x="71" y="71"/>
                  </a:lnTo>
                  <a:lnTo>
                    <a:pt x="71" y="75"/>
                  </a:lnTo>
                  <a:lnTo>
                    <a:pt x="75" y="75"/>
                  </a:lnTo>
                  <a:lnTo>
                    <a:pt x="79" y="75"/>
                  </a:lnTo>
                  <a:lnTo>
                    <a:pt x="83" y="75"/>
                  </a:lnTo>
                  <a:lnTo>
                    <a:pt x="83" y="79"/>
                  </a:lnTo>
                  <a:lnTo>
                    <a:pt x="87" y="79"/>
                  </a:lnTo>
                  <a:lnTo>
                    <a:pt x="91" y="79"/>
                  </a:lnTo>
                  <a:lnTo>
                    <a:pt x="91" y="83"/>
                  </a:lnTo>
                  <a:lnTo>
                    <a:pt x="95" y="83"/>
                  </a:lnTo>
                  <a:lnTo>
                    <a:pt x="99" y="83"/>
                  </a:lnTo>
                  <a:lnTo>
                    <a:pt x="99" y="87"/>
                  </a:lnTo>
                  <a:lnTo>
                    <a:pt x="103" y="87"/>
                  </a:lnTo>
                  <a:lnTo>
                    <a:pt x="103" y="91"/>
                  </a:lnTo>
                  <a:lnTo>
                    <a:pt x="103" y="95"/>
                  </a:lnTo>
                  <a:lnTo>
                    <a:pt x="99" y="95"/>
                  </a:lnTo>
                  <a:lnTo>
                    <a:pt x="95" y="95"/>
                  </a:lnTo>
                  <a:lnTo>
                    <a:pt x="91" y="95"/>
                  </a:lnTo>
                  <a:lnTo>
                    <a:pt x="91" y="99"/>
                  </a:lnTo>
                  <a:lnTo>
                    <a:pt x="91" y="103"/>
                  </a:lnTo>
                  <a:lnTo>
                    <a:pt x="91" y="107"/>
                  </a:lnTo>
                  <a:lnTo>
                    <a:pt x="95" y="111"/>
                  </a:lnTo>
                  <a:lnTo>
                    <a:pt x="99" y="111"/>
                  </a:lnTo>
                  <a:lnTo>
                    <a:pt x="99" y="115"/>
                  </a:lnTo>
                  <a:lnTo>
                    <a:pt x="103" y="119"/>
                  </a:lnTo>
                  <a:lnTo>
                    <a:pt x="107" y="119"/>
                  </a:lnTo>
                  <a:lnTo>
                    <a:pt x="107" y="123"/>
                  </a:lnTo>
                  <a:lnTo>
                    <a:pt x="107" y="119"/>
                  </a:lnTo>
                  <a:lnTo>
                    <a:pt x="107" y="123"/>
                  </a:lnTo>
                  <a:lnTo>
                    <a:pt x="107" y="127"/>
                  </a:lnTo>
                  <a:lnTo>
                    <a:pt x="107" y="131"/>
                  </a:lnTo>
                  <a:lnTo>
                    <a:pt x="111" y="131"/>
                  </a:lnTo>
                  <a:lnTo>
                    <a:pt x="111" y="135"/>
                  </a:lnTo>
                  <a:lnTo>
                    <a:pt x="115" y="135"/>
                  </a:lnTo>
                  <a:lnTo>
                    <a:pt x="115" y="139"/>
                  </a:lnTo>
                  <a:lnTo>
                    <a:pt x="119" y="139"/>
                  </a:lnTo>
                  <a:lnTo>
                    <a:pt x="123" y="139"/>
                  </a:lnTo>
                  <a:lnTo>
                    <a:pt x="127" y="139"/>
                  </a:lnTo>
                  <a:lnTo>
                    <a:pt x="127" y="143"/>
                  </a:lnTo>
                  <a:lnTo>
                    <a:pt x="123" y="143"/>
                  </a:lnTo>
                  <a:lnTo>
                    <a:pt x="123" y="147"/>
                  </a:lnTo>
                  <a:lnTo>
                    <a:pt x="127" y="147"/>
                  </a:lnTo>
                  <a:lnTo>
                    <a:pt x="127" y="151"/>
                  </a:lnTo>
                  <a:lnTo>
                    <a:pt x="131" y="151"/>
                  </a:lnTo>
                  <a:lnTo>
                    <a:pt x="135" y="151"/>
                  </a:lnTo>
                  <a:lnTo>
                    <a:pt x="131" y="151"/>
                  </a:lnTo>
                  <a:lnTo>
                    <a:pt x="131" y="155"/>
                  </a:lnTo>
                  <a:lnTo>
                    <a:pt x="135" y="159"/>
                  </a:lnTo>
                  <a:lnTo>
                    <a:pt x="139" y="159"/>
                  </a:lnTo>
                  <a:lnTo>
                    <a:pt x="143" y="159"/>
                  </a:lnTo>
                  <a:lnTo>
                    <a:pt x="143" y="163"/>
                  </a:lnTo>
                  <a:lnTo>
                    <a:pt x="147" y="163"/>
                  </a:lnTo>
                  <a:lnTo>
                    <a:pt x="147" y="159"/>
                  </a:lnTo>
                  <a:lnTo>
                    <a:pt x="151" y="159"/>
                  </a:lnTo>
                  <a:lnTo>
                    <a:pt x="151" y="163"/>
                  </a:lnTo>
                  <a:lnTo>
                    <a:pt x="147" y="163"/>
                  </a:lnTo>
                  <a:lnTo>
                    <a:pt x="143" y="163"/>
                  </a:lnTo>
                  <a:lnTo>
                    <a:pt x="143" y="167"/>
                  </a:lnTo>
                  <a:lnTo>
                    <a:pt x="147" y="167"/>
                  </a:lnTo>
                  <a:lnTo>
                    <a:pt x="143" y="167"/>
                  </a:lnTo>
                  <a:lnTo>
                    <a:pt x="143" y="171"/>
                  </a:lnTo>
                  <a:lnTo>
                    <a:pt x="139" y="171"/>
                  </a:lnTo>
                  <a:lnTo>
                    <a:pt x="139" y="167"/>
                  </a:lnTo>
                  <a:lnTo>
                    <a:pt x="135" y="167"/>
                  </a:lnTo>
                  <a:lnTo>
                    <a:pt x="139" y="167"/>
                  </a:lnTo>
                  <a:lnTo>
                    <a:pt x="135" y="167"/>
                  </a:lnTo>
                  <a:lnTo>
                    <a:pt x="135" y="163"/>
                  </a:lnTo>
                  <a:lnTo>
                    <a:pt x="131" y="163"/>
                  </a:lnTo>
                  <a:lnTo>
                    <a:pt x="127" y="163"/>
                  </a:lnTo>
                  <a:lnTo>
                    <a:pt x="123" y="163"/>
                  </a:lnTo>
                  <a:lnTo>
                    <a:pt x="119" y="163"/>
                  </a:lnTo>
                  <a:lnTo>
                    <a:pt x="115" y="159"/>
                  </a:lnTo>
                  <a:lnTo>
                    <a:pt x="111" y="159"/>
                  </a:lnTo>
                  <a:lnTo>
                    <a:pt x="107" y="159"/>
                  </a:lnTo>
                  <a:lnTo>
                    <a:pt x="103" y="159"/>
                  </a:lnTo>
                  <a:lnTo>
                    <a:pt x="99" y="155"/>
                  </a:lnTo>
                  <a:lnTo>
                    <a:pt x="99" y="151"/>
                  </a:lnTo>
                  <a:lnTo>
                    <a:pt x="95" y="151"/>
                  </a:lnTo>
                  <a:lnTo>
                    <a:pt x="95" y="147"/>
                  </a:lnTo>
                  <a:lnTo>
                    <a:pt x="91" y="147"/>
                  </a:lnTo>
                  <a:lnTo>
                    <a:pt x="91" y="143"/>
                  </a:lnTo>
                  <a:lnTo>
                    <a:pt x="87" y="143"/>
                  </a:lnTo>
                  <a:lnTo>
                    <a:pt x="87" y="139"/>
                  </a:lnTo>
                  <a:lnTo>
                    <a:pt x="91" y="139"/>
                  </a:lnTo>
                  <a:lnTo>
                    <a:pt x="87" y="139"/>
                  </a:lnTo>
                  <a:lnTo>
                    <a:pt x="83" y="139"/>
                  </a:lnTo>
                  <a:lnTo>
                    <a:pt x="83" y="135"/>
                  </a:lnTo>
                  <a:lnTo>
                    <a:pt x="83" y="131"/>
                  </a:lnTo>
                  <a:lnTo>
                    <a:pt x="79" y="131"/>
                  </a:lnTo>
                  <a:close/>
                  <a:moveTo>
                    <a:pt x="147" y="28"/>
                  </a:moveTo>
                  <a:lnTo>
                    <a:pt x="151" y="28"/>
                  </a:lnTo>
                  <a:lnTo>
                    <a:pt x="147" y="28"/>
                  </a:lnTo>
                  <a:close/>
                  <a:moveTo>
                    <a:pt x="175" y="31"/>
                  </a:moveTo>
                  <a:lnTo>
                    <a:pt x="175" y="28"/>
                  </a:lnTo>
                  <a:lnTo>
                    <a:pt x="175" y="31"/>
                  </a:lnTo>
                  <a:close/>
                  <a:moveTo>
                    <a:pt x="123" y="75"/>
                  </a:moveTo>
                  <a:lnTo>
                    <a:pt x="127" y="75"/>
                  </a:lnTo>
                  <a:lnTo>
                    <a:pt x="131" y="75"/>
                  </a:lnTo>
                  <a:lnTo>
                    <a:pt x="135" y="75"/>
                  </a:lnTo>
                  <a:lnTo>
                    <a:pt x="135" y="71"/>
                  </a:lnTo>
                  <a:lnTo>
                    <a:pt x="135" y="67"/>
                  </a:lnTo>
                  <a:lnTo>
                    <a:pt x="139" y="63"/>
                  </a:lnTo>
                  <a:lnTo>
                    <a:pt x="139" y="67"/>
                  </a:lnTo>
                  <a:lnTo>
                    <a:pt x="135" y="67"/>
                  </a:lnTo>
                  <a:lnTo>
                    <a:pt x="135" y="71"/>
                  </a:lnTo>
                  <a:lnTo>
                    <a:pt x="139" y="75"/>
                  </a:lnTo>
                  <a:lnTo>
                    <a:pt x="143" y="75"/>
                  </a:lnTo>
                  <a:lnTo>
                    <a:pt x="143" y="71"/>
                  </a:lnTo>
                  <a:lnTo>
                    <a:pt x="143" y="75"/>
                  </a:lnTo>
                  <a:lnTo>
                    <a:pt x="147" y="75"/>
                  </a:lnTo>
                  <a:lnTo>
                    <a:pt x="151" y="75"/>
                  </a:lnTo>
                  <a:lnTo>
                    <a:pt x="151" y="71"/>
                  </a:lnTo>
                  <a:lnTo>
                    <a:pt x="151" y="67"/>
                  </a:lnTo>
                  <a:lnTo>
                    <a:pt x="155" y="63"/>
                  </a:lnTo>
                  <a:lnTo>
                    <a:pt x="159" y="63"/>
                  </a:lnTo>
                  <a:lnTo>
                    <a:pt x="163" y="63"/>
                  </a:lnTo>
                  <a:lnTo>
                    <a:pt x="163" y="59"/>
                  </a:lnTo>
                  <a:lnTo>
                    <a:pt x="159" y="55"/>
                  </a:lnTo>
                  <a:lnTo>
                    <a:pt x="159" y="51"/>
                  </a:lnTo>
                  <a:lnTo>
                    <a:pt x="163" y="51"/>
                  </a:lnTo>
                  <a:lnTo>
                    <a:pt x="167" y="51"/>
                  </a:lnTo>
                  <a:lnTo>
                    <a:pt x="167" y="47"/>
                  </a:lnTo>
                  <a:lnTo>
                    <a:pt x="171" y="51"/>
                  </a:lnTo>
                  <a:lnTo>
                    <a:pt x="167" y="51"/>
                  </a:lnTo>
                  <a:lnTo>
                    <a:pt x="171" y="51"/>
                  </a:lnTo>
                  <a:lnTo>
                    <a:pt x="171" y="59"/>
                  </a:lnTo>
                  <a:lnTo>
                    <a:pt x="171" y="63"/>
                  </a:lnTo>
                  <a:lnTo>
                    <a:pt x="167" y="63"/>
                  </a:lnTo>
                  <a:lnTo>
                    <a:pt x="167" y="67"/>
                  </a:lnTo>
                  <a:lnTo>
                    <a:pt x="167" y="71"/>
                  </a:lnTo>
                  <a:lnTo>
                    <a:pt x="167" y="75"/>
                  </a:lnTo>
                  <a:lnTo>
                    <a:pt x="163" y="75"/>
                  </a:lnTo>
                  <a:lnTo>
                    <a:pt x="159" y="75"/>
                  </a:lnTo>
                  <a:lnTo>
                    <a:pt x="159" y="79"/>
                  </a:lnTo>
                  <a:lnTo>
                    <a:pt x="155" y="79"/>
                  </a:lnTo>
                  <a:lnTo>
                    <a:pt x="155" y="83"/>
                  </a:lnTo>
                  <a:lnTo>
                    <a:pt x="151" y="83"/>
                  </a:lnTo>
                  <a:lnTo>
                    <a:pt x="147" y="83"/>
                  </a:lnTo>
                  <a:lnTo>
                    <a:pt x="147" y="87"/>
                  </a:lnTo>
                  <a:lnTo>
                    <a:pt x="143" y="87"/>
                  </a:lnTo>
                  <a:lnTo>
                    <a:pt x="139" y="87"/>
                  </a:lnTo>
                  <a:lnTo>
                    <a:pt x="135" y="87"/>
                  </a:lnTo>
                  <a:lnTo>
                    <a:pt x="131" y="87"/>
                  </a:lnTo>
                  <a:lnTo>
                    <a:pt x="127" y="87"/>
                  </a:lnTo>
                  <a:lnTo>
                    <a:pt x="127" y="83"/>
                  </a:lnTo>
                  <a:lnTo>
                    <a:pt x="123" y="87"/>
                  </a:lnTo>
                  <a:lnTo>
                    <a:pt x="123" y="83"/>
                  </a:lnTo>
                  <a:lnTo>
                    <a:pt x="119" y="83"/>
                  </a:lnTo>
                  <a:lnTo>
                    <a:pt x="119" y="79"/>
                  </a:lnTo>
                  <a:lnTo>
                    <a:pt x="115" y="79"/>
                  </a:lnTo>
                  <a:lnTo>
                    <a:pt x="111" y="79"/>
                  </a:lnTo>
                  <a:lnTo>
                    <a:pt x="111" y="75"/>
                  </a:lnTo>
                  <a:lnTo>
                    <a:pt x="111" y="71"/>
                  </a:lnTo>
                  <a:lnTo>
                    <a:pt x="111" y="75"/>
                  </a:lnTo>
                  <a:lnTo>
                    <a:pt x="115" y="75"/>
                  </a:lnTo>
                  <a:lnTo>
                    <a:pt x="119" y="75"/>
                  </a:lnTo>
                  <a:lnTo>
                    <a:pt x="123" y="75"/>
                  </a:lnTo>
                  <a:close/>
                  <a:moveTo>
                    <a:pt x="75" y="59"/>
                  </a:moveTo>
                  <a:lnTo>
                    <a:pt x="75" y="55"/>
                  </a:lnTo>
                  <a:lnTo>
                    <a:pt x="75" y="59"/>
                  </a:lnTo>
                  <a:close/>
                  <a:moveTo>
                    <a:pt x="207" y="75"/>
                  </a:moveTo>
                  <a:lnTo>
                    <a:pt x="207" y="71"/>
                  </a:lnTo>
                  <a:lnTo>
                    <a:pt x="203" y="67"/>
                  </a:lnTo>
                  <a:lnTo>
                    <a:pt x="207" y="67"/>
                  </a:lnTo>
                  <a:lnTo>
                    <a:pt x="207" y="63"/>
                  </a:lnTo>
                  <a:lnTo>
                    <a:pt x="207" y="67"/>
                  </a:lnTo>
                  <a:lnTo>
                    <a:pt x="207" y="71"/>
                  </a:lnTo>
                  <a:lnTo>
                    <a:pt x="207" y="75"/>
                  </a:lnTo>
                  <a:close/>
                  <a:moveTo>
                    <a:pt x="91" y="71"/>
                  </a:moveTo>
                  <a:lnTo>
                    <a:pt x="91" y="67"/>
                  </a:lnTo>
                  <a:lnTo>
                    <a:pt x="95" y="71"/>
                  </a:lnTo>
                  <a:lnTo>
                    <a:pt x="91" y="71"/>
                  </a:lnTo>
                  <a:close/>
                  <a:moveTo>
                    <a:pt x="219" y="83"/>
                  </a:moveTo>
                  <a:lnTo>
                    <a:pt x="219" y="87"/>
                  </a:lnTo>
                  <a:lnTo>
                    <a:pt x="223" y="87"/>
                  </a:lnTo>
                  <a:lnTo>
                    <a:pt x="223" y="91"/>
                  </a:lnTo>
                  <a:lnTo>
                    <a:pt x="227" y="91"/>
                  </a:lnTo>
                  <a:lnTo>
                    <a:pt x="227" y="95"/>
                  </a:lnTo>
                  <a:lnTo>
                    <a:pt x="227" y="99"/>
                  </a:lnTo>
                  <a:lnTo>
                    <a:pt x="223" y="99"/>
                  </a:lnTo>
                  <a:lnTo>
                    <a:pt x="219" y="99"/>
                  </a:lnTo>
                  <a:lnTo>
                    <a:pt x="215" y="95"/>
                  </a:lnTo>
                  <a:lnTo>
                    <a:pt x="215" y="91"/>
                  </a:lnTo>
                  <a:lnTo>
                    <a:pt x="215" y="87"/>
                  </a:lnTo>
                  <a:lnTo>
                    <a:pt x="211" y="87"/>
                  </a:lnTo>
                  <a:lnTo>
                    <a:pt x="211" y="83"/>
                  </a:lnTo>
                  <a:lnTo>
                    <a:pt x="207" y="83"/>
                  </a:lnTo>
                  <a:lnTo>
                    <a:pt x="207" y="79"/>
                  </a:lnTo>
                  <a:lnTo>
                    <a:pt x="207" y="75"/>
                  </a:lnTo>
                  <a:lnTo>
                    <a:pt x="211" y="75"/>
                  </a:lnTo>
                  <a:lnTo>
                    <a:pt x="215" y="79"/>
                  </a:lnTo>
                  <a:lnTo>
                    <a:pt x="219" y="83"/>
                  </a:lnTo>
                  <a:close/>
                  <a:moveTo>
                    <a:pt x="107" y="79"/>
                  </a:moveTo>
                  <a:lnTo>
                    <a:pt x="103" y="79"/>
                  </a:lnTo>
                  <a:lnTo>
                    <a:pt x="103" y="75"/>
                  </a:lnTo>
                  <a:lnTo>
                    <a:pt x="107" y="75"/>
                  </a:lnTo>
                  <a:lnTo>
                    <a:pt x="107" y="79"/>
                  </a:lnTo>
                  <a:close/>
                  <a:moveTo>
                    <a:pt x="40" y="127"/>
                  </a:moveTo>
                  <a:lnTo>
                    <a:pt x="36" y="127"/>
                  </a:lnTo>
                  <a:lnTo>
                    <a:pt x="40" y="127"/>
                  </a:lnTo>
                  <a:close/>
                  <a:moveTo>
                    <a:pt x="40" y="135"/>
                  </a:moveTo>
                  <a:lnTo>
                    <a:pt x="40" y="131"/>
                  </a:lnTo>
                  <a:lnTo>
                    <a:pt x="36" y="131"/>
                  </a:lnTo>
                  <a:lnTo>
                    <a:pt x="36" y="127"/>
                  </a:lnTo>
                  <a:lnTo>
                    <a:pt x="32" y="127"/>
                  </a:lnTo>
                  <a:lnTo>
                    <a:pt x="36" y="127"/>
                  </a:lnTo>
                  <a:lnTo>
                    <a:pt x="36" y="131"/>
                  </a:lnTo>
                  <a:lnTo>
                    <a:pt x="40" y="131"/>
                  </a:lnTo>
                  <a:lnTo>
                    <a:pt x="40" y="135"/>
                  </a:lnTo>
                  <a:close/>
                  <a:moveTo>
                    <a:pt x="155" y="135"/>
                  </a:moveTo>
                  <a:lnTo>
                    <a:pt x="151" y="135"/>
                  </a:lnTo>
                  <a:lnTo>
                    <a:pt x="151" y="131"/>
                  </a:lnTo>
                  <a:lnTo>
                    <a:pt x="151" y="127"/>
                  </a:lnTo>
                  <a:lnTo>
                    <a:pt x="151" y="131"/>
                  </a:lnTo>
                  <a:lnTo>
                    <a:pt x="151" y="135"/>
                  </a:lnTo>
                  <a:lnTo>
                    <a:pt x="155" y="135"/>
                  </a:lnTo>
                  <a:close/>
                  <a:moveTo>
                    <a:pt x="179" y="143"/>
                  </a:moveTo>
                  <a:lnTo>
                    <a:pt x="175" y="139"/>
                  </a:lnTo>
                  <a:lnTo>
                    <a:pt x="179" y="139"/>
                  </a:lnTo>
                  <a:lnTo>
                    <a:pt x="183" y="139"/>
                  </a:lnTo>
                  <a:lnTo>
                    <a:pt x="183" y="143"/>
                  </a:lnTo>
                  <a:lnTo>
                    <a:pt x="179" y="143"/>
                  </a:lnTo>
                  <a:close/>
                  <a:moveTo>
                    <a:pt x="36" y="139"/>
                  </a:moveTo>
                  <a:lnTo>
                    <a:pt x="36" y="143"/>
                  </a:lnTo>
                  <a:lnTo>
                    <a:pt x="32" y="139"/>
                  </a:lnTo>
                  <a:lnTo>
                    <a:pt x="36" y="139"/>
                  </a:lnTo>
                  <a:close/>
                  <a:moveTo>
                    <a:pt x="143" y="147"/>
                  </a:moveTo>
                  <a:lnTo>
                    <a:pt x="139" y="147"/>
                  </a:lnTo>
                  <a:lnTo>
                    <a:pt x="139" y="143"/>
                  </a:lnTo>
                  <a:lnTo>
                    <a:pt x="143" y="147"/>
                  </a:lnTo>
                  <a:close/>
                  <a:moveTo>
                    <a:pt x="147" y="151"/>
                  </a:moveTo>
                  <a:lnTo>
                    <a:pt x="143" y="151"/>
                  </a:lnTo>
                  <a:lnTo>
                    <a:pt x="143" y="147"/>
                  </a:lnTo>
                  <a:lnTo>
                    <a:pt x="143" y="143"/>
                  </a:lnTo>
                  <a:lnTo>
                    <a:pt x="143" y="147"/>
                  </a:lnTo>
                  <a:lnTo>
                    <a:pt x="147" y="147"/>
                  </a:lnTo>
                  <a:lnTo>
                    <a:pt x="151" y="147"/>
                  </a:lnTo>
                  <a:lnTo>
                    <a:pt x="151" y="151"/>
                  </a:lnTo>
                  <a:lnTo>
                    <a:pt x="147" y="151"/>
                  </a:lnTo>
                  <a:close/>
                  <a:moveTo>
                    <a:pt x="155" y="159"/>
                  </a:moveTo>
                  <a:lnTo>
                    <a:pt x="151" y="159"/>
                  </a:lnTo>
                  <a:lnTo>
                    <a:pt x="151" y="155"/>
                  </a:lnTo>
                  <a:lnTo>
                    <a:pt x="147" y="155"/>
                  </a:lnTo>
                  <a:lnTo>
                    <a:pt x="147" y="151"/>
                  </a:lnTo>
                  <a:lnTo>
                    <a:pt x="151" y="155"/>
                  </a:lnTo>
                  <a:lnTo>
                    <a:pt x="151" y="159"/>
                  </a:lnTo>
                  <a:lnTo>
                    <a:pt x="155" y="159"/>
                  </a:lnTo>
                  <a:lnTo>
                    <a:pt x="155" y="155"/>
                  </a:lnTo>
                  <a:lnTo>
                    <a:pt x="155" y="159"/>
                  </a:lnTo>
                  <a:close/>
                  <a:moveTo>
                    <a:pt x="151" y="167"/>
                  </a:moveTo>
                  <a:lnTo>
                    <a:pt x="147" y="167"/>
                  </a:lnTo>
                  <a:lnTo>
                    <a:pt x="151" y="167"/>
                  </a:lnTo>
                  <a:close/>
                  <a:moveTo>
                    <a:pt x="179" y="171"/>
                  </a:moveTo>
                  <a:lnTo>
                    <a:pt x="175" y="171"/>
                  </a:lnTo>
                  <a:lnTo>
                    <a:pt x="175" y="167"/>
                  </a:lnTo>
                  <a:lnTo>
                    <a:pt x="179" y="167"/>
                  </a:lnTo>
                  <a:lnTo>
                    <a:pt x="179" y="171"/>
                  </a:lnTo>
                  <a:close/>
                  <a:moveTo>
                    <a:pt x="199" y="183"/>
                  </a:moveTo>
                  <a:lnTo>
                    <a:pt x="195" y="183"/>
                  </a:lnTo>
                  <a:lnTo>
                    <a:pt x="199" y="183"/>
                  </a:lnTo>
                  <a:lnTo>
                    <a:pt x="199" y="179"/>
                  </a:lnTo>
                  <a:lnTo>
                    <a:pt x="199" y="183"/>
                  </a:lnTo>
                  <a:lnTo>
                    <a:pt x="203" y="183"/>
                  </a:lnTo>
                  <a:lnTo>
                    <a:pt x="199" y="183"/>
                  </a:lnTo>
                  <a:close/>
                  <a:moveTo>
                    <a:pt x="191" y="187"/>
                  </a:moveTo>
                  <a:lnTo>
                    <a:pt x="187" y="187"/>
                  </a:lnTo>
                  <a:lnTo>
                    <a:pt x="187" y="183"/>
                  </a:lnTo>
                  <a:lnTo>
                    <a:pt x="183" y="183"/>
                  </a:lnTo>
                  <a:lnTo>
                    <a:pt x="187" y="183"/>
                  </a:lnTo>
                  <a:lnTo>
                    <a:pt x="191" y="183"/>
                  </a:lnTo>
                  <a:lnTo>
                    <a:pt x="191" y="187"/>
                  </a:lnTo>
                  <a:lnTo>
                    <a:pt x="195" y="187"/>
                  </a:lnTo>
                  <a:lnTo>
                    <a:pt x="191" y="18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6" name="Freeform 184"/>
            <p:cNvSpPr>
              <a:spLocks noEditPoints="1"/>
            </p:cNvSpPr>
            <p:nvPr>
              <p:custDataLst>
                <p:tags r:id="rId379"/>
              </p:custDataLst>
            </p:nvPr>
          </p:nvSpPr>
          <p:spPr bwMode="gray">
            <a:xfrm>
              <a:off x="3671606" y="3396155"/>
              <a:ext cx="568013" cy="290681"/>
            </a:xfrm>
            <a:custGeom>
              <a:avLst/>
              <a:gdLst/>
              <a:ahLst/>
              <a:cxnLst>
                <a:cxn ang="0">
                  <a:pos x="343" y="16"/>
                </a:cxn>
                <a:cxn ang="0">
                  <a:pos x="343" y="8"/>
                </a:cxn>
                <a:cxn ang="0">
                  <a:pos x="347" y="0"/>
                </a:cxn>
                <a:cxn ang="0">
                  <a:pos x="351" y="8"/>
                </a:cxn>
                <a:cxn ang="0">
                  <a:pos x="363" y="8"/>
                </a:cxn>
                <a:cxn ang="0">
                  <a:pos x="371" y="4"/>
                </a:cxn>
                <a:cxn ang="0">
                  <a:pos x="375" y="12"/>
                </a:cxn>
                <a:cxn ang="0">
                  <a:pos x="379" y="12"/>
                </a:cxn>
                <a:cxn ang="0">
                  <a:pos x="375" y="20"/>
                </a:cxn>
                <a:cxn ang="0">
                  <a:pos x="371" y="32"/>
                </a:cxn>
                <a:cxn ang="0">
                  <a:pos x="367" y="40"/>
                </a:cxn>
                <a:cxn ang="0">
                  <a:pos x="367" y="52"/>
                </a:cxn>
                <a:cxn ang="0">
                  <a:pos x="363" y="56"/>
                </a:cxn>
                <a:cxn ang="0">
                  <a:pos x="371" y="64"/>
                </a:cxn>
                <a:cxn ang="0">
                  <a:pos x="363" y="72"/>
                </a:cxn>
                <a:cxn ang="0">
                  <a:pos x="367" y="80"/>
                </a:cxn>
                <a:cxn ang="0">
                  <a:pos x="367" y="88"/>
                </a:cxn>
                <a:cxn ang="0">
                  <a:pos x="359" y="96"/>
                </a:cxn>
                <a:cxn ang="0">
                  <a:pos x="363" y="104"/>
                </a:cxn>
                <a:cxn ang="0">
                  <a:pos x="355" y="108"/>
                </a:cxn>
                <a:cxn ang="0">
                  <a:pos x="347" y="104"/>
                </a:cxn>
                <a:cxn ang="0">
                  <a:pos x="339" y="108"/>
                </a:cxn>
                <a:cxn ang="0">
                  <a:pos x="343" y="100"/>
                </a:cxn>
                <a:cxn ang="0">
                  <a:pos x="343" y="88"/>
                </a:cxn>
                <a:cxn ang="0">
                  <a:pos x="343" y="80"/>
                </a:cxn>
                <a:cxn ang="0">
                  <a:pos x="339" y="80"/>
                </a:cxn>
                <a:cxn ang="0">
                  <a:pos x="335" y="72"/>
                </a:cxn>
                <a:cxn ang="0">
                  <a:pos x="339" y="68"/>
                </a:cxn>
                <a:cxn ang="0">
                  <a:pos x="331" y="72"/>
                </a:cxn>
                <a:cxn ang="0">
                  <a:pos x="335" y="60"/>
                </a:cxn>
                <a:cxn ang="0">
                  <a:pos x="335" y="56"/>
                </a:cxn>
                <a:cxn ang="0">
                  <a:pos x="339" y="44"/>
                </a:cxn>
                <a:cxn ang="0">
                  <a:pos x="343" y="32"/>
                </a:cxn>
                <a:cxn ang="0">
                  <a:pos x="343" y="28"/>
                </a:cxn>
                <a:cxn ang="0">
                  <a:pos x="0" y="60"/>
                </a:cxn>
                <a:cxn ang="0">
                  <a:pos x="4" y="60"/>
                </a:cxn>
                <a:cxn ang="0">
                  <a:pos x="60" y="72"/>
                </a:cxn>
                <a:cxn ang="0">
                  <a:pos x="52" y="76"/>
                </a:cxn>
                <a:cxn ang="0">
                  <a:pos x="56" y="76"/>
                </a:cxn>
                <a:cxn ang="0">
                  <a:pos x="40" y="72"/>
                </a:cxn>
                <a:cxn ang="0">
                  <a:pos x="44" y="80"/>
                </a:cxn>
                <a:cxn ang="0">
                  <a:pos x="52" y="80"/>
                </a:cxn>
                <a:cxn ang="0">
                  <a:pos x="84" y="92"/>
                </a:cxn>
                <a:cxn ang="0">
                  <a:pos x="92" y="92"/>
                </a:cxn>
                <a:cxn ang="0">
                  <a:pos x="96" y="92"/>
                </a:cxn>
                <a:cxn ang="0">
                  <a:pos x="96" y="108"/>
                </a:cxn>
                <a:cxn ang="0">
                  <a:pos x="219" y="196"/>
                </a:cxn>
                <a:cxn ang="0">
                  <a:pos x="219" y="192"/>
                </a:cxn>
              </a:cxnLst>
              <a:rect l="0" t="0" r="r" b="b"/>
              <a:pathLst>
                <a:path w="383" h="196">
                  <a:moveTo>
                    <a:pt x="343" y="24"/>
                  </a:moveTo>
                  <a:lnTo>
                    <a:pt x="343" y="20"/>
                  </a:lnTo>
                  <a:lnTo>
                    <a:pt x="343" y="16"/>
                  </a:lnTo>
                  <a:lnTo>
                    <a:pt x="343" y="12"/>
                  </a:lnTo>
                  <a:lnTo>
                    <a:pt x="339" y="8"/>
                  </a:lnTo>
                  <a:lnTo>
                    <a:pt x="343" y="8"/>
                  </a:lnTo>
                  <a:lnTo>
                    <a:pt x="343" y="4"/>
                  </a:lnTo>
                  <a:lnTo>
                    <a:pt x="347" y="4"/>
                  </a:lnTo>
                  <a:lnTo>
                    <a:pt x="347" y="0"/>
                  </a:lnTo>
                  <a:lnTo>
                    <a:pt x="351" y="0"/>
                  </a:lnTo>
                  <a:lnTo>
                    <a:pt x="351" y="4"/>
                  </a:lnTo>
                  <a:lnTo>
                    <a:pt x="351" y="8"/>
                  </a:lnTo>
                  <a:lnTo>
                    <a:pt x="355" y="8"/>
                  </a:lnTo>
                  <a:lnTo>
                    <a:pt x="359" y="8"/>
                  </a:lnTo>
                  <a:lnTo>
                    <a:pt x="363" y="8"/>
                  </a:lnTo>
                  <a:lnTo>
                    <a:pt x="367" y="8"/>
                  </a:lnTo>
                  <a:lnTo>
                    <a:pt x="367" y="4"/>
                  </a:lnTo>
                  <a:lnTo>
                    <a:pt x="371" y="4"/>
                  </a:lnTo>
                  <a:lnTo>
                    <a:pt x="375" y="4"/>
                  </a:lnTo>
                  <a:lnTo>
                    <a:pt x="375" y="8"/>
                  </a:lnTo>
                  <a:lnTo>
                    <a:pt x="375" y="12"/>
                  </a:lnTo>
                  <a:lnTo>
                    <a:pt x="379" y="12"/>
                  </a:lnTo>
                  <a:lnTo>
                    <a:pt x="383" y="12"/>
                  </a:lnTo>
                  <a:lnTo>
                    <a:pt x="379" y="12"/>
                  </a:lnTo>
                  <a:lnTo>
                    <a:pt x="379" y="16"/>
                  </a:lnTo>
                  <a:lnTo>
                    <a:pt x="379" y="20"/>
                  </a:lnTo>
                  <a:lnTo>
                    <a:pt x="375" y="20"/>
                  </a:lnTo>
                  <a:lnTo>
                    <a:pt x="371" y="24"/>
                  </a:lnTo>
                  <a:lnTo>
                    <a:pt x="371" y="28"/>
                  </a:lnTo>
                  <a:lnTo>
                    <a:pt x="371" y="32"/>
                  </a:lnTo>
                  <a:lnTo>
                    <a:pt x="371" y="36"/>
                  </a:lnTo>
                  <a:lnTo>
                    <a:pt x="371" y="40"/>
                  </a:lnTo>
                  <a:lnTo>
                    <a:pt x="367" y="40"/>
                  </a:lnTo>
                  <a:lnTo>
                    <a:pt x="367" y="44"/>
                  </a:lnTo>
                  <a:lnTo>
                    <a:pt x="371" y="44"/>
                  </a:lnTo>
                  <a:lnTo>
                    <a:pt x="367" y="52"/>
                  </a:lnTo>
                  <a:lnTo>
                    <a:pt x="363" y="52"/>
                  </a:lnTo>
                  <a:lnTo>
                    <a:pt x="359" y="52"/>
                  </a:lnTo>
                  <a:lnTo>
                    <a:pt x="363" y="56"/>
                  </a:lnTo>
                  <a:lnTo>
                    <a:pt x="363" y="60"/>
                  </a:lnTo>
                  <a:lnTo>
                    <a:pt x="367" y="64"/>
                  </a:lnTo>
                  <a:lnTo>
                    <a:pt x="371" y="64"/>
                  </a:lnTo>
                  <a:lnTo>
                    <a:pt x="367" y="68"/>
                  </a:lnTo>
                  <a:lnTo>
                    <a:pt x="367" y="72"/>
                  </a:lnTo>
                  <a:lnTo>
                    <a:pt x="363" y="72"/>
                  </a:lnTo>
                  <a:lnTo>
                    <a:pt x="363" y="76"/>
                  </a:lnTo>
                  <a:lnTo>
                    <a:pt x="363" y="80"/>
                  </a:lnTo>
                  <a:lnTo>
                    <a:pt x="367" y="80"/>
                  </a:lnTo>
                  <a:lnTo>
                    <a:pt x="367" y="84"/>
                  </a:lnTo>
                  <a:lnTo>
                    <a:pt x="371" y="84"/>
                  </a:lnTo>
                  <a:lnTo>
                    <a:pt x="367" y="88"/>
                  </a:lnTo>
                  <a:lnTo>
                    <a:pt x="363" y="88"/>
                  </a:lnTo>
                  <a:lnTo>
                    <a:pt x="363" y="92"/>
                  </a:lnTo>
                  <a:lnTo>
                    <a:pt x="359" y="96"/>
                  </a:lnTo>
                  <a:lnTo>
                    <a:pt x="363" y="96"/>
                  </a:lnTo>
                  <a:lnTo>
                    <a:pt x="363" y="100"/>
                  </a:lnTo>
                  <a:lnTo>
                    <a:pt x="363" y="104"/>
                  </a:lnTo>
                  <a:lnTo>
                    <a:pt x="359" y="104"/>
                  </a:lnTo>
                  <a:lnTo>
                    <a:pt x="359" y="108"/>
                  </a:lnTo>
                  <a:lnTo>
                    <a:pt x="355" y="108"/>
                  </a:lnTo>
                  <a:lnTo>
                    <a:pt x="351" y="108"/>
                  </a:lnTo>
                  <a:lnTo>
                    <a:pt x="351" y="104"/>
                  </a:lnTo>
                  <a:lnTo>
                    <a:pt x="347" y="104"/>
                  </a:lnTo>
                  <a:lnTo>
                    <a:pt x="343" y="104"/>
                  </a:lnTo>
                  <a:lnTo>
                    <a:pt x="343" y="108"/>
                  </a:lnTo>
                  <a:lnTo>
                    <a:pt x="339" y="108"/>
                  </a:lnTo>
                  <a:lnTo>
                    <a:pt x="339" y="104"/>
                  </a:lnTo>
                  <a:lnTo>
                    <a:pt x="339" y="100"/>
                  </a:lnTo>
                  <a:lnTo>
                    <a:pt x="343" y="100"/>
                  </a:lnTo>
                  <a:lnTo>
                    <a:pt x="343" y="96"/>
                  </a:lnTo>
                  <a:lnTo>
                    <a:pt x="343" y="92"/>
                  </a:lnTo>
                  <a:lnTo>
                    <a:pt x="343" y="88"/>
                  </a:lnTo>
                  <a:lnTo>
                    <a:pt x="339" y="88"/>
                  </a:lnTo>
                  <a:lnTo>
                    <a:pt x="343" y="84"/>
                  </a:lnTo>
                  <a:lnTo>
                    <a:pt x="343" y="80"/>
                  </a:lnTo>
                  <a:lnTo>
                    <a:pt x="343" y="76"/>
                  </a:lnTo>
                  <a:lnTo>
                    <a:pt x="339" y="76"/>
                  </a:lnTo>
                  <a:lnTo>
                    <a:pt x="339" y="80"/>
                  </a:lnTo>
                  <a:lnTo>
                    <a:pt x="335" y="80"/>
                  </a:lnTo>
                  <a:lnTo>
                    <a:pt x="335" y="76"/>
                  </a:lnTo>
                  <a:lnTo>
                    <a:pt x="335" y="72"/>
                  </a:lnTo>
                  <a:lnTo>
                    <a:pt x="339" y="76"/>
                  </a:lnTo>
                  <a:lnTo>
                    <a:pt x="339" y="72"/>
                  </a:lnTo>
                  <a:lnTo>
                    <a:pt x="339" y="68"/>
                  </a:lnTo>
                  <a:lnTo>
                    <a:pt x="339" y="72"/>
                  </a:lnTo>
                  <a:lnTo>
                    <a:pt x="335" y="72"/>
                  </a:lnTo>
                  <a:lnTo>
                    <a:pt x="331" y="72"/>
                  </a:lnTo>
                  <a:lnTo>
                    <a:pt x="331" y="68"/>
                  </a:lnTo>
                  <a:lnTo>
                    <a:pt x="331" y="64"/>
                  </a:lnTo>
                  <a:lnTo>
                    <a:pt x="335" y="60"/>
                  </a:lnTo>
                  <a:lnTo>
                    <a:pt x="331" y="60"/>
                  </a:lnTo>
                  <a:lnTo>
                    <a:pt x="335" y="60"/>
                  </a:lnTo>
                  <a:lnTo>
                    <a:pt x="335" y="56"/>
                  </a:lnTo>
                  <a:lnTo>
                    <a:pt x="339" y="52"/>
                  </a:lnTo>
                  <a:lnTo>
                    <a:pt x="339" y="48"/>
                  </a:lnTo>
                  <a:lnTo>
                    <a:pt x="339" y="44"/>
                  </a:lnTo>
                  <a:lnTo>
                    <a:pt x="339" y="40"/>
                  </a:lnTo>
                  <a:lnTo>
                    <a:pt x="343" y="36"/>
                  </a:lnTo>
                  <a:lnTo>
                    <a:pt x="343" y="32"/>
                  </a:lnTo>
                  <a:lnTo>
                    <a:pt x="343" y="28"/>
                  </a:lnTo>
                  <a:lnTo>
                    <a:pt x="343" y="32"/>
                  </a:lnTo>
                  <a:lnTo>
                    <a:pt x="343" y="28"/>
                  </a:lnTo>
                  <a:lnTo>
                    <a:pt x="343" y="24"/>
                  </a:lnTo>
                  <a:close/>
                  <a:moveTo>
                    <a:pt x="4" y="60"/>
                  </a:moveTo>
                  <a:lnTo>
                    <a:pt x="0" y="60"/>
                  </a:lnTo>
                  <a:lnTo>
                    <a:pt x="0" y="56"/>
                  </a:lnTo>
                  <a:lnTo>
                    <a:pt x="4" y="56"/>
                  </a:lnTo>
                  <a:lnTo>
                    <a:pt x="4" y="60"/>
                  </a:lnTo>
                  <a:close/>
                  <a:moveTo>
                    <a:pt x="64" y="76"/>
                  </a:moveTo>
                  <a:lnTo>
                    <a:pt x="64" y="72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close/>
                  <a:moveTo>
                    <a:pt x="52" y="76"/>
                  </a:moveTo>
                  <a:lnTo>
                    <a:pt x="48" y="72"/>
                  </a:lnTo>
                  <a:lnTo>
                    <a:pt x="52" y="72"/>
                  </a:lnTo>
                  <a:lnTo>
                    <a:pt x="56" y="76"/>
                  </a:lnTo>
                  <a:lnTo>
                    <a:pt x="52" y="76"/>
                  </a:lnTo>
                  <a:close/>
                  <a:moveTo>
                    <a:pt x="40" y="76"/>
                  </a:moveTo>
                  <a:lnTo>
                    <a:pt x="40" y="72"/>
                  </a:lnTo>
                  <a:lnTo>
                    <a:pt x="40" y="76"/>
                  </a:lnTo>
                  <a:close/>
                  <a:moveTo>
                    <a:pt x="48" y="80"/>
                  </a:moveTo>
                  <a:lnTo>
                    <a:pt x="44" y="80"/>
                  </a:lnTo>
                  <a:lnTo>
                    <a:pt x="44" y="76"/>
                  </a:lnTo>
                  <a:lnTo>
                    <a:pt x="48" y="76"/>
                  </a:lnTo>
                  <a:lnTo>
                    <a:pt x="52" y="80"/>
                  </a:lnTo>
                  <a:lnTo>
                    <a:pt x="48" y="80"/>
                  </a:lnTo>
                  <a:close/>
                  <a:moveTo>
                    <a:pt x="88" y="92"/>
                  </a:moveTo>
                  <a:lnTo>
                    <a:pt x="84" y="92"/>
                  </a:lnTo>
                  <a:lnTo>
                    <a:pt x="84" y="88"/>
                  </a:lnTo>
                  <a:lnTo>
                    <a:pt x="88" y="92"/>
                  </a:lnTo>
                  <a:lnTo>
                    <a:pt x="92" y="92"/>
                  </a:lnTo>
                  <a:lnTo>
                    <a:pt x="92" y="88"/>
                  </a:lnTo>
                  <a:lnTo>
                    <a:pt x="96" y="88"/>
                  </a:lnTo>
                  <a:lnTo>
                    <a:pt x="96" y="92"/>
                  </a:lnTo>
                  <a:lnTo>
                    <a:pt x="92" y="92"/>
                  </a:lnTo>
                  <a:lnTo>
                    <a:pt x="88" y="92"/>
                  </a:lnTo>
                  <a:close/>
                  <a:moveTo>
                    <a:pt x="96" y="108"/>
                  </a:moveTo>
                  <a:lnTo>
                    <a:pt x="92" y="108"/>
                  </a:lnTo>
                  <a:lnTo>
                    <a:pt x="96" y="108"/>
                  </a:lnTo>
                  <a:close/>
                  <a:moveTo>
                    <a:pt x="219" y="196"/>
                  </a:moveTo>
                  <a:lnTo>
                    <a:pt x="215" y="196"/>
                  </a:lnTo>
                  <a:lnTo>
                    <a:pt x="215" y="192"/>
                  </a:lnTo>
                  <a:lnTo>
                    <a:pt x="219" y="192"/>
                  </a:lnTo>
                  <a:lnTo>
                    <a:pt x="223" y="192"/>
                  </a:lnTo>
                  <a:lnTo>
                    <a:pt x="219" y="19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7" name="Freeform 186"/>
            <p:cNvSpPr>
              <a:spLocks noEditPoints="1"/>
            </p:cNvSpPr>
            <p:nvPr>
              <p:custDataLst>
                <p:tags r:id="rId380"/>
              </p:custDataLst>
            </p:nvPr>
          </p:nvSpPr>
          <p:spPr bwMode="gray">
            <a:xfrm>
              <a:off x="4748310" y="5202527"/>
              <a:ext cx="479029" cy="745981"/>
            </a:xfrm>
            <a:custGeom>
              <a:avLst/>
              <a:gdLst/>
              <a:ahLst/>
              <a:cxnLst>
                <a:cxn ang="0">
                  <a:pos x="12" y="123"/>
                </a:cxn>
                <a:cxn ang="0">
                  <a:pos x="28" y="131"/>
                </a:cxn>
                <a:cxn ang="0">
                  <a:pos x="44" y="123"/>
                </a:cxn>
                <a:cxn ang="0">
                  <a:pos x="52" y="99"/>
                </a:cxn>
                <a:cxn ang="0">
                  <a:pos x="52" y="60"/>
                </a:cxn>
                <a:cxn ang="0">
                  <a:pos x="60" y="64"/>
                </a:cxn>
                <a:cxn ang="0">
                  <a:pos x="64" y="83"/>
                </a:cxn>
                <a:cxn ang="0">
                  <a:pos x="72" y="91"/>
                </a:cxn>
                <a:cxn ang="0">
                  <a:pos x="84" y="80"/>
                </a:cxn>
                <a:cxn ang="0">
                  <a:pos x="96" y="64"/>
                </a:cxn>
                <a:cxn ang="0">
                  <a:pos x="116" y="68"/>
                </a:cxn>
                <a:cxn ang="0">
                  <a:pos x="128" y="72"/>
                </a:cxn>
                <a:cxn ang="0">
                  <a:pos x="136" y="64"/>
                </a:cxn>
                <a:cxn ang="0">
                  <a:pos x="152" y="48"/>
                </a:cxn>
                <a:cxn ang="0">
                  <a:pos x="156" y="28"/>
                </a:cxn>
                <a:cxn ang="0">
                  <a:pos x="175" y="12"/>
                </a:cxn>
                <a:cxn ang="0">
                  <a:pos x="191" y="0"/>
                </a:cxn>
                <a:cxn ang="0">
                  <a:pos x="211" y="4"/>
                </a:cxn>
                <a:cxn ang="0">
                  <a:pos x="227" y="24"/>
                </a:cxn>
                <a:cxn ang="0">
                  <a:pos x="231" y="44"/>
                </a:cxn>
                <a:cxn ang="0">
                  <a:pos x="231" y="64"/>
                </a:cxn>
                <a:cxn ang="0">
                  <a:pos x="223" y="68"/>
                </a:cxn>
                <a:cxn ang="0">
                  <a:pos x="215" y="87"/>
                </a:cxn>
                <a:cxn ang="0">
                  <a:pos x="219" y="99"/>
                </a:cxn>
                <a:cxn ang="0">
                  <a:pos x="235" y="91"/>
                </a:cxn>
                <a:cxn ang="0">
                  <a:pos x="243" y="103"/>
                </a:cxn>
                <a:cxn ang="0">
                  <a:pos x="239" y="123"/>
                </a:cxn>
                <a:cxn ang="0">
                  <a:pos x="223" y="139"/>
                </a:cxn>
                <a:cxn ang="0">
                  <a:pos x="215" y="159"/>
                </a:cxn>
                <a:cxn ang="0">
                  <a:pos x="203" y="179"/>
                </a:cxn>
                <a:cxn ang="0">
                  <a:pos x="191" y="191"/>
                </a:cxn>
                <a:cxn ang="0">
                  <a:pos x="175" y="207"/>
                </a:cxn>
                <a:cxn ang="0">
                  <a:pos x="160" y="219"/>
                </a:cxn>
                <a:cxn ang="0">
                  <a:pos x="144" y="227"/>
                </a:cxn>
                <a:cxn ang="0">
                  <a:pos x="132" y="231"/>
                </a:cxn>
                <a:cxn ang="0">
                  <a:pos x="104" y="231"/>
                </a:cxn>
                <a:cxn ang="0">
                  <a:pos x="84" y="235"/>
                </a:cxn>
                <a:cxn ang="0">
                  <a:pos x="64" y="239"/>
                </a:cxn>
                <a:cxn ang="0">
                  <a:pos x="44" y="247"/>
                </a:cxn>
                <a:cxn ang="0">
                  <a:pos x="32" y="235"/>
                </a:cxn>
                <a:cxn ang="0">
                  <a:pos x="28" y="239"/>
                </a:cxn>
                <a:cxn ang="0">
                  <a:pos x="28" y="227"/>
                </a:cxn>
                <a:cxn ang="0">
                  <a:pos x="24" y="207"/>
                </a:cxn>
                <a:cxn ang="0">
                  <a:pos x="24" y="191"/>
                </a:cxn>
                <a:cxn ang="0">
                  <a:pos x="16" y="175"/>
                </a:cxn>
                <a:cxn ang="0">
                  <a:pos x="8" y="151"/>
                </a:cxn>
                <a:cxn ang="0">
                  <a:pos x="0" y="127"/>
                </a:cxn>
                <a:cxn ang="0">
                  <a:pos x="191" y="143"/>
                </a:cxn>
                <a:cxn ang="0">
                  <a:pos x="187" y="127"/>
                </a:cxn>
                <a:cxn ang="0">
                  <a:pos x="172" y="131"/>
                </a:cxn>
                <a:cxn ang="0">
                  <a:pos x="160" y="147"/>
                </a:cxn>
                <a:cxn ang="0">
                  <a:pos x="168" y="163"/>
                </a:cxn>
                <a:cxn ang="0">
                  <a:pos x="183" y="155"/>
                </a:cxn>
                <a:cxn ang="0">
                  <a:pos x="319" y="503"/>
                </a:cxn>
              </a:cxnLst>
              <a:rect l="0" t="0" r="r" b="b"/>
              <a:pathLst>
                <a:path w="323" h="503">
                  <a:moveTo>
                    <a:pt x="8" y="115"/>
                  </a:moveTo>
                  <a:lnTo>
                    <a:pt x="8" y="119"/>
                  </a:lnTo>
                  <a:lnTo>
                    <a:pt x="12" y="119"/>
                  </a:lnTo>
                  <a:lnTo>
                    <a:pt x="12" y="115"/>
                  </a:lnTo>
                  <a:lnTo>
                    <a:pt x="12" y="119"/>
                  </a:lnTo>
                  <a:lnTo>
                    <a:pt x="12" y="123"/>
                  </a:lnTo>
                  <a:lnTo>
                    <a:pt x="12" y="127"/>
                  </a:lnTo>
                  <a:lnTo>
                    <a:pt x="16" y="127"/>
                  </a:lnTo>
                  <a:lnTo>
                    <a:pt x="20" y="127"/>
                  </a:lnTo>
                  <a:lnTo>
                    <a:pt x="20" y="131"/>
                  </a:lnTo>
                  <a:lnTo>
                    <a:pt x="24" y="131"/>
                  </a:lnTo>
                  <a:lnTo>
                    <a:pt x="28" y="131"/>
                  </a:lnTo>
                  <a:lnTo>
                    <a:pt x="32" y="127"/>
                  </a:lnTo>
                  <a:lnTo>
                    <a:pt x="36" y="131"/>
                  </a:lnTo>
                  <a:lnTo>
                    <a:pt x="40" y="131"/>
                  </a:lnTo>
                  <a:lnTo>
                    <a:pt x="40" y="127"/>
                  </a:lnTo>
                  <a:lnTo>
                    <a:pt x="44" y="127"/>
                  </a:lnTo>
                  <a:lnTo>
                    <a:pt x="44" y="123"/>
                  </a:lnTo>
                  <a:lnTo>
                    <a:pt x="48" y="123"/>
                  </a:lnTo>
                  <a:lnTo>
                    <a:pt x="52" y="119"/>
                  </a:lnTo>
                  <a:lnTo>
                    <a:pt x="52" y="115"/>
                  </a:lnTo>
                  <a:lnTo>
                    <a:pt x="52" y="111"/>
                  </a:lnTo>
                  <a:lnTo>
                    <a:pt x="52" y="103"/>
                  </a:lnTo>
                  <a:lnTo>
                    <a:pt x="52" y="99"/>
                  </a:lnTo>
                  <a:lnTo>
                    <a:pt x="52" y="95"/>
                  </a:lnTo>
                  <a:lnTo>
                    <a:pt x="52" y="83"/>
                  </a:lnTo>
                  <a:lnTo>
                    <a:pt x="52" y="72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60" y="60"/>
                  </a:lnTo>
                  <a:lnTo>
                    <a:pt x="60" y="64"/>
                  </a:lnTo>
                  <a:lnTo>
                    <a:pt x="64" y="68"/>
                  </a:lnTo>
                  <a:lnTo>
                    <a:pt x="60" y="68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3"/>
                  </a:lnTo>
                  <a:lnTo>
                    <a:pt x="60" y="83"/>
                  </a:lnTo>
                  <a:lnTo>
                    <a:pt x="60" y="87"/>
                  </a:lnTo>
                  <a:lnTo>
                    <a:pt x="60" y="91"/>
                  </a:lnTo>
                  <a:lnTo>
                    <a:pt x="64" y="91"/>
                  </a:lnTo>
                  <a:lnTo>
                    <a:pt x="68" y="91"/>
                  </a:lnTo>
                  <a:lnTo>
                    <a:pt x="72" y="91"/>
                  </a:lnTo>
                  <a:lnTo>
                    <a:pt x="76" y="91"/>
                  </a:lnTo>
                  <a:lnTo>
                    <a:pt x="80" y="91"/>
                  </a:lnTo>
                  <a:lnTo>
                    <a:pt x="80" y="87"/>
                  </a:lnTo>
                  <a:lnTo>
                    <a:pt x="84" y="87"/>
                  </a:lnTo>
                  <a:lnTo>
                    <a:pt x="84" y="83"/>
                  </a:lnTo>
                  <a:lnTo>
                    <a:pt x="84" y="80"/>
                  </a:lnTo>
                  <a:lnTo>
                    <a:pt x="88" y="80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64"/>
                  </a:lnTo>
                  <a:lnTo>
                    <a:pt x="96" y="60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8" y="64"/>
                  </a:lnTo>
                  <a:lnTo>
                    <a:pt x="112" y="68"/>
                  </a:lnTo>
                  <a:lnTo>
                    <a:pt x="116" y="68"/>
                  </a:lnTo>
                  <a:lnTo>
                    <a:pt x="116" y="72"/>
                  </a:lnTo>
                  <a:lnTo>
                    <a:pt x="120" y="72"/>
                  </a:lnTo>
                  <a:lnTo>
                    <a:pt x="120" y="68"/>
                  </a:lnTo>
                  <a:lnTo>
                    <a:pt x="120" y="72"/>
                  </a:lnTo>
                  <a:lnTo>
                    <a:pt x="124" y="72"/>
                  </a:lnTo>
                  <a:lnTo>
                    <a:pt x="128" y="72"/>
                  </a:lnTo>
                  <a:lnTo>
                    <a:pt x="128" y="68"/>
                  </a:lnTo>
                  <a:lnTo>
                    <a:pt x="128" y="72"/>
                  </a:lnTo>
                  <a:lnTo>
                    <a:pt x="132" y="72"/>
                  </a:lnTo>
                  <a:lnTo>
                    <a:pt x="132" y="68"/>
                  </a:lnTo>
                  <a:lnTo>
                    <a:pt x="136" y="68"/>
                  </a:lnTo>
                  <a:lnTo>
                    <a:pt x="136" y="64"/>
                  </a:lnTo>
                  <a:lnTo>
                    <a:pt x="140" y="60"/>
                  </a:lnTo>
                  <a:lnTo>
                    <a:pt x="140" y="56"/>
                  </a:lnTo>
                  <a:lnTo>
                    <a:pt x="140" y="52"/>
                  </a:lnTo>
                  <a:lnTo>
                    <a:pt x="144" y="48"/>
                  </a:lnTo>
                  <a:lnTo>
                    <a:pt x="148" y="48"/>
                  </a:lnTo>
                  <a:lnTo>
                    <a:pt x="152" y="48"/>
                  </a:lnTo>
                  <a:lnTo>
                    <a:pt x="152" y="44"/>
                  </a:lnTo>
                  <a:lnTo>
                    <a:pt x="156" y="44"/>
                  </a:lnTo>
                  <a:lnTo>
                    <a:pt x="156" y="40"/>
                  </a:lnTo>
                  <a:lnTo>
                    <a:pt x="156" y="36"/>
                  </a:lnTo>
                  <a:lnTo>
                    <a:pt x="156" y="32"/>
                  </a:lnTo>
                  <a:lnTo>
                    <a:pt x="156" y="28"/>
                  </a:lnTo>
                  <a:lnTo>
                    <a:pt x="160" y="28"/>
                  </a:lnTo>
                  <a:lnTo>
                    <a:pt x="164" y="24"/>
                  </a:lnTo>
                  <a:lnTo>
                    <a:pt x="168" y="24"/>
                  </a:lnTo>
                  <a:lnTo>
                    <a:pt x="168" y="20"/>
                  </a:lnTo>
                  <a:lnTo>
                    <a:pt x="172" y="16"/>
                  </a:lnTo>
                  <a:lnTo>
                    <a:pt x="175" y="12"/>
                  </a:lnTo>
                  <a:lnTo>
                    <a:pt x="175" y="8"/>
                  </a:lnTo>
                  <a:lnTo>
                    <a:pt x="179" y="8"/>
                  </a:lnTo>
                  <a:lnTo>
                    <a:pt x="183" y="8"/>
                  </a:lnTo>
                  <a:lnTo>
                    <a:pt x="187" y="8"/>
                  </a:lnTo>
                  <a:lnTo>
                    <a:pt x="187" y="4"/>
                  </a:lnTo>
                  <a:lnTo>
                    <a:pt x="191" y="0"/>
                  </a:lnTo>
                  <a:lnTo>
                    <a:pt x="195" y="0"/>
                  </a:lnTo>
                  <a:lnTo>
                    <a:pt x="199" y="0"/>
                  </a:lnTo>
                  <a:lnTo>
                    <a:pt x="203" y="0"/>
                  </a:lnTo>
                  <a:lnTo>
                    <a:pt x="203" y="4"/>
                  </a:lnTo>
                  <a:lnTo>
                    <a:pt x="207" y="4"/>
                  </a:lnTo>
                  <a:lnTo>
                    <a:pt x="211" y="4"/>
                  </a:lnTo>
                  <a:lnTo>
                    <a:pt x="215" y="4"/>
                  </a:lnTo>
                  <a:lnTo>
                    <a:pt x="219" y="4"/>
                  </a:lnTo>
                  <a:lnTo>
                    <a:pt x="223" y="4"/>
                  </a:lnTo>
                  <a:lnTo>
                    <a:pt x="223" y="8"/>
                  </a:lnTo>
                  <a:lnTo>
                    <a:pt x="227" y="20"/>
                  </a:lnTo>
                  <a:lnTo>
                    <a:pt x="227" y="24"/>
                  </a:lnTo>
                  <a:lnTo>
                    <a:pt x="227" y="28"/>
                  </a:lnTo>
                  <a:lnTo>
                    <a:pt x="227" y="32"/>
                  </a:lnTo>
                  <a:lnTo>
                    <a:pt x="231" y="32"/>
                  </a:lnTo>
                  <a:lnTo>
                    <a:pt x="231" y="36"/>
                  </a:lnTo>
                  <a:lnTo>
                    <a:pt x="231" y="40"/>
                  </a:lnTo>
                  <a:lnTo>
                    <a:pt x="231" y="44"/>
                  </a:lnTo>
                  <a:lnTo>
                    <a:pt x="235" y="44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31" y="56"/>
                  </a:lnTo>
                  <a:lnTo>
                    <a:pt x="235" y="56"/>
                  </a:lnTo>
                  <a:lnTo>
                    <a:pt x="231" y="64"/>
                  </a:lnTo>
                  <a:lnTo>
                    <a:pt x="231" y="68"/>
                  </a:lnTo>
                  <a:lnTo>
                    <a:pt x="231" y="72"/>
                  </a:lnTo>
                  <a:lnTo>
                    <a:pt x="231" y="76"/>
                  </a:lnTo>
                  <a:lnTo>
                    <a:pt x="231" y="72"/>
                  </a:lnTo>
                  <a:lnTo>
                    <a:pt x="227" y="72"/>
                  </a:lnTo>
                  <a:lnTo>
                    <a:pt x="223" y="68"/>
                  </a:lnTo>
                  <a:lnTo>
                    <a:pt x="219" y="72"/>
                  </a:lnTo>
                  <a:lnTo>
                    <a:pt x="219" y="76"/>
                  </a:lnTo>
                  <a:lnTo>
                    <a:pt x="219" y="80"/>
                  </a:lnTo>
                  <a:lnTo>
                    <a:pt x="215" y="80"/>
                  </a:lnTo>
                  <a:lnTo>
                    <a:pt x="215" y="83"/>
                  </a:lnTo>
                  <a:lnTo>
                    <a:pt x="215" y="87"/>
                  </a:lnTo>
                  <a:lnTo>
                    <a:pt x="215" y="91"/>
                  </a:lnTo>
                  <a:lnTo>
                    <a:pt x="215" y="87"/>
                  </a:lnTo>
                  <a:lnTo>
                    <a:pt x="215" y="91"/>
                  </a:lnTo>
                  <a:lnTo>
                    <a:pt x="219" y="91"/>
                  </a:lnTo>
                  <a:lnTo>
                    <a:pt x="219" y="95"/>
                  </a:lnTo>
                  <a:lnTo>
                    <a:pt x="219" y="99"/>
                  </a:lnTo>
                  <a:lnTo>
                    <a:pt x="223" y="99"/>
                  </a:lnTo>
                  <a:lnTo>
                    <a:pt x="227" y="99"/>
                  </a:lnTo>
                  <a:lnTo>
                    <a:pt x="231" y="99"/>
                  </a:lnTo>
                  <a:lnTo>
                    <a:pt x="231" y="95"/>
                  </a:lnTo>
                  <a:lnTo>
                    <a:pt x="231" y="91"/>
                  </a:lnTo>
                  <a:lnTo>
                    <a:pt x="235" y="91"/>
                  </a:lnTo>
                  <a:lnTo>
                    <a:pt x="239" y="91"/>
                  </a:lnTo>
                  <a:lnTo>
                    <a:pt x="243" y="91"/>
                  </a:lnTo>
                  <a:lnTo>
                    <a:pt x="247" y="91"/>
                  </a:lnTo>
                  <a:lnTo>
                    <a:pt x="247" y="95"/>
                  </a:lnTo>
                  <a:lnTo>
                    <a:pt x="243" y="99"/>
                  </a:lnTo>
                  <a:lnTo>
                    <a:pt x="243" y="103"/>
                  </a:lnTo>
                  <a:lnTo>
                    <a:pt x="243" y="107"/>
                  </a:lnTo>
                  <a:lnTo>
                    <a:pt x="243" y="111"/>
                  </a:lnTo>
                  <a:lnTo>
                    <a:pt x="243" y="115"/>
                  </a:lnTo>
                  <a:lnTo>
                    <a:pt x="239" y="115"/>
                  </a:lnTo>
                  <a:lnTo>
                    <a:pt x="239" y="119"/>
                  </a:lnTo>
                  <a:lnTo>
                    <a:pt x="239" y="123"/>
                  </a:lnTo>
                  <a:lnTo>
                    <a:pt x="235" y="127"/>
                  </a:lnTo>
                  <a:lnTo>
                    <a:pt x="235" y="131"/>
                  </a:lnTo>
                  <a:lnTo>
                    <a:pt x="231" y="131"/>
                  </a:lnTo>
                  <a:lnTo>
                    <a:pt x="227" y="131"/>
                  </a:lnTo>
                  <a:lnTo>
                    <a:pt x="227" y="135"/>
                  </a:lnTo>
                  <a:lnTo>
                    <a:pt x="223" y="139"/>
                  </a:lnTo>
                  <a:lnTo>
                    <a:pt x="219" y="143"/>
                  </a:lnTo>
                  <a:lnTo>
                    <a:pt x="219" y="147"/>
                  </a:lnTo>
                  <a:lnTo>
                    <a:pt x="219" y="151"/>
                  </a:lnTo>
                  <a:lnTo>
                    <a:pt x="215" y="151"/>
                  </a:lnTo>
                  <a:lnTo>
                    <a:pt x="215" y="155"/>
                  </a:lnTo>
                  <a:lnTo>
                    <a:pt x="215" y="159"/>
                  </a:lnTo>
                  <a:lnTo>
                    <a:pt x="211" y="159"/>
                  </a:lnTo>
                  <a:lnTo>
                    <a:pt x="211" y="167"/>
                  </a:lnTo>
                  <a:lnTo>
                    <a:pt x="207" y="167"/>
                  </a:lnTo>
                  <a:lnTo>
                    <a:pt x="207" y="171"/>
                  </a:lnTo>
                  <a:lnTo>
                    <a:pt x="203" y="175"/>
                  </a:lnTo>
                  <a:lnTo>
                    <a:pt x="203" y="179"/>
                  </a:lnTo>
                  <a:lnTo>
                    <a:pt x="199" y="179"/>
                  </a:lnTo>
                  <a:lnTo>
                    <a:pt x="199" y="183"/>
                  </a:lnTo>
                  <a:lnTo>
                    <a:pt x="195" y="183"/>
                  </a:lnTo>
                  <a:lnTo>
                    <a:pt x="195" y="187"/>
                  </a:lnTo>
                  <a:lnTo>
                    <a:pt x="191" y="187"/>
                  </a:lnTo>
                  <a:lnTo>
                    <a:pt x="191" y="191"/>
                  </a:lnTo>
                  <a:lnTo>
                    <a:pt x="187" y="191"/>
                  </a:lnTo>
                  <a:lnTo>
                    <a:pt x="187" y="195"/>
                  </a:lnTo>
                  <a:lnTo>
                    <a:pt x="183" y="199"/>
                  </a:lnTo>
                  <a:lnTo>
                    <a:pt x="179" y="203"/>
                  </a:lnTo>
                  <a:lnTo>
                    <a:pt x="179" y="207"/>
                  </a:lnTo>
                  <a:lnTo>
                    <a:pt x="175" y="207"/>
                  </a:lnTo>
                  <a:lnTo>
                    <a:pt x="175" y="211"/>
                  </a:lnTo>
                  <a:lnTo>
                    <a:pt x="172" y="211"/>
                  </a:lnTo>
                  <a:lnTo>
                    <a:pt x="168" y="211"/>
                  </a:lnTo>
                  <a:lnTo>
                    <a:pt x="168" y="215"/>
                  </a:lnTo>
                  <a:lnTo>
                    <a:pt x="164" y="219"/>
                  </a:lnTo>
                  <a:lnTo>
                    <a:pt x="160" y="219"/>
                  </a:lnTo>
                  <a:lnTo>
                    <a:pt x="160" y="223"/>
                  </a:lnTo>
                  <a:lnTo>
                    <a:pt x="156" y="223"/>
                  </a:lnTo>
                  <a:lnTo>
                    <a:pt x="152" y="223"/>
                  </a:lnTo>
                  <a:lnTo>
                    <a:pt x="152" y="227"/>
                  </a:lnTo>
                  <a:lnTo>
                    <a:pt x="148" y="227"/>
                  </a:lnTo>
                  <a:lnTo>
                    <a:pt x="144" y="227"/>
                  </a:lnTo>
                  <a:lnTo>
                    <a:pt x="140" y="227"/>
                  </a:lnTo>
                  <a:lnTo>
                    <a:pt x="136" y="227"/>
                  </a:lnTo>
                  <a:lnTo>
                    <a:pt x="136" y="231"/>
                  </a:lnTo>
                  <a:lnTo>
                    <a:pt x="140" y="231"/>
                  </a:lnTo>
                  <a:lnTo>
                    <a:pt x="136" y="231"/>
                  </a:lnTo>
                  <a:lnTo>
                    <a:pt x="132" y="231"/>
                  </a:lnTo>
                  <a:lnTo>
                    <a:pt x="128" y="231"/>
                  </a:lnTo>
                  <a:lnTo>
                    <a:pt x="124" y="235"/>
                  </a:lnTo>
                  <a:lnTo>
                    <a:pt x="120" y="235"/>
                  </a:lnTo>
                  <a:lnTo>
                    <a:pt x="112" y="231"/>
                  </a:lnTo>
                  <a:lnTo>
                    <a:pt x="108" y="231"/>
                  </a:lnTo>
                  <a:lnTo>
                    <a:pt x="104" y="231"/>
                  </a:lnTo>
                  <a:lnTo>
                    <a:pt x="100" y="231"/>
                  </a:lnTo>
                  <a:lnTo>
                    <a:pt x="96" y="231"/>
                  </a:lnTo>
                  <a:lnTo>
                    <a:pt x="92" y="231"/>
                  </a:lnTo>
                  <a:lnTo>
                    <a:pt x="88" y="231"/>
                  </a:lnTo>
                  <a:lnTo>
                    <a:pt x="84" y="231"/>
                  </a:lnTo>
                  <a:lnTo>
                    <a:pt x="84" y="235"/>
                  </a:lnTo>
                  <a:lnTo>
                    <a:pt x="80" y="235"/>
                  </a:lnTo>
                  <a:lnTo>
                    <a:pt x="80" y="239"/>
                  </a:lnTo>
                  <a:lnTo>
                    <a:pt x="76" y="239"/>
                  </a:lnTo>
                  <a:lnTo>
                    <a:pt x="72" y="239"/>
                  </a:lnTo>
                  <a:lnTo>
                    <a:pt x="68" y="239"/>
                  </a:lnTo>
                  <a:lnTo>
                    <a:pt x="64" y="239"/>
                  </a:lnTo>
                  <a:lnTo>
                    <a:pt x="60" y="239"/>
                  </a:lnTo>
                  <a:lnTo>
                    <a:pt x="60" y="243"/>
                  </a:lnTo>
                  <a:lnTo>
                    <a:pt x="56" y="243"/>
                  </a:lnTo>
                  <a:lnTo>
                    <a:pt x="52" y="247"/>
                  </a:lnTo>
                  <a:lnTo>
                    <a:pt x="48" y="247"/>
                  </a:lnTo>
                  <a:lnTo>
                    <a:pt x="44" y="247"/>
                  </a:lnTo>
                  <a:lnTo>
                    <a:pt x="44" y="243"/>
                  </a:lnTo>
                  <a:lnTo>
                    <a:pt x="40" y="243"/>
                  </a:lnTo>
                  <a:lnTo>
                    <a:pt x="40" y="239"/>
                  </a:lnTo>
                  <a:lnTo>
                    <a:pt x="36" y="239"/>
                  </a:lnTo>
                  <a:lnTo>
                    <a:pt x="32" y="239"/>
                  </a:lnTo>
                  <a:lnTo>
                    <a:pt x="32" y="235"/>
                  </a:lnTo>
                  <a:lnTo>
                    <a:pt x="36" y="235"/>
                  </a:lnTo>
                  <a:lnTo>
                    <a:pt x="32" y="235"/>
                  </a:lnTo>
                  <a:lnTo>
                    <a:pt x="32" y="231"/>
                  </a:lnTo>
                  <a:lnTo>
                    <a:pt x="28" y="231"/>
                  </a:lnTo>
                  <a:lnTo>
                    <a:pt x="28" y="235"/>
                  </a:lnTo>
                  <a:lnTo>
                    <a:pt x="28" y="239"/>
                  </a:lnTo>
                  <a:lnTo>
                    <a:pt x="28" y="235"/>
                  </a:lnTo>
                  <a:lnTo>
                    <a:pt x="24" y="231"/>
                  </a:lnTo>
                  <a:lnTo>
                    <a:pt x="28" y="231"/>
                  </a:lnTo>
                  <a:lnTo>
                    <a:pt x="28" y="227"/>
                  </a:lnTo>
                  <a:lnTo>
                    <a:pt x="28" y="231"/>
                  </a:lnTo>
                  <a:lnTo>
                    <a:pt x="28" y="227"/>
                  </a:lnTo>
                  <a:lnTo>
                    <a:pt x="28" y="223"/>
                  </a:lnTo>
                  <a:lnTo>
                    <a:pt x="24" y="219"/>
                  </a:lnTo>
                  <a:lnTo>
                    <a:pt x="24" y="215"/>
                  </a:lnTo>
                  <a:lnTo>
                    <a:pt x="20" y="211"/>
                  </a:lnTo>
                  <a:lnTo>
                    <a:pt x="20" y="207"/>
                  </a:lnTo>
                  <a:lnTo>
                    <a:pt x="24" y="207"/>
                  </a:lnTo>
                  <a:lnTo>
                    <a:pt x="24" y="203"/>
                  </a:lnTo>
                  <a:lnTo>
                    <a:pt x="28" y="203"/>
                  </a:lnTo>
                  <a:lnTo>
                    <a:pt x="28" y="199"/>
                  </a:lnTo>
                  <a:lnTo>
                    <a:pt x="28" y="195"/>
                  </a:lnTo>
                  <a:lnTo>
                    <a:pt x="24" y="195"/>
                  </a:lnTo>
                  <a:lnTo>
                    <a:pt x="24" y="191"/>
                  </a:lnTo>
                  <a:lnTo>
                    <a:pt x="24" y="187"/>
                  </a:lnTo>
                  <a:lnTo>
                    <a:pt x="24" y="183"/>
                  </a:lnTo>
                  <a:lnTo>
                    <a:pt x="20" y="183"/>
                  </a:lnTo>
                  <a:lnTo>
                    <a:pt x="20" y="179"/>
                  </a:lnTo>
                  <a:lnTo>
                    <a:pt x="20" y="175"/>
                  </a:lnTo>
                  <a:lnTo>
                    <a:pt x="16" y="175"/>
                  </a:lnTo>
                  <a:lnTo>
                    <a:pt x="16" y="171"/>
                  </a:lnTo>
                  <a:lnTo>
                    <a:pt x="12" y="167"/>
                  </a:lnTo>
                  <a:lnTo>
                    <a:pt x="12" y="163"/>
                  </a:lnTo>
                  <a:lnTo>
                    <a:pt x="12" y="159"/>
                  </a:lnTo>
                  <a:lnTo>
                    <a:pt x="8" y="155"/>
                  </a:lnTo>
                  <a:lnTo>
                    <a:pt x="8" y="151"/>
                  </a:lnTo>
                  <a:lnTo>
                    <a:pt x="8" y="147"/>
                  </a:lnTo>
                  <a:lnTo>
                    <a:pt x="8" y="143"/>
                  </a:lnTo>
                  <a:lnTo>
                    <a:pt x="4" y="139"/>
                  </a:lnTo>
                  <a:lnTo>
                    <a:pt x="4" y="135"/>
                  </a:lnTo>
                  <a:lnTo>
                    <a:pt x="0" y="131"/>
                  </a:lnTo>
                  <a:lnTo>
                    <a:pt x="0" y="127"/>
                  </a:lnTo>
                  <a:lnTo>
                    <a:pt x="0" y="123"/>
                  </a:lnTo>
                  <a:lnTo>
                    <a:pt x="4" y="123"/>
                  </a:lnTo>
                  <a:lnTo>
                    <a:pt x="4" y="119"/>
                  </a:lnTo>
                  <a:lnTo>
                    <a:pt x="4" y="115"/>
                  </a:lnTo>
                  <a:lnTo>
                    <a:pt x="8" y="115"/>
                  </a:lnTo>
                  <a:close/>
                  <a:moveTo>
                    <a:pt x="191" y="143"/>
                  </a:moveTo>
                  <a:lnTo>
                    <a:pt x="191" y="139"/>
                  </a:lnTo>
                  <a:lnTo>
                    <a:pt x="195" y="139"/>
                  </a:lnTo>
                  <a:lnTo>
                    <a:pt x="191" y="135"/>
                  </a:lnTo>
                  <a:lnTo>
                    <a:pt x="191" y="131"/>
                  </a:lnTo>
                  <a:lnTo>
                    <a:pt x="187" y="131"/>
                  </a:lnTo>
                  <a:lnTo>
                    <a:pt x="187" y="127"/>
                  </a:lnTo>
                  <a:lnTo>
                    <a:pt x="183" y="127"/>
                  </a:lnTo>
                  <a:lnTo>
                    <a:pt x="183" y="123"/>
                  </a:lnTo>
                  <a:lnTo>
                    <a:pt x="179" y="123"/>
                  </a:lnTo>
                  <a:lnTo>
                    <a:pt x="179" y="127"/>
                  </a:lnTo>
                  <a:lnTo>
                    <a:pt x="175" y="127"/>
                  </a:lnTo>
                  <a:lnTo>
                    <a:pt x="172" y="131"/>
                  </a:lnTo>
                  <a:lnTo>
                    <a:pt x="168" y="131"/>
                  </a:lnTo>
                  <a:lnTo>
                    <a:pt x="168" y="135"/>
                  </a:lnTo>
                  <a:lnTo>
                    <a:pt x="164" y="139"/>
                  </a:lnTo>
                  <a:lnTo>
                    <a:pt x="164" y="143"/>
                  </a:lnTo>
                  <a:lnTo>
                    <a:pt x="160" y="143"/>
                  </a:lnTo>
                  <a:lnTo>
                    <a:pt x="160" y="147"/>
                  </a:lnTo>
                  <a:lnTo>
                    <a:pt x="160" y="151"/>
                  </a:lnTo>
                  <a:lnTo>
                    <a:pt x="164" y="151"/>
                  </a:lnTo>
                  <a:lnTo>
                    <a:pt x="164" y="155"/>
                  </a:lnTo>
                  <a:lnTo>
                    <a:pt x="164" y="159"/>
                  </a:lnTo>
                  <a:lnTo>
                    <a:pt x="168" y="159"/>
                  </a:lnTo>
                  <a:lnTo>
                    <a:pt x="168" y="163"/>
                  </a:lnTo>
                  <a:lnTo>
                    <a:pt x="172" y="163"/>
                  </a:lnTo>
                  <a:lnTo>
                    <a:pt x="175" y="163"/>
                  </a:lnTo>
                  <a:lnTo>
                    <a:pt x="175" y="159"/>
                  </a:lnTo>
                  <a:lnTo>
                    <a:pt x="175" y="155"/>
                  </a:lnTo>
                  <a:lnTo>
                    <a:pt x="179" y="155"/>
                  </a:lnTo>
                  <a:lnTo>
                    <a:pt x="183" y="155"/>
                  </a:lnTo>
                  <a:lnTo>
                    <a:pt x="187" y="151"/>
                  </a:lnTo>
                  <a:lnTo>
                    <a:pt x="191" y="151"/>
                  </a:lnTo>
                  <a:lnTo>
                    <a:pt x="191" y="147"/>
                  </a:lnTo>
                  <a:lnTo>
                    <a:pt x="191" y="143"/>
                  </a:lnTo>
                  <a:close/>
                  <a:moveTo>
                    <a:pt x="323" y="503"/>
                  </a:moveTo>
                  <a:lnTo>
                    <a:pt x="319" y="503"/>
                  </a:lnTo>
                  <a:lnTo>
                    <a:pt x="319" y="499"/>
                  </a:lnTo>
                  <a:lnTo>
                    <a:pt x="323" y="499"/>
                  </a:lnTo>
                  <a:lnTo>
                    <a:pt x="323" y="50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8" name="Freeform 187"/>
            <p:cNvSpPr>
              <a:spLocks noEditPoints="1"/>
            </p:cNvSpPr>
            <p:nvPr>
              <p:custDataLst>
                <p:tags r:id="rId381"/>
              </p:custDataLst>
            </p:nvPr>
          </p:nvSpPr>
          <p:spPr bwMode="gray">
            <a:xfrm>
              <a:off x="3966735" y="3350181"/>
              <a:ext cx="504242" cy="479029"/>
            </a:xfrm>
            <a:custGeom>
              <a:avLst/>
              <a:gdLst/>
              <a:ahLst/>
              <a:cxnLst>
                <a:cxn ang="0">
                  <a:pos x="224" y="4"/>
                </a:cxn>
                <a:cxn ang="0">
                  <a:pos x="236" y="4"/>
                </a:cxn>
                <a:cxn ang="0">
                  <a:pos x="252" y="8"/>
                </a:cxn>
                <a:cxn ang="0">
                  <a:pos x="256" y="16"/>
                </a:cxn>
                <a:cxn ang="0">
                  <a:pos x="272" y="20"/>
                </a:cxn>
                <a:cxn ang="0">
                  <a:pos x="284" y="20"/>
                </a:cxn>
                <a:cxn ang="0">
                  <a:pos x="296" y="20"/>
                </a:cxn>
                <a:cxn ang="0">
                  <a:pos x="308" y="27"/>
                </a:cxn>
                <a:cxn ang="0">
                  <a:pos x="328" y="27"/>
                </a:cxn>
                <a:cxn ang="0">
                  <a:pos x="316" y="43"/>
                </a:cxn>
                <a:cxn ang="0">
                  <a:pos x="300" y="51"/>
                </a:cxn>
                <a:cxn ang="0">
                  <a:pos x="288" y="63"/>
                </a:cxn>
                <a:cxn ang="0">
                  <a:pos x="284" y="63"/>
                </a:cxn>
                <a:cxn ang="0">
                  <a:pos x="272" y="83"/>
                </a:cxn>
                <a:cxn ang="0">
                  <a:pos x="280" y="99"/>
                </a:cxn>
                <a:cxn ang="0">
                  <a:pos x="272" y="111"/>
                </a:cxn>
                <a:cxn ang="0">
                  <a:pos x="264" y="123"/>
                </a:cxn>
                <a:cxn ang="0">
                  <a:pos x="252" y="131"/>
                </a:cxn>
                <a:cxn ang="0">
                  <a:pos x="240" y="143"/>
                </a:cxn>
                <a:cxn ang="0">
                  <a:pos x="224" y="143"/>
                </a:cxn>
                <a:cxn ang="0">
                  <a:pos x="208" y="147"/>
                </a:cxn>
                <a:cxn ang="0">
                  <a:pos x="196" y="155"/>
                </a:cxn>
                <a:cxn ang="0">
                  <a:pos x="184" y="155"/>
                </a:cxn>
                <a:cxn ang="0">
                  <a:pos x="180" y="143"/>
                </a:cxn>
                <a:cxn ang="0">
                  <a:pos x="164" y="131"/>
                </a:cxn>
                <a:cxn ang="0">
                  <a:pos x="168" y="119"/>
                </a:cxn>
                <a:cxn ang="0">
                  <a:pos x="164" y="107"/>
                </a:cxn>
                <a:cxn ang="0">
                  <a:pos x="168" y="95"/>
                </a:cxn>
                <a:cxn ang="0">
                  <a:pos x="168" y="83"/>
                </a:cxn>
                <a:cxn ang="0">
                  <a:pos x="172" y="67"/>
                </a:cxn>
                <a:cxn ang="0">
                  <a:pos x="180" y="51"/>
                </a:cxn>
                <a:cxn ang="0">
                  <a:pos x="176" y="43"/>
                </a:cxn>
                <a:cxn ang="0">
                  <a:pos x="168" y="39"/>
                </a:cxn>
                <a:cxn ang="0">
                  <a:pos x="152" y="35"/>
                </a:cxn>
                <a:cxn ang="0">
                  <a:pos x="140" y="39"/>
                </a:cxn>
                <a:cxn ang="0">
                  <a:pos x="144" y="31"/>
                </a:cxn>
                <a:cxn ang="0">
                  <a:pos x="140" y="24"/>
                </a:cxn>
                <a:cxn ang="0">
                  <a:pos x="144" y="20"/>
                </a:cxn>
                <a:cxn ang="0">
                  <a:pos x="136" y="12"/>
                </a:cxn>
                <a:cxn ang="0">
                  <a:pos x="152" y="4"/>
                </a:cxn>
                <a:cxn ang="0">
                  <a:pos x="168" y="4"/>
                </a:cxn>
                <a:cxn ang="0">
                  <a:pos x="188" y="0"/>
                </a:cxn>
                <a:cxn ang="0">
                  <a:pos x="204" y="4"/>
                </a:cxn>
                <a:cxn ang="0">
                  <a:pos x="196" y="163"/>
                </a:cxn>
                <a:cxn ang="0">
                  <a:pos x="336" y="79"/>
                </a:cxn>
                <a:cxn ang="0">
                  <a:pos x="312" y="87"/>
                </a:cxn>
                <a:cxn ang="0">
                  <a:pos x="324" y="83"/>
                </a:cxn>
                <a:cxn ang="0">
                  <a:pos x="320" y="91"/>
                </a:cxn>
                <a:cxn ang="0">
                  <a:pos x="296" y="95"/>
                </a:cxn>
                <a:cxn ang="0">
                  <a:pos x="300" y="103"/>
                </a:cxn>
                <a:cxn ang="0">
                  <a:pos x="68" y="299"/>
                </a:cxn>
                <a:cxn ang="0">
                  <a:pos x="68" y="303"/>
                </a:cxn>
                <a:cxn ang="0">
                  <a:pos x="4" y="303"/>
                </a:cxn>
                <a:cxn ang="0">
                  <a:pos x="60" y="315"/>
                </a:cxn>
                <a:cxn ang="0">
                  <a:pos x="68" y="307"/>
                </a:cxn>
                <a:cxn ang="0">
                  <a:pos x="24" y="315"/>
                </a:cxn>
                <a:cxn ang="0">
                  <a:pos x="32" y="307"/>
                </a:cxn>
                <a:cxn ang="0">
                  <a:pos x="24" y="319"/>
                </a:cxn>
                <a:cxn ang="0">
                  <a:pos x="40" y="323"/>
                </a:cxn>
                <a:cxn ang="0">
                  <a:pos x="44" y="319"/>
                </a:cxn>
                <a:cxn ang="0">
                  <a:pos x="4" y="319"/>
                </a:cxn>
              </a:cxnLst>
              <a:rect l="0" t="0" r="r" b="b"/>
              <a:pathLst>
                <a:path w="340" h="323">
                  <a:moveTo>
                    <a:pt x="208" y="8"/>
                  </a:moveTo>
                  <a:lnTo>
                    <a:pt x="212" y="8"/>
                  </a:lnTo>
                  <a:lnTo>
                    <a:pt x="216" y="4"/>
                  </a:lnTo>
                  <a:lnTo>
                    <a:pt x="220" y="4"/>
                  </a:lnTo>
                  <a:lnTo>
                    <a:pt x="224" y="4"/>
                  </a:lnTo>
                  <a:lnTo>
                    <a:pt x="224" y="8"/>
                  </a:lnTo>
                  <a:lnTo>
                    <a:pt x="228" y="8"/>
                  </a:lnTo>
                  <a:lnTo>
                    <a:pt x="232" y="8"/>
                  </a:lnTo>
                  <a:lnTo>
                    <a:pt x="232" y="4"/>
                  </a:lnTo>
                  <a:lnTo>
                    <a:pt x="236" y="4"/>
                  </a:lnTo>
                  <a:lnTo>
                    <a:pt x="236" y="8"/>
                  </a:lnTo>
                  <a:lnTo>
                    <a:pt x="240" y="8"/>
                  </a:lnTo>
                  <a:lnTo>
                    <a:pt x="244" y="8"/>
                  </a:lnTo>
                  <a:lnTo>
                    <a:pt x="248" y="8"/>
                  </a:lnTo>
                  <a:lnTo>
                    <a:pt x="252" y="8"/>
                  </a:lnTo>
                  <a:lnTo>
                    <a:pt x="256" y="8"/>
                  </a:lnTo>
                  <a:lnTo>
                    <a:pt x="256" y="12"/>
                  </a:lnTo>
                  <a:lnTo>
                    <a:pt x="252" y="12"/>
                  </a:lnTo>
                  <a:lnTo>
                    <a:pt x="256" y="12"/>
                  </a:lnTo>
                  <a:lnTo>
                    <a:pt x="256" y="16"/>
                  </a:lnTo>
                  <a:lnTo>
                    <a:pt x="256" y="12"/>
                  </a:lnTo>
                  <a:lnTo>
                    <a:pt x="260" y="16"/>
                  </a:lnTo>
                  <a:lnTo>
                    <a:pt x="264" y="16"/>
                  </a:lnTo>
                  <a:lnTo>
                    <a:pt x="268" y="20"/>
                  </a:lnTo>
                  <a:lnTo>
                    <a:pt x="272" y="20"/>
                  </a:lnTo>
                  <a:lnTo>
                    <a:pt x="276" y="20"/>
                  </a:lnTo>
                  <a:lnTo>
                    <a:pt x="280" y="20"/>
                  </a:lnTo>
                  <a:lnTo>
                    <a:pt x="284" y="20"/>
                  </a:lnTo>
                  <a:lnTo>
                    <a:pt x="288" y="20"/>
                  </a:lnTo>
                  <a:lnTo>
                    <a:pt x="284" y="20"/>
                  </a:lnTo>
                  <a:lnTo>
                    <a:pt x="288" y="20"/>
                  </a:lnTo>
                  <a:lnTo>
                    <a:pt x="288" y="16"/>
                  </a:lnTo>
                  <a:lnTo>
                    <a:pt x="288" y="20"/>
                  </a:lnTo>
                  <a:lnTo>
                    <a:pt x="292" y="20"/>
                  </a:lnTo>
                  <a:lnTo>
                    <a:pt x="296" y="20"/>
                  </a:lnTo>
                  <a:lnTo>
                    <a:pt x="296" y="24"/>
                  </a:lnTo>
                  <a:lnTo>
                    <a:pt x="300" y="27"/>
                  </a:lnTo>
                  <a:lnTo>
                    <a:pt x="304" y="24"/>
                  </a:lnTo>
                  <a:lnTo>
                    <a:pt x="304" y="27"/>
                  </a:lnTo>
                  <a:lnTo>
                    <a:pt x="308" y="27"/>
                  </a:lnTo>
                  <a:lnTo>
                    <a:pt x="312" y="27"/>
                  </a:lnTo>
                  <a:lnTo>
                    <a:pt x="316" y="27"/>
                  </a:lnTo>
                  <a:lnTo>
                    <a:pt x="320" y="24"/>
                  </a:lnTo>
                  <a:lnTo>
                    <a:pt x="324" y="27"/>
                  </a:lnTo>
                  <a:lnTo>
                    <a:pt x="328" y="27"/>
                  </a:lnTo>
                  <a:lnTo>
                    <a:pt x="324" y="31"/>
                  </a:lnTo>
                  <a:lnTo>
                    <a:pt x="324" y="35"/>
                  </a:lnTo>
                  <a:lnTo>
                    <a:pt x="324" y="39"/>
                  </a:lnTo>
                  <a:lnTo>
                    <a:pt x="320" y="39"/>
                  </a:lnTo>
                  <a:lnTo>
                    <a:pt x="316" y="43"/>
                  </a:lnTo>
                  <a:lnTo>
                    <a:pt x="312" y="47"/>
                  </a:lnTo>
                  <a:lnTo>
                    <a:pt x="308" y="47"/>
                  </a:lnTo>
                  <a:lnTo>
                    <a:pt x="308" y="51"/>
                  </a:lnTo>
                  <a:lnTo>
                    <a:pt x="304" y="51"/>
                  </a:lnTo>
                  <a:lnTo>
                    <a:pt x="300" y="51"/>
                  </a:lnTo>
                  <a:lnTo>
                    <a:pt x="296" y="55"/>
                  </a:lnTo>
                  <a:lnTo>
                    <a:pt x="292" y="55"/>
                  </a:lnTo>
                  <a:lnTo>
                    <a:pt x="288" y="55"/>
                  </a:lnTo>
                  <a:lnTo>
                    <a:pt x="288" y="59"/>
                  </a:lnTo>
                  <a:lnTo>
                    <a:pt x="288" y="63"/>
                  </a:lnTo>
                  <a:lnTo>
                    <a:pt x="288" y="67"/>
                  </a:lnTo>
                  <a:lnTo>
                    <a:pt x="284" y="67"/>
                  </a:lnTo>
                  <a:lnTo>
                    <a:pt x="284" y="63"/>
                  </a:lnTo>
                  <a:lnTo>
                    <a:pt x="288" y="63"/>
                  </a:lnTo>
                  <a:lnTo>
                    <a:pt x="284" y="63"/>
                  </a:lnTo>
                  <a:lnTo>
                    <a:pt x="284" y="67"/>
                  </a:lnTo>
                  <a:lnTo>
                    <a:pt x="280" y="71"/>
                  </a:lnTo>
                  <a:lnTo>
                    <a:pt x="276" y="75"/>
                  </a:lnTo>
                  <a:lnTo>
                    <a:pt x="276" y="79"/>
                  </a:lnTo>
                  <a:lnTo>
                    <a:pt x="272" y="83"/>
                  </a:lnTo>
                  <a:lnTo>
                    <a:pt x="272" y="87"/>
                  </a:lnTo>
                  <a:lnTo>
                    <a:pt x="272" y="95"/>
                  </a:lnTo>
                  <a:lnTo>
                    <a:pt x="272" y="99"/>
                  </a:lnTo>
                  <a:lnTo>
                    <a:pt x="276" y="99"/>
                  </a:lnTo>
                  <a:lnTo>
                    <a:pt x="280" y="99"/>
                  </a:lnTo>
                  <a:lnTo>
                    <a:pt x="280" y="103"/>
                  </a:lnTo>
                  <a:lnTo>
                    <a:pt x="276" y="103"/>
                  </a:lnTo>
                  <a:lnTo>
                    <a:pt x="276" y="107"/>
                  </a:lnTo>
                  <a:lnTo>
                    <a:pt x="272" y="107"/>
                  </a:lnTo>
                  <a:lnTo>
                    <a:pt x="272" y="111"/>
                  </a:lnTo>
                  <a:lnTo>
                    <a:pt x="268" y="111"/>
                  </a:lnTo>
                  <a:lnTo>
                    <a:pt x="268" y="115"/>
                  </a:lnTo>
                  <a:lnTo>
                    <a:pt x="268" y="119"/>
                  </a:lnTo>
                  <a:lnTo>
                    <a:pt x="264" y="119"/>
                  </a:lnTo>
                  <a:lnTo>
                    <a:pt x="264" y="123"/>
                  </a:lnTo>
                  <a:lnTo>
                    <a:pt x="264" y="127"/>
                  </a:lnTo>
                  <a:lnTo>
                    <a:pt x="260" y="127"/>
                  </a:lnTo>
                  <a:lnTo>
                    <a:pt x="256" y="127"/>
                  </a:lnTo>
                  <a:lnTo>
                    <a:pt x="252" y="127"/>
                  </a:lnTo>
                  <a:lnTo>
                    <a:pt x="252" y="131"/>
                  </a:lnTo>
                  <a:lnTo>
                    <a:pt x="248" y="135"/>
                  </a:lnTo>
                  <a:lnTo>
                    <a:pt x="248" y="139"/>
                  </a:lnTo>
                  <a:lnTo>
                    <a:pt x="244" y="139"/>
                  </a:lnTo>
                  <a:lnTo>
                    <a:pt x="244" y="143"/>
                  </a:lnTo>
                  <a:lnTo>
                    <a:pt x="240" y="143"/>
                  </a:lnTo>
                  <a:lnTo>
                    <a:pt x="236" y="143"/>
                  </a:lnTo>
                  <a:lnTo>
                    <a:pt x="232" y="147"/>
                  </a:lnTo>
                  <a:lnTo>
                    <a:pt x="232" y="143"/>
                  </a:lnTo>
                  <a:lnTo>
                    <a:pt x="228" y="143"/>
                  </a:lnTo>
                  <a:lnTo>
                    <a:pt x="224" y="143"/>
                  </a:lnTo>
                  <a:lnTo>
                    <a:pt x="220" y="143"/>
                  </a:lnTo>
                  <a:lnTo>
                    <a:pt x="216" y="143"/>
                  </a:lnTo>
                  <a:lnTo>
                    <a:pt x="212" y="143"/>
                  </a:lnTo>
                  <a:lnTo>
                    <a:pt x="208" y="143"/>
                  </a:lnTo>
                  <a:lnTo>
                    <a:pt x="208" y="147"/>
                  </a:lnTo>
                  <a:lnTo>
                    <a:pt x="204" y="147"/>
                  </a:lnTo>
                  <a:lnTo>
                    <a:pt x="200" y="147"/>
                  </a:lnTo>
                  <a:lnTo>
                    <a:pt x="200" y="151"/>
                  </a:lnTo>
                  <a:lnTo>
                    <a:pt x="196" y="151"/>
                  </a:lnTo>
                  <a:lnTo>
                    <a:pt x="196" y="155"/>
                  </a:lnTo>
                  <a:lnTo>
                    <a:pt x="192" y="155"/>
                  </a:lnTo>
                  <a:lnTo>
                    <a:pt x="192" y="159"/>
                  </a:lnTo>
                  <a:lnTo>
                    <a:pt x="188" y="159"/>
                  </a:lnTo>
                  <a:lnTo>
                    <a:pt x="188" y="155"/>
                  </a:lnTo>
                  <a:lnTo>
                    <a:pt x="184" y="155"/>
                  </a:lnTo>
                  <a:lnTo>
                    <a:pt x="184" y="151"/>
                  </a:lnTo>
                  <a:lnTo>
                    <a:pt x="180" y="151"/>
                  </a:lnTo>
                  <a:lnTo>
                    <a:pt x="184" y="147"/>
                  </a:lnTo>
                  <a:lnTo>
                    <a:pt x="180" y="147"/>
                  </a:lnTo>
                  <a:lnTo>
                    <a:pt x="180" y="143"/>
                  </a:lnTo>
                  <a:lnTo>
                    <a:pt x="176" y="139"/>
                  </a:lnTo>
                  <a:lnTo>
                    <a:pt x="172" y="135"/>
                  </a:lnTo>
                  <a:lnTo>
                    <a:pt x="168" y="135"/>
                  </a:lnTo>
                  <a:lnTo>
                    <a:pt x="164" y="135"/>
                  </a:lnTo>
                  <a:lnTo>
                    <a:pt x="164" y="131"/>
                  </a:lnTo>
                  <a:lnTo>
                    <a:pt x="164" y="127"/>
                  </a:lnTo>
                  <a:lnTo>
                    <a:pt x="160" y="127"/>
                  </a:lnTo>
                  <a:lnTo>
                    <a:pt x="164" y="123"/>
                  </a:lnTo>
                  <a:lnTo>
                    <a:pt x="164" y="119"/>
                  </a:lnTo>
                  <a:lnTo>
                    <a:pt x="168" y="119"/>
                  </a:lnTo>
                  <a:lnTo>
                    <a:pt x="172" y="115"/>
                  </a:lnTo>
                  <a:lnTo>
                    <a:pt x="168" y="115"/>
                  </a:lnTo>
                  <a:lnTo>
                    <a:pt x="168" y="111"/>
                  </a:lnTo>
                  <a:lnTo>
                    <a:pt x="164" y="111"/>
                  </a:lnTo>
                  <a:lnTo>
                    <a:pt x="164" y="107"/>
                  </a:lnTo>
                  <a:lnTo>
                    <a:pt x="164" y="103"/>
                  </a:lnTo>
                  <a:lnTo>
                    <a:pt x="168" y="103"/>
                  </a:lnTo>
                  <a:lnTo>
                    <a:pt x="168" y="99"/>
                  </a:lnTo>
                  <a:lnTo>
                    <a:pt x="172" y="95"/>
                  </a:lnTo>
                  <a:lnTo>
                    <a:pt x="168" y="95"/>
                  </a:lnTo>
                  <a:lnTo>
                    <a:pt x="164" y="91"/>
                  </a:lnTo>
                  <a:lnTo>
                    <a:pt x="164" y="87"/>
                  </a:lnTo>
                  <a:lnTo>
                    <a:pt x="160" y="83"/>
                  </a:lnTo>
                  <a:lnTo>
                    <a:pt x="164" y="83"/>
                  </a:lnTo>
                  <a:lnTo>
                    <a:pt x="168" y="83"/>
                  </a:lnTo>
                  <a:lnTo>
                    <a:pt x="172" y="75"/>
                  </a:lnTo>
                  <a:lnTo>
                    <a:pt x="168" y="75"/>
                  </a:lnTo>
                  <a:lnTo>
                    <a:pt x="168" y="71"/>
                  </a:lnTo>
                  <a:lnTo>
                    <a:pt x="172" y="71"/>
                  </a:lnTo>
                  <a:lnTo>
                    <a:pt x="172" y="67"/>
                  </a:lnTo>
                  <a:lnTo>
                    <a:pt x="172" y="63"/>
                  </a:lnTo>
                  <a:lnTo>
                    <a:pt x="172" y="59"/>
                  </a:lnTo>
                  <a:lnTo>
                    <a:pt x="172" y="55"/>
                  </a:lnTo>
                  <a:lnTo>
                    <a:pt x="176" y="51"/>
                  </a:lnTo>
                  <a:lnTo>
                    <a:pt x="180" y="51"/>
                  </a:lnTo>
                  <a:lnTo>
                    <a:pt x="180" y="47"/>
                  </a:lnTo>
                  <a:lnTo>
                    <a:pt x="180" y="43"/>
                  </a:lnTo>
                  <a:lnTo>
                    <a:pt x="184" y="43"/>
                  </a:lnTo>
                  <a:lnTo>
                    <a:pt x="180" y="43"/>
                  </a:lnTo>
                  <a:lnTo>
                    <a:pt x="176" y="43"/>
                  </a:lnTo>
                  <a:lnTo>
                    <a:pt x="176" y="39"/>
                  </a:lnTo>
                  <a:lnTo>
                    <a:pt x="176" y="35"/>
                  </a:lnTo>
                  <a:lnTo>
                    <a:pt x="172" y="35"/>
                  </a:lnTo>
                  <a:lnTo>
                    <a:pt x="168" y="35"/>
                  </a:lnTo>
                  <a:lnTo>
                    <a:pt x="168" y="39"/>
                  </a:lnTo>
                  <a:lnTo>
                    <a:pt x="164" y="39"/>
                  </a:lnTo>
                  <a:lnTo>
                    <a:pt x="160" y="39"/>
                  </a:lnTo>
                  <a:lnTo>
                    <a:pt x="156" y="39"/>
                  </a:lnTo>
                  <a:lnTo>
                    <a:pt x="152" y="39"/>
                  </a:lnTo>
                  <a:lnTo>
                    <a:pt x="152" y="35"/>
                  </a:lnTo>
                  <a:lnTo>
                    <a:pt x="152" y="31"/>
                  </a:lnTo>
                  <a:lnTo>
                    <a:pt x="148" y="31"/>
                  </a:lnTo>
                  <a:lnTo>
                    <a:pt x="148" y="35"/>
                  </a:lnTo>
                  <a:lnTo>
                    <a:pt x="144" y="35"/>
                  </a:lnTo>
                  <a:lnTo>
                    <a:pt x="140" y="39"/>
                  </a:lnTo>
                  <a:lnTo>
                    <a:pt x="140" y="35"/>
                  </a:lnTo>
                  <a:lnTo>
                    <a:pt x="140" y="31"/>
                  </a:lnTo>
                  <a:lnTo>
                    <a:pt x="144" y="31"/>
                  </a:lnTo>
                  <a:lnTo>
                    <a:pt x="144" y="27"/>
                  </a:lnTo>
                  <a:lnTo>
                    <a:pt x="144" y="31"/>
                  </a:lnTo>
                  <a:lnTo>
                    <a:pt x="140" y="31"/>
                  </a:lnTo>
                  <a:lnTo>
                    <a:pt x="140" y="27"/>
                  </a:lnTo>
                  <a:lnTo>
                    <a:pt x="144" y="27"/>
                  </a:lnTo>
                  <a:lnTo>
                    <a:pt x="140" y="27"/>
                  </a:lnTo>
                  <a:lnTo>
                    <a:pt x="140" y="24"/>
                  </a:lnTo>
                  <a:lnTo>
                    <a:pt x="140" y="27"/>
                  </a:lnTo>
                  <a:lnTo>
                    <a:pt x="144" y="24"/>
                  </a:lnTo>
                  <a:lnTo>
                    <a:pt x="140" y="24"/>
                  </a:lnTo>
                  <a:lnTo>
                    <a:pt x="144" y="24"/>
                  </a:lnTo>
                  <a:lnTo>
                    <a:pt x="144" y="20"/>
                  </a:lnTo>
                  <a:lnTo>
                    <a:pt x="140" y="24"/>
                  </a:lnTo>
                  <a:lnTo>
                    <a:pt x="140" y="20"/>
                  </a:lnTo>
                  <a:lnTo>
                    <a:pt x="136" y="20"/>
                  </a:lnTo>
                  <a:lnTo>
                    <a:pt x="136" y="16"/>
                  </a:lnTo>
                  <a:lnTo>
                    <a:pt x="136" y="12"/>
                  </a:lnTo>
                  <a:lnTo>
                    <a:pt x="140" y="12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8" y="8"/>
                  </a:lnTo>
                  <a:lnTo>
                    <a:pt x="152" y="4"/>
                  </a:lnTo>
                  <a:lnTo>
                    <a:pt x="156" y="0"/>
                  </a:lnTo>
                  <a:lnTo>
                    <a:pt x="160" y="0"/>
                  </a:lnTo>
                  <a:lnTo>
                    <a:pt x="164" y="0"/>
                  </a:lnTo>
                  <a:lnTo>
                    <a:pt x="164" y="4"/>
                  </a:lnTo>
                  <a:lnTo>
                    <a:pt x="168" y="4"/>
                  </a:lnTo>
                  <a:lnTo>
                    <a:pt x="172" y="4"/>
                  </a:lnTo>
                  <a:lnTo>
                    <a:pt x="176" y="4"/>
                  </a:lnTo>
                  <a:lnTo>
                    <a:pt x="180" y="4"/>
                  </a:lnTo>
                  <a:lnTo>
                    <a:pt x="184" y="4"/>
                  </a:lnTo>
                  <a:lnTo>
                    <a:pt x="188" y="0"/>
                  </a:lnTo>
                  <a:lnTo>
                    <a:pt x="188" y="4"/>
                  </a:lnTo>
                  <a:lnTo>
                    <a:pt x="192" y="4"/>
                  </a:lnTo>
                  <a:lnTo>
                    <a:pt x="196" y="4"/>
                  </a:lnTo>
                  <a:lnTo>
                    <a:pt x="200" y="4"/>
                  </a:lnTo>
                  <a:lnTo>
                    <a:pt x="204" y="4"/>
                  </a:lnTo>
                  <a:lnTo>
                    <a:pt x="204" y="8"/>
                  </a:lnTo>
                  <a:lnTo>
                    <a:pt x="208" y="8"/>
                  </a:lnTo>
                  <a:close/>
                  <a:moveTo>
                    <a:pt x="196" y="163"/>
                  </a:moveTo>
                  <a:lnTo>
                    <a:pt x="196" y="159"/>
                  </a:lnTo>
                  <a:lnTo>
                    <a:pt x="196" y="163"/>
                  </a:lnTo>
                  <a:close/>
                  <a:moveTo>
                    <a:pt x="232" y="175"/>
                  </a:moveTo>
                  <a:lnTo>
                    <a:pt x="232" y="171"/>
                  </a:lnTo>
                  <a:lnTo>
                    <a:pt x="232" y="175"/>
                  </a:lnTo>
                  <a:close/>
                  <a:moveTo>
                    <a:pt x="340" y="79"/>
                  </a:moveTo>
                  <a:lnTo>
                    <a:pt x="336" y="79"/>
                  </a:lnTo>
                  <a:lnTo>
                    <a:pt x="332" y="75"/>
                  </a:lnTo>
                  <a:lnTo>
                    <a:pt x="336" y="75"/>
                  </a:lnTo>
                  <a:lnTo>
                    <a:pt x="340" y="75"/>
                  </a:lnTo>
                  <a:lnTo>
                    <a:pt x="340" y="79"/>
                  </a:lnTo>
                  <a:close/>
                  <a:moveTo>
                    <a:pt x="312" y="87"/>
                  </a:moveTo>
                  <a:lnTo>
                    <a:pt x="312" y="83"/>
                  </a:lnTo>
                  <a:lnTo>
                    <a:pt x="316" y="83"/>
                  </a:lnTo>
                  <a:lnTo>
                    <a:pt x="320" y="79"/>
                  </a:lnTo>
                  <a:lnTo>
                    <a:pt x="324" y="79"/>
                  </a:lnTo>
                  <a:lnTo>
                    <a:pt x="324" y="83"/>
                  </a:lnTo>
                  <a:lnTo>
                    <a:pt x="328" y="83"/>
                  </a:lnTo>
                  <a:lnTo>
                    <a:pt x="328" y="87"/>
                  </a:lnTo>
                  <a:lnTo>
                    <a:pt x="324" y="87"/>
                  </a:lnTo>
                  <a:lnTo>
                    <a:pt x="324" y="91"/>
                  </a:lnTo>
                  <a:lnTo>
                    <a:pt x="320" y="91"/>
                  </a:lnTo>
                  <a:lnTo>
                    <a:pt x="316" y="91"/>
                  </a:lnTo>
                  <a:lnTo>
                    <a:pt x="316" y="87"/>
                  </a:lnTo>
                  <a:lnTo>
                    <a:pt x="312" y="87"/>
                  </a:lnTo>
                  <a:close/>
                  <a:moveTo>
                    <a:pt x="296" y="99"/>
                  </a:moveTo>
                  <a:lnTo>
                    <a:pt x="296" y="95"/>
                  </a:lnTo>
                  <a:lnTo>
                    <a:pt x="300" y="95"/>
                  </a:lnTo>
                  <a:lnTo>
                    <a:pt x="300" y="99"/>
                  </a:lnTo>
                  <a:lnTo>
                    <a:pt x="296" y="99"/>
                  </a:lnTo>
                  <a:close/>
                  <a:moveTo>
                    <a:pt x="296" y="103"/>
                  </a:moveTo>
                  <a:lnTo>
                    <a:pt x="300" y="103"/>
                  </a:lnTo>
                  <a:lnTo>
                    <a:pt x="296" y="103"/>
                  </a:lnTo>
                  <a:close/>
                  <a:moveTo>
                    <a:pt x="68" y="303"/>
                  </a:moveTo>
                  <a:lnTo>
                    <a:pt x="68" y="299"/>
                  </a:lnTo>
                  <a:lnTo>
                    <a:pt x="64" y="299"/>
                  </a:lnTo>
                  <a:lnTo>
                    <a:pt x="68" y="299"/>
                  </a:lnTo>
                  <a:lnTo>
                    <a:pt x="68" y="295"/>
                  </a:lnTo>
                  <a:lnTo>
                    <a:pt x="72" y="295"/>
                  </a:lnTo>
                  <a:lnTo>
                    <a:pt x="72" y="299"/>
                  </a:lnTo>
                  <a:lnTo>
                    <a:pt x="68" y="299"/>
                  </a:lnTo>
                  <a:lnTo>
                    <a:pt x="68" y="303"/>
                  </a:lnTo>
                  <a:close/>
                  <a:moveTo>
                    <a:pt x="8" y="307"/>
                  </a:moveTo>
                  <a:lnTo>
                    <a:pt x="4" y="307"/>
                  </a:lnTo>
                  <a:lnTo>
                    <a:pt x="4" y="303"/>
                  </a:lnTo>
                  <a:lnTo>
                    <a:pt x="4" y="299"/>
                  </a:lnTo>
                  <a:lnTo>
                    <a:pt x="4" y="303"/>
                  </a:lnTo>
                  <a:lnTo>
                    <a:pt x="8" y="303"/>
                  </a:lnTo>
                  <a:lnTo>
                    <a:pt x="8" y="307"/>
                  </a:lnTo>
                  <a:close/>
                  <a:moveTo>
                    <a:pt x="60" y="315"/>
                  </a:moveTo>
                  <a:lnTo>
                    <a:pt x="56" y="315"/>
                  </a:lnTo>
                  <a:lnTo>
                    <a:pt x="60" y="315"/>
                  </a:lnTo>
                  <a:lnTo>
                    <a:pt x="60" y="311"/>
                  </a:lnTo>
                  <a:lnTo>
                    <a:pt x="64" y="307"/>
                  </a:lnTo>
                  <a:lnTo>
                    <a:pt x="64" y="303"/>
                  </a:lnTo>
                  <a:lnTo>
                    <a:pt x="68" y="303"/>
                  </a:lnTo>
                  <a:lnTo>
                    <a:pt x="68" y="307"/>
                  </a:lnTo>
                  <a:lnTo>
                    <a:pt x="64" y="311"/>
                  </a:lnTo>
                  <a:lnTo>
                    <a:pt x="64" y="315"/>
                  </a:lnTo>
                  <a:lnTo>
                    <a:pt x="60" y="315"/>
                  </a:lnTo>
                  <a:close/>
                  <a:moveTo>
                    <a:pt x="24" y="319"/>
                  </a:moveTo>
                  <a:lnTo>
                    <a:pt x="24" y="315"/>
                  </a:lnTo>
                  <a:lnTo>
                    <a:pt x="20" y="315"/>
                  </a:lnTo>
                  <a:lnTo>
                    <a:pt x="20" y="311"/>
                  </a:lnTo>
                  <a:lnTo>
                    <a:pt x="24" y="311"/>
                  </a:lnTo>
                  <a:lnTo>
                    <a:pt x="28" y="307"/>
                  </a:lnTo>
                  <a:lnTo>
                    <a:pt x="32" y="307"/>
                  </a:lnTo>
                  <a:lnTo>
                    <a:pt x="28" y="307"/>
                  </a:lnTo>
                  <a:lnTo>
                    <a:pt x="28" y="311"/>
                  </a:lnTo>
                  <a:lnTo>
                    <a:pt x="28" y="315"/>
                  </a:lnTo>
                  <a:lnTo>
                    <a:pt x="24" y="315"/>
                  </a:lnTo>
                  <a:lnTo>
                    <a:pt x="24" y="319"/>
                  </a:lnTo>
                  <a:close/>
                  <a:moveTo>
                    <a:pt x="16" y="319"/>
                  </a:moveTo>
                  <a:lnTo>
                    <a:pt x="12" y="315"/>
                  </a:lnTo>
                  <a:lnTo>
                    <a:pt x="16" y="315"/>
                  </a:lnTo>
                  <a:lnTo>
                    <a:pt x="16" y="319"/>
                  </a:lnTo>
                  <a:close/>
                  <a:moveTo>
                    <a:pt x="40" y="323"/>
                  </a:moveTo>
                  <a:lnTo>
                    <a:pt x="36" y="319"/>
                  </a:lnTo>
                  <a:lnTo>
                    <a:pt x="36" y="315"/>
                  </a:lnTo>
                  <a:lnTo>
                    <a:pt x="40" y="315"/>
                  </a:lnTo>
                  <a:lnTo>
                    <a:pt x="44" y="315"/>
                  </a:lnTo>
                  <a:lnTo>
                    <a:pt x="44" y="319"/>
                  </a:lnTo>
                  <a:lnTo>
                    <a:pt x="40" y="323"/>
                  </a:lnTo>
                  <a:close/>
                  <a:moveTo>
                    <a:pt x="4" y="323"/>
                  </a:moveTo>
                  <a:lnTo>
                    <a:pt x="0" y="323"/>
                  </a:lnTo>
                  <a:lnTo>
                    <a:pt x="4" y="323"/>
                  </a:lnTo>
                  <a:lnTo>
                    <a:pt x="4" y="319"/>
                  </a:lnTo>
                  <a:lnTo>
                    <a:pt x="4" y="32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9" name="Freeform 188"/>
            <p:cNvSpPr>
              <a:spLocks noEditPoints="1"/>
            </p:cNvSpPr>
            <p:nvPr>
              <p:custDataLst>
                <p:tags r:id="rId382"/>
              </p:custDataLst>
            </p:nvPr>
          </p:nvSpPr>
          <p:spPr bwMode="gray">
            <a:xfrm>
              <a:off x="376238" y="2366909"/>
              <a:ext cx="8033756" cy="1709972"/>
            </a:xfrm>
            <a:custGeom>
              <a:avLst/>
              <a:gdLst/>
              <a:ahLst/>
              <a:cxnLst>
                <a:cxn ang="0">
                  <a:pos x="407" y="303"/>
                </a:cxn>
                <a:cxn ang="0">
                  <a:pos x="375" y="299"/>
                </a:cxn>
                <a:cxn ang="0">
                  <a:pos x="303" y="375"/>
                </a:cxn>
                <a:cxn ang="0">
                  <a:pos x="232" y="415"/>
                </a:cxn>
                <a:cxn ang="0">
                  <a:pos x="315" y="335"/>
                </a:cxn>
                <a:cxn ang="0">
                  <a:pos x="248" y="315"/>
                </a:cxn>
                <a:cxn ang="0">
                  <a:pos x="216" y="275"/>
                </a:cxn>
                <a:cxn ang="0">
                  <a:pos x="204" y="232"/>
                </a:cxn>
                <a:cxn ang="0">
                  <a:pos x="232" y="184"/>
                </a:cxn>
                <a:cxn ang="0">
                  <a:pos x="160" y="148"/>
                </a:cxn>
                <a:cxn ang="0">
                  <a:pos x="248" y="128"/>
                </a:cxn>
                <a:cxn ang="0">
                  <a:pos x="176" y="80"/>
                </a:cxn>
                <a:cxn ang="0">
                  <a:pos x="276" y="20"/>
                </a:cxn>
                <a:cxn ang="0">
                  <a:pos x="387" y="12"/>
                </a:cxn>
                <a:cxn ang="0">
                  <a:pos x="547" y="40"/>
                </a:cxn>
                <a:cxn ang="0">
                  <a:pos x="639" y="303"/>
                </a:cxn>
                <a:cxn ang="0">
                  <a:pos x="714" y="419"/>
                </a:cxn>
                <a:cxn ang="0">
                  <a:pos x="682" y="359"/>
                </a:cxn>
                <a:cxn ang="0">
                  <a:pos x="651" y="335"/>
                </a:cxn>
                <a:cxn ang="0">
                  <a:pos x="599" y="315"/>
                </a:cxn>
                <a:cxn ang="0">
                  <a:pos x="499" y="283"/>
                </a:cxn>
                <a:cxn ang="0">
                  <a:pos x="459" y="283"/>
                </a:cxn>
                <a:cxn ang="0">
                  <a:pos x="1540" y="794"/>
                </a:cxn>
                <a:cxn ang="0">
                  <a:pos x="1552" y="826"/>
                </a:cxn>
                <a:cxn ang="0">
                  <a:pos x="1476" y="894"/>
                </a:cxn>
                <a:cxn ang="0">
                  <a:pos x="1480" y="1026"/>
                </a:cxn>
                <a:cxn ang="0">
                  <a:pos x="1416" y="946"/>
                </a:cxn>
                <a:cxn ang="0">
                  <a:pos x="1341" y="942"/>
                </a:cxn>
                <a:cxn ang="0">
                  <a:pos x="1261" y="950"/>
                </a:cxn>
                <a:cxn ang="0">
                  <a:pos x="1205" y="1014"/>
                </a:cxn>
                <a:cxn ang="0">
                  <a:pos x="1089" y="910"/>
                </a:cxn>
                <a:cxn ang="0">
                  <a:pos x="906" y="862"/>
                </a:cxn>
                <a:cxn ang="0">
                  <a:pos x="842" y="778"/>
                </a:cxn>
                <a:cxn ang="0">
                  <a:pos x="822" y="615"/>
                </a:cxn>
                <a:cxn ang="0">
                  <a:pos x="838" y="587"/>
                </a:cxn>
                <a:cxn ang="0">
                  <a:pos x="1002" y="547"/>
                </a:cxn>
                <a:cxn ang="0">
                  <a:pos x="1277" y="559"/>
                </a:cxn>
                <a:cxn ang="0">
                  <a:pos x="1448" y="639"/>
                </a:cxn>
                <a:cxn ang="0">
                  <a:pos x="1568" y="635"/>
                </a:cxn>
                <a:cxn ang="0">
                  <a:pos x="1672" y="647"/>
                </a:cxn>
                <a:cxn ang="0">
                  <a:pos x="1640" y="698"/>
                </a:cxn>
                <a:cxn ang="0">
                  <a:pos x="1564" y="758"/>
                </a:cxn>
                <a:cxn ang="0">
                  <a:pos x="1544" y="754"/>
                </a:cxn>
                <a:cxn ang="0">
                  <a:pos x="507" y="295"/>
                </a:cxn>
                <a:cxn ang="0">
                  <a:pos x="1484" y="994"/>
                </a:cxn>
                <a:cxn ang="0">
                  <a:pos x="116" y="200"/>
                </a:cxn>
                <a:cxn ang="0">
                  <a:pos x="471" y="287"/>
                </a:cxn>
                <a:cxn ang="0">
                  <a:pos x="666" y="359"/>
                </a:cxn>
                <a:cxn ang="0">
                  <a:pos x="654" y="343"/>
                </a:cxn>
                <a:cxn ang="0">
                  <a:pos x="383" y="343"/>
                </a:cxn>
                <a:cxn ang="0">
                  <a:pos x="375" y="343"/>
                </a:cxn>
                <a:cxn ang="0">
                  <a:pos x="678" y="371"/>
                </a:cxn>
                <a:cxn ang="0">
                  <a:pos x="359" y="375"/>
                </a:cxn>
                <a:cxn ang="0">
                  <a:pos x="682" y="399"/>
                </a:cxn>
                <a:cxn ang="0">
                  <a:pos x="666" y="391"/>
                </a:cxn>
                <a:cxn ang="0">
                  <a:pos x="706" y="407"/>
                </a:cxn>
                <a:cxn ang="0">
                  <a:pos x="710" y="411"/>
                </a:cxn>
                <a:cxn ang="0">
                  <a:pos x="156" y="451"/>
                </a:cxn>
                <a:cxn ang="0">
                  <a:pos x="88" y="475"/>
                </a:cxn>
                <a:cxn ang="0">
                  <a:pos x="32" y="483"/>
                </a:cxn>
                <a:cxn ang="0">
                  <a:pos x="1628" y="710"/>
                </a:cxn>
                <a:cxn ang="0">
                  <a:pos x="1261" y="958"/>
                </a:cxn>
                <a:cxn ang="0">
                  <a:pos x="335" y="1122"/>
                </a:cxn>
              </a:cxnLst>
              <a:rect l="0" t="0" r="r" b="b"/>
              <a:pathLst>
                <a:path w="5417" h="1153">
                  <a:moveTo>
                    <a:pt x="447" y="283"/>
                  </a:moveTo>
                  <a:lnTo>
                    <a:pt x="447" y="279"/>
                  </a:lnTo>
                  <a:lnTo>
                    <a:pt x="451" y="279"/>
                  </a:lnTo>
                  <a:lnTo>
                    <a:pt x="455" y="279"/>
                  </a:lnTo>
                  <a:lnTo>
                    <a:pt x="459" y="279"/>
                  </a:lnTo>
                  <a:lnTo>
                    <a:pt x="459" y="283"/>
                  </a:lnTo>
                  <a:lnTo>
                    <a:pt x="455" y="283"/>
                  </a:lnTo>
                  <a:lnTo>
                    <a:pt x="451" y="287"/>
                  </a:lnTo>
                  <a:lnTo>
                    <a:pt x="455" y="287"/>
                  </a:lnTo>
                  <a:lnTo>
                    <a:pt x="455" y="291"/>
                  </a:lnTo>
                  <a:lnTo>
                    <a:pt x="451" y="291"/>
                  </a:lnTo>
                  <a:lnTo>
                    <a:pt x="451" y="287"/>
                  </a:lnTo>
                  <a:lnTo>
                    <a:pt x="451" y="291"/>
                  </a:lnTo>
                  <a:lnTo>
                    <a:pt x="451" y="295"/>
                  </a:lnTo>
                  <a:lnTo>
                    <a:pt x="447" y="295"/>
                  </a:lnTo>
                  <a:lnTo>
                    <a:pt x="443" y="295"/>
                  </a:lnTo>
                  <a:lnTo>
                    <a:pt x="439" y="295"/>
                  </a:lnTo>
                  <a:lnTo>
                    <a:pt x="439" y="291"/>
                  </a:lnTo>
                  <a:lnTo>
                    <a:pt x="439" y="295"/>
                  </a:lnTo>
                  <a:lnTo>
                    <a:pt x="435" y="295"/>
                  </a:lnTo>
                  <a:lnTo>
                    <a:pt x="435" y="291"/>
                  </a:lnTo>
                  <a:lnTo>
                    <a:pt x="435" y="295"/>
                  </a:lnTo>
                  <a:lnTo>
                    <a:pt x="431" y="295"/>
                  </a:lnTo>
                  <a:lnTo>
                    <a:pt x="431" y="299"/>
                  </a:lnTo>
                  <a:lnTo>
                    <a:pt x="435" y="299"/>
                  </a:lnTo>
                  <a:lnTo>
                    <a:pt x="431" y="299"/>
                  </a:lnTo>
                  <a:lnTo>
                    <a:pt x="431" y="295"/>
                  </a:lnTo>
                  <a:lnTo>
                    <a:pt x="431" y="299"/>
                  </a:lnTo>
                  <a:lnTo>
                    <a:pt x="431" y="303"/>
                  </a:lnTo>
                  <a:lnTo>
                    <a:pt x="431" y="299"/>
                  </a:lnTo>
                  <a:lnTo>
                    <a:pt x="427" y="299"/>
                  </a:lnTo>
                  <a:lnTo>
                    <a:pt x="427" y="303"/>
                  </a:lnTo>
                  <a:lnTo>
                    <a:pt x="423" y="307"/>
                  </a:lnTo>
                  <a:lnTo>
                    <a:pt x="419" y="307"/>
                  </a:lnTo>
                  <a:lnTo>
                    <a:pt x="419" y="303"/>
                  </a:lnTo>
                  <a:lnTo>
                    <a:pt x="423" y="303"/>
                  </a:lnTo>
                  <a:lnTo>
                    <a:pt x="423" y="299"/>
                  </a:lnTo>
                  <a:lnTo>
                    <a:pt x="423" y="303"/>
                  </a:lnTo>
                  <a:lnTo>
                    <a:pt x="419" y="303"/>
                  </a:lnTo>
                  <a:lnTo>
                    <a:pt x="419" y="307"/>
                  </a:lnTo>
                  <a:lnTo>
                    <a:pt x="419" y="303"/>
                  </a:lnTo>
                  <a:lnTo>
                    <a:pt x="415" y="303"/>
                  </a:lnTo>
                  <a:lnTo>
                    <a:pt x="419" y="307"/>
                  </a:lnTo>
                  <a:lnTo>
                    <a:pt x="415" y="307"/>
                  </a:lnTo>
                  <a:lnTo>
                    <a:pt x="411" y="311"/>
                  </a:lnTo>
                  <a:lnTo>
                    <a:pt x="407" y="311"/>
                  </a:lnTo>
                  <a:lnTo>
                    <a:pt x="411" y="311"/>
                  </a:lnTo>
                  <a:lnTo>
                    <a:pt x="407" y="311"/>
                  </a:lnTo>
                  <a:lnTo>
                    <a:pt x="403" y="311"/>
                  </a:lnTo>
                  <a:lnTo>
                    <a:pt x="403" y="315"/>
                  </a:lnTo>
                  <a:lnTo>
                    <a:pt x="399" y="315"/>
                  </a:lnTo>
                  <a:lnTo>
                    <a:pt x="399" y="311"/>
                  </a:lnTo>
                  <a:lnTo>
                    <a:pt x="395" y="311"/>
                  </a:lnTo>
                  <a:lnTo>
                    <a:pt x="399" y="307"/>
                  </a:lnTo>
                  <a:lnTo>
                    <a:pt x="403" y="307"/>
                  </a:lnTo>
                  <a:lnTo>
                    <a:pt x="403" y="303"/>
                  </a:lnTo>
                  <a:lnTo>
                    <a:pt x="407" y="303"/>
                  </a:lnTo>
                  <a:lnTo>
                    <a:pt x="411" y="299"/>
                  </a:lnTo>
                  <a:lnTo>
                    <a:pt x="407" y="299"/>
                  </a:lnTo>
                  <a:lnTo>
                    <a:pt x="403" y="303"/>
                  </a:lnTo>
                  <a:lnTo>
                    <a:pt x="399" y="299"/>
                  </a:lnTo>
                  <a:lnTo>
                    <a:pt x="399" y="291"/>
                  </a:lnTo>
                  <a:lnTo>
                    <a:pt x="403" y="291"/>
                  </a:lnTo>
                  <a:lnTo>
                    <a:pt x="403" y="287"/>
                  </a:lnTo>
                  <a:lnTo>
                    <a:pt x="407" y="283"/>
                  </a:lnTo>
                  <a:lnTo>
                    <a:pt x="407" y="279"/>
                  </a:lnTo>
                  <a:lnTo>
                    <a:pt x="407" y="275"/>
                  </a:lnTo>
                  <a:lnTo>
                    <a:pt x="403" y="275"/>
                  </a:lnTo>
                  <a:lnTo>
                    <a:pt x="407" y="275"/>
                  </a:lnTo>
                  <a:lnTo>
                    <a:pt x="411" y="275"/>
                  </a:lnTo>
                  <a:lnTo>
                    <a:pt x="415" y="271"/>
                  </a:lnTo>
                  <a:lnTo>
                    <a:pt x="419" y="267"/>
                  </a:lnTo>
                  <a:lnTo>
                    <a:pt x="423" y="267"/>
                  </a:lnTo>
                  <a:lnTo>
                    <a:pt x="423" y="271"/>
                  </a:lnTo>
                  <a:lnTo>
                    <a:pt x="427" y="271"/>
                  </a:lnTo>
                  <a:lnTo>
                    <a:pt x="427" y="267"/>
                  </a:lnTo>
                  <a:lnTo>
                    <a:pt x="431" y="267"/>
                  </a:lnTo>
                  <a:lnTo>
                    <a:pt x="431" y="271"/>
                  </a:lnTo>
                  <a:lnTo>
                    <a:pt x="435" y="271"/>
                  </a:lnTo>
                  <a:lnTo>
                    <a:pt x="439" y="271"/>
                  </a:lnTo>
                  <a:lnTo>
                    <a:pt x="435" y="271"/>
                  </a:lnTo>
                  <a:lnTo>
                    <a:pt x="431" y="267"/>
                  </a:lnTo>
                  <a:lnTo>
                    <a:pt x="427" y="267"/>
                  </a:lnTo>
                  <a:lnTo>
                    <a:pt x="427" y="263"/>
                  </a:lnTo>
                  <a:lnTo>
                    <a:pt x="427" y="259"/>
                  </a:lnTo>
                  <a:lnTo>
                    <a:pt x="431" y="259"/>
                  </a:lnTo>
                  <a:lnTo>
                    <a:pt x="435" y="259"/>
                  </a:lnTo>
                  <a:lnTo>
                    <a:pt x="439" y="255"/>
                  </a:lnTo>
                  <a:lnTo>
                    <a:pt x="435" y="255"/>
                  </a:lnTo>
                  <a:lnTo>
                    <a:pt x="431" y="255"/>
                  </a:lnTo>
                  <a:lnTo>
                    <a:pt x="431" y="259"/>
                  </a:lnTo>
                  <a:lnTo>
                    <a:pt x="427" y="259"/>
                  </a:lnTo>
                  <a:lnTo>
                    <a:pt x="427" y="263"/>
                  </a:lnTo>
                  <a:lnTo>
                    <a:pt x="423" y="263"/>
                  </a:lnTo>
                  <a:lnTo>
                    <a:pt x="419" y="263"/>
                  </a:lnTo>
                  <a:lnTo>
                    <a:pt x="415" y="263"/>
                  </a:lnTo>
                  <a:lnTo>
                    <a:pt x="411" y="263"/>
                  </a:lnTo>
                  <a:lnTo>
                    <a:pt x="407" y="267"/>
                  </a:lnTo>
                  <a:lnTo>
                    <a:pt x="403" y="267"/>
                  </a:lnTo>
                  <a:lnTo>
                    <a:pt x="399" y="271"/>
                  </a:lnTo>
                  <a:lnTo>
                    <a:pt x="399" y="275"/>
                  </a:lnTo>
                  <a:lnTo>
                    <a:pt x="395" y="275"/>
                  </a:lnTo>
                  <a:lnTo>
                    <a:pt x="395" y="279"/>
                  </a:lnTo>
                  <a:lnTo>
                    <a:pt x="391" y="279"/>
                  </a:lnTo>
                  <a:lnTo>
                    <a:pt x="391" y="283"/>
                  </a:lnTo>
                  <a:lnTo>
                    <a:pt x="391" y="287"/>
                  </a:lnTo>
                  <a:lnTo>
                    <a:pt x="387" y="287"/>
                  </a:lnTo>
                  <a:lnTo>
                    <a:pt x="383" y="287"/>
                  </a:lnTo>
                  <a:lnTo>
                    <a:pt x="379" y="287"/>
                  </a:lnTo>
                  <a:lnTo>
                    <a:pt x="383" y="287"/>
                  </a:lnTo>
                  <a:lnTo>
                    <a:pt x="387" y="291"/>
                  </a:lnTo>
                  <a:lnTo>
                    <a:pt x="383" y="295"/>
                  </a:lnTo>
                  <a:lnTo>
                    <a:pt x="379" y="295"/>
                  </a:lnTo>
                  <a:lnTo>
                    <a:pt x="375" y="299"/>
                  </a:lnTo>
                  <a:lnTo>
                    <a:pt x="379" y="295"/>
                  </a:lnTo>
                  <a:lnTo>
                    <a:pt x="379" y="299"/>
                  </a:lnTo>
                  <a:lnTo>
                    <a:pt x="379" y="303"/>
                  </a:lnTo>
                  <a:lnTo>
                    <a:pt x="375" y="303"/>
                  </a:lnTo>
                  <a:lnTo>
                    <a:pt x="375" y="299"/>
                  </a:lnTo>
                  <a:lnTo>
                    <a:pt x="375" y="303"/>
                  </a:lnTo>
                  <a:lnTo>
                    <a:pt x="371" y="303"/>
                  </a:lnTo>
                  <a:lnTo>
                    <a:pt x="367" y="303"/>
                  </a:lnTo>
                  <a:lnTo>
                    <a:pt x="371" y="307"/>
                  </a:lnTo>
                  <a:lnTo>
                    <a:pt x="367" y="307"/>
                  </a:lnTo>
                  <a:lnTo>
                    <a:pt x="363" y="307"/>
                  </a:lnTo>
                  <a:lnTo>
                    <a:pt x="367" y="307"/>
                  </a:lnTo>
                  <a:lnTo>
                    <a:pt x="363" y="311"/>
                  </a:lnTo>
                  <a:lnTo>
                    <a:pt x="363" y="315"/>
                  </a:lnTo>
                  <a:lnTo>
                    <a:pt x="367" y="315"/>
                  </a:lnTo>
                  <a:lnTo>
                    <a:pt x="371" y="315"/>
                  </a:lnTo>
                  <a:lnTo>
                    <a:pt x="371" y="319"/>
                  </a:lnTo>
                  <a:lnTo>
                    <a:pt x="375" y="319"/>
                  </a:lnTo>
                  <a:lnTo>
                    <a:pt x="375" y="323"/>
                  </a:lnTo>
                  <a:lnTo>
                    <a:pt x="371" y="327"/>
                  </a:lnTo>
                  <a:lnTo>
                    <a:pt x="367" y="327"/>
                  </a:lnTo>
                  <a:lnTo>
                    <a:pt x="367" y="331"/>
                  </a:lnTo>
                  <a:lnTo>
                    <a:pt x="363" y="331"/>
                  </a:lnTo>
                  <a:lnTo>
                    <a:pt x="367" y="331"/>
                  </a:lnTo>
                  <a:lnTo>
                    <a:pt x="363" y="331"/>
                  </a:lnTo>
                  <a:lnTo>
                    <a:pt x="359" y="335"/>
                  </a:lnTo>
                  <a:lnTo>
                    <a:pt x="363" y="335"/>
                  </a:lnTo>
                  <a:lnTo>
                    <a:pt x="363" y="339"/>
                  </a:lnTo>
                  <a:lnTo>
                    <a:pt x="359" y="339"/>
                  </a:lnTo>
                  <a:lnTo>
                    <a:pt x="355" y="339"/>
                  </a:lnTo>
                  <a:lnTo>
                    <a:pt x="355" y="343"/>
                  </a:lnTo>
                  <a:lnTo>
                    <a:pt x="351" y="339"/>
                  </a:lnTo>
                  <a:lnTo>
                    <a:pt x="351" y="343"/>
                  </a:lnTo>
                  <a:lnTo>
                    <a:pt x="347" y="343"/>
                  </a:lnTo>
                  <a:lnTo>
                    <a:pt x="347" y="347"/>
                  </a:lnTo>
                  <a:lnTo>
                    <a:pt x="343" y="347"/>
                  </a:lnTo>
                  <a:lnTo>
                    <a:pt x="339" y="347"/>
                  </a:lnTo>
                  <a:lnTo>
                    <a:pt x="339" y="351"/>
                  </a:lnTo>
                  <a:lnTo>
                    <a:pt x="335" y="351"/>
                  </a:lnTo>
                  <a:lnTo>
                    <a:pt x="335" y="355"/>
                  </a:lnTo>
                  <a:lnTo>
                    <a:pt x="331" y="355"/>
                  </a:lnTo>
                  <a:lnTo>
                    <a:pt x="327" y="359"/>
                  </a:lnTo>
                  <a:lnTo>
                    <a:pt x="331" y="359"/>
                  </a:lnTo>
                  <a:lnTo>
                    <a:pt x="331" y="363"/>
                  </a:lnTo>
                  <a:lnTo>
                    <a:pt x="327" y="363"/>
                  </a:lnTo>
                  <a:lnTo>
                    <a:pt x="327" y="367"/>
                  </a:lnTo>
                  <a:lnTo>
                    <a:pt x="323" y="367"/>
                  </a:lnTo>
                  <a:lnTo>
                    <a:pt x="319" y="367"/>
                  </a:lnTo>
                  <a:lnTo>
                    <a:pt x="319" y="371"/>
                  </a:lnTo>
                  <a:lnTo>
                    <a:pt x="315" y="371"/>
                  </a:lnTo>
                  <a:lnTo>
                    <a:pt x="315" y="367"/>
                  </a:lnTo>
                  <a:lnTo>
                    <a:pt x="311" y="367"/>
                  </a:lnTo>
                  <a:lnTo>
                    <a:pt x="311" y="371"/>
                  </a:lnTo>
                  <a:lnTo>
                    <a:pt x="311" y="375"/>
                  </a:lnTo>
                  <a:lnTo>
                    <a:pt x="307" y="371"/>
                  </a:lnTo>
                  <a:lnTo>
                    <a:pt x="307" y="375"/>
                  </a:lnTo>
                  <a:lnTo>
                    <a:pt x="303" y="375"/>
                  </a:lnTo>
                  <a:lnTo>
                    <a:pt x="307" y="375"/>
                  </a:lnTo>
                  <a:lnTo>
                    <a:pt x="307" y="379"/>
                  </a:lnTo>
                  <a:lnTo>
                    <a:pt x="303" y="379"/>
                  </a:lnTo>
                  <a:lnTo>
                    <a:pt x="303" y="375"/>
                  </a:lnTo>
                  <a:lnTo>
                    <a:pt x="303" y="379"/>
                  </a:lnTo>
                  <a:lnTo>
                    <a:pt x="299" y="379"/>
                  </a:lnTo>
                  <a:lnTo>
                    <a:pt x="296" y="379"/>
                  </a:lnTo>
                  <a:lnTo>
                    <a:pt x="296" y="383"/>
                  </a:lnTo>
                  <a:lnTo>
                    <a:pt x="299" y="379"/>
                  </a:lnTo>
                  <a:lnTo>
                    <a:pt x="299" y="383"/>
                  </a:lnTo>
                  <a:lnTo>
                    <a:pt x="303" y="383"/>
                  </a:lnTo>
                  <a:lnTo>
                    <a:pt x="299" y="383"/>
                  </a:lnTo>
                  <a:lnTo>
                    <a:pt x="303" y="383"/>
                  </a:lnTo>
                  <a:lnTo>
                    <a:pt x="299" y="387"/>
                  </a:lnTo>
                  <a:lnTo>
                    <a:pt x="299" y="383"/>
                  </a:lnTo>
                  <a:lnTo>
                    <a:pt x="299" y="387"/>
                  </a:lnTo>
                  <a:lnTo>
                    <a:pt x="296" y="387"/>
                  </a:lnTo>
                  <a:lnTo>
                    <a:pt x="299" y="383"/>
                  </a:lnTo>
                  <a:lnTo>
                    <a:pt x="296" y="383"/>
                  </a:lnTo>
                  <a:lnTo>
                    <a:pt x="296" y="387"/>
                  </a:lnTo>
                  <a:lnTo>
                    <a:pt x="296" y="391"/>
                  </a:lnTo>
                  <a:lnTo>
                    <a:pt x="296" y="387"/>
                  </a:lnTo>
                  <a:lnTo>
                    <a:pt x="292" y="387"/>
                  </a:lnTo>
                  <a:lnTo>
                    <a:pt x="292" y="391"/>
                  </a:lnTo>
                  <a:lnTo>
                    <a:pt x="288" y="391"/>
                  </a:lnTo>
                  <a:lnTo>
                    <a:pt x="284" y="391"/>
                  </a:lnTo>
                  <a:lnTo>
                    <a:pt x="284" y="395"/>
                  </a:lnTo>
                  <a:lnTo>
                    <a:pt x="280" y="395"/>
                  </a:lnTo>
                  <a:lnTo>
                    <a:pt x="280" y="399"/>
                  </a:lnTo>
                  <a:lnTo>
                    <a:pt x="280" y="395"/>
                  </a:lnTo>
                  <a:lnTo>
                    <a:pt x="280" y="391"/>
                  </a:lnTo>
                  <a:lnTo>
                    <a:pt x="276" y="391"/>
                  </a:lnTo>
                  <a:lnTo>
                    <a:pt x="276" y="395"/>
                  </a:lnTo>
                  <a:lnTo>
                    <a:pt x="272" y="395"/>
                  </a:lnTo>
                  <a:lnTo>
                    <a:pt x="272" y="399"/>
                  </a:lnTo>
                  <a:lnTo>
                    <a:pt x="268" y="399"/>
                  </a:lnTo>
                  <a:lnTo>
                    <a:pt x="264" y="399"/>
                  </a:lnTo>
                  <a:lnTo>
                    <a:pt x="264" y="403"/>
                  </a:lnTo>
                  <a:lnTo>
                    <a:pt x="264" y="399"/>
                  </a:lnTo>
                  <a:lnTo>
                    <a:pt x="260" y="399"/>
                  </a:lnTo>
                  <a:lnTo>
                    <a:pt x="260" y="403"/>
                  </a:lnTo>
                  <a:lnTo>
                    <a:pt x="256" y="403"/>
                  </a:lnTo>
                  <a:lnTo>
                    <a:pt x="252" y="403"/>
                  </a:lnTo>
                  <a:lnTo>
                    <a:pt x="252" y="399"/>
                  </a:lnTo>
                  <a:lnTo>
                    <a:pt x="256" y="399"/>
                  </a:lnTo>
                  <a:lnTo>
                    <a:pt x="252" y="399"/>
                  </a:lnTo>
                  <a:lnTo>
                    <a:pt x="248" y="399"/>
                  </a:lnTo>
                  <a:lnTo>
                    <a:pt x="248" y="403"/>
                  </a:lnTo>
                  <a:lnTo>
                    <a:pt x="248" y="407"/>
                  </a:lnTo>
                  <a:lnTo>
                    <a:pt x="244" y="407"/>
                  </a:lnTo>
                  <a:lnTo>
                    <a:pt x="244" y="411"/>
                  </a:lnTo>
                  <a:lnTo>
                    <a:pt x="244" y="407"/>
                  </a:lnTo>
                  <a:lnTo>
                    <a:pt x="240" y="411"/>
                  </a:lnTo>
                  <a:lnTo>
                    <a:pt x="236" y="411"/>
                  </a:lnTo>
                  <a:lnTo>
                    <a:pt x="236" y="407"/>
                  </a:lnTo>
                  <a:lnTo>
                    <a:pt x="236" y="411"/>
                  </a:lnTo>
                  <a:lnTo>
                    <a:pt x="232" y="415"/>
                  </a:lnTo>
                  <a:lnTo>
                    <a:pt x="232" y="411"/>
                  </a:lnTo>
                  <a:lnTo>
                    <a:pt x="228" y="411"/>
                  </a:lnTo>
                  <a:lnTo>
                    <a:pt x="228" y="407"/>
                  </a:lnTo>
                  <a:lnTo>
                    <a:pt x="228" y="411"/>
                  </a:lnTo>
                  <a:lnTo>
                    <a:pt x="228" y="415"/>
                  </a:lnTo>
                  <a:lnTo>
                    <a:pt x="224" y="415"/>
                  </a:lnTo>
                  <a:lnTo>
                    <a:pt x="224" y="411"/>
                  </a:lnTo>
                  <a:lnTo>
                    <a:pt x="224" y="407"/>
                  </a:lnTo>
                  <a:lnTo>
                    <a:pt x="228" y="407"/>
                  </a:lnTo>
                  <a:lnTo>
                    <a:pt x="232" y="407"/>
                  </a:lnTo>
                  <a:lnTo>
                    <a:pt x="232" y="403"/>
                  </a:lnTo>
                  <a:lnTo>
                    <a:pt x="236" y="403"/>
                  </a:lnTo>
                  <a:lnTo>
                    <a:pt x="236" y="399"/>
                  </a:lnTo>
                  <a:lnTo>
                    <a:pt x="240" y="399"/>
                  </a:lnTo>
                  <a:lnTo>
                    <a:pt x="240" y="395"/>
                  </a:lnTo>
                  <a:lnTo>
                    <a:pt x="244" y="395"/>
                  </a:lnTo>
                  <a:lnTo>
                    <a:pt x="248" y="391"/>
                  </a:lnTo>
                  <a:lnTo>
                    <a:pt x="256" y="391"/>
                  </a:lnTo>
                  <a:lnTo>
                    <a:pt x="260" y="391"/>
                  </a:lnTo>
                  <a:lnTo>
                    <a:pt x="264" y="395"/>
                  </a:lnTo>
                  <a:lnTo>
                    <a:pt x="264" y="391"/>
                  </a:lnTo>
                  <a:lnTo>
                    <a:pt x="268" y="391"/>
                  </a:lnTo>
                  <a:lnTo>
                    <a:pt x="268" y="395"/>
                  </a:lnTo>
                  <a:lnTo>
                    <a:pt x="272" y="395"/>
                  </a:lnTo>
                  <a:lnTo>
                    <a:pt x="272" y="391"/>
                  </a:lnTo>
                  <a:lnTo>
                    <a:pt x="268" y="391"/>
                  </a:lnTo>
                  <a:lnTo>
                    <a:pt x="268" y="387"/>
                  </a:lnTo>
                  <a:lnTo>
                    <a:pt x="268" y="383"/>
                  </a:lnTo>
                  <a:lnTo>
                    <a:pt x="272" y="383"/>
                  </a:lnTo>
                  <a:lnTo>
                    <a:pt x="272" y="379"/>
                  </a:lnTo>
                  <a:lnTo>
                    <a:pt x="276" y="379"/>
                  </a:lnTo>
                  <a:lnTo>
                    <a:pt x="276" y="375"/>
                  </a:lnTo>
                  <a:lnTo>
                    <a:pt x="280" y="375"/>
                  </a:lnTo>
                  <a:lnTo>
                    <a:pt x="284" y="375"/>
                  </a:lnTo>
                  <a:lnTo>
                    <a:pt x="288" y="371"/>
                  </a:lnTo>
                  <a:lnTo>
                    <a:pt x="292" y="371"/>
                  </a:lnTo>
                  <a:lnTo>
                    <a:pt x="296" y="371"/>
                  </a:lnTo>
                  <a:lnTo>
                    <a:pt x="296" y="367"/>
                  </a:lnTo>
                  <a:lnTo>
                    <a:pt x="296" y="363"/>
                  </a:lnTo>
                  <a:lnTo>
                    <a:pt x="299" y="359"/>
                  </a:lnTo>
                  <a:lnTo>
                    <a:pt x="303" y="355"/>
                  </a:lnTo>
                  <a:lnTo>
                    <a:pt x="307" y="355"/>
                  </a:lnTo>
                  <a:lnTo>
                    <a:pt x="307" y="351"/>
                  </a:lnTo>
                  <a:lnTo>
                    <a:pt x="311" y="351"/>
                  </a:lnTo>
                  <a:lnTo>
                    <a:pt x="311" y="355"/>
                  </a:lnTo>
                  <a:lnTo>
                    <a:pt x="315" y="355"/>
                  </a:lnTo>
                  <a:lnTo>
                    <a:pt x="315" y="351"/>
                  </a:lnTo>
                  <a:lnTo>
                    <a:pt x="311" y="355"/>
                  </a:lnTo>
                  <a:lnTo>
                    <a:pt x="311" y="351"/>
                  </a:lnTo>
                  <a:lnTo>
                    <a:pt x="311" y="347"/>
                  </a:lnTo>
                  <a:lnTo>
                    <a:pt x="311" y="343"/>
                  </a:lnTo>
                  <a:lnTo>
                    <a:pt x="311" y="339"/>
                  </a:lnTo>
                  <a:lnTo>
                    <a:pt x="315" y="335"/>
                  </a:lnTo>
                  <a:lnTo>
                    <a:pt x="319" y="335"/>
                  </a:lnTo>
                  <a:lnTo>
                    <a:pt x="319" y="339"/>
                  </a:lnTo>
                  <a:lnTo>
                    <a:pt x="319" y="335"/>
                  </a:lnTo>
                  <a:lnTo>
                    <a:pt x="315" y="335"/>
                  </a:lnTo>
                  <a:lnTo>
                    <a:pt x="311" y="335"/>
                  </a:lnTo>
                  <a:lnTo>
                    <a:pt x="311" y="331"/>
                  </a:lnTo>
                  <a:lnTo>
                    <a:pt x="315" y="327"/>
                  </a:lnTo>
                  <a:lnTo>
                    <a:pt x="319" y="323"/>
                  </a:lnTo>
                  <a:lnTo>
                    <a:pt x="319" y="319"/>
                  </a:lnTo>
                  <a:lnTo>
                    <a:pt x="323" y="319"/>
                  </a:lnTo>
                  <a:lnTo>
                    <a:pt x="323" y="315"/>
                  </a:lnTo>
                  <a:lnTo>
                    <a:pt x="319" y="319"/>
                  </a:lnTo>
                  <a:lnTo>
                    <a:pt x="315" y="319"/>
                  </a:lnTo>
                  <a:lnTo>
                    <a:pt x="315" y="323"/>
                  </a:lnTo>
                  <a:lnTo>
                    <a:pt x="311" y="323"/>
                  </a:lnTo>
                  <a:lnTo>
                    <a:pt x="307" y="323"/>
                  </a:lnTo>
                  <a:lnTo>
                    <a:pt x="303" y="327"/>
                  </a:lnTo>
                  <a:lnTo>
                    <a:pt x="299" y="327"/>
                  </a:lnTo>
                  <a:lnTo>
                    <a:pt x="299" y="323"/>
                  </a:lnTo>
                  <a:lnTo>
                    <a:pt x="296" y="323"/>
                  </a:lnTo>
                  <a:lnTo>
                    <a:pt x="296" y="319"/>
                  </a:lnTo>
                  <a:lnTo>
                    <a:pt x="299" y="319"/>
                  </a:lnTo>
                  <a:lnTo>
                    <a:pt x="299" y="315"/>
                  </a:lnTo>
                  <a:lnTo>
                    <a:pt x="303" y="315"/>
                  </a:lnTo>
                  <a:lnTo>
                    <a:pt x="303" y="319"/>
                  </a:lnTo>
                  <a:lnTo>
                    <a:pt x="303" y="315"/>
                  </a:lnTo>
                  <a:lnTo>
                    <a:pt x="299" y="315"/>
                  </a:lnTo>
                  <a:lnTo>
                    <a:pt x="296" y="311"/>
                  </a:lnTo>
                  <a:lnTo>
                    <a:pt x="296" y="315"/>
                  </a:lnTo>
                  <a:lnTo>
                    <a:pt x="299" y="315"/>
                  </a:lnTo>
                  <a:lnTo>
                    <a:pt x="296" y="319"/>
                  </a:lnTo>
                  <a:lnTo>
                    <a:pt x="292" y="319"/>
                  </a:lnTo>
                  <a:lnTo>
                    <a:pt x="292" y="323"/>
                  </a:lnTo>
                  <a:lnTo>
                    <a:pt x="296" y="331"/>
                  </a:lnTo>
                  <a:lnTo>
                    <a:pt x="292" y="331"/>
                  </a:lnTo>
                  <a:lnTo>
                    <a:pt x="288" y="331"/>
                  </a:lnTo>
                  <a:lnTo>
                    <a:pt x="288" y="327"/>
                  </a:lnTo>
                  <a:lnTo>
                    <a:pt x="284" y="323"/>
                  </a:lnTo>
                  <a:lnTo>
                    <a:pt x="280" y="319"/>
                  </a:lnTo>
                  <a:lnTo>
                    <a:pt x="280" y="323"/>
                  </a:lnTo>
                  <a:lnTo>
                    <a:pt x="276" y="323"/>
                  </a:lnTo>
                  <a:lnTo>
                    <a:pt x="276" y="319"/>
                  </a:lnTo>
                  <a:lnTo>
                    <a:pt x="272" y="319"/>
                  </a:lnTo>
                  <a:lnTo>
                    <a:pt x="272" y="315"/>
                  </a:lnTo>
                  <a:lnTo>
                    <a:pt x="268" y="315"/>
                  </a:lnTo>
                  <a:lnTo>
                    <a:pt x="264" y="319"/>
                  </a:lnTo>
                  <a:lnTo>
                    <a:pt x="260" y="319"/>
                  </a:lnTo>
                  <a:lnTo>
                    <a:pt x="260" y="323"/>
                  </a:lnTo>
                  <a:lnTo>
                    <a:pt x="256" y="323"/>
                  </a:lnTo>
                  <a:lnTo>
                    <a:pt x="256" y="327"/>
                  </a:lnTo>
                  <a:lnTo>
                    <a:pt x="252" y="327"/>
                  </a:lnTo>
                  <a:lnTo>
                    <a:pt x="248" y="327"/>
                  </a:lnTo>
                  <a:lnTo>
                    <a:pt x="244" y="327"/>
                  </a:lnTo>
                  <a:lnTo>
                    <a:pt x="244" y="323"/>
                  </a:lnTo>
                  <a:lnTo>
                    <a:pt x="244" y="327"/>
                  </a:lnTo>
                  <a:lnTo>
                    <a:pt x="248" y="327"/>
                  </a:lnTo>
                  <a:lnTo>
                    <a:pt x="248" y="323"/>
                  </a:lnTo>
                  <a:lnTo>
                    <a:pt x="252" y="323"/>
                  </a:lnTo>
                  <a:lnTo>
                    <a:pt x="248" y="323"/>
                  </a:lnTo>
                  <a:lnTo>
                    <a:pt x="248" y="319"/>
                  </a:lnTo>
                  <a:lnTo>
                    <a:pt x="248" y="315"/>
                  </a:lnTo>
                  <a:lnTo>
                    <a:pt x="252" y="315"/>
                  </a:lnTo>
                  <a:lnTo>
                    <a:pt x="248" y="315"/>
                  </a:lnTo>
                  <a:lnTo>
                    <a:pt x="244" y="315"/>
                  </a:lnTo>
                  <a:lnTo>
                    <a:pt x="244" y="311"/>
                  </a:lnTo>
                  <a:lnTo>
                    <a:pt x="244" y="307"/>
                  </a:lnTo>
                  <a:lnTo>
                    <a:pt x="248" y="307"/>
                  </a:lnTo>
                  <a:lnTo>
                    <a:pt x="248" y="303"/>
                  </a:lnTo>
                  <a:lnTo>
                    <a:pt x="248" y="299"/>
                  </a:lnTo>
                  <a:lnTo>
                    <a:pt x="244" y="299"/>
                  </a:lnTo>
                  <a:lnTo>
                    <a:pt x="244" y="295"/>
                  </a:lnTo>
                  <a:lnTo>
                    <a:pt x="240" y="291"/>
                  </a:lnTo>
                  <a:lnTo>
                    <a:pt x="244" y="287"/>
                  </a:lnTo>
                  <a:lnTo>
                    <a:pt x="240" y="287"/>
                  </a:lnTo>
                  <a:lnTo>
                    <a:pt x="240" y="291"/>
                  </a:lnTo>
                  <a:lnTo>
                    <a:pt x="240" y="287"/>
                  </a:lnTo>
                  <a:lnTo>
                    <a:pt x="240" y="283"/>
                  </a:lnTo>
                  <a:lnTo>
                    <a:pt x="240" y="279"/>
                  </a:lnTo>
                  <a:lnTo>
                    <a:pt x="244" y="279"/>
                  </a:lnTo>
                  <a:lnTo>
                    <a:pt x="244" y="275"/>
                  </a:lnTo>
                  <a:lnTo>
                    <a:pt x="244" y="279"/>
                  </a:lnTo>
                  <a:lnTo>
                    <a:pt x="244" y="275"/>
                  </a:lnTo>
                  <a:lnTo>
                    <a:pt x="248" y="275"/>
                  </a:lnTo>
                  <a:lnTo>
                    <a:pt x="244" y="275"/>
                  </a:lnTo>
                  <a:lnTo>
                    <a:pt x="240" y="279"/>
                  </a:lnTo>
                  <a:lnTo>
                    <a:pt x="240" y="283"/>
                  </a:lnTo>
                  <a:lnTo>
                    <a:pt x="236" y="283"/>
                  </a:lnTo>
                  <a:lnTo>
                    <a:pt x="236" y="287"/>
                  </a:lnTo>
                  <a:lnTo>
                    <a:pt x="240" y="287"/>
                  </a:lnTo>
                  <a:lnTo>
                    <a:pt x="236" y="291"/>
                  </a:lnTo>
                  <a:lnTo>
                    <a:pt x="236" y="295"/>
                  </a:lnTo>
                  <a:lnTo>
                    <a:pt x="232" y="295"/>
                  </a:lnTo>
                  <a:lnTo>
                    <a:pt x="228" y="295"/>
                  </a:lnTo>
                  <a:lnTo>
                    <a:pt x="224" y="299"/>
                  </a:lnTo>
                  <a:lnTo>
                    <a:pt x="220" y="299"/>
                  </a:lnTo>
                  <a:lnTo>
                    <a:pt x="216" y="299"/>
                  </a:lnTo>
                  <a:lnTo>
                    <a:pt x="212" y="299"/>
                  </a:lnTo>
                  <a:lnTo>
                    <a:pt x="212" y="295"/>
                  </a:lnTo>
                  <a:lnTo>
                    <a:pt x="212" y="291"/>
                  </a:lnTo>
                  <a:lnTo>
                    <a:pt x="208" y="291"/>
                  </a:lnTo>
                  <a:lnTo>
                    <a:pt x="208" y="287"/>
                  </a:lnTo>
                  <a:lnTo>
                    <a:pt x="204" y="287"/>
                  </a:lnTo>
                  <a:lnTo>
                    <a:pt x="200" y="283"/>
                  </a:lnTo>
                  <a:lnTo>
                    <a:pt x="196" y="283"/>
                  </a:lnTo>
                  <a:lnTo>
                    <a:pt x="200" y="283"/>
                  </a:lnTo>
                  <a:lnTo>
                    <a:pt x="200" y="279"/>
                  </a:lnTo>
                  <a:lnTo>
                    <a:pt x="196" y="279"/>
                  </a:lnTo>
                  <a:lnTo>
                    <a:pt x="192" y="279"/>
                  </a:lnTo>
                  <a:lnTo>
                    <a:pt x="196" y="279"/>
                  </a:lnTo>
                  <a:lnTo>
                    <a:pt x="200" y="275"/>
                  </a:lnTo>
                  <a:lnTo>
                    <a:pt x="200" y="271"/>
                  </a:lnTo>
                  <a:lnTo>
                    <a:pt x="204" y="271"/>
                  </a:lnTo>
                  <a:lnTo>
                    <a:pt x="208" y="275"/>
                  </a:lnTo>
                  <a:lnTo>
                    <a:pt x="212" y="275"/>
                  </a:lnTo>
                  <a:lnTo>
                    <a:pt x="208" y="275"/>
                  </a:lnTo>
                  <a:lnTo>
                    <a:pt x="208" y="279"/>
                  </a:lnTo>
                  <a:lnTo>
                    <a:pt x="212" y="275"/>
                  </a:lnTo>
                  <a:lnTo>
                    <a:pt x="216" y="275"/>
                  </a:lnTo>
                  <a:lnTo>
                    <a:pt x="216" y="279"/>
                  </a:lnTo>
                  <a:lnTo>
                    <a:pt x="220" y="279"/>
                  </a:lnTo>
                  <a:lnTo>
                    <a:pt x="224" y="275"/>
                  </a:lnTo>
                  <a:lnTo>
                    <a:pt x="220" y="275"/>
                  </a:lnTo>
                  <a:lnTo>
                    <a:pt x="220" y="271"/>
                  </a:lnTo>
                  <a:lnTo>
                    <a:pt x="216" y="271"/>
                  </a:lnTo>
                  <a:lnTo>
                    <a:pt x="220" y="271"/>
                  </a:lnTo>
                  <a:lnTo>
                    <a:pt x="220" y="267"/>
                  </a:lnTo>
                  <a:lnTo>
                    <a:pt x="216" y="271"/>
                  </a:lnTo>
                  <a:lnTo>
                    <a:pt x="212" y="271"/>
                  </a:lnTo>
                  <a:lnTo>
                    <a:pt x="208" y="271"/>
                  </a:lnTo>
                  <a:lnTo>
                    <a:pt x="204" y="271"/>
                  </a:lnTo>
                  <a:lnTo>
                    <a:pt x="200" y="271"/>
                  </a:lnTo>
                  <a:lnTo>
                    <a:pt x="196" y="271"/>
                  </a:lnTo>
                  <a:lnTo>
                    <a:pt x="196" y="267"/>
                  </a:lnTo>
                  <a:lnTo>
                    <a:pt x="200" y="267"/>
                  </a:lnTo>
                  <a:lnTo>
                    <a:pt x="204" y="267"/>
                  </a:lnTo>
                  <a:lnTo>
                    <a:pt x="200" y="267"/>
                  </a:lnTo>
                  <a:lnTo>
                    <a:pt x="196" y="267"/>
                  </a:lnTo>
                  <a:lnTo>
                    <a:pt x="196" y="263"/>
                  </a:lnTo>
                  <a:lnTo>
                    <a:pt x="192" y="263"/>
                  </a:lnTo>
                  <a:lnTo>
                    <a:pt x="196" y="263"/>
                  </a:lnTo>
                  <a:lnTo>
                    <a:pt x="196" y="259"/>
                  </a:lnTo>
                  <a:lnTo>
                    <a:pt x="200" y="259"/>
                  </a:lnTo>
                  <a:lnTo>
                    <a:pt x="200" y="255"/>
                  </a:lnTo>
                  <a:lnTo>
                    <a:pt x="204" y="255"/>
                  </a:lnTo>
                  <a:lnTo>
                    <a:pt x="204" y="251"/>
                  </a:lnTo>
                  <a:lnTo>
                    <a:pt x="204" y="255"/>
                  </a:lnTo>
                  <a:lnTo>
                    <a:pt x="200" y="255"/>
                  </a:lnTo>
                  <a:lnTo>
                    <a:pt x="200" y="259"/>
                  </a:lnTo>
                  <a:lnTo>
                    <a:pt x="196" y="259"/>
                  </a:lnTo>
                  <a:lnTo>
                    <a:pt x="196" y="263"/>
                  </a:lnTo>
                  <a:lnTo>
                    <a:pt x="192" y="263"/>
                  </a:lnTo>
                  <a:lnTo>
                    <a:pt x="196" y="263"/>
                  </a:lnTo>
                  <a:lnTo>
                    <a:pt x="192" y="267"/>
                  </a:lnTo>
                  <a:lnTo>
                    <a:pt x="188" y="263"/>
                  </a:lnTo>
                  <a:lnTo>
                    <a:pt x="192" y="263"/>
                  </a:lnTo>
                  <a:lnTo>
                    <a:pt x="188" y="259"/>
                  </a:lnTo>
                  <a:lnTo>
                    <a:pt x="184" y="259"/>
                  </a:lnTo>
                  <a:lnTo>
                    <a:pt x="188" y="259"/>
                  </a:lnTo>
                  <a:lnTo>
                    <a:pt x="188" y="255"/>
                  </a:lnTo>
                  <a:lnTo>
                    <a:pt x="184" y="255"/>
                  </a:lnTo>
                  <a:lnTo>
                    <a:pt x="180" y="255"/>
                  </a:lnTo>
                  <a:lnTo>
                    <a:pt x="180" y="251"/>
                  </a:lnTo>
                  <a:lnTo>
                    <a:pt x="184" y="251"/>
                  </a:lnTo>
                  <a:lnTo>
                    <a:pt x="188" y="251"/>
                  </a:lnTo>
                  <a:lnTo>
                    <a:pt x="184" y="251"/>
                  </a:lnTo>
                  <a:lnTo>
                    <a:pt x="184" y="248"/>
                  </a:lnTo>
                  <a:lnTo>
                    <a:pt x="188" y="248"/>
                  </a:lnTo>
                  <a:lnTo>
                    <a:pt x="188" y="244"/>
                  </a:lnTo>
                  <a:lnTo>
                    <a:pt x="188" y="240"/>
                  </a:lnTo>
                  <a:lnTo>
                    <a:pt x="192" y="240"/>
                  </a:lnTo>
                  <a:lnTo>
                    <a:pt x="192" y="236"/>
                  </a:lnTo>
                  <a:lnTo>
                    <a:pt x="196" y="236"/>
                  </a:lnTo>
                  <a:lnTo>
                    <a:pt x="196" y="232"/>
                  </a:lnTo>
                  <a:lnTo>
                    <a:pt x="200" y="232"/>
                  </a:lnTo>
                  <a:lnTo>
                    <a:pt x="204" y="232"/>
                  </a:lnTo>
                  <a:lnTo>
                    <a:pt x="204" y="236"/>
                  </a:lnTo>
                  <a:lnTo>
                    <a:pt x="204" y="232"/>
                  </a:lnTo>
                  <a:lnTo>
                    <a:pt x="200" y="232"/>
                  </a:lnTo>
                  <a:lnTo>
                    <a:pt x="204" y="228"/>
                  </a:lnTo>
                  <a:lnTo>
                    <a:pt x="208" y="224"/>
                  </a:lnTo>
                  <a:lnTo>
                    <a:pt x="204" y="228"/>
                  </a:lnTo>
                  <a:lnTo>
                    <a:pt x="200" y="224"/>
                  </a:lnTo>
                  <a:lnTo>
                    <a:pt x="204" y="220"/>
                  </a:lnTo>
                  <a:lnTo>
                    <a:pt x="208" y="220"/>
                  </a:lnTo>
                  <a:lnTo>
                    <a:pt x="208" y="216"/>
                  </a:lnTo>
                  <a:lnTo>
                    <a:pt x="204" y="216"/>
                  </a:lnTo>
                  <a:lnTo>
                    <a:pt x="208" y="212"/>
                  </a:lnTo>
                  <a:lnTo>
                    <a:pt x="212" y="212"/>
                  </a:lnTo>
                  <a:lnTo>
                    <a:pt x="216" y="212"/>
                  </a:lnTo>
                  <a:lnTo>
                    <a:pt x="220" y="212"/>
                  </a:lnTo>
                  <a:lnTo>
                    <a:pt x="220" y="216"/>
                  </a:lnTo>
                  <a:lnTo>
                    <a:pt x="224" y="216"/>
                  </a:lnTo>
                  <a:lnTo>
                    <a:pt x="224" y="220"/>
                  </a:lnTo>
                  <a:lnTo>
                    <a:pt x="228" y="220"/>
                  </a:lnTo>
                  <a:lnTo>
                    <a:pt x="228" y="216"/>
                  </a:lnTo>
                  <a:lnTo>
                    <a:pt x="232" y="216"/>
                  </a:lnTo>
                  <a:lnTo>
                    <a:pt x="236" y="212"/>
                  </a:lnTo>
                  <a:lnTo>
                    <a:pt x="240" y="208"/>
                  </a:lnTo>
                  <a:lnTo>
                    <a:pt x="240" y="204"/>
                  </a:lnTo>
                  <a:lnTo>
                    <a:pt x="244" y="208"/>
                  </a:lnTo>
                  <a:lnTo>
                    <a:pt x="248" y="208"/>
                  </a:lnTo>
                  <a:lnTo>
                    <a:pt x="252" y="208"/>
                  </a:lnTo>
                  <a:lnTo>
                    <a:pt x="256" y="208"/>
                  </a:lnTo>
                  <a:lnTo>
                    <a:pt x="264" y="200"/>
                  </a:lnTo>
                  <a:lnTo>
                    <a:pt x="264" y="196"/>
                  </a:lnTo>
                  <a:lnTo>
                    <a:pt x="260" y="192"/>
                  </a:lnTo>
                  <a:lnTo>
                    <a:pt x="260" y="188"/>
                  </a:lnTo>
                  <a:lnTo>
                    <a:pt x="256" y="184"/>
                  </a:lnTo>
                  <a:lnTo>
                    <a:pt x="252" y="184"/>
                  </a:lnTo>
                  <a:lnTo>
                    <a:pt x="252" y="180"/>
                  </a:lnTo>
                  <a:lnTo>
                    <a:pt x="256" y="180"/>
                  </a:lnTo>
                  <a:lnTo>
                    <a:pt x="260" y="180"/>
                  </a:lnTo>
                  <a:lnTo>
                    <a:pt x="264" y="176"/>
                  </a:lnTo>
                  <a:lnTo>
                    <a:pt x="264" y="172"/>
                  </a:lnTo>
                  <a:lnTo>
                    <a:pt x="260" y="172"/>
                  </a:lnTo>
                  <a:lnTo>
                    <a:pt x="256" y="172"/>
                  </a:lnTo>
                  <a:lnTo>
                    <a:pt x="260" y="172"/>
                  </a:lnTo>
                  <a:lnTo>
                    <a:pt x="260" y="168"/>
                  </a:lnTo>
                  <a:lnTo>
                    <a:pt x="256" y="168"/>
                  </a:lnTo>
                  <a:lnTo>
                    <a:pt x="256" y="172"/>
                  </a:lnTo>
                  <a:lnTo>
                    <a:pt x="252" y="176"/>
                  </a:lnTo>
                  <a:lnTo>
                    <a:pt x="252" y="172"/>
                  </a:lnTo>
                  <a:lnTo>
                    <a:pt x="248" y="172"/>
                  </a:lnTo>
                  <a:lnTo>
                    <a:pt x="248" y="176"/>
                  </a:lnTo>
                  <a:lnTo>
                    <a:pt x="244" y="176"/>
                  </a:lnTo>
                  <a:lnTo>
                    <a:pt x="248" y="176"/>
                  </a:lnTo>
                  <a:lnTo>
                    <a:pt x="244" y="176"/>
                  </a:lnTo>
                  <a:lnTo>
                    <a:pt x="240" y="176"/>
                  </a:lnTo>
                  <a:lnTo>
                    <a:pt x="240" y="180"/>
                  </a:lnTo>
                  <a:lnTo>
                    <a:pt x="236" y="180"/>
                  </a:lnTo>
                  <a:lnTo>
                    <a:pt x="236" y="184"/>
                  </a:lnTo>
                  <a:lnTo>
                    <a:pt x="232" y="184"/>
                  </a:lnTo>
                  <a:lnTo>
                    <a:pt x="232" y="180"/>
                  </a:lnTo>
                  <a:lnTo>
                    <a:pt x="228" y="176"/>
                  </a:lnTo>
                  <a:lnTo>
                    <a:pt x="224" y="176"/>
                  </a:lnTo>
                  <a:lnTo>
                    <a:pt x="224" y="180"/>
                  </a:lnTo>
                  <a:lnTo>
                    <a:pt x="228" y="180"/>
                  </a:lnTo>
                  <a:lnTo>
                    <a:pt x="228" y="184"/>
                  </a:lnTo>
                  <a:lnTo>
                    <a:pt x="224" y="184"/>
                  </a:lnTo>
                  <a:lnTo>
                    <a:pt x="224" y="180"/>
                  </a:lnTo>
                  <a:lnTo>
                    <a:pt x="220" y="180"/>
                  </a:lnTo>
                  <a:lnTo>
                    <a:pt x="216" y="180"/>
                  </a:lnTo>
                  <a:lnTo>
                    <a:pt x="212" y="180"/>
                  </a:lnTo>
                  <a:lnTo>
                    <a:pt x="208" y="180"/>
                  </a:lnTo>
                  <a:lnTo>
                    <a:pt x="204" y="180"/>
                  </a:lnTo>
                  <a:lnTo>
                    <a:pt x="200" y="180"/>
                  </a:lnTo>
                  <a:lnTo>
                    <a:pt x="200" y="184"/>
                  </a:lnTo>
                  <a:lnTo>
                    <a:pt x="204" y="184"/>
                  </a:lnTo>
                  <a:lnTo>
                    <a:pt x="204" y="180"/>
                  </a:lnTo>
                  <a:lnTo>
                    <a:pt x="204" y="184"/>
                  </a:lnTo>
                  <a:lnTo>
                    <a:pt x="200" y="184"/>
                  </a:lnTo>
                  <a:lnTo>
                    <a:pt x="196" y="184"/>
                  </a:lnTo>
                  <a:lnTo>
                    <a:pt x="196" y="180"/>
                  </a:lnTo>
                  <a:lnTo>
                    <a:pt x="192" y="180"/>
                  </a:lnTo>
                  <a:lnTo>
                    <a:pt x="188" y="180"/>
                  </a:lnTo>
                  <a:lnTo>
                    <a:pt x="184" y="180"/>
                  </a:lnTo>
                  <a:lnTo>
                    <a:pt x="180" y="180"/>
                  </a:lnTo>
                  <a:lnTo>
                    <a:pt x="180" y="176"/>
                  </a:lnTo>
                  <a:lnTo>
                    <a:pt x="176" y="176"/>
                  </a:lnTo>
                  <a:lnTo>
                    <a:pt x="176" y="172"/>
                  </a:lnTo>
                  <a:lnTo>
                    <a:pt x="180" y="172"/>
                  </a:lnTo>
                  <a:lnTo>
                    <a:pt x="176" y="172"/>
                  </a:lnTo>
                  <a:lnTo>
                    <a:pt x="176" y="168"/>
                  </a:lnTo>
                  <a:lnTo>
                    <a:pt x="172" y="168"/>
                  </a:lnTo>
                  <a:lnTo>
                    <a:pt x="172" y="164"/>
                  </a:lnTo>
                  <a:lnTo>
                    <a:pt x="168" y="164"/>
                  </a:lnTo>
                  <a:lnTo>
                    <a:pt x="172" y="164"/>
                  </a:lnTo>
                  <a:lnTo>
                    <a:pt x="172" y="160"/>
                  </a:lnTo>
                  <a:lnTo>
                    <a:pt x="172" y="164"/>
                  </a:lnTo>
                  <a:lnTo>
                    <a:pt x="176" y="164"/>
                  </a:lnTo>
                  <a:lnTo>
                    <a:pt x="180" y="160"/>
                  </a:lnTo>
                  <a:lnTo>
                    <a:pt x="180" y="164"/>
                  </a:lnTo>
                  <a:lnTo>
                    <a:pt x="184" y="164"/>
                  </a:lnTo>
                  <a:lnTo>
                    <a:pt x="184" y="160"/>
                  </a:lnTo>
                  <a:lnTo>
                    <a:pt x="180" y="160"/>
                  </a:lnTo>
                  <a:lnTo>
                    <a:pt x="176" y="160"/>
                  </a:lnTo>
                  <a:lnTo>
                    <a:pt x="172" y="160"/>
                  </a:lnTo>
                  <a:lnTo>
                    <a:pt x="168" y="160"/>
                  </a:lnTo>
                  <a:lnTo>
                    <a:pt x="164" y="156"/>
                  </a:lnTo>
                  <a:lnTo>
                    <a:pt x="160" y="156"/>
                  </a:lnTo>
                  <a:lnTo>
                    <a:pt x="156" y="156"/>
                  </a:lnTo>
                  <a:lnTo>
                    <a:pt x="156" y="152"/>
                  </a:lnTo>
                  <a:lnTo>
                    <a:pt x="152" y="152"/>
                  </a:lnTo>
                  <a:lnTo>
                    <a:pt x="152" y="148"/>
                  </a:lnTo>
                  <a:lnTo>
                    <a:pt x="156" y="148"/>
                  </a:lnTo>
                  <a:lnTo>
                    <a:pt x="156" y="152"/>
                  </a:lnTo>
                  <a:lnTo>
                    <a:pt x="152" y="152"/>
                  </a:lnTo>
                  <a:lnTo>
                    <a:pt x="156" y="152"/>
                  </a:lnTo>
                  <a:lnTo>
                    <a:pt x="160" y="148"/>
                  </a:lnTo>
                  <a:lnTo>
                    <a:pt x="164" y="148"/>
                  </a:lnTo>
                  <a:lnTo>
                    <a:pt x="164" y="144"/>
                  </a:lnTo>
                  <a:lnTo>
                    <a:pt x="168" y="148"/>
                  </a:lnTo>
                  <a:lnTo>
                    <a:pt x="168" y="144"/>
                  </a:lnTo>
                  <a:lnTo>
                    <a:pt x="172" y="144"/>
                  </a:lnTo>
                  <a:lnTo>
                    <a:pt x="168" y="144"/>
                  </a:lnTo>
                  <a:lnTo>
                    <a:pt x="172" y="144"/>
                  </a:lnTo>
                  <a:lnTo>
                    <a:pt x="172" y="140"/>
                  </a:lnTo>
                  <a:lnTo>
                    <a:pt x="176" y="140"/>
                  </a:lnTo>
                  <a:lnTo>
                    <a:pt x="180" y="136"/>
                  </a:lnTo>
                  <a:lnTo>
                    <a:pt x="184" y="140"/>
                  </a:lnTo>
                  <a:lnTo>
                    <a:pt x="188" y="140"/>
                  </a:lnTo>
                  <a:lnTo>
                    <a:pt x="192" y="140"/>
                  </a:lnTo>
                  <a:lnTo>
                    <a:pt x="188" y="136"/>
                  </a:lnTo>
                  <a:lnTo>
                    <a:pt x="184" y="136"/>
                  </a:lnTo>
                  <a:lnTo>
                    <a:pt x="188" y="136"/>
                  </a:lnTo>
                  <a:lnTo>
                    <a:pt x="188" y="132"/>
                  </a:lnTo>
                  <a:lnTo>
                    <a:pt x="192" y="132"/>
                  </a:lnTo>
                  <a:lnTo>
                    <a:pt x="196" y="132"/>
                  </a:lnTo>
                  <a:lnTo>
                    <a:pt x="200" y="132"/>
                  </a:lnTo>
                  <a:lnTo>
                    <a:pt x="204" y="128"/>
                  </a:lnTo>
                  <a:lnTo>
                    <a:pt x="208" y="128"/>
                  </a:lnTo>
                  <a:lnTo>
                    <a:pt x="212" y="128"/>
                  </a:lnTo>
                  <a:lnTo>
                    <a:pt x="216" y="128"/>
                  </a:lnTo>
                  <a:lnTo>
                    <a:pt x="220" y="128"/>
                  </a:lnTo>
                  <a:lnTo>
                    <a:pt x="216" y="128"/>
                  </a:lnTo>
                  <a:lnTo>
                    <a:pt x="220" y="128"/>
                  </a:lnTo>
                  <a:lnTo>
                    <a:pt x="216" y="132"/>
                  </a:lnTo>
                  <a:lnTo>
                    <a:pt x="216" y="136"/>
                  </a:lnTo>
                  <a:lnTo>
                    <a:pt x="212" y="136"/>
                  </a:lnTo>
                  <a:lnTo>
                    <a:pt x="216" y="136"/>
                  </a:lnTo>
                  <a:lnTo>
                    <a:pt x="216" y="140"/>
                  </a:lnTo>
                  <a:lnTo>
                    <a:pt x="220" y="140"/>
                  </a:lnTo>
                  <a:lnTo>
                    <a:pt x="224" y="140"/>
                  </a:lnTo>
                  <a:lnTo>
                    <a:pt x="228" y="140"/>
                  </a:lnTo>
                  <a:lnTo>
                    <a:pt x="232" y="140"/>
                  </a:lnTo>
                  <a:lnTo>
                    <a:pt x="236" y="140"/>
                  </a:lnTo>
                  <a:lnTo>
                    <a:pt x="240" y="140"/>
                  </a:lnTo>
                  <a:lnTo>
                    <a:pt x="244" y="140"/>
                  </a:lnTo>
                  <a:lnTo>
                    <a:pt x="248" y="144"/>
                  </a:lnTo>
                  <a:lnTo>
                    <a:pt x="248" y="140"/>
                  </a:lnTo>
                  <a:lnTo>
                    <a:pt x="252" y="140"/>
                  </a:lnTo>
                  <a:lnTo>
                    <a:pt x="252" y="136"/>
                  </a:lnTo>
                  <a:lnTo>
                    <a:pt x="256" y="136"/>
                  </a:lnTo>
                  <a:lnTo>
                    <a:pt x="260" y="136"/>
                  </a:lnTo>
                  <a:lnTo>
                    <a:pt x="260" y="140"/>
                  </a:lnTo>
                  <a:lnTo>
                    <a:pt x="256" y="140"/>
                  </a:lnTo>
                  <a:lnTo>
                    <a:pt x="260" y="140"/>
                  </a:lnTo>
                  <a:lnTo>
                    <a:pt x="260" y="136"/>
                  </a:lnTo>
                  <a:lnTo>
                    <a:pt x="260" y="132"/>
                  </a:lnTo>
                  <a:lnTo>
                    <a:pt x="256" y="132"/>
                  </a:lnTo>
                  <a:lnTo>
                    <a:pt x="252" y="132"/>
                  </a:lnTo>
                  <a:lnTo>
                    <a:pt x="248" y="132"/>
                  </a:lnTo>
                  <a:lnTo>
                    <a:pt x="248" y="136"/>
                  </a:lnTo>
                  <a:lnTo>
                    <a:pt x="244" y="132"/>
                  </a:lnTo>
                  <a:lnTo>
                    <a:pt x="248" y="132"/>
                  </a:lnTo>
                  <a:lnTo>
                    <a:pt x="248" y="128"/>
                  </a:lnTo>
                  <a:lnTo>
                    <a:pt x="244" y="124"/>
                  </a:lnTo>
                  <a:lnTo>
                    <a:pt x="240" y="124"/>
                  </a:lnTo>
                  <a:lnTo>
                    <a:pt x="236" y="124"/>
                  </a:lnTo>
                  <a:lnTo>
                    <a:pt x="236" y="120"/>
                  </a:lnTo>
                  <a:lnTo>
                    <a:pt x="240" y="116"/>
                  </a:lnTo>
                  <a:lnTo>
                    <a:pt x="244" y="120"/>
                  </a:lnTo>
                  <a:lnTo>
                    <a:pt x="244" y="124"/>
                  </a:lnTo>
                  <a:lnTo>
                    <a:pt x="248" y="128"/>
                  </a:lnTo>
                  <a:lnTo>
                    <a:pt x="252" y="132"/>
                  </a:lnTo>
                  <a:lnTo>
                    <a:pt x="256" y="128"/>
                  </a:lnTo>
                  <a:lnTo>
                    <a:pt x="260" y="128"/>
                  </a:lnTo>
                  <a:lnTo>
                    <a:pt x="260" y="132"/>
                  </a:lnTo>
                  <a:lnTo>
                    <a:pt x="264" y="132"/>
                  </a:lnTo>
                  <a:lnTo>
                    <a:pt x="268" y="132"/>
                  </a:lnTo>
                  <a:lnTo>
                    <a:pt x="272" y="132"/>
                  </a:lnTo>
                  <a:lnTo>
                    <a:pt x="272" y="128"/>
                  </a:lnTo>
                  <a:lnTo>
                    <a:pt x="272" y="124"/>
                  </a:lnTo>
                  <a:lnTo>
                    <a:pt x="268" y="128"/>
                  </a:lnTo>
                  <a:lnTo>
                    <a:pt x="264" y="128"/>
                  </a:lnTo>
                  <a:lnTo>
                    <a:pt x="264" y="124"/>
                  </a:lnTo>
                  <a:lnTo>
                    <a:pt x="260" y="124"/>
                  </a:lnTo>
                  <a:lnTo>
                    <a:pt x="256" y="124"/>
                  </a:lnTo>
                  <a:lnTo>
                    <a:pt x="256" y="128"/>
                  </a:lnTo>
                  <a:lnTo>
                    <a:pt x="252" y="128"/>
                  </a:lnTo>
                  <a:lnTo>
                    <a:pt x="248" y="128"/>
                  </a:lnTo>
                  <a:lnTo>
                    <a:pt x="248" y="124"/>
                  </a:lnTo>
                  <a:lnTo>
                    <a:pt x="248" y="120"/>
                  </a:lnTo>
                  <a:lnTo>
                    <a:pt x="248" y="116"/>
                  </a:lnTo>
                  <a:lnTo>
                    <a:pt x="252" y="116"/>
                  </a:lnTo>
                  <a:lnTo>
                    <a:pt x="248" y="116"/>
                  </a:lnTo>
                  <a:lnTo>
                    <a:pt x="240" y="116"/>
                  </a:lnTo>
                  <a:lnTo>
                    <a:pt x="236" y="116"/>
                  </a:lnTo>
                  <a:lnTo>
                    <a:pt x="240" y="116"/>
                  </a:lnTo>
                  <a:lnTo>
                    <a:pt x="240" y="112"/>
                  </a:lnTo>
                  <a:lnTo>
                    <a:pt x="236" y="116"/>
                  </a:lnTo>
                  <a:lnTo>
                    <a:pt x="232" y="116"/>
                  </a:lnTo>
                  <a:lnTo>
                    <a:pt x="228" y="116"/>
                  </a:lnTo>
                  <a:lnTo>
                    <a:pt x="224" y="116"/>
                  </a:lnTo>
                  <a:lnTo>
                    <a:pt x="220" y="112"/>
                  </a:lnTo>
                  <a:lnTo>
                    <a:pt x="216" y="112"/>
                  </a:lnTo>
                  <a:lnTo>
                    <a:pt x="220" y="112"/>
                  </a:lnTo>
                  <a:lnTo>
                    <a:pt x="216" y="108"/>
                  </a:lnTo>
                  <a:lnTo>
                    <a:pt x="216" y="104"/>
                  </a:lnTo>
                  <a:lnTo>
                    <a:pt x="216" y="100"/>
                  </a:lnTo>
                  <a:lnTo>
                    <a:pt x="212" y="100"/>
                  </a:lnTo>
                  <a:lnTo>
                    <a:pt x="208" y="100"/>
                  </a:lnTo>
                  <a:lnTo>
                    <a:pt x="208" y="96"/>
                  </a:lnTo>
                  <a:lnTo>
                    <a:pt x="204" y="96"/>
                  </a:lnTo>
                  <a:lnTo>
                    <a:pt x="196" y="92"/>
                  </a:lnTo>
                  <a:lnTo>
                    <a:pt x="196" y="88"/>
                  </a:lnTo>
                  <a:lnTo>
                    <a:pt x="192" y="88"/>
                  </a:lnTo>
                  <a:lnTo>
                    <a:pt x="188" y="88"/>
                  </a:lnTo>
                  <a:lnTo>
                    <a:pt x="184" y="88"/>
                  </a:lnTo>
                  <a:lnTo>
                    <a:pt x="184" y="84"/>
                  </a:lnTo>
                  <a:lnTo>
                    <a:pt x="180" y="84"/>
                  </a:lnTo>
                  <a:lnTo>
                    <a:pt x="180" y="80"/>
                  </a:lnTo>
                  <a:lnTo>
                    <a:pt x="176" y="80"/>
                  </a:lnTo>
                  <a:lnTo>
                    <a:pt x="172" y="80"/>
                  </a:lnTo>
                  <a:lnTo>
                    <a:pt x="176" y="80"/>
                  </a:lnTo>
                  <a:lnTo>
                    <a:pt x="172" y="80"/>
                  </a:lnTo>
                  <a:lnTo>
                    <a:pt x="176" y="80"/>
                  </a:lnTo>
                  <a:lnTo>
                    <a:pt x="180" y="80"/>
                  </a:lnTo>
                  <a:lnTo>
                    <a:pt x="180" y="76"/>
                  </a:lnTo>
                  <a:lnTo>
                    <a:pt x="180" y="72"/>
                  </a:lnTo>
                  <a:lnTo>
                    <a:pt x="180" y="68"/>
                  </a:lnTo>
                  <a:lnTo>
                    <a:pt x="184" y="68"/>
                  </a:lnTo>
                  <a:lnTo>
                    <a:pt x="188" y="68"/>
                  </a:lnTo>
                  <a:lnTo>
                    <a:pt x="192" y="68"/>
                  </a:lnTo>
                  <a:lnTo>
                    <a:pt x="196" y="68"/>
                  </a:lnTo>
                  <a:lnTo>
                    <a:pt x="200" y="64"/>
                  </a:lnTo>
                  <a:lnTo>
                    <a:pt x="204" y="64"/>
                  </a:lnTo>
                  <a:lnTo>
                    <a:pt x="208" y="64"/>
                  </a:lnTo>
                  <a:lnTo>
                    <a:pt x="212" y="64"/>
                  </a:lnTo>
                  <a:lnTo>
                    <a:pt x="216" y="64"/>
                  </a:lnTo>
                  <a:lnTo>
                    <a:pt x="220" y="60"/>
                  </a:lnTo>
                  <a:lnTo>
                    <a:pt x="224" y="60"/>
                  </a:lnTo>
                  <a:lnTo>
                    <a:pt x="224" y="56"/>
                  </a:lnTo>
                  <a:lnTo>
                    <a:pt x="228" y="52"/>
                  </a:lnTo>
                  <a:lnTo>
                    <a:pt x="224" y="56"/>
                  </a:lnTo>
                  <a:lnTo>
                    <a:pt x="228" y="52"/>
                  </a:lnTo>
                  <a:lnTo>
                    <a:pt x="228" y="48"/>
                  </a:lnTo>
                  <a:lnTo>
                    <a:pt x="228" y="44"/>
                  </a:lnTo>
                  <a:lnTo>
                    <a:pt x="232" y="44"/>
                  </a:lnTo>
                  <a:lnTo>
                    <a:pt x="228" y="44"/>
                  </a:lnTo>
                  <a:lnTo>
                    <a:pt x="232" y="40"/>
                  </a:lnTo>
                  <a:lnTo>
                    <a:pt x="236" y="40"/>
                  </a:lnTo>
                  <a:lnTo>
                    <a:pt x="236" y="36"/>
                  </a:lnTo>
                  <a:lnTo>
                    <a:pt x="240" y="32"/>
                  </a:lnTo>
                  <a:lnTo>
                    <a:pt x="244" y="28"/>
                  </a:lnTo>
                  <a:lnTo>
                    <a:pt x="248" y="28"/>
                  </a:lnTo>
                  <a:lnTo>
                    <a:pt x="248" y="32"/>
                  </a:lnTo>
                  <a:lnTo>
                    <a:pt x="244" y="32"/>
                  </a:lnTo>
                  <a:lnTo>
                    <a:pt x="248" y="32"/>
                  </a:lnTo>
                  <a:lnTo>
                    <a:pt x="248" y="28"/>
                  </a:lnTo>
                  <a:lnTo>
                    <a:pt x="252" y="28"/>
                  </a:lnTo>
                  <a:lnTo>
                    <a:pt x="256" y="28"/>
                  </a:lnTo>
                  <a:lnTo>
                    <a:pt x="260" y="28"/>
                  </a:lnTo>
                  <a:lnTo>
                    <a:pt x="264" y="28"/>
                  </a:lnTo>
                  <a:lnTo>
                    <a:pt x="264" y="24"/>
                  </a:lnTo>
                  <a:lnTo>
                    <a:pt x="268" y="24"/>
                  </a:lnTo>
                  <a:lnTo>
                    <a:pt x="268" y="20"/>
                  </a:lnTo>
                  <a:lnTo>
                    <a:pt x="272" y="20"/>
                  </a:lnTo>
                  <a:lnTo>
                    <a:pt x="276" y="20"/>
                  </a:lnTo>
                  <a:lnTo>
                    <a:pt x="276" y="24"/>
                  </a:lnTo>
                  <a:lnTo>
                    <a:pt x="272" y="24"/>
                  </a:lnTo>
                  <a:lnTo>
                    <a:pt x="276" y="24"/>
                  </a:lnTo>
                  <a:lnTo>
                    <a:pt x="276" y="28"/>
                  </a:lnTo>
                  <a:lnTo>
                    <a:pt x="276" y="24"/>
                  </a:lnTo>
                  <a:lnTo>
                    <a:pt x="280" y="24"/>
                  </a:lnTo>
                  <a:lnTo>
                    <a:pt x="284" y="24"/>
                  </a:lnTo>
                  <a:lnTo>
                    <a:pt x="284" y="20"/>
                  </a:lnTo>
                  <a:lnTo>
                    <a:pt x="280" y="20"/>
                  </a:lnTo>
                  <a:lnTo>
                    <a:pt x="280" y="24"/>
                  </a:lnTo>
                  <a:lnTo>
                    <a:pt x="276" y="20"/>
                  </a:lnTo>
                  <a:lnTo>
                    <a:pt x="272" y="20"/>
                  </a:lnTo>
                  <a:lnTo>
                    <a:pt x="276" y="16"/>
                  </a:lnTo>
                  <a:lnTo>
                    <a:pt x="280" y="16"/>
                  </a:lnTo>
                  <a:lnTo>
                    <a:pt x="280" y="12"/>
                  </a:lnTo>
                  <a:lnTo>
                    <a:pt x="284" y="12"/>
                  </a:lnTo>
                  <a:lnTo>
                    <a:pt x="288" y="12"/>
                  </a:lnTo>
                  <a:lnTo>
                    <a:pt x="284" y="12"/>
                  </a:lnTo>
                  <a:lnTo>
                    <a:pt x="288" y="12"/>
                  </a:lnTo>
                  <a:lnTo>
                    <a:pt x="284" y="12"/>
                  </a:lnTo>
                  <a:lnTo>
                    <a:pt x="284" y="16"/>
                  </a:lnTo>
                  <a:lnTo>
                    <a:pt x="288" y="16"/>
                  </a:lnTo>
                  <a:lnTo>
                    <a:pt x="292" y="16"/>
                  </a:lnTo>
                  <a:lnTo>
                    <a:pt x="292" y="12"/>
                  </a:lnTo>
                  <a:lnTo>
                    <a:pt x="292" y="16"/>
                  </a:lnTo>
                  <a:lnTo>
                    <a:pt x="296" y="16"/>
                  </a:lnTo>
                  <a:lnTo>
                    <a:pt x="296" y="12"/>
                  </a:lnTo>
                  <a:lnTo>
                    <a:pt x="299" y="12"/>
                  </a:lnTo>
                  <a:lnTo>
                    <a:pt x="303" y="12"/>
                  </a:lnTo>
                  <a:lnTo>
                    <a:pt x="307" y="12"/>
                  </a:lnTo>
                  <a:lnTo>
                    <a:pt x="311" y="8"/>
                  </a:lnTo>
                  <a:lnTo>
                    <a:pt x="315" y="8"/>
                  </a:lnTo>
                  <a:lnTo>
                    <a:pt x="315" y="4"/>
                  </a:lnTo>
                  <a:lnTo>
                    <a:pt x="319" y="4"/>
                  </a:lnTo>
                  <a:lnTo>
                    <a:pt x="323" y="0"/>
                  </a:lnTo>
                  <a:lnTo>
                    <a:pt x="327" y="0"/>
                  </a:lnTo>
                  <a:lnTo>
                    <a:pt x="331" y="0"/>
                  </a:lnTo>
                  <a:lnTo>
                    <a:pt x="335" y="0"/>
                  </a:lnTo>
                  <a:lnTo>
                    <a:pt x="335" y="4"/>
                  </a:lnTo>
                  <a:lnTo>
                    <a:pt x="339" y="4"/>
                  </a:lnTo>
                  <a:lnTo>
                    <a:pt x="343" y="4"/>
                  </a:lnTo>
                  <a:lnTo>
                    <a:pt x="339" y="8"/>
                  </a:lnTo>
                  <a:lnTo>
                    <a:pt x="335" y="8"/>
                  </a:lnTo>
                  <a:lnTo>
                    <a:pt x="331" y="12"/>
                  </a:lnTo>
                  <a:lnTo>
                    <a:pt x="335" y="12"/>
                  </a:lnTo>
                  <a:lnTo>
                    <a:pt x="335" y="16"/>
                  </a:lnTo>
                  <a:lnTo>
                    <a:pt x="335" y="12"/>
                  </a:lnTo>
                  <a:lnTo>
                    <a:pt x="339" y="12"/>
                  </a:lnTo>
                  <a:lnTo>
                    <a:pt x="343" y="12"/>
                  </a:lnTo>
                  <a:lnTo>
                    <a:pt x="343" y="8"/>
                  </a:lnTo>
                  <a:lnTo>
                    <a:pt x="347" y="8"/>
                  </a:lnTo>
                  <a:lnTo>
                    <a:pt x="347" y="4"/>
                  </a:lnTo>
                  <a:lnTo>
                    <a:pt x="351" y="4"/>
                  </a:lnTo>
                  <a:lnTo>
                    <a:pt x="351" y="8"/>
                  </a:lnTo>
                  <a:lnTo>
                    <a:pt x="347" y="8"/>
                  </a:lnTo>
                  <a:lnTo>
                    <a:pt x="351" y="8"/>
                  </a:lnTo>
                  <a:lnTo>
                    <a:pt x="351" y="4"/>
                  </a:lnTo>
                  <a:lnTo>
                    <a:pt x="355" y="8"/>
                  </a:lnTo>
                  <a:lnTo>
                    <a:pt x="355" y="12"/>
                  </a:lnTo>
                  <a:lnTo>
                    <a:pt x="359" y="12"/>
                  </a:lnTo>
                  <a:lnTo>
                    <a:pt x="363" y="12"/>
                  </a:lnTo>
                  <a:lnTo>
                    <a:pt x="363" y="16"/>
                  </a:lnTo>
                  <a:lnTo>
                    <a:pt x="367" y="12"/>
                  </a:lnTo>
                  <a:lnTo>
                    <a:pt x="371" y="12"/>
                  </a:lnTo>
                  <a:lnTo>
                    <a:pt x="375" y="12"/>
                  </a:lnTo>
                  <a:lnTo>
                    <a:pt x="379" y="12"/>
                  </a:lnTo>
                  <a:lnTo>
                    <a:pt x="383" y="12"/>
                  </a:lnTo>
                  <a:lnTo>
                    <a:pt x="387" y="12"/>
                  </a:lnTo>
                  <a:lnTo>
                    <a:pt x="391" y="12"/>
                  </a:lnTo>
                  <a:lnTo>
                    <a:pt x="391" y="16"/>
                  </a:lnTo>
                  <a:lnTo>
                    <a:pt x="387" y="16"/>
                  </a:lnTo>
                  <a:lnTo>
                    <a:pt x="387" y="20"/>
                  </a:lnTo>
                  <a:lnTo>
                    <a:pt x="391" y="20"/>
                  </a:lnTo>
                  <a:lnTo>
                    <a:pt x="395" y="20"/>
                  </a:lnTo>
                  <a:lnTo>
                    <a:pt x="391" y="20"/>
                  </a:lnTo>
                  <a:lnTo>
                    <a:pt x="387" y="20"/>
                  </a:lnTo>
                  <a:lnTo>
                    <a:pt x="391" y="20"/>
                  </a:lnTo>
                  <a:lnTo>
                    <a:pt x="395" y="20"/>
                  </a:lnTo>
                  <a:lnTo>
                    <a:pt x="399" y="20"/>
                  </a:lnTo>
                  <a:lnTo>
                    <a:pt x="399" y="24"/>
                  </a:lnTo>
                  <a:lnTo>
                    <a:pt x="395" y="24"/>
                  </a:lnTo>
                  <a:lnTo>
                    <a:pt x="399" y="24"/>
                  </a:lnTo>
                  <a:lnTo>
                    <a:pt x="403" y="24"/>
                  </a:lnTo>
                  <a:lnTo>
                    <a:pt x="407" y="24"/>
                  </a:lnTo>
                  <a:lnTo>
                    <a:pt x="411" y="24"/>
                  </a:lnTo>
                  <a:lnTo>
                    <a:pt x="415" y="24"/>
                  </a:lnTo>
                  <a:lnTo>
                    <a:pt x="415" y="20"/>
                  </a:lnTo>
                  <a:lnTo>
                    <a:pt x="419" y="20"/>
                  </a:lnTo>
                  <a:lnTo>
                    <a:pt x="419" y="24"/>
                  </a:lnTo>
                  <a:lnTo>
                    <a:pt x="423" y="24"/>
                  </a:lnTo>
                  <a:lnTo>
                    <a:pt x="427" y="24"/>
                  </a:lnTo>
                  <a:lnTo>
                    <a:pt x="427" y="20"/>
                  </a:lnTo>
                  <a:lnTo>
                    <a:pt x="435" y="20"/>
                  </a:lnTo>
                  <a:lnTo>
                    <a:pt x="435" y="24"/>
                  </a:lnTo>
                  <a:lnTo>
                    <a:pt x="439" y="24"/>
                  </a:lnTo>
                  <a:lnTo>
                    <a:pt x="443" y="24"/>
                  </a:lnTo>
                  <a:lnTo>
                    <a:pt x="447" y="24"/>
                  </a:lnTo>
                  <a:lnTo>
                    <a:pt x="447" y="28"/>
                  </a:lnTo>
                  <a:lnTo>
                    <a:pt x="451" y="28"/>
                  </a:lnTo>
                  <a:lnTo>
                    <a:pt x="455" y="24"/>
                  </a:lnTo>
                  <a:lnTo>
                    <a:pt x="455" y="28"/>
                  </a:lnTo>
                  <a:lnTo>
                    <a:pt x="459" y="28"/>
                  </a:lnTo>
                  <a:lnTo>
                    <a:pt x="463" y="32"/>
                  </a:lnTo>
                  <a:lnTo>
                    <a:pt x="467" y="32"/>
                  </a:lnTo>
                  <a:lnTo>
                    <a:pt x="471" y="32"/>
                  </a:lnTo>
                  <a:lnTo>
                    <a:pt x="475" y="32"/>
                  </a:lnTo>
                  <a:lnTo>
                    <a:pt x="479" y="32"/>
                  </a:lnTo>
                  <a:lnTo>
                    <a:pt x="483" y="32"/>
                  </a:lnTo>
                  <a:lnTo>
                    <a:pt x="487" y="32"/>
                  </a:lnTo>
                  <a:lnTo>
                    <a:pt x="491" y="32"/>
                  </a:lnTo>
                  <a:lnTo>
                    <a:pt x="495" y="36"/>
                  </a:lnTo>
                  <a:lnTo>
                    <a:pt x="499" y="36"/>
                  </a:lnTo>
                  <a:lnTo>
                    <a:pt x="503" y="36"/>
                  </a:lnTo>
                  <a:lnTo>
                    <a:pt x="507" y="36"/>
                  </a:lnTo>
                  <a:lnTo>
                    <a:pt x="511" y="36"/>
                  </a:lnTo>
                  <a:lnTo>
                    <a:pt x="515" y="36"/>
                  </a:lnTo>
                  <a:lnTo>
                    <a:pt x="515" y="32"/>
                  </a:lnTo>
                  <a:lnTo>
                    <a:pt x="523" y="32"/>
                  </a:lnTo>
                  <a:lnTo>
                    <a:pt x="527" y="32"/>
                  </a:lnTo>
                  <a:lnTo>
                    <a:pt x="531" y="32"/>
                  </a:lnTo>
                  <a:lnTo>
                    <a:pt x="535" y="32"/>
                  </a:lnTo>
                  <a:lnTo>
                    <a:pt x="539" y="36"/>
                  </a:lnTo>
                  <a:lnTo>
                    <a:pt x="543" y="36"/>
                  </a:lnTo>
                  <a:lnTo>
                    <a:pt x="543" y="40"/>
                  </a:lnTo>
                  <a:lnTo>
                    <a:pt x="547" y="40"/>
                  </a:lnTo>
                  <a:lnTo>
                    <a:pt x="551" y="40"/>
                  </a:lnTo>
                  <a:lnTo>
                    <a:pt x="551" y="44"/>
                  </a:lnTo>
                  <a:lnTo>
                    <a:pt x="555" y="44"/>
                  </a:lnTo>
                  <a:lnTo>
                    <a:pt x="559" y="44"/>
                  </a:lnTo>
                  <a:lnTo>
                    <a:pt x="563" y="44"/>
                  </a:lnTo>
                  <a:lnTo>
                    <a:pt x="563" y="48"/>
                  </a:lnTo>
                  <a:lnTo>
                    <a:pt x="563" y="52"/>
                  </a:lnTo>
                  <a:lnTo>
                    <a:pt x="563" y="64"/>
                  </a:lnTo>
                  <a:lnTo>
                    <a:pt x="563" y="76"/>
                  </a:lnTo>
                  <a:lnTo>
                    <a:pt x="563" y="84"/>
                  </a:lnTo>
                  <a:lnTo>
                    <a:pt x="563" y="88"/>
                  </a:lnTo>
                  <a:lnTo>
                    <a:pt x="563" y="92"/>
                  </a:lnTo>
                  <a:lnTo>
                    <a:pt x="563" y="96"/>
                  </a:lnTo>
                  <a:lnTo>
                    <a:pt x="563" y="104"/>
                  </a:lnTo>
                  <a:lnTo>
                    <a:pt x="563" y="108"/>
                  </a:lnTo>
                  <a:lnTo>
                    <a:pt x="563" y="116"/>
                  </a:lnTo>
                  <a:lnTo>
                    <a:pt x="563" y="120"/>
                  </a:lnTo>
                  <a:lnTo>
                    <a:pt x="563" y="124"/>
                  </a:lnTo>
                  <a:lnTo>
                    <a:pt x="563" y="128"/>
                  </a:lnTo>
                  <a:lnTo>
                    <a:pt x="563" y="140"/>
                  </a:lnTo>
                  <a:lnTo>
                    <a:pt x="563" y="152"/>
                  </a:lnTo>
                  <a:lnTo>
                    <a:pt x="563" y="164"/>
                  </a:lnTo>
                  <a:lnTo>
                    <a:pt x="563" y="188"/>
                  </a:lnTo>
                  <a:lnTo>
                    <a:pt x="563" y="196"/>
                  </a:lnTo>
                  <a:lnTo>
                    <a:pt x="563" y="200"/>
                  </a:lnTo>
                  <a:lnTo>
                    <a:pt x="563" y="216"/>
                  </a:lnTo>
                  <a:lnTo>
                    <a:pt x="563" y="228"/>
                  </a:lnTo>
                  <a:lnTo>
                    <a:pt x="563" y="271"/>
                  </a:lnTo>
                  <a:lnTo>
                    <a:pt x="563" y="283"/>
                  </a:lnTo>
                  <a:lnTo>
                    <a:pt x="563" y="287"/>
                  </a:lnTo>
                  <a:lnTo>
                    <a:pt x="571" y="287"/>
                  </a:lnTo>
                  <a:lnTo>
                    <a:pt x="579" y="287"/>
                  </a:lnTo>
                  <a:lnTo>
                    <a:pt x="583" y="287"/>
                  </a:lnTo>
                  <a:lnTo>
                    <a:pt x="583" y="283"/>
                  </a:lnTo>
                  <a:lnTo>
                    <a:pt x="587" y="283"/>
                  </a:lnTo>
                  <a:lnTo>
                    <a:pt x="591" y="283"/>
                  </a:lnTo>
                  <a:lnTo>
                    <a:pt x="591" y="287"/>
                  </a:lnTo>
                  <a:lnTo>
                    <a:pt x="591" y="291"/>
                  </a:lnTo>
                  <a:lnTo>
                    <a:pt x="595" y="295"/>
                  </a:lnTo>
                  <a:lnTo>
                    <a:pt x="599" y="295"/>
                  </a:lnTo>
                  <a:lnTo>
                    <a:pt x="599" y="299"/>
                  </a:lnTo>
                  <a:lnTo>
                    <a:pt x="603" y="303"/>
                  </a:lnTo>
                  <a:lnTo>
                    <a:pt x="607" y="303"/>
                  </a:lnTo>
                  <a:lnTo>
                    <a:pt x="611" y="307"/>
                  </a:lnTo>
                  <a:lnTo>
                    <a:pt x="615" y="311"/>
                  </a:lnTo>
                  <a:lnTo>
                    <a:pt x="615" y="315"/>
                  </a:lnTo>
                  <a:lnTo>
                    <a:pt x="615" y="319"/>
                  </a:lnTo>
                  <a:lnTo>
                    <a:pt x="619" y="319"/>
                  </a:lnTo>
                  <a:lnTo>
                    <a:pt x="619" y="315"/>
                  </a:lnTo>
                  <a:lnTo>
                    <a:pt x="623" y="315"/>
                  </a:lnTo>
                  <a:lnTo>
                    <a:pt x="627" y="315"/>
                  </a:lnTo>
                  <a:lnTo>
                    <a:pt x="631" y="315"/>
                  </a:lnTo>
                  <a:lnTo>
                    <a:pt x="631" y="311"/>
                  </a:lnTo>
                  <a:lnTo>
                    <a:pt x="631" y="307"/>
                  </a:lnTo>
                  <a:lnTo>
                    <a:pt x="635" y="307"/>
                  </a:lnTo>
                  <a:lnTo>
                    <a:pt x="635" y="303"/>
                  </a:lnTo>
                  <a:lnTo>
                    <a:pt x="639" y="303"/>
                  </a:lnTo>
                  <a:lnTo>
                    <a:pt x="639" y="299"/>
                  </a:lnTo>
                  <a:lnTo>
                    <a:pt x="643" y="299"/>
                  </a:lnTo>
                  <a:lnTo>
                    <a:pt x="647" y="299"/>
                  </a:lnTo>
                  <a:lnTo>
                    <a:pt x="651" y="303"/>
                  </a:lnTo>
                  <a:lnTo>
                    <a:pt x="654" y="303"/>
                  </a:lnTo>
                  <a:lnTo>
                    <a:pt x="654" y="307"/>
                  </a:lnTo>
                  <a:lnTo>
                    <a:pt x="651" y="307"/>
                  </a:lnTo>
                  <a:lnTo>
                    <a:pt x="654" y="311"/>
                  </a:lnTo>
                  <a:lnTo>
                    <a:pt x="658" y="311"/>
                  </a:lnTo>
                  <a:lnTo>
                    <a:pt x="658" y="315"/>
                  </a:lnTo>
                  <a:lnTo>
                    <a:pt x="662" y="315"/>
                  </a:lnTo>
                  <a:lnTo>
                    <a:pt x="662" y="319"/>
                  </a:lnTo>
                  <a:lnTo>
                    <a:pt x="666" y="319"/>
                  </a:lnTo>
                  <a:lnTo>
                    <a:pt x="666" y="323"/>
                  </a:lnTo>
                  <a:lnTo>
                    <a:pt x="670" y="323"/>
                  </a:lnTo>
                  <a:lnTo>
                    <a:pt x="670" y="327"/>
                  </a:lnTo>
                  <a:lnTo>
                    <a:pt x="674" y="327"/>
                  </a:lnTo>
                  <a:lnTo>
                    <a:pt x="678" y="331"/>
                  </a:lnTo>
                  <a:lnTo>
                    <a:pt x="678" y="335"/>
                  </a:lnTo>
                  <a:lnTo>
                    <a:pt x="682" y="335"/>
                  </a:lnTo>
                  <a:lnTo>
                    <a:pt x="682" y="339"/>
                  </a:lnTo>
                  <a:lnTo>
                    <a:pt x="682" y="343"/>
                  </a:lnTo>
                  <a:lnTo>
                    <a:pt x="686" y="343"/>
                  </a:lnTo>
                  <a:lnTo>
                    <a:pt x="686" y="347"/>
                  </a:lnTo>
                  <a:lnTo>
                    <a:pt x="690" y="351"/>
                  </a:lnTo>
                  <a:lnTo>
                    <a:pt x="690" y="355"/>
                  </a:lnTo>
                  <a:lnTo>
                    <a:pt x="694" y="355"/>
                  </a:lnTo>
                  <a:lnTo>
                    <a:pt x="694" y="359"/>
                  </a:lnTo>
                  <a:lnTo>
                    <a:pt x="694" y="363"/>
                  </a:lnTo>
                  <a:lnTo>
                    <a:pt x="698" y="363"/>
                  </a:lnTo>
                  <a:lnTo>
                    <a:pt x="698" y="367"/>
                  </a:lnTo>
                  <a:lnTo>
                    <a:pt x="702" y="371"/>
                  </a:lnTo>
                  <a:lnTo>
                    <a:pt x="702" y="375"/>
                  </a:lnTo>
                  <a:lnTo>
                    <a:pt x="706" y="375"/>
                  </a:lnTo>
                  <a:lnTo>
                    <a:pt x="710" y="375"/>
                  </a:lnTo>
                  <a:lnTo>
                    <a:pt x="710" y="379"/>
                  </a:lnTo>
                  <a:lnTo>
                    <a:pt x="714" y="379"/>
                  </a:lnTo>
                  <a:lnTo>
                    <a:pt x="718" y="379"/>
                  </a:lnTo>
                  <a:lnTo>
                    <a:pt x="718" y="383"/>
                  </a:lnTo>
                  <a:lnTo>
                    <a:pt x="722" y="383"/>
                  </a:lnTo>
                  <a:lnTo>
                    <a:pt x="722" y="387"/>
                  </a:lnTo>
                  <a:lnTo>
                    <a:pt x="726" y="387"/>
                  </a:lnTo>
                  <a:lnTo>
                    <a:pt x="730" y="387"/>
                  </a:lnTo>
                  <a:lnTo>
                    <a:pt x="730" y="391"/>
                  </a:lnTo>
                  <a:lnTo>
                    <a:pt x="726" y="391"/>
                  </a:lnTo>
                  <a:lnTo>
                    <a:pt x="726" y="395"/>
                  </a:lnTo>
                  <a:lnTo>
                    <a:pt x="726" y="399"/>
                  </a:lnTo>
                  <a:lnTo>
                    <a:pt x="726" y="403"/>
                  </a:lnTo>
                  <a:lnTo>
                    <a:pt x="730" y="407"/>
                  </a:lnTo>
                  <a:lnTo>
                    <a:pt x="726" y="407"/>
                  </a:lnTo>
                  <a:lnTo>
                    <a:pt x="726" y="411"/>
                  </a:lnTo>
                  <a:lnTo>
                    <a:pt x="722" y="415"/>
                  </a:lnTo>
                  <a:lnTo>
                    <a:pt x="718" y="415"/>
                  </a:lnTo>
                  <a:lnTo>
                    <a:pt x="718" y="419"/>
                  </a:lnTo>
                  <a:lnTo>
                    <a:pt x="718" y="415"/>
                  </a:lnTo>
                  <a:lnTo>
                    <a:pt x="718" y="419"/>
                  </a:lnTo>
                  <a:lnTo>
                    <a:pt x="714" y="419"/>
                  </a:lnTo>
                  <a:lnTo>
                    <a:pt x="714" y="415"/>
                  </a:lnTo>
                  <a:lnTo>
                    <a:pt x="714" y="411"/>
                  </a:lnTo>
                  <a:lnTo>
                    <a:pt x="718" y="411"/>
                  </a:lnTo>
                  <a:lnTo>
                    <a:pt x="722" y="407"/>
                  </a:lnTo>
                  <a:lnTo>
                    <a:pt x="722" y="403"/>
                  </a:lnTo>
                  <a:lnTo>
                    <a:pt x="722" y="407"/>
                  </a:lnTo>
                  <a:lnTo>
                    <a:pt x="718" y="407"/>
                  </a:lnTo>
                  <a:lnTo>
                    <a:pt x="718" y="411"/>
                  </a:lnTo>
                  <a:lnTo>
                    <a:pt x="718" y="407"/>
                  </a:lnTo>
                  <a:lnTo>
                    <a:pt x="714" y="411"/>
                  </a:lnTo>
                  <a:lnTo>
                    <a:pt x="714" y="407"/>
                  </a:lnTo>
                  <a:lnTo>
                    <a:pt x="718" y="407"/>
                  </a:lnTo>
                  <a:lnTo>
                    <a:pt x="718" y="403"/>
                  </a:lnTo>
                  <a:lnTo>
                    <a:pt x="714" y="403"/>
                  </a:lnTo>
                  <a:lnTo>
                    <a:pt x="714" y="399"/>
                  </a:lnTo>
                  <a:lnTo>
                    <a:pt x="714" y="395"/>
                  </a:lnTo>
                  <a:lnTo>
                    <a:pt x="714" y="391"/>
                  </a:lnTo>
                  <a:lnTo>
                    <a:pt x="710" y="391"/>
                  </a:lnTo>
                  <a:lnTo>
                    <a:pt x="710" y="387"/>
                  </a:lnTo>
                  <a:lnTo>
                    <a:pt x="714" y="387"/>
                  </a:lnTo>
                  <a:lnTo>
                    <a:pt x="710" y="387"/>
                  </a:lnTo>
                  <a:lnTo>
                    <a:pt x="710" y="391"/>
                  </a:lnTo>
                  <a:lnTo>
                    <a:pt x="706" y="391"/>
                  </a:lnTo>
                  <a:lnTo>
                    <a:pt x="706" y="387"/>
                  </a:lnTo>
                  <a:lnTo>
                    <a:pt x="706" y="391"/>
                  </a:lnTo>
                  <a:lnTo>
                    <a:pt x="702" y="391"/>
                  </a:lnTo>
                  <a:lnTo>
                    <a:pt x="698" y="391"/>
                  </a:lnTo>
                  <a:lnTo>
                    <a:pt x="702" y="391"/>
                  </a:lnTo>
                  <a:lnTo>
                    <a:pt x="702" y="395"/>
                  </a:lnTo>
                  <a:lnTo>
                    <a:pt x="702" y="399"/>
                  </a:lnTo>
                  <a:lnTo>
                    <a:pt x="698" y="399"/>
                  </a:lnTo>
                  <a:lnTo>
                    <a:pt x="694" y="399"/>
                  </a:lnTo>
                  <a:lnTo>
                    <a:pt x="694" y="395"/>
                  </a:lnTo>
                  <a:lnTo>
                    <a:pt x="698" y="395"/>
                  </a:lnTo>
                  <a:lnTo>
                    <a:pt x="698" y="391"/>
                  </a:lnTo>
                  <a:lnTo>
                    <a:pt x="698" y="387"/>
                  </a:lnTo>
                  <a:lnTo>
                    <a:pt x="698" y="383"/>
                  </a:lnTo>
                  <a:lnTo>
                    <a:pt x="702" y="383"/>
                  </a:lnTo>
                  <a:lnTo>
                    <a:pt x="698" y="383"/>
                  </a:lnTo>
                  <a:lnTo>
                    <a:pt x="698" y="379"/>
                  </a:lnTo>
                  <a:lnTo>
                    <a:pt x="694" y="379"/>
                  </a:lnTo>
                  <a:lnTo>
                    <a:pt x="694" y="375"/>
                  </a:lnTo>
                  <a:lnTo>
                    <a:pt x="690" y="375"/>
                  </a:lnTo>
                  <a:lnTo>
                    <a:pt x="690" y="371"/>
                  </a:lnTo>
                  <a:lnTo>
                    <a:pt x="694" y="371"/>
                  </a:lnTo>
                  <a:lnTo>
                    <a:pt x="690" y="371"/>
                  </a:lnTo>
                  <a:lnTo>
                    <a:pt x="686" y="371"/>
                  </a:lnTo>
                  <a:lnTo>
                    <a:pt x="686" y="367"/>
                  </a:lnTo>
                  <a:lnTo>
                    <a:pt x="686" y="363"/>
                  </a:lnTo>
                  <a:lnTo>
                    <a:pt x="682" y="363"/>
                  </a:lnTo>
                  <a:lnTo>
                    <a:pt x="678" y="363"/>
                  </a:lnTo>
                  <a:lnTo>
                    <a:pt x="674" y="363"/>
                  </a:lnTo>
                  <a:lnTo>
                    <a:pt x="674" y="359"/>
                  </a:lnTo>
                  <a:lnTo>
                    <a:pt x="678" y="359"/>
                  </a:lnTo>
                  <a:lnTo>
                    <a:pt x="682" y="359"/>
                  </a:lnTo>
                  <a:lnTo>
                    <a:pt x="682" y="355"/>
                  </a:lnTo>
                  <a:lnTo>
                    <a:pt x="682" y="359"/>
                  </a:lnTo>
                  <a:lnTo>
                    <a:pt x="678" y="359"/>
                  </a:lnTo>
                  <a:lnTo>
                    <a:pt x="678" y="355"/>
                  </a:lnTo>
                  <a:lnTo>
                    <a:pt x="674" y="355"/>
                  </a:lnTo>
                  <a:lnTo>
                    <a:pt x="678" y="351"/>
                  </a:lnTo>
                  <a:lnTo>
                    <a:pt x="674" y="351"/>
                  </a:lnTo>
                  <a:lnTo>
                    <a:pt x="674" y="347"/>
                  </a:lnTo>
                  <a:lnTo>
                    <a:pt x="682" y="351"/>
                  </a:lnTo>
                  <a:lnTo>
                    <a:pt x="678" y="351"/>
                  </a:lnTo>
                  <a:lnTo>
                    <a:pt x="678" y="347"/>
                  </a:lnTo>
                  <a:lnTo>
                    <a:pt x="674" y="347"/>
                  </a:lnTo>
                  <a:lnTo>
                    <a:pt x="674" y="343"/>
                  </a:lnTo>
                  <a:lnTo>
                    <a:pt x="678" y="343"/>
                  </a:lnTo>
                  <a:lnTo>
                    <a:pt x="682" y="343"/>
                  </a:lnTo>
                  <a:lnTo>
                    <a:pt x="678" y="343"/>
                  </a:lnTo>
                  <a:lnTo>
                    <a:pt x="674" y="343"/>
                  </a:lnTo>
                  <a:lnTo>
                    <a:pt x="674" y="347"/>
                  </a:lnTo>
                  <a:lnTo>
                    <a:pt x="670" y="343"/>
                  </a:lnTo>
                  <a:lnTo>
                    <a:pt x="670" y="339"/>
                  </a:lnTo>
                  <a:lnTo>
                    <a:pt x="674" y="339"/>
                  </a:lnTo>
                  <a:lnTo>
                    <a:pt x="670" y="339"/>
                  </a:lnTo>
                  <a:lnTo>
                    <a:pt x="670" y="343"/>
                  </a:lnTo>
                  <a:lnTo>
                    <a:pt x="670" y="339"/>
                  </a:lnTo>
                  <a:lnTo>
                    <a:pt x="666" y="339"/>
                  </a:lnTo>
                  <a:lnTo>
                    <a:pt x="666" y="335"/>
                  </a:lnTo>
                  <a:lnTo>
                    <a:pt x="670" y="331"/>
                  </a:lnTo>
                  <a:lnTo>
                    <a:pt x="666" y="331"/>
                  </a:lnTo>
                  <a:lnTo>
                    <a:pt x="670" y="331"/>
                  </a:lnTo>
                  <a:lnTo>
                    <a:pt x="670" y="327"/>
                  </a:lnTo>
                  <a:lnTo>
                    <a:pt x="670" y="331"/>
                  </a:lnTo>
                  <a:lnTo>
                    <a:pt x="670" y="327"/>
                  </a:lnTo>
                  <a:lnTo>
                    <a:pt x="670" y="331"/>
                  </a:lnTo>
                  <a:lnTo>
                    <a:pt x="666" y="331"/>
                  </a:lnTo>
                  <a:lnTo>
                    <a:pt x="666" y="335"/>
                  </a:lnTo>
                  <a:lnTo>
                    <a:pt x="662" y="335"/>
                  </a:lnTo>
                  <a:lnTo>
                    <a:pt x="662" y="331"/>
                  </a:lnTo>
                  <a:lnTo>
                    <a:pt x="658" y="331"/>
                  </a:lnTo>
                  <a:lnTo>
                    <a:pt x="654" y="327"/>
                  </a:lnTo>
                  <a:lnTo>
                    <a:pt x="654" y="323"/>
                  </a:lnTo>
                  <a:lnTo>
                    <a:pt x="651" y="323"/>
                  </a:lnTo>
                  <a:lnTo>
                    <a:pt x="651" y="319"/>
                  </a:lnTo>
                  <a:lnTo>
                    <a:pt x="651" y="315"/>
                  </a:lnTo>
                  <a:lnTo>
                    <a:pt x="651" y="311"/>
                  </a:lnTo>
                  <a:lnTo>
                    <a:pt x="647" y="311"/>
                  </a:lnTo>
                  <a:lnTo>
                    <a:pt x="647" y="307"/>
                  </a:lnTo>
                  <a:lnTo>
                    <a:pt x="647" y="311"/>
                  </a:lnTo>
                  <a:lnTo>
                    <a:pt x="651" y="315"/>
                  </a:lnTo>
                  <a:lnTo>
                    <a:pt x="647" y="315"/>
                  </a:lnTo>
                  <a:lnTo>
                    <a:pt x="647" y="311"/>
                  </a:lnTo>
                  <a:lnTo>
                    <a:pt x="647" y="315"/>
                  </a:lnTo>
                  <a:lnTo>
                    <a:pt x="647" y="319"/>
                  </a:lnTo>
                  <a:lnTo>
                    <a:pt x="651" y="319"/>
                  </a:lnTo>
                  <a:lnTo>
                    <a:pt x="651" y="323"/>
                  </a:lnTo>
                  <a:lnTo>
                    <a:pt x="651" y="327"/>
                  </a:lnTo>
                  <a:lnTo>
                    <a:pt x="651" y="331"/>
                  </a:lnTo>
                  <a:lnTo>
                    <a:pt x="654" y="331"/>
                  </a:lnTo>
                  <a:lnTo>
                    <a:pt x="654" y="335"/>
                  </a:lnTo>
                  <a:lnTo>
                    <a:pt x="651" y="335"/>
                  </a:lnTo>
                  <a:lnTo>
                    <a:pt x="647" y="335"/>
                  </a:lnTo>
                  <a:lnTo>
                    <a:pt x="647" y="331"/>
                  </a:lnTo>
                  <a:lnTo>
                    <a:pt x="643" y="331"/>
                  </a:lnTo>
                  <a:lnTo>
                    <a:pt x="639" y="331"/>
                  </a:lnTo>
                  <a:lnTo>
                    <a:pt x="643" y="327"/>
                  </a:lnTo>
                  <a:lnTo>
                    <a:pt x="639" y="327"/>
                  </a:lnTo>
                  <a:lnTo>
                    <a:pt x="639" y="323"/>
                  </a:lnTo>
                  <a:lnTo>
                    <a:pt x="639" y="319"/>
                  </a:lnTo>
                  <a:lnTo>
                    <a:pt x="643" y="319"/>
                  </a:lnTo>
                  <a:lnTo>
                    <a:pt x="639" y="319"/>
                  </a:lnTo>
                  <a:lnTo>
                    <a:pt x="639" y="315"/>
                  </a:lnTo>
                  <a:lnTo>
                    <a:pt x="635" y="315"/>
                  </a:lnTo>
                  <a:lnTo>
                    <a:pt x="635" y="319"/>
                  </a:lnTo>
                  <a:lnTo>
                    <a:pt x="639" y="319"/>
                  </a:lnTo>
                  <a:lnTo>
                    <a:pt x="639" y="323"/>
                  </a:lnTo>
                  <a:lnTo>
                    <a:pt x="635" y="323"/>
                  </a:lnTo>
                  <a:lnTo>
                    <a:pt x="631" y="323"/>
                  </a:lnTo>
                  <a:lnTo>
                    <a:pt x="631" y="319"/>
                  </a:lnTo>
                  <a:lnTo>
                    <a:pt x="627" y="319"/>
                  </a:lnTo>
                  <a:lnTo>
                    <a:pt x="623" y="315"/>
                  </a:lnTo>
                  <a:lnTo>
                    <a:pt x="623" y="319"/>
                  </a:lnTo>
                  <a:lnTo>
                    <a:pt x="623" y="323"/>
                  </a:lnTo>
                  <a:lnTo>
                    <a:pt x="623" y="319"/>
                  </a:lnTo>
                  <a:lnTo>
                    <a:pt x="627" y="319"/>
                  </a:lnTo>
                  <a:lnTo>
                    <a:pt x="631" y="319"/>
                  </a:lnTo>
                  <a:lnTo>
                    <a:pt x="631" y="323"/>
                  </a:lnTo>
                  <a:lnTo>
                    <a:pt x="627" y="323"/>
                  </a:lnTo>
                  <a:lnTo>
                    <a:pt x="631" y="323"/>
                  </a:lnTo>
                  <a:lnTo>
                    <a:pt x="635" y="323"/>
                  </a:lnTo>
                  <a:lnTo>
                    <a:pt x="631" y="327"/>
                  </a:lnTo>
                  <a:lnTo>
                    <a:pt x="635" y="327"/>
                  </a:lnTo>
                  <a:lnTo>
                    <a:pt x="639" y="327"/>
                  </a:lnTo>
                  <a:lnTo>
                    <a:pt x="639" y="331"/>
                  </a:lnTo>
                  <a:lnTo>
                    <a:pt x="635" y="335"/>
                  </a:lnTo>
                  <a:lnTo>
                    <a:pt x="635" y="331"/>
                  </a:lnTo>
                  <a:lnTo>
                    <a:pt x="631" y="331"/>
                  </a:lnTo>
                  <a:lnTo>
                    <a:pt x="631" y="335"/>
                  </a:lnTo>
                  <a:lnTo>
                    <a:pt x="631" y="331"/>
                  </a:lnTo>
                  <a:lnTo>
                    <a:pt x="635" y="335"/>
                  </a:lnTo>
                  <a:lnTo>
                    <a:pt x="631" y="335"/>
                  </a:lnTo>
                  <a:lnTo>
                    <a:pt x="631" y="331"/>
                  </a:lnTo>
                  <a:lnTo>
                    <a:pt x="627" y="335"/>
                  </a:lnTo>
                  <a:lnTo>
                    <a:pt x="631" y="335"/>
                  </a:lnTo>
                  <a:lnTo>
                    <a:pt x="627" y="335"/>
                  </a:lnTo>
                  <a:lnTo>
                    <a:pt x="627" y="331"/>
                  </a:lnTo>
                  <a:lnTo>
                    <a:pt x="623" y="331"/>
                  </a:lnTo>
                  <a:lnTo>
                    <a:pt x="619" y="331"/>
                  </a:lnTo>
                  <a:lnTo>
                    <a:pt x="619" y="327"/>
                  </a:lnTo>
                  <a:lnTo>
                    <a:pt x="615" y="327"/>
                  </a:lnTo>
                  <a:lnTo>
                    <a:pt x="615" y="323"/>
                  </a:lnTo>
                  <a:lnTo>
                    <a:pt x="615" y="327"/>
                  </a:lnTo>
                  <a:lnTo>
                    <a:pt x="611" y="323"/>
                  </a:lnTo>
                  <a:lnTo>
                    <a:pt x="611" y="319"/>
                  </a:lnTo>
                  <a:lnTo>
                    <a:pt x="607" y="319"/>
                  </a:lnTo>
                  <a:lnTo>
                    <a:pt x="607" y="315"/>
                  </a:lnTo>
                  <a:lnTo>
                    <a:pt x="603" y="315"/>
                  </a:lnTo>
                  <a:lnTo>
                    <a:pt x="599" y="315"/>
                  </a:lnTo>
                  <a:lnTo>
                    <a:pt x="603" y="311"/>
                  </a:lnTo>
                  <a:lnTo>
                    <a:pt x="599" y="311"/>
                  </a:lnTo>
                  <a:lnTo>
                    <a:pt x="599" y="315"/>
                  </a:lnTo>
                  <a:lnTo>
                    <a:pt x="595" y="311"/>
                  </a:lnTo>
                  <a:lnTo>
                    <a:pt x="591" y="311"/>
                  </a:lnTo>
                  <a:lnTo>
                    <a:pt x="591" y="307"/>
                  </a:lnTo>
                  <a:lnTo>
                    <a:pt x="587" y="307"/>
                  </a:lnTo>
                  <a:lnTo>
                    <a:pt x="583" y="307"/>
                  </a:lnTo>
                  <a:lnTo>
                    <a:pt x="583" y="303"/>
                  </a:lnTo>
                  <a:lnTo>
                    <a:pt x="587" y="299"/>
                  </a:lnTo>
                  <a:lnTo>
                    <a:pt x="583" y="299"/>
                  </a:lnTo>
                  <a:lnTo>
                    <a:pt x="583" y="295"/>
                  </a:lnTo>
                  <a:lnTo>
                    <a:pt x="587" y="295"/>
                  </a:lnTo>
                  <a:lnTo>
                    <a:pt x="587" y="299"/>
                  </a:lnTo>
                  <a:lnTo>
                    <a:pt x="587" y="303"/>
                  </a:lnTo>
                  <a:lnTo>
                    <a:pt x="591" y="303"/>
                  </a:lnTo>
                  <a:lnTo>
                    <a:pt x="591" y="299"/>
                  </a:lnTo>
                  <a:lnTo>
                    <a:pt x="587" y="299"/>
                  </a:lnTo>
                  <a:lnTo>
                    <a:pt x="591" y="295"/>
                  </a:lnTo>
                  <a:lnTo>
                    <a:pt x="595" y="299"/>
                  </a:lnTo>
                  <a:lnTo>
                    <a:pt x="595" y="295"/>
                  </a:lnTo>
                  <a:lnTo>
                    <a:pt x="591" y="295"/>
                  </a:lnTo>
                  <a:lnTo>
                    <a:pt x="587" y="295"/>
                  </a:lnTo>
                  <a:lnTo>
                    <a:pt x="587" y="291"/>
                  </a:lnTo>
                  <a:lnTo>
                    <a:pt x="583" y="291"/>
                  </a:lnTo>
                  <a:lnTo>
                    <a:pt x="583" y="295"/>
                  </a:lnTo>
                  <a:lnTo>
                    <a:pt x="579" y="299"/>
                  </a:lnTo>
                  <a:lnTo>
                    <a:pt x="575" y="299"/>
                  </a:lnTo>
                  <a:lnTo>
                    <a:pt x="571" y="299"/>
                  </a:lnTo>
                  <a:lnTo>
                    <a:pt x="567" y="299"/>
                  </a:lnTo>
                  <a:lnTo>
                    <a:pt x="563" y="299"/>
                  </a:lnTo>
                  <a:lnTo>
                    <a:pt x="559" y="295"/>
                  </a:lnTo>
                  <a:lnTo>
                    <a:pt x="555" y="295"/>
                  </a:lnTo>
                  <a:lnTo>
                    <a:pt x="559" y="295"/>
                  </a:lnTo>
                  <a:lnTo>
                    <a:pt x="559" y="291"/>
                  </a:lnTo>
                  <a:lnTo>
                    <a:pt x="555" y="291"/>
                  </a:lnTo>
                  <a:lnTo>
                    <a:pt x="555" y="295"/>
                  </a:lnTo>
                  <a:lnTo>
                    <a:pt x="551" y="295"/>
                  </a:lnTo>
                  <a:lnTo>
                    <a:pt x="551" y="291"/>
                  </a:lnTo>
                  <a:lnTo>
                    <a:pt x="547" y="291"/>
                  </a:lnTo>
                  <a:lnTo>
                    <a:pt x="539" y="291"/>
                  </a:lnTo>
                  <a:lnTo>
                    <a:pt x="535" y="291"/>
                  </a:lnTo>
                  <a:lnTo>
                    <a:pt x="531" y="291"/>
                  </a:lnTo>
                  <a:lnTo>
                    <a:pt x="527" y="291"/>
                  </a:lnTo>
                  <a:lnTo>
                    <a:pt x="523" y="291"/>
                  </a:lnTo>
                  <a:lnTo>
                    <a:pt x="519" y="291"/>
                  </a:lnTo>
                  <a:lnTo>
                    <a:pt x="515" y="291"/>
                  </a:lnTo>
                  <a:lnTo>
                    <a:pt x="515" y="287"/>
                  </a:lnTo>
                  <a:lnTo>
                    <a:pt x="511" y="287"/>
                  </a:lnTo>
                  <a:lnTo>
                    <a:pt x="507" y="287"/>
                  </a:lnTo>
                  <a:lnTo>
                    <a:pt x="503" y="287"/>
                  </a:lnTo>
                  <a:lnTo>
                    <a:pt x="503" y="283"/>
                  </a:lnTo>
                  <a:lnTo>
                    <a:pt x="503" y="279"/>
                  </a:lnTo>
                  <a:lnTo>
                    <a:pt x="507" y="279"/>
                  </a:lnTo>
                  <a:lnTo>
                    <a:pt x="507" y="275"/>
                  </a:lnTo>
                  <a:lnTo>
                    <a:pt x="503" y="279"/>
                  </a:lnTo>
                  <a:lnTo>
                    <a:pt x="499" y="283"/>
                  </a:lnTo>
                  <a:lnTo>
                    <a:pt x="495" y="283"/>
                  </a:lnTo>
                  <a:lnTo>
                    <a:pt x="491" y="283"/>
                  </a:lnTo>
                  <a:lnTo>
                    <a:pt x="487" y="279"/>
                  </a:lnTo>
                  <a:lnTo>
                    <a:pt x="491" y="279"/>
                  </a:lnTo>
                  <a:lnTo>
                    <a:pt x="491" y="275"/>
                  </a:lnTo>
                  <a:lnTo>
                    <a:pt x="491" y="279"/>
                  </a:lnTo>
                  <a:lnTo>
                    <a:pt x="487" y="279"/>
                  </a:lnTo>
                  <a:lnTo>
                    <a:pt x="487" y="275"/>
                  </a:lnTo>
                  <a:lnTo>
                    <a:pt x="487" y="279"/>
                  </a:lnTo>
                  <a:lnTo>
                    <a:pt x="483" y="279"/>
                  </a:lnTo>
                  <a:lnTo>
                    <a:pt x="483" y="275"/>
                  </a:lnTo>
                  <a:lnTo>
                    <a:pt x="487" y="275"/>
                  </a:lnTo>
                  <a:lnTo>
                    <a:pt x="483" y="275"/>
                  </a:lnTo>
                  <a:lnTo>
                    <a:pt x="479" y="275"/>
                  </a:lnTo>
                  <a:lnTo>
                    <a:pt x="475" y="275"/>
                  </a:lnTo>
                  <a:lnTo>
                    <a:pt x="479" y="275"/>
                  </a:lnTo>
                  <a:lnTo>
                    <a:pt x="483" y="271"/>
                  </a:lnTo>
                  <a:lnTo>
                    <a:pt x="479" y="271"/>
                  </a:lnTo>
                  <a:lnTo>
                    <a:pt x="475" y="271"/>
                  </a:lnTo>
                  <a:lnTo>
                    <a:pt x="479" y="267"/>
                  </a:lnTo>
                  <a:lnTo>
                    <a:pt x="483" y="267"/>
                  </a:lnTo>
                  <a:lnTo>
                    <a:pt x="483" y="263"/>
                  </a:lnTo>
                  <a:lnTo>
                    <a:pt x="479" y="263"/>
                  </a:lnTo>
                  <a:lnTo>
                    <a:pt x="479" y="267"/>
                  </a:lnTo>
                  <a:lnTo>
                    <a:pt x="475" y="267"/>
                  </a:lnTo>
                  <a:lnTo>
                    <a:pt x="471" y="271"/>
                  </a:lnTo>
                  <a:lnTo>
                    <a:pt x="471" y="267"/>
                  </a:lnTo>
                  <a:lnTo>
                    <a:pt x="467" y="267"/>
                  </a:lnTo>
                  <a:lnTo>
                    <a:pt x="467" y="271"/>
                  </a:lnTo>
                  <a:lnTo>
                    <a:pt x="463" y="271"/>
                  </a:lnTo>
                  <a:lnTo>
                    <a:pt x="463" y="267"/>
                  </a:lnTo>
                  <a:lnTo>
                    <a:pt x="463" y="263"/>
                  </a:lnTo>
                  <a:lnTo>
                    <a:pt x="463" y="271"/>
                  </a:lnTo>
                  <a:lnTo>
                    <a:pt x="459" y="271"/>
                  </a:lnTo>
                  <a:lnTo>
                    <a:pt x="455" y="271"/>
                  </a:lnTo>
                  <a:lnTo>
                    <a:pt x="459" y="267"/>
                  </a:lnTo>
                  <a:lnTo>
                    <a:pt x="459" y="263"/>
                  </a:lnTo>
                  <a:lnTo>
                    <a:pt x="459" y="267"/>
                  </a:lnTo>
                  <a:lnTo>
                    <a:pt x="455" y="267"/>
                  </a:lnTo>
                  <a:lnTo>
                    <a:pt x="451" y="267"/>
                  </a:lnTo>
                  <a:lnTo>
                    <a:pt x="455" y="267"/>
                  </a:lnTo>
                  <a:lnTo>
                    <a:pt x="451" y="271"/>
                  </a:lnTo>
                  <a:lnTo>
                    <a:pt x="447" y="271"/>
                  </a:lnTo>
                  <a:lnTo>
                    <a:pt x="447" y="275"/>
                  </a:lnTo>
                  <a:lnTo>
                    <a:pt x="447" y="271"/>
                  </a:lnTo>
                  <a:lnTo>
                    <a:pt x="451" y="275"/>
                  </a:lnTo>
                  <a:lnTo>
                    <a:pt x="447" y="275"/>
                  </a:lnTo>
                  <a:lnTo>
                    <a:pt x="451" y="275"/>
                  </a:lnTo>
                  <a:lnTo>
                    <a:pt x="455" y="279"/>
                  </a:lnTo>
                  <a:lnTo>
                    <a:pt x="451" y="279"/>
                  </a:lnTo>
                  <a:lnTo>
                    <a:pt x="447" y="279"/>
                  </a:lnTo>
                  <a:lnTo>
                    <a:pt x="447" y="283"/>
                  </a:lnTo>
                  <a:close/>
                  <a:moveTo>
                    <a:pt x="463" y="283"/>
                  </a:moveTo>
                  <a:lnTo>
                    <a:pt x="459" y="283"/>
                  </a:lnTo>
                  <a:lnTo>
                    <a:pt x="463" y="283"/>
                  </a:lnTo>
                  <a:lnTo>
                    <a:pt x="459" y="287"/>
                  </a:lnTo>
                  <a:lnTo>
                    <a:pt x="459" y="283"/>
                  </a:lnTo>
                  <a:lnTo>
                    <a:pt x="463" y="279"/>
                  </a:lnTo>
                  <a:lnTo>
                    <a:pt x="463" y="283"/>
                  </a:lnTo>
                  <a:close/>
                  <a:moveTo>
                    <a:pt x="240" y="411"/>
                  </a:moveTo>
                  <a:lnTo>
                    <a:pt x="240" y="415"/>
                  </a:lnTo>
                  <a:lnTo>
                    <a:pt x="240" y="411"/>
                  </a:lnTo>
                  <a:close/>
                  <a:moveTo>
                    <a:pt x="1540" y="754"/>
                  </a:moveTo>
                  <a:lnTo>
                    <a:pt x="1540" y="758"/>
                  </a:lnTo>
                  <a:lnTo>
                    <a:pt x="1540" y="754"/>
                  </a:lnTo>
                  <a:lnTo>
                    <a:pt x="1536" y="754"/>
                  </a:lnTo>
                  <a:lnTo>
                    <a:pt x="1540" y="758"/>
                  </a:lnTo>
                  <a:lnTo>
                    <a:pt x="1540" y="762"/>
                  </a:lnTo>
                  <a:lnTo>
                    <a:pt x="1540" y="766"/>
                  </a:lnTo>
                  <a:lnTo>
                    <a:pt x="1540" y="770"/>
                  </a:lnTo>
                  <a:lnTo>
                    <a:pt x="1540" y="774"/>
                  </a:lnTo>
                  <a:lnTo>
                    <a:pt x="1536" y="774"/>
                  </a:lnTo>
                  <a:lnTo>
                    <a:pt x="1536" y="770"/>
                  </a:lnTo>
                  <a:lnTo>
                    <a:pt x="1536" y="766"/>
                  </a:lnTo>
                  <a:lnTo>
                    <a:pt x="1536" y="770"/>
                  </a:lnTo>
                  <a:lnTo>
                    <a:pt x="1536" y="774"/>
                  </a:lnTo>
                  <a:lnTo>
                    <a:pt x="1540" y="774"/>
                  </a:lnTo>
                  <a:lnTo>
                    <a:pt x="1540" y="778"/>
                  </a:lnTo>
                  <a:lnTo>
                    <a:pt x="1540" y="782"/>
                  </a:lnTo>
                  <a:lnTo>
                    <a:pt x="1540" y="778"/>
                  </a:lnTo>
                  <a:lnTo>
                    <a:pt x="1536" y="778"/>
                  </a:lnTo>
                  <a:lnTo>
                    <a:pt x="1532" y="774"/>
                  </a:lnTo>
                  <a:lnTo>
                    <a:pt x="1528" y="774"/>
                  </a:lnTo>
                  <a:lnTo>
                    <a:pt x="1528" y="770"/>
                  </a:lnTo>
                  <a:lnTo>
                    <a:pt x="1528" y="766"/>
                  </a:lnTo>
                  <a:lnTo>
                    <a:pt x="1532" y="766"/>
                  </a:lnTo>
                  <a:lnTo>
                    <a:pt x="1532" y="762"/>
                  </a:lnTo>
                  <a:lnTo>
                    <a:pt x="1532" y="766"/>
                  </a:lnTo>
                  <a:lnTo>
                    <a:pt x="1528" y="766"/>
                  </a:lnTo>
                  <a:lnTo>
                    <a:pt x="1528" y="770"/>
                  </a:lnTo>
                  <a:lnTo>
                    <a:pt x="1528" y="774"/>
                  </a:lnTo>
                  <a:lnTo>
                    <a:pt x="1532" y="774"/>
                  </a:lnTo>
                  <a:lnTo>
                    <a:pt x="1532" y="778"/>
                  </a:lnTo>
                  <a:lnTo>
                    <a:pt x="1536" y="778"/>
                  </a:lnTo>
                  <a:lnTo>
                    <a:pt x="1540" y="782"/>
                  </a:lnTo>
                  <a:lnTo>
                    <a:pt x="1544" y="782"/>
                  </a:lnTo>
                  <a:lnTo>
                    <a:pt x="1544" y="786"/>
                  </a:lnTo>
                  <a:lnTo>
                    <a:pt x="1540" y="790"/>
                  </a:lnTo>
                  <a:lnTo>
                    <a:pt x="1540" y="786"/>
                  </a:lnTo>
                  <a:lnTo>
                    <a:pt x="1536" y="786"/>
                  </a:lnTo>
                  <a:lnTo>
                    <a:pt x="1532" y="782"/>
                  </a:lnTo>
                  <a:lnTo>
                    <a:pt x="1532" y="778"/>
                  </a:lnTo>
                  <a:lnTo>
                    <a:pt x="1528" y="778"/>
                  </a:lnTo>
                  <a:lnTo>
                    <a:pt x="1532" y="778"/>
                  </a:lnTo>
                  <a:lnTo>
                    <a:pt x="1532" y="782"/>
                  </a:lnTo>
                  <a:lnTo>
                    <a:pt x="1536" y="786"/>
                  </a:lnTo>
                  <a:lnTo>
                    <a:pt x="1540" y="790"/>
                  </a:lnTo>
                  <a:lnTo>
                    <a:pt x="1544" y="790"/>
                  </a:lnTo>
                  <a:lnTo>
                    <a:pt x="1544" y="794"/>
                  </a:lnTo>
                  <a:lnTo>
                    <a:pt x="1540" y="794"/>
                  </a:lnTo>
                  <a:lnTo>
                    <a:pt x="1540" y="798"/>
                  </a:lnTo>
                  <a:lnTo>
                    <a:pt x="1540" y="794"/>
                  </a:lnTo>
                  <a:lnTo>
                    <a:pt x="1536" y="794"/>
                  </a:lnTo>
                  <a:lnTo>
                    <a:pt x="1540" y="794"/>
                  </a:lnTo>
                  <a:lnTo>
                    <a:pt x="1540" y="798"/>
                  </a:lnTo>
                  <a:lnTo>
                    <a:pt x="1544" y="798"/>
                  </a:lnTo>
                  <a:lnTo>
                    <a:pt x="1540" y="802"/>
                  </a:lnTo>
                  <a:lnTo>
                    <a:pt x="1536" y="798"/>
                  </a:lnTo>
                  <a:lnTo>
                    <a:pt x="1532" y="798"/>
                  </a:lnTo>
                  <a:lnTo>
                    <a:pt x="1532" y="794"/>
                  </a:lnTo>
                  <a:lnTo>
                    <a:pt x="1528" y="794"/>
                  </a:lnTo>
                  <a:lnTo>
                    <a:pt x="1532" y="794"/>
                  </a:lnTo>
                  <a:lnTo>
                    <a:pt x="1532" y="798"/>
                  </a:lnTo>
                  <a:lnTo>
                    <a:pt x="1536" y="798"/>
                  </a:lnTo>
                  <a:lnTo>
                    <a:pt x="1536" y="802"/>
                  </a:lnTo>
                  <a:lnTo>
                    <a:pt x="1540" y="802"/>
                  </a:lnTo>
                  <a:lnTo>
                    <a:pt x="1540" y="806"/>
                  </a:lnTo>
                  <a:lnTo>
                    <a:pt x="1540" y="802"/>
                  </a:lnTo>
                  <a:lnTo>
                    <a:pt x="1544" y="802"/>
                  </a:lnTo>
                  <a:lnTo>
                    <a:pt x="1548" y="802"/>
                  </a:lnTo>
                  <a:lnTo>
                    <a:pt x="1548" y="806"/>
                  </a:lnTo>
                  <a:lnTo>
                    <a:pt x="1548" y="810"/>
                  </a:lnTo>
                  <a:lnTo>
                    <a:pt x="1548" y="814"/>
                  </a:lnTo>
                  <a:lnTo>
                    <a:pt x="1548" y="818"/>
                  </a:lnTo>
                  <a:lnTo>
                    <a:pt x="1552" y="818"/>
                  </a:lnTo>
                  <a:lnTo>
                    <a:pt x="1552" y="822"/>
                  </a:lnTo>
                  <a:lnTo>
                    <a:pt x="1552" y="826"/>
                  </a:lnTo>
                  <a:lnTo>
                    <a:pt x="1552" y="822"/>
                  </a:lnTo>
                  <a:lnTo>
                    <a:pt x="1552" y="818"/>
                  </a:lnTo>
                  <a:lnTo>
                    <a:pt x="1548" y="818"/>
                  </a:lnTo>
                  <a:lnTo>
                    <a:pt x="1548" y="814"/>
                  </a:lnTo>
                  <a:lnTo>
                    <a:pt x="1548" y="810"/>
                  </a:lnTo>
                  <a:lnTo>
                    <a:pt x="1548" y="806"/>
                  </a:lnTo>
                  <a:lnTo>
                    <a:pt x="1548" y="810"/>
                  </a:lnTo>
                  <a:lnTo>
                    <a:pt x="1544" y="810"/>
                  </a:lnTo>
                  <a:lnTo>
                    <a:pt x="1548" y="814"/>
                  </a:lnTo>
                  <a:lnTo>
                    <a:pt x="1548" y="818"/>
                  </a:lnTo>
                  <a:lnTo>
                    <a:pt x="1548" y="822"/>
                  </a:lnTo>
                  <a:lnTo>
                    <a:pt x="1548" y="818"/>
                  </a:lnTo>
                  <a:lnTo>
                    <a:pt x="1548" y="814"/>
                  </a:lnTo>
                  <a:lnTo>
                    <a:pt x="1548" y="818"/>
                  </a:lnTo>
                  <a:lnTo>
                    <a:pt x="1544" y="818"/>
                  </a:lnTo>
                  <a:lnTo>
                    <a:pt x="1544" y="814"/>
                  </a:lnTo>
                  <a:lnTo>
                    <a:pt x="1544" y="818"/>
                  </a:lnTo>
                  <a:lnTo>
                    <a:pt x="1540" y="818"/>
                  </a:lnTo>
                  <a:lnTo>
                    <a:pt x="1540" y="822"/>
                  </a:lnTo>
                  <a:lnTo>
                    <a:pt x="1536" y="822"/>
                  </a:lnTo>
                  <a:lnTo>
                    <a:pt x="1536" y="818"/>
                  </a:lnTo>
                  <a:lnTo>
                    <a:pt x="1536" y="822"/>
                  </a:lnTo>
                  <a:lnTo>
                    <a:pt x="1540" y="822"/>
                  </a:lnTo>
                  <a:lnTo>
                    <a:pt x="1544" y="822"/>
                  </a:lnTo>
                  <a:lnTo>
                    <a:pt x="1540" y="822"/>
                  </a:lnTo>
                  <a:lnTo>
                    <a:pt x="1544" y="822"/>
                  </a:lnTo>
                  <a:lnTo>
                    <a:pt x="1548" y="822"/>
                  </a:lnTo>
                  <a:lnTo>
                    <a:pt x="1544" y="826"/>
                  </a:lnTo>
                  <a:lnTo>
                    <a:pt x="1544" y="830"/>
                  </a:lnTo>
                  <a:lnTo>
                    <a:pt x="1544" y="826"/>
                  </a:lnTo>
                  <a:lnTo>
                    <a:pt x="1544" y="830"/>
                  </a:lnTo>
                  <a:lnTo>
                    <a:pt x="1548" y="826"/>
                  </a:lnTo>
                  <a:lnTo>
                    <a:pt x="1548" y="822"/>
                  </a:lnTo>
                  <a:lnTo>
                    <a:pt x="1552" y="826"/>
                  </a:lnTo>
                  <a:lnTo>
                    <a:pt x="1552" y="830"/>
                  </a:lnTo>
                  <a:lnTo>
                    <a:pt x="1548" y="830"/>
                  </a:lnTo>
                  <a:lnTo>
                    <a:pt x="1548" y="834"/>
                  </a:lnTo>
                  <a:lnTo>
                    <a:pt x="1544" y="834"/>
                  </a:lnTo>
                  <a:lnTo>
                    <a:pt x="1540" y="834"/>
                  </a:lnTo>
                  <a:lnTo>
                    <a:pt x="1536" y="834"/>
                  </a:lnTo>
                  <a:lnTo>
                    <a:pt x="1536" y="830"/>
                  </a:lnTo>
                  <a:lnTo>
                    <a:pt x="1540" y="830"/>
                  </a:lnTo>
                  <a:lnTo>
                    <a:pt x="1536" y="830"/>
                  </a:lnTo>
                  <a:lnTo>
                    <a:pt x="1536" y="834"/>
                  </a:lnTo>
                  <a:lnTo>
                    <a:pt x="1532" y="834"/>
                  </a:lnTo>
                  <a:lnTo>
                    <a:pt x="1532" y="830"/>
                  </a:lnTo>
                  <a:lnTo>
                    <a:pt x="1532" y="834"/>
                  </a:lnTo>
                  <a:lnTo>
                    <a:pt x="1540" y="834"/>
                  </a:lnTo>
                  <a:lnTo>
                    <a:pt x="1540" y="838"/>
                  </a:lnTo>
                  <a:lnTo>
                    <a:pt x="1536" y="838"/>
                  </a:lnTo>
                  <a:lnTo>
                    <a:pt x="1536" y="842"/>
                  </a:lnTo>
                  <a:lnTo>
                    <a:pt x="1532" y="842"/>
                  </a:lnTo>
                  <a:lnTo>
                    <a:pt x="1532" y="838"/>
                  </a:lnTo>
                  <a:lnTo>
                    <a:pt x="1532" y="842"/>
                  </a:lnTo>
                  <a:lnTo>
                    <a:pt x="1536" y="842"/>
                  </a:lnTo>
                  <a:lnTo>
                    <a:pt x="1540" y="842"/>
                  </a:lnTo>
                  <a:lnTo>
                    <a:pt x="1544" y="842"/>
                  </a:lnTo>
                  <a:lnTo>
                    <a:pt x="1540" y="842"/>
                  </a:lnTo>
                  <a:lnTo>
                    <a:pt x="1540" y="846"/>
                  </a:lnTo>
                  <a:lnTo>
                    <a:pt x="1536" y="846"/>
                  </a:lnTo>
                  <a:lnTo>
                    <a:pt x="1528" y="850"/>
                  </a:lnTo>
                  <a:lnTo>
                    <a:pt x="1524" y="850"/>
                  </a:lnTo>
                  <a:lnTo>
                    <a:pt x="1528" y="850"/>
                  </a:lnTo>
                  <a:lnTo>
                    <a:pt x="1524" y="846"/>
                  </a:lnTo>
                  <a:lnTo>
                    <a:pt x="1524" y="850"/>
                  </a:lnTo>
                  <a:lnTo>
                    <a:pt x="1524" y="854"/>
                  </a:lnTo>
                  <a:lnTo>
                    <a:pt x="1520" y="854"/>
                  </a:lnTo>
                  <a:lnTo>
                    <a:pt x="1520" y="858"/>
                  </a:lnTo>
                  <a:lnTo>
                    <a:pt x="1516" y="858"/>
                  </a:lnTo>
                  <a:lnTo>
                    <a:pt x="1516" y="862"/>
                  </a:lnTo>
                  <a:lnTo>
                    <a:pt x="1516" y="858"/>
                  </a:lnTo>
                  <a:lnTo>
                    <a:pt x="1516" y="862"/>
                  </a:lnTo>
                  <a:lnTo>
                    <a:pt x="1516" y="866"/>
                  </a:lnTo>
                  <a:lnTo>
                    <a:pt x="1516" y="862"/>
                  </a:lnTo>
                  <a:lnTo>
                    <a:pt x="1512" y="862"/>
                  </a:lnTo>
                  <a:lnTo>
                    <a:pt x="1508" y="866"/>
                  </a:lnTo>
                  <a:lnTo>
                    <a:pt x="1504" y="866"/>
                  </a:lnTo>
                  <a:lnTo>
                    <a:pt x="1504" y="870"/>
                  </a:lnTo>
                  <a:lnTo>
                    <a:pt x="1500" y="870"/>
                  </a:lnTo>
                  <a:lnTo>
                    <a:pt x="1500" y="874"/>
                  </a:lnTo>
                  <a:lnTo>
                    <a:pt x="1496" y="878"/>
                  </a:lnTo>
                  <a:lnTo>
                    <a:pt x="1496" y="874"/>
                  </a:lnTo>
                  <a:lnTo>
                    <a:pt x="1496" y="878"/>
                  </a:lnTo>
                  <a:lnTo>
                    <a:pt x="1496" y="882"/>
                  </a:lnTo>
                  <a:lnTo>
                    <a:pt x="1492" y="882"/>
                  </a:lnTo>
                  <a:lnTo>
                    <a:pt x="1488" y="886"/>
                  </a:lnTo>
                  <a:lnTo>
                    <a:pt x="1488" y="890"/>
                  </a:lnTo>
                  <a:lnTo>
                    <a:pt x="1484" y="890"/>
                  </a:lnTo>
                  <a:lnTo>
                    <a:pt x="1480" y="894"/>
                  </a:lnTo>
                  <a:lnTo>
                    <a:pt x="1476" y="890"/>
                  </a:lnTo>
                  <a:lnTo>
                    <a:pt x="1476" y="894"/>
                  </a:lnTo>
                  <a:lnTo>
                    <a:pt x="1480" y="894"/>
                  </a:lnTo>
                  <a:lnTo>
                    <a:pt x="1476" y="898"/>
                  </a:lnTo>
                  <a:lnTo>
                    <a:pt x="1476" y="894"/>
                  </a:lnTo>
                  <a:lnTo>
                    <a:pt x="1472" y="894"/>
                  </a:lnTo>
                  <a:lnTo>
                    <a:pt x="1472" y="890"/>
                  </a:lnTo>
                  <a:lnTo>
                    <a:pt x="1472" y="894"/>
                  </a:lnTo>
                  <a:lnTo>
                    <a:pt x="1476" y="898"/>
                  </a:lnTo>
                  <a:lnTo>
                    <a:pt x="1472" y="898"/>
                  </a:lnTo>
                  <a:lnTo>
                    <a:pt x="1472" y="902"/>
                  </a:lnTo>
                  <a:lnTo>
                    <a:pt x="1472" y="906"/>
                  </a:lnTo>
                  <a:lnTo>
                    <a:pt x="1468" y="906"/>
                  </a:lnTo>
                  <a:lnTo>
                    <a:pt x="1468" y="910"/>
                  </a:lnTo>
                  <a:lnTo>
                    <a:pt x="1464" y="910"/>
                  </a:lnTo>
                  <a:lnTo>
                    <a:pt x="1468" y="914"/>
                  </a:lnTo>
                  <a:lnTo>
                    <a:pt x="1468" y="910"/>
                  </a:lnTo>
                  <a:lnTo>
                    <a:pt x="1468" y="914"/>
                  </a:lnTo>
                  <a:lnTo>
                    <a:pt x="1468" y="918"/>
                  </a:lnTo>
                  <a:lnTo>
                    <a:pt x="1464" y="918"/>
                  </a:lnTo>
                  <a:lnTo>
                    <a:pt x="1464" y="922"/>
                  </a:lnTo>
                  <a:lnTo>
                    <a:pt x="1464" y="918"/>
                  </a:lnTo>
                  <a:lnTo>
                    <a:pt x="1464" y="922"/>
                  </a:lnTo>
                  <a:lnTo>
                    <a:pt x="1464" y="926"/>
                  </a:lnTo>
                  <a:lnTo>
                    <a:pt x="1464" y="930"/>
                  </a:lnTo>
                  <a:lnTo>
                    <a:pt x="1464" y="934"/>
                  </a:lnTo>
                  <a:lnTo>
                    <a:pt x="1464" y="938"/>
                  </a:lnTo>
                  <a:lnTo>
                    <a:pt x="1464" y="942"/>
                  </a:lnTo>
                  <a:lnTo>
                    <a:pt x="1468" y="942"/>
                  </a:lnTo>
                  <a:lnTo>
                    <a:pt x="1468" y="946"/>
                  </a:lnTo>
                  <a:lnTo>
                    <a:pt x="1468" y="950"/>
                  </a:lnTo>
                  <a:lnTo>
                    <a:pt x="1472" y="958"/>
                  </a:lnTo>
                  <a:lnTo>
                    <a:pt x="1472" y="962"/>
                  </a:lnTo>
                  <a:lnTo>
                    <a:pt x="1476" y="966"/>
                  </a:lnTo>
                  <a:lnTo>
                    <a:pt x="1476" y="970"/>
                  </a:lnTo>
                  <a:lnTo>
                    <a:pt x="1476" y="974"/>
                  </a:lnTo>
                  <a:lnTo>
                    <a:pt x="1476" y="978"/>
                  </a:lnTo>
                  <a:lnTo>
                    <a:pt x="1480" y="982"/>
                  </a:lnTo>
                  <a:lnTo>
                    <a:pt x="1476" y="982"/>
                  </a:lnTo>
                  <a:lnTo>
                    <a:pt x="1476" y="978"/>
                  </a:lnTo>
                  <a:lnTo>
                    <a:pt x="1476" y="974"/>
                  </a:lnTo>
                  <a:lnTo>
                    <a:pt x="1476" y="970"/>
                  </a:lnTo>
                  <a:lnTo>
                    <a:pt x="1472" y="970"/>
                  </a:lnTo>
                  <a:lnTo>
                    <a:pt x="1472" y="966"/>
                  </a:lnTo>
                  <a:lnTo>
                    <a:pt x="1476" y="966"/>
                  </a:lnTo>
                  <a:lnTo>
                    <a:pt x="1472" y="966"/>
                  </a:lnTo>
                  <a:lnTo>
                    <a:pt x="1476" y="974"/>
                  </a:lnTo>
                  <a:lnTo>
                    <a:pt x="1476" y="978"/>
                  </a:lnTo>
                  <a:lnTo>
                    <a:pt x="1480" y="982"/>
                  </a:lnTo>
                  <a:lnTo>
                    <a:pt x="1480" y="986"/>
                  </a:lnTo>
                  <a:lnTo>
                    <a:pt x="1480" y="990"/>
                  </a:lnTo>
                  <a:lnTo>
                    <a:pt x="1484" y="998"/>
                  </a:lnTo>
                  <a:lnTo>
                    <a:pt x="1484" y="1002"/>
                  </a:lnTo>
                  <a:lnTo>
                    <a:pt x="1484" y="1006"/>
                  </a:lnTo>
                  <a:lnTo>
                    <a:pt x="1484" y="1010"/>
                  </a:lnTo>
                  <a:lnTo>
                    <a:pt x="1484" y="1014"/>
                  </a:lnTo>
                  <a:lnTo>
                    <a:pt x="1484" y="1022"/>
                  </a:lnTo>
                  <a:lnTo>
                    <a:pt x="1484" y="1026"/>
                  </a:lnTo>
                  <a:lnTo>
                    <a:pt x="1480" y="1026"/>
                  </a:lnTo>
                  <a:lnTo>
                    <a:pt x="1480" y="1030"/>
                  </a:lnTo>
                  <a:lnTo>
                    <a:pt x="1480" y="1034"/>
                  </a:lnTo>
                  <a:lnTo>
                    <a:pt x="1476" y="1034"/>
                  </a:lnTo>
                  <a:lnTo>
                    <a:pt x="1472" y="1034"/>
                  </a:lnTo>
                  <a:lnTo>
                    <a:pt x="1468" y="1038"/>
                  </a:lnTo>
                  <a:lnTo>
                    <a:pt x="1468" y="1034"/>
                  </a:lnTo>
                  <a:lnTo>
                    <a:pt x="1472" y="1034"/>
                  </a:lnTo>
                  <a:lnTo>
                    <a:pt x="1468" y="1034"/>
                  </a:lnTo>
                  <a:lnTo>
                    <a:pt x="1468" y="1030"/>
                  </a:lnTo>
                  <a:lnTo>
                    <a:pt x="1464" y="1022"/>
                  </a:lnTo>
                  <a:lnTo>
                    <a:pt x="1460" y="1022"/>
                  </a:lnTo>
                  <a:lnTo>
                    <a:pt x="1460" y="1018"/>
                  </a:lnTo>
                  <a:lnTo>
                    <a:pt x="1456" y="1014"/>
                  </a:lnTo>
                  <a:lnTo>
                    <a:pt x="1456" y="1010"/>
                  </a:lnTo>
                  <a:lnTo>
                    <a:pt x="1460" y="1006"/>
                  </a:lnTo>
                  <a:lnTo>
                    <a:pt x="1456" y="1006"/>
                  </a:lnTo>
                  <a:lnTo>
                    <a:pt x="1456" y="1010"/>
                  </a:lnTo>
                  <a:lnTo>
                    <a:pt x="1456" y="1006"/>
                  </a:lnTo>
                  <a:lnTo>
                    <a:pt x="1456" y="1002"/>
                  </a:lnTo>
                  <a:lnTo>
                    <a:pt x="1452" y="1002"/>
                  </a:lnTo>
                  <a:lnTo>
                    <a:pt x="1452" y="1006"/>
                  </a:lnTo>
                  <a:lnTo>
                    <a:pt x="1452" y="1002"/>
                  </a:lnTo>
                  <a:lnTo>
                    <a:pt x="1448" y="1002"/>
                  </a:lnTo>
                  <a:lnTo>
                    <a:pt x="1448" y="998"/>
                  </a:lnTo>
                  <a:lnTo>
                    <a:pt x="1448" y="994"/>
                  </a:lnTo>
                  <a:lnTo>
                    <a:pt x="1448" y="990"/>
                  </a:lnTo>
                  <a:lnTo>
                    <a:pt x="1444" y="990"/>
                  </a:lnTo>
                  <a:lnTo>
                    <a:pt x="1448" y="990"/>
                  </a:lnTo>
                  <a:lnTo>
                    <a:pt x="1444" y="990"/>
                  </a:lnTo>
                  <a:lnTo>
                    <a:pt x="1448" y="986"/>
                  </a:lnTo>
                  <a:lnTo>
                    <a:pt x="1448" y="982"/>
                  </a:lnTo>
                  <a:lnTo>
                    <a:pt x="1444" y="978"/>
                  </a:lnTo>
                  <a:lnTo>
                    <a:pt x="1444" y="982"/>
                  </a:lnTo>
                  <a:lnTo>
                    <a:pt x="1448" y="982"/>
                  </a:lnTo>
                  <a:lnTo>
                    <a:pt x="1444" y="986"/>
                  </a:lnTo>
                  <a:lnTo>
                    <a:pt x="1444" y="982"/>
                  </a:lnTo>
                  <a:lnTo>
                    <a:pt x="1444" y="978"/>
                  </a:lnTo>
                  <a:lnTo>
                    <a:pt x="1444" y="974"/>
                  </a:lnTo>
                  <a:lnTo>
                    <a:pt x="1444" y="970"/>
                  </a:lnTo>
                  <a:lnTo>
                    <a:pt x="1444" y="966"/>
                  </a:lnTo>
                  <a:lnTo>
                    <a:pt x="1444" y="962"/>
                  </a:lnTo>
                  <a:lnTo>
                    <a:pt x="1444" y="958"/>
                  </a:lnTo>
                  <a:lnTo>
                    <a:pt x="1440" y="958"/>
                  </a:lnTo>
                  <a:lnTo>
                    <a:pt x="1440" y="954"/>
                  </a:lnTo>
                  <a:lnTo>
                    <a:pt x="1436" y="954"/>
                  </a:lnTo>
                  <a:lnTo>
                    <a:pt x="1436" y="950"/>
                  </a:lnTo>
                  <a:lnTo>
                    <a:pt x="1432" y="950"/>
                  </a:lnTo>
                  <a:lnTo>
                    <a:pt x="1432" y="946"/>
                  </a:lnTo>
                  <a:lnTo>
                    <a:pt x="1432" y="942"/>
                  </a:lnTo>
                  <a:lnTo>
                    <a:pt x="1428" y="942"/>
                  </a:lnTo>
                  <a:lnTo>
                    <a:pt x="1424" y="942"/>
                  </a:lnTo>
                  <a:lnTo>
                    <a:pt x="1424" y="938"/>
                  </a:lnTo>
                  <a:lnTo>
                    <a:pt x="1420" y="938"/>
                  </a:lnTo>
                  <a:lnTo>
                    <a:pt x="1416" y="942"/>
                  </a:lnTo>
                  <a:lnTo>
                    <a:pt x="1420" y="942"/>
                  </a:lnTo>
                  <a:lnTo>
                    <a:pt x="1416" y="942"/>
                  </a:lnTo>
                  <a:lnTo>
                    <a:pt x="1416" y="946"/>
                  </a:lnTo>
                  <a:lnTo>
                    <a:pt x="1412" y="946"/>
                  </a:lnTo>
                  <a:lnTo>
                    <a:pt x="1408" y="946"/>
                  </a:lnTo>
                  <a:lnTo>
                    <a:pt x="1404" y="946"/>
                  </a:lnTo>
                  <a:lnTo>
                    <a:pt x="1404" y="942"/>
                  </a:lnTo>
                  <a:lnTo>
                    <a:pt x="1400" y="942"/>
                  </a:lnTo>
                  <a:lnTo>
                    <a:pt x="1400" y="938"/>
                  </a:lnTo>
                  <a:lnTo>
                    <a:pt x="1400" y="942"/>
                  </a:lnTo>
                  <a:lnTo>
                    <a:pt x="1404" y="942"/>
                  </a:lnTo>
                  <a:lnTo>
                    <a:pt x="1400" y="938"/>
                  </a:lnTo>
                  <a:lnTo>
                    <a:pt x="1400" y="934"/>
                  </a:lnTo>
                  <a:lnTo>
                    <a:pt x="1396" y="934"/>
                  </a:lnTo>
                  <a:lnTo>
                    <a:pt x="1396" y="938"/>
                  </a:lnTo>
                  <a:lnTo>
                    <a:pt x="1400" y="938"/>
                  </a:lnTo>
                  <a:lnTo>
                    <a:pt x="1396" y="938"/>
                  </a:lnTo>
                  <a:lnTo>
                    <a:pt x="1396" y="934"/>
                  </a:lnTo>
                  <a:lnTo>
                    <a:pt x="1392" y="934"/>
                  </a:lnTo>
                  <a:lnTo>
                    <a:pt x="1388" y="934"/>
                  </a:lnTo>
                  <a:lnTo>
                    <a:pt x="1392" y="934"/>
                  </a:lnTo>
                  <a:lnTo>
                    <a:pt x="1392" y="930"/>
                  </a:lnTo>
                  <a:lnTo>
                    <a:pt x="1388" y="930"/>
                  </a:lnTo>
                  <a:lnTo>
                    <a:pt x="1388" y="934"/>
                  </a:lnTo>
                  <a:lnTo>
                    <a:pt x="1384" y="934"/>
                  </a:lnTo>
                  <a:lnTo>
                    <a:pt x="1380" y="934"/>
                  </a:lnTo>
                  <a:lnTo>
                    <a:pt x="1376" y="934"/>
                  </a:lnTo>
                  <a:lnTo>
                    <a:pt x="1380" y="934"/>
                  </a:lnTo>
                  <a:lnTo>
                    <a:pt x="1380" y="930"/>
                  </a:lnTo>
                  <a:lnTo>
                    <a:pt x="1376" y="930"/>
                  </a:lnTo>
                  <a:lnTo>
                    <a:pt x="1376" y="934"/>
                  </a:lnTo>
                  <a:lnTo>
                    <a:pt x="1372" y="934"/>
                  </a:lnTo>
                  <a:lnTo>
                    <a:pt x="1376" y="934"/>
                  </a:lnTo>
                  <a:lnTo>
                    <a:pt x="1372" y="930"/>
                  </a:lnTo>
                  <a:lnTo>
                    <a:pt x="1372" y="934"/>
                  </a:lnTo>
                  <a:lnTo>
                    <a:pt x="1368" y="938"/>
                  </a:lnTo>
                  <a:lnTo>
                    <a:pt x="1364" y="938"/>
                  </a:lnTo>
                  <a:lnTo>
                    <a:pt x="1368" y="938"/>
                  </a:lnTo>
                  <a:lnTo>
                    <a:pt x="1368" y="934"/>
                  </a:lnTo>
                  <a:lnTo>
                    <a:pt x="1364" y="934"/>
                  </a:lnTo>
                  <a:lnTo>
                    <a:pt x="1364" y="930"/>
                  </a:lnTo>
                  <a:lnTo>
                    <a:pt x="1364" y="926"/>
                  </a:lnTo>
                  <a:lnTo>
                    <a:pt x="1364" y="930"/>
                  </a:lnTo>
                  <a:lnTo>
                    <a:pt x="1364" y="934"/>
                  </a:lnTo>
                  <a:lnTo>
                    <a:pt x="1360" y="934"/>
                  </a:lnTo>
                  <a:lnTo>
                    <a:pt x="1357" y="934"/>
                  </a:lnTo>
                  <a:lnTo>
                    <a:pt x="1353" y="934"/>
                  </a:lnTo>
                  <a:lnTo>
                    <a:pt x="1349" y="934"/>
                  </a:lnTo>
                  <a:lnTo>
                    <a:pt x="1345" y="934"/>
                  </a:lnTo>
                  <a:lnTo>
                    <a:pt x="1345" y="938"/>
                  </a:lnTo>
                  <a:lnTo>
                    <a:pt x="1341" y="938"/>
                  </a:lnTo>
                  <a:lnTo>
                    <a:pt x="1337" y="938"/>
                  </a:lnTo>
                  <a:lnTo>
                    <a:pt x="1337" y="934"/>
                  </a:lnTo>
                  <a:lnTo>
                    <a:pt x="1333" y="934"/>
                  </a:lnTo>
                  <a:lnTo>
                    <a:pt x="1329" y="938"/>
                  </a:lnTo>
                  <a:lnTo>
                    <a:pt x="1329" y="942"/>
                  </a:lnTo>
                  <a:lnTo>
                    <a:pt x="1333" y="942"/>
                  </a:lnTo>
                  <a:lnTo>
                    <a:pt x="1337" y="938"/>
                  </a:lnTo>
                  <a:lnTo>
                    <a:pt x="1341" y="938"/>
                  </a:lnTo>
                  <a:lnTo>
                    <a:pt x="1341" y="942"/>
                  </a:lnTo>
                  <a:lnTo>
                    <a:pt x="1337" y="942"/>
                  </a:lnTo>
                  <a:lnTo>
                    <a:pt x="1341" y="942"/>
                  </a:lnTo>
                  <a:lnTo>
                    <a:pt x="1341" y="938"/>
                  </a:lnTo>
                  <a:lnTo>
                    <a:pt x="1345" y="942"/>
                  </a:lnTo>
                  <a:lnTo>
                    <a:pt x="1345" y="946"/>
                  </a:lnTo>
                  <a:lnTo>
                    <a:pt x="1341" y="946"/>
                  </a:lnTo>
                  <a:lnTo>
                    <a:pt x="1337" y="950"/>
                  </a:lnTo>
                  <a:lnTo>
                    <a:pt x="1341" y="950"/>
                  </a:lnTo>
                  <a:lnTo>
                    <a:pt x="1341" y="954"/>
                  </a:lnTo>
                  <a:lnTo>
                    <a:pt x="1345" y="954"/>
                  </a:lnTo>
                  <a:lnTo>
                    <a:pt x="1349" y="954"/>
                  </a:lnTo>
                  <a:lnTo>
                    <a:pt x="1349" y="958"/>
                  </a:lnTo>
                  <a:lnTo>
                    <a:pt x="1349" y="962"/>
                  </a:lnTo>
                  <a:lnTo>
                    <a:pt x="1345" y="958"/>
                  </a:lnTo>
                  <a:lnTo>
                    <a:pt x="1345" y="962"/>
                  </a:lnTo>
                  <a:lnTo>
                    <a:pt x="1345" y="958"/>
                  </a:lnTo>
                  <a:lnTo>
                    <a:pt x="1341" y="958"/>
                  </a:lnTo>
                  <a:lnTo>
                    <a:pt x="1341" y="954"/>
                  </a:lnTo>
                  <a:lnTo>
                    <a:pt x="1337" y="954"/>
                  </a:lnTo>
                  <a:lnTo>
                    <a:pt x="1337" y="950"/>
                  </a:lnTo>
                  <a:lnTo>
                    <a:pt x="1333" y="950"/>
                  </a:lnTo>
                  <a:lnTo>
                    <a:pt x="1333" y="954"/>
                  </a:lnTo>
                  <a:lnTo>
                    <a:pt x="1333" y="958"/>
                  </a:lnTo>
                  <a:lnTo>
                    <a:pt x="1329" y="958"/>
                  </a:lnTo>
                  <a:lnTo>
                    <a:pt x="1329" y="954"/>
                  </a:lnTo>
                  <a:lnTo>
                    <a:pt x="1325" y="954"/>
                  </a:lnTo>
                  <a:lnTo>
                    <a:pt x="1325" y="958"/>
                  </a:lnTo>
                  <a:lnTo>
                    <a:pt x="1321" y="958"/>
                  </a:lnTo>
                  <a:lnTo>
                    <a:pt x="1317" y="958"/>
                  </a:lnTo>
                  <a:lnTo>
                    <a:pt x="1317" y="954"/>
                  </a:lnTo>
                  <a:lnTo>
                    <a:pt x="1313" y="954"/>
                  </a:lnTo>
                  <a:lnTo>
                    <a:pt x="1317" y="954"/>
                  </a:lnTo>
                  <a:lnTo>
                    <a:pt x="1317" y="958"/>
                  </a:lnTo>
                  <a:lnTo>
                    <a:pt x="1317" y="954"/>
                  </a:lnTo>
                  <a:lnTo>
                    <a:pt x="1317" y="950"/>
                  </a:lnTo>
                  <a:lnTo>
                    <a:pt x="1313" y="950"/>
                  </a:lnTo>
                  <a:lnTo>
                    <a:pt x="1309" y="946"/>
                  </a:lnTo>
                  <a:lnTo>
                    <a:pt x="1305" y="946"/>
                  </a:lnTo>
                  <a:lnTo>
                    <a:pt x="1301" y="946"/>
                  </a:lnTo>
                  <a:lnTo>
                    <a:pt x="1301" y="950"/>
                  </a:lnTo>
                  <a:lnTo>
                    <a:pt x="1297" y="950"/>
                  </a:lnTo>
                  <a:lnTo>
                    <a:pt x="1293" y="950"/>
                  </a:lnTo>
                  <a:lnTo>
                    <a:pt x="1289" y="946"/>
                  </a:lnTo>
                  <a:lnTo>
                    <a:pt x="1285" y="946"/>
                  </a:lnTo>
                  <a:lnTo>
                    <a:pt x="1281" y="946"/>
                  </a:lnTo>
                  <a:lnTo>
                    <a:pt x="1277" y="946"/>
                  </a:lnTo>
                  <a:lnTo>
                    <a:pt x="1277" y="942"/>
                  </a:lnTo>
                  <a:lnTo>
                    <a:pt x="1273" y="946"/>
                  </a:lnTo>
                  <a:lnTo>
                    <a:pt x="1277" y="946"/>
                  </a:lnTo>
                  <a:lnTo>
                    <a:pt x="1273" y="946"/>
                  </a:lnTo>
                  <a:lnTo>
                    <a:pt x="1273" y="950"/>
                  </a:lnTo>
                  <a:lnTo>
                    <a:pt x="1269" y="950"/>
                  </a:lnTo>
                  <a:lnTo>
                    <a:pt x="1265" y="950"/>
                  </a:lnTo>
                  <a:lnTo>
                    <a:pt x="1265" y="954"/>
                  </a:lnTo>
                  <a:lnTo>
                    <a:pt x="1261" y="954"/>
                  </a:lnTo>
                  <a:lnTo>
                    <a:pt x="1265" y="950"/>
                  </a:lnTo>
                  <a:lnTo>
                    <a:pt x="1261" y="950"/>
                  </a:lnTo>
                  <a:lnTo>
                    <a:pt x="1265" y="950"/>
                  </a:lnTo>
                  <a:lnTo>
                    <a:pt x="1265" y="946"/>
                  </a:lnTo>
                  <a:lnTo>
                    <a:pt x="1261" y="946"/>
                  </a:lnTo>
                  <a:lnTo>
                    <a:pt x="1257" y="946"/>
                  </a:lnTo>
                  <a:lnTo>
                    <a:pt x="1257" y="950"/>
                  </a:lnTo>
                  <a:lnTo>
                    <a:pt x="1261" y="954"/>
                  </a:lnTo>
                  <a:lnTo>
                    <a:pt x="1257" y="958"/>
                  </a:lnTo>
                  <a:lnTo>
                    <a:pt x="1253" y="962"/>
                  </a:lnTo>
                  <a:lnTo>
                    <a:pt x="1249" y="966"/>
                  </a:lnTo>
                  <a:lnTo>
                    <a:pt x="1245" y="966"/>
                  </a:lnTo>
                  <a:lnTo>
                    <a:pt x="1245" y="970"/>
                  </a:lnTo>
                  <a:lnTo>
                    <a:pt x="1245" y="966"/>
                  </a:lnTo>
                  <a:lnTo>
                    <a:pt x="1249" y="966"/>
                  </a:lnTo>
                  <a:lnTo>
                    <a:pt x="1245" y="966"/>
                  </a:lnTo>
                  <a:lnTo>
                    <a:pt x="1245" y="970"/>
                  </a:lnTo>
                  <a:lnTo>
                    <a:pt x="1241" y="970"/>
                  </a:lnTo>
                  <a:lnTo>
                    <a:pt x="1245" y="970"/>
                  </a:lnTo>
                  <a:lnTo>
                    <a:pt x="1245" y="966"/>
                  </a:lnTo>
                  <a:lnTo>
                    <a:pt x="1241" y="970"/>
                  </a:lnTo>
                  <a:lnTo>
                    <a:pt x="1241" y="966"/>
                  </a:lnTo>
                  <a:lnTo>
                    <a:pt x="1237" y="966"/>
                  </a:lnTo>
                  <a:lnTo>
                    <a:pt x="1237" y="970"/>
                  </a:lnTo>
                  <a:lnTo>
                    <a:pt x="1237" y="966"/>
                  </a:lnTo>
                  <a:lnTo>
                    <a:pt x="1233" y="966"/>
                  </a:lnTo>
                  <a:lnTo>
                    <a:pt x="1233" y="970"/>
                  </a:lnTo>
                  <a:lnTo>
                    <a:pt x="1237" y="970"/>
                  </a:lnTo>
                  <a:lnTo>
                    <a:pt x="1233" y="974"/>
                  </a:lnTo>
                  <a:lnTo>
                    <a:pt x="1233" y="970"/>
                  </a:lnTo>
                  <a:lnTo>
                    <a:pt x="1229" y="974"/>
                  </a:lnTo>
                  <a:lnTo>
                    <a:pt x="1233" y="974"/>
                  </a:lnTo>
                  <a:lnTo>
                    <a:pt x="1229" y="978"/>
                  </a:lnTo>
                  <a:lnTo>
                    <a:pt x="1225" y="978"/>
                  </a:lnTo>
                  <a:lnTo>
                    <a:pt x="1229" y="978"/>
                  </a:lnTo>
                  <a:lnTo>
                    <a:pt x="1225" y="982"/>
                  </a:lnTo>
                  <a:lnTo>
                    <a:pt x="1221" y="982"/>
                  </a:lnTo>
                  <a:lnTo>
                    <a:pt x="1221" y="986"/>
                  </a:lnTo>
                  <a:lnTo>
                    <a:pt x="1225" y="986"/>
                  </a:lnTo>
                  <a:lnTo>
                    <a:pt x="1221" y="994"/>
                  </a:lnTo>
                  <a:lnTo>
                    <a:pt x="1217" y="994"/>
                  </a:lnTo>
                  <a:lnTo>
                    <a:pt x="1217" y="990"/>
                  </a:lnTo>
                  <a:lnTo>
                    <a:pt x="1217" y="994"/>
                  </a:lnTo>
                  <a:lnTo>
                    <a:pt x="1221" y="994"/>
                  </a:lnTo>
                  <a:lnTo>
                    <a:pt x="1221" y="998"/>
                  </a:lnTo>
                  <a:lnTo>
                    <a:pt x="1221" y="1002"/>
                  </a:lnTo>
                  <a:lnTo>
                    <a:pt x="1221" y="1006"/>
                  </a:lnTo>
                  <a:lnTo>
                    <a:pt x="1221" y="1010"/>
                  </a:lnTo>
                  <a:lnTo>
                    <a:pt x="1221" y="1014"/>
                  </a:lnTo>
                  <a:lnTo>
                    <a:pt x="1225" y="1014"/>
                  </a:lnTo>
                  <a:lnTo>
                    <a:pt x="1225" y="1018"/>
                  </a:lnTo>
                  <a:lnTo>
                    <a:pt x="1225" y="1022"/>
                  </a:lnTo>
                  <a:lnTo>
                    <a:pt x="1221" y="1022"/>
                  </a:lnTo>
                  <a:lnTo>
                    <a:pt x="1221" y="1018"/>
                  </a:lnTo>
                  <a:lnTo>
                    <a:pt x="1217" y="1018"/>
                  </a:lnTo>
                  <a:lnTo>
                    <a:pt x="1213" y="1018"/>
                  </a:lnTo>
                  <a:lnTo>
                    <a:pt x="1209" y="1018"/>
                  </a:lnTo>
                  <a:lnTo>
                    <a:pt x="1209" y="1014"/>
                  </a:lnTo>
                  <a:lnTo>
                    <a:pt x="1205" y="1014"/>
                  </a:lnTo>
                  <a:lnTo>
                    <a:pt x="1201" y="1014"/>
                  </a:lnTo>
                  <a:lnTo>
                    <a:pt x="1201" y="1010"/>
                  </a:lnTo>
                  <a:lnTo>
                    <a:pt x="1197" y="1010"/>
                  </a:lnTo>
                  <a:lnTo>
                    <a:pt x="1197" y="1006"/>
                  </a:lnTo>
                  <a:lnTo>
                    <a:pt x="1193" y="1002"/>
                  </a:lnTo>
                  <a:lnTo>
                    <a:pt x="1193" y="998"/>
                  </a:lnTo>
                  <a:lnTo>
                    <a:pt x="1193" y="994"/>
                  </a:lnTo>
                  <a:lnTo>
                    <a:pt x="1193" y="990"/>
                  </a:lnTo>
                  <a:lnTo>
                    <a:pt x="1189" y="990"/>
                  </a:lnTo>
                  <a:lnTo>
                    <a:pt x="1189" y="986"/>
                  </a:lnTo>
                  <a:lnTo>
                    <a:pt x="1185" y="986"/>
                  </a:lnTo>
                  <a:lnTo>
                    <a:pt x="1185" y="982"/>
                  </a:lnTo>
                  <a:lnTo>
                    <a:pt x="1181" y="978"/>
                  </a:lnTo>
                  <a:lnTo>
                    <a:pt x="1181" y="974"/>
                  </a:lnTo>
                  <a:lnTo>
                    <a:pt x="1177" y="974"/>
                  </a:lnTo>
                  <a:lnTo>
                    <a:pt x="1177" y="970"/>
                  </a:lnTo>
                  <a:lnTo>
                    <a:pt x="1177" y="966"/>
                  </a:lnTo>
                  <a:lnTo>
                    <a:pt x="1173" y="962"/>
                  </a:lnTo>
                  <a:lnTo>
                    <a:pt x="1173" y="958"/>
                  </a:lnTo>
                  <a:lnTo>
                    <a:pt x="1169" y="954"/>
                  </a:lnTo>
                  <a:lnTo>
                    <a:pt x="1169" y="950"/>
                  </a:lnTo>
                  <a:lnTo>
                    <a:pt x="1165" y="950"/>
                  </a:lnTo>
                  <a:lnTo>
                    <a:pt x="1161" y="950"/>
                  </a:lnTo>
                  <a:lnTo>
                    <a:pt x="1161" y="946"/>
                  </a:lnTo>
                  <a:lnTo>
                    <a:pt x="1157" y="946"/>
                  </a:lnTo>
                  <a:lnTo>
                    <a:pt x="1153" y="946"/>
                  </a:lnTo>
                  <a:lnTo>
                    <a:pt x="1149" y="946"/>
                  </a:lnTo>
                  <a:lnTo>
                    <a:pt x="1149" y="942"/>
                  </a:lnTo>
                  <a:lnTo>
                    <a:pt x="1149" y="946"/>
                  </a:lnTo>
                  <a:lnTo>
                    <a:pt x="1145" y="946"/>
                  </a:lnTo>
                  <a:lnTo>
                    <a:pt x="1141" y="946"/>
                  </a:lnTo>
                  <a:lnTo>
                    <a:pt x="1141" y="950"/>
                  </a:lnTo>
                  <a:lnTo>
                    <a:pt x="1141" y="954"/>
                  </a:lnTo>
                  <a:lnTo>
                    <a:pt x="1141" y="958"/>
                  </a:lnTo>
                  <a:lnTo>
                    <a:pt x="1137" y="958"/>
                  </a:lnTo>
                  <a:lnTo>
                    <a:pt x="1137" y="962"/>
                  </a:lnTo>
                  <a:lnTo>
                    <a:pt x="1133" y="962"/>
                  </a:lnTo>
                  <a:lnTo>
                    <a:pt x="1129" y="958"/>
                  </a:lnTo>
                  <a:lnTo>
                    <a:pt x="1125" y="958"/>
                  </a:lnTo>
                  <a:lnTo>
                    <a:pt x="1125" y="954"/>
                  </a:lnTo>
                  <a:lnTo>
                    <a:pt x="1121" y="954"/>
                  </a:lnTo>
                  <a:lnTo>
                    <a:pt x="1121" y="950"/>
                  </a:lnTo>
                  <a:lnTo>
                    <a:pt x="1117" y="950"/>
                  </a:lnTo>
                  <a:lnTo>
                    <a:pt x="1113" y="946"/>
                  </a:lnTo>
                  <a:lnTo>
                    <a:pt x="1113" y="942"/>
                  </a:lnTo>
                  <a:lnTo>
                    <a:pt x="1113" y="938"/>
                  </a:lnTo>
                  <a:lnTo>
                    <a:pt x="1109" y="934"/>
                  </a:lnTo>
                  <a:lnTo>
                    <a:pt x="1109" y="930"/>
                  </a:lnTo>
                  <a:lnTo>
                    <a:pt x="1105" y="926"/>
                  </a:lnTo>
                  <a:lnTo>
                    <a:pt x="1101" y="926"/>
                  </a:lnTo>
                  <a:lnTo>
                    <a:pt x="1101" y="922"/>
                  </a:lnTo>
                  <a:lnTo>
                    <a:pt x="1097" y="922"/>
                  </a:lnTo>
                  <a:lnTo>
                    <a:pt x="1097" y="918"/>
                  </a:lnTo>
                  <a:lnTo>
                    <a:pt x="1093" y="918"/>
                  </a:lnTo>
                  <a:lnTo>
                    <a:pt x="1093" y="914"/>
                  </a:lnTo>
                  <a:lnTo>
                    <a:pt x="1089" y="914"/>
                  </a:lnTo>
                  <a:lnTo>
                    <a:pt x="1089" y="910"/>
                  </a:lnTo>
                  <a:lnTo>
                    <a:pt x="1085" y="910"/>
                  </a:lnTo>
                  <a:lnTo>
                    <a:pt x="1085" y="906"/>
                  </a:lnTo>
                  <a:lnTo>
                    <a:pt x="1081" y="906"/>
                  </a:lnTo>
                  <a:lnTo>
                    <a:pt x="1077" y="906"/>
                  </a:lnTo>
                  <a:lnTo>
                    <a:pt x="1073" y="906"/>
                  </a:lnTo>
                  <a:lnTo>
                    <a:pt x="1069" y="906"/>
                  </a:lnTo>
                  <a:lnTo>
                    <a:pt x="1065" y="906"/>
                  </a:lnTo>
                  <a:lnTo>
                    <a:pt x="1057" y="906"/>
                  </a:lnTo>
                  <a:lnTo>
                    <a:pt x="1057" y="910"/>
                  </a:lnTo>
                  <a:lnTo>
                    <a:pt x="1057" y="914"/>
                  </a:lnTo>
                  <a:lnTo>
                    <a:pt x="1049" y="914"/>
                  </a:lnTo>
                  <a:lnTo>
                    <a:pt x="1045" y="914"/>
                  </a:lnTo>
                  <a:lnTo>
                    <a:pt x="1037" y="914"/>
                  </a:lnTo>
                  <a:lnTo>
                    <a:pt x="1033" y="914"/>
                  </a:lnTo>
                  <a:lnTo>
                    <a:pt x="1029" y="914"/>
                  </a:lnTo>
                  <a:lnTo>
                    <a:pt x="1025" y="914"/>
                  </a:lnTo>
                  <a:lnTo>
                    <a:pt x="1017" y="914"/>
                  </a:lnTo>
                  <a:lnTo>
                    <a:pt x="1009" y="914"/>
                  </a:lnTo>
                  <a:lnTo>
                    <a:pt x="1002" y="910"/>
                  </a:lnTo>
                  <a:lnTo>
                    <a:pt x="998" y="906"/>
                  </a:lnTo>
                  <a:lnTo>
                    <a:pt x="994" y="906"/>
                  </a:lnTo>
                  <a:lnTo>
                    <a:pt x="990" y="902"/>
                  </a:lnTo>
                  <a:lnTo>
                    <a:pt x="986" y="902"/>
                  </a:lnTo>
                  <a:lnTo>
                    <a:pt x="982" y="902"/>
                  </a:lnTo>
                  <a:lnTo>
                    <a:pt x="978" y="898"/>
                  </a:lnTo>
                  <a:lnTo>
                    <a:pt x="974" y="898"/>
                  </a:lnTo>
                  <a:lnTo>
                    <a:pt x="970" y="898"/>
                  </a:lnTo>
                  <a:lnTo>
                    <a:pt x="966" y="894"/>
                  </a:lnTo>
                  <a:lnTo>
                    <a:pt x="962" y="894"/>
                  </a:lnTo>
                  <a:lnTo>
                    <a:pt x="958" y="890"/>
                  </a:lnTo>
                  <a:lnTo>
                    <a:pt x="962" y="890"/>
                  </a:lnTo>
                  <a:lnTo>
                    <a:pt x="962" y="886"/>
                  </a:lnTo>
                  <a:lnTo>
                    <a:pt x="958" y="886"/>
                  </a:lnTo>
                  <a:lnTo>
                    <a:pt x="954" y="890"/>
                  </a:lnTo>
                  <a:lnTo>
                    <a:pt x="950" y="890"/>
                  </a:lnTo>
                  <a:lnTo>
                    <a:pt x="946" y="890"/>
                  </a:lnTo>
                  <a:lnTo>
                    <a:pt x="942" y="890"/>
                  </a:lnTo>
                  <a:lnTo>
                    <a:pt x="938" y="890"/>
                  </a:lnTo>
                  <a:lnTo>
                    <a:pt x="934" y="890"/>
                  </a:lnTo>
                  <a:lnTo>
                    <a:pt x="930" y="890"/>
                  </a:lnTo>
                  <a:lnTo>
                    <a:pt x="926" y="890"/>
                  </a:lnTo>
                  <a:lnTo>
                    <a:pt x="922" y="890"/>
                  </a:lnTo>
                  <a:lnTo>
                    <a:pt x="926" y="890"/>
                  </a:lnTo>
                  <a:lnTo>
                    <a:pt x="922" y="890"/>
                  </a:lnTo>
                  <a:lnTo>
                    <a:pt x="922" y="886"/>
                  </a:lnTo>
                  <a:lnTo>
                    <a:pt x="922" y="890"/>
                  </a:lnTo>
                  <a:lnTo>
                    <a:pt x="922" y="886"/>
                  </a:lnTo>
                  <a:lnTo>
                    <a:pt x="922" y="882"/>
                  </a:lnTo>
                  <a:lnTo>
                    <a:pt x="922" y="878"/>
                  </a:lnTo>
                  <a:lnTo>
                    <a:pt x="918" y="878"/>
                  </a:lnTo>
                  <a:lnTo>
                    <a:pt x="918" y="874"/>
                  </a:lnTo>
                  <a:lnTo>
                    <a:pt x="914" y="874"/>
                  </a:lnTo>
                  <a:lnTo>
                    <a:pt x="914" y="870"/>
                  </a:lnTo>
                  <a:lnTo>
                    <a:pt x="910" y="870"/>
                  </a:lnTo>
                  <a:lnTo>
                    <a:pt x="910" y="866"/>
                  </a:lnTo>
                  <a:lnTo>
                    <a:pt x="906" y="866"/>
                  </a:lnTo>
                  <a:lnTo>
                    <a:pt x="906" y="862"/>
                  </a:lnTo>
                  <a:lnTo>
                    <a:pt x="902" y="862"/>
                  </a:lnTo>
                  <a:lnTo>
                    <a:pt x="898" y="862"/>
                  </a:lnTo>
                  <a:lnTo>
                    <a:pt x="894" y="862"/>
                  </a:lnTo>
                  <a:lnTo>
                    <a:pt x="894" y="858"/>
                  </a:lnTo>
                  <a:lnTo>
                    <a:pt x="890" y="858"/>
                  </a:lnTo>
                  <a:lnTo>
                    <a:pt x="890" y="854"/>
                  </a:lnTo>
                  <a:lnTo>
                    <a:pt x="886" y="854"/>
                  </a:lnTo>
                  <a:lnTo>
                    <a:pt x="882" y="854"/>
                  </a:lnTo>
                  <a:lnTo>
                    <a:pt x="878" y="854"/>
                  </a:lnTo>
                  <a:lnTo>
                    <a:pt x="874" y="854"/>
                  </a:lnTo>
                  <a:lnTo>
                    <a:pt x="874" y="850"/>
                  </a:lnTo>
                  <a:lnTo>
                    <a:pt x="870" y="850"/>
                  </a:lnTo>
                  <a:lnTo>
                    <a:pt x="870" y="846"/>
                  </a:lnTo>
                  <a:lnTo>
                    <a:pt x="870" y="842"/>
                  </a:lnTo>
                  <a:lnTo>
                    <a:pt x="870" y="838"/>
                  </a:lnTo>
                  <a:lnTo>
                    <a:pt x="866" y="838"/>
                  </a:lnTo>
                  <a:lnTo>
                    <a:pt x="866" y="834"/>
                  </a:lnTo>
                  <a:lnTo>
                    <a:pt x="866" y="830"/>
                  </a:lnTo>
                  <a:lnTo>
                    <a:pt x="862" y="830"/>
                  </a:lnTo>
                  <a:lnTo>
                    <a:pt x="862" y="826"/>
                  </a:lnTo>
                  <a:lnTo>
                    <a:pt x="858" y="826"/>
                  </a:lnTo>
                  <a:lnTo>
                    <a:pt x="858" y="822"/>
                  </a:lnTo>
                  <a:lnTo>
                    <a:pt x="854" y="818"/>
                  </a:lnTo>
                  <a:lnTo>
                    <a:pt x="854" y="814"/>
                  </a:lnTo>
                  <a:lnTo>
                    <a:pt x="850" y="814"/>
                  </a:lnTo>
                  <a:lnTo>
                    <a:pt x="850" y="810"/>
                  </a:lnTo>
                  <a:lnTo>
                    <a:pt x="854" y="810"/>
                  </a:lnTo>
                  <a:lnTo>
                    <a:pt x="854" y="806"/>
                  </a:lnTo>
                  <a:lnTo>
                    <a:pt x="854" y="802"/>
                  </a:lnTo>
                  <a:lnTo>
                    <a:pt x="850" y="802"/>
                  </a:lnTo>
                  <a:lnTo>
                    <a:pt x="846" y="802"/>
                  </a:lnTo>
                  <a:lnTo>
                    <a:pt x="846" y="798"/>
                  </a:lnTo>
                  <a:lnTo>
                    <a:pt x="846" y="794"/>
                  </a:lnTo>
                  <a:lnTo>
                    <a:pt x="842" y="790"/>
                  </a:lnTo>
                  <a:lnTo>
                    <a:pt x="842" y="786"/>
                  </a:lnTo>
                  <a:lnTo>
                    <a:pt x="846" y="786"/>
                  </a:lnTo>
                  <a:lnTo>
                    <a:pt x="846" y="790"/>
                  </a:lnTo>
                  <a:lnTo>
                    <a:pt x="850" y="794"/>
                  </a:lnTo>
                  <a:lnTo>
                    <a:pt x="850" y="790"/>
                  </a:lnTo>
                  <a:lnTo>
                    <a:pt x="850" y="786"/>
                  </a:lnTo>
                  <a:lnTo>
                    <a:pt x="846" y="786"/>
                  </a:lnTo>
                  <a:lnTo>
                    <a:pt x="846" y="782"/>
                  </a:lnTo>
                  <a:lnTo>
                    <a:pt x="846" y="778"/>
                  </a:lnTo>
                  <a:lnTo>
                    <a:pt x="846" y="782"/>
                  </a:lnTo>
                  <a:lnTo>
                    <a:pt x="850" y="782"/>
                  </a:lnTo>
                  <a:lnTo>
                    <a:pt x="850" y="778"/>
                  </a:lnTo>
                  <a:lnTo>
                    <a:pt x="854" y="782"/>
                  </a:lnTo>
                  <a:lnTo>
                    <a:pt x="854" y="778"/>
                  </a:lnTo>
                  <a:lnTo>
                    <a:pt x="858" y="778"/>
                  </a:lnTo>
                  <a:lnTo>
                    <a:pt x="858" y="782"/>
                  </a:lnTo>
                  <a:lnTo>
                    <a:pt x="858" y="778"/>
                  </a:lnTo>
                  <a:lnTo>
                    <a:pt x="854" y="778"/>
                  </a:lnTo>
                  <a:lnTo>
                    <a:pt x="854" y="782"/>
                  </a:lnTo>
                  <a:lnTo>
                    <a:pt x="854" y="778"/>
                  </a:lnTo>
                  <a:lnTo>
                    <a:pt x="850" y="778"/>
                  </a:lnTo>
                  <a:lnTo>
                    <a:pt x="846" y="778"/>
                  </a:lnTo>
                  <a:lnTo>
                    <a:pt x="842" y="778"/>
                  </a:lnTo>
                  <a:lnTo>
                    <a:pt x="842" y="782"/>
                  </a:lnTo>
                  <a:lnTo>
                    <a:pt x="842" y="786"/>
                  </a:lnTo>
                  <a:lnTo>
                    <a:pt x="842" y="782"/>
                  </a:lnTo>
                  <a:lnTo>
                    <a:pt x="838" y="782"/>
                  </a:lnTo>
                  <a:lnTo>
                    <a:pt x="838" y="778"/>
                  </a:lnTo>
                  <a:lnTo>
                    <a:pt x="834" y="778"/>
                  </a:lnTo>
                  <a:lnTo>
                    <a:pt x="838" y="778"/>
                  </a:lnTo>
                  <a:lnTo>
                    <a:pt x="834" y="774"/>
                  </a:lnTo>
                  <a:lnTo>
                    <a:pt x="834" y="770"/>
                  </a:lnTo>
                  <a:lnTo>
                    <a:pt x="830" y="770"/>
                  </a:lnTo>
                  <a:lnTo>
                    <a:pt x="830" y="766"/>
                  </a:lnTo>
                  <a:lnTo>
                    <a:pt x="826" y="766"/>
                  </a:lnTo>
                  <a:lnTo>
                    <a:pt x="826" y="762"/>
                  </a:lnTo>
                  <a:lnTo>
                    <a:pt x="826" y="758"/>
                  </a:lnTo>
                  <a:lnTo>
                    <a:pt x="822" y="754"/>
                  </a:lnTo>
                  <a:lnTo>
                    <a:pt x="822" y="750"/>
                  </a:lnTo>
                  <a:lnTo>
                    <a:pt x="822" y="746"/>
                  </a:lnTo>
                  <a:lnTo>
                    <a:pt x="822" y="742"/>
                  </a:lnTo>
                  <a:lnTo>
                    <a:pt x="818" y="738"/>
                  </a:lnTo>
                  <a:lnTo>
                    <a:pt x="814" y="734"/>
                  </a:lnTo>
                  <a:lnTo>
                    <a:pt x="814" y="730"/>
                  </a:lnTo>
                  <a:lnTo>
                    <a:pt x="814" y="726"/>
                  </a:lnTo>
                  <a:lnTo>
                    <a:pt x="818" y="726"/>
                  </a:lnTo>
                  <a:lnTo>
                    <a:pt x="818" y="722"/>
                  </a:lnTo>
                  <a:lnTo>
                    <a:pt x="818" y="718"/>
                  </a:lnTo>
                  <a:lnTo>
                    <a:pt x="818" y="714"/>
                  </a:lnTo>
                  <a:lnTo>
                    <a:pt x="818" y="710"/>
                  </a:lnTo>
                  <a:lnTo>
                    <a:pt x="818" y="706"/>
                  </a:lnTo>
                  <a:lnTo>
                    <a:pt x="818" y="702"/>
                  </a:lnTo>
                  <a:lnTo>
                    <a:pt x="818" y="698"/>
                  </a:lnTo>
                  <a:lnTo>
                    <a:pt x="814" y="698"/>
                  </a:lnTo>
                  <a:lnTo>
                    <a:pt x="814" y="694"/>
                  </a:lnTo>
                  <a:lnTo>
                    <a:pt x="814" y="690"/>
                  </a:lnTo>
                  <a:lnTo>
                    <a:pt x="814" y="687"/>
                  </a:lnTo>
                  <a:lnTo>
                    <a:pt x="814" y="683"/>
                  </a:lnTo>
                  <a:lnTo>
                    <a:pt x="810" y="683"/>
                  </a:lnTo>
                  <a:lnTo>
                    <a:pt x="810" y="679"/>
                  </a:lnTo>
                  <a:lnTo>
                    <a:pt x="814" y="679"/>
                  </a:lnTo>
                  <a:lnTo>
                    <a:pt x="814" y="675"/>
                  </a:lnTo>
                  <a:lnTo>
                    <a:pt x="814" y="671"/>
                  </a:lnTo>
                  <a:lnTo>
                    <a:pt x="818" y="671"/>
                  </a:lnTo>
                  <a:lnTo>
                    <a:pt x="818" y="667"/>
                  </a:lnTo>
                  <a:lnTo>
                    <a:pt x="814" y="671"/>
                  </a:lnTo>
                  <a:lnTo>
                    <a:pt x="814" y="667"/>
                  </a:lnTo>
                  <a:lnTo>
                    <a:pt x="818" y="667"/>
                  </a:lnTo>
                  <a:lnTo>
                    <a:pt x="818" y="663"/>
                  </a:lnTo>
                  <a:lnTo>
                    <a:pt x="818" y="659"/>
                  </a:lnTo>
                  <a:lnTo>
                    <a:pt x="818" y="655"/>
                  </a:lnTo>
                  <a:lnTo>
                    <a:pt x="818" y="647"/>
                  </a:lnTo>
                  <a:lnTo>
                    <a:pt x="818" y="643"/>
                  </a:lnTo>
                  <a:lnTo>
                    <a:pt x="818" y="639"/>
                  </a:lnTo>
                  <a:lnTo>
                    <a:pt x="818" y="635"/>
                  </a:lnTo>
                  <a:lnTo>
                    <a:pt x="822" y="631"/>
                  </a:lnTo>
                  <a:lnTo>
                    <a:pt x="822" y="627"/>
                  </a:lnTo>
                  <a:lnTo>
                    <a:pt x="822" y="623"/>
                  </a:lnTo>
                  <a:lnTo>
                    <a:pt x="822" y="619"/>
                  </a:lnTo>
                  <a:lnTo>
                    <a:pt x="822" y="615"/>
                  </a:lnTo>
                  <a:lnTo>
                    <a:pt x="822" y="611"/>
                  </a:lnTo>
                  <a:lnTo>
                    <a:pt x="826" y="611"/>
                  </a:lnTo>
                  <a:lnTo>
                    <a:pt x="826" y="607"/>
                  </a:lnTo>
                  <a:lnTo>
                    <a:pt x="830" y="611"/>
                  </a:lnTo>
                  <a:lnTo>
                    <a:pt x="834" y="611"/>
                  </a:lnTo>
                  <a:lnTo>
                    <a:pt x="830" y="611"/>
                  </a:lnTo>
                  <a:lnTo>
                    <a:pt x="830" y="607"/>
                  </a:lnTo>
                  <a:lnTo>
                    <a:pt x="826" y="607"/>
                  </a:lnTo>
                  <a:lnTo>
                    <a:pt x="822" y="607"/>
                  </a:lnTo>
                  <a:lnTo>
                    <a:pt x="818" y="607"/>
                  </a:lnTo>
                  <a:lnTo>
                    <a:pt x="818" y="603"/>
                  </a:lnTo>
                  <a:lnTo>
                    <a:pt x="818" y="599"/>
                  </a:lnTo>
                  <a:lnTo>
                    <a:pt x="818" y="603"/>
                  </a:lnTo>
                  <a:lnTo>
                    <a:pt x="822" y="607"/>
                  </a:lnTo>
                  <a:lnTo>
                    <a:pt x="822" y="603"/>
                  </a:lnTo>
                  <a:lnTo>
                    <a:pt x="822" y="599"/>
                  </a:lnTo>
                  <a:lnTo>
                    <a:pt x="818" y="599"/>
                  </a:lnTo>
                  <a:lnTo>
                    <a:pt x="818" y="595"/>
                  </a:lnTo>
                  <a:lnTo>
                    <a:pt x="822" y="595"/>
                  </a:lnTo>
                  <a:lnTo>
                    <a:pt x="822" y="591"/>
                  </a:lnTo>
                  <a:lnTo>
                    <a:pt x="818" y="591"/>
                  </a:lnTo>
                  <a:lnTo>
                    <a:pt x="818" y="595"/>
                  </a:lnTo>
                  <a:lnTo>
                    <a:pt x="818" y="591"/>
                  </a:lnTo>
                  <a:lnTo>
                    <a:pt x="818" y="587"/>
                  </a:lnTo>
                  <a:lnTo>
                    <a:pt x="814" y="583"/>
                  </a:lnTo>
                  <a:lnTo>
                    <a:pt x="814" y="579"/>
                  </a:lnTo>
                  <a:lnTo>
                    <a:pt x="814" y="575"/>
                  </a:lnTo>
                  <a:lnTo>
                    <a:pt x="810" y="571"/>
                  </a:lnTo>
                  <a:lnTo>
                    <a:pt x="810" y="567"/>
                  </a:lnTo>
                  <a:lnTo>
                    <a:pt x="810" y="563"/>
                  </a:lnTo>
                  <a:lnTo>
                    <a:pt x="814" y="563"/>
                  </a:lnTo>
                  <a:lnTo>
                    <a:pt x="818" y="563"/>
                  </a:lnTo>
                  <a:lnTo>
                    <a:pt x="818" y="567"/>
                  </a:lnTo>
                  <a:lnTo>
                    <a:pt x="822" y="567"/>
                  </a:lnTo>
                  <a:lnTo>
                    <a:pt x="826" y="567"/>
                  </a:lnTo>
                  <a:lnTo>
                    <a:pt x="830" y="567"/>
                  </a:lnTo>
                  <a:lnTo>
                    <a:pt x="834" y="567"/>
                  </a:lnTo>
                  <a:lnTo>
                    <a:pt x="838" y="567"/>
                  </a:lnTo>
                  <a:lnTo>
                    <a:pt x="838" y="571"/>
                  </a:lnTo>
                  <a:lnTo>
                    <a:pt x="842" y="571"/>
                  </a:lnTo>
                  <a:lnTo>
                    <a:pt x="838" y="575"/>
                  </a:lnTo>
                  <a:lnTo>
                    <a:pt x="838" y="579"/>
                  </a:lnTo>
                  <a:lnTo>
                    <a:pt x="834" y="579"/>
                  </a:lnTo>
                  <a:lnTo>
                    <a:pt x="834" y="583"/>
                  </a:lnTo>
                  <a:lnTo>
                    <a:pt x="838" y="583"/>
                  </a:lnTo>
                  <a:lnTo>
                    <a:pt x="834" y="583"/>
                  </a:lnTo>
                  <a:lnTo>
                    <a:pt x="834" y="579"/>
                  </a:lnTo>
                  <a:lnTo>
                    <a:pt x="838" y="579"/>
                  </a:lnTo>
                  <a:lnTo>
                    <a:pt x="838" y="575"/>
                  </a:lnTo>
                  <a:lnTo>
                    <a:pt x="842" y="571"/>
                  </a:lnTo>
                  <a:lnTo>
                    <a:pt x="842" y="575"/>
                  </a:lnTo>
                  <a:lnTo>
                    <a:pt x="842" y="579"/>
                  </a:lnTo>
                  <a:lnTo>
                    <a:pt x="838" y="579"/>
                  </a:lnTo>
                  <a:lnTo>
                    <a:pt x="842" y="579"/>
                  </a:lnTo>
                  <a:lnTo>
                    <a:pt x="842" y="583"/>
                  </a:lnTo>
                  <a:lnTo>
                    <a:pt x="842" y="587"/>
                  </a:lnTo>
                  <a:lnTo>
                    <a:pt x="838" y="587"/>
                  </a:lnTo>
                  <a:lnTo>
                    <a:pt x="842" y="583"/>
                  </a:lnTo>
                  <a:lnTo>
                    <a:pt x="838" y="583"/>
                  </a:lnTo>
                  <a:lnTo>
                    <a:pt x="838" y="587"/>
                  </a:lnTo>
                  <a:lnTo>
                    <a:pt x="838" y="583"/>
                  </a:lnTo>
                  <a:lnTo>
                    <a:pt x="838" y="587"/>
                  </a:lnTo>
                  <a:lnTo>
                    <a:pt x="834" y="587"/>
                  </a:lnTo>
                  <a:lnTo>
                    <a:pt x="834" y="591"/>
                  </a:lnTo>
                  <a:lnTo>
                    <a:pt x="838" y="591"/>
                  </a:lnTo>
                  <a:lnTo>
                    <a:pt x="838" y="587"/>
                  </a:lnTo>
                  <a:lnTo>
                    <a:pt x="838" y="591"/>
                  </a:lnTo>
                  <a:lnTo>
                    <a:pt x="842" y="587"/>
                  </a:lnTo>
                  <a:lnTo>
                    <a:pt x="846" y="583"/>
                  </a:lnTo>
                  <a:lnTo>
                    <a:pt x="846" y="579"/>
                  </a:lnTo>
                  <a:lnTo>
                    <a:pt x="842" y="579"/>
                  </a:lnTo>
                  <a:lnTo>
                    <a:pt x="846" y="575"/>
                  </a:lnTo>
                  <a:lnTo>
                    <a:pt x="846" y="571"/>
                  </a:lnTo>
                  <a:lnTo>
                    <a:pt x="846" y="567"/>
                  </a:lnTo>
                  <a:lnTo>
                    <a:pt x="842" y="567"/>
                  </a:lnTo>
                  <a:lnTo>
                    <a:pt x="842" y="563"/>
                  </a:lnTo>
                  <a:lnTo>
                    <a:pt x="846" y="563"/>
                  </a:lnTo>
                  <a:lnTo>
                    <a:pt x="842" y="559"/>
                  </a:lnTo>
                  <a:lnTo>
                    <a:pt x="842" y="563"/>
                  </a:lnTo>
                  <a:lnTo>
                    <a:pt x="838" y="559"/>
                  </a:lnTo>
                  <a:lnTo>
                    <a:pt x="842" y="559"/>
                  </a:lnTo>
                  <a:lnTo>
                    <a:pt x="842" y="555"/>
                  </a:lnTo>
                  <a:lnTo>
                    <a:pt x="838" y="551"/>
                  </a:lnTo>
                  <a:lnTo>
                    <a:pt x="838" y="547"/>
                  </a:lnTo>
                  <a:lnTo>
                    <a:pt x="842" y="547"/>
                  </a:lnTo>
                  <a:lnTo>
                    <a:pt x="846" y="547"/>
                  </a:lnTo>
                  <a:lnTo>
                    <a:pt x="850" y="547"/>
                  </a:lnTo>
                  <a:lnTo>
                    <a:pt x="866" y="547"/>
                  </a:lnTo>
                  <a:lnTo>
                    <a:pt x="874" y="547"/>
                  </a:lnTo>
                  <a:lnTo>
                    <a:pt x="878" y="547"/>
                  </a:lnTo>
                  <a:lnTo>
                    <a:pt x="882" y="547"/>
                  </a:lnTo>
                  <a:lnTo>
                    <a:pt x="890" y="547"/>
                  </a:lnTo>
                  <a:lnTo>
                    <a:pt x="894" y="547"/>
                  </a:lnTo>
                  <a:lnTo>
                    <a:pt x="898" y="547"/>
                  </a:lnTo>
                  <a:lnTo>
                    <a:pt x="906" y="547"/>
                  </a:lnTo>
                  <a:lnTo>
                    <a:pt x="910" y="547"/>
                  </a:lnTo>
                  <a:lnTo>
                    <a:pt x="914" y="547"/>
                  </a:lnTo>
                  <a:lnTo>
                    <a:pt x="918" y="547"/>
                  </a:lnTo>
                  <a:lnTo>
                    <a:pt x="922" y="547"/>
                  </a:lnTo>
                  <a:lnTo>
                    <a:pt x="926" y="547"/>
                  </a:lnTo>
                  <a:lnTo>
                    <a:pt x="942" y="547"/>
                  </a:lnTo>
                  <a:lnTo>
                    <a:pt x="946" y="547"/>
                  </a:lnTo>
                  <a:lnTo>
                    <a:pt x="950" y="547"/>
                  </a:lnTo>
                  <a:lnTo>
                    <a:pt x="954" y="547"/>
                  </a:lnTo>
                  <a:lnTo>
                    <a:pt x="958" y="547"/>
                  </a:lnTo>
                  <a:lnTo>
                    <a:pt x="962" y="547"/>
                  </a:lnTo>
                  <a:lnTo>
                    <a:pt x="966" y="547"/>
                  </a:lnTo>
                  <a:lnTo>
                    <a:pt x="970" y="547"/>
                  </a:lnTo>
                  <a:lnTo>
                    <a:pt x="978" y="547"/>
                  </a:lnTo>
                  <a:lnTo>
                    <a:pt x="982" y="547"/>
                  </a:lnTo>
                  <a:lnTo>
                    <a:pt x="986" y="547"/>
                  </a:lnTo>
                  <a:lnTo>
                    <a:pt x="994" y="547"/>
                  </a:lnTo>
                  <a:lnTo>
                    <a:pt x="998" y="547"/>
                  </a:lnTo>
                  <a:lnTo>
                    <a:pt x="1002" y="547"/>
                  </a:lnTo>
                  <a:lnTo>
                    <a:pt x="1005" y="547"/>
                  </a:lnTo>
                  <a:lnTo>
                    <a:pt x="1009" y="547"/>
                  </a:lnTo>
                  <a:lnTo>
                    <a:pt x="1021" y="547"/>
                  </a:lnTo>
                  <a:lnTo>
                    <a:pt x="1025" y="547"/>
                  </a:lnTo>
                  <a:lnTo>
                    <a:pt x="1029" y="547"/>
                  </a:lnTo>
                  <a:lnTo>
                    <a:pt x="1033" y="547"/>
                  </a:lnTo>
                  <a:lnTo>
                    <a:pt x="1037" y="547"/>
                  </a:lnTo>
                  <a:lnTo>
                    <a:pt x="1041" y="547"/>
                  </a:lnTo>
                  <a:lnTo>
                    <a:pt x="1049" y="547"/>
                  </a:lnTo>
                  <a:lnTo>
                    <a:pt x="1053" y="547"/>
                  </a:lnTo>
                  <a:lnTo>
                    <a:pt x="1057" y="547"/>
                  </a:lnTo>
                  <a:lnTo>
                    <a:pt x="1061" y="547"/>
                  </a:lnTo>
                  <a:lnTo>
                    <a:pt x="1065" y="547"/>
                  </a:lnTo>
                  <a:lnTo>
                    <a:pt x="1069" y="547"/>
                  </a:lnTo>
                  <a:lnTo>
                    <a:pt x="1073" y="547"/>
                  </a:lnTo>
                  <a:lnTo>
                    <a:pt x="1081" y="547"/>
                  </a:lnTo>
                  <a:lnTo>
                    <a:pt x="1085" y="547"/>
                  </a:lnTo>
                  <a:lnTo>
                    <a:pt x="1089" y="547"/>
                  </a:lnTo>
                  <a:lnTo>
                    <a:pt x="1093" y="547"/>
                  </a:lnTo>
                  <a:lnTo>
                    <a:pt x="1097" y="547"/>
                  </a:lnTo>
                  <a:lnTo>
                    <a:pt x="1105" y="547"/>
                  </a:lnTo>
                  <a:lnTo>
                    <a:pt x="1109" y="547"/>
                  </a:lnTo>
                  <a:lnTo>
                    <a:pt x="1117" y="547"/>
                  </a:lnTo>
                  <a:lnTo>
                    <a:pt x="1121" y="547"/>
                  </a:lnTo>
                  <a:lnTo>
                    <a:pt x="1125" y="547"/>
                  </a:lnTo>
                  <a:lnTo>
                    <a:pt x="1129" y="547"/>
                  </a:lnTo>
                  <a:lnTo>
                    <a:pt x="1133" y="547"/>
                  </a:lnTo>
                  <a:lnTo>
                    <a:pt x="1137" y="547"/>
                  </a:lnTo>
                  <a:lnTo>
                    <a:pt x="1141" y="547"/>
                  </a:lnTo>
                  <a:lnTo>
                    <a:pt x="1145" y="547"/>
                  </a:lnTo>
                  <a:lnTo>
                    <a:pt x="1149" y="547"/>
                  </a:lnTo>
                  <a:lnTo>
                    <a:pt x="1161" y="547"/>
                  </a:lnTo>
                  <a:lnTo>
                    <a:pt x="1165" y="547"/>
                  </a:lnTo>
                  <a:lnTo>
                    <a:pt x="1177" y="547"/>
                  </a:lnTo>
                  <a:lnTo>
                    <a:pt x="1185" y="547"/>
                  </a:lnTo>
                  <a:lnTo>
                    <a:pt x="1193" y="547"/>
                  </a:lnTo>
                  <a:lnTo>
                    <a:pt x="1201" y="547"/>
                  </a:lnTo>
                  <a:lnTo>
                    <a:pt x="1205" y="547"/>
                  </a:lnTo>
                  <a:lnTo>
                    <a:pt x="1209" y="547"/>
                  </a:lnTo>
                  <a:lnTo>
                    <a:pt x="1213" y="547"/>
                  </a:lnTo>
                  <a:lnTo>
                    <a:pt x="1217" y="547"/>
                  </a:lnTo>
                  <a:lnTo>
                    <a:pt x="1221" y="547"/>
                  </a:lnTo>
                  <a:lnTo>
                    <a:pt x="1225" y="547"/>
                  </a:lnTo>
                  <a:lnTo>
                    <a:pt x="1253" y="547"/>
                  </a:lnTo>
                  <a:lnTo>
                    <a:pt x="1257" y="547"/>
                  </a:lnTo>
                  <a:lnTo>
                    <a:pt x="1257" y="543"/>
                  </a:lnTo>
                  <a:lnTo>
                    <a:pt x="1257" y="539"/>
                  </a:lnTo>
                  <a:lnTo>
                    <a:pt x="1261" y="539"/>
                  </a:lnTo>
                  <a:lnTo>
                    <a:pt x="1261" y="543"/>
                  </a:lnTo>
                  <a:lnTo>
                    <a:pt x="1261" y="547"/>
                  </a:lnTo>
                  <a:lnTo>
                    <a:pt x="1265" y="547"/>
                  </a:lnTo>
                  <a:lnTo>
                    <a:pt x="1265" y="551"/>
                  </a:lnTo>
                  <a:lnTo>
                    <a:pt x="1265" y="555"/>
                  </a:lnTo>
                  <a:lnTo>
                    <a:pt x="1269" y="555"/>
                  </a:lnTo>
                  <a:lnTo>
                    <a:pt x="1273" y="555"/>
                  </a:lnTo>
                  <a:lnTo>
                    <a:pt x="1277" y="555"/>
                  </a:lnTo>
                  <a:lnTo>
                    <a:pt x="1277" y="559"/>
                  </a:lnTo>
                  <a:lnTo>
                    <a:pt x="1281" y="559"/>
                  </a:lnTo>
                  <a:lnTo>
                    <a:pt x="1285" y="555"/>
                  </a:lnTo>
                  <a:lnTo>
                    <a:pt x="1289" y="555"/>
                  </a:lnTo>
                  <a:lnTo>
                    <a:pt x="1293" y="559"/>
                  </a:lnTo>
                  <a:lnTo>
                    <a:pt x="1297" y="559"/>
                  </a:lnTo>
                  <a:lnTo>
                    <a:pt x="1297" y="563"/>
                  </a:lnTo>
                  <a:lnTo>
                    <a:pt x="1301" y="567"/>
                  </a:lnTo>
                  <a:lnTo>
                    <a:pt x="1301" y="563"/>
                  </a:lnTo>
                  <a:lnTo>
                    <a:pt x="1305" y="563"/>
                  </a:lnTo>
                  <a:lnTo>
                    <a:pt x="1305" y="567"/>
                  </a:lnTo>
                  <a:lnTo>
                    <a:pt x="1309" y="567"/>
                  </a:lnTo>
                  <a:lnTo>
                    <a:pt x="1313" y="567"/>
                  </a:lnTo>
                  <a:lnTo>
                    <a:pt x="1313" y="571"/>
                  </a:lnTo>
                  <a:lnTo>
                    <a:pt x="1313" y="567"/>
                  </a:lnTo>
                  <a:lnTo>
                    <a:pt x="1317" y="567"/>
                  </a:lnTo>
                  <a:lnTo>
                    <a:pt x="1321" y="567"/>
                  </a:lnTo>
                  <a:lnTo>
                    <a:pt x="1321" y="563"/>
                  </a:lnTo>
                  <a:lnTo>
                    <a:pt x="1321" y="567"/>
                  </a:lnTo>
                  <a:lnTo>
                    <a:pt x="1325" y="567"/>
                  </a:lnTo>
                  <a:lnTo>
                    <a:pt x="1329" y="567"/>
                  </a:lnTo>
                  <a:lnTo>
                    <a:pt x="1333" y="567"/>
                  </a:lnTo>
                  <a:lnTo>
                    <a:pt x="1333" y="571"/>
                  </a:lnTo>
                  <a:lnTo>
                    <a:pt x="1337" y="571"/>
                  </a:lnTo>
                  <a:lnTo>
                    <a:pt x="1341" y="571"/>
                  </a:lnTo>
                  <a:lnTo>
                    <a:pt x="1345" y="571"/>
                  </a:lnTo>
                  <a:lnTo>
                    <a:pt x="1349" y="567"/>
                  </a:lnTo>
                  <a:lnTo>
                    <a:pt x="1353" y="563"/>
                  </a:lnTo>
                  <a:lnTo>
                    <a:pt x="1357" y="563"/>
                  </a:lnTo>
                  <a:lnTo>
                    <a:pt x="1360" y="563"/>
                  </a:lnTo>
                  <a:lnTo>
                    <a:pt x="1372" y="571"/>
                  </a:lnTo>
                  <a:lnTo>
                    <a:pt x="1376" y="571"/>
                  </a:lnTo>
                  <a:lnTo>
                    <a:pt x="1376" y="575"/>
                  </a:lnTo>
                  <a:lnTo>
                    <a:pt x="1380" y="575"/>
                  </a:lnTo>
                  <a:lnTo>
                    <a:pt x="1384" y="579"/>
                  </a:lnTo>
                  <a:lnTo>
                    <a:pt x="1388" y="579"/>
                  </a:lnTo>
                  <a:lnTo>
                    <a:pt x="1392" y="583"/>
                  </a:lnTo>
                  <a:lnTo>
                    <a:pt x="1396" y="583"/>
                  </a:lnTo>
                  <a:lnTo>
                    <a:pt x="1396" y="587"/>
                  </a:lnTo>
                  <a:lnTo>
                    <a:pt x="1400" y="587"/>
                  </a:lnTo>
                  <a:lnTo>
                    <a:pt x="1404" y="587"/>
                  </a:lnTo>
                  <a:lnTo>
                    <a:pt x="1404" y="591"/>
                  </a:lnTo>
                  <a:lnTo>
                    <a:pt x="1412" y="595"/>
                  </a:lnTo>
                  <a:lnTo>
                    <a:pt x="1412" y="599"/>
                  </a:lnTo>
                  <a:lnTo>
                    <a:pt x="1416" y="603"/>
                  </a:lnTo>
                  <a:lnTo>
                    <a:pt x="1420" y="603"/>
                  </a:lnTo>
                  <a:lnTo>
                    <a:pt x="1424" y="603"/>
                  </a:lnTo>
                  <a:lnTo>
                    <a:pt x="1424" y="607"/>
                  </a:lnTo>
                  <a:lnTo>
                    <a:pt x="1424" y="611"/>
                  </a:lnTo>
                  <a:lnTo>
                    <a:pt x="1428" y="611"/>
                  </a:lnTo>
                  <a:lnTo>
                    <a:pt x="1432" y="611"/>
                  </a:lnTo>
                  <a:lnTo>
                    <a:pt x="1432" y="615"/>
                  </a:lnTo>
                  <a:lnTo>
                    <a:pt x="1432" y="619"/>
                  </a:lnTo>
                  <a:lnTo>
                    <a:pt x="1436" y="619"/>
                  </a:lnTo>
                  <a:lnTo>
                    <a:pt x="1440" y="623"/>
                  </a:lnTo>
                  <a:lnTo>
                    <a:pt x="1444" y="627"/>
                  </a:lnTo>
                  <a:lnTo>
                    <a:pt x="1448" y="627"/>
                  </a:lnTo>
                  <a:lnTo>
                    <a:pt x="1448" y="639"/>
                  </a:lnTo>
                  <a:lnTo>
                    <a:pt x="1452" y="647"/>
                  </a:lnTo>
                  <a:lnTo>
                    <a:pt x="1452" y="659"/>
                  </a:lnTo>
                  <a:lnTo>
                    <a:pt x="1452" y="667"/>
                  </a:lnTo>
                  <a:lnTo>
                    <a:pt x="1452" y="671"/>
                  </a:lnTo>
                  <a:lnTo>
                    <a:pt x="1452" y="675"/>
                  </a:lnTo>
                  <a:lnTo>
                    <a:pt x="1448" y="675"/>
                  </a:lnTo>
                  <a:lnTo>
                    <a:pt x="1448" y="679"/>
                  </a:lnTo>
                  <a:lnTo>
                    <a:pt x="1448" y="683"/>
                  </a:lnTo>
                  <a:lnTo>
                    <a:pt x="1448" y="687"/>
                  </a:lnTo>
                  <a:lnTo>
                    <a:pt x="1444" y="687"/>
                  </a:lnTo>
                  <a:lnTo>
                    <a:pt x="1444" y="690"/>
                  </a:lnTo>
                  <a:lnTo>
                    <a:pt x="1440" y="690"/>
                  </a:lnTo>
                  <a:lnTo>
                    <a:pt x="1440" y="694"/>
                  </a:lnTo>
                  <a:lnTo>
                    <a:pt x="1436" y="698"/>
                  </a:lnTo>
                  <a:lnTo>
                    <a:pt x="1440" y="698"/>
                  </a:lnTo>
                  <a:lnTo>
                    <a:pt x="1440" y="702"/>
                  </a:lnTo>
                  <a:lnTo>
                    <a:pt x="1444" y="706"/>
                  </a:lnTo>
                  <a:lnTo>
                    <a:pt x="1448" y="706"/>
                  </a:lnTo>
                  <a:lnTo>
                    <a:pt x="1452" y="702"/>
                  </a:lnTo>
                  <a:lnTo>
                    <a:pt x="1456" y="698"/>
                  </a:lnTo>
                  <a:lnTo>
                    <a:pt x="1460" y="698"/>
                  </a:lnTo>
                  <a:lnTo>
                    <a:pt x="1464" y="694"/>
                  </a:lnTo>
                  <a:lnTo>
                    <a:pt x="1468" y="694"/>
                  </a:lnTo>
                  <a:lnTo>
                    <a:pt x="1472" y="694"/>
                  </a:lnTo>
                  <a:lnTo>
                    <a:pt x="1476" y="690"/>
                  </a:lnTo>
                  <a:lnTo>
                    <a:pt x="1484" y="690"/>
                  </a:lnTo>
                  <a:lnTo>
                    <a:pt x="1488" y="687"/>
                  </a:lnTo>
                  <a:lnTo>
                    <a:pt x="1492" y="687"/>
                  </a:lnTo>
                  <a:lnTo>
                    <a:pt x="1496" y="683"/>
                  </a:lnTo>
                  <a:lnTo>
                    <a:pt x="1500" y="683"/>
                  </a:lnTo>
                  <a:lnTo>
                    <a:pt x="1500" y="679"/>
                  </a:lnTo>
                  <a:lnTo>
                    <a:pt x="1504" y="679"/>
                  </a:lnTo>
                  <a:lnTo>
                    <a:pt x="1500" y="679"/>
                  </a:lnTo>
                  <a:lnTo>
                    <a:pt x="1500" y="675"/>
                  </a:lnTo>
                  <a:lnTo>
                    <a:pt x="1500" y="671"/>
                  </a:lnTo>
                  <a:lnTo>
                    <a:pt x="1500" y="667"/>
                  </a:lnTo>
                  <a:lnTo>
                    <a:pt x="1504" y="663"/>
                  </a:lnTo>
                  <a:lnTo>
                    <a:pt x="1512" y="663"/>
                  </a:lnTo>
                  <a:lnTo>
                    <a:pt x="1516" y="663"/>
                  </a:lnTo>
                  <a:lnTo>
                    <a:pt x="1520" y="663"/>
                  </a:lnTo>
                  <a:lnTo>
                    <a:pt x="1524" y="663"/>
                  </a:lnTo>
                  <a:lnTo>
                    <a:pt x="1528" y="663"/>
                  </a:lnTo>
                  <a:lnTo>
                    <a:pt x="1532" y="663"/>
                  </a:lnTo>
                  <a:lnTo>
                    <a:pt x="1536" y="663"/>
                  </a:lnTo>
                  <a:lnTo>
                    <a:pt x="1536" y="659"/>
                  </a:lnTo>
                  <a:lnTo>
                    <a:pt x="1540" y="659"/>
                  </a:lnTo>
                  <a:lnTo>
                    <a:pt x="1540" y="655"/>
                  </a:lnTo>
                  <a:lnTo>
                    <a:pt x="1544" y="651"/>
                  </a:lnTo>
                  <a:lnTo>
                    <a:pt x="1548" y="651"/>
                  </a:lnTo>
                  <a:lnTo>
                    <a:pt x="1548" y="647"/>
                  </a:lnTo>
                  <a:lnTo>
                    <a:pt x="1552" y="647"/>
                  </a:lnTo>
                  <a:lnTo>
                    <a:pt x="1552" y="643"/>
                  </a:lnTo>
                  <a:lnTo>
                    <a:pt x="1556" y="639"/>
                  </a:lnTo>
                  <a:lnTo>
                    <a:pt x="1560" y="639"/>
                  </a:lnTo>
                  <a:lnTo>
                    <a:pt x="1560" y="635"/>
                  </a:lnTo>
                  <a:lnTo>
                    <a:pt x="1564" y="635"/>
                  </a:lnTo>
                  <a:lnTo>
                    <a:pt x="1568" y="635"/>
                  </a:lnTo>
                  <a:lnTo>
                    <a:pt x="1572" y="635"/>
                  </a:lnTo>
                  <a:lnTo>
                    <a:pt x="1580" y="635"/>
                  </a:lnTo>
                  <a:lnTo>
                    <a:pt x="1584" y="635"/>
                  </a:lnTo>
                  <a:lnTo>
                    <a:pt x="1588" y="635"/>
                  </a:lnTo>
                  <a:lnTo>
                    <a:pt x="1592" y="635"/>
                  </a:lnTo>
                  <a:lnTo>
                    <a:pt x="1596" y="635"/>
                  </a:lnTo>
                  <a:lnTo>
                    <a:pt x="1600" y="635"/>
                  </a:lnTo>
                  <a:lnTo>
                    <a:pt x="1604" y="635"/>
                  </a:lnTo>
                  <a:lnTo>
                    <a:pt x="1608" y="635"/>
                  </a:lnTo>
                  <a:lnTo>
                    <a:pt x="1612" y="635"/>
                  </a:lnTo>
                  <a:lnTo>
                    <a:pt x="1616" y="635"/>
                  </a:lnTo>
                  <a:lnTo>
                    <a:pt x="1616" y="631"/>
                  </a:lnTo>
                  <a:lnTo>
                    <a:pt x="1616" y="627"/>
                  </a:lnTo>
                  <a:lnTo>
                    <a:pt x="1620" y="627"/>
                  </a:lnTo>
                  <a:lnTo>
                    <a:pt x="1620" y="631"/>
                  </a:lnTo>
                  <a:lnTo>
                    <a:pt x="1620" y="627"/>
                  </a:lnTo>
                  <a:lnTo>
                    <a:pt x="1624" y="631"/>
                  </a:lnTo>
                  <a:lnTo>
                    <a:pt x="1628" y="627"/>
                  </a:lnTo>
                  <a:lnTo>
                    <a:pt x="1628" y="623"/>
                  </a:lnTo>
                  <a:lnTo>
                    <a:pt x="1628" y="619"/>
                  </a:lnTo>
                  <a:lnTo>
                    <a:pt x="1632" y="619"/>
                  </a:lnTo>
                  <a:lnTo>
                    <a:pt x="1632" y="615"/>
                  </a:lnTo>
                  <a:lnTo>
                    <a:pt x="1632" y="611"/>
                  </a:lnTo>
                  <a:lnTo>
                    <a:pt x="1632" y="607"/>
                  </a:lnTo>
                  <a:lnTo>
                    <a:pt x="1636" y="607"/>
                  </a:lnTo>
                  <a:lnTo>
                    <a:pt x="1636" y="603"/>
                  </a:lnTo>
                  <a:lnTo>
                    <a:pt x="1636" y="599"/>
                  </a:lnTo>
                  <a:lnTo>
                    <a:pt x="1640" y="595"/>
                  </a:lnTo>
                  <a:lnTo>
                    <a:pt x="1640" y="591"/>
                  </a:lnTo>
                  <a:lnTo>
                    <a:pt x="1644" y="591"/>
                  </a:lnTo>
                  <a:lnTo>
                    <a:pt x="1648" y="587"/>
                  </a:lnTo>
                  <a:lnTo>
                    <a:pt x="1648" y="583"/>
                  </a:lnTo>
                  <a:lnTo>
                    <a:pt x="1652" y="583"/>
                  </a:lnTo>
                  <a:lnTo>
                    <a:pt x="1652" y="587"/>
                  </a:lnTo>
                  <a:lnTo>
                    <a:pt x="1656" y="587"/>
                  </a:lnTo>
                  <a:lnTo>
                    <a:pt x="1660" y="587"/>
                  </a:lnTo>
                  <a:lnTo>
                    <a:pt x="1664" y="583"/>
                  </a:lnTo>
                  <a:lnTo>
                    <a:pt x="1668" y="587"/>
                  </a:lnTo>
                  <a:lnTo>
                    <a:pt x="1668" y="591"/>
                  </a:lnTo>
                  <a:lnTo>
                    <a:pt x="1672" y="591"/>
                  </a:lnTo>
                  <a:lnTo>
                    <a:pt x="1672" y="595"/>
                  </a:lnTo>
                  <a:lnTo>
                    <a:pt x="1672" y="607"/>
                  </a:lnTo>
                  <a:lnTo>
                    <a:pt x="1672" y="615"/>
                  </a:lnTo>
                  <a:lnTo>
                    <a:pt x="1672" y="619"/>
                  </a:lnTo>
                  <a:lnTo>
                    <a:pt x="1672" y="623"/>
                  </a:lnTo>
                  <a:lnTo>
                    <a:pt x="1676" y="623"/>
                  </a:lnTo>
                  <a:lnTo>
                    <a:pt x="1676" y="627"/>
                  </a:lnTo>
                  <a:lnTo>
                    <a:pt x="1676" y="631"/>
                  </a:lnTo>
                  <a:lnTo>
                    <a:pt x="1680" y="631"/>
                  </a:lnTo>
                  <a:lnTo>
                    <a:pt x="1680" y="635"/>
                  </a:lnTo>
                  <a:lnTo>
                    <a:pt x="1684" y="635"/>
                  </a:lnTo>
                  <a:lnTo>
                    <a:pt x="1680" y="635"/>
                  </a:lnTo>
                  <a:lnTo>
                    <a:pt x="1680" y="639"/>
                  </a:lnTo>
                  <a:lnTo>
                    <a:pt x="1684" y="639"/>
                  </a:lnTo>
                  <a:lnTo>
                    <a:pt x="1680" y="643"/>
                  </a:lnTo>
                  <a:lnTo>
                    <a:pt x="1676" y="643"/>
                  </a:lnTo>
                  <a:lnTo>
                    <a:pt x="1672" y="647"/>
                  </a:lnTo>
                  <a:lnTo>
                    <a:pt x="1672" y="643"/>
                  </a:lnTo>
                  <a:lnTo>
                    <a:pt x="1668" y="647"/>
                  </a:lnTo>
                  <a:lnTo>
                    <a:pt x="1668" y="651"/>
                  </a:lnTo>
                  <a:lnTo>
                    <a:pt x="1668" y="647"/>
                  </a:lnTo>
                  <a:lnTo>
                    <a:pt x="1664" y="647"/>
                  </a:lnTo>
                  <a:lnTo>
                    <a:pt x="1660" y="647"/>
                  </a:lnTo>
                  <a:lnTo>
                    <a:pt x="1660" y="651"/>
                  </a:lnTo>
                  <a:lnTo>
                    <a:pt x="1656" y="651"/>
                  </a:lnTo>
                  <a:lnTo>
                    <a:pt x="1656" y="647"/>
                  </a:lnTo>
                  <a:lnTo>
                    <a:pt x="1656" y="643"/>
                  </a:lnTo>
                  <a:lnTo>
                    <a:pt x="1656" y="647"/>
                  </a:lnTo>
                  <a:lnTo>
                    <a:pt x="1652" y="647"/>
                  </a:lnTo>
                  <a:lnTo>
                    <a:pt x="1652" y="651"/>
                  </a:lnTo>
                  <a:lnTo>
                    <a:pt x="1652" y="655"/>
                  </a:lnTo>
                  <a:lnTo>
                    <a:pt x="1648" y="659"/>
                  </a:lnTo>
                  <a:lnTo>
                    <a:pt x="1648" y="655"/>
                  </a:lnTo>
                  <a:lnTo>
                    <a:pt x="1644" y="659"/>
                  </a:lnTo>
                  <a:lnTo>
                    <a:pt x="1644" y="655"/>
                  </a:lnTo>
                  <a:lnTo>
                    <a:pt x="1644" y="659"/>
                  </a:lnTo>
                  <a:lnTo>
                    <a:pt x="1644" y="655"/>
                  </a:lnTo>
                  <a:lnTo>
                    <a:pt x="1644" y="659"/>
                  </a:lnTo>
                  <a:lnTo>
                    <a:pt x="1640" y="659"/>
                  </a:lnTo>
                  <a:lnTo>
                    <a:pt x="1644" y="659"/>
                  </a:lnTo>
                  <a:lnTo>
                    <a:pt x="1640" y="663"/>
                  </a:lnTo>
                  <a:lnTo>
                    <a:pt x="1640" y="659"/>
                  </a:lnTo>
                  <a:lnTo>
                    <a:pt x="1640" y="655"/>
                  </a:lnTo>
                  <a:lnTo>
                    <a:pt x="1640" y="659"/>
                  </a:lnTo>
                  <a:lnTo>
                    <a:pt x="1640" y="663"/>
                  </a:lnTo>
                  <a:lnTo>
                    <a:pt x="1640" y="659"/>
                  </a:lnTo>
                  <a:lnTo>
                    <a:pt x="1636" y="659"/>
                  </a:lnTo>
                  <a:lnTo>
                    <a:pt x="1636" y="663"/>
                  </a:lnTo>
                  <a:lnTo>
                    <a:pt x="1632" y="663"/>
                  </a:lnTo>
                  <a:lnTo>
                    <a:pt x="1636" y="663"/>
                  </a:lnTo>
                  <a:lnTo>
                    <a:pt x="1636" y="667"/>
                  </a:lnTo>
                  <a:lnTo>
                    <a:pt x="1632" y="667"/>
                  </a:lnTo>
                  <a:lnTo>
                    <a:pt x="1632" y="671"/>
                  </a:lnTo>
                  <a:lnTo>
                    <a:pt x="1628" y="671"/>
                  </a:lnTo>
                  <a:lnTo>
                    <a:pt x="1628" y="675"/>
                  </a:lnTo>
                  <a:lnTo>
                    <a:pt x="1628" y="679"/>
                  </a:lnTo>
                  <a:lnTo>
                    <a:pt x="1624" y="679"/>
                  </a:lnTo>
                  <a:lnTo>
                    <a:pt x="1624" y="683"/>
                  </a:lnTo>
                  <a:lnTo>
                    <a:pt x="1628" y="687"/>
                  </a:lnTo>
                  <a:lnTo>
                    <a:pt x="1628" y="683"/>
                  </a:lnTo>
                  <a:lnTo>
                    <a:pt x="1628" y="687"/>
                  </a:lnTo>
                  <a:lnTo>
                    <a:pt x="1624" y="687"/>
                  </a:lnTo>
                  <a:lnTo>
                    <a:pt x="1620" y="690"/>
                  </a:lnTo>
                  <a:lnTo>
                    <a:pt x="1624" y="694"/>
                  </a:lnTo>
                  <a:lnTo>
                    <a:pt x="1628" y="694"/>
                  </a:lnTo>
                  <a:lnTo>
                    <a:pt x="1628" y="698"/>
                  </a:lnTo>
                  <a:lnTo>
                    <a:pt x="1628" y="702"/>
                  </a:lnTo>
                  <a:lnTo>
                    <a:pt x="1632" y="702"/>
                  </a:lnTo>
                  <a:lnTo>
                    <a:pt x="1632" y="706"/>
                  </a:lnTo>
                  <a:lnTo>
                    <a:pt x="1636" y="702"/>
                  </a:lnTo>
                  <a:lnTo>
                    <a:pt x="1636" y="698"/>
                  </a:lnTo>
                  <a:lnTo>
                    <a:pt x="1632" y="698"/>
                  </a:lnTo>
                  <a:lnTo>
                    <a:pt x="1636" y="698"/>
                  </a:lnTo>
                  <a:lnTo>
                    <a:pt x="1640" y="698"/>
                  </a:lnTo>
                  <a:lnTo>
                    <a:pt x="1640" y="702"/>
                  </a:lnTo>
                  <a:lnTo>
                    <a:pt x="1640" y="706"/>
                  </a:lnTo>
                  <a:lnTo>
                    <a:pt x="1636" y="706"/>
                  </a:lnTo>
                  <a:lnTo>
                    <a:pt x="1632" y="706"/>
                  </a:lnTo>
                  <a:lnTo>
                    <a:pt x="1628" y="706"/>
                  </a:lnTo>
                  <a:lnTo>
                    <a:pt x="1628" y="702"/>
                  </a:lnTo>
                  <a:lnTo>
                    <a:pt x="1624" y="706"/>
                  </a:lnTo>
                  <a:lnTo>
                    <a:pt x="1620" y="710"/>
                  </a:lnTo>
                  <a:lnTo>
                    <a:pt x="1620" y="706"/>
                  </a:lnTo>
                  <a:lnTo>
                    <a:pt x="1620" y="702"/>
                  </a:lnTo>
                  <a:lnTo>
                    <a:pt x="1620" y="706"/>
                  </a:lnTo>
                  <a:lnTo>
                    <a:pt x="1616" y="706"/>
                  </a:lnTo>
                  <a:lnTo>
                    <a:pt x="1616" y="702"/>
                  </a:lnTo>
                  <a:lnTo>
                    <a:pt x="1616" y="706"/>
                  </a:lnTo>
                  <a:lnTo>
                    <a:pt x="1616" y="710"/>
                  </a:lnTo>
                  <a:lnTo>
                    <a:pt x="1612" y="710"/>
                  </a:lnTo>
                  <a:lnTo>
                    <a:pt x="1612" y="714"/>
                  </a:lnTo>
                  <a:lnTo>
                    <a:pt x="1608" y="714"/>
                  </a:lnTo>
                  <a:lnTo>
                    <a:pt x="1608" y="710"/>
                  </a:lnTo>
                  <a:lnTo>
                    <a:pt x="1604" y="714"/>
                  </a:lnTo>
                  <a:lnTo>
                    <a:pt x="1600" y="714"/>
                  </a:lnTo>
                  <a:lnTo>
                    <a:pt x="1596" y="714"/>
                  </a:lnTo>
                  <a:lnTo>
                    <a:pt x="1592" y="714"/>
                  </a:lnTo>
                  <a:lnTo>
                    <a:pt x="1588" y="714"/>
                  </a:lnTo>
                  <a:lnTo>
                    <a:pt x="1588" y="718"/>
                  </a:lnTo>
                  <a:lnTo>
                    <a:pt x="1584" y="718"/>
                  </a:lnTo>
                  <a:lnTo>
                    <a:pt x="1580" y="718"/>
                  </a:lnTo>
                  <a:lnTo>
                    <a:pt x="1580" y="722"/>
                  </a:lnTo>
                  <a:lnTo>
                    <a:pt x="1576" y="722"/>
                  </a:lnTo>
                  <a:lnTo>
                    <a:pt x="1580" y="722"/>
                  </a:lnTo>
                  <a:lnTo>
                    <a:pt x="1580" y="718"/>
                  </a:lnTo>
                  <a:lnTo>
                    <a:pt x="1580" y="714"/>
                  </a:lnTo>
                  <a:lnTo>
                    <a:pt x="1576" y="714"/>
                  </a:lnTo>
                  <a:lnTo>
                    <a:pt x="1580" y="714"/>
                  </a:lnTo>
                  <a:lnTo>
                    <a:pt x="1580" y="718"/>
                  </a:lnTo>
                  <a:lnTo>
                    <a:pt x="1576" y="722"/>
                  </a:lnTo>
                  <a:lnTo>
                    <a:pt x="1576" y="726"/>
                  </a:lnTo>
                  <a:lnTo>
                    <a:pt x="1572" y="726"/>
                  </a:lnTo>
                  <a:lnTo>
                    <a:pt x="1572" y="730"/>
                  </a:lnTo>
                  <a:lnTo>
                    <a:pt x="1576" y="730"/>
                  </a:lnTo>
                  <a:lnTo>
                    <a:pt x="1576" y="734"/>
                  </a:lnTo>
                  <a:lnTo>
                    <a:pt x="1576" y="738"/>
                  </a:lnTo>
                  <a:lnTo>
                    <a:pt x="1576" y="746"/>
                  </a:lnTo>
                  <a:lnTo>
                    <a:pt x="1576" y="742"/>
                  </a:lnTo>
                  <a:lnTo>
                    <a:pt x="1576" y="738"/>
                  </a:lnTo>
                  <a:lnTo>
                    <a:pt x="1576" y="742"/>
                  </a:lnTo>
                  <a:lnTo>
                    <a:pt x="1576" y="746"/>
                  </a:lnTo>
                  <a:lnTo>
                    <a:pt x="1572" y="746"/>
                  </a:lnTo>
                  <a:lnTo>
                    <a:pt x="1572" y="750"/>
                  </a:lnTo>
                  <a:lnTo>
                    <a:pt x="1568" y="750"/>
                  </a:lnTo>
                  <a:lnTo>
                    <a:pt x="1568" y="754"/>
                  </a:lnTo>
                  <a:lnTo>
                    <a:pt x="1572" y="754"/>
                  </a:lnTo>
                  <a:lnTo>
                    <a:pt x="1568" y="754"/>
                  </a:lnTo>
                  <a:lnTo>
                    <a:pt x="1568" y="758"/>
                  </a:lnTo>
                  <a:lnTo>
                    <a:pt x="1564" y="758"/>
                  </a:lnTo>
                  <a:lnTo>
                    <a:pt x="1564" y="762"/>
                  </a:lnTo>
                  <a:lnTo>
                    <a:pt x="1564" y="758"/>
                  </a:lnTo>
                  <a:lnTo>
                    <a:pt x="1560" y="758"/>
                  </a:lnTo>
                  <a:lnTo>
                    <a:pt x="1560" y="754"/>
                  </a:lnTo>
                  <a:lnTo>
                    <a:pt x="1556" y="754"/>
                  </a:lnTo>
                  <a:lnTo>
                    <a:pt x="1552" y="750"/>
                  </a:lnTo>
                  <a:lnTo>
                    <a:pt x="1552" y="746"/>
                  </a:lnTo>
                  <a:lnTo>
                    <a:pt x="1556" y="746"/>
                  </a:lnTo>
                  <a:lnTo>
                    <a:pt x="1556" y="742"/>
                  </a:lnTo>
                  <a:lnTo>
                    <a:pt x="1560" y="742"/>
                  </a:lnTo>
                  <a:lnTo>
                    <a:pt x="1560" y="738"/>
                  </a:lnTo>
                  <a:lnTo>
                    <a:pt x="1560" y="742"/>
                  </a:lnTo>
                  <a:lnTo>
                    <a:pt x="1556" y="742"/>
                  </a:lnTo>
                  <a:lnTo>
                    <a:pt x="1556" y="746"/>
                  </a:lnTo>
                  <a:lnTo>
                    <a:pt x="1552" y="746"/>
                  </a:lnTo>
                  <a:lnTo>
                    <a:pt x="1552" y="750"/>
                  </a:lnTo>
                  <a:lnTo>
                    <a:pt x="1556" y="754"/>
                  </a:lnTo>
                  <a:lnTo>
                    <a:pt x="1556" y="758"/>
                  </a:lnTo>
                  <a:lnTo>
                    <a:pt x="1556" y="762"/>
                  </a:lnTo>
                  <a:lnTo>
                    <a:pt x="1560" y="766"/>
                  </a:lnTo>
                  <a:lnTo>
                    <a:pt x="1560" y="770"/>
                  </a:lnTo>
                  <a:lnTo>
                    <a:pt x="1560" y="774"/>
                  </a:lnTo>
                  <a:lnTo>
                    <a:pt x="1560" y="770"/>
                  </a:lnTo>
                  <a:lnTo>
                    <a:pt x="1560" y="774"/>
                  </a:lnTo>
                  <a:lnTo>
                    <a:pt x="1560" y="778"/>
                  </a:lnTo>
                  <a:lnTo>
                    <a:pt x="1556" y="778"/>
                  </a:lnTo>
                  <a:lnTo>
                    <a:pt x="1556" y="782"/>
                  </a:lnTo>
                  <a:lnTo>
                    <a:pt x="1556" y="786"/>
                  </a:lnTo>
                  <a:lnTo>
                    <a:pt x="1552" y="786"/>
                  </a:lnTo>
                  <a:lnTo>
                    <a:pt x="1552" y="790"/>
                  </a:lnTo>
                  <a:lnTo>
                    <a:pt x="1548" y="794"/>
                  </a:lnTo>
                  <a:lnTo>
                    <a:pt x="1548" y="798"/>
                  </a:lnTo>
                  <a:lnTo>
                    <a:pt x="1548" y="794"/>
                  </a:lnTo>
                  <a:lnTo>
                    <a:pt x="1548" y="790"/>
                  </a:lnTo>
                  <a:lnTo>
                    <a:pt x="1548" y="786"/>
                  </a:lnTo>
                  <a:lnTo>
                    <a:pt x="1552" y="786"/>
                  </a:lnTo>
                  <a:lnTo>
                    <a:pt x="1552" y="782"/>
                  </a:lnTo>
                  <a:lnTo>
                    <a:pt x="1548" y="782"/>
                  </a:lnTo>
                  <a:lnTo>
                    <a:pt x="1548" y="778"/>
                  </a:lnTo>
                  <a:lnTo>
                    <a:pt x="1548" y="774"/>
                  </a:lnTo>
                  <a:lnTo>
                    <a:pt x="1548" y="778"/>
                  </a:lnTo>
                  <a:lnTo>
                    <a:pt x="1544" y="778"/>
                  </a:lnTo>
                  <a:lnTo>
                    <a:pt x="1544" y="774"/>
                  </a:lnTo>
                  <a:lnTo>
                    <a:pt x="1540" y="770"/>
                  </a:lnTo>
                  <a:lnTo>
                    <a:pt x="1544" y="770"/>
                  </a:lnTo>
                  <a:lnTo>
                    <a:pt x="1548" y="770"/>
                  </a:lnTo>
                  <a:lnTo>
                    <a:pt x="1548" y="766"/>
                  </a:lnTo>
                  <a:lnTo>
                    <a:pt x="1548" y="770"/>
                  </a:lnTo>
                  <a:lnTo>
                    <a:pt x="1544" y="770"/>
                  </a:lnTo>
                  <a:lnTo>
                    <a:pt x="1544" y="766"/>
                  </a:lnTo>
                  <a:lnTo>
                    <a:pt x="1540" y="766"/>
                  </a:lnTo>
                  <a:lnTo>
                    <a:pt x="1544" y="762"/>
                  </a:lnTo>
                  <a:lnTo>
                    <a:pt x="1544" y="766"/>
                  </a:lnTo>
                  <a:lnTo>
                    <a:pt x="1544" y="762"/>
                  </a:lnTo>
                  <a:lnTo>
                    <a:pt x="1540" y="762"/>
                  </a:lnTo>
                  <a:lnTo>
                    <a:pt x="1540" y="758"/>
                  </a:lnTo>
                  <a:lnTo>
                    <a:pt x="1544" y="762"/>
                  </a:lnTo>
                  <a:lnTo>
                    <a:pt x="1544" y="758"/>
                  </a:lnTo>
                  <a:lnTo>
                    <a:pt x="1544" y="754"/>
                  </a:lnTo>
                  <a:lnTo>
                    <a:pt x="1548" y="754"/>
                  </a:lnTo>
                  <a:lnTo>
                    <a:pt x="1548" y="750"/>
                  </a:lnTo>
                  <a:lnTo>
                    <a:pt x="1548" y="746"/>
                  </a:lnTo>
                  <a:lnTo>
                    <a:pt x="1544" y="750"/>
                  </a:lnTo>
                  <a:lnTo>
                    <a:pt x="1544" y="754"/>
                  </a:lnTo>
                  <a:lnTo>
                    <a:pt x="1544" y="750"/>
                  </a:lnTo>
                  <a:lnTo>
                    <a:pt x="1540" y="754"/>
                  </a:lnTo>
                  <a:close/>
                  <a:moveTo>
                    <a:pt x="834" y="555"/>
                  </a:moveTo>
                  <a:lnTo>
                    <a:pt x="834" y="559"/>
                  </a:lnTo>
                  <a:lnTo>
                    <a:pt x="834" y="555"/>
                  </a:lnTo>
                  <a:close/>
                  <a:moveTo>
                    <a:pt x="882" y="862"/>
                  </a:moveTo>
                  <a:lnTo>
                    <a:pt x="886" y="862"/>
                  </a:lnTo>
                  <a:lnTo>
                    <a:pt x="882" y="862"/>
                  </a:lnTo>
                  <a:close/>
                  <a:moveTo>
                    <a:pt x="204" y="128"/>
                  </a:moveTo>
                  <a:lnTo>
                    <a:pt x="200" y="128"/>
                  </a:lnTo>
                  <a:lnTo>
                    <a:pt x="192" y="132"/>
                  </a:lnTo>
                  <a:lnTo>
                    <a:pt x="196" y="128"/>
                  </a:lnTo>
                  <a:lnTo>
                    <a:pt x="200" y="128"/>
                  </a:lnTo>
                  <a:lnTo>
                    <a:pt x="204" y="128"/>
                  </a:lnTo>
                  <a:close/>
                  <a:moveTo>
                    <a:pt x="180" y="136"/>
                  </a:moveTo>
                  <a:lnTo>
                    <a:pt x="176" y="140"/>
                  </a:lnTo>
                  <a:lnTo>
                    <a:pt x="176" y="136"/>
                  </a:lnTo>
                  <a:lnTo>
                    <a:pt x="180" y="136"/>
                  </a:lnTo>
                  <a:close/>
                  <a:moveTo>
                    <a:pt x="240" y="204"/>
                  </a:moveTo>
                  <a:lnTo>
                    <a:pt x="236" y="204"/>
                  </a:lnTo>
                  <a:lnTo>
                    <a:pt x="240" y="204"/>
                  </a:lnTo>
                  <a:close/>
                  <a:moveTo>
                    <a:pt x="455" y="275"/>
                  </a:moveTo>
                  <a:lnTo>
                    <a:pt x="455" y="279"/>
                  </a:lnTo>
                  <a:lnTo>
                    <a:pt x="455" y="275"/>
                  </a:lnTo>
                  <a:lnTo>
                    <a:pt x="451" y="275"/>
                  </a:lnTo>
                  <a:lnTo>
                    <a:pt x="455" y="275"/>
                  </a:lnTo>
                  <a:close/>
                  <a:moveTo>
                    <a:pt x="88" y="287"/>
                  </a:moveTo>
                  <a:lnTo>
                    <a:pt x="88" y="283"/>
                  </a:lnTo>
                  <a:lnTo>
                    <a:pt x="84" y="283"/>
                  </a:lnTo>
                  <a:lnTo>
                    <a:pt x="80" y="283"/>
                  </a:lnTo>
                  <a:lnTo>
                    <a:pt x="76" y="279"/>
                  </a:lnTo>
                  <a:lnTo>
                    <a:pt x="80" y="279"/>
                  </a:lnTo>
                  <a:lnTo>
                    <a:pt x="80" y="283"/>
                  </a:lnTo>
                  <a:lnTo>
                    <a:pt x="84" y="283"/>
                  </a:lnTo>
                  <a:lnTo>
                    <a:pt x="88" y="283"/>
                  </a:lnTo>
                  <a:lnTo>
                    <a:pt x="88" y="287"/>
                  </a:lnTo>
                  <a:close/>
                  <a:moveTo>
                    <a:pt x="499" y="283"/>
                  </a:moveTo>
                  <a:lnTo>
                    <a:pt x="499" y="287"/>
                  </a:lnTo>
                  <a:lnTo>
                    <a:pt x="499" y="283"/>
                  </a:lnTo>
                  <a:close/>
                  <a:moveTo>
                    <a:pt x="455" y="283"/>
                  </a:moveTo>
                  <a:lnTo>
                    <a:pt x="455" y="287"/>
                  </a:lnTo>
                  <a:lnTo>
                    <a:pt x="455" y="283"/>
                  </a:lnTo>
                  <a:close/>
                  <a:moveTo>
                    <a:pt x="455" y="287"/>
                  </a:moveTo>
                  <a:lnTo>
                    <a:pt x="455" y="291"/>
                  </a:lnTo>
                  <a:lnTo>
                    <a:pt x="451" y="291"/>
                  </a:lnTo>
                  <a:lnTo>
                    <a:pt x="455" y="291"/>
                  </a:lnTo>
                  <a:lnTo>
                    <a:pt x="455" y="287"/>
                  </a:lnTo>
                  <a:close/>
                  <a:moveTo>
                    <a:pt x="515" y="295"/>
                  </a:moveTo>
                  <a:lnTo>
                    <a:pt x="511" y="295"/>
                  </a:lnTo>
                  <a:lnTo>
                    <a:pt x="507" y="295"/>
                  </a:lnTo>
                  <a:lnTo>
                    <a:pt x="507" y="299"/>
                  </a:lnTo>
                  <a:lnTo>
                    <a:pt x="507" y="295"/>
                  </a:lnTo>
                  <a:lnTo>
                    <a:pt x="511" y="295"/>
                  </a:lnTo>
                  <a:lnTo>
                    <a:pt x="511" y="291"/>
                  </a:lnTo>
                  <a:lnTo>
                    <a:pt x="515" y="291"/>
                  </a:lnTo>
                  <a:lnTo>
                    <a:pt x="515" y="295"/>
                  </a:lnTo>
                  <a:close/>
                  <a:moveTo>
                    <a:pt x="260" y="327"/>
                  </a:moveTo>
                  <a:lnTo>
                    <a:pt x="260" y="323"/>
                  </a:lnTo>
                  <a:lnTo>
                    <a:pt x="264" y="323"/>
                  </a:lnTo>
                  <a:lnTo>
                    <a:pt x="260" y="327"/>
                  </a:lnTo>
                  <a:close/>
                  <a:moveTo>
                    <a:pt x="662" y="335"/>
                  </a:moveTo>
                  <a:lnTo>
                    <a:pt x="658" y="335"/>
                  </a:lnTo>
                  <a:lnTo>
                    <a:pt x="658" y="331"/>
                  </a:lnTo>
                  <a:lnTo>
                    <a:pt x="662" y="335"/>
                  </a:lnTo>
                  <a:close/>
                  <a:moveTo>
                    <a:pt x="120" y="363"/>
                  </a:moveTo>
                  <a:lnTo>
                    <a:pt x="116" y="363"/>
                  </a:lnTo>
                  <a:lnTo>
                    <a:pt x="116" y="359"/>
                  </a:lnTo>
                  <a:lnTo>
                    <a:pt x="120" y="359"/>
                  </a:lnTo>
                  <a:lnTo>
                    <a:pt x="120" y="363"/>
                  </a:lnTo>
                  <a:close/>
                  <a:moveTo>
                    <a:pt x="128" y="375"/>
                  </a:moveTo>
                  <a:lnTo>
                    <a:pt x="132" y="375"/>
                  </a:lnTo>
                  <a:lnTo>
                    <a:pt x="128" y="375"/>
                  </a:lnTo>
                  <a:close/>
                  <a:moveTo>
                    <a:pt x="363" y="375"/>
                  </a:moveTo>
                  <a:lnTo>
                    <a:pt x="359" y="375"/>
                  </a:lnTo>
                  <a:lnTo>
                    <a:pt x="363" y="375"/>
                  </a:lnTo>
                  <a:close/>
                  <a:moveTo>
                    <a:pt x="367" y="375"/>
                  </a:moveTo>
                  <a:lnTo>
                    <a:pt x="363" y="375"/>
                  </a:lnTo>
                  <a:lnTo>
                    <a:pt x="367" y="375"/>
                  </a:lnTo>
                  <a:close/>
                  <a:moveTo>
                    <a:pt x="343" y="391"/>
                  </a:moveTo>
                  <a:lnTo>
                    <a:pt x="343" y="395"/>
                  </a:lnTo>
                  <a:lnTo>
                    <a:pt x="339" y="395"/>
                  </a:lnTo>
                  <a:lnTo>
                    <a:pt x="339" y="391"/>
                  </a:lnTo>
                  <a:lnTo>
                    <a:pt x="343" y="391"/>
                  </a:lnTo>
                  <a:close/>
                  <a:moveTo>
                    <a:pt x="678" y="391"/>
                  </a:moveTo>
                  <a:lnTo>
                    <a:pt x="678" y="395"/>
                  </a:lnTo>
                  <a:lnTo>
                    <a:pt x="678" y="391"/>
                  </a:lnTo>
                  <a:close/>
                  <a:moveTo>
                    <a:pt x="1576" y="726"/>
                  </a:moveTo>
                  <a:lnTo>
                    <a:pt x="1576" y="730"/>
                  </a:lnTo>
                  <a:lnTo>
                    <a:pt x="1572" y="730"/>
                  </a:lnTo>
                  <a:lnTo>
                    <a:pt x="1572" y="726"/>
                  </a:lnTo>
                  <a:lnTo>
                    <a:pt x="1576" y="726"/>
                  </a:lnTo>
                  <a:close/>
                  <a:moveTo>
                    <a:pt x="1552" y="838"/>
                  </a:moveTo>
                  <a:lnTo>
                    <a:pt x="1552" y="834"/>
                  </a:lnTo>
                  <a:lnTo>
                    <a:pt x="1556" y="834"/>
                  </a:lnTo>
                  <a:lnTo>
                    <a:pt x="1556" y="830"/>
                  </a:lnTo>
                  <a:lnTo>
                    <a:pt x="1552" y="826"/>
                  </a:lnTo>
                  <a:lnTo>
                    <a:pt x="1556" y="826"/>
                  </a:lnTo>
                  <a:lnTo>
                    <a:pt x="1556" y="830"/>
                  </a:lnTo>
                  <a:lnTo>
                    <a:pt x="1556" y="834"/>
                  </a:lnTo>
                  <a:lnTo>
                    <a:pt x="1552" y="838"/>
                  </a:lnTo>
                  <a:close/>
                  <a:moveTo>
                    <a:pt x="1476" y="974"/>
                  </a:moveTo>
                  <a:lnTo>
                    <a:pt x="1476" y="970"/>
                  </a:lnTo>
                  <a:lnTo>
                    <a:pt x="1476" y="974"/>
                  </a:lnTo>
                  <a:close/>
                  <a:moveTo>
                    <a:pt x="1480" y="982"/>
                  </a:moveTo>
                  <a:lnTo>
                    <a:pt x="1480" y="986"/>
                  </a:lnTo>
                  <a:lnTo>
                    <a:pt x="1480" y="990"/>
                  </a:lnTo>
                  <a:lnTo>
                    <a:pt x="1484" y="994"/>
                  </a:lnTo>
                  <a:lnTo>
                    <a:pt x="1484" y="998"/>
                  </a:lnTo>
                  <a:lnTo>
                    <a:pt x="1484" y="994"/>
                  </a:lnTo>
                  <a:lnTo>
                    <a:pt x="1480" y="990"/>
                  </a:lnTo>
                  <a:lnTo>
                    <a:pt x="1480" y="986"/>
                  </a:lnTo>
                  <a:lnTo>
                    <a:pt x="1480" y="982"/>
                  </a:lnTo>
                  <a:close/>
                  <a:moveTo>
                    <a:pt x="1225" y="990"/>
                  </a:moveTo>
                  <a:lnTo>
                    <a:pt x="1225" y="994"/>
                  </a:lnTo>
                  <a:lnTo>
                    <a:pt x="1221" y="994"/>
                  </a:lnTo>
                  <a:lnTo>
                    <a:pt x="1225" y="990"/>
                  </a:lnTo>
                  <a:lnTo>
                    <a:pt x="1225" y="986"/>
                  </a:lnTo>
                  <a:lnTo>
                    <a:pt x="1229" y="982"/>
                  </a:lnTo>
                  <a:lnTo>
                    <a:pt x="1229" y="986"/>
                  </a:lnTo>
                  <a:lnTo>
                    <a:pt x="1225" y="986"/>
                  </a:lnTo>
                  <a:lnTo>
                    <a:pt x="1225" y="990"/>
                  </a:lnTo>
                  <a:close/>
                  <a:moveTo>
                    <a:pt x="1225" y="1006"/>
                  </a:moveTo>
                  <a:lnTo>
                    <a:pt x="1225" y="1002"/>
                  </a:lnTo>
                  <a:lnTo>
                    <a:pt x="1221" y="1002"/>
                  </a:lnTo>
                  <a:lnTo>
                    <a:pt x="1221" y="998"/>
                  </a:lnTo>
                  <a:lnTo>
                    <a:pt x="1221" y="994"/>
                  </a:lnTo>
                  <a:lnTo>
                    <a:pt x="1221" y="998"/>
                  </a:lnTo>
                  <a:lnTo>
                    <a:pt x="1225" y="1002"/>
                  </a:lnTo>
                  <a:lnTo>
                    <a:pt x="1225" y="1006"/>
                  </a:lnTo>
                  <a:lnTo>
                    <a:pt x="1225" y="1010"/>
                  </a:lnTo>
                  <a:lnTo>
                    <a:pt x="1225" y="1014"/>
                  </a:lnTo>
                  <a:lnTo>
                    <a:pt x="1225" y="1018"/>
                  </a:lnTo>
                  <a:lnTo>
                    <a:pt x="1225" y="1014"/>
                  </a:lnTo>
                  <a:lnTo>
                    <a:pt x="1225" y="1010"/>
                  </a:lnTo>
                  <a:lnTo>
                    <a:pt x="1225" y="1006"/>
                  </a:lnTo>
                  <a:close/>
                  <a:moveTo>
                    <a:pt x="140" y="216"/>
                  </a:moveTo>
                  <a:lnTo>
                    <a:pt x="136" y="216"/>
                  </a:lnTo>
                  <a:lnTo>
                    <a:pt x="132" y="216"/>
                  </a:lnTo>
                  <a:lnTo>
                    <a:pt x="128" y="220"/>
                  </a:lnTo>
                  <a:lnTo>
                    <a:pt x="128" y="216"/>
                  </a:lnTo>
                  <a:lnTo>
                    <a:pt x="124" y="216"/>
                  </a:lnTo>
                  <a:lnTo>
                    <a:pt x="120" y="216"/>
                  </a:lnTo>
                  <a:lnTo>
                    <a:pt x="120" y="212"/>
                  </a:lnTo>
                  <a:lnTo>
                    <a:pt x="116" y="208"/>
                  </a:lnTo>
                  <a:lnTo>
                    <a:pt x="112" y="208"/>
                  </a:lnTo>
                  <a:lnTo>
                    <a:pt x="108" y="208"/>
                  </a:lnTo>
                  <a:lnTo>
                    <a:pt x="112" y="208"/>
                  </a:lnTo>
                  <a:lnTo>
                    <a:pt x="116" y="208"/>
                  </a:lnTo>
                  <a:lnTo>
                    <a:pt x="116" y="212"/>
                  </a:lnTo>
                  <a:lnTo>
                    <a:pt x="120" y="212"/>
                  </a:lnTo>
                  <a:lnTo>
                    <a:pt x="116" y="212"/>
                  </a:lnTo>
                  <a:lnTo>
                    <a:pt x="112" y="208"/>
                  </a:lnTo>
                  <a:lnTo>
                    <a:pt x="108" y="208"/>
                  </a:lnTo>
                  <a:lnTo>
                    <a:pt x="104" y="208"/>
                  </a:lnTo>
                  <a:lnTo>
                    <a:pt x="104" y="212"/>
                  </a:lnTo>
                  <a:lnTo>
                    <a:pt x="100" y="212"/>
                  </a:lnTo>
                  <a:lnTo>
                    <a:pt x="96" y="212"/>
                  </a:lnTo>
                  <a:lnTo>
                    <a:pt x="96" y="208"/>
                  </a:lnTo>
                  <a:lnTo>
                    <a:pt x="96" y="204"/>
                  </a:lnTo>
                  <a:lnTo>
                    <a:pt x="96" y="200"/>
                  </a:lnTo>
                  <a:lnTo>
                    <a:pt x="100" y="200"/>
                  </a:lnTo>
                  <a:lnTo>
                    <a:pt x="100" y="204"/>
                  </a:lnTo>
                  <a:lnTo>
                    <a:pt x="104" y="204"/>
                  </a:lnTo>
                  <a:lnTo>
                    <a:pt x="108" y="204"/>
                  </a:lnTo>
                  <a:lnTo>
                    <a:pt x="112" y="204"/>
                  </a:lnTo>
                  <a:lnTo>
                    <a:pt x="116" y="200"/>
                  </a:lnTo>
                  <a:lnTo>
                    <a:pt x="120" y="200"/>
                  </a:lnTo>
                  <a:lnTo>
                    <a:pt x="120" y="204"/>
                  </a:lnTo>
                  <a:lnTo>
                    <a:pt x="124" y="204"/>
                  </a:lnTo>
                  <a:lnTo>
                    <a:pt x="124" y="208"/>
                  </a:lnTo>
                  <a:lnTo>
                    <a:pt x="128" y="208"/>
                  </a:lnTo>
                  <a:lnTo>
                    <a:pt x="132" y="208"/>
                  </a:lnTo>
                  <a:lnTo>
                    <a:pt x="132" y="212"/>
                  </a:lnTo>
                  <a:lnTo>
                    <a:pt x="136" y="212"/>
                  </a:lnTo>
                  <a:lnTo>
                    <a:pt x="140" y="212"/>
                  </a:lnTo>
                  <a:lnTo>
                    <a:pt x="144" y="212"/>
                  </a:lnTo>
                  <a:lnTo>
                    <a:pt x="140" y="216"/>
                  </a:lnTo>
                  <a:close/>
                  <a:moveTo>
                    <a:pt x="455" y="271"/>
                  </a:moveTo>
                  <a:lnTo>
                    <a:pt x="459" y="271"/>
                  </a:lnTo>
                  <a:lnTo>
                    <a:pt x="455" y="275"/>
                  </a:lnTo>
                  <a:lnTo>
                    <a:pt x="455" y="271"/>
                  </a:lnTo>
                  <a:close/>
                  <a:moveTo>
                    <a:pt x="491" y="279"/>
                  </a:moveTo>
                  <a:lnTo>
                    <a:pt x="487" y="279"/>
                  </a:lnTo>
                  <a:lnTo>
                    <a:pt x="483" y="283"/>
                  </a:lnTo>
                  <a:lnTo>
                    <a:pt x="483" y="279"/>
                  </a:lnTo>
                  <a:lnTo>
                    <a:pt x="487" y="279"/>
                  </a:lnTo>
                  <a:lnTo>
                    <a:pt x="491" y="279"/>
                  </a:lnTo>
                  <a:close/>
                  <a:moveTo>
                    <a:pt x="487" y="283"/>
                  </a:moveTo>
                  <a:lnTo>
                    <a:pt x="483" y="283"/>
                  </a:lnTo>
                  <a:lnTo>
                    <a:pt x="479" y="283"/>
                  </a:lnTo>
                  <a:lnTo>
                    <a:pt x="479" y="287"/>
                  </a:lnTo>
                  <a:lnTo>
                    <a:pt x="475" y="287"/>
                  </a:lnTo>
                  <a:lnTo>
                    <a:pt x="479" y="287"/>
                  </a:lnTo>
                  <a:lnTo>
                    <a:pt x="479" y="283"/>
                  </a:lnTo>
                  <a:lnTo>
                    <a:pt x="475" y="283"/>
                  </a:lnTo>
                  <a:lnTo>
                    <a:pt x="479" y="283"/>
                  </a:lnTo>
                  <a:lnTo>
                    <a:pt x="479" y="279"/>
                  </a:lnTo>
                  <a:lnTo>
                    <a:pt x="479" y="283"/>
                  </a:lnTo>
                  <a:lnTo>
                    <a:pt x="483" y="283"/>
                  </a:lnTo>
                  <a:lnTo>
                    <a:pt x="487" y="283"/>
                  </a:lnTo>
                  <a:close/>
                  <a:moveTo>
                    <a:pt x="184" y="283"/>
                  </a:moveTo>
                  <a:lnTo>
                    <a:pt x="188" y="283"/>
                  </a:lnTo>
                  <a:lnTo>
                    <a:pt x="188" y="287"/>
                  </a:lnTo>
                  <a:lnTo>
                    <a:pt x="188" y="291"/>
                  </a:lnTo>
                  <a:lnTo>
                    <a:pt x="192" y="295"/>
                  </a:lnTo>
                  <a:lnTo>
                    <a:pt x="188" y="295"/>
                  </a:lnTo>
                  <a:lnTo>
                    <a:pt x="184" y="295"/>
                  </a:lnTo>
                  <a:lnTo>
                    <a:pt x="180" y="295"/>
                  </a:lnTo>
                  <a:lnTo>
                    <a:pt x="180" y="299"/>
                  </a:lnTo>
                  <a:lnTo>
                    <a:pt x="184" y="299"/>
                  </a:lnTo>
                  <a:lnTo>
                    <a:pt x="180" y="299"/>
                  </a:lnTo>
                  <a:lnTo>
                    <a:pt x="176" y="295"/>
                  </a:lnTo>
                  <a:lnTo>
                    <a:pt x="168" y="295"/>
                  </a:lnTo>
                  <a:lnTo>
                    <a:pt x="168" y="291"/>
                  </a:lnTo>
                  <a:lnTo>
                    <a:pt x="164" y="291"/>
                  </a:lnTo>
                  <a:lnTo>
                    <a:pt x="164" y="287"/>
                  </a:lnTo>
                  <a:lnTo>
                    <a:pt x="168" y="287"/>
                  </a:lnTo>
                  <a:lnTo>
                    <a:pt x="172" y="287"/>
                  </a:lnTo>
                  <a:lnTo>
                    <a:pt x="172" y="283"/>
                  </a:lnTo>
                  <a:lnTo>
                    <a:pt x="176" y="283"/>
                  </a:lnTo>
                  <a:lnTo>
                    <a:pt x="180" y="283"/>
                  </a:lnTo>
                  <a:lnTo>
                    <a:pt x="184" y="283"/>
                  </a:lnTo>
                  <a:close/>
                  <a:moveTo>
                    <a:pt x="471" y="287"/>
                  </a:moveTo>
                  <a:lnTo>
                    <a:pt x="467" y="287"/>
                  </a:lnTo>
                  <a:lnTo>
                    <a:pt x="467" y="291"/>
                  </a:lnTo>
                  <a:lnTo>
                    <a:pt x="463" y="295"/>
                  </a:lnTo>
                  <a:lnTo>
                    <a:pt x="459" y="299"/>
                  </a:lnTo>
                  <a:lnTo>
                    <a:pt x="459" y="295"/>
                  </a:lnTo>
                  <a:lnTo>
                    <a:pt x="463" y="291"/>
                  </a:lnTo>
                  <a:lnTo>
                    <a:pt x="467" y="291"/>
                  </a:lnTo>
                  <a:lnTo>
                    <a:pt x="467" y="287"/>
                  </a:lnTo>
                  <a:lnTo>
                    <a:pt x="467" y="283"/>
                  </a:lnTo>
                  <a:lnTo>
                    <a:pt x="471" y="283"/>
                  </a:lnTo>
                  <a:lnTo>
                    <a:pt x="471" y="287"/>
                  </a:lnTo>
                  <a:close/>
                  <a:moveTo>
                    <a:pt x="459" y="291"/>
                  </a:moveTo>
                  <a:lnTo>
                    <a:pt x="455" y="291"/>
                  </a:lnTo>
                  <a:lnTo>
                    <a:pt x="459" y="287"/>
                  </a:lnTo>
                  <a:lnTo>
                    <a:pt x="459" y="291"/>
                  </a:lnTo>
                  <a:close/>
                  <a:moveTo>
                    <a:pt x="459" y="291"/>
                  </a:moveTo>
                  <a:lnTo>
                    <a:pt x="459" y="295"/>
                  </a:lnTo>
                  <a:lnTo>
                    <a:pt x="455" y="295"/>
                  </a:lnTo>
                  <a:lnTo>
                    <a:pt x="455" y="291"/>
                  </a:lnTo>
                  <a:lnTo>
                    <a:pt x="459" y="291"/>
                  </a:lnTo>
                  <a:close/>
                  <a:moveTo>
                    <a:pt x="375" y="307"/>
                  </a:moveTo>
                  <a:lnTo>
                    <a:pt x="375" y="311"/>
                  </a:lnTo>
                  <a:lnTo>
                    <a:pt x="371" y="311"/>
                  </a:lnTo>
                  <a:lnTo>
                    <a:pt x="371" y="307"/>
                  </a:lnTo>
                  <a:lnTo>
                    <a:pt x="375" y="307"/>
                  </a:lnTo>
                  <a:close/>
                  <a:moveTo>
                    <a:pt x="415" y="307"/>
                  </a:moveTo>
                  <a:lnTo>
                    <a:pt x="415" y="311"/>
                  </a:lnTo>
                  <a:lnTo>
                    <a:pt x="415" y="307"/>
                  </a:lnTo>
                  <a:close/>
                  <a:moveTo>
                    <a:pt x="391" y="327"/>
                  </a:moveTo>
                  <a:lnTo>
                    <a:pt x="387" y="331"/>
                  </a:lnTo>
                  <a:lnTo>
                    <a:pt x="387" y="327"/>
                  </a:lnTo>
                  <a:lnTo>
                    <a:pt x="391" y="327"/>
                  </a:lnTo>
                  <a:close/>
                  <a:moveTo>
                    <a:pt x="387" y="339"/>
                  </a:moveTo>
                  <a:lnTo>
                    <a:pt x="383" y="343"/>
                  </a:lnTo>
                  <a:lnTo>
                    <a:pt x="383" y="339"/>
                  </a:lnTo>
                  <a:lnTo>
                    <a:pt x="379" y="339"/>
                  </a:lnTo>
                  <a:lnTo>
                    <a:pt x="379" y="335"/>
                  </a:lnTo>
                  <a:lnTo>
                    <a:pt x="383" y="339"/>
                  </a:lnTo>
                  <a:lnTo>
                    <a:pt x="383" y="335"/>
                  </a:lnTo>
                  <a:lnTo>
                    <a:pt x="379" y="335"/>
                  </a:lnTo>
                  <a:lnTo>
                    <a:pt x="383" y="335"/>
                  </a:lnTo>
                  <a:lnTo>
                    <a:pt x="383" y="331"/>
                  </a:lnTo>
                  <a:lnTo>
                    <a:pt x="387" y="331"/>
                  </a:lnTo>
                  <a:lnTo>
                    <a:pt x="391" y="331"/>
                  </a:lnTo>
                  <a:lnTo>
                    <a:pt x="395" y="331"/>
                  </a:lnTo>
                  <a:lnTo>
                    <a:pt x="395" y="335"/>
                  </a:lnTo>
                  <a:lnTo>
                    <a:pt x="395" y="339"/>
                  </a:lnTo>
                  <a:lnTo>
                    <a:pt x="391" y="335"/>
                  </a:lnTo>
                  <a:lnTo>
                    <a:pt x="391" y="339"/>
                  </a:lnTo>
                  <a:lnTo>
                    <a:pt x="387" y="339"/>
                  </a:lnTo>
                  <a:close/>
                  <a:moveTo>
                    <a:pt x="670" y="355"/>
                  </a:moveTo>
                  <a:lnTo>
                    <a:pt x="666" y="355"/>
                  </a:lnTo>
                  <a:lnTo>
                    <a:pt x="670" y="355"/>
                  </a:lnTo>
                  <a:lnTo>
                    <a:pt x="670" y="359"/>
                  </a:lnTo>
                  <a:lnTo>
                    <a:pt x="666" y="359"/>
                  </a:lnTo>
                  <a:lnTo>
                    <a:pt x="666" y="355"/>
                  </a:lnTo>
                  <a:lnTo>
                    <a:pt x="666" y="359"/>
                  </a:lnTo>
                  <a:lnTo>
                    <a:pt x="662" y="363"/>
                  </a:lnTo>
                  <a:lnTo>
                    <a:pt x="658" y="363"/>
                  </a:lnTo>
                  <a:lnTo>
                    <a:pt x="658" y="359"/>
                  </a:lnTo>
                  <a:lnTo>
                    <a:pt x="662" y="355"/>
                  </a:lnTo>
                  <a:lnTo>
                    <a:pt x="662" y="359"/>
                  </a:lnTo>
                  <a:lnTo>
                    <a:pt x="662" y="355"/>
                  </a:lnTo>
                  <a:lnTo>
                    <a:pt x="658" y="355"/>
                  </a:lnTo>
                  <a:lnTo>
                    <a:pt x="662" y="355"/>
                  </a:lnTo>
                  <a:lnTo>
                    <a:pt x="662" y="351"/>
                  </a:lnTo>
                  <a:lnTo>
                    <a:pt x="658" y="351"/>
                  </a:lnTo>
                  <a:lnTo>
                    <a:pt x="658" y="347"/>
                  </a:lnTo>
                  <a:lnTo>
                    <a:pt x="658" y="339"/>
                  </a:lnTo>
                  <a:lnTo>
                    <a:pt x="654" y="335"/>
                  </a:lnTo>
                  <a:lnTo>
                    <a:pt x="654" y="331"/>
                  </a:lnTo>
                  <a:lnTo>
                    <a:pt x="654" y="335"/>
                  </a:lnTo>
                  <a:lnTo>
                    <a:pt x="658" y="335"/>
                  </a:lnTo>
                  <a:lnTo>
                    <a:pt x="658" y="339"/>
                  </a:lnTo>
                  <a:lnTo>
                    <a:pt x="658" y="335"/>
                  </a:lnTo>
                  <a:lnTo>
                    <a:pt x="662" y="335"/>
                  </a:lnTo>
                  <a:lnTo>
                    <a:pt x="662" y="339"/>
                  </a:lnTo>
                  <a:lnTo>
                    <a:pt x="666" y="339"/>
                  </a:lnTo>
                  <a:lnTo>
                    <a:pt x="666" y="343"/>
                  </a:lnTo>
                  <a:lnTo>
                    <a:pt x="670" y="347"/>
                  </a:lnTo>
                  <a:lnTo>
                    <a:pt x="670" y="351"/>
                  </a:lnTo>
                  <a:lnTo>
                    <a:pt x="670" y="347"/>
                  </a:lnTo>
                  <a:lnTo>
                    <a:pt x="666" y="347"/>
                  </a:lnTo>
                  <a:lnTo>
                    <a:pt x="666" y="343"/>
                  </a:lnTo>
                  <a:lnTo>
                    <a:pt x="666" y="339"/>
                  </a:lnTo>
                  <a:lnTo>
                    <a:pt x="662" y="339"/>
                  </a:lnTo>
                  <a:lnTo>
                    <a:pt x="662" y="343"/>
                  </a:lnTo>
                  <a:lnTo>
                    <a:pt x="666" y="343"/>
                  </a:lnTo>
                  <a:lnTo>
                    <a:pt x="666" y="347"/>
                  </a:lnTo>
                  <a:lnTo>
                    <a:pt x="666" y="351"/>
                  </a:lnTo>
                  <a:lnTo>
                    <a:pt x="670" y="351"/>
                  </a:lnTo>
                  <a:lnTo>
                    <a:pt x="670" y="355"/>
                  </a:lnTo>
                  <a:close/>
                  <a:moveTo>
                    <a:pt x="635" y="347"/>
                  </a:moveTo>
                  <a:lnTo>
                    <a:pt x="631" y="347"/>
                  </a:lnTo>
                  <a:lnTo>
                    <a:pt x="635" y="343"/>
                  </a:lnTo>
                  <a:lnTo>
                    <a:pt x="639" y="343"/>
                  </a:lnTo>
                  <a:lnTo>
                    <a:pt x="635" y="343"/>
                  </a:lnTo>
                  <a:lnTo>
                    <a:pt x="631" y="339"/>
                  </a:lnTo>
                  <a:lnTo>
                    <a:pt x="635" y="335"/>
                  </a:lnTo>
                  <a:lnTo>
                    <a:pt x="635" y="339"/>
                  </a:lnTo>
                  <a:lnTo>
                    <a:pt x="635" y="335"/>
                  </a:lnTo>
                  <a:lnTo>
                    <a:pt x="639" y="335"/>
                  </a:lnTo>
                  <a:lnTo>
                    <a:pt x="643" y="335"/>
                  </a:lnTo>
                  <a:lnTo>
                    <a:pt x="647" y="335"/>
                  </a:lnTo>
                  <a:lnTo>
                    <a:pt x="647" y="339"/>
                  </a:lnTo>
                  <a:lnTo>
                    <a:pt x="643" y="339"/>
                  </a:lnTo>
                  <a:lnTo>
                    <a:pt x="643" y="343"/>
                  </a:lnTo>
                  <a:lnTo>
                    <a:pt x="647" y="343"/>
                  </a:lnTo>
                  <a:lnTo>
                    <a:pt x="647" y="339"/>
                  </a:lnTo>
                  <a:lnTo>
                    <a:pt x="651" y="339"/>
                  </a:lnTo>
                  <a:lnTo>
                    <a:pt x="654" y="339"/>
                  </a:lnTo>
                  <a:lnTo>
                    <a:pt x="654" y="343"/>
                  </a:lnTo>
                  <a:lnTo>
                    <a:pt x="651" y="343"/>
                  </a:lnTo>
                  <a:lnTo>
                    <a:pt x="654" y="343"/>
                  </a:lnTo>
                  <a:lnTo>
                    <a:pt x="654" y="347"/>
                  </a:lnTo>
                  <a:lnTo>
                    <a:pt x="651" y="347"/>
                  </a:lnTo>
                  <a:lnTo>
                    <a:pt x="647" y="347"/>
                  </a:lnTo>
                  <a:lnTo>
                    <a:pt x="647" y="343"/>
                  </a:lnTo>
                  <a:lnTo>
                    <a:pt x="643" y="343"/>
                  </a:lnTo>
                  <a:lnTo>
                    <a:pt x="639" y="343"/>
                  </a:lnTo>
                  <a:lnTo>
                    <a:pt x="643" y="343"/>
                  </a:lnTo>
                  <a:lnTo>
                    <a:pt x="647" y="343"/>
                  </a:lnTo>
                  <a:lnTo>
                    <a:pt x="647" y="347"/>
                  </a:lnTo>
                  <a:lnTo>
                    <a:pt x="651" y="347"/>
                  </a:lnTo>
                  <a:lnTo>
                    <a:pt x="654" y="347"/>
                  </a:lnTo>
                  <a:lnTo>
                    <a:pt x="654" y="351"/>
                  </a:lnTo>
                  <a:lnTo>
                    <a:pt x="654" y="355"/>
                  </a:lnTo>
                  <a:lnTo>
                    <a:pt x="651" y="355"/>
                  </a:lnTo>
                  <a:lnTo>
                    <a:pt x="651" y="351"/>
                  </a:lnTo>
                  <a:lnTo>
                    <a:pt x="647" y="351"/>
                  </a:lnTo>
                  <a:lnTo>
                    <a:pt x="647" y="347"/>
                  </a:lnTo>
                  <a:lnTo>
                    <a:pt x="643" y="347"/>
                  </a:lnTo>
                  <a:lnTo>
                    <a:pt x="643" y="351"/>
                  </a:lnTo>
                  <a:lnTo>
                    <a:pt x="647" y="351"/>
                  </a:lnTo>
                  <a:lnTo>
                    <a:pt x="647" y="355"/>
                  </a:lnTo>
                  <a:lnTo>
                    <a:pt x="643" y="355"/>
                  </a:lnTo>
                  <a:lnTo>
                    <a:pt x="639" y="355"/>
                  </a:lnTo>
                  <a:lnTo>
                    <a:pt x="639" y="351"/>
                  </a:lnTo>
                  <a:lnTo>
                    <a:pt x="639" y="355"/>
                  </a:lnTo>
                  <a:lnTo>
                    <a:pt x="643" y="355"/>
                  </a:lnTo>
                  <a:lnTo>
                    <a:pt x="639" y="351"/>
                  </a:lnTo>
                  <a:lnTo>
                    <a:pt x="635" y="347"/>
                  </a:lnTo>
                  <a:close/>
                  <a:moveTo>
                    <a:pt x="375" y="339"/>
                  </a:moveTo>
                  <a:lnTo>
                    <a:pt x="379" y="339"/>
                  </a:lnTo>
                  <a:lnTo>
                    <a:pt x="383" y="339"/>
                  </a:lnTo>
                  <a:lnTo>
                    <a:pt x="383" y="343"/>
                  </a:lnTo>
                  <a:lnTo>
                    <a:pt x="379" y="343"/>
                  </a:lnTo>
                  <a:lnTo>
                    <a:pt x="379" y="339"/>
                  </a:lnTo>
                  <a:lnTo>
                    <a:pt x="375" y="339"/>
                  </a:lnTo>
                  <a:close/>
                  <a:moveTo>
                    <a:pt x="631" y="339"/>
                  </a:moveTo>
                  <a:lnTo>
                    <a:pt x="635" y="339"/>
                  </a:lnTo>
                  <a:lnTo>
                    <a:pt x="635" y="343"/>
                  </a:lnTo>
                  <a:lnTo>
                    <a:pt x="631" y="343"/>
                  </a:lnTo>
                  <a:lnTo>
                    <a:pt x="631" y="339"/>
                  </a:lnTo>
                  <a:close/>
                  <a:moveTo>
                    <a:pt x="371" y="351"/>
                  </a:moveTo>
                  <a:lnTo>
                    <a:pt x="371" y="347"/>
                  </a:lnTo>
                  <a:lnTo>
                    <a:pt x="367" y="347"/>
                  </a:lnTo>
                  <a:lnTo>
                    <a:pt x="371" y="343"/>
                  </a:lnTo>
                  <a:lnTo>
                    <a:pt x="371" y="347"/>
                  </a:lnTo>
                  <a:lnTo>
                    <a:pt x="371" y="351"/>
                  </a:lnTo>
                  <a:lnTo>
                    <a:pt x="375" y="347"/>
                  </a:lnTo>
                  <a:lnTo>
                    <a:pt x="375" y="343"/>
                  </a:lnTo>
                  <a:lnTo>
                    <a:pt x="379" y="347"/>
                  </a:lnTo>
                  <a:lnTo>
                    <a:pt x="379" y="343"/>
                  </a:lnTo>
                  <a:lnTo>
                    <a:pt x="379" y="347"/>
                  </a:lnTo>
                  <a:lnTo>
                    <a:pt x="379" y="343"/>
                  </a:lnTo>
                  <a:lnTo>
                    <a:pt x="375" y="343"/>
                  </a:lnTo>
                  <a:lnTo>
                    <a:pt x="379" y="343"/>
                  </a:lnTo>
                  <a:lnTo>
                    <a:pt x="383" y="343"/>
                  </a:lnTo>
                  <a:lnTo>
                    <a:pt x="383" y="347"/>
                  </a:lnTo>
                  <a:lnTo>
                    <a:pt x="383" y="343"/>
                  </a:lnTo>
                  <a:lnTo>
                    <a:pt x="387" y="343"/>
                  </a:lnTo>
                  <a:lnTo>
                    <a:pt x="391" y="343"/>
                  </a:lnTo>
                  <a:lnTo>
                    <a:pt x="391" y="347"/>
                  </a:lnTo>
                  <a:lnTo>
                    <a:pt x="387" y="347"/>
                  </a:lnTo>
                  <a:lnTo>
                    <a:pt x="391" y="351"/>
                  </a:lnTo>
                  <a:lnTo>
                    <a:pt x="395" y="351"/>
                  </a:lnTo>
                  <a:lnTo>
                    <a:pt x="391" y="351"/>
                  </a:lnTo>
                  <a:lnTo>
                    <a:pt x="391" y="355"/>
                  </a:lnTo>
                  <a:lnTo>
                    <a:pt x="387" y="355"/>
                  </a:lnTo>
                  <a:lnTo>
                    <a:pt x="383" y="351"/>
                  </a:lnTo>
                  <a:lnTo>
                    <a:pt x="379" y="355"/>
                  </a:lnTo>
                  <a:lnTo>
                    <a:pt x="383" y="355"/>
                  </a:lnTo>
                  <a:lnTo>
                    <a:pt x="387" y="355"/>
                  </a:lnTo>
                  <a:lnTo>
                    <a:pt x="387" y="359"/>
                  </a:lnTo>
                  <a:lnTo>
                    <a:pt x="383" y="359"/>
                  </a:lnTo>
                  <a:lnTo>
                    <a:pt x="379" y="355"/>
                  </a:lnTo>
                  <a:lnTo>
                    <a:pt x="379" y="359"/>
                  </a:lnTo>
                  <a:lnTo>
                    <a:pt x="383" y="359"/>
                  </a:lnTo>
                  <a:lnTo>
                    <a:pt x="379" y="359"/>
                  </a:lnTo>
                  <a:lnTo>
                    <a:pt x="375" y="359"/>
                  </a:lnTo>
                  <a:lnTo>
                    <a:pt x="375" y="363"/>
                  </a:lnTo>
                  <a:lnTo>
                    <a:pt x="371" y="363"/>
                  </a:lnTo>
                  <a:lnTo>
                    <a:pt x="371" y="367"/>
                  </a:lnTo>
                  <a:lnTo>
                    <a:pt x="367" y="367"/>
                  </a:lnTo>
                  <a:lnTo>
                    <a:pt x="367" y="371"/>
                  </a:lnTo>
                  <a:lnTo>
                    <a:pt x="363" y="371"/>
                  </a:lnTo>
                  <a:lnTo>
                    <a:pt x="363" y="367"/>
                  </a:lnTo>
                  <a:lnTo>
                    <a:pt x="367" y="367"/>
                  </a:lnTo>
                  <a:lnTo>
                    <a:pt x="367" y="363"/>
                  </a:lnTo>
                  <a:lnTo>
                    <a:pt x="367" y="367"/>
                  </a:lnTo>
                  <a:lnTo>
                    <a:pt x="367" y="363"/>
                  </a:lnTo>
                  <a:lnTo>
                    <a:pt x="371" y="363"/>
                  </a:lnTo>
                  <a:lnTo>
                    <a:pt x="367" y="363"/>
                  </a:lnTo>
                  <a:lnTo>
                    <a:pt x="363" y="363"/>
                  </a:lnTo>
                  <a:lnTo>
                    <a:pt x="363" y="367"/>
                  </a:lnTo>
                  <a:lnTo>
                    <a:pt x="363" y="363"/>
                  </a:lnTo>
                  <a:lnTo>
                    <a:pt x="367" y="363"/>
                  </a:lnTo>
                  <a:lnTo>
                    <a:pt x="363" y="363"/>
                  </a:lnTo>
                  <a:lnTo>
                    <a:pt x="359" y="363"/>
                  </a:lnTo>
                  <a:lnTo>
                    <a:pt x="363" y="363"/>
                  </a:lnTo>
                  <a:lnTo>
                    <a:pt x="363" y="367"/>
                  </a:lnTo>
                  <a:lnTo>
                    <a:pt x="359" y="367"/>
                  </a:lnTo>
                  <a:lnTo>
                    <a:pt x="359" y="363"/>
                  </a:lnTo>
                  <a:lnTo>
                    <a:pt x="359" y="359"/>
                  </a:lnTo>
                  <a:lnTo>
                    <a:pt x="355" y="359"/>
                  </a:lnTo>
                  <a:lnTo>
                    <a:pt x="355" y="355"/>
                  </a:lnTo>
                  <a:lnTo>
                    <a:pt x="355" y="351"/>
                  </a:lnTo>
                  <a:lnTo>
                    <a:pt x="359" y="351"/>
                  </a:lnTo>
                  <a:lnTo>
                    <a:pt x="363" y="351"/>
                  </a:lnTo>
                  <a:lnTo>
                    <a:pt x="367" y="351"/>
                  </a:lnTo>
                  <a:lnTo>
                    <a:pt x="367" y="355"/>
                  </a:lnTo>
                  <a:lnTo>
                    <a:pt x="367" y="359"/>
                  </a:lnTo>
                  <a:lnTo>
                    <a:pt x="371" y="359"/>
                  </a:lnTo>
                  <a:lnTo>
                    <a:pt x="367" y="355"/>
                  </a:lnTo>
                  <a:lnTo>
                    <a:pt x="367" y="351"/>
                  </a:lnTo>
                  <a:lnTo>
                    <a:pt x="371" y="351"/>
                  </a:lnTo>
                  <a:close/>
                  <a:moveTo>
                    <a:pt x="375" y="343"/>
                  </a:moveTo>
                  <a:lnTo>
                    <a:pt x="379" y="343"/>
                  </a:lnTo>
                  <a:lnTo>
                    <a:pt x="379" y="347"/>
                  </a:lnTo>
                  <a:lnTo>
                    <a:pt x="375" y="347"/>
                  </a:lnTo>
                  <a:lnTo>
                    <a:pt x="375" y="343"/>
                  </a:lnTo>
                  <a:lnTo>
                    <a:pt x="371" y="343"/>
                  </a:lnTo>
                  <a:lnTo>
                    <a:pt x="375" y="343"/>
                  </a:lnTo>
                  <a:close/>
                  <a:moveTo>
                    <a:pt x="658" y="375"/>
                  </a:moveTo>
                  <a:lnTo>
                    <a:pt x="658" y="379"/>
                  </a:lnTo>
                  <a:lnTo>
                    <a:pt x="658" y="383"/>
                  </a:lnTo>
                  <a:lnTo>
                    <a:pt x="654" y="379"/>
                  </a:lnTo>
                  <a:lnTo>
                    <a:pt x="654" y="375"/>
                  </a:lnTo>
                  <a:lnTo>
                    <a:pt x="654" y="371"/>
                  </a:lnTo>
                  <a:lnTo>
                    <a:pt x="651" y="375"/>
                  </a:lnTo>
                  <a:lnTo>
                    <a:pt x="651" y="371"/>
                  </a:lnTo>
                  <a:lnTo>
                    <a:pt x="647" y="367"/>
                  </a:lnTo>
                  <a:lnTo>
                    <a:pt x="647" y="363"/>
                  </a:lnTo>
                  <a:lnTo>
                    <a:pt x="647" y="359"/>
                  </a:lnTo>
                  <a:lnTo>
                    <a:pt x="643" y="359"/>
                  </a:lnTo>
                  <a:lnTo>
                    <a:pt x="643" y="355"/>
                  </a:lnTo>
                  <a:lnTo>
                    <a:pt x="647" y="355"/>
                  </a:lnTo>
                  <a:lnTo>
                    <a:pt x="647" y="351"/>
                  </a:lnTo>
                  <a:lnTo>
                    <a:pt x="651" y="355"/>
                  </a:lnTo>
                  <a:lnTo>
                    <a:pt x="654" y="355"/>
                  </a:lnTo>
                  <a:lnTo>
                    <a:pt x="654" y="359"/>
                  </a:lnTo>
                  <a:lnTo>
                    <a:pt x="658" y="363"/>
                  </a:lnTo>
                  <a:lnTo>
                    <a:pt x="658" y="367"/>
                  </a:lnTo>
                  <a:lnTo>
                    <a:pt x="658" y="371"/>
                  </a:lnTo>
                  <a:lnTo>
                    <a:pt x="658" y="375"/>
                  </a:lnTo>
                  <a:close/>
                  <a:moveTo>
                    <a:pt x="654" y="355"/>
                  </a:moveTo>
                  <a:lnTo>
                    <a:pt x="658" y="355"/>
                  </a:lnTo>
                  <a:lnTo>
                    <a:pt x="654" y="359"/>
                  </a:lnTo>
                  <a:lnTo>
                    <a:pt x="654" y="355"/>
                  </a:lnTo>
                  <a:close/>
                  <a:moveTo>
                    <a:pt x="643" y="359"/>
                  </a:moveTo>
                  <a:lnTo>
                    <a:pt x="647" y="359"/>
                  </a:lnTo>
                  <a:lnTo>
                    <a:pt x="647" y="363"/>
                  </a:lnTo>
                  <a:lnTo>
                    <a:pt x="643" y="363"/>
                  </a:lnTo>
                  <a:lnTo>
                    <a:pt x="643" y="367"/>
                  </a:lnTo>
                  <a:lnTo>
                    <a:pt x="643" y="363"/>
                  </a:lnTo>
                  <a:lnTo>
                    <a:pt x="643" y="359"/>
                  </a:lnTo>
                  <a:lnTo>
                    <a:pt x="639" y="359"/>
                  </a:lnTo>
                  <a:lnTo>
                    <a:pt x="643" y="359"/>
                  </a:lnTo>
                  <a:close/>
                  <a:moveTo>
                    <a:pt x="383" y="363"/>
                  </a:moveTo>
                  <a:lnTo>
                    <a:pt x="379" y="363"/>
                  </a:lnTo>
                  <a:lnTo>
                    <a:pt x="375" y="363"/>
                  </a:lnTo>
                  <a:lnTo>
                    <a:pt x="375" y="367"/>
                  </a:lnTo>
                  <a:lnTo>
                    <a:pt x="375" y="363"/>
                  </a:lnTo>
                  <a:lnTo>
                    <a:pt x="375" y="359"/>
                  </a:lnTo>
                  <a:lnTo>
                    <a:pt x="379" y="359"/>
                  </a:lnTo>
                  <a:lnTo>
                    <a:pt x="383" y="359"/>
                  </a:lnTo>
                  <a:lnTo>
                    <a:pt x="383" y="363"/>
                  </a:lnTo>
                  <a:close/>
                  <a:moveTo>
                    <a:pt x="682" y="367"/>
                  </a:moveTo>
                  <a:lnTo>
                    <a:pt x="686" y="367"/>
                  </a:lnTo>
                  <a:lnTo>
                    <a:pt x="682" y="371"/>
                  </a:lnTo>
                  <a:lnTo>
                    <a:pt x="686" y="375"/>
                  </a:lnTo>
                  <a:lnTo>
                    <a:pt x="682" y="375"/>
                  </a:lnTo>
                  <a:lnTo>
                    <a:pt x="682" y="371"/>
                  </a:lnTo>
                  <a:lnTo>
                    <a:pt x="678" y="371"/>
                  </a:lnTo>
                  <a:lnTo>
                    <a:pt x="678" y="367"/>
                  </a:lnTo>
                  <a:lnTo>
                    <a:pt x="678" y="371"/>
                  </a:lnTo>
                  <a:lnTo>
                    <a:pt x="682" y="375"/>
                  </a:lnTo>
                  <a:lnTo>
                    <a:pt x="682" y="379"/>
                  </a:lnTo>
                  <a:lnTo>
                    <a:pt x="678" y="379"/>
                  </a:lnTo>
                  <a:lnTo>
                    <a:pt x="674" y="379"/>
                  </a:lnTo>
                  <a:lnTo>
                    <a:pt x="674" y="375"/>
                  </a:lnTo>
                  <a:lnTo>
                    <a:pt x="674" y="371"/>
                  </a:lnTo>
                  <a:lnTo>
                    <a:pt x="670" y="371"/>
                  </a:lnTo>
                  <a:lnTo>
                    <a:pt x="670" y="367"/>
                  </a:lnTo>
                  <a:lnTo>
                    <a:pt x="666" y="363"/>
                  </a:lnTo>
                  <a:lnTo>
                    <a:pt x="670" y="363"/>
                  </a:lnTo>
                  <a:lnTo>
                    <a:pt x="674" y="363"/>
                  </a:lnTo>
                  <a:lnTo>
                    <a:pt x="678" y="363"/>
                  </a:lnTo>
                  <a:lnTo>
                    <a:pt x="678" y="367"/>
                  </a:lnTo>
                  <a:lnTo>
                    <a:pt x="682" y="363"/>
                  </a:lnTo>
                  <a:lnTo>
                    <a:pt x="682" y="367"/>
                  </a:lnTo>
                  <a:close/>
                  <a:moveTo>
                    <a:pt x="670" y="383"/>
                  </a:moveTo>
                  <a:lnTo>
                    <a:pt x="670" y="379"/>
                  </a:lnTo>
                  <a:lnTo>
                    <a:pt x="670" y="383"/>
                  </a:lnTo>
                  <a:lnTo>
                    <a:pt x="670" y="387"/>
                  </a:lnTo>
                  <a:lnTo>
                    <a:pt x="666" y="387"/>
                  </a:lnTo>
                  <a:lnTo>
                    <a:pt x="666" y="383"/>
                  </a:lnTo>
                  <a:lnTo>
                    <a:pt x="666" y="387"/>
                  </a:lnTo>
                  <a:lnTo>
                    <a:pt x="662" y="383"/>
                  </a:lnTo>
                  <a:lnTo>
                    <a:pt x="666" y="383"/>
                  </a:lnTo>
                  <a:lnTo>
                    <a:pt x="662" y="379"/>
                  </a:lnTo>
                  <a:lnTo>
                    <a:pt x="666" y="379"/>
                  </a:lnTo>
                  <a:lnTo>
                    <a:pt x="666" y="375"/>
                  </a:lnTo>
                  <a:lnTo>
                    <a:pt x="662" y="375"/>
                  </a:lnTo>
                  <a:lnTo>
                    <a:pt x="662" y="371"/>
                  </a:lnTo>
                  <a:lnTo>
                    <a:pt x="662" y="367"/>
                  </a:lnTo>
                  <a:lnTo>
                    <a:pt x="666" y="367"/>
                  </a:lnTo>
                  <a:lnTo>
                    <a:pt x="662" y="367"/>
                  </a:lnTo>
                  <a:lnTo>
                    <a:pt x="666" y="367"/>
                  </a:lnTo>
                  <a:lnTo>
                    <a:pt x="670" y="367"/>
                  </a:lnTo>
                  <a:lnTo>
                    <a:pt x="670" y="371"/>
                  </a:lnTo>
                  <a:lnTo>
                    <a:pt x="670" y="375"/>
                  </a:lnTo>
                  <a:lnTo>
                    <a:pt x="666" y="375"/>
                  </a:lnTo>
                  <a:lnTo>
                    <a:pt x="670" y="375"/>
                  </a:lnTo>
                  <a:lnTo>
                    <a:pt x="670" y="371"/>
                  </a:lnTo>
                  <a:lnTo>
                    <a:pt x="674" y="371"/>
                  </a:lnTo>
                  <a:lnTo>
                    <a:pt x="674" y="375"/>
                  </a:lnTo>
                  <a:lnTo>
                    <a:pt x="670" y="375"/>
                  </a:lnTo>
                  <a:lnTo>
                    <a:pt x="670" y="379"/>
                  </a:lnTo>
                  <a:lnTo>
                    <a:pt x="670" y="383"/>
                  </a:lnTo>
                  <a:close/>
                  <a:moveTo>
                    <a:pt x="686" y="371"/>
                  </a:moveTo>
                  <a:lnTo>
                    <a:pt x="690" y="371"/>
                  </a:lnTo>
                  <a:lnTo>
                    <a:pt x="690" y="375"/>
                  </a:lnTo>
                  <a:lnTo>
                    <a:pt x="686" y="375"/>
                  </a:lnTo>
                  <a:lnTo>
                    <a:pt x="682" y="375"/>
                  </a:lnTo>
                  <a:lnTo>
                    <a:pt x="686" y="375"/>
                  </a:lnTo>
                  <a:lnTo>
                    <a:pt x="686" y="371"/>
                  </a:lnTo>
                  <a:close/>
                  <a:moveTo>
                    <a:pt x="359" y="375"/>
                  </a:moveTo>
                  <a:lnTo>
                    <a:pt x="355" y="379"/>
                  </a:lnTo>
                  <a:lnTo>
                    <a:pt x="355" y="375"/>
                  </a:lnTo>
                  <a:lnTo>
                    <a:pt x="359" y="375"/>
                  </a:lnTo>
                  <a:close/>
                  <a:moveTo>
                    <a:pt x="315" y="375"/>
                  </a:moveTo>
                  <a:lnTo>
                    <a:pt x="319" y="375"/>
                  </a:lnTo>
                  <a:lnTo>
                    <a:pt x="315" y="375"/>
                  </a:lnTo>
                  <a:close/>
                  <a:moveTo>
                    <a:pt x="698" y="387"/>
                  </a:moveTo>
                  <a:lnTo>
                    <a:pt x="698" y="383"/>
                  </a:lnTo>
                  <a:lnTo>
                    <a:pt x="694" y="383"/>
                  </a:lnTo>
                  <a:lnTo>
                    <a:pt x="694" y="379"/>
                  </a:lnTo>
                  <a:lnTo>
                    <a:pt x="698" y="379"/>
                  </a:lnTo>
                  <a:lnTo>
                    <a:pt x="698" y="383"/>
                  </a:lnTo>
                  <a:lnTo>
                    <a:pt x="698" y="387"/>
                  </a:lnTo>
                  <a:close/>
                  <a:moveTo>
                    <a:pt x="686" y="383"/>
                  </a:moveTo>
                  <a:lnTo>
                    <a:pt x="682" y="379"/>
                  </a:lnTo>
                  <a:lnTo>
                    <a:pt x="686" y="379"/>
                  </a:lnTo>
                  <a:lnTo>
                    <a:pt x="690" y="379"/>
                  </a:lnTo>
                  <a:lnTo>
                    <a:pt x="690" y="383"/>
                  </a:lnTo>
                  <a:lnTo>
                    <a:pt x="686" y="383"/>
                  </a:lnTo>
                  <a:close/>
                  <a:moveTo>
                    <a:pt x="694" y="391"/>
                  </a:moveTo>
                  <a:lnTo>
                    <a:pt x="690" y="391"/>
                  </a:lnTo>
                  <a:lnTo>
                    <a:pt x="694" y="387"/>
                  </a:lnTo>
                  <a:lnTo>
                    <a:pt x="690" y="387"/>
                  </a:lnTo>
                  <a:lnTo>
                    <a:pt x="686" y="387"/>
                  </a:lnTo>
                  <a:lnTo>
                    <a:pt x="686" y="383"/>
                  </a:lnTo>
                  <a:lnTo>
                    <a:pt x="690" y="383"/>
                  </a:lnTo>
                  <a:lnTo>
                    <a:pt x="690" y="379"/>
                  </a:lnTo>
                  <a:lnTo>
                    <a:pt x="694" y="379"/>
                  </a:lnTo>
                  <a:lnTo>
                    <a:pt x="694" y="383"/>
                  </a:lnTo>
                  <a:lnTo>
                    <a:pt x="698" y="387"/>
                  </a:lnTo>
                  <a:lnTo>
                    <a:pt x="698" y="391"/>
                  </a:lnTo>
                  <a:lnTo>
                    <a:pt x="694" y="391"/>
                  </a:lnTo>
                  <a:close/>
                  <a:moveTo>
                    <a:pt x="694" y="403"/>
                  </a:moveTo>
                  <a:lnTo>
                    <a:pt x="694" y="399"/>
                  </a:lnTo>
                  <a:lnTo>
                    <a:pt x="690" y="399"/>
                  </a:lnTo>
                  <a:lnTo>
                    <a:pt x="694" y="403"/>
                  </a:lnTo>
                  <a:lnTo>
                    <a:pt x="698" y="407"/>
                  </a:lnTo>
                  <a:lnTo>
                    <a:pt x="694" y="407"/>
                  </a:lnTo>
                  <a:lnTo>
                    <a:pt x="698" y="407"/>
                  </a:lnTo>
                  <a:lnTo>
                    <a:pt x="698" y="411"/>
                  </a:lnTo>
                  <a:lnTo>
                    <a:pt x="694" y="411"/>
                  </a:lnTo>
                  <a:lnTo>
                    <a:pt x="698" y="411"/>
                  </a:lnTo>
                  <a:lnTo>
                    <a:pt x="698" y="415"/>
                  </a:lnTo>
                  <a:lnTo>
                    <a:pt x="698" y="419"/>
                  </a:lnTo>
                  <a:lnTo>
                    <a:pt x="694" y="419"/>
                  </a:lnTo>
                  <a:lnTo>
                    <a:pt x="694" y="415"/>
                  </a:lnTo>
                  <a:lnTo>
                    <a:pt x="690" y="411"/>
                  </a:lnTo>
                  <a:lnTo>
                    <a:pt x="690" y="415"/>
                  </a:lnTo>
                  <a:lnTo>
                    <a:pt x="690" y="411"/>
                  </a:lnTo>
                  <a:lnTo>
                    <a:pt x="690" y="407"/>
                  </a:lnTo>
                  <a:lnTo>
                    <a:pt x="686" y="407"/>
                  </a:lnTo>
                  <a:lnTo>
                    <a:pt x="682" y="407"/>
                  </a:lnTo>
                  <a:lnTo>
                    <a:pt x="686" y="407"/>
                  </a:lnTo>
                  <a:lnTo>
                    <a:pt x="682" y="407"/>
                  </a:lnTo>
                  <a:lnTo>
                    <a:pt x="678" y="407"/>
                  </a:lnTo>
                  <a:lnTo>
                    <a:pt x="678" y="403"/>
                  </a:lnTo>
                  <a:lnTo>
                    <a:pt x="682" y="403"/>
                  </a:lnTo>
                  <a:lnTo>
                    <a:pt x="686" y="403"/>
                  </a:lnTo>
                  <a:lnTo>
                    <a:pt x="682" y="403"/>
                  </a:lnTo>
                  <a:lnTo>
                    <a:pt x="682" y="399"/>
                  </a:lnTo>
                  <a:lnTo>
                    <a:pt x="686" y="399"/>
                  </a:lnTo>
                  <a:lnTo>
                    <a:pt x="682" y="399"/>
                  </a:lnTo>
                  <a:lnTo>
                    <a:pt x="678" y="399"/>
                  </a:lnTo>
                  <a:lnTo>
                    <a:pt x="678" y="395"/>
                  </a:lnTo>
                  <a:lnTo>
                    <a:pt x="682" y="391"/>
                  </a:lnTo>
                  <a:lnTo>
                    <a:pt x="678" y="391"/>
                  </a:lnTo>
                  <a:lnTo>
                    <a:pt x="678" y="383"/>
                  </a:lnTo>
                  <a:lnTo>
                    <a:pt x="674" y="383"/>
                  </a:lnTo>
                  <a:lnTo>
                    <a:pt x="674" y="379"/>
                  </a:lnTo>
                  <a:lnTo>
                    <a:pt x="678" y="379"/>
                  </a:lnTo>
                  <a:lnTo>
                    <a:pt x="682" y="379"/>
                  </a:lnTo>
                  <a:lnTo>
                    <a:pt x="682" y="383"/>
                  </a:lnTo>
                  <a:lnTo>
                    <a:pt x="682" y="387"/>
                  </a:lnTo>
                  <a:lnTo>
                    <a:pt x="686" y="387"/>
                  </a:lnTo>
                  <a:lnTo>
                    <a:pt x="690" y="391"/>
                  </a:lnTo>
                  <a:lnTo>
                    <a:pt x="690" y="395"/>
                  </a:lnTo>
                  <a:lnTo>
                    <a:pt x="694" y="395"/>
                  </a:lnTo>
                  <a:lnTo>
                    <a:pt x="694" y="399"/>
                  </a:lnTo>
                  <a:lnTo>
                    <a:pt x="698" y="399"/>
                  </a:lnTo>
                  <a:lnTo>
                    <a:pt x="698" y="403"/>
                  </a:lnTo>
                  <a:lnTo>
                    <a:pt x="694" y="403"/>
                  </a:lnTo>
                  <a:close/>
                  <a:moveTo>
                    <a:pt x="678" y="387"/>
                  </a:moveTo>
                  <a:lnTo>
                    <a:pt x="674" y="391"/>
                  </a:lnTo>
                  <a:lnTo>
                    <a:pt x="670" y="391"/>
                  </a:lnTo>
                  <a:lnTo>
                    <a:pt x="674" y="387"/>
                  </a:lnTo>
                  <a:lnTo>
                    <a:pt x="678" y="383"/>
                  </a:lnTo>
                  <a:lnTo>
                    <a:pt x="678" y="387"/>
                  </a:lnTo>
                  <a:close/>
                  <a:moveTo>
                    <a:pt x="706" y="407"/>
                  </a:moveTo>
                  <a:lnTo>
                    <a:pt x="706" y="403"/>
                  </a:lnTo>
                  <a:lnTo>
                    <a:pt x="710" y="403"/>
                  </a:lnTo>
                  <a:lnTo>
                    <a:pt x="710" y="399"/>
                  </a:lnTo>
                  <a:lnTo>
                    <a:pt x="710" y="395"/>
                  </a:lnTo>
                  <a:lnTo>
                    <a:pt x="706" y="399"/>
                  </a:lnTo>
                  <a:lnTo>
                    <a:pt x="710" y="399"/>
                  </a:lnTo>
                  <a:lnTo>
                    <a:pt x="710" y="403"/>
                  </a:lnTo>
                  <a:lnTo>
                    <a:pt x="706" y="403"/>
                  </a:lnTo>
                  <a:lnTo>
                    <a:pt x="706" y="399"/>
                  </a:lnTo>
                  <a:lnTo>
                    <a:pt x="706" y="403"/>
                  </a:lnTo>
                  <a:lnTo>
                    <a:pt x="706" y="407"/>
                  </a:lnTo>
                  <a:lnTo>
                    <a:pt x="702" y="403"/>
                  </a:lnTo>
                  <a:lnTo>
                    <a:pt x="702" y="399"/>
                  </a:lnTo>
                  <a:lnTo>
                    <a:pt x="702" y="395"/>
                  </a:lnTo>
                  <a:lnTo>
                    <a:pt x="706" y="395"/>
                  </a:lnTo>
                  <a:lnTo>
                    <a:pt x="702" y="395"/>
                  </a:lnTo>
                  <a:lnTo>
                    <a:pt x="702" y="391"/>
                  </a:lnTo>
                  <a:lnTo>
                    <a:pt x="706" y="391"/>
                  </a:lnTo>
                  <a:lnTo>
                    <a:pt x="710" y="391"/>
                  </a:lnTo>
                  <a:lnTo>
                    <a:pt x="714" y="391"/>
                  </a:lnTo>
                  <a:lnTo>
                    <a:pt x="714" y="395"/>
                  </a:lnTo>
                  <a:lnTo>
                    <a:pt x="714" y="399"/>
                  </a:lnTo>
                  <a:lnTo>
                    <a:pt x="714" y="403"/>
                  </a:lnTo>
                  <a:lnTo>
                    <a:pt x="714" y="407"/>
                  </a:lnTo>
                  <a:lnTo>
                    <a:pt x="710" y="407"/>
                  </a:lnTo>
                  <a:lnTo>
                    <a:pt x="710" y="403"/>
                  </a:lnTo>
                  <a:lnTo>
                    <a:pt x="710" y="407"/>
                  </a:lnTo>
                  <a:lnTo>
                    <a:pt x="706" y="407"/>
                  </a:lnTo>
                  <a:close/>
                  <a:moveTo>
                    <a:pt x="666" y="391"/>
                  </a:moveTo>
                  <a:lnTo>
                    <a:pt x="662" y="391"/>
                  </a:lnTo>
                  <a:lnTo>
                    <a:pt x="666" y="391"/>
                  </a:lnTo>
                  <a:close/>
                  <a:moveTo>
                    <a:pt x="292" y="391"/>
                  </a:moveTo>
                  <a:lnTo>
                    <a:pt x="296" y="391"/>
                  </a:lnTo>
                  <a:lnTo>
                    <a:pt x="292" y="395"/>
                  </a:lnTo>
                  <a:lnTo>
                    <a:pt x="292" y="391"/>
                  </a:lnTo>
                  <a:close/>
                  <a:moveTo>
                    <a:pt x="678" y="395"/>
                  </a:moveTo>
                  <a:lnTo>
                    <a:pt x="674" y="395"/>
                  </a:lnTo>
                  <a:lnTo>
                    <a:pt x="674" y="391"/>
                  </a:lnTo>
                  <a:lnTo>
                    <a:pt x="678" y="395"/>
                  </a:lnTo>
                  <a:close/>
                  <a:moveTo>
                    <a:pt x="678" y="399"/>
                  </a:moveTo>
                  <a:lnTo>
                    <a:pt x="678" y="403"/>
                  </a:lnTo>
                  <a:lnTo>
                    <a:pt x="678" y="399"/>
                  </a:lnTo>
                  <a:close/>
                  <a:moveTo>
                    <a:pt x="674" y="403"/>
                  </a:moveTo>
                  <a:lnTo>
                    <a:pt x="670" y="403"/>
                  </a:lnTo>
                  <a:lnTo>
                    <a:pt x="670" y="399"/>
                  </a:lnTo>
                  <a:lnTo>
                    <a:pt x="674" y="399"/>
                  </a:lnTo>
                  <a:lnTo>
                    <a:pt x="674" y="403"/>
                  </a:lnTo>
                  <a:close/>
                  <a:moveTo>
                    <a:pt x="674" y="399"/>
                  </a:moveTo>
                  <a:lnTo>
                    <a:pt x="678" y="399"/>
                  </a:lnTo>
                  <a:lnTo>
                    <a:pt x="678" y="403"/>
                  </a:lnTo>
                  <a:lnTo>
                    <a:pt x="674" y="403"/>
                  </a:lnTo>
                  <a:lnTo>
                    <a:pt x="674" y="399"/>
                  </a:lnTo>
                  <a:close/>
                  <a:moveTo>
                    <a:pt x="678" y="403"/>
                  </a:moveTo>
                  <a:lnTo>
                    <a:pt x="674" y="403"/>
                  </a:lnTo>
                  <a:lnTo>
                    <a:pt x="674" y="407"/>
                  </a:lnTo>
                  <a:lnTo>
                    <a:pt x="674" y="403"/>
                  </a:lnTo>
                  <a:lnTo>
                    <a:pt x="678" y="403"/>
                  </a:lnTo>
                  <a:close/>
                  <a:moveTo>
                    <a:pt x="702" y="403"/>
                  </a:moveTo>
                  <a:lnTo>
                    <a:pt x="706" y="407"/>
                  </a:lnTo>
                  <a:lnTo>
                    <a:pt x="702" y="407"/>
                  </a:lnTo>
                  <a:lnTo>
                    <a:pt x="702" y="403"/>
                  </a:lnTo>
                  <a:close/>
                  <a:moveTo>
                    <a:pt x="264" y="403"/>
                  </a:moveTo>
                  <a:lnTo>
                    <a:pt x="268" y="403"/>
                  </a:lnTo>
                  <a:lnTo>
                    <a:pt x="268" y="407"/>
                  </a:lnTo>
                  <a:lnTo>
                    <a:pt x="264" y="407"/>
                  </a:lnTo>
                  <a:lnTo>
                    <a:pt x="264" y="411"/>
                  </a:lnTo>
                  <a:lnTo>
                    <a:pt x="264" y="407"/>
                  </a:lnTo>
                  <a:lnTo>
                    <a:pt x="264" y="403"/>
                  </a:lnTo>
                  <a:close/>
                  <a:moveTo>
                    <a:pt x="272" y="403"/>
                  </a:moveTo>
                  <a:lnTo>
                    <a:pt x="272" y="407"/>
                  </a:lnTo>
                  <a:lnTo>
                    <a:pt x="268" y="407"/>
                  </a:lnTo>
                  <a:lnTo>
                    <a:pt x="268" y="403"/>
                  </a:lnTo>
                  <a:lnTo>
                    <a:pt x="272" y="403"/>
                  </a:lnTo>
                  <a:close/>
                  <a:moveTo>
                    <a:pt x="678" y="403"/>
                  </a:moveTo>
                  <a:lnTo>
                    <a:pt x="678" y="407"/>
                  </a:lnTo>
                  <a:lnTo>
                    <a:pt x="678" y="403"/>
                  </a:lnTo>
                  <a:close/>
                  <a:moveTo>
                    <a:pt x="276" y="407"/>
                  </a:moveTo>
                  <a:lnTo>
                    <a:pt x="276" y="411"/>
                  </a:lnTo>
                  <a:lnTo>
                    <a:pt x="272" y="411"/>
                  </a:lnTo>
                  <a:lnTo>
                    <a:pt x="272" y="415"/>
                  </a:lnTo>
                  <a:lnTo>
                    <a:pt x="272" y="411"/>
                  </a:lnTo>
                  <a:lnTo>
                    <a:pt x="272" y="407"/>
                  </a:lnTo>
                  <a:lnTo>
                    <a:pt x="276" y="407"/>
                  </a:lnTo>
                  <a:lnTo>
                    <a:pt x="276" y="411"/>
                  </a:lnTo>
                  <a:lnTo>
                    <a:pt x="276" y="407"/>
                  </a:lnTo>
                  <a:close/>
                  <a:moveTo>
                    <a:pt x="706" y="407"/>
                  </a:moveTo>
                  <a:lnTo>
                    <a:pt x="710" y="411"/>
                  </a:lnTo>
                  <a:lnTo>
                    <a:pt x="706" y="411"/>
                  </a:lnTo>
                  <a:lnTo>
                    <a:pt x="706" y="407"/>
                  </a:lnTo>
                  <a:close/>
                  <a:moveTo>
                    <a:pt x="682" y="407"/>
                  </a:moveTo>
                  <a:lnTo>
                    <a:pt x="682" y="411"/>
                  </a:lnTo>
                  <a:lnTo>
                    <a:pt x="686" y="415"/>
                  </a:lnTo>
                  <a:lnTo>
                    <a:pt x="686" y="419"/>
                  </a:lnTo>
                  <a:lnTo>
                    <a:pt x="690" y="419"/>
                  </a:lnTo>
                  <a:lnTo>
                    <a:pt x="686" y="419"/>
                  </a:lnTo>
                  <a:lnTo>
                    <a:pt x="686" y="415"/>
                  </a:lnTo>
                  <a:lnTo>
                    <a:pt x="682" y="415"/>
                  </a:lnTo>
                  <a:lnTo>
                    <a:pt x="682" y="411"/>
                  </a:lnTo>
                  <a:lnTo>
                    <a:pt x="678" y="411"/>
                  </a:lnTo>
                  <a:lnTo>
                    <a:pt x="682" y="407"/>
                  </a:lnTo>
                  <a:close/>
                  <a:moveTo>
                    <a:pt x="284" y="407"/>
                  </a:moveTo>
                  <a:lnTo>
                    <a:pt x="284" y="411"/>
                  </a:lnTo>
                  <a:lnTo>
                    <a:pt x="280" y="411"/>
                  </a:lnTo>
                  <a:lnTo>
                    <a:pt x="284" y="407"/>
                  </a:lnTo>
                  <a:close/>
                  <a:moveTo>
                    <a:pt x="686" y="407"/>
                  </a:moveTo>
                  <a:lnTo>
                    <a:pt x="686" y="411"/>
                  </a:lnTo>
                  <a:lnTo>
                    <a:pt x="690" y="411"/>
                  </a:lnTo>
                  <a:lnTo>
                    <a:pt x="686" y="411"/>
                  </a:lnTo>
                  <a:lnTo>
                    <a:pt x="686" y="407"/>
                  </a:lnTo>
                  <a:close/>
                  <a:moveTo>
                    <a:pt x="248" y="407"/>
                  </a:moveTo>
                  <a:lnTo>
                    <a:pt x="252" y="407"/>
                  </a:lnTo>
                  <a:lnTo>
                    <a:pt x="252" y="411"/>
                  </a:lnTo>
                  <a:lnTo>
                    <a:pt x="248" y="411"/>
                  </a:lnTo>
                  <a:lnTo>
                    <a:pt x="248" y="407"/>
                  </a:lnTo>
                  <a:close/>
                  <a:moveTo>
                    <a:pt x="284" y="411"/>
                  </a:moveTo>
                  <a:lnTo>
                    <a:pt x="284" y="415"/>
                  </a:lnTo>
                  <a:lnTo>
                    <a:pt x="284" y="411"/>
                  </a:lnTo>
                  <a:close/>
                  <a:moveTo>
                    <a:pt x="212" y="423"/>
                  </a:moveTo>
                  <a:lnTo>
                    <a:pt x="208" y="423"/>
                  </a:lnTo>
                  <a:lnTo>
                    <a:pt x="208" y="427"/>
                  </a:lnTo>
                  <a:lnTo>
                    <a:pt x="204" y="427"/>
                  </a:lnTo>
                  <a:lnTo>
                    <a:pt x="200" y="427"/>
                  </a:lnTo>
                  <a:lnTo>
                    <a:pt x="200" y="423"/>
                  </a:lnTo>
                  <a:lnTo>
                    <a:pt x="200" y="419"/>
                  </a:lnTo>
                  <a:lnTo>
                    <a:pt x="204" y="419"/>
                  </a:lnTo>
                  <a:lnTo>
                    <a:pt x="208" y="415"/>
                  </a:lnTo>
                  <a:lnTo>
                    <a:pt x="212" y="415"/>
                  </a:lnTo>
                  <a:lnTo>
                    <a:pt x="216" y="411"/>
                  </a:lnTo>
                  <a:lnTo>
                    <a:pt x="220" y="411"/>
                  </a:lnTo>
                  <a:lnTo>
                    <a:pt x="224" y="415"/>
                  </a:lnTo>
                  <a:lnTo>
                    <a:pt x="224" y="419"/>
                  </a:lnTo>
                  <a:lnTo>
                    <a:pt x="228" y="419"/>
                  </a:lnTo>
                  <a:lnTo>
                    <a:pt x="224" y="419"/>
                  </a:lnTo>
                  <a:lnTo>
                    <a:pt x="220" y="419"/>
                  </a:lnTo>
                  <a:lnTo>
                    <a:pt x="220" y="423"/>
                  </a:lnTo>
                  <a:lnTo>
                    <a:pt x="220" y="419"/>
                  </a:lnTo>
                  <a:lnTo>
                    <a:pt x="216" y="419"/>
                  </a:lnTo>
                  <a:lnTo>
                    <a:pt x="212" y="419"/>
                  </a:lnTo>
                  <a:lnTo>
                    <a:pt x="212" y="423"/>
                  </a:lnTo>
                  <a:close/>
                  <a:moveTo>
                    <a:pt x="710" y="411"/>
                  </a:moveTo>
                  <a:lnTo>
                    <a:pt x="710" y="415"/>
                  </a:lnTo>
                  <a:lnTo>
                    <a:pt x="706" y="415"/>
                  </a:lnTo>
                  <a:lnTo>
                    <a:pt x="710" y="411"/>
                  </a:lnTo>
                  <a:close/>
                  <a:moveTo>
                    <a:pt x="690" y="415"/>
                  </a:moveTo>
                  <a:lnTo>
                    <a:pt x="690" y="419"/>
                  </a:lnTo>
                  <a:lnTo>
                    <a:pt x="686" y="415"/>
                  </a:lnTo>
                  <a:lnTo>
                    <a:pt x="690" y="415"/>
                  </a:lnTo>
                  <a:close/>
                  <a:moveTo>
                    <a:pt x="232" y="423"/>
                  </a:moveTo>
                  <a:lnTo>
                    <a:pt x="236" y="423"/>
                  </a:lnTo>
                  <a:lnTo>
                    <a:pt x="236" y="427"/>
                  </a:lnTo>
                  <a:lnTo>
                    <a:pt x="232" y="427"/>
                  </a:lnTo>
                  <a:lnTo>
                    <a:pt x="232" y="423"/>
                  </a:lnTo>
                  <a:close/>
                  <a:moveTo>
                    <a:pt x="192" y="431"/>
                  </a:moveTo>
                  <a:lnTo>
                    <a:pt x="188" y="431"/>
                  </a:lnTo>
                  <a:lnTo>
                    <a:pt x="188" y="427"/>
                  </a:lnTo>
                  <a:lnTo>
                    <a:pt x="192" y="427"/>
                  </a:lnTo>
                  <a:lnTo>
                    <a:pt x="192" y="431"/>
                  </a:lnTo>
                  <a:close/>
                  <a:moveTo>
                    <a:pt x="184" y="435"/>
                  </a:moveTo>
                  <a:lnTo>
                    <a:pt x="184" y="431"/>
                  </a:lnTo>
                  <a:lnTo>
                    <a:pt x="188" y="431"/>
                  </a:lnTo>
                  <a:lnTo>
                    <a:pt x="188" y="435"/>
                  </a:lnTo>
                  <a:lnTo>
                    <a:pt x="184" y="435"/>
                  </a:lnTo>
                  <a:close/>
                  <a:moveTo>
                    <a:pt x="200" y="431"/>
                  </a:moveTo>
                  <a:lnTo>
                    <a:pt x="200" y="435"/>
                  </a:lnTo>
                  <a:lnTo>
                    <a:pt x="196" y="435"/>
                  </a:lnTo>
                  <a:lnTo>
                    <a:pt x="196" y="431"/>
                  </a:lnTo>
                  <a:lnTo>
                    <a:pt x="200" y="431"/>
                  </a:lnTo>
                  <a:close/>
                  <a:moveTo>
                    <a:pt x="168" y="443"/>
                  </a:moveTo>
                  <a:lnTo>
                    <a:pt x="172" y="443"/>
                  </a:lnTo>
                  <a:lnTo>
                    <a:pt x="168" y="439"/>
                  </a:lnTo>
                  <a:lnTo>
                    <a:pt x="168" y="435"/>
                  </a:lnTo>
                  <a:lnTo>
                    <a:pt x="172" y="435"/>
                  </a:lnTo>
                  <a:lnTo>
                    <a:pt x="176" y="435"/>
                  </a:lnTo>
                  <a:lnTo>
                    <a:pt x="176" y="439"/>
                  </a:lnTo>
                  <a:lnTo>
                    <a:pt x="176" y="435"/>
                  </a:lnTo>
                  <a:lnTo>
                    <a:pt x="180" y="435"/>
                  </a:lnTo>
                  <a:lnTo>
                    <a:pt x="180" y="439"/>
                  </a:lnTo>
                  <a:lnTo>
                    <a:pt x="176" y="439"/>
                  </a:lnTo>
                  <a:lnTo>
                    <a:pt x="176" y="443"/>
                  </a:lnTo>
                  <a:lnTo>
                    <a:pt x="176" y="439"/>
                  </a:lnTo>
                  <a:lnTo>
                    <a:pt x="180" y="439"/>
                  </a:lnTo>
                  <a:lnTo>
                    <a:pt x="180" y="443"/>
                  </a:lnTo>
                  <a:lnTo>
                    <a:pt x="176" y="443"/>
                  </a:lnTo>
                  <a:lnTo>
                    <a:pt x="176" y="447"/>
                  </a:lnTo>
                  <a:lnTo>
                    <a:pt x="172" y="447"/>
                  </a:lnTo>
                  <a:lnTo>
                    <a:pt x="168" y="447"/>
                  </a:lnTo>
                  <a:lnTo>
                    <a:pt x="164" y="451"/>
                  </a:lnTo>
                  <a:lnTo>
                    <a:pt x="160" y="451"/>
                  </a:lnTo>
                  <a:lnTo>
                    <a:pt x="156" y="451"/>
                  </a:lnTo>
                  <a:lnTo>
                    <a:pt x="160" y="451"/>
                  </a:lnTo>
                  <a:lnTo>
                    <a:pt x="160" y="447"/>
                  </a:lnTo>
                  <a:lnTo>
                    <a:pt x="164" y="447"/>
                  </a:lnTo>
                  <a:lnTo>
                    <a:pt x="168" y="447"/>
                  </a:lnTo>
                  <a:lnTo>
                    <a:pt x="168" y="443"/>
                  </a:lnTo>
                  <a:close/>
                  <a:moveTo>
                    <a:pt x="180" y="443"/>
                  </a:moveTo>
                  <a:lnTo>
                    <a:pt x="180" y="439"/>
                  </a:lnTo>
                  <a:lnTo>
                    <a:pt x="184" y="439"/>
                  </a:lnTo>
                  <a:lnTo>
                    <a:pt x="180" y="443"/>
                  </a:lnTo>
                  <a:close/>
                  <a:moveTo>
                    <a:pt x="156" y="447"/>
                  </a:moveTo>
                  <a:lnTo>
                    <a:pt x="156" y="451"/>
                  </a:lnTo>
                  <a:lnTo>
                    <a:pt x="152" y="451"/>
                  </a:lnTo>
                  <a:lnTo>
                    <a:pt x="148" y="451"/>
                  </a:lnTo>
                  <a:lnTo>
                    <a:pt x="148" y="455"/>
                  </a:lnTo>
                  <a:lnTo>
                    <a:pt x="148" y="459"/>
                  </a:lnTo>
                  <a:lnTo>
                    <a:pt x="144" y="459"/>
                  </a:lnTo>
                  <a:lnTo>
                    <a:pt x="140" y="459"/>
                  </a:lnTo>
                  <a:lnTo>
                    <a:pt x="140" y="463"/>
                  </a:lnTo>
                  <a:lnTo>
                    <a:pt x="136" y="463"/>
                  </a:lnTo>
                  <a:lnTo>
                    <a:pt x="140" y="459"/>
                  </a:lnTo>
                  <a:lnTo>
                    <a:pt x="144" y="455"/>
                  </a:lnTo>
                  <a:lnTo>
                    <a:pt x="140" y="455"/>
                  </a:lnTo>
                  <a:lnTo>
                    <a:pt x="144" y="455"/>
                  </a:lnTo>
                  <a:lnTo>
                    <a:pt x="144" y="451"/>
                  </a:lnTo>
                  <a:lnTo>
                    <a:pt x="148" y="451"/>
                  </a:lnTo>
                  <a:lnTo>
                    <a:pt x="148" y="447"/>
                  </a:lnTo>
                  <a:lnTo>
                    <a:pt x="152" y="447"/>
                  </a:lnTo>
                  <a:lnTo>
                    <a:pt x="156" y="447"/>
                  </a:lnTo>
                  <a:close/>
                  <a:moveTo>
                    <a:pt x="5313" y="463"/>
                  </a:moveTo>
                  <a:lnTo>
                    <a:pt x="5313" y="459"/>
                  </a:lnTo>
                  <a:lnTo>
                    <a:pt x="5309" y="463"/>
                  </a:lnTo>
                  <a:lnTo>
                    <a:pt x="5309" y="459"/>
                  </a:lnTo>
                  <a:lnTo>
                    <a:pt x="5313" y="459"/>
                  </a:lnTo>
                  <a:lnTo>
                    <a:pt x="5317" y="459"/>
                  </a:lnTo>
                  <a:lnTo>
                    <a:pt x="5321" y="459"/>
                  </a:lnTo>
                  <a:lnTo>
                    <a:pt x="5321" y="463"/>
                  </a:lnTo>
                  <a:lnTo>
                    <a:pt x="5317" y="463"/>
                  </a:lnTo>
                  <a:lnTo>
                    <a:pt x="5313" y="463"/>
                  </a:lnTo>
                  <a:close/>
                  <a:moveTo>
                    <a:pt x="124" y="463"/>
                  </a:moveTo>
                  <a:lnTo>
                    <a:pt x="128" y="459"/>
                  </a:lnTo>
                  <a:lnTo>
                    <a:pt x="128" y="463"/>
                  </a:lnTo>
                  <a:lnTo>
                    <a:pt x="124" y="463"/>
                  </a:lnTo>
                  <a:close/>
                  <a:moveTo>
                    <a:pt x="112" y="467"/>
                  </a:moveTo>
                  <a:lnTo>
                    <a:pt x="116" y="467"/>
                  </a:lnTo>
                  <a:lnTo>
                    <a:pt x="112" y="467"/>
                  </a:lnTo>
                  <a:close/>
                  <a:moveTo>
                    <a:pt x="5325" y="471"/>
                  </a:moveTo>
                  <a:lnTo>
                    <a:pt x="5321" y="471"/>
                  </a:lnTo>
                  <a:lnTo>
                    <a:pt x="5325" y="471"/>
                  </a:lnTo>
                  <a:close/>
                  <a:moveTo>
                    <a:pt x="48" y="479"/>
                  </a:moveTo>
                  <a:lnTo>
                    <a:pt x="52" y="479"/>
                  </a:lnTo>
                  <a:lnTo>
                    <a:pt x="56" y="479"/>
                  </a:lnTo>
                  <a:lnTo>
                    <a:pt x="56" y="475"/>
                  </a:lnTo>
                  <a:lnTo>
                    <a:pt x="60" y="475"/>
                  </a:lnTo>
                  <a:lnTo>
                    <a:pt x="56" y="475"/>
                  </a:lnTo>
                  <a:lnTo>
                    <a:pt x="56" y="471"/>
                  </a:lnTo>
                  <a:lnTo>
                    <a:pt x="60" y="471"/>
                  </a:lnTo>
                  <a:lnTo>
                    <a:pt x="64" y="471"/>
                  </a:lnTo>
                  <a:lnTo>
                    <a:pt x="64" y="475"/>
                  </a:lnTo>
                  <a:lnTo>
                    <a:pt x="60" y="479"/>
                  </a:lnTo>
                  <a:lnTo>
                    <a:pt x="56" y="479"/>
                  </a:lnTo>
                  <a:lnTo>
                    <a:pt x="52" y="479"/>
                  </a:lnTo>
                  <a:lnTo>
                    <a:pt x="48" y="479"/>
                  </a:lnTo>
                  <a:lnTo>
                    <a:pt x="44" y="479"/>
                  </a:lnTo>
                  <a:lnTo>
                    <a:pt x="48" y="479"/>
                  </a:lnTo>
                  <a:close/>
                  <a:moveTo>
                    <a:pt x="84" y="475"/>
                  </a:moveTo>
                  <a:lnTo>
                    <a:pt x="84" y="471"/>
                  </a:lnTo>
                  <a:lnTo>
                    <a:pt x="88" y="471"/>
                  </a:lnTo>
                  <a:lnTo>
                    <a:pt x="88" y="475"/>
                  </a:lnTo>
                  <a:lnTo>
                    <a:pt x="84" y="475"/>
                  </a:lnTo>
                  <a:close/>
                  <a:moveTo>
                    <a:pt x="72" y="479"/>
                  </a:moveTo>
                  <a:lnTo>
                    <a:pt x="68" y="479"/>
                  </a:lnTo>
                  <a:lnTo>
                    <a:pt x="64" y="479"/>
                  </a:lnTo>
                  <a:lnTo>
                    <a:pt x="60" y="479"/>
                  </a:lnTo>
                  <a:lnTo>
                    <a:pt x="64" y="479"/>
                  </a:lnTo>
                  <a:lnTo>
                    <a:pt x="68" y="479"/>
                  </a:lnTo>
                  <a:lnTo>
                    <a:pt x="72" y="479"/>
                  </a:lnTo>
                  <a:lnTo>
                    <a:pt x="76" y="479"/>
                  </a:lnTo>
                  <a:lnTo>
                    <a:pt x="80" y="479"/>
                  </a:lnTo>
                  <a:lnTo>
                    <a:pt x="76" y="479"/>
                  </a:lnTo>
                  <a:lnTo>
                    <a:pt x="72" y="479"/>
                  </a:lnTo>
                  <a:close/>
                  <a:moveTo>
                    <a:pt x="5381" y="483"/>
                  </a:moveTo>
                  <a:lnTo>
                    <a:pt x="5385" y="479"/>
                  </a:lnTo>
                  <a:lnTo>
                    <a:pt x="5385" y="483"/>
                  </a:lnTo>
                  <a:lnTo>
                    <a:pt x="5381" y="483"/>
                  </a:lnTo>
                  <a:close/>
                  <a:moveTo>
                    <a:pt x="32" y="483"/>
                  </a:moveTo>
                  <a:lnTo>
                    <a:pt x="28" y="483"/>
                  </a:lnTo>
                  <a:lnTo>
                    <a:pt x="28" y="479"/>
                  </a:lnTo>
                  <a:lnTo>
                    <a:pt x="32" y="479"/>
                  </a:lnTo>
                  <a:lnTo>
                    <a:pt x="32" y="483"/>
                  </a:lnTo>
                  <a:close/>
                  <a:moveTo>
                    <a:pt x="5417" y="483"/>
                  </a:moveTo>
                  <a:lnTo>
                    <a:pt x="5413" y="483"/>
                  </a:lnTo>
                  <a:lnTo>
                    <a:pt x="5417" y="479"/>
                  </a:lnTo>
                  <a:lnTo>
                    <a:pt x="5417" y="483"/>
                  </a:lnTo>
                  <a:close/>
                  <a:moveTo>
                    <a:pt x="5397" y="483"/>
                  </a:moveTo>
                  <a:lnTo>
                    <a:pt x="5401" y="483"/>
                  </a:lnTo>
                  <a:lnTo>
                    <a:pt x="5397" y="483"/>
                  </a:lnTo>
                  <a:close/>
                  <a:moveTo>
                    <a:pt x="20" y="491"/>
                  </a:moveTo>
                  <a:lnTo>
                    <a:pt x="16" y="491"/>
                  </a:lnTo>
                  <a:lnTo>
                    <a:pt x="16" y="487"/>
                  </a:lnTo>
                  <a:lnTo>
                    <a:pt x="20" y="487"/>
                  </a:lnTo>
                  <a:lnTo>
                    <a:pt x="20" y="483"/>
                  </a:lnTo>
                  <a:lnTo>
                    <a:pt x="24" y="483"/>
                  </a:lnTo>
                  <a:lnTo>
                    <a:pt x="28" y="487"/>
                  </a:lnTo>
                  <a:lnTo>
                    <a:pt x="24" y="487"/>
                  </a:lnTo>
                  <a:lnTo>
                    <a:pt x="20" y="487"/>
                  </a:lnTo>
                  <a:lnTo>
                    <a:pt x="20" y="491"/>
                  </a:lnTo>
                  <a:close/>
                  <a:moveTo>
                    <a:pt x="8" y="487"/>
                  </a:moveTo>
                  <a:lnTo>
                    <a:pt x="12" y="487"/>
                  </a:lnTo>
                  <a:lnTo>
                    <a:pt x="16" y="487"/>
                  </a:lnTo>
                  <a:lnTo>
                    <a:pt x="16" y="483"/>
                  </a:lnTo>
                  <a:lnTo>
                    <a:pt x="16" y="487"/>
                  </a:lnTo>
                  <a:lnTo>
                    <a:pt x="12" y="487"/>
                  </a:lnTo>
                  <a:lnTo>
                    <a:pt x="8" y="487"/>
                  </a:lnTo>
                  <a:close/>
                  <a:moveTo>
                    <a:pt x="4" y="491"/>
                  </a:moveTo>
                  <a:lnTo>
                    <a:pt x="0" y="487"/>
                  </a:lnTo>
                  <a:lnTo>
                    <a:pt x="4" y="487"/>
                  </a:lnTo>
                  <a:lnTo>
                    <a:pt x="0" y="487"/>
                  </a:lnTo>
                  <a:lnTo>
                    <a:pt x="0" y="483"/>
                  </a:lnTo>
                  <a:lnTo>
                    <a:pt x="4" y="483"/>
                  </a:lnTo>
                  <a:lnTo>
                    <a:pt x="4" y="487"/>
                  </a:lnTo>
                  <a:lnTo>
                    <a:pt x="4" y="491"/>
                  </a:lnTo>
                  <a:close/>
                  <a:moveTo>
                    <a:pt x="32" y="487"/>
                  </a:moveTo>
                  <a:lnTo>
                    <a:pt x="28" y="487"/>
                  </a:lnTo>
                  <a:lnTo>
                    <a:pt x="28" y="483"/>
                  </a:lnTo>
                  <a:lnTo>
                    <a:pt x="32" y="483"/>
                  </a:lnTo>
                  <a:lnTo>
                    <a:pt x="32" y="487"/>
                  </a:lnTo>
                  <a:lnTo>
                    <a:pt x="32" y="483"/>
                  </a:lnTo>
                  <a:lnTo>
                    <a:pt x="32" y="487"/>
                  </a:lnTo>
                  <a:close/>
                  <a:moveTo>
                    <a:pt x="28" y="487"/>
                  </a:moveTo>
                  <a:lnTo>
                    <a:pt x="28" y="483"/>
                  </a:lnTo>
                  <a:lnTo>
                    <a:pt x="28" y="487"/>
                  </a:lnTo>
                  <a:close/>
                  <a:moveTo>
                    <a:pt x="5409" y="495"/>
                  </a:moveTo>
                  <a:lnTo>
                    <a:pt x="5405" y="491"/>
                  </a:lnTo>
                  <a:lnTo>
                    <a:pt x="5401" y="491"/>
                  </a:lnTo>
                  <a:lnTo>
                    <a:pt x="5401" y="487"/>
                  </a:lnTo>
                  <a:lnTo>
                    <a:pt x="5401" y="491"/>
                  </a:lnTo>
                  <a:lnTo>
                    <a:pt x="5405" y="491"/>
                  </a:lnTo>
                  <a:lnTo>
                    <a:pt x="5409" y="491"/>
                  </a:lnTo>
                  <a:lnTo>
                    <a:pt x="5409" y="495"/>
                  </a:lnTo>
                  <a:lnTo>
                    <a:pt x="5413" y="495"/>
                  </a:lnTo>
                  <a:lnTo>
                    <a:pt x="5409" y="495"/>
                  </a:lnTo>
                  <a:close/>
                  <a:moveTo>
                    <a:pt x="838" y="555"/>
                  </a:moveTo>
                  <a:lnTo>
                    <a:pt x="838" y="559"/>
                  </a:lnTo>
                  <a:lnTo>
                    <a:pt x="834" y="555"/>
                  </a:lnTo>
                  <a:lnTo>
                    <a:pt x="838" y="555"/>
                  </a:lnTo>
                  <a:close/>
                  <a:moveTo>
                    <a:pt x="838" y="559"/>
                  </a:moveTo>
                  <a:lnTo>
                    <a:pt x="838" y="563"/>
                  </a:lnTo>
                  <a:lnTo>
                    <a:pt x="838" y="559"/>
                  </a:lnTo>
                  <a:lnTo>
                    <a:pt x="834" y="559"/>
                  </a:lnTo>
                  <a:lnTo>
                    <a:pt x="838" y="559"/>
                  </a:lnTo>
                  <a:close/>
                  <a:moveTo>
                    <a:pt x="842" y="563"/>
                  </a:moveTo>
                  <a:lnTo>
                    <a:pt x="842" y="567"/>
                  </a:lnTo>
                  <a:lnTo>
                    <a:pt x="846" y="571"/>
                  </a:lnTo>
                  <a:lnTo>
                    <a:pt x="842" y="571"/>
                  </a:lnTo>
                  <a:lnTo>
                    <a:pt x="842" y="567"/>
                  </a:lnTo>
                  <a:lnTo>
                    <a:pt x="838" y="567"/>
                  </a:lnTo>
                  <a:lnTo>
                    <a:pt x="838" y="563"/>
                  </a:lnTo>
                  <a:lnTo>
                    <a:pt x="842" y="563"/>
                  </a:lnTo>
                  <a:close/>
                  <a:moveTo>
                    <a:pt x="846" y="583"/>
                  </a:moveTo>
                  <a:lnTo>
                    <a:pt x="842" y="583"/>
                  </a:lnTo>
                  <a:lnTo>
                    <a:pt x="842" y="579"/>
                  </a:lnTo>
                  <a:lnTo>
                    <a:pt x="842" y="583"/>
                  </a:lnTo>
                  <a:lnTo>
                    <a:pt x="846" y="583"/>
                  </a:lnTo>
                  <a:close/>
                  <a:moveTo>
                    <a:pt x="1664" y="647"/>
                  </a:moveTo>
                  <a:lnTo>
                    <a:pt x="1664" y="651"/>
                  </a:lnTo>
                  <a:lnTo>
                    <a:pt x="1660" y="651"/>
                  </a:lnTo>
                  <a:lnTo>
                    <a:pt x="1660" y="647"/>
                  </a:lnTo>
                  <a:lnTo>
                    <a:pt x="1664" y="647"/>
                  </a:lnTo>
                  <a:close/>
                  <a:moveTo>
                    <a:pt x="1660" y="651"/>
                  </a:moveTo>
                  <a:lnTo>
                    <a:pt x="1656" y="655"/>
                  </a:lnTo>
                  <a:lnTo>
                    <a:pt x="1656" y="651"/>
                  </a:lnTo>
                  <a:lnTo>
                    <a:pt x="1660" y="651"/>
                  </a:lnTo>
                  <a:close/>
                  <a:moveTo>
                    <a:pt x="1620" y="706"/>
                  </a:moveTo>
                  <a:lnTo>
                    <a:pt x="1620" y="710"/>
                  </a:lnTo>
                  <a:lnTo>
                    <a:pt x="1616" y="710"/>
                  </a:lnTo>
                  <a:lnTo>
                    <a:pt x="1616" y="706"/>
                  </a:lnTo>
                  <a:lnTo>
                    <a:pt x="1620" y="706"/>
                  </a:lnTo>
                  <a:close/>
                  <a:moveTo>
                    <a:pt x="1628" y="710"/>
                  </a:moveTo>
                  <a:lnTo>
                    <a:pt x="1628" y="714"/>
                  </a:lnTo>
                  <a:lnTo>
                    <a:pt x="1624" y="714"/>
                  </a:lnTo>
                  <a:lnTo>
                    <a:pt x="1624" y="710"/>
                  </a:lnTo>
                  <a:lnTo>
                    <a:pt x="1628" y="710"/>
                  </a:lnTo>
                  <a:close/>
                  <a:moveTo>
                    <a:pt x="1636" y="710"/>
                  </a:moveTo>
                  <a:lnTo>
                    <a:pt x="1636" y="714"/>
                  </a:lnTo>
                  <a:lnTo>
                    <a:pt x="1640" y="714"/>
                  </a:lnTo>
                  <a:lnTo>
                    <a:pt x="1636" y="714"/>
                  </a:lnTo>
                  <a:lnTo>
                    <a:pt x="1632" y="714"/>
                  </a:lnTo>
                  <a:lnTo>
                    <a:pt x="1636" y="714"/>
                  </a:lnTo>
                  <a:lnTo>
                    <a:pt x="1636" y="710"/>
                  </a:lnTo>
                  <a:close/>
                  <a:moveTo>
                    <a:pt x="1592" y="726"/>
                  </a:moveTo>
                  <a:lnTo>
                    <a:pt x="1592" y="722"/>
                  </a:lnTo>
                  <a:lnTo>
                    <a:pt x="1592" y="726"/>
                  </a:lnTo>
                  <a:lnTo>
                    <a:pt x="1588" y="726"/>
                  </a:lnTo>
                  <a:lnTo>
                    <a:pt x="1584" y="726"/>
                  </a:lnTo>
                  <a:lnTo>
                    <a:pt x="1580" y="726"/>
                  </a:lnTo>
                  <a:lnTo>
                    <a:pt x="1576" y="726"/>
                  </a:lnTo>
                  <a:lnTo>
                    <a:pt x="1576" y="722"/>
                  </a:lnTo>
                  <a:lnTo>
                    <a:pt x="1580" y="722"/>
                  </a:lnTo>
                  <a:lnTo>
                    <a:pt x="1584" y="722"/>
                  </a:lnTo>
                  <a:lnTo>
                    <a:pt x="1588" y="722"/>
                  </a:lnTo>
                  <a:lnTo>
                    <a:pt x="1592" y="718"/>
                  </a:lnTo>
                  <a:lnTo>
                    <a:pt x="1596" y="718"/>
                  </a:lnTo>
                  <a:lnTo>
                    <a:pt x="1600" y="718"/>
                  </a:lnTo>
                  <a:lnTo>
                    <a:pt x="1604" y="714"/>
                  </a:lnTo>
                  <a:lnTo>
                    <a:pt x="1604" y="718"/>
                  </a:lnTo>
                  <a:lnTo>
                    <a:pt x="1600" y="718"/>
                  </a:lnTo>
                  <a:lnTo>
                    <a:pt x="1596" y="722"/>
                  </a:lnTo>
                  <a:lnTo>
                    <a:pt x="1600" y="722"/>
                  </a:lnTo>
                  <a:lnTo>
                    <a:pt x="1600" y="718"/>
                  </a:lnTo>
                  <a:lnTo>
                    <a:pt x="1604" y="718"/>
                  </a:lnTo>
                  <a:lnTo>
                    <a:pt x="1608" y="718"/>
                  </a:lnTo>
                  <a:lnTo>
                    <a:pt x="1604" y="718"/>
                  </a:lnTo>
                  <a:lnTo>
                    <a:pt x="1600" y="722"/>
                  </a:lnTo>
                  <a:lnTo>
                    <a:pt x="1596" y="722"/>
                  </a:lnTo>
                  <a:lnTo>
                    <a:pt x="1592" y="726"/>
                  </a:lnTo>
                  <a:close/>
                  <a:moveTo>
                    <a:pt x="882" y="862"/>
                  </a:moveTo>
                  <a:lnTo>
                    <a:pt x="878" y="862"/>
                  </a:lnTo>
                  <a:lnTo>
                    <a:pt x="882" y="862"/>
                  </a:lnTo>
                  <a:close/>
                  <a:moveTo>
                    <a:pt x="902" y="874"/>
                  </a:moveTo>
                  <a:lnTo>
                    <a:pt x="906" y="874"/>
                  </a:lnTo>
                  <a:lnTo>
                    <a:pt x="902" y="874"/>
                  </a:lnTo>
                  <a:close/>
                  <a:moveTo>
                    <a:pt x="902" y="882"/>
                  </a:moveTo>
                  <a:lnTo>
                    <a:pt x="906" y="886"/>
                  </a:lnTo>
                  <a:lnTo>
                    <a:pt x="902" y="886"/>
                  </a:lnTo>
                  <a:lnTo>
                    <a:pt x="902" y="882"/>
                  </a:lnTo>
                  <a:close/>
                  <a:moveTo>
                    <a:pt x="1388" y="934"/>
                  </a:moveTo>
                  <a:lnTo>
                    <a:pt x="1384" y="934"/>
                  </a:lnTo>
                  <a:lnTo>
                    <a:pt x="1380" y="934"/>
                  </a:lnTo>
                  <a:lnTo>
                    <a:pt x="1376" y="934"/>
                  </a:lnTo>
                  <a:lnTo>
                    <a:pt x="1380" y="934"/>
                  </a:lnTo>
                  <a:lnTo>
                    <a:pt x="1384" y="934"/>
                  </a:lnTo>
                  <a:lnTo>
                    <a:pt x="1388" y="934"/>
                  </a:lnTo>
                  <a:close/>
                  <a:moveTo>
                    <a:pt x="1309" y="950"/>
                  </a:moveTo>
                  <a:lnTo>
                    <a:pt x="1305" y="950"/>
                  </a:lnTo>
                  <a:lnTo>
                    <a:pt x="1309" y="950"/>
                  </a:lnTo>
                  <a:close/>
                  <a:moveTo>
                    <a:pt x="1261" y="954"/>
                  </a:moveTo>
                  <a:lnTo>
                    <a:pt x="1261" y="958"/>
                  </a:lnTo>
                  <a:lnTo>
                    <a:pt x="1257" y="958"/>
                  </a:lnTo>
                  <a:lnTo>
                    <a:pt x="1261" y="958"/>
                  </a:lnTo>
                  <a:lnTo>
                    <a:pt x="1261" y="954"/>
                  </a:lnTo>
                  <a:close/>
                  <a:moveTo>
                    <a:pt x="1233" y="978"/>
                  </a:moveTo>
                  <a:lnTo>
                    <a:pt x="1233" y="974"/>
                  </a:lnTo>
                  <a:lnTo>
                    <a:pt x="1237" y="974"/>
                  </a:lnTo>
                  <a:lnTo>
                    <a:pt x="1233" y="978"/>
                  </a:lnTo>
                  <a:close/>
                  <a:moveTo>
                    <a:pt x="1233" y="978"/>
                  </a:moveTo>
                  <a:lnTo>
                    <a:pt x="1229" y="978"/>
                  </a:lnTo>
                  <a:lnTo>
                    <a:pt x="1229" y="982"/>
                  </a:lnTo>
                  <a:lnTo>
                    <a:pt x="1229" y="978"/>
                  </a:lnTo>
                  <a:lnTo>
                    <a:pt x="1233" y="978"/>
                  </a:lnTo>
                  <a:close/>
                  <a:moveTo>
                    <a:pt x="1480" y="1034"/>
                  </a:moveTo>
                  <a:lnTo>
                    <a:pt x="1480" y="1030"/>
                  </a:lnTo>
                  <a:lnTo>
                    <a:pt x="1480" y="1034"/>
                  </a:lnTo>
                  <a:lnTo>
                    <a:pt x="1476" y="1038"/>
                  </a:lnTo>
                  <a:lnTo>
                    <a:pt x="1480" y="1038"/>
                  </a:lnTo>
                  <a:lnTo>
                    <a:pt x="1480" y="1034"/>
                  </a:lnTo>
                  <a:close/>
                  <a:moveTo>
                    <a:pt x="284" y="1098"/>
                  </a:moveTo>
                  <a:lnTo>
                    <a:pt x="280" y="1098"/>
                  </a:lnTo>
                  <a:lnTo>
                    <a:pt x="280" y="1094"/>
                  </a:lnTo>
                  <a:lnTo>
                    <a:pt x="280" y="1090"/>
                  </a:lnTo>
                  <a:lnTo>
                    <a:pt x="284" y="1090"/>
                  </a:lnTo>
                  <a:lnTo>
                    <a:pt x="284" y="1094"/>
                  </a:lnTo>
                  <a:lnTo>
                    <a:pt x="288" y="1094"/>
                  </a:lnTo>
                  <a:lnTo>
                    <a:pt x="284" y="1098"/>
                  </a:lnTo>
                  <a:close/>
                  <a:moveTo>
                    <a:pt x="272" y="1098"/>
                  </a:moveTo>
                  <a:lnTo>
                    <a:pt x="272" y="1094"/>
                  </a:lnTo>
                  <a:lnTo>
                    <a:pt x="276" y="1094"/>
                  </a:lnTo>
                  <a:lnTo>
                    <a:pt x="276" y="1098"/>
                  </a:lnTo>
                  <a:lnTo>
                    <a:pt x="272" y="1098"/>
                  </a:lnTo>
                  <a:close/>
                  <a:moveTo>
                    <a:pt x="307" y="1110"/>
                  </a:moveTo>
                  <a:lnTo>
                    <a:pt x="303" y="1110"/>
                  </a:lnTo>
                  <a:lnTo>
                    <a:pt x="303" y="1106"/>
                  </a:lnTo>
                  <a:lnTo>
                    <a:pt x="299" y="1102"/>
                  </a:lnTo>
                  <a:lnTo>
                    <a:pt x="303" y="1102"/>
                  </a:lnTo>
                  <a:lnTo>
                    <a:pt x="307" y="1102"/>
                  </a:lnTo>
                  <a:lnTo>
                    <a:pt x="307" y="1106"/>
                  </a:lnTo>
                  <a:lnTo>
                    <a:pt x="311" y="1110"/>
                  </a:lnTo>
                  <a:lnTo>
                    <a:pt x="307" y="1110"/>
                  </a:lnTo>
                  <a:close/>
                  <a:moveTo>
                    <a:pt x="323" y="1114"/>
                  </a:moveTo>
                  <a:lnTo>
                    <a:pt x="319" y="1114"/>
                  </a:lnTo>
                  <a:lnTo>
                    <a:pt x="315" y="1114"/>
                  </a:lnTo>
                  <a:lnTo>
                    <a:pt x="315" y="1110"/>
                  </a:lnTo>
                  <a:lnTo>
                    <a:pt x="319" y="1110"/>
                  </a:lnTo>
                  <a:lnTo>
                    <a:pt x="323" y="1110"/>
                  </a:lnTo>
                  <a:lnTo>
                    <a:pt x="323" y="1114"/>
                  </a:lnTo>
                  <a:close/>
                  <a:moveTo>
                    <a:pt x="331" y="1122"/>
                  </a:moveTo>
                  <a:lnTo>
                    <a:pt x="327" y="1122"/>
                  </a:lnTo>
                  <a:lnTo>
                    <a:pt x="327" y="1118"/>
                  </a:lnTo>
                  <a:lnTo>
                    <a:pt x="323" y="1118"/>
                  </a:lnTo>
                  <a:lnTo>
                    <a:pt x="323" y="1114"/>
                  </a:lnTo>
                  <a:lnTo>
                    <a:pt x="327" y="1114"/>
                  </a:lnTo>
                  <a:lnTo>
                    <a:pt x="327" y="1118"/>
                  </a:lnTo>
                  <a:lnTo>
                    <a:pt x="331" y="1118"/>
                  </a:lnTo>
                  <a:lnTo>
                    <a:pt x="331" y="1114"/>
                  </a:lnTo>
                  <a:lnTo>
                    <a:pt x="331" y="1118"/>
                  </a:lnTo>
                  <a:lnTo>
                    <a:pt x="335" y="1118"/>
                  </a:lnTo>
                  <a:lnTo>
                    <a:pt x="335" y="1122"/>
                  </a:lnTo>
                  <a:lnTo>
                    <a:pt x="331" y="1122"/>
                  </a:lnTo>
                  <a:close/>
                  <a:moveTo>
                    <a:pt x="323" y="1118"/>
                  </a:moveTo>
                  <a:lnTo>
                    <a:pt x="319" y="1118"/>
                  </a:lnTo>
                  <a:lnTo>
                    <a:pt x="323" y="1118"/>
                  </a:lnTo>
                  <a:close/>
                  <a:moveTo>
                    <a:pt x="339" y="1129"/>
                  </a:moveTo>
                  <a:lnTo>
                    <a:pt x="343" y="1129"/>
                  </a:lnTo>
                  <a:lnTo>
                    <a:pt x="347" y="1133"/>
                  </a:lnTo>
                  <a:lnTo>
                    <a:pt x="347" y="1137"/>
                  </a:lnTo>
                  <a:lnTo>
                    <a:pt x="351" y="1137"/>
                  </a:lnTo>
                  <a:lnTo>
                    <a:pt x="351" y="1141"/>
                  </a:lnTo>
                  <a:lnTo>
                    <a:pt x="355" y="1141"/>
                  </a:lnTo>
                  <a:lnTo>
                    <a:pt x="351" y="1145"/>
                  </a:lnTo>
                  <a:lnTo>
                    <a:pt x="347" y="1145"/>
                  </a:lnTo>
                  <a:lnTo>
                    <a:pt x="343" y="1149"/>
                  </a:lnTo>
                  <a:lnTo>
                    <a:pt x="343" y="1153"/>
                  </a:lnTo>
                  <a:lnTo>
                    <a:pt x="339" y="1153"/>
                  </a:lnTo>
                  <a:lnTo>
                    <a:pt x="335" y="1149"/>
                  </a:lnTo>
                  <a:lnTo>
                    <a:pt x="335" y="1145"/>
                  </a:lnTo>
                  <a:lnTo>
                    <a:pt x="335" y="1141"/>
                  </a:lnTo>
                  <a:lnTo>
                    <a:pt x="335" y="1137"/>
                  </a:lnTo>
                  <a:lnTo>
                    <a:pt x="339" y="1133"/>
                  </a:lnTo>
                  <a:lnTo>
                    <a:pt x="335" y="1129"/>
                  </a:lnTo>
                  <a:lnTo>
                    <a:pt x="339" y="112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0" name="Freeform 189"/>
            <p:cNvSpPr>
              <a:spLocks/>
            </p:cNvSpPr>
            <p:nvPr>
              <p:custDataLst>
                <p:tags r:id="rId383"/>
              </p:custDataLst>
            </p:nvPr>
          </p:nvSpPr>
          <p:spPr bwMode="gray">
            <a:xfrm>
              <a:off x="2772869" y="2538945"/>
              <a:ext cx="53390" cy="41526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20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28" y="12"/>
                </a:cxn>
                <a:cxn ang="0">
                  <a:pos x="24" y="16"/>
                </a:cxn>
                <a:cxn ang="0">
                  <a:pos x="28" y="16"/>
                </a:cxn>
                <a:cxn ang="0">
                  <a:pos x="32" y="16"/>
                </a:cxn>
                <a:cxn ang="0">
                  <a:pos x="32" y="16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32" y="16"/>
                </a:cxn>
                <a:cxn ang="0">
                  <a:pos x="28" y="20"/>
                </a:cxn>
                <a:cxn ang="0">
                  <a:pos x="28" y="20"/>
                </a:cxn>
                <a:cxn ang="0">
                  <a:pos x="28" y="20"/>
                </a:cxn>
                <a:cxn ang="0">
                  <a:pos x="24" y="20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8" y="24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0" y="12"/>
                </a:cxn>
              </a:cxnLst>
              <a:rect l="0" t="0" r="r" b="b"/>
              <a:pathLst>
                <a:path w="36" h="28">
                  <a:moveTo>
                    <a:pt x="0" y="12"/>
                  </a:move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1" name="Freeform 190"/>
            <p:cNvSpPr>
              <a:spLocks/>
            </p:cNvSpPr>
            <p:nvPr>
              <p:custDataLst>
                <p:tags r:id="rId384"/>
              </p:custDataLst>
            </p:nvPr>
          </p:nvSpPr>
          <p:spPr bwMode="gray">
            <a:xfrm>
              <a:off x="2446595" y="4266714"/>
              <a:ext cx="23729" cy="29661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</a:cxnLst>
              <a:rect l="0" t="0" r="r" b="b"/>
              <a:pathLst>
                <a:path w="16" h="20">
                  <a:moveTo>
                    <a:pt x="16" y="16"/>
                  </a:moveTo>
                  <a:lnTo>
                    <a:pt x="16" y="16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2" name="Freeform 191"/>
            <p:cNvSpPr>
              <a:spLocks/>
            </p:cNvSpPr>
            <p:nvPr>
              <p:custDataLst>
                <p:tags r:id="rId385"/>
              </p:custDataLst>
            </p:nvPr>
          </p:nvSpPr>
          <p:spPr bwMode="gray">
            <a:xfrm>
              <a:off x="2511850" y="3379842"/>
              <a:ext cx="11865" cy="10381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</a:cxnLst>
              <a:rect l="0" t="0" r="r" b="b"/>
              <a:pathLst>
                <a:path w="8" h="7">
                  <a:moveTo>
                    <a:pt x="4" y="4"/>
                  </a:move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grpSp>
          <p:nvGrpSpPr>
            <p:cNvPr id="193" name="Group 192"/>
            <p:cNvGrpSpPr>
              <a:grpSpLocks/>
            </p:cNvGrpSpPr>
            <p:nvPr>
              <p:custDataLst>
                <p:tags r:id="rId386"/>
              </p:custDataLst>
            </p:nvPr>
          </p:nvGrpSpPr>
          <p:grpSpPr bwMode="gray">
            <a:xfrm>
              <a:off x="8117831" y="5561429"/>
              <a:ext cx="271400" cy="378181"/>
              <a:chOff x="4515" y="3775"/>
              <a:chExt cx="183" cy="255"/>
            </a:xfrm>
            <a:grpFill/>
          </p:grpSpPr>
          <p:sp>
            <p:nvSpPr>
              <p:cNvPr id="219" name="Freeform 193"/>
              <p:cNvSpPr>
                <a:spLocks/>
              </p:cNvSpPr>
              <p:nvPr/>
            </p:nvSpPr>
            <p:spPr bwMode="gray">
              <a:xfrm>
                <a:off x="4606" y="3775"/>
                <a:ext cx="92" cy="148"/>
              </a:xfrm>
              <a:custGeom>
                <a:avLst/>
                <a:gdLst/>
                <a:ahLst/>
                <a:cxnLst>
                  <a:cxn ang="0">
                    <a:pos x="56" y="132"/>
                  </a:cxn>
                  <a:cxn ang="0">
                    <a:pos x="48" y="144"/>
                  </a:cxn>
                  <a:cxn ang="0">
                    <a:pos x="40" y="144"/>
                  </a:cxn>
                  <a:cxn ang="0">
                    <a:pos x="32" y="144"/>
                  </a:cxn>
                  <a:cxn ang="0">
                    <a:pos x="36" y="132"/>
                  </a:cxn>
                  <a:cxn ang="0">
                    <a:pos x="40" y="120"/>
                  </a:cxn>
                  <a:cxn ang="0">
                    <a:pos x="32" y="112"/>
                  </a:cxn>
                  <a:cxn ang="0">
                    <a:pos x="24" y="104"/>
                  </a:cxn>
                  <a:cxn ang="0">
                    <a:pos x="20" y="96"/>
                  </a:cxn>
                  <a:cxn ang="0">
                    <a:pos x="32" y="92"/>
                  </a:cxn>
                  <a:cxn ang="0">
                    <a:pos x="32" y="76"/>
                  </a:cxn>
                  <a:cxn ang="0">
                    <a:pos x="32" y="68"/>
                  </a:cxn>
                  <a:cxn ang="0">
                    <a:pos x="32" y="60"/>
                  </a:cxn>
                  <a:cxn ang="0">
                    <a:pos x="28" y="56"/>
                  </a:cxn>
                  <a:cxn ang="0">
                    <a:pos x="36" y="56"/>
                  </a:cxn>
                  <a:cxn ang="0">
                    <a:pos x="28" y="48"/>
                  </a:cxn>
                  <a:cxn ang="0">
                    <a:pos x="28" y="44"/>
                  </a:cxn>
                  <a:cxn ang="0">
                    <a:pos x="28" y="36"/>
                  </a:cxn>
                  <a:cxn ang="0">
                    <a:pos x="24" y="36"/>
                  </a:cxn>
                  <a:cxn ang="0">
                    <a:pos x="20" y="32"/>
                  </a:cxn>
                  <a:cxn ang="0">
                    <a:pos x="20" y="40"/>
                  </a:cxn>
                  <a:cxn ang="0">
                    <a:pos x="16" y="28"/>
                  </a:cxn>
                  <a:cxn ang="0">
                    <a:pos x="16" y="16"/>
                  </a:cxn>
                  <a:cxn ang="0">
                    <a:pos x="12" y="20"/>
                  </a:cxn>
                  <a:cxn ang="0">
                    <a:pos x="4" y="8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8" y="12"/>
                  </a:cxn>
                  <a:cxn ang="0">
                    <a:pos x="16" y="12"/>
                  </a:cxn>
                  <a:cxn ang="0">
                    <a:pos x="24" y="16"/>
                  </a:cxn>
                  <a:cxn ang="0">
                    <a:pos x="28" y="20"/>
                  </a:cxn>
                  <a:cxn ang="0">
                    <a:pos x="28" y="28"/>
                  </a:cxn>
                  <a:cxn ang="0">
                    <a:pos x="32" y="32"/>
                  </a:cxn>
                  <a:cxn ang="0">
                    <a:pos x="32" y="48"/>
                  </a:cxn>
                  <a:cxn ang="0">
                    <a:pos x="36" y="52"/>
                  </a:cxn>
                  <a:cxn ang="0">
                    <a:pos x="44" y="52"/>
                  </a:cxn>
                  <a:cxn ang="0">
                    <a:pos x="40" y="40"/>
                  </a:cxn>
                  <a:cxn ang="0">
                    <a:pos x="48" y="52"/>
                  </a:cxn>
                  <a:cxn ang="0">
                    <a:pos x="52" y="56"/>
                  </a:cxn>
                  <a:cxn ang="0">
                    <a:pos x="52" y="64"/>
                  </a:cxn>
                  <a:cxn ang="0">
                    <a:pos x="56" y="68"/>
                  </a:cxn>
                  <a:cxn ang="0">
                    <a:pos x="68" y="72"/>
                  </a:cxn>
                  <a:cxn ang="0">
                    <a:pos x="80" y="68"/>
                  </a:cxn>
                  <a:cxn ang="0">
                    <a:pos x="92" y="68"/>
                  </a:cxn>
                  <a:cxn ang="0">
                    <a:pos x="88" y="80"/>
                  </a:cxn>
                  <a:cxn ang="0">
                    <a:pos x="80" y="92"/>
                  </a:cxn>
                  <a:cxn ang="0">
                    <a:pos x="76" y="96"/>
                  </a:cxn>
                  <a:cxn ang="0">
                    <a:pos x="64" y="104"/>
                  </a:cxn>
                  <a:cxn ang="0">
                    <a:pos x="64" y="120"/>
                  </a:cxn>
                </a:cxnLst>
                <a:rect l="0" t="0" r="r" b="b"/>
                <a:pathLst>
                  <a:path w="92" h="148">
                    <a:moveTo>
                      <a:pt x="60" y="124"/>
                    </a:moveTo>
                    <a:lnTo>
                      <a:pt x="60" y="128"/>
                    </a:lnTo>
                    <a:lnTo>
                      <a:pt x="56" y="128"/>
                    </a:lnTo>
                    <a:lnTo>
                      <a:pt x="56" y="132"/>
                    </a:lnTo>
                    <a:lnTo>
                      <a:pt x="56" y="136"/>
                    </a:lnTo>
                    <a:lnTo>
                      <a:pt x="52" y="136"/>
                    </a:lnTo>
                    <a:lnTo>
                      <a:pt x="52" y="140"/>
                    </a:lnTo>
                    <a:lnTo>
                      <a:pt x="48" y="144"/>
                    </a:lnTo>
                    <a:lnTo>
                      <a:pt x="44" y="144"/>
                    </a:lnTo>
                    <a:lnTo>
                      <a:pt x="44" y="148"/>
                    </a:lnTo>
                    <a:lnTo>
                      <a:pt x="40" y="148"/>
                    </a:lnTo>
                    <a:lnTo>
                      <a:pt x="40" y="144"/>
                    </a:lnTo>
                    <a:lnTo>
                      <a:pt x="36" y="144"/>
                    </a:lnTo>
                    <a:lnTo>
                      <a:pt x="36" y="140"/>
                    </a:lnTo>
                    <a:lnTo>
                      <a:pt x="32" y="140"/>
                    </a:lnTo>
                    <a:lnTo>
                      <a:pt x="32" y="144"/>
                    </a:lnTo>
                    <a:lnTo>
                      <a:pt x="32" y="140"/>
                    </a:lnTo>
                    <a:lnTo>
                      <a:pt x="32" y="136"/>
                    </a:lnTo>
                    <a:lnTo>
                      <a:pt x="36" y="136"/>
                    </a:lnTo>
                    <a:lnTo>
                      <a:pt x="36" y="132"/>
                    </a:lnTo>
                    <a:lnTo>
                      <a:pt x="36" y="128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0"/>
                    </a:lnTo>
                    <a:lnTo>
                      <a:pt x="40" y="116"/>
                    </a:lnTo>
                    <a:lnTo>
                      <a:pt x="36" y="116"/>
                    </a:lnTo>
                    <a:lnTo>
                      <a:pt x="36" y="112"/>
                    </a:lnTo>
                    <a:lnTo>
                      <a:pt x="32" y="112"/>
                    </a:lnTo>
                    <a:lnTo>
                      <a:pt x="28" y="112"/>
                    </a:lnTo>
                    <a:lnTo>
                      <a:pt x="28" y="108"/>
                    </a:lnTo>
                    <a:lnTo>
                      <a:pt x="24" y="108"/>
                    </a:lnTo>
                    <a:lnTo>
                      <a:pt x="24" y="104"/>
                    </a:lnTo>
                    <a:lnTo>
                      <a:pt x="20" y="104"/>
                    </a:lnTo>
                    <a:lnTo>
                      <a:pt x="16" y="100"/>
                    </a:lnTo>
                    <a:lnTo>
                      <a:pt x="16" y="96"/>
                    </a:lnTo>
                    <a:lnTo>
                      <a:pt x="20" y="96"/>
                    </a:lnTo>
                    <a:lnTo>
                      <a:pt x="24" y="96"/>
                    </a:lnTo>
                    <a:lnTo>
                      <a:pt x="24" y="92"/>
                    </a:lnTo>
                    <a:lnTo>
                      <a:pt x="28" y="92"/>
                    </a:lnTo>
                    <a:lnTo>
                      <a:pt x="32" y="92"/>
                    </a:lnTo>
                    <a:lnTo>
                      <a:pt x="32" y="88"/>
                    </a:lnTo>
                    <a:lnTo>
                      <a:pt x="32" y="84"/>
                    </a:lnTo>
                    <a:lnTo>
                      <a:pt x="32" y="80"/>
                    </a:lnTo>
                    <a:lnTo>
                      <a:pt x="32" y="76"/>
                    </a:lnTo>
                    <a:lnTo>
                      <a:pt x="36" y="76"/>
                    </a:lnTo>
                    <a:lnTo>
                      <a:pt x="36" y="72"/>
                    </a:lnTo>
                    <a:lnTo>
                      <a:pt x="32" y="72"/>
                    </a:lnTo>
                    <a:lnTo>
                      <a:pt x="32" y="68"/>
                    </a:lnTo>
                    <a:lnTo>
                      <a:pt x="36" y="68"/>
                    </a:lnTo>
                    <a:lnTo>
                      <a:pt x="32" y="68"/>
                    </a:lnTo>
                    <a:lnTo>
                      <a:pt x="32" y="64"/>
                    </a:lnTo>
                    <a:lnTo>
                      <a:pt x="32" y="60"/>
                    </a:lnTo>
                    <a:lnTo>
                      <a:pt x="36" y="60"/>
                    </a:lnTo>
                    <a:lnTo>
                      <a:pt x="32" y="60"/>
                    </a:lnTo>
                    <a:lnTo>
                      <a:pt x="32" y="56"/>
                    </a:lnTo>
                    <a:lnTo>
                      <a:pt x="28" y="56"/>
                    </a:lnTo>
                    <a:lnTo>
                      <a:pt x="28" y="52"/>
                    </a:lnTo>
                    <a:lnTo>
                      <a:pt x="32" y="52"/>
                    </a:lnTo>
                    <a:lnTo>
                      <a:pt x="32" y="56"/>
                    </a:lnTo>
                    <a:lnTo>
                      <a:pt x="36" y="56"/>
                    </a:lnTo>
                    <a:lnTo>
                      <a:pt x="36" y="52"/>
                    </a:lnTo>
                    <a:lnTo>
                      <a:pt x="32" y="52"/>
                    </a:lnTo>
                    <a:lnTo>
                      <a:pt x="28" y="52"/>
                    </a:lnTo>
                    <a:lnTo>
                      <a:pt x="28" y="48"/>
                    </a:lnTo>
                    <a:lnTo>
                      <a:pt x="24" y="44"/>
                    </a:lnTo>
                    <a:lnTo>
                      <a:pt x="24" y="40"/>
                    </a:lnTo>
                    <a:lnTo>
                      <a:pt x="24" y="44"/>
                    </a:lnTo>
                    <a:lnTo>
                      <a:pt x="28" y="44"/>
                    </a:lnTo>
                    <a:lnTo>
                      <a:pt x="28" y="40"/>
                    </a:lnTo>
                    <a:lnTo>
                      <a:pt x="24" y="40"/>
                    </a:lnTo>
                    <a:lnTo>
                      <a:pt x="28" y="40"/>
                    </a:lnTo>
                    <a:lnTo>
                      <a:pt x="28" y="36"/>
                    </a:lnTo>
                    <a:lnTo>
                      <a:pt x="28" y="40"/>
                    </a:lnTo>
                    <a:lnTo>
                      <a:pt x="24" y="40"/>
                    </a:lnTo>
                    <a:lnTo>
                      <a:pt x="28" y="36"/>
                    </a:lnTo>
                    <a:lnTo>
                      <a:pt x="24" y="36"/>
                    </a:lnTo>
                    <a:lnTo>
                      <a:pt x="20" y="36"/>
                    </a:lnTo>
                    <a:lnTo>
                      <a:pt x="20" y="32"/>
                    </a:lnTo>
                    <a:lnTo>
                      <a:pt x="20" y="28"/>
                    </a:lnTo>
                    <a:lnTo>
                      <a:pt x="20" y="32"/>
                    </a:lnTo>
                    <a:lnTo>
                      <a:pt x="20" y="36"/>
                    </a:lnTo>
                    <a:lnTo>
                      <a:pt x="24" y="36"/>
                    </a:lnTo>
                    <a:lnTo>
                      <a:pt x="24" y="40"/>
                    </a:lnTo>
                    <a:lnTo>
                      <a:pt x="20" y="40"/>
                    </a:lnTo>
                    <a:lnTo>
                      <a:pt x="20" y="36"/>
                    </a:lnTo>
                    <a:lnTo>
                      <a:pt x="20" y="32"/>
                    </a:lnTo>
                    <a:lnTo>
                      <a:pt x="16" y="32"/>
                    </a:lnTo>
                    <a:lnTo>
                      <a:pt x="16" y="28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6" y="20"/>
                    </a:lnTo>
                    <a:lnTo>
                      <a:pt x="16" y="16"/>
                    </a:lnTo>
                    <a:lnTo>
                      <a:pt x="16" y="20"/>
                    </a:lnTo>
                    <a:lnTo>
                      <a:pt x="12" y="20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8"/>
                    </a:lnTo>
                    <a:lnTo>
                      <a:pt x="12" y="12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4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4" y="20"/>
                    </a:lnTo>
                    <a:lnTo>
                      <a:pt x="24" y="16"/>
                    </a:lnTo>
                    <a:lnTo>
                      <a:pt x="28" y="16"/>
                    </a:lnTo>
                    <a:lnTo>
                      <a:pt x="28" y="20"/>
                    </a:lnTo>
                    <a:lnTo>
                      <a:pt x="28" y="24"/>
                    </a:lnTo>
                    <a:lnTo>
                      <a:pt x="32" y="24"/>
                    </a:lnTo>
                    <a:lnTo>
                      <a:pt x="28" y="24"/>
                    </a:lnTo>
                    <a:lnTo>
                      <a:pt x="28" y="28"/>
                    </a:lnTo>
                    <a:lnTo>
                      <a:pt x="32" y="28"/>
                    </a:lnTo>
                    <a:lnTo>
                      <a:pt x="28" y="28"/>
                    </a:lnTo>
                    <a:lnTo>
                      <a:pt x="28" y="32"/>
                    </a:lnTo>
                    <a:lnTo>
                      <a:pt x="32" y="32"/>
                    </a:lnTo>
                    <a:lnTo>
                      <a:pt x="32" y="36"/>
                    </a:lnTo>
                    <a:lnTo>
                      <a:pt x="32" y="40"/>
                    </a:lnTo>
                    <a:lnTo>
                      <a:pt x="32" y="44"/>
                    </a:lnTo>
                    <a:lnTo>
                      <a:pt x="32" y="48"/>
                    </a:lnTo>
                    <a:lnTo>
                      <a:pt x="36" y="48"/>
                    </a:lnTo>
                    <a:lnTo>
                      <a:pt x="36" y="52"/>
                    </a:lnTo>
                    <a:lnTo>
                      <a:pt x="36" y="48"/>
                    </a:lnTo>
                    <a:lnTo>
                      <a:pt x="36" y="52"/>
                    </a:lnTo>
                    <a:lnTo>
                      <a:pt x="40" y="52"/>
                    </a:lnTo>
                    <a:lnTo>
                      <a:pt x="40" y="56"/>
                    </a:lnTo>
                    <a:lnTo>
                      <a:pt x="44" y="56"/>
                    </a:lnTo>
                    <a:lnTo>
                      <a:pt x="44" y="52"/>
                    </a:lnTo>
                    <a:lnTo>
                      <a:pt x="44" y="48"/>
                    </a:lnTo>
                    <a:lnTo>
                      <a:pt x="44" y="44"/>
                    </a:lnTo>
                    <a:lnTo>
                      <a:pt x="40" y="44"/>
                    </a:lnTo>
                    <a:lnTo>
                      <a:pt x="40" y="40"/>
                    </a:lnTo>
                    <a:lnTo>
                      <a:pt x="44" y="44"/>
                    </a:lnTo>
                    <a:lnTo>
                      <a:pt x="44" y="48"/>
                    </a:lnTo>
                    <a:lnTo>
                      <a:pt x="48" y="48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8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48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2" y="64"/>
                    </a:lnTo>
                    <a:lnTo>
                      <a:pt x="52" y="68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4" y="72"/>
                    </a:lnTo>
                    <a:lnTo>
                      <a:pt x="68" y="72"/>
                    </a:lnTo>
                    <a:lnTo>
                      <a:pt x="72" y="72"/>
                    </a:lnTo>
                    <a:lnTo>
                      <a:pt x="76" y="72"/>
                    </a:lnTo>
                    <a:lnTo>
                      <a:pt x="76" y="68"/>
                    </a:lnTo>
                    <a:lnTo>
                      <a:pt x="80" y="68"/>
                    </a:lnTo>
                    <a:lnTo>
                      <a:pt x="80" y="64"/>
                    </a:lnTo>
                    <a:lnTo>
                      <a:pt x="84" y="64"/>
                    </a:lnTo>
                    <a:lnTo>
                      <a:pt x="88" y="64"/>
                    </a:lnTo>
                    <a:lnTo>
                      <a:pt x="92" y="68"/>
                    </a:lnTo>
                    <a:lnTo>
                      <a:pt x="88" y="68"/>
                    </a:lnTo>
                    <a:lnTo>
                      <a:pt x="88" y="72"/>
                    </a:lnTo>
                    <a:lnTo>
                      <a:pt x="88" y="76"/>
                    </a:lnTo>
                    <a:lnTo>
                      <a:pt x="88" y="80"/>
                    </a:lnTo>
                    <a:lnTo>
                      <a:pt x="88" y="84"/>
                    </a:lnTo>
                    <a:lnTo>
                      <a:pt x="84" y="88"/>
                    </a:lnTo>
                    <a:lnTo>
                      <a:pt x="80" y="88"/>
                    </a:lnTo>
                    <a:lnTo>
                      <a:pt x="80" y="92"/>
                    </a:lnTo>
                    <a:lnTo>
                      <a:pt x="80" y="96"/>
                    </a:lnTo>
                    <a:lnTo>
                      <a:pt x="80" y="100"/>
                    </a:lnTo>
                    <a:lnTo>
                      <a:pt x="80" y="96"/>
                    </a:lnTo>
                    <a:lnTo>
                      <a:pt x="76" y="96"/>
                    </a:lnTo>
                    <a:lnTo>
                      <a:pt x="72" y="96"/>
                    </a:lnTo>
                    <a:lnTo>
                      <a:pt x="68" y="96"/>
                    </a:lnTo>
                    <a:lnTo>
                      <a:pt x="64" y="100"/>
                    </a:lnTo>
                    <a:lnTo>
                      <a:pt x="64" y="104"/>
                    </a:lnTo>
                    <a:lnTo>
                      <a:pt x="64" y="108"/>
                    </a:lnTo>
                    <a:lnTo>
                      <a:pt x="68" y="108"/>
                    </a:lnTo>
                    <a:lnTo>
                      <a:pt x="64" y="116"/>
                    </a:lnTo>
                    <a:lnTo>
                      <a:pt x="64" y="120"/>
                    </a:lnTo>
                    <a:lnTo>
                      <a:pt x="60" y="124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44450" tIns="44450" rIns="44450" bIns="44450"/>
              <a:lstStyle/>
              <a:p>
                <a:endParaRPr lang="en-US" dirty="0"/>
              </a:p>
            </p:txBody>
          </p:sp>
          <p:sp>
            <p:nvSpPr>
              <p:cNvPr id="220" name="Freeform 194"/>
              <p:cNvSpPr>
                <a:spLocks/>
              </p:cNvSpPr>
              <p:nvPr/>
            </p:nvSpPr>
            <p:spPr bwMode="gray">
              <a:xfrm>
                <a:off x="4515" y="3899"/>
                <a:ext cx="119" cy="131"/>
              </a:xfrm>
              <a:custGeom>
                <a:avLst/>
                <a:gdLst/>
                <a:ahLst/>
                <a:cxnLst>
                  <a:cxn ang="0">
                    <a:pos x="12" y="103"/>
                  </a:cxn>
                  <a:cxn ang="0">
                    <a:pos x="12" y="95"/>
                  </a:cxn>
                  <a:cxn ang="0">
                    <a:pos x="16" y="95"/>
                  </a:cxn>
                  <a:cxn ang="0">
                    <a:pos x="16" y="87"/>
                  </a:cxn>
                  <a:cxn ang="0">
                    <a:pos x="23" y="79"/>
                  </a:cxn>
                  <a:cxn ang="0">
                    <a:pos x="35" y="75"/>
                  </a:cxn>
                  <a:cxn ang="0">
                    <a:pos x="39" y="67"/>
                  </a:cxn>
                  <a:cxn ang="0">
                    <a:pos x="47" y="64"/>
                  </a:cxn>
                  <a:cxn ang="0">
                    <a:pos x="55" y="55"/>
                  </a:cxn>
                  <a:cxn ang="0">
                    <a:pos x="63" y="52"/>
                  </a:cxn>
                  <a:cxn ang="0">
                    <a:pos x="71" y="40"/>
                  </a:cxn>
                  <a:cxn ang="0">
                    <a:pos x="75" y="28"/>
                  </a:cxn>
                  <a:cxn ang="0">
                    <a:pos x="83" y="24"/>
                  </a:cxn>
                  <a:cxn ang="0">
                    <a:pos x="83" y="8"/>
                  </a:cxn>
                  <a:cxn ang="0">
                    <a:pos x="91" y="4"/>
                  </a:cxn>
                  <a:cxn ang="0">
                    <a:pos x="91" y="4"/>
                  </a:cxn>
                  <a:cxn ang="0">
                    <a:pos x="99" y="12"/>
                  </a:cxn>
                  <a:cxn ang="0">
                    <a:pos x="107" y="12"/>
                  </a:cxn>
                  <a:cxn ang="0">
                    <a:pos x="111" y="12"/>
                  </a:cxn>
                  <a:cxn ang="0">
                    <a:pos x="111" y="16"/>
                  </a:cxn>
                  <a:cxn ang="0">
                    <a:pos x="115" y="16"/>
                  </a:cxn>
                  <a:cxn ang="0">
                    <a:pos x="115" y="12"/>
                  </a:cxn>
                  <a:cxn ang="0">
                    <a:pos x="111" y="16"/>
                  </a:cxn>
                  <a:cxn ang="0">
                    <a:pos x="115" y="16"/>
                  </a:cxn>
                  <a:cxn ang="0">
                    <a:pos x="115" y="20"/>
                  </a:cxn>
                  <a:cxn ang="0">
                    <a:pos x="115" y="24"/>
                  </a:cxn>
                  <a:cxn ang="0">
                    <a:pos x="111" y="31"/>
                  </a:cxn>
                  <a:cxn ang="0">
                    <a:pos x="107" y="43"/>
                  </a:cxn>
                  <a:cxn ang="0">
                    <a:pos x="103" y="52"/>
                  </a:cxn>
                  <a:cxn ang="0">
                    <a:pos x="95" y="59"/>
                  </a:cxn>
                  <a:cxn ang="0">
                    <a:pos x="99" y="67"/>
                  </a:cxn>
                  <a:cxn ang="0">
                    <a:pos x="95" y="67"/>
                  </a:cxn>
                  <a:cxn ang="0">
                    <a:pos x="91" y="67"/>
                  </a:cxn>
                  <a:cxn ang="0">
                    <a:pos x="83" y="71"/>
                  </a:cxn>
                  <a:cxn ang="0">
                    <a:pos x="75" y="75"/>
                  </a:cxn>
                  <a:cxn ang="0">
                    <a:pos x="71" y="83"/>
                  </a:cxn>
                  <a:cxn ang="0">
                    <a:pos x="71" y="95"/>
                  </a:cxn>
                  <a:cxn ang="0">
                    <a:pos x="63" y="103"/>
                  </a:cxn>
                  <a:cxn ang="0">
                    <a:pos x="59" y="111"/>
                  </a:cxn>
                  <a:cxn ang="0">
                    <a:pos x="63" y="111"/>
                  </a:cxn>
                  <a:cxn ang="0">
                    <a:pos x="55" y="115"/>
                  </a:cxn>
                  <a:cxn ang="0">
                    <a:pos x="51" y="127"/>
                  </a:cxn>
                  <a:cxn ang="0">
                    <a:pos x="39" y="131"/>
                  </a:cxn>
                  <a:cxn ang="0">
                    <a:pos x="31" y="127"/>
                  </a:cxn>
                  <a:cxn ang="0">
                    <a:pos x="27" y="127"/>
                  </a:cxn>
                  <a:cxn ang="0">
                    <a:pos x="27" y="127"/>
                  </a:cxn>
                  <a:cxn ang="0">
                    <a:pos x="23" y="123"/>
                  </a:cxn>
                  <a:cxn ang="0">
                    <a:pos x="12" y="119"/>
                  </a:cxn>
                  <a:cxn ang="0">
                    <a:pos x="4" y="123"/>
                  </a:cxn>
                  <a:cxn ang="0">
                    <a:pos x="4" y="119"/>
                  </a:cxn>
                  <a:cxn ang="0">
                    <a:pos x="4" y="115"/>
                  </a:cxn>
                  <a:cxn ang="0">
                    <a:pos x="0" y="115"/>
                  </a:cxn>
                  <a:cxn ang="0">
                    <a:pos x="8" y="111"/>
                  </a:cxn>
                  <a:cxn ang="0">
                    <a:pos x="8" y="107"/>
                  </a:cxn>
                  <a:cxn ang="0">
                    <a:pos x="4" y="99"/>
                  </a:cxn>
                </a:cxnLst>
                <a:rect l="0" t="0" r="r" b="b"/>
                <a:pathLst>
                  <a:path w="119" h="131">
                    <a:moveTo>
                      <a:pt x="12" y="103"/>
                    </a:moveTo>
                    <a:lnTo>
                      <a:pt x="8" y="103"/>
                    </a:lnTo>
                    <a:lnTo>
                      <a:pt x="12" y="103"/>
                    </a:lnTo>
                    <a:lnTo>
                      <a:pt x="8" y="99"/>
                    </a:lnTo>
                    <a:lnTo>
                      <a:pt x="8" y="95"/>
                    </a:lnTo>
                    <a:lnTo>
                      <a:pt x="12" y="95"/>
                    </a:lnTo>
                    <a:lnTo>
                      <a:pt x="12" y="91"/>
                    </a:lnTo>
                    <a:lnTo>
                      <a:pt x="12" y="95"/>
                    </a:lnTo>
                    <a:lnTo>
                      <a:pt x="16" y="95"/>
                    </a:lnTo>
                    <a:lnTo>
                      <a:pt x="16" y="91"/>
                    </a:lnTo>
                    <a:lnTo>
                      <a:pt x="12" y="91"/>
                    </a:lnTo>
                    <a:lnTo>
                      <a:pt x="16" y="87"/>
                    </a:lnTo>
                    <a:lnTo>
                      <a:pt x="20" y="87"/>
                    </a:lnTo>
                    <a:lnTo>
                      <a:pt x="20" y="83"/>
                    </a:lnTo>
                    <a:lnTo>
                      <a:pt x="23" y="79"/>
                    </a:lnTo>
                    <a:lnTo>
                      <a:pt x="27" y="75"/>
                    </a:lnTo>
                    <a:lnTo>
                      <a:pt x="31" y="75"/>
                    </a:lnTo>
                    <a:lnTo>
                      <a:pt x="35" y="75"/>
                    </a:lnTo>
                    <a:lnTo>
                      <a:pt x="35" y="71"/>
                    </a:lnTo>
                    <a:lnTo>
                      <a:pt x="39" y="71"/>
                    </a:lnTo>
                    <a:lnTo>
                      <a:pt x="39" y="67"/>
                    </a:lnTo>
                    <a:lnTo>
                      <a:pt x="43" y="67"/>
                    </a:lnTo>
                    <a:lnTo>
                      <a:pt x="47" y="67"/>
                    </a:lnTo>
                    <a:lnTo>
                      <a:pt x="47" y="64"/>
                    </a:lnTo>
                    <a:lnTo>
                      <a:pt x="51" y="59"/>
                    </a:lnTo>
                    <a:lnTo>
                      <a:pt x="55" y="59"/>
                    </a:lnTo>
                    <a:lnTo>
                      <a:pt x="55" y="55"/>
                    </a:lnTo>
                    <a:lnTo>
                      <a:pt x="59" y="55"/>
                    </a:lnTo>
                    <a:lnTo>
                      <a:pt x="59" y="52"/>
                    </a:lnTo>
                    <a:lnTo>
                      <a:pt x="63" y="52"/>
                    </a:lnTo>
                    <a:lnTo>
                      <a:pt x="67" y="43"/>
                    </a:lnTo>
                    <a:lnTo>
                      <a:pt x="71" y="43"/>
                    </a:lnTo>
                    <a:lnTo>
                      <a:pt x="71" y="40"/>
                    </a:lnTo>
                    <a:lnTo>
                      <a:pt x="71" y="36"/>
                    </a:lnTo>
                    <a:lnTo>
                      <a:pt x="71" y="31"/>
                    </a:lnTo>
                    <a:lnTo>
                      <a:pt x="75" y="28"/>
                    </a:lnTo>
                    <a:lnTo>
                      <a:pt x="79" y="28"/>
                    </a:lnTo>
                    <a:lnTo>
                      <a:pt x="79" y="24"/>
                    </a:lnTo>
                    <a:lnTo>
                      <a:pt x="83" y="24"/>
                    </a:lnTo>
                    <a:lnTo>
                      <a:pt x="83" y="20"/>
                    </a:lnTo>
                    <a:lnTo>
                      <a:pt x="83" y="16"/>
                    </a:lnTo>
                    <a:lnTo>
                      <a:pt x="83" y="8"/>
                    </a:lnTo>
                    <a:lnTo>
                      <a:pt x="87" y="8"/>
                    </a:lnTo>
                    <a:lnTo>
                      <a:pt x="87" y="4"/>
                    </a:lnTo>
                    <a:lnTo>
                      <a:pt x="91" y="4"/>
                    </a:lnTo>
                    <a:lnTo>
                      <a:pt x="91" y="0"/>
                    </a:lnTo>
                    <a:lnTo>
                      <a:pt x="95" y="0"/>
                    </a:lnTo>
                    <a:lnTo>
                      <a:pt x="91" y="4"/>
                    </a:lnTo>
                    <a:lnTo>
                      <a:pt x="95" y="8"/>
                    </a:lnTo>
                    <a:lnTo>
                      <a:pt x="99" y="8"/>
                    </a:lnTo>
                    <a:lnTo>
                      <a:pt x="99" y="12"/>
                    </a:lnTo>
                    <a:lnTo>
                      <a:pt x="99" y="16"/>
                    </a:lnTo>
                    <a:lnTo>
                      <a:pt x="103" y="16"/>
                    </a:lnTo>
                    <a:lnTo>
                      <a:pt x="107" y="12"/>
                    </a:lnTo>
                    <a:lnTo>
                      <a:pt x="111" y="12"/>
                    </a:lnTo>
                    <a:lnTo>
                      <a:pt x="111" y="8"/>
                    </a:lnTo>
                    <a:lnTo>
                      <a:pt x="111" y="12"/>
                    </a:lnTo>
                    <a:lnTo>
                      <a:pt x="107" y="12"/>
                    </a:lnTo>
                    <a:lnTo>
                      <a:pt x="111" y="12"/>
                    </a:lnTo>
                    <a:lnTo>
                      <a:pt x="111" y="16"/>
                    </a:lnTo>
                    <a:lnTo>
                      <a:pt x="107" y="16"/>
                    </a:lnTo>
                    <a:lnTo>
                      <a:pt x="111" y="16"/>
                    </a:lnTo>
                    <a:lnTo>
                      <a:pt x="115" y="16"/>
                    </a:lnTo>
                    <a:lnTo>
                      <a:pt x="111" y="16"/>
                    </a:lnTo>
                    <a:lnTo>
                      <a:pt x="111" y="12"/>
                    </a:lnTo>
                    <a:lnTo>
                      <a:pt x="115" y="12"/>
                    </a:lnTo>
                    <a:lnTo>
                      <a:pt x="119" y="12"/>
                    </a:lnTo>
                    <a:lnTo>
                      <a:pt x="115" y="16"/>
                    </a:lnTo>
                    <a:lnTo>
                      <a:pt x="111" y="16"/>
                    </a:lnTo>
                    <a:lnTo>
                      <a:pt x="115" y="16"/>
                    </a:lnTo>
                    <a:lnTo>
                      <a:pt x="119" y="16"/>
                    </a:lnTo>
                    <a:lnTo>
                      <a:pt x="115" y="16"/>
                    </a:lnTo>
                    <a:lnTo>
                      <a:pt x="115" y="20"/>
                    </a:lnTo>
                    <a:lnTo>
                      <a:pt x="111" y="20"/>
                    </a:lnTo>
                    <a:lnTo>
                      <a:pt x="115" y="20"/>
                    </a:lnTo>
                    <a:lnTo>
                      <a:pt x="115" y="24"/>
                    </a:lnTo>
                    <a:lnTo>
                      <a:pt x="115" y="20"/>
                    </a:lnTo>
                    <a:lnTo>
                      <a:pt x="115" y="24"/>
                    </a:lnTo>
                    <a:lnTo>
                      <a:pt x="115" y="28"/>
                    </a:lnTo>
                    <a:lnTo>
                      <a:pt x="115" y="31"/>
                    </a:lnTo>
                    <a:lnTo>
                      <a:pt x="111" y="31"/>
                    </a:lnTo>
                    <a:lnTo>
                      <a:pt x="111" y="36"/>
                    </a:lnTo>
                    <a:lnTo>
                      <a:pt x="111" y="40"/>
                    </a:lnTo>
                    <a:lnTo>
                      <a:pt x="107" y="43"/>
                    </a:lnTo>
                    <a:lnTo>
                      <a:pt x="103" y="43"/>
                    </a:lnTo>
                    <a:lnTo>
                      <a:pt x="103" y="48"/>
                    </a:lnTo>
                    <a:lnTo>
                      <a:pt x="103" y="52"/>
                    </a:lnTo>
                    <a:lnTo>
                      <a:pt x="99" y="55"/>
                    </a:lnTo>
                    <a:lnTo>
                      <a:pt x="95" y="55"/>
                    </a:lnTo>
                    <a:lnTo>
                      <a:pt x="95" y="59"/>
                    </a:lnTo>
                    <a:lnTo>
                      <a:pt x="91" y="59"/>
                    </a:lnTo>
                    <a:lnTo>
                      <a:pt x="95" y="67"/>
                    </a:lnTo>
                    <a:lnTo>
                      <a:pt x="99" y="67"/>
                    </a:lnTo>
                    <a:lnTo>
                      <a:pt x="99" y="71"/>
                    </a:lnTo>
                    <a:lnTo>
                      <a:pt x="95" y="71"/>
                    </a:lnTo>
                    <a:lnTo>
                      <a:pt x="95" y="67"/>
                    </a:lnTo>
                    <a:lnTo>
                      <a:pt x="95" y="71"/>
                    </a:lnTo>
                    <a:lnTo>
                      <a:pt x="91" y="71"/>
                    </a:lnTo>
                    <a:lnTo>
                      <a:pt x="91" y="67"/>
                    </a:lnTo>
                    <a:lnTo>
                      <a:pt x="87" y="67"/>
                    </a:lnTo>
                    <a:lnTo>
                      <a:pt x="87" y="71"/>
                    </a:lnTo>
                    <a:lnTo>
                      <a:pt x="83" y="71"/>
                    </a:lnTo>
                    <a:lnTo>
                      <a:pt x="83" y="75"/>
                    </a:lnTo>
                    <a:lnTo>
                      <a:pt x="79" y="75"/>
                    </a:lnTo>
                    <a:lnTo>
                      <a:pt x="75" y="75"/>
                    </a:lnTo>
                    <a:lnTo>
                      <a:pt x="75" y="79"/>
                    </a:lnTo>
                    <a:lnTo>
                      <a:pt x="71" y="79"/>
                    </a:lnTo>
                    <a:lnTo>
                      <a:pt x="71" y="83"/>
                    </a:lnTo>
                    <a:lnTo>
                      <a:pt x="71" y="87"/>
                    </a:lnTo>
                    <a:lnTo>
                      <a:pt x="71" y="91"/>
                    </a:lnTo>
                    <a:lnTo>
                      <a:pt x="71" y="95"/>
                    </a:lnTo>
                    <a:lnTo>
                      <a:pt x="67" y="95"/>
                    </a:lnTo>
                    <a:lnTo>
                      <a:pt x="67" y="99"/>
                    </a:lnTo>
                    <a:lnTo>
                      <a:pt x="63" y="103"/>
                    </a:lnTo>
                    <a:lnTo>
                      <a:pt x="63" y="107"/>
                    </a:lnTo>
                    <a:lnTo>
                      <a:pt x="63" y="111"/>
                    </a:lnTo>
                    <a:lnTo>
                      <a:pt x="59" y="111"/>
                    </a:lnTo>
                    <a:lnTo>
                      <a:pt x="59" y="115"/>
                    </a:lnTo>
                    <a:lnTo>
                      <a:pt x="63" y="115"/>
                    </a:lnTo>
                    <a:lnTo>
                      <a:pt x="63" y="111"/>
                    </a:lnTo>
                    <a:lnTo>
                      <a:pt x="63" y="115"/>
                    </a:lnTo>
                    <a:lnTo>
                      <a:pt x="59" y="115"/>
                    </a:lnTo>
                    <a:lnTo>
                      <a:pt x="55" y="115"/>
                    </a:lnTo>
                    <a:lnTo>
                      <a:pt x="55" y="119"/>
                    </a:lnTo>
                    <a:lnTo>
                      <a:pt x="51" y="123"/>
                    </a:lnTo>
                    <a:lnTo>
                      <a:pt x="51" y="127"/>
                    </a:lnTo>
                    <a:lnTo>
                      <a:pt x="47" y="127"/>
                    </a:lnTo>
                    <a:lnTo>
                      <a:pt x="43" y="131"/>
                    </a:lnTo>
                    <a:lnTo>
                      <a:pt x="39" y="131"/>
                    </a:lnTo>
                    <a:lnTo>
                      <a:pt x="35" y="131"/>
                    </a:lnTo>
                    <a:lnTo>
                      <a:pt x="35" y="127"/>
                    </a:lnTo>
                    <a:lnTo>
                      <a:pt x="31" y="127"/>
                    </a:lnTo>
                    <a:lnTo>
                      <a:pt x="31" y="131"/>
                    </a:lnTo>
                    <a:lnTo>
                      <a:pt x="27" y="131"/>
                    </a:lnTo>
                    <a:lnTo>
                      <a:pt x="27" y="127"/>
                    </a:lnTo>
                    <a:lnTo>
                      <a:pt x="31" y="131"/>
                    </a:lnTo>
                    <a:lnTo>
                      <a:pt x="31" y="127"/>
                    </a:lnTo>
                    <a:lnTo>
                      <a:pt x="27" y="127"/>
                    </a:lnTo>
                    <a:lnTo>
                      <a:pt x="27" y="131"/>
                    </a:lnTo>
                    <a:lnTo>
                      <a:pt x="27" y="127"/>
                    </a:lnTo>
                    <a:lnTo>
                      <a:pt x="23" y="123"/>
                    </a:lnTo>
                    <a:lnTo>
                      <a:pt x="20" y="123"/>
                    </a:lnTo>
                    <a:lnTo>
                      <a:pt x="16" y="119"/>
                    </a:lnTo>
                    <a:lnTo>
                      <a:pt x="12" y="119"/>
                    </a:lnTo>
                    <a:lnTo>
                      <a:pt x="12" y="123"/>
                    </a:lnTo>
                    <a:lnTo>
                      <a:pt x="8" y="123"/>
                    </a:lnTo>
                    <a:lnTo>
                      <a:pt x="4" y="123"/>
                    </a:lnTo>
                    <a:lnTo>
                      <a:pt x="4" y="119"/>
                    </a:lnTo>
                    <a:lnTo>
                      <a:pt x="0" y="119"/>
                    </a:lnTo>
                    <a:lnTo>
                      <a:pt x="4" y="119"/>
                    </a:lnTo>
                    <a:lnTo>
                      <a:pt x="4" y="115"/>
                    </a:lnTo>
                    <a:lnTo>
                      <a:pt x="8" y="115"/>
                    </a:lnTo>
                    <a:lnTo>
                      <a:pt x="4" y="115"/>
                    </a:lnTo>
                    <a:lnTo>
                      <a:pt x="4" y="119"/>
                    </a:lnTo>
                    <a:lnTo>
                      <a:pt x="0" y="119"/>
                    </a:lnTo>
                    <a:lnTo>
                      <a:pt x="0" y="115"/>
                    </a:lnTo>
                    <a:lnTo>
                      <a:pt x="0" y="111"/>
                    </a:lnTo>
                    <a:lnTo>
                      <a:pt x="4" y="111"/>
                    </a:lnTo>
                    <a:lnTo>
                      <a:pt x="8" y="111"/>
                    </a:lnTo>
                    <a:lnTo>
                      <a:pt x="4" y="111"/>
                    </a:lnTo>
                    <a:lnTo>
                      <a:pt x="4" y="107"/>
                    </a:lnTo>
                    <a:lnTo>
                      <a:pt x="8" y="107"/>
                    </a:lnTo>
                    <a:lnTo>
                      <a:pt x="4" y="107"/>
                    </a:lnTo>
                    <a:lnTo>
                      <a:pt x="4" y="103"/>
                    </a:lnTo>
                    <a:lnTo>
                      <a:pt x="4" y="99"/>
                    </a:lnTo>
                    <a:lnTo>
                      <a:pt x="8" y="103"/>
                    </a:lnTo>
                    <a:lnTo>
                      <a:pt x="12" y="103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44450" tIns="44450" rIns="44450" bIns="44450"/>
              <a:lstStyle/>
              <a:p>
                <a:endParaRPr lang="en-US" dirty="0"/>
              </a:p>
            </p:txBody>
          </p:sp>
        </p:grpSp>
        <p:sp>
          <p:nvSpPr>
            <p:cNvPr id="194" name="Freeform 269"/>
            <p:cNvSpPr>
              <a:spLocks noEditPoints="1"/>
            </p:cNvSpPr>
            <p:nvPr>
              <p:custDataLst>
                <p:tags r:id="rId387"/>
              </p:custDataLst>
            </p:nvPr>
          </p:nvSpPr>
          <p:spPr bwMode="gray">
            <a:xfrm>
              <a:off x="7890922" y="4784304"/>
              <a:ext cx="218010" cy="117163"/>
            </a:xfrm>
            <a:custGeom>
              <a:avLst/>
              <a:gdLst/>
              <a:ahLst/>
              <a:cxnLst>
                <a:cxn ang="0">
                  <a:pos x="5" y="6"/>
                </a:cxn>
                <a:cxn ang="0">
                  <a:pos x="6" y="3"/>
                </a:cxn>
                <a:cxn ang="0">
                  <a:pos x="10" y="7"/>
                </a:cxn>
                <a:cxn ang="0">
                  <a:pos x="32" y="18"/>
                </a:cxn>
                <a:cxn ang="0">
                  <a:pos x="20" y="9"/>
                </a:cxn>
                <a:cxn ang="0">
                  <a:pos x="32" y="18"/>
                </a:cxn>
                <a:cxn ang="0">
                  <a:pos x="1" y="10"/>
                </a:cxn>
                <a:cxn ang="0">
                  <a:pos x="2" y="13"/>
                </a:cxn>
                <a:cxn ang="0">
                  <a:pos x="5" y="14"/>
                </a:cxn>
                <a:cxn ang="0">
                  <a:pos x="7" y="12"/>
                </a:cxn>
                <a:cxn ang="0">
                  <a:pos x="13" y="19"/>
                </a:cxn>
                <a:cxn ang="0">
                  <a:pos x="8" y="16"/>
                </a:cxn>
                <a:cxn ang="0">
                  <a:pos x="13" y="16"/>
                </a:cxn>
                <a:cxn ang="0">
                  <a:pos x="13" y="19"/>
                </a:cxn>
                <a:cxn ang="0">
                  <a:pos x="8" y="19"/>
                </a:cxn>
                <a:cxn ang="0">
                  <a:pos x="9" y="20"/>
                </a:cxn>
                <a:cxn ang="0">
                  <a:pos x="14" y="19"/>
                </a:cxn>
                <a:cxn ang="0">
                  <a:pos x="15" y="20"/>
                </a:cxn>
                <a:cxn ang="0">
                  <a:pos x="89" y="39"/>
                </a:cxn>
                <a:cxn ang="0">
                  <a:pos x="90" y="41"/>
                </a:cxn>
                <a:cxn ang="0">
                  <a:pos x="33" y="47"/>
                </a:cxn>
                <a:cxn ang="0">
                  <a:pos x="39" y="50"/>
                </a:cxn>
                <a:cxn ang="0">
                  <a:pos x="47" y="29"/>
                </a:cxn>
                <a:cxn ang="0">
                  <a:pos x="39" y="16"/>
                </a:cxn>
                <a:cxn ang="0">
                  <a:pos x="43" y="19"/>
                </a:cxn>
                <a:cxn ang="0">
                  <a:pos x="46" y="24"/>
                </a:cxn>
                <a:cxn ang="0">
                  <a:pos x="40" y="32"/>
                </a:cxn>
                <a:cxn ang="0">
                  <a:pos x="30" y="26"/>
                </a:cxn>
                <a:cxn ang="0">
                  <a:pos x="42" y="31"/>
                </a:cxn>
                <a:cxn ang="0">
                  <a:pos x="56" y="41"/>
                </a:cxn>
                <a:cxn ang="0">
                  <a:pos x="46" y="34"/>
                </a:cxn>
                <a:cxn ang="0">
                  <a:pos x="56" y="39"/>
                </a:cxn>
              </a:cxnLst>
              <a:rect l="0" t="0" r="r" b="b"/>
              <a:pathLst>
                <a:path w="92" h="50">
                  <a:moveTo>
                    <a:pt x="10" y="8"/>
                  </a:moveTo>
                  <a:lnTo>
                    <a:pt x="5" y="6"/>
                  </a:lnTo>
                  <a:lnTo>
                    <a:pt x="0" y="0"/>
                  </a:lnTo>
                  <a:lnTo>
                    <a:pt x="6" y="3"/>
                  </a:lnTo>
                  <a:lnTo>
                    <a:pt x="7" y="5"/>
                  </a:lnTo>
                  <a:lnTo>
                    <a:pt x="10" y="7"/>
                  </a:lnTo>
                  <a:lnTo>
                    <a:pt x="10" y="8"/>
                  </a:lnTo>
                  <a:close/>
                  <a:moveTo>
                    <a:pt x="32" y="18"/>
                  </a:moveTo>
                  <a:lnTo>
                    <a:pt x="23" y="13"/>
                  </a:lnTo>
                  <a:lnTo>
                    <a:pt x="20" y="9"/>
                  </a:lnTo>
                  <a:lnTo>
                    <a:pt x="32" y="16"/>
                  </a:lnTo>
                  <a:lnTo>
                    <a:pt x="32" y="18"/>
                  </a:lnTo>
                  <a:close/>
                  <a:moveTo>
                    <a:pt x="2" y="13"/>
                  </a:moveTo>
                  <a:lnTo>
                    <a:pt x="1" y="10"/>
                  </a:lnTo>
                  <a:lnTo>
                    <a:pt x="4" y="11"/>
                  </a:lnTo>
                  <a:lnTo>
                    <a:pt x="2" y="13"/>
                  </a:lnTo>
                  <a:close/>
                  <a:moveTo>
                    <a:pt x="7" y="15"/>
                  </a:moveTo>
                  <a:lnTo>
                    <a:pt x="5" y="14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7" y="15"/>
                  </a:lnTo>
                  <a:close/>
                  <a:moveTo>
                    <a:pt x="13" y="19"/>
                  </a:moveTo>
                  <a:lnTo>
                    <a:pt x="10" y="16"/>
                  </a:lnTo>
                  <a:lnTo>
                    <a:pt x="8" y="16"/>
                  </a:lnTo>
                  <a:lnTo>
                    <a:pt x="9" y="13"/>
                  </a:lnTo>
                  <a:lnTo>
                    <a:pt x="13" y="16"/>
                  </a:lnTo>
                  <a:lnTo>
                    <a:pt x="14" y="18"/>
                  </a:lnTo>
                  <a:lnTo>
                    <a:pt x="13" y="19"/>
                  </a:lnTo>
                  <a:close/>
                  <a:moveTo>
                    <a:pt x="9" y="20"/>
                  </a:moveTo>
                  <a:lnTo>
                    <a:pt x="8" y="19"/>
                  </a:lnTo>
                  <a:lnTo>
                    <a:pt x="9" y="17"/>
                  </a:lnTo>
                  <a:lnTo>
                    <a:pt x="9" y="20"/>
                  </a:lnTo>
                  <a:close/>
                  <a:moveTo>
                    <a:pt x="15" y="20"/>
                  </a:moveTo>
                  <a:lnTo>
                    <a:pt x="14" y="19"/>
                  </a:lnTo>
                  <a:lnTo>
                    <a:pt x="16" y="18"/>
                  </a:lnTo>
                  <a:lnTo>
                    <a:pt x="15" y="20"/>
                  </a:lnTo>
                  <a:close/>
                  <a:moveTo>
                    <a:pt x="90" y="41"/>
                  </a:moveTo>
                  <a:lnTo>
                    <a:pt x="89" y="39"/>
                  </a:lnTo>
                  <a:lnTo>
                    <a:pt x="92" y="39"/>
                  </a:lnTo>
                  <a:lnTo>
                    <a:pt x="90" y="41"/>
                  </a:lnTo>
                  <a:close/>
                  <a:moveTo>
                    <a:pt x="39" y="50"/>
                  </a:moveTo>
                  <a:lnTo>
                    <a:pt x="33" y="47"/>
                  </a:lnTo>
                  <a:lnTo>
                    <a:pt x="38" y="49"/>
                  </a:lnTo>
                  <a:lnTo>
                    <a:pt x="39" y="50"/>
                  </a:lnTo>
                  <a:close/>
                  <a:moveTo>
                    <a:pt x="46" y="24"/>
                  </a:moveTo>
                  <a:lnTo>
                    <a:pt x="47" y="29"/>
                  </a:lnTo>
                  <a:lnTo>
                    <a:pt x="42" y="24"/>
                  </a:lnTo>
                  <a:lnTo>
                    <a:pt x="39" y="16"/>
                  </a:lnTo>
                  <a:lnTo>
                    <a:pt x="42" y="17"/>
                  </a:lnTo>
                  <a:lnTo>
                    <a:pt x="43" y="19"/>
                  </a:lnTo>
                  <a:lnTo>
                    <a:pt x="43" y="21"/>
                  </a:lnTo>
                  <a:lnTo>
                    <a:pt x="46" y="24"/>
                  </a:lnTo>
                  <a:close/>
                  <a:moveTo>
                    <a:pt x="42" y="31"/>
                  </a:moveTo>
                  <a:lnTo>
                    <a:pt x="40" y="32"/>
                  </a:lnTo>
                  <a:lnTo>
                    <a:pt x="32" y="30"/>
                  </a:lnTo>
                  <a:lnTo>
                    <a:pt x="30" y="26"/>
                  </a:lnTo>
                  <a:lnTo>
                    <a:pt x="38" y="27"/>
                  </a:lnTo>
                  <a:lnTo>
                    <a:pt x="42" y="31"/>
                  </a:lnTo>
                  <a:close/>
                  <a:moveTo>
                    <a:pt x="56" y="39"/>
                  </a:moveTo>
                  <a:lnTo>
                    <a:pt x="56" y="41"/>
                  </a:lnTo>
                  <a:lnTo>
                    <a:pt x="51" y="39"/>
                  </a:lnTo>
                  <a:lnTo>
                    <a:pt x="46" y="34"/>
                  </a:lnTo>
                  <a:lnTo>
                    <a:pt x="54" y="37"/>
                  </a:lnTo>
                  <a:lnTo>
                    <a:pt x="56" y="3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5" name="Freeform 270"/>
            <p:cNvSpPr>
              <a:spLocks noEditPoints="1"/>
            </p:cNvSpPr>
            <p:nvPr>
              <p:custDataLst>
                <p:tags r:id="rId388"/>
              </p:custDataLst>
            </p:nvPr>
          </p:nvSpPr>
          <p:spPr bwMode="gray">
            <a:xfrm>
              <a:off x="8359570" y="5000831"/>
              <a:ext cx="60805" cy="71187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21" y="5"/>
                </a:cxn>
                <a:cxn ang="0">
                  <a:pos x="25" y="3"/>
                </a:cxn>
                <a:cxn ang="0">
                  <a:pos x="25" y="6"/>
                </a:cxn>
                <a:cxn ang="0">
                  <a:pos x="19" y="6"/>
                </a:cxn>
                <a:cxn ang="0">
                  <a:pos x="19" y="5"/>
                </a:cxn>
                <a:cxn ang="0">
                  <a:pos x="14" y="9"/>
                </a:cxn>
                <a:cxn ang="0">
                  <a:pos x="12" y="6"/>
                </a:cxn>
                <a:cxn ang="0">
                  <a:pos x="16" y="3"/>
                </a:cxn>
                <a:cxn ang="0">
                  <a:pos x="26" y="0"/>
                </a:cxn>
                <a:cxn ang="0">
                  <a:pos x="26" y="0"/>
                </a:cxn>
                <a:cxn ang="0">
                  <a:pos x="2" y="20"/>
                </a:cxn>
                <a:cxn ang="0">
                  <a:pos x="0" y="17"/>
                </a:cxn>
                <a:cxn ang="0">
                  <a:pos x="3" y="13"/>
                </a:cxn>
                <a:cxn ang="0">
                  <a:pos x="9" y="11"/>
                </a:cxn>
                <a:cxn ang="0">
                  <a:pos x="12" y="15"/>
                </a:cxn>
                <a:cxn ang="0">
                  <a:pos x="13" y="19"/>
                </a:cxn>
                <a:cxn ang="0">
                  <a:pos x="12" y="19"/>
                </a:cxn>
                <a:cxn ang="0">
                  <a:pos x="7" y="21"/>
                </a:cxn>
                <a:cxn ang="0">
                  <a:pos x="2" y="20"/>
                </a:cxn>
                <a:cxn ang="0">
                  <a:pos x="8" y="30"/>
                </a:cxn>
                <a:cxn ang="0">
                  <a:pos x="7" y="29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8" y="30"/>
                </a:cxn>
              </a:cxnLst>
              <a:rect l="0" t="0" r="r" b="b"/>
              <a:pathLst>
                <a:path w="26" h="30">
                  <a:moveTo>
                    <a:pt x="26" y="0"/>
                  </a:moveTo>
                  <a:lnTo>
                    <a:pt x="21" y="5"/>
                  </a:lnTo>
                  <a:lnTo>
                    <a:pt x="25" y="3"/>
                  </a:lnTo>
                  <a:lnTo>
                    <a:pt x="25" y="6"/>
                  </a:lnTo>
                  <a:lnTo>
                    <a:pt x="19" y="6"/>
                  </a:lnTo>
                  <a:lnTo>
                    <a:pt x="19" y="5"/>
                  </a:lnTo>
                  <a:lnTo>
                    <a:pt x="14" y="9"/>
                  </a:lnTo>
                  <a:lnTo>
                    <a:pt x="12" y="6"/>
                  </a:lnTo>
                  <a:lnTo>
                    <a:pt x="16" y="3"/>
                  </a:lnTo>
                  <a:lnTo>
                    <a:pt x="26" y="0"/>
                  </a:lnTo>
                  <a:lnTo>
                    <a:pt x="26" y="0"/>
                  </a:lnTo>
                  <a:close/>
                  <a:moveTo>
                    <a:pt x="2" y="20"/>
                  </a:moveTo>
                  <a:lnTo>
                    <a:pt x="0" y="17"/>
                  </a:lnTo>
                  <a:lnTo>
                    <a:pt x="3" y="13"/>
                  </a:lnTo>
                  <a:lnTo>
                    <a:pt x="9" y="11"/>
                  </a:lnTo>
                  <a:lnTo>
                    <a:pt x="12" y="15"/>
                  </a:lnTo>
                  <a:lnTo>
                    <a:pt x="13" y="19"/>
                  </a:lnTo>
                  <a:lnTo>
                    <a:pt x="12" y="19"/>
                  </a:lnTo>
                  <a:lnTo>
                    <a:pt x="7" y="21"/>
                  </a:lnTo>
                  <a:lnTo>
                    <a:pt x="2" y="20"/>
                  </a:lnTo>
                  <a:close/>
                  <a:moveTo>
                    <a:pt x="8" y="30"/>
                  </a:moveTo>
                  <a:lnTo>
                    <a:pt x="7" y="29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8" y="3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6" name="Freeform 271"/>
            <p:cNvSpPr>
              <a:spLocks noEditPoints="1"/>
            </p:cNvSpPr>
            <p:nvPr>
              <p:custDataLst>
                <p:tags r:id="rId389"/>
              </p:custDataLst>
            </p:nvPr>
          </p:nvSpPr>
          <p:spPr bwMode="gray">
            <a:xfrm>
              <a:off x="8117831" y="4965238"/>
              <a:ext cx="66737" cy="118645"/>
            </a:xfrm>
            <a:custGeom>
              <a:avLst/>
              <a:gdLst/>
              <a:ahLst/>
              <a:cxnLst>
                <a:cxn ang="0">
                  <a:pos x="5" y="5"/>
                </a:cxn>
                <a:cxn ang="0">
                  <a:pos x="7" y="9"/>
                </a:cxn>
                <a:cxn ang="0">
                  <a:pos x="2" y="10"/>
                </a:cxn>
                <a:cxn ang="0">
                  <a:pos x="0" y="0"/>
                </a:cxn>
                <a:cxn ang="0">
                  <a:pos x="3" y="5"/>
                </a:cxn>
                <a:cxn ang="0">
                  <a:pos x="4" y="3"/>
                </a:cxn>
                <a:cxn ang="0">
                  <a:pos x="5" y="5"/>
                </a:cxn>
                <a:cxn ang="0">
                  <a:pos x="18" y="32"/>
                </a:cxn>
                <a:cxn ang="0">
                  <a:pos x="15" y="30"/>
                </a:cxn>
                <a:cxn ang="0">
                  <a:pos x="17" y="29"/>
                </a:cxn>
                <a:cxn ang="0">
                  <a:pos x="19" y="30"/>
                </a:cxn>
                <a:cxn ang="0">
                  <a:pos x="18" y="32"/>
                </a:cxn>
                <a:cxn ang="0">
                  <a:pos x="26" y="43"/>
                </a:cxn>
                <a:cxn ang="0">
                  <a:pos x="23" y="42"/>
                </a:cxn>
                <a:cxn ang="0">
                  <a:pos x="24" y="40"/>
                </a:cxn>
                <a:cxn ang="0">
                  <a:pos x="26" y="42"/>
                </a:cxn>
                <a:cxn ang="0">
                  <a:pos x="26" y="43"/>
                </a:cxn>
                <a:cxn ang="0">
                  <a:pos x="27" y="50"/>
                </a:cxn>
                <a:cxn ang="0">
                  <a:pos x="26" y="48"/>
                </a:cxn>
                <a:cxn ang="0">
                  <a:pos x="26" y="47"/>
                </a:cxn>
                <a:cxn ang="0">
                  <a:pos x="28" y="48"/>
                </a:cxn>
                <a:cxn ang="0">
                  <a:pos x="27" y="50"/>
                </a:cxn>
                <a:cxn ang="0">
                  <a:pos x="12" y="9"/>
                </a:cxn>
                <a:cxn ang="0">
                  <a:pos x="11" y="8"/>
                </a:cxn>
                <a:cxn ang="0">
                  <a:pos x="14" y="7"/>
                </a:cxn>
                <a:cxn ang="0">
                  <a:pos x="12" y="9"/>
                </a:cxn>
                <a:cxn ang="0">
                  <a:pos x="9" y="19"/>
                </a:cxn>
                <a:cxn ang="0">
                  <a:pos x="8" y="15"/>
                </a:cxn>
                <a:cxn ang="0">
                  <a:pos x="6" y="14"/>
                </a:cxn>
                <a:cxn ang="0">
                  <a:pos x="7" y="12"/>
                </a:cxn>
                <a:cxn ang="0">
                  <a:pos x="12" y="18"/>
                </a:cxn>
                <a:cxn ang="0">
                  <a:pos x="9" y="19"/>
                </a:cxn>
                <a:cxn ang="0">
                  <a:pos x="15" y="17"/>
                </a:cxn>
                <a:cxn ang="0">
                  <a:pos x="13" y="16"/>
                </a:cxn>
                <a:cxn ang="0">
                  <a:pos x="15" y="14"/>
                </a:cxn>
                <a:cxn ang="0">
                  <a:pos x="17" y="17"/>
                </a:cxn>
                <a:cxn ang="0">
                  <a:pos x="15" y="17"/>
                </a:cxn>
                <a:cxn ang="0">
                  <a:pos x="18" y="22"/>
                </a:cxn>
                <a:cxn ang="0">
                  <a:pos x="15" y="21"/>
                </a:cxn>
                <a:cxn ang="0">
                  <a:pos x="15" y="19"/>
                </a:cxn>
                <a:cxn ang="0">
                  <a:pos x="18" y="22"/>
                </a:cxn>
              </a:cxnLst>
              <a:rect l="0" t="0" r="r" b="b"/>
              <a:pathLst>
                <a:path w="28" h="50">
                  <a:moveTo>
                    <a:pt x="5" y="5"/>
                  </a:moveTo>
                  <a:lnTo>
                    <a:pt x="7" y="9"/>
                  </a:lnTo>
                  <a:lnTo>
                    <a:pt x="2" y="10"/>
                  </a:lnTo>
                  <a:lnTo>
                    <a:pt x="0" y="0"/>
                  </a:lnTo>
                  <a:lnTo>
                    <a:pt x="3" y="5"/>
                  </a:lnTo>
                  <a:lnTo>
                    <a:pt x="4" y="3"/>
                  </a:lnTo>
                  <a:lnTo>
                    <a:pt x="5" y="5"/>
                  </a:lnTo>
                  <a:close/>
                  <a:moveTo>
                    <a:pt x="18" y="32"/>
                  </a:moveTo>
                  <a:lnTo>
                    <a:pt x="15" y="30"/>
                  </a:lnTo>
                  <a:lnTo>
                    <a:pt x="17" y="29"/>
                  </a:lnTo>
                  <a:lnTo>
                    <a:pt x="19" y="30"/>
                  </a:lnTo>
                  <a:lnTo>
                    <a:pt x="18" y="32"/>
                  </a:lnTo>
                  <a:close/>
                  <a:moveTo>
                    <a:pt x="26" y="43"/>
                  </a:moveTo>
                  <a:lnTo>
                    <a:pt x="23" y="42"/>
                  </a:lnTo>
                  <a:lnTo>
                    <a:pt x="24" y="40"/>
                  </a:lnTo>
                  <a:lnTo>
                    <a:pt x="26" y="42"/>
                  </a:lnTo>
                  <a:lnTo>
                    <a:pt x="26" y="43"/>
                  </a:lnTo>
                  <a:close/>
                  <a:moveTo>
                    <a:pt x="27" y="50"/>
                  </a:moveTo>
                  <a:lnTo>
                    <a:pt x="26" y="48"/>
                  </a:lnTo>
                  <a:lnTo>
                    <a:pt x="26" y="47"/>
                  </a:lnTo>
                  <a:lnTo>
                    <a:pt x="28" y="48"/>
                  </a:lnTo>
                  <a:lnTo>
                    <a:pt x="27" y="50"/>
                  </a:lnTo>
                  <a:close/>
                  <a:moveTo>
                    <a:pt x="12" y="9"/>
                  </a:moveTo>
                  <a:lnTo>
                    <a:pt x="11" y="8"/>
                  </a:lnTo>
                  <a:lnTo>
                    <a:pt x="14" y="7"/>
                  </a:lnTo>
                  <a:lnTo>
                    <a:pt x="12" y="9"/>
                  </a:lnTo>
                  <a:close/>
                  <a:moveTo>
                    <a:pt x="9" y="19"/>
                  </a:moveTo>
                  <a:lnTo>
                    <a:pt x="8" y="15"/>
                  </a:lnTo>
                  <a:lnTo>
                    <a:pt x="6" y="14"/>
                  </a:lnTo>
                  <a:lnTo>
                    <a:pt x="7" y="12"/>
                  </a:lnTo>
                  <a:lnTo>
                    <a:pt x="12" y="18"/>
                  </a:lnTo>
                  <a:lnTo>
                    <a:pt x="9" y="19"/>
                  </a:lnTo>
                  <a:close/>
                  <a:moveTo>
                    <a:pt x="15" y="17"/>
                  </a:moveTo>
                  <a:lnTo>
                    <a:pt x="13" y="16"/>
                  </a:lnTo>
                  <a:lnTo>
                    <a:pt x="15" y="14"/>
                  </a:lnTo>
                  <a:lnTo>
                    <a:pt x="17" y="17"/>
                  </a:lnTo>
                  <a:lnTo>
                    <a:pt x="15" y="17"/>
                  </a:lnTo>
                  <a:close/>
                  <a:moveTo>
                    <a:pt x="18" y="22"/>
                  </a:moveTo>
                  <a:lnTo>
                    <a:pt x="15" y="21"/>
                  </a:lnTo>
                  <a:lnTo>
                    <a:pt x="15" y="19"/>
                  </a:lnTo>
                  <a:lnTo>
                    <a:pt x="18" y="2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7" name="Freeform 272"/>
            <p:cNvSpPr>
              <a:spLocks noEditPoints="1"/>
            </p:cNvSpPr>
            <p:nvPr>
              <p:custDataLst>
                <p:tags r:id="rId390"/>
              </p:custDataLst>
            </p:nvPr>
          </p:nvSpPr>
          <p:spPr bwMode="gray">
            <a:xfrm>
              <a:off x="8058509" y="5092781"/>
              <a:ext cx="94916" cy="54874"/>
            </a:xfrm>
            <a:custGeom>
              <a:avLst/>
              <a:gdLst/>
              <a:ahLst/>
              <a:cxnLst>
                <a:cxn ang="0">
                  <a:pos x="15" y="10"/>
                </a:cxn>
                <a:cxn ang="0">
                  <a:pos x="29" y="20"/>
                </a:cxn>
                <a:cxn ang="0">
                  <a:pos x="29" y="23"/>
                </a:cxn>
                <a:cxn ang="0">
                  <a:pos x="24" y="23"/>
                </a:cxn>
                <a:cxn ang="0">
                  <a:pos x="21" y="19"/>
                </a:cxn>
                <a:cxn ang="0">
                  <a:pos x="13" y="15"/>
                </a:cxn>
                <a:cxn ang="0">
                  <a:pos x="5" y="7"/>
                </a:cxn>
                <a:cxn ang="0">
                  <a:pos x="0" y="0"/>
                </a:cxn>
                <a:cxn ang="0">
                  <a:pos x="13" y="7"/>
                </a:cxn>
                <a:cxn ang="0">
                  <a:pos x="15" y="10"/>
                </a:cxn>
                <a:cxn ang="0">
                  <a:pos x="33" y="11"/>
                </a:cxn>
                <a:cxn ang="0">
                  <a:pos x="30" y="9"/>
                </a:cxn>
                <a:cxn ang="0">
                  <a:pos x="31" y="8"/>
                </a:cxn>
                <a:cxn ang="0">
                  <a:pos x="30" y="6"/>
                </a:cxn>
                <a:cxn ang="0">
                  <a:pos x="32" y="6"/>
                </a:cxn>
                <a:cxn ang="0">
                  <a:pos x="32" y="8"/>
                </a:cxn>
                <a:cxn ang="0">
                  <a:pos x="34" y="10"/>
                </a:cxn>
                <a:cxn ang="0">
                  <a:pos x="33" y="11"/>
                </a:cxn>
                <a:cxn ang="0">
                  <a:pos x="39" y="16"/>
                </a:cxn>
                <a:cxn ang="0">
                  <a:pos x="37" y="13"/>
                </a:cxn>
                <a:cxn ang="0">
                  <a:pos x="40" y="14"/>
                </a:cxn>
                <a:cxn ang="0">
                  <a:pos x="40" y="16"/>
                </a:cxn>
                <a:cxn ang="0">
                  <a:pos x="39" y="16"/>
                </a:cxn>
              </a:cxnLst>
              <a:rect l="0" t="0" r="r" b="b"/>
              <a:pathLst>
                <a:path w="40" h="23">
                  <a:moveTo>
                    <a:pt x="15" y="10"/>
                  </a:moveTo>
                  <a:lnTo>
                    <a:pt x="29" y="20"/>
                  </a:lnTo>
                  <a:lnTo>
                    <a:pt x="29" y="23"/>
                  </a:lnTo>
                  <a:lnTo>
                    <a:pt x="24" y="23"/>
                  </a:lnTo>
                  <a:lnTo>
                    <a:pt x="21" y="19"/>
                  </a:lnTo>
                  <a:lnTo>
                    <a:pt x="13" y="15"/>
                  </a:lnTo>
                  <a:lnTo>
                    <a:pt x="5" y="7"/>
                  </a:lnTo>
                  <a:lnTo>
                    <a:pt x="0" y="0"/>
                  </a:lnTo>
                  <a:lnTo>
                    <a:pt x="13" y="7"/>
                  </a:lnTo>
                  <a:lnTo>
                    <a:pt x="15" y="10"/>
                  </a:lnTo>
                  <a:close/>
                  <a:moveTo>
                    <a:pt x="33" y="11"/>
                  </a:moveTo>
                  <a:lnTo>
                    <a:pt x="30" y="9"/>
                  </a:lnTo>
                  <a:lnTo>
                    <a:pt x="31" y="8"/>
                  </a:lnTo>
                  <a:lnTo>
                    <a:pt x="30" y="6"/>
                  </a:lnTo>
                  <a:lnTo>
                    <a:pt x="32" y="6"/>
                  </a:lnTo>
                  <a:lnTo>
                    <a:pt x="32" y="8"/>
                  </a:lnTo>
                  <a:lnTo>
                    <a:pt x="34" y="10"/>
                  </a:lnTo>
                  <a:lnTo>
                    <a:pt x="33" y="11"/>
                  </a:lnTo>
                  <a:close/>
                  <a:moveTo>
                    <a:pt x="39" y="16"/>
                  </a:moveTo>
                  <a:lnTo>
                    <a:pt x="37" y="13"/>
                  </a:lnTo>
                  <a:lnTo>
                    <a:pt x="40" y="14"/>
                  </a:lnTo>
                  <a:lnTo>
                    <a:pt x="40" y="16"/>
                  </a:lnTo>
                  <a:lnTo>
                    <a:pt x="39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8" name="Rectangle 203"/>
            <p:cNvSpPr>
              <a:spLocks noChangeArrowheads="1"/>
            </p:cNvSpPr>
            <p:nvPr>
              <p:custDataLst>
                <p:tags r:id="rId391"/>
              </p:custDataLst>
            </p:nvPr>
          </p:nvSpPr>
          <p:spPr bwMode="gray">
            <a:xfrm>
              <a:off x="425179" y="3830694"/>
              <a:ext cx="2966" cy="2966"/>
            </a:xfrm>
            <a:prstGeom prst="rect">
              <a:avLst/>
            </a:prstGeom>
            <a:grpFill/>
            <a:ln w="635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9" name="Freeform 273"/>
            <p:cNvSpPr>
              <a:spLocks/>
            </p:cNvSpPr>
            <p:nvPr>
              <p:custDataLst>
                <p:tags r:id="rId392"/>
              </p:custDataLst>
            </p:nvPr>
          </p:nvSpPr>
          <p:spPr bwMode="gray">
            <a:xfrm>
              <a:off x="6778624" y="4879220"/>
              <a:ext cx="2966" cy="2966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0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0" name="Freeform 275"/>
            <p:cNvSpPr>
              <a:spLocks/>
            </p:cNvSpPr>
            <p:nvPr>
              <p:custDataLst>
                <p:tags r:id="rId393"/>
              </p:custDataLst>
            </p:nvPr>
          </p:nvSpPr>
          <p:spPr bwMode="gray">
            <a:xfrm>
              <a:off x="7674395" y="4186629"/>
              <a:ext cx="7416" cy="10382"/>
            </a:xfrm>
            <a:custGeom>
              <a:avLst/>
              <a:gdLst/>
              <a:ahLst/>
              <a:cxnLst>
                <a:cxn ang="0">
                  <a:pos x="1" y="4"/>
                </a:cxn>
                <a:cxn ang="0">
                  <a:pos x="0" y="3"/>
                </a:cxn>
                <a:cxn ang="0">
                  <a:pos x="3" y="0"/>
                </a:cxn>
                <a:cxn ang="0">
                  <a:pos x="1" y="4"/>
                </a:cxn>
              </a:cxnLst>
              <a:rect l="0" t="0" r="r" b="b"/>
              <a:pathLst>
                <a:path w="3" h="4">
                  <a:moveTo>
                    <a:pt x="1" y="4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1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1" name="Freeform 276"/>
            <p:cNvSpPr>
              <a:spLocks/>
            </p:cNvSpPr>
            <p:nvPr>
              <p:custDataLst>
                <p:tags r:id="rId394"/>
              </p:custDataLst>
            </p:nvPr>
          </p:nvSpPr>
          <p:spPr bwMode="gray">
            <a:xfrm>
              <a:off x="7698124" y="4151035"/>
              <a:ext cx="2966" cy="5932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2"/>
                </a:cxn>
                <a:cxn ang="0">
                  <a:pos x="0" y="1"/>
                </a:cxn>
                <a:cxn ang="0">
                  <a:pos x="1" y="0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1" y="2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2" name="Freeform 277"/>
            <p:cNvSpPr>
              <a:spLocks/>
            </p:cNvSpPr>
            <p:nvPr>
              <p:custDataLst>
                <p:tags r:id="rId395"/>
              </p:custDataLst>
            </p:nvPr>
          </p:nvSpPr>
          <p:spPr bwMode="gray">
            <a:xfrm>
              <a:off x="7429690" y="4379427"/>
              <a:ext cx="2966" cy="445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2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1" y="0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3" name="Freeform 278"/>
            <p:cNvSpPr>
              <a:spLocks/>
            </p:cNvSpPr>
            <p:nvPr>
              <p:custDataLst>
                <p:tags r:id="rId396"/>
              </p:custDataLst>
            </p:nvPr>
          </p:nvSpPr>
          <p:spPr bwMode="gray">
            <a:xfrm>
              <a:off x="7933931" y="4358664"/>
              <a:ext cx="2966" cy="445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0" y="2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4" name="Freeform 279"/>
            <p:cNvSpPr>
              <a:spLocks/>
            </p:cNvSpPr>
            <p:nvPr>
              <p:custDataLst>
                <p:tags r:id="rId397"/>
              </p:custDataLst>
            </p:nvPr>
          </p:nvSpPr>
          <p:spPr bwMode="gray">
            <a:xfrm>
              <a:off x="8114865" y="4054637"/>
              <a:ext cx="1483" cy="2966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5" name="Freeform 280"/>
            <p:cNvSpPr>
              <a:spLocks/>
            </p:cNvSpPr>
            <p:nvPr>
              <p:custDataLst>
                <p:tags r:id="rId398"/>
              </p:custDataLst>
            </p:nvPr>
          </p:nvSpPr>
          <p:spPr bwMode="gray">
            <a:xfrm>
              <a:off x="8159357" y="4348283"/>
              <a:ext cx="4449" cy="296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6" name="Freeform 375"/>
            <p:cNvSpPr>
              <a:spLocks noEditPoints="1"/>
            </p:cNvSpPr>
            <p:nvPr>
              <p:custDataLst>
                <p:tags r:id="rId399"/>
              </p:custDataLst>
            </p:nvPr>
          </p:nvSpPr>
          <p:spPr bwMode="gray">
            <a:xfrm>
              <a:off x="2987913" y="6099782"/>
              <a:ext cx="75636" cy="38560"/>
            </a:xfrm>
            <a:custGeom>
              <a:avLst/>
              <a:gdLst/>
              <a:ahLst/>
              <a:cxnLst>
                <a:cxn ang="0">
                  <a:pos x="20" y="8"/>
                </a:cxn>
                <a:cxn ang="0">
                  <a:pos x="18" y="4"/>
                </a:cxn>
                <a:cxn ang="0">
                  <a:pos x="21" y="0"/>
                </a:cxn>
                <a:cxn ang="0">
                  <a:pos x="26" y="0"/>
                </a:cxn>
                <a:cxn ang="0">
                  <a:pos x="26" y="2"/>
                </a:cxn>
                <a:cxn ang="0">
                  <a:pos x="24" y="2"/>
                </a:cxn>
                <a:cxn ang="0">
                  <a:pos x="27" y="5"/>
                </a:cxn>
                <a:cxn ang="0">
                  <a:pos x="27" y="1"/>
                </a:cxn>
                <a:cxn ang="0">
                  <a:pos x="30" y="1"/>
                </a:cxn>
                <a:cxn ang="0">
                  <a:pos x="31" y="4"/>
                </a:cxn>
                <a:cxn ang="0">
                  <a:pos x="28" y="4"/>
                </a:cxn>
                <a:cxn ang="0">
                  <a:pos x="32" y="6"/>
                </a:cxn>
                <a:cxn ang="0">
                  <a:pos x="26" y="9"/>
                </a:cxn>
                <a:cxn ang="0">
                  <a:pos x="21" y="8"/>
                </a:cxn>
                <a:cxn ang="0">
                  <a:pos x="23" y="12"/>
                </a:cxn>
                <a:cxn ang="0">
                  <a:pos x="18" y="11"/>
                </a:cxn>
                <a:cxn ang="0">
                  <a:pos x="19" y="14"/>
                </a:cxn>
                <a:cxn ang="0">
                  <a:pos x="16" y="13"/>
                </a:cxn>
                <a:cxn ang="0">
                  <a:pos x="16" y="16"/>
                </a:cxn>
                <a:cxn ang="0">
                  <a:pos x="13" y="12"/>
                </a:cxn>
                <a:cxn ang="0">
                  <a:pos x="18" y="6"/>
                </a:cxn>
                <a:cxn ang="0">
                  <a:pos x="20" y="8"/>
                </a:cxn>
                <a:cxn ang="0">
                  <a:pos x="7" y="8"/>
                </a:cxn>
                <a:cxn ang="0">
                  <a:pos x="9" y="6"/>
                </a:cxn>
                <a:cxn ang="0">
                  <a:pos x="4" y="5"/>
                </a:cxn>
                <a:cxn ang="0">
                  <a:pos x="9" y="5"/>
                </a:cxn>
                <a:cxn ang="0">
                  <a:pos x="4" y="1"/>
                </a:cxn>
                <a:cxn ang="0">
                  <a:pos x="9" y="3"/>
                </a:cxn>
                <a:cxn ang="0">
                  <a:pos x="10" y="1"/>
                </a:cxn>
                <a:cxn ang="0">
                  <a:pos x="18" y="1"/>
                </a:cxn>
                <a:cxn ang="0">
                  <a:pos x="7" y="13"/>
                </a:cxn>
                <a:cxn ang="0">
                  <a:pos x="4" y="15"/>
                </a:cxn>
                <a:cxn ang="0">
                  <a:pos x="1" y="12"/>
                </a:cxn>
                <a:cxn ang="0">
                  <a:pos x="6" y="10"/>
                </a:cxn>
                <a:cxn ang="0">
                  <a:pos x="6" y="7"/>
                </a:cxn>
                <a:cxn ang="0">
                  <a:pos x="7" y="8"/>
                </a:cxn>
                <a:cxn ang="0">
                  <a:pos x="1" y="10"/>
                </a:cxn>
                <a:cxn ang="0">
                  <a:pos x="0" y="8"/>
                </a:cxn>
                <a:cxn ang="0">
                  <a:pos x="2" y="8"/>
                </a:cxn>
                <a:cxn ang="0">
                  <a:pos x="1" y="10"/>
                </a:cxn>
              </a:cxnLst>
              <a:rect l="0" t="0" r="r" b="b"/>
              <a:pathLst>
                <a:path w="32" h="16">
                  <a:moveTo>
                    <a:pt x="20" y="8"/>
                  </a:moveTo>
                  <a:lnTo>
                    <a:pt x="18" y="4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26" y="2"/>
                  </a:lnTo>
                  <a:lnTo>
                    <a:pt x="24" y="2"/>
                  </a:lnTo>
                  <a:lnTo>
                    <a:pt x="27" y="5"/>
                  </a:lnTo>
                  <a:lnTo>
                    <a:pt x="27" y="1"/>
                  </a:lnTo>
                  <a:lnTo>
                    <a:pt x="30" y="1"/>
                  </a:lnTo>
                  <a:lnTo>
                    <a:pt x="31" y="4"/>
                  </a:lnTo>
                  <a:lnTo>
                    <a:pt x="28" y="4"/>
                  </a:lnTo>
                  <a:lnTo>
                    <a:pt x="32" y="6"/>
                  </a:lnTo>
                  <a:lnTo>
                    <a:pt x="26" y="9"/>
                  </a:lnTo>
                  <a:lnTo>
                    <a:pt x="21" y="8"/>
                  </a:lnTo>
                  <a:lnTo>
                    <a:pt x="23" y="12"/>
                  </a:lnTo>
                  <a:lnTo>
                    <a:pt x="18" y="11"/>
                  </a:lnTo>
                  <a:lnTo>
                    <a:pt x="19" y="14"/>
                  </a:lnTo>
                  <a:lnTo>
                    <a:pt x="16" y="13"/>
                  </a:lnTo>
                  <a:lnTo>
                    <a:pt x="16" y="16"/>
                  </a:lnTo>
                  <a:lnTo>
                    <a:pt x="13" y="12"/>
                  </a:lnTo>
                  <a:lnTo>
                    <a:pt x="18" y="6"/>
                  </a:lnTo>
                  <a:lnTo>
                    <a:pt x="20" y="8"/>
                  </a:lnTo>
                  <a:close/>
                  <a:moveTo>
                    <a:pt x="7" y="8"/>
                  </a:moveTo>
                  <a:lnTo>
                    <a:pt x="9" y="6"/>
                  </a:lnTo>
                  <a:lnTo>
                    <a:pt x="4" y="5"/>
                  </a:lnTo>
                  <a:lnTo>
                    <a:pt x="9" y="5"/>
                  </a:lnTo>
                  <a:lnTo>
                    <a:pt x="4" y="1"/>
                  </a:lnTo>
                  <a:lnTo>
                    <a:pt x="9" y="3"/>
                  </a:lnTo>
                  <a:lnTo>
                    <a:pt x="10" y="1"/>
                  </a:lnTo>
                  <a:lnTo>
                    <a:pt x="18" y="1"/>
                  </a:lnTo>
                  <a:lnTo>
                    <a:pt x="7" y="13"/>
                  </a:lnTo>
                  <a:lnTo>
                    <a:pt x="4" y="15"/>
                  </a:lnTo>
                  <a:lnTo>
                    <a:pt x="1" y="12"/>
                  </a:lnTo>
                  <a:lnTo>
                    <a:pt x="6" y="10"/>
                  </a:lnTo>
                  <a:lnTo>
                    <a:pt x="6" y="7"/>
                  </a:lnTo>
                  <a:lnTo>
                    <a:pt x="7" y="8"/>
                  </a:lnTo>
                  <a:close/>
                  <a:moveTo>
                    <a:pt x="1" y="10"/>
                  </a:moveTo>
                  <a:lnTo>
                    <a:pt x="0" y="8"/>
                  </a:lnTo>
                  <a:lnTo>
                    <a:pt x="2" y="8"/>
                  </a:lnTo>
                  <a:lnTo>
                    <a:pt x="1" y="1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7" name="Freeform 402"/>
            <p:cNvSpPr>
              <a:spLocks/>
            </p:cNvSpPr>
            <p:nvPr>
              <p:custDataLst>
                <p:tags r:id="rId400"/>
              </p:custDataLst>
            </p:nvPr>
          </p:nvSpPr>
          <p:spPr bwMode="gray">
            <a:xfrm>
              <a:off x="2936006" y="3677939"/>
              <a:ext cx="2966" cy="445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1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1" y="0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1" y="1"/>
                  </a:lnTo>
                  <a:lnTo>
                    <a:pt x="0" y="2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grpSp>
          <p:nvGrpSpPr>
            <p:cNvPr id="208" name="Group 195"/>
            <p:cNvGrpSpPr>
              <a:grpSpLocks/>
            </p:cNvGrpSpPr>
            <p:nvPr>
              <p:custDataLst>
                <p:tags r:id="rId401"/>
              </p:custDataLst>
            </p:nvPr>
          </p:nvGrpSpPr>
          <p:grpSpPr bwMode="gray">
            <a:xfrm>
              <a:off x="4665259" y="4201460"/>
              <a:ext cx="490894" cy="474580"/>
              <a:chOff x="3035" y="2705"/>
              <a:chExt cx="331" cy="320"/>
            </a:xfrm>
            <a:grpFill/>
          </p:grpSpPr>
          <p:sp>
            <p:nvSpPr>
              <p:cNvPr id="217" name="Freeform 196"/>
              <p:cNvSpPr>
                <a:spLocks/>
              </p:cNvSpPr>
              <p:nvPr/>
            </p:nvSpPr>
            <p:spPr bwMode="gray">
              <a:xfrm>
                <a:off x="3035" y="2705"/>
                <a:ext cx="36" cy="36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4" y="8"/>
                  </a:cxn>
                  <a:cxn ang="0">
                    <a:pos x="0" y="8"/>
                  </a:cxn>
                  <a:cxn ang="0">
                    <a:pos x="4" y="4"/>
                  </a:cxn>
                  <a:cxn ang="0">
                    <a:pos x="8" y="0"/>
                  </a:cxn>
                  <a:cxn ang="0">
                    <a:pos x="12" y="0"/>
                  </a:cxn>
                  <a:cxn ang="0">
                    <a:pos x="12" y="4"/>
                  </a:cxn>
                  <a:cxn ang="0">
                    <a:pos x="16" y="4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0" y="12"/>
                  </a:cxn>
                  <a:cxn ang="0">
                    <a:pos x="20" y="16"/>
                  </a:cxn>
                  <a:cxn ang="0">
                    <a:pos x="20" y="16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8" y="16"/>
                  </a:cxn>
                  <a:cxn ang="0">
                    <a:pos x="32" y="20"/>
                  </a:cxn>
                  <a:cxn ang="0">
                    <a:pos x="36" y="20"/>
                  </a:cxn>
                  <a:cxn ang="0">
                    <a:pos x="36" y="20"/>
                  </a:cxn>
                  <a:cxn ang="0">
                    <a:pos x="36" y="20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2" y="28"/>
                  </a:cxn>
                  <a:cxn ang="0">
                    <a:pos x="32" y="28"/>
                  </a:cxn>
                  <a:cxn ang="0">
                    <a:pos x="28" y="28"/>
                  </a:cxn>
                  <a:cxn ang="0">
                    <a:pos x="24" y="28"/>
                  </a:cxn>
                  <a:cxn ang="0">
                    <a:pos x="24" y="28"/>
                  </a:cxn>
                  <a:cxn ang="0">
                    <a:pos x="24" y="28"/>
                  </a:cxn>
                  <a:cxn ang="0">
                    <a:pos x="24" y="28"/>
                  </a:cxn>
                  <a:cxn ang="0">
                    <a:pos x="24" y="32"/>
                  </a:cxn>
                  <a:cxn ang="0">
                    <a:pos x="24" y="32"/>
                  </a:cxn>
                  <a:cxn ang="0">
                    <a:pos x="20" y="32"/>
                  </a:cxn>
                  <a:cxn ang="0">
                    <a:pos x="20" y="32"/>
                  </a:cxn>
                  <a:cxn ang="0">
                    <a:pos x="20" y="32"/>
                  </a:cxn>
                  <a:cxn ang="0">
                    <a:pos x="20" y="36"/>
                  </a:cxn>
                  <a:cxn ang="0">
                    <a:pos x="20" y="36"/>
                  </a:cxn>
                  <a:cxn ang="0">
                    <a:pos x="20" y="36"/>
                  </a:cxn>
                  <a:cxn ang="0">
                    <a:pos x="20" y="36"/>
                  </a:cxn>
                  <a:cxn ang="0">
                    <a:pos x="20" y="36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16" y="32"/>
                  </a:cxn>
                  <a:cxn ang="0">
                    <a:pos x="12" y="24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8" y="20"/>
                  </a:cxn>
                </a:cxnLst>
                <a:rect l="0" t="0" r="r" b="b"/>
                <a:pathLst>
                  <a:path w="36" h="36">
                    <a:moveTo>
                      <a:pt x="8" y="12"/>
                    </a:moveTo>
                    <a:lnTo>
                      <a:pt x="8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8" y="24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4450" tIns="44450" rIns="44450" bIns="44450"/>
              <a:lstStyle/>
              <a:p>
                <a:endParaRPr lang="en-US" dirty="0"/>
              </a:p>
            </p:txBody>
          </p:sp>
          <p:sp>
            <p:nvSpPr>
              <p:cNvPr id="218" name="Freeform 197"/>
              <p:cNvSpPr>
                <a:spLocks/>
              </p:cNvSpPr>
              <p:nvPr/>
            </p:nvSpPr>
            <p:spPr bwMode="gray">
              <a:xfrm>
                <a:off x="3318" y="2965"/>
                <a:ext cx="48" cy="60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32" y="0"/>
                  </a:cxn>
                  <a:cxn ang="0">
                    <a:pos x="36" y="4"/>
                  </a:cxn>
                  <a:cxn ang="0">
                    <a:pos x="36" y="4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44" y="12"/>
                  </a:cxn>
                  <a:cxn ang="0">
                    <a:pos x="40" y="8"/>
                  </a:cxn>
                  <a:cxn ang="0">
                    <a:pos x="48" y="8"/>
                  </a:cxn>
                  <a:cxn ang="0">
                    <a:pos x="44" y="12"/>
                  </a:cxn>
                  <a:cxn ang="0">
                    <a:pos x="40" y="16"/>
                  </a:cxn>
                  <a:cxn ang="0">
                    <a:pos x="36" y="16"/>
                  </a:cxn>
                  <a:cxn ang="0">
                    <a:pos x="40" y="24"/>
                  </a:cxn>
                  <a:cxn ang="0">
                    <a:pos x="36" y="28"/>
                  </a:cxn>
                  <a:cxn ang="0">
                    <a:pos x="36" y="32"/>
                  </a:cxn>
                  <a:cxn ang="0">
                    <a:pos x="32" y="32"/>
                  </a:cxn>
                  <a:cxn ang="0">
                    <a:pos x="32" y="40"/>
                  </a:cxn>
                  <a:cxn ang="0">
                    <a:pos x="24" y="40"/>
                  </a:cxn>
                  <a:cxn ang="0">
                    <a:pos x="28" y="44"/>
                  </a:cxn>
                  <a:cxn ang="0">
                    <a:pos x="28" y="44"/>
                  </a:cxn>
                  <a:cxn ang="0">
                    <a:pos x="32" y="44"/>
                  </a:cxn>
                  <a:cxn ang="0">
                    <a:pos x="28" y="48"/>
                  </a:cxn>
                  <a:cxn ang="0">
                    <a:pos x="24" y="52"/>
                  </a:cxn>
                  <a:cxn ang="0">
                    <a:pos x="20" y="48"/>
                  </a:cxn>
                  <a:cxn ang="0">
                    <a:pos x="20" y="56"/>
                  </a:cxn>
                  <a:cxn ang="0">
                    <a:pos x="16" y="60"/>
                  </a:cxn>
                  <a:cxn ang="0">
                    <a:pos x="20" y="56"/>
                  </a:cxn>
                  <a:cxn ang="0">
                    <a:pos x="16" y="52"/>
                  </a:cxn>
                  <a:cxn ang="0">
                    <a:pos x="16" y="52"/>
                  </a:cxn>
                  <a:cxn ang="0">
                    <a:pos x="12" y="48"/>
                  </a:cxn>
                  <a:cxn ang="0">
                    <a:pos x="8" y="52"/>
                  </a:cxn>
                  <a:cxn ang="0">
                    <a:pos x="4" y="56"/>
                  </a:cxn>
                  <a:cxn ang="0">
                    <a:pos x="4" y="52"/>
                  </a:cxn>
                  <a:cxn ang="0">
                    <a:pos x="0" y="48"/>
                  </a:cxn>
                  <a:cxn ang="0">
                    <a:pos x="0" y="40"/>
                  </a:cxn>
                  <a:cxn ang="0">
                    <a:pos x="0" y="32"/>
                  </a:cxn>
                  <a:cxn ang="0">
                    <a:pos x="4" y="28"/>
                  </a:cxn>
                  <a:cxn ang="0">
                    <a:pos x="0" y="20"/>
                  </a:cxn>
                  <a:cxn ang="0">
                    <a:pos x="4" y="12"/>
                  </a:cxn>
                  <a:cxn ang="0">
                    <a:pos x="8" y="8"/>
                  </a:cxn>
                  <a:cxn ang="0">
                    <a:pos x="12" y="4"/>
                  </a:cxn>
                  <a:cxn ang="0">
                    <a:pos x="16" y="0"/>
                  </a:cxn>
                  <a:cxn ang="0">
                    <a:pos x="20" y="4"/>
                  </a:cxn>
                  <a:cxn ang="0">
                    <a:pos x="24" y="0"/>
                  </a:cxn>
                </a:cxnLst>
                <a:rect l="0" t="0" r="r" b="b"/>
                <a:pathLst>
                  <a:path w="48" h="60">
                    <a:moveTo>
                      <a:pt x="24" y="0"/>
                    </a:moveTo>
                    <a:lnTo>
                      <a:pt x="28" y="0"/>
                    </a:lnTo>
                    <a:lnTo>
                      <a:pt x="28" y="4"/>
                    </a:lnTo>
                    <a:lnTo>
                      <a:pt x="32" y="0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12"/>
                    </a:lnTo>
                    <a:lnTo>
                      <a:pt x="44" y="12"/>
                    </a:lnTo>
                    <a:lnTo>
                      <a:pt x="40" y="12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4" y="12"/>
                    </a:lnTo>
                    <a:lnTo>
                      <a:pt x="44" y="16"/>
                    </a:lnTo>
                    <a:lnTo>
                      <a:pt x="40" y="16"/>
                    </a:lnTo>
                    <a:lnTo>
                      <a:pt x="40" y="12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40" y="24"/>
                    </a:lnTo>
                    <a:lnTo>
                      <a:pt x="36" y="24"/>
                    </a:lnTo>
                    <a:lnTo>
                      <a:pt x="36" y="28"/>
                    </a:lnTo>
                    <a:lnTo>
                      <a:pt x="32" y="32"/>
                    </a:lnTo>
                    <a:lnTo>
                      <a:pt x="36" y="32"/>
                    </a:lnTo>
                    <a:lnTo>
                      <a:pt x="36" y="36"/>
                    </a:lnTo>
                    <a:lnTo>
                      <a:pt x="32" y="32"/>
                    </a:lnTo>
                    <a:lnTo>
                      <a:pt x="32" y="36"/>
                    </a:lnTo>
                    <a:lnTo>
                      <a:pt x="32" y="40"/>
                    </a:lnTo>
                    <a:lnTo>
                      <a:pt x="28" y="40"/>
                    </a:lnTo>
                    <a:lnTo>
                      <a:pt x="24" y="40"/>
                    </a:lnTo>
                    <a:lnTo>
                      <a:pt x="28" y="40"/>
                    </a:lnTo>
                    <a:lnTo>
                      <a:pt x="28" y="44"/>
                    </a:lnTo>
                    <a:lnTo>
                      <a:pt x="24" y="44"/>
                    </a:lnTo>
                    <a:lnTo>
                      <a:pt x="28" y="44"/>
                    </a:lnTo>
                    <a:lnTo>
                      <a:pt x="32" y="48"/>
                    </a:lnTo>
                    <a:lnTo>
                      <a:pt x="32" y="44"/>
                    </a:lnTo>
                    <a:lnTo>
                      <a:pt x="32" y="48"/>
                    </a:lnTo>
                    <a:lnTo>
                      <a:pt x="28" y="48"/>
                    </a:lnTo>
                    <a:lnTo>
                      <a:pt x="28" y="52"/>
                    </a:lnTo>
                    <a:lnTo>
                      <a:pt x="24" y="52"/>
                    </a:lnTo>
                    <a:lnTo>
                      <a:pt x="24" y="48"/>
                    </a:lnTo>
                    <a:lnTo>
                      <a:pt x="20" y="48"/>
                    </a:lnTo>
                    <a:lnTo>
                      <a:pt x="20" y="52"/>
                    </a:lnTo>
                    <a:lnTo>
                      <a:pt x="20" y="56"/>
                    </a:lnTo>
                    <a:lnTo>
                      <a:pt x="20" y="60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0" y="56"/>
                    </a:lnTo>
                    <a:lnTo>
                      <a:pt x="20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56"/>
                    </a:lnTo>
                    <a:lnTo>
                      <a:pt x="0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0" y="48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4" y="32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0" y="20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0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4450" tIns="44450" rIns="44450" bIns="44450"/>
              <a:lstStyle/>
              <a:p>
                <a:endParaRPr lang="en-US" dirty="0"/>
              </a:p>
            </p:txBody>
          </p:sp>
        </p:grpSp>
        <p:sp>
          <p:nvSpPr>
            <p:cNvPr id="209" name="Freeform 405"/>
            <p:cNvSpPr>
              <a:spLocks/>
            </p:cNvSpPr>
            <p:nvPr/>
          </p:nvSpPr>
          <p:spPr bwMode="gray">
            <a:xfrm>
              <a:off x="5043441" y="2734710"/>
              <a:ext cx="71187" cy="69704"/>
            </a:xfrm>
            <a:custGeom>
              <a:avLst/>
              <a:gdLst/>
              <a:ahLst/>
              <a:cxnLst>
                <a:cxn ang="0">
                  <a:pos x="20" y="43"/>
                </a:cxn>
                <a:cxn ang="0">
                  <a:pos x="20" y="43"/>
                </a:cxn>
                <a:cxn ang="0">
                  <a:pos x="20" y="39"/>
                </a:cxn>
                <a:cxn ang="0">
                  <a:pos x="16" y="35"/>
                </a:cxn>
                <a:cxn ang="0">
                  <a:pos x="16" y="35"/>
                </a:cxn>
                <a:cxn ang="0">
                  <a:pos x="12" y="31"/>
                </a:cxn>
                <a:cxn ang="0">
                  <a:pos x="12" y="27"/>
                </a:cxn>
                <a:cxn ang="0">
                  <a:pos x="12" y="27"/>
                </a:cxn>
                <a:cxn ang="0">
                  <a:pos x="8" y="19"/>
                </a:cxn>
                <a:cxn ang="0">
                  <a:pos x="4" y="15"/>
                </a:cxn>
                <a:cxn ang="0">
                  <a:pos x="0" y="15"/>
                </a:cxn>
                <a:cxn ang="0">
                  <a:pos x="4" y="15"/>
                </a:cxn>
                <a:cxn ang="0">
                  <a:pos x="4" y="15"/>
                </a:cxn>
                <a:cxn ang="0">
                  <a:pos x="0" y="15"/>
                </a:cxn>
                <a:cxn ang="0">
                  <a:pos x="4" y="11"/>
                </a:cxn>
                <a:cxn ang="0">
                  <a:pos x="8" y="11"/>
                </a:cxn>
                <a:cxn ang="0">
                  <a:pos x="8" y="11"/>
                </a:cxn>
                <a:cxn ang="0">
                  <a:pos x="8" y="7"/>
                </a:cxn>
                <a:cxn ang="0">
                  <a:pos x="12" y="7"/>
                </a:cxn>
                <a:cxn ang="0">
                  <a:pos x="16" y="3"/>
                </a:cxn>
                <a:cxn ang="0">
                  <a:pos x="16" y="3"/>
                </a:cxn>
                <a:cxn ang="0">
                  <a:pos x="20" y="3"/>
                </a:cxn>
                <a:cxn ang="0">
                  <a:pos x="20" y="3"/>
                </a:cxn>
                <a:cxn ang="0">
                  <a:pos x="20" y="3"/>
                </a:cxn>
                <a:cxn ang="0">
                  <a:pos x="20" y="7"/>
                </a:cxn>
                <a:cxn ang="0">
                  <a:pos x="20" y="3"/>
                </a:cxn>
                <a:cxn ang="0">
                  <a:pos x="24" y="3"/>
                </a:cxn>
                <a:cxn ang="0">
                  <a:pos x="28" y="7"/>
                </a:cxn>
                <a:cxn ang="0">
                  <a:pos x="28" y="11"/>
                </a:cxn>
                <a:cxn ang="0">
                  <a:pos x="28" y="11"/>
                </a:cxn>
                <a:cxn ang="0">
                  <a:pos x="32" y="15"/>
                </a:cxn>
                <a:cxn ang="0">
                  <a:pos x="40" y="15"/>
                </a:cxn>
                <a:cxn ang="0">
                  <a:pos x="44" y="19"/>
                </a:cxn>
                <a:cxn ang="0">
                  <a:pos x="44" y="19"/>
                </a:cxn>
                <a:cxn ang="0">
                  <a:pos x="44" y="23"/>
                </a:cxn>
                <a:cxn ang="0">
                  <a:pos x="48" y="23"/>
                </a:cxn>
                <a:cxn ang="0">
                  <a:pos x="44" y="27"/>
                </a:cxn>
                <a:cxn ang="0">
                  <a:pos x="48" y="27"/>
                </a:cxn>
                <a:cxn ang="0">
                  <a:pos x="48" y="31"/>
                </a:cxn>
                <a:cxn ang="0">
                  <a:pos x="48" y="31"/>
                </a:cxn>
                <a:cxn ang="0">
                  <a:pos x="44" y="31"/>
                </a:cxn>
                <a:cxn ang="0">
                  <a:pos x="44" y="31"/>
                </a:cxn>
                <a:cxn ang="0">
                  <a:pos x="44" y="35"/>
                </a:cxn>
                <a:cxn ang="0">
                  <a:pos x="44" y="35"/>
                </a:cxn>
                <a:cxn ang="0">
                  <a:pos x="44" y="39"/>
                </a:cxn>
                <a:cxn ang="0">
                  <a:pos x="40" y="43"/>
                </a:cxn>
                <a:cxn ang="0">
                  <a:pos x="36" y="39"/>
                </a:cxn>
                <a:cxn ang="0">
                  <a:pos x="36" y="39"/>
                </a:cxn>
                <a:cxn ang="0">
                  <a:pos x="28" y="39"/>
                </a:cxn>
                <a:cxn ang="0">
                  <a:pos x="28" y="43"/>
                </a:cxn>
                <a:cxn ang="0">
                  <a:pos x="28" y="43"/>
                </a:cxn>
                <a:cxn ang="0">
                  <a:pos x="28" y="47"/>
                </a:cxn>
                <a:cxn ang="0">
                  <a:pos x="24" y="47"/>
                </a:cxn>
                <a:cxn ang="0">
                  <a:pos x="20" y="47"/>
                </a:cxn>
              </a:cxnLst>
              <a:rect l="0" t="0" r="r" b="b"/>
              <a:pathLst>
                <a:path w="48" h="47">
                  <a:moveTo>
                    <a:pt x="20" y="47"/>
                  </a:moveTo>
                  <a:lnTo>
                    <a:pt x="20" y="47"/>
                  </a:lnTo>
                  <a:lnTo>
                    <a:pt x="20" y="47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8" y="23"/>
                  </a:lnTo>
                  <a:lnTo>
                    <a:pt x="8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4" y="11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5"/>
                  </a:lnTo>
                  <a:lnTo>
                    <a:pt x="36" y="15"/>
                  </a:lnTo>
                  <a:lnTo>
                    <a:pt x="36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7"/>
                  </a:lnTo>
                  <a:lnTo>
                    <a:pt x="44" y="27"/>
                  </a:lnTo>
                  <a:lnTo>
                    <a:pt x="44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4" y="35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2" y="39"/>
                  </a:lnTo>
                  <a:lnTo>
                    <a:pt x="32" y="39"/>
                  </a:lnTo>
                  <a:lnTo>
                    <a:pt x="32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10" name="Freeform 207"/>
            <p:cNvSpPr>
              <a:spLocks/>
            </p:cNvSpPr>
            <p:nvPr>
              <p:custDataLst>
                <p:tags r:id="rId402"/>
              </p:custDataLst>
            </p:nvPr>
          </p:nvSpPr>
          <p:spPr bwMode="gray">
            <a:xfrm>
              <a:off x="5423105" y="3243400"/>
              <a:ext cx="182416" cy="324791"/>
            </a:xfrm>
            <a:custGeom>
              <a:avLst/>
              <a:gdLst/>
              <a:ahLst/>
              <a:cxnLst>
                <a:cxn ang="0">
                  <a:pos x="40" y="155"/>
                </a:cxn>
                <a:cxn ang="0">
                  <a:pos x="52" y="143"/>
                </a:cxn>
                <a:cxn ang="0">
                  <a:pos x="48" y="139"/>
                </a:cxn>
                <a:cxn ang="0">
                  <a:pos x="40" y="127"/>
                </a:cxn>
                <a:cxn ang="0">
                  <a:pos x="32" y="115"/>
                </a:cxn>
                <a:cxn ang="0">
                  <a:pos x="24" y="99"/>
                </a:cxn>
                <a:cxn ang="0">
                  <a:pos x="16" y="88"/>
                </a:cxn>
                <a:cxn ang="0">
                  <a:pos x="12" y="80"/>
                </a:cxn>
                <a:cxn ang="0">
                  <a:pos x="12" y="68"/>
                </a:cxn>
                <a:cxn ang="0">
                  <a:pos x="12" y="72"/>
                </a:cxn>
                <a:cxn ang="0">
                  <a:pos x="4" y="56"/>
                </a:cxn>
                <a:cxn ang="0">
                  <a:pos x="8" y="48"/>
                </a:cxn>
                <a:cxn ang="0">
                  <a:pos x="12" y="32"/>
                </a:cxn>
                <a:cxn ang="0">
                  <a:pos x="16" y="28"/>
                </a:cxn>
                <a:cxn ang="0">
                  <a:pos x="32" y="24"/>
                </a:cxn>
                <a:cxn ang="0">
                  <a:pos x="40" y="16"/>
                </a:cxn>
                <a:cxn ang="0">
                  <a:pos x="48" y="12"/>
                </a:cxn>
                <a:cxn ang="0">
                  <a:pos x="64" y="4"/>
                </a:cxn>
                <a:cxn ang="0">
                  <a:pos x="75" y="4"/>
                </a:cxn>
                <a:cxn ang="0">
                  <a:pos x="91" y="4"/>
                </a:cxn>
                <a:cxn ang="0">
                  <a:pos x="99" y="16"/>
                </a:cxn>
                <a:cxn ang="0">
                  <a:pos x="95" y="36"/>
                </a:cxn>
                <a:cxn ang="0">
                  <a:pos x="83" y="36"/>
                </a:cxn>
                <a:cxn ang="0">
                  <a:pos x="68" y="40"/>
                </a:cxn>
                <a:cxn ang="0">
                  <a:pos x="68" y="52"/>
                </a:cxn>
                <a:cxn ang="0">
                  <a:pos x="68" y="56"/>
                </a:cxn>
                <a:cxn ang="0">
                  <a:pos x="56" y="60"/>
                </a:cxn>
                <a:cxn ang="0">
                  <a:pos x="68" y="72"/>
                </a:cxn>
                <a:cxn ang="0">
                  <a:pos x="79" y="88"/>
                </a:cxn>
                <a:cxn ang="0">
                  <a:pos x="91" y="92"/>
                </a:cxn>
                <a:cxn ang="0">
                  <a:pos x="87" y="107"/>
                </a:cxn>
                <a:cxn ang="0">
                  <a:pos x="87" y="119"/>
                </a:cxn>
                <a:cxn ang="0">
                  <a:pos x="91" y="119"/>
                </a:cxn>
                <a:cxn ang="0">
                  <a:pos x="95" y="107"/>
                </a:cxn>
                <a:cxn ang="0">
                  <a:pos x="111" y="111"/>
                </a:cxn>
                <a:cxn ang="0">
                  <a:pos x="119" y="123"/>
                </a:cxn>
                <a:cxn ang="0">
                  <a:pos x="115" y="135"/>
                </a:cxn>
                <a:cxn ang="0">
                  <a:pos x="107" y="131"/>
                </a:cxn>
                <a:cxn ang="0">
                  <a:pos x="95" y="131"/>
                </a:cxn>
                <a:cxn ang="0">
                  <a:pos x="95" y="135"/>
                </a:cxn>
                <a:cxn ang="0">
                  <a:pos x="91" y="151"/>
                </a:cxn>
                <a:cxn ang="0">
                  <a:pos x="95" y="151"/>
                </a:cxn>
                <a:cxn ang="0">
                  <a:pos x="107" y="155"/>
                </a:cxn>
                <a:cxn ang="0">
                  <a:pos x="99" y="159"/>
                </a:cxn>
                <a:cxn ang="0">
                  <a:pos x="107" y="167"/>
                </a:cxn>
                <a:cxn ang="0">
                  <a:pos x="107" y="183"/>
                </a:cxn>
                <a:cxn ang="0">
                  <a:pos x="111" y="203"/>
                </a:cxn>
                <a:cxn ang="0">
                  <a:pos x="103" y="215"/>
                </a:cxn>
                <a:cxn ang="0">
                  <a:pos x="107" y="211"/>
                </a:cxn>
                <a:cxn ang="0">
                  <a:pos x="87" y="215"/>
                </a:cxn>
                <a:cxn ang="0">
                  <a:pos x="72" y="215"/>
                </a:cxn>
                <a:cxn ang="0">
                  <a:pos x="56" y="203"/>
                </a:cxn>
                <a:cxn ang="0">
                  <a:pos x="36" y="199"/>
                </a:cxn>
                <a:cxn ang="0">
                  <a:pos x="32" y="175"/>
                </a:cxn>
                <a:cxn ang="0">
                  <a:pos x="36" y="171"/>
                </a:cxn>
              </a:cxnLst>
              <a:rect l="0" t="0" r="r" b="b"/>
              <a:pathLst>
                <a:path w="123" h="219">
                  <a:moveTo>
                    <a:pt x="40" y="167"/>
                  </a:moveTo>
                  <a:lnTo>
                    <a:pt x="40" y="163"/>
                  </a:lnTo>
                  <a:lnTo>
                    <a:pt x="44" y="163"/>
                  </a:lnTo>
                  <a:lnTo>
                    <a:pt x="40" y="159"/>
                  </a:lnTo>
                  <a:lnTo>
                    <a:pt x="40" y="155"/>
                  </a:lnTo>
                  <a:lnTo>
                    <a:pt x="44" y="151"/>
                  </a:lnTo>
                  <a:lnTo>
                    <a:pt x="44" y="147"/>
                  </a:lnTo>
                  <a:lnTo>
                    <a:pt x="44" y="143"/>
                  </a:lnTo>
                  <a:lnTo>
                    <a:pt x="48" y="143"/>
                  </a:lnTo>
                  <a:lnTo>
                    <a:pt x="52" y="143"/>
                  </a:lnTo>
                  <a:lnTo>
                    <a:pt x="56" y="143"/>
                  </a:lnTo>
                  <a:lnTo>
                    <a:pt x="56" y="139"/>
                  </a:lnTo>
                  <a:lnTo>
                    <a:pt x="52" y="135"/>
                  </a:lnTo>
                  <a:lnTo>
                    <a:pt x="48" y="135"/>
                  </a:lnTo>
                  <a:lnTo>
                    <a:pt x="48" y="139"/>
                  </a:lnTo>
                  <a:lnTo>
                    <a:pt x="48" y="135"/>
                  </a:lnTo>
                  <a:lnTo>
                    <a:pt x="44" y="135"/>
                  </a:lnTo>
                  <a:lnTo>
                    <a:pt x="44" y="131"/>
                  </a:lnTo>
                  <a:lnTo>
                    <a:pt x="40" y="131"/>
                  </a:lnTo>
                  <a:lnTo>
                    <a:pt x="40" y="127"/>
                  </a:lnTo>
                  <a:lnTo>
                    <a:pt x="40" y="123"/>
                  </a:lnTo>
                  <a:lnTo>
                    <a:pt x="36" y="123"/>
                  </a:lnTo>
                  <a:lnTo>
                    <a:pt x="36" y="119"/>
                  </a:lnTo>
                  <a:lnTo>
                    <a:pt x="36" y="115"/>
                  </a:lnTo>
                  <a:lnTo>
                    <a:pt x="32" y="115"/>
                  </a:lnTo>
                  <a:lnTo>
                    <a:pt x="32" y="111"/>
                  </a:lnTo>
                  <a:lnTo>
                    <a:pt x="28" y="111"/>
                  </a:lnTo>
                  <a:lnTo>
                    <a:pt x="28" y="107"/>
                  </a:lnTo>
                  <a:lnTo>
                    <a:pt x="24" y="107"/>
                  </a:lnTo>
                  <a:lnTo>
                    <a:pt x="24" y="99"/>
                  </a:lnTo>
                  <a:lnTo>
                    <a:pt x="20" y="99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72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5" y="0"/>
                  </a:lnTo>
                  <a:lnTo>
                    <a:pt x="75" y="4"/>
                  </a:lnTo>
                  <a:lnTo>
                    <a:pt x="79" y="4"/>
                  </a:lnTo>
                  <a:lnTo>
                    <a:pt x="83" y="4"/>
                  </a:lnTo>
                  <a:lnTo>
                    <a:pt x="87" y="4"/>
                  </a:lnTo>
                  <a:lnTo>
                    <a:pt x="87" y="0"/>
                  </a:lnTo>
                  <a:lnTo>
                    <a:pt x="91" y="4"/>
                  </a:lnTo>
                  <a:lnTo>
                    <a:pt x="95" y="4"/>
                  </a:lnTo>
                  <a:lnTo>
                    <a:pt x="99" y="4"/>
                  </a:lnTo>
                  <a:lnTo>
                    <a:pt x="99" y="8"/>
                  </a:lnTo>
                  <a:lnTo>
                    <a:pt x="95" y="12"/>
                  </a:lnTo>
                  <a:lnTo>
                    <a:pt x="99" y="16"/>
                  </a:lnTo>
                  <a:lnTo>
                    <a:pt x="99" y="20"/>
                  </a:lnTo>
                  <a:lnTo>
                    <a:pt x="95" y="24"/>
                  </a:lnTo>
                  <a:lnTo>
                    <a:pt x="95" y="28"/>
                  </a:lnTo>
                  <a:lnTo>
                    <a:pt x="91" y="32"/>
                  </a:lnTo>
                  <a:lnTo>
                    <a:pt x="95" y="36"/>
                  </a:lnTo>
                  <a:lnTo>
                    <a:pt x="99" y="36"/>
                  </a:lnTo>
                  <a:lnTo>
                    <a:pt x="95" y="36"/>
                  </a:lnTo>
                  <a:lnTo>
                    <a:pt x="91" y="36"/>
                  </a:lnTo>
                  <a:lnTo>
                    <a:pt x="87" y="36"/>
                  </a:lnTo>
                  <a:lnTo>
                    <a:pt x="83" y="36"/>
                  </a:lnTo>
                  <a:lnTo>
                    <a:pt x="79" y="36"/>
                  </a:lnTo>
                  <a:lnTo>
                    <a:pt x="75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68" y="40"/>
                  </a:lnTo>
                  <a:lnTo>
                    <a:pt x="68" y="44"/>
                  </a:lnTo>
                  <a:lnTo>
                    <a:pt x="64" y="44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72" y="52"/>
                  </a:lnTo>
                  <a:lnTo>
                    <a:pt x="75" y="52"/>
                  </a:lnTo>
                  <a:lnTo>
                    <a:pt x="75" y="56"/>
                  </a:lnTo>
                  <a:lnTo>
                    <a:pt x="72" y="56"/>
                  </a:lnTo>
                  <a:lnTo>
                    <a:pt x="68" y="56"/>
                  </a:lnTo>
                  <a:lnTo>
                    <a:pt x="64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60" y="60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8" y="68"/>
                  </a:lnTo>
                  <a:lnTo>
                    <a:pt x="68" y="72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72" y="84"/>
                  </a:lnTo>
                  <a:lnTo>
                    <a:pt x="75" y="84"/>
                  </a:lnTo>
                  <a:lnTo>
                    <a:pt x="79" y="88"/>
                  </a:lnTo>
                  <a:lnTo>
                    <a:pt x="79" y="92"/>
                  </a:lnTo>
                  <a:lnTo>
                    <a:pt x="79" y="88"/>
                  </a:lnTo>
                  <a:lnTo>
                    <a:pt x="83" y="88"/>
                  </a:lnTo>
                  <a:lnTo>
                    <a:pt x="87" y="92"/>
                  </a:lnTo>
                  <a:lnTo>
                    <a:pt x="91" y="92"/>
                  </a:lnTo>
                  <a:lnTo>
                    <a:pt x="91" y="96"/>
                  </a:lnTo>
                  <a:lnTo>
                    <a:pt x="91" y="99"/>
                  </a:lnTo>
                  <a:lnTo>
                    <a:pt x="87" y="99"/>
                  </a:lnTo>
                  <a:lnTo>
                    <a:pt x="87" y="103"/>
                  </a:lnTo>
                  <a:lnTo>
                    <a:pt x="87" y="107"/>
                  </a:lnTo>
                  <a:lnTo>
                    <a:pt x="87" y="111"/>
                  </a:lnTo>
                  <a:lnTo>
                    <a:pt x="87" y="115"/>
                  </a:lnTo>
                  <a:lnTo>
                    <a:pt x="91" y="115"/>
                  </a:lnTo>
                  <a:lnTo>
                    <a:pt x="87" y="115"/>
                  </a:lnTo>
                  <a:lnTo>
                    <a:pt x="87" y="119"/>
                  </a:lnTo>
                  <a:lnTo>
                    <a:pt x="91" y="119"/>
                  </a:lnTo>
                  <a:lnTo>
                    <a:pt x="91" y="123"/>
                  </a:lnTo>
                  <a:lnTo>
                    <a:pt x="95" y="127"/>
                  </a:lnTo>
                  <a:lnTo>
                    <a:pt x="95" y="123"/>
                  </a:lnTo>
                  <a:lnTo>
                    <a:pt x="91" y="119"/>
                  </a:lnTo>
                  <a:lnTo>
                    <a:pt x="95" y="119"/>
                  </a:lnTo>
                  <a:lnTo>
                    <a:pt x="95" y="115"/>
                  </a:lnTo>
                  <a:lnTo>
                    <a:pt x="91" y="115"/>
                  </a:lnTo>
                  <a:lnTo>
                    <a:pt x="95" y="111"/>
                  </a:lnTo>
                  <a:lnTo>
                    <a:pt x="95" y="107"/>
                  </a:lnTo>
                  <a:lnTo>
                    <a:pt x="99" y="107"/>
                  </a:lnTo>
                  <a:lnTo>
                    <a:pt x="103" y="103"/>
                  </a:lnTo>
                  <a:lnTo>
                    <a:pt x="107" y="103"/>
                  </a:lnTo>
                  <a:lnTo>
                    <a:pt x="111" y="107"/>
                  </a:lnTo>
                  <a:lnTo>
                    <a:pt x="111" y="111"/>
                  </a:lnTo>
                  <a:lnTo>
                    <a:pt x="111" y="115"/>
                  </a:lnTo>
                  <a:lnTo>
                    <a:pt x="111" y="119"/>
                  </a:lnTo>
                  <a:lnTo>
                    <a:pt x="115" y="119"/>
                  </a:lnTo>
                  <a:lnTo>
                    <a:pt x="115" y="123"/>
                  </a:lnTo>
                  <a:lnTo>
                    <a:pt x="119" y="123"/>
                  </a:lnTo>
                  <a:lnTo>
                    <a:pt x="123" y="127"/>
                  </a:lnTo>
                  <a:lnTo>
                    <a:pt x="123" y="131"/>
                  </a:lnTo>
                  <a:lnTo>
                    <a:pt x="119" y="131"/>
                  </a:lnTo>
                  <a:lnTo>
                    <a:pt x="115" y="131"/>
                  </a:lnTo>
                  <a:lnTo>
                    <a:pt x="115" y="135"/>
                  </a:lnTo>
                  <a:lnTo>
                    <a:pt x="119" y="135"/>
                  </a:lnTo>
                  <a:lnTo>
                    <a:pt x="115" y="135"/>
                  </a:lnTo>
                  <a:lnTo>
                    <a:pt x="111" y="135"/>
                  </a:lnTo>
                  <a:lnTo>
                    <a:pt x="107" y="135"/>
                  </a:lnTo>
                  <a:lnTo>
                    <a:pt x="107" y="131"/>
                  </a:lnTo>
                  <a:lnTo>
                    <a:pt x="103" y="131"/>
                  </a:lnTo>
                  <a:lnTo>
                    <a:pt x="103" y="135"/>
                  </a:lnTo>
                  <a:lnTo>
                    <a:pt x="103" y="131"/>
                  </a:lnTo>
                  <a:lnTo>
                    <a:pt x="99" y="131"/>
                  </a:lnTo>
                  <a:lnTo>
                    <a:pt x="95" y="131"/>
                  </a:lnTo>
                  <a:lnTo>
                    <a:pt x="95" y="127"/>
                  </a:lnTo>
                  <a:lnTo>
                    <a:pt x="95" y="131"/>
                  </a:lnTo>
                  <a:lnTo>
                    <a:pt x="95" y="135"/>
                  </a:lnTo>
                  <a:lnTo>
                    <a:pt x="91" y="135"/>
                  </a:lnTo>
                  <a:lnTo>
                    <a:pt x="95" y="135"/>
                  </a:lnTo>
                  <a:lnTo>
                    <a:pt x="91" y="135"/>
                  </a:lnTo>
                  <a:lnTo>
                    <a:pt x="91" y="139"/>
                  </a:lnTo>
                  <a:lnTo>
                    <a:pt x="91" y="143"/>
                  </a:lnTo>
                  <a:lnTo>
                    <a:pt x="91" y="147"/>
                  </a:lnTo>
                  <a:lnTo>
                    <a:pt x="91" y="151"/>
                  </a:lnTo>
                  <a:lnTo>
                    <a:pt x="95" y="151"/>
                  </a:lnTo>
                  <a:lnTo>
                    <a:pt x="95" y="155"/>
                  </a:lnTo>
                  <a:lnTo>
                    <a:pt x="95" y="151"/>
                  </a:lnTo>
                  <a:lnTo>
                    <a:pt x="95" y="147"/>
                  </a:lnTo>
                  <a:lnTo>
                    <a:pt x="95" y="151"/>
                  </a:lnTo>
                  <a:lnTo>
                    <a:pt x="99" y="151"/>
                  </a:lnTo>
                  <a:lnTo>
                    <a:pt x="103" y="147"/>
                  </a:lnTo>
                  <a:lnTo>
                    <a:pt x="103" y="151"/>
                  </a:lnTo>
                  <a:lnTo>
                    <a:pt x="103" y="155"/>
                  </a:lnTo>
                  <a:lnTo>
                    <a:pt x="107" y="155"/>
                  </a:lnTo>
                  <a:lnTo>
                    <a:pt x="107" y="159"/>
                  </a:lnTo>
                  <a:lnTo>
                    <a:pt x="103" y="159"/>
                  </a:lnTo>
                  <a:lnTo>
                    <a:pt x="99" y="159"/>
                  </a:lnTo>
                  <a:lnTo>
                    <a:pt x="99" y="155"/>
                  </a:lnTo>
                  <a:lnTo>
                    <a:pt x="99" y="159"/>
                  </a:lnTo>
                  <a:lnTo>
                    <a:pt x="99" y="163"/>
                  </a:lnTo>
                  <a:lnTo>
                    <a:pt x="99" y="167"/>
                  </a:lnTo>
                  <a:lnTo>
                    <a:pt x="99" y="163"/>
                  </a:lnTo>
                  <a:lnTo>
                    <a:pt x="103" y="163"/>
                  </a:lnTo>
                  <a:lnTo>
                    <a:pt x="107" y="167"/>
                  </a:lnTo>
                  <a:lnTo>
                    <a:pt x="111" y="171"/>
                  </a:lnTo>
                  <a:lnTo>
                    <a:pt x="111" y="175"/>
                  </a:lnTo>
                  <a:lnTo>
                    <a:pt x="107" y="175"/>
                  </a:lnTo>
                  <a:lnTo>
                    <a:pt x="107" y="179"/>
                  </a:lnTo>
                  <a:lnTo>
                    <a:pt x="107" y="183"/>
                  </a:lnTo>
                  <a:lnTo>
                    <a:pt x="107" y="187"/>
                  </a:lnTo>
                  <a:lnTo>
                    <a:pt x="107" y="191"/>
                  </a:lnTo>
                  <a:lnTo>
                    <a:pt x="107" y="195"/>
                  </a:lnTo>
                  <a:lnTo>
                    <a:pt x="107" y="199"/>
                  </a:lnTo>
                  <a:lnTo>
                    <a:pt x="111" y="203"/>
                  </a:lnTo>
                  <a:lnTo>
                    <a:pt x="111" y="207"/>
                  </a:lnTo>
                  <a:lnTo>
                    <a:pt x="111" y="211"/>
                  </a:lnTo>
                  <a:lnTo>
                    <a:pt x="111" y="215"/>
                  </a:lnTo>
                  <a:lnTo>
                    <a:pt x="107" y="215"/>
                  </a:lnTo>
                  <a:lnTo>
                    <a:pt x="103" y="215"/>
                  </a:lnTo>
                  <a:lnTo>
                    <a:pt x="107" y="211"/>
                  </a:lnTo>
                  <a:lnTo>
                    <a:pt x="107" y="215"/>
                  </a:lnTo>
                  <a:lnTo>
                    <a:pt x="107" y="211"/>
                  </a:lnTo>
                  <a:lnTo>
                    <a:pt x="111" y="211"/>
                  </a:lnTo>
                  <a:lnTo>
                    <a:pt x="107" y="211"/>
                  </a:lnTo>
                  <a:lnTo>
                    <a:pt x="103" y="211"/>
                  </a:lnTo>
                  <a:lnTo>
                    <a:pt x="99" y="215"/>
                  </a:lnTo>
                  <a:lnTo>
                    <a:pt x="95" y="215"/>
                  </a:lnTo>
                  <a:lnTo>
                    <a:pt x="91" y="215"/>
                  </a:lnTo>
                  <a:lnTo>
                    <a:pt x="87" y="215"/>
                  </a:lnTo>
                  <a:lnTo>
                    <a:pt x="83" y="219"/>
                  </a:lnTo>
                  <a:lnTo>
                    <a:pt x="79" y="219"/>
                  </a:lnTo>
                  <a:lnTo>
                    <a:pt x="75" y="219"/>
                  </a:lnTo>
                  <a:lnTo>
                    <a:pt x="72" y="219"/>
                  </a:lnTo>
                  <a:lnTo>
                    <a:pt x="72" y="215"/>
                  </a:lnTo>
                  <a:lnTo>
                    <a:pt x="68" y="215"/>
                  </a:lnTo>
                  <a:lnTo>
                    <a:pt x="64" y="215"/>
                  </a:lnTo>
                  <a:lnTo>
                    <a:pt x="60" y="211"/>
                  </a:lnTo>
                  <a:lnTo>
                    <a:pt x="56" y="207"/>
                  </a:lnTo>
                  <a:lnTo>
                    <a:pt x="56" y="203"/>
                  </a:lnTo>
                  <a:lnTo>
                    <a:pt x="52" y="203"/>
                  </a:lnTo>
                  <a:lnTo>
                    <a:pt x="48" y="203"/>
                  </a:lnTo>
                  <a:lnTo>
                    <a:pt x="44" y="199"/>
                  </a:lnTo>
                  <a:lnTo>
                    <a:pt x="40" y="199"/>
                  </a:lnTo>
                  <a:lnTo>
                    <a:pt x="36" y="199"/>
                  </a:lnTo>
                  <a:lnTo>
                    <a:pt x="36" y="195"/>
                  </a:lnTo>
                  <a:lnTo>
                    <a:pt x="36" y="191"/>
                  </a:lnTo>
                  <a:lnTo>
                    <a:pt x="32" y="183"/>
                  </a:lnTo>
                  <a:lnTo>
                    <a:pt x="32" y="179"/>
                  </a:lnTo>
                  <a:lnTo>
                    <a:pt x="32" y="175"/>
                  </a:lnTo>
                  <a:lnTo>
                    <a:pt x="36" y="171"/>
                  </a:lnTo>
                  <a:lnTo>
                    <a:pt x="36" y="167"/>
                  </a:lnTo>
                  <a:lnTo>
                    <a:pt x="40" y="167"/>
                  </a:lnTo>
                  <a:lnTo>
                    <a:pt x="36" y="167"/>
                  </a:lnTo>
                  <a:lnTo>
                    <a:pt x="36" y="171"/>
                  </a:lnTo>
                  <a:lnTo>
                    <a:pt x="40" y="171"/>
                  </a:lnTo>
                  <a:lnTo>
                    <a:pt x="40" y="16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11" name="Freeform 208"/>
            <p:cNvSpPr>
              <a:spLocks/>
            </p:cNvSpPr>
            <p:nvPr>
              <p:custDataLst>
                <p:tags r:id="rId403"/>
              </p:custDataLst>
            </p:nvPr>
          </p:nvSpPr>
          <p:spPr bwMode="gray">
            <a:xfrm>
              <a:off x="5682640" y="3249333"/>
              <a:ext cx="83052" cy="112713"/>
            </a:xfrm>
            <a:custGeom>
              <a:avLst/>
              <a:gdLst/>
              <a:ahLst/>
              <a:cxnLst>
                <a:cxn ang="0">
                  <a:pos x="44" y="20"/>
                </a:cxn>
                <a:cxn ang="0">
                  <a:pos x="40" y="24"/>
                </a:cxn>
                <a:cxn ang="0">
                  <a:pos x="44" y="28"/>
                </a:cxn>
                <a:cxn ang="0">
                  <a:pos x="48" y="24"/>
                </a:cxn>
                <a:cxn ang="0">
                  <a:pos x="44" y="28"/>
                </a:cxn>
                <a:cxn ang="0">
                  <a:pos x="48" y="36"/>
                </a:cxn>
                <a:cxn ang="0">
                  <a:pos x="56" y="36"/>
                </a:cxn>
                <a:cxn ang="0">
                  <a:pos x="52" y="40"/>
                </a:cxn>
                <a:cxn ang="0">
                  <a:pos x="52" y="44"/>
                </a:cxn>
                <a:cxn ang="0">
                  <a:pos x="48" y="48"/>
                </a:cxn>
                <a:cxn ang="0">
                  <a:pos x="44" y="52"/>
                </a:cxn>
                <a:cxn ang="0">
                  <a:pos x="44" y="52"/>
                </a:cxn>
                <a:cxn ang="0">
                  <a:pos x="44" y="60"/>
                </a:cxn>
                <a:cxn ang="0">
                  <a:pos x="40" y="56"/>
                </a:cxn>
                <a:cxn ang="0">
                  <a:pos x="36" y="60"/>
                </a:cxn>
                <a:cxn ang="0">
                  <a:pos x="40" y="64"/>
                </a:cxn>
                <a:cxn ang="0">
                  <a:pos x="44" y="68"/>
                </a:cxn>
                <a:cxn ang="0">
                  <a:pos x="36" y="72"/>
                </a:cxn>
                <a:cxn ang="0">
                  <a:pos x="32" y="68"/>
                </a:cxn>
                <a:cxn ang="0">
                  <a:pos x="28" y="72"/>
                </a:cxn>
                <a:cxn ang="0">
                  <a:pos x="24" y="76"/>
                </a:cxn>
                <a:cxn ang="0">
                  <a:pos x="20" y="72"/>
                </a:cxn>
                <a:cxn ang="0">
                  <a:pos x="20" y="68"/>
                </a:cxn>
                <a:cxn ang="0">
                  <a:pos x="16" y="64"/>
                </a:cxn>
                <a:cxn ang="0">
                  <a:pos x="12" y="68"/>
                </a:cxn>
                <a:cxn ang="0">
                  <a:pos x="8" y="64"/>
                </a:cxn>
                <a:cxn ang="0">
                  <a:pos x="8" y="64"/>
                </a:cxn>
                <a:cxn ang="0">
                  <a:pos x="12" y="68"/>
                </a:cxn>
                <a:cxn ang="0">
                  <a:pos x="4" y="68"/>
                </a:cxn>
                <a:cxn ang="0">
                  <a:pos x="0" y="64"/>
                </a:cxn>
                <a:cxn ang="0">
                  <a:pos x="0" y="56"/>
                </a:cxn>
                <a:cxn ang="0">
                  <a:pos x="0" y="48"/>
                </a:cxn>
                <a:cxn ang="0">
                  <a:pos x="0" y="40"/>
                </a:cxn>
                <a:cxn ang="0">
                  <a:pos x="4" y="32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20" y="24"/>
                </a:cxn>
                <a:cxn ang="0">
                  <a:pos x="20" y="16"/>
                </a:cxn>
                <a:cxn ang="0">
                  <a:pos x="24" y="12"/>
                </a:cxn>
                <a:cxn ang="0">
                  <a:pos x="28" y="16"/>
                </a:cxn>
                <a:cxn ang="0">
                  <a:pos x="24" y="12"/>
                </a:cxn>
                <a:cxn ang="0">
                  <a:pos x="24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36" y="0"/>
                </a:cxn>
                <a:cxn ang="0">
                  <a:pos x="40" y="4"/>
                </a:cxn>
                <a:cxn ang="0">
                  <a:pos x="44" y="8"/>
                </a:cxn>
                <a:cxn ang="0">
                  <a:pos x="48" y="4"/>
                </a:cxn>
                <a:cxn ang="0">
                  <a:pos x="52" y="0"/>
                </a:cxn>
                <a:cxn ang="0">
                  <a:pos x="52" y="8"/>
                </a:cxn>
                <a:cxn ang="0">
                  <a:pos x="44" y="12"/>
                </a:cxn>
                <a:cxn ang="0">
                  <a:pos x="40" y="16"/>
                </a:cxn>
              </a:cxnLst>
              <a:rect l="0" t="0" r="r" b="b"/>
              <a:pathLst>
                <a:path w="56" h="76">
                  <a:moveTo>
                    <a:pt x="40" y="16"/>
                  </a:moveTo>
                  <a:lnTo>
                    <a:pt x="44" y="20"/>
                  </a:lnTo>
                  <a:lnTo>
                    <a:pt x="44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2" y="36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52" y="44"/>
                  </a:lnTo>
                  <a:lnTo>
                    <a:pt x="48" y="44"/>
                  </a:lnTo>
                  <a:lnTo>
                    <a:pt x="48" y="48"/>
                  </a:lnTo>
                  <a:lnTo>
                    <a:pt x="44" y="48"/>
                  </a:lnTo>
                  <a:lnTo>
                    <a:pt x="44" y="52"/>
                  </a:lnTo>
                  <a:lnTo>
                    <a:pt x="44" y="56"/>
                  </a:lnTo>
                  <a:lnTo>
                    <a:pt x="44" y="52"/>
                  </a:lnTo>
                  <a:lnTo>
                    <a:pt x="44" y="56"/>
                  </a:lnTo>
                  <a:lnTo>
                    <a:pt x="44" y="60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64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36" y="72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32" y="72"/>
                  </a:lnTo>
                  <a:lnTo>
                    <a:pt x="28" y="72"/>
                  </a:lnTo>
                  <a:lnTo>
                    <a:pt x="24" y="72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12" y="68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4" y="60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2" y="4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0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12" name="Freeform 379"/>
            <p:cNvSpPr>
              <a:spLocks noEditPoints="1"/>
            </p:cNvSpPr>
            <p:nvPr>
              <p:custDataLst>
                <p:tags r:id="rId404"/>
              </p:custDataLst>
            </p:nvPr>
          </p:nvSpPr>
          <p:spPr bwMode="gray">
            <a:xfrm>
              <a:off x="2305705" y="3178146"/>
              <a:ext cx="176485" cy="83052"/>
            </a:xfrm>
            <a:custGeom>
              <a:avLst/>
              <a:gdLst/>
              <a:ahLst/>
              <a:cxnLst>
                <a:cxn ang="0">
                  <a:pos x="107" y="56"/>
                </a:cxn>
                <a:cxn ang="0">
                  <a:pos x="103" y="52"/>
                </a:cxn>
                <a:cxn ang="0">
                  <a:pos x="91" y="52"/>
                </a:cxn>
                <a:cxn ang="0">
                  <a:pos x="79" y="56"/>
                </a:cxn>
                <a:cxn ang="0">
                  <a:pos x="71" y="52"/>
                </a:cxn>
                <a:cxn ang="0">
                  <a:pos x="63" y="48"/>
                </a:cxn>
                <a:cxn ang="0">
                  <a:pos x="59" y="44"/>
                </a:cxn>
                <a:cxn ang="0">
                  <a:pos x="56" y="52"/>
                </a:cxn>
                <a:cxn ang="0">
                  <a:pos x="56" y="40"/>
                </a:cxn>
                <a:cxn ang="0">
                  <a:pos x="48" y="44"/>
                </a:cxn>
                <a:cxn ang="0">
                  <a:pos x="36" y="48"/>
                </a:cxn>
                <a:cxn ang="0">
                  <a:pos x="28" y="56"/>
                </a:cxn>
                <a:cxn ang="0">
                  <a:pos x="20" y="48"/>
                </a:cxn>
                <a:cxn ang="0">
                  <a:pos x="20" y="44"/>
                </a:cxn>
                <a:cxn ang="0">
                  <a:pos x="12" y="48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12" y="40"/>
                </a:cxn>
                <a:cxn ang="0">
                  <a:pos x="20" y="32"/>
                </a:cxn>
                <a:cxn ang="0">
                  <a:pos x="32" y="28"/>
                </a:cxn>
                <a:cxn ang="0">
                  <a:pos x="44" y="20"/>
                </a:cxn>
                <a:cxn ang="0">
                  <a:pos x="48" y="12"/>
                </a:cxn>
                <a:cxn ang="0">
                  <a:pos x="48" y="16"/>
                </a:cxn>
                <a:cxn ang="0">
                  <a:pos x="56" y="12"/>
                </a:cxn>
                <a:cxn ang="0">
                  <a:pos x="59" y="4"/>
                </a:cxn>
                <a:cxn ang="0">
                  <a:pos x="56" y="12"/>
                </a:cxn>
                <a:cxn ang="0">
                  <a:pos x="59" y="8"/>
                </a:cxn>
                <a:cxn ang="0">
                  <a:pos x="59" y="4"/>
                </a:cxn>
                <a:cxn ang="0">
                  <a:pos x="63" y="4"/>
                </a:cxn>
                <a:cxn ang="0">
                  <a:pos x="75" y="8"/>
                </a:cxn>
                <a:cxn ang="0">
                  <a:pos x="83" y="8"/>
                </a:cxn>
                <a:cxn ang="0">
                  <a:pos x="91" y="12"/>
                </a:cxn>
                <a:cxn ang="0">
                  <a:pos x="95" y="20"/>
                </a:cxn>
                <a:cxn ang="0">
                  <a:pos x="103" y="24"/>
                </a:cxn>
                <a:cxn ang="0">
                  <a:pos x="111" y="28"/>
                </a:cxn>
                <a:cxn ang="0">
                  <a:pos x="111" y="36"/>
                </a:cxn>
                <a:cxn ang="0">
                  <a:pos x="111" y="40"/>
                </a:cxn>
                <a:cxn ang="0">
                  <a:pos x="119" y="48"/>
                </a:cxn>
                <a:cxn ang="0">
                  <a:pos x="119" y="52"/>
                </a:cxn>
                <a:cxn ang="0">
                  <a:pos x="56" y="20"/>
                </a:cxn>
                <a:cxn ang="0">
                  <a:pos x="44" y="24"/>
                </a:cxn>
                <a:cxn ang="0">
                  <a:pos x="48" y="24"/>
                </a:cxn>
                <a:cxn ang="0">
                  <a:pos x="56" y="20"/>
                </a:cxn>
                <a:cxn ang="0">
                  <a:pos x="56" y="40"/>
                </a:cxn>
                <a:cxn ang="0">
                  <a:pos x="59" y="44"/>
                </a:cxn>
                <a:cxn ang="0">
                  <a:pos x="63" y="36"/>
                </a:cxn>
                <a:cxn ang="0">
                  <a:pos x="59" y="36"/>
                </a:cxn>
              </a:cxnLst>
              <a:rect l="0" t="0" r="r" b="b"/>
              <a:pathLst>
                <a:path w="119" h="56">
                  <a:moveTo>
                    <a:pt x="115" y="56"/>
                  </a:moveTo>
                  <a:lnTo>
                    <a:pt x="111" y="56"/>
                  </a:lnTo>
                  <a:lnTo>
                    <a:pt x="107" y="56"/>
                  </a:lnTo>
                  <a:lnTo>
                    <a:pt x="107" y="52"/>
                  </a:lnTo>
                  <a:lnTo>
                    <a:pt x="107" y="48"/>
                  </a:lnTo>
                  <a:lnTo>
                    <a:pt x="103" y="52"/>
                  </a:lnTo>
                  <a:lnTo>
                    <a:pt x="99" y="52"/>
                  </a:lnTo>
                  <a:lnTo>
                    <a:pt x="95" y="52"/>
                  </a:lnTo>
                  <a:lnTo>
                    <a:pt x="91" y="52"/>
                  </a:lnTo>
                  <a:lnTo>
                    <a:pt x="87" y="56"/>
                  </a:lnTo>
                  <a:lnTo>
                    <a:pt x="83" y="56"/>
                  </a:lnTo>
                  <a:lnTo>
                    <a:pt x="79" y="56"/>
                  </a:lnTo>
                  <a:lnTo>
                    <a:pt x="75" y="56"/>
                  </a:lnTo>
                  <a:lnTo>
                    <a:pt x="71" y="56"/>
                  </a:lnTo>
                  <a:lnTo>
                    <a:pt x="71" y="52"/>
                  </a:lnTo>
                  <a:lnTo>
                    <a:pt x="71" y="48"/>
                  </a:lnTo>
                  <a:lnTo>
                    <a:pt x="67" y="48"/>
                  </a:lnTo>
                  <a:lnTo>
                    <a:pt x="63" y="48"/>
                  </a:lnTo>
                  <a:lnTo>
                    <a:pt x="59" y="48"/>
                  </a:lnTo>
                  <a:lnTo>
                    <a:pt x="63" y="44"/>
                  </a:lnTo>
                  <a:lnTo>
                    <a:pt x="59" y="44"/>
                  </a:lnTo>
                  <a:lnTo>
                    <a:pt x="59" y="48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52" y="40"/>
                  </a:lnTo>
                  <a:lnTo>
                    <a:pt x="52" y="44"/>
                  </a:lnTo>
                  <a:lnTo>
                    <a:pt x="48" y="44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36" y="48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28" y="56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59" y="4"/>
                  </a:lnTo>
                  <a:lnTo>
                    <a:pt x="59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9" y="8"/>
                  </a:lnTo>
                  <a:lnTo>
                    <a:pt x="59" y="12"/>
                  </a:lnTo>
                  <a:lnTo>
                    <a:pt x="59" y="8"/>
                  </a:lnTo>
                  <a:lnTo>
                    <a:pt x="63" y="8"/>
                  </a:lnTo>
                  <a:lnTo>
                    <a:pt x="63" y="4"/>
                  </a:lnTo>
                  <a:lnTo>
                    <a:pt x="59" y="4"/>
                  </a:lnTo>
                  <a:lnTo>
                    <a:pt x="59" y="0"/>
                  </a:lnTo>
                  <a:lnTo>
                    <a:pt x="63" y="0"/>
                  </a:lnTo>
                  <a:lnTo>
                    <a:pt x="63" y="4"/>
                  </a:lnTo>
                  <a:lnTo>
                    <a:pt x="67" y="4"/>
                  </a:lnTo>
                  <a:lnTo>
                    <a:pt x="71" y="4"/>
                  </a:lnTo>
                  <a:lnTo>
                    <a:pt x="75" y="8"/>
                  </a:lnTo>
                  <a:lnTo>
                    <a:pt x="79" y="4"/>
                  </a:lnTo>
                  <a:lnTo>
                    <a:pt x="79" y="8"/>
                  </a:lnTo>
                  <a:lnTo>
                    <a:pt x="83" y="8"/>
                  </a:lnTo>
                  <a:lnTo>
                    <a:pt x="83" y="4"/>
                  </a:lnTo>
                  <a:lnTo>
                    <a:pt x="87" y="8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5" y="20"/>
                  </a:lnTo>
                  <a:lnTo>
                    <a:pt x="95" y="24"/>
                  </a:lnTo>
                  <a:lnTo>
                    <a:pt x="99" y="24"/>
                  </a:lnTo>
                  <a:lnTo>
                    <a:pt x="103" y="24"/>
                  </a:lnTo>
                  <a:lnTo>
                    <a:pt x="107" y="24"/>
                  </a:lnTo>
                  <a:lnTo>
                    <a:pt x="111" y="24"/>
                  </a:lnTo>
                  <a:lnTo>
                    <a:pt x="111" y="28"/>
                  </a:lnTo>
                  <a:lnTo>
                    <a:pt x="107" y="32"/>
                  </a:lnTo>
                  <a:lnTo>
                    <a:pt x="111" y="32"/>
                  </a:lnTo>
                  <a:lnTo>
                    <a:pt x="111" y="36"/>
                  </a:lnTo>
                  <a:lnTo>
                    <a:pt x="115" y="36"/>
                  </a:lnTo>
                  <a:lnTo>
                    <a:pt x="115" y="40"/>
                  </a:lnTo>
                  <a:lnTo>
                    <a:pt x="111" y="40"/>
                  </a:lnTo>
                  <a:lnTo>
                    <a:pt x="111" y="44"/>
                  </a:lnTo>
                  <a:lnTo>
                    <a:pt x="115" y="48"/>
                  </a:lnTo>
                  <a:lnTo>
                    <a:pt x="119" y="48"/>
                  </a:lnTo>
                  <a:lnTo>
                    <a:pt x="115" y="48"/>
                  </a:lnTo>
                  <a:lnTo>
                    <a:pt x="115" y="52"/>
                  </a:lnTo>
                  <a:lnTo>
                    <a:pt x="119" y="52"/>
                  </a:lnTo>
                  <a:lnTo>
                    <a:pt x="115" y="52"/>
                  </a:lnTo>
                  <a:lnTo>
                    <a:pt x="115" y="56"/>
                  </a:lnTo>
                  <a:close/>
                  <a:moveTo>
                    <a:pt x="56" y="20"/>
                  </a:moveTo>
                  <a:lnTo>
                    <a:pt x="52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0"/>
                  </a:lnTo>
                  <a:close/>
                  <a:moveTo>
                    <a:pt x="56" y="40"/>
                  </a:moveTo>
                  <a:lnTo>
                    <a:pt x="56" y="44"/>
                  </a:lnTo>
                  <a:lnTo>
                    <a:pt x="56" y="40"/>
                  </a:lnTo>
                  <a:lnTo>
                    <a:pt x="59" y="40"/>
                  </a:lnTo>
                  <a:lnTo>
                    <a:pt x="56" y="44"/>
                  </a:lnTo>
                  <a:lnTo>
                    <a:pt x="59" y="44"/>
                  </a:lnTo>
                  <a:lnTo>
                    <a:pt x="59" y="40"/>
                  </a:lnTo>
                  <a:lnTo>
                    <a:pt x="63" y="40"/>
                  </a:lnTo>
                  <a:lnTo>
                    <a:pt x="63" y="36"/>
                  </a:lnTo>
                  <a:lnTo>
                    <a:pt x="67" y="36"/>
                  </a:lnTo>
                  <a:lnTo>
                    <a:pt x="63" y="36"/>
                  </a:lnTo>
                  <a:lnTo>
                    <a:pt x="59" y="36"/>
                  </a:lnTo>
                  <a:lnTo>
                    <a:pt x="56" y="36"/>
                  </a:lnTo>
                  <a:lnTo>
                    <a:pt x="56" y="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  <p:sp>
          <p:nvSpPr>
            <p:cNvPr id="213" name="Freeform 380"/>
            <p:cNvSpPr>
              <a:spLocks noEditPoints="1"/>
            </p:cNvSpPr>
            <p:nvPr>
              <p:custDataLst>
                <p:tags r:id="rId405"/>
              </p:custDataLst>
            </p:nvPr>
          </p:nvSpPr>
          <p:spPr bwMode="gray">
            <a:xfrm>
              <a:off x="2399139" y="3273062"/>
              <a:ext cx="71187" cy="140892"/>
            </a:xfrm>
            <a:custGeom>
              <a:avLst/>
              <a:gdLst/>
              <a:ahLst/>
              <a:cxnLst>
                <a:cxn ang="0">
                  <a:pos x="48" y="8"/>
                </a:cxn>
                <a:cxn ang="0">
                  <a:pos x="48" y="8"/>
                </a:cxn>
                <a:cxn ang="0">
                  <a:pos x="44" y="12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44" y="16"/>
                </a:cxn>
                <a:cxn ang="0">
                  <a:pos x="40" y="20"/>
                </a:cxn>
                <a:cxn ang="0">
                  <a:pos x="36" y="28"/>
                </a:cxn>
                <a:cxn ang="0">
                  <a:pos x="36" y="28"/>
                </a:cxn>
                <a:cxn ang="0">
                  <a:pos x="40" y="24"/>
                </a:cxn>
                <a:cxn ang="0">
                  <a:pos x="36" y="28"/>
                </a:cxn>
                <a:cxn ang="0">
                  <a:pos x="36" y="24"/>
                </a:cxn>
                <a:cxn ang="0">
                  <a:pos x="36" y="20"/>
                </a:cxn>
                <a:cxn ang="0">
                  <a:pos x="36" y="24"/>
                </a:cxn>
                <a:cxn ang="0">
                  <a:pos x="32" y="24"/>
                </a:cxn>
                <a:cxn ang="0">
                  <a:pos x="28" y="28"/>
                </a:cxn>
                <a:cxn ang="0">
                  <a:pos x="28" y="32"/>
                </a:cxn>
                <a:cxn ang="0">
                  <a:pos x="24" y="44"/>
                </a:cxn>
                <a:cxn ang="0">
                  <a:pos x="24" y="52"/>
                </a:cxn>
                <a:cxn ang="0">
                  <a:pos x="24" y="52"/>
                </a:cxn>
                <a:cxn ang="0">
                  <a:pos x="28" y="68"/>
                </a:cxn>
                <a:cxn ang="0">
                  <a:pos x="28" y="79"/>
                </a:cxn>
                <a:cxn ang="0">
                  <a:pos x="20" y="87"/>
                </a:cxn>
                <a:cxn ang="0">
                  <a:pos x="12" y="95"/>
                </a:cxn>
                <a:cxn ang="0">
                  <a:pos x="8" y="95"/>
                </a:cxn>
                <a:cxn ang="0">
                  <a:pos x="4" y="87"/>
                </a:cxn>
                <a:cxn ang="0">
                  <a:pos x="4" y="79"/>
                </a:cxn>
                <a:cxn ang="0">
                  <a:pos x="4" y="72"/>
                </a:cxn>
                <a:cxn ang="0">
                  <a:pos x="4" y="64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8" y="32"/>
                </a:cxn>
                <a:cxn ang="0">
                  <a:pos x="4" y="28"/>
                </a:cxn>
                <a:cxn ang="0">
                  <a:pos x="0" y="36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12" y="16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24" y="4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36" y="4"/>
                </a:cxn>
                <a:cxn ang="0">
                  <a:pos x="36" y="0"/>
                </a:cxn>
                <a:cxn ang="0">
                  <a:pos x="44" y="4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12" y="24"/>
                </a:cxn>
                <a:cxn ang="0">
                  <a:pos x="16" y="20"/>
                </a:cxn>
              </a:cxnLst>
              <a:rect l="0" t="0" r="r" b="b"/>
              <a:pathLst>
                <a:path w="48" h="95">
                  <a:moveTo>
                    <a:pt x="48" y="8"/>
                  </a:move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4" y="40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4" y="87"/>
                  </a:lnTo>
                  <a:lnTo>
                    <a:pt x="24" y="87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8" y="95"/>
                  </a:lnTo>
                  <a:lnTo>
                    <a:pt x="8" y="95"/>
                  </a:lnTo>
                  <a:lnTo>
                    <a:pt x="8" y="95"/>
                  </a:lnTo>
                  <a:lnTo>
                    <a:pt x="8" y="95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3"/>
                  </a:lnTo>
                  <a:lnTo>
                    <a:pt x="4" y="83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8"/>
                  </a:lnTo>
                  <a:close/>
                  <a:moveTo>
                    <a:pt x="16" y="20"/>
                  </a:move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  <p:sp>
          <p:nvSpPr>
            <p:cNvPr id="214" name="Freeform 381"/>
            <p:cNvSpPr>
              <a:spLocks/>
            </p:cNvSpPr>
            <p:nvPr>
              <p:custDataLst>
                <p:tags r:id="rId406"/>
              </p:custDataLst>
            </p:nvPr>
          </p:nvSpPr>
          <p:spPr bwMode="gray">
            <a:xfrm>
              <a:off x="2583038" y="3326452"/>
              <a:ext cx="88984" cy="41526"/>
            </a:xfrm>
            <a:custGeom>
              <a:avLst/>
              <a:gdLst/>
              <a:ahLst/>
              <a:cxnLst>
                <a:cxn ang="0">
                  <a:pos x="12" y="24"/>
                </a:cxn>
                <a:cxn ang="0">
                  <a:pos x="4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8" y="16"/>
                </a:cxn>
                <a:cxn ang="0">
                  <a:pos x="12" y="12"/>
                </a:cxn>
                <a:cxn ang="0">
                  <a:pos x="24" y="12"/>
                </a:cxn>
                <a:cxn ang="0">
                  <a:pos x="32" y="8"/>
                </a:cxn>
                <a:cxn ang="0">
                  <a:pos x="36" y="8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8"/>
                </a:cxn>
                <a:cxn ang="0">
                  <a:pos x="36" y="8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8" y="4"/>
                </a:cxn>
                <a:cxn ang="0">
                  <a:pos x="52" y="4"/>
                </a:cxn>
                <a:cxn ang="0">
                  <a:pos x="56" y="0"/>
                </a:cxn>
                <a:cxn ang="0">
                  <a:pos x="60" y="0"/>
                </a:cxn>
                <a:cxn ang="0">
                  <a:pos x="60" y="0"/>
                </a:cxn>
                <a:cxn ang="0">
                  <a:pos x="60" y="0"/>
                </a:cxn>
                <a:cxn ang="0">
                  <a:pos x="60" y="0"/>
                </a:cxn>
                <a:cxn ang="0">
                  <a:pos x="56" y="4"/>
                </a:cxn>
                <a:cxn ang="0">
                  <a:pos x="52" y="8"/>
                </a:cxn>
                <a:cxn ang="0">
                  <a:pos x="52" y="8"/>
                </a:cxn>
                <a:cxn ang="0">
                  <a:pos x="56" y="8"/>
                </a:cxn>
                <a:cxn ang="0">
                  <a:pos x="56" y="8"/>
                </a:cxn>
                <a:cxn ang="0">
                  <a:pos x="56" y="12"/>
                </a:cxn>
                <a:cxn ang="0">
                  <a:pos x="56" y="8"/>
                </a:cxn>
                <a:cxn ang="0">
                  <a:pos x="56" y="12"/>
                </a:cxn>
                <a:cxn ang="0">
                  <a:pos x="56" y="12"/>
                </a:cxn>
                <a:cxn ang="0">
                  <a:pos x="56" y="20"/>
                </a:cxn>
                <a:cxn ang="0">
                  <a:pos x="52" y="20"/>
                </a:cxn>
                <a:cxn ang="0">
                  <a:pos x="52" y="20"/>
                </a:cxn>
                <a:cxn ang="0">
                  <a:pos x="48" y="24"/>
                </a:cxn>
                <a:cxn ang="0">
                  <a:pos x="44" y="24"/>
                </a:cxn>
                <a:cxn ang="0">
                  <a:pos x="36" y="24"/>
                </a:cxn>
                <a:cxn ang="0">
                  <a:pos x="36" y="24"/>
                </a:cxn>
                <a:cxn ang="0">
                  <a:pos x="32" y="24"/>
                </a:cxn>
                <a:cxn ang="0">
                  <a:pos x="32" y="24"/>
                </a:cxn>
                <a:cxn ang="0">
                  <a:pos x="20" y="24"/>
                </a:cxn>
                <a:cxn ang="0">
                  <a:pos x="16" y="24"/>
                </a:cxn>
              </a:cxnLst>
              <a:rect l="0" t="0" r="r" b="b"/>
              <a:pathLst>
                <a:path w="60" h="28">
                  <a:moveTo>
                    <a:pt x="12" y="24"/>
                  </a:move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6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  <p:sp>
          <p:nvSpPr>
            <p:cNvPr id="215" name="Freeform 382"/>
            <p:cNvSpPr>
              <a:spLocks noEditPoints="1"/>
            </p:cNvSpPr>
            <p:nvPr>
              <p:custDataLst>
                <p:tags r:id="rId407"/>
              </p:custDataLst>
            </p:nvPr>
          </p:nvSpPr>
          <p:spPr bwMode="gray">
            <a:xfrm>
              <a:off x="2470326" y="3261197"/>
              <a:ext cx="118645" cy="112713"/>
            </a:xfrm>
            <a:custGeom>
              <a:avLst/>
              <a:gdLst/>
              <a:ahLst/>
              <a:cxnLst>
                <a:cxn ang="0">
                  <a:pos x="36" y="68"/>
                </a:cxn>
                <a:cxn ang="0">
                  <a:pos x="32" y="60"/>
                </a:cxn>
                <a:cxn ang="0">
                  <a:pos x="28" y="52"/>
                </a:cxn>
                <a:cxn ang="0">
                  <a:pos x="20" y="60"/>
                </a:cxn>
                <a:cxn ang="0">
                  <a:pos x="12" y="60"/>
                </a:cxn>
                <a:cxn ang="0">
                  <a:pos x="16" y="52"/>
                </a:cxn>
                <a:cxn ang="0">
                  <a:pos x="24" y="48"/>
                </a:cxn>
                <a:cxn ang="0">
                  <a:pos x="24" y="36"/>
                </a:cxn>
                <a:cxn ang="0">
                  <a:pos x="24" y="28"/>
                </a:cxn>
                <a:cxn ang="0">
                  <a:pos x="20" y="24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16" y="12"/>
                </a:cxn>
                <a:cxn ang="0">
                  <a:pos x="12" y="8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20" y="4"/>
                </a:cxn>
                <a:cxn ang="0">
                  <a:pos x="32" y="8"/>
                </a:cxn>
                <a:cxn ang="0">
                  <a:pos x="36" y="8"/>
                </a:cxn>
                <a:cxn ang="0">
                  <a:pos x="48" y="8"/>
                </a:cxn>
                <a:cxn ang="0">
                  <a:pos x="48" y="12"/>
                </a:cxn>
                <a:cxn ang="0">
                  <a:pos x="60" y="12"/>
                </a:cxn>
                <a:cxn ang="0">
                  <a:pos x="64" y="20"/>
                </a:cxn>
                <a:cxn ang="0">
                  <a:pos x="72" y="24"/>
                </a:cxn>
                <a:cxn ang="0">
                  <a:pos x="76" y="32"/>
                </a:cxn>
                <a:cxn ang="0">
                  <a:pos x="76" y="36"/>
                </a:cxn>
                <a:cxn ang="0">
                  <a:pos x="72" y="44"/>
                </a:cxn>
                <a:cxn ang="0">
                  <a:pos x="64" y="40"/>
                </a:cxn>
                <a:cxn ang="0">
                  <a:pos x="60" y="32"/>
                </a:cxn>
                <a:cxn ang="0">
                  <a:pos x="48" y="28"/>
                </a:cxn>
                <a:cxn ang="0">
                  <a:pos x="56" y="40"/>
                </a:cxn>
                <a:cxn ang="0">
                  <a:pos x="48" y="52"/>
                </a:cxn>
                <a:cxn ang="0">
                  <a:pos x="48" y="64"/>
                </a:cxn>
                <a:cxn ang="0">
                  <a:pos x="44" y="72"/>
                </a:cxn>
                <a:cxn ang="0">
                  <a:pos x="28" y="12"/>
                </a:cxn>
                <a:cxn ang="0">
                  <a:pos x="28" y="16"/>
                </a:cxn>
                <a:cxn ang="0">
                  <a:pos x="40" y="16"/>
                </a:cxn>
                <a:cxn ang="0">
                  <a:pos x="44" y="16"/>
                </a:cxn>
                <a:cxn ang="0">
                  <a:pos x="48" y="20"/>
                </a:cxn>
                <a:cxn ang="0">
                  <a:pos x="44" y="12"/>
                </a:cxn>
                <a:cxn ang="0">
                  <a:pos x="32" y="16"/>
                </a:cxn>
              </a:cxnLst>
              <a:rect l="0" t="0" r="r" b="b"/>
              <a:pathLst>
                <a:path w="80" h="76">
                  <a:moveTo>
                    <a:pt x="36" y="76"/>
                  </a:moveTo>
                  <a:lnTo>
                    <a:pt x="36" y="72"/>
                  </a:lnTo>
                  <a:lnTo>
                    <a:pt x="36" y="68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28" y="52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0" y="60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4" y="36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76" y="32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76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68" y="44"/>
                  </a:lnTo>
                  <a:lnTo>
                    <a:pt x="68" y="40"/>
                  </a:lnTo>
                  <a:lnTo>
                    <a:pt x="64" y="40"/>
                  </a:lnTo>
                  <a:lnTo>
                    <a:pt x="60" y="40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52" y="32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2" y="44"/>
                  </a:lnTo>
                  <a:lnTo>
                    <a:pt x="48" y="48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44" y="68"/>
                  </a:lnTo>
                  <a:lnTo>
                    <a:pt x="44" y="72"/>
                  </a:lnTo>
                  <a:lnTo>
                    <a:pt x="40" y="72"/>
                  </a:lnTo>
                  <a:lnTo>
                    <a:pt x="36" y="76"/>
                  </a:lnTo>
                  <a:close/>
                  <a:moveTo>
                    <a:pt x="28" y="12"/>
                  </a:moveTo>
                  <a:lnTo>
                    <a:pt x="24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4" y="20"/>
                  </a:lnTo>
                  <a:lnTo>
                    <a:pt x="48" y="20"/>
                  </a:lnTo>
                  <a:lnTo>
                    <a:pt x="48" y="16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2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  <p:sp>
          <p:nvSpPr>
            <p:cNvPr id="216" name="Freeform 383"/>
            <p:cNvSpPr>
              <a:spLocks/>
            </p:cNvSpPr>
            <p:nvPr>
              <p:custDataLst>
                <p:tags r:id="rId408"/>
              </p:custDataLst>
            </p:nvPr>
          </p:nvSpPr>
          <p:spPr bwMode="gray">
            <a:xfrm>
              <a:off x="2499987" y="3373910"/>
              <a:ext cx="106781" cy="45975"/>
            </a:xfrm>
            <a:custGeom>
              <a:avLst/>
              <a:gdLst/>
              <a:ahLst/>
              <a:cxnLst>
                <a:cxn ang="0">
                  <a:pos x="72" y="0"/>
                </a:cxn>
                <a:cxn ang="0">
                  <a:pos x="72" y="4"/>
                </a:cxn>
                <a:cxn ang="0">
                  <a:pos x="72" y="4"/>
                </a:cxn>
                <a:cxn ang="0">
                  <a:pos x="60" y="11"/>
                </a:cxn>
                <a:cxn ang="0">
                  <a:pos x="56" y="15"/>
                </a:cxn>
                <a:cxn ang="0">
                  <a:pos x="48" y="19"/>
                </a:cxn>
                <a:cxn ang="0">
                  <a:pos x="44" y="19"/>
                </a:cxn>
                <a:cxn ang="0">
                  <a:pos x="36" y="23"/>
                </a:cxn>
                <a:cxn ang="0">
                  <a:pos x="32" y="27"/>
                </a:cxn>
                <a:cxn ang="0">
                  <a:pos x="28" y="31"/>
                </a:cxn>
                <a:cxn ang="0">
                  <a:pos x="24" y="31"/>
                </a:cxn>
                <a:cxn ang="0">
                  <a:pos x="24" y="31"/>
                </a:cxn>
                <a:cxn ang="0">
                  <a:pos x="20" y="31"/>
                </a:cxn>
                <a:cxn ang="0">
                  <a:pos x="16" y="31"/>
                </a:cxn>
                <a:cxn ang="0">
                  <a:pos x="12" y="31"/>
                </a:cxn>
                <a:cxn ang="0">
                  <a:pos x="8" y="31"/>
                </a:cxn>
                <a:cxn ang="0">
                  <a:pos x="8" y="31"/>
                </a:cxn>
                <a:cxn ang="0">
                  <a:pos x="12" y="31"/>
                </a:cxn>
                <a:cxn ang="0">
                  <a:pos x="12" y="31"/>
                </a:cxn>
                <a:cxn ang="0">
                  <a:pos x="12" y="27"/>
                </a:cxn>
                <a:cxn ang="0">
                  <a:pos x="12" y="27"/>
                </a:cxn>
                <a:cxn ang="0">
                  <a:pos x="8" y="27"/>
                </a:cxn>
                <a:cxn ang="0">
                  <a:pos x="8" y="27"/>
                </a:cxn>
                <a:cxn ang="0">
                  <a:pos x="4" y="27"/>
                </a:cxn>
                <a:cxn ang="0">
                  <a:pos x="0" y="23"/>
                </a:cxn>
                <a:cxn ang="0">
                  <a:pos x="0" y="23"/>
                </a:cxn>
                <a:cxn ang="0">
                  <a:pos x="4" y="19"/>
                </a:cxn>
                <a:cxn ang="0">
                  <a:pos x="4" y="15"/>
                </a:cxn>
                <a:cxn ang="0">
                  <a:pos x="8" y="11"/>
                </a:cxn>
                <a:cxn ang="0">
                  <a:pos x="8" y="11"/>
                </a:cxn>
                <a:cxn ang="0">
                  <a:pos x="8" y="19"/>
                </a:cxn>
                <a:cxn ang="0">
                  <a:pos x="8" y="19"/>
                </a:cxn>
                <a:cxn ang="0">
                  <a:pos x="12" y="19"/>
                </a:cxn>
                <a:cxn ang="0">
                  <a:pos x="12" y="19"/>
                </a:cxn>
                <a:cxn ang="0">
                  <a:pos x="16" y="19"/>
                </a:cxn>
                <a:cxn ang="0">
                  <a:pos x="16" y="19"/>
                </a:cxn>
                <a:cxn ang="0">
                  <a:pos x="20" y="15"/>
                </a:cxn>
                <a:cxn ang="0">
                  <a:pos x="28" y="11"/>
                </a:cxn>
                <a:cxn ang="0">
                  <a:pos x="32" y="8"/>
                </a:cxn>
                <a:cxn ang="0">
                  <a:pos x="36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52" y="8"/>
                </a:cxn>
                <a:cxn ang="0">
                  <a:pos x="52" y="8"/>
                </a:cxn>
                <a:cxn ang="0">
                  <a:pos x="52" y="8"/>
                </a:cxn>
                <a:cxn ang="0">
                  <a:pos x="48" y="8"/>
                </a:cxn>
                <a:cxn ang="0">
                  <a:pos x="48" y="8"/>
                </a:cxn>
                <a:cxn ang="0">
                  <a:pos x="52" y="4"/>
                </a:cxn>
                <a:cxn ang="0">
                  <a:pos x="56" y="4"/>
                </a:cxn>
                <a:cxn ang="0">
                  <a:pos x="60" y="0"/>
                </a:cxn>
                <a:cxn ang="0">
                  <a:pos x="68" y="0"/>
                </a:cxn>
                <a:cxn ang="0">
                  <a:pos x="68" y="4"/>
                </a:cxn>
                <a:cxn ang="0">
                  <a:pos x="72" y="0"/>
                </a:cxn>
              </a:cxnLst>
              <a:rect l="0" t="0" r="r" b="b"/>
              <a:pathLst>
                <a:path w="72" h="31">
                  <a:moveTo>
                    <a:pt x="72" y="0"/>
                  </a:move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4" y="8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2" y="15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0" y="19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0" y="27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4" y="23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20" y="15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</p:grpSp>
      <p:grpSp>
        <p:nvGrpSpPr>
          <p:cNvPr id="221" name="Group 473"/>
          <p:cNvGrpSpPr/>
          <p:nvPr/>
        </p:nvGrpSpPr>
        <p:grpSpPr bwMode="gray">
          <a:xfrm>
            <a:off x="651531" y="946405"/>
            <a:ext cx="11025383" cy="5406216"/>
            <a:chOff x="166688" y="2049463"/>
            <a:chExt cx="8663923" cy="4248291"/>
          </a:xfrm>
        </p:grpSpPr>
        <p:sp>
          <p:nvSpPr>
            <p:cNvPr id="222" name="Rectangle 40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5014913" y="3302001"/>
              <a:ext cx="18643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Romania</a:t>
              </a:r>
            </a:p>
          </p:txBody>
        </p:sp>
        <p:sp>
          <p:nvSpPr>
            <p:cNvPr id="223" name="Rectangle 407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4947456" y="3239969"/>
              <a:ext cx="178872" cy="60464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Hungary</a:t>
              </a:r>
            </a:p>
          </p:txBody>
        </p:sp>
        <p:sp>
          <p:nvSpPr>
            <p:cNvPr id="224" name="Rectangle 408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4962526" y="3538538"/>
              <a:ext cx="1486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Greece</a:t>
              </a:r>
            </a:p>
          </p:txBody>
        </p:sp>
        <p:sp>
          <p:nvSpPr>
            <p:cNvPr id="225" name="Rectangle 409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5118101" y="3636963"/>
              <a:ext cx="14360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yprus</a:t>
              </a:r>
            </a:p>
          </p:txBody>
        </p:sp>
        <p:sp>
          <p:nvSpPr>
            <p:cNvPr id="226" name="Rectangle 410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5181601" y="3138488"/>
              <a:ext cx="16249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Ukraine</a:t>
              </a:r>
            </a:p>
          </p:txBody>
        </p:sp>
        <p:sp>
          <p:nvSpPr>
            <p:cNvPr id="227" name="Rectangle 411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4978401" y="2940051"/>
              <a:ext cx="19650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Lithuania</a:t>
              </a:r>
            </a:p>
          </p:txBody>
        </p:sp>
        <p:sp>
          <p:nvSpPr>
            <p:cNvPr id="228" name="Rectangle 412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4796949" y="3306357"/>
              <a:ext cx="15242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roatia</a:t>
              </a:r>
            </a:p>
          </p:txBody>
        </p:sp>
        <p:sp>
          <p:nvSpPr>
            <p:cNvPr id="229" name="Rectangle 41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5189538" y="3248026"/>
              <a:ext cx="18013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oldova</a:t>
              </a:r>
            </a:p>
          </p:txBody>
        </p:sp>
        <p:sp>
          <p:nvSpPr>
            <p:cNvPr id="230" name="Rectangle 41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4972052" y="3349626"/>
              <a:ext cx="24563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erb. Mont.</a:t>
              </a:r>
            </a:p>
          </p:txBody>
        </p:sp>
        <p:sp>
          <p:nvSpPr>
            <p:cNvPr id="231" name="Rectangle 415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4657726" y="3071813"/>
              <a:ext cx="19272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Germany</a:t>
              </a:r>
            </a:p>
          </p:txBody>
        </p:sp>
        <p:sp>
          <p:nvSpPr>
            <p:cNvPr id="232" name="Rectangle 416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4449763" y="3254376"/>
              <a:ext cx="24563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witzerland</a:t>
              </a:r>
            </a:p>
          </p:txBody>
        </p:sp>
        <p:sp>
          <p:nvSpPr>
            <p:cNvPr id="233" name="Rectangle 417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4128166" y="3281363"/>
              <a:ext cx="1763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lovenia</a:t>
              </a:r>
            </a:p>
          </p:txBody>
        </p:sp>
        <p:sp>
          <p:nvSpPr>
            <p:cNvPr id="234" name="Rectangle 418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4267201" y="3616326"/>
              <a:ext cx="18391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Gibraltar</a:t>
              </a:r>
            </a:p>
          </p:txBody>
        </p:sp>
        <p:sp>
          <p:nvSpPr>
            <p:cNvPr id="235" name="Rectangle 419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4764088" y="3205163"/>
              <a:ext cx="148640" cy="60464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Austria</a:t>
              </a:r>
            </a:p>
          </p:txBody>
        </p:sp>
        <p:sp>
          <p:nvSpPr>
            <p:cNvPr id="236" name="Rectangle 420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4652963" y="3171826"/>
              <a:ext cx="8943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Lux.</a:t>
              </a:r>
            </a:p>
          </p:txBody>
        </p:sp>
        <p:sp>
          <p:nvSpPr>
            <p:cNvPr id="237" name="Rectangle 421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4961737" y="3186506"/>
              <a:ext cx="173834" cy="60464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lovakia</a:t>
              </a:r>
            </a:p>
          </p:txBody>
        </p:sp>
        <p:sp>
          <p:nvSpPr>
            <p:cNvPr id="238" name="Rectangle 422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4872038" y="2506663"/>
              <a:ext cx="16627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weden</a:t>
              </a:r>
            </a:p>
          </p:txBody>
        </p:sp>
        <p:sp>
          <p:nvSpPr>
            <p:cNvPr id="239" name="Rectangle 423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5045076" y="2649538"/>
              <a:ext cx="15242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Finland</a:t>
              </a:r>
            </a:p>
          </p:txBody>
        </p:sp>
        <p:sp>
          <p:nvSpPr>
            <p:cNvPr id="240" name="Rectangle 424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4624388" y="2692401"/>
              <a:ext cx="16249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Norway</a:t>
              </a:r>
            </a:p>
          </p:txBody>
        </p:sp>
        <p:sp>
          <p:nvSpPr>
            <p:cNvPr id="241" name="Rectangle 425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4454526" y="3175001"/>
              <a:ext cx="14108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France</a:t>
              </a:r>
            </a:p>
          </p:txBody>
        </p:sp>
        <p:sp>
          <p:nvSpPr>
            <p:cNvPr id="242" name="Rectangle 426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4357688" y="3465513"/>
              <a:ext cx="1171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pain</a:t>
              </a:r>
            </a:p>
          </p:txBody>
        </p:sp>
        <p:sp>
          <p:nvSpPr>
            <p:cNvPr id="243" name="Rectangle 427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4887913" y="3048001"/>
              <a:ext cx="14486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Poland</a:t>
              </a:r>
            </a:p>
          </p:txBody>
        </p:sp>
        <p:sp>
          <p:nvSpPr>
            <p:cNvPr id="244" name="Rectangle 428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4743450" y="3386138"/>
              <a:ext cx="9069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Italy</a:t>
              </a:r>
            </a:p>
          </p:txBody>
        </p:sp>
        <p:sp>
          <p:nvSpPr>
            <p:cNvPr id="245" name="Rectangle 429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5105401" y="3011488"/>
              <a:ext cx="15493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elarus</a:t>
              </a:r>
            </a:p>
          </p:txBody>
        </p:sp>
        <p:sp>
          <p:nvSpPr>
            <p:cNvPr id="246" name="Rectangle 430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4178301" y="2846388"/>
              <a:ext cx="34011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United Kingdom</a:t>
              </a:r>
            </a:p>
          </p:txBody>
        </p:sp>
        <p:sp>
          <p:nvSpPr>
            <p:cNvPr id="247" name="Rectangle 431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5081588" y="2879726"/>
              <a:ext cx="12848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Latvia</a:t>
              </a:r>
            </a:p>
          </p:txBody>
        </p:sp>
        <p:sp>
          <p:nvSpPr>
            <p:cNvPr id="248" name="Rectangle 432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4205288" y="3038476"/>
              <a:ext cx="14360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Ireland</a:t>
              </a:r>
            </a:p>
          </p:txBody>
        </p:sp>
        <p:sp>
          <p:nvSpPr>
            <p:cNvPr id="249" name="Rectangle 433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5151808" y="3407725"/>
              <a:ext cx="17257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ulgaria</a:t>
              </a:r>
            </a:p>
          </p:txBody>
        </p:sp>
        <p:sp>
          <p:nvSpPr>
            <p:cNvPr id="250" name="Rectangle 434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5092703" y="2814638"/>
              <a:ext cx="15493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Estonia</a:t>
              </a:r>
            </a:p>
          </p:txBody>
        </p:sp>
        <p:sp>
          <p:nvSpPr>
            <p:cNvPr id="251" name="Rectangle 435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4164013" y="3482976"/>
              <a:ext cx="17887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Portugal</a:t>
              </a:r>
            </a:p>
          </p:txBody>
        </p:sp>
        <p:sp>
          <p:nvSpPr>
            <p:cNvPr id="252" name="Rectangle 436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4567238" y="2890838"/>
              <a:ext cx="19272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Denmark</a:t>
              </a:r>
            </a:p>
          </p:txBody>
        </p:sp>
        <p:sp>
          <p:nvSpPr>
            <p:cNvPr id="253" name="Rectangle 437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4468813" y="3411538"/>
              <a:ext cx="16879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Andorra</a:t>
              </a:r>
            </a:p>
          </p:txBody>
        </p:sp>
        <p:sp>
          <p:nvSpPr>
            <p:cNvPr id="254" name="Rectangle 438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4525963" y="3001963"/>
              <a:ext cx="25571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Netherlands</a:t>
              </a:r>
            </a:p>
          </p:txBody>
        </p:sp>
        <p:sp>
          <p:nvSpPr>
            <p:cNvPr id="255" name="Rectangle 439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4532313" y="3116263"/>
              <a:ext cx="17257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elgium</a:t>
              </a:r>
            </a:p>
          </p:txBody>
        </p:sp>
        <p:sp>
          <p:nvSpPr>
            <p:cNvPr id="256" name="Rectangle 440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4762501" y="3130551"/>
              <a:ext cx="23303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zech Rep.</a:t>
              </a:r>
            </a:p>
          </p:txBody>
        </p:sp>
        <p:sp>
          <p:nvSpPr>
            <p:cNvPr id="257" name="Rectangle 441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4875213" y="3451226"/>
              <a:ext cx="15745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Albania</a:t>
              </a:r>
            </a:p>
          </p:txBody>
        </p:sp>
        <p:sp>
          <p:nvSpPr>
            <p:cNvPr id="258" name="Rectangle 442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gray">
            <a:xfrm>
              <a:off x="3842984" y="3335859"/>
              <a:ext cx="26201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osnia Herz.</a:t>
              </a:r>
            </a:p>
          </p:txBody>
        </p:sp>
        <p:sp>
          <p:nvSpPr>
            <p:cNvPr id="259" name="Rectangle 443"/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gray">
            <a:xfrm>
              <a:off x="4864101" y="3402012"/>
              <a:ext cx="23051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acedonia</a:t>
              </a:r>
            </a:p>
          </p:txBody>
        </p:sp>
        <p:sp>
          <p:nvSpPr>
            <p:cNvPr id="260" name="Rectangle 444"/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gray">
            <a:xfrm>
              <a:off x="3750882" y="3218665"/>
              <a:ext cx="28216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Liechtenstein</a:t>
              </a:r>
            </a:p>
          </p:txBody>
        </p:sp>
        <p:sp>
          <p:nvSpPr>
            <p:cNvPr id="261" name="Rectangle 445"/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gray">
            <a:xfrm>
              <a:off x="3987801" y="2563813"/>
              <a:ext cx="14990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Iceland</a:t>
              </a:r>
            </a:p>
          </p:txBody>
        </p:sp>
        <p:grpSp>
          <p:nvGrpSpPr>
            <p:cNvPr id="262" name="Group 472"/>
            <p:cNvGrpSpPr/>
            <p:nvPr/>
          </p:nvGrpSpPr>
          <p:grpSpPr bwMode="gray">
            <a:xfrm>
              <a:off x="4120780" y="3251201"/>
              <a:ext cx="808408" cy="125413"/>
              <a:chOff x="4120780" y="3251201"/>
              <a:chExt cx="808408" cy="125413"/>
            </a:xfrm>
          </p:grpSpPr>
          <p:sp>
            <p:nvSpPr>
              <p:cNvPr id="413" name="Line 450"/>
              <p:cNvSpPr>
                <a:spLocks noChangeShapeType="1"/>
              </p:cNvSpPr>
              <p:nvPr>
                <p:custDataLst>
                  <p:tags r:id="rId194"/>
                </p:custDataLst>
              </p:nvPr>
            </p:nvSpPr>
            <p:spPr bwMode="gray">
              <a:xfrm flipH="1">
                <a:off x="4195763" y="3376614"/>
                <a:ext cx="733425" cy="0"/>
              </a:xfrm>
              <a:prstGeom prst="line">
                <a:avLst/>
              </a:prstGeom>
              <a:noFill/>
              <a:ln w="6350">
                <a:solidFill>
                  <a:schemeClr val="bg2"/>
                </a:solidFill>
                <a:round/>
                <a:headEnd/>
                <a:tailEnd/>
              </a:ln>
              <a:effectLst/>
            </p:spPr>
            <p:txBody>
              <a:bodyPr lIns="45720" rIns="45720" anchor="ctr"/>
              <a:lstStyle/>
              <a:p>
                <a:endParaRPr lang="en-US" sz="500" dirty="0">
                  <a:solidFill>
                    <a:srgbClr val="006EB6"/>
                  </a:solidFill>
                </a:endParaRPr>
              </a:p>
            </p:txBody>
          </p:sp>
          <p:sp>
            <p:nvSpPr>
              <p:cNvPr id="414" name="Line 451"/>
              <p:cNvSpPr>
                <a:spLocks noChangeShapeType="1"/>
              </p:cNvSpPr>
              <p:nvPr>
                <p:custDataLst>
                  <p:tags r:id="rId195"/>
                </p:custDataLst>
              </p:nvPr>
            </p:nvSpPr>
            <p:spPr bwMode="gray">
              <a:xfrm flipH="1">
                <a:off x="4120780" y="3251201"/>
                <a:ext cx="636214" cy="0"/>
              </a:xfrm>
              <a:prstGeom prst="line">
                <a:avLst/>
              </a:prstGeom>
              <a:noFill/>
              <a:ln w="6350">
                <a:solidFill>
                  <a:schemeClr val="bg2"/>
                </a:solidFill>
                <a:round/>
                <a:headEnd/>
                <a:tailEnd/>
              </a:ln>
              <a:effectLst/>
            </p:spPr>
            <p:txBody>
              <a:bodyPr lIns="45720" rIns="45720" anchor="ctr"/>
              <a:lstStyle/>
              <a:p>
                <a:endParaRPr lang="en-US" sz="500" dirty="0">
                  <a:solidFill>
                    <a:srgbClr val="006EB6"/>
                  </a:solidFill>
                </a:endParaRPr>
              </a:p>
            </p:txBody>
          </p:sp>
          <p:sp>
            <p:nvSpPr>
              <p:cNvPr id="415" name="Freeform 452"/>
              <p:cNvSpPr>
                <a:spLocks/>
              </p:cNvSpPr>
              <p:nvPr>
                <p:custDataLst>
                  <p:tags r:id="rId196"/>
                </p:custDataLst>
              </p:nvPr>
            </p:nvSpPr>
            <p:spPr bwMode="gray">
              <a:xfrm>
                <a:off x="4371976" y="3298826"/>
                <a:ext cx="488950" cy="22225"/>
              </a:xfrm>
              <a:custGeom>
                <a:avLst/>
                <a:gdLst/>
                <a:ahLst/>
                <a:cxnLst>
                  <a:cxn ang="0">
                    <a:pos x="308" y="0"/>
                  </a:cxn>
                  <a:cxn ang="0">
                    <a:pos x="240" y="0"/>
                  </a:cxn>
                  <a:cxn ang="0">
                    <a:pos x="218" y="14"/>
                  </a:cxn>
                  <a:cxn ang="0">
                    <a:pos x="0" y="14"/>
                  </a:cxn>
                </a:cxnLst>
                <a:rect l="0" t="0" r="r" b="b"/>
                <a:pathLst>
                  <a:path w="308" h="14">
                    <a:moveTo>
                      <a:pt x="308" y="0"/>
                    </a:moveTo>
                    <a:lnTo>
                      <a:pt x="240" y="0"/>
                    </a:lnTo>
                    <a:lnTo>
                      <a:pt x="218" y="14"/>
                    </a:lnTo>
                    <a:lnTo>
                      <a:pt x="0" y="14"/>
                    </a:lnTo>
                  </a:path>
                </a:pathLst>
              </a:custGeom>
              <a:noFill/>
              <a:ln w="6350" cap="flat" cmpd="sng">
                <a:solidFill>
                  <a:schemeClr val="bg2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lIns="45720" rIns="45720" anchor="ctr"/>
              <a:lstStyle/>
              <a:p>
                <a:endParaRPr lang="en-US" sz="500" dirty="0">
                  <a:solidFill>
                    <a:srgbClr val="006EB6"/>
                  </a:solidFill>
                </a:endParaRPr>
              </a:p>
            </p:txBody>
          </p:sp>
        </p:grpSp>
        <p:sp>
          <p:nvSpPr>
            <p:cNvPr id="263" name="Rectangle 209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gray">
            <a:xfrm>
              <a:off x="5373688" y="3621088"/>
              <a:ext cx="1045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yria</a:t>
              </a:r>
            </a:p>
          </p:txBody>
        </p:sp>
        <p:sp>
          <p:nvSpPr>
            <p:cNvPr id="264" name="Rectangle 210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5629275" y="3810001"/>
              <a:ext cx="14612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Kuwait</a:t>
              </a:r>
            </a:p>
          </p:txBody>
        </p:sp>
        <p:sp>
          <p:nvSpPr>
            <p:cNvPr id="265" name="Rectangle 211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5743575" y="3930651"/>
              <a:ext cx="12218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Qatar</a:t>
              </a:r>
            </a:p>
          </p:txBody>
        </p:sp>
        <p:sp>
          <p:nvSpPr>
            <p:cNvPr id="266" name="Rectangle 212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7942263" y="4291013"/>
              <a:ext cx="12722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Guam</a:t>
              </a:r>
            </a:p>
          </p:txBody>
        </p:sp>
        <p:sp>
          <p:nvSpPr>
            <p:cNvPr id="267" name="Rectangle 213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7832724" y="4454526"/>
              <a:ext cx="1171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Palau</a:t>
              </a:r>
            </a:p>
          </p:txBody>
        </p:sp>
        <p:sp>
          <p:nvSpPr>
            <p:cNvPr id="268" name="Rectangle 214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8181976" y="4378326"/>
              <a:ext cx="2267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icronesia</a:t>
              </a:r>
            </a:p>
          </p:txBody>
        </p:sp>
        <p:sp>
          <p:nvSpPr>
            <p:cNvPr id="269" name="Rectangle 215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6951663" y="5048251"/>
              <a:ext cx="26579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hristmas Is.</a:t>
              </a:r>
            </a:p>
          </p:txBody>
        </p:sp>
        <p:sp>
          <p:nvSpPr>
            <p:cNvPr id="270" name="Rectangle 216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gray">
            <a:xfrm>
              <a:off x="8447088" y="4151313"/>
              <a:ext cx="15493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Wake I.</a:t>
              </a:r>
            </a:p>
          </p:txBody>
        </p:sp>
        <p:sp>
          <p:nvSpPr>
            <p:cNvPr id="271" name="Rectangle 217"/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gray">
            <a:xfrm>
              <a:off x="8596313" y="4411663"/>
              <a:ext cx="23429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arshall Is.</a:t>
              </a:r>
            </a:p>
          </p:txBody>
        </p:sp>
        <p:sp>
          <p:nvSpPr>
            <p:cNvPr id="272" name="Rectangle 218"/>
            <p:cNvSpPr>
              <a:spLocks noChangeArrowheads="1"/>
            </p:cNvSpPr>
            <p:nvPr>
              <p:custDataLst>
                <p:tags r:id="rId53"/>
              </p:custDataLst>
            </p:nvPr>
          </p:nvSpPr>
          <p:spPr bwMode="gray">
            <a:xfrm>
              <a:off x="6186488" y="4559301"/>
              <a:ext cx="18391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aldives</a:t>
              </a:r>
            </a:p>
          </p:txBody>
        </p:sp>
        <p:sp>
          <p:nvSpPr>
            <p:cNvPr id="273" name="Rectangle 219"/>
            <p:cNvSpPr>
              <a:spLocks noChangeArrowheads="1"/>
            </p:cNvSpPr>
            <p:nvPr>
              <p:custDataLst>
                <p:tags r:id="rId54"/>
              </p:custDataLst>
            </p:nvPr>
          </p:nvSpPr>
          <p:spPr bwMode="gray">
            <a:xfrm>
              <a:off x="7048500" y="2576513"/>
              <a:ext cx="13352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Russia</a:t>
              </a:r>
            </a:p>
          </p:txBody>
        </p:sp>
        <p:sp>
          <p:nvSpPr>
            <p:cNvPr id="274" name="Rectangle 220"/>
            <p:cNvSpPr>
              <a:spLocks noChangeArrowheads="1"/>
            </p:cNvSpPr>
            <p:nvPr>
              <p:custDataLst>
                <p:tags r:id="rId55"/>
              </p:custDataLst>
            </p:nvPr>
          </p:nvSpPr>
          <p:spPr bwMode="gray">
            <a:xfrm>
              <a:off x="6789738" y="3613150"/>
              <a:ext cx="11966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hina</a:t>
              </a:r>
            </a:p>
          </p:txBody>
        </p:sp>
        <p:sp>
          <p:nvSpPr>
            <p:cNvPr id="275" name="Rectangle 221"/>
            <p:cNvSpPr>
              <a:spLocks noChangeArrowheads="1"/>
            </p:cNvSpPr>
            <p:nvPr>
              <p:custDataLst>
                <p:tags r:id="rId56"/>
              </p:custDataLst>
            </p:nvPr>
          </p:nvSpPr>
          <p:spPr bwMode="gray">
            <a:xfrm>
              <a:off x="7640638" y="5422901"/>
              <a:ext cx="18517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Australia</a:t>
              </a:r>
            </a:p>
          </p:txBody>
        </p:sp>
        <p:sp>
          <p:nvSpPr>
            <p:cNvPr id="276" name="Rectangle 222"/>
            <p:cNvSpPr>
              <a:spLocks noChangeArrowheads="1"/>
            </p:cNvSpPr>
            <p:nvPr>
              <p:custDataLst>
                <p:tags r:id="rId57"/>
              </p:custDataLst>
            </p:nvPr>
          </p:nvSpPr>
          <p:spPr bwMode="gray">
            <a:xfrm>
              <a:off x="6364288" y="4014788"/>
              <a:ext cx="10203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India</a:t>
              </a:r>
            </a:p>
          </p:txBody>
        </p:sp>
        <p:sp>
          <p:nvSpPr>
            <p:cNvPr id="277" name="Rectangle 223"/>
            <p:cNvSpPr>
              <a:spLocks noChangeArrowheads="1"/>
            </p:cNvSpPr>
            <p:nvPr>
              <p:custDataLst>
                <p:tags r:id="rId58"/>
              </p:custDataLst>
            </p:nvPr>
          </p:nvSpPr>
          <p:spPr bwMode="gray">
            <a:xfrm>
              <a:off x="5770563" y="3689351"/>
              <a:ext cx="8061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Iran</a:t>
              </a:r>
            </a:p>
          </p:txBody>
        </p:sp>
        <p:sp>
          <p:nvSpPr>
            <p:cNvPr id="278" name="Rectangle 224"/>
            <p:cNvSpPr>
              <a:spLocks noChangeArrowheads="1"/>
            </p:cNvSpPr>
            <p:nvPr>
              <p:custDataLst>
                <p:tags r:id="rId59"/>
              </p:custDataLst>
            </p:nvPr>
          </p:nvSpPr>
          <p:spPr bwMode="gray">
            <a:xfrm>
              <a:off x="6075363" y="3190875"/>
              <a:ext cx="24311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Kazakhstan</a:t>
              </a:r>
            </a:p>
          </p:txBody>
        </p:sp>
        <p:sp>
          <p:nvSpPr>
            <p:cNvPr id="279" name="Rectangle 225"/>
            <p:cNvSpPr>
              <a:spLocks noChangeArrowheads="1"/>
            </p:cNvSpPr>
            <p:nvPr>
              <p:custDataLst>
                <p:tags r:id="rId60"/>
              </p:custDataLst>
            </p:nvPr>
          </p:nvSpPr>
          <p:spPr bwMode="gray">
            <a:xfrm>
              <a:off x="6883400" y="3243263"/>
              <a:ext cx="1952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ongolia</a:t>
              </a:r>
            </a:p>
          </p:txBody>
        </p:sp>
        <p:sp>
          <p:nvSpPr>
            <p:cNvPr id="280" name="Rectangle 226"/>
            <p:cNvSpPr>
              <a:spLocks noChangeArrowheads="1"/>
            </p:cNvSpPr>
            <p:nvPr>
              <p:custDataLst>
                <p:tags r:id="rId61"/>
              </p:custDataLst>
            </p:nvPr>
          </p:nvSpPr>
          <p:spPr bwMode="gray">
            <a:xfrm>
              <a:off x="5478463" y="3967163"/>
              <a:ext cx="209550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audi Arabia</a:t>
              </a:r>
            </a:p>
          </p:txBody>
        </p:sp>
        <p:sp>
          <p:nvSpPr>
            <p:cNvPr id="281" name="Rectangle 227"/>
            <p:cNvSpPr>
              <a:spLocks noChangeArrowheads="1"/>
            </p:cNvSpPr>
            <p:nvPr>
              <p:custDataLst>
                <p:tags r:id="rId62"/>
              </p:custDataLst>
            </p:nvPr>
          </p:nvSpPr>
          <p:spPr bwMode="gray">
            <a:xfrm>
              <a:off x="5229004" y="3511551"/>
              <a:ext cx="21929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Turkey</a:t>
              </a:r>
            </a:p>
          </p:txBody>
        </p:sp>
        <p:sp>
          <p:nvSpPr>
            <p:cNvPr id="282" name="Rectangle 228"/>
            <p:cNvSpPr>
              <a:spLocks noChangeArrowheads="1"/>
            </p:cNvSpPr>
            <p:nvPr>
              <p:custDataLst>
                <p:tags r:id="rId63"/>
              </p:custDataLst>
            </p:nvPr>
          </p:nvSpPr>
          <p:spPr bwMode="gray">
            <a:xfrm>
              <a:off x="5537201" y="3727451"/>
              <a:ext cx="8061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Iraq</a:t>
              </a:r>
            </a:p>
          </p:txBody>
        </p:sp>
        <p:sp>
          <p:nvSpPr>
            <p:cNvPr id="283" name="Rectangle 229"/>
            <p:cNvSpPr>
              <a:spLocks noChangeArrowheads="1"/>
            </p:cNvSpPr>
            <p:nvPr>
              <p:custDataLst>
                <p:tags r:id="rId64"/>
              </p:custDataLst>
            </p:nvPr>
          </p:nvSpPr>
          <p:spPr bwMode="gray">
            <a:xfrm>
              <a:off x="6032500" y="3833813"/>
              <a:ext cx="17887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Pakistan</a:t>
              </a:r>
            </a:p>
          </p:txBody>
        </p:sp>
        <p:sp>
          <p:nvSpPr>
            <p:cNvPr id="284" name="Rectangle 230"/>
            <p:cNvSpPr>
              <a:spLocks noChangeArrowheads="1"/>
            </p:cNvSpPr>
            <p:nvPr>
              <p:custDataLst>
                <p:tags r:id="rId65"/>
              </p:custDataLst>
            </p:nvPr>
          </p:nvSpPr>
          <p:spPr bwMode="gray">
            <a:xfrm>
              <a:off x="6723063" y="4037013"/>
              <a:ext cx="20028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yanmar</a:t>
              </a:r>
            </a:p>
          </p:txBody>
        </p:sp>
        <p:sp>
          <p:nvSpPr>
            <p:cNvPr id="285" name="Rectangle 231"/>
            <p:cNvSpPr>
              <a:spLocks noChangeArrowheads="1"/>
            </p:cNvSpPr>
            <p:nvPr>
              <p:custDataLst>
                <p:tags r:id="rId66"/>
              </p:custDataLst>
            </p:nvPr>
          </p:nvSpPr>
          <p:spPr bwMode="gray">
            <a:xfrm>
              <a:off x="5962650" y="3665538"/>
              <a:ext cx="25319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Afghanistan</a:t>
              </a:r>
            </a:p>
          </p:txBody>
        </p:sp>
        <p:sp>
          <p:nvSpPr>
            <p:cNvPr id="286" name="Rectangle 232"/>
            <p:cNvSpPr>
              <a:spLocks noChangeArrowheads="1"/>
            </p:cNvSpPr>
            <p:nvPr>
              <p:custDataLst>
                <p:tags r:id="rId67"/>
              </p:custDataLst>
            </p:nvPr>
          </p:nvSpPr>
          <p:spPr bwMode="gray">
            <a:xfrm>
              <a:off x="5884863" y="3382963"/>
              <a:ext cx="23303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Uzbekistan</a:t>
              </a:r>
            </a:p>
          </p:txBody>
        </p:sp>
        <p:sp>
          <p:nvSpPr>
            <p:cNvPr id="287" name="Rectangle 233"/>
            <p:cNvSpPr>
              <a:spLocks noChangeArrowheads="1"/>
            </p:cNvSpPr>
            <p:nvPr>
              <p:custDataLst>
                <p:tags r:id="rId68"/>
              </p:custDataLst>
            </p:nvPr>
          </p:nvSpPr>
          <p:spPr bwMode="gray">
            <a:xfrm>
              <a:off x="5810249" y="3521076"/>
              <a:ext cx="28846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Turkmenistan</a:t>
              </a:r>
            </a:p>
          </p:txBody>
        </p:sp>
        <p:sp>
          <p:nvSpPr>
            <p:cNvPr id="288" name="Rectangle 234"/>
            <p:cNvSpPr>
              <a:spLocks noChangeArrowheads="1"/>
            </p:cNvSpPr>
            <p:nvPr>
              <p:custDataLst>
                <p:tags r:id="rId69"/>
              </p:custDataLst>
            </p:nvPr>
          </p:nvSpPr>
          <p:spPr bwMode="gray">
            <a:xfrm>
              <a:off x="6858000" y="4219576"/>
              <a:ext cx="18013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Thailand</a:t>
              </a:r>
            </a:p>
          </p:txBody>
        </p:sp>
        <p:sp>
          <p:nvSpPr>
            <p:cNvPr id="289" name="Rectangle 235"/>
            <p:cNvSpPr>
              <a:spLocks noChangeArrowheads="1"/>
            </p:cNvSpPr>
            <p:nvPr>
              <p:custDataLst>
                <p:tags r:id="rId70"/>
              </p:custDataLst>
            </p:nvPr>
          </p:nvSpPr>
          <p:spPr bwMode="gray">
            <a:xfrm>
              <a:off x="5557838" y="4214813"/>
              <a:ext cx="1486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Yemen</a:t>
              </a:r>
            </a:p>
          </p:txBody>
        </p:sp>
        <p:sp>
          <p:nvSpPr>
            <p:cNvPr id="290" name="Rectangle 236"/>
            <p:cNvSpPr>
              <a:spLocks noChangeArrowheads="1"/>
            </p:cNvSpPr>
            <p:nvPr>
              <p:custDataLst>
                <p:tags r:id="rId71"/>
              </p:custDataLst>
            </p:nvPr>
          </p:nvSpPr>
          <p:spPr bwMode="gray">
            <a:xfrm>
              <a:off x="7894638" y="3568701"/>
              <a:ext cx="12218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Japan</a:t>
              </a:r>
            </a:p>
          </p:txBody>
        </p:sp>
        <p:sp>
          <p:nvSpPr>
            <p:cNvPr id="291" name="Rectangle 237"/>
            <p:cNvSpPr>
              <a:spLocks noChangeArrowheads="1"/>
            </p:cNvSpPr>
            <p:nvPr>
              <p:custDataLst>
                <p:tags r:id="rId72"/>
              </p:custDataLst>
            </p:nvPr>
          </p:nvSpPr>
          <p:spPr bwMode="gray">
            <a:xfrm>
              <a:off x="5792789" y="4108451"/>
              <a:ext cx="12974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Oman</a:t>
              </a:r>
            </a:p>
          </p:txBody>
        </p:sp>
        <p:sp>
          <p:nvSpPr>
            <p:cNvPr id="292" name="Rectangle 238"/>
            <p:cNvSpPr>
              <a:spLocks noChangeArrowheads="1"/>
            </p:cNvSpPr>
            <p:nvPr>
              <p:custDataLst>
                <p:tags r:id="rId73"/>
              </p:custDataLst>
            </p:nvPr>
          </p:nvSpPr>
          <p:spPr bwMode="gray">
            <a:xfrm>
              <a:off x="6910389" y="4100513"/>
              <a:ext cx="9825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Laos</a:t>
              </a:r>
            </a:p>
          </p:txBody>
        </p:sp>
        <p:sp>
          <p:nvSpPr>
            <p:cNvPr id="293" name="Rectangle 239"/>
            <p:cNvSpPr>
              <a:spLocks noChangeArrowheads="1"/>
            </p:cNvSpPr>
            <p:nvPr>
              <p:custDataLst>
                <p:tags r:id="rId74"/>
              </p:custDataLst>
            </p:nvPr>
          </p:nvSpPr>
          <p:spPr bwMode="gray">
            <a:xfrm>
              <a:off x="7085013" y="4300538"/>
              <a:ext cx="17761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Vietnam</a:t>
              </a:r>
            </a:p>
          </p:txBody>
        </p:sp>
        <p:sp>
          <p:nvSpPr>
            <p:cNvPr id="294" name="Rectangle 240"/>
            <p:cNvSpPr>
              <a:spLocks noChangeArrowheads="1"/>
            </p:cNvSpPr>
            <p:nvPr>
              <p:custDataLst>
                <p:tags r:id="rId75"/>
              </p:custDataLst>
            </p:nvPr>
          </p:nvSpPr>
          <p:spPr bwMode="gray">
            <a:xfrm>
              <a:off x="6465888" y="3849687"/>
              <a:ext cx="12344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Nepal</a:t>
              </a:r>
            </a:p>
          </p:txBody>
        </p:sp>
        <p:sp>
          <p:nvSpPr>
            <p:cNvPr id="295" name="Rectangle 241"/>
            <p:cNvSpPr>
              <a:spLocks noChangeArrowheads="1"/>
            </p:cNvSpPr>
            <p:nvPr>
              <p:custDataLst>
                <p:tags r:id="rId76"/>
              </p:custDataLst>
            </p:nvPr>
          </p:nvSpPr>
          <p:spPr bwMode="gray">
            <a:xfrm>
              <a:off x="6226176" y="3413126"/>
              <a:ext cx="23303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Kyrgyzstan</a:t>
              </a:r>
            </a:p>
          </p:txBody>
        </p:sp>
        <p:sp>
          <p:nvSpPr>
            <p:cNvPr id="296" name="Rectangle 242"/>
            <p:cNvSpPr>
              <a:spLocks noChangeArrowheads="1"/>
            </p:cNvSpPr>
            <p:nvPr>
              <p:custDataLst>
                <p:tags r:id="rId77"/>
              </p:custDataLst>
            </p:nvPr>
          </p:nvSpPr>
          <p:spPr bwMode="gray">
            <a:xfrm>
              <a:off x="5630864" y="3578226"/>
              <a:ext cx="22296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Azerbaijan</a:t>
              </a:r>
            </a:p>
          </p:txBody>
        </p:sp>
        <p:sp>
          <p:nvSpPr>
            <p:cNvPr id="297" name="Rectangle 243"/>
            <p:cNvSpPr>
              <a:spLocks noChangeArrowheads="1"/>
            </p:cNvSpPr>
            <p:nvPr>
              <p:custDataLst>
                <p:tags r:id="rId78"/>
              </p:custDataLst>
            </p:nvPr>
          </p:nvSpPr>
          <p:spPr bwMode="gray">
            <a:xfrm>
              <a:off x="6190761" y="3512334"/>
              <a:ext cx="20154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Tajikistan</a:t>
              </a:r>
            </a:p>
          </p:txBody>
        </p:sp>
        <p:sp>
          <p:nvSpPr>
            <p:cNvPr id="298" name="Rectangle 244"/>
            <p:cNvSpPr>
              <a:spLocks noChangeArrowheads="1"/>
            </p:cNvSpPr>
            <p:nvPr>
              <p:custDataLst>
                <p:tags r:id="rId79"/>
              </p:custDataLst>
            </p:nvPr>
          </p:nvSpPr>
          <p:spPr bwMode="gray">
            <a:xfrm>
              <a:off x="8359775" y="5888038"/>
              <a:ext cx="27460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New Zealand</a:t>
              </a:r>
            </a:p>
          </p:txBody>
        </p:sp>
        <p:sp>
          <p:nvSpPr>
            <p:cNvPr id="299" name="Rectangle 245"/>
            <p:cNvSpPr>
              <a:spLocks noChangeArrowheads="1"/>
            </p:cNvSpPr>
            <p:nvPr>
              <p:custDataLst>
                <p:tags r:id="rId80"/>
              </p:custDataLst>
            </p:nvPr>
          </p:nvSpPr>
          <p:spPr bwMode="gray">
            <a:xfrm>
              <a:off x="7910513" y="4806952"/>
              <a:ext cx="45878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Papua New Guinea</a:t>
              </a:r>
            </a:p>
          </p:txBody>
        </p:sp>
        <p:sp>
          <p:nvSpPr>
            <p:cNvPr id="300" name="Rectangle 246"/>
            <p:cNvSpPr>
              <a:spLocks noChangeArrowheads="1"/>
            </p:cNvSpPr>
            <p:nvPr>
              <p:custDataLst>
                <p:tags r:id="rId81"/>
              </p:custDataLst>
            </p:nvPr>
          </p:nvSpPr>
          <p:spPr bwMode="gray">
            <a:xfrm>
              <a:off x="5345112" y="3763963"/>
              <a:ext cx="1398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Jordan</a:t>
              </a:r>
            </a:p>
          </p:txBody>
        </p:sp>
        <p:sp>
          <p:nvSpPr>
            <p:cNvPr id="301" name="Rectangle 247"/>
            <p:cNvSpPr>
              <a:spLocks noChangeArrowheads="1"/>
            </p:cNvSpPr>
            <p:nvPr>
              <p:custDataLst>
                <p:tags r:id="rId82"/>
              </p:custDataLst>
            </p:nvPr>
          </p:nvSpPr>
          <p:spPr bwMode="gray">
            <a:xfrm>
              <a:off x="7427913" y="3465513"/>
              <a:ext cx="25571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North Korea</a:t>
              </a:r>
            </a:p>
          </p:txBody>
        </p:sp>
        <p:sp>
          <p:nvSpPr>
            <p:cNvPr id="302" name="Rectangle 248"/>
            <p:cNvSpPr>
              <a:spLocks noChangeArrowheads="1"/>
            </p:cNvSpPr>
            <p:nvPr>
              <p:custDataLst>
                <p:tags r:id="rId83"/>
              </p:custDataLst>
            </p:nvPr>
          </p:nvSpPr>
          <p:spPr bwMode="gray">
            <a:xfrm>
              <a:off x="7477126" y="4819651"/>
              <a:ext cx="20028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Indonesia</a:t>
              </a:r>
            </a:p>
          </p:txBody>
        </p:sp>
        <p:sp>
          <p:nvSpPr>
            <p:cNvPr id="303" name="Rectangle 249"/>
            <p:cNvSpPr>
              <a:spLocks noChangeArrowheads="1"/>
            </p:cNvSpPr>
            <p:nvPr>
              <p:custDataLst>
                <p:tags r:id="rId84"/>
              </p:custDataLst>
            </p:nvPr>
          </p:nvSpPr>
          <p:spPr bwMode="gray">
            <a:xfrm>
              <a:off x="6958013" y="4551363"/>
              <a:ext cx="18391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alaysia</a:t>
              </a:r>
            </a:p>
          </p:txBody>
        </p:sp>
        <p:sp>
          <p:nvSpPr>
            <p:cNvPr id="304" name="Rectangle 250"/>
            <p:cNvSpPr>
              <a:spLocks noChangeArrowheads="1"/>
            </p:cNvSpPr>
            <p:nvPr>
              <p:custDataLst>
                <p:tags r:id="rId85"/>
              </p:custDataLst>
            </p:nvPr>
          </p:nvSpPr>
          <p:spPr bwMode="gray">
            <a:xfrm>
              <a:off x="6502400" y="3963988"/>
              <a:ext cx="24311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angladesh</a:t>
              </a:r>
            </a:p>
          </p:txBody>
        </p:sp>
        <p:sp>
          <p:nvSpPr>
            <p:cNvPr id="305" name="Rectangle 251"/>
            <p:cNvSpPr>
              <a:spLocks noChangeArrowheads="1"/>
            </p:cNvSpPr>
            <p:nvPr>
              <p:custDataLst>
                <p:tags r:id="rId86"/>
              </p:custDataLst>
            </p:nvPr>
          </p:nvSpPr>
          <p:spPr bwMode="gray">
            <a:xfrm>
              <a:off x="7413625" y="3581401"/>
              <a:ext cx="25823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outh Korea</a:t>
              </a:r>
            </a:p>
          </p:txBody>
        </p:sp>
        <p:sp>
          <p:nvSpPr>
            <p:cNvPr id="306" name="Rectangle 252"/>
            <p:cNvSpPr>
              <a:spLocks noChangeArrowheads="1"/>
            </p:cNvSpPr>
            <p:nvPr>
              <p:custDataLst>
                <p:tags r:id="rId87"/>
              </p:custDataLst>
            </p:nvPr>
          </p:nvSpPr>
          <p:spPr bwMode="gray">
            <a:xfrm>
              <a:off x="6596063" y="3805238"/>
              <a:ext cx="15242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hutan</a:t>
              </a:r>
            </a:p>
          </p:txBody>
        </p:sp>
        <p:sp>
          <p:nvSpPr>
            <p:cNvPr id="307" name="Rectangle 253"/>
            <p:cNvSpPr>
              <a:spLocks noChangeArrowheads="1"/>
            </p:cNvSpPr>
            <p:nvPr>
              <p:custDataLst>
                <p:tags r:id="rId88"/>
              </p:custDataLst>
            </p:nvPr>
          </p:nvSpPr>
          <p:spPr bwMode="gray">
            <a:xfrm>
              <a:off x="6362700" y="4470401"/>
              <a:ext cx="19272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ri Lanka</a:t>
              </a:r>
            </a:p>
          </p:txBody>
        </p:sp>
        <p:sp>
          <p:nvSpPr>
            <p:cNvPr id="308" name="Rectangle 254"/>
            <p:cNvSpPr>
              <a:spLocks noChangeArrowheads="1"/>
            </p:cNvSpPr>
            <p:nvPr>
              <p:custDataLst>
                <p:tags r:id="rId89"/>
              </p:custDataLst>
            </p:nvPr>
          </p:nvSpPr>
          <p:spPr bwMode="gray">
            <a:xfrm>
              <a:off x="7443788" y="4025901"/>
              <a:ext cx="15116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Taiwan</a:t>
              </a:r>
            </a:p>
          </p:txBody>
        </p:sp>
        <p:sp>
          <p:nvSpPr>
            <p:cNvPr id="309" name="Rectangle 255"/>
            <p:cNvSpPr>
              <a:spLocks noChangeArrowheads="1"/>
            </p:cNvSpPr>
            <p:nvPr>
              <p:custDataLst>
                <p:tags r:id="rId90"/>
              </p:custDataLst>
            </p:nvPr>
          </p:nvSpPr>
          <p:spPr bwMode="gray">
            <a:xfrm>
              <a:off x="8342313" y="5322888"/>
              <a:ext cx="31365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New Caledonia</a:t>
              </a:r>
            </a:p>
          </p:txBody>
        </p:sp>
        <p:sp>
          <p:nvSpPr>
            <p:cNvPr id="310" name="Rectangle 256"/>
            <p:cNvSpPr>
              <a:spLocks noChangeArrowheads="1"/>
            </p:cNvSpPr>
            <p:nvPr>
              <p:custDataLst>
                <p:tags r:id="rId91"/>
              </p:custDataLst>
            </p:nvPr>
          </p:nvSpPr>
          <p:spPr bwMode="gray">
            <a:xfrm>
              <a:off x="7510463" y="4284663"/>
              <a:ext cx="22548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Philippines</a:t>
              </a:r>
            </a:p>
          </p:txBody>
        </p:sp>
        <p:sp>
          <p:nvSpPr>
            <p:cNvPr id="311" name="Rectangle 257"/>
            <p:cNvSpPr>
              <a:spLocks noChangeArrowheads="1"/>
            </p:cNvSpPr>
            <p:nvPr>
              <p:custDataLst>
                <p:tags r:id="rId92"/>
              </p:custDataLst>
            </p:nvPr>
          </p:nvSpPr>
          <p:spPr bwMode="gray">
            <a:xfrm>
              <a:off x="8401050" y="4926013"/>
              <a:ext cx="24311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olomon Is.</a:t>
              </a:r>
            </a:p>
          </p:txBody>
        </p:sp>
        <p:sp>
          <p:nvSpPr>
            <p:cNvPr id="312" name="Rectangle 258"/>
            <p:cNvSpPr>
              <a:spLocks noChangeArrowheads="1"/>
            </p:cNvSpPr>
            <p:nvPr>
              <p:custDataLst>
                <p:tags r:id="rId93"/>
              </p:custDataLst>
            </p:nvPr>
          </p:nvSpPr>
          <p:spPr bwMode="gray">
            <a:xfrm>
              <a:off x="8545513" y="5084763"/>
              <a:ext cx="17761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Vanuatu</a:t>
              </a:r>
            </a:p>
          </p:txBody>
        </p:sp>
        <p:sp>
          <p:nvSpPr>
            <p:cNvPr id="313" name="Rectangle 259"/>
            <p:cNvSpPr>
              <a:spLocks noChangeArrowheads="1"/>
            </p:cNvSpPr>
            <p:nvPr>
              <p:custDataLst>
                <p:tags r:id="rId94"/>
              </p:custDataLst>
            </p:nvPr>
          </p:nvSpPr>
          <p:spPr bwMode="gray">
            <a:xfrm>
              <a:off x="5177832" y="3727833"/>
              <a:ext cx="11085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Israel</a:t>
              </a:r>
            </a:p>
          </p:txBody>
        </p:sp>
        <p:sp>
          <p:nvSpPr>
            <p:cNvPr id="314" name="Rectangle 260"/>
            <p:cNvSpPr>
              <a:spLocks noChangeArrowheads="1"/>
            </p:cNvSpPr>
            <p:nvPr>
              <p:custDataLst>
                <p:tags r:id="rId95"/>
              </p:custDataLst>
            </p:nvPr>
          </p:nvSpPr>
          <p:spPr bwMode="gray">
            <a:xfrm>
              <a:off x="5746750" y="3992563"/>
              <a:ext cx="13478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U.A.E.</a:t>
              </a:r>
            </a:p>
          </p:txBody>
        </p:sp>
        <p:sp>
          <p:nvSpPr>
            <p:cNvPr id="315" name="Rectangle 261"/>
            <p:cNvSpPr>
              <a:spLocks noChangeArrowheads="1"/>
            </p:cNvSpPr>
            <p:nvPr>
              <p:custDataLst>
                <p:tags r:id="rId96"/>
              </p:custDataLst>
            </p:nvPr>
          </p:nvSpPr>
          <p:spPr bwMode="gray">
            <a:xfrm>
              <a:off x="5680076" y="3883026"/>
              <a:ext cx="16123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ahrain</a:t>
              </a:r>
            </a:p>
          </p:txBody>
        </p:sp>
        <p:sp>
          <p:nvSpPr>
            <p:cNvPr id="316" name="Rectangle 262"/>
            <p:cNvSpPr>
              <a:spLocks noChangeArrowheads="1"/>
            </p:cNvSpPr>
            <p:nvPr>
              <p:custDataLst>
                <p:tags r:id="rId97"/>
              </p:custDataLst>
            </p:nvPr>
          </p:nvSpPr>
          <p:spPr bwMode="gray">
            <a:xfrm>
              <a:off x="5335588" y="3675062"/>
              <a:ext cx="18265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Lebanon</a:t>
              </a:r>
            </a:p>
          </p:txBody>
        </p:sp>
        <p:sp>
          <p:nvSpPr>
            <p:cNvPr id="317" name="Rectangle 263"/>
            <p:cNvSpPr>
              <a:spLocks noChangeArrowheads="1"/>
            </p:cNvSpPr>
            <p:nvPr>
              <p:custDataLst>
                <p:tags r:id="rId98"/>
              </p:custDataLst>
            </p:nvPr>
          </p:nvSpPr>
          <p:spPr bwMode="gray">
            <a:xfrm>
              <a:off x="5453063" y="3397251"/>
              <a:ext cx="16501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Georgia</a:t>
              </a:r>
            </a:p>
          </p:txBody>
        </p:sp>
        <p:sp>
          <p:nvSpPr>
            <p:cNvPr id="318" name="Rectangle 264"/>
            <p:cNvSpPr>
              <a:spLocks noChangeArrowheads="1"/>
            </p:cNvSpPr>
            <p:nvPr>
              <p:custDataLst>
                <p:tags r:id="rId99"/>
              </p:custDataLst>
            </p:nvPr>
          </p:nvSpPr>
          <p:spPr bwMode="gray">
            <a:xfrm>
              <a:off x="5440363" y="3468688"/>
              <a:ext cx="17761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Armenia</a:t>
              </a:r>
            </a:p>
          </p:txBody>
        </p:sp>
        <p:sp>
          <p:nvSpPr>
            <p:cNvPr id="319" name="Rectangle 281"/>
            <p:cNvSpPr>
              <a:spLocks noChangeArrowheads="1"/>
            </p:cNvSpPr>
            <p:nvPr>
              <p:custDataLst>
                <p:tags r:id="rId100"/>
              </p:custDataLst>
            </p:nvPr>
          </p:nvSpPr>
          <p:spPr bwMode="gray">
            <a:xfrm>
              <a:off x="7234238" y="4457701"/>
              <a:ext cx="171450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East Timor</a:t>
              </a:r>
            </a:p>
          </p:txBody>
        </p:sp>
        <p:sp>
          <p:nvSpPr>
            <p:cNvPr id="320" name="Rectangle 282"/>
            <p:cNvSpPr>
              <a:spLocks noChangeArrowheads="1"/>
            </p:cNvSpPr>
            <p:nvPr>
              <p:custDataLst>
                <p:tags r:id="rId101"/>
              </p:custDataLst>
            </p:nvPr>
          </p:nvSpPr>
          <p:spPr bwMode="gray">
            <a:xfrm>
              <a:off x="6838950" y="4314826"/>
              <a:ext cx="21288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ambodia</a:t>
              </a:r>
            </a:p>
          </p:txBody>
        </p:sp>
        <p:sp>
          <p:nvSpPr>
            <p:cNvPr id="321" name="Rectangle 284"/>
            <p:cNvSpPr>
              <a:spLocks noChangeArrowheads="1"/>
            </p:cNvSpPr>
            <p:nvPr>
              <p:custDataLst>
                <p:tags r:id="rId102"/>
              </p:custDataLst>
            </p:nvPr>
          </p:nvSpPr>
          <p:spPr bwMode="gray">
            <a:xfrm>
              <a:off x="4491038" y="4375151"/>
              <a:ext cx="1825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enin</a:t>
              </a:r>
            </a:p>
          </p:txBody>
        </p:sp>
        <p:sp>
          <p:nvSpPr>
            <p:cNvPr id="322" name="Rectangle 285"/>
            <p:cNvSpPr>
              <a:spLocks noChangeArrowheads="1"/>
            </p:cNvSpPr>
            <p:nvPr>
              <p:custDataLst>
                <p:tags r:id="rId103"/>
              </p:custDataLst>
            </p:nvPr>
          </p:nvSpPr>
          <p:spPr bwMode="gray">
            <a:xfrm>
              <a:off x="4821238" y="4649789"/>
              <a:ext cx="13604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ongo</a:t>
              </a:r>
            </a:p>
          </p:txBody>
        </p:sp>
        <p:sp>
          <p:nvSpPr>
            <p:cNvPr id="323" name="Rectangle 286"/>
            <p:cNvSpPr>
              <a:spLocks noChangeArrowheads="1"/>
            </p:cNvSpPr>
            <p:nvPr>
              <p:custDataLst>
                <p:tags r:id="rId104"/>
              </p:custDataLst>
            </p:nvPr>
          </p:nvSpPr>
          <p:spPr bwMode="gray">
            <a:xfrm>
              <a:off x="4146972" y="4568769"/>
              <a:ext cx="14234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Liberia</a:t>
              </a:r>
            </a:p>
          </p:txBody>
        </p:sp>
        <p:sp>
          <p:nvSpPr>
            <p:cNvPr id="324" name="Rectangle 287"/>
            <p:cNvSpPr>
              <a:spLocks noChangeArrowheads="1"/>
            </p:cNvSpPr>
            <p:nvPr>
              <p:custDataLst>
                <p:tags r:id="rId105"/>
              </p:custDataLst>
            </p:nvPr>
          </p:nvSpPr>
          <p:spPr bwMode="gray">
            <a:xfrm>
              <a:off x="3884614" y="3784601"/>
              <a:ext cx="20406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anary Is.</a:t>
              </a:r>
            </a:p>
          </p:txBody>
        </p:sp>
        <p:sp>
          <p:nvSpPr>
            <p:cNvPr id="325" name="Rectangle 288"/>
            <p:cNvSpPr>
              <a:spLocks noChangeArrowheads="1"/>
            </p:cNvSpPr>
            <p:nvPr>
              <p:custDataLst>
                <p:tags r:id="rId106"/>
              </p:custDataLst>
            </p:nvPr>
          </p:nvSpPr>
          <p:spPr bwMode="gray">
            <a:xfrm>
              <a:off x="4699000" y="4708526"/>
              <a:ext cx="1385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Gabon</a:t>
              </a:r>
            </a:p>
          </p:txBody>
        </p:sp>
        <p:sp>
          <p:nvSpPr>
            <p:cNvPr id="326" name="Rectangle 289"/>
            <p:cNvSpPr>
              <a:spLocks noChangeArrowheads="1"/>
            </p:cNvSpPr>
            <p:nvPr>
              <p:custDataLst>
                <p:tags r:id="rId107"/>
              </p:custDataLst>
            </p:nvPr>
          </p:nvSpPr>
          <p:spPr bwMode="gray">
            <a:xfrm>
              <a:off x="4452938" y="4537076"/>
              <a:ext cx="1825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Togo</a:t>
              </a:r>
            </a:p>
          </p:txBody>
        </p:sp>
        <p:sp>
          <p:nvSpPr>
            <p:cNvPr id="327" name="Rectangle 290"/>
            <p:cNvSpPr>
              <a:spLocks noChangeArrowheads="1"/>
            </p:cNvSpPr>
            <p:nvPr>
              <p:custDataLst>
                <p:tags r:id="rId108"/>
              </p:custDataLst>
            </p:nvPr>
          </p:nvSpPr>
          <p:spPr bwMode="gray">
            <a:xfrm>
              <a:off x="5114926" y="4695826"/>
              <a:ext cx="16879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Rwanda</a:t>
              </a:r>
            </a:p>
          </p:txBody>
        </p:sp>
        <p:sp>
          <p:nvSpPr>
            <p:cNvPr id="328" name="Rectangle 291"/>
            <p:cNvSpPr>
              <a:spLocks noChangeArrowheads="1"/>
            </p:cNvSpPr>
            <p:nvPr>
              <p:custDataLst>
                <p:tags r:id="rId109"/>
              </p:custDataLst>
            </p:nvPr>
          </p:nvSpPr>
          <p:spPr bwMode="gray">
            <a:xfrm>
              <a:off x="3622676" y="4211639"/>
              <a:ext cx="24059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ape Verde</a:t>
              </a:r>
            </a:p>
          </p:txBody>
        </p:sp>
        <p:sp>
          <p:nvSpPr>
            <p:cNvPr id="329" name="Rectangle 292"/>
            <p:cNvSpPr>
              <a:spLocks noChangeArrowheads="1"/>
            </p:cNvSpPr>
            <p:nvPr>
              <p:custDataLst>
                <p:tags r:id="rId110"/>
              </p:custDataLst>
            </p:nvPr>
          </p:nvSpPr>
          <p:spPr bwMode="gray">
            <a:xfrm>
              <a:off x="5719763" y="4767263"/>
              <a:ext cx="21918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eychelles</a:t>
              </a:r>
            </a:p>
          </p:txBody>
        </p:sp>
        <p:sp>
          <p:nvSpPr>
            <p:cNvPr id="330" name="Rectangle 293"/>
            <p:cNvSpPr>
              <a:spLocks noChangeArrowheads="1"/>
            </p:cNvSpPr>
            <p:nvPr>
              <p:custDataLst>
                <p:tags r:id="rId111"/>
              </p:custDataLst>
            </p:nvPr>
          </p:nvSpPr>
          <p:spPr bwMode="gray">
            <a:xfrm>
              <a:off x="4487863" y="3868739"/>
              <a:ext cx="14738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Algeria</a:t>
              </a:r>
            </a:p>
          </p:txBody>
        </p:sp>
        <p:sp>
          <p:nvSpPr>
            <p:cNvPr id="331" name="Rectangle 294"/>
            <p:cNvSpPr>
              <a:spLocks noChangeArrowheads="1"/>
            </p:cNvSpPr>
            <p:nvPr>
              <p:custDataLst>
                <p:tags r:id="rId112"/>
              </p:custDataLst>
            </p:nvPr>
          </p:nvSpPr>
          <p:spPr bwMode="gray">
            <a:xfrm>
              <a:off x="5105400" y="4229101"/>
              <a:ext cx="230188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500" dirty="0">
                  <a:solidFill>
                    <a:srgbClr val="006EB6"/>
                  </a:solidFill>
                </a:rPr>
                <a:t>North Sudan</a:t>
              </a:r>
            </a:p>
          </p:txBody>
        </p:sp>
        <p:sp>
          <p:nvSpPr>
            <p:cNvPr id="332" name="Rectangle 295"/>
            <p:cNvSpPr>
              <a:spLocks noChangeArrowheads="1"/>
            </p:cNvSpPr>
            <p:nvPr>
              <p:custDataLst>
                <p:tags r:id="rId113"/>
              </p:custDataLst>
            </p:nvPr>
          </p:nvSpPr>
          <p:spPr bwMode="gray">
            <a:xfrm>
              <a:off x="4875213" y="3875088"/>
              <a:ext cx="11337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Libya</a:t>
              </a:r>
            </a:p>
          </p:txBody>
        </p:sp>
        <p:sp>
          <p:nvSpPr>
            <p:cNvPr id="333" name="Rectangle 296"/>
            <p:cNvSpPr>
              <a:spLocks noChangeArrowheads="1"/>
            </p:cNvSpPr>
            <p:nvPr>
              <p:custDataLst>
                <p:tags r:id="rId114"/>
              </p:custDataLst>
            </p:nvPr>
          </p:nvSpPr>
          <p:spPr bwMode="gray">
            <a:xfrm>
              <a:off x="4430712" y="4140201"/>
              <a:ext cx="8943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ali</a:t>
              </a:r>
            </a:p>
          </p:txBody>
        </p:sp>
        <p:sp>
          <p:nvSpPr>
            <p:cNvPr id="334" name="Rectangle 297"/>
            <p:cNvSpPr>
              <a:spLocks noChangeArrowheads="1"/>
            </p:cNvSpPr>
            <p:nvPr>
              <p:custDataLst>
                <p:tags r:id="rId115"/>
              </p:custDataLst>
            </p:nvPr>
          </p:nvSpPr>
          <p:spPr bwMode="gray">
            <a:xfrm>
              <a:off x="4895851" y="4240214"/>
              <a:ext cx="10833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had</a:t>
              </a:r>
            </a:p>
          </p:txBody>
        </p:sp>
        <p:sp>
          <p:nvSpPr>
            <p:cNvPr id="335" name="Rectangle 298"/>
            <p:cNvSpPr>
              <a:spLocks noChangeArrowheads="1"/>
            </p:cNvSpPr>
            <p:nvPr>
              <p:custDataLst>
                <p:tags r:id="rId116"/>
              </p:custDataLst>
            </p:nvPr>
          </p:nvSpPr>
          <p:spPr bwMode="gray">
            <a:xfrm>
              <a:off x="4681538" y="4171951"/>
              <a:ext cx="11463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Niger</a:t>
              </a:r>
            </a:p>
          </p:txBody>
        </p:sp>
        <p:sp>
          <p:nvSpPr>
            <p:cNvPr id="336" name="Rectangle 299"/>
            <p:cNvSpPr>
              <a:spLocks noChangeArrowheads="1"/>
            </p:cNvSpPr>
            <p:nvPr>
              <p:custDataLst>
                <p:tags r:id="rId117"/>
              </p:custDataLst>
            </p:nvPr>
          </p:nvSpPr>
          <p:spPr bwMode="gray">
            <a:xfrm>
              <a:off x="5153025" y="3925888"/>
              <a:ext cx="12218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Egypt</a:t>
              </a:r>
            </a:p>
          </p:txBody>
        </p:sp>
        <p:sp>
          <p:nvSpPr>
            <p:cNvPr id="337" name="Rectangle 300"/>
            <p:cNvSpPr>
              <a:spLocks noChangeArrowheads="1"/>
            </p:cNvSpPr>
            <p:nvPr>
              <p:custDataLst>
                <p:tags r:id="rId118"/>
              </p:custDataLst>
            </p:nvPr>
          </p:nvSpPr>
          <p:spPr bwMode="gray">
            <a:xfrm>
              <a:off x="4851400" y="5048251"/>
              <a:ext cx="14738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Angola</a:t>
              </a:r>
            </a:p>
          </p:txBody>
        </p:sp>
        <p:sp>
          <p:nvSpPr>
            <p:cNvPr id="338" name="Rectangle 301"/>
            <p:cNvSpPr>
              <a:spLocks noChangeArrowheads="1"/>
            </p:cNvSpPr>
            <p:nvPr>
              <p:custDataLst>
                <p:tags r:id="rId119"/>
              </p:custDataLst>
            </p:nvPr>
          </p:nvSpPr>
          <p:spPr bwMode="gray">
            <a:xfrm>
              <a:off x="4921251" y="4779964"/>
              <a:ext cx="269875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Dem. Rep. Congo</a:t>
              </a:r>
            </a:p>
          </p:txBody>
        </p:sp>
        <p:sp>
          <p:nvSpPr>
            <p:cNvPr id="339" name="Rectangle 302"/>
            <p:cNvSpPr>
              <a:spLocks noChangeArrowheads="1"/>
            </p:cNvSpPr>
            <p:nvPr>
              <p:custDataLst>
                <p:tags r:id="rId120"/>
              </p:custDataLst>
            </p:nvPr>
          </p:nvSpPr>
          <p:spPr bwMode="gray">
            <a:xfrm>
              <a:off x="5338763" y="4418014"/>
              <a:ext cx="17257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Ethiopia</a:t>
              </a:r>
            </a:p>
          </p:txBody>
        </p:sp>
        <p:sp>
          <p:nvSpPr>
            <p:cNvPr id="340" name="Rectangle 303"/>
            <p:cNvSpPr>
              <a:spLocks noChangeArrowheads="1"/>
            </p:cNvSpPr>
            <p:nvPr>
              <p:custDataLst>
                <p:tags r:id="rId121"/>
              </p:custDataLst>
            </p:nvPr>
          </p:nvSpPr>
          <p:spPr bwMode="gray">
            <a:xfrm>
              <a:off x="4965700" y="5553076"/>
              <a:ext cx="200025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outh Africa</a:t>
              </a:r>
            </a:p>
          </p:txBody>
        </p:sp>
        <p:sp>
          <p:nvSpPr>
            <p:cNvPr id="341" name="Rectangle 304"/>
            <p:cNvSpPr>
              <a:spLocks noChangeArrowheads="1"/>
            </p:cNvSpPr>
            <p:nvPr>
              <p:custDataLst>
                <p:tags r:id="rId122"/>
              </p:custDataLst>
            </p:nvPr>
          </p:nvSpPr>
          <p:spPr bwMode="gray">
            <a:xfrm>
              <a:off x="4643438" y="4418014"/>
              <a:ext cx="15116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Nigeria</a:t>
              </a:r>
            </a:p>
          </p:txBody>
        </p:sp>
        <p:sp>
          <p:nvSpPr>
            <p:cNvPr id="342" name="Rectangle 305"/>
            <p:cNvSpPr>
              <a:spLocks noChangeArrowheads="1"/>
            </p:cNvSpPr>
            <p:nvPr>
              <p:custDataLst>
                <p:tags r:id="rId123"/>
              </p:custDataLst>
            </p:nvPr>
          </p:nvSpPr>
          <p:spPr bwMode="gray">
            <a:xfrm>
              <a:off x="4821238" y="5259389"/>
              <a:ext cx="1763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Namibia</a:t>
              </a:r>
            </a:p>
          </p:txBody>
        </p:sp>
        <p:sp>
          <p:nvSpPr>
            <p:cNvPr id="343" name="Rectangle 306"/>
            <p:cNvSpPr>
              <a:spLocks noChangeArrowheads="1"/>
            </p:cNvSpPr>
            <p:nvPr>
              <p:custDataLst>
                <p:tags r:id="rId124"/>
              </p:custDataLst>
            </p:nvPr>
          </p:nvSpPr>
          <p:spPr bwMode="gray">
            <a:xfrm>
              <a:off x="4127500" y="4137027"/>
              <a:ext cx="2267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auritania</a:t>
              </a:r>
            </a:p>
          </p:txBody>
        </p:sp>
        <p:sp>
          <p:nvSpPr>
            <p:cNvPr id="344" name="Rectangle 307"/>
            <p:cNvSpPr>
              <a:spLocks noChangeArrowheads="1"/>
            </p:cNvSpPr>
            <p:nvPr>
              <p:custDataLst>
                <p:tags r:id="rId125"/>
              </p:custDataLst>
            </p:nvPr>
          </p:nvSpPr>
          <p:spPr bwMode="gray">
            <a:xfrm>
              <a:off x="5067300" y="5100639"/>
              <a:ext cx="15871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Zambia</a:t>
              </a:r>
            </a:p>
          </p:txBody>
        </p:sp>
        <p:sp>
          <p:nvSpPr>
            <p:cNvPr id="345" name="Rectangle 308"/>
            <p:cNvSpPr>
              <a:spLocks noChangeArrowheads="1"/>
            </p:cNvSpPr>
            <p:nvPr>
              <p:custDataLst>
                <p:tags r:id="rId126"/>
              </p:custDataLst>
            </p:nvPr>
          </p:nvSpPr>
          <p:spPr bwMode="gray">
            <a:xfrm>
              <a:off x="5245100" y="4876801"/>
              <a:ext cx="19021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Tanzania</a:t>
              </a:r>
            </a:p>
          </p:txBody>
        </p:sp>
        <p:sp>
          <p:nvSpPr>
            <p:cNvPr id="346" name="Rectangle 309"/>
            <p:cNvSpPr>
              <a:spLocks noChangeArrowheads="1"/>
            </p:cNvSpPr>
            <p:nvPr>
              <p:custDataLst>
                <p:tags r:id="rId127"/>
              </p:custDataLst>
            </p:nvPr>
          </p:nvSpPr>
          <p:spPr bwMode="gray">
            <a:xfrm>
              <a:off x="5349875" y="4657725"/>
              <a:ext cx="13100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Kenya</a:t>
              </a:r>
            </a:p>
          </p:txBody>
        </p:sp>
        <p:sp>
          <p:nvSpPr>
            <p:cNvPr id="347" name="Rectangle 310"/>
            <p:cNvSpPr>
              <a:spLocks noChangeArrowheads="1"/>
            </p:cNvSpPr>
            <p:nvPr>
              <p:custDataLst>
                <p:tags r:id="rId128"/>
              </p:custDataLst>
            </p:nvPr>
          </p:nvSpPr>
          <p:spPr bwMode="gray">
            <a:xfrm>
              <a:off x="5575300" y="4403726"/>
              <a:ext cx="16879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omalia</a:t>
              </a:r>
            </a:p>
          </p:txBody>
        </p:sp>
        <p:sp>
          <p:nvSpPr>
            <p:cNvPr id="348" name="Rectangle 311"/>
            <p:cNvSpPr>
              <a:spLocks noChangeArrowheads="1"/>
            </p:cNvSpPr>
            <p:nvPr>
              <p:custDataLst>
                <p:tags r:id="rId129"/>
              </p:custDataLst>
            </p:nvPr>
          </p:nvSpPr>
          <p:spPr bwMode="gray">
            <a:xfrm>
              <a:off x="5016500" y="5327650"/>
              <a:ext cx="20658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otswana</a:t>
              </a:r>
            </a:p>
          </p:txBody>
        </p:sp>
        <p:sp>
          <p:nvSpPr>
            <p:cNvPr id="349" name="Rectangle 312"/>
            <p:cNvSpPr>
              <a:spLocks noChangeArrowheads="1"/>
            </p:cNvSpPr>
            <p:nvPr>
              <p:custDataLst>
                <p:tags r:id="rId130"/>
              </p:custDataLst>
            </p:nvPr>
          </p:nvSpPr>
          <p:spPr bwMode="gray">
            <a:xfrm>
              <a:off x="5262563" y="5154614"/>
              <a:ext cx="29368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ozambique</a:t>
              </a:r>
            </a:p>
          </p:txBody>
        </p:sp>
        <p:sp>
          <p:nvSpPr>
            <p:cNvPr id="350" name="Rectangle 313"/>
            <p:cNvSpPr>
              <a:spLocks noChangeArrowheads="1"/>
            </p:cNvSpPr>
            <p:nvPr>
              <p:custDataLst>
                <p:tags r:id="rId131"/>
              </p:custDataLst>
            </p:nvPr>
          </p:nvSpPr>
          <p:spPr bwMode="gray">
            <a:xfrm>
              <a:off x="4251325" y="3711576"/>
              <a:ext cx="18265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orocco</a:t>
              </a:r>
            </a:p>
          </p:txBody>
        </p:sp>
        <p:sp>
          <p:nvSpPr>
            <p:cNvPr id="351" name="Rectangle 314"/>
            <p:cNvSpPr>
              <a:spLocks noChangeArrowheads="1"/>
            </p:cNvSpPr>
            <p:nvPr>
              <p:custDataLst>
                <p:tags r:id="rId132"/>
              </p:custDataLst>
            </p:nvPr>
          </p:nvSpPr>
          <p:spPr bwMode="gray">
            <a:xfrm>
              <a:off x="5705475" y="5233989"/>
              <a:ext cx="2544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adagascar</a:t>
              </a:r>
            </a:p>
          </p:txBody>
        </p:sp>
        <p:sp>
          <p:nvSpPr>
            <p:cNvPr id="352" name="Rectangle 315"/>
            <p:cNvSpPr>
              <a:spLocks noChangeArrowheads="1"/>
            </p:cNvSpPr>
            <p:nvPr>
              <p:custDataLst>
                <p:tags r:id="rId133"/>
              </p:custDataLst>
            </p:nvPr>
          </p:nvSpPr>
          <p:spPr bwMode="gray">
            <a:xfrm>
              <a:off x="4640263" y="4551364"/>
              <a:ext cx="2179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ameroon</a:t>
              </a:r>
            </a:p>
          </p:txBody>
        </p:sp>
        <p:sp>
          <p:nvSpPr>
            <p:cNvPr id="353" name="Rectangle 316"/>
            <p:cNvSpPr>
              <a:spLocks noChangeArrowheads="1"/>
            </p:cNvSpPr>
            <p:nvPr>
              <p:custDataLst>
                <p:tags r:id="rId134"/>
              </p:custDataLst>
            </p:nvPr>
          </p:nvSpPr>
          <p:spPr bwMode="gray">
            <a:xfrm>
              <a:off x="5078414" y="5235576"/>
              <a:ext cx="22044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Zimbabwe</a:t>
              </a:r>
            </a:p>
          </p:txBody>
        </p:sp>
        <p:sp>
          <p:nvSpPr>
            <p:cNvPr id="354" name="Rectangle 317"/>
            <p:cNvSpPr>
              <a:spLocks noChangeArrowheads="1"/>
            </p:cNvSpPr>
            <p:nvPr>
              <p:custDataLst>
                <p:tags r:id="rId135"/>
              </p:custDataLst>
            </p:nvPr>
          </p:nvSpPr>
          <p:spPr bwMode="gray">
            <a:xfrm>
              <a:off x="4397374" y="4421188"/>
              <a:ext cx="13730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Ghana</a:t>
              </a:r>
            </a:p>
          </p:txBody>
        </p:sp>
        <p:sp>
          <p:nvSpPr>
            <p:cNvPr id="355" name="Rectangle 318"/>
            <p:cNvSpPr>
              <a:spLocks noChangeArrowheads="1"/>
            </p:cNvSpPr>
            <p:nvPr>
              <p:custDataLst>
                <p:tags r:id="rId136"/>
              </p:custDataLst>
            </p:nvPr>
          </p:nvSpPr>
          <p:spPr bwMode="gray">
            <a:xfrm>
              <a:off x="4151313" y="4365626"/>
              <a:ext cx="1486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Guinea</a:t>
              </a:r>
            </a:p>
          </p:txBody>
        </p:sp>
        <p:sp>
          <p:nvSpPr>
            <p:cNvPr id="356" name="Rectangle 319"/>
            <p:cNvSpPr>
              <a:spLocks noChangeArrowheads="1"/>
            </p:cNvSpPr>
            <p:nvPr>
              <p:custDataLst>
                <p:tags r:id="rId137"/>
              </p:custDataLst>
            </p:nvPr>
          </p:nvSpPr>
          <p:spPr bwMode="gray">
            <a:xfrm>
              <a:off x="4656138" y="3683001"/>
              <a:ext cx="1486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Tunisia</a:t>
              </a:r>
            </a:p>
          </p:txBody>
        </p:sp>
        <p:sp>
          <p:nvSpPr>
            <p:cNvPr id="357" name="Rectangle 320"/>
            <p:cNvSpPr>
              <a:spLocks noChangeArrowheads="1"/>
            </p:cNvSpPr>
            <p:nvPr>
              <p:custDataLst>
                <p:tags r:id="rId138"/>
              </p:custDataLst>
            </p:nvPr>
          </p:nvSpPr>
          <p:spPr bwMode="gray">
            <a:xfrm>
              <a:off x="5206999" y="4603751"/>
              <a:ext cx="16375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Uganda</a:t>
              </a:r>
            </a:p>
          </p:txBody>
        </p:sp>
        <p:sp>
          <p:nvSpPr>
            <p:cNvPr id="358" name="Rectangle 321"/>
            <p:cNvSpPr>
              <a:spLocks noChangeArrowheads="1"/>
            </p:cNvSpPr>
            <p:nvPr>
              <p:custDataLst>
                <p:tags r:id="rId139"/>
              </p:custDataLst>
            </p:nvPr>
          </p:nvSpPr>
          <p:spPr bwMode="gray">
            <a:xfrm>
              <a:off x="4133527" y="4499162"/>
              <a:ext cx="38121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ote d'Ivoire</a:t>
              </a:r>
            </a:p>
          </p:txBody>
        </p:sp>
        <p:sp>
          <p:nvSpPr>
            <p:cNvPr id="359" name="Rectangle 322"/>
            <p:cNvSpPr>
              <a:spLocks noChangeArrowheads="1"/>
            </p:cNvSpPr>
            <p:nvPr>
              <p:custDataLst>
                <p:tags r:id="rId140"/>
              </p:custDataLst>
            </p:nvPr>
          </p:nvSpPr>
          <p:spPr bwMode="gray">
            <a:xfrm>
              <a:off x="4084638" y="4240214"/>
              <a:ext cx="16753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enegal</a:t>
              </a:r>
            </a:p>
          </p:txBody>
        </p:sp>
        <p:sp>
          <p:nvSpPr>
            <p:cNvPr id="360" name="Rectangle 323"/>
            <p:cNvSpPr>
              <a:spLocks noChangeArrowheads="1"/>
            </p:cNvSpPr>
            <p:nvPr>
              <p:custDataLst>
                <p:tags r:id="rId141"/>
              </p:custDataLst>
            </p:nvPr>
          </p:nvSpPr>
          <p:spPr bwMode="gray">
            <a:xfrm>
              <a:off x="4319588" y="4306889"/>
              <a:ext cx="2670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urkina Faso</a:t>
              </a:r>
            </a:p>
          </p:txBody>
        </p:sp>
        <p:sp>
          <p:nvSpPr>
            <p:cNvPr id="361" name="Rectangle 324"/>
            <p:cNvSpPr>
              <a:spLocks noChangeArrowheads="1"/>
            </p:cNvSpPr>
            <p:nvPr>
              <p:custDataLst>
                <p:tags r:id="rId142"/>
              </p:custDataLst>
            </p:nvPr>
          </p:nvSpPr>
          <p:spPr bwMode="gray">
            <a:xfrm>
              <a:off x="3903663" y="3959226"/>
              <a:ext cx="33129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Western Sahara</a:t>
              </a:r>
            </a:p>
          </p:txBody>
        </p:sp>
        <p:sp>
          <p:nvSpPr>
            <p:cNvPr id="362" name="Rectangle 325"/>
            <p:cNvSpPr>
              <a:spLocks noChangeArrowheads="1"/>
            </p:cNvSpPr>
            <p:nvPr>
              <p:custDataLst>
                <p:tags r:id="rId143"/>
              </p:custDataLst>
            </p:nvPr>
          </p:nvSpPr>
          <p:spPr bwMode="gray">
            <a:xfrm>
              <a:off x="5343524" y="4210050"/>
              <a:ext cx="1398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Eritrea</a:t>
              </a:r>
            </a:p>
          </p:txBody>
        </p:sp>
        <p:sp>
          <p:nvSpPr>
            <p:cNvPr id="363" name="Rectangle 326"/>
            <p:cNvSpPr>
              <a:spLocks noChangeArrowheads="1"/>
            </p:cNvSpPr>
            <p:nvPr>
              <p:custDataLst>
                <p:tags r:id="rId144"/>
              </p:custDataLst>
            </p:nvPr>
          </p:nvSpPr>
          <p:spPr bwMode="gray">
            <a:xfrm>
              <a:off x="5284788" y="5024439"/>
              <a:ext cx="14990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alawi</a:t>
              </a:r>
            </a:p>
          </p:txBody>
        </p:sp>
        <p:sp>
          <p:nvSpPr>
            <p:cNvPr id="364" name="Rectangle 327"/>
            <p:cNvSpPr>
              <a:spLocks noChangeArrowheads="1"/>
            </p:cNvSpPr>
            <p:nvPr>
              <p:custDataLst>
                <p:tags r:id="rId145"/>
              </p:custDataLst>
            </p:nvPr>
          </p:nvSpPr>
          <p:spPr bwMode="gray">
            <a:xfrm>
              <a:off x="5299075" y="5476875"/>
              <a:ext cx="2116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waziland</a:t>
              </a:r>
            </a:p>
          </p:txBody>
        </p:sp>
        <p:sp>
          <p:nvSpPr>
            <p:cNvPr id="365" name="Rectangle 328"/>
            <p:cNvSpPr>
              <a:spLocks noChangeArrowheads="1"/>
            </p:cNvSpPr>
            <p:nvPr>
              <p:custDataLst>
                <p:tags r:id="rId146"/>
              </p:custDataLst>
            </p:nvPr>
          </p:nvSpPr>
          <p:spPr bwMode="gray">
            <a:xfrm>
              <a:off x="5222874" y="5562601"/>
              <a:ext cx="21280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Lesotho</a:t>
              </a:r>
            </a:p>
          </p:txBody>
        </p:sp>
        <p:sp>
          <p:nvSpPr>
            <p:cNvPr id="366" name="Rectangle 329"/>
            <p:cNvSpPr>
              <a:spLocks noChangeArrowheads="1"/>
            </p:cNvSpPr>
            <p:nvPr>
              <p:custDataLst>
                <p:tags r:id="rId147"/>
              </p:custDataLst>
            </p:nvPr>
          </p:nvSpPr>
          <p:spPr bwMode="gray">
            <a:xfrm>
              <a:off x="4849813" y="4497390"/>
              <a:ext cx="32385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en. Afr. Rep.</a:t>
              </a:r>
            </a:p>
          </p:txBody>
        </p:sp>
        <p:sp>
          <p:nvSpPr>
            <p:cNvPr id="367" name="Rectangle 330"/>
            <p:cNvSpPr>
              <a:spLocks noChangeArrowheads="1"/>
            </p:cNvSpPr>
            <p:nvPr>
              <p:custDataLst>
                <p:tags r:id="rId148"/>
              </p:custDataLst>
            </p:nvPr>
          </p:nvSpPr>
          <p:spPr bwMode="gray">
            <a:xfrm>
              <a:off x="3808918" y="4443414"/>
              <a:ext cx="43923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ierra Leone</a:t>
              </a:r>
            </a:p>
          </p:txBody>
        </p:sp>
        <p:sp>
          <p:nvSpPr>
            <p:cNvPr id="368" name="Rectangle 331"/>
            <p:cNvSpPr>
              <a:spLocks noChangeArrowheads="1"/>
            </p:cNvSpPr>
            <p:nvPr>
              <p:custDataLst>
                <p:tags r:id="rId149"/>
              </p:custDataLst>
            </p:nvPr>
          </p:nvSpPr>
          <p:spPr bwMode="gray">
            <a:xfrm>
              <a:off x="3733359" y="4361647"/>
              <a:ext cx="29854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Guinea-Bissau</a:t>
              </a:r>
            </a:p>
          </p:txBody>
        </p:sp>
        <p:sp>
          <p:nvSpPr>
            <p:cNvPr id="369" name="Rectangle 332"/>
            <p:cNvSpPr>
              <a:spLocks noChangeArrowheads="1"/>
            </p:cNvSpPr>
            <p:nvPr>
              <p:custDataLst>
                <p:tags r:id="rId150"/>
              </p:custDataLst>
            </p:nvPr>
          </p:nvSpPr>
          <p:spPr bwMode="gray">
            <a:xfrm>
              <a:off x="3825876" y="4289426"/>
              <a:ext cx="25319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The Gambia</a:t>
              </a:r>
            </a:p>
          </p:txBody>
        </p:sp>
        <p:sp>
          <p:nvSpPr>
            <p:cNvPr id="370" name="Rectangle 333"/>
            <p:cNvSpPr>
              <a:spLocks noChangeArrowheads="1"/>
            </p:cNvSpPr>
            <p:nvPr>
              <p:custDataLst>
                <p:tags r:id="rId151"/>
              </p:custDataLst>
            </p:nvPr>
          </p:nvSpPr>
          <p:spPr bwMode="gray">
            <a:xfrm>
              <a:off x="4445000" y="4637089"/>
              <a:ext cx="32702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Equat. Guinea</a:t>
              </a:r>
            </a:p>
          </p:txBody>
        </p:sp>
        <p:sp>
          <p:nvSpPr>
            <p:cNvPr id="371" name="Rectangle 334"/>
            <p:cNvSpPr>
              <a:spLocks noChangeArrowheads="1"/>
            </p:cNvSpPr>
            <p:nvPr>
              <p:custDataLst>
                <p:tags r:id="rId152"/>
              </p:custDataLst>
            </p:nvPr>
          </p:nvSpPr>
          <p:spPr bwMode="gray">
            <a:xfrm>
              <a:off x="5240338" y="4781550"/>
              <a:ext cx="16375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urundi</a:t>
              </a:r>
            </a:p>
          </p:txBody>
        </p:sp>
        <p:sp>
          <p:nvSpPr>
            <p:cNvPr id="372" name="Rectangle 335"/>
            <p:cNvSpPr>
              <a:spLocks noChangeArrowheads="1"/>
            </p:cNvSpPr>
            <p:nvPr>
              <p:custDataLst>
                <p:tags r:id="rId153"/>
              </p:custDataLst>
            </p:nvPr>
          </p:nvSpPr>
          <p:spPr bwMode="gray">
            <a:xfrm>
              <a:off x="5365750" y="4338639"/>
              <a:ext cx="16627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Djibouti</a:t>
              </a:r>
            </a:p>
          </p:txBody>
        </p:sp>
        <p:sp>
          <p:nvSpPr>
            <p:cNvPr id="373" name="Rectangle 339"/>
            <p:cNvSpPr>
              <a:spLocks noChangeArrowheads="1"/>
            </p:cNvSpPr>
            <p:nvPr>
              <p:custDataLst>
                <p:tags r:id="rId154"/>
              </p:custDataLst>
            </p:nvPr>
          </p:nvSpPr>
          <p:spPr bwMode="gray">
            <a:xfrm>
              <a:off x="5522913" y="4914901"/>
              <a:ext cx="18769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omoros</a:t>
              </a:r>
            </a:p>
          </p:txBody>
        </p:sp>
        <p:sp>
          <p:nvSpPr>
            <p:cNvPr id="374" name="Rectangle 341"/>
            <p:cNvSpPr>
              <a:spLocks noChangeArrowheads="1"/>
            </p:cNvSpPr>
            <p:nvPr>
              <p:custDataLst>
                <p:tags r:id="rId155"/>
              </p:custDataLst>
            </p:nvPr>
          </p:nvSpPr>
          <p:spPr bwMode="gray">
            <a:xfrm>
              <a:off x="2962275" y="6237290"/>
              <a:ext cx="23177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Falkland Is.</a:t>
              </a:r>
            </a:p>
          </p:txBody>
        </p:sp>
        <p:sp>
          <p:nvSpPr>
            <p:cNvPr id="375" name="Rectangle 342"/>
            <p:cNvSpPr>
              <a:spLocks noChangeArrowheads="1"/>
            </p:cNvSpPr>
            <p:nvPr>
              <p:custDataLst>
                <p:tags r:id="rId156"/>
              </p:custDataLst>
            </p:nvPr>
          </p:nvSpPr>
          <p:spPr bwMode="gray">
            <a:xfrm>
              <a:off x="3124199" y="4514851"/>
              <a:ext cx="20028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uriname</a:t>
              </a:r>
            </a:p>
          </p:txBody>
        </p:sp>
        <p:sp>
          <p:nvSpPr>
            <p:cNvPr id="376" name="Rectangle 343"/>
            <p:cNvSpPr>
              <a:spLocks noChangeArrowheads="1"/>
            </p:cNvSpPr>
            <p:nvPr>
              <p:custDataLst>
                <p:tags r:id="rId157"/>
              </p:custDataLst>
            </p:nvPr>
          </p:nvSpPr>
          <p:spPr bwMode="gray">
            <a:xfrm>
              <a:off x="3255963" y="5000626"/>
              <a:ext cx="1171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razil</a:t>
              </a:r>
            </a:p>
          </p:txBody>
        </p:sp>
        <p:sp>
          <p:nvSpPr>
            <p:cNvPr id="377" name="Rectangle 344"/>
            <p:cNvSpPr>
              <a:spLocks noChangeArrowheads="1"/>
            </p:cNvSpPr>
            <p:nvPr>
              <p:custDataLst>
                <p:tags r:id="rId158"/>
              </p:custDataLst>
            </p:nvPr>
          </p:nvSpPr>
          <p:spPr bwMode="gray">
            <a:xfrm>
              <a:off x="2847974" y="5768976"/>
              <a:ext cx="20658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Argentina</a:t>
              </a:r>
            </a:p>
          </p:txBody>
        </p:sp>
        <p:sp>
          <p:nvSpPr>
            <p:cNvPr id="378" name="Rectangle 345"/>
            <p:cNvSpPr>
              <a:spLocks noChangeArrowheads="1"/>
            </p:cNvSpPr>
            <p:nvPr>
              <p:custDataLst>
                <p:tags r:id="rId159"/>
              </p:custDataLst>
            </p:nvPr>
          </p:nvSpPr>
          <p:spPr bwMode="gray">
            <a:xfrm>
              <a:off x="2606675" y="4876801"/>
              <a:ext cx="9699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Peru</a:t>
              </a:r>
            </a:p>
          </p:txBody>
        </p:sp>
        <p:sp>
          <p:nvSpPr>
            <p:cNvPr id="379" name="Rectangle 346"/>
            <p:cNvSpPr>
              <a:spLocks noChangeArrowheads="1"/>
            </p:cNvSpPr>
            <p:nvPr>
              <p:custDataLst>
                <p:tags r:id="rId160"/>
              </p:custDataLst>
            </p:nvPr>
          </p:nvSpPr>
          <p:spPr bwMode="gray">
            <a:xfrm>
              <a:off x="2708275" y="5689601"/>
              <a:ext cx="1045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hile</a:t>
              </a:r>
            </a:p>
          </p:txBody>
        </p:sp>
        <p:sp>
          <p:nvSpPr>
            <p:cNvPr id="380" name="Rectangle 347"/>
            <p:cNvSpPr>
              <a:spLocks noChangeArrowheads="1"/>
            </p:cNvSpPr>
            <p:nvPr>
              <p:custDataLst>
                <p:tags r:id="rId161"/>
              </p:custDataLst>
            </p:nvPr>
          </p:nvSpPr>
          <p:spPr bwMode="gray">
            <a:xfrm>
              <a:off x="2873376" y="5173664"/>
              <a:ext cx="1385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olivia</a:t>
              </a:r>
            </a:p>
          </p:txBody>
        </p:sp>
        <p:sp>
          <p:nvSpPr>
            <p:cNvPr id="381" name="Rectangle 348"/>
            <p:cNvSpPr>
              <a:spLocks noChangeArrowheads="1"/>
            </p:cNvSpPr>
            <p:nvPr>
              <p:custDataLst>
                <p:tags r:id="rId162"/>
              </p:custDataLst>
            </p:nvPr>
          </p:nvSpPr>
          <p:spPr bwMode="gray">
            <a:xfrm>
              <a:off x="2647950" y="4572001"/>
              <a:ext cx="19902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olombia</a:t>
              </a:r>
            </a:p>
          </p:txBody>
        </p:sp>
        <p:sp>
          <p:nvSpPr>
            <p:cNvPr id="382" name="Rectangle 349"/>
            <p:cNvSpPr>
              <a:spLocks noChangeArrowheads="1"/>
            </p:cNvSpPr>
            <p:nvPr>
              <p:custDataLst>
                <p:tags r:id="rId163"/>
              </p:custDataLst>
            </p:nvPr>
          </p:nvSpPr>
          <p:spPr bwMode="gray">
            <a:xfrm>
              <a:off x="2778125" y="4435476"/>
              <a:ext cx="2179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Venezuela</a:t>
              </a:r>
            </a:p>
          </p:txBody>
        </p:sp>
        <p:sp>
          <p:nvSpPr>
            <p:cNvPr id="383" name="Rectangle 350"/>
            <p:cNvSpPr>
              <a:spLocks noChangeArrowheads="1"/>
            </p:cNvSpPr>
            <p:nvPr>
              <p:custDataLst>
                <p:tags r:id="rId164"/>
              </p:custDataLst>
            </p:nvPr>
          </p:nvSpPr>
          <p:spPr bwMode="gray">
            <a:xfrm>
              <a:off x="2982913" y="5349876"/>
              <a:ext cx="19776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Paraguay</a:t>
              </a:r>
            </a:p>
          </p:txBody>
        </p:sp>
        <p:sp>
          <p:nvSpPr>
            <p:cNvPr id="384" name="Rectangle 351"/>
            <p:cNvSpPr>
              <a:spLocks noChangeArrowheads="1"/>
            </p:cNvSpPr>
            <p:nvPr>
              <p:custDataLst>
                <p:tags r:id="rId165"/>
              </p:custDataLst>
            </p:nvPr>
          </p:nvSpPr>
          <p:spPr bwMode="gray">
            <a:xfrm>
              <a:off x="3087687" y="5672139"/>
              <a:ext cx="17887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Uruguay</a:t>
              </a:r>
            </a:p>
          </p:txBody>
        </p:sp>
        <p:sp>
          <p:nvSpPr>
            <p:cNvPr id="385" name="Rectangle 352"/>
            <p:cNvSpPr>
              <a:spLocks noChangeArrowheads="1"/>
            </p:cNvSpPr>
            <p:nvPr>
              <p:custDataLst>
                <p:tags r:id="rId166"/>
              </p:custDataLst>
            </p:nvPr>
          </p:nvSpPr>
          <p:spPr bwMode="gray">
            <a:xfrm>
              <a:off x="2482850" y="4713289"/>
              <a:ext cx="17131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Ecuador</a:t>
              </a:r>
            </a:p>
          </p:txBody>
        </p:sp>
        <p:sp>
          <p:nvSpPr>
            <p:cNvPr id="386" name="Rectangle 353"/>
            <p:cNvSpPr>
              <a:spLocks noChangeArrowheads="1"/>
            </p:cNvSpPr>
            <p:nvPr>
              <p:custDataLst>
                <p:tags r:id="rId167"/>
              </p:custDataLst>
            </p:nvPr>
          </p:nvSpPr>
          <p:spPr bwMode="gray">
            <a:xfrm>
              <a:off x="3049588" y="4443414"/>
              <a:ext cx="16123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Guyana</a:t>
              </a:r>
            </a:p>
          </p:txBody>
        </p:sp>
        <p:sp>
          <p:nvSpPr>
            <p:cNvPr id="387" name="Rectangle 354"/>
            <p:cNvSpPr>
              <a:spLocks noChangeArrowheads="1"/>
            </p:cNvSpPr>
            <p:nvPr>
              <p:custDataLst>
                <p:tags r:id="rId168"/>
              </p:custDataLst>
            </p:nvPr>
          </p:nvSpPr>
          <p:spPr bwMode="gray">
            <a:xfrm>
              <a:off x="3214688" y="4557714"/>
              <a:ext cx="30106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French Guiana</a:t>
              </a:r>
            </a:p>
          </p:txBody>
        </p:sp>
        <p:sp>
          <p:nvSpPr>
            <p:cNvPr id="388" name="Rectangle 355"/>
            <p:cNvSpPr>
              <a:spLocks noChangeArrowheads="1"/>
            </p:cNvSpPr>
            <p:nvPr>
              <p:custDataLst>
                <p:tags r:id="rId169"/>
              </p:custDataLst>
            </p:nvPr>
          </p:nvSpPr>
          <p:spPr bwMode="gray">
            <a:xfrm>
              <a:off x="2933700" y="4314826"/>
              <a:ext cx="38419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Trinidad &amp; Tobago</a:t>
              </a:r>
            </a:p>
          </p:txBody>
        </p:sp>
        <p:sp>
          <p:nvSpPr>
            <p:cNvPr id="389" name="Rectangle 356"/>
            <p:cNvSpPr>
              <a:spLocks noChangeArrowheads="1"/>
            </p:cNvSpPr>
            <p:nvPr>
              <p:custDataLst>
                <p:tags r:id="rId170"/>
              </p:custDataLst>
            </p:nvPr>
          </p:nvSpPr>
          <p:spPr bwMode="gray">
            <a:xfrm>
              <a:off x="274638" y="4848226"/>
              <a:ext cx="14612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Samoa</a:t>
              </a:r>
            </a:p>
          </p:txBody>
        </p:sp>
        <p:sp>
          <p:nvSpPr>
            <p:cNvPr id="390" name="Rectangle 357"/>
            <p:cNvSpPr>
              <a:spLocks noChangeArrowheads="1"/>
            </p:cNvSpPr>
            <p:nvPr>
              <p:custDataLst>
                <p:tags r:id="rId171"/>
              </p:custDataLst>
            </p:nvPr>
          </p:nvSpPr>
          <p:spPr bwMode="gray">
            <a:xfrm>
              <a:off x="768350" y="4926014"/>
              <a:ext cx="35144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French Polynesia</a:t>
              </a:r>
            </a:p>
          </p:txBody>
        </p:sp>
        <p:sp>
          <p:nvSpPr>
            <p:cNvPr id="391" name="Rectangle 358"/>
            <p:cNvSpPr>
              <a:spLocks noChangeArrowheads="1"/>
            </p:cNvSpPr>
            <p:nvPr>
              <p:custDataLst>
                <p:tags r:id="rId172"/>
              </p:custDataLst>
            </p:nvPr>
          </p:nvSpPr>
          <p:spPr bwMode="gray">
            <a:xfrm>
              <a:off x="623888" y="5126039"/>
              <a:ext cx="16375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ook Is.</a:t>
              </a:r>
            </a:p>
          </p:txBody>
        </p:sp>
        <p:sp>
          <p:nvSpPr>
            <p:cNvPr id="392" name="Rectangle 374"/>
            <p:cNvSpPr>
              <a:spLocks noChangeArrowheads="1"/>
            </p:cNvSpPr>
            <p:nvPr>
              <p:custDataLst>
                <p:tags r:id="rId173"/>
              </p:custDataLst>
            </p:nvPr>
          </p:nvSpPr>
          <p:spPr bwMode="gray">
            <a:xfrm>
              <a:off x="1968500" y="4699001"/>
              <a:ext cx="27712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Galapagos Is.</a:t>
              </a:r>
            </a:p>
          </p:txBody>
        </p:sp>
        <p:sp>
          <p:nvSpPr>
            <p:cNvPr id="393" name="Rectangle 377"/>
            <p:cNvSpPr>
              <a:spLocks noChangeArrowheads="1"/>
            </p:cNvSpPr>
            <p:nvPr>
              <p:custDataLst>
                <p:tags r:id="rId174"/>
              </p:custDataLst>
            </p:nvPr>
          </p:nvSpPr>
          <p:spPr bwMode="gray">
            <a:xfrm>
              <a:off x="2425701" y="4217988"/>
              <a:ext cx="20154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Honduras</a:t>
              </a:r>
            </a:p>
          </p:txBody>
        </p:sp>
        <p:sp>
          <p:nvSpPr>
            <p:cNvPr id="394" name="Rectangle 384"/>
            <p:cNvSpPr>
              <a:spLocks noChangeArrowheads="1"/>
            </p:cNvSpPr>
            <p:nvPr>
              <p:custDataLst>
                <p:tags r:id="rId175"/>
              </p:custDataLst>
            </p:nvPr>
          </p:nvSpPr>
          <p:spPr bwMode="gray">
            <a:xfrm>
              <a:off x="2474913" y="4310063"/>
              <a:ext cx="21414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Nicaragua</a:t>
              </a:r>
            </a:p>
          </p:txBody>
        </p:sp>
        <p:sp>
          <p:nvSpPr>
            <p:cNvPr id="395" name="Rectangle 385"/>
            <p:cNvSpPr>
              <a:spLocks noChangeArrowheads="1"/>
            </p:cNvSpPr>
            <p:nvPr>
              <p:custDataLst>
                <p:tags r:id="rId176"/>
              </p:custDataLst>
            </p:nvPr>
          </p:nvSpPr>
          <p:spPr bwMode="gray">
            <a:xfrm>
              <a:off x="2747963" y="3925888"/>
              <a:ext cx="28342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The Bahamas</a:t>
              </a:r>
            </a:p>
          </p:txBody>
        </p:sp>
        <p:sp>
          <p:nvSpPr>
            <p:cNvPr id="396" name="Rectangle 386"/>
            <p:cNvSpPr>
              <a:spLocks noChangeArrowheads="1"/>
            </p:cNvSpPr>
            <p:nvPr>
              <p:custDataLst>
                <p:tags r:id="rId177"/>
              </p:custDataLst>
            </p:nvPr>
          </p:nvSpPr>
          <p:spPr bwMode="gray">
            <a:xfrm>
              <a:off x="777876" y="3994151"/>
              <a:ext cx="14234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Hawaii</a:t>
              </a:r>
            </a:p>
          </p:txBody>
        </p:sp>
        <p:sp>
          <p:nvSpPr>
            <p:cNvPr id="397" name="Rectangle 387"/>
            <p:cNvSpPr>
              <a:spLocks noChangeArrowheads="1"/>
            </p:cNvSpPr>
            <p:nvPr>
              <p:custDataLst>
                <p:tags r:id="rId178"/>
              </p:custDataLst>
            </p:nvPr>
          </p:nvSpPr>
          <p:spPr bwMode="gray">
            <a:xfrm>
              <a:off x="2873376" y="3663952"/>
              <a:ext cx="19146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ermuda</a:t>
              </a:r>
            </a:p>
          </p:txBody>
        </p:sp>
        <p:sp>
          <p:nvSpPr>
            <p:cNvPr id="398" name="Rectangle 388"/>
            <p:cNvSpPr>
              <a:spLocks noChangeArrowheads="1"/>
            </p:cNvSpPr>
            <p:nvPr>
              <p:custDataLst>
                <p:tags r:id="rId179"/>
              </p:custDataLst>
            </p:nvPr>
          </p:nvSpPr>
          <p:spPr bwMode="gray">
            <a:xfrm>
              <a:off x="166688" y="3811588"/>
              <a:ext cx="22044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idway Is.</a:t>
              </a:r>
            </a:p>
          </p:txBody>
        </p:sp>
        <p:sp>
          <p:nvSpPr>
            <p:cNvPr id="399" name="Rectangle 389"/>
            <p:cNvSpPr>
              <a:spLocks noChangeArrowheads="1"/>
            </p:cNvSpPr>
            <p:nvPr>
              <p:custDataLst>
                <p:tags r:id="rId180"/>
              </p:custDataLst>
            </p:nvPr>
          </p:nvSpPr>
          <p:spPr bwMode="gray">
            <a:xfrm>
              <a:off x="1703388" y="2779713"/>
              <a:ext cx="15871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anada</a:t>
              </a:r>
            </a:p>
          </p:txBody>
        </p:sp>
        <p:sp>
          <p:nvSpPr>
            <p:cNvPr id="400" name="Rectangle 390"/>
            <p:cNvSpPr>
              <a:spLocks noChangeArrowheads="1"/>
            </p:cNvSpPr>
            <p:nvPr>
              <p:custDataLst>
                <p:tags r:id="rId181"/>
              </p:custDataLst>
            </p:nvPr>
          </p:nvSpPr>
          <p:spPr bwMode="gray">
            <a:xfrm>
              <a:off x="1951038" y="3509963"/>
              <a:ext cx="28468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United States</a:t>
              </a:r>
            </a:p>
          </p:txBody>
        </p:sp>
        <p:sp>
          <p:nvSpPr>
            <p:cNvPr id="401" name="Rectangle 391"/>
            <p:cNvSpPr>
              <a:spLocks noChangeArrowheads="1"/>
            </p:cNvSpPr>
            <p:nvPr>
              <p:custDataLst>
                <p:tags r:id="rId182"/>
              </p:custDataLst>
            </p:nvPr>
          </p:nvSpPr>
          <p:spPr bwMode="gray">
            <a:xfrm>
              <a:off x="1952626" y="3943351"/>
              <a:ext cx="14990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Mexico</a:t>
              </a:r>
            </a:p>
          </p:txBody>
        </p:sp>
        <p:sp>
          <p:nvSpPr>
            <p:cNvPr id="402" name="Rectangle 392"/>
            <p:cNvSpPr>
              <a:spLocks noChangeArrowheads="1"/>
            </p:cNvSpPr>
            <p:nvPr>
              <p:custDataLst>
                <p:tags r:id="rId183"/>
              </p:custDataLst>
            </p:nvPr>
          </p:nvSpPr>
          <p:spPr bwMode="gray">
            <a:xfrm>
              <a:off x="2562226" y="4029076"/>
              <a:ext cx="10833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uba</a:t>
              </a:r>
            </a:p>
          </p:txBody>
        </p:sp>
        <p:sp>
          <p:nvSpPr>
            <p:cNvPr id="403" name="Rectangle 393"/>
            <p:cNvSpPr>
              <a:spLocks noChangeArrowheads="1"/>
            </p:cNvSpPr>
            <p:nvPr>
              <p:custDataLst>
                <p:tags r:id="rId184"/>
              </p:custDataLst>
            </p:nvPr>
          </p:nvSpPr>
          <p:spPr bwMode="gray">
            <a:xfrm>
              <a:off x="2454276" y="4494214"/>
              <a:ext cx="17257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Panama</a:t>
              </a:r>
            </a:p>
          </p:txBody>
        </p:sp>
        <p:sp>
          <p:nvSpPr>
            <p:cNvPr id="404" name="Rectangle 394"/>
            <p:cNvSpPr>
              <a:spLocks noChangeArrowheads="1"/>
            </p:cNvSpPr>
            <p:nvPr>
              <p:custDataLst>
                <p:tags r:id="rId185"/>
              </p:custDataLst>
            </p:nvPr>
          </p:nvSpPr>
          <p:spPr bwMode="gray">
            <a:xfrm>
              <a:off x="2681288" y="4141788"/>
              <a:ext cx="9951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Haiti</a:t>
              </a:r>
            </a:p>
          </p:txBody>
        </p:sp>
        <p:sp>
          <p:nvSpPr>
            <p:cNvPr id="405" name="Rectangle 395"/>
            <p:cNvSpPr>
              <a:spLocks noChangeArrowheads="1"/>
            </p:cNvSpPr>
            <p:nvPr>
              <p:custDataLst>
                <p:tags r:id="rId186"/>
              </p:custDataLst>
            </p:nvPr>
          </p:nvSpPr>
          <p:spPr bwMode="gray">
            <a:xfrm>
              <a:off x="2951163" y="4151314"/>
              <a:ext cx="24185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Puerto Rico</a:t>
              </a:r>
            </a:p>
          </p:txBody>
        </p:sp>
        <p:sp>
          <p:nvSpPr>
            <p:cNvPr id="406" name="Rectangle 396"/>
            <p:cNvSpPr>
              <a:spLocks noChangeArrowheads="1"/>
            </p:cNvSpPr>
            <p:nvPr>
              <p:custDataLst>
                <p:tags r:id="rId187"/>
              </p:custDataLst>
            </p:nvPr>
          </p:nvSpPr>
          <p:spPr bwMode="gray">
            <a:xfrm>
              <a:off x="2811462" y="4089400"/>
              <a:ext cx="33129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Dominican Rep.</a:t>
              </a:r>
            </a:p>
          </p:txBody>
        </p:sp>
        <p:sp>
          <p:nvSpPr>
            <p:cNvPr id="407" name="Rectangle 397"/>
            <p:cNvSpPr>
              <a:spLocks noChangeArrowheads="1"/>
            </p:cNvSpPr>
            <p:nvPr>
              <p:custDataLst>
                <p:tags r:id="rId188"/>
              </p:custDataLst>
            </p:nvPr>
          </p:nvSpPr>
          <p:spPr bwMode="gray">
            <a:xfrm>
              <a:off x="2098676" y="4232276"/>
              <a:ext cx="23177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Guatemala</a:t>
              </a:r>
            </a:p>
          </p:txBody>
        </p:sp>
        <p:sp>
          <p:nvSpPr>
            <p:cNvPr id="408" name="Rectangle 398"/>
            <p:cNvSpPr>
              <a:spLocks noChangeArrowheads="1"/>
            </p:cNvSpPr>
            <p:nvPr>
              <p:custDataLst>
                <p:tags r:id="rId189"/>
              </p:custDataLst>
            </p:nvPr>
          </p:nvSpPr>
          <p:spPr bwMode="gray">
            <a:xfrm>
              <a:off x="2389187" y="4160838"/>
              <a:ext cx="12596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Belize</a:t>
              </a:r>
            </a:p>
          </p:txBody>
        </p:sp>
        <p:sp>
          <p:nvSpPr>
            <p:cNvPr id="409" name="Rectangle 399"/>
            <p:cNvSpPr>
              <a:spLocks noChangeArrowheads="1"/>
            </p:cNvSpPr>
            <p:nvPr>
              <p:custDataLst>
                <p:tags r:id="rId190"/>
              </p:custDataLst>
            </p:nvPr>
          </p:nvSpPr>
          <p:spPr bwMode="gray">
            <a:xfrm>
              <a:off x="2128838" y="4313238"/>
              <a:ext cx="23051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El Salvador</a:t>
              </a:r>
            </a:p>
          </p:txBody>
        </p:sp>
        <p:sp>
          <p:nvSpPr>
            <p:cNvPr id="410" name="Rectangle 400"/>
            <p:cNvSpPr>
              <a:spLocks noChangeArrowheads="1"/>
            </p:cNvSpPr>
            <p:nvPr>
              <p:custDataLst>
                <p:tags r:id="rId191"/>
              </p:custDataLst>
            </p:nvPr>
          </p:nvSpPr>
          <p:spPr bwMode="gray">
            <a:xfrm>
              <a:off x="2241551" y="4408488"/>
              <a:ext cx="21918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Costa Rica</a:t>
              </a:r>
            </a:p>
          </p:txBody>
        </p:sp>
        <p:sp>
          <p:nvSpPr>
            <p:cNvPr id="411" name="Rectangle 403"/>
            <p:cNvSpPr>
              <a:spLocks noChangeArrowheads="1"/>
            </p:cNvSpPr>
            <p:nvPr>
              <p:custDataLst>
                <p:tags r:id="rId192"/>
              </p:custDataLst>
            </p:nvPr>
          </p:nvSpPr>
          <p:spPr bwMode="gray">
            <a:xfrm>
              <a:off x="3422651" y="2049463"/>
              <a:ext cx="2166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rgbClr val="006EB6"/>
                  </a:solidFill>
                </a:rPr>
                <a:t>Greenland</a:t>
              </a:r>
            </a:p>
          </p:txBody>
        </p:sp>
        <p:sp>
          <p:nvSpPr>
            <p:cNvPr id="412" name="Rectangle 294"/>
            <p:cNvSpPr>
              <a:spLocks noChangeArrowheads="1"/>
            </p:cNvSpPr>
            <p:nvPr>
              <p:custDataLst>
                <p:tags r:id="rId193"/>
              </p:custDataLst>
            </p:nvPr>
          </p:nvSpPr>
          <p:spPr bwMode="gray">
            <a:xfrm>
              <a:off x="5126990" y="4451669"/>
              <a:ext cx="224155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500" dirty="0">
                  <a:solidFill>
                    <a:srgbClr val="006EB6"/>
                  </a:solidFill>
                </a:rPr>
                <a:t>South Sudan</a:t>
              </a:r>
            </a:p>
          </p:txBody>
        </p:sp>
      </p:grp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9137721" y="6964656"/>
            <a:ext cx="2355779" cy="1767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421" name="Rectangle 249">
            <a:extLst>
              <a:ext uri="{FF2B5EF4-FFF2-40B4-BE49-F238E27FC236}">
                <a16:creationId xmlns:a16="http://schemas.microsoft.com/office/drawing/2014/main" id="{7D8EE966-FBB3-45B3-A338-106FE901B148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9219688" y="4237123"/>
            <a:ext cx="269304" cy="76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500" dirty="0">
                <a:solidFill>
                  <a:srgbClr val="006EB6"/>
                </a:solidFill>
              </a:rPr>
              <a:t>Singapore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23818191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72"/>
          <p:cNvGrpSpPr>
            <a:grpSpLocks noChangeAspect="1"/>
          </p:cNvGrpSpPr>
          <p:nvPr/>
        </p:nvGrpSpPr>
        <p:grpSpPr bwMode="auto">
          <a:xfrm rot="20878233">
            <a:off x="7627354" y="2101002"/>
            <a:ext cx="3678333" cy="3787477"/>
            <a:chOff x="2987" y="657"/>
            <a:chExt cx="1247" cy="1284"/>
          </a:xfrm>
          <a:solidFill>
            <a:schemeClr val="accent3"/>
          </a:solidFill>
        </p:grpSpPr>
        <p:sp>
          <p:nvSpPr>
            <p:cNvPr id="9" name="Sweden"/>
            <p:cNvSpPr>
              <a:spLocks noEditPoints="1"/>
            </p:cNvSpPr>
            <p:nvPr/>
          </p:nvSpPr>
          <p:spPr bwMode="auto">
            <a:xfrm>
              <a:off x="3277" y="834"/>
              <a:ext cx="612" cy="1054"/>
            </a:xfrm>
            <a:custGeom>
              <a:avLst/>
              <a:gdLst>
                <a:gd name="T0" fmla="*/ 1078 w 1175"/>
                <a:gd name="T1" fmla="*/ 523 h 2023"/>
                <a:gd name="T2" fmla="*/ 968 w 1175"/>
                <a:gd name="T3" fmla="*/ 549 h 2023"/>
                <a:gd name="T4" fmla="*/ 913 w 1175"/>
                <a:gd name="T5" fmla="*/ 682 h 2023"/>
                <a:gd name="T6" fmla="*/ 760 w 1175"/>
                <a:gd name="T7" fmla="*/ 867 h 2023"/>
                <a:gd name="T8" fmla="*/ 668 w 1175"/>
                <a:gd name="T9" fmla="*/ 947 h 2023"/>
                <a:gd name="T10" fmla="*/ 589 w 1175"/>
                <a:gd name="T11" fmla="*/ 1045 h 2023"/>
                <a:gd name="T12" fmla="*/ 558 w 1175"/>
                <a:gd name="T13" fmla="*/ 1219 h 2023"/>
                <a:gd name="T14" fmla="*/ 690 w 1175"/>
                <a:gd name="T15" fmla="*/ 1348 h 2023"/>
                <a:gd name="T16" fmla="*/ 603 w 1175"/>
                <a:gd name="T17" fmla="*/ 1416 h 2023"/>
                <a:gd name="T18" fmla="*/ 463 w 1175"/>
                <a:gd name="T19" fmla="*/ 1442 h 2023"/>
                <a:gd name="T20" fmla="*/ 676 w 1175"/>
                <a:gd name="T21" fmla="*/ 1466 h 2023"/>
                <a:gd name="T22" fmla="*/ 565 w 1175"/>
                <a:gd name="T23" fmla="*/ 1544 h 2023"/>
                <a:gd name="T24" fmla="*/ 512 w 1175"/>
                <a:gd name="T25" fmla="*/ 1663 h 2023"/>
                <a:gd name="T26" fmla="*/ 481 w 1175"/>
                <a:gd name="T27" fmla="*/ 1837 h 2023"/>
                <a:gd name="T28" fmla="*/ 146 w 1175"/>
                <a:gd name="T29" fmla="*/ 1872 h 2023"/>
                <a:gd name="T30" fmla="*/ 46 w 1175"/>
                <a:gd name="T31" fmla="*/ 1615 h 2023"/>
                <a:gd name="T32" fmla="*/ 79 w 1175"/>
                <a:gd name="T33" fmla="*/ 1511 h 2023"/>
                <a:gd name="T34" fmla="*/ 111 w 1175"/>
                <a:gd name="T35" fmla="*/ 1224 h 2023"/>
                <a:gd name="T36" fmla="*/ 286 w 1175"/>
                <a:gd name="T37" fmla="*/ 780 h 2023"/>
                <a:gd name="T38" fmla="*/ 425 w 1175"/>
                <a:gd name="T39" fmla="*/ 808 h 2023"/>
                <a:gd name="T40" fmla="*/ 478 w 1175"/>
                <a:gd name="T41" fmla="*/ 321 h 2023"/>
                <a:gd name="T42" fmla="*/ 887 w 1175"/>
                <a:gd name="T43" fmla="*/ 18 h 2023"/>
                <a:gd name="T44" fmla="*/ 530 w 1175"/>
                <a:gd name="T45" fmla="*/ 1508 h 2023"/>
                <a:gd name="T46" fmla="*/ 480 w 1175"/>
                <a:gd name="T47" fmla="*/ 248 h 2023"/>
                <a:gd name="T48" fmla="*/ 465 w 1175"/>
                <a:gd name="T49" fmla="*/ 619 h 2023"/>
                <a:gd name="T50" fmla="*/ 317 w 1175"/>
                <a:gd name="T51" fmla="*/ 459 h 2023"/>
                <a:gd name="T52" fmla="*/ 424 w 1175"/>
                <a:gd name="T53" fmla="*/ 1284 h 2023"/>
                <a:gd name="T54" fmla="*/ 378 w 1175"/>
                <a:gd name="T55" fmla="*/ 1004 h 2023"/>
                <a:gd name="T56" fmla="*/ 356 w 1175"/>
                <a:gd name="T57" fmla="*/ 1262 h 2023"/>
                <a:gd name="T58" fmla="*/ 290 w 1175"/>
                <a:gd name="T59" fmla="*/ 1515 h 2023"/>
                <a:gd name="T60" fmla="*/ 315 w 1175"/>
                <a:gd name="T61" fmla="*/ 1531 h 2023"/>
                <a:gd name="T62" fmla="*/ 310 w 1175"/>
                <a:gd name="T63" fmla="*/ 928 h 2023"/>
                <a:gd name="T64" fmla="*/ 190 w 1175"/>
                <a:gd name="T65" fmla="*/ 1367 h 2023"/>
                <a:gd name="T66" fmla="*/ 205 w 1175"/>
                <a:gd name="T67" fmla="*/ 863 h 2023"/>
                <a:gd name="T68" fmla="*/ 144 w 1175"/>
                <a:gd name="T69" fmla="*/ 883 h 2023"/>
                <a:gd name="T70" fmla="*/ 152 w 1175"/>
                <a:gd name="T71" fmla="*/ 1437 h 2023"/>
                <a:gd name="T72" fmla="*/ 133 w 1175"/>
                <a:gd name="T73" fmla="*/ 1660 h 2023"/>
                <a:gd name="T74" fmla="*/ 191 w 1175"/>
                <a:gd name="T75" fmla="*/ 1470 h 2023"/>
                <a:gd name="T76" fmla="*/ 193 w 1175"/>
                <a:gd name="T77" fmla="*/ 1579 h 2023"/>
                <a:gd name="T78" fmla="*/ 302 w 1175"/>
                <a:gd name="T79" fmla="*/ 1912 h 2023"/>
                <a:gd name="T80" fmla="*/ 348 w 1175"/>
                <a:gd name="T81" fmla="*/ 1791 h 2023"/>
                <a:gd name="T82" fmla="*/ 385 w 1175"/>
                <a:gd name="T83" fmla="*/ 1648 h 2023"/>
                <a:gd name="T84" fmla="*/ 447 w 1175"/>
                <a:gd name="T85" fmla="*/ 1650 h 2023"/>
                <a:gd name="T86" fmla="*/ 406 w 1175"/>
                <a:gd name="T87" fmla="*/ 1476 h 2023"/>
                <a:gd name="T88" fmla="*/ 515 w 1175"/>
                <a:gd name="T89" fmla="*/ 709 h 2023"/>
                <a:gd name="T90" fmla="*/ 527 w 1175"/>
                <a:gd name="T91" fmla="*/ 811 h 2023"/>
                <a:gd name="T92" fmla="*/ 537 w 1175"/>
                <a:gd name="T93" fmla="*/ 1327 h 2023"/>
                <a:gd name="T94" fmla="*/ 508 w 1175"/>
                <a:gd name="T95" fmla="*/ 599 h 2023"/>
                <a:gd name="T96" fmla="*/ 529 w 1175"/>
                <a:gd name="T97" fmla="*/ 412 h 2023"/>
                <a:gd name="T98" fmla="*/ 595 w 1175"/>
                <a:gd name="T99" fmla="*/ 496 h 2023"/>
                <a:gd name="T100" fmla="*/ 644 w 1175"/>
                <a:gd name="T101" fmla="*/ 422 h 2023"/>
                <a:gd name="T102" fmla="*/ 695 w 1175"/>
                <a:gd name="T103" fmla="*/ 349 h 2023"/>
                <a:gd name="T104" fmla="*/ 541 w 1175"/>
                <a:gd name="T105" fmla="*/ 200 h 2023"/>
                <a:gd name="T106" fmla="*/ 852 w 1175"/>
                <a:gd name="T107" fmla="*/ 190 h 2023"/>
                <a:gd name="T108" fmla="*/ 872 w 1175"/>
                <a:gd name="T109" fmla="*/ 200 h 2023"/>
                <a:gd name="T110" fmla="*/ 528 w 1175"/>
                <a:gd name="T111" fmla="*/ 1784 h 2023"/>
                <a:gd name="T112" fmla="*/ 584 w 1175"/>
                <a:gd name="T113" fmla="*/ 1448 h 2023"/>
                <a:gd name="T114" fmla="*/ 662 w 1175"/>
                <a:gd name="T115" fmla="*/ 1511 h 2023"/>
                <a:gd name="T116" fmla="*/ 735 w 1175"/>
                <a:gd name="T117" fmla="*/ 1656 h 2023"/>
                <a:gd name="T118" fmla="*/ 672 w 1175"/>
                <a:gd name="T119" fmla="*/ 1441 h 2023"/>
                <a:gd name="T120" fmla="*/ 643 w 1175"/>
                <a:gd name="T121" fmla="*/ 1776 h 2023"/>
                <a:gd name="T122" fmla="*/ 304 w 1175"/>
                <a:gd name="T123" fmla="*/ 1639 h 2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75" h="2023">
                  <a:moveTo>
                    <a:pt x="675" y="1343"/>
                  </a:moveTo>
                  <a:cubicBezTo>
                    <a:pt x="675" y="1342"/>
                    <a:pt x="675" y="1342"/>
                    <a:pt x="674" y="1342"/>
                  </a:cubicBezTo>
                  <a:cubicBezTo>
                    <a:pt x="674" y="1342"/>
                    <a:pt x="675" y="1342"/>
                    <a:pt x="675" y="1343"/>
                  </a:cubicBezTo>
                  <a:close/>
                  <a:moveTo>
                    <a:pt x="65" y="1650"/>
                  </a:moveTo>
                  <a:cubicBezTo>
                    <a:pt x="65" y="1650"/>
                    <a:pt x="65" y="1650"/>
                    <a:pt x="65" y="1650"/>
                  </a:cubicBezTo>
                  <a:cubicBezTo>
                    <a:pt x="67" y="1637"/>
                    <a:pt x="44" y="1644"/>
                    <a:pt x="44" y="1646"/>
                  </a:cubicBezTo>
                  <a:cubicBezTo>
                    <a:pt x="42" y="1652"/>
                    <a:pt x="50" y="1647"/>
                    <a:pt x="50" y="1650"/>
                  </a:cubicBezTo>
                  <a:cubicBezTo>
                    <a:pt x="49" y="1668"/>
                    <a:pt x="61" y="1656"/>
                    <a:pt x="65" y="1650"/>
                  </a:cubicBezTo>
                  <a:close/>
                  <a:moveTo>
                    <a:pt x="694" y="893"/>
                  </a:moveTo>
                  <a:cubicBezTo>
                    <a:pt x="694" y="893"/>
                    <a:pt x="694" y="893"/>
                    <a:pt x="694" y="893"/>
                  </a:cubicBezTo>
                  <a:cubicBezTo>
                    <a:pt x="694" y="893"/>
                    <a:pt x="694" y="893"/>
                    <a:pt x="694" y="893"/>
                  </a:cubicBezTo>
                  <a:close/>
                  <a:moveTo>
                    <a:pt x="705" y="900"/>
                  </a:moveTo>
                  <a:cubicBezTo>
                    <a:pt x="710" y="898"/>
                    <a:pt x="700" y="896"/>
                    <a:pt x="698" y="895"/>
                  </a:cubicBezTo>
                  <a:cubicBezTo>
                    <a:pt x="696" y="895"/>
                    <a:pt x="695" y="894"/>
                    <a:pt x="694" y="893"/>
                  </a:cubicBezTo>
                  <a:cubicBezTo>
                    <a:pt x="697" y="896"/>
                    <a:pt x="689" y="910"/>
                    <a:pt x="705" y="900"/>
                  </a:cubicBezTo>
                  <a:close/>
                  <a:moveTo>
                    <a:pt x="1129" y="416"/>
                  </a:moveTo>
                  <a:cubicBezTo>
                    <a:pt x="1129" y="455"/>
                    <a:pt x="1165" y="472"/>
                    <a:pt x="1175" y="507"/>
                  </a:cubicBezTo>
                  <a:cubicBezTo>
                    <a:pt x="1175" y="507"/>
                    <a:pt x="1154" y="515"/>
                    <a:pt x="1153" y="514"/>
                  </a:cubicBezTo>
                  <a:cubicBezTo>
                    <a:pt x="1139" y="510"/>
                    <a:pt x="1125" y="503"/>
                    <a:pt x="1113" y="503"/>
                  </a:cubicBezTo>
                  <a:cubicBezTo>
                    <a:pt x="1108" y="502"/>
                    <a:pt x="1110" y="514"/>
                    <a:pt x="1110" y="514"/>
                  </a:cubicBezTo>
                  <a:cubicBezTo>
                    <a:pt x="1109" y="514"/>
                    <a:pt x="1092" y="504"/>
                    <a:pt x="1088" y="504"/>
                  </a:cubicBezTo>
                  <a:cubicBezTo>
                    <a:pt x="1085" y="504"/>
                    <a:pt x="1092" y="510"/>
                    <a:pt x="1092" y="514"/>
                  </a:cubicBezTo>
                  <a:cubicBezTo>
                    <a:pt x="1091" y="515"/>
                    <a:pt x="1085" y="515"/>
                    <a:pt x="1084" y="516"/>
                  </a:cubicBezTo>
                  <a:cubicBezTo>
                    <a:pt x="1082" y="517"/>
                    <a:pt x="1085" y="524"/>
                    <a:pt x="1078" y="523"/>
                  </a:cubicBezTo>
                  <a:cubicBezTo>
                    <a:pt x="1076" y="523"/>
                    <a:pt x="1078" y="520"/>
                    <a:pt x="1078" y="519"/>
                  </a:cubicBezTo>
                  <a:cubicBezTo>
                    <a:pt x="1078" y="519"/>
                    <a:pt x="1044" y="491"/>
                    <a:pt x="1039" y="492"/>
                  </a:cubicBezTo>
                  <a:cubicBezTo>
                    <a:pt x="1037" y="492"/>
                    <a:pt x="1041" y="496"/>
                    <a:pt x="1042" y="496"/>
                  </a:cubicBezTo>
                  <a:cubicBezTo>
                    <a:pt x="1045" y="499"/>
                    <a:pt x="1045" y="514"/>
                    <a:pt x="1040" y="515"/>
                  </a:cubicBezTo>
                  <a:cubicBezTo>
                    <a:pt x="1038" y="516"/>
                    <a:pt x="1038" y="510"/>
                    <a:pt x="1036" y="508"/>
                  </a:cubicBezTo>
                  <a:cubicBezTo>
                    <a:pt x="1033" y="506"/>
                    <a:pt x="1028" y="513"/>
                    <a:pt x="1027" y="512"/>
                  </a:cubicBezTo>
                  <a:cubicBezTo>
                    <a:pt x="1025" y="510"/>
                    <a:pt x="1028" y="492"/>
                    <a:pt x="1014" y="499"/>
                  </a:cubicBezTo>
                  <a:cubicBezTo>
                    <a:pt x="1012" y="500"/>
                    <a:pt x="1016" y="501"/>
                    <a:pt x="1012" y="502"/>
                  </a:cubicBezTo>
                  <a:cubicBezTo>
                    <a:pt x="1010" y="503"/>
                    <a:pt x="1014" y="512"/>
                    <a:pt x="1013" y="515"/>
                  </a:cubicBezTo>
                  <a:cubicBezTo>
                    <a:pt x="1011" y="523"/>
                    <a:pt x="1001" y="513"/>
                    <a:pt x="1001" y="514"/>
                  </a:cubicBezTo>
                  <a:cubicBezTo>
                    <a:pt x="998" y="520"/>
                    <a:pt x="1015" y="519"/>
                    <a:pt x="1016" y="525"/>
                  </a:cubicBezTo>
                  <a:cubicBezTo>
                    <a:pt x="1016" y="528"/>
                    <a:pt x="1012" y="530"/>
                    <a:pt x="1012" y="528"/>
                  </a:cubicBezTo>
                  <a:cubicBezTo>
                    <a:pt x="1011" y="527"/>
                    <a:pt x="1006" y="519"/>
                    <a:pt x="1005" y="525"/>
                  </a:cubicBezTo>
                  <a:cubicBezTo>
                    <a:pt x="1003" y="533"/>
                    <a:pt x="1011" y="534"/>
                    <a:pt x="998" y="535"/>
                  </a:cubicBezTo>
                  <a:cubicBezTo>
                    <a:pt x="995" y="536"/>
                    <a:pt x="1011" y="535"/>
                    <a:pt x="1009" y="532"/>
                  </a:cubicBezTo>
                  <a:cubicBezTo>
                    <a:pt x="1005" y="527"/>
                    <a:pt x="1011" y="528"/>
                    <a:pt x="1011" y="531"/>
                  </a:cubicBezTo>
                  <a:cubicBezTo>
                    <a:pt x="1011" y="534"/>
                    <a:pt x="1011" y="539"/>
                    <a:pt x="1014" y="540"/>
                  </a:cubicBezTo>
                  <a:cubicBezTo>
                    <a:pt x="1016" y="541"/>
                    <a:pt x="1023" y="545"/>
                    <a:pt x="1019" y="548"/>
                  </a:cubicBezTo>
                  <a:cubicBezTo>
                    <a:pt x="1013" y="552"/>
                    <a:pt x="965" y="519"/>
                    <a:pt x="961" y="520"/>
                  </a:cubicBezTo>
                  <a:cubicBezTo>
                    <a:pt x="959" y="520"/>
                    <a:pt x="962" y="524"/>
                    <a:pt x="963" y="525"/>
                  </a:cubicBezTo>
                  <a:cubicBezTo>
                    <a:pt x="973" y="535"/>
                    <a:pt x="990" y="538"/>
                    <a:pt x="999" y="547"/>
                  </a:cubicBezTo>
                  <a:cubicBezTo>
                    <a:pt x="1000" y="548"/>
                    <a:pt x="993" y="549"/>
                    <a:pt x="993" y="549"/>
                  </a:cubicBezTo>
                  <a:cubicBezTo>
                    <a:pt x="987" y="548"/>
                    <a:pt x="981" y="555"/>
                    <a:pt x="973" y="549"/>
                  </a:cubicBezTo>
                  <a:cubicBezTo>
                    <a:pt x="972" y="549"/>
                    <a:pt x="969" y="548"/>
                    <a:pt x="968" y="549"/>
                  </a:cubicBezTo>
                  <a:cubicBezTo>
                    <a:pt x="968" y="559"/>
                    <a:pt x="988" y="549"/>
                    <a:pt x="983" y="565"/>
                  </a:cubicBezTo>
                  <a:cubicBezTo>
                    <a:pt x="983" y="566"/>
                    <a:pt x="980" y="565"/>
                    <a:pt x="979" y="565"/>
                  </a:cubicBezTo>
                  <a:cubicBezTo>
                    <a:pt x="977" y="564"/>
                    <a:pt x="976" y="559"/>
                    <a:pt x="975" y="564"/>
                  </a:cubicBezTo>
                  <a:cubicBezTo>
                    <a:pt x="974" y="572"/>
                    <a:pt x="958" y="567"/>
                    <a:pt x="945" y="571"/>
                  </a:cubicBezTo>
                  <a:cubicBezTo>
                    <a:pt x="944" y="572"/>
                    <a:pt x="935" y="569"/>
                    <a:pt x="934" y="572"/>
                  </a:cubicBezTo>
                  <a:cubicBezTo>
                    <a:pt x="933" y="580"/>
                    <a:pt x="961" y="583"/>
                    <a:pt x="952" y="592"/>
                  </a:cubicBezTo>
                  <a:cubicBezTo>
                    <a:pt x="944" y="599"/>
                    <a:pt x="933" y="582"/>
                    <a:pt x="929" y="578"/>
                  </a:cubicBezTo>
                  <a:cubicBezTo>
                    <a:pt x="927" y="577"/>
                    <a:pt x="919" y="571"/>
                    <a:pt x="921" y="575"/>
                  </a:cubicBezTo>
                  <a:cubicBezTo>
                    <a:pt x="924" y="578"/>
                    <a:pt x="916" y="576"/>
                    <a:pt x="916" y="578"/>
                  </a:cubicBezTo>
                  <a:cubicBezTo>
                    <a:pt x="916" y="581"/>
                    <a:pt x="927" y="580"/>
                    <a:pt x="928" y="581"/>
                  </a:cubicBezTo>
                  <a:cubicBezTo>
                    <a:pt x="932" y="583"/>
                    <a:pt x="948" y="602"/>
                    <a:pt x="948" y="607"/>
                  </a:cubicBezTo>
                  <a:cubicBezTo>
                    <a:pt x="948" y="609"/>
                    <a:pt x="943" y="609"/>
                    <a:pt x="943" y="612"/>
                  </a:cubicBezTo>
                  <a:cubicBezTo>
                    <a:pt x="942" y="616"/>
                    <a:pt x="938" y="617"/>
                    <a:pt x="944" y="619"/>
                  </a:cubicBezTo>
                  <a:cubicBezTo>
                    <a:pt x="948" y="620"/>
                    <a:pt x="940" y="621"/>
                    <a:pt x="939" y="621"/>
                  </a:cubicBezTo>
                  <a:cubicBezTo>
                    <a:pt x="935" y="620"/>
                    <a:pt x="931" y="633"/>
                    <a:pt x="927" y="636"/>
                  </a:cubicBezTo>
                  <a:cubicBezTo>
                    <a:pt x="924" y="638"/>
                    <a:pt x="917" y="635"/>
                    <a:pt x="914" y="637"/>
                  </a:cubicBezTo>
                  <a:cubicBezTo>
                    <a:pt x="911" y="641"/>
                    <a:pt x="912" y="658"/>
                    <a:pt x="903" y="657"/>
                  </a:cubicBezTo>
                  <a:cubicBezTo>
                    <a:pt x="900" y="657"/>
                    <a:pt x="899" y="647"/>
                    <a:pt x="896" y="653"/>
                  </a:cubicBezTo>
                  <a:cubicBezTo>
                    <a:pt x="891" y="667"/>
                    <a:pt x="922" y="661"/>
                    <a:pt x="920" y="667"/>
                  </a:cubicBezTo>
                  <a:cubicBezTo>
                    <a:pt x="919" y="670"/>
                    <a:pt x="914" y="666"/>
                    <a:pt x="913" y="668"/>
                  </a:cubicBezTo>
                  <a:cubicBezTo>
                    <a:pt x="912" y="673"/>
                    <a:pt x="929" y="686"/>
                    <a:pt x="912" y="676"/>
                  </a:cubicBezTo>
                  <a:cubicBezTo>
                    <a:pt x="910" y="675"/>
                    <a:pt x="904" y="668"/>
                    <a:pt x="902" y="671"/>
                  </a:cubicBezTo>
                  <a:cubicBezTo>
                    <a:pt x="901" y="672"/>
                    <a:pt x="902" y="675"/>
                    <a:pt x="902" y="675"/>
                  </a:cubicBezTo>
                  <a:cubicBezTo>
                    <a:pt x="903" y="680"/>
                    <a:pt x="910" y="681"/>
                    <a:pt x="913" y="682"/>
                  </a:cubicBezTo>
                  <a:cubicBezTo>
                    <a:pt x="918" y="683"/>
                    <a:pt x="920" y="690"/>
                    <a:pt x="923" y="694"/>
                  </a:cubicBezTo>
                  <a:cubicBezTo>
                    <a:pt x="925" y="697"/>
                    <a:pt x="923" y="685"/>
                    <a:pt x="929" y="691"/>
                  </a:cubicBezTo>
                  <a:cubicBezTo>
                    <a:pt x="930" y="693"/>
                    <a:pt x="932" y="698"/>
                    <a:pt x="934" y="696"/>
                  </a:cubicBezTo>
                  <a:cubicBezTo>
                    <a:pt x="940" y="690"/>
                    <a:pt x="940" y="709"/>
                    <a:pt x="934" y="699"/>
                  </a:cubicBezTo>
                  <a:cubicBezTo>
                    <a:pt x="932" y="696"/>
                    <a:pt x="930" y="702"/>
                    <a:pt x="929" y="703"/>
                  </a:cubicBezTo>
                  <a:cubicBezTo>
                    <a:pt x="928" y="703"/>
                    <a:pt x="923" y="698"/>
                    <a:pt x="923" y="700"/>
                  </a:cubicBezTo>
                  <a:cubicBezTo>
                    <a:pt x="923" y="704"/>
                    <a:pt x="931" y="704"/>
                    <a:pt x="933" y="703"/>
                  </a:cubicBezTo>
                  <a:cubicBezTo>
                    <a:pt x="939" y="701"/>
                    <a:pt x="933" y="711"/>
                    <a:pt x="935" y="713"/>
                  </a:cubicBezTo>
                  <a:cubicBezTo>
                    <a:pt x="939" y="715"/>
                    <a:pt x="944" y="706"/>
                    <a:pt x="946" y="709"/>
                  </a:cubicBezTo>
                  <a:cubicBezTo>
                    <a:pt x="948" y="712"/>
                    <a:pt x="947" y="714"/>
                    <a:pt x="945" y="714"/>
                  </a:cubicBezTo>
                  <a:cubicBezTo>
                    <a:pt x="934" y="715"/>
                    <a:pt x="911" y="745"/>
                    <a:pt x="899" y="747"/>
                  </a:cubicBezTo>
                  <a:cubicBezTo>
                    <a:pt x="898" y="747"/>
                    <a:pt x="867" y="810"/>
                    <a:pt x="864" y="812"/>
                  </a:cubicBezTo>
                  <a:cubicBezTo>
                    <a:pt x="861" y="813"/>
                    <a:pt x="851" y="810"/>
                    <a:pt x="851" y="809"/>
                  </a:cubicBezTo>
                  <a:cubicBezTo>
                    <a:pt x="850" y="809"/>
                    <a:pt x="849" y="806"/>
                    <a:pt x="848" y="807"/>
                  </a:cubicBezTo>
                  <a:cubicBezTo>
                    <a:pt x="841" y="807"/>
                    <a:pt x="842" y="824"/>
                    <a:pt x="839" y="827"/>
                  </a:cubicBezTo>
                  <a:cubicBezTo>
                    <a:pt x="831" y="832"/>
                    <a:pt x="837" y="814"/>
                    <a:pt x="832" y="818"/>
                  </a:cubicBezTo>
                  <a:cubicBezTo>
                    <a:pt x="830" y="819"/>
                    <a:pt x="834" y="833"/>
                    <a:pt x="830" y="833"/>
                  </a:cubicBezTo>
                  <a:cubicBezTo>
                    <a:pt x="824" y="832"/>
                    <a:pt x="831" y="821"/>
                    <a:pt x="829" y="820"/>
                  </a:cubicBezTo>
                  <a:cubicBezTo>
                    <a:pt x="825" y="820"/>
                    <a:pt x="825" y="833"/>
                    <a:pt x="825" y="833"/>
                  </a:cubicBezTo>
                  <a:cubicBezTo>
                    <a:pt x="820" y="836"/>
                    <a:pt x="812" y="830"/>
                    <a:pt x="808" y="831"/>
                  </a:cubicBezTo>
                  <a:cubicBezTo>
                    <a:pt x="801" y="833"/>
                    <a:pt x="806" y="844"/>
                    <a:pt x="794" y="838"/>
                  </a:cubicBezTo>
                  <a:cubicBezTo>
                    <a:pt x="790" y="836"/>
                    <a:pt x="779" y="864"/>
                    <a:pt x="777" y="865"/>
                  </a:cubicBezTo>
                  <a:cubicBezTo>
                    <a:pt x="771" y="867"/>
                    <a:pt x="762" y="839"/>
                    <a:pt x="752" y="847"/>
                  </a:cubicBezTo>
                  <a:cubicBezTo>
                    <a:pt x="752" y="848"/>
                    <a:pt x="762" y="863"/>
                    <a:pt x="760" y="867"/>
                  </a:cubicBezTo>
                  <a:cubicBezTo>
                    <a:pt x="759" y="871"/>
                    <a:pt x="752" y="862"/>
                    <a:pt x="751" y="861"/>
                  </a:cubicBezTo>
                  <a:cubicBezTo>
                    <a:pt x="747" y="859"/>
                    <a:pt x="743" y="859"/>
                    <a:pt x="741" y="860"/>
                  </a:cubicBezTo>
                  <a:cubicBezTo>
                    <a:pt x="736" y="862"/>
                    <a:pt x="740" y="878"/>
                    <a:pt x="738" y="881"/>
                  </a:cubicBezTo>
                  <a:cubicBezTo>
                    <a:pt x="737" y="882"/>
                    <a:pt x="736" y="882"/>
                    <a:pt x="735" y="881"/>
                  </a:cubicBezTo>
                  <a:cubicBezTo>
                    <a:pt x="729" y="873"/>
                    <a:pt x="725" y="894"/>
                    <a:pt x="725" y="894"/>
                  </a:cubicBezTo>
                  <a:cubicBezTo>
                    <a:pt x="722" y="895"/>
                    <a:pt x="720" y="891"/>
                    <a:pt x="719" y="891"/>
                  </a:cubicBezTo>
                  <a:cubicBezTo>
                    <a:pt x="715" y="894"/>
                    <a:pt x="720" y="897"/>
                    <a:pt x="723" y="897"/>
                  </a:cubicBezTo>
                  <a:cubicBezTo>
                    <a:pt x="724" y="897"/>
                    <a:pt x="720" y="903"/>
                    <a:pt x="719" y="903"/>
                  </a:cubicBezTo>
                  <a:cubicBezTo>
                    <a:pt x="713" y="905"/>
                    <a:pt x="710" y="888"/>
                    <a:pt x="704" y="888"/>
                  </a:cubicBezTo>
                  <a:cubicBezTo>
                    <a:pt x="702" y="889"/>
                    <a:pt x="690" y="889"/>
                    <a:pt x="694" y="893"/>
                  </a:cubicBezTo>
                  <a:cubicBezTo>
                    <a:pt x="693" y="893"/>
                    <a:pt x="691" y="893"/>
                    <a:pt x="688" y="895"/>
                  </a:cubicBezTo>
                  <a:cubicBezTo>
                    <a:pt x="687" y="896"/>
                    <a:pt x="693" y="905"/>
                    <a:pt x="692" y="906"/>
                  </a:cubicBezTo>
                  <a:cubicBezTo>
                    <a:pt x="691" y="908"/>
                    <a:pt x="678" y="902"/>
                    <a:pt x="675" y="903"/>
                  </a:cubicBezTo>
                  <a:cubicBezTo>
                    <a:pt x="675" y="903"/>
                    <a:pt x="680" y="905"/>
                    <a:pt x="680" y="906"/>
                  </a:cubicBezTo>
                  <a:cubicBezTo>
                    <a:pt x="682" y="909"/>
                    <a:pt x="674" y="921"/>
                    <a:pt x="668" y="926"/>
                  </a:cubicBezTo>
                  <a:cubicBezTo>
                    <a:pt x="667" y="927"/>
                    <a:pt x="664" y="921"/>
                    <a:pt x="662" y="921"/>
                  </a:cubicBezTo>
                  <a:cubicBezTo>
                    <a:pt x="654" y="922"/>
                    <a:pt x="665" y="927"/>
                    <a:pt x="663" y="927"/>
                  </a:cubicBezTo>
                  <a:cubicBezTo>
                    <a:pt x="659" y="928"/>
                    <a:pt x="650" y="923"/>
                    <a:pt x="647" y="929"/>
                  </a:cubicBezTo>
                  <a:cubicBezTo>
                    <a:pt x="646" y="930"/>
                    <a:pt x="654" y="931"/>
                    <a:pt x="654" y="931"/>
                  </a:cubicBezTo>
                  <a:cubicBezTo>
                    <a:pt x="658" y="931"/>
                    <a:pt x="678" y="927"/>
                    <a:pt x="677" y="935"/>
                  </a:cubicBezTo>
                  <a:cubicBezTo>
                    <a:pt x="677" y="936"/>
                    <a:pt x="660" y="933"/>
                    <a:pt x="660" y="937"/>
                  </a:cubicBezTo>
                  <a:cubicBezTo>
                    <a:pt x="659" y="942"/>
                    <a:pt x="672" y="939"/>
                    <a:pt x="672" y="941"/>
                  </a:cubicBezTo>
                  <a:cubicBezTo>
                    <a:pt x="670" y="948"/>
                    <a:pt x="665" y="942"/>
                    <a:pt x="661" y="942"/>
                  </a:cubicBezTo>
                  <a:cubicBezTo>
                    <a:pt x="658" y="943"/>
                    <a:pt x="668" y="947"/>
                    <a:pt x="668" y="947"/>
                  </a:cubicBezTo>
                  <a:cubicBezTo>
                    <a:pt x="668" y="949"/>
                    <a:pt x="660" y="953"/>
                    <a:pt x="659" y="954"/>
                  </a:cubicBezTo>
                  <a:cubicBezTo>
                    <a:pt x="654" y="954"/>
                    <a:pt x="650" y="944"/>
                    <a:pt x="647" y="946"/>
                  </a:cubicBezTo>
                  <a:cubicBezTo>
                    <a:pt x="639" y="953"/>
                    <a:pt x="648" y="951"/>
                    <a:pt x="650" y="952"/>
                  </a:cubicBezTo>
                  <a:cubicBezTo>
                    <a:pt x="653" y="955"/>
                    <a:pt x="641" y="965"/>
                    <a:pt x="642" y="961"/>
                  </a:cubicBezTo>
                  <a:cubicBezTo>
                    <a:pt x="645" y="952"/>
                    <a:pt x="639" y="963"/>
                    <a:pt x="637" y="963"/>
                  </a:cubicBezTo>
                  <a:cubicBezTo>
                    <a:pt x="631" y="965"/>
                    <a:pt x="625" y="962"/>
                    <a:pt x="631" y="958"/>
                  </a:cubicBezTo>
                  <a:cubicBezTo>
                    <a:pt x="633" y="957"/>
                    <a:pt x="639" y="956"/>
                    <a:pt x="637" y="955"/>
                  </a:cubicBezTo>
                  <a:cubicBezTo>
                    <a:pt x="629" y="952"/>
                    <a:pt x="622" y="958"/>
                    <a:pt x="622" y="958"/>
                  </a:cubicBezTo>
                  <a:cubicBezTo>
                    <a:pt x="612" y="954"/>
                    <a:pt x="621" y="927"/>
                    <a:pt x="598" y="930"/>
                  </a:cubicBezTo>
                  <a:cubicBezTo>
                    <a:pt x="598" y="930"/>
                    <a:pt x="604" y="935"/>
                    <a:pt x="605" y="935"/>
                  </a:cubicBezTo>
                  <a:cubicBezTo>
                    <a:pt x="608" y="937"/>
                    <a:pt x="615" y="950"/>
                    <a:pt x="614" y="954"/>
                  </a:cubicBezTo>
                  <a:cubicBezTo>
                    <a:pt x="612" y="960"/>
                    <a:pt x="628" y="967"/>
                    <a:pt x="625" y="978"/>
                  </a:cubicBezTo>
                  <a:cubicBezTo>
                    <a:pt x="624" y="982"/>
                    <a:pt x="612" y="976"/>
                    <a:pt x="614" y="979"/>
                  </a:cubicBezTo>
                  <a:cubicBezTo>
                    <a:pt x="618" y="984"/>
                    <a:pt x="630" y="981"/>
                    <a:pt x="631" y="989"/>
                  </a:cubicBezTo>
                  <a:cubicBezTo>
                    <a:pt x="631" y="989"/>
                    <a:pt x="627" y="990"/>
                    <a:pt x="626" y="991"/>
                  </a:cubicBezTo>
                  <a:cubicBezTo>
                    <a:pt x="623" y="993"/>
                    <a:pt x="621" y="998"/>
                    <a:pt x="621" y="990"/>
                  </a:cubicBezTo>
                  <a:cubicBezTo>
                    <a:pt x="621" y="989"/>
                    <a:pt x="621" y="985"/>
                    <a:pt x="619" y="988"/>
                  </a:cubicBezTo>
                  <a:cubicBezTo>
                    <a:pt x="614" y="994"/>
                    <a:pt x="618" y="999"/>
                    <a:pt x="611" y="1005"/>
                  </a:cubicBezTo>
                  <a:cubicBezTo>
                    <a:pt x="608" y="1007"/>
                    <a:pt x="601" y="1000"/>
                    <a:pt x="595" y="1006"/>
                  </a:cubicBezTo>
                  <a:cubicBezTo>
                    <a:pt x="593" y="1009"/>
                    <a:pt x="600" y="1012"/>
                    <a:pt x="598" y="1012"/>
                  </a:cubicBezTo>
                  <a:cubicBezTo>
                    <a:pt x="584" y="1014"/>
                    <a:pt x="573" y="989"/>
                    <a:pt x="565" y="1005"/>
                  </a:cubicBezTo>
                  <a:cubicBezTo>
                    <a:pt x="563" y="1010"/>
                    <a:pt x="571" y="1031"/>
                    <a:pt x="577" y="1037"/>
                  </a:cubicBezTo>
                  <a:cubicBezTo>
                    <a:pt x="580" y="1040"/>
                    <a:pt x="593" y="1038"/>
                    <a:pt x="594" y="1042"/>
                  </a:cubicBezTo>
                  <a:cubicBezTo>
                    <a:pt x="595" y="1043"/>
                    <a:pt x="591" y="1044"/>
                    <a:pt x="589" y="1045"/>
                  </a:cubicBezTo>
                  <a:cubicBezTo>
                    <a:pt x="581" y="1049"/>
                    <a:pt x="586" y="1039"/>
                    <a:pt x="581" y="1045"/>
                  </a:cubicBezTo>
                  <a:cubicBezTo>
                    <a:pt x="575" y="1051"/>
                    <a:pt x="577" y="1075"/>
                    <a:pt x="577" y="1075"/>
                  </a:cubicBezTo>
                  <a:cubicBezTo>
                    <a:pt x="577" y="1078"/>
                    <a:pt x="568" y="1081"/>
                    <a:pt x="567" y="1084"/>
                  </a:cubicBezTo>
                  <a:cubicBezTo>
                    <a:pt x="565" y="1092"/>
                    <a:pt x="568" y="1110"/>
                    <a:pt x="571" y="1115"/>
                  </a:cubicBezTo>
                  <a:cubicBezTo>
                    <a:pt x="571" y="1115"/>
                    <a:pt x="570" y="1117"/>
                    <a:pt x="571" y="1118"/>
                  </a:cubicBezTo>
                  <a:cubicBezTo>
                    <a:pt x="576" y="1120"/>
                    <a:pt x="588" y="1114"/>
                    <a:pt x="580" y="1129"/>
                  </a:cubicBezTo>
                  <a:cubicBezTo>
                    <a:pt x="580" y="1131"/>
                    <a:pt x="579" y="1131"/>
                    <a:pt x="578" y="1131"/>
                  </a:cubicBezTo>
                  <a:cubicBezTo>
                    <a:pt x="571" y="1128"/>
                    <a:pt x="555" y="1108"/>
                    <a:pt x="548" y="1117"/>
                  </a:cubicBezTo>
                  <a:cubicBezTo>
                    <a:pt x="547" y="1119"/>
                    <a:pt x="554" y="1119"/>
                    <a:pt x="554" y="1119"/>
                  </a:cubicBezTo>
                  <a:cubicBezTo>
                    <a:pt x="571" y="1122"/>
                    <a:pt x="537" y="1130"/>
                    <a:pt x="549" y="1131"/>
                  </a:cubicBezTo>
                  <a:cubicBezTo>
                    <a:pt x="551" y="1131"/>
                    <a:pt x="557" y="1131"/>
                    <a:pt x="558" y="1133"/>
                  </a:cubicBezTo>
                  <a:cubicBezTo>
                    <a:pt x="560" y="1136"/>
                    <a:pt x="549" y="1135"/>
                    <a:pt x="549" y="1135"/>
                  </a:cubicBezTo>
                  <a:cubicBezTo>
                    <a:pt x="548" y="1134"/>
                    <a:pt x="542" y="1135"/>
                    <a:pt x="541" y="1138"/>
                  </a:cubicBezTo>
                  <a:cubicBezTo>
                    <a:pt x="541" y="1138"/>
                    <a:pt x="550" y="1140"/>
                    <a:pt x="551" y="1140"/>
                  </a:cubicBezTo>
                  <a:cubicBezTo>
                    <a:pt x="553" y="1141"/>
                    <a:pt x="539" y="1142"/>
                    <a:pt x="545" y="1143"/>
                  </a:cubicBezTo>
                  <a:cubicBezTo>
                    <a:pt x="560" y="1146"/>
                    <a:pt x="547" y="1164"/>
                    <a:pt x="548" y="1169"/>
                  </a:cubicBezTo>
                  <a:cubicBezTo>
                    <a:pt x="549" y="1171"/>
                    <a:pt x="560" y="1176"/>
                    <a:pt x="560" y="1177"/>
                  </a:cubicBezTo>
                  <a:cubicBezTo>
                    <a:pt x="560" y="1177"/>
                    <a:pt x="560" y="1180"/>
                    <a:pt x="557" y="1181"/>
                  </a:cubicBezTo>
                  <a:cubicBezTo>
                    <a:pt x="555" y="1181"/>
                    <a:pt x="545" y="1175"/>
                    <a:pt x="544" y="1176"/>
                  </a:cubicBezTo>
                  <a:cubicBezTo>
                    <a:pt x="544" y="1177"/>
                    <a:pt x="553" y="1184"/>
                    <a:pt x="554" y="1185"/>
                  </a:cubicBezTo>
                  <a:cubicBezTo>
                    <a:pt x="555" y="1187"/>
                    <a:pt x="548" y="1204"/>
                    <a:pt x="549" y="1206"/>
                  </a:cubicBezTo>
                  <a:cubicBezTo>
                    <a:pt x="552" y="1211"/>
                    <a:pt x="552" y="1204"/>
                    <a:pt x="552" y="1211"/>
                  </a:cubicBezTo>
                  <a:cubicBezTo>
                    <a:pt x="552" y="1214"/>
                    <a:pt x="552" y="1218"/>
                    <a:pt x="550" y="1219"/>
                  </a:cubicBezTo>
                  <a:cubicBezTo>
                    <a:pt x="549" y="1220"/>
                    <a:pt x="558" y="1219"/>
                    <a:pt x="558" y="1219"/>
                  </a:cubicBezTo>
                  <a:cubicBezTo>
                    <a:pt x="560" y="1224"/>
                    <a:pt x="549" y="1225"/>
                    <a:pt x="549" y="1230"/>
                  </a:cubicBezTo>
                  <a:cubicBezTo>
                    <a:pt x="549" y="1237"/>
                    <a:pt x="564" y="1243"/>
                    <a:pt x="561" y="1253"/>
                  </a:cubicBezTo>
                  <a:cubicBezTo>
                    <a:pt x="560" y="1257"/>
                    <a:pt x="567" y="1253"/>
                    <a:pt x="566" y="1256"/>
                  </a:cubicBezTo>
                  <a:cubicBezTo>
                    <a:pt x="565" y="1260"/>
                    <a:pt x="552" y="1263"/>
                    <a:pt x="552" y="1266"/>
                  </a:cubicBezTo>
                  <a:cubicBezTo>
                    <a:pt x="553" y="1268"/>
                    <a:pt x="558" y="1265"/>
                    <a:pt x="559" y="1266"/>
                  </a:cubicBezTo>
                  <a:cubicBezTo>
                    <a:pt x="566" y="1269"/>
                    <a:pt x="565" y="1276"/>
                    <a:pt x="566" y="1277"/>
                  </a:cubicBezTo>
                  <a:cubicBezTo>
                    <a:pt x="568" y="1281"/>
                    <a:pt x="587" y="1269"/>
                    <a:pt x="594" y="1278"/>
                  </a:cubicBezTo>
                  <a:cubicBezTo>
                    <a:pt x="596" y="1281"/>
                    <a:pt x="590" y="1281"/>
                    <a:pt x="590" y="1282"/>
                  </a:cubicBezTo>
                  <a:cubicBezTo>
                    <a:pt x="588" y="1285"/>
                    <a:pt x="592" y="1291"/>
                    <a:pt x="594" y="1292"/>
                  </a:cubicBezTo>
                  <a:cubicBezTo>
                    <a:pt x="600" y="1301"/>
                    <a:pt x="605" y="1275"/>
                    <a:pt x="621" y="1280"/>
                  </a:cubicBezTo>
                  <a:cubicBezTo>
                    <a:pt x="623" y="1281"/>
                    <a:pt x="622" y="1282"/>
                    <a:pt x="623" y="1284"/>
                  </a:cubicBezTo>
                  <a:cubicBezTo>
                    <a:pt x="625" y="1289"/>
                    <a:pt x="631" y="1306"/>
                    <a:pt x="640" y="1310"/>
                  </a:cubicBezTo>
                  <a:cubicBezTo>
                    <a:pt x="641" y="1310"/>
                    <a:pt x="648" y="1311"/>
                    <a:pt x="648" y="1312"/>
                  </a:cubicBezTo>
                  <a:cubicBezTo>
                    <a:pt x="649" y="1314"/>
                    <a:pt x="642" y="1313"/>
                    <a:pt x="645" y="1318"/>
                  </a:cubicBezTo>
                  <a:cubicBezTo>
                    <a:pt x="645" y="1318"/>
                    <a:pt x="645" y="1319"/>
                    <a:pt x="646" y="1319"/>
                  </a:cubicBezTo>
                  <a:cubicBezTo>
                    <a:pt x="648" y="1319"/>
                    <a:pt x="651" y="1315"/>
                    <a:pt x="653" y="1315"/>
                  </a:cubicBezTo>
                  <a:cubicBezTo>
                    <a:pt x="656" y="1315"/>
                    <a:pt x="679" y="1331"/>
                    <a:pt x="679" y="1332"/>
                  </a:cubicBezTo>
                  <a:cubicBezTo>
                    <a:pt x="680" y="1335"/>
                    <a:pt x="673" y="1334"/>
                    <a:pt x="672" y="1333"/>
                  </a:cubicBezTo>
                  <a:cubicBezTo>
                    <a:pt x="665" y="1331"/>
                    <a:pt x="660" y="1318"/>
                    <a:pt x="653" y="1321"/>
                  </a:cubicBezTo>
                  <a:cubicBezTo>
                    <a:pt x="650" y="1323"/>
                    <a:pt x="665" y="1335"/>
                    <a:pt x="665" y="1336"/>
                  </a:cubicBezTo>
                  <a:cubicBezTo>
                    <a:pt x="665" y="1338"/>
                    <a:pt x="661" y="1335"/>
                    <a:pt x="669" y="1343"/>
                  </a:cubicBezTo>
                  <a:cubicBezTo>
                    <a:pt x="671" y="1346"/>
                    <a:pt x="674" y="1341"/>
                    <a:pt x="674" y="1342"/>
                  </a:cubicBezTo>
                  <a:cubicBezTo>
                    <a:pt x="674" y="1343"/>
                    <a:pt x="675" y="1357"/>
                    <a:pt x="677" y="1356"/>
                  </a:cubicBezTo>
                  <a:cubicBezTo>
                    <a:pt x="682" y="1355"/>
                    <a:pt x="675" y="1338"/>
                    <a:pt x="690" y="1348"/>
                  </a:cubicBezTo>
                  <a:cubicBezTo>
                    <a:pt x="691" y="1350"/>
                    <a:pt x="689" y="1358"/>
                    <a:pt x="692" y="1362"/>
                  </a:cubicBezTo>
                  <a:cubicBezTo>
                    <a:pt x="693" y="1363"/>
                    <a:pt x="696" y="1367"/>
                    <a:pt x="696" y="1366"/>
                  </a:cubicBezTo>
                  <a:cubicBezTo>
                    <a:pt x="696" y="1363"/>
                    <a:pt x="689" y="1347"/>
                    <a:pt x="697" y="1349"/>
                  </a:cubicBezTo>
                  <a:cubicBezTo>
                    <a:pt x="702" y="1351"/>
                    <a:pt x="699" y="1359"/>
                    <a:pt x="701" y="1364"/>
                  </a:cubicBezTo>
                  <a:cubicBezTo>
                    <a:pt x="704" y="1374"/>
                    <a:pt x="711" y="1376"/>
                    <a:pt x="716" y="1382"/>
                  </a:cubicBezTo>
                  <a:cubicBezTo>
                    <a:pt x="716" y="1383"/>
                    <a:pt x="718" y="1384"/>
                    <a:pt x="718" y="1382"/>
                  </a:cubicBezTo>
                  <a:cubicBezTo>
                    <a:pt x="720" y="1376"/>
                    <a:pt x="721" y="1386"/>
                    <a:pt x="720" y="1390"/>
                  </a:cubicBezTo>
                  <a:cubicBezTo>
                    <a:pt x="719" y="1396"/>
                    <a:pt x="705" y="1375"/>
                    <a:pt x="704" y="1376"/>
                  </a:cubicBezTo>
                  <a:cubicBezTo>
                    <a:pt x="700" y="1380"/>
                    <a:pt x="707" y="1387"/>
                    <a:pt x="704" y="1391"/>
                  </a:cubicBezTo>
                  <a:cubicBezTo>
                    <a:pt x="701" y="1395"/>
                    <a:pt x="690" y="1395"/>
                    <a:pt x="690" y="1399"/>
                  </a:cubicBezTo>
                  <a:cubicBezTo>
                    <a:pt x="690" y="1400"/>
                    <a:pt x="725" y="1391"/>
                    <a:pt x="721" y="1403"/>
                  </a:cubicBezTo>
                  <a:cubicBezTo>
                    <a:pt x="719" y="1408"/>
                    <a:pt x="710" y="1398"/>
                    <a:pt x="706" y="1402"/>
                  </a:cubicBezTo>
                  <a:cubicBezTo>
                    <a:pt x="695" y="1413"/>
                    <a:pt x="687" y="1415"/>
                    <a:pt x="684" y="1418"/>
                  </a:cubicBezTo>
                  <a:cubicBezTo>
                    <a:pt x="680" y="1422"/>
                    <a:pt x="670" y="1438"/>
                    <a:pt x="659" y="1442"/>
                  </a:cubicBezTo>
                  <a:cubicBezTo>
                    <a:pt x="657" y="1443"/>
                    <a:pt x="650" y="1439"/>
                    <a:pt x="649" y="1441"/>
                  </a:cubicBezTo>
                  <a:cubicBezTo>
                    <a:pt x="647" y="1445"/>
                    <a:pt x="658" y="1449"/>
                    <a:pt x="655" y="1452"/>
                  </a:cubicBezTo>
                  <a:cubicBezTo>
                    <a:pt x="653" y="1452"/>
                    <a:pt x="651" y="1453"/>
                    <a:pt x="650" y="1452"/>
                  </a:cubicBezTo>
                  <a:cubicBezTo>
                    <a:pt x="648" y="1452"/>
                    <a:pt x="638" y="1451"/>
                    <a:pt x="640" y="1449"/>
                  </a:cubicBezTo>
                  <a:cubicBezTo>
                    <a:pt x="646" y="1439"/>
                    <a:pt x="636" y="1449"/>
                    <a:pt x="633" y="1451"/>
                  </a:cubicBezTo>
                  <a:cubicBezTo>
                    <a:pt x="631" y="1453"/>
                    <a:pt x="626" y="1449"/>
                    <a:pt x="626" y="1451"/>
                  </a:cubicBezTo>
                  <a:cubicBezTo>
                    <a:pt x="626" y="1452"/>
                    <a:pt x="639" y="1460"/>
                    <a:pt x="638" y="1461"/>
                  </a:cubicBezTo>
                  <a:cubicBezTo>
                    <a:pt x="634" y="1465"/>
                    <a:pt x="605" y="1459"/>
                    <a:pt x="603" y="1450"/>
                  </a:cubicBezTo>
                  <a:cubicBezTo>
                    <a:pt x="602" y="1443"/>
                    <a:pt x="611" y="1436"/>
                    <a:pt x="611" y="1433"/>
                  </a:cubicBezTo>
                  <a:cubicBezTo>
                    <a:pt x="611" y="1429"/>
                    <a:pt x="605" y="1419"/>
                    <a:pt x="603" y="1416"/>
                  </a:cubicBezTo>
                  <a:cubicBezTo>
                    <a:pt x="600" y="1411"/>
                    <a:pt x="601" y="1408"/>
                    <a:pt x="600" y="1409"/>
                  </a:cubicBezTo>
                  <a:cubicBezTo>
                    <a:pt x="598" y="1410"/>
                    <a:pt x="602" y="1421"/>
                    <a:pt x="599" y="1421"/>
                  </a:cubicBezTo>
                  <a:cubicBezTo>
                    <a:pt x="598" y="1420"/>
                    <a:pt x="592" y="1414"/>
                    <a:pt x="592" y="1413"/>
                  </a:cubicBezTo>
                  <a:cubicBezTo>
                    <a:pt x="592" y="1410"/>
                    <a:pt x="604" y="1398"/>
                    <a:pt x="589" y="1394"/>
                  </a:cubicBezTo>
                  <a:cubicBezTo>
                    <a:pt x="586" y="1393"/>
                    <a:pt x="587" y="1400"/>
                    <a:pt x="584" y="1402"/>
                  </a:cubicBezTo>
                  <a:cubicBezTo>
                    <a:pt x="581" y="1405"/>
                    <a:pt x="573" y="1401"/>
                    <a:pt x="569" y="1402"/>
                  </a:cubicBezTo>
                  <a:cubicBezTo>
                    <a:pt x="567" y="1403"/>
                    <a:pt x="578" y="1405"/>
                    <a:pt x="578" y="1405"/>
                  </a:cubicBezTo>
                  <a:cubicBezTo>
                    <a:pt x="582" y="1407"/>
                    <a:pt x="576" y="1413"/>
                    <a:pt x="578" y="1418"/>
                  </a:cubicBezTo>
                  <a:cubicBezTo>
                    <a:pt x="579" y="1420"/>
                    <a:pt x="581" y="1427"/>
                    <a:pt x="584" y="1427"/>
                  </a:cubicBezTo>
                  <a:cubicBezTo>
                    <a:pt x="584" y="1427"/>
                    <a:pt x="583" y="1420"/>
                    <a:pt x="582" y="1418"/>
                  </a:cubicBezTo>
                  <a:cubicBezTo>
                    <a:pt x="580" y="1414"/>
                    <a:pt x="584" y="1408"/>
                    <a:pt x="585" y="1407"/>
                  </a:cubicBezTo>
                  <a:cubicBezTo>
                    <a:pt x="587" y="1402"/>
                    <a:pt x="590" y="1407"/>
                    <a:pt x="589" y="1409"/>
                  </a:cubicBezTo>
                  <a:cubicBezTo>
                    <a:pt x="587" y="1425"/>
                    <a:pt x="609" y="1426"/>
                    <a:pt x="606" y="1433"/>
                  </a:cubicBezTo>
                  <a:cubicBezTo>
                    <a:pt x="595" y="1462"/>
                    <a:pt x="570" y="1416"/>
                    <a:pt x="570" y="1415"/>
                  </a:cubicBezTo>
                  <a:cubicBezTo>
                    <a:pt x="564" y="1414"/>
                    <a:pt x="568" y="1424"/>
                    <a:pt x="569" y="1424"/>
                  </a:cubicBezTo>
                  <a:cubicBezTo>
                    <a:pt x="572" y="1440"/>
                    <a:pt x="571" y="1437"/>
                    <a:pt x="568" y="1442"/>
                  </a:cubicBezTo>
                  <a:cubicBezTo>
                    <a:pt x="568" y="1443"/>
                    <a:pt x="542" y="1423"/>
                    <a:pt x="541" y="1423"/>
                  </a:cubicBezTo>
                  <a:cubicBezTo>
                    <a:pt x="538" y="1422"/>
                    <a:pt x="543" y="1429"/>
                    <a:pt x="542" y="1431"/>
                  </a:cubicBezTo>
                  <a:cubicBezTo>
                    <a:pt x="541" y="1434"/>
                    <a:pt x="536" y="1432"/>
                    <a:pt x="535" y="1431"/>
                  </a:cubicBezTo>
                  <a:cubicBezTo>
                    <a:pt x="511" y="1423"/>
                    <a:pt x="515" y="1436"/>
                    <a:pt x="507" y="1433"/>
                  </a:cubicBezTo>
                  <a:cubicBezTo>
                    <a:pt x="504" y="1432"/>
                    <a:pt x="501" y="1424"/>
                    <a:pt x="497" y="1422"/>
                  </a:cubicBezTo>
                  <a:cubicBezTo>
                    <a:pt x="497" y="1422"/>
                    <a:pt x="496" y="1422"/>
                    <a:pt x="495" y="1422"/>
                  </a:cubicBezTo>
                  <a:cubicBezTo>
                    <a:pt x="493" y="1423"/>
                    <a:pt x="490" y="1438"/>
                    <a:pt x="490" y="1438"/>
                  </a:cubicBezTo>
                  <a:cubicBezTo>
                    <a:pt x="476" y="1443"/>
                    <a:pt x="472" y="1438"/>
                    <a:pt x="463" y="1442"/>
                  </a:cubicBezTo>
                  <a:cubicBezTo>
                    <a:pt x="459" y="1445"/>
                    <a:pt x="450" y="1433"/>
                    <a:pt x="449" y="1438"/>
                  </a:cubicBezTo>
                  <a:cubicBezTo>
                    <a:pt x="445" y="1450"/>
                    <a:pt x="500" y="1443"/>
                    <a:pt x="500" y="1443"/>
                  </a:cubicBezTo>
                  <a:cubicBezTo>
                    <a:pt x="501" y="1443"/>
                    <a:pt x="502" y="1441"/>
                    <a:pt x="503" y="1441"/>
                  </a:cubicBezTo>
                  <a:cubicBezTo>
                    <a:pt x="506" y="1441"/>
                    <a:pt x="525" y="1461"/>
                    <a:pt x="526" y="1453"/>
                  </a:cubicBezTo>
                  <a:cubicBezTo>
                    <a:pt x="527" y="1452"/>
                    <a:pt x="509" y="1442"/>
                    <a:pt x="510" y="1441"/>
                  </a:cubicBezTo>
                  <a:cubicBezTo>
                    <a:pt x="523" y="1427"/>
                    <a:pt x="532" y="1454"/>
                    <a:pt x="539" y="1458"/>
                  </a:cubicBezTo>
                  <a:cubicBezTo>
                    <a:pt x="543" y="1459"/>
                    <a:pt x="549" y="1454"/>
                    <a:pt x="554" y="1457"/>
                  </a:cubicBezTo>
                  <a:cubicBezTo>
                    <a:pt x="556" y="1458"/>
                    <a:pt x="563" y="1457"/>
                    <a:pt x="564" y="1460"/>
                  </a:cubicBezTo>
                  <a:cubicBezTo>
                    <a:pt x="566" y="1464"/>
                    <a:pt x="559" y="1463"/>
                    <a:pt x="558" y="1464"/>
                  </a:cubicBezTo>
                  <a:cubicBezTo>
                    <a:pt x="557" y="1464"/>
                    <a:pt x="558" y="1466"/>
                    <a:pt x="559" y="1466"/>
                  </a:cubicBezTo>
                  <a:cubicBezTo>
                    <a:pt x="560" y="1468"/>
                    <a:pt x="553" y="1471"/>
                    <a:pt x="555" y="1472"/>
                  </a:cubicBezTo>
                  <a:cubicBezTo>
                    <a:pt x="556" y="1473"/>
                    <a:pt x="570" y="1475"/>
                    <a:pt x="571" y="1474"/>
                  </a:cubicBezTo>
                  <a:cubicBezTo>
                    <a:pt x="572" y="1473"/>
                    <a:pt x="565" y="1465"/>
                    <a:pt x="567" y="1463"/>
                  </a:cubicBezTo>
                  <a:cubicBezTo>
                    <a:pt x="573" y="1458"/>
                    <a:pt x="589" y="1477"/>
                    <a:pt x="589" y="1477"/>
                  </a:cubicBezTo>
                  <a:cubicBezTo>
                    <a:pt x="592" y="1476"/>
                    <a:pt x="587" y="1469"/>
                    <a:pt x="589" y="1468"/>
                  </a:cubicBezTo>
                  <a:cubicBezTo>
                    <a:pt x="593" y="1467"/>
                    <a:pt x="611" y="1477"/>
                    <a:pt x="614" y="1477"/>
                  </a:cubicBezTo>
                  <a:cubicBezTo>
                    <a:pt x="620" y="1479"/>
                    <a:pt x="617" y="1466"/>
                    <a:pt x="624" y="1465"/>
                  </a:cubicBezTo>
                  <a:cubicBezTo>
                    <a:pt x="628" y="1464"/>
                    <a:pt x="642" y="1467"/>
                    <a:pt x="645" y="1464"/>
                  </a:cubicBezTo>
                  <a:cubicBezTo>
                    <a:pt x="648" y="1458"/>
                    <a:pt x="649" y="1456"/>
                    <a:pt x="656" y="1456"/>
                  </a:cubicBezTo>
                  <a:cubicBezTo>
                    <a:pt x="663" y="1455"/>
                    <a:pt x="664" y="1463"/>
                    <a:pt x="667" y="1462"/>
                  </a:cubicBezTo>
                  <a:cubicBezTo>
                    <a:pt x="671" y="1460"/>
                    <a:pt x="661" y="1452"/>
                    <a:pt x="663" y="1447"/>
                  </a:cubicBezTo>
                  <a:cubicBezTo>
                    <a:pt x="664" y="1445"/>
                    <a:pt x="671" y="1448"/>
                    <a:pt x="672" y="1449"/>
                  </a:cubicBezTo>
                  <a:cubicBezTo>
                    <a:pt x="674" y="1451"/>
                    <a:pt x="682" y="1461"/>
                    <a:pt x="683" y="1463"/>
                  </a:cubicBezTo>
                  <a:cubicBezTo>
                    <a:pt x="684" y="1465"/>
                    <a:pt x="678" y="1466"/>
                    <a:pt x="676" y="1466"/>
                  </a:cubicBezTo>
                  <a:cubicBezTo>
                    <a:pt x="667" y="1467"/>
                    <a:pt x="653" y="1460"/>
                    <a:pt x="650" y="1465"/>
                  </a:cubicBezTo>
                  <a:cubicBezTo>
                    <a:pt x="648" y="1467"/>
                    <a:pt x="649" y="1471"/>
                    <a:pt x="651" y="1472"/>
                  </a:cubicBezTo>
                  <a:cubicBezTo>
                    <a:pt x="654" y="1473"/>
                    <a:pt x="667" y="1481"/>
                    <a:pt x="663" y="1481"/>
                  </a:cubicBezTo>
                  <a:cubicBezTo>
                    <a:pt x="662" y="1481"/>
                    <a:pt x="659" y="1480"/>
                    <a:pt x="658" y="1479"/>
                  </a:cubicBezTo>
                  <a:cubicBezTo>
                    <a:pt x="648" y="1472"/>
                    <a:pt x="656" y="1484"/>
                    <a:pt x="659" y="1484"/>
                  </a:cubicBezTo>
                  <a:cubicBezTo>
                    <a:pt x="661" y="1483"/>
                    <a:pt x="663" y="1485"/>
                    <a:pt x="663" y="1486"/>
                  </a:cubicBezTo>
                  <a:cubicBezTo>
                    <a:pt x="663" y="1490"/>
                    <a:pt x="644" y="1495"/>
                    <a:pt x="629" y="1501"/>
                  </a:cubicBezTo>
                  <a:cubicBezTo>
                    <a:pt x="624" y="1503"/>
                    <a:pt x="619" y="1528"/>
                    <a:pt x="616" y="1529"/>
                  </a:cubicBezTo>
                  <a:cubicBezTo>
                    <a:pt x="613" y="1530"/>
                    <a:pt x="613" y="1523"/>
                    <a:pt x="613" y="1522"/>
                  </a:cubicBezTo>
                  <a:cubicBezTo>
                    <a:pt x="612" y="1518"/>
                    <a:pt x="608" y="1522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ubicBezTo>
                    <a:pt x="607" y="1519"/>
                    <a:pt x="610" y="1528"/>
                    <a:pt x="603" y="1521"/>
                  </a:cubicBezTo>
                  <a:cubicBezTo>
                    <a:pt x="601" y="1519"/>
                    <a:pt x="606" y="1490"/>
                    <a:pt x="604" y="1491"/>
                  </a:cubicBezTo>
                  <a:cubicBezTo>
                    <a:pt x="599" y="1492"/>
                    <a:pt x="601" y="1502"/>
                    <a:pt x="599" y="1502"/>
                  </a:cubicBezTo>
                  <a:cubicBezTo>
                    <a:pt x="593" y="1500"/>
                    <a:pt x="599" y="1481"/>
                    <a:pt x="595" y="1485"/>
                  </a:cubicBezTo>
                  <a:cubicBezTo>
                    <a:pt x="583" y="1498"/>
                    <a:pt x="599" y="1523"/>
                    <a:pt x="585" y="1523"/>
                  </a:cubicBezTo>
                  <a:cubicBezTo>
                    <a:pt x="584" y="1523"/>
                    <a:pt x="590" y="1530"/>
                    <a:pt x="587" y="1531"/>
                  </a:cubicBezTo>
                  <a:cubicBezTo>
                    <a:pt x="585" y="1531"/>
                    <a:pt x="578" y="1522"/>
                    <a:pt x="576" y="1524"/>
                  </a:cubicBezTo>
                  <a:cubicBezTo>
                    <a:pt x="572" y="1527"/>
                    <a:pt x="584" y="1538"/>
                    <a:pt x="579" y="1539"/>
                  </a:cubicBezTo>
                  <a:cubicBezTo>
                    <a:pt x="578" y="1539"/>
                    <a:pt x="571" y="1539"/>
                    <a:pt x="570" y="1538"/>
                  </a:cubicBezTo>
                  <a:cubicBezTo>
                    <a:pt x="569" y="1538"/>
                    <a:pt x="567" y="1536"/>
                    <a:pt x="566" y="1537"/>
                  </a:cubicBezTo>
                  <a:cubicBezTo>
                    <a:pt x="565" y="1539"/>
                    <a:pt x="570" y="1540"/>
                    <a:pt x="569" y="1542"/>
                  </a:cubicBezTo>
                  <a:cubicBezTo>
                    <a:pt x="569" y="1546"/>
                    <a:pt x="567" y="1545"/>
                    <a:pt x="565" y="1544"/>
                  </a:cubicBezTo>
                  <a:cubicBezTo>
                    <a:pt x="560" y="1543"/>
                    <a:pt x="561" y="1548"/>
                    <a:pt x="560" y="1548"/>
                  </a:cubicBezTo>
                  <a:cubicBezTo>
                    <a:pt x="550" y="1549"/>
                    <a:pt x="546" y="1541"/>
                    <a:pt x="539" y="1544"/>
                  </a:cubicBezTo>
                  <a:cubicBezTo>
                    <a:pt x="537" y="1545"/>
                    <a:pt x="541" y="1546"/>
                    <a:pt x="541" y="1546"/>
                  </a:cubicBezTo>
                  <a:cubicBezTo>
                    <a:pt x="548" y="1547"/>
                    <a:pt x="538" y="1550"/>
                    <a:pt x="543" y="1551"/>
                  </a:cubicBezTo>
                  <a:cubicBezTo>
                    <a:pt x="556" y="1553"/>
                    <a:pt x="539" y="1554"/>
                    <a:pt x="533" y="1554"/>
                  </a:cubicBezTo>
                  <a:cubicBezTo>
                    <a:pt x="528" y="1554"/>
                    <a:pt x="542" y="1558"/>
                    <a:pt x="539" y="1560"/>
                  </a:cubicBezTo>
                  <a:cubicBezTo>
                    <a:pt x="518" y="1575"/>
                    <a:pt x="475" y="1545"/>
                    <a:pt x="463" y="1561"/>
                  </a:cubicBezTo>
                  <a:cubicBezTo>
                    <a:pt x="460" y="1565"/>
                    <a:pt x="474" y="1557"/>
                    <a:pt x="477" y="1561"/>
                  </a:cubicBezTo>
                  <a:cubicBezTo>
                    <a:pt x="478" y="1562"/>
                    <a:pt x="480" y="1567"/>
                    <a:pt x="481" y="1567"/>
                  </a:cubicBezTo>
                  <a:cubicBezTo>
                    <a:pt x="485" y="1568"/>
                    <a:pt x="483" y="1561"/>
                    <a:pt x="487" y="1561"/>
                  </a:cubicBezTo>
                  <a:cubicBezTo>
                    <a:pt x="501" y="1565"/>
                    <a:pt x="532" y="1573"/>
                    <a:pt x="530" y="1582"/>
                  </a:cubicBezTo>
                  <a:cubicBezTo>
                    <a:pt x="530" y="1586"/>
                    <a:pt x="506" y="1590"/>
                    <a:pt x="497" y="1586"/>
                  </a:cubicBezTo>
                  <a:cubicBezTo>
                    <a:pt x="496" y="1586"/>
                    <a:pt x="483" y="1582"/>
                    <a:pt x="484" y="1583"/>
                  </a:cubicBezTo>
                  <a:cubicBezTo>
                    <a:pt x="491" y="1593"/>
                    <a:pt x="515" y="1593"/>
                    <a:pt x="516" y="1599"/>
                  </a:cubicBezTo>
                  <a:cubicBezTo>
                    <a:pt x="516" y="1603"/>
                    <a:pt x="501" y="1597"/>
                    <a:pt x="503" y="1601"/>
                  </a:cubicBezTo>
                  <a:cubicBezTo>
                    <a:pt x="504" y="1605"/>
                    <a:pt x="508" y="1604"/>
                    <a:pt x="509" y="1608"/>
                  </a:cubicBezTo>
                  <a:cubicBezTo>
                    <a:pt x="510" y="1611"/>
                    <a:pt x="513" y="1606"/>
                    <a:pt x="514" y="1605"/>
                  </a:cubicBezTo>
                  <a:cubicBezTo>
                    <a:pt x="516" y="1605"/>
                    <a:pt x="512" y="1614"/>
                    <a:pt x="520" y="1621"/>
                  </a:cubicBezTo>
                  <a:cubicBezTo>
                    <a:pt x="522" y="1624"/>
                    <a:pt x="520" y="1628"/>
                    <a:pt x="518" y="1631"/>
                  </a:cubicBezTo>
                  <a:cubicBezTo>
                    <a:pt x="513" y="1636"/>
                    <a:pt x="503" y="1621"/>
                    <a:pt x="502" y="1622"/>
                  </a:cubicBezTo>
                  <a:cubicBezTo>
                    <a:pt x="502" y="1622"/>
                    <a:pt x="515" y="1646"/>
                    <a:pt x="514" y="1648"/>
                  </a:cubicBezTo>
                  <a:cubicBezTo>
                    <a:pt x="510" y="1655"/>
                    <a:pt x="502" y="1640"/>
                    <a:pt x="501" y="1652"/>
                  </a:cubicBezTo>
                  <a:cubicBezTo>
                    <a:pt x="501" y="1652"/>
                    <a:pt x="505" y="1653"/>
                    <a:pt x="505" y="1653"/>
                  </a:cubicBezTo>
                  <a:cubicBezTo>
                    <a:pt x="516" y="1656"/>
                    <a:pt x="512" y="1661"/>
                    <a:pt x="512" y="1663"/>
                  </a:cubicBezTo>
                  <a:cubicBezTo>
                    <a:pt x="513" y="1666"/>
                    <a:pt x="517" y="1665"/>
                    <a:pt x="514" y="1668"/>
                  </a:cubicBezTo>
                  <a:cubicBezTo>
                    <a:pt x="511" y="1669"/>
                    <a:pt x="510" y="1666"/>
                    <a:pt x="510" y="1665"/>
                  </a:cubicBezTo>
                  <a:cubicBezTo>
                    <a:pt x="509" y="1662"/>
                    <a:pt x="506" y="1662"/>
                    <a:pt x="504" y="1661"/>
                  </a:cubicBezTo>
                  <a:cubicBezTo>
                    <a:pt x="501" y="1659"/>
                    <a:pt x="493" y="1650"/>
                    <a:pt x="492" y="1651"/>
                  </a:cubicBezTo>
                  <a:cubicBezTo>
                    <a:pt x="490" y="1652"/>
                    <a:pt x="498" y="1662"/>
                    <a:pt x="498" y="1663"/>
                  </a:cubicBezTo>
                  <a:cubicBezTo>
                    <a:pt x="499" y="1667"/>
                    <a:pt x="491" y="1662"/>
                    <a:pt x="494" y="1665"/>
                  </a:cubicBezTo>
                  <a:cubicBezTo>
                    <a:pt x="495" y="1668"/>
                    <a:pt x="510" y="1682"/>
                    <a:pt x="508" y="1684"/>
                  </a:cubicBezTo>
                  <a:cubicBezTo>
                    <a:pt x="506" y="1686"/>
                    <a:pt x="487" y="1663"/>
                    <a:pt x="484" y="1665"/>
                  </a:cubicBezTo>
                  <a:cubicBezTo>
                    <a:pt x="483" y="1666"/>
                    <a:pt x="504" y="1687"/>
                    <a:pt x="504" y="1687"/>
                  </a:cubicBezTo>
                  <a:cubicBezTo>
                    <a:pt x="505" y="1687"/>
                    <a:pt x="512" y="1691"/>
                    <a:pt x="510" y="1692"/>
                  </a:cubicBezTo>
                  <a:cubicBezTo>
                    <a:pt x="507" y="1694"/>
                    <a:pt x="495" y="1691"/>
                    <a:pt x="502" y="1696"/>
                  </a:cubicBezTo>
                  <a:cubicBezTo>
                    <a:pt x="503" y="1697"/>
                    <a:pt x="503" y="1698"/>
                    <a:pt x="502" y="1698"/>
                  </a:cubicBezTo>
                  <a:cubicBezTo>
                    <a:pt x="498" y="1705"/>
                    <a:pt x="497" y="1706"/>
                    <a:pt x="492" y="1711"/>
                  </a:cubicBezTo>
                  <a:cubicBezTo>
                    <a:pt x="491" y="1712"/>
                    <a:pt x="497" y="1712"/>
                    <a:pt x="499" y="1713"/>
                  </a:cubicBezTo>
                  <a:cubicBezTo>
                    <a:pt x="501" y="1714"/>
                    <a:pt x="507" y="1716"/>
                    <a:pt x="508" y="1722"/>
                  </a:cubicBezTo>
                  <a:cubicBezTo>
                    <a:pt x="510" y="1731"/>
                    <a:pt x="487" y="1746"/>
                    <a:pt x="488" y="1753"/>
                  </a:cubicBezTo>
                  <a:cubicBezTo>
                    <a:pt x="489" y="1756"/>
                    <a:pt x="485" y="1764"/>
                    <a:pt x="488" y="1768"/>
                  </a:cubicBezTo>
                  <a:cubicBezTo>
                    <a:pt x="491" y="1771"/>
                    <a:pt x="502" y="1781"/>
                    <a:pt x="499" y="1784"/>
                  </a:cubicBezTo>
                  <a:cubicBezTo>
                    <a:pt x="498" y="1785"/>
                    <a:pt x="486" y="1782"/>
                    <a:pt x="486" y="1784"/>
                  </a:cubicBezTo>
                  <a:cubicBezTo>
                    <a:pt x="486" y="1788"/>
                    <a:pt x="485" y="1800"/>
                    <a:pt x="486" y="1808"/>
                  </a:cubicBezTo>
                  <a:cubicBezTo>
                    <a:pt x="486" y="1809"/>
                    <a:pt x="481" y="1823"/>
                    <a:pt x="487" y="1818"/>
                  </a:cubicBezTo>
                  <a:cubicBezTo>
                    <a:pt x="489" y="1816"/>
                    <a:pt x="490" y="1819"/>
                    <a:pt x="489" y="1822"/>
                  </a:cubicBezTo>
                  <a:cubicBezTo>
                    <a:pt x="488" y="1825"/>
                    <a:pt x="480" y="1820"/>
                    <a:pt x="478" y="1824"/>
                  </a:cubicBezTo>
                  <a:cubicBezTo>
                    <a:pt x="477" y="1827"/>
                    <a:pt x="483" y="1833"/>
                    <a:pt x="481" y="1837"/>
                  </a:cubicBezTo>
                  <a:cubicBezTo>
                    <a:pt x="477" y="1842"/>
                    <a:pt x="473" y="1835"/>
                    <a:pt x="469" y="1839"/>
                  </a:cubicBezTo>
                  <a:cubicBezTo>
                    <a:pt x="460" y="1852"/>
                    <a:pt x="448" y="1913"/>
                    <a:pt x="434" y="1918"/>
                  </a:cubicBezTo>
                  <a:cubicBezTo>
                    <a:pt x="426" y="1921"/>
                    <a:pt x="432" y="1907"/>
                    <a:pt x="431" y="1907"/>
                  </a:cubicBezTo>
                  <a:cubicBezTo>
                    <a:pt x="426" y="1903"/>
                    <a:pt x="413" y="1908"/>
                    <a:pt x="410" y="1907"/>
                  </a:cubicBezTo>
                  <a:cubicBezTo>
                    <a:pt x="407" y="1906"/>
                    <a:pt x="413" y="1901"/>
                    <a:pt x="410" y="1901"/>
                  </a:cubicBezTo>
                  <a:cubicBezTo>
                    <a:pt x="404" y="1899"/>
                    <a:pt x="394" y="1910"/>
                    <a:pt x="390" y="1910"/>
                  </a:cubicBezTo>
                  <a:cubicBezTo>
                    <a:pt x="381" y="1911"/>
                    <a:pt x="389" y="1906"/>
                    <a:pt x="384" y="1904"/>
                  </a:cubicBezTo>
                  <a:cubicBezTo>
                    <a:pt x="384" y="1903"/>
                    <a:pt x="383" y="1905"/>
                    <a:pt x="383" y="1905"/>
                  </a:cubicBezTo>
                  <a:cubicBezTo>
                    <a:pt x="372" y="1913"/>
                    <a:pt x="345" y="1901"/>
                    <a:pt x="331" y="1907"/>
                  </a:cubicBezTo>
                  <a:cubicBezTo>
                    <a:pt x="323" y="1910"/>
                    <a:pt x="345" y="1927"/>
                    <a:pt x="333" y="1929"/>
                  </a:cubicBezTo>
                  <a:cubicBezTo>
                    <a:pt x="324" y="1930"/>
                    <a:pt x="321" y="1915"/>
                    <a:pt x="311" y="1924"/>
                  </a:cubicBezTo>
                  <a:cubicBezTo>
                    <a:pt x="258" y="1970"/>
                    <a:pt x="323" y="1991"/>
                    <a:pt x="286" y="2013"/>
                  </a:cubicBezTo>
                  <a:cubicBezTo>
                    <a:pt x="277" y="2019"/>
                    <a:pt x="255" y="2006"/>
                    <a:pt x="243" y="2008"/>
                  </a:cubicBezTo>
                  <a:cubicBezTo>
                    <a:pt x="217" y="2012"/>
                    <a:pt x="200" y="2023"/>
                    <a:pt x="172" y="2014"/>
                  </a:cubicBezTo>
                  <a:cubicBezTo>
                    <a:pt x="170" y="2013"/>
                    <a:pt x="164" y="2015"/>
                    <a:pt x="164" y="2013"/>
                  </a:cubicBezTo>
                  <a:cubicBezTo>
                    <a:pt x="164" y="2011"/>
                    <a:pt x="166" y="2010"/>
                    <a:pt x="166" y="2008"/>
                  </a:cubicBezTo>
                  <a:cubicBezTo>
                    <a:pt x="166" y="2008"/>
                    <a:pt x="177" y="2008"/>
                    <a:pt x="178" y="2005"/>
                  </a:cubicBezTo>
                  <a:cubicBezTo>
                    <a:pt x="178" y="2004"/>
                    <a:pt x="178" y="2002"/>
                    <a:pt x="177" y="2002"/>
                  </a:cubicBezTo>
                  <a:cubicBezTo>
                    <a:pt x="161" y="1989"/>
                    <a:pt x="185" y="1983"/>
                    <a:pt x="185" y="1973"/>
                  </a:cubicBezTo>
                  <a:cubicBezTo>
                    <a:pt x="185" y="1963"/>
                    <a:pt x="174" y="1968"/>
                    <a:pt x="174" y="1959"/>
                  </a:cubicBezTo>
                  <a:cubicBezTo>
                    <a:pt x="174" y="1958"/>
                    <a:pt x="142" y="1903"/>
                    <a:pt x="137" y="1895"/>
                  </a:cubicBezTo>
                  <a:cubicBezTo>
                    <a:pt x="135" y="1893"/>
                    <a:pt x="128" y="1890"/>
                    <a:pt x="130" y="1888"/>
                  </a:cubicBezTo>
                  <a:cubicBezTo>
                    <a:pt x="137" y="1882"/>
                    <a:pt x="154" y="1906"/>
                    <a:pt x="163" y="1897"/>
                  </a:cubicBezTo>
                  <a:cubicBezTo>
                    <a:pt x="170" y="1888"/>
                    <a:pt x="145" y="1877"/>
                    <a:pt x="146" y="1872"/>
                  </a:cubicBezTo>
                  <a:cubicBezTo>
                    <a:pt x="148" y="1856"/>
                    <a:pt x="191" y="1882"/>
                    <a:pt x="169" y="1840"/>
                  </a:cubicBezTo>
                  <a:cubicBezTo>
                    <a:pt x="166" y="1834"/>
                    <a:pt x="157" y="1844"/>
                    <a:pt x="154" y="1840"/>
                  </a:cubicBezTo>
                  <a:cubicBezTo>
                    <a:pt x="142" y="1823"/>
                    <a:pt x="141" y="1813"/>
                    <a:pt x="121" y="1802"/>
                  </a:cubicBezTo>
                  <a:cubicBezTo>
                    <a:pt x="118" y="1800"/>
                    <a:pt x="123" y="1791"/>
                    <a:pt x="119" y="1787"/>
                  </a:cubicBezTo>
                  <a:cubicBezTo>
                    <a:pt x="116" y="1784"/>
                    <a:pt x="103" y="1765"/>
                    <a:pt x="103" y="1764"/>
                  </a:cubicBezTo>
                  <a:cubicBezTo>
                    <a:pt x="106" y="1757"/>
                    <a:pt x="99" y="1742"/>
                    <a:pt x="96" y="1743"/>
                  </a:cubicBezTo>
                  <a:cubicBezTo>
                    <a:pt x="96" y="1744"/>
                    <a:pt x="94" y="1744"/>
                    <a:pt x="94" y="1743"/>
                  </a:cubicBezTo>
                  <a:cubicBezTo>
                    <a:pt x="93" y="1734"/>
                    <a:pt x="99" y="1738"/>
                    <a:pt x="96" y="1729"/>
                  </a:cubicBezTo>
                  <a:cubicBezTo>
                    <a:pt x="96" y="1728"/>
                    <a:pt x="96" y="1727"/>
                    <a:pt x="95" y="1726"/>
                  </a:cubicBezTo>
                  <a:cubicBezTo>
                    <a:pt x="94" y="1726"/>
                    <a:pt x="83" y="1755"/>
                    <a:pt x="81" y="1736"/>
                  </a:cubicBezTo>
                  <a:cubicBezTo>
                    <a:pt x="80" y="1719"/>
                    <a:pt x="88" y="1715"/>
                    <a:pt x="78" y="1706"/>
                  </a:cubicBezTo>
                  <a:cubicBezTo>
                    <a:pt x="78" y="1706"/>
                    <a:pt x="78" y="1705"/>
                    <a:pt x="78" y="1705"/>
                  </a:cubicBezTo>
                  <a:cubicBezTo>
                    <a:pt x="78" y="1703"/>
                    <a:pt x="74" y="1698"/>
                    <a:pt x="75" y="1696"/>
                  </a:cubicBezTo>
                  <a:cubicBezTo>
                    <a:pt x="75" y="1695"/>
                    <a:pt x="84" y="1694"/>
                    <a:pt x="83" y="1693"/>
                  </a:cubicBezTo>
                  <a:cubicBezTo>
                    <a:pt x="80" y="1689"/>
                    <a:pt x="64" y="1695"/>
                    <a:pt x="63" y="1693"/>
                  </a:cubicBezTo>
                  <a:cubicBezTo>
                    <a:pt x="63" y="1688"/>
                    <a:pt x="71" y="1684"/>
                    <a:pt x="73" y="1682"/>
                  </a:cubicBezTo>
                  <a:cubicBezTo>
                    <a:pt x="77" y="1677"/>
                    <a:pt x="62" y="1678"/>
                    <a:pt x="60" y="1673"/>
                  </a:cubicBezTo>
                  <a:cubicBezTo>
                    <a:pt x="58" y="1671"/>
                    <a:pt x="62" y="1666"/>
                    <a:pt x="64" y="1666"/>
                  </a:cubicBezTo>
                  <a:cubicBezTo>
                    <a:pt x="72" y="1664"/>
                    <a:pt x="66" y="1662"/>
                    <a:pt x="66" y="1658"/>
                  </a:cubicBezTo>
                  <a:cubicBezTo>
                    <a:pt x="66" y="1651"/>
                    <a:pt x="82" y="1625"/>
                    <a:pt x="80" y="1620"/>
                  </a:cubicBezTo>
                  <a:cubicBezTo>
                    <a:pt x="79" y="1619"/>
                    <a:pt x="71" y="1612"/>
                    <a:pt x="73" y="1608"/>
                  </a:cubicBezTo>
                  <a:cubicBezTo>
                    <a:pt x="74" y="1605"/>
                    <a:pt x="80" y="1606"/>
                    <a:pt x="80" y="1602"/>
                  </a:cubicBezTo>
                  <a:cubicBezTo>
                    <a:pt x="79" y="1600"/>
                    <a:pt x="71" y="1605"/>
                    <a:pt x="69" y="1604"/>
                  </a:cubicBezTo>
                  <a:cubicBezTo>
                    <a:pt x="63" y="1602"/>
                    <a:pt x="51" y="1618"/>
                    <a:pt x="46" y="1615"/>
                  </a:cubicBezTo>
                  <a:cubicBezTo>
                    <a:pt x="42" y="1612"/>
                    <a:pt x="57" y="1593"/>
                    <a:pt x="59" y="1592"/>
                  </a:cubicBezTo>
                  <a:cubicBezTo>
                    <a:pt x="60" y="1592"/>
                    <a:pt x="62" y="1591"/>
                    <a:pt x="60" y="1590"/>
                  </a:cubicBezTo>
                  <a:cubicBezTo>
                    <a:pt x="57" y="1587"/>
                    <a:pt x="54" y="1593"/>
                    <a:pt x="53" y="1593"/>
                  </a:cubicBezTo>
                  <a:cubicBezTo>
                    <a:pt x="51" y="1592"/>
                    <a:pt x="51" y="1588"/>
                    <a:pt x="51" y="1587"/>
                  </a:cubicBezTo>
                  <a:cubicBezTo>
                    <a:pt x="48" y="1579"/>
                    <a:pt x="48" y="1605"/>
                    <a:pt x="42" y="1611"/>
                  </a:cubicBezTo>
                  <a:cubicBezTo>
                    <a:pt x="41" y="1611"/>
                    <a:pt x="37" y="1614"/>
                    <a:pt x="36" y="1614"/>
                  </a:cubicBezTo>
                  <a:cubicBezTo>
                    <a:pt x="35" y="1612"/>
                    <a:pt x="44" y="1605"/>
                    <a:pt x="39" y="1607"/>
                  </a:cubicBezTo>
                  <a:cubicBezTo>
                    <a:pt x="33" y="1609"/>
                    <a:pt x="36" y="1602"/>
                    <a:pt x="38" y="1603"/>
                  </a:cubicBezTo>
                  <a:cubicBezTo>
                    <a:pt x="40" y="1603"/>
                    <a:pt x="39" y="1595"/>
                    <a:pt x="37" y="1596"/>
                  </a:cubicBezTo>
                  <a:cubicBezTo>
                    <a:pt x="36" y="1597"/>
                    <a:pt x="41" y="1592"/>
                    <a:pt x="39" y="1588"/>
                  </a:cubicBezTo>
                  <a:cubicBezTo>
                    <a:pt x="38" y="1586"/>
                    <a:pt x="35" y="1593"/>
                    <a:pt x="33" y="1595"/>
                  </a:cubicBezTo>
                  <a:cubicBezTo>
                    <a:pt x="30" y="1598"/>
                    <a:pt x="24" y="1603"/>
                    <a:pt x="21" y="1603"/>
                  </a:cubicBezTo>
                  <a:cubicBezTo>
                    <a:pt x="20" y="1603"/>
                    <a:pt x="21" y="1596"/>
                    <a:pt x="20" y="1595"/>
                  </a:cubicBezTo>
                  <a:cubicBezTo>
                    <a:pt x="20" y="1591"/>
                    <a:pt x="23" y="1579"/>
                    <a:pt x="27" y="1570"/>
                  </a:cubicBezTo>
                  <a:cubicBezTo>
                    <a:pt x="27" y="1570"/>
                    <a:pt x="27" y="1569"/>
                    <a:pt x="26" y="1569"/>
                  </a:cubicBezTo>
                  <a:cubicBezTo>
                    <a:pt x="14" y="1552"/>
                    <a:pt x="26" y="1541"/>
                    <a:pt x="22" y="1531"/>
                  </a:cubicBezTo>
                  <a:cubicBezTo>
                    <a:pt x="17" y="1522"/>
                    <a:pt x="0" y="1494"/>
                    <a:pt x="29" y="1494"/>
                  </a:cubicBezTo>
                  <a:cubicBezTo>
                    <a:pt x="34" y="1494"/>
                    <a:pt x="35" y="1511"/>
                    <a:pt x="39" y="1511"/>
                  </a:cubicBezTo>
                  <a:cubicBezTo>
                    <a:pt x="41" y="1521"/>
                    <a:pt x="43" y="1532"/>
                    <a:pt x="57" y="1521"/>
                  </a:cubicBezTo>
                  <a:cubicBezTo>
                    <a:pt x="72" y="1509"/>
                    <a:pt x="72" y="1491"/>
                    <a:pt x="69" y="1473"/>
                  </a:cubicBezTo>
                  <a:cubicBezTo>
                    <a:pt x="72" y="1482"/>
                    <a:pt x="76" y="1490"/>
                    <a:pt x="73" y="1495"/>
                  </a:cubicBezTo>
                  <a:cubicBezTo>
                    <a:pt x="72" y="1496"/>
                    <a:pt x="75" y="1498"/>
                    <a:pt x="75" y="1499"/>
                  </a:cubicBezTo>
                  <a:cubicBezTo>
                    <a:pt x="76" y="1503"/>
                    <a:pt x="75" y="1501"/>
                    <a:pt x="76" y="1505"/>
                  </a:cubicBezTo>
                  <a:cubicBezTo>
                    <a:pt x="78" y="1509"/>
                    <a:pt x="73" y="1508"/>
                    <a:pt x="79" y="1511"/>
                  </a:cubicBezTo>
                  <a:cubicBezTo>
                    <a:pt x="80" y="1512"/>
                    <a:pt x="80" y="1513"/>
                    <a:pt x="80" y="1515"/>
                  </a:cubicBezTo>
                  <a:cubicBezTo>
                    <a:pt x="82" y="1529"/>
                    <a:pt x="85" y="1516"/>
                    <a:pt x="81" y="1509"/>
                  </a:cubicBezTo>
                  <a:cubicBezTo>
                    <a:pt x="81" y="1508"/>
                    <a:pt x="81" y="1508"/>
                    <a:pt x="81" y="1508"/>
                  </a:cubicBezTo>
                  <a:cubicBezTo>
                    <a:pt x="81" y="1509"/>
                    <a:pt x="74" y="1470"/>
                    <a:pt x="75" y="1468"/>
                  </a:cubicBezTo>
                  <a:cubicBezTo>
                    <a:pt x="75" y="1467"/>
                    <a:pt x="76" y="1464"/>
                    <a:pt x="78" y="1464"/>
                  </a:cubicBezTo>
                  <a:cubicBezTo>
                    <a:pt x="78" y="1464"/>
                    <a:pt x="82" y="1478"/>
                    <a:pt x="85" y="1479"/>
                  </a:cubicBezTo>
                  <a:cubicBezTo>
                    <a:pt x="91" y="1482"/>
                    <a:pt x="102" y="1489"/>
                    <a:pt x="105" y="1497"/>
                  </a:cubicBezTo>
                  <a:cubicBezTo>
                    <a:pt x="105" y="1497"/>
                    <a:pt x="106" y="1513"/>
                    <a:pt x="107" y="1510"/>
                  </a:cubicBezTo>
                  <a:cubicBezTo>
                    <a:pt x="118" y="1489"/>
                    <a:pt x="89" y="1485"/>
                    <a:pt x="83" y="1470"/>
                  </a:cubicBezTo>
                  <a:cubicBezTo>
                    <a:pt x="81" y="1465"/>
                    <a:pt x="81" y="1462"/>
                    <a:pt x="84" y="1457"/>
                  </a:cubicBezTo>
                  <a:cubicBezTo>
                    <a:pt x="93" y="1442"/>
                    <a:pt x="81" y="1453"/>
                    <a:pt x="80" y="1452"/>
                  </a:cubicBezTo>
                  <a:cubicBezTo>
                    <a:pt x="77" y="1450"/>
                    <a:pt x="77" y="1441"/>
                    <a:pt x="76" y="1441"/>
                  </a:cubicBezTo>
                  <a:cubicBezTo>
                    <a:pt x="70" y="1441"/>
                    <a:pt x="76" y="1459"/>
                    <a:pt x="73" y="1464"/>
                  </a:cubicBezTo>
                  <a:cubicBezTo>
                    <a:pt x="72" y="1467"/>
                    <a:pt x="67" y="1458"/>
                    <a:pt x="65" y="1457"/>
                  </a:cubicBezTo>
                  <a:cubicBezTo>
                    <a:pt x="61" y="1443"/>
                    <a:pt x="57" y="1430"/>
                    <a:pt x="60" y="1423"/>
                  </a:cubicBezTo>
                  <a:cubicBezTo>
                    <a:pt x="65" y="1412"/>
                    <a:pt x="82" y="1418"/>
                    <a:pt x="80" y="1402"/>
                  </a:cubicBezTo>
                  <a:cubicBezTo>
                    <a:pt x="80" y="1397"/>
                    <a:pt x="74" y="1393"/>
                    <a:pt x="74" y="1388"/>
                  </a:cubicBezTo>
                  <a:cubicBezTo>
                    <a:pt x="74" y="1378"/>
                    <a:pt x="101" y="1382"/>
                    <a:pt x="105" y="1380"/>
                  </a:cubicBezTo>
                  <a:cubicBezTo>
                    <a:pt x="111" y="1378"/>
                    <a:pt x="130" y="1360"/>
                    <a:pt x="133" y="1354"/>
                  </a:cubicBezTo>
                  <a:cubicBezTo>
                    <a:pt x="134" y="1352"/>
                    <a:pt x="133" y="1349"/>
                    <a:pt x="133" y="1346"/>
                  </a:cubicBezTo>
                  <a:cubicBezTo>
                    <a:pt x="133" y="1341"/>
                    <a:pt x="133" y="1336"/>
                    <a:pt x="133" y="1331"/>
                  </a:cubicBezTo>
                  <a:cubicBezTo>
                    <a:pt x="133" y="1328"/>
                    <a:pt x="132" y="1325"/>
                    <a:pt x="133" y="1323"/>
                  </a:cubicBezTo>
                  <a:cubicBezTo>
                    <a:pt x="136" y="1313"/>
                    <a:pt x="144" y="1310"/>
                    <a:pt x="144" y="1299"/>
                  </a:cubicBezTo>
                  <a:cubicBezTo>
                    <a:pt x="144" y="1274"/>
                    <a:pt x="108" y="1247"/>
                    <a:pt x="111" y="1224"/>
                  </a:cubicBezTo>
                  <a:cubicBezTo>
                    <a:pt x="113" y="1210"/>
                    <a:pt x="140" y="1218"/>
                    <a:pt x="148" y="1212"/>
                  </a:cubicBezTo>
                  <a:cubicBezTo>
                    <a:pt x="151" y="1210"/>
                    <a:pt x="167" y="1172"/>
                    <a:pt x="166" y="1169"/>
                  </a:cubicBezTo>
                  <a:cubicBezTo>
                    <a:pt x="155" y="1140"/>
                    <a:pt x="108" y="1143"/>
                    <a:pt x="101" y="1115"/>
                  </a:cubicBezTo>
                  <a:cubicBezTo>
                    <a:pt x="94" y="1093"/>
                    <a:pt x="119" y="1061"/>
                    <a:pt x="117" y="1037"/>
                  </a:cubicBezTo>
                  <a:cubicBezTo>
                    <a:pt x="115" y="1019"/>
                    <a:pt x="95" y="1005"/>
                    <a:pt x="92" y="988"/>
                  </a:cubicBezTo>
                  <a:cubicBezTo>
                    <a:pt x="90" y="982"/>
                    <a:pt x="97" y="972"/>
                    <a:pt x="98" y="966"/>
                  </a:cubicBezTo>
                  <a:cubicBezTo>
                    <a:pt x="98" y="960"/>
                    <a:pt x="91" y="949"/>
                    <a:pt x="93" y="944"/>
                  </a:cubicBezTo>
                  <a:cubicBezTo>
                    <a:pt x="93" y="944"/>
                    <a:pt x="105" y="926"/>
                    <a:pt x="105" y="926"/>
                  </a:cubicBezTo>
                  <a:cubicBezTo>
                    <a:pt x="105" y="914"/>
                    <a:pt x="84" y="901"/>
                    <a:pt x="84" y="889"/>
                  </a:cubicBezTo>
                  <a:cubicBezTo>
                    <a:pt x="85" y="878"/>
                    <a:pt x="106" y="868"/>
                    <a:pt x="108" y="857"/>
                  </a:cubicBezTo>
                  <a:cubicBezTo>
                    <a:pt x="109" y="852"/>
                    <a:pt x="102" y="848"/>
                    <a:pt x="102" y="842"/>
                  </a:cubicBezTo>
                  <a:cubicBezTo>
                    <a:pt x="103" y="827"/>
                    <a:pt x="130" y="803"/>
                    <a:pt x="156" y="786"/>
                  </a:cubicBezTo>
                  <a:cubicBezTo>
                    <a:pt x="155" y="791"/>
                    <a:pt x="173" y="792"/>
                    <a:pt x="175" y="799"/>
                  </a:cubicBezTo>
                  <a:cubicBezTo>
                    <a:pt x="176" y="800"/>
                    <a:pt x="183" y="815"/>
                    <a:pt x="184" y="815"/>
                  </a:cubicBezTo>
                  <a:cubicBezTo>
                    <a:pt x="194" y="817"/>
                    <a:pt x="183" y="798"/>
                    <a:pt x="180" y="797"/>
                  </a:cubicBezTo>
                  <a:cubicBezTo>
                    <a:pt x="179" y="796"/>
                    <a:pt x="179" y="796"/>
                    <a:pt x="179" y="796"/>
                  </a:cubicBezTo>
                  <a:cubicBezTo>
                    <a:pt x="178" y="795"/>
                    <a:pt x="171" y="783"/>
                    <a:pt x="164" y="781"/>
                  </a:cubicBezTo>
                  <a:cubicBezTo>
                    <a:pt x="166" y="780"/>
                    <a:pt x="167" y="779"/>
                    <a:pt x="169" y="778"/>
                  </a:cubicBezTo>
                  <a:cubicBezTo>
                    <a:pt x="170" y="781"/>
                    <a:pt x="171" y="783"/>
                    <a:pt x="172" y="781"/>
                  </a:cubicBezTo>
                  <a:cubicBezTo>
                    <a:pt x="172" y="780"/>
                    <a:pt x="172" y="780"/>
                    <a:pt x="172" y="780"/>
                  </a:cubicBezTo>
                  <a:cubicBezTo>
                    <a:pt x="172" y="778"/>
                    <a:pt x="173" y="777"/>
                    <a:pt x="173" y="776"/>
                  </a:cubicBezTo>
                  <a:cubicBezTo>
                    <a:pt x="184" y="770"/>
                    <a:pt x="194" y="766"/>
                    <a:pt x="200" y="765"/>
                  </a:cubicBezTo>
                  <a:cubicBezTo>
                    <a:pt x="222" y="763"/>
                    <a:pt x="255" y="784"/>
                    <a:pt x="272" y="771"/>
                  </a:cubicBezTo>
                  <a:cubicBezTo>
                    <a:pt x="279" y="776"/>
                    <a:pt x="285" y="779"/>
                    <a:pt x="286" y="780"/>
                  </a:cubicBezTo>
                  <a:cubicBezTo>
                    <a:pt x="289" y="782"/>
                    <a:pt x="276" y="785"/>
                    <a:pt x="277" y="786"/>
                  </a:cubicBezTo>
                  <a:cubicBezTo>
                    <a:pt x="277" y="788"/>
                    <a:pt x="281" y="786"/>
                    <a:pt x="282" y="786"/>
                  </a:cubicBezTo>
                  <a:cubicBezTo>
                    <a:pt x="292" y="783"/>
                    <a:pt x="315" y="800"/>
                    <a:pt x="318" y="810"/>
                  </a:cubicBezTo>
                  <a:cubicBezTo>
                    <a:pt x="319" y="811"/>
                    <a:pt x="319" y="811"/>
                    <a:pt x="319" y="811"/>
                  </a:cubicBezTo>
                  <a:cubicBezTo>
                    <a:pt x="346" y="817"/>
                    <a:pt x="298" y="785"/>
                    <a:pt x="274" y="769"/>
                  </a:cubicBezTo>
                  <a:cubicBezTo>
                    <a:pt x="278" y="766"/>
                    <a:pt x="280" y="760"/>
                    <a:pt x="282" y="753"/>
                  </a:cubicBezTo>
                  <a:cubicBezTo>
                    <a:pt x="293" y="690"/>
                    <a:pt x="255" y="720"/>
                    <a:pt x="240" y="695"/>
                  </a:cubicBezTo>
                  <a:cubicBezTo>
                    <a:pt x="239" y="693"/>
                    <a:pt x="241" y="689"/>
                    <a:pt x="243" y="684"/>
                  </a:cubicBezTo>
                  <a:cubicBezTo>
                    <a:pt x="249" y="688"/>
                    <a:pt x="273" y="700"/>
                    <a:pt x="277" y="701"/>
                  </a:cubicBezTo>
                  <a:cubicBezTo>
                    <a:pt x="274" y="700"/>
                    <a:pt x="288" y="719"/>
                    <a:pt x="299" y="723"/>
                  </a:cubicBezTo>
                  <a:cubicBezTo>
                    <a:pt x="317" y="729"/>
                    <a:pt x="352" y="724"/>
                    <a:pt x="366" y="742"/>
                  </a:cubicBezTo>
                  <a:cubicBezTo>
                    <a:pt x="369" y="746"/>
                    <a:pt x="386" y="762"/>
                    <a:pt x="388" y="771"/>
                  </a:cubicBezTo>
                  <a:cubicBezTo>
                    <a:pt x="388" y="775"/>
                    <a:pt x="384" y="771"/>
                    <a:pt x="385" y="776"/>
                  </a:cubicBezTo>
                  <a:cubicBezTo>
                    <a:pt x="386" y="778"/>
                    <a:pt x="403" y="786"/>
                    <a:pt x="399" y="789"/>
                  </a:cubicBezTo>
                  <a:cubicBezTo>
                    <a:pt x="397" y="790"/>
                    <a:pt x="395" y="785"/>
                    <a:pt x="393" y="785"/>
                  </a:cubicBezTo>
                  <a:cubicBezTo>
                    <a:pt x="392" y="785"/>
                    <a:pt x="403" y="797"/>
                    <a:pt x="387" y="790"/>
                  </a:cubicBezTo>
                  <a:cubicBezTo>
                    <a:pt x="384" y="788"/>
                    <a:pt x="378" y="779"/>
                    <a:pt x="379" y="788"/>
                  </a:cubicBezTo>
                  <a:cubicBezTo>
                    <a:pt x="379" y="793"/>
                    <a:pt x="400" y="797"/>
                    <a:pt x="405" y="801"/>
                  </a:cubicBezTo>
                  <a:cubicBezTo>
                    <a:pt x="408" y="804"/>
                    <a:pt x="403" y="818"/>
                    <a:pt x="404" y="819"/>
                  </a:cubicBezTo>
                  <a:cubicBezTo>
                    <a:pt x="406" y="820"/>
                    <a:pt x="407" y="816"/>
                    <a:pt x="408" y="816"/>
                  </a:cubicBezTo>
                  <a:cubicBezTo>
                    <a:pt x="413" y="815"/>
                    <a:pt x="408" y="801"/>
                    <a:pt x="423" y="809"/>
                  </a:cubicBezTo>
                  <a:cubicBezTo>
                    <a:pt x="426" y="810"/>
                    <a:pt x="422" y="814"/>
                    <a:pt x="423" y="816"/>
                  </a:cubicBezTo>
                  <a:cubicBezTo>
                    <a:pt x="424" y="817"/>
                    <a:pt x="430" y="820"/>
                    <a:pt x="432" y="819"/>
                  </a:cubicBezTo>
                  <a:cubicBezTo>
                    <a:pt x="432" y="819"/>
                    <a:pt x="426" y="809"/>
                    <a:pt x="425" y="808"/>
                  </a:cubicBezTo>
                  <a:cubicBezTo>
                    <a:pt x="423" y="803"/>
                    <a:pt x="414" y="805"/>
                    <a:pt x="410" y="802"/>
                  </a:cubicBezTo>
                  <a:cubicBezTo>
                    <a:pt x="404" y="797"/>
                    <a:pt x="405" y="790"/>
                    <a:pt x="401" y="783"/>
                  </a:cubicBezTo>
                  <a:cubicBezTo>
                    <a:pt x="399" y="782"/>
                    <a:pt x="381" y="735"/>
                    <a:pt x="381" y="732"/>
                  </a:cubicBezTo>
                  <a:cubicBezTo>
                    <a:pt x="381" y="730"/>
                    <a:pt x="362" y="726"/>
                    <a:pt x="361" y="728"/>
                  </a:cubicBezTo>
                  <a:cubicBezTo>
                    <a:pt x="361" y="730"/>
                    <a:pt x="390" y="740"/>
                    <a:pt x="378" y="750"/>
                  </a:cubicBezTo>
                  <a:cubicBezTo>
                    <a:pt x="377" y="752"/>
                    <a:pt x="374" y="746"/>
                    <a:pt x="373" y="746"/>
                  </a:cubicBezTo>
                  <a:cubicBezTo>
                    <a:pt x="370" y="739"/>
                    <a:pt x="362" y="731"/>
                    <a:pt x="355" y="729"/>
                  </a:cubicBezTo>
                  <a:cubicBezTo>
                    <a:pt x="330" y="723"/>
                    <a:pt x="305" y="724"/>
                    <a:pt x="285" y="708"/>
                  </a:cubicBezTo>
                  <a:cubicBezTo>
                    <a:pt x="282" y="705"/>
                    <a:pt x="285" y="702"/>
                    <a:pt x="283" y="700"/>
                  </a:cubicBezTo>
                  <a:cubicBezTo>
                    <a:pt x="283" y="699"/>
                    <a:pt x="257" y="683"/>
                    <a:pt x="253" y="683"/>
                  </a:cubicBezTo>
                  <a:cubicBezTo>
                    <a:pt x="251" y="683"/>
                    <a:pt x="247" y="682"/>
                    <a:pt x="245" y="682"/>
                  </a:cubicBezTo>
                  <a:cubicBezTo>
                    <a:pt x="258" y="660"/>
                    <a:pt x="292" y="620"/>
                    <a:pt x="297" y="609"/>
                  </a:cubicBezTo>
                  <a:cubicBezTo>
                    <a:pt x="299" y="604"/>
                    <a:pt x="298" y="597"/>
                    <a:pt x="301" y="592"/>
                  </a:cubicBezTo>
                  <a:cubicBezTo>
                    <a:pt x="301" y="592"/>
                    <a:pt x="313" y="582"/>
                    <a:pt x="313" y="582"/>
                  </a:cubicBezTo>
                  <a:cubicBezTo>
                    <a:pt x="314" y="578"/>
                    <a:pt x="313" y="574"/>
                    <a:pt x="313" y="571"/>
                  </a:cubicBezTo>
                  <a:cubicBezTo>
                    <a:pt x="313" y="571"/>
                    <a:pt x="313" y="549"/>
                    <a:pt x="313" y="549"/>
                  </a:cubicBezTo>
                  <a:cubicBezTo>
                    <a:pt x="313" y="546"/>
                    <a:pt x="312" y="542"/>
                    <a:pt x="313" y="538"/>
                  </a:cubicBezTo>
                  <a:cubicBezTo>
                    <a:pt x="315" y="526"/>
                    <a:pt x="324" y="515"/>
                    <a:pt x="325" y="503"/>
                  </a:cubicBezTo>
                  <a:cubicBezTo>
                    <a:pt x="326" y="494"/>
                    <a:pt x="308" y="464"/>
                    <a:pt x="313" y="457"/>
                  </a:cubicBezTo>
                  <a:cubicBezTo>
                    <a:pt x="314" y="455"/>
                    <a:pt x="394" y="454"/>
                    <a:pt x="399" y="434"/>
                  </a:cubicBezTo>
                  <a:cubicBezTo>
                    <a:pt x="401" y="425"/>
                    <a:pt x="388" y="412"/>
                    <a:pt x="390" y="403"/>
                  </a:cubicBezTo>
                  <a:cubicBezTo>
                    <a:pt x="392" y="397"/>
                    <a:pt x="409" y="390"/>
                    <a:pt x="414" y="385"/>
                  </a:cubicBezTo>
                  <a:cubicBezTo>
                    <a:pt x="427" y="373"/>
                    <a:pt x="435" y="354"/>
                    <a:pt x="448" y="342"/>
                  </a:cubicBezTo>
                  <a:cubicBezTo>
                    <a:pt x="456" y="334"/>
                    <a:pt x="471" y="330"/>
                    <a:pt x="478" y="321"/>
                  </a:cubicBezTo>
                  <a:cubicBezTo>
                    <a:pt x="500" y="292"/>
                    <a:pt x="452" y="273"/>
                    <a:pt x="454" y="259"/>
                  </a:cubicBezTo>
                  <a:cubicBezTo>
                    <a:pt x="457" y="243"/>
                    <a:pt x="478" y="248"/>
                    <a:pt x="485" y="238"/>
                  </a:cubicBezTo>
                  <a:cubicBezTo>
                    <a:pt x="498" y="221"/>
                    <a:pt x="500" y="200"/>
                    <a:pt x="512" y="184"/>
                  </a:cubicBezTo>
                  <a:cubicBezTo>
                    <a:pt x="516" y="178"/>
                    <a:pt x="544" y="162"/>
                    <a:pt x="555" y="157"/>
                  </a:cubicBezTo>
                  <a:cubicBezTo>
                    <a:pt x="555" y="162"/>
                    <a:pt x="583" y="179"/>
                    <a:pt x="584" y="184"/>
                  </a:cubicBezTo>
                  <a:cubicBezTo>
                    <a:pt x="585" y="185"/>
                    <a:pt x="585" y="186"/>
                    <a:pt x="586" y="187"/>
                  </a:cubicBezTo>
                  <a:cubicBezTo>
                    <a:pt x="587" y="188"/>
                    <a:pt x="587" y="188"/>
                    <a:pt x="587" y="189"/>
                  </a:cubicBezTo>
                  <a:cubicBezTo>
                    <a:pt x="588" y="189"/>
                    <a:pt x="588" y="189"/>
                    <a:pt x="588" y="189"/>
                  </a:cubicBezTo>
                  <a:cubicBezTo>
                    <a:pt x="594" y="192"/>
                    <a:pt x="588" y="174"/>
                    <a:pt x="582" y="174"/>
                  </a:cubicBezTo>
                  <a:cubicBezTo>
                    <a:pt x="565" y="172"/>
                    <a:pt x="587" y="168"/>
                    <a:pt x="574" y="162"/>
                  </a:cubicBezTo>
                  <a:cubicBezTo>
                    <a:pt x="571" y="161"/>
                    <a:pt x="568" y="168"/>
                    <a:pt x="565" y="162"/>
                  </a:cubicBezTo>
                  <a:cubicBezTo>
                    <a:pt x="565" y="161"/>
                    <a:pt x="562" y="156"/>
                    <a:pt x="559" y="155"/>
                  </a:cubicBezTo>
                  <a:cubicBezTo>
                    <a:pt x="559" y="155"/>
                    <a:pt x="559" y="155"/>
                    <a:pt x="560" y="155"/>
                  </a:cubicBezTo>
                  <a:cubicBezTo>
                    <a:pt x="573" y="150"/>
                    <a:pt x="602" y="182"/>
                    <a:pt x="615" y="176"/>
                  </a:cubicBezTo>
                  <a:cubicBezTo>
                    <a:pt x="655" y="157"/>
                    <a:pt x="621" y="101"/>
                    <a:pt x="632" y="89"/>
                  </a:cubicBezTo>
                  <a:cubicBezTo>
                    <a:pt x="654" y="67"/>
                    <a:pt x="776" y="122"/>
                    <a:pt x="797" y="116"/>
                  </a:cubicBezTo>
                  <a:cubicBezTo>
                    <a:pt x="800" y="115"/>
                    <a:pt x="820" y="97"/>
                    <a:pt x="820" y="97"/>
                  </a:cubicBezTo>
                  <a:cubicBezTo>
                    <a:pt x="831" y="84"/>
                    <a:pt x="799" y="89"/>
                    <a:pt x="799" y="81"/>
                  </a:cubicBezTo>
                  <a:cubicBezTo>
                    <a:pt x="799" y="77"/>
                    <a:pt x="831" y="57"/>
                    <a:pt x="835" y="45"/>
                  </a:cubicBezTo>
                  <a:cubicBezTo>
                    <a:pt x="838" y="29"/>
                    <a:pt x="827" y="17"/>
                    <a:pt x="817" y="7"/>
                  </a:cubicBezTo>
                  <a:cubicBezTo>
                    <a:pt x="815" y="6"/>
                    <a:pt x="810" y="4"/>
                    <a:pt x="812" y="2"/>
                  </a:cubicBezTo>
                  <a:cubicBezTo>
                    <a:pt x="815" y="0"/>
                    <a:pt x="819" y="2"/>
                    <a:pt x="823" y="2"/>
                  </a:cubicBezTo>
                  <a:cubicBezTo>
                    <a:pt x="827" y="2"/>
                    <a:pt x="855" y="2"/>
                    <a:pt x="859" y="2"/>
                  </a:cubicBezTo>
                  <a:cubicBezTo>
                    <a:pt x="867" y="6"/>
                    <a:pt x="885" y="11"/>
                    <a:pt x="887" y="18"/>
                  </a:cubicBezTo>
                  <a:cubicBezTo>
                    <a:pt x="887" y="24"/>
                    <a:pt x="874" y="16"/>
                    <a:pt x="884" y="26"/>
                  </a:cubicBezTo>
                  <a:cubicBezTo>
                    <a:pt x="890" y="33"/>
                    <a:pt x="974" y="85"/>
                    <a:pt x="986" y="92"/>
                  </a:cubicBezTo>
                  <a:cubicBezTo>
                    <a:pt x="1016" y="109"/>
                    <a:pt x="1055" y="98"/>
                    <a:pt x="1081" y="129"/>
                  </a:cubicBezTo>
                  <a:cubicBezTo>
                    <a:pt x="1085" y="133"/>
                    <a:pt x="1083" y="145"/>
                    <a:pt x="1084" y="147"/>
                  </a:cubicBezTo>
                  <a:cubicBezTo>
                    <a:pt x="1086" y="149"/>
                    <a:pt x="1089" y="146"/>
                    <a:pt x="1091" y="146"/>
                  </a:cubicBezTo>
                  <a:cubicBezTo>
                    <a:pt x="1101" y="144"/>
                    <a:pt x="1102" y="150"/>
                    <a:pt x="1109" y="157"/>
                  </a:cubicBezTo>
                  <a:cubicBezTo>
                    <a:pt x="1115" y="165"/>
                    <a:pt x="1137" y="171"/>
                    <a:pt x="1130" y="178"/>
                  </a:cubicBezTo>
                  <a:cubicBezTo>
                    <a:pt x="1126" y="182"/>
                    <a:pt x="1118" y="181"/>
                    <a:pt x="1115" y="186"/>
                  </a:cubicBezTo>
                  <a:cubicBezTo>
                    <a:pt x="1106" y="201"/>
                    <a:pt x="1124" y="219"/>
                    <a:pt x="1120" y="233"/>
                  </a:cubicBezTo>
                  <a:cubicBezTo>
                    <a:pt x="1118" y="238"/>
                    <a:pt x="1105" y="244"/>
                    <a:pt x="1109" y="251"/>
                  </a:cubicBezTo>
                  <a:cubicBezTo>
                    <a:pt x="1115" y="260"/>
                    <a:pt x="1130" y="251"/>
                    <a:pt x="1139" y="259"/>
                  </a:cubicBezTo>
                  <a:cubicBezTo>
                    <a:pt x="1150" y="268"/>
                    <a:pt x="1122" y="289"/>
                    <a:pt x="1121" y="298"/>
                  </a:cubicBezTo>
                  <a:cubicBezTo>
                    <a:pt x="1120" y="318"/>
                    <a:pt x="1163" y="334"/>
                    <a:pt x="1160" y="354"/>
                  </a:cubicBezTo>
                  <a:cubicBezTo>
                    <a:pt x="1160" y="354"/>
                    <a:pt x="1151" y="362"/>
                    <a:pt x="1151" y="362"/>
                  </a:cubicBezTo>
                  <a:cubicBezTo>
                    <a:pt x="1147" y="370"/>
                    <a:pt x="1153" y="383"/>
                    <a:pt x="1150" y="390"/>
                  </a:cubicBezTo>
                  <a:cubicBezTo>
                    <a:pt x="1144" y="403"/>
                    <a:pt x="1129" y="398"/>
                    <a:pt x="1129" y="416"/>
                  </a:cubicBezTo>
                  <a:close/>
                  <a:moveTo>
                    <a:pt x="465" y="1611"/>
                  </a:moveTo>
                  <a:cubicBezTo>
                    <a:pt x="466" y="1614"/>
                    <a:pt x="489" y="1615"/>
                    <a:pt x="488" y="1615"/>
                  </a:cubicBezTo>
                  <a:cubicBezTo>
                    <a:pt x="485" y="1615"/>
                    <a:pt x="481" y="1612"/>
                    <a:pt x="479" y="1610"/>
                  </a:cubicBezTo>
                  <a:cubicBezTo>
                    <a:pt x="479" y="1610"/>
                    <a:pt x="479" y="1610"/>
                    <a:pt x="479" y="1610"/>
                  </a:cubicBezTo>
                  <a:cubicBezTo>
                    <a:pt x="476" y="1606"/>
                    <a:pt x="464" y="1606"/>
                    <a:pt x="465" y="1611"/>
                  </a:cubicBezTo>
                  <a:close/>
                  <a:moveTo>
                    <a:pt x="526" y="1502"/>
                  </a:moveTo>
                  <a:cubicBezTo>
                    <a:pt x="529" y="1503"/>
                    <a:pt x="522" y="1521"/>
                    <a:pt x="529" y="1509"/>
                  </a:cubicBezTo>
                  <a:cubicBezTo>
                    <a:pt x="530" y="1508"/>
                    <a:pt x="530" y="1508"/>
                    <a:pt x="530" y="1508"/>
                  </a:cubicBezTo>
                  <a:cubicBezTo>
                    <a:pt x="535" y="1506"/>
                    <a:pt x="546" y="1516"/>
                    <a:pt x="547" y="1510"/>
                  </a:cubicBezTo>
                  <a:cubicBezTo>
                    <a:pt x="548" y="1499"/>
                    <a:pt x="533" y="1505"/>
                    <a:pt x="523" y="1497"/>
                  </a:cubicBezTo>
                  <a:cubicBezTo>
                    <a:pt x="522" y="1496"/>
                    <a:pt x="524" y="1502"/>
                    <a:pt x="526" y="1502"/>
                  </a:cubicBezTo>
                  <a:close/>
                  <a:moveTo>
                    <a:pt x="674" y="1389"/>
                  </a:moveTo>
                  <a:cubicBezTo>
                    <a:pt x="677" y="1390"/>
                    <a:pt x="684" y="1390"/>
                    <a:pt x="684" y="1386"/>
                  </a:cubicBezTo>
                  <a:cubicBezTo>
                    <a:pt x="684" y="1386"/>
                    <a:pt x="684" y="1386"/>
                    <a:pt x="684" y="1386"/>
                  </a:cubicBezTo>
                  <a:cubicBezTo>
                    <a:pt x="680" y="1382"/>
                    <a:pt x="659" y="1386"/>
                    <a:pt x="674" y="1389"/>
                  </a:cubicBezTo>
                  <a:close/>
                  <a:moveTo>
                    <a:pt x="668" y="247"/>
                  </a:moveTo>
                  <a:cubicBezTo>
                    <a:pt x="679" y="251"/>
                    <a:pt x="714" y="268"/>
                    <a:pt x="725" y="260"/>
                  </a:cubicBezTo>
                  <a:cubicBezTo>
                    <a:pt x="727" y="258"/>
                    <a:pt x="719" y="259"/>
                    <a:pt x="716" y="259"/>
                  </a:cubicBezTo>
                  <a:cubicBezTo>
                    <a:pt x="714" y="258"/>
                    <a:pt x="714" y="258"/>
                    <a:pt x="714" y="258"/>
                  </a:cubicBezTo>
                  <a:cubicBezTo>
                    <a:pt x="710" y="258"/>
                    <a:pt x="667" y="241"/>
                    <a:pt x="666" y="244"/>
                  </a:cubicBezTo>
                  <a:cubicBezTo>
                    <a:pt x="665" y="245"/>
                    <a:pt x="666" y="247"/>
                    <a:pt x="668" y="247"/>
                  </a:cubicBezTo>
                  <a:close/>
                  <a:moveTo>
                    <a:pt x="509" y="275"/>
                  </a:moveTo>
                  <a:cubicBezTo>
                    <a:pt x="511" y="273"/>
                    <a:pt x="496" y="265"/>
                    <a:pt x="507" y="265"/>
                  </a:cubicBezTo>
                  <a:cubicBezTo>
                    <a:pt x="508" y="265"/>
                    <a:pt x="517" y="269"/>
                    <a:pt x="516" y="266"/>
                  </a:cubicBezTo>
                  <a:cubicBezTo>
                    <a:pt x="514" y="261"/>
                    <a:pt x="501" y="262"/>
                    <a:pt x="497" y="260"/>
                  </a:cubicBezTo>
                  <a:cubicBezTo>
                    <a:pt x="495" y="259"/>
                    <a:pt x="490" y="255"/>
                    <a:pt x="492" y="254"/>
                  </a:cubicBezTo>
                  <a:cubicBezTo>
                    <a:pt x="501" y="251"/>
                    <a:pt x="549" y="247"/>
                    <a:pt x="552" y="236"/>
                  </a:cubicBezTo>
                  <a:cubicBezTo>
                    <a:pt x="552" y="235"/>
                    <a:pt x="543" y="234"/>
                    <a:pt x="542" y="233"/>
                  </a:cubicBezTo>
                  <a:cubicBezTo>
                    <a:pt x="536" y="233"/>
                    <a:pt x="546" y="238"/>
                    <a:pt x="536" y="239"/>
                  </a:cubicBezTo>
                  <a:cubicBezTo>
                    <a:pt x="528" y="240"/>
                    <a:pt x="511" y="229"/>
                    <a:pt x="503" y="235"/>
                  </a:cubicBezTo>
                  <a:cubicBezTo>
                    <a:pt x="500" y="239"/>
                    <a:pt x="527" y="241"/>
                    <a:pt x="527" y="242"/>
                  </a:cubicBezTo>
                  <a:cubicBezTo>
                    <a:pt x="520" y="252"/>
                    <a:pt x="486" y="246"/>
                    <a:pt x="480" y="248"/>
                  </a:cubicBezTo>
                  <a:cubicBezTo>
                    <a:pt x="470" y="251"/>
                    <a:pt x="490" y="258"/>
                    <a:pt x="491" y="260"/>
                  </a:cubicBezTo>
                  <a:cubicBezTo>
                    <a:pt x="492" y="262"/>
                    <a:pt x="473" y="260"/>
                    <a:pt x="473" y="263"/>
                  </a:cubicBezTo>
                  <a:cubicBezTo>
                    <a:pt x="473" y="264"/>
                    <a:pt x="506" y="281"/>
                    <a:pt x="509" y="275"/>
                  </a:cubicBezTo>
                  <a:close/>
                  <a:moveTo>
                    <a:pt x="483" y="328"/>
                  </a:moveTo>
                  <a:cubicBezTo>
                    <a:pt x="484" y="327"/>
                    <a:pt x="489" y="328"/>
                    <a:pt x="491" y="329"/>
                  </a:cubicBezTo>
                  <a:cubicBezTo>
                    <a:pt x="504" y="331"/>
                    <a:pt x="482" y="334"/>
                    <a:pt x="490" y="334"/>
                  </a:cubicBezTo>
                  <a:cubicBezTo>
                    <a:pt x="496" y="334"/>
                    <a:pt x="507" y="336"/>
                    <a:pt x="513" y="339"/>
                  </a:cubicBezTo>
                  <a:cubicBezTo>
                    <a:pt x="513" y="339"/>
                    <a:pt x="513" y="339"/>
                    <a:pt x="513" y="339"/>
                  </a:cubicBezTo>
                  <a:cubicBezTo>
                    <a:pt x="515" y="340"/>
                    <a:pt x="483" y="314"/>
                    <a:pt x="477" y="324"/>
                  </a:cubicBezTo>
                  <a:cubicBezTo>
                    <a:pt x="474" y="328"/>
                    <a:pt x="482" y="330"/>
                    <a:pt x="483" y="328"/>
                  </a:cubicBezTo>
                  <a:close/>
                  <a:moveTo>
                    <a:pt x="472" y="345"/>
                  </a:moveTo>
                  <a:cubicBezTo>
                    <a:pt x="472" y="345"/>
                    <a:pt x="472" y="345"/>
                    <a:pt x="472" y="345"/>
                  </a:cubicBezTo>
                  <a:cubicBezTo>
                    <a:pt x="484" y="343"/>
                    <a:pt x="497" y="344"/>
                    <a:pt x="509" y="346"/>
                  </a:cubicBezTo>
                  <a:cubicBezTo>
                    <a:pt x="509" y="346"/>
                    <a:pt x="528" y="348"/>
                    <a:pt x="527" y="348"/>
                  </a:cubicBezTo>
                  <a:cubicBezTo>
                    <a:pt x="527" y="347"/>
                    <a:pt x="527" y="347"/>
                    <a:pt x="526" y="347"/>
                  </a:cubicBezTo>
                  <a:cubicBezTo>
                    <a:pt x="517" y="343"/>
                    <a:pt x="431" y="329"/>
                    <a:pt x="472" y="345"/>
                  </a:cubicBezTo>
                  <a:close/>
                  <a:moveTo>
                    <a:pt x="486" y="401"/>
                  </a:moveTo>
                  <a:cubicBezTo>
                    <a:pt x="482" y="398"/>
                    <a:pt x="476" y="381"/>
                    <a:pt x="473" y="382"/>
                  </a:cubicBezTo>
                  <a:cubicBezTo>
                    <a:pt x="458" y="386"/>
                    <a:pt x="485" y="407"/>
                    <a:pt x="505" y="411"/>
                  </a:cubicBezTo>
                  <a:cubicBezTo>
                    <a:pt x="508" y="411"/>
                    <a:pt x="508" y="411"/>
                    <a:pt x="508" y="411"/>
                  </a:cubicBezTo>
                  <a:cubicBezTo>
                    <a:pt x="535" y="411"/>
                    <a:pt x="495" y="406"/>
                    <a:pt x="486" y="401"/>
                  </a:cubicBezTo>
                  <a:close/>
                  <a:moveTo>
                    <a:pt x="460" y="605"/>
                  </a:moveTo>
                  <a:cubicBezTo>
                    <a:pt x="465" y="608"/>
                    <a:pt x="473" y="614"/>
                    <a:pt x="475" y="617"/>
                  </a:cubicBezTo>
                  <a:cubicBezTo>
                    <a:pt x="481" y="623"/>
                    <a:pt x="467" y="614"/>
                    <a:pt x="465" y="619"/>
                  </a:cubicBezTo>
                  <a:cubicBezTo>
                    <a:pt x="465" y="620"/>
                    <a:pt x="474" y="622"/>
                    <a:pt x="475" y="623"/>
                  </a:cubicBezTo>
                  <a:cubicBezTo>
                    <a:pt x="484" y="625"/>
                    <a:pt x="486" y="643"/>
                    <a:pt x="494" y="648"/>
                  </a:cubicBezTo>
                  <a:cubicBezTo>
                    <a:pt x="500" y="652"/>
                    <a:pt x="515" y="653"/>
                    <a:pt x="516" y="651"/>
                  </a:cubicBezTo>
                  <a:cubicBezTo>
                    <a:pt x="517" y="651"/>
                    <a:pt x="507" y="648"/>
                    <a:pt x="505" y="646"/>
                  </a:cubicBezTo>
                  <a:cubicBezTo>
                    <a:pt x="498" y="636"/>
                    <a:pt x="504" y="655"/>
                    <a:pt x="496" y="645"/>
                  </a:cubicBezTo>
                  <a:cubicBezTo>
                    <a:pt x="484" y="627"/>
                    <a:pt x="483" y="613"/>
                    <a:pt x="465" y="604"/>
                  </a:cubicBezTo>
                  <a:cubicBezTo>
                    <a:pt x="463" y="603"/>
                    <a:pt x="455" y="598"/>
                    <a:pt x="454" y="599"/>
                  </a:cubicBezTo>
                  <a:cubicBezTo>
                    <a:pt x="453" y="599"/>
                    <a:pt x="459" y="605"/>
                    <a:pt x="460" y="605"/>
                  </a:cubicBezTo>
                  <a:close/>
                  <a:moveTo>
                    <a:pt x="396" y="533"/>
                  </a:moveTo>
                  <a:cubicBezTo>
                    <a:pt x="402" y="537"/>
                    <a:pt x="402" y="544"/>
                    <a:pt x="406" y="549"/>
                  </a:cubicBezTo>
                  <a:cubicBezTo>
                    <a:pt x="407" y="549"/>
                    <a:pt x="407" y="549"/>
                    <a:pt x="407" y="549"/>
                  </a:cubicBezTo>
                  <a:cubicBezTo>
                    <a:pt x="423" y="556"/>
                    <a:pt x="402" y="532"/>
                    <a:pt x="395" y="528"/>
                  </a:cubicBezTo>
                  <a:cubicBezTo>
                    <a:pt x="376" y="518"/>
                    <a:pt x="383" y="524"/>
                    <a:pt x="396" y="533"/>
                  </a:cubicBezTo>
                  <a:close/>
                  <a:moveTo>
                    <a:pt x="375" y="541"/>
                  </a:moveTo>
                  <a:cubicBezTo>
                    <a:pt x="376" y="545"/>
                    <a:pt x="394" y="559"/>
                    <a:pt x="399" y="559"/>
                  </a:cubicBezTo>
                  <a:cubicBezTo>
                    <a:pt x="406" y="560"/>
                    <a:pt x="414" y="558"/>
                    <a:pt x="422" y="559"/>
                  </a:cubicBezTo>
                  <a:cubicBezTo>
                    <a:pt x="423" y="559"/>
                    <a:pt x="429" y="559"/>
                    <a:pt x="429" y="558"/>
                  </a:cubicBezTo>
                  <a:cubicBezTo>
                    <a:pt x="428" y="554"/>
                    <a:pt x="405" y="557"/>
                    <a:pt x="402" y="556"/>
                  </a:cubicBezTo>
                  <a:cubicBezTo>
                    <a:pt x="392" y="553"/>
                    <a:pt x="386" y="531"/>
                    <a:pt x="370" y="531"/>
                  </a:cubicBezTo>
                  <a:cubicBezTo>
                    <a:pt x="367" y="530"/>
                    <a:pt x="375" y="540"/>
                    <a:pt x="375" y="541"/>
                  </a:cubicBezTo>
                  <a:close/>
                  <a:moveTo>
                    <a:pt x="359" y="480"/>
                  </a:moveTo>
                  <a:cubicBezTo>
                    <a:pt x="360" y="481"/>
                    <a:pt x="360" y="481"/>
                    <a:pt x="360" y="481"/>
                  </a:cubicBezTo>
                  <a:cubicBezTo>
                    <a:pt x="359" y="484"/>
                    <a:pt x="371" y="477"/>
                    <a:pt x="365" y="474"/>
                  </a:cubicBezTo>
                  <a:cubicBezTo>
                    <a:pt x="354" y="468"/>
                    <a:pt x="318" y="453"/>
                    <a:pt x="317" y="459"/>
                  </a:cubicBezTo>
                  <a:cubicBezTo>
                    <a:pt x="315" y="464"/>
                    <a:pt x="362" y="469"/>
                    <a:pt x="359" y="480"/>
                  </a:cubicBezTo>
                  <a:close/>
                  <a:moveTo>
                    <a:pt x="400" y="633"/>
                  </a:moveTo>
                  <a:cubicBezTo>
                    <a:pt x="400" y="633"/>
                    <a:pt x="385" y="632"/>
                    <a:pt x="383" y="630"/>
                  </a:cubicBezTo>
                  <a:cubicBezTo>
                    <a:pt x="383" y="629"/>
                    <a:pt x="383" y="629"/>
                    <a:pt x="383" y="629"/>
                  </a:cubicBezTo>
                  <a:cubicBezTo>
                    <a:pt x="377" y="627"/>
                    <a:pt x="376" y="617"/>
                    <a:pt x="373" y="616"/>
                  </a:cubicBezTo>
                  <a:cubicBezTo>
                    <a:pt x="371" y="616"/>
                    <a:pt x="375" y="626"/>
                    <a:pt x="371" y="625"/>
                  </a:cubicBezTo>
                  <a:cubicBezTo>
                    <a:pt x="368" y="624"/>
                    <a:pt x="339" y="615"/>
                    <a:pt x="340" y="622"/>
                  </a:cubicBezTo>
                  <a:cubicBezTo>
                    <a:pt x="340" y="625"/>
                    <a:pt x="363" y="625"/>
                    <a:pt x="366" y="627"/>
                  </a:cubicBezTo>
                  <a:cubicBezTo>
                    <a:pt x="370" y="628"/>
                    <a:pt x="396" y="642"/>
                    <a:pt x="400" y="633"/>
                  </a:cubicBezTo>
                  <a:close/>
                  <a:moveTo>
                    <a:pt x="436" y="780"/>
                  </a:moveTo>
                  <a:cubicBezTo>
                    <a:pt x="437" y="779"/>
                    <a:pt x="437" y="779"/>
                    <a:pt x="437" y="779"/>
                  </a:cubicBezTo>
                  <a:cubicBezTo>
                    <a:pt x="447" y="757"/>
                    <a:pt x="407" y="739"/>
                    <a:pt x="399" y="743"/>
                  </a:cubicBezTo>
                  <a:cubicBezTo>
                    <a:pt x="396" y="744"/>
                    <a:pt x="407" y="747"/>
                    <a:pt x="408" y="747"/>
                  </a:cubicBezTo>
                  <a:cubicBezTo>
                    <a:pt x="411" y="748"/>
                    <a:pt x="426" y="758"/>
                    <a:pt x="428" y="760"/>
                  </a:cubicBezTo>
                  <a:cubicBezTo>
                    <a:pt x="433" y="764"/>
                    <a:pt x="430" y="795"/>
                    <a:pt x="436" y="780"/>
                  </a:cubicBezTo>
                  <a:close/>
                  <a:moveTo>
                    <a:pt x="399" y="1195"/>
                  </a:moveTo>
                  <a:cubicBezTo>
                    <a:pt x="414" y="1193"/>
                    <a:pt x="412" y="1216"/>
                    <a:pt x="425" y="1216"/>
                  </a:cubicBezTo>
                  <a:cubicBezTo>
                    <a:pt x="427" y="1216"/>
                    <a:pt x="421" y="1210"/>
                    <a:pt x="421" y="1209"/>
                  </a:cubicBezTo>
                  <a:cubicBezTo>
                    <a:pt x="415" y="1201"/>
                    <a:pt x="426" y="1199"/>
                    <a:pt x="413" y="1195"/>
                  </a:cubicBezTo>
                  <a:cubicBezTo>
                    <a:pt x="413" y="1195"/>
                    <a:pt x="413" y="1195"/>
                    <a:pt x="413" y="1195"/>
                  </a:cubicBezTo>
                  <a:cubicBezTo>
                    <a:pt x="408" y="1193"/>
                    <a:pt x="412" y="1190"/>
                    <a:pt x="407" y="1190"/>
                  </a:cubicBezTo>
                  <a:cubicBezTo>
                    <a:pt x="405" y="1191"/>
                    <a:pt x="388" y="1196"/>
                    <a:pt x="399" y="1195"/>
                  </a:cubicBezTo>
                  <a:close/>
                  <a:moveTo>
                    <a:pt x="414" y="1287"/>
                  </a:moveTo>
                  <a:cubicBezTo>
                    <a:pt x="402" y="1308"/>
                    <a:pt x="425" y="1293"/>
                    <a:pt x="424" y="1284"/>
                  </a:cubicBezTo>
                  <a:cubicBezTo>
                    <a:pt x="424" y="1284"/>
                    <a:pt x="424" y="1284"/>
                    <a:pt x="424" y="1284"/>
                  </a:cubicBezTo>
                  <a:cubicBezTo>
                    <a:pt x="418" y="1278"/>
                    <a:pt x="416" y="1284"/>
                    <a:pt x="414" y="1287"/>
                  </a:cubicBezTo>
                  <a:close/>
                  <a:moveTo>
                    <a:pt x="392" y="1446"/>
                  </a:moveTo>
                  <a:cubicBezTo>
                    <a:pt x="392" y="1446"/>
                    <a:pt x="392" y="1446"/>
                    <a:pt x="392" y="1446"/>
                  </a:cubicBezTo>
                  <a:cubicBezTo>
                    <a:pt x="393" y="1440"/>
                    <a:pt x="381" y="1445"/>
                    <a:pt x="382" y="1448"/>
                  </a:cubicBezTo>
                  <a:cubicBezTo>
                    <a:pt x="384" y="1455"/>
                    <a:pt x="403" y="1453"/>
                    <a:pt x="392" y="1446"/>
                  </a:cubicBezTo>
                  <a:close/>
                  <a:moveTo>
                    <a:pt x="361" y="950"/>
                  </a:moveTo>
                  <a:cubicBezTo>
                    <a:pt x="370" y="953"/>
                    <a:pt x="374" y="954"/>
                    <a:pt x="382" y="960"/>
                  </a:cubicBezTo>
                  <a:cubicBezTo>
                    <a:pt x="386" y="964"/>
                    <a:pt x="393" y="973"/>
                    <a:pt x="396" y="969"/>
                  </a:cubicBezTo>
                  <a:cubicBezTo>
                    <a:pt x="400" y="962"/>
                    <a:pt x="366" y="938"/>
                    <a:pt x="366" y="937"/>
                  </a:cubicBezTo>
                  <a:cubicBezTo>
                    <a:pt x="366" y="937"/>
                    <a:pt x="366" y="937"/>
                    <a:pt x="366" y="937"/>
                  </a:cubicBezTo>
                  <a:cubicBezTo>
                    <a:pt x="367" y="936"/>
                    <a:pt x="362" y="937"/>
                    <a:pt x="363" y="938"/>
                  </a:cubicBezTo>
                  <a:cubicBezTo>
                    <a:pt x="364" y="942"/>
                    <a:pt x="358" y="949"/>
                    <a:pt x="361" y="950"/>
                  </a:cubicBezTo>
                  <a:close/>
                  <a:moveTo>
                    <a:pt x="353" y="1009"/>
                  </a:moveTo>
                  <a:cubicBezTo>
                    <a:pt x="352" y="1010"/>
                    <a:pt x="370" y="1038"/>
                    <a:pt x="361" y="1030"/>
                  </a:cubicBezTo>
                  <a:cubicBezTo>
                    <a:pt x="358" y="1026"/>
                    <a:pt x="350" y="1021"/>
                    <a:pt x="358" y="1029"/>
                  </a:cubicBezTo>
                  <a:cubicBezTo>
                    <a:pt x="358" y="1029"/>
                    <a:pt x="358" y="1029"/>
                    <a:pt x="358" y="1029"/>
                  </a:cubicBezTo>
                  <a:cubicBezTo>
                    <a:pt x="358" y="1030"/>
                    <a:pt x="358" y="1030"/>
                    <a:pt x="358" y="1030"/>
                  </a:cubicBezTo>
                  <a:cubicBezTo>
                    <a:pt x="360" y="1032"/>
                    <a:pt x="362" y="1034"/>
                    <a:pt x="364" y="1036"/>
                  </a:cubicBezTo>
                  <a:cubicBezTo>
                    <a:pt x="387" y="1053"/>
                    <a:pt x="359" y="1028"/>
                    <a:pt x="367" y="1020"/>
                  </a:cubicBezTo>
                  <a:cubicBezTo>
                    <a:pt x="368" y="1019"/>
                    <a:pt x="370" y="1019"/>
                    <a:pt x="372" y="1018"/>
                  </a:cubicBezTo>
                  <a:cubicBezTo>
                    <a:pt x="372" y="1018"/>
                    <a:pt x="373" y="1018"/>
                    <a:pt x="373" y="1018"/>
                  </a:cubicBezTo>
                  <a:cubicBezTo>
                    <a:pt x="383" y="1015"/>
                    <a:pt x="398" y="1017"/>
                    <a:pt x="397" y="1013"/>
                  </a:cubicBezTo>
                  <a:cubicBezTo>
                    <a:pt x="397" y="1011"/>
                    <a:pt x="378" y="1000"/>
                    <a:pt x="378" y="1004"/>
                  </a:cubicBezTo>
                  <a:cubicBezTo>
                    <a:pt x="377" y="1005"/>
                    <a:pt x="381" y="1005"/>
                    <a:pt x="381" y="1005"/>
                  </a:cubicBezTo>
                  <a:cubicBezTo>
                    <a:pt x="387" y="1006"/>
                    <a:pt x="392" y="1016"/>
                    <a:pt x="381" y="1008"/>
                  </a:cubicBezTo>
                  <a:cubicBezTo>
                    <a:pt x="373" y="1002"/>
                    <a:pt x="382" y="1013"/>
                    <a:pt x="382" y="1013"/>
                  </a:cubicBezTo>
                  <a:cubicBezTo>
                    <a:pt x="380" y="1015"/>
                    <a:pt x="377" y="1016"/>
                    <a:pt x="373" y="1018"/>
                  </a:cubicBezTo>
                  <a:cubicBezTo>
                    <a:pt x="373" y="1018"/>
                    <a:pt x="372" y="1018"/>
                    <a:pt x="372" y="1018"/>
                  </a:cubicBezTo>
                  <a:cubicBezTo>
                    <a:pt x="368" y="1019"/>
                    <a:pt x="363" y="1019"/>
                    <a:pt x="361" y="1018"/>
                  </a:cubicBezTo>
                  <a:cubicBezTo>
                    <a:pt x="359" y="1017"/>
                    <a:pt x="354" y="1008"/>
                    <a:pt x="353" y="1009"/>
                  </a:cubicBezTo>
                  <a:close/>
                  <a:moveTo>
                    <a:pt x="366" y="1507"/>
                  </a:moveTo>
                  <a:cubicBezTo>
                    <a:pt x="359" y="1507"/>
                    <a:pt x="368" y="1512"/>
                    <a:pt x="374" y="1509"/>
                  </a:cubicBezTo>
                  <a:cubicBezTo>
                    <a:pt x="375" y="1509"/>
                    <a:pt x="375" y="1509"/>
                    <a:pt x="375" y="1509"/>
                  </a:cubicBezTo>
                  <a:cubicBezTo>
                    <a:pt x="380" y="1507"/>
                    <a:pt x="369" y="1506"/>
                    <a:pt x="366" y="1507"/>
                  </a:cubicBezTo>
                  <a:close/>
                  <a:moveTo>
                    <a:pt x="362" y="1572"/>
                  </a:moveTo>
                  <a:cubicBezTo>
                    <a:pt x="362" y="1575"/>
                    <a:pt x="368" y="1572"/>
                    <a:pt x="370" y="1573"/>
                  </a:cubicBezTo>
                  <a:cubicBezTo>
                    <a:pt x="372" y="1577"/>
                    <a:pt x="379" y="1574"/>
                    <a:pt x="382" y="1573"/>
                  </a:cubicBezTo>
                  <a:cubicBezTo>
                    <a:pt x="383" y="1572"/>
                    <a:pt x="383" y="1572"/>
                    <a:pt x="383" y="1572"/>
                  </a:cubicBezTo>
                  <a:cubicBezTo>
                    <a:pt x="380" y="1569"/>
                    <a:pt x="362" y="1565"/>
                    <a:pt x="362" y="1572"/>
                  </a:cubicBezTo>
                  <a:close/>
                  <a:moveTo>
                    <a:pt x="325" y="1229"/>
                  </a:moveTo>
                  <a:cubicBezTo>
                    <a:pt x="325" y="1229"/>
                    <a:pt x="325" y="1229"/>
                    <a:pt x="325" y="1229"/>
                  </a:cubicBezTo>
                  <a:cubicBezTo>
                    <a:pt x="325" y="1224"/>
                    <a:pt x="309" y="1227"/>
                    <a:pt x="310" y="1232"/>
                  </a:cubicBezTo>
                  <a:cubicBezTo>
                    <a:pt x="312" y="1239"/>
                    <a:pt x="322" y="1240"/>
                    <a:pt x="327" y="1244"/>
                  </a:cubicBezTo>
                  <a:cubicBezTo>
                    <a:pt x="329" y="1247"/>
                    <a:pt x="330" y="1256"/>
                    <a:pt x="333" y="1255"/>
                  </a:cubicBezTo>
                  <a:cubicBezTo>
                    <a:pt x="335" y="1255"/>
                    <a:pt x="340" y="1244"/>
                    <a:pt x="350" y="1248"/>
                  </a:cubicBezTo>
                  <a:cubicBezTo>
                    <a:pt x="361" y="1252"/>
                    <a:pt x="338" y="1259"/>
                    <a:pt x="351" y="1258"/>
                  </a:cubicBezTo>
                  <a:cubicBezTo>
                    <a:pt x="352" y="1258"/>
                    <a:pt x="354" y="1264"/>
                    <a:pt x="356" y="1262"/>
                  </a:cubicBezTo>
                  <a:cubicBezTo>
                    <a:pt x="356" y="1261"/>
                    <a:pt x="355" y="1260"/>
                    <a:pt x="355" y="1259"/>
                  </a:cubicBezTo>
                  <a:cubicBezTo>
                    <a:pt x="350" y="1246"/>
                    <a:pt x="369" y="1244"/>
                    <a:pt x="366" y="1239"/>
                  </a:cubicBezTo>
                  <a:cubicBezTo>
                    <a:pt x="365" y="1238"/>
                    <a:pt x="361" y="1237"/>
                    <a:pt x="360" y="1237"/>
                  </a:cubicBezTo>
                  <a:cubicBezTo>
                    <a:pt x="354" y="1238"/>
                    <a:pt x="331" y="1242"/>
                    <a:pt x="325" y="1229"/>
                  </a:cubicBezTo>
                  <a:close/>
                  <a:moveTo>
                    <a:pt x="333" y="1427"/>
                  </a:moveTo>
                  <a:cubicBezTo>
                    <a:pt x="335" y="1423"/>
                    <a:pt x="326" y="1424"/>
                    <a:pt x="330" y="1417"/>
                  </a:cubicBezTo>
                  <a:cubicBezTo>
                    <a:pt x="328" y="1416"/>
                    <a:pt x="327" y="1417"/>
                    <a:pt x="325" y="1417"/>
                  </a:cubicBezTo>
                  <a:cubicBezTo>
                    <a:pt x="317" y="1416"/>
                    <a:pt x="319" y="1425"/>
                    <a:pt x="318" y="1425"/>
                  </a:cubicBezTo>
                  <a:cubicBezTo>
                    <a:pt x="317" y="1425"/>
                    <a:pt x="324" y="1439"/>
                    <a:pt x="328" y="1433"/>
                  </a:cubicBezTo>
                  <a:cubicBezTo>
                    <a:pt x="330" y="1432"/>
                    <a:pt x="324" y="1432"/>
                    <a:pt x="323" y="1431"/>
                  </a:cubicBezTo>
                  <a:cubicBezTo>
                    <a:pt x="316" y="1412"/>
                    <a:pt x="332" y="1429"/>
                    <a:pt x="333" y="1427"/>
                  </a:cubicBezTo>
                  <a:close/>
                  <a:moveTo>
                    <a:pt x="318" y="1465"/>
                  </a:moveTo>
                  <a:cubicBezTo>
                    <a:pt x="318" y="1465"/>
                    <a:pt x="318" y="1465"/>
                    <a:pt x="318" y="1465"/>
                  </a:cubicBezTo>
                  <a:cubicBezTo>
                    <a:pt x="321" y="1459"/>
                    <a:pt x="310" y="1467"/>
                    <a:pt x="309" y="1468"/>
                  </a:cubicBezTo>
                  <a:cubicBezTo>
                    <a:pt x="304" y="1474"/>
                    <a:pt x="316" y="1468"/>
                    <a:pt x="318" y="1465"/>
                  </a:cubicBezTo>
                  <a:close/>
                  <a:moveTo>
                    <a:pt x="306" y="1578"/>
                  </a:moveTo>
                  <a:cubicBezTo>
                    <a:pt x="315" y="1570"/>
                    <a:pt x="302" y="1567"/>
                    <a:pt x="300" y="1559"/>
                  </a:cubicBezTo>
                  <a:cubicBezTo>
                    <a:pt x="300" y="1557"/>
                    <a:pt x="296" y="1554"/>
                    <a:pt x="295" y="1553"/>
                  </a:cubicBezTo>
                  <a:cubicBezTo>
                    <a:pt x="290" y="1555"/>
                    <a:pt x="282" y="1562"/>
                    <a:pt x="284" y="1565"/>
                  </a:cubicBezTo>
                  <a:cubicBezTo>
                    <a:pt x="287" y="1574"/>
                    <a:pt x="291" y="1557"/>
                    <a:pt x="294" y="1558"/>
                  </a:cubicBezTo>
                  <a:cubicBezTo>
                    <a:pt x="299" y="1559"/>
                    <a:pt x="298" y="1569"/>
                    <a:pt x="303" y="1569"/>
                  </a:cubicBezTo>
                  <a:cubicBezTo>
                    <a:pt x="308" y="1569"/>
                    <a:pt x="305" y="1579"/>
                    <a:pt x="306" y="1578"/>
                  </a:cubicBezTo>
                  <a:close/>
                  <a:moveTo>
                    <a:pt x="277" y="1514"/>
                  </a:moveTo>
                  <a:cubicBezTo>
                    <a:pt x="277" y="1518"/>
                    <a:pt x="287" y="1512"/>
                    <a:pt x="290" y="1515"/>
                  </a:cubicBezTo>
                  <a:cubicBezTo>
                    <a:pt x="295" y="1521"/>
                    <a:pt x="301" y="1526"/>
                    <a:pt x="300" y="1509"/>
                  </a:cubicBezTo>
                  <a:cubicBezTo>
                    <a:pt x="299" y="1508"/>
                    <a:pt x="299" y="1508"/>
                    <a:pt x="299" y="1508"/>
                  </a:cubicBezTo>
                  <a:cubicBezTo>
                    <a:pt x="299" y="1508"/>
                    <a:pt x="299" y="1498"/>
                    <a:pt x="299" y="1498"/>
                  </a:cubicBezTo>
                  <a:cubicBezTo>
                    <a:pt x="292" y="1498"/>
                    <a:pt x="297" y="1506"/>
                    <a:pt x="291" y="1503"/>
                  </a:cubicBezTo>
                  <a:cubicBezTo>
                    <a:pt x="278" y="1495"/>
                    <a:pt x="292" y="1508"/>
                    <a:pt x="291" y="1510"/>
                  </a:cubicBezTo>
                  <a:cubicBezTo>
                    <a:pt x="290" y="1513"/>
                    <a:pt x="277" y="1507"/>
                    <a:pt x="277" y="1514"/>
                  </a:cubicBezTo>
                  <a:close/>
                  <a:moveTo>
                    <a:pt x="279" y="1245"/>
                  </a:moveTo>
                  <a:cubicBezTo>
                    <a:pt x="276" y="1243"/>
                    <a:pt x="275" y="1238"/>
                    <a:pt x="272" y="1236"/>
                  </a:cubicBezTo>
                  <a:cubicBezTo>
                    <a:pt x="269" y="1235"/>
                    <a:pt x="267" y="1232"/>
                    <a:pt x="264" y="1230"/>
                  </a:cubicBezTo>
                  <a:cubicBezTo>
                    <a:pt x="263" y="1230"/>
                    <a:pt x="263" y="1230"/>
                    <a:pt x="263" y="1230"/>
                  </a:cubicBezTo>
                  <a:cubicBezTo>
                    <a:pt x="260" y="1230"/>
                    <a:pt x="262" y="1233"/>
                    <a:pt x="264" y="1234"/>
                  </a:cubicBezTo>
                  <a:cubicBezTo>
                    <a:pt x="265" y="1234"/>
                    <a:pt x="266" y="1237"/>
                    <a:pt x="267" y="1238"/>
                  </a:cubicBezTo>
                  <a:cubicBezTo>
                    <a:pt x="267" y="1243"/>
                    <a:pt x="283" y="1248"/>
                    <a:pt x="279" y="1245"/>
                  </a:cubicBezTo>
                  <a:close/>
                  <a:moveTo>
                    <a:pt x="297" y="1399"/>
                  </a:moveTo>
                  <a:cubicBezTo>
                    <a:pt x="297" y="1399"/>
                    <a:pt x="297" y="1399"/>
                    <a:pt x="297" y="1399"/>
                  </a:cubicBezTo>
                  <a:cubicBezTo>
                    <a:pt x="297" y="1396"/>
                    <a:pt x="289" y="1400"/>
                    <a:pt x="289" y="1403"/>
                  </a:cubicBezTo>
                  <a:cubicBezTo>
                    <a:pt x="289" y="1410"/>
                    <a:pt x="300" y="1413"/>
                    <a:pt x="297" y="1399"/>
                  </a:cubicBezTo>
                  <a:close/>
                  <a:moveTo>
                    <a:pt x="291" y="1449"/>
                  </a:moveTo>
                  <a:cubicBezTo>
                    <a:pt x="296" y="1445"/>
                    <a:pt x="295" y="1442"/>
                    <a:pt x="293" y="1438"/>
                  </a:cubicBezTo>
                  <a:cubicBezTo>
                    <a:pt x="292" y="1437"/>
                    <a:pt x="292" y="1437"/>
                    <a:pt x="292" y="1437"/>
                  </a:cubicBezTo>
                  <a:cubicBezTo>
                    <a:pt x="290" y="1435"/>
                    <a:pt x="286" y="1455"/>
                    <a:pt x="291" y="1449"/>
                  </a:cubicBezTo>
                  <a:close/>
                  <a:moveTo>
                    <a:pt x="310" y="1553"/>
                  </a:moveTo>
                  <a:cubicBezTo>
                    <a:pt x="311" y="1553"/>
                    <a:pt x="315" y="1533"/>
                    <a:pt x="315" y="1531"/>
                  </a:cubicBezTo>
                  <a:cubicBezTo>
                    <a:pt x="315" y="1531"/>
                    <a:pt x="315" y="1531"/>
                    <a:pt x="315" y="1531"/>
                  </a:cubicBezTo>
                  <a:cubicBezTo>
                    <a:pt x="312" y="1528"/>
                    <a:pt x="310" y="1529"/>
                    <a:pt x="311" y="1533"/>
                  </a:cubicBezTo>
                  <a:cubicBezTo>
                    <a:pt x="312" y="1538"/>
                    <a:pt x="300" y="1531"/>
                    <a:pt x="298" y="1535"/>
                  </a:cubicBezTo>
                  <a:cubicBezTo>
                    <a:pt x="297" y="1538"/>
                    <a:pt x="308" y="1553"/>
                    <a:pt x="310" y="1553"/>
                  </a:cubicBezTo>
                  <a:close/>
                  <a:moveTo>
                    <a:pt x="325" y="933"/>
                  </a:moveTo>
                  <a:cubicBezTo>
                    <a:pt x="325" y="932"/>
                    <a:pt x="325" y="932"/>
                    <a:pt x="325" y="932"/>
                  </a:cubicBezTo>
                  <a:cubicBezTo>
                    <a:pt x="325" y="925"/>
                    <a:pt x="316" y="935"/>
                    <a:pt x="315" y="937"/>
                  </a:cubicBezTo>
                  <a:cubicBezTo>
                    <a:pt x="314" y="943"/>
                    <a:pt x="321" y="941"/>
                    <a:pt x="323" y="946"/>
                  </a:cubicBezTo>
                  <a:cubicBezTo>
                    <a:pt x="329" y="965"/>
                    <a:pt x="318" y="952"/>
                    <a:pt x="322" y="962"/>
                  </a:cubicBezTo>
                  <a:cubicBezTo>
                    <a:pt x="323" y="965"/>
                    <a:pt x="330" y="978"/>
                    <a:pt x="333" y="978"/>
                  </a:cubicBezTo>
                  <a:cubicBezTo>
                    <a:pt x="334" y="977"/>
                    <a:pt x="328" y="965"/>
                    <a:pt x="328" y="963"/>
                  </a:cubicBezTo>
                  <a:cubicBezTo>
                    <a:pt x="327" y="942"/>
                    <a:pt x="323" y="941"/>
                    <a:pt x="325" y="933"/>
                  </a:cubicBezTo>
                  <a:close/>
                  <a:moveTo>
                    <a:pt x="295" y="888"/>
                  </a:moveTo>
                  <a:cubicBezTo>
                    <a:pt x="292" y="888"/>
                    <a:pt x="268" y="879"/>
                    <a:pt x="268" y="880"/>
                  </a:cubicBezTo>
                  <a:cubicBezTo>
                    <a:pt x="267" y="883"/>
                    <a:pt x="284" y="892"/>
                    <a:pt x="282" y="898"/>
                  </a:cubicBezTo>
                  <a:cubicBezTo>
                    <a:pt x="281" y="900"/>
                    <a:pt x="268" y="888"/>
                    <a:pt x="264" y="888"/>
                  </a:cubicBezTo>
                  <a:cubicBezTo>
                    <a:pt x="263" y="888"/>
                    <a:pt x="264" y="891"/>
                    <a:pt x="264" y="892"/>
                  </a:cubicBezTo>
                  <a:cubicBezTo>
                    <a:pt x="270" y="898"/>
                    <a:pt x="297" y="907"/>
                    <a:pt x="301" y="912"/>
                  </a:cubicBezTo>
                  <a:cubicBezTo>
                    <a:pt x="306" y="920"/>
                    <a:pt x="307" y="943"/>
                    <a:pt x="305" y="944"/>
                  </a:cubicBezTo>
                  <a:cubicBezTo>
                    <a:pt x="302" y="945"/>
                    <a:pt x="299" y="928"/>
                    <a:pt x="298" y="930"/>
                  </a:cubicBezTo>
                  <a:cubicBezTo>
                    <a:pt x="296" y="933"/>
                    <a:pt x="299" y="945"/>
                    <a:pt x="301" y="946"/>
                  </a:cubicBezTo>
                  <a:cubicBezTo>
                    <a:pt x="304" y="948"/>
                    <a:pt x="309" y="951"/>
                    <a:pt x="308" y="954"/>
                  </a:cubicBezTo>
                  <a:cubicBezTo>
                    <a:pt x="308" y="954"/>
                    <a:pt x="304" y="963"/>
                    <a:pt x="306" y="961"/>
                  </a:cubicBezTo>
                  <a:cubicBezTo>
                    <a:pt x="316" y="955"/>
                    <a:pt x="309" y="939"/>
                    <a:pt x="310" y="929"/>
                  </a:cubicBezTo>
                  <a:cubicBezTo>
                    <a:pt x="310" y="928"/>
                    <a:pt x="310" y="928"/>
                    <a:pt x="310" y="928"/>
                  </a:cubicBezTo>
                  <a:cubicBezTo>
                    <a:pt x="308" y="921"/>
                    <a:pt x="300" y="907"/>
                    <a:pt x="311" y="905"/>
                  </a:cubicBezTo>
                  <a:cubicBezTo>
                    <a:pt x="317" y="903"/>
                    <a:pt x="329" y="906"/>
                    <a:pt x="333" y="911"/>
                  </a:cubicBezTo>
                  <a:cubicBezTo>
                    <a:pt x="333" y="912"/>
                    <a:pt x="339" y="920"/>
                    <a:pt x="339" y="916"/>
                  </a:cubicBezTo>
                  <a:cubicBezTo>
                    <a:pt x="340" y="914"/>
                    <a:pt x="314" y="887"/>
                    <a:pt x="313" y="886"/>
                  </a:cubicBezTo>
                  <a:cubicBezTo>
                    <a:pt x="308" y="885"/>
                    <a:pt x="313" y="894"/>
                    <a:pt x="308" y="894"/>
                  </a:cubicBezTo>
                  <a:cubicBezTo>
                    <a:pt x="301" y="894"/>
                    <a:pt x="301" y="888"/>
                    <a:pt x="295" y="888"/>
                  </a:cubicBezTo>
                  <a:close/>
                  <a:moveTo>
                    <a:pt x="275" y="844"/>
                  </a:moveTo>
                  <a:cubicBezTo>
                    <a:pt x="278" y="844"/>
                    <a:pt x="291" y="849"/>
                    <a:pt x="293" y="847"/>
                  </a:cubicBezTo>
                  <a:cubicBezTo>
                    <a:pt x="296" y="845"/>
                    <a:pt x="271" y="839"/>
                    <a:pt x="269" y="838"/>
                  </a:cubicBezTo>
                  <a:cubicBezTo>
                    <a:pt x="268" y="838"/>
                    <a:pt x="268" y="838"/>
                    <a:pt x="268" y="838"/>
                  </a:cubicBezTo>
                  <a:cubicBezTo>
                    <a:pt x="249" y="821"/>
                    <a:pt x="258" y="845"/>
                    <a:pt x="275" y="844"/>
                  </a:cubicBezTo>
                  <a:close/>
                  <a:moveTo>
                    <a:pt x="254" y="1262"/>
                  </a:moveTo>
                  <a:cubicBezTo>
                    <a:pt x="259" y="1263"/>
                    <a:pt x="261" y="1254"/>
                    <a:pt x="262" y="1251"/>
                  </a:cubicBezTo>
                  <a:cubicBezTo>
                    <a:pt x="262" y="1251"/>
                    <a:pt x="262" y="1251"/>
                    <a:pt x="262" y="1251"/>
                  </a:cubicBezTo>
                  <a:cubicBezTo>
                    <a:pt x="265" y="1244"/>
                    <a:pt x="247" y="1259"/>
                    <a:pt x="254" y="1262"/>
                  </a:cubicBezTo>
                  <a:close/>
                  <a:moveTo>
                    <a:pt x="201" y="1128"/>
                  </a:moveTo>
                  <a:cubicBezTo>
                    <a:pt x="201" y="1128"/>
                    <a:pt x="201" y="1128"/>
                    <a:pt x="201" y="1128"/>
                  </a:cubicBezTo>
                  <a:cubicBezTo>
                    <a:pt x="196" y="1124"/>
                    <a:pt x="210" y="1141"/>
                    <a:pt x="215" y="1144"/>
                  </a:cubicBezTo>
                  <a:cubicBezTo>
                    <a:pt x="221" y="1149"/>
                    <a:pt x="231" y="1148"/>
                    <a:pt x="238" y="1153"/>
                  </a:cubicBezTo>
                  <a:cubicBezTo>
                    <a:pt x="239" y="1154"/>
                    <a:pt x="240" y="1156"/>
                    <a:pt x="241" y="1157"/>
                  </a:cubicBezTo>
                  <a:cubicBezTo>
                    <a:pt x="241" y="1158"/>
                    <a:pt x="242" y="1165"/>
                    <a:pt x="244" y="1162"/>
                  </a:cubicBezTo>
                  <a:cubicBezTo>
                    <a:pt x="249" y="1154"/>
                    <a:pt x="212" y="1139"/>
                    <a:pt x="201" y="1128"/>
                  </a:cubicBezTo>
                  <a:close/>
                  <a:moveTo>
                    <a:pt x="190" y="1374"/>
                  </a:moveTo>
                  <a:cubicBezTo>
                    <a:pt x="189" y="1371"/>
                    <a:pt x="191" y="1369"/>
                    <a:pt x="190" y="1367"/>
                  </a:cubicBezTo>
                  <a:cubicBezTo>
                    <a:pt x="189" y="1366"/>
                    <a:pt x="189" y="1366"/>
                    <a:pt x="189" y="1366"/>
                  </a:cubicBezTo>
                  <a:cubicBezTo>
                    <a:pt x="188" y="1363"/>
                    <a:pt x="182" y="1348"/>
                    <a:pt x="179" y="1349"/>
                  </a:cubicBezTo>
                  <a:cubicBezTo>
                    <a:pt x="173" y="1350"/>
                    <a:pt x="207" y="1403"/>
                    <a:pt x="190" y="1374"/>
                  </a:cubicBezTo>
                  <a:close/>
                  <a:moveTo>
                    <a:pt x="180" y="1391"/>
                  </a:moveTo>
                  <a:cubicBezTo>
                    <a:pt x="179" y="1391"/>
                    <a:pt x="179" y="1391"/>
                    <a:pt x="179" y="1391"/>
                  </a:cubicBezTo>
                  <a:cubicBezTo>
                    <a:pt x="176" y="1386"/>
                    <a:pt x="173" y="1372"/>
                    <a:pt x="170" y="1377"/>
                  </a:cubicBezTo>
                  <a:cubicBezTo>
                    <a:pt x="166" y="1384"/>
                    <a:pt x="182" y="1395"/>
                    <a:pt x="180" y="1391"/>
                  </a:cubicBezTo>
                  <a:close/>
                  <a:moveTo>
                    <a:pt x="205" y="1430"/>
                  </a:moveTo>
                  <a:cubicBezTo>
                    <a:pt x="205" y="1431"/>
                    <a:pt x="206" y="1434"/>
                    <a:pt x="207" y="1434"/>
                  </a:cubicBezTo>
                  <a:cubicBezTo>
                    <a:pt x="209" y="1434"/>
                    <a:pt x="208" y="1430"/>
                    <a:pt x="208" y="1429"/>
                  </a:cubicBezTo>
                  <a:cubicBezTo>
                    <a:pt x="208" y="1414"/>
                    <a:pt x="193" y="1408"/>
                    <a:pt x="193" y="1393"/>
                  </a:cubicBezTo>
                  <a:cubicBezTo>
                    <a:pt x="193" y="1393"/>
                    <a:pt x="193" y="1393"/>
                    <a:pt x="193" y="1393"/>
                  </a:cubicBezTo>
                  <a:cubicBezTo>
                    <a:pt x="185" y="1385"/>
                    <a:pt x="204" y="1430"/>
                    <a:pt x="205" y="1430"/>
                  </a:cubicBezTo>
                  <a:close/>
                  <a:moveTo>
                    <a:pt x="219" y="1068"/>
                  </a:moveTo>
                  <a:cubicBezTo>
                    <a:pt x="221" y="1065"/>
                    <a:pt x="206" y="1060"/>
                    <a:pt x="203" y="1060"/>
                  </a:cubicBezTo>
                  <a:cubicBezTo>
                    <a:pt x="203" y="1060"/>
                    <a:pt x="203" y="1060"/>
                    <a:pt x="203" y="1060"/>
                  </a:cubicBezTo>
                  <a:cubicBezTo>
                    <a:pt x="196" y="1060"/>
                    <a:pt x="217" y="1070"/>
                    <a:pt x="219" y="1068"/>
                  </a:cubicBezTo>
                  <a:close/>
                  <a:moveTo>
                    <a:pt x="210" y="896"/>
                  </a:moveTo>
                  <a:cubicBezTo>
                    <a:pt x="210" y="896"/>
                    <a:pt x="210" y="896"/>
                    <a:pt x="210" y="896"/>
                  </a:cubicBezTo>
                  <a:cubicBezTo>
                    <a:pt x="204" y="893"/>
                    <a:pt x="184" y="897"/>
                    <a:pt x="190" y="900"/>
                  </a:cubicBezTo>
                  <a:cubicBezTo>
                    <a:pt x="198" y="904"/>
                    <a:pt x="203" y="897"/>
                    <a:pt x="212" y="901"/>
                  </a:cubicBezTo>
                  <a:cubicBezTo>
                    <a:pt x="213" y="901"/>
                    <a:pt x="228" y="905"/>
                    <a:pt x="226" y="901"/>
                  </a:cubicBezTo>
                  <a:cubicBezTo>
                    <a:pt x="225" y="898"/>
                    <a:pt x="214" y="899"/>
                    <a:pt x="210" y="896"/>
                  </a:cubicBezTo>
                  <a:close/>
                  <a:moveTo>
                    <a:pt x="205" y="863"/>
                  </a:moveTo>
                  <a:cubicBezTo>
                    <a:pt x="206" y="863"/>
                    <a:pt x="211" y="869"/>
                    <a:pt x="212" y="869"/>
                  </a:cubicBezTo>
                  <a:cubicBezTo>
                    <a:pt x="219" y="861"/>
                    <a:pt x="189" y="852"/>
                    <a:pt x="185" y="847"/>
                  </a:cubicBezTo>
                  <a:cubicBezTo>
                    <a:pt x="176" y="836"/>
                    <a:pt x="193" y="842"/>
                    <a:pt x="195" y="839"/>
                  </a:cubicBezTo>
                  <a:cubicBezTo>
                    <a:pt x="198" y="833"/>
                    <a:pt x="181" y="835"/>
                    <a:pt x="180" y="828"/>
                  </a:cubicBezTo>
                  <a:cubicBezTo>
                    <a:pt x="177" y="815"/>
                    <a:pt x="214" y="842"/>
                    <a:pt x="203" y="822"/>
                  </a:cubicBezTo>
                  <a:cubicBezTo>
                    <a:pt x="203" y="821"/>
                    <a:pt x="203" y="821"/>
                    <a:pt x="203" y="821"/>
                  </a:cubicBezTo>
                  <a:cubicBezTo>
                    <a:pt x="197" y="818"/>
                    <a:pt x="187" y="821"/>
                    <a:pt x="181" y="822"/>
                  </a:cubicBezTo>
                  <a:cubicBezTo>
                    <a:pt x="179" y="822"/>
                    <a:pt x="173" y="828"/>
                    <a:pt x="173" y="829"/>
                  </a:cubicBezTo>
                  <a:cubicBezTo>
                    <a:pt x="172" y="832"/>
                    <a:pt x="167" y="828"/>
                    <a:pt x="167" y="830"/>
                  </a:cubicBezTo>
                  <a:cubicBezTo>
                    <a:pt x="161" y="840"/>
                    <a:pt x="199" y="859"/>
                    <a:pt x="205" y="863"/>
                  </a:cubicBezTo>
                  <a:close/>
                  <a:moveTo>
                    <a:pt x="130" y="824"/>
                  </a:moveTo>
                  <a:cubicBezTo>
                    <a:pt x="134" y="826"/>
                    <a:pt x="160" y="831"/>
                    <a:pt x="162" y="827"/>
                  </a:cubicBezTo>
                  <a:cubicBezTo>
                    <a:pt x="162" y="827"/>
                    <a:pt x="130" y="824"/>
                    <a:pt x="130" y="816"/>
                  </a:cubicBezTo>
                  <a:cubicBezTo>
                    <a:pt x="130" y="816"/>
                    <a:pt x="130" y="816"/>
                    <a:pt x="130" y="816"/>
                  </a:cubicBezTo>
                  <a:cubicBezTo>
                    <a:pt x="126" y="812"/>
                    <a:pt x="127" y="821"/>
                    <a:pt x="130" y="824"/>
                  </a:cubicBezTo>
                  <a:close/>
                  <a:moveTo>
                    <a:pt x="132" y="833"/>
                  </a:moveTo>
                  <a:cubicBezTo>
                    <a:pt x="136" y="834"/>
                    <a:pt x="142" y="845"/>
                    <a:pt x="147" y="842"/>
                  </a:cubicBezTo>
                  <a:cubicBezTo>
                    <a:pt x="152" y="840"/>
                    <a:pt x="146" y="834"/>
                    <a:pt x="144" y="832"/>
                  </a:cubicBezTo>
                  <a:cubicBezTo>
                    <a:pt x="144" y="832"/>
                    <a:pt x="144" y="832"/>
                    <a:pt x="144" y="832"/>
                  </a:cubicBezTo>
                  <a:cubicBezTo>
                    <a:pt x="143" y="831"/>
                    <a:pt x="127" y="830"/>
                    <a:pt x="127" y="831"/>
                  </a:cubicBezTo>
                  <a:cubicBezTo>
                    <a:pt x="127" y="832"/>
                    <a:pt x="131" y="833"/>
                    <a:pt x="132" y="833"/>
                  </a:cubicBezTo>
                  <a:close/>
                  <a:moveTo>
                    <a:pt x="142" y="895"/>
                  </a:moveTo>
                  <a:cubicBezTo>
                    <a:pt x="146" y="894"/>
                    <a:pt x="144" y="892"/>
                    <a:pt x="145" y="889"/>
                  </a:cubicBezTo>
                  <a:cubicBezTo>
                    <a:pt x="146" y="885"/>
                    <a:pt x="144" y="887"/>
                    <a:pt x="144" y="883"/>
                  </a:cubicBezTo>
                  <a:cubicBezTo>
                    <a:pt x="144" y="882"/>
                    <a:pt x="144" y="882"/>
                    <a:pt x="144" y="882"/>
                  </a:cubicBezTo>
                  <a:cubicBezTo>
                    <a:pt x="137" y="874"/>
                    <a:pt x="122" y="898"/>
                    <a:pt x="142" y="895"/>
                  </a:cubicBezTo>
                  <a:close/>
                  <a:moveTo>
                    <a:pt x="172" y="1018"/>
                  </a:moveTo>
                  <a:cubicBezTo>
                    <a:pt x="169" y="1010"/>
                    <a:pt x="148" y="1008"/>
                    <a:pt x="146" y="999"/>
                  </a:cubicBezTo>
                  <a:cubicBezTo>
                    <a:pt x="146" y="999"/>
                    <a:pt x="146" y="999"/>
                    <a:pt x="146" y="999"/>
                  </a:cubicBezTo>
                  <a:cubicBezTo>
                    <a:pt x="144" y="997"/>
                    <a:pt x="143" y="998"/>
                    <a:pt x="144" y="1000"/>
                  </a:cubicBezTo>
                  <a:cubicBezTo>
                    <a:pt x="147" y="1004"/>
                    <a:pt x="152" y="1006"/>
                    <a:pt x="154" y="1011"/>
                  </a:cubicBezTo>
                  <a:cubicBezTo>
                    <a:pt x="156" y="1017"/>
                    <a:pt x="175" y="1024"/>
                    <a:pt x="172" y="1018"/>
                  </a:cubicBezTo>
                  <a:close/>
                  <a:moveTo>
                    <a:pt x="168" y="1429"/>
                  </a:moveTo>
                  <a:cubicBezTo>
                    <a:pt x="169" y="1427"/>
                    <a:pt x="170" y="1434"/>
                    <a:pt x="171" y="1435"/>
                  </a:cubicBezTo>
                  <a:cubicBezTo>
                    <a:pt x="172" y="1437"/>
                    <a:pt x="185" y="1452"/>
                    <a:pt x="186" y="1452"/>
                  </a:cubicBezTo>
                  <a:cubicBezTo>
                    <a:pt x="190" y="1451"/>
                    <a:pt x="180" y="1441"/>
                    <a:pt x="180" y="1440"/>
                  </a:cubicBezTo>
                  <a:cubicBezTo>
                    <a:pt x="179" y="1440"/>
                    <a:pt x="179" y="1440"/>
                    <a:pt x="179" y="1440"/>
                  </a:cubicBezTo>
                  <a:cubicBezTo>
                    <a:pt x="175" y="1436"/>
                    <a:pt x="173" y="1416"/>
                    <a:pt x="171" y="1415"/>
                  </a:cubicBezTo>
                  <a:cubicBezTo>
                    <a:pt x="168" y="1415"/>
                    <a:pt x="170" y="1417"/>
                    <a:pt x="170" y="1418"/>
                  </a:cubicBezTo>
                  <a:cubicBezTo>
                    <a:pt x="175" y="1430"/>
                    <a:pt x="165" y="1423"/>
                    <a:pt x="162" y="1422"/>
                  </a:cubicBezTo>
                  <a:cubicBezTo>
                    <a:pt x="160" y="1422"/>
                    <a:pt x="165" y="1432"/>
                    <a:pt x="168" y="1429"/>
                  </a:cubicBezTo>
                  <a:close/>
                  <a:moveTo>
                    <a:pt x="152" y="1437"/>
                  </a:moveTo>
                  <a:cubicBezTo>
                    <a:pt x="153" y="1438"/>
                    <a:pt x="164" y="1459"/>
                    <a:pt x="164" y="1458"/>
                  </a:cubicBezTo>
                  <a:cubicBezTo>
                    <a:pt x="167" y="1455"/>
                    <a:pt x="164" y="1453"/>
                    <a:pt x="163" y="1452"/>
                  </a:cubicBezTo>
                  <a:cubicBezTo>
                    <a:pt x="148" y="1435"/>
                    <a:pt x="145" y="1423"/>
                    <a:pt x="133" y="1414"/>
                  </a:cubicBezTo>
                  <a:cubicBezTo>
                    <a:pt x="133" y="1414"/>
                    <a:pt x="133" y="1414"/>
                    <a:pt x="133" y="1414"/>
                  </a:cubicBezTo>
                  <a:cubicBezTo>
                    <a:pt x="130" y="1413"/>
                    <a:pt x="132" y="1415"/>
                    <a:pt x="130" y="1416"/>
                  </a:cubicBezTo>
                  <a:cubicBezTo>
                    <a:pt x="125" y="1417"/>
                    <a:pt x="146" y="1432"/>
                    <a:pt x="152" y="1437"/>
                  </a:cubicBezTo>
                  <a:close/>
                  <a:moveTo>
                    <a:pt x="133" y="1445"/>
                  </a:moveTo>
                  <a:cubicBezTo>
                    <a:pt x="136" y="1444"/>
                    <a:pt x="137" y="1438"/>
                    <a:pt x="135" y="1436"/>
                  </a:cubicBezTo>
                  <a:cubicBezTo>
                    <a:pt x="132" y="1433"/>
                    <a:pt x="126" y="1439"/>
                    <a:pt x="127" y="1434"/>
                  </a:cubicBezTo>
                  <a:cubicBezTo>
                    <a:pt x="127" y="1434"/>
                    <a:pt x="127" y="1434"/>
                    <a:pt x="127" y="1434"/>
                  </a:cubicBezTo>
                  <a:cubicBezTo>
                    <a:pt x="125" y="1429"/>
                    <a:pt x="124" y="1446"/>
                    <a:pt x="133" y="1445"/>
                  </a:cubicBezTo>
                  <a:close/>
                  <a:moveTo>
                    <a:pt x="118" y="1485"/>
                  </a:moveTo>
                  <a:cubicBezTo>
                    <a:pt x="119" y="1486"/>
                    <a:pt x="120" y="1493"/>
                    <a:pt x="120" y="1493"/>
                  </a:cubicBezTo>
                  <a:cubicBezTo>
                    <a:pt x="120" y="1493"/>
                    <a:pt x="123" y="1471"/>
                    <a:pt x="123" y="1470"/>
                  </a:cubicBezTo>
                  <a:cubicBezTo>
                    <a:pt x="120" y="1470"/>
                    <a:pt x="119" y="1475"/>
                    <a:pt x="119" y="1478"/>
                  </a:cubicBezTo>
                  <a:cubicBezTo>
                    <a:pt x="119" y="1481"/>
                    <a:pt x="118" y="1469"/>
                    <a:pt x="115" y="1474"/>
                  </a:cubicBezTo>
                  <a:cubicBezTo>
                    <a:pt x="107" y="1486"/>
                    <a:pt x="102" y="1475"/>
                    <a:pt x="102" y="1457"/>
                  </a:cubicBezTo>
                  <a:cubicBezTo>
                    <a:pt x="102" y="1456"/>
                    <a:pt x="102" y="1456"/>
                    <a:pt x="102" y="1456"/>
                  </a:cubicBezTo>
                  <a:cubicBezTo>
                    <a:pt x="99" y="1451"/>
                    <a:pt x="99" y="1468"/>
                    <a:pt x="99" y="1469"/>
                  </a:cubicBezTo>
                  <a:cubicBezTo>
                    <a:pt x="98" y="1487"/>
                    <a:pt x="117" y="1481"/>
                    <a:pt x="118" y="1485"/>
                  </a:cubicBezTo>
                  <a:close/>
                  <a:moveTo>
                    <a:pt x="128" y="1717"/>
                  </a:moveTo>
                  <a:cubicBezTo>
                    <a:pt x="128" y="1717"/>
                    <a:pt x="128" y="1717"/>
                    <a:pt x="128" y="1717"/>
                  </a:cubicBezTo>
                  <a:cubicBezTo>
                    <a:pt x="126" y="1714"/>
                    <a:pt x="121" y="1722"/>
                    <a:pt x="118" y="1723"/>
                  </a:cubicBezTo>
                  <a:cubicBezTo>
                    <a:pt x="117" y="1724"/>
                    <a:pt x="107" y="1726"/>
                    <a:pt x="107" y="1728"/>
                  </a:cubicBezTo>
                  <a:cubicBezTo>
                    <a:pt x="108" y="1730"/>
                    <a:pt x="131" y="1724"/>
                    <a:pt x="128" y="1717"/>
                  </a:cubicBezTo>
                  <a:close/>
                  <a:moveTo>
                    <a:pt x="128" y="1660"/>
                  </a:moveTo>
                  <a:cubicBezTo>
                    <a:pt x="124" y="1662"/>
                    <a:pt x="120" y="1662"/>
                    <a:pt x="119" y="1667"/>
                  </a:cubicBezTo>
                  <a:cubicBezTo>
                    <a:pt x="118" y="1668"/>
                    <a:pt x="117" y="1675"/>
                    <a:pt x="121" y="1672"/>
                  </a:cubicBezTo>
                  <a:cubicBezTo>
                    <a:pt x="125" y="1668"/>
                    <a:pt x="129" y="1663"/>
                    <a:pt x="133" y="1660"/>
                  </a:cubicBezTo>
                  <a:cubicBezTo>
                    <a:pt x="133" y="1660"/>
                    <a:pt x="133" y="1660"/>
                    <a:pt x="133" y="1660"/>
                  </a:cubicBezTo>
                  <a:cubicBezTo>
                    <a:pt x="133" y="1657"/>
                    <a:pt x="130" y="1660"/>
                    <a:pt x="128" y="1660"/>
                  </a:cubicBezTo>
                  <a:close/>
                  <a:moveTo>
                    <a:pt x="213" y="1681"/>
                  </a:moveTo>
                  <a:cubicBezTo>
                    <a:pt x="213" y="1676"/>
                    <a:pt x="203" y="1693"/>
                    <a:pt x="207" y="1695"/>
                  </a:cubicBezTo>
                  <a:cubicBezTo>
                    <a:pt x="214" y="1697"/>
                    <a:pt x="213" y="1684"/>
                    <a:pt x="213" y="1681"/>
                  </a:cubicBezTo>
                  <a:close/>
                  <a:moveTo>
                    <a:pt x="253" y="1790"/>
                  </a:moveTo>
                  <a:cubicBezTo>
                    <a:pt x="245" y="1763"/>
                    <a:pt x="227" y="1812"/>
                    <a:pt x="236" y="1823"/>
                  </a:cubicBezTo>
                  <a:cubicBezTo>
                    <a:pt x="238" y="1826"/>
                    <a:pt x="251" y="1791"/>
                    <a:pt x="252" y="1791"/>
                  </a:cubicBezTo>
                  <a:lnTo>
                    <a:pt x="253" y="1790"/>
                  </a:lnTo>
                  <a:close/>
                  <a:moveTo>
                    <a:pt x="258" y="1543"/>
                  </a:moveTo>
                  <a:cubicBezTo>
                    <a:pt x="259" y="1542"/>
                    <a:pt x="273" y="1524"/>
                    <a:pt x="270" y="1515"/>
                  </a:cubicBezTo>
                  <a:cubicBezTo>
                    <a:pt x="269" y="1514"/>
                    <a:pt x="264" y="1512"/>
                    <a:pt x="265" y="1510"/>
                  </a:cubicBezTo>
                  <a:cubicBezTo>
                    <a:pt x="266" y="1509"/>
                    <a:pt x="283" y="1504"/>
                    <a:pt x="279" y="1500"/>
                  </a:cubicBezTo>
                  <a:cubicBezTo>
                    <a:pt x="271" y="1491"/>
                    <a:pt x="261" y="1509"/>
                    <a:pt x="262" y="1496"/>
                  </a:cubicBezTo>
                  <a:cubicBezTo>
                    <a:pt x="262" y="1488"/>
                    <a:pt x="282" y="1472"/>
                    <a:pt x="275" y="1463"/>
                  </a:cubicBezTo>
                  <a:cubicBezTo>
                    <a:pt x="270" y="1458"/>
                    <a:pt x="261" y="1464"/>
                    <a:pt x="257" y="1465"/>
                  </a:cubicBezTo>
                  <a:cubicBezTo>
                    <a:pt x="254" y="1465"/>
                    <a:pt x="254" y="1458"/>
                    <a:pt x="251" y="1458"/>
                  </a:cubicBezTo>
                  <a:cubicBezTo>
                    <a:pt x="249" y="1457"/>
                    <a:pt x="253" y="1464"/>
                    <a:pt x="246" y="1463"/>
                  </a:cubicBezTo>
                  <a:cubicBezTo>
                    <a:pt x="241" y="1463"/>
                    <a:pt x="249" y="1454"/>
                    <a:pt x="248" y="1453"/>
                  </a:cubicBezTo>
                  <a:cubicBezTo>
                    <a:pt x="245" y="1451"/>
                    <a:pt x="242" y="1457"/>
                    <a:pt x="239" y="1456"/>
                  </a:cubicBezTo>
                  <a:cubicBezTo>
                    <a:pt x="236" y="1454"/>
                    <a:pt x="240" y="1451"/>
                    <a:pt x="239" y="1451"/>
                  </a:cubicBezTo>
                  <a:cubicBezTo>
                    <a:pt x="236" y="1450"/>
                    <a:pt x="201" y="1459"/>
                    <a:pt x="200" y="1460"/>
                  </a:cubicBezTo>
                  <a:cubicBezTo>
                    <a:pt x="198" y="1462"/>
                    <a:pt x="205" y="1464"/>
                    <a:pt x="204" y="1466"/>
                  </a:cubicBezTo>
                  <a:cubicBezTo>
                    <a:pt x="203" y="1467"/>
                    <a:pt x="196" y="1466"/>
                    <a:pt x="196" y="1464"/>
                  </a:cubicBezTo>
                  <a:cubicBezTo>
                    <a:pt x="189" y="1449"/>
                    <a:pt x="195" y="1466"/>
                    <a:pt x="191" y="1470"/>
                  </a:cubicBezTo>
                  <a:cubicBezTo>
                    <a:pt x="189" y="1473"/>
                    <a:pt x="187" y="1468"/>
                    <a:pt x="186" y="1469"/>
                  </a:cubicBezTo>
                  <a:cubicBezTo>
                    <a:pt x="186" y="1469"/>
                    <a:pt x="209" y="1522"/>
                    <a:pt x="198" y="1526"/>
                  </a:cubicBezTo>
                  <a:cubicBezTo>
                    <a:pt x="197" y="1526"/>
                    <a:pt x="197" y="1526"/>
                    <a:pt x="197" y="1526"/>
                  </a:cubicBezTo>
                  <a:cubicBezTo>
                    <a:pt x="187" y="1524"/>
                    <a:pt x="188" y="1511"/>
                    <a:pt x="185" y="1507"/>
                  </a:cubicBezTo>
                  <a:cubicBezTo>
                    <a:pt x="178" y="1500"/>
                    <a:pt x="172" y="1506"/>
                    <a:pt x="169" y="1498"/>
                  </a:cubicBezTo>
                  <a:cubicBezTo>
                    <a:pt x="169" y="1497"/>
                    <a:pt x="169" y="1496"/>
                    <a:pt x="168" y="1496"/>
                  </a:cubicBezTo>
                  <a:cubicBezTo>
                    <a:pt x="141" y="1504"/>
                    <a:pt x="150" y="1534"/>
                    <a:pt x="140" y="1536"/>
                  </a:cubicBezTo>
                  <a:cubicBezTo>
                    <a:pt x="134" y="1537"/>
                    <a:pt x="141" y="1513"/>
                    <a:pt x="129" y="1514"/>
                  </a:cubicBezTo>
                  <a:cubicBezTo>
                    <a:pt x="128" y="1514"/>
                    <a:pt x="135" y="1534"/>
                    <a:pt x="135" y="1536"/>
                  </a:cubicBezTo>
                  <a:cubicBezTo>
                    <a:pt x="134" y="1538"/>
                    <a:pt x="124" y="1529"/>
                    <a:pt x="127" y="1537"/>
                  </a:cubicBezTo>
                  <a:cubicBezTo>
                    <a:pt x="130" y="1547"/>
                    <a:pt x="137" y="1533"/>
                    <a:pt x="134" y="1544"/>
                  </a:cubicBezTo>
                  <a:cubicBezTo>
                    <a:pt x="133" y="1548"/>
                    <a:pt x="134" y="1554"/>
                    <a:pt x="136" y="1556"/>
                  </a:cubicBezTo>
                  <a:cubicBezTo>
                    <a:pt x="138" y="1558"/>
                    <a:pt x="147" y="1560"/>
                    <a:pt x="147" y="1560"/>
                  </a:cubicBezTo>
                  <a:cubicBezTo>
                    <a:pt x="143" y="1574"/>
                    <a:pt x="117" y="1583"/>
                    <a:pt x="117" y="1594"/>
                  </a:cubicBezTo>
                  <a:cubicBezTo>
                    <a:pt x="117" y="1595"/>
                    <a:pt x="117" y="1597"/>
                    <a:pt x="118" y="1597"/>
                  </a:cubicBezTo>
                  <a:cubicBezTo>
                    <a:pt x="132" y="1604"/>
                    <a:pt x="138" y="1584"/>
                    <a:pt x="146" y="1583"/>
                  </a:cubicBezTo>
                  <a:cubicBezTo>
                    <a:pt x="152" y="1582"/>
                    <a:pt x="133" y="1600"/>
                    <a:pt x="139" y="1601"/>
                  </a:cubicBezTo>
                  <a:cubicBezTo>
                    <a:pt x="146" y="1602"/>
                    <a:pt x="151" y="1593"/>
                    <a:pt x="150" y="1589"/>
                  </a:cubicBezTo>
                  <a:cubicBezTo>
                    <a:pt x="149" y="1586"/>
                    <a:pt x="177" y="1580"/>
                    <a:pt x="173" y="1576"/>
                  </a:cubicBezTo>
                  <a:cubicBezTo>
                    <a:pt x="170" y="1574"/>
                    <a:pt x="168" y="1571"/>
                    <a:pt x="174" y="1570"/>
                  </a:cubicBezTo>
                  <a:cubicBezTo>
                    <a:pt x="178" y="1570"/>
                    <a:pt x="177" y="1564"/>
                    <a:pt x="179" y="1564"/>
                  </a:cubicBezTo>
                  <a:cubicBezTo>
                    <a:pt x="179" y="1565"/>
                    <a:pt x="179" y="1565"/>
                    <a:pt x="179" y="1565"/>
                  </a:cubicBezTo>
                  <a:cubicBezTo>
                    <a:pt x="180" y="1567"/>
                    <a:pt x="182" y="1565"/>
                    <a:pt x="184" y="1565"/>
                  </a:cubicBezTo>
                  <a:cubicBezTo>
                    <a:pt x="206" y="1560"/>
                    <a:pt x="184" y="1578"/>
                    <a:pt x="193" y="1579"/>
                  </a:cubicBezTo>
                  <a:cubicBezTo>
                    <a:pt x="194" y="1579"/>
                    <a:pt x="195" y="1579"/>
                    <a:pt x="196" y="1579"/>
                  </a:cubicBezTo>
                  <a:cubicBezTo>
                    <a:pt x="197" y="1579"/>
                    <a:pt x="197" y="1579"/>
                    <a:pt x="197" y="1579"/>
                  </a:cubicBezTo>
                  <a:cubicBezTo>
                    <a:pt x="198" y="1579"/>
                    <a:pt x="198" y="1579"/>
                    <a:pt x="198" y="1579"/>
                  </a:cubicBezTo>
                  <a:cubicBezTo>
                    <a:pt x="199" y="1579"/>
                    <a:pt x="199" y="1579"/>
                    <a:pt x="199" y="1579"/>
                  </a:cubicBezTo>
                  <a:cubicBezTo>
                    <a:pt x="207" y="1578"/>
                    <a:pt x="205" y="1567"/>
                    <a:pt x="211" y="1563"/>
                  </a:cubicBezTo>
                  <a:cubicBezTo>
                    <a:pt x="225" y="1553"/>
                    <a:pt x="237" y="1553"/>
                    <a:pt x="252" y="1549"/>
                  </a:cubicBezTo>
                  <a:cubicBezTo>
                    <a:pt x="253" y="1549"/>
                    <a:pt x="258" y="1544"/>
                    <a:pt x="258" y="1543"/>
                  </a:cubicBezTo>
                  <a:close/>
                  <a:moveTo>
                    <a:pt x="272" y="1768"/>
                  </a:moveTo>
                  <a:cubicBezTo>
                    <a:pt x="263" y="1768"/>
                    <a:pt x="267" y="1797"/>
                    <a:pt x="268" y="1790"/>
                  </a:cubicBezTo>
                  <a:cubicBezTo>
                    <a:pt x="268" y="1790"/>
                    <a:pt x="268" y="1790"/>
                    <a:pt x="268" y="1790"/>
                  </a:cubicBezTo>
                  <a:cubicBezTo>
                    <a:pt x="268" y="1787"/>
                    <a:pt x="275" y="1769"/>
                    <a:pt x="272" y="1768"/>
                  </a:cubicBezTo>
                  <a:close/>
                  <a:moveTo>
                    <a:pt x="277" y="1790"/>
                  </a:moveTo>
                  <a:cubicBezTo>
                    <a:pt x="277" y="1789"/>
                    <a:pt x="277" y="1789"/>
                    <a:pt x="277" y="1789"/>
                  </a:cubicBezTo>
                  <a:cubicBezTo>
                    <a:pt x="276" y="1786"/>
                    <a:pt x="282" y="1779"/>
                    <a:pt x="281" y="1777"/>
                  </a:cubicBezTo>
                  <a:cubicBezTo>
                    <a:pt x="279" y="1772"/>
                    <a:pt x="274" y="1781"/>
                    <a:pt x="273" y="1784"/>
                  </a:cubicBezTo>
                  <a:cubicBezTo>
                    <a:pt x="273" y="1793"/>
                    <a:pt x="278" y="1802"/>
                    <a:pt x="277" y="1790"/>
                  </a:cubicBezTo>
                  <a:close/>
                  <a:moveTo>
                    <a:pt x="280" y="1849"/>
                  </a:moveTo>
                  <a:cubicBezTo>
                    <a:pt x="284" y="1853"/>
                    <a:pt x="287" y="1842"/>
                    <a:pt x="289" y="1837"/>
                  </a:cubicBezTo>
                  <a:cubicBezTo>
                    <a:pt x="289" y="1837"/>
                    <a:pt x="289" y="1837"/>
                    <a:pt x="289" y="1837"/>
                  </a:cubicBezTo>
                  <a:cubicBezTo>
                    <a:pt x="300" y="1831"/>
                    <a:pt x="265" y="1835"/>
                    <a:pt x="280" y="1849"/>
                  </a:cubicBezTo>
                  <a:close/>
                  <a:moveTo>
                    <a:pt x="315" y="1910"/>
                  </a:moveTo>
                  <a:cubicBezTo>
                    <a:pt x="315" y="1907"/>
                    <a:pt x="312" y="1913"/>
                    <a:pt x="311" y="1909"/>
                  </a:cubicBezTo>
                  <a:cubicBezTo>
                    <a:pt x="311" y="1908"/>
                    <a:pt x="309" y="1909"/>
                    <a:pt x="307" y="1908"/>
                  </a:cubicBezTo>
                  <a:cubicBezTo>
                    <a:pt x="303" y="1905"/>
                    <a:pt x="305" y="1911"/>
                    <a:pt x="302" y="1912"/>
                  </a:cubicBezTo>
                  <a:cubicBezTo>
                    <a:pt x="299" y="1913"/>
                    <a:pt x="295" y="1907"/>
                    <a:pt x="294" y="1909"/>
                  </a:cubicBezTo>
                  <a:cubicBezTo>
                    <a:pt x="290" y="1919"/>
                    <a:pt x="316" y="1924"/>
                    <a:pt x="315" y="1910"/>
                  </a:cubicBezTo>
                  <a:close/>
                  <a:moveTo>
                    <a:pt x="339" y="1836"/>
                  </a:moveTo>
                  <a:cubicBezTo>
                    <a:pt x="334" y="1839"/>
                    <a:pt x="337" y="1831"/>
                    <a:pt x="332" y="1829"/>
                  </a:cubicBezTo>
                  <a:cubicBezTo>
                    <a:pt x="329" y="1827"/>
                    <a:pt x="332" y="1850"/>
                    <a:pt x="325" y="1835"/>
                  </a:cubicBezTo>
                  <a:cubicBezTo>
                    <a:pt x="324" y="1832"/>
                    <a:pt x="324" y="1829"/>
                    <a:pt x="323" y="1825"/>
                  </a:cubicBezTo>
                  <a:cubicBezTo>
                    <a:pt x="323" y="1825"/>
                    <a:pt x="323" y="1825"/>
                    <a:pt x="323" y="1825"/>
                  </a:cubicBezTo>
                  <a:cubicBezTo>
                    <a:pt x="319" y="1822"/>
                    <a:pt x="321" y="1829"/>
                    <a:pt x="322" y="1831"/>
                  </a:cubicBezTo>
                  <a:cubicBezTo>
                    <a:pt x="326" y="1843"/>
                    <a:pt x="330" y="1858"/>
                    <a:pt x="340" y="1855"/>
                  </a:cubicBezTo>
                  <a:cubicBezTo>
                    <a:pt x="340" y="1855"/>
                    <a:pt x="332" y="1841"/>
                    <a:pt x="341" y="1846"/>
                  </a:cubicBezTo>
                  <a:cubicBezTo>
                    <a:pt x="352" y="1851"/>
                    <a:pt x="340" y="1836"/>
                    <a:pt x="339" y="1836"/>
                  </a:cubicBezTo>
                  <a:close/>
                  <a:moveTo>
                    <a:pt x="334" y="1804"/>
                  </a:moveTo>
                  <a:cubicBezTo>
                    <a:pt x="341" y="1806"/>
                    <a:pt x="347" y="1794"/>
                    <a:pt x="338" y="1791"/>
                  </a:cubicBezTo>
                  <a:cubicBezTo>
                    <a:pt x="339" y="1790"/>
                    <a:pt x="339" y="1790"/>
                    <a:pt x="339" y="1790"/>
                  </a:cubicBezTo>
                  <a:cubicBezTo>
                    <a:pt x="342" y="1786"/>
                    <a:pt x="317" y="1797"/>
                    <a:pt x="334" y="1804"/>
                  </a:cubicBezTo>
                  <a:close/>
                  <a:moveTo>
                    <a:pt x="349" y="1599"/>
                  </a:moveTo>
                  <a:cubicBezTo>
                    <a:pt x="349" y="1599"/>
                    <a:pt x="349" y="1599"/>
                    <a:pt x="349" y="1599"/>
                  </a:cubicBezTo>
                  <a:cubicBezTo>
                    <a:pt x="349" y="1599"/>
                    <a:pt x="349" y="1599"/>
                    <a:pt x="349" y="1599"/>
                  </a:cubicBezTo>
                  <a:cubicBezTo>
                    <a:pt x="349" y="1599"/>
                    <a:pt x="349" y="1599"/>
                    <a:pt x="349" y="1599"/>
                  </a:cubicBezTo>
                  <a:cubicBezTo>
                    <a:pt x="348" y="1595"/>
                    <a:pt x="333" y="1597"/>
                    <a:pt x="334" y="1602"/>
                  </a:cubicBezTo>
                  <a:cubicBezTo>
                    <a:pt x="335" y="1607"/>
                    <a:pt x="347" y="1602"/>
                    <a:pt x="349" y="1599"/>
                  </a:cubicBezTo>
                  <a:close/>
                  <a:moveTo>
                    <a:pt x="354" y="1791"/>
                  </a:moveTo>
                  <a:cubicBezTo>
                    <a:pt x="354" y="1790"/>
                    <a:pt x="354" y="1790"/>
                    <a:pt x="354" y="1790"/>
                  </a:cubicBezTo>
                  <a:cubicBezTo>
                    <a:pt x="354" y="1784"/>
                    <a:pt x="347" y="1790"/>
                    <a:pt x="348" y="1791"/>
                  </a:cubicBezTo>
                  <a:cubicBezTo>
                    <a:pt x="350" y="1793"/>
                    <a:pt x="358" y="1796"/>
                    <a:pt x="354" y="1791"/>
                  </a:cubicBezTo>
                  <a:close/>
                  <a:moveTo>
                    <a:pt x="356" y="1577"/>
                  </a:moveTo>
                  <a:cubicBezTo>
                    <a:pt x="359" y="1570"/>
                    <a:pt x="346" y="1572"/>
                    <a:pt x="344" y="1568"/>
                  </a:cubicBezTo>
                  <a:cubicBezTo>
                    <a:pt x="342" y="1565"/>
                    <a:pt x="365" y="1522"/>
                    <a:pt x="350" y="1526"/>
                  </a:cubicBezTo>
                  <a:cubicBezTo>
                    <a:pt x="349" y="1526"/>
                    <a:pt x="350" y="1533"/>
                    <a:pt x="348" y="1535"/>
                  </a:cubicBezTo>
                  <a:cubicBezTo>
                    <a:pt x="335" y="1551"/>
                    <a:pt x="334" y="1544"/>
                    <a:pt x="317" y="1562"/>
                  </a:cubicBezTo>
                  <a:cubicBezTo>
                    <a:pt x="315" y="1564"/>
                    <a:pt x="288" y="1624"/>
                    <a:pt x="287" y="1632"/>
                  </a:cubicBezTo>
                  <a:cubicBezTo>
                    <a:pt x="287" y="1638"/>
                    <a:pt x="267" y="1681"/>
                    <a:pt x="286" y="1681"/>
                  </a:cubicBezTo>
                  <a:cubicBezTo>
                    <a:pt x="294" y="1681"/>
                    <a:pt x="296" y="1656"/>
                    <a:pt x="306" y="1650"/>
                  </a:cubicBezTo>
                  <a:cubicBezTo>
                    <a:pt x="307" y="1650"/>
                    <a:pt x="307" y="1650"/>
                    <a:pt x="307" y="1650"/>
                  </a:cubicBezTo>
                  <a:cubicBezTo>
                    <a:pt x="320" y="1634"/>
                    <a:pt x="317" y="1609"/>
                    <a:pt x="328" y="1596"/>
                  </a:cubicBezTo>
                  <a:cubicBezTo>
                    <a:pt x="336" y="1586"/>
                    <a:pt x="352" y="1587"/>
                    <a:pt x="356" y="1577"/>
                  </a:cubicBezTo>
                  <a:close/>
                  <a:moveTo>
                    <a:pt x="358" y="1764"/>
                  </a:moveTo>
                  <a:cubicBezTo>
                    <a:pt x="357" y="1763"/>
                    <a:pt x="357" y="1763"/>
                    <a:pt x="357" y="1763"/>
                  </a:cubicBezTo>
                  <a:cubicBezTo>
                    <a:pt x="356" y="1759"/>
                    <a:pt x="355" y="1783"/>
                    <a:pt x="361" y="1781"/>
                  </a:cubicBezTo>
                  <a:cubicBezTo>
                    <a:pt x="361" y="1781"/>
                    <a:pt x="359" y="1764"/>
                    <a:pt x="358" y="1764"/>
                  </a:cubicBezTo>
                  <a:close/>
                  <a:moveTo>
                    <a:pt x="371" y="1822"/>
                  </a:moveTo>
                  <a:cubicBezTo>
                    <a:pt x="371" y="1822"/>
                    <a:pt x="371" y="1822"/>
                    <a:pt x="371" y="1822"/>
                  </a:cubicBezTo>
                  <a:cubicBezTo>
                    <a:pt x="370" y="1820"/>
                    <a:pt x="369" y="1821"/>
                    <a:pt x="368" y="1822"/>
                  </a:cubicBezTo>
                  <a:cubicBezTo>
                    <a:pt x="366" y="1824"/>
                    <a:pt x="356" y="1818"/>
                    <a:pt x="365" y="1828"/>
                  </a:cubicBezTo>
                  <a:cubicBezTo>
                    <a:pt x="371" y="1833"/>
                    <a:pt x="374" y="1829"/>
                    <a:pt x="371" y="1822"/>
                  </a:cubicBezTo>
                  <a:close/>
                  <a:moveTo>
                    <a:pt x="390" y="1651"/>
                  </a:moveTo>
                  <a:cubicBezTo>
                    <a:pt x="390" y="1650"/>
                    <a:pt x="390" y="1650"/>
                    <a:pt x="390" y="1650"/>
                  </a:cubicBezTo>
                  <a:cubicBezTo>
                    <a:pt x="389" y="1644"/>
                    <a:pt x="386" y="1650"/>
                    <a:pt x="385" y="1648"/>
                  </a:cubicBezTo>
                  <a:cubicBezTo>
                    <a:pt x="376" y="1637"/>
                    <a:pt x="375" y="1646"/>
                    <a:pt x="368" y="1645"/>
                  </a:cubicBezTo>
                  <a:cubicBezTo>
                    <a:pt x="366" y="1644"/>
                    <a:pt x="363" y="1646"/>
                    <a:pt x="362" y="1643"/>
                  </a:cubicBezTo>
                  <a:cubicBezTo>
                    <a:pt x="362" y="1641"/>
                    <a:pt x="359" y="1625"/>
                    <a:pt x="359" y="1634"/>
                  </a:cubicBezTo>
                  <a:cubicBezTo>
                    <a:pt x="360" y="1638"/>
                    <a:pt x="357" y="1641"/>
                    <a:pt x="357" y="1641"/>
                  </a:cubicBezTo>
                  <a:cubicBezTo>
                    <a:pt x="358" y="1645"/>
                    <a:pt x="372" y="1663"/>
                    <a:pt x="375" y="1663"/>
                  </a:cubicBezTo>
                  <a:cubicBezTo>
                    <a:pt x="375" y="1663"/>
                    <a:pt x="375" y="1649"/>
                    <a:pt x="379" y="1651"/>
                  </a:cubicBezTo>
                  <a:cubicBezTo>
                    <a:pt x="381" y="1652"/>
                    <a:pt x="385" y="1669"/>
                    <a:pt x="389" y="1666"/>
                  </a:cubicBezTo>
                  <a:cubicBezTo>
                    <a:pt x="394" y="1663"/>
                    <a:pt x="381" y="1651"/>
                    <a:pt x="386" y="1652"/>
                  </a:cubicBezTo>
                  <a:cubicBezTo>
                    <a:pt x="389" y="1652"/>
                    <a:pt x="393" y="1662"/>
                    <a:pt x="390" y="1651"/>
                  </a:cubicBezTo>
                  <a:close/>
                  <a:moveTo>
                    <a:pt x="405" y="1500"/>
                  </a:moveTo>
                  <a:cubicBezTo>
                    <a:pt x="405" y="1500"/>
                    <a:pt x="405" y="1500"/>
                    <a:pt x="405" y="1500"/>
                  </a:cubicBezTo>
                  <a:cubicBezTo>
                    <a:pt x="384" y="1500"/>
                    <a:pt x="406" y="1516"/>
                    <a:pt x="405" y="1500"/>
                  </a:cubicBezTo>
                  <a:close/>
                  <a:moveTo>
                    <a:pt x="425" y="1579"/>
                  </a:moveTo>
                  <a:cubicBezTo>
                    <a:pt x="427" y="1577"/>
                    <a:pt x="455" y="1576"/>
                    <a:pt x="433" y="1575"/>
                  </a:cubicBezTo>
                  <a:cubicBezTo>
                    <a:pt x="426" y="1575"/>
                    <a:pt x="420" y="1574"/>
                    <a:pt x="413" y="1574"/>
                  </a:cubicBezTo>
                  <a:cubicBezTo>
                    <a:pt x="413" y="1574"/>
                    <a:pt x="413" y="1574"/>
                    <a:pt x="413" y="1574"/>
                  </a:cubicBezTo>
                  <a:cubicBezTo>
                    <a:pt x="394" y="1582"/>
                    <a:pt x="412" y="1589"/>
                    <a:pt x="425" y="1579"/>
                  </a:cubicBezTo>
                  <a:close/>
                  <a:moveTo>
                    <a:pt x="433" y="1518"/>
                  </a:moveTo>
                  <a:cubicBezTo>
                    <a:pt x="427" y="1518"/>
                    <a:pt x="440" y="1520"/>
                    <a:pt x="441" y="1520"/>
                  </a:cubicBezTo>
                  <a:cubicBezTo>
                    <a:pt x="460" y="1523"/>
                    <a:pt x="447" y="1516"/>
                    <a:pt x="435" y="1509"/>
                  </a:cubicBezTo>
                  <a:cubicBezTo>
                    <a:pt x="434" y="1509"/>
                    <a:pt x="434" y="1509"/>
                    <a:pt x="434" y="1509"/>
                  </a:cubicBezTo>
                  <a:cubicBezTo>
                    <a:pt x="416" y="1506"/>
                    <a:pt x="448" y="1518"/>
                    <a:pt x="433" y="1518"/>
                  </a:cubicBezTo>
                  <a:close/>
                  <a:moveTo>
                    <a:pt x="447" y="1650"/>
                  </a:moveTo>
                  <a:cubicBezTo>
                    <a:pt x="447" y="1650"/>
                    <a:pt x="447" y="1650"/>
                    <a:pt x="447" y="1650"/>
                  </a:cubicBezTo>
                  <a:cubicBezTo>
                    <a:pt x="442" y="1646"/>
                    <a:pt x="435" y="1650"/>
                    <a:pt x="433" y="1647"/>
                  </a:cubicBezTo>
                  <a:cubicBezTo>
                    <a:pt x="431" y="1645"/>
                    <a:pt x="431" y="1645"/>
                    <a:pt x="428" y="1647"/>
                  </a:cubicBezTo>
                  <a:cubicBezTo>
                    <a:pt x="422" y="1651"/>
                    <a:pt x="437" y="1668"/>
                    <a:pt x="441" y="1659"/>
                  </a:cubicBezTo>
                  <a:cubicBezTo>
                    <a:pt x="443" y="1654"/>
                    <a:pt x="420" y="1652"/>
                    <a:pt x="440" y="1650"/>
                  </a:cubicBezTo>
                  <a:cubicBezTo>
                    <a:pt x="443" y="1650"/>
                    <a:pt x="445" y="1651"/>
                    <a:pt x="447" y="1650"/>
                  </a:cubicBezTo>
                  <a:close/>
                  <a:moveTo>
                    <a:pt x="442" y="1555"/>
                  </a:moveTo>
                  <a:cubicBezTo>
                    <a:pt x="442" y="1554"/>
                    <a:pt x="442" y="1554"/>
                    <a:pt x="442" y="1554"/>
                  </a:cubicBezTo>
                  <a:cubicBezTo>
                    <a:pt x="438" y="1552"/>
                    <a:pt x="430" y="1566"/>
                    <a:pt x="441" y="1567"/>
                  </a:cubicBezTo>
                  <a:cubicBezTo>
                    <a:pt x="459" y="1568"/>
                    <a:pt x="452" y="1563"/>
                    <a:pt x="442" y="1555"/>
                  </a:cubicBezTo>
                  <a:close/>
                  <a:moveTo>
                    <a:pt x="490" y="1525"/>
                  </a:moveTo>
                  <a:cubicBezTo>
                    <a:pt x="503" y="1535"/>
                    <a:pt x="490" y="1533"/>
                    <a:pt x="500" y="1537"/>
                  </a:cubicBezTo>
                  <a:cubicBezTo>
                    <a:pt x="502" y="1537"/>
                    <a:pt x="510" y="1541"/>
                    <a:pt x="511" y="1539"/>
                  </a:cubicBezTo>
                  <a:cubicBezTo>
                    <a:pt x="511" y="1539"/>
                    <a:pt x="504" y="1535"/>
                    <a:pt x="504" y="1534"/>
                  </a:cubicBezTo>
                  <a:cubicBezTo>
                    <a:pt x="502" y="1526"/>
                    <a:pt x="500" y="1524"/>
                    <a:pt x="497" y="1523"/>
                  </a:cubicBezTo>
                  <a:cubicBezTo>
                    <a:pt x="497" y="1523"/>
                    <a:pt x="497" y="1523"/>
                    <a:pt x="497" y="1523"/>
                  </a:cubicBezTo>
                  <a:cubicBezTo>
                    <a:pt x="494" y="1524"/>
                    <a:pt x="483" y="1521"/>
                    <a:pt x="490" y="1525"/>
                  </a:cubicBezTo>
                  <a:close/>
                  <a:moveTo>
                    <a:pt x="447" y="1468"/>
                  </a:moveTo>
                  <a:cubicBezTo>
                    <a:pt x="446" y="1469"/>
                    <a:pt x="446" y="1469"/>
                    <a:pt x="446" y="1469"/>
                  </a:cubicBezTo>
                  <a:cubicBezTo>
                    <a:pt x="432" y="1469"/>
                    <a:pt x="430" y="1469"/>
                    <a:pt x="424" y="1466"/>
                  </a:cubicBezTo>
                  <a:cubicBezTo>
                    <a:pt x="414" y="1460"/>
                    <a:pt x="406" y="1467"/>
                    <a:pt x="398" y="1469"/>
                  </a:cubicBezTo>
                  <a:cubicBezTo>
                    <a:pt x="395" y="1469"/>
                    <a:pt x="379" y="1465"/>
                    <a:pt x="378" y="1468"/>
                  </a:cubicBezTo>
                  <a:cubicBezTo>
                    <a:pt x="377" y="1472"/>
                    <a:pt x="384" y="1470"/>
                    <a:pt x="385" y="1470"/>
                  </a:cubicBezTo>
                  <a:cubicBezTo>
                    <a:pt x="388" y="1471"/>
                    <a:pt x="407" y="1471"/>
                    <a:pt x="407" y="1471"/>
                  </a:cubicBezTo>
                  <a:cubicBezTo>
                    <a:pt x="411" y="1472"/>
                    <a:pt x="404" y="1473"/>
                    <a:pt x="406" y="1476"/>
                  </a:cubicBezTo>
                  <a:cubicBezTo>
                    <a:pt x="409" y="1478"/>
                    <a:pt x="413" y="1475"/>
                    <a:pt x="415" y="1477"/>
                  </a:cubicBezTo>
                  <a:cubicBezTo>
                    <a:pt x="416" y="1478"/>
                    <a:pt x="403" y="1491"/>
                    <a:pt x="423" y="1489"/>
                  </a:cubicBezTo>
                  <a:cubicBezTo>
                    <a:pt x="440" y="1487"/>
                    <a:pt x="432" y="1483"/>
                    <a:pt x="442" y="1479"/>
                  </a:cubicBezTo>
                  <a:cubicBezTo>
                    <a:pt x="448" y="1476"/>
                    <a:pt x="483" y="1473"/>
                    <a:pt x="485" y="1465"/>
                  </a:cubicBezTo>
                  <a:cubicBezTo>
                    <a:pt x="485" y="1464"/>
                    <a:pt x="481" y="1466"/>
                    <a:pt x="479" y="1467"/>
                  </a:cubicBezTo>
                  <a:cubicBezTo>
                    <a:pt x="472" y="1470"/>
                    <a:pt x="452" y="1466"/>
                    <a:pt x="447" y="1468"/>
                  </a:cubicBezTo>
                  <a:close/>
                  <a:moveTo>
                    <a:pt x="447" y="1374"/>
                  </a:moveTo>
                  <a:cubicBezTo>
                    <a:pt x="447" y="1373"/>
                    <a:pt x="447" y="1373"/>
                    <a:pt x="447" y="1373"/>
                  </a:cubicBezTo>
                  <a:cubicBezTo>
                    <a:pt x="448" y="1370"/>
                    <a:pt x="443" y="1371"/>
                    <a:pt x="442" y="1371"/>
                  </a:cubicBezTo>
                  <a:cubicBezTo>
                    <a:pt x="434" y="1372"/>
                    <a:pt x="440" y="1374"/>
                    <a:pt x="440" y="1374"/>
                  </a:cubicBezTo>
                  <a:cubicBezTo>
                    <a:pt x="437" y="1376"/>
                    <a:pt x="441" y="1377"/>
                    <a:pt x="443" y="1378"/>
                  </a:cubicBezTo>
                  <a:cubicBezTo>
                    <a:pt x="450" y="1384"/>
                    <a:pt x="446" y="1378"/>
                    <a:pt x="447" y="1374"/>
                  </a:cubicBezTo>
                  <a:close/>
                  <a:moveTo>
                    <a:pt x="447" y="1077"/>
                  </a:moveTo>
                  <a:cubicBezTo>
                    <a:pt x="446" y="1077"/>
                    <a:pt x="446" y="1077"/>
                    <a:pt x="446" y="1077"/>
                  </a:cubicBezTo>
                  <a:cubicBezTo>
                    <a:pt x="436" y="1065"/>
                    <a:pt x="445" y="1079"/>
                    <a:pt x="439" y="1076"/>
                  </a:cubicBezTo>
                  <a:cubicBezTo>
                    <a:pt x="438" y="1075"/>
                    <a:pt x="433" y="1074"/>
                    <a:pt x="432" y="1076"/>
                  </a:cubicBezTo>
                  <a:cubicBezTo>
                    <a:pt x="432" y="1077"/>
                    <a:pt x="435" y="1079"/>
                    <a:pt x="436" y="1080"/>
                  </a:cubicBezTo>
                  <a:cubicBezTo>
                    <a:pt x="439" y="1083"/>
                    <a:pt x="449" y="1080"/>
                    <a:pt x="449" y="1080"/>
                  </a:cubicBezTo>
                  <a:cubicBezTo>
                    <a:pt x="449" y="1078"/>
                    <a:pt x="451" y="1078"/>
                    <a:pt x="447" y="1077"/>
                  </a:cubicBezTo>
                  <a:close/>
                  <a:moveTo>
                    <a:pt x="470" y="672"/>
                  </a:moveTo>
                  <a:cubicBezTo>
                    <a:pt x="473" y="675"/>
                    <a:pt x="473" y="680"/>
                    <a:pt x="477" y="683"/>
                  </a:cubicBezTo>
                  <a:cubicBezTo>
                    <a:pt x="489" y="692"/>
                    <a:pt x="466" y="668"/>
                    <a:pt x="486" y="680"/>
                  </a:cubicBezTo>
                  <a:cubicBezTo>
                    <a:pt x="494" y="685"/>
                    <a:pt x="504" y="691"/>
                    <a:pt x="511" y="699"/>
                  </a:cubicBezTo>
                  <a:cubicBezTo>
                    <a:pt x="512" y="700"/>
                    <a:pt x="514" y="709"/>
                    <a:pt x="515" y="709"/>
                  </a:cubicBezTo>
                  <a:cubicBezTo>
                    <a:pt x="516" y="708"/>
                    <a:pt x="517" y="706"/>
                    <a:pt x="517" y="705"/>
                  </a:cubicBezTo>
                  <a:cubicBezTo>
                    <a:pt x="515" y="700"/>
                    <a:pt x="509" y="686"/>
                    <a:pt x="502" y="683"/>
                  </a:cubicBezTo>
                  <a:cubicBezTo>
                    <a:pt x="493" y="680"/>
                    <a:pt x="442" y="653"/>
                    <a:pt x="440" y="641"/>
                  </a:cubicBezTo>
                  <a:cubicBezTo>
                    <a:pt x="440" y="640"/>
                    <a:pt x="440" y="640"/>
                    <a:pt x="440" y="640"/>
                  </a:cubicBezTo>
                  <a:cubicBezTo>
                    <a:pt x="435" y="635"/>
                    <a:pt x="442" y="649"/>
                    <a:pt x="443" y="650"/>
                  </a:cubicBezTo>
                  <a:cubicBezTo>
                    <a:pt x="449" y="660"/>
                    <a:pt x="460" y="664"/>
                    <a:pt x="470" y="672"/>
                  </a:cubicBezTo>
                  <a:close/>
                  <a:moveTo>
                    <a:pt x="512" y="1088"/>
                  </a:moveTo>
                  <a:cubicBezTo>
                    <a:pt x="512" y="1088"/>
                    <a:pt x="512" y="1088"/>
                    <a:pt x="512" y="1088"/>
                  </a:cubicBezTo>
                  <a:cubicBezTo>
                    <a:pt x="509" y="1088"/>
                    <a:pt x="505" y="1088"/>
                    <a:pt x="502" y="1089"/>
                  </a:cubicBezTo>
                  <a:cubicBezTo>
                    <a:pt x="489" y="1091"/>
                    <a:pt x="540" y="1116"/>
                    <a:pt x="512" y="1088"/>
                  </a:cubicBezTo>
                  <a:close/>
                  <a:moveTo>
                    <a:pt x="515" y="1109"/>
                  </a:moveTo>
                  <a:cubicBezTo>
                    <a:pt x="520" y="1112"/>
                    <a:pt x="512" y="1101"/>
                    <a:pt x="504" y="1098"/>
                  </a:cubicBezTo>
                  <a:cubicBezTo>
                    <a:pt x="504" y="1098"/>
                    <a:pt x="504" y="1098"/>
                    <a:pt x="504" y="1098"/>
                  </a:cubicBezTo>
                  <a:cubicBezTo>
                    <a:pt x="496" y="1098"/>
                    <a:pt x="509" y="1105"/>
                    <a:pt x="503" y="1104"/>
                  </a:cubicBezTo>
                  <a:cubicBezTo>
                    <a:pt x="493" y="1103"/>
                    <a:pt x="512" y="1108"/>
                    <a:pt x="515" y="1109"/>
                  </a:cubicBezTo>
                  <a:close/>
                  <a:moveTo>
                    <a:pt x="501" y="1285"/>
                  </a:moveTo>
                  <a:cubicBezTo>
                    <a:pt x="506" y="1290"/>
                    <a:pt x="526" y="1290"/>
                    <a:pt x="527" y="1279"/>
                  </a:cubicBezTo>
                  <a:cubicBezTo>
                    <a:pt x="527" y="1279"/>
                    <a:pt x="527" y="1279"/>
                    <a:pt x="527" y="1279"/>
                  </a:cubicBezTo>
                  <a:cubicBezTo>
                    <a:pt x="528" y="1278"/>
                    <a:pt x="498" y="1282"/>
                    <a:pt x="501" y="1285"/>
                  </a:cubicBezTo>
                  <a:close/>
                  <a:moveTo>
                    <a:pt x="527" y="811"/>
                  </a:moveTo>
                  <a:cubicBezTo>
                    <a:pt x="527" y="811"/>
                    <a:pt x="527" y="811"/>
                    <a:pt x="527" y="811"/>
                  </a:cubicBezTo>
                  <a:cubicBezTo>
                    <a:pt x="526" y="809"/>
                    <a:pt x="526" y="815"/>
                    <a:pt x="525" y="817"/>
                  </a:cubicBezTo>
                  <a:cubicBezTo>
                    <a:pt x="522" y="821"/>
                    <a:pt x="511" y="808"/>
                    <a:pt x="511" y="812"/>
                  </a:cubicBezTo>
                  <a:cubicBezTo>
                    <a:pt x="508" y="825"/>
                    <a:pt x="546" y="827"/>
                    <a:pt x="527" y="811"/>
                  </a:cubicBezTo>
                  <a:close/>
                  <a:moveTo>
                    <a:pt x="476" y="1124"/>
                  </a:moveTo>
                  <a:cubicBezTo>
                    <a:pt x="476" y="1124"/>
                    <a:pt x="476" y="1124"/>
                    <a:pt x="476" y="1124"/>
                  </a:cubicBezTo>
                  <a:cubicBezTo>
                    <a:pt x="476" y="1122"/>
                    <a:pt x="474" y="1118"/>
                    <a:pt x="473" y="1122"/>
                  </a:cubicBezTo>
                  <a:cubicBezTo>
                    <a:pt x="473" y="1126"/>
                    <a:pt x="462" y="1120"/>
                    <a:pt x="462" y="1124"/>
                  </a:cubicBezTo>
                  <a:cubicBezTo>
                    <a:pt x="462" y="1129"/>
                    <a:pt x="469" y="1128"/>
                    <a:pt x="472" y="1128"/>
                  </a:cubicBezTo>
                  <a:cubicBezTo>
                    <a:pt x="476" y="1130"/>
                    <a:pt x="479" y="1146"/>
                    <a:pt x="482" y="1144"/>
                  </a:cubicBezTo>
                  <a:cubicBezTo>
                    <a:pt x="485" y="1143"/>
                    <a:pt x="476" y="1127"/>
                    <a:pt x="476" y="1124"/>
                  </a:cubicBezTo>
                  <a:close/>
                  <a:moveTo>
                    <a:pt x="499" y="976"/>
                  </a:moveTo>
                  <a:cubicBezTo>
                    <a:pt x="500" y="976"/>
                    <a:pt x="514" y="989"/>
                    <a:pt x="515" y="987"/>
                  </a:cubicBezTo>
                  <a:cubicBezTo>
                    <a:pt x="519" y="982"/>
                    <a:pt x="488" y="970"/>
                    <a:pt x="488" y="970"/>
                  </a:cubicBezTo>
                  <a:cubicBezTo>
                    <a:pt x="488" y="970"/>
                    <a:pt x="488" y="970"/>
                    <a:pt x="488" y="970"/>
                  </a:cubicBezTo>
                  <a:cubicBezTo>
                    <a:pt x="481" y="968"/>
                    <a:pt x="472" y="966"/>
                    <a:pt x="472" y="967"/>
                  </a:cubicBezTo>
                  <a:cubicBezTo>
                    <a:pt x="474" y="978"/>
                    <a:pt x="493" y="972"/>
                    <a:pt x="499" y="976"/>
                  </a:cubicBezTo>
                  <a:close/>
                  <a:moveTo>
                    <a:pt x="558" y="1344"/>
                  </a:moveTo>
                  <a:cubicBezTo>
                    <a:pt x="557" y="1347"/>
                    <a:pt x="573" y="1347"/>
                    <a:pt x="573" y="1343"/>
                  </a:cubicBezTo>
                  <a:cubicBezTo>
                    <a:pt x="573" y="1343"/>
                    <a:pt x="573" y="1343"/>
                    <a:pt x="573" y="1343"/>
                  </a:cubicBezTo>
                  <a:cubicBezTo>
                    <a:pt x="577" y="1339"/>
                    <a:pt x="560" y="1340"/>
                    <a:pt x="558" y="1344"/>
                  </a:cubicBezTo>
                  <a:close/>
                  <a:moveTo>
                    <a:pt x="517" y="1327"/>
                  </a:moveTo>
                  <a:cubicBezTo>
                    <a:pt x="513" y="1329"/>
                    <a:pt x="518" y="1337"/>
                    <a:pt x="514" y="1339"/>
                  </a:cubicBezTo>
                  <a:cubicBezTo>
                    <a:pt x="511" y="1340"/>
                    <a:pt x="489" y="1340"/>
                    <a:pt x="489" y="1340"/>
                  </a:cubicBezTo>
                  <a:cubicBezTo>
                    <a:pt x="489" y="1347"/>
                    <a:pt x="510" y="1338"/>
                    <a:pt x="516" y="1342"/>
                  </a:cubicBezTo>
                  <a:cubicBezTo>
                    <a:pt x="528" y="1349"/>
                    <a:pt x="515" y="1335"/>
                    <a:pt x="523" y="1328"/>
                  </a:cubicBezTo>
                  <a:cubicBezTo>
                    <a:pt x="527" y="1325"/>
                    <a:pt x="534" y="1329"/>
                    <a:pt x="536" y="1327"/>
                  </a:cubicBezTo>
                  <a:cubicBezTo>
                    <a:pt x="537" y="1327"/>
                    <a:pt x="537" y="1327"/>
                    <a:pt x="537" y="1327"/>
                  </a:cubicBezTo>
                  <a:cubicBezTo>
                    <a:pt x="539" y="1325"/>
                    <a:pt x="538" y="1319"/>
                    <a:pt x="541" y="1317"/>
                  </a:cubicBezTo>
                  <a:cubicBezTo>
                    <a:pt x="550" y="1311"/>
                    <a:pt x="543" y="1323"/>
                    <a:pt x="548" y="1321"/>
                  </a:cubicBezTo>
                  <a:cubicBezTo>
                    <a:pt x="553" y="1320"/>
                    <a:pt x="568" y="1308"/>
                    <a:pt x="572" y="1303"/>
                  </a:cubicBezTo>
                  <a:cubicBezTo>
                    <a:pt x="579" y="1291"/>
                    <a:pt x="562" y="1290"/>
                    <a:pt x="570" y="1298"/>
                  </a:cubicBezTo>
                  <a:cubicBezTo>
                    <a:pt x="570" y="1298"/>
                    <a:pt x="571" y="1299"/>
                    <a:pt x="571" y="1299"/>
                  </a:cubicBezTo>
                  <a:cubicBezTo>
                    <a:pt x="572" y="1301"/>
                    <a:pt x="548" y="1308"/>
                    <a:pt x="547" y="1309"/>
                  </a:cubicBezTo>
                  <a:cubicBezTo>
                    <a:pt x="544" y="1317"/>
                    <a:pt x="525" y="1321"/>
                    <a:pt x="517" y="1327"/>
                  </a:cubicBezTo>
                  <a:close/>
                  <a:moveTo>
                    <a:pt x="551" y="929"/>
                  </a:moveTo>
                  <a:cubicBezTo>
                    <a:pt x="550" y="928"/>
                    <a:pt x="550" y="928"/>
                    <a:pt x="550" y="928"/>
                  </a:cubicBezTo>
                  <a:cubicBezTo>
                    <a:pt x="549" y="927"/>
                    <a:pt x="530" y="909"/>
                    <a:pt x="528" y="916"/>
                  </a:cubicBezTo>
                  <a:cubicBezTo>
                    <a:pt x="528" y="917"/>
                    <a:pt x="554" y="935"/>
                    <a:pt x="551" y="929"/>
                  </a:cubicBezTo>
                  <a:close/>
                  <a:moveTo>
                    <a:pt x="543" y="614"/>
                  </a:moveTo>
                  <a:cubicBezTo>
                    <a:pt x="542" y="612"/>
                    <a:pt x="546" y="615"/>
                    <a:pt x="544" y="611"/>
                  </a:cubicBezTo>
                  <a:cubicBezTo>
                    <a:pt x="543" y="607"/>
                    <a:pt x="539" y="602"/>
                    <a:pt x="536" y="600"/>
                  </a:cubicBezTo>
                  <a:cubicBezTo>
                    <a:pt x="532" y="596"/>
                    <a:pt x="507" y="579"/>
                    <a:pt x="503" y="580"/>
                  </a:cubicBezTo>
                  <a:cubicBezTo>
                    <a:pt x="502" y="580"/>
                    <a:pt x="513" y="593"/>
                    <a:pt x="501" y="586"/>
                  </a:cubicBezTo>
                  <a:cubicBezTo>
                    <a:pt x="493" y="581"/>
                    <a:pt x="502" y="578"/>
                    <a:pt x="492" y="572"/>
                  </a:cubicBezTo>
                  <a:cubicBezTo>
                    <a:pt x="488" y="569"/>
                    <a:pt x="482" y="571"/>
                    <a:pt x="478" y="569"/>
                  </a:cubicBezTo>
                  <a:cubicBezTo>
                    <a:pt x="477" y="568"/>
                    <a:pt x="470" y="564"/>
                    <a:pt x="470" y="564"/>
                  </a:cubicBezTo>
                  <a:cubicBezTo>
                    <a:pt x="467" y="565"/>
                    <a:pt x="475" y="570"/>
                    <a:pt x="475" y="570"/>
                  </a:cubicBezTo>
                  <a:cubicBezTo>
                    <a:pt x="478" y="574"/>
                    <a:pt x="492" y="575"/>
                    <a:pt x="493" y="579"/>
                  </a:cubicBezTo>
                  <a:cubicBezTo>
                    <a:pt x="494" y="580"/>
                    <a:pt x="491" y="586"/>
                    <a:pt x="492" y="589"/>
                  </a:cubicBezTo>
                  <a:cubicBezTo>
                    <a:pt x="492" y="592"/>
                    <a:pt x="498" y="590"/>
                    <a:pt x="501" y="591"/>
                  </a:cubicBezTo>
                  <a:cubicBezTo>
                    <a:pt x="505" y="592"/>
                    <a:pt x="506" y="596"/>
                    <a:pt x="508" y="599"/>
                  </a:cubicBezTo>
                  <a:cubicBezTo>
                    <a:pt x="515" y="604"/>
                    <a:pt x="525" y="598"/>
                    <a:pt x="541" y="617"/>
                  </a:cubicBezTo>
                  <a:cubicBezTo>
                    <a:pt x="542" y="617"/>
                    <a:pt x="542" y="617"/>
                    <a:pt x="542" y="617"/>
                  </a:cubicBezTo>
                  <a:cubicBezTo>
                    <a:pt x="543" y="620"/>
                    <a:pt x="556" y="625"/>
                    <a:pt x="558" y="621"/>
                  </a:cubicBezTo>
                  <a:cubicBezTo>
                    <a:pt x="559" y="615"/>
                    <a:pt x="546" y="619"/>
                    <a:pt x="543" y="614"/>
                  </a:cubicBezTo>
                  <a:close/>
                  <a:moveTo>
                    <a:pt x="577" y="531"/>
                  </a:moveTo>
                  <a:cubicBezTo>
                    <a:pt x="571" y="525"/>
                    <a:pt x="534" y="507"/>
                    <a:pt x="525" y="507"/>
                  </a:cubicBezTo>
                  <a:cubicBezTo>
                    <a:pt x="524" y="507"/>
                    <a:pt x="524" y="507"/>
                    <a:pt x="523" y="507"/>
                  </a:cubicBezTo>
                  <a:cubicBezTo>
                    <a:pt x="523" y="507"/>
                    <a:pt x="531" y="510"/>
                    <a:pt x="531" y="510"/>
                  </a:cubicBezTo>
                  <a:cubicBezTo>
                    <a:pt x="533" y="511"/>
                    <a:pt x="541" y="517"/>
                    <a:pt x="543" y="519"/>
                  </a:cubicBezTo>
                  <a:cubicBezTo>
                    <a:pt x="549" y="528"/>
                    <a:pt x="558" y="523"/>
                    <a:pt x="573" y="532"/>
                  </a:cubicBezTo>
                  <a:cubicBezTo>
                    <a:pt x="576" y="534"/>
                    <a:pt x="571" y="538"/>
                    <a:pt x="577" y="542"/>
                  </a:cubicBezTo>
                  <a:cubicBezTo>
                    <a:pt x="577" y="543"/>
                    <a:pt x="577" y="543"/>
                    <a:pt x="577" y="543"/>
                  </a:cubicBezTo>
                  <a:cubicBezTo>
                    <a:pt x="582" y="546"/>
                    <a:pt x="579" y="533"/>
                    <a:pt x="577" y="531"/>
                  </a:cubicBezTo>
                  <a:close/>
                  <a:moveTo>
                    <a:pt x="658" y="519"/>
                  </a:moveTo>
                  <a:cubicBezTo>
                    <a:pt x="656" y="515"/>
                    <a:pt x="632" y="509"/>
                    <a:pt x="618" y="490"/>
                  </a:cubicBezTo>
                  <a:cubicBezTo>
                    <a:pt x="617" y="489"/>
                    <a:pt x="622" y="480"/>
                    <a:pt x="622" y="479"/>
                  </a:cubicBezTo>
                  <a:cubicBezTo>
                    <a:pt x="623" y="476"/>
                    <a:pt x="613" y="472"/>
                    <a:pt x="618" y="469"/>
                  </a:cubicBezTo>
                  <a:cubicBezTo>
                    <a:pt x="621" y="467"/>
                    <a:pt x="637" y="473"/>
                    <a:pt x="635" y="468"/>
                  </a:cubicBezTo>
                  <a:cubicBezTo>
                    <a:pt x="635" y="467"/>
                    <a:pt x="634" y="467"/>
                    <a:pt x="634" y="466"/>
                  </a:cubicBezTo>
                  <a:cubicBezTo>
                    <a:pt x="628" y="459"/>
                    <a:pt x="618" y="463"/>
                    <a:pt x="609" y="454"/>
                  </a:cubicBezTo>
                  <a:cubicBezTo>
                    <a:pt x="609" y="453"/>
                    <a:pt x="608" y="453"/>
                    <a:pt x="608" y="453"/>
                  </a:cubicBezTo>
                  <a:cubicBezTo>
                    <a:pt x="602" y="451"/>
                    <a:pt x="612" y="452"/>
                    <a:pt x="612" y="451"/>
                  </a:cubicBezTo>
                  <a:cubicBezTo>
                    <a:pt x="613" y="443"/>
                    <a:pt x="594" y="450"/>
                    <a:pt x="590" y="443"/>
                  </a:cubicBezTo>
                  <a:cubicBezTo>
                    <a:pt x="582" y="433"/>
                    <a:pt x="538" y="400"/>
                    <a:pt x="529" y="412"/>
                  </a:cubicBezTo>
                  <a:cubicBezTo>
                    <a:pt x="528" y="413"/>
                    <a:pt x="542" y="415"/>
                    <a:pt x="539" y="416"/>
                  </a:cubicBezTo>
                  <a:cubicBezTo>
                    <a:pt x="530" y="419"/>
                    <a:pt x="556" y="420"/>
                    <a:pt x="563" y="428"/>
                  </a:cubicBezTo>
                  <a:cubicBezTo>
                    <a:pt x="567" y="434"/>
                    <a:pt x="579" y="434"/>
                    <a:pt x="579" y="441"/>
                  </a:cubicBezTo>
                  <a:cubicBezTo>
                    <a:pt x="579" y="441"/>
                    <a:pt x="566" y="441"/>
                    <a:pt x="567" y="442"/>
                  </a:cubicBezTo>
                  <a:cubicBezTo>
                    <a:pt x="582" y="453"/>
                    <a:pt x="602" y="450"/>
                    <a:pt x="612" y="466"/>
                  </a:cubicBezTo>
                  <a:cubicBezTo>
                    <a:pt x="612" y="466"/>
                    <a:pt x="612" y="467"/>
                    <a:pt x="612" y="467"/>
                  </a:cubicBezTo>
                  <a:cubicBezTo>
                    <a:pt x="611" y="467"/>
                    <a:pt x="611" y="467"/>
                    <a:pt x="610" y="467"/>
                  </a:cubicBezTo>
                  <a:cubicBezTo>
                    <a:pt x="604" y="466"/>
                    <a:pt x="606" y="476"/>
                    <a:pt x="601" y="467"/>
                  </a:cubicBezTo>
                  <a:cubicBezTo>
                    <a:pt x="601" y="466"/>
                    <a:pt x="599" y="463"/>
                    <a:pt x="597" y="464"/>
                  </a:cubicBezTo>
                  <a:cubicBezTo>
                    <a:pt x="597" y="465"/>
                    <a:pt x="598" y="471"/>
                    <a:pt x="595" y="470"/>
                  </a:cubicBezTo>
                  <a:cubicBezTo>
                    <a:pt x="592" y="470"/>
                    <a:pt x="590" y="463"/>
                    <a:pt x="587" y="462"/>
                  </a:cubicBezTo>
                  <a:cubicBezTo>
                    <a:pt x="586" y="462"/>
                    <a:pt x="584" y="460"/>
                    <a:pt x="584" y="460"/>
                  </a:cubicBezTo>
                  <a:cubicBezTo>
                    <a:pt x="580" y="461"/>
                    <a:pt x="587" y="473"/>
                    <a:pt x="585" y="470"/>
                  </a:cubicBezTo>
                  <a:cubicBezTo>
                    <a:pt x="583" y="466"/>
                    <a:pt x="579" y="456"/>
                    <a:pt x="573" y="462"/>
                  </a:cubicBezTo>
                  <a:cubicBezTo>
                    <a:pt x="571" y="465"/>
                    <a:pt x="564" y="459"/>
                    <a:pt x="563" y="461"/>
                  </a:cubicBezTo>
                  <a:cubicBezTo>
                    <a:pt x="562" y="464"/>
                    <a:pt x="567" y="464"/>
                    <a:pt x="565" y="466"/>
                  </a:cubicBezTo>
                  <a:cubicBezTo>
                    <a:pt x="564" y="468"/>
                    <a:pt x="570" y="477"/>
                    <a:pt x="570" y="477"/>
                  </a:cubicBezTo>
                  <a:cubicBezTo>
                    <a:pt x="574" y="474"/>
                    <a:pt x="566" y="469"/>
                    <a:pt x="576" y="467"/>
                  </a:cubicBezTo>
                  <a:cubicBezTo>
                    <a:pt x="577" y="466"/>
                    <a:pt x="577" y="467"/>
                    <a:pt x="578" y="467"/>
                  </a:cubicBezTo>
                  <a:cubicBezTo>
                    <a:pt x="581" y="468"/>
                    <a:pt x="582" y="472"/>
                    <a:pt x="583" y="474"/>
                  </a:cubicBezTo>
                  <a:cubicBezTo>
                    <a:pt x="589" y="479"/>
                    <a:pt x="603" y="478"/>
                    <a:pt x="604" y="485"/>
                  </a:cubicBezTo>
                  <a:cubicBezTo>
                    <a:pt x="605" y="487"/>
                    <a:pt x="597" y="487"/>
                    <a:pt x="595" y="487"/>
                  </a:cubicBezTo>
                  <a:cubicBezTo>
                    <a:pt x="594" y="488"/>
                    <a:pt x="600" y="492"/>
                    <a:pt x="600" y="492"/>
                  </a:cubicBezTo>
                  <a:cubicBezTo>
                    <a:pt x="601" y="497"/>
                    <a:pt x="594" y="495"/>
                    <a:pt x="595" y="496"/>
                  </a:cubicBezTo>
                  <a:cubicBezTo>
                    <a:pt x="605" y="511"/>
                    <a:pt x="608" y="494"/>
                    <a:pt x="613" y="492"/>
                  </a:cubicBezTo>
                  <a:cubicBezTo>
                    <a:pt x="614" y="492"/>
                    <a:pt x="632" y="508"/>
                    <a:pt x="631" y="519"/>
                  </a:cubicBezTo>
                  <a:cubicBezTo>
                    <a:pt x="631" y="521"/>
                    <a:pt x="631" y="521"/>
                    <a:pt x="631" y="521"/>
                  </a:cubicBezTo>
                  <a:cubicBezTo>
                    <a:pt x="632" y="522"/>
                    <a:pt x="631" y="539"/>
                    <a:pt x="639" y="540"/>
                  </a:cubicBezTo>
                  <a:cubicBezTo>
                    <a:pt x="640" y="540"/>
                    <a:pt x="643" y="537"/>
                    <a:pt x="641" y="536"/>
                  </a:cubicBezTo>
                  <a:cubicBezTo>
                    <a:pt x="630" y="528"/>
                    <a:pt x="646" y="529"/>
                    <a:pt x="645" y="528"/>
                  </a:cubicBezTo>
                  <a:cubicBezTo>
                    <a:pt x="644" y="528"/>
                    <a:pt x="640" y="527"/>
                    <a:pt x="642" y="526"/>
                  </a:cubicBezTo>
                  <a:cubicBezTo>
                    <a:pt x="646" y="523"/>
                    <a:pt x="663" y="536"/>
                    <a:pt x="672" y="531"/>
                  </a:cubicBezTo>
                  <a:cubicBezTo>
                    <a:pt x="677" y="527"/>
                    <a:pt x="660" y="525"/>
                    <a:pt x="658" y="519"/>
                  </a:cubicBezTo>
                  <a:close/>
                  <a:moveTo>
                    <a:pt x="613" y="408"/>
                  </a:moveTo>
                  <a:cubicBezTo>
                    <a:pt x="614" y="408"/>
                    <a:pt x="614" y="408"/>
                    <a:pt x="614" y="408"/>
                  </a:cubicBezTo>
                  <a:cubicBezTo>
                    <a:pt x="620" y="409"/>
                    <a:pt x="614" y="400"/>
                    <a:pt x="611" y="397"/>
                  </a:cubicBezTo>
                  <a:cubicBezTo>
                    <a:pt x="603" y="390"/>
                    <a:pt x="572" y="371"/>
                    <a:pt x="573" y="367"/>
                  </a:cubicBezTo>
                  <a:cubicBezTo>
                    <a:pt x="573" y="364"/>
                    <a:pt x="567" y="361"/>
                    <a:pt x="566" y="364"/>
                  </a:cubicBezTo>
                  <a:cubicBezTo>
                    <a:pt x="564" y="368"/>
                    <a:pt x="609" y="406"/>
                    <a:pt x="613" y="408"/>
                  </a:cubicBezTo>
                  <a:close/>
                  <a:moveTo>
                    <a:pt x="659" y="413"/>
                  </a:moveTo>
                  <a:cubicBezTo>
                    <a:pt x="656" y="414"/>
                    <a:pt x="652" y="412"/>
                    <a:pt x="649" y="413"/>
                  </a:cubicBezTo>
                  <a:cubicBezTo>
                    <a:pt x="648" y="413"/>
                    <a:pt x="648" y="414"/>
                    <a:pt x="648" y="414"/>
                  </a:cubicBezTo>
                  <a:cubicBezTo>
                    <a:pt x="649" y="415"/>
                    <a:pt x="653" y="415"/>
                    <a:pt x="652" y="415"/>
                  </a:cubicBezTo>
                  <a:cubicBezTo>
                    <a:pt x="652" y="416"/>
                    <a:pt x="647" y="415"/>
                    <a:pt x="646" y="415"/>
                  </a:cubicBezTo>
                  <a:cubicBezTo>
                    <a:pt x="640" y="412"/>
                    <a:pt x="633" y="411"/>
                    <a:pt x="626" y="408"/>
                  </a:cubicBezTo>
                  <a:cubicBezTo>
                    <a:pt x="614" y="401"/>
                    <a:pt x="629" y="423"/>
                    <a:pt x="626" y="411"/>
                  </a:cubicBezTo>
                  <a:cubicBezTo>
                    <a:pt x="626" y="411"/>
                    <a:pt x="626" y="411"/>
                    <a:pt x="626" y="411"/>
                  </a:cubicBezTo>
                  <a:cubicBezTo>
                    <a:pt x="629" y="412"/>
                    <a:pt x="644" y="422"/>
                    <a:pt x="644" y="422"/>
                  </a:cubicBezTo>
                  <a:cubicBezTo>
                    <a:pt x="650" y="422"/>
                    <a:pt x="660" y="413"/>
                    <a:pt x="667" y="416"/>
                  </a:cubicBezTo>
                  <a:cubicBezTo>
                    <a:pt x="679" y="421"/>
                    <a:pt x="674" y="424"/>
                    <a:pt x="678" y="430"/>
                  </a:cubicBezTo>
                  <a:cubicBezTo>
                    <a:pt x="679" y="431"/>
                    <a:pt x="680" y="432"/>
                    <a:pt x="681" y="432"/>
                  </a:cubicBezTo>
                  <a:cubicBezTo>
                    <a:pt x="690" y="428"/>
                    <a:pt x="672" y="410"/>
                    <a:pt x="659" y="413"/>
                  </a:cubicBezTo>
                  <a:close/>
                  <a:moveTo>
                    <a:pt x="703" y="374"/>
                  </a:moveTo>
                  <a:cubicBezTo>
                    <a:pt x="702" y="370"/>
                    <a:pt x="679" y="361"/>
                    <a:pt x="674" y="361"/>
                  </a:cubicBezTo>
                  <a:cubicBezTo>
                    <a:pt x="669" y="361"/>
                    <a:pt x="663" y="361"/>
                    <a:pt x="658" y="360"/>
                  </a:cubicBezTo>
                  <a:cubicBezTo>
                    <a:pt x="657" y="360"/>
                    <a:pt x="648" y="362"/>
                    <a:pt x="651" y="364"/>
                  </a:cubicBezTo>
                  <a:cubicBezTo>
                    <a:pt x="653" y="365"/>
                    <a:pt x="657" y="364"/>
                    <a:pt x="659" y="364"/>
                  </a:cubicBezTo>
                  <a:cubicBezTo>
                    <a:pt x="664" y="363"/>
                    <a:pt x="672" y="363"/>
                    <a:pt x="676" y="364"/>
                  </a:cubicBezTo>
                  <a:cubicBezTo>
                    <a:pt x="683" y="367"/>
                    <a:pt x="686" y="375"/>
                    <a:pt x="691" y="378"/>
                  </a:cubicBezTo>
                  <a:cubicBezTo>
                    <a:pt x="691" y="378"/>
                    <a:pt x="691" y="378"/>
                    <a:pt x="691" y="378"/>
                  </a:cubicBezTo>
                  <a:cubicBezTo>
                    <a:pt x="694" y="380"/>
                    <a:pt x="699" y="379"/>
                    <a:pt x="697" y="375"/>
                  </a:cubicBezTo>
                  <a:cubicBezTo>
                    <a:pt x="693" y="369"/>
                    <a:pt x="704" y="377"/>
                    <a:pt x="703" y="374"/>
                  </a:cubicBezTo>
                  <a:close/>
                  <a:moveTo>
                    <a:pt x="756" y="372"/>
                  </a:moveTo>
                  <a:cubicBezTo>
                    <a:pt x="754" y="366"/>
                    <a:pt x="699" y="344"/>
                    <a:pt x="676" y="338"/>
                  </a:cubicBezTo>
                  <a:cubicBezTo>
                    <a:pt x="667" y="336"/>
                    <a:pt x="655" y="343"/>
                    <a:pt x="646" y="343"/>
                  </a:cubicBezTo>
                  <a:cubicBezTo>
                    <a:pt x="637" y="343"/>
                    <a:pt x="613" y="343"/>
                    <a:pt x="606" y="336"/>
                  </a:cubicBezTo>
                  <a:cubicBezTo>
                    <a:pt x="606" y="335"/>
                    <a:pt x="602" y="332"/>
                    <a:pt x="600" y="334"/>
                  </a:cubicBezTo>
                  <a:cubicBezTo>
                    <a:pt x="595" y="342"/>
                    <a:pt x="621" y="344"/>
                    <a:pt x="624" y="345"/>
                  </a:cubicBezTo>
                  <a:cubicBezTo>
                    <a:pt x="625" y="345"/>
                    <a:pt x="625" y="345"/>
                    <a:pt x="625" y="345"/>
                  </a:cubicBezTo>
                  <a:cubicBezTo>
                    <a:pt x="638" y="351"/>
                    <a:pt x="660" y="342"/>
                    <a:pt x="673" y="341"/>
                  </a:cubicBezTo>
                  <a:cubicBezTo>
                    <a:pt x="679" y="340"/>
                    <a:pt x="686" y="348"/>
                    <a:pt x="692" y="348"/>
                  </a:cubicBezTo>
                  <a:cubicBezTo>
                    <a:pt x="692" y="348"/>
                    <a:pt x="695" y="348"/>
                    <a:pt x="695" y="349"/>
                  </a:cubicBezTo>
                  <a:cubicBezTo>
                    <a:pt x="695" y="350"/>
                    <a:pt x="689" y="351"/>
                    <a:pt x="690" y="352"/>
                  </a:cubicBezTo>
                  <a:cubicBezTo>
                    <a:pt x="692" y="355"/>
                    <a:pt x="701" y="350"/>
                    <a:pt x="702" y="350"/>
                  </a:cubicBezTo>
                  <a:cubicBezTo>
                    <a:pt x="713" y="351"/>
                    <a:pt x="735" y="369"/>
                    <a:pt x="736" y="371"/>
                  </a:cubicBezTo>
                  <a:cubicBezTo>
                    <a:pt x="737" y="374"/>
                    <a:pt x="754" y="381"/>
                    <a:pt x="752" y="378"/>
                  </a:cubicBezTo>
                  <a:cubicBezTo>
                    <a:pt x="751" y="375"/>
                    <a:pt x="757" y="374"/>
                    <a:pt x="756" y="372"/>
                  </a:cubicBezTo>
                  <a:close/>
                  <a:moveTo>
                    <a:pt x="645" y="316"/>
                  </a:moveTo>
                  <a:cubicBezTo>
                    <a:pt x="655" y="317"/>
                    <a:pt x="665" y="319"/>
                    <a:pt x="673" y="324"/>
                  </a:cubicBezTo>
                  <a:cubicBezTo>
                    <a:pt x="674" y="325"/>
                    <a:pt x="674" y="325"/>
                    <a:pt x="674" y="325"/>
                  </a:cubicBezTo>
                  <a:cubicBezTo>
                    <a:pt x="678" y="328"/>
                    <a:pt x="676" y="321"/>
                    <a:pt x="675" y="319"/>
                  </a:cubicBezTo>
                  <a:cubicBezTo>
                    <a:pt x="673" y="317"/>
                    <a:pt x="638" y="303"/>
                    <a:pt x="632" y="316"/>
                  </a:cubicBezTo>
                  <a:cubicBezTo>
                    <a:pt x="630" y="319"/>
                    <a:pt x="644" y="316"/>
                    <a:pt x="645" y="316"/>
                  </a:cubicBezTo>
                  <a:close/>
                  <a:moveTo>
                    <a:pt x="786" y="378"/>
                  </a:moveTo>
                  <a:cubicBezTo>
                    <a:pt x="786" y="370"/>
                    <a:pt x="768" y="361"/>
                    <a:pt x="766" y="368"/>
                  </a:cubicBezTo>
                  <a:cubicBezTo>
                    <a:pt x="765" y="372"/>
                    <a:pt x="782" y="375"/>
                    <a:pt x="779" y="380"/>
                  </a:cubicBezTo>
                  <a:cubicBezTo>
                    <a:pt x="777" y="384"/>
                    <a:pt x="755" y="375"/>
                    <a:pt x="754" y="381"/>
                  </a:cubicBezTo>
                  <a:cubicBezTo>
                    <a:pt x="753" y="383"/>
                    <a:pt x="761" y="385"/>
                    <a:pt x="762" y="385"/>
                  </a:cubicBezTo>
                  <a:cubicBezTo>
                    <a:pt x="762" y="385"/>
                    <a:pt x="762" y="385"/>
                    <a:pt x="762" y="385"/>
                  </a:cubicBezTo>
                  <a:cubicBezTo>
                    <a:pt x="766" y="384"/>
                    <a:pt x="786" y="383"/>
                    <a:pt x="786" y="378"/>
                  </a:cubicBezTo>
                  <a:close/>
                  <a:moveTo>
                    <a:pt x="742" y="298"/>
                  </a:moveTo>
                  <a:cubicBezTo>
                    <a:pt x="727" y="289"/>
                    <a:pt x="714" y="271"/>
                    <a:pt x="698" y="263"/>
                  </a:cubicBezTo>
                  <a:cubicBezTo>
                    <a:pt x="689" y="259"/>
                    <a:pt x="679" y="263"/>
                    <a:pt x="670" y="260"/>
                  </a:cubicBezTo>
                  <a:cubicBezTo>
                    <a:pt x="659" y="258"/>
                    <a:pt x="650" y="243"/>
                    <a:pt x="640" y="238"/>
                  </a:cubicBezTo>
                  <a:cubicBezTo>
                    <a:pt x="627" y="232"/>
                    <a:pt x="615" y="229"/>
                    <a:pt x="602" y="224"/>
                  </a:cubicBezTo>
                  <a:cubicBezTo>
                    <a:pt x="594" y="222"/>
                    <a:pt x="544" y="198"/>
                    <a:pt x="541" y="200"/>
                  </a:cubicBezTo>
                  <a:cubicBezTo>
                    <a:pt x="537" y="203"/>
                    <a:pt x="547" y="203"/>
                    <a:pt x="550" y="206"/>
                  </a:cubicBezTo>
                  <a:cubicBezTo>
                    <a:pt x="560" y="212"/>
                    <a:pt x="566" y="216"/>
                    <a:pt x="566" y="216"/>
                  </a:cubicBezTo>
                  <a:cubicBezTo>
                    <a:pt x="567" y="220"/>
                    <a:pt x="551" y="215"/>
                    <a:pt x="552" y="216"/>
                  </a:cubicBezTo>
                  <a:cubicBezTo>
                    <a:pt x="554" y="222"/>
                    <a:pt x="611" y="232"/>
                    <a:pt x="633" y="239"/>
                  </a:cubicBezTo>
                  <a:cubicBezTo>
                    <a:pt x="635" y="240"/>
                    <a:pt x="658" y="257"/>
                    <a:pt x="664" y="262"/>
                  </a:cubicBezTo>
                  <a:cubicBezTo>
                    <a:pt x="674" y="269"/>
                    <a:pt x="689" y="262"/>
                    <a:pt x="696" y="267"/>
                  </a:cubicBezTo>
                  <a:cubicBezTo>
                    <a:pt x="712" y="277"/>
                    <a:pt x="731" y="301"/>
                    <a:pt x="740" y="306"/>
                  </a:cubicBezTo>
                  <a:cubicBezTo>
                    <a:pt x="747" y="310"/>
                    <a:pt x="755" y="305"/>
                    <a:pt x="763" y="308"/>
                  </a:cubicBezTo>
                  <a:cubicBezTo>
                    <a:pt x="764" y="308"/>
                    <a:pt x="782" y="325"/>
                    <a:pt x="786" y="324"/>
                  </a:cubicBezTo>
                  <a:cubicBezTo>
                    <a:pt x="786" y="323"/>
                    <a:pt x="786" y="323"/>
                    <a:pt x="786" y="323"/>
                  </a:cubicBezTo>
                  <a:cubicBezTo>
                    <a:pt x="791" y="302"/>
                    <a:pt x="751" y="304"/>
                    <a:pt x="742" y="298"/>
                  </a:cubicBezTo>
                  <a:close/>
                  <a:moveTo>
                    <a:pt x="780" y="197"/>
                  </a:moveTo>
                  <a:cubicBezTo>
                    <a:pt x="764" y="197"/>
                    <a:pt x="748" y="192"/>
                    <a:pt x="731" y="192"/>
                  </a:cubicBezTo>
                  <a:cubicBezTo>
                    <a:pt x="729" y="192"/>
                    <a:pt x="718" y="193"/>
                    <a:pt x="718" y="193"/>
                  </a:cubicBezTo>
                  <a:cubicBezTo>
                    <a:pt x="719" y="195"/>
                    <a:pt x="723" y="196"/>
                    <a:pt x="724" y="196"/>
                  </a:cubicBezTo>
                  <a:cubicBezTo>
                    <a:pt x="752" y="197"/>
                    <a:pt x="772" y="200"/>
                    <a:pt x="798" y="208"/>
                  </a:cubicBezTo>
                  <a:cubicBezTo>
                    <a:pt x="798" y="208"/>
                    <a:pt x="798" y="208"/>
                    <a:pt x="798" y="208"/>
                  </a:cubicBezTo>
                  <a:cubicBezTo>
                    <a:pt x="806" y="209"/>
                    <a:pt x="786" y="197"/>
                    <a:pt x="780" y="197"/>
                  </a:cubicBezTo>
                  <a:close/>
                  <a:moveTo>
                    <a:pt x="848" y="705"/>
                  </a:moveTo>
                  <a:cubicBezTo>
                    <a:pt x="842" y="703"/>
                    <a:pt x="834" y="719"/>
                    <a:pt x="844" y="723"/>
                  </a:cubicBezTo>
                  <a:cubicBezTo>
                    <a:pt x="844" y="723"/>
                    <a:pt x="844" y="723"/>
                    <a:pt x="844" y="723"/>
                  </a:cubicBezTo>
                  <a:cubicBezTo>
                    <a:pt x="847" y="728"/>
                    <a:pt x="852" y="707"/>
                    <a:pt x="848" y="705"/>
                  </a:cubicBezTo>
                  <a:close/>
                  <a:moveTo>
                    <a:pt x="876" y="191"/>
                  </a:moveTo>
                  <a:cubicBezTo>
                    <a:pt x="874" y="183"/>
                    <a:pt x="861" y="191"/>
                    <a:pt x="852" y="190"/>
                  </a:cubicBezTo>
                  <a:cubicBezTo>
                    <a:pt x="849" y="189"/>
                    <a:pt x="847" y="188"/>
                    <a:pt x="844" y="186"/>
                  </a:cubicBezTo>
                  <a:cubicBezTo>
                    <a:pt x="843" y="185"/>
                    <a:pt x="843" y="183"/>
                    <a:pt x="842" y="181"/>
                  </a:cubicBezTo>
                  <a:cubicBezTo>
                    <a:pt x="842" y="178"/>
                    <a:pt x="845" y="169"/>
                    <a:pt x="841" y="168"/>
                  </a:cubicBezTo>
                  <a:cubicBezTo>
                    <a:pt x="838" y="166"/>
                    <a:pt x="843" y="176"/>
                    <a:pt x="840" y="176"/>
                  </a:cubicBezTo>
                  <a:cubicBezTo>
                    <a:pt x="828" y="176"/>
                    <a:pt x="835" y="166"/>
                    <a:pt x="832" y="163"/>
                  </a:cubicBezTo>
                  <a:cubicBezTo>
                    <a:pt x="829" y="160"/>
                    <a:pt x="830" y="165"/>
                    <a:pt x="828" y="166"/>
                  </a:cubicBezTo>
                  <a:cubicBezTo>
                    <a:pt x="823" y="170"/>
                    <a:pt x="816" y="155"/>
                    <a:pt x="813" y="152"/>
                  </a:cubicBezTo>
                  <a:cubicBezTo>
                    <a:pt x="810" y="148"/>
                    <a:pt x="802" y="136"/>
                    <a:pt x="809" y="136"/>
                  </a:cubicBezTo>
                  <a:cubicBezTo>
                    <a:pt x="809" y="136"/>
                    <a:pt x="812" y="137"/>
                    <a:pt x="811" y="136"/>
                  </a:cubicBezTo>
                  <a:cubicBezTo>
                    <a:pt x="807" y="129"/>
                    <a:pt x="776" y="128"/>
                    <a:pt x="770" y="128"/>
                  </a:cubicBezTo>
                  <a:cubicBezTo>
                    <a:pt x="769" y="128"/>
                    <a:pt x="764" y="128"/>
                    <a:pt x="764" y="127"/>
                  </a:cubicBezTo>
                  <a:cubicBezTo>
                    <a:pt x="766" y="119"/>
                    <a:pt x="797" y="128"/>
                    <a:pt x="794" y="123"/>
                  </a:cubicBezTo>
                  <a:cubicBezTo>
                    <a:pt x="788" y="115"/>
                    <a:pt x="745" y="122"/>
                    <a:pt x="732" y="115"/>
                  </a:cubicBezTo>
                  <a:cubicBezTo>
                    <a:pt x="721" y="109"/>
                    <a:pt x="708" y="106"/>
                    <a:pt x="695" y="102"/>
                  </a:cubicBezTo>
                  <a:cubicBezTo>
                    <a:pt x="688" y="100"/>
                    <a:pt x="677" y="87"/>
                    <a:pt x="675" y="94"/>
                  </a:cubicBezTo>
                  <a:cubicBezTo>
                    <a:pt x="672" y="117"/>
                    <a:pt x="744" y="120"/>
                    <a:pt x="757" y="123"/>
                  </a:cubicBezTo>
                  <a:cubicBezTo>
                    <a:pt x="761" y="125"/>
                    <a:pt x="758" y="130"/>
                    <a:pt x="765" y="132"/>
                  </a:cubicBezTo>
                  <a:cubicBezTo>
                    <a:pt x="778" y="137"/>
                    <a:pt x="795" y="134"/>
                    <a:pt x="806" y="143"/>
                  </a:cubicBezTo>
                  <a:cubicBezTo>
                    <a:pt x="811" y="147"/>
                    <a:pt x="814" y="159"/>
                    <a:pt x="818" y="164"/>
                  </a:cubicBezTo>
                  <a:cubicBezTo>
                    <a:pt x="822" y="171"/>
                    <a:pt x="833" y="179"/>
                    <a:pt x="844" y="186"/>
                  </a:cubicBezTo>
                  <a:cubicBezTo>
                    <a:pt x="846" y="189"/>
                    <a:pt x="849" y="190"/>
                    <a:pt x="852" y="190"/>
                  </a:cubicBezTo>
                  <a:cubicBezTo>
                    <a:pt x="856" y="193"/>
                    <a:pt x="860" y="195"/>
                    <a:pt x="864" y="196"/>
                  </a:cubicBezTo>
                  <a:cubicBezTo>
                    <a:pt x="868" y="199"/>
                    <a:pt x="875" y="202"/>
                    <a:pt x="872" y="200"/>
                  </a:cubicBezTo>
                  <a:cubicBezTo>
                    <a:pt x="872" y="200"/>
                    <a:pt x="872" y="200"/>
                    <a:pt x="872" y="200"/>
                  </a:cubicBezTo>
                  <a:cubicBezTo>
                    <a:pt x="869" y="199"/>
                    <a:pt x="866" y="198"/>
                    <a:pt x="864" y="196"/>
                  </a:cubicBezTo>
                  <a:cubicBezTo>
                    <a:pt x="862" y="195"/>
                    <a:pt x="861" y="194"/>
                    <a:pt x="862" y="193"/>
                  </a:cubicBezTo>
                  <a:cubicBezTo>
                    <a:pt x="864" y="191"/>
                    <a:pt x="871" y="197"/>
                    <a:pt x="874" y="195"/>
                  </a:cubicBezTo>
                  <a:cubicBezTo>
                    <a:pt x="876" y="194"/>
                    <a:pt x="876" y="193"/>
                    <a:pt x="876" y="191"/>
                  </a:cubicBezTo>
                  <a:close/>
                  <a:moveTo>
                    <a:pt x="42" y="1640"/>
                  </a:moveTo>
                  <a:cubicBezTo>
                    <a:pt x="44" y="1643"/>
                    <a:pt x="47" y="1637"/>
                    <a:pt x="49" y="1635"/>
                  </a:cubicBezTo>
                  <a:cubicBezTo>
                    <a:pt x="53" y="1631"/>
                    <a:pt x="88" y="1652"/>
                    <a:pt x="67" y="1612"/>
                  </a:cubicBezTo>
                  <a:cubicBezTo>
                    <a:pt x="67" y="1612"/>
                    <a:pt x="67" y="1612"/>
                    <a:pt x="67" y="1612"/>
                  </a:cubicBezTo>
                  <a:cubicBezTo>
                    <a:pt x="62" y="1611"/>
                    <a:pt x="29" y="1628"/>
                    <a:pt x="42" y="1640"/>
                  </a:cubicBezTo>
                  <a:close/>
                  <a:moveTo>
                    <a:pt x="541" y="1740"/>
                  </a:moveTo>
                  <a:cubicBezTo>
                    <a:pt x="539" y="1735"/>
                    <a:pt x="530" y="1746"/>
                    <a:pt x="531" y="1753"/>
                  </a:cubicBezTo>
                  <a:cubicBezTo>
                    <a:pt x="533" y="1761"/>
                    <a:pt x="525" y="1758"/>
                    <a:pt x="526" y="1765"/>
                  </a:cubicBezTo>
                  <a:cubicBezTo>
                    <a:pt x="527" y="1772"/>
                    <a:pt x="526" y="1775"/>
                    <a:pt x="517" y="1789"/>
                  </a:cubicBezTo>
                  <a:cubicBezTo>
                    <a:pt x="508" y="1804"/>
                    <a:pt x="514" y="1806"/>
                    <a:pt x="507" y="1805"/>
                  </a:cubicBezTo>
                  <a:cubicBezTo>
                    <a:pt x="499" y="1805"/>
                    <a:pt x="501" y="1807"/>
                    <a:pt x="494" y="1821"/>
                  </a:cubicBezTo>
                  <a:cubicBezTo>
                    <a:pt x="487" y="1835"/>
                    <a:pt x="479" y="1848"/>
                    <a:pt x="481" y="1865"/>
                  </a:cubicBezTo>
                  <a:cubicBezTo>
                    <a:pt x="484" y="1881"/>
                    <a:pt x="478" y="1900"/>
                    <a:pt x="484" y="1900"/>
                  </a:cubicBezTo>
                  <a:cubicBezTo>
                    <a:pt x="494" y="1899"/>
                    <a:pt x="496" y="1873"/>
                    <a:pt x="500" y="1867"/>
                  </a:cubicBezTo>
                  <a:cubicBezTo>
                    <a:pt x="504" y="1861"/>
                    <a:pt x="500" y="1852"/>
                    <a:pt x="504" y="1850"/>
                  </a:cubicBezTo>
                  <a:cubicBezTo>
                    <a:pt x="508" y="1847"/>
                    <a:pt x="508" y="1842"/>
                    <a:pt x="512" y="1824"/>
                  </a:cubicBezTo>
                  <a:cubicBezTo>
                    <a:pt x="517" y="1806"/>
                    <a:pt x="521" y="1819"/>
                    <a:pt x="521" y="1810"/>
                  </a:cubicBezTo>
                  <a:cubicBezTo>
                    <a:pt x="521" y="1799"/>
                    <a:pt x="524" y="1809"/>
                    <a:pt x="524" y="1798"/>
                  </a:cubicBezTo>
                  <a:cubicBezTo>
                    <a:pt x="524" y="1787"/>
                    <a:pt x="530" y="1787"/>
                    <a:pt x="527" y="1786"/>
                  </a:cubicBezTo>
                  <a:cubicBezTo>
                    <a:pt x="525" y="1785"/>
                    <a:pt x="525" y="1783"/>
                    <a:pt x="528" y="1784"/>
                  </a:cubicBezTo>
                  <a:cubicBezTo>
                    <a:pt x="530" y="1784"/>
                    <a:pt x="532" y="1783"/>
                    <a:pt x="534" y="1772"/>
                  </a:cubicBezTo>
                  <a:cubicBezTo>
                    <a:pt x="537" y="1761"/>
                    <a:pt x="542" y="1763"/>
                    <a:pt x="540" y="1755"/>
                  </a:cubicBezTo>
                  <a:cubicBezTo>
                    <a:pt x="537" y="1746"/>
                    <a:pt x="547" y="1746"/>
                    <a:pt x="546" y="1742"/>
                  </a:cubicBezTo>
                  <a:cubicBezTo>
                    <a:pt x="545" y="1738"/>
                    <a:pt x="543" y="1744"/>
                    <a:pt x="541" y="1740"/>
                  </a:cubicBezTo>
                  <a:close/>
                  <a:moveTo>
                    <a:pt x="558" y="1445"/>
                  </a:moveTo>
                  <a:cubicBezTo>
                    <a:pt x="556" y="1445"/>
                    <a:pt x="558" y="1447"/>
                    <a:pt x="551" y="1444"/>
                  </a:cubicBezTo>
                  <a:cubicBezTo>
                    <a:pt x="537" y="1439"/>
                    <a:pt x="549" y="1460"/>
                    <a:pt x="562" y="1453"/>
                  </a:cubicBezTo>
                  <a:cubicBezTo>
                    <a:pt x="563" y="1453"/>
                    <a:pt x="564" y="1453"/>
                    <a:pt x="564" y="1451"/>
                  </a:cubicBezTo>
                  <a:cubicBezTo>
                    <a:pt x="564" y="1449"/>
                    <a:pt x="560" y="1445"/>
                    <a:pt x="558" y="1445"/>
                  </a:cubicBezTo>
                  <a:close/>
                  <a:moveTo>
                    <a:pt x="690" y="1462"/>
                  </a:moveTo>
                  <a:cubicBezTo>
                    <a:pt x="690" y="1462"/>
                    <a:pt x="695" y="1461"/>
                    <a:pt x="695" y="1459"/>
                  </a:cubicBezTo>
                  <a:cubicBezTo>
                    <a:pt x="695" y="1458"/>
                    <a:pt x="695" y="1458"/>
                    <a:pt x="695" y="1458"/>
                  </a:cubicBezTo>
                  <a:cubicBezTo>
                    <a:pt x="695" y="1456"/>
                    <a:pt x="695" y="1456"/>
                    <a:pt x="695" y="1454"/>
                  </a:cubicBezTo>
                  <a:cubicBezTo>
                    <a:pt x="695" y="1454"/>
                    <a:pt x="695" y="1454"/>
                    <a:pt x="695" y="1454"/>
                  </a:cubicBezTo>
                  <a:cubicBezTo>
                    <a:pt x="693" y="1451"/>
                    <a:pt x="688" y="1451"/>
                    <a:pt x="693" y="1458"/>
                  </a:cubicBezTo>
                  <a:cubicBezTo>
                    <a:pt x="694" y="1459"/>
                    <a:pt x="691" y="1461"/>
                    <a:pt x="690" y="1462"/>
                  </a:cubicBezTo>
                  <a:close/>
                  <a:moveTo>
                    <a:pt x="643" y="1507"/>
                  </a:moveTo>
                  <a:cubicBezTo>
                    <a:pt x="643" y="1506"/>
                    <a:pt x="643" y="1506"/>
                    <a:pt x="643" y="1506"/>
                  </a:cubicBezTo>
                  <a:cubicBezTo>
                    <a:pt x="642" y="1499"/>
                    <a:pt x="636" y="1510"/>
                    <a:pt x="636" y="1511"/>
                  </a:cubicBezTo>
                  <a:cubicBezTo>
                    <a:pt x="637" y="1512"/>
                    <a:pt x="643" y="1509"/>
                    <a:pt x="643" y="1507"/>
                  </a:cubicBezTo>
                  <a:close/>
                  <a:moveTo>
                    <a:pt x="584" y="1448"/>
                  </a:moveTo>
                  <a:cubicBezTo>
                    <a:pt x="578" y="1447"/>
                    <a:pt x="584" y="1451"/>
                    <a:pt x="585" y="1454"/>
                  </a:cubicBezTo>
                  <a:cubicBezTo>
                    <a:pt x="586" y="1462"/>
                    <a:pt x="591" y="1453"/>
                    <a:pt x="585" y="1448"/>
                  </a:cubicBezTo>
                  <a:lnTo>
                    <a:pt x="584" y="1448"/>
                  </a:lnTo>
                  <a:close/>
                  <a:moveTo>
                    <a:pt x="706" y="1416"/>
                  </a:moveTo>
                  <a:cubicBezTo>
                    <a:pt x="706" y="1415"/>
                    <a:pt x="706" y="1415"/>
                    <a:pt x="706" y="1415"/>
                  </a:cubicBezTo>
                  <a:cubicBezTo>
                    <a:pt x="711" y="1412"/>
                    <a:pt x="687" y="1424"/>
                    <a:pt x="692" y="1426"/>
                  </a:cubicBezTo>
                  <a:cubicBezTo>
                    <a:pt x="697" y="1427"/>
                    <a:pt x="703" y="1418"/>
                    <a:pt x="706" y="1416"/>
                  </a:cubicBezTo>
                  <a:close/>
                  <a:moveTo>
                    <a:pt x="581" y="1546"/>
                  </a:moveTo>
                  <a:cubicBezTo>
                    <a:pt x="583" y="1544"/>
                    <a:pt x="582" y="1542"/>
                    <a:pt x="580" y="1541"/>
                  </a:cubicBezTo>
                  <a:cubicBezTo>
                    <a:pt x="580" y="1541"/>
                    <a:pt x="580" y="1541"/>
                    <a:pt x="580" y="1541"/>
                  </a:cubicBezTo>
                  <a:cubicBezTo>
                    <a:pt x="578" y="1540"/>
                    <a:pt x="579" y="1547"/>
                    <a:pt x="581" y="1546"/>
                  </a:cubicBezTo>
                  <a:close/>
                  <a:moveTo>
                    <a:pt x="658" y="1470"/>
                  </a:moveTo>
                  <a:cubicBezTo>
                    <a:pt x="658" y="1470"/>
                    <a:pt x="654" y="1470"/>
                    <a:pt x="654" y="1470"/>
                  </a:cubicBezTo>
                  <a:cubicBezTo>
                    <a:pt x="654" y="1471"/>
                    <a:pt x="659" y="1471"/>
                    <a:pt x="660" y="1472"/>
                  </a:cubicBezTo>
                  <a:cubicBezTo>
                    <a:pt x="664" y="1476"/>
                    <a:pt x="678" y="1484"/>
                    <a:pt x="670" y="1478"/>
                  </a:cubicBezTo>
                  <a:cubicBezTo>
                    <a:pt x="668" y="1476"/>
                    <a:pt x="684" y="1476"/>
                    <a:pt x="668" y="1470"/>
                  </a:cubicBezTo>
                  <a:cubicBezTo>
                    <a:pt x="668" y="1470"/>
                    <a:pt x="668" y="1470"/>
                    <a:pt x="668" y="1470"/>
                  </a:cubicBezTo>
                  <a:cubicBezTo>
                    <a:pt x="666" y="1471"/>
                    <a:pt x="661" y="1471"/>
                    <a:pt x="658" y="1470"/>
                  </a:cubicBezTo>
                  <a:close/>
                  <a:moveTo>
                    <a:pt x="676" y="1322"/>
                  </a:moveTo>
                  <a:cubicBezTo>
                    <a:pt x="676" y="1322"/>
                    <a:pt x="673" y="1317"/>
                    <a:pt x="673" y="1316"/>
                  </a:cubicBezTo>
                  <a:cubicBezTo>
                    <a:pt x="670" y="1308"/>
                    <a:pt x="661" y="1306"/>
                    <a:pt x="661" y="1294"/>
                  </a:cubicBezTo>
                  <a:cubicBezTo>
                    <a:pt x="661" y="1294"/>
                    <a:pt x="661" y="1294"/>
                    <a:pt x="661" y="1294"/>
                  </a:cubicBezTo>
                  <a:cubicBezTo>
                    <a:pt x="650" y="1290"/>
                    <a:pt x="668" y="1331"/>
                    <a:pt x="676" y="1322"/>
                  </a:cubicBezTo>
                  <a:close/>
                  <a:moveTo>
                    <a:pt x="662" y="1511"/>
                  </a:moveTo>
                  <a:cubicBezTo>
                    <a:pt x="662" y="1511"/>
                    <a:pt x="662" y="1511"/>
                    <a:pt x="662" y="1511"/>
                  </a:cubicBezTo>
                  <a:cubicBezTo>
                    <a:pt x="664" y="1507"/>
                    <a:pt x="658" y="1511"/>
                    <a:pt x="655" y="1512"/>
                  </a:cubicBezTo>
                  <a:cubicBezTo>
                    <a:pt x="650" y="1514"/>
                    <a:pt x="655" y="1516"/>
                    <a:pt x="662" y="1511"/>
                  </a:cubicBezTo>
                  <a:close/>
                  <a:moveTo>
                    <a:pt x="697" y="1335"/>
                  </a:moveTo>
                  <a:cubicBezTo>
                    <a:pt x="698" y="1335"/>
                    <a:pt x="698" y="1335"/>
                    <a:pt x="698" y="1335"/>
                  </a:cubicBezTo>
                  <a:cubicBezTo>
                    <a:pt x="691" y="1330"/>
                    <a:pt x="701" y="1352"/>
                    <a:pt x="697" y="1335"/>
                  </a:cubicBezTo>
                  <a:close/>
                  <a:moveTo>
                    <a:pt x="692" y="1476"/>
                  </a:moveTo>
                  <a:cubicBezTo>
                    <a:pt x="686" y="1481"/>
                    <a:pt x="694" y="1480"/>
                    <a:pt x="697" y="1477"/>
                  </a:cubicBezTo>
                  <a:cubicBezTo>
                    <a:pt x="697" y="1477"/>
                    <a:pt x="697" y="1477"/>
                    <a:pt x="697" y="1477"/>
                  </a:cubicBezTo>
                  <a:cubicBezTo>
                    <a:pt x="699" y="1474"/>
                    <a:pt x="692" y="1475"/>
                    <a:pt x="692" y="1476"/>
                  </a:cubicBezTo>
                  <a:close/>
                  <a:moveTo>
                    <a:pt x="742" y="1655"/>
                  </a:moveTo>
                  <a:cubicBezTo>
                    <a:pt x="742" y="1655"/>
                    <a:pt x="742" y="1655"/>
                    <a:pt x="742" y="1655"/>
                  </a:cubicBezTo>
                  <a:cubicBezTo>
                    <a:pt x="745" y="1654"/>
                    <a:pt x="744" y="1652"/>
                    <a:pt x="741" y="1652"/>
                  </a:cubicBezTo>
                  <a:cubicBezTo>
                    <a:pt x="739" y="1651"/>
                    <a:pt x="735" y="1654"/>
                    <a:pt x="734" y="1653"/>
                  </a:cubicBezTo>
                  <a:cubicBezTo>
                    <a:pt x="734" y="1652"/>
                    <a:pt x="734" y="1652"/>
                    <a:pt x="734" y="1652"/>
                  </a:cubicBezTo>
                  <a:cubicBezTo>
                    <a:pt x="734" y="1649"/>
                    <a:pt x="733" y="1652"/>
                    <a:pt x="732" y="1652"/>
                  </a:cubicBezTo>
                  <a:cubicBezTo>
                    <a:pt x="730" y="1652"/>
                    <a:pt x="731" y="1650"/>
                    <a:pt x="729" y="1650"/>
                  </a:cubicBezTo>
                  <a:cubicBezTo>
                    <a:pt x="728" y="1651"/>
                    <a:pt x="723" y="1652"/>
                    <a:pt x="722" y="1653"/>
                  </a:cubicBezTo>
                  <a:cubicBezTo>
                    <a:pt x="721" y="1654"/>
                    <a:pt x="721" y="1656"/>
                    <a:pt x="720" y="1658"/>
                  </a:cubicBezTo>
                  <a:cubicBezTo>
                    <a:pt x="719" y="1660"/>
                    <a:pt x="717" y="1659"/>
                    <a:pt x="717" y="1662"/>
                  </a:cubicBezTo>
                  <a:cubicBezTo>
                    <a:pt x="718" y="1664"/>
                    <a:pt x="720" y="1664"/>
                    <a:pt x="720" y="1666"/>
                  </a:cubicBezTo>
                  <a:cubicBezTo>
                    <a:pt x="721" y="1666"/>
                    <a:pt x="724" y="1673"/>
                    <a:pt x="726" y="1671"/>
                  </a:cubicBezTo>
                  <a:cubicBezTo>
                    <a:pt x="727" y="1670"/>
                    <a:pt x="725" y="1669"/>
                    <a:pt x="726" y="1668"/>
                  </a:cubicBezTo>
                  <a:cubicBezTo>
                    <a:pt x="734" y="1662"/>
                    <a:pt x="724" y="1665"/>
                    <a:pt x="727" y="1660"/>
                  </a:cubicBezTo>
                  <a:cubicBezTo>
                    <a:pt x="728" y="1660"/>
                    <a:pt x="728" y="1659"/>
                    <a:pt x="729" y="1659"/>
                  </a:cubicBezTo>
                  <a:cubicBezTo>
                    <a:pt x="730" y="1658"/>
                    <a:pt x="731" y="1659"/>
                    <a:pt x="732" y="1659"/>
                  </a:cubicBezTo>
                  <a:cubicBezTo>
                    <a:pt x="734" y="1659"/>
                    <a:pt x="734" y="1657"/>
                    <a:pt x="735" y="1656"/>
                  </a:cubicBezTo>
                  <a:cubicBezTo>
                    <a:pt x="739" y="1654"/>
                    <a:pt x="739" y="1658"/>
                    <a:pt x="742" y="1655"/>
                  </a:cubicBezTo>
                  <a:close/>
                  <a:moveTo>
                    <a:pt x="734" y="1601"/>
                  </a:moveTo>
                  <a:cubicBezTo>
                    <a:pt x="736" y="1601"/>
                    <a:pt x="744" y="1599"/>
                    <a:pt x="744" y="1596"/>
                  </a:cubicBezTo>
                  <a:cubicBezTo>
                    <a:pt x="743" y="1595"/>
                    <a:pt x="736" y="1594"/>
                    <a:pt x="734" y="1593"/>
                  </a:cubicBezTo>
                  <a:cubicBezTo>
                    <a:pt x="734" y="1593"/>
                    <a:pt x="734" y="1593"/>
                    <a:pt x="734" y="1593"/>
                  </a:cubicBezTo>
                  <a:cubicBezTo>
                    <a:pt x="727" y="1593"/>
                    <a:pt x="734" y="1601"/>
                    <a:pt x="734" y="1601"/>
                  </a:cubicBezTo>
                  <a:close/>
                  <a:moveTo>
                    <a:pt x="606" y="1517"/>
                  </a:moveTo>
                  <a:cubicBezTo>
                    <a:pt x="606" y="1517"/>
                    <a:pt x="606" y="1517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lose/>
                  <a:moveTo>
                    <a:pt x="713" y="1444"/>
                  </a:moveTo>
                  <a:cubicBezTo>
                    <a:pt x="713" y="1443"/>
                    <a:pt x="713" y="1443"/>
                    <a:pt x="713" y="1443"/>
                  </a:cubicBezTo>
                  <a:cubicBezTo>
                    <a:pt x="707" y="1435"/>
                    <a:pt x="708" y="1455"/>
                    <a:pt x="713" y="1444"/>
                  </a:cubicBezTo>
                  <a:close/>
                  <a:moveTo>
                    <a:pt x="673" y="1490"/>
                  </a:moveTo>
                  <a:cubicBezTo>
                    <a:pt x="673" y="1490"/>
                    <a:pt x="673" y="1490"/>
                    <a:pt x="673" y="1490"/>
                  </a:cubicBezTo>
                  <a:cubicBezTo>
                    <a:pt x="673" y="1486"/>
                    <a:pt x="665" y="1498"/>
                    <a:pt x="664" y="1498"/>
                  </a:cubicBezTo>
                  <a:cubicBezTo>
                    <a:pt x="661" y="1500"/>
                    <a:pt x="670" y="1502"/>
                    <a:pt x="673" y="1490"/>
                  </a:cubicBezTo>
                  <a:close/>
                  <a:moveTo>
                    <a:pt x="673" y="1469"/>
                  </a:moveTo>
                  <a:cubicBezTo>
                    <a:pt x="677" y="1475"/>
                    <a:pt x="683" y="1470"/>
                    <a:pt x="685" y="1468"/>
                  </a:cubicBezTo>
                  <a:cubicBezTo>
                    <a:pt x="685" y="1468"/>
                    <a:pt x="685" y="1468"/>
                    <a:pt x="685" y="1468"/>
                  </a:cubicBezTo>
                  <a:cubicBezTo>
                    <a:pt x="689" y="1466"/>
                    <a:pt x="671" y="1465"/>
                    <a:pt x="673" y="1469"/>
                  </a:cubicBezTo>
                  <a:close/>
                  <a:moveTo>
                    <a:pt x="718" y="1416"/>
                  </a:moveTo>
                  <a:cubicBezTo>
                    <a:pt x="718" y="1411"/>
                    <a:pt x="714" y="1415"/>
                    <a:pt x="712" y="1416"/>
                  </a:cubicBezTo>
                  <a:cubicBezTo>
                    <a:pt x="699" y="1423"/>
                    <a:pt x="715" y="1416"/>
                    <a:pt x="718" y="1416"/>
                  </a:cubicBezTo>
                  <a:close/>
                  <a:moveTo>
                    <a:pt x="672" y="1441"/>
                  </a:moveTo>
                  <a:cubicBezTo>
                    <a:pt x="673" y="1448"/>
                    <a:pt x="682" y="1436"/>
                    <a:pt x="690" y="1432"/>
                  </a:cubicBezTo>
                  <a:cubicBezTo>
                    <a:pt x="690" y="1432"/>
                    <a:pt x="690" y="1432"/>
                    <a:pt x="690" y="1432"/>
                  </a:cubicBezTo>
                  <a:cubicBezTo>
                    <a:pt x="696" y="1428"/>
                    <a:pt x="670" y="1435"/>
                    <a:pt x="672" y="1441"/>
                  </a:cubicBezTo>
                  <a:close/>
                  <a:moveTo>
                    <a:pt x="541" y="1439"/>
                  </a:moveTo>
                  <a:cubicBezTo>
                    <a:pt x="540" y="1437"/>
                    <a:pt x="540" y="1436"/>
                    <a:pt x="538" y="1435"/>
                  </a:cubicBezTo>
                  <a:cubicBezTo>
                    <a:pt x="538" y="1435"/>
                    <a:pt x="538" y="1435"/>
                    <a:pt x="538" y="1435"/>
                  </a:cubicBezTo>
                  <a:cubicBezTo>
                    <a:pt x="535" y="1433"/>
                    <a:pt x="525" y="1447"/>
                    <a:pt x="539" y="1454"/>
                  </a:cubicBezTo>
                  <a:cubicBezTo>
                    <a:pt x="542" y="1455"/>
                    <a:pt x="542" y="1453"/>
                    <a:pt x="541" y="1452"/>
                  </a:cubicBezTo>
                  <a:cubicBezTo>
                    <a:pt x="536" y="1442"/>
                    <a:pt x="544" y="1442"/>
                    <a:pt x="541" y="1439"/>
                  </a:cubicBezTo>
                  <a:close/>
                  <a:moveTo>
                    <a:pt x="718" y="1668"/>
                  </a:moveTo>
                  <a:cubicBezTo>
                    <a:pt x="711" y="1663"/>
                    <a:pt x="717" y="1660"/>
                    <a:pt x="712" y="1661"/>
                  </a:cubicBezTo>
                  <a:cubicBezTo>
                    <a:pt x="707" y="1662"/>
                    <a:pt x="710" y="1666"/>
                    <a:pt x="707" y="1666"/>
                  </a:cubicBezTo>
                  <a:cubicBezTo>
                    <a:pt x="704" y="1666"/>
                    <a:pt x="707" y="1658"/>
                    <a:pt x="702" y="1660"/>
                  </a:cubicBezTo>
                  <a:cubicBezTo>
                    <a:pt x="696" y="1662"/>
                    <a:pt x="703" y="1666"/>
                    <a:pt x="700" y="1667"/>
                  </a:cubicBezTo>
                  <a:cubicBezTo>
                    <a:pt x="696" y="1669"/>
                    <a:pt x="699" y="1672"/>
                    <a:pt x="697" y="1673"/>
                  </a:cubicBezTo>
                  <a:cubicBezTo>
                    <a:pt x="692" y="1674"/>
                    <a:pt x="696" y="1659"/>
                    <a:pt x="688" y="1659"/>
                  </a:cubicBezTo>
                  <a:cubicBezTo>
                    <a:pt x="679" y="1659"/>
                    <a:pt x="685" y="1673"/>
                    <a:pt x="674" y="1672"/>
                  </a:cubicBezTo>
                  <a:cubicBezTo>
                    <a:pt x="661" y="1672"/>
                    <a:pt x="658" y="1694"/>
                    <a:pt x="645" y="1704"/>
                  </a:cubicBezTo>
                  <a:cubicBezTo>
                    <a:pt x="631" y="1714"/>
                    <a:pt x="635" y="1717"/>
                    <a:pt x="636" y="1727"/>
                  </a:cubicBezTo>
                  <a:cubicBezTo>
                    <a:pt x="638" y="1737"/>
                    <a:pt x="642" y="1734"/>
                    <a:pt x="640" y="1736"/>
                  </a:cubicBezTo>
                  <a:cubicBezTo>
                    <a:pt x="639" y="1739"/>
                    <a:pt x="641" y="1742"/>
                    <a:pt x="637" y="1746"/>
                  </a:cubicBezTo>
                  <a:cubicBezTo>
                    <a:pt x="632" y="1751"/>
                    <a:pt x="632" y="1753"/>
                    <a:pt x="636" y="1755"/>
                  </a:cubicBezTo>
                  <a:cubicBezTo>
                    <a:pt x="639" y="1757"/>
                    <a:pt x="638" y="1756"/>
                    <a:pt x="639" y="1765"/>
                  </a:cubicBezTo>
                  <a:cubicBezTo>
                    <a:pt x="640" y="1773"/>
                    <a:pt x="646" y="1769"/>
                    <a:pt x="643" y="1776"/>
                  </a:cubicBezTo>
                  <a:cubicBezTo>
                    <a:pt x="641" y="1783"/>
                    <a:pt x="643" y="1783"/>
                    <a:pt x="648" y="1778"/>
                  </a:cubicBezTo>
                  <a:cubicBezTo>
                    <a:pt x="653" y="1774"/>
                    <a:pt x="652" y="1783"/>
                    <a:pt x="646" y="1785"/>
                  </a:cubicBezTo>
                  <a:cubicBezTo>
                    <a:pt x="640" y="1787"/>
                    <a:pt x="645" y="1788"/>
                    <a:pt x="641" y="1795"/>
                  </a:cubicBezTo>
                  <a:cubicBezTo>
                    <a:pt x="636" y="1803"/>
                    <a:pt x="635" y="1802"/>
                    <a:pt x="645" y="1800"/>
                  </a:cubicBezTo>
                  <a:cubicBezTo>
                    <a:pt x="651" y="1799"/>
                    <a:pt x="652" y="1800"/>
                    <a:pt x="652" y="1796"/>
                  </a:cubicBezTo>
                  <a:cubicBezTo>
                    <a:pt x="653" y="1792"/>
                    <a:pt x="657" y="1795"/>
                    <a:pt x="656" y="1792"/>
                  </a:cubicBezTo>
                  <a:cubicBezTo>
                    <a:pt x="655" y="1789"/>
                    <a:pt x="660" y="1789"/>
                    <a:pt x="658" y="1788"/>
                  </a:cubicBezTo>
                  <a:cubicBezTo>
                    <a:pt x="655" y="1786"/>
                    <a:pt x="654" y="1777"/>
                    <a:pt x="659" y="1776"/>
                  </a:cubicBezTo>
                  <a:cubicBezTo>
                    <a:pt x="664" y="1774"/>
                    <a:pt x="669" y="1771"/>
                    <a:pt x="664" y="1771"/>
                  </a:cubicBezTo>
                  <a:cubicBezTo>
                    <a:pt x="659" y="1772"/>
                    <a:pt x="657" y="1770"/>
                    <a:pt x="670" y="1765"/>
                  </a:cubicBezTo>
                  <a:cubicBezTo>
                    <a:pt x="684" y="1760"/>
                    <a:pt x="667" y="1762"/>
                    <a:pt x="681" y="1758"/>
                  </a:cubicBezTo>
                  <a:cubicBezTo>
                    <a:pt x="690" y="1756"/>
                    <a:pt x="693" y="1754"/>
                    <a:pt x="686" y="1750"/>
                  </a:cubicBezTo>
                  <a:cubicBezTo>
                    <a:pt x="679" y="1747"/>
                    <a:pt x="700" y="1733"/>
                    <a:pt x="704" y="1736"/>
                  </a:cubicBezTo>
                  <a:cubicBezTo>
                    <a:pt x="708" y="1738"/>
                    <a:pt x="713" y="1724"/>
                    <a:pt x="702" y="1728"/>
                  </a:cubicBezTo>
                  <a:cubicBezTo>
                    <a:pt x="692" y="1731"/>
                    <a:pt x="691" y="1719"/>
                    <a:pt x="696" y="1710"/>
                  </a:cubicBezTo>
                  <a:cubicBezTo>
                    <a:pt x="701" y="1701"/>
                    <a:pt x="690" y="1705"/>
                    <a:pt x="694" y="1699"/>
                  </a:cubicBezTo>
                  <a:cubicBezTo>
                    <a:pt x="698" y="1692"/>
                    <a:pt x="695" y="1685"/>
                    <a:pt x="699" y="1687"/>
                  </a:cubicBezTo>
                  <a:cubicBezTo>
                    <a:pt x="704" y="1689"/>
                    <a:pt x="702" y="1686"/>
                    <a:pt x="704" y="1688"/>
                  </a:cubicBezTo>
                  <a:cubicBezTo>
                    <a:pt x="706" y="1690"/>
                    <a:pt x="708" y="1690"/>
                    <a:pt x="708" y="1683"/>
                  </a:cubicBezTo>
                  <a:cubicBezTo>
                    <a:pt x="709" y="1676"/>
                    <a:pt x="712" y="1683"/>
                    <a:pt x="713" y="1679"/>
                  </a:cubicBezTo>
                  <a:cubicBezTo>
                    <a:pt x="713" y="1675"/>
                    <a:pt x="715" y="1671"/>
                    <a:pt x="719" y="1673"/>
                  </a:cubicBezTo>
                  <a:cubicBezTo>
                    <a:pt x="723" y="1675"/>
                    <a:pt x="724" y="1673"/>
                    <a:pt x="718" y="1668"/>
                  </a:cubicBezTo>
                  <a:close/>
                  <a:moveTo>
                    <a:pt x="301" y="1648"/>
                  </a:moveTo>
                  <a:cubicBezTo>
                    <a:pt x="306" y="1644"/>
                    <a:pt x="311" y="1629"/>
                    <a:pt x="304" y="1639"/>
                  </a:cubicBezTo>
                  <a:cubicBezTo>
                    <a:pt x="301" y="1642"/>
                    <a:pt x="295" y="1650"/>
                    <a:pt x="301" y="1648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Norway"/>
            <p:cNvSpPr>
              <a:spLocks noEditPoints="1"/>
            </p:cNvSpPr>
            <p:nvPr/>
          </p:nvSpPr>
          <p:spPr bwMode="auto">
            <a:xfrm>
              <a:off x="2987" y="657"/>
              <a:ext cx="1223" cy="1039"/>
            </a:xfrm>
            <a:custGeom>
              <a:avLst/>
              <a:gdLst>
                <a:gd name="T0" fmla="*/ 550 w 2349"/>
                <a:gd name="T1" fmla="*/ 1825 h 1995"/>
                <a:gd name="T2" fmla="*/ 389 w 2349"/>
                <a:gd name="T3" fmla="*/ 1893 h 1995"/>
                <a:gd name="T4" fmla="*/ 71 w 2349"/>
                <a:gd name="T5" fmla="*/ 1857 h 1995"/>
                <a:gd name="T6" fmla="*/ 107 w 2349"/>
                <a:gd name="T7" fmla="*/ 1799 h 1995"/>
                <a:gd name="T8" fmla="*/ 82 w 2349"/>
                <a:gd name="T9" fmla="*/ 1729 h 1995"/>
                <a:gd name="T10" fmla="*/ 79 w 2349"/>
                <a:gd name="T11" fmla="*/ 1671 h 1995"/>
                <a:gd name="T12" fmla="*/ 35 w 2349"/>
                <a:gd name="T13" fmla="*/ 1565 h 1995"/>
                <a:gd name="T14" fmla="*/ 110 w 2349"/>
                <a:gd name="T15" fmla="*/ 1539 h 1995"/>
                <a:gd name="T16" fmla="*/ 64 w 2349"/>
                <a:gd name="T17" fmla="*/ 1429 h 1995"/>
                <a:gd name="T18" fmla="*/ 84 w 2349"/>
                <a:gd name="T19" fmla="*/ 1391 h 1995"/>
                <a:gd name="T20" fmla="*/ 168 w 2349"/>
                <a:gd name="T21" fmla="*/ 1334 h 1995"/>
                <a:gd name="T22" fmla="*/ 306 w 2349"/>
                <a:gd name="T23" fmla="*/ 1297 h 1995"/>
                <a:gd name="T24" fmla="*/ 417 w 2349"/>
                <a:gd name="T25" fmla="*/ 1212 h 1995"/>
                <a:gd name="T26" fmla="*/ 567 w 2349"/>
                <a:gd name="T27" fmla="*/ 1138 h 1995"/>
                <a:gd name="T28" fmla="*/ 546 w 2349"/>
                <a:gd name="T29" fmla="*/ 1064 h 1995"/>
                <a:gd name="T30" fmla="*/ 603 w 2349"/>
                <a:gd name="T31" fmla="*/ 983 h 1995"/>
                <a:gd name="T32" fmla="*/ 691 w 2349"/>
                <a:gd name="T33" fmla="*/ 887 h 1995"/>
                <a:gd name="T34" fmla="*/ 751 w 2349"/>
                <a:gd name="T35" fmla="*/ 768 h 1995"/>
                <a:gd name="T36" fmla="*/ 824 w 2349"/>
                <a:gd name="T37" fmla="*/ 665 h 1995"/>
                <a:gd name="T38" fmla="*/ 921 w 2349"/>
                <a:gd name="T39" fmla="*/ 625 h 1995"/>
                <a:gd name="T40" fmla="*/ 962 w 2349"/>
                <a:gd name="T41" fmla="*/ 559 h 1995"/>
                <a:gd name="T42" fmla="*/ 954 w 2349"/>
                <a:gd name="T43" fmla="*/ 508 h 1995"/>
                <a:gd name="T44" fmla="*/ 1077 w 2349"/>
                <a:gd name="T45" fmla="*/ 487 h 1995"/>
                <a:gd name="T46" fmla="*/ 1139 w 2349"/>
                <a:gd name="T47" fmla="*/ 364 h 1995"/>
                <a:gd name="T48" fmla="*/ 1330 w 2349"/>
                <a:gd name="T49" fmla="*/ 277 h 1995"/>
                <a:gd name="T50" fmla="*/ 1533 w 2349"/>
                <a:gd name="T51" fmla="*/ 197 h 1995"/>
                <a:gd name="T52" fmla="*/ 1642 w 2349"/>
                <a:gd name="T53" fmla="*/ 196 h 1995"/>
                <a:gd name="T54" fmla="*/ 1847 w 2349"/>
                <a:gd name="T55" fmla="*/ 55 h 1995"/>
                <a:gd name="T56" fmla="*/ 2033 w 2349"/>
                <a:gd name="T57" fmla="*/ 61 h 1995"/>
                <a:gd name="T58" fmla="*/ 2095 w 2349"/>
                <a:gd name="T59" fmla="*/ 164 h 1995"/>
                <a:gd name="T60" fmla="*/ 2128 w 2349"/>
                <a:gd name="T61" fmla="*/ 165 h 1995"/>
                <a:gd name="T62" fmla="*/ 2159 w 2349"/>
                <a:gd name="T63" fmla="*/ 343 h 1995"/>
                <a:gd name="T64" fmla="*/ 1114 w 2349"/>
                <a:gd name="T65" fmla="*/ 496 h 1995"/>
                <a:gd name="T66" fmla="*/ 642 w 2349"/>
                <a:gd name="T67" fmla="*/ 1229 h 1995"/>
                <a:gd name="T68" fmla="*/ 849 w 2349"/>
                <a:gd name="T69" fmla="*/ 704 h 1995"/>
                <a:gd name="T70" fmla="*/ 774 w 2349"/>
                <a:gd name="T71" fmla="*/ 992 h 1995"/>
                <a:gd name="T72" fmla="*/ 314 w 2349"/>
                <a:gd name="T73" fmla="*/ 1848 h 1995"/>
                <a:gd name="T74" fmla="*/ 522 w 2349"/>
                <a:gd name="T75" fmla="*/ 1227 h 1995"/>
                <a:gd name="T76" fmla="*/ 578 w 2349"/>
                <a:gd name="T77" fmla="*/ 1754 h 1995"/>
                <a:gd name="T78" fmla="*/ 7 w 2349"/>
                <a:gd name="T79" fmla="*/ 1597 h 1995"/>
                <a:gd name="T80" fmla="*/ 576 w 2349"/>
                <a:gd name="T81" fmla="*/ 983 h 1995"/>
                <a:gd name="T82" fmla="*/ 42 w 2349"/>
                <a:gd name="T83" fmla="*/ 1762 h 1995"/>
                <a:gd name="T84" fmla="*/ 1451 w 2349"/>
                <a:gd name="T85" fmla="*/ 191 h 1995"/>
                <a:gd name="T86" fmla="*/ 666 w 2349"/>
                <a:gd name="T87" fmla="*/ 921 h 1995"/>
                <a:gd name="T88" fmla="*/ 298 w 2349"/>
                <a:gd name="T89" fmla="*/ 1234 h 1995"/>
                <a:gd name="T90" fmla="*/ 1039 w 2349"/>
                <a:gd name="T91" fmla="*/ 428 h 1995"/>
                <a:gd name="T92" fmla="*/ 869 w 2349"/>
                <a:gd name="T93" fmla="*/ 394 h 1995"/>
                <a:gd name="T94" fmla="*/ 1713 w 2349"/>
                <a:gd name="T95" fmla="*/ 30 h 1995"/>
                <a:gd name="T96" fmla="*/ 1236 w 2349"/>
                <a:gd name="T97" fmla="*/ 240 h 1995"/>
                <a:gd name="T98" fmla="*/ 1596 w 2349"/>
                <a:gd name="T99" fmla="*/ 80 h 1995"/>
                <a:gd name="T100" fmla="*/ 1641 w 2349"/>
                <a:gd name="T101" fmla="*/ 125 h 1995"/>
                <a:gd name="T102" fmla="*/ 1266 w 2349"/>
                <a:gd name="T103" fmla="*/ 197 h 1995"/>
                <a:gd name="T104" fmla="*/ 1090 w 2349"/>
                <a:gd name="T105" fmla="*/ 304 h 1995"/>
                <a:gd name="T106" fmla="*/ 913 w 2349"/>
                <a:gd name="T107" fmla="*/ 361 h 1995"/>
                <a:gd name="T108" fmla="*/ 1037 w 2349"/>
                <a:gd name="T109" fmla="*/ 353 h 1995"/>
                <a:gd name="T110" fmla="*/ 916 w 2349"/>
                <a:gd name="T111" fmla="*/ 465 h 1995"/>
                <a:gd name="T112" fmla="*/ 906 w 2349"/>
                <a:gd name="T113" fmla="*/ 441 h 1995"/>
                <a:gd name="T114" fmla="*/ 997 w 2349"/>
                <a:gd name="T115" fmla="*/ 357 h 1995"/>
                <a:gd name="T116" fmla="*/ 918 w 2349"/>
                <a:gd name="T117" fmla="*/ 512 h 1995"/>
                <a:gd name="T118" fmla="*/ 104 w 2349"/>
                <a:gd name="T119" fmla="*/ 1827 h 1995"/>
                <a:gd name="T120" fmla="*/ 10 w 2349"/>
                <a:gd name="T121" fmla="*/ 1542 h 1995"/>
                <a:gd name="T122" fmla="*/ 44 w 2349"/>
                <a:gd name="T123" fmla="*/ 1439 h 19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49" h="1995">
                  <a:moveTo>
                    <a:pt x="42" y="1698"/>
                  </a:moveTo>
                  <a:cubicBezTo>
                    <a:pt x="40" y="1696"/>
                    <a:pt x="38" y="1688"/>
                    <a:pt x="41" y="1690"/>
                  </a:cubicBezTo>
                  <a:cubicBezTo>
                    <a:pt x="41" y="1690"/>
                    <a:pt x="41" y="1690"/>
                    <a:pt x="41" y="1690"/>
                  </a:cubicBezTo>
                  <a:cubicBezTo>
                    <a:pt x="46" y="1695"/>
                    <a:pt x="46" y="1698"/>
                    <a:pt x="47" y="1703"/>
                  </a:cubicBezTo>
                  <a:cubicBezTo>
                    <a:pt x="48" y="1707"/>
                    <a:pt x="42" y="1705"/>
                    <a:pt x="39" y="1702"/>
                  </a:cubicBezTo>
                  <a:cubicBezTo>
                    <a:pt x="32" y="1693"/>
                    <a:pt x="44" y="1701"/>
                    <a:pt x="42" y="1698"/>
                  </a:cubicBezTo>
                  <a:close/>
                  <a:moveTo>
                    <a:pt x="247" y="1329"/>
                  </a:moveTo>
                  <a:cubicBezTo>
                    <a:pt x="247" y="1327"/>
                    <a:pt x="248" y="1325"/>
                    <a:pt x="247" y="1324"/>
                  </a:cubicBezTo>
                  <a:cubicBezTo>
                    <a:pt x="247" y="1326"/>
                    <a:pt x="247" y="1327"/>
                    <a:pt x="247" y="1329"/>
                  </a:cubicBezTo>
                  <a:close/>
                  <a:moveTo>
                    <a:pt x="161" y="1398"/>
                  </a:moveTo>
                  <a:cubicBezTo>
                    <a:pt x="162" y="1397"/>
                    <a:pt x="163" y="1396"/>
                    <a:pt x="164" y="1396"/>
                  </a:cubicBezTo>
                  <a:cubicBezTo>
                    <a:pt x="164" y="1395"/>
                    <a:pt x="163" y="1393"/>
                    <a:pt x="161" y="1390"/>
                  </a:cubicBezTo>
                  <a:cubicBezTo>
                    <a:pt x="162" y="1393"/>
                    <a:pt x="162" y="1396"/>
                    <a:pt x="161" y="1398"/>
                  </a:cubicBezTo>
                  <a:close/>
                  <a:moveTo>
                    <a:pt x="430" y="1186"/>
                  </a:moveTo>
                  <a:cubicBezTo>
                    <a:pt x="430" y="1185"/>
                    <a:pt x="429" y="1185"/>
                    <a:pt x="429" y="1185"/>
                  </a:cubicBezTo>
                  <a:cubicBezTo>
                    <a:pt x="428" y="1183"/>
                    <a:pt x="426" y="1183"/>
                    <a:pt x="425" y="1183"/>
                  </a:cubicBezTo>
                  <a:cubicBezTo>
                    <a:pt x="426" y="1184"/>
                    <a:pt x="428" y="1185"/>
                    <a:pt x="430" y="1186"/>
                  </a:cubicBezTo>
                  <a:close/>
                  <a:moveTo>
                    <a:pt x="30" y="1706"/>
                  </a:moveTo>
                  <a:cubicBezTo>
                    <a:pt x="30" y="1707"/>
                    <a:pt x="30" y="1707"/>
                    <a:pt x="30" y="1707"/>
                  </a:cubicBezTo>
                  <a:cubicBezTo>
                    <a:pt x="30" y="1725"/>
                    <a:pt x="46" y="1688"/>
                    <a:pt x="30" y="1706"/>
                  </a:cubicBezTo>
                  <a:close/>
                  <a:moveTo>
                    <a:pt x="33" y="1672"/>
                  </a:moveTo>
                  <a:cubicBezTo>
                    <a:pt x="31" y="1666"/>
                    <a:pt x="30" y="1655"/>
                    <a:pt x="23" y="1644"/>
                  </a:cubicBezTo>
                  <a:cubicBezTo>
                    <a:pt x="19" y="1639"/>
                    <a:pt x="21" y="1653"/>
                    <a:pt x="21" y="1658"/>
                  </a:cubicBezTo>
                  <a:cubicBezTo>
                    <a:pt x="21" y="1658"/>
                    <a:pt x="21" y="1658"/>
                    <a:pt x="21" y="1659"/>
                  </a:cubicBezTo>
                  <a:cubicBezTo>
                    <a:pt x="21" y="1659"/>
                    <a:pt x="22" y="1659"/>
                    <a:pt x="22" y="1659"/>
                  </a:cubicBezTo>
                  <a:cubicBezTo>
                    <a:pt x="22" y="1660"/>
                    <a:pt x="23" y="1660"/>
                    <a:pt x="24" y="1661"/>
                  </a:cubicBezTo>
                  <a:cubicBezTo>
                    <a:pt x="27" y="1664"/>
                    <a:pt x="26" y="1668"/>
                    <a:pt x="20" y="1664"/>
                  </a:cubicBezTo>
                  <a:cubicBezTo>
                    <a:pt x="17" y="1662"/>
                    <a:pt x="19" y="1670"/>
                    <a:pt x="20" y="1671"/>
                  </a:cubicBezTo>
                  <a:cubicBezTo>
                    <a:pt x="20" y="1672"/>
                    <a:pt x="32" y="1680"/>
                    <a:pt x="33" y="1680"/>
                  </a:cubicBezTo>
                  <a:cubicBezTo>
                    <a:pt x="35" y="1680"/>
                    <a:pt x="34" y="1673"/>
                    <a:pt x="33" y="1672"/>
                  </a:cubicBezTo>
                  <a:close/>
                  <a:moveTo>
                    <a:pt x="597" y="1851"/>
                  </a:moveTo>
                  <a:cubicBezTo>
                    <a:pt x="598" y="1851"/>
                    <a:pt x="593" y="1836"/>
                    <a:pt x="593" y="1835"/>
                  </a:cubicBezTo>
                  <a:cubicBezTo>
                    <a:pt x="589" y="1827"/>
                    <a:pt x="581" y="1836"/>
                    <a:pt x="575" y="1832"/>
                  </a:cubicBezTo>
                  <a:cubicBezTo>
                    <a:pt x="572" y="1830"/>
                    <a:pt x="578" y="1820"/>
                    <a:pt x="574" y="1821"/>
                  </a:cubicBezTo>
                  <a:cubicBezTo>
                    <a:pt x="564" y="1824"/>
                    <a:pt x="573" y="1830"/>
                    <a:pt x="566" y="1832"/>
                  </a:cubicBezTo>
                  <a:cubicBezTo>
                    <a:pt x="562" y="1833"/>
                    <a:pt x="561" y="1825"/>
                    <a:pt x="558" y="1824"/>
                  </a:cubicBezTo>
                  <a:cubicBezTo>
                    <a:pt x="550" y="1820"/>
                    <a:pt x="555" y="1836"/>
                    <a:pt x="550" y="1825"/>
                  </a:cubicBezTo>
                  <a:cubicBezTo>
                    <a:pt x="549" y="1822"/>
                    <a:pt x="548" y="1828"/>
                    <a:pt x="539" y="1819"/>
                  </a:cubicBezTo>
                  <a:cubicBezTo>
                    <a:pt x="539" y="1818"/>
                    <a:pt x="536" y="1820"/>
                    <a:pt x="535" y="1818"/>
                  </a:cubicBezTo>
                  <a:cubicBezTo>
                    <a:pt x="534" y="1816"/>
                    <a:pt x="535" y="1813"/>
                    <a:pt x="535" y="1810"/>
                  </a:cubicBezTo>
                  <a:cubicBezTo>
                    <a:pt x="535" y="1806"/>
                    <a:pt x="522" y="1790"/>
                    <a:pt x="522" y="1788"/>
                  </a:cubicBezTo>
                  <a:cubicBezTo>
                    <a:pt x="526" y="1769"/>
                    <a:pt x="531" y="1791"/>
                    <a:pt x="532" y="1781"/>
                  </a:cubicBezTo>
                  <a:cubicBezTo>
                    <a:pt x="535" y="1761"/>
                    <a:pt x="509" y="1731"/>
                    <a:pt x="527" y="1727"/>
                  </a:cubicBezTo>
                  <a:cubicBezTo>
                    <a:pt x="533" y="1725"/>
                    <a:pt x="530" y="1749"/>
                    <a:pt x="534" y="1744"/>
                  </a:cubicBezTo>
                  <a:cubicBezTo>
                    <a:pt x="535" y="1741"/>
                    <a:pt x="540" y="1715"/>
                    <a:pt x="531" y="1720"/>
                  </a:cubicBezTo>
                  <a:cubicBezTo>
                    <a:pt x="484" y="1743"/>
                    <a:pt x="537" y="1752"/>
                    <a:pt x="522" y="1769"/>
                  </a:cubicBezTo>
                  <a:cubicBezTo>
                    <a:pt x="509" y="1785"/>
                    <a:pt x="506" y="1756"/>
                    <a:pt x="498" y="1747"/>
                  </a:cubicBezTo>
                  <a:cubicBezTo>
                    <a:pt x="497" y="1745"/>
                    <a:pt x="491" y="1741"/>
                    <a:pt x="490" y="1745"/>
                  </a:cubicBezTo>
                  <a:cubicBezTo>
                    <a:pt x="489" y="1748"/>
                    <a:pt x="502" y="1757"/>
                    <a:pt x="503" y="1765"/>
                  </a:cubicBezTo>
                  <a:cubicBezTo>
                    <a:pt x="504" y="1784"/>
                    <a:pt x="495" y="1766"/>
                    <a:pt x="491" y="1769"/>
                  </a:cubicBezTo>
                  <a:cubicBezTo>
                    <a:pt x="489" y="1770"/>
                    <a:pt x="494" y="1774"/>
                    <a:pt x="494" y="1775"/>
                  </a:cubicBezTo>
                  <a:cubicBezTo>
                    <a:pt x="498" y="1778"/>
                    <a:pt x="513" y="1789"/>
                    <a:pt x="513" y="1790"/>
                  </a:cubicBezTo>
                  <a:cubicBezTo>
                    <a:pt x="513" y="1794"/>
                    <a:pt x="508" y="1796"/>
                    <a:pt x="510" y="1800"/>
                  </a:cubicBezTo>
                  <a:cubicBezTo>
                    <a:pt x="511" y="1803"/>
                    <a:pt x="517" y="1804"/>
                    <a:pt x="516" y="1806"/>
                  </a:cubicBezTo>
                  <a:cubicBezTo>
                    <a:pt x="510" y="1818"/>
                    <a:pt x="506" y="1807"/>
                    <a:pt x="502" y="1811"/>
                  </a:cubicBezTo>
                  <a:cubicBezTo>
                    <a:pt x="495" y="1819"/>
                    <a:pt x="501" y="1834"/>
                    <a:pt x="497" y="1841"/>
                  </a:cubicBezTo>
                  <a:cubicBezTo>
                    <a:pt x="497" y="1842"/>
                    <a:pt x="495" y="1845"/>
                    <a:pt x="493" y="1844"/>
                  </a:cubicBezTo>
                  <a:cubicBezTo>
                    <a:pt x="491" y="1843"/>
                    <a:pt x="490" y="1846"/>
                    <a:pt x="489" y="1847"/>
                  </a:cubicBezTo>
                  <a:cubicBezTo>
                    <a:pt x="478" y="1853"/>
                    <a:pt x="487" y="1839"/>
                    <a:pt x="472" y="1844"/>
                  </a:cubicBezTo>
                  <a:cubicBezTo>
                    <a:pt x="472" y="1844"/>
                    <a:pt x="471" y="1860"/>
                    <a:pt x="456" y="1856"/>
                  </a:cubicBezTo>
                  <a:cubicBezTo>
                    <a:pt x="455" y="1856"/>
                    <a:pt x="455" y="1856"/>
                    <a:pt x="455" y="1856"/>
                  </a:cubicBezTo>
                  <a:cubicBezTo>
                    <a:pt x="453" y="1854"/>
                    <a:pt x="458" y="1851"/>
                    <a:pt x="455" y="1847"/>
                  </a:cubicBezTo>
                  <a:cubicBezTo>
                    <a:pt x="453" y="1844"/>
                    <a:pt x="450" y="1840"/>
                    <a:pt x="449" y="1841"/>
                  </a:cubicBezTo>
                  <a:cubicBezTo>
                    <a:pt x="446" y="1848"/>
                    <a:pt x="445" y="1838"/>
                    <a:pt x="443" y="1836"/>
                  </a:cubicBezTo>
                  <a:cubicBezTo>
                    <a:pt x="441" y="1834"/>
                    <a:pt x="442" y="1841"/>
                    <a:pt x="440" y="1841"/>
                  </a:cubicBezTo>
                  <a:cubicBezTo>
                    <a:pt x="436" y="1840"/>
                    <a:pt x="438" y="1829"/>
                    <a:pt x="436" y="1831"/>
                  </a:cubicBezTo>
                  <a:cubicBezTo>
                    <a:pt x="434" y="1833"/>
                    <a:pt x="430" y="1831"/>
                    <a:pt x="429" y="1832"/>
                  </a:cubicBezTo>
                  <a:cubicBezTo>
                    <a:pt x="425" y="1837"/>
                    <a:pt x="450" y="1850"/>
                    <a:pt x="445" y="1852"/>
                  </a:cubicBezTo>
                  <a:cubicBezTo>
                    <a:pt x="435" y="1856"/>
                    <a:pt x="419" y="1866"/>
                    <a:pt x="414" y="1868"/>
                  </a:cubicBezTo>
                  <a:cubicBezTo>
                    <a:pt x="413" y="1869"/>
                    <a:pt x="401" y="1866"/>
                    <a:pt x="405" y="1873"/>
                  </a:cubicBezTo>
                  <a:cubicBezTo>
                    <a:pt x="409" y="1879"/>
                    <a:pt x="428" y="1864"/>
                    <a:pt x="414" y="1878"/>
                  </a:cubicBezTo>
                  <a:cubicBezTo>
                    <a:pt x="412" y="1880"/>
                    <a:pt x="417" y="1878"/>
                    <a:pt x="418" y="1879"/>
                  </a:cubicBezTo>
                  <a:cubicBezTo>
                    <a:pt x="421" y="1888"/>
                    <a:pt x="383" y="1887"/>
                    <a:pt x="393" y="1888"/>
                  </a:cubicBezTo>
                  <a:cubicBezTo>
                    <a:pt x="407" y="1890"/>
                    <a:pt x="397" y="1891"/>
                    <a:pt x="389" y="1893"/>
                  </a:cubicBezTo>
                  <a:cubicBezTo>
                    <a:pt x="379" y="1895"/>
                    <a:pt x="401" y="1892"/>
                    <a:pt x="399" y="1896"/>
                  </a:cubicBezTo>
                  <a:cubicBezTo>
                    <a:pt x="395" y="1904"/>
                    <a:pt x="373" y="1905"/>
                    <a:pt x="373" y="1905"/>
                  </a:cubicBezTo>
                  <a:cubicBezTo>
                    <a:pt x="372" y="1906"/>
                    <a:pt x="378" y="1909"/>
                    <a:pt x="375" y="1912"/>
                  </a:cubicBezTo>
                  <a:cubicBezTo>
                    <a:pt x="367" y="1923"/>
                    <a:pt x="339" y="1953"/>
                    <a:pt x="337" y="1954"/>
                  </a:cubicBezTo>
                  <a:cubicBezTo>
                    <a:pt x="336" y="1955"/>
                    <a:pt x="322" y="1955"/>
                    <a:pt x="314" y="1962"/>
                  </a:cubicBezTo>
                  <a:cubicBezTo>
                    <a:pt x="310" y="1964"/>
                    <a:pt x="314" y="1972"/>
                    <a:pt x="310" y="1974"/>
                  </a:cubicBezTo>
                  <a:cubicBezTo>
                    <a:pt x="310" y="1974"/>
                    <a:pt x="287" y="1977"/>
                    <a:pt x="298" y="1969"/>
                  </a:cubicBezTo>
                  <a:cubicBezTo>
                    <a:pt x="299" y="1968"/>
                    <a:pt x="294" y="1957"/>
                    <a:pt x="292" y="1959"/>
                  </a:cubicBezTo>
                  <a:cubicBezTo>
                    <a:pt x="290" y="1961"/>
                    <a:pt x="290" y="1976"/>
                    <a:pt x="286" y="1979"/>
                  </a:cubicBezTo>
                  <a:cubicBezTo>
                    <a:pt x="285" y="1980"/>
                    <a:pt x="262" y="1985"/>
                    <a:pt x="260" y="1984"/>
                  </a:cubicBezTo>
                  <a:cubicBezTo>
                    <a:pt x="259" y="1984"/>
                    <a:pt x="259" y="1984"/>
                    <a:pt x="258" y="1984"/>
                  </a:cubicBezTo>
                  <a:cubicBezTo>
                    <a:pt x="249" y="1987"/>
                    <a:pt x="235" y="1983"/>
                    <a:pt x="227" y="1985"/>
                  </a:cubicBezTo>
                  <a:cubicBezTo>
                    <a:pt x="226" y="1985"/>
                    <a:pt x="225" y="1986"/>
                    <a:pt x="225" y="1984"/>
                  </a:cubicBezTo>
                  <a:cubicBezTo>
                    <a:pt x="225" y="1984"/>
                    <a:pt x="225" y="1982"/>
                    <a:pt x="224" y="1982"/>
                  </a:cubicBezTo>
                  <a:cubicBezTo>
                    <a:pt x="221" y="1983"/>
                    <a:pt x="204" y="1993"/>
                    <a:pt x="202" y="1992"/>
                  </a:cubicBezTo>
                  <a:cubicBezTo>
                    <a:pt x="197" y="1990"/>
                    <a:pt x="217" y="1979"/>
                    <a:pt x="216" y="1976"/>
                  </a:cubicBezTo>
                  <a:cubicBezTo>
                    <a:pt x="215" y="1975"/>
                    <a:pt x="200" y="1986"/>
                    <a:pt x="198" y="1985"/>
                  </a:cubicBezTo>
                  <a:cubicBezTo>
                    <a:pt x="198" y="1985"/>
                    <a:pt x="204" y="1973"/>
                    <a:pt x="199" y="1979"/>
                  </a:cubicBezTo>
                  <a:cubicBezTo>
                    <a:pt x="195" y="1983"/>
                    <a:pt x="195" y="1986"/>
                    <a:pt x="195" y="1979"/>
                  </a:cubicBezTo>
                  <a:cubicBezTo>
                    <a:pt x="195" y="1974"/>
                    <a:pt x="185" y="1983"/>
                    <a:pt x="185" y="1977"/>
                  </a:cubicBezTo>
                  <a:cubicBezTo>
                    <a:pt x="185" y="1972"/>
                    <a:pt x="203" y="1974"/>
                    <a:pt x="201" y="1971"/>
                  </a:cubicBezTo>
                  <a:cubicBezTo>
                    <a:pt x="200" y="1967"/>
                    <a:pt x="193" y="1972"/>
                    <a:pt x="189" y="1970"/>
                  </a:cubicBezTo>
                  <a:cubicBezTo>
                    <a:pt x="185" y="1967"/>
                    <a:pt x="180" y="1962"/>
                    <a:pt x="185" y="1971"/>
                  </a:cubicBezTo>
                  <a:cubicBezTo>
                    <a:pt x="187" y="1973"/>
                    <a:pt x="184" y="1974"/>
                    <a:pt x="180" y="1972"/>
                  </a:cubicBezTo>
                  <a:cubicBezTo>
                    <a:pt x="179" y="1972"/>
                    <a:pt x="177" y="1960"/>
                    <a:pt x="177" y="1967"/>
                  </a:cubicBezTo>
                  <a:cubicBezTo>
                    <a:pt x="176" y="1972"/>
                    <a:pt x="186" y="1995"/>
                    <a:pt x="166" y="1980"/>
                  </a:cubicBezTo>
                  <a:cubicBezTo>
                    <a:pt x="155" y="1971"/>
                    <a:pt x="174" y="1961"/>
                    <a:pt x="184" y="1955"/>
                  </a:cubicBezTo>
                  <a:cubicBezTo>
                    <a:pt x="186" y="1954"/>
                    <a:pt x="189" y="1953"/>
                    <a:pt x="189" y="1952"/>
                  </a:cubicBezTo>
                  <a:cubicBezTo>
                    <a:pt x="188" y="1949"/>
                    <a:pt x="176" y="1958"/>
                    <a:pt x="174" y="1957"/>
                  </a:cubicBezTo>
                  <a:cubicBezTo>
                    <a:pt x="170" y="1955"/>
                    <a:pt x="176" y="1951"/>
                    <a:pt x="176" y="1947"/>
                  </a:cubicBezTo>
                  <a:cubicBezTo>
                    <a:pt x="177" y="1944"/>
                    <a:pt x="173" y="1945"/>
                    <a:pt x="172" y="1945"/>
                  </a:cubicBezTo>
                  <a:cubicBezTo>
                    <a:pt x="165" y="1946"/>
                    <a:pt x="170" y="1952"/>
                    <a:pt x="169" y="1956"/>
                  </a:cubicBezTo>
                  <a:cubicBezTo>
                    <a:pt x="167" y="1962"/>
                    <a:pt x="136" y="1945"/>
                    <a:pt x="132" y="1944"/>
                  </a:cubicBezTo>
                  <a:cubicBezTo>
                    <a:pt x="113" y="1938"/>
                    <a:pt x="118" y="1930"/>
                    <a:pt x="109" y="1924"/>
                  </a:cubicBezTo>
                  <a:cubicBezTo>
                    <a:pt x="106" y="1921"/>
                    <a:pt x="96" y="1923"/>
                    <a:pt x="92" y="1922"/>
                  </a:cubicBezTo>
                  <a:cubicBezTo>
                    <a:pt x="84" y="1919"/>
                    <a:pt x="64" y="1893"/>
                    <a:pt x="65" y="1884"/>
                  </a:cubicBezTo>
                  <a:cubicBezTo>
                    <a:pt x="65" y="1873"/>
                    <a:pt x="74" y="1869"/>
                    <a:pt x="71" y="1857"/>
                  </a:cubicBezTo>
                  <a:cubicBezTo>
                    <a:pt x="70" y="1853"/>
                    <a:pt x="79" y="1867"/>
                    <a:pt x="80" y="1860"/>
                  </a:cubicBezTo>
                  <a:cubicBezTo>
                    <a:pt x="80" y="1857"/>
                    <a:pt x="66" y="1846"/>
                    <a:pt x="73" y="1844"/>
                  </a:cubicBezTo>
                  <a:cubicBezTo>
                    <a:pt x="83" y="1842"/>
                    <a:pt x="86" y="1857"/>
                    <a:pt x="87" y="1862"/>
                  </a:cubicBezTo>
                  <a:cubicBezTo>
                    <a:pt x="87" y="1863"/>
                    <a:pt x="86" y="1868"/>
                    <a:pt x="88" y="1868"/>
                  </a:cubicBezTo>
                  <a:cubicBezTo>
                    <a:pt x="91" y="1867"/>
                    <a:pt x="95" y="1854"/>
                    <a:pt x="100" y="1854"/>
                  </a:cubicBezTo>
                  <a:cubicBezTo>
                    <a:pt x="110" y="1855"/>
                    <a:pt x="118" y="1879"/>
                    <a:pt x="133" y="1872"/>
                  </a:cubicBezTo>
                  <a:cubicBezTo>
                    <a:pt x="135" y="1872"/>
                    <a:pt x="128" y="1871"/>
                    <a:pt x="127" y="1871"/>
                  </a:cubicBezTo>
                  <a:cubicBezTo>
                    <a:pt x="117" y="1868"/>
                    <a:pt x="121" y="1856"/>
                    <a:pt x="124" y="1854"/>
                  </a:cubicBezTo>
                  <a:cubicBezTo>
                    <a:pt x="132" y="1850"/>
                    <a:pt x="165" y="1848"/>
                    <a:pt x="169" y="1841"/>
                  </a:cubicBezTo>
                  <a:cubicBezTo>
                    <a:pt x="170" y="1840"/>
                    <a:pt x="155" y="1843"/>
                    <a:pt x="154" y="1843"/>
                  </a:cubicBezTo>
                  <a:cubicBezTo>
                    <a:pt x="146" y="1844"/>
                    <a:pt x="124" y="1848"/>
                    <a:pt x="119" y="1855"/>
                  </a:cubicBezTo>
                  <a:cubicBezTo>
                    <a:pt x="118" y="1857"/>
                    <a:pt x="117" y="1865"/>
                    <a:pt x="115" y="1862"/>
                  </a:cubicBezTo>
                  <a:cubicBezTo>
                    <a:pt x="113" y="1859"/>
                    <a:pt x="108" y="1851"/>
                    <a:pt x="114" y="1850"/>
                  </a:cubicBezTo>
                  <a:cubicBezTo>
                    <a:pt x="115" y="1850"/>
                    <a:pt x="119" y="1851"/>
                    <a:pt x="117" y="1849"/>
                  </a:cubicBezTo>
                  <a:cubicBezTo>
                    <a:pt x="113" y="1845"/>
                    <a:pt x="101" y="1848"/>
                    <a:pt x="101" y="1839"/>
                  </a:cubicBezTo>
                  <a:cubicBezTo>
                    <a:pt x="101" y="1832"/>
                    <a:pt x="125" y="1829"/>
                    <a:pt x="125" y="1828"/>
                  </a:cubicBezTo>
                  <a:cubicBezTo>
                    <a:pt x="124" y="1826"/>
                    <a:pt x="110" y="1831"/>
                    <a:pt x="114" y="1825"/>
                  </a:cubicBezTo>
                  <a:cubicBezTo>
                    <a:pt x="121" y="1816"/>
                    <a:pt x="134" y="1812"/>
                    <a:pt x="143" y="1806"/>
                  </a:cubicBezTo>
                  <a:cubicBezTo>
                    <a:pt x="146" y="1803"/>
                    <a:pt x="158" y="1806"/>
                    <a:pt x="155" y="1803"/>
                  </a:cubicBezTo>
                  <a:cubicBezTo>
                    <a:pt x="147" y="1795"/>
                    <a:pt x="131" y="1813"/>
                    <a:pt x="124" y="1812"/>
                  </a:cubicBezTo>
                  <a:cubicBezTo>
                    <a:pt x="116" y="1811"/>
                    <a:pt x="135" y="1805"/>
                    <a:pt x="131" y="1800"/>
                  </a:cubicBezTo>
                  <a:cubicBezTo>
                    <a:pt x="131" y="1799"/>
                    <a:pt x="131" y="1799"/>
                    <a:pt x="130" y="1798"/>
                  </a:cubicBezTo>
                  <a:cubicBezTo>
                    <a:pt x="130" y="1797"/>
                    <a:pt x="130" y="1797"/>
                    <a:pt x="130" y="1797"/>
                  </a:cubicBezTo>
                  <a:cubicBezTo>
                    <a:pt x="130" y="1797"/>
                    <a:pt x="130" y="1797"/>
                    <a:pt x="130" y="1798"/>
                  </a:cubicBezTo>
                  <a:cubicBezTo>
                    <a:pt x="130" y="1798"/>
                    <a:pt x="130" y="1798"/>
                    <a:pt x="130" y="1798"/>
                  </a:cubicBezTo>
                  <a:cubicBezTo>
                    <a:pt x="130" y="1800"/>
                    <a:pt x="130" y="1803"/>
                    <a:pt x="128" y="1803"/>
                  </a:cubicBezTo>
                  <a:cubicBezTo>
                    <a:pt x="125" y="1803"/>
                    <a:pt x="119" y="1796"/>
                    <a:pt x="118" y="1800"/>
                  </a:cubicBezTo>
                  <a:cubicBezTo>
                    <a:pt x="118" y="1802"/>
                    <a:pt x="114" y="1805"/>
                    <a:pt x="113" y="1802"/>
                  </a:cubicBezTo>
                  <a:cubicBezTo>
                    <a:pt x="111" y="1797"/>
                    <a:pt x="138" y="1777"/>
                    <a:pt x="141" y="1776"/>
                  </a:cubicBezTo>
                  <a:cubicBezTo>
                    <a:pt x="145" y="1774"/>
                    <a:pt x="151" y="1770"/>
                    <a:pt x="155" y="1770"/>
                  </a:cubicBezTo>
                  <a:cubicBezTo>
                    <a:pt x="156" y="1770"/>
                    <a:pt x="162" y="1769"/>
                    <a:pt x="162" y="1769"/>
                  </a:cubicBezTo>
                  <a:cubicBezTo>
                    <a:pt x="153" y="1762"/>
                    <a:pt x="144" y="1775"/>
                    <a:pt x="137" y="1774"/>
                  </a:cubicBezTo>
                  <a:cubicBezTo>
                    <a:pt x="130" y="1772"/>
                    <a:pt x="147" y="1757"/>
                    <a:pt x="141" y="1756"/>
                  </a:cubicBezTo>
                  <a:cubicBezTo>
                    <a:pt x="137" y="1755"/>
                    <a:pt x="132" y="1773"/>
                    <a:pt x="131" y="1776"/>
                  </a:cubicBezTo>
                  <a:cubicBezTo>
                    <a:pt x="127" y="1783"/>
                    <a:pt x="119" y="1794"/>
                    <a:pt x="114" y="1792"/>
                  </a:cubicBezTo>
                  <a:cubicBezTo>
                    <a:pt x="113" y="1792"/>
                    <a:pt x="114" y="1786"/>
                    <a:pt x="112" y="1788"/>
                  </a:cubicBezTo>
                  <a:cubicBezTo>
                    <a:pt x="110" y="1790"/>
                    <a:pt x="114" y="1800"/>
                    <a:pt x="107" y="1799"/>
                  </a:cubicBezTo>
                  <a:cubicBezTo>
                    <a:pt x="100" y="1798"/>
                    <a:pt x="102" y="1787"/>
                    <a:pt x="109" y="1786"/>
                  </a:cubicBezTo>
                  <a:cubicBezTo>
                    <a:pt x="113" y="1785"/>
                    <a:pt x="116" y="1784"/>
                    <a:pt x="120" y="1782"/>
                  </a:cubicBezTo>
                  <a:cubicBezTo>
                    <a:pt x="121" y="1782"/>
                    <a:pt x="124" y="1781"/>
                    <a:pt x="123" y="1780"/>
                  </a:cubicBezTo>
                  <a:cubicBezTo>
                    <a:pt x="121" y="1778"/>
                    <a:pt x="109" y="1781"/>
                    <a:pt x="106" y="1781"/>
                  </a:cubicBezTo>
                  <a:cubicBezTo>
                    <a:pt x="103" y="1781"/>
                    <a:pt x="96" y="1773"/>
                    <a:pt x="96" y="1773"/>
                  </a:cubicBezTo>
                  <a:cubicBezTo>
                    <a:pt x="90" y="1776"/>
                    <a:pt x="99" y="1779"/>
                    <a:pt x="96" y="1783"/>
                  </a:cubicBezTo>
                  <a:cubicBezTo>
                    <a:pt x="92" y="1786"/>
                    <a:pt x="82" y="1783"/>
                    <a:pt x="82" y="1791"/>
                  </a:cubicBezTo>
                  <a:cubicBezTo>
                    <a:pt x="82" y="1793"/>
                    <a:pt x="85" y="1790"/>
                    <a:pt x="85" y="1790"/>
                  </a:cubicBezTo>
                  <a:cubicBezTo>
                    <a:pt x="91" y="1786"/>
                    <a:pt x="104" y="1792"/>
                    <a:pt x="99" y="1800"/>
                  </a:cubicBezTo>
                  <a:cubicBezTo>
                    <a:pt x="98" y="1803"/>
                    <a:pt x="89" y="1801"/>
                    <a:pt x="87" y="1801"/>
                  </a:cubicBezTo>
                  <a:cubicBezTo>
                    <a:pt x="87" y="1801"/>
                    <a:pt x="82" y="1810"/>
                    <a:pt x="78" y="1808"/>
                  </a:cubicBezTo>
                  <a:cubicBezTo>
                    <a:pt x="76" y="1806"/>
                    <a:pt x="84" y="1783"/>
                    <a:pt x="74" y="1790"/>
                  </a:cubicBezTo>
                  <a:cubicBezTo>
                    <a:pt x="68" y="1794"/>
                    <a:pt x="77" y="1807"/>
                    <a:pt x="71" y="1809"/>
                  </a:cubicBezTo>
                  <a:cubicBezTo>
                    <a:pt x="57" y="1815"/>
                    <a:pt x="66" y="1791"/>
                    <a:pt x="62" y="1791"/>
                  </a:cubicBezTo>
                  <a:cubicBezTo>
                    <a:pt x="58" y="1790"/>
                    <a:pt x="62" y="1807"/>
                    <a:pt x="59" y="1808"/>
                  </a:cubicBezTo>
                  <a:cubicBezTo>
                    <a:pt x="57" y="1808"/>
                    <a:pt x="56" y="1799"/>
                    <a:pt x="56" y="1798"/>
                  </a:cubicBezTo>
                  <a:cubicBezTo>
                    <a:pt x="57" y="1790"/>
                    <a:pt x="53" y="1788"/>
                    <a:pt x="53" y="1796"/>
                  </a:cubicBezTo>
                  <a:cubicBezTo>
                    <a:pt x="53" y="1797"/>
                    <a:pt x="54" y="1801"/>
                    <a:pt x="52" y="1801"/>
                  </a:cubicBezTo>
                  <a:cubicBezTo>
                    <a:pt x="47" y="1801"/>
                    <a:pt x="40" y="1780"/>
                    <a:pt x="40" y="1776"/>
                  </a:cubicBezTo>
                  <a:cubicBezTo>
                    <a:pt x="40" y="1773"/>
                    <a:pt x="44" y="1776"/>
                    <a:pt x="46" y="1774"/>
                  </a:cubicBezTo>
                  <a:cubicBezTo>
                    <a:pt x="52" y="1767"/>
                    <a:pt x="49" y="1752"/>
                    <a:pt x="58" y="1756"/>
                  </a:cubicBezTo>
                  <a:cubicBezTo>
                    <a:pt x="60" y="1757"/>
                    <a:pt x="59" y="1764"/>
                    <a:pt x="60" y="1765"/>
                  </a:cubicBezTo>
                  <a:cubicBezTo>
                    <a:pt x="67" y="1766"/>
                    <a:pt x="61" y="1751"/>
                    <a:pt x="65" y="1746"/>
                  </a:cubicBezTo>
                  <a:cubicBezTo>
                    <a:pt x="66" y="1746"/>
                    <a:pt x="67" y="1744"/>
                    <a:pt x="68" y="1745"/>
                  </a:cubicBezTo>
                  <a:cubicBezTo>
                    <a:pt x="69" y="1746"/>
                    <a:pt x="68" y="1765"/>
                    <a:pt x="67" y="1768"/>
                  </a:cubicBezTo>
                  <a:cubicBezTo>
                    <a:pt x="66" y="1769"/>
                    <a:pt x="56" y="1774"/>
                    <a:pt x="61" y="1777"/>
                  </a:cubicBezTo>
                  <a:cubicBezTo>
                    <a:pt x="71" y="1784"/>
                    <a:pt x="71" y="1753"/>
                    <a:pt x="75" y="1752"/>
                  </a:cubicBezTo>
                  <a:cubicBezTo>
                    <a:pt x="83" y="1751"/>
                    <a:pt x="89" y="1763"/>
                    <a:pt x="89" y="1763"/>
                  </a:cubicBezTo>
                  <a:cubicBezTo>
                    <a:pt x="94" y="1764"/>
                    <a:pt x="91" y="1756"/>
                    <a:pt x="98" y="1756"/>
                  </a:cubicBezTo>
                  <a:cubicBezTo>
                    <a:pt x="112" y="1755"/>
                    <a:pt x="90" y="1753"/>
                    <a:pt x="90" y="1752"/>
                  </a:cubicBezTo>
                  <a:cubicBezTo>
                    <a:pt x="92" y="1740"/>
                    <a:pt x="114" y="1744"/>
                    <a:pt x="125" y="1738"/>
                  </a:cubicBezTo>
                  <a:cubicBezTo>
                    <a:pt x="137" y="1731"/>
                    <a:pt x="142" y="1728"/>
                    <a:pt x="141" y="1727"/>
                  </a:cubicBezTo>
                  <a:cubicBezTo>
                    <a:pt x="135" y="1723"/>
                    <a:pt x="118" y="1739"/>
                    <a:pt x="112" y="1739"/>
                  </a:cubicBezTo>
                  <a:cubicBezTo>
                    <a:pt x="103" y="1740"/>
                    <a:pt x="112" y="1730"/>
                    <a:pt x="110" y="1727"/>
                  </a:cubicBezTo>
                  <a:cubicBezTo>
                    <a:pt x="108" y="1721"/>
                    <a:pt x="105" y="1739"/>
                    <a:pt x="99" y="1739"/>
                  </a:cubicBezTo>
                  <a:cubicBezTo>
                    <a:pt x="91" y="1740"/>
                    <a:pt x="89" y="1726"/>
                    <a:pt x="87" y="1728"/>
                  </a:cubicBezTo>
                  <a:cubicBezTo>
                    <a:pt x="86" y="1729"/>
                    <a:pt x="83" y="1731"/>
                    <a:pt x="82" y="1729"/>
                  </a:cubicBezTo>
                  <a:cubicBezTo>
                    <a:pt x="81" y="1727"/>
                    <a:pt x="89" y="1725"/>
                    <a:pt x="90" y="1725"/>
                  </a:cubicBezTo>
                  <a:cubicBezTo>
                    <a:pt x="92" y="1723"/>
                    <a:pt x="88" y="1719"/>
                    <a:pt x="93" y="1717"/>
                  </a:cubicBezTo>
                  <a:cubicBezTo>
                    <a:pt x="97" y="1715"/>
                    <a:pt x="107" y="1715"/>
                    <a:pt x="110" y="1712"/>
                  </a:cubicBezTo>
                  <a:cubicBezTo>
                    <a:pt x="117" y="1706"/>
                    <a:pt x="108" y="1698"/>
                    <a:pt x="131" y="1691"/>
                  </a:cubicBezTo>
                  <a:cubicBezTo>
                    <a:pt x="133" y="1690"/>
                    <a:pt x="138" y="1690"/>
                    <a:pt x="139" y="1689"/>
                  </a:cubicBezTo>
                  <a:cubicBezTo>
                    <a:pt x="142" y="1683"/>
                    <a:pt x="120" y="1697"/>
                    <a:pt x="120" y="1680"/>
                  </a:cubicBezTo>
                  <a:cubicBezTo>
                    <a:pt x="119" y="1676"/>
                    <a:pt x="155" y="1643"/>
                    <a:pt x="164" y="1645"/>
                  </a:cubicBezTo>
                  <a:cubicBezTo>
                    <a:pt x="172" y="1646"/>
                    <a:pt x="160" y="1672"/>
                    <a:pt x="159" y="1681"/>
                  </a:cubicBezTo>
                  <a:cubicBezTo>
                    <a:pt x="159" y="1682"/>
                    <a:pt x="158" y="1696"/>
                    <a:pt x="160" y="1695"/>
                  </a:cubicBezTo>
                  <a:cubicBezTo>
                    <a:pt x="167" y="1691"/>
                    <a:pt x="163" y="1657"/>
                    <a:pt x="174" y="1651"/>
                  </a:cubicBezTo>
                  <a:cubicBezTo>
                    <a:pt x="183" y="1645"/>
                    <a:pt x="183" y="1638"/>
                    <a:pt x="196" y="1636"/>
                  </a:cubicBezTo>
                  <a:cubicBezTo>
                    <a:pt x="199" y="1636"/>
                    <a:pt x="211" y="1641"/>
                    <a:pt x="212" y="1635"/>
                  </a:cubicBezTo>
                  <a:cubicBezTo>
                    <a:pt x="212" y="1634"/>
                    <a:pt x="194" y="1635"/>
                    <a:pt x="193" y="1634"/>
                  </a:cubicBezTo>
                  <a:cubicBezTo>
                    <a:pt x="193" y="1634"/>
                    <a:pt x="205" y="1622"/>
                    <a:pt x="204" y="1621"/>
                  </a:cubicBezTo>
                  <a:cubicBezTo>
                    <a:pt x="200" y="1619"/>
                    <a:pt x="177" y="1645"/>
                    <a:pt x="169" y="1645"/>
                  </a:cubicBezTo>
                  <a:cubicBezTo>
                    <a:pt x="158" y="1643"/>
                    <a:pt x="177" y="1632"/>
                    <a:pt x="174" y="1632"/>
                  </a:cubicBezTo>
                  <a:cubicBezTo>
                    <a:pt x="169" y="1630"/>
                    <a:pt x="148" y="1649"/>
                    <a:pt x="141" y="1650"/>
                  </a:cubicBezTo>
                  <a:cubicBezTo>
                    <a:pt x="136" y="1650"/>
                    <a:pt x="132" y="1638"/>
                    <a:pt x="129" y="1639"/>
                  </a:cubicBezTo>
                  <a:cubicBezTo>
                    <a:pt x="125" y="1640"/>
                    <a:pt x="135" y="1651"/>
                    <a:pt x="133" y="1652"/>
                  </a:cubicBezTo>
                  <a:cubicBezTo>
                    <a:pt x="133" y="1652"/>
                    <a:pt x="123" y="1652"/>
                    <a:pt x="124" y="1654"/>
                  </a:cubicBezTo>
                  <a:cubicBezTo>
                    <a:pt x="125" y="1655"/>
                    <a:pt x="130" y="1654"/>
                    <a:pt x="130" y="1656"/>
                  </a:cubicBezTo>
                  <a:cubicBezTo>
                    <a:pt x="130" y="1657"/>
                    <a:pt x="127" y="1664"/>
                    <a:pt x="127" y="1666"/>
                  </a:cubicBezTo>
                  <a:cubicBezTo>
                    <a:pt x="128" y="1667"/>
                    <a:pt x="124" y="1670"/>
                    <a:pt x="124" y="1671"/>
                  </a:cubicBezTo>
                  <a:cubicBezTo>
                    <a:pt x="122" y="1672"/>
                    <a:pt x="116" y="1667"/>
                    <a:pt x="113" y="1668"/>
                  </a:cubicBezTo>
                  <a:cubicBezTo>
                    <a:pt x="107" y="1670"/>
                    <a:pt x="104" y="1677"/>
                    <a:pt x="100" y="1683"/>
                  </a:cubicBezTo>
                  <a:cubicBezTo>
                    <a:pt x="98" y="1687"/>
                    <a:pt x="104" y="1695"/>
                    <a:pt x="102" y="1700"/>
                  </a:cubicBezTo>
                  <a:cubicBezTo>
                    <a:pt x="99" y="1708"/>
                    <a:pt x="92" y="1703"/>
                    <a:pt x="92" y="1705"/>
                  </a:cubicBezTo>
                  <a:cubicBezTo>
                    <a:pt x="92" y="1710"/>
                    <a:pt x="90" y="1707"/>
                    <a:pt x="87" y="1706"/>
                  </a:cubicBezTo>
                  <a:cubicBezTo>
                    <a:pt x="85" y="1704"/>
                    <a:pt x="83" y="1695"/>
                    <a:pt x="88" y="1697"/>
                  </a:cubicBezTo>
                  <a:cubicBezTo>
                    <a:pt x="90" y="1698"/>
                    <a:pt x="92" y="1698"/>
                    <a:pt x="94" y="1696"/>
                  </a:cubicBezTo>
                  <a:cubicBezTo>
                    <a:pt x="99" y="1691"/>
                    <a:pt x="89" y="1695"/>
                    <a:pt x="89" y="1695"/>
                  </a:cubicBezTo>
                  <a:cubicBezTo>
                    <a:pt x="84" y="1692"/>
                    <a:pt x="90" y="1689"/>
                    <a:pt x="87" y="1684"/>
                  </a:cubicBezTo>
                  <a:cubicBezTo>
                    <a:pt x="85" y="1681"/>
                    <a:pt x="95" y="1676"/>
                    <a:pt x="94" y="1676"/>
                  </a:cubicBezTo>
                  <a:cubicBezTo>
                    <a:pt x="87" y="1671"/>
                    <a:pt x="82" y="1689"/>
                    <a:pt x="74" y="1685"/>
                  </a:cubicBezTo>
                  <a:cubicBezTo>
                    <a:pt x="71" y="1684"/>
                    <a:pt x="78" y="1675"/>
                    <a:pt x="82" y="1674"/>
                  </a:cubicBezTo>
                  <a:cubicBezTo>
                    <a:pt x="83" y="1674"/>
                    <a:pt x="88" y="1673"/>
                    <a:pt x="87" y="1672"/>
                  </a:cubicBezTo>
                  <a:cubicBezTo>
                    <a:pt x="85" y="1670"/>
                    <a:pt x="76" y="1675"/>
                    <a:pt x="79" y="1671"/>
                  </a:cubicBezTo>
                  <a:cubicBezTo>
                    <a:pt x="79" y="1671"/>
                    <a:pt x="82" y="1668"/>
                    <a:pt x="79" y="1668"/>
                  </a:cubicBezTo>
                  <a:cubicBezTo>
                    <a:pt x="78" y="1669"/>
                    <a:pt x="75" y="1673"/>
                    <a:pt x="75" y="1672"/>
                  </a:cubicBezTo>
                  <a:cubicBezTo>
                    <a:pt x="73" y="1668"/>
                    <a:pt x="91" y="1653"/>
                    <a:pt x="90" y="1650"/>
                  </a:cubicBezTo>
                  <a:cubicBezTo>
                    <a:pt x="88" y="1649"/>
                    <a:pt x="80" y="1656"/>
                    <a:pt x="76" y="1663"/>
                  </a:cubicBezTo>
                  <a:cubicBezTo>
                    <a:pt x="65" y="1682"/>
                    <a:pt x="64" y="1687"/>
                    <a:pt x="61" y="1687"/>
                  </a:cubicBezTo>
                  <a:cubicBezTo>
                    <a:pt x="54" y="1688"/>
                    <a:pt x="56" y="1676"/>
                    <a:pt x="55" y="1675"/>
                  </a:cubicBezTo>
                  <a:cubicBezTo>
                    <a:pt x="53" y="1674"/>
                    <a:pt x="38" y="1679"/>
                    <a:pt x="47" y="1673"/>
                  </a:cubicBezTo>
                  <a:cubicBezTo>
                    <a:pt x="47" y="1673"/>
                    <a:pt x="53" y="1669"/>
                    <a:pt x="52" y="1668"/>
                  </a:cubicBezTo>
                  <a:cubicBezTo>
                    <a:pt x="52" y="1668"/>
                    <a:pt x="29" y="1660"/>
                    <a:pt x="42" y="1660"/>
                  </a:cubicBezTo>
                  <a:cubicBezTo>
                    <a:pt x="43" y="1661"/>
                    <a:pt x="38" y="1659"/>
                    <a:pt x="37" y="1657"/>
                  </a:cubicBezTo>
                  <a:cubicBezTo>
                    <a:pt x="35" y="1652"/>
                    <a:pt x="50" y="1655"/>
                    <a:pt x="51" y="1650"/>
                  </a:cubicBezTo>
                  <a:cubicBezTo>
                    <a:pt x="51" y="1647"/>
                    <a:pt x="49" y="1643"/>
                    <a:pt x="46" y="1640"/>
                  </a:cubicBezTo>
                  <a:cubicBezTo>
                    <a:pt x="43" y="1638"/>
                    <a:pt x="46" y="1629"/>
                    <a:pt x="50" y="1631"/>
                  </a:cubicBezTo>
                  <a:cubicBezTo>
                    <a:pt x="61" y="1637"/>
                    <a:pt x="64" y="1651"/>
                    <a:pt x="81" y="1646"/>
                  </a:cubicBezTo>
                  <a:cubicBezTo>
                    <a:pt x="84" y="1645"/>
                    <a:pt x="87" y="1642"/>
                    <a:pt x="88" y="1638"/>
                  </a:cubicBezTo>
                  <a:cubicBezTo>
                    <a:pt x="89" y="1629"/>
                    <a:pt x="87" y="1615"/>
                    <a:pt x="88" y="1609"/>
                  </a:cubicBezTo>
                  <a:cubicBezTo>
                    <a:pt x="89" y="1607"/>
                    <a:pt x="92" y="1603"/>
                    <a:pt x="91" y="1603"/>
                  </a:cubicBezTo>
                  <a:cubicBezTo>
                    <a:pt x="81" y="1606"/>
                    <a:pt x="86" y="1593"/>
                    <a:pt x="71" y="1606"/>
                  </a:cubicBezTo>
                  <a:cubicBezTo>
                    <a:pt x="68" y="1609"/>
                    <a:pt x="74" y="1614"/>
                    <a:pt x="70" y="1617"/>
                  </a:cubicBezTo>
                  <a:cubicBezTo>
                    <a:pt x="62" y="1622"/>
                    <a:pt x="28" y="1630"/>
                    <a:pt x="32" y="1611"/>
                  </a:cubicBezTo>
                  <a:cubicBezTo>
                    <a:pt x="32" y="1611"/>
                    <a:pt x="34" y="1611"/>
                    <a:pt x="34" y="1611"/>
                  </a:cubicBezTo>
                  <a:cubicBezTo>
                    <a:pt x="38" y="1611"/>
                    <a:pt x="41" y="1619"/>
                    <a:pt x="44" y="1618"/>
                  </a:cubicBezTo>
                  <a:cubicBezTo>
                    <a:pt x="44" y="1617"/>
                    <a:pt x="37" y="1607"/>
                    <a:pt x="34" y="1606"/>
                  </a:cubicBezTo>
                  <a:cubicBezTo>
                    <a:pt x="27" y="1602"/>
                    <a:pt x="40" y="1607"/>
                    <a:pt x="36" y="1603"/>
                  </a:cubicBezTo>
                  <a:cubicBezTo>
                    <a:pt x="31" y="1598"/>
                    <a:pt x="22" y="1598"/>
                    <a:pt x="18" y="1591"/>
                  </a:cubicBezTo>
                  <a:cubicBezTo>
                    <a:pt x="15" y="1587"/>
                    <a:pt x="26" y="1595"/>
                    <a:pt x="31" y="1595"/>
                  </a:cubicBezTo>
                  <a:cubicBezTo>
                    <a:pt x="43" y="1595"/>
                    <a:pt x="53" y="1615"/>
                    <a:pt x="57" y="1615"/>
                  </a:cubicBezTo>
                  <a:cubicBezTo>
                    <a:pt x="57" y="1615"/>
                    <a:pt x="63" y="1617"/>
                    <a:pt x="57" y="1610"/>
                  </a:cubicBezTo>
                  <a:cubicBezTo>
                    <a:pt x="56" y="1608"/>
                    <a:pt x="58" y="1607"/>
                    <a:pt x="60" y="1608"/>
                  </a:cubicBezTo>
                  <a:cubicBezTo>
                    <a:pt x="68" y="1615"/>
                    <a:pt x="58" y="1601"/>
                    <a:pt x="56" y="1599"/>
                  </a:cubicBezTo>
                  <a:cubicBezTo>
                    <a:pt x="54" y="1598"/>
                    <a:pt x="45" y="1600"/>
                    <a:pt x="45" y="1595"/>
                  </a:cubicBezTo>
                  <a:cubicBezTo>
                    <a:pt x="45" y="1593"/>
                    <a:pt x="59" y="1582"/>
                    <a:pt x="61" y="1582"/>
                  </a:cubicBezTo>
                  <a:cubicBezTo>
                    <a:pt x="62" y="1582"/>
                    <a:pt x="72" y="1581"/>
                    <a:pt x="72" y="1580"/>
                  </a:cubicBezTo>
                  <a:cubicBezTo>
                    <a:pt x="58" y="1574"/>
                    <a:pt x="39" y="1596"/>
                    <a:pt x="28" y="1585"/>
                  </a:cubicBezTo>
                  <a:cubicBezTo>
                    <a:pt x="28" y="1585"/>
                    <a:pt x="27" y="1584"/>
                    <a:pt x="27" y="1583"/>
                  </a:cubicBezTo>
                  <a:cubicBezTo>
                    <a:pt x="23" y="1567"/>
                    <a:pt x="25" y="1563"/>
                    <a:pt x="31" y="1579"/>
                  </a:cubicBezTo>
                  <a:cubicBezTo>
                    <a:pt x="32" y="1580"/>
                    <a:pt x="37" y="1562"/>
                    <a:pt x="35" y="1565"/>
                  </a:cubicBezTo>
                  <a:cubicBezTo>
                    <a:pt x="33" y="1568"/>
                    <a:pt x="24" y="1566"/>
                    <a:pt x="24" y="1563"/>
                  </a:cubicBezTo>
                  <a:cubicBezTo>
                    <a:pt x="23" y="1536"/>
                    <a:pt x="61" y="1566"/>
                    <a:pt x="65" y="1562"/>
                  </a:cubicBezTo>
                  <a:cubicBezTo>
                    <a:pt x="67" y="1561"/>
                    <a:pt x="63" y="1556"/>
                    <a:pt x="66" y="1554"/>
                  </a:cubicBezTo>
                  <a:cubicBezTo>
                    <a:pt x="70" y="1552"/>
                    <a:pt x="81" y="1552"/>
                    <a:pt x="80" y="1552"/>
                  </a:cubicBezTo>
                  <a:cubicBezTo>
                    <a:pt x="77" y="1551"/>
                    <a:pt x="77" y="1549"/>
                    <a:pt x="81" y="1549"/>
                  </a:cubicBezTo>
                  <a:cubicBezTo>
                    <a:pt x="84" y="1549"/>
                    <a:pt x="96" y="1543"/>
                    <a:pt x="94" y="1549"/>
                  </a:cubicBezTo>
                  <a:cubicBezTo>
                    <a:pt x="94" y="1549"/>
                    <a:pt x="92" y="1553"/>
                    <a:pt x="94" y="1553"/>
                  </a:cubicBezTo>
                  <a:cubicBezTo>
                    <a:pt x="95" y="1552"/>
                    <a:pt x="128" y="1535"/>
                    <a:pt x="137" y="1550"/>
                  </a:cubicBezTo>
                  <a:cubicBezTo>
                    <a:pt x="138" y="1551"/>
                    <a:pt x="133" y="1555"/>
                    <a:pt x="135" y="1556"/>
                  </a:cubicBezTo>
                  <a:cubicBezTo>
                    <a:pt x="139" y="1557"/>
                    <a:pt x="139" y="1552"/>
                    <a:pt x="142" y="1552"/>
                  </a:cubicBezTo>
                  <a:cubicBezTo>
                    <a:pt x="150" y="1551"/>
                    <a:pt x="142" y="1563"/>
                    <a:pt x="146" y="1561"/>
                  </a:cubicBezTo>
                  <a:cubicBezTo>
                    <a:pt x="161" y="1553"/>
                    <a:pt x="163" y="1530"/>
                    <a:pt x="188" y="1542"/>
                  </a:cubicBezTo>
                  <a:cubicBezTo>
                    <a:pt x="190" y="1543"/>
                    <a:pt x="204" y="1555"/>
                    <a:pt x="203" y="1560"/>
                  </a:cubicBezTo>
                  <a:cubicBezTo>
                    <a:pt x="203" y="1566"/>
                    <a:pt x="185" y="1571"/>
                    <a:pt x="191" y="1571"/>
                  </a:cubicBezTo>
                  <a:cubicBezTo>
                    <a:pt x="202" y="1573"/>
                    <a:pt x="201" y="1564"/>
                    <a:pt x="212" y="1571"/>
                  </a:cubicBezTo>
                  <a:cubicBezTo>
                    <a:pt x="216" y="1573"/>
                    <a:pt x="211" y="1581"/>
                    <a:pt x="212" y="1582"/>
                  </a:cubicBezTo>
                  <a:cubicBezTo>
                    <a:pt x="214" y="1584"/>
                    <a:pt x="217" y="1576"/>
                    <a:pt x="217" y="1575"/>
                  </a:cubicBezTo>
                  <a:cubicBezTo>
                    <a:pt x="218" y="1567"/>
                    <a:pt x="198" y="1555"/>
                    <a:pt x="204" y="1548"/>
                  </a:cubicBezTo>
                  <a:cubicBezTo>
                    <a:pt x="205" y="1547"/>
                    <a:pt x="215" y="1546"/>
                    <a:pt x="217" y="1546"/>
                  </a:cubicBezTo>
                  <a:cubicBezTo>
                    <a:pt x="222" y="1547"/>
                    <a:pt x="222" y="1541"/>
                    <a:pt x="230" y="1544"/>
                  </a:cubicBezTo>
                  <a:cubicBezTo>
                    <a:pt x="232" y="1545"/>
                    <a:pt x="239" y="1551"/>
                    <a:pt x="241" y="1548"/>
                  </a:cubicBezTo>
                  <a:cubicBezTo>
                    <a:pt x="244" y="1545"/>
                    <a:pt x="231" y="1542"/>
                    <a:pt x="234" y="1540"/>
                  </a:cubicBezTo>
                  <a:cubicBezTo>
                    <a:pt x="236" y="1538"/>
                    <a:pt x="264" y="1529"/>
                    <a:pt x="264" y="1529"/>
                  </a:cubicBezTo>
                  <a:cubicBezTo>
                    <a:pt x="261" y="1525"/>
                    <a:pt x="229" y="1539"/>
                    <a:pt x="232" y="1516"/>
                  </a:cubicBezTo>
                  <a:cubicBezTo>
                    <a:pt x="233" y="1511"/>
                    <a:pt x="254" y="1493"/>
                    <a:pt x="254" y="1492"/>
                  </a:cubicBezTo>
                  <a:cubicBezTo>
                    <a:pt x="252" y="1486"/>
                    <a:pt x="234" y="1510"/>
                    <a:pt x="230" y="1509"/>
                  </a:cubicBezTo>
                  <a:cubicBezTo>
                    <a:pt x="217" y="1506"/>
                    <a:pt x="234" y="1528"/>
                    <a:pt x="234" y="1535"/>
                  </a:cubicBezTo>
                  <a:cubicBezTo>
                    <a:pt x="235" y="1542"/>
                    <a:pt x="223" y="1536"/>
                    <a:pt x="222" y="1536"/>
                  </a:cubicBezTo>
                  <a:cubicBezTo>
                    <a:pt x="218" y="1535"/>
                    <a:pt x="206" y="1543"/>
                    <a:pt x="201" y="1545"/>
                  </a:cubicBezTo>
                  <a:cubicBezTo>
                    <a:pt x="198" y="1546"/>
                    <a:pt x="194" y="1543"/>
                    <a:pt x="195" y="1541"/>
                  </a:cubicBezTo>
                  <a:cubicBezTo>
                    <a:pt x="195" y="1540"/>
                    <a:pt x="205" y="1539"/>
                    <a:pt x="203" y="1536"/>
                  </a:cubicBezTo>
                  <a:cubicBezTo>
                    <a:pt x="201" y="1533"/>
                    <a:pt x="166" y="1541"/>
                    <a:pt x="163" y="1530"/>
                  </a:cubicBezTo>
                  <a:cubicBezTo>
                    <a:pt x="162" y="1527"/>
                    <a:pt x="183" y="1508"/>
                    <a:pt x="177" y="1504"/>
                  </a:cubicBezTo>
                  <a:cubicBezTo>
                    <a:pt x="170" y="1499"/>
                    <a:pt x="172" y="1518"/>
                    <a:pt x="164" y="1522"/>
                  </a:cubicBezTo>
                  <a:cubicBezTo>
                    <a:pt x="149" y="1529"/>
                    <a:pt x="164" y="1539"/>
                    <a:pt x="158" y="1543"/>
                  </a:cubicBezTo>
                  <a:cubicBezTo>
                    <a:pt x="144" y="1551"/>
                    <a:pt x="138" y="1539"/>
                    <a:pt x="129" y="1536"/>
                  </a:cubicBezTo>
                  <a:cubicBezTo>
                    <a:pt x="126" y="1535"/>
                    <a:pt x="116" y="1547"/>
                    <a:pt x="110" y="1539"/>
                  </a:cubicBezTo>
                  <a:cubicBezTo>
                    <a:pt x="109" y="1538"/>
                    <a:pt x="118" y="1534"/>
                    <a:pt x="116" y="1533"/>
                  </a:cubicBezTo>
                  <a:cubicBezTo>
                    <a:pt x="109" y="1529"/>
                    <a:pt x="75" y="1550"/>
                    <a:pt x="59" y="1552"/>
                  </a:cubicBezTo>
                  <a:cubicBezTo>
                    <a:pt x="57" y="1552"/>
                    <a:pt x="39" y="1544"/>
                    <a:pt x="39" y="1544"/>
                  </a:cubicBezTo>
                  <a:cubicBezTo>
                    <a:pt x="38" y="1542"/>
                    <a:pt x="49" y="1542"/>
                    <a:pt x="40" y="1540"/>
                  </a:cubicBezTo>
                  <a:cubicBezTo>
                    <a:pt x="37" y="1539"/>
                    <a:pt x="31" y="1543"/>
                    <a:pt x="28" y="1538"/>
                  </a:cubicBezTo>
                  <a:cubicBezTo>
                    <a:pt x="26" y="1534"/>
                    <a:pt x="46" y="1538"/>
                    <a:pt x="46" y="1536"/>
                  </a:cubicBezTo>
                  <a:cubicBezTo>
                    <a:pt x="46" y="1535"/>
                    <a:pt x="42" y="1532"/>
                    <a:pt x="41" y="1532"/>
                  </a:cubicBezTo>
                  <a:cubicBezTo>
                    <a:pt x="32" y="1529"/>
                    <a:pt x="30" y="1526"/>
                    <a:pt x="28" y="1527"/>
                  </a:cubicBezTo>
                  <a:cubicBezTo>
                    <a:pt x="26" y="1529"/>
                    <a:pt x="21" y="1528"/>
                    <a:pt x="20" y="1525"/>
                  </a:cubicBezTo>
                  <a:cubicBezTo>
                    <a:pt x="19" y="1522"/>
                    <a:pt x="45" y="1515"/>
                    <a:pt x="46" y="1516"/>
                  </a:cubicBezTo>
                  <a:cubicBezTo>
                    <a:pt x="49" y="1517"/>
                    <a:pt x="63" y="1533"/>
                    <a:pt x="53" y="1517"/>
                  </a:cubicBezTo>
                  <a:cubicBezTo>
                    <a:pt x="52" y="1515"/>
                    <a:pt x="49" y="1516"/>
                    <a:pt x="49" y="1514"/>
                  </a:cubicBezTo>
                  <a:cubicBezTo>
                    <a:pt x="49" y="1510"/>
                    <a:pt x="71" y="1510"/>
                    <a:pt x="73" y="1510"/>
                  </a:cubicBezTo>
                  <a:cubicBezTo>
                    <a:pt x="75" y="1510"/>
                    <a:pt x="76" y="1509"/>
                    <a:pt x="78" y="1509"/>
                  </a:cubicBezTo>
                  <a:cubicBezTo>
                    <a:pt x="78" y="1509"/>
                    <a:pt x="81" y="1510"/>
                    <a:pt x="81" y="1509"/>
                  </a:cubicBezTo>
                  <a:cubicBezTo>
                    <a:pt x="76" y="1496"/>
                    <a:pt x="33" y="1518"/>
                    <a:pt x="28" y="1516"/>
                  </a:cubicBezTo>
                  <a:cubicBezTo>
                    <a:pt x="15" y="1509"/>
                    <a:pt x="36" y="1505"/>
                    <a:pt x="35" y="1501"/>
                  </a:cubicBezTo>
                  <a:cubicBezTo>
                    <a:pt x="35" y="1501"/>
                    <a:pt x="19" y="1504"/>
                    <a:pt x="19" y="1502"/>
                  </a:cubicBezTo>
                  <a:cubicBezTo>
                    <a:pt x="26" y="1489"/>
                    <a:pt x="62" y="1498"/>
                    <a:pt x="68" y="1499"/>
                  </a:cubicBezTo>
                  <a:cubicBezTo>
                    <a:pt x="71" y="1500"/>
                    <a:pt x="89" y="1488"/>
                    <a:pt x="92" y="1495"/>
                  </a:cubicBezTo>
                  <a:cubicBezTo>
                    <a:pt x="92" y="1497"/>
                    <a:pt x="94" y="1499"/>
                    <a:pt x="96" y="1497"/>
                  </a:cubicBezTo>
                  <a:cubicBezTo>
                    <a:pt x="97" y="1496"/>
                    <a:pt x="94" y="1494"/>
                    <a:pt x="93" y="1492"/>
                  </a:cubicBezTo>
                  <a:cubicBezTo>
                    <a:pt x="91" y="1488"/>
                    <a:pt x="39" y="1500"/>
                    <a:pt x="36" y="1485"/>
                  </a:cubicBezTo>
                  <a:cubicBezTo>
                    <a:pt x="34" y="1477"/>
                    <a:pt x="53" y="1487"/>
                    <a:pt x="55" y="1483"/>
                  </a:cubicBezTo>
                  <a:cubicBezTo>
                    <a:pt x="58" y="1477"/>
                    <a:pt x="34" y="1483"/>
                    <a:pt x="39" y="1479"/>
                  </a:cubicBezTo>
                  <a:cubicBezTo>
                    <a:pt x="47" y="1473"/>
                    <a:pt x="54" y="1479"/>
                    <a:pt x="56" y="1479"/>
                  </a:cubicBezTo>
                  <a:cubicBezTo>
                    <a:pt x="57" y="1479"/>
                    <a:pt x="63" y="1479"/>
                    <a:pt x="62" y="1477"/>
                  </a:cubicBezTo>
                  <a:cubicBezTo>
                    <a:pt x="57" y="1469"/>
                    <a:pt x="36" y="1483"/>
                    <a:pt x="33" y="1474"/>
                  </a:cubicBezTo>
                  <a:cubicBezTo>
                    <a:pt x="32" y="1471"/>
                    <a:pt x="56" y="1471"/>
                    <a:pt x="56" y="1469"/>
                  </a:cubicBezTo>
                  <a:cubicBezTo>
                    <a:pt x="56" y="1467"/>
                    <a:pt x="48" y="1470"/>
                    <a:pt x="47" y="1470"/>
                  </a:cubicBezTo>
                  <a:cubicBezTo>
                    <a:pt x="44" y="1471"/>
                    <a:pt x="23" y="1472"/>
                    <a:pt x="21" y="1470"/>
                  </a:cubicBezTo>
                  <a:cubicBezTo>
                    <a:pt x="7" y="1452"/>
                    <a:pt x="38" y="1458"/>
                    <a:pt x="36" y="1454"/>
                  </a:cubicBezTo>
                  <a:cubicBezTo>
                    <a:pt x="34" y="1451"/>
                    <a:pt x="47" y="1452"/>
                    <a:pt x="45" y="1450"/>
                  </a:cubicBezTo>
                  <a:cubicBezTo>
                    <a:pt x="43" y="1449"/>
                    <a:pt x="29" y="1453"/>
                    <a:pt x="30" y="1451"/>
                  </a:cubicBezTo>
                  <a:cubicBezTo>
                    <a:pt x="30" y="1450"/>
                    <a:pt x="32" y="1449"/>
                    <a:pt x="33" y="1449"/>
                  </a:cubicBezTo>
                  <a:cubicBezTo>
                    <a:pt x="46" y="1443"/>
                    <a:pt x="58" y="1428"/>
                    <a:pt x="63" y="1429"/>
                  </a:cubicBezTo>
                  <a:cubicBezTo>
                    <a:pt x="63" y="1429"/>
                    <a:pt x="64" y="1429"/>
                    <a:pt x="64" y="1429"/>
                  </a:cubicBezTo>
                  <a:cubicBezTo>
                    <a:pt x="64" y="1430"/>
                    <a:pt x="65" y="1430"/>
                    <a:pt x="65" y="1430"/>
                  </a:cubicBezTo>
                  <a:cubicBezTo>
                    <a:pt x="67" y="1430"/>
                    <a:pt x="93" y="1434"/>
                    <a:pt x="90" y="1439"/>
                  </a:cubicBezTo>
                  <a:cubicBezTo>
                    <a:pt x="90" y="1440"/>
                    <a:pt x="85" y="1440"/>
                    <a:pt x="84" y="1440"/>
                  </a:cubicBezTo>
                  <a:cubicBezTo>
                    <a:pt x="74" y="1443"/>
                    <a:pt x="84" y="1442"/>
                    <a:pt x="89" y="1441"/>
                  </a:cubicBezTo>
                  <a:cubicBezTo>
                    <a:pt x="92" y="1440"/>
                    <a:pt x="95" y="1440"/>
                    <a:pt x="99" y="1439"/>
                  </a:cubicBezTo>
                  <a:cubicBezTo>
                    <a:pt x="117" y="1434"/>
                    <a:pt x="101" y="1458"/>
                    <a:pt x="108" y="1452"/>
                  </a:cubicBezTo>
                  <a:cubicBezTo>
                    <a:pt x="109" y="1450"/>
                    <a:pt x="109" y="1442"/>
                    <a:pt x="111" y="1441"/>
                  </a:cubicBezTo>
                  <a:cubicBezTo>
                    <a:pt x="118" y="1438"/>
                    <a:pt x="122" y="1456"/>
                    <a:pt x="129" y="1450"/>
                  </a:cubicBezTo>
                  <a:cubicBezTo>
                    <a:pt x="130" y="1449"/>
                    <a:pt x="118" y="1443"/>
                    <a:pt x="118" y="1441"/>
                  </a:cubicBezTo>
                  <a:cubicBezTo>
                    <a:pt x="118" y="1440"/>
                    <a:pt x="120" y="1441"/>
                    <a:pt x="121" y="1441"/>
                  </a:cubicBezTo>
                  <a:cubicBezTo>
                    <a:pt x="123" y="1442"/>
                    <a:pt x="125" y="1442"/>
                    <a:pt x="127" y="1441"/>
                  </a:cubicBezTo>
                  <a:cubicBezTo>
                    <a:pt x="137" y="1440"/>
                    <a:pt x="146" y="1447"/>
                    <a:pt x="155" y="1445"/>
                  </a:cubicBezTo>
                  <a:cubicBezTo>
                    <a:pt x="159" y="1444"/>
                    <a:pt x="160" y="1442"/>
                    <a:pt x="161" y="1440"/>
                  </a:cubicBezTo>
                  <a:cubicBezTo>
                    <a:pt x="164" y="1439"/>
                    <a:pt x="167" y="1436"/>
                    <a:pt x="171" y="1435"/>
                  </a:cubicBezTo>
                  <a:cubicBezTo>
                    <a:pt x="176" y="1436"/>
                    <a:pt x="185" y="1442"/>
                    <a:pt x="186" y="1436"/>
                  </a:cubicBezTo>
                  <a:cubicBezTo>
                    <a:pt x="186" y="1435"/>
                    <a:pt x="179" y="1435"/>
                    <a:pt x="177" y="1434"/>
                  </a:cubicBezTo>
                  <a:cubicBezTo>
                    <a:pt x="175" y="1434"/>
                    <a:pt x="172" y="1434"/>
                    <a:pt x="171" y="1435"/>
                  </a:cubicBezTo>
                  <a:cubicBezTo>
                    <a:pt x="170" y="1435"/>
                    <a:pt x="169" y="1435"/>
                    <a:pt x="168" y="1435"/>
                  </a:cubicBezTo>
                  <a:cubicBezTo>
                    <a:pt x="164" y="1435"/>
                    <a:pt x="163" y="1438"/>
                    <a:pt x="161" y="1440"/>
                  </a:cubicBezTo>
                  <a:cubicBezTo>
                    <a:pt x="160" y="1441"/>
                    <a:pt x="159" y="1442"/>
                    <a:pt x="157" y="1442"/>
                  </a:cubicBezTo>
                  <a:cubicBezTo>
                    <a:pt x="152" y="1442"/>
                    <a:pt x="96" y="1438"/>
                    <a:pt x="94" y="1437"/>
                  </a:cubicBezTo>
                  <a:cubicBezTo>
                    <a:pt x="82" y="1432"/>
                    <a:pt x="98" y="1430"/>
                    <a:pt x="103" y="1431"/>
                  </a:cubicBezTo>
                  <a:cubicBezTo>
                    <a:pt x="104" y="1431"/>
                    <a:pt x="111" y="1430"/>
                    <a:pt x="110" y="1429"/>
                  </a:cubicBezTo>
                  <a:cubicBezTo>
                    <a:pt x="99" y="1422"/>
                    <a:pt x="35" y="1432"/>
                    <a:pt x="33" y="1429"/>
                  </a:cubicBezTo>
                  <a:cubicBezTo>
                    <a:pt x="32" y="1427"/>
                    <a:pt x="36" y="1425"/>
                    <a:pt x="36" y="1423"/>
                  </a:cubicBezTo>
                  <a:cubicBezTo>
                    <a:pt x="36" y="1417"/>
                    <a:pt x="43" y="1424"/>
                    <a:pt x="45" y="1423"/>
                  </a:cubicBezTo>
                  <a:cubicBezTo>
                    <a:pt x="47" y="1423"/>
                    <a:pt x="52" y="1413"/>
                    <a:pt x="53" y="1413"/>
                  </a:cubicBezTo>
                  <a:cubicBezTo>
                    <a:pt x="54" y="1413"/>
                    <a:pt x="62" y="1416"/>
                    <a:pt x="60" y="1413"/>
                  </a:cubicBezTo>
                  <a:cubicBezTo>
                    <a:pt x="50" y="1397"/>
                    <a:pt x="33" y="1406"/>
                    <a:pt x="31" y="1390"/>
                  </a:cubicBezTo>
                  <a:cubicBezTo>
                    <a:pt x="30" y="1386"/>
                    <a:pt x="37" y="1391"/>
                    <a:pt x="37" y="1387"/>
                  </a:cubicBezTo>
                  <a:cubicBezTo>
                    <a:pt x="37" y="1382"/>
                    <a:pt x="46" y="1391"/>
                    <a:pt x="48" y="1392"/>
                  </a:cubicBezTo>
                  <a:cubicBezTo>
                    <a:pt x="51" y="1392"/>
                    <a:pt x="64" y="1415"/>
                    <a:pt x="65" y="1415"/>
                  </a:cubicBezTo>
                  <a:cubicBezTo>
                    <a:pt x="67" y="1416"/>
                    <a:pt x="69" y="1410"/>
                    <a:pt x="70" y="1409"/>
                  </a:cubicBezTo>
                  <a:cubicBezTo>
                    <a:pt x="71" y="1407"/>
                    <a:pt x="76" y="1409"/>
                    <a:pt x="77" y="1406"/>
                  </a:cubicBezTo>
                  <a:cubicBezTo>
                    <a:pt x="78" y="1400"/>
                    <a:pt x="50" y="1406"/>
                    <a:pt x="61" y="1390"/>
                  </a:cubicBezTo>
                  <a:cubicBezTo>
                    <a:pt x="70" y="1379"/>
                    <a:pt x="85" y="1405"/>
                    <a:pt x="91" y="1403"/>
                  </a:cubicBezTo>
                  <a:cubicBezTo>
                    <a:pt x="95" y="1402"/>
                    <a:pt x="80" y="1394"/>
                    <a:pt x="84" y="1391"/>
                  </a:cubicBezTo>
                  <a:cubicBezTo>
                    <a:pt x="87" y="1389"/>
                    <a:pt x="104" y="1385"/>
                    <a:pt x="106" y="1391"/>
                  </a:cubicBezTo>
                  <a:cubicBezTo>
                    <a:pt x="108" y="1395"/>
                    <a:pt x="99" y="1413"/>
                    <a:pt x="99" y="1413"/>
                  </a:cubicBezTo>
                  <a:cubicBezTo>
                    <a:pt x="105" y="1417"/>
                    <a:pt x="103" y="1396"/>
                    <a:pt x="110" y="1396"/>
                  </a:cubicBezTo>
                  <a:cubicBezTo>
                    <a:pt x="112" y="1396"/>
                    <a:pt x="114" y="1400"/>
                    <a:pt x="116" y="1401"/>
                  </a:cubicBezTo>
                  <a:cubicBezTo>
                    <a:pt x="125" y="1405"/>
                    <a:pt x="145" y="1408"/>
                    <a:pt x="146" y="1408"/>
                  </a:cubicBezTo>
                  <a:cubicBezTo>
                    <a:pt x="147" y="1405"/>
                    <a:pt x="122" y="1402"/>
                    <a:pt x="121" y="1400"/>
                  </a:cubicBezTo>
                  <a:cubicBezTo>
                    <a:pt x="108" y="1388"/>
                    <a:pt x="102" y="1388"/>
                    <a:pt x="117" y="1387"/>
                  </a:cubicBezTo>
                  <a:cubicBezTo>
                    <a:pt x="121" y="1387"/>
                    <a:pt x="108" y="1383"/>
                    <a:pt x="108" y="1379"/>
                  </a:cubicBezTo>
                  <a:cubicBezTo>
                    <a:pt x="110" y="1374"/>
                    <a:pt x="137" y="1360"/>
                    <a:pt x="141" y="1362"/>
                  </a:cubicBezTo>
                  <a:cubicBezTo>
                    <a:pt x="144" y="1363"/>
                    <a:pt x="156" y="1380"/>
                    <a:pt x="161" y="1390"/>
                  </a:cubicBezTo>
                  <a:cubicBezTo>
                    <a:pt x="162" y="1393"/>
                    <a:pt x="162" y="1396"/>
                    <a:pt x="161" y="1398"/>
                  </a:cubicBezTo>
                  <a:cubicBezTo>
                    <a:pt x="161" y="1399"/>
                    <a:pt x="160" y="1400"/>
                    <a:pt x="160" y="1401"/>
                  </a:cubicBezTo>
                  <a:cubicBezTo>
                    <a:pt x="161" y="1401"/>
                    <a:pt x="161" y="1400"/>
                    <a:pt x="161" y="1398"/>
                  </a:cubicBezTo>
                  <a:cubicBezTo>
                    <a:pt x="162" y="1397"/>
                    <a:pt x="163" y="1396"/>
                    <a:pt x="164" y="1396"/>
                  </a:cubicBezTo>
                  <a:cubicBezTo>
                    <a:pt x="164" y="1395"/>
                    <a:pt x="163" y="1393"/>
                    <a:pt x="161" y="1390"/>
                  </a:cubicBezTo>
                  <a:cubicBezTo>
                    <a:pt x="161" y="1387"/>
                    <a:pt x="160" y="1385"/>
                    <a:pt x="159" y="1383"/>
                  </a:cubicBezTo>
                  <a:cubicBezTo>
                    <a:pt x="156" y="1377"/>
                    <a:pt x="146" y="1369"/>
                    <a:pt x="148" y="1362"/>
                  </a:cubicBezTo>
                  <a:cubicBezTo>
                    <a:pt x="151" y="1350"/>
                    <a:pt x="163" y="1365"/>
                    <a:pt x="164" y="1364"/>
                  </a:cubicBezTo>
                  <a:cubicBezTo>
                    <a:pt x="165" y="1364"/>
                    <a:pt x="164" y="1352"/>
                    <a:pt x="175" y="1351"/>
                  </a:cubicBezTo>
                  <a:cubicBezTo>
                    <a:pt x="205" y="1347"/>
                    <a:pt x="198" y="1402"/>
                    <a:pt x="200" y="1403"/>
                  </a:cubicBezTo>
                  <a:cubicBezTo>
                    <a:pt x="206" y="1407"/>
                    <a:pt x="212" y="1397"/>
                    <a:pt x="217" y="1401"/>
                  </a:cubicBezTo>
                  <a:cubicBezTo>
                    <a:pt x="219" y="1402"/>
                    <a:pt x="216" y="1396"/>
                    <a:pt x="209" y="1400"/>
                  </a:cubicBezTo>
                  <a:cubicBezTo>
                    <a:pt x="195" y="1410"/>
                    <a:pt x="206" y="1388"/>
                    <a:pt x="205" y="1383"/>
                  </a:cubicBezTo>
                  <a:cubicBezTo>
                    <a:pt x="205" y="1382"/>
                    <a:pt x="204" y="1377"/>
                    <a:pt x="205" y="1377"/>
                  </a:cubicBezTo>
                  <a:cubicBezTo>
                    <a:pt x="208" y="1374"/>
                    <a:pt x="233" y="1377"/>
                    <a:pt x="236" y="1380"/>
                  </a:cubicBezTo>
                  <a:cubicBezTo>
                    <a:pt x="236" y="1381"/>
                    <a:pt x="238" y="1384"/>
                    <a:pt x="239" y="1383"/>
                  </a:cubicBezTo>
                  <a:cubicBezTo>
                    <a:pt x="241" y="1382"/>
                    <a:pt x="236" y="1377"/>
                    <a:pt x="235" y="1377"/>
                  </a:cubicBezTo>
                  <a:cubicBezTo>
                    <a:pt x="228" y="1370"/>
                    <a:pt x="210" y="1375"/>
                    <a:pt x="200" y="1371"/>
                  </a:cubicBezTo>
                  <a:cubicBezTo>
                    <a:pt x="195" y="1368"/>
                    <a:pt x="199" y="1350"/>
                    <a:pt x="175" y="1346"/>
                  </a:cubicBezTo>
                  <a:cubicBezTo>
                    <a:pt x="166" y="1344"/>
                    <a:pt x="156" y="1359"/>
                    <a:pt x="144" y="1353"/>
                  </a:cubicBezTo>
                  <a:cubicBezTo>
                    <a:pt x="141" y="1351"/>
                    <a:pt x="130" y="1352"/>
                    <a:pt x="133" y="1349"/>
                  </a:cubicBezTo>
                  <a:cubicBezTo>
                    <a:pt x="141" y="1340"/>
                    <a:pt x="168" y="1350"/>
                    <a:pt x="173" y="1344"/>
                  </a:cubicBezTo>
                  <a:cubicBezTo>
                    <a:pt x="173" y="1344"/>
                    <a:pt x="167" y="1341"/>
                    <a:pt x="165" y="1341"/>
                  </a:cubicBezTo>
                  <a:cubicBezTo>
                    <a:pt x="150" y="1343"/>
                    <a:pt x="134" y="1339"/>
                    <a:pt x="135" y="1332"/>
                  </a:cubicBezTo>
                  <a:cubicBezTo>
                    <a:pt x="136" y="1330"/>
                    <a:pt x="138" y="1329"/>
                    <a:pt x="139" y="1328"/>
                  </a:cubicBezTo>
                  <a:cubicBezTo>
                    <a:pt x="144" y="1325"/>
                    <a:pt x="162" y="1325"/>
                    <a:pt x="165" y="1329"/>
                  </a:cubicBezTo>
                  <a:cubicBezTo>
                    <a:pt x="166" y="1331"/>
                    <a:pt x="166" y="1335"/>
                    <a:pt x="168" y="1334"/>
                  </a:cubicBezTo>
                  <a:cubicBezTo>
                    <a:pt x="174" y="1329"/>
                    <a:pt x="169" y="1327"/>
                    <a:pt x="178" y="1321"/>
                  </a:cubicBezTo>
                  <a:cubicBezTo>
                    <a:pt x="182" y="1319"/>
                    <a:pt x="185" y="1323"/>
                    <a:pt x="188" y="1325"/>
                  </a:cubicBezTo>
                  <a:cubicBezTo>
                    <a:pt x="189" y="1326"/>
                    <a:pt x="193" y="1328"/>
                    <a:pt x="193" y="1330"/>
                  </a:cubicBezTo>
                  <a:cubicBezTo>
                    <a:pt x="194" y="1330"/>
                    <a:pt x="193" y="1322"/>
                    <a:pt x="206" y="1321"/>
                  </a:cubicBezTo>
                  <a:cubicBezTo>
                    <a:pt x="207" y="1321"/>
                    <a:pt x="211" y="1326"/>
                    <a:pt x="212" y="1330"/>
                  </a:cubicBezTo>
                  <a:cubicBezTo>
                    <a:pt x="213" y="1333"/>
                    <a:pt x="211" y="1340"/>
                    <a:pt x="214" y="1339"/>
                  </a:cubicBezTo>
                  <a:cubicBezTo>
                    <a:pt x="218" y="1336"/>
                    <a:pt x="212" y="1324"/>
                    <a:pt x="217" y="1324"/>
                  </a:cubicBezTo>
                  <a:cubicBezTo>
                    <a:pt x="231" y="1322"/>
                    <a:pt x="243" y="1343"/>
                    <a:pt x="250" y="1343"/>
                  </a:cubicBezTo>
                  <a:cubicBezTo>
                    <a:pt x="254" y="1343"/>
                    <a:pt x="252" y="1337"/>
                    <a:pt x="254" y="1336"/>
                  </a:cubicBezTo>
                  <a:cubicBezTo>
                    <a:pt x="258" y="1332"/>
                    <a:pt x="267" y="1334"/>
                    <a:pt x="272" y="1332"/>
                  </a:cubicBezTo>
                  <a:cubicBezTo>
                    <a:pt x="275" y="1331"/>
                    <a:pt x="266" y="1331"/>
                    <a:pt x="263" y="1332"/>
                  </a:cubicBezTo>
                  <a:cubicBezTo>
                    <a:pt x="257" y="1332"/>
                    <a:pt x="247" y="1336"/>
                    <a:pt x="242" y="1331"/>
                  </a:cubicBezTo>
                  <a:cubicBezTo>
                    <a:pt x="239" y="1328"/>
                    <a:pt x="239" y="1318"/>
                    <a:pt x="246" y="1323"/>
                  </a:cubicBezTo>
                  <a:cubicBezTo>
                    <a:pt x="246" y="1323"/>
                    <a:pt x="246" y="1324"/>
                    <a:pt x="247" y="1324"/>
                  </a:cubicBezTo>
                  <a:cubicBezTo>
                    <a:pt x="247" y="1326"/>
                    <a:pt x="247" y="1327"/>
                    <a:pt x="247" y="1329"/>
                  </a:cubicBezTo>
                  <a:cubicBezTo>
                    <a:pt x="247" y="1329"/>
                    <a:pt x="247" y="1329"/>
                    <a:pt x="247" y="1330"/>
                  </a:cubicBezTo>
                  <a:cubicBezTo>
                    <a:pt x="247" y="1331"/>
                    <a:pt x="247" y="1330"/>
                    <a:pt x="247" y="1329"/>
                  </a:cubicBezTo>
                  <a:cubicBezTo>
                    <a:pt x="247" y="1327"/>
                    <a:pt x="248" y="1325"/>
                    <a:pt x="247" y="1324"/>
                  </a:cubicBezTo>
                  <a:cubicBezTo>
                    <a:pt x="247" y="1322"/>
                    <a:pt x="247" y="1321"/>
                    <a:pt x="247" y="1320"/>
                  </a:cubicBezTo>
                  <a:cubicBezTo>
                    <a:pt x="251" y="1308"/>
                    <a:pt x="291" y="1308"/>
                    <a:pt x="296" y="1310"/>
                  </a:cubicBezTo>
                  <a:cubicBezTo>
                    <a:pt x="297" y="1311"/>
                    <a:pt x="304" y="1315"/>
                    <a:pt x="304" y="1315"/>
                  </a:cubicBezTo>
                  <a:cubicBezTo>
                    <a:pt x="306" y="1312"/>
                    <a:pt x="300" y="1309"/>
                    <a:pt x="298" y="1308"/>
                  </a:cubicBezTo>
                  <a:cubicBezTo>
                    <a:pt x="294" y="1306"/>
                    <a:pt x="299" y="1303"/>
                    <a:pt x="298" y="1302"/>
                  </a:cubicBezTo>
                  <a:cubicBezTo>
                    <a:pt x="293" y="1298"/>
                    <a:pt x="244" y="1319"/>
                    <a:pt x="235" y="1316"/>
                  </a:cubicBezTo>
                  <a:cubicBezTo>
                    <a:pt x="232" y="1315"/>
                    <a:pt x="243" y="1303"/>
                    <a:pt x="254" y="1302"/>
                  </a:cubicBezTo>
                  <a:cubicBezTo>
                    <a:pt x="257" y="1301"/>
                    <a:pt x="265" y="1302"/>
                    <a:pt x="263" y="1300"/>
                  </a:cubicBezTo>
                  <a:cubicBezTo>
                    <a:pt x="258" y="1295"/>
                    <a:pt x="215" y="1308"/>
                    <a:pt x="206" y="1309"/>
                  </a:cubicBezTo>
                  <a:cubicBezTo>
                    <a:pt x="205" y="1309"/>
                    <a:pt x="198" y="1311"/>
                    <a:pt x="198" y="1309"/>
                  </a:cubicBezTo>
                  <a:cubicBezTo>
                    <a:pt x="197" y="1297"/>
                    <a:pt x="206" y="1295"/>
                    <a:pt x="220" y="1297"/>
                  </a:cubicBezTo>
                  <a:cubicBezTo>
                    <a:pt x="220" y="1297"/>
                    <a:pt x="222" y="1297"/>
                    <a:pt x="221" y="1297"/>
                  </a:cubicBezTo>
                  <a:cubicBezTo>
                    <a:pt x="219" y="1294"/>
                    <a:pt x="189" y="1287"/>
                    <a:pt x="192" y="1281"/>
                  </a:cubicBezTo>
                  <a:cubicBezTo>
                    <a:pt x="194" y="1277"/>
                    <a:pt x="221" y="1266"/>
                    <a:pt x="227" y="1267"/>
                  </a:cubicBezTo>
                  <a:cubicBezTo>
                    <a:pt x="232" y="1269"/>
                    <a:pt x="241" y="1282"/>
                    <a:pt x="245" y="1282"/>
                  </a:cubicBezTo>
                  <a:cubicBezTo>
                    <a:pt x="252" y="1281"/>
                    <a:pt x="264" y="1266"/>
                    <a:pt x="272" y="1273"/>
                  </a:cubicBezTo>
                  <a:cubicBezTo>
                    <a:pt x="274" y="1275"/>
                    <a:pt x="261" y="1282"/>
                    <a:pt x="263" y="1282"/>
                  </a:cubicBezTo>
                  <a:cubicBezTo>
                    <a:pt x="272" y="1283"/>
                    <a:pt x="284" y="1269"/>
                    <a:pt x="293" y="1274"/>
                  </a:cubicBezTo>
                  <a:cubicBezTo>
                    <a:pt x="304" y="1280"/>
                    <a:pt x="299" y="1289"/>
                    <a:pt x="306" y="1297"/>
                  </a:cubicBezTo>
                  <a:cubicBezTo>
                    <a:pt x="313" y="1304"/>
                    <a:pt x="331" y="1306"/>
                    <a:pt x="337" y="1312"/>
                  </a:cubicBezTo>
                  <a:cubicBezTo>
                    <a:pt x="339" y="1315"/>
                    <a:pt x="338" y="1322"/>
                    <a:pt x="340" y="1320"/>
                  </a:cubicBezTo>
                  <a:cubicBezTo>
                    <a:pt x="342" y="1318"/>
                    <a:pt x="342" y="1317"/>
                    <a:pt x="342" y="1315"/>
                  </a:cubicBezTo>
                  <a:cubicBezTo>
                    <a:pt x="342" y="1313"/>
                    <a:pt x="342" y="1312"/>
                    <a:pt x="341" y="1311"/>
                  </a:cubicBezTo>
                  <a:cubicBezTo>
                    <a:pt x="315" y="1292"/>
                    <a:pt x="308" y="1289"/>
                    <a:pt x="291" y="1266"/>
                  </a:cubicBezTo>
                  <a:cubicBezTo>
                    <a:pt x="289" y="1263"/>
                    <a:pt x="279" y="1270"/>
                    <a:pt x="281" y="1267"/>
                  </a:cubicBezTo>
                  <a:cubicBezTo>
                    <a:pt x="300" y="1232"/>
                    <a:pt x="318" y="1285"/>
                    <a:pt x="326" y="1286"/>
                  </a:cubicBezTo>
                  <a:cubicBezTo>
                    <a:pt x="329" y="1286"/>
                    <a:pt x="337" y="1295"/>
                    <a:pt x="340" y="1292"/>
                  </a:cubicBezTo>
                  <a:cubicBezTo>
                    <a:pt x="343" y="1288"/>
                    <a:pt x="329" y="1287"/>
                    <a:pt x="330" y="1285"/>
                  </a:cubicBezTo>
                  <a:cubicBezTo>
                    <a:pt x="334" y="1279"/>
                    <a:pt x="352" y="1297"/>
                    <a:pt x="354" y="1295"/>
                  </a:cubicBezTo>
                  <a:cubicBezTo>
                    <a:pt x="357" y="1293"/>
                    <a:pt x="326" y="1281"/>
                    <a:pt x="329" y="1276"/>
                  </a:cubicBezTo>
                  <a:cubicBezTo>
                    <a:pt x="331" y="1271"/>
                    <a:pt x="347" y="1279"/>
                    <a:pt x="351" y="1273"/>
                  </a:cubicBezTo>
                  <a:cubicBezTo>
                    <a:pt x="353" y="1269"/>
                    <a:pt x="338" y="1274"/>
                    <a:pt x="337" y="1271"/>
                  </a:cubicBezTo>
                  <a:cubicBezTo>
                    <a:pt x="337" y="1270"/>
                    <a:pt x="345" y="1267"/>
                    <a:pt x="344" y="1266"/>
                  </a:cubicBezTo>
                  <a:cubicBezTo>
                    <a:pt x="344" y="1266"/>
                    <a:pt x="327" y="1273"/>
                    <a:pt x="323" y="1271"/>
                  </a:cubicBezTo>
                  <a:cubicBezTo>
                    <a:pt x="323" y="1271"/>
                    <a:pt x="320" y="1271"/>
                    <a:pt x="320" y="1270"/>
                  </a:cubicBezTo>
                  <a:cubicBezTo>
                    <a:pt x="321" y="1266"/>
                    <a:pt x="334" y="1269"/>
                    <a:pt x="333" y="1266"/>
                  </a:cubicBezTo>
                  <a:cubicBezTo>
                    <a:pt x="333" y="1266"/>
                    <a:pt x="300" y="1266"/>
                    <a:pt x="306" y="1251"/>
                  </a:cubicBezTo>
                  <a:cubicBezTo>
                    <a:pt x="307" y="1247"/>
                    <a:pt x="313" y="1259"/>
                    <a:pt x="318" y="1258"/>
                  </a:cubicBezTo>
                  <a:cubicBezTo>
                    <a:pt x="322" y="1257"/>
                    <a:pt x="310" y="1249"/>
                    <a:pt x="313" y="1247"/>
                  </a:cubicBezTo>
                  <a:cubicBezTo>
                    <a:pt x="318" y="1244"/>
                    <a:pt x="340" y="1248"/>
                    <a:pt x="346" y="1251"/>
                  </a:cubicBezTo>
                  <a:cubicBezTo>
                    <a:pt x="347" y="1251"/>
                    <a:pt x="348" y="1254"/>
                    <a:pt x="349" y="1253"/>
                  </a:cubicBezTo>
                  <a:cubicBezTo>
                    <a:pt x="350" y="1249"/>
                    <a:pt x="340" y="1250"/>
                    <a:pt x="342" y="1245"/>
                  </a:cubicBezTo>
                  <a:cubicBezTo>
                    <a:pt x="344" y="1239"/>
                    <a:pt x="369" y="1239"/>
                    <a:pt x="374" y="1238"/>
                  </a:cubicBezTo>
                  <a:cubicBezTo>
                    <a:pt x="375" y="1238"/>
                    <a:pt x="376" y="1238"/>
                    <a:pt x="375" y="1238"/>
                  </a:cubicBezTo>
                  <a:cubicBezTo>
                    <a:pt x="375" y="1238"/>
                    <a:pt x="375" y="1238"/>
                    <a:pt x="374" y="1238"/>
                  </a:cubicBezTo>
                  <a:cubicBezTo>
                    <a:pt x="373" y="1238"/>
                    <a:pt x="372" y="1238"/>
                    <a:pt x="371" y="1238"/>
                  </a:cubicBezTo>
                  <a:cubicBezTo>
                    <a:pt x="352" y="1237"/>
                    <a:pt x="349" y="1240"/>
                    <a:pt x="338" y="1227"/>
                  </a:cubicBezTo>
                  <a:cubicBezTo>
                    <a:pt x="338" y="1227"/>
                    <a:pt x="334" y="1226"/>
                    <a:pt x="334" y="1225"/>
                  </a:cubicBezTo>
                  <a:cubicBezTo>
                    <a:pt x="339" y="1219"/>
                    <a:pt x="353" y="1224"/>
                    <a:pt x="359" y="1218"/>
                  </a:cubicBezTo>
                  <a:cubicBezTo>
                    <a:pt x="363" y="1215"/>
                    <a:pt x="346" y="1214"/>
                    <a:pt x="348" y="1209"/>
                  </a:cubicBezTo>
                  <a:cubicBezTo>
                    <a:pt x="352" y="1202"/>
                    <a:pt x="367" y="1211"/>
                    <a:pt x="370" y="1210"/>
                  </a:cubicBezTo>
                  <a:cubicBezTo>
                    <a:pt x="376" y="1210"/>
                    <a:pt x="379" y="1199"/>
                    <a:pt x="381" y="1199"/>
                  </a:cubicBezTo>
                  <a:cubicBezTo>
                    <a:pt x="397" y="1200"/>
                    <a:pt x="388" y="1225"/>
                    <a:pt x="389" y="1226"/>
                  </a:cubicBezTo>
                  <a:cubicBezTo>
                    <a:pt x="394" y="1227"/>
                    <a:pt x="398" y="1217"/>
                    <a:pt x="403" y="1216"/>
                  </a:cubicBezTo>
                  <a:cubicBezTo>
                    <a:pt x="406" y="1215"/>
                    <a:pt x="424" y="1215"/>
                    <a:pt x="423" y="1209"/>
                  </a:cubicBezTo>
                  <a:cubicBezTo>
                    <a:pt x="423" y="1207"/>
                    <a:pt x="419" y="1212"/>
                    <a:pt x="417" y="1212"/>
                  </a:cubicBezTo>
                  <a:cubicBezTo>
                    <a:pt x="412" y="1213"/>
                    <a:pt x="396" y="1216"/>
                    <a:pt x="395" y="1211"/>
                  </a:cubicBezTo>
                  <a:cubicBezTo>
                    <a:pt x="393" y="1198"/>
                    <a:pt x="424" y="1204"/>
                    <a:pt x="424" y="1198"/>
                  </a:cubicBezTo>
                  <a:cubicBezTo>
                    <a:pt x="424" y="1197"/>
                    <a:pt x="418" y="1199"/>
                    <a:pt x="417" y="1200"/>
                  </a:cubicBezTo>
                  <a:cubicBezTo>
                    <a:pt x="409" y="1200"/>
                    <a:pt x="409" y="1196"/>
                    <a:pt x="404" y="1195"/>
                  </a:cubicBezTo>
                  <a:cubicBezTo>
                    <a:pt x="402" y="1194"/>
                    <a:pt x="407" y="1199"/>
                    <a:pt x="407" y="1201"/>
                  </a:cubicBezTo>
                  <a:cubicBezTo>
                    <a:pt x="406" y="1203"/>
                    <a:pt x="398" y="1200"/>
                    <a:pt x="397" y="1200"/>
                  </a:cubicBezTo>
                  <a:cubicBezTo>
                    <a:pt x="395" y="1199"/>
                    <a:pt x="394" y="1198"/>
                    <a:pt x="394" y="1196"/>
                  </a:cubicBezTo>
                  <a:cubicBezTo>
                    <a:pt x="395" y="1195"/>
                    <a:pt x="413" y="1184"/>
                    <a:pt x="415" y="1186"/>
                  </a:cubicBezTo>
                  <a:cubicBezTo>
                    <a:pt x="416" y="1186"/>
                    <a:pt x="412" y="1191"/>
                    <a:pt x="415" y="1193"/>
                  </a:cubicBezTo>
                  <a:cubicBezTo>
                    <a:pt x="416" y="1193"/>
                    <a:pt x="417" y="1194"/>
                    <a:pt x="417" y="1193"/>
                  </a:cubicBezTo>
                  <a:cubicBezTo>
                    <a:pt x="419" y="1193"/>
                    <a:pt x="421" y="1184"/>
                    <a:pt x="425" y="1183"/>
                  </a:cubicBezTo>
                  <a:cubicBezTo>
                    <a:pt x="426" y="1184"/>
                    <a:pt x="428" y="1185"/>
                    <a:pt x="430" y="1186"/>
                  </a:cubicBezTo>
                  <a:cubicBezTo>
                    <a:pt x="430" y="1187"/>
                    <a:pt x="430" y="1189"/>
                    <a:pt x="431" y="1189"/>
                  </a:cubicBezTo>
                  <a:cubicBezTo>
                    <a:pt x="431" y="1189"/>
                    <a:pt x="431" y="1189"/>
                    <a:pt x="432" y="1189"/>
                  </a:cubicBezTo>
                  <a:cubicBezTo>
                    <a:pt x="432" y="1188"/>
                    <a:pt x="431" y="1187"/>
                    <a:pt x="430" y="1186"/>
                  </a:cubicBezTo>
                  <a:cubicBezTo>
                    <a:pt x="430" y="1185"/>
                    <a:pt x="429" y="1185"/>
                    <a:pt x="429" y="1185"/>
                  </a:cubicBezTo>
                  <a:cubicBezTo>
                    <a:pt x="428" y="1183"/>
                    <a:pt x="426" y="1183"/>
                    <a:pt x="425" y="1183"/>
                  </a:cubicBezTo>
                  <a:cubicBezTo>
                    <a:pt x="425" y="1183"/>
                    <a:pt x="425" y="1182"/>
                    <a:pt x="425" y="1182"/>
                  </a:cubicBezTo>
                  <a:cubicBezTo>
                    <a:pt x="425" y="1180"/>
                    <a:pt x="443" y="1173"/>
                    <a:pt x="444" y="1174"/>
                  </a:cubicBezTo>
                  <a:cubicBezTo>
                    <a:pt x="450" y="1176"/>
                    <a:pt x="468" y="1208"/>
                    <a:pt x="461" y="1216"/>
                  </a:cubicBezTo>
                  <a:cubicBezTo>
                    <a:pt x="460" y="1217"/>
                    <a:pt x="454" y="1219"/>
                    <a:pt x="455" y="1221"/>
                  </a:cubicBezTo>
                  <a:cubicBezTo>
                    <a:pt x="456" y="1223"/>
                    <a:pt x="467" y="1216"/>
                    <a:pt x="469" y="1216"/>
                  </a:cubicBezTo>
                  <a:cubicBezTo>
                    <a:pt x="473" y="1215"/>
                    <a:pt x="482" y="1219"/>
                    <a:pt x="488" y="1220"/>
                  </a:cubicBezTo>
                  <a:cubicBezTo>
                    <a:pt x="490" y="1221"/>
                    <a:pt x="491" y="1221"/>
                    <a:pt x="492" y="1222"/>
                  </a:cubicBezTo>
                  <a:cubicBezTo>
                    <a:pt x="493" y="1225"/>
                    <a:pt x="491" y="1232"/>
                    <a:pt x="493" y="1230"/>
                  </a:cubicBezTo>
                  <a:cubicBezTo>
                    <a:pt x="499" y="1227"/>
                    <a:pt x="497" y="1224"/>
                    <a:pt x="492" y="1222"/>
                  </a:cubicBezTo>
                  <a:cubicBezTo>
                    <a:pt x="492" y="1221"/>
                    <a:pt x="491" y="1220"/>
                    <a:pt x="491" y="1220"/>
                  </a:cubicBezTo>
                  <a:cubicBezTo>
                    <a:pt x="490" y="1220"/>
                    <a:pt x="489" y="1220"/>
                    <a:pt x="488" y="1220"/>
                  </a:cubicBezTo>
                  <a:cubicBezTo>
                    <a:pt x="479" y="1216"/>
                    <a:pt x="468" y="1212"/>
                    <a:pt x="477" y="1205"/>
                  </a:cubicBezTo>
                  <a:cubicBezTo>
                    <a:pt x="494" y="1193"/>
                    <a:pt x="548" y="1213"/>
                    <a:pt x="551" y="1201"/>
                  </a:cubicBezTo>
                  <a:cubicBezTo>
                    <a:pt x="552" y="1198"/>
                    <a:pt x="537" y="1200"/>
                    <a:pt x="538" y="1193"/>
                  </a:cubicBezTo>
                  <a:cubicBezTo>
                    <a:pt x="538" y="1192"/>
                    <a:pt x="545" y="1184"/>
                    <a:pt x="549" y="1183"/>
                  </a:cubicBezTo>
                  <a:cubicBezTo>
                    <a:pt x="551" y="1183"/>
                    <a:pt x="551" y="1183"/>
                    <a:pt x="551" y="1182"/>
                  </a:cubicBezTo>
                  <a:cubicBezTo>
                    <a:pt x="552" y="1181"/>
                    <a:pt x="552" y="1180"/>
                    <a:pt x="552" y="1180"/>
                  </a:cubicBezTo>
                  <a:cubicBezTo>
                    <a:pt x="550" y="1177"/>
                    <a:pt x="528" y="1188"/>
                    <a:pt x="529" y="1187"/>
                  </a:cubicBezTo>
                  <a:cubicBezTo>
                    <a:pt x="539" y="1168"/>
                    <a:pt x="599" y="1153"/>
                    <a:pt x="600" y="1151"/>
                  </a:cubicBezTo>
                  <a:cubicBezTo>
                    <a:pt x="605" y="1136"/>
                    <a:pt x="568" y="1146"/>
                    <a:pt x="567" y="1138"/>
                  </a:cubicBezTo>
                  <a:cubicBezTo>
                    <a:pt x="566" y="1129"/>
                    <a:pt x="604" y="1124"/>
                    <a:pt x="603" y="1118"/>
                  </a:cubicBezTo>
                  <a:cubicBezTo>
                    <a:pt x="603" y="1114"/>
                    <a:pt x="582" y="1119"/>
                    <a:pt x="580" y="1113"/>
                  </a:cubicBezTo>
                  <a:cubicBezTo>
                    <a:pt x="579" y="1108"/>
                    <a:pt x="595" y="1106"/>
                    <a:pt x="591" y="1103"/>
                  </a:cubicBezTo>
                  <a:cubicBezTo>
                    <a:pt x="583" y="1099"/>
                    <a:pt x="576" y="1118"/>
                    <a:pt x="570" y="1122"/>
                  </a:cubicBezTo>
                  <a:cubicBezTo>
                    <a:pt x="561" y="1129"/>
                    <a:pt x="524" y="1139"/>
                    <a:pt x="521" y="1149"/>
                  </a:cubicBezTo>
                  <a:cubicBezTo>
                    <a:pt x="521" y="1150"/>
                    <a:pt x="531" y="1145"/>
                    <a:pt x="532" y="1144"/>
                  </a:cubicBezTo>
                  <a:cubicBezTo>
                    <a:pt x="536" y="1141"/>
                    <a:pt x="567" y="1130"/>
                    <a:pt x="566" y="1144"/>
                  </a:cubicBezTo>
                  <a:cubicBezTo>
                    <a:pt x="565" y="1156"/>
                    <a:pt x="472" y="1203"/>
                    <a:pt x="463" y="1194"/>
                  </a:cubicBezTo>
                  <a:cubicBezTo>
                    <a:pt x="460" y="1191"/>
                    <a:pt x="462" y="1184"/>
                    <a:pt x="461" y="1181"/>
                  </a:cubicBezTo>
                  <a:cubicBezTo>
                    <a:pt x="460" y="1177"/>
                    <a:pt x="448" y="1175"/>
                    <a:pt x="452" y="1167"/>
                  </a:cubicBezTo>
                  <a:cubicBezTo>
                    <a:pt x="454" y="1162"/>
                    <a:pt x="492" y="1158"/>
                    <a:pt x="471" y="1159"/>
                  </a:cubicBezTo>
                  <a:cubicBezTo>
                    <a:pt x="468" y="1159"/>
                    <a:pt x="474" y="1154"/>
                    <a:pt x="474" y="1153"/>
                  </a:cubicBezTo>
                  <a:cubicBezTo>
                    <a:pt x="473" y="1152"/>
                    <a:pt x="430" y="1173"/>
                    <a:pt x="429" y="1170"/>
                  </a:cubicBezTo>
                  <a:cubicBezTo>
                    <a:pt x="422" y="1160"/>
                    <a:pt x="445" y="1159"/>
                    <a:pt x="450" y="1155"/>
                  </a:cubicBezTo>
                  <a:cubicBezTo>
                    <a:pt x="450" y="1155"/>
                    <a:pt x="430" y="1158"/>
                    <a:pt x="429" y="1155"/>
                  </a:cubicBezTo>
                  <a:cubicBezTo>
                    <a:pt x="428" y="1149"/>
                    <a:pt x="474" y="1135"/>
                    <a:pt x="477" y="1132"/>
                  </a:cubicBezTo>
                  <a:cubicBezTo>
                    <a:pt x="480" y="1130"/>
                    <a:pt x="487" y="1133"/>
                    <a:pt x="487" y="1130"/>
                  </a:cubicBezTo>
                  <a:cubicBezTo>
                    <a:pt x="487" y="1120"/>
                    <a:pt x="468" y="1136"/>
                    <a:pt x="465" y="1132"/>
                  </a:cubicBezTo>
                  <a:cubicBezTo>
                    <a:pt x="464" y="1131"/>
                    <a:pt x="481" y="1126"/>
                    <a:pt x="481" y="1123"/>
                  </a:cubicBezTo>
                  <a:cubicBezTo>
                    <a:pt x="481" y="1120"/>
                    <a:pt x="465" y="1128"/>
                    <a:pt x="464" y="1127"/>
                  </a:cubicBezTo>
                  <a:cubicBezTo>
                    <a:pt x="464" y="1126"/>
                    <a:pt x="468" y="1121"/>
                    <a:pt x="469" y="1120"/>
                  </a:cubicBezTo>
                  <a:cubicBezTo>
                    <a:pt x="470" y="1114"/>
                    <a:pt x="465" y="1105"/>
                    <a:pt x="470" y="1103"/>
                  </a:cubicBezTo>
                  <a:cubicBezTo>
                    <a:pt x="472" y="1103"/>
                    <a:pt x="490" y="1111"/>
                    <a:pt x="489" y="1103"/>
                  </a:cubicBezTo>
                  <a:cubicBezTo>
                    <a:pt x="489" y="1099"/>
                    <a:pt x="479" y="1105"/>
                    <a:pt x="479" y="1102"/>
                  </a:cubicBezTo>
                  <a:cubicBezTo>
                    <a:pt x="483" y="1089"/>
                    <a:pt x="489" y="1094"/>
                    <a:pt x="502" y="1093"/>
                  </a:cubicBezTo>
                  <a:cubicBezTo>
                    <a:pt x="507" y="1092"/>
                    <a:pt x="490" y="1089"/>
                    <a:pt x="492" y="1085"/>
                  </a:cubicBezTo>
                  <a:cubicBezTo>
                    <a:pt x="495" y="1076"/>
                    <a:pt x="510" y="1083"/>
                    <a:pt x="514" y="1076"/>
                  </a:cubicBezTo>
                  <a:cubicBezTo>
                    <a:pt x="514" y="1076"/>
                    <a:pt x="508" y="1061"/>
                    <a:pt x="518" y="1070"/>
                  </a:cubicBezTo>
                  <a:cubicBezTo>
                    <a:pt x="521" y="1073"/>
                    <a:pt x="514" y="1065"/>
                    <a:pt x="516" y="1065"/>
                  </a:cubicBezTo>
                  <a:cubicBezTo>
                    <a:pt x="520" y="1065"/>
                    <a:pt x="524" y="1072"/>
                    <a:pt x="528" y="1067"/>
                  </a:cubicBezTo>
                  <a:cubicBezTo>
                    <a:pt x="532" y="1062"/>
                    <a:pt x="507" y="1064"/>
                    <a:pt x="511" y="1059"/>
                  </a:cubicBezTo>
                  <a:cubicBezTo>
                    <a:pt x="513" y="1056"/>
                    <a:pt x="530" y="1054"/>
                    <a:pt x="537" y="1062"/>
                  </a:cubicBezTo>
                  <a:cubicBezTo>
                    <a:pt x="537" y="1063"/>
                    <a:pt x="541" y="1065"/>
                    <a:pt x="542" y="1065"/>
                  </a:cubicBezTo>
                  <a:cubicBezTo>
                    <a:pt x="542" y="1065"/>
                    <a:pt x="545" y="1065"/>
                    <a:pt x="545" y="1065"/>
                  </a:cubicBezTo>
                  <a:cubicBezTo>
                    <a:pt x="545" y="1065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5" y="1063"/>
                    <a:pt x="545" y="1063"/>
                  </a:cubicBezTo>
                  <a:cubicBezTo>
                    <a:pt x="542" y="1059"/>
                    <a:pt x="541" y="1054"/>
                    <a:pt x="537" y="1054"/>
                  </a:cubicBezTo>
                  <a:cubicBezTo>
                    <a:pt x="537" y="1054"/>
                    <a:pt x="526" y="1056"/>
                    <a:pt x="528" y="1053"/>
                  </a:cubicBezTo>
                  <a:cubicBezTo>
                    <a:pt x="531" y="1049"/>
                    <a:pt x="539" y="1048"/>
                    <a:pt x="543" y="1050"/>
                  </a:cubicBezTo>
                  <a:cubicBezTo>
                    <a:pt x="545" y="1051"/>
                    <a:pt x="540" y="1045"/>
                    <a:pt x="541" y="1044"/>
                  </a:cubicBezTo>
                  <a:cubicBezTo>
                    <a:pt x="544" y="1042"/>
                    <a:pt x="547" y="1047"/>
                    <a:pt x="548" y="1048"/>
                  </a:cubicBezTo>
                  <a:cubicBezTo>
                    <a:pt x="549" y="1049"/>
                    <a:pt x="551" y="1051"/>
                    <a:pt x="550" y="1048"/>
                  </a:cubicBezTo>
                  <a:cubicBezTo>
                    <a:pt x="550" y="1046"/>
                    <a:pt x="555" y="1046"/>
                    <a:pt x="556" y="1045"/>
                  </a:cubicBezTo>
                  <a:cubicBezTo>
                    <a:pt x="558" y="1041"/>
                    <a:pt x="549" y="1036"/>
                    <a:pt x="551" y="1033"/>
                  </a:cubicBezTo>
                  <a:cubicBezTo>
                    <a:pt x="561" y="1022"/>
                    <a:pt x="575" y="1056"/>
                    <a:pt x="577" y="1055"/>
                  </a:cubicBezTo>
                  <a:cubicBezTo>
                    <a:pt x="579" y="1054"/>
                    <a:pt x="588" y="1050"/>
                    <a:pt x="589" y="1056"/>
                  </a:cubicBezTo>
                  <a:cubicBezTo>
                    <a:pt x="590" y="1060"/>
                    <a:pt x="577" y="1071"/>
                    <a:pt x="579" y="1073"/>
                  </a:cubicBezTo>
                  <a:cubicBezTo>
                    <a:pt x="580" y="1074"/>
                    <a:pt x="585" y="1067"/>
                    <a:pt x="585" y="1066"/>
                  </a:cubicBezTo>
                  <a:cubicBezTo>
                    <a:pt x="588" y="1063"/>
                    <a:pt x="593" y="1054"/>
                    <a:pt x="595" y="1053"/>
                  </a:cubicBezTo>
                  <a:cubicBezTo>
                    <a:pt x="596" y="1053"/>
                    <a:pt x="617" y="1050"/>
                    <a:pt x="617" y="1049"/>
                  </a:cubicBezTo>
                  <a:cubicBezTo>
                    <a:pt x="618" y="1046"/>
                    <a:pt x="593" y="1057"/>
                    <a:pt x="599" y="1045"/>
                  </a:cubicBezTo>
                  <a:cubicBezTo>
                    <a:pt x="605" y="1035"/>
                    <a:pt x="607" y="1042"/>
                    <a:pt x="613" y="1038"/>
                  </a:cubicBezTo>
                  <a:cubicBezTo>
                    <a:pt x="615" y="1037"/>
                    <a:pt x="628" y="1032"/>
                    <a:pt x="628" y="1031"/>
                  </a:cubicBezTo>
                  <a:cubicBezTo>
                    <a:pt x="627" y="1028"/>
                    <a:pt x="616" y="1034"/>
                    <a:pt x="615" y="1032"/>
                  </a:cubicBezTo>
                  <a:cubicBezTo>
                    <a:pt x="612" y="1028"/>
                    <a:pt x="599" y="1040"/>
                    <a:pt x="594" y="1014"/>
                  </a:cubicBezTo>
                  <a:cubicBezTo>
                    <a:pt x="594" y="1014"/>
                    <a:pt x="602" y="1011"/>
                    <a:pt x="603" y="1011"/>
                  </a:cubicBezTo>
                  <a:cubicBezTo>
                    <a:pt x="612" y="1007"/>
                    <a:pt x="631" y="1004"/>
                    <a:pt x="634" y="1001"/>
                  </a:cubicBezTo>
                  <a:cubicBezTo>
                    <a:pt x="638" y="996"/>
                    <a:pt x="621" y="1001"/>
                    <a:pt x="616" y="997"/>
                  </a:cubicBezTo>
                  <a:cubicBezTo>
                    <a:pt x="613" y="994"/>
                    <a:pt x="626" y="996"/>
                    <a:pt x="629" y="992"/>
                  </a:cubicBezTo>
                  <a:cubicBezTo>
                    <a:pt x="629" y="991"/>
                    <a:pt x="617" y="997"/>
                    <a:pt x="617" y="994"/>
                  </a:cubicBezTo>
                  <a:cubicBezTo>
                    <a:pt x="618" y="987"/>
                    <a:pt x="657" y="975"/>
                    <a:pt x="662" y="977"/>
                  </a:cubicBezTo>
                  <a:cubicBezTo>
                    <a:pt x="662" y="977"/>
                    <a:pt x="668" y="982"/>
                    <a:pt x="668" y="979"/>
                  </a:cubicBezTo>
                  <a:cubicBezTo>
                    <a:pt x="668" y="977"/>
                    <a:pt x="664" y="976"/>
                    <a:pt x="663" y="975"/>
                  </a:cubicBezTo>
                  <a:cubicBezTo>
                    <a:pt x="638" y="962"/>
                    <a:pt x="601" y="1013"/>
                    <a:pt x="581" y="1010"/>
                  </a:cubicBezTo>
                  <a:cubicBezTo>
                    <a:pt x="580" y="1010"/>
                    <a:pt x="598" y="1002"/>
                    <a:pt x="598" y="998"/>
                  </a:cubicBezTo>
                  <a:cubicBezTo>
                    <a:pt x="596" y="994"/>
                    <a:pt x="574" y="1004"/>
                    <a:pt x="583" y="994"/>
                  </a:cubicBezTo>
                  <a:cubicBezTo>
                    <a:pt x="584" y="992"/>
                    <a:pt x="624" y="988"/>
                    <a:pt x="621" y="984"/>
                  </a:cubicBezTo>
                  <a:cubicBezTo>
                    <a:pt x="620" y="982"/>
                    <a:pt x="583" y="996"/>
                    <a:pt x="581" y="991"/>
                  </a:cubicBezTo>
                  <a:cubicBezTo>
                    <a:pt x="581" y="991"/>
                    <a:pt x="581" y="991"/>
                    <a:pt x="581" y="991"/>
                  </a:cubicBezTo>
                  <a:cubicBezTo>
                    <a:pt x="582" y="990"/>
                    <a:pt x="582" y="989"/>
                    <a:pt x="582" y="988"/>
                  </a:cubicBezTo>
                  <a:cubicBezTo>
                    <a:pt x="586" y="985"/>
                    <a:pt x="596" y="984"/>
                    <a:pt x="603" y="983"/>
                  </a:cubicBezTo>
                  <a:cubicBezTo>
                    <a:pt x="605" y="984"/>
                    <a:pt x="608" y="983"/>
                    <a:pt x="610" y="982"/>
                  </a:cubicBezTo>
                  <a:cubicBezTo>
                    <a:pt x="611" y="982"/>
                    <a:pt x="612" y="982"/>
                    <a:pt x="612" y="982"/>
                  </a:cubicBezTo>
                  <a:cubicBezTo>
                    <a:pt x="612" y="982"/>
                    <a:pt x="611" y="982"/>
                    <a:pt x="610" y="982"/>
                  </a:cubicBezTo>
                  <a:cubicBezTo>
                    <a:pt x="609" y="983"/>
                    <a:pt x="606" y="983"/>
                    <a:pt x="603" y="983"/>
                  </a:cubicBezTo>
                  <a:cubicBezTo>
                    <a:pt x="602" y="982"/>
                    <a:pt x="602" y="982"/>
                    <a:pt x="602" y="980"/>
                  </a:cubicBezTo>
                  <a:cubicBezTo>
                    <a:pt x="602" y="979"/>
                    <a:pt x="605" y="979"/>
                    <a:pt x="606" y="979"/>
                  </a:cubicBezTo>
                  <a:cubicBezTo>
                    <a:pt x="614" y="973"/>
                    <a:pt x="621" y="982"/>
                    <a:pt x="633" y="973"/>
                  </a:cubicBezTo>
                  <a:cubicBezTo>
                    <a:pt x="634" y="972"/>
                    <a:pt x="641" y="951"/>
                    <a:pt x="649" y="965"/>
                  </a:cubicBezTo>
                  <a:cubicBezTo>
                    <a:pt x="651" y="968"/>
                    <a:pt x="657" y="962"/>
                    <a:pt x="660" y="963"/>
                  </a:cubicBezTo>
                  <a:cubicBezTo>
                    <a:pt x="664" y="964"/>
                    <a:pt x="663" y="971"/>
                    <a:pt x="665" y="971"/>
                  </a:cubicBezTo>
                  <a:cubicBezTo>
                    <a:pt x="669" y="971"/>
                    <a:pt x="664" y="965"/>
                    <a:pt x="665" y="963"/>
                  </a:cubicBezTo>
                  <a:cubicBezTo>
                    <a:pt x="668" y="958"/>
                    <a:pt x="731" y="944"/>
                    <a:pt x="733" y="921"/>
                  </a:cubicBezTo>
                  <a:cubicBezTo>
                    <a:pt x="733" y="917"/>
                    <a:pt x="722" y="928"/>
                    <a:pt x="721" y="929"/>
                  </a:cubicBezTo>
                  <a:cubicBezTo>
                    <a:pt x="712" y="936"/>
                    <a:pt x="695" y="955"/>
                    <a:pt x="682" y="948"/>
                  </a:cubicBezTo>
                  <a:cubicBezTo>
                    <a:pt x="681" y="947"/>
                    <a:pt x="680" y="945"/>
                    <a:pt x="682" y="944"/>
                  </a:cubicBezTo>
                  <a:cubicBezTo>
                    <a:pt x="683" y="943"/>
                    <a:pt x="694" y="942"/>
                    <a:pt x="692" y="940"/>
                  </a:cubicBezTo>
                  <a:cubicBezTo>
                    <a:pt x="691" y="939"/>
                    <a:pt x="688" y="940"/>
                    <a:pt x="687" y="938"/>
                  </a:cubicBezTo>
                  <a:cubicBezTo>
                    <a:pt x="686" y="933"/>
                    <a:pt x="676" y="938"/>
                    <a:pt x="682" y="933"/>
                  </a:cubicBezTo>
                  <a:cubicBezTo>
                    <a:pt x="685" y="931"/>
                    <a:pt x="711" y="934"/>
                    <a:pt x="712" y="932"/>
                  </a:cubicBezTo>
                  <a:cubicBezTo>
                    <a:pt x="712" y="930"/>
                    <a:pt x="702" y="928"/>
                    <a:pt x="701" y="930"/>
                  </a:cubicBezTo>
                  <a:cubicBezTo>
                    <a:pt x="697" y="933"/>
                    <a:pt x="687" y="929"/>
                    <a:pt x="681" y="929"/>
                  </a:cubicBezTo>
                  <a:cubicBezTo>
                    <a:pt x="679" y="929"/>
                    <a:pt x="672" y="938"/>
                    <a:pt x="670" y="935"/>
                  </a:cubicBezTo>
                  <a:cubicBezTo>
                    <a:pt x="670" y="935"/>
                    <a:pt x="679" y="924"/>
                    <a:pt x="680" y="924"/>
                  </a:cubicBezTo>
                  <a:cubicBezTo>
                    <a:pt x="689" y="923"/>
                    <a:pt x="692" y="908"/>
                    <a:pt x="704" y="918"/>
                  </a:cubicBezTo>
                  <a:cubicBezTo>
                    <a:pt x="705" y="918"/>
                    <a:pt x="708" y="924"/>
                    <a:pt x="709" y="920"/>
                  </a:cubicBezTo>
                  <a:cubicBezTo>
                    <a:pt x="710" y="919"/>
                    <a:pt x="700" y="914"/>
                    <a:pt x="694" y="908"/>
                  </a:cubicBezTo>
                  <a:cubicBezTo>
                    <a:pt x="694" y="907"/>
                    <a:pt x="689" y="903"/>
                    <a:pt x="691" y="902"/>
                  </a:cubicBezTo>
                  <a:cubicBezTo>
                    <a:pt x="702" y="897"/>
                    <a:pt x="702" y="916"/>
                    <a:pt x="711" y="914"/>
                  </a:cubicBezTo>
                  <a:cubicBezTo>
                    <a:pt x="716" y="914"/>
                    <a:pt x="704" y="902"/>
                    <a:pt x="708" y="902"/>
                  </a:cubicBezTo>
                  <a:cubicBezTo>
                    <a:pt x="710" y="901"/>
                    <a:pt x="716" y="902"/>
                    <a:pt x="717" y="901"/>
                  </a:cubicBezTo>
                  <a:cubicBezTo>
                    <a:pt x="718" y="900"/>
                    <a:pt x="703" y="901"/>
                    <a:pt x="702" y="900"/>
                  </a:cubicBezTo>
                  <a:cubicBezTo>
                    <a:pt x="702" y="899"/>
                    <a:pt x="707" y="898"/>
                    <a:pt x="706" y="897"/>
                  </a:cubicBezTo>
                  <a:cubicBezTo>
                    <a:pt x="706" y="897"/>
                    <a:pt x="699" y="897"/>
                    <a:pt x="698" y="893"/>
                  </a:cubicBezTo>
                  <a:cubicBezTo>
                    <a:pt x="697" y="889"/>
                    <a:pt x="702" y="884"/>
                    <a:pt x="699" y="880"/>
                  </a:cubicBezTo>
                  <a:cubicBezTo>
                    <a:pt x="699" y="879"/>
                    <a:pt x="697" y="884"/>
                    <a:pt x="697" y="884"/>
                  </a:cubicBezTo>
                  <a:cubicBezTo>
                    <a:pt x="697" y="893"/>
                    <a:pt x="690" y="890"/>
                    <a:pt x="691" y="889"/>
                  </a:cubicBezTo>
                  <a:cubicBezTo>
                    <a:pt x="696" y="884"/>
                    <a:pt x="697" y="878"/>
                    <a:pt x="691" y="887"/>
                  </a:cubicBezTo>
                  <a:cubicBezTo>
                    <a:pt x="689" y="889"/>
                    <a:pt x="685" y="892"/>
                    <a:pt x="683" y="887"/>
                  </a:cubicBezTo>
                  <a:cubicBezTo>
                    <a:pt x="682" y="884"/>
                    <a:pt x="687" y="880"/>
                    <a:pt x="684" y="880"/>
                  </a:cubicBezTo>
                  <a:cubicBezTo>
                    <a:pt x="683" y="880"/>
                    <a:pt x="680" y="882"/>
                    <a:pt x="680" y="880"/>
                  </a:cubicBezTo>
                  <a:cubicBezTo>
                    <a:pt x="678" y="845"/>
                    <a:pt x="706" y="872"/>
                    <a:pt x="711" y="873"/>
                  </a:cubicBezTo>
                  <a:cubicBezTo>
                    <a:pt x="713" y="873"/>
                    <a:pt x="717" y="877"/>
                    <a:pt x="718" y="873"/>
                  </a:cubicBezTo>
                  <a:cubicBezTo>
                    <a:pt x="719" y="870"/>
                    <a:pt x="709" y="870"/>
                    <a:pt x="708" y="870"/>
                  </a:cubicBezTo>
                  <a:cubicBezTo>
                    <a:pt x="703" y="867"/>
                    <a:pt x="697" y="862"/>
                    <a:pt x="697" y="856"/>
                  </a:cubicBezTo>
                  <a:cubicBezTo>
                    <a:pt x="697" y="854"/>
                    <a:pt x="705" y="847"/>
                    <a:pt x="706" y="847"/>
                  </a:cubicBezTo>
                  <a:cubicBezTo>
                    <a:pt x="707" y="847"/>
                    <a:pt x="711" y="853"/>
                    <a:pt x="712" y="850"/>
                  </a:cubicBezTo>
                  <a:cubicBezTo>
                    <a:pt x="715" y="838"/>
                    <a:pt x="700" y="851"/>
                    <a:pt x="706" y="833"/>
                  </a:cubicBezTo>
                  <a:cubicBezTo>
                    <a:pt x="710" y="818"/>
                    <a:pt x="731" y="825"/>
                    <a:pt x="740" y="829"/>
                  </a:cubicBezTo>
                  <a:cubicBezTo>
                    <a:pt x="742" y="830"/>
                    <a:pt x="752" y="841"/>
                    <a:pt x="753" y="840"/>
                  </a:cubicBezTo>
                  <a:cubicBezTo>
                    <a:pt x="761" y="827"/>
                    <a:pt x="731" y="826"/>
                    <a:pt x="731" y="820"/>
                  </a:cubicBezTo>
                  <a:cubicBezTo>
                    <a:pt x="730" y="814"/>
                    <a:pt x="746" y="809"/>
                    <a:pt x="741" y="805"/>
                  </a:cubicBezTo>
                  <a:cubicBezTo>
                    <a:pt x="740" y="805"/>
                    <a:pt x="702" y="815"/>
                    <a:pt x="708" y="807"/>
                  </a:cubicBezTo>
                  <a:cubicBezTo>
                    <a:pt x="712" y="802"/>
                    <a:pt x="782" y="779"/>
                    <a:pt x="788" y="782"/>
                  </a:cubicBezTo>
                  <a:cubicBezTo>
                    <a:pt x="791" y="783"/>
                    <a:pt x="788" y="786"/>
                    <a:pt x="786" y="787"/>
                  </a:cubicBezTo>
                  <a:cubicBezTo>
                    <a:pt x="784" y="788"/>
                    <a:pt x="785" y="802"/>
                    <a:pt x="785" y="802"/>
                  </a:cubicBezTo>
                  <a:cubicBezTo>
                    <a:pt x="786" y="802"/>
                    <a:pt x="792" y="795"/>
                    <a:pt x="794" y="794"/>
                  </a:cubicBezTo>
                  <a:cubicBezTo>
                    <a:pt x="799" y="791"/>
                    <a:pt x="811" y="800"/>
                    <a:pt x="812" y="794"/>
                  </a:cubicBezTo>
                  <a:cubicBezTo>
                    <a:pt x="812" y="788"/>
                    <a:pt x="791" y="792"/>
                    <a:pt x="792" y="788"/>
                  </a:cubicBezTo>
                  <a:cubicBezTo>
                    <a:pt x="792" y="787"/>
                    <a:pt x="795" y="785"/>
                    <a:pt x="796" y="783"/>
                  </a:cubicBezTo>
                  <a:cubicBezTo>
                    <a:pt x="796" y="783"/>
                    <a:pt x="824" y="790"/>
                    <a:pt x="830" y="775"/>
                  </a:cubicBezTo>
                  <a:cubicBezTo>
                    <a:pt x="831" y="773"/>
                    <a:pt x="841" y="771"/>
                    <a:pt x="839" y="767"/>
                  </a:cubicBezTo>
                  <a:cubicBezTo>
                    <a:pt x="838" y="764"/>
                    <a:pt x="828" y="771"/>
                    <a:pt x="826" y="771"/>
                  </a:cubicBezTo>
                  <a:cubicBezTo>
                    <a:pt x="793" y="776"/>
                    <a:pt x="791" y="778"/>
                    <a:pt x="753" y="788"/>
                  </a:cubicBezTo>
                  <a:cubicBezTo>
                    <a:pt x="750" y="788"/>
                    <a:pt x="742" y="793"/>
                    <a:pt x="740" y="789"/>
                  </a:cubicBezTo>
                  <a:cubicBezTo>
                    <a:pt x="739" y="787"/>
                    <a:pt x="746" y="784"/>
                    <a:pt x="747" y="783"/>
                  </a:cubicBezTo>
                  <a:cubicBezTo>
                    <a:pt x="753" y="775"/>
                    <a:pt x="784" y="773"/>
                    <a:pt x="785" y="771"/>
                  </a:cubicBezTo>
                  <a:cubicBezTo>
                    <a:pt x="786" y="769"/>
                    <a:pt x="774" y="770"/>
                    <a:pt x="773" y="769"/>
                  </a:cubicBezTo>
                  <a:cubicBezTo>
                    <a:pt x="771" y="768"/>
                    <a:pt x="777" y="767"/>
                    <a:pt x="777" y="766"/>
                  </a:cubicBezTo>
                  <a:cubicBezTo>
                    <a:pt x="778" y="764"/>
                    <a:pt x="769" y="768"/>
                    <a:pt x="769" y="765"/>
                  </a:cubicBezTo>
                  <a:cubicBezTo>
                    <a:pt x="767" y="760"/>
                    <a:pt x="761" y="759"/>
                    <a:pt x="767" y="766"/>
                  </a:cubicBezTo>
                  <a:cubicBezTo>
                    <a:pt x="767" y="766"/>
                    <a:pt x="768" y="767"/>
                    <a:pt x="767" y="768"/>
                  </a:cubicBezTo>
                  <a:cubicBezTo>
                    <a:pt x="766" y="770"/>
                    <a:pt x="759" y="772"/>
                    <a:pt x="757" y="772"/>
                  </a:cubicBezTo>
                  <a:cubicBezTo>
                    <a:pt x="756" y="772"/>
                    <a:pt x="750" y="773"/>
                    <a:pt x="750" y="771"/>
                  </a:cubicBezTo>
                  <a:cubicBezTo>
                    <a:pt x="749" y="770"/>
                    <a:pt x="754" y="768"/>
                    <a:pt x="751" y="768"/>
                  </a:cubicBezTo>
                  <a:cubicBezTo>
                    <a:pt x="748" y="767"/>
                    <a:pt x="748" y="769"/>
                    <a:pt x="746" y="770"/>
                  </a:cubicBezTo>
                  <a:cubicBezTo>
                    <a:pt x="744" y="770"/>
                    <a:pt x="741" y="769"/>
                    <a:pt x="739" y="768"/>
                  </a:cubicBezTo>
                  <a:cubicBezTo>
                    <a:pt x="731" y="761"/>
                    <a:pt x="758" y="761"/>
                    <a:pt x="751" y="751"/>
                  </a:cubicBezTo>
                  <a:cubicBezTo>
                    <a:pt x="750" y="749"/>
                    <a:pt x="753" y="748"/>
                    <a:pt x="752" y="747"/>
                  </a:cubicBezTo>
                  <a:cubicBezTo>
                    <a:pt x="750" y="744"/>
                    <a:pt x="734" y="740"/>
                    <a:pt x="735" y="738"/>
                  </a:cubicBezTo>
                  <a:cubicBezTo>
                    <a:pt x="735" y="737"/>
                    <a:pt x="740" y="737"/>
                    <a:pt x="741" y="737"/>
                  </a:cubicBezTo>
                  <a:cubicBezTo>
                    <a:pt x="758" y="729"/>
                    <a:pt x="754" y="755"/>
                    <a:pt x="772" y="747"/>
                  </a:cubicBezTo>
                  <a:cubicBezTo>
                    <a:pt x="775" y="746"/>
                    <a:pt x="768" y="746"/>
                    <a:pt x="767" y="746"/>
                  </a:cubicBezTo>
                  <a:cubicBezTo>
                    <a:pt x="758" y="747"/>
                    <a:pt x="764" y="745"/>
                    <a:pt x="763" y="741"/>
                  </a:cubicBezTo>
                  <a:cubicBezTo>
                    <a:pt x="763" y="739"/>
                    <a:pt x="759" y="739"/>
                    <a:pt x="761" y="738"/>
                  </a:cubicBezTo>
                  <a:cubicBezTo>
                    <a:pt x="768" y="731"/>
                    <a:pt x="795" y="741"/>
                    <a:pt x="797" y="739"/>
                  </a:cubicBezTo>
                  <a:cubicBezTo>
                    <a:pt x="799" y="736"/>
                    <a:pt x="778" y="732"/>
                    <a:pt x="778" y="732"/>
                  </a:cubicBezTo>
                  <a:cubicBezTo>
                    <a:pt x="778" y="730"/>
                    <a:pt x="779" y="730"/>
                    <a:pt x="780" y="729"/>
                  </a:cubicBezTo>
                  <a:cubicBezTo>
                    <a:pt x="781" y="728"/>
                    <a:pt x="783" y="727"/>
                    <a:pt x="784" y="727"/>
                  </a:cubicBezTo>
                  <a:cubicBezTo>
                    <a:pt x="791" y="725"/>
                    <a:pt x="802" y="726"/>
                    <a:pt x="802" y="725"/>
                  </a:cubicBezTo>
                  <a:cubicBezTo>
                    <a:pt x="802" y="725"/>
                    <a:pt x="795" y="723"/>
                    <a:pt x="794" y="723"/>
                  </a:cubicBezTo>
                  <a:cubicBezTo>
                    <a:pt x="792" y="723"/>
                    <a:pt x="788" y="725"/>
                    <a:pt x="784" y="727"/>
                  </a:cubicBezTo>
                  <a:cubicBezTo>
                    <a:pt x="782" y="727"/>
                    <a:pt x="781" y="728"/>
                    <a:pt x="780" y="729"/>
                  </a:cubicBezTo>
                  <a:cubicBezTo>
                    <a:pt x="770" y="733"/>
                    <a:pt x="759" y="738"/>
                    <a:pt x="756" y="732"/>
                  </a:cubicBezTo>
                  <a:cubicBezTo>
                    <a:pt x="752" y="726"/>
                    <a:pt x="773" y="729"/>
                    <a:pt x="773" y="722"/>
                  </a:cubicBezTo>
                  <a:cubicBezTo>
                    <a:pt x="773" y="720"/>
                    <a:pt x="755" y="721"/>
                    <a:pt x="753" y="718"/>
                  </a:cubicBezTo>
                  <a:cubicBezTo>
                    <a:pt x="751" y="716"/>
                    <a:pt x="758" y="718"/>
                    <a:pt x="761" y="717"/>
                  </a:cubicBezTo>
                  <a:cubicBezTo>
                    <a:pt x="764" y="716"/>
                    <a:pt x="785" y="721"/>
                    <a:pt x="786" y="720"/>
                  </a:cubicBezTo>
                  <a:cubicBezTo>
                    <a:pt x="788" y="716"/>
                    <a:pt x="757" y="709"/>
                    <a:pt x="758" y="708"/>
                  </a:cubicBezTo>
                  <a:cubicBezTo>
                    <a:pt x="761" y="704"/>
                    <a:pt x="814" y="717"/>
                    <a:pt x="817" y="705"/>
                  </a:cubicBezTo>
                  <a:cubicBezTo>
                    <a:pt x="818" y="703"/>
                    <a:pt x="788" y="709"/>
                    <a:pt x="787" y="709"/>
                  </a:cubicBezTo>
                  <a:cubicBezTo>
                    <a:pt x="782" y="707"/>
                    <a:pt x="788" y="701"/>
                    <a:pt x="791" y="701"/>
                  </a:cubicBezTo>
                  <a:cubicBezTo>
                    <a:pt x="793" y="700"/>
                    <a:pt x="804" y="704"/>
                    <a:pt x="805" y="701"/>
                  </a:cubicBezTo>
                  <a:cubicBezTo>
                    <a:pt x="805" y="699"/>
                    <a:pt x="781" y="700"/>
                    <a:pt x="782" y="697"/>
                  </a:cubicBezTo>
                  <a:cubicBezTo>
                    <a:pt x="784" y="689"/>
                    <a:pt x="820" y="698"/>
                    <a:pt x="826" y="697"/>
                  </a:cubicBezTo>
                  <a:cubicBezTo>
                    <a:pt x="831" y="696"/>
                    <a:pt x="815" y="696"/>
                    <a:pt x="810" y="694"/>
                  </a:cubicBezTo>
                  <a:cubicBezTo>
                    <a:pt x="799" y="690"/>
                    <a:pt x="801" y="684"/>
                    <a:pt x="793" y="680"/>
                  </a:cubicBezTo>
                  <a:cubicBezTo>
                    <a:pt x="791" y="679"/>
                    <a:pt x="784" y="681"/>
                    <a:pt x="784" y="679"/>
                  </a:cubicBezTo>
                  <a:cubicBezTo>
                    <a:pt x="783" y="669"/>
                    <a:pt x="802" y="676"/>
                    <a:pt x="807" y="673"/>
                  </a:cubicBezTo>
                  <a:cubicBezTo>
                    <a:pt x="809" y="671"/>
                    <a:pt x="813" y="671"/>
                    <a:pt x="815" y="668"/>
                  </a:cubicBezTo>
                  <a:cubicBezTo>
                    <a:pt x="816" y="666"/>
                    <a:pt x="822" y="667"/>
                    <a:pt x="821" y="665"/>
                  </a:cubicBezTo>
                  <a:cubicBezTo>
                    <a:pt x="820" y="664"/>
                    <a:pt x="824" y="664"/>
                    <a:pt x="824" y="665"/>
                  </a:cubicBezTo>
                  <a:cubicBezTo>
                    <a:pt x="825" y="669"/>
                    <a:pt x="817" y="670"/>
                    <a:pt x="817" y="673"/>
                  </a:cubicBezTo>
                  <a:cubicBezTo>
                    <a:pt x="819" y="678"/>
                    <a:pt x="827" y="673"/>
                    <a:pt x="830" y="668"/>
                  </a:cubicBezTo>
                  <a:cubicBezTo>
                    <a:pt x="833" y="664"/>
                    <a:pt x="824" y="659"/>
                    <a:pt x="830" y="655"/>
                  </a:cubicBezTo>
                  <a:cubicBezTo>
                    <a:pt x="833" y="654"/>
                    <a:pt x="834" y="657"/>
                    <a:pt x="834" y="659"/>
                  </a:cubicBezTo>
                  <a:cubicBezTo>
                    <a:pt x="837" y="673"/>
                    <a:pt x="839" y="670"/>
                    <a:pt x="848" y="664"/>
                  </a:cubicBezTo>
                  <a:cubicBezTo>
                    <a:pt x="848" y="664"/>
                    <a:pt x="848" y="664"/>
                    <a:pt x="848" y="664"/>
                  </a:cubicBezTo>
                  <a:cubicBezTo>
                    <a:pt x="858" y="659"/>
                    <a:pt x="841" y="654"/>
                    <a:pt x="873" y="657"/>
                  </a:cubicBezTo>
                  <a:cubicBezTo>
                    <a:pt x="875" y="657"/>
                    <a:pt x="880" y="659"/>
                    <a:pt x="880" y="657"/>
                  </a:cubicBezTo>
                  <a:cubicBezTo>
                    <a:pt x="875" y="642"/>
                    <a:pt x="841" y="665"/>
                    <a:pt x="855" y="642"/>
                  </a:cubicBezTo>
                  <a:cubicBezTo>
                    <a:pt x="856" y="640"/>
                    <a:pt x="865" y="638"/>
                    <a:pt x="866" y="638"/>
                  </a:cubicBezTo>
                  <a:cubicBezTo>
                    <a:pt x="870" y="638"/>
                    <a:pt x="861" y="646"/>
                    <a:pt x="864" y="647"/>
                  </a:cubicBezTo>
                  <a:cubicBezTo>
                    <a:pt x="866" y="648"/>
                    <a:pt x="866" y="641"/>
                    <a:pt x="868" y="640"/>
                  </a:cubicBezTo>
                  <a:cubicBezTo>
                    <a:pt x="875" y="639"/>
                    <a:pt x="879" y="641"/>
                    <a:pt x="885" y="640"/>
                  </a:cubicBezTo>
                  <a:cubicBezTo>
                    <a:pt x="889" y="639"/>
                    <a:pt x="894" y="645"/>
                    <a:pt x="894" y="645"/>
                  </a:cubicBezTo>
                  <a:cubicBezTo>
                    <a:pt x="898" y="634"/>
                    <a:pt x="872" y="638"/>
                    <a:pt x="872" y="636"/>
                  </a:cubicBezTo>
                  <a:cubicBezTo>
                    <a:pt x="872" y="635"/>
                    <a:pt x="910" y="629"/>
                    <a:pt x="914" y="631"/>
                  </a:cubicBezTo>
                  <a:cubicBezTo>
                    <a:pt x="915" y="632"/>
                    <a:pt x="914" y="633"/>
                    <a:pt x="914" y="634"/>
                  </a:cubicBezTo>
                  <a:cubicBezTo>
                    <a:pt x="913" y="635"/>
                    <a:pt x="913" y="635"/>
                    <a:pt x="912" y="635"/>
                  </a:cubicBezTo>
                  <a:cubicBezTo>
                    <a:pt x="910" y="638"/>
                    <a:pt x="905" y="641"/>
                    <a:pt x="908" y="643"/>
                  </a:cubicBezTo>
                  <a:cubicBezTo>
                    <a:pt x="924" y="654"/>
                    <a:pt x="908" y="642"/>
                    <a:pt x="912" y="635"/>
                  </a:cubicBezTo>
                  <a:cubicBezTo>
                    <a:pt x="913" y="635"/>
                    <a:pt x="913" y="635"/>
                    <a:pt x="914" y="634"/>
                  </a:cubicBezTo>
                  <a:cubicBezTo>
                    <a:pt x="915" y="633"/>
                    <a:pt x="916" y="632"/>
                    <a:pt x="918" y="632"/>
                  </a:cubicBezTo>
                  <a:cubicBezTo>
                    <a:pt x="941" y="625"/>
                    <a:pt x="953" y="655"/>
                    <a:pt x="960" y="653"/>
                  </a:cubicBezTo>
                  <a:cubicBezTo>
                    <a:pt x="962" y="653"/>
                    <a:pt x="956" y="650"/>
                    <a:pt x="955" y="647"/>
                  </a:cubicBezTo>
                  <a:cubicBezTo>
                    <a:pt x="954" y="644"/>
                    <a:pt x="959" y="643"/>
                    <a:pt x="958" y="639"/>
                  </a:cubicBezTo>
                  <a:cubicBezTo>
                    <a:pt x="957" y="637"/>
                    <a:pt x="948" y="635"/>
                    <a:pt x="950" y="632"/>
                  </a:cubicBezTo>
                  <a:cubicBezTo>
                    <a:pt x="953" y="626"/>
                    <a:pt x="978" y="643"/>
                    <a:pt x="982" y="637"/>
                  </a:cubicBezTo>
                  <a:cubicBezTo>
                    <a:pt x="982" y="637"/>
                    <a:pt x="978" y="632"/>
                    <a:pt x="978" y="631"/>
                  </a:cubicBezTo>
                  <a:cubicBezTo>
                    <a:pt x="978" y="631"/>
                    <a:pt x="978" y="631"/>
                    <a:pt x="978" y="631"/>
                  </a:cubicBezTo>
                  <a:cubicBezTo>
                    <a:pt x="977" y="631"/>
                    <a:pt x="977" y="631"/>
                    <a:pt x="977" y="631"/>
                  </a:cubicBezTo>
                  <a:cubicBezTo>
                    <a:pt x="976" y="631"/>
                    <a:pt x="976" y="631"/>
                    <a:pt x="975" y="632"/>
                  </a:cubicBezTo>
                  <a:cubicBezTo>
                    <a:pt x="975" y="632"/>
                    <a:pt x="975" y="632"/>
                    <a:pt x="974" y="632"/>
                  </a:cubicBezTo>
                  <a:cubicBezTo>
                    <a:pt x="972" y="632"/>
                    <a:pt x="970" y="632"/>
                    <a:pt x="968" y="632"/>
                  </a:cubicBezTo>
                  <a:cubicBezTo>
                    <a:pt x="963" y="631"/>
                    <a:pt x="956" y="627"/>
                    <a:pt x="951" y="627"/>
                  </a:cubicBezTo>
                  <a:cubicBezTo>
                    <a:pt x="948" y="627"/>
                    <a:pt x="943" y="636"/>
                    <a:pt x="939" y="631"/>
                  </a:cubicBezTo>
                  <a:cubicBezTo>
                    <a:pt x="939" y="631"/>
                    <a:pt x="941" y="629"/>
                    <a:pt x="942" y="627"/>
                  </a:cubicBezTo>
                  <a:cubicBezTo>
                    <a:pt x="943" y="626"/>
                    <a:pt x="923" y="628"/>
                    <a:pt x="921" y="625"/>
                  </a:cubicBezTo>
                  <a:cubicBezTo>
                    <a:pt x="919" y="622"/>
                    <a:pt x="933" y="616"/>
                    <a:pt x="929" y="616"/>
                  </a:cubicBezTo>
                  <a:cubicBezTo>
                    <a:pt x="922" y="615"/>
                    <a:pt x="918" y="621"/>
                    <a:pt x="913" y="623"/>
                  </a:cubicBezTo>
                  <a:cubicBezTo>
                    <a:pt x="911" y="624"/>
                    <a:pt x="910" y="623"/>
                    <a:pt x="909" y="622"/>
                  </a:cubicBezTo>
                  <a:cubicBezTo>
                    <a:pt x="907" y="621"/>
                    <a:pt x="896" y="620"/>
                    <a:pt x="895" y="623"/>
                  </a:cubicBezTo>
                  <a:cubicBezTo>
                    <a:pt x="895" y="624"/>
                    <a:pt x="901" y="623"/>
                    <a:pt x="901" y="625"/>
                  </a:cubicBezTo>
                  <a:cubicBezTo>
                    <a:pt x="900" y="627"/>
                    <a:pt x="881" y="632"/>
                    <a:pt x="882" y="631"/>
                  </a:cubicBezTo>
                  <a:cubicBezTo>
                    <a:pt x="882" y="628"/>
                    <a:pt x="889" y="627"/>
                    <a:pt x="889" y="621"/>
                  </a:cubicBezTo>
                  <a:cubicBezTo>
                    <a:pt x="889" y="620"/>
                    <a:pt x="885" y="622"/>
                    <a:pt x="884" y="622"/>
                  </a:cubicBezTo>
                  <a:cubicBezTo>
                    <a:pt x="880" y="625"/>
                    <a:pt x="875" y="625"/>
                    <a:pt x="870" y="626"/>
                  </a:cubicBezTo>
                  <a:cubicBezTo>
                    <a:pt x="868" y="626"/>
                    <a:pt x="855" y="627"/>
                    <a:pt x="856" y="626"/>
                  </a:cubicBezTo>
                  <a:cubicBezTo>
                    <a:pt x="859" y="620"/>
                    <a:pt x="875" y="606"/>
                    <a:pt x="882" y="599"/>
                  </a:cubicBezTo>
                  <a:cubicBezTo>
                    <a:pt x="882" y="599"/>
                    <a:pt x="884" y="598"/>
                    <a:pt x="885" y="598"/>
                  </a:cubicBezTo>
                  <a:cubicBezTo>
                    <a:pt x="895" y="596"/>
                    <a:pt x="899" y="606"/>
                    <a:pt x="899" y="606"/>
                  </a:cubicBezTo>
                  <a:cubicBezTo>
                    <a:pt x="903" y="606"/>
                    <a:pt x="904" y="600"/>
                    <a:pt x="907" y="600"/>
                  </a:cubicBezTo>
                  <a:cubicBezTo>
                    <a:pt x="908" y="600"/>
                    <a:pt x="920" y="596"/>
                    <a:pt x="920" y="595"/>
                  </a:cubicBezTo>
                  <a:cubicBezTo>
                    <a:pt x="919" y="593"/>
                    <a:pt x="886" y="597"/>
                    <a:pt x="891" y="587"/>
                  </a:cubicBezTo>
                  <a:cubicBezTo>
                    <a:pt x="892" y="585"/>
                    <a:pt x="899" y="582"/>
                    <a:pt x="900" y="581"/>
                  </a:cubicBezTo>
                  <a:cubicBezTo>
                    <a:pt x="903" y="580"/>
                    <a:pt x="933" y="570"/>
                    <a:pt x="930" y="580"/>
                  </a:cubicBezTo>
                  <a:cubicBezTo>
                    <a:pt x="927" y="586"/>
                    <a:pt x="921" y="580"/>
                    <a:pt x="918" y="580"/>
                  </a:cubicBezTo>
                  <a:cubicBezTo>
                    <a:pt x="915" y="581"/>
                    <a:pt x="924" y="585"/>
                    <a:pt x="913" y="588"/>
                  </a:cubicBezTo>
                  <a:cubicBezTo>
                    <a:pt x="911" y="588"/>
                    <a:pt x="906" y="588"/>
                    <a:pt x="906" y="589"/>
                  </a:cubicBezTo>
                  <a:cubicBezTo>
                    <a:pt x="906" y="590"/>
                    <a:pt x="908" y="590"/>
                    <a:pt x="909" y="590"/>
                  </a:cubicBezTo>
                  <a:cubicBezTo>
                    <a:pt x="917" y="590"/>
                    <a:pt x="918" y="590"/>
                    <a:pt x="925" y="587"/>
                  </a:cubicBezTo>
                  <a:cubicBezTo>
                    <a:pt x="926" y="587"/>
                    <a:pt x="932" y="583"/>
                    <a:pt x="932" y="585"/>
                  </a:cubicBezTo>
                  <a:cubicBezTo>
                    <a:pt x="933" y="589"/>
                    <a:pt x="932" y="592"/>
                    <a:pt x="929" y="594"/>
                  </a:cubicBezTo>
                  <a:cubicBezTo>
                    <a:pt x="925" y="598"/>
                    <a:pt x="945" y="586"/>
                    <a:pt x="955" y="590"/>
                  </a:cubicBezTo>
                  <a:cubicBezTo>
                    <a:pt x="969" y="596"/>
                    <a:pt x="965" y="632"/>
                    <a:pt x="977" y="618"/>
                  </a:cubicBezTo>
                  <a:cubicBezTo>
                    <a:pt x="979" y="617"/>
                    <a:pt x="962" y="602"/>
                    <a:pt x="965" y="590"/>
                  </a:cubicBezTo>
                  <a:cubicBezTo>
                    <a:pt x="966" y="584"/>
                    <a:pt x="980" y="579"/>
                    <a:pt x="985" y="578"/>
                  </a:cubicBezTo>
                  <a:cubicBezTo>
                    <a:pt x="987" y="578"/>
                    <a:pt x="996" y="579"/>
                    <a:pt x="996" y="577"/>
                  </a:cubicBezTo>
                  <a:cubicBezTo>
                    <a:pt x="996" y="574"/>
                    <a:pt x="983" y="574"/>
                    <a:pt x="982" y="575"/>
                  </a:cubicBezTo>
                  <a:cubicBezTo>
                    <a:pt x="969" y="579"/>
                    <a:pt x="951" y="591"/>
                    <a:pt x="937" y="582"/>
                  </a:cubicBezTo>
                  <a:cubicBezTo>
                    <a:pt x="933" y="580"/>
                    <a:pt x="938" y="571"/>
                    <a:pt x="940" y="571"/>
                  </a:cubicBezTo>
                  <a:cubicBezTo>
                    <a:pt x="946" y="571"/>
                    <a:pt x="958" y="579"/>
                    <a:pt x="957" y="574"/>
                  </a:cubicBezTo>
                  <a:cubicBezTo>
                    <a:pt x="956" y="568"/>
                    <a:pt x="945" y="563"/>
                    <a:pt x="938" y="568"/>
                  </a:cubicBezTo>
                  <a:cubicBezTo>
                    <a:pt x="937" y="569"/>
                    <a:pt x="931" y="571"/>
                    <a:pt x="931" y="568"/>
                  </a:cubicBezTo>
                  <a:cubicBezTo>
                    <a:pt x="932" y="556"/>
                    <a:pt x="944" y="552"/>
                    <a:pt x="962" y="559"/>
                  </a:cubicBezTo>
                  <a:cubicBezTo>
                    <a:pt x="964" y="560"/>
                    <a:pt x="961" y="553"/>
                    <a:pt x="968" y="557"/>
                  </a:cubicBezTo>
                  <a:cubicBezTo>
                    <a:pt x="969" y="558"/>
                    <a:pt x="974" y="558"/>
                    <a:pt x="974" y="558"/>
                  </a:cubicBezTo>
                  <a:cubicBezTo>
                    <a:pt x="973" y="557"/>
                    <a:pt x="949" y="551"/>
                    <a:pt x="951" y="549"/>
                  </a:cubicBezTo>
                  <a:cubicBezTo>
                    <a:pt x="957" y="544"/>
                    <a:pt x="979" y="548"/>
                    <a:pt x="982" y="554"/>
                  </a:cubicBezTo>
                  <a:cubicBezTo>
                    <a:pt x="984" y="557"/>
                    <a:pt x="992" y="560"/>
                    <a:pt x="990" y="556"/>
                  </a:cubicBezTo>
                  <a:cubicBezTo>
                    <a:pt x="978" y="537"/>
                    <a:pt x="975" y="547"/>
                    <a:pt x="960" y="543"/>
                  </a:cubicBezTo>
                  <a:cubicBezTo>
                    <a:pt x="952" y="540"/>
                    <a:pt x="956" y="531"/>
                    <a:pt x="953" y="531"/>
                  </a:cubicBezTo>
                  <a:cubicBezTo>
                    <a:pt x="951" y="530"/>
                    <a:pt x="953" y="535"/>
                    <a:pt x="952" y="536"/>
                  </a:cubicBezTo>
                  <a:cubicBezTo>
                    <a:pt x="950" y="536"/>
                    <a:pt x="952" y="529"/>
                    <a:pt x="948" y="531"/>
                  </a:cubicBezTo>
                  <a:cubicBezTo>
                    <a:pt x="946" y="532"/>
                    <a:pt x="952" y="539"/>
                    <a:pt x="947" y="542"/>
                  </a:cubicBezTo>
                  <a:cubicBezTo>
                    <a:pt x="937" y="549"/>
                    <a:pt x="907" y="573"/>
                    <a:pt x="892" y="563"/>
                  </a:cubicBezTo>
                  <a:cubicBezTo>
                    <a:pt x="890" y="561"/>
                    <a:pt x="901" y="557"/>
                    <a:pt x="903" y="556"/>
                  </a:cubicBezTo>
                  <a:cubicBezTo>
                    <a:pt x="908" y="553"/>
                    <a:pt x="893" y="552"/>
                    <a:pt x="897" y="551"/>
                  </a:cubicBezTo>
                  <a:cubicBezTo>
                    <a:pt x="903" y="549"/>
                    <a:pt x="913" y="550"/>
                    <a:pt x="920" y="550"/>
                  </a:cubicBezTo>
                  <a:cubicBezTo>
                    <a:pt x="921" y="550"/>
                    <a:pt x="925" y="550"/>
                    <a:pt x="926" y="549"/>
                  </a:cubicBezTo>
                  <a:cubicBezTo>
                    <a:pt x="927" y="545"/>
                    <a:pt x="917" y="548"/>
                    <a:pt x="915" y="546"/>
                  </a:cubicBezTo>
                  <a:cubicBezTo>
                    <a:pt x="911" y="542"/>
                    <a:pt x="895" y="547"/>
                    <a:pt x="894" y="539"/>
                  </a:cubicBezTo>
                  <a:cubicBezTo>
                    <a:pt x="893" y="534"/>
                    <a:pt x="924" y="535"/>
                    <a:pt x="925" y="531"/>
                  </a:cubicBezTo>
                  <a:cubicBezTo>
                    <a:pt x="925" y="530"/>
                    <a:pt x="902" y="532"/>
                    <a:pt x="902" y="532"/>
                  </a:cubicBezTo>
                  <a:cubicBezTo>
                    <a:pt x="905" y="528"/>
                    <a:pt x="934" y="520"/>
                    <a:pt x="935" y="528"/>
                  </a:cubicBezTo>
                  <a:cubicBezTo>
                    <a:pt x="935" y="530"/>
                    <a:pt x="931" y="531"/>
                    <a:pt x="932" y="534"/>
                  </a:cubicBezTo>
                  <a:cubicBezTo>
                    <a:pt x="933" y="535"/>
                    <a:pt x="939" y="530"/>
                    <a:pt x="940" y="529"/>
                  </a:cubicBezTo>
                  <a:cubicBezTo>
                    <a:pt x="942" y="527"/>
                    <a:pt x="957" y="518"/>
                    <a:pt x="964" y="520"/>
                  </a:cubicBezTo>
                  <a:cubicBezTo>
                    <a:pt x="966" y="521"/>
                    <a:pt x="957" y="529"/>
                    <a:pt x="962" y="531"/>
                  </a:cubicBezTo>
                  <a:cubicBezTo>
                    <a:pt x="962" y="531"/>
                    <a:pt x="969" y="519"/>
                    <a:pt x="979" y="516"/>
                  </a:cubicBezTo>
                  <a:cubicBezTo>
                    <a:pt x="988" y="513"/>
                    <a:pt x="988" y="524"/>
                    <a:pt x="991" y="524"/>
                  </a:cubicBezTo>
                  <a:cubicBezTo>
                    <a:pt x="998" y="524"/>
                    <a:pt x="995" y="509"/>
                    <a:pt x="1001" y="507"/>
                  </a:cubicBezTo>
                  <a:cubicBezTo>
                    <a:pt x="1002" y="507"/>
                    <a:pt x="1002" y="507"/>
                    <a:pt x="1003" y="507"/>
                  </a:cubicBezTo>
                  <a:cubicBezTo>
                    <a:pt x="1003" y="507"/>
                    <a:pt x="1004" y="508"/>
                    <a:pt x="1004" y="508"/>
                  </a:cubicBezTo>
                  <a:cubicBezTo>
                    <a:pt x="1005" y="508"/>
                    <a:pt x="1001" y="508"/>
                    <a:pt x="1003" y="508"/>
                  </a:cubicBezTo>
                  <a:cubicBezTo>
                    <a:pt x="1003" y="508"/>
                    <a:pt x="1005" y="508"/>
                    <a:pt x="1005" y="507"/>
                  </a:cubicBezTo>
                  <a:cubicBezTo>
                    <a:pt x="1010" y="503"/>
                    <a:pt x="995" y="509"/>
                    <a:pt x="992" y="503"/>
                  </a:cubicBezTo>
                  <a:cubicBezTo>
                    <a:pt x="991" y="500"/>
                    <a:pt x="997" y="502"/>
                    <a:pt x="996" y="499"/>
                  </a:cubicBezTo>
                  <a:cubicBezTo>
                    <a:pt x="995" y="497"/>
                    <a:pt x="990" y="499"/>
                    <a:pt x="989" y="500"/>
                  </a:cubicBezTo>
                  <a:cubicBezTo>
                    <a:pt x="985" y="505"/>
                    <a:pt x="979" y="503"/>
                    <a:pt x="972" y="503"/>
                  </a:cubicBezTo>
                  <a:cubicBezTo>
                    <a:pt x="969" y="503"/>
                    <a:pt x="965" y="494"/>
                    <a:pt x="962" y="496"/>
                  </a:cubicBezTo>
                  <a:cubicBezTo>
                    <a:pt x="960" y="498"/>
                    <a:pt x="956" y="506"/>
                    <a:pt x="954" y="508"/>
                  </a:cubicBezTo>
                  <a:cubicBezTo>
                    <a:pt x="952" y="509"/>
                    <a:pt x="952" y="510"/>
                    <a:pt x="950" y="509"/>
                  </a:cubicBezTo>
                  <a:cubicBezTo>
                    <a:pt x="948" y="508"/>
                    <a:pt x="939" y="508"/>
                    <a:pt x="941" y="502"/>
                  </a:cubicBezTo>
                  <a:cubicBezTo>
                    <a:pt x="945" y="488"/>
                    <a:pt x="963" y="491"/>
                    <a:pt x="967" y="491"/>
                  </a:cubicBezTo>
                  <a:cubicBezTo>
                    <a:pt x="970" y="491"/>
                    <a:pt x="974" y="481"/>
                    <a:pt x="975" y="482"/>
                  </a:cubicBezTo>
                  <a:cubicBezTo>
                    <a:pt x="977" y="487"/>
                    <a:pt x="988" y="494"/>
                    <a:pt x="972" y="493"/>
                  </a:cubicBezTo>
                  <a:cubicBezTo>
                    <a:pt x="970" y="493"/>
                    <a:pt x="972" y="500"/>
                    <a:pt x="977" y="499"/>
                  </a:cubicBezTo>
                  <a:cubicBezTo>
                    <a:pt x="1005" y="493"/>
                    <a:pt x="996" y="463"/>
                    <a:pt x="1008" y="470"/>
                  </a:cubicBezTo>
                  <a:cubicBezTo>
                    <a:pt x="1012" y="473"/>
                    <a:pt x="1007" y="481"/>
                    <a:pt x="1008" y="482"/>
                  </a:cubicBezTo>
                  <a:cubicBezTo>
                    <a:pt x="1009" y="483"/>
                    <a:pt x="1013" y="480"/>
                    <a:pt x="1014" y="482"/>
                  </a:cubicBezTo>
                  <a:cubicBezTo>
                    <a:pt x="1015" y="484"/>
                    <a:pt x="1013" y="489"/>
                    <a:pt x="1011" y="490"/>
                  </a:cubicBezTo>
                  <a:cubicBezTo>
                    <a:pt x="1009" y="494"/>
                    <a:pt x="1009" y="501"/>
                    <a:pt x="1010" y="505"/>
                  </a:cubicBezTo>
                  <a:cubicBezTo>
                    <a:pt x="1012" y="510"/>
                    <a:pt x="1043" y="543"/>
                    <a:pt x="1050" y="540"/>
                  </a:cubicBezTo>
                  <a:cubicBezTo>
                    <a:pt x="1051" y="540"/>
                    <a:pt x="1041" y="536"/>
                    <a:pt x="1045" y="533"/>
                  </a:cubicBezTo>
                  <a:cubicBezTo>
                    <a:pt x="1047" y="531"/>
                    <a:pt x="1042" y="530"/>
                    <a:pt x="1041" y="529"/>
                  </a:cubicBezTo>
                  <a:cubicBezTo>
                    <a:pt x="1032" y="524"/>
                    <a:pt x="1025" y="523"/>
                    <a:pt x="1029" y="513"/>
                  </a:cubicBezTo>
                  <a:cubicBezTo>
                    <a:pt x="1030" y="511"/>
                    <a:pt x="1021" y="509"/>
                    <a:pt x="1023" y="508"/>
                  </a:cubicBezTo>
                  <a:cubicBezTo>
                    <a:pt x="1032" y="501"/>
                    <a:pt x="1038" y="524"/>
                    <a:pt x="1045" y="524"/>
                  </a:cubicBezTo>
                  <a:cubicBezTo>
                    <a:pt x="1052" y="524"/>
                    <a:pt x="1033" y="510"/>
                    <a:pt x="1034" y="508"/>
                  </a:cubicBezTo>
                  <a:cubicBezTo>
                    <a:pt x="1036" y="502"/>
                    <a:pt x="1050" y="522"/>
                    <a:pt x="1053" y="514"/>
                  </a:cubicBezTo>
                  <a:cubicBezTo>
                    <a:pt x="1053" y="514"/>
                    <a:pt x="1047" y="513"/>
                    <a:pt x="1046" y="512"/>
                  </a:cubicBezTo>
                  <a:cubicBezTo>
                    <a:pt x="1043" y="510"/>
                    <a:pt x="1050" y="508"/>
                    <a:pt x="1049" y="506"/>
                  </a:cubicBezTo>
                  <a:cubicBezTo>
                    <a:pt x="1048" y="504"/>
                    <a:pt x="1036" y="506"/>
                    <a:pt x="1037" y="502"/>
                  </a:cubicBezTo>
                  <a:cubicBezTo>
                    <a:pt x="1040" y="491"/>
                    <a:pt x="1069" y="498"/>
                    <a:pt x="1068" y="497"/>
                  </a:cubicBezTo>
                  <a:cubicBezTo>
                    <a:pt x="1057" y="486"/>
                    <a:pt x="1044" y="497"/>
                    <a:pt x="1035" y="496"/>
                  </a:cubicBezTo>
                  <a:cubicBezTo>
                    <a:pt x="1029" y="495"/>
                    <a:pt x="1032" y="492"/>
                    <a:pt x="1027" y="489"/>
                  </a:cubicBezTo>
                  <a:cubicBezTo>
                    <a:pt x="1027" y="489"/>
                    <a:pt x="1026" y="489"/>
                    <a:pt x="1026" y="488"/>
                  </a:cubicBezTo>
                  <a:cubicBezTo>
                    <a:pt x="1027" y="487"/>
                    <a:pt x="1040" y="488"/>
                    <a:pt x="1041" y="487"/>
                  </a:cubicBezTo>
                  <a:cubicBezTo>
                    <a:pt x="1044" y="487"/>
                    <a:pt x="1040" y="480"/>
                    <a:pt x="1043" y="480"/>
                  </a:cubicBezTo>
                  <a:cubicBezTo>
                    <a:pt x="1044" y="481"/>
                    <a:pt x="1054" y="486"/>
                    <a:pt x="1054" y="483"/>
                  </a:cubicBezTo>
                  <a:cubicBezTo>
                    <a:pt x="1055" y="482"/>
                    <a:pt x="1052" y="480"/>
                    <a:pt x="1051" y="480"/>
                  </a:cubicBezTo>
                  <a:cubicBezTo>
                    <a:pt x="1046" y="478"/>
                    <a:pt x="1048" y="476"/>
                    <a:pt x="1046" y="474"/>
                  </a:cubicBezTo>
                  <a:cubicBezTo>
                    <a:pt x="1044" y="473"/>
                    <a:pt x="1030" y="478"/>
                    <a:pt x="1026" y="478"/>
                  </a:cubicBezTo>
                  <a:cubicBezTo>
                    <a:pt x="1025" y="478"/>
                    <a:pt x="1020" y="478"/>
                    <a:pt x="1019" y="477"/>
                  </a:cubicBezTo>
                  <a:cubicBezTo>
                    <a:pt x="1015" y="473"/>
                    <a:pt x="1034" y="472"/>
                    <a:pt x="1033" y="470"/>
                  </a:cubicBezTo>
                  <a:cubicBezTo>
                    <a:pt x="1032" y="469"/>
                    <a:pt x="1013" y="465"/>
                    <a:pt x="1014" y="464"/>
                  </a:cubicBezTo>
                  <a:cubicBezTo>
                    <a:pt x="1024" y="451"/>
                    <a:pt x="1048" y="467"/>
                    <a:pt x="1055" y="478"/>
                  </a:cubicBezTo>
                  <a:cubicBezTo>
                    <a:pt x="1057" y="480"/>
                    <a:pt x="1076" y="489"/>
                    <a:pt x="1077" y="487"/>
                  </a:cubicBezTo>
                  <a:cubicBezTo>
                    <a:pt x="1077" y="478"/>
                    <a:pt x="1029" y="455"/>
                    <a:pt x="1029" y="455"/>
                  </a:cubicBezTo>
                  <a:cubicBezTo>
                    <a:pt x="1031" y="453"/>
                    <a:pt x="1025" y="455"/>
                    <a:pt x="1024" y="454"/>
                  </a:cubicBezTo>
                  <a:cubicBezTo>
                    <a:pt x="1024" y="450"/>
                    <a:pt x="1059" y="446"/>
                    <a:pt x="1063" y="445"/>
                  </a:cubicBezTo>
                  <a:cubicBezTo>
                    <a:pt x="1066" y="445"/>
                    <a:pt x="1069" y="445"/>
                    <a:pt x="1073" y="447"/>
                  </a:cubicBezTo>
                  <a:cubicBezTo>
                    <a:pt x="1075" y="448"/>
                    <a:pt x="1077" y="448"/>
                    <a:pt x="1079" y="449"/>
                  </a:cubicBezTo>
                  <a:cubicBezTo>
                    <a:pt x="1086" y="451"/>
                    <a:pt x="1079" y="458"/>
                    <a:pt x="1079" y="458"/>
                  </a:cubicBezTo>
                  <a:cubicBezTo>
                    <a:pt x="1085" y="457"/>
                    <a:pt x="1094" y="451"/>
                    <a:pt x="1099" y="451"/>
                  </a:cubicBezTo>
                  <a:cubicBezTo>
                    <a:pt x="1113" y="452"/>
                    <a:pt x="1104" y="458"/>
                    <a:pt x="1114" y="463"/>
                  </a:cubicBezTo>
                  <a:cubicBezTo>
                    <a:pt x="1116" y="464"/>
                    <a:pt x="1123" y="466"/>
                    <a:pt x="1123" y="469"/>
                  </a:cubicBezTo>
                  <a:cubicBezTo>
                    <a:pt x="1123" y="470"/>
                    <a:pt x="1121" y="481"/>
                    <a:pt x="1122" y="482"/>
                  </a:cubicBezTo>
                  <a:cubicBezTo>
                    <a:pt x="1125" y="485"/>
                    <a:pt x="1127" y="474"/>
                    <a:pt x="1131" y="472"/>
                  </a:cubicBezTo>
                  <a:cubicBezTo>
                    <a:pt x="1131" y="472"/>
                    <a:pt x="1131" y="471"/>
                    <a:pt x="1131" y="471"/>
                  </a:cubicBezTo>
                  <a:cubicBezTo>
                    <a:pt x="1131" y="464"/>
                    <a:pt x="1106" y="456"/>
                    <a:pt x="1112" y="449"/>
                  </a:cubicBezTo>
                  <a:cubicBezTo>
                    <a:pt x="1118" y="442"/>
                    <a:pt x="1125" y="448"/>
                    <a:pt x="1135" y="452"/>
                  </a:cubicBezTo>
                  <a:cubicBezTo>
                    <a:pt x="1136" y="453"/>
                    <a:pt x="1147" y="454"/>
                    <a:pt x="1145" y="451"/>
                  </a:cubicBezTo>
                  <a:cubicBezTo>
                    <a:pt x="1145" y="449"/>
                    <a:pt x="1127" y="446"/>
                    <a:pt x="1128" y="443"/>
                  </a:cubicBezTo>
                  <a:cubicBezTo>
                    <a:pt x="1130" y="437"/>
                    <a:pt x="1156" y="444"/>
                    <a:pt x="1159" y="446"/>
                  </a:cubicBezTo>
                  <a:cubicBezTo>
                    <a:pt x="1163" y="448"/>
                    <a:pt x="1176" y="448"/>
                    <a:pt x="1172" y="447"/>
                  </a:cubicBezTo>
                  <a:cubicBezTo>
                    <a:pt x="1163" y="446"/>
                    <a:pt x="1157" y="440"/>
                    <a:pt x="1149" y="437"/>
                  </a:cubicBezTo>
                  <a:cubicBezTo>
                    <a:pt x="1147" y="437"/>
                    <a:pt x="1138" y="439"/>
                    <a:pt x="1136" y="437"/>
                  </a:cubicBezTo>
                  <a:cubicBezTo>
                    <a:pt x="1136" y="436"/>
                    <a:pt x="1147" y="426"/>
                    <a:pt x="1142" y="425"/>
                  </a:cubicBezTo>
                  <a:cubicBezTo>
                    <a:pt x="1127" y="421"/>
                    <a:pt x="1112" y="449"/>
                    <a:pt x="1095" y="439"/>
                  </a:cubicBezTo>
                  <a:cubicBezTo>
                    <a:pt x="1093" y="438"/>
                    <a:pt x="1095" y="437"/>
                    <a:pt x="1096" y="437"/>
                  </a:cubicBezTo>
                  <a:cubicBezTo>
                    <a:pt x="1107" y="436"/>
                    <a:pt x="1100" y="432"/>
                    <a:pt x="1094" y="429"/>
                  </a:cubicBezTo>
                  <a:cubicBezTo>
                    <a:pt x="1091" y="428"/>
                    <a:pt x="1054" y="450"/>
                    <a:pt x="1049" y="439"/>
                  </a:cubicBezTo>
                  <a:cubicBezTo>
                    <a:pt x="1041" y="421"/>
                    <a:pt x="1057" y="431"/>
                    <a:pt x="1061" y="424"/>
                  </a:cubicBezTo>
                  <a:cubicBezTo>
                    <a:pt x="1065" y="418"/>
                    <a:pt x="1040" y="417"/>
                    <a:pt x="1074" y="402"/>
                  </a:cubicBezTo>
                  <a:cubicBezTo>
                    <a:pt x="1090" y="396"/>
                    <a:pt x="1113" y="410"/>
                    <a:pt x="1104" y="404"/>
                  </a:cubicBezTo>
                  <a:cubicBezTo>
                    <a:pt x="1097" y="399"/>
                    <a:pt x="1114" y="395"/>
                    <a:pt x="1117" y="395"/>
                  </a:cubicBezTo>
                  <a:cubicBezTo>
                    <a:pt x="1122" y="394"/>
                    <a:pt x="1149" y="412"/>
                    <a:pt x="1155" y="405"/>
                  </a:cubicBezTo>
                  <a:cubicBezTo>
                    <a:pt x="1155" y="404"/>
                    <a:pt x="1153" y="403"/>
                    <a:pt x="1152" y="402"/>
                  </a:cubicBezTo>
                  <a:cubicBezTo>
                    <a:pt x="1149" y="400"/>
                    <a:pt x="1114" y="391"/>
                    <a:pt x="1115" y="389"/>
                  </a:cubicBezTo>
                  <a:cubicBezTo>
                    <a:pt x="1120" y="370"/>
                    <a:pt x="1163" y="392"/>
                    <a:pt x="1164" y="390"/>
                  </a:cubicBezTo>
                  <a:cubicBezTo>
                    <a:pt x="1169" y="383"/>
                    <a:pt x="1134" y="380"/>
                    <a:pt x="1136" y="377"/>
                  </a:cubicBezTo>
                  <a:cubicBezTo>
                    <a:pt x="1141" y="367"/>
                    <a:pt x="1169" y="373"/>
                    <a:pt x="1170" y="371"/>
                  </a:cubicBezTo>
                  <a:cubicBezTo>
                    <a:pt x="1170" y="370"/>
                    <a:pt x="1166" y="368"/>
                    <a:pt x="1165" y="367"/>
                  </a:cubicBezTo>
                  <a:cubicBezTo>
                    <a:pt x="1158" y="361"/>
                    <a:pt x="1150" y="361"/>
                    <a:pt x="1139" y="364"/>
                  </a:cubicBezTo>
                  <a:cubicBezTo>
                    <a:pt x="1138" y="365"/>
                    <a:pt x="1133" y="368"/>
                    <a:pt x="1133" y="366"/>
                  </a:cubicBezTo>
                  <a:cubicBezTo>
                    <a:pt x="1131" y="361"/>
                    <a:pt x="1140" y="359"/>
                    <a:pt x="1142" y="357"/>
                  </a:cubicBezTo>
                  <a:cubicBezTo>
                    <a:pt x="1143" y="356"/>
                    <a:pt x="1136" y="356"/>
                    <a:pt x="1152" y="339"/>
                  </a:cubicBezTo>
                  <a:cubicBezTo>
                    <a:pt x="1159" y="331"/>
                    <a:pt x="1161" y="336"/>
                    <a:pt x="1178" y="328"/>
                  </a:cubicBezTo>
                  <a:cubicBezTo>
                    <a:pt x="1180" y="327"/>
                    <a:pt x="1197" y="327"/>
                    <a:pt x="1197" y="326"/>
                  </a:cubicBezTo>
                  <a:cubicBezTo>
                    <a:pt x="1196" y="323"/>
                    <a:pt x="1189" y="325"/>
                    <a:pt x="1189" y="322"/>
                  </a:cubicBezTo>
                  <a:cubicBezTo>
                    <a:pt x="1189" y="320"/>
                    <a:pt x="1192" y="314"/>
                    <a:pt x="1191" y="313"/>
                  </a:cubicBezTo>
                  <a:cubicBezTo>
                    <a:pt x="1189" y="313"/>
                    <a:pt x="1180" y="317"/>
                    <a:pt x="1183" y="312"/>
                  </a:cubicBezTo>
                  <a:cubicBezTo>
                    <a:pt x="1188" y="304"/>
                    <a:pt x="1193" y="297"/>
                    <a:pt x="1198" y="289"/>
                  </a:cubicBezTo>
                  <a:cubicBezTo>
                    <a:pt x="1201" y="286"/>
                    <a:pt x="1195" y="280"/>
                    <a:pt x="1197" y="278"/>
                  </a:cubicBezTo>
                  <a:cubicBezTo>
                    <a:pt x="1202" y="271"/>
                    <a:pt x="1214" y="272"/>
                    <a:pt x="1217" y="282"/>
                  </a:cubicBezTo>
                  <a:cubicBezTo>
                    <a:pt x="1217" y="284"/>
                    <a:pt x="1213" y="289"/>
                    <a:pt x="1216" y="289"/>
                  </a:cubicBezTo>
                  <a:cubicBezTo>
                    <a:pt x="1219" y="290"/>
                    <a:pt x="1224" y="286"/>
                    <a:pt x="1227" y="291"/>
                  </a:cubicBezTo>
                  <a:cubicBezTo>
                    <a:pt x="1230" y="297"/>
                    <a:pt x="1224" y="312"/>
                    <a:pt x="1228" y="313"/>
                  </a:cubicBezTo>
                  <a:cubicBezTo>
                    <a:pt x="1232" y="314"/>
                    <a:pt x="1230" y="294"/>
                    <a:pt x="1233" y="293"/>
                  </a:cubicBezTo>
                  <a:cubicBezTo>
                    <a:pt x="1237" y="293"/>
                    <a:pt x="1235" y="302"/>
                    <a:pt x="1237" y="304"/>
                  </a:cubicBezTo>
                  <a:cubicBezTo>
                    <a:pt x="1249" y="316"/>
                    <a:pt x="1242" y="301"/>
                    <a:pt x="1243" y="300"/>
                  </a:cubicBezTo>
                  <a:cubicBezTo>
                    <a:pt x="1249" y="297"/>
                    <a:pt x="1273" y="305"/>
                    <a:pt x="1273" y="305"/>
                  </a:cubicBezTo>
                  <a:cubicBezTo>
                    <a:pt x="1274" y="303"/>
                    <a:pt x="1271" y="302"/>
                    <a:pt x="1270" y="301"/>
                  </a:cubicBezTo>
                  <a:cubicBezTo>
                    <a:pt x="1268" y="299"/>
                    <a:pt x="1221" y="284"/>
                    <a:pt x="1223" y="277"/>
                  </a:cubicBezTo>
                  <a:cubicBezTo>
                    <a:pt x="1226" y="267"/>
                    <a:pt x="1255" y="260"/>
                    <a:pt x="1261" y="265"/>
                  </a:cubicBezTo>
                  <a:cubicBezTo>
                    <a:pt x="1264" y="267"/>
                    <a:pt x="1258" y="269"/>
                    <a:pt x="1259" y="271"/>
                  </a:cubicBezTo>
                  <a:cubicBezTo>
                    <a:pt x="1260" y="276"/>
                    <a:pt x="1276" y="289"/>
                    <a:pt x="1281" y="293"/>
                  </a:cubicBezTo>
                  <a:cubicBezTo>
                    <a:pt x="1287" y="297"/>
                    <a:pt x="1301" y="292"/>
                    <a:pt x="1306" y="299"/>
                  </a:cubicBezTo>
                  <a:cubicBezTo>
                    <a:pt x="1311" y="310"/>
                    <a:pt x="1284" y="304"/>
                    <a:pt x="1287" y="310"/>
                  </a:cubicBezTo>
                  <a:cubicBezTo>
                    <a:pt x="1287" y="311"/>
                    <a:pt x="1287" y="311"/>
                    <a:pt x="1287" y="311"/>
                  </a:cubicBezTo>
                  <a:cubicBezTo>
                    <a:pt x="1289" y="311"/>
                    <a:pt x="1290" y="311"/>
                    <a:pt x="1291" y="310"/>
                  </a:cubicBezTo>
                  <a:cubicBezTo>
                    <a:pt x="1294" y="308"/>
                    <a:pt x="1309" y="321"/>
                    <a:pt x="1317" y="316"/>
                  </a:cubicBezTo>
                  <a:cubicBezTo>
                    <a:pt x="1319" y="314"/>
                    <a:pt x="1313" y="311"/>
                    <a:pt x="1312" y="310"/>
                  </a:cubicBezTo>
                  <a:cubicBezTo>
                    <a:pt x="1309" y="305"/>
                    <a:pt x="1314" y="300"/>
                    <a:pt x="1309" y="295"/>
                  </a:cubicBezTo>
                  <a:cubicBezTo>
                    <a:pt x="1299" y="284"/>
                    <a:pt x="1279" y="295"/>
                    <a:pt x="1272" y="278"/>
                  </a:cubicBezTo>
                  <a:cubicBezTo>
                    <a:pt x="1268" y="269"/>
                    <a:pt x="1286" y="262"/>
                    <a:pt x="1292" y="267"/>
                  </a:cubicBezTo>
                  <a:cubicBezTo>
                    <a:pt x="1292" y="267"/>
                    <a:pt x="1296" y="270"/>
                    <a:pt x="1295" y="267"/>
                  </a:cubicBezTo>
                  <a:cubicBezTo>
                    <a:pt x="1291" y="250"/>
                    <a:pt x="1271" y="275"/>
                    <a:pt x="1267" y="259"/>
                  </a:cubicBezTo>
                  <a:cubicBezTo>
                    <a:pt x="1262" y="238"/>
                    <a:pt x="1326" y="213"/>
                    <a:pt x="1341" y="222"/>
                  </a:cubicBezTo>
                  <a:cubicBezTo>
                    <a:pt x="1343" y="223"/>
                    <a:pt x="1341" y="226"/>
                    <a:pt x="1340" y="227"/>
                  </a:cubicBezTo>
                  <a:cubicBezTo>
                    <a:pt x="1332" y="233"/>
                    <a:pt x="1331" y="266"/>
                    <a:pt x="1330" y="277"/>
                  </a:cubicBezTo>
                  <a:cubicBezTo>
                    <a:pt x="1330" y="278"/>
                    <a:pt x="1317" y="287"/>
                    <a:pt x="1320" y="288"/>
                  </a:cubicBezTo>
                  <a:cubicBezTo>
                    <a:pt x="1338" y="296"/>
                    <a:pt x="1335" y="257"/>
                    <a:pt x="1338" y="254"/>
                  </a:cubicBezTo>
                  <a:cubicBezTo>
                    <a:pt x="1342" y="251"/>
                    <a:pt x="1366" y="257"/>
                    <a:pt x="1372" y="258"/>
                  </a:cubicBezTo>
                  <a:cubicBezTo>
                    <a:pt x="1376" y="259"/>
                    <a:pt x="1364" y="255"/>
                    <a:pt x="1360" y="253"/>
                  </a:cubicBezTo>
                  <a:cubicBezTo>
                    <a:pt x="1352" y="251"/>
                    <a:pt x="1342" y="247"/>
                    <a:pt x="1346" y="237"/>
                  </a:cubicBezTo>
                  <a:cubicBezTo>
                    <a:pt x="1346" y="236"/>
                    <a:pt x="1358" y="215"/>
                    <a:pt x="1361" y="217"/>
                  </a:cubicBezTo>
                  <a:cubicBezTo>
                    <a:pt x="1364" y="219"/>
                    <a:pt x="1359" y="231"/>
                    <a:pt x="1362" y="229"/>
                  </a:cubicBezTo>
                  <a:cubicBezTo>
                    <a:pt x="1367" y="224"/>
                    <a:pt x="1371" y="203"/>
                    <a:pt x="1375" y="201"/>
                  </a:cubicBezTo>
                  <a:cubicBezTo>
                    <a:pt x="1377" y="201"/>
                    <a:pt x="1375" y="215"/>
                    <a:pt x="1380" y="215"/>
                  </a:cubicBezTo>
                  <a:cubicBezTo>
                    <a:pt x="1387" y="215"/>
                    <a:pt x="1381" y="193"/>
                    <a:pt x="1388" y="196"/>
                  </a:cubicBezTo>
                  <a:cubicBezTo>
                    <a:pt x="1400" y="201"/>
                    <a:pt x="1396" y="260"/>
                    <a:pt x="1387" y="265"/>
                  </a:cubicBezTo>
                  <a:cubicBezTo>
                    <a:pt x="1382" y="269"/>
                    <a:pt x="1389" y="275"/>
                    <a:pt x="1384" y="279"/>
                  </a:cubicBezTo>
                  <a:cubicBezTo>
                    <a:pt x="1378" y="284"/>
                    <a:pt x="1362" y="295"/>
                    <a:pt x="1362" y="299"/>
                  </a:cubicBezTo>
                  <a:cubicBezTo>
                    <a:pt x="1361" y="302"/>
                    <a:pt x="1351" y="306"/>
                    <a:pt x="1354" y="309"/>
                  </a:cubicBezTo>
                  <a:cubicBezTo>
                    <a:pt x="1358" y="313"/>
                    <a:pt x="1363" y="303"/>
                    <a:pt x="1365" y="302"/>
                  </a:cubicBezTo>
                  <a:cubicBezTo>
                    <a:pt x="1369" y="298"/>
                    <a:pt x="1385" y="292"/>
                    <a:pt x="1387" y="289"/>
                  </a:cubicBezTo>
                  <a:cubicBezTo>
                    <a:pt x="1391" y="283"/>
                    <a:pt x="1400" y="270"/>
                    <a:pt x="1401" y="264"/>
                  </a:cubicBezTo>
                  <a:cubicBezTo>
                    <a:pt x="1402" y="263"/>
                    <a:pt x="1403" y="259"/>
                    <a:pt x="1403" y="259"/>
                  </a:cubicBezTo>
                  <a:cubicBezTo>
                    <a:pt x="1407" y="257"/>
                    <a:pt x="1433" y="278"/>
                    <a:pt x="1437" y="273"/>
                  </a:cubicBezTo>
                  <a:cubicBezTo>
                    <a:pt x="1438" y="272"/>
                    <a:pt x="1405" y="253"/>
                    <a:pt x="1404" y="250"/>
                  </a:cubicBezTo>
                  <a:cubicBezTo>
                    <a:pt x="1404" y="246"/>
                    <a:pt x="1410" y="243"/>
                    <a:pt x="1410" y="239"/>
                  </a:cubicBezTo>
                  <a:cubicBezTo>
                    <a:pt x="1410" y="235"/>
                    <a:pt x="1403" y="233"/>
                    <a:pt x="1404" y="230"/>
                  </a:cubicBezTo>
                  <a:cubicBezTo>
                    <a:pt x="1405" y="228"/>
                    <a:pt x="1410" y="230"/>
                    <a:pt x="1412" y="229"/>
                  </a:cubicBezTo>
                  <a:cubicBezTo>
                    <a:pt x="1439" y="222"/>
                    <a:pt x="1430" y="208"/>
                    <a:pt x="1456" y="200"/>
                  </a:cubicBezTo>
                  <a:cubicBezTo>
                    <a:pt x="1462" y="197"/>
                    <a:pt x="1454" y="204"/>
                    <a:pt x="1452" y="204"/>
                  </a:cubicBezTo>
                  <a:cubicBezTo>
                    <a:pt x="1441" y="210"/>
                    <a:pt x="1441" y="222"/>
                    <a:pt x="1450" y="226"/>
                  </a:cubicBezTo>
                  <a:cubicBezTo>
                    <a:pt x="1455" y="227"/>
                    <a:pt x="1450" y="214"/>
                    <a:pt x="1459" y="212"/>
                  </a:cubicBezTo>
                  <a:cubicBezTo>
                    <a:pt x="1473" y="209"/>
                    <a:pt x="1460" y="222"/>
                    <a:pt x="1463" y="222"/>
                  </a:cubicBezTo>
                  <a:cubicBezTo>
                    <a:pt x="1471" y="223"/>
                    <a:pt x="1469" y="213"/>
                    <a:pt x="1469" y="209"/>
                  </a:cubicBezTo>
                  <a:cubicBezTo>
                    <a:pt x="1470" y="204"/>
                    <a:pt x="1480" y="209"/>
                    <a:pt x="1480" y="206"/>
                  </a:cubicBezTo>
                  <a:cubicBezTo>
                    <a:pt x="1480" y="203"/>
                    <a:pt x="1459" y="196"/>
                    <a:pt x="1478" y="188"/>
                  </a:cubicBezTo>
                  <a:cubicBezTo>
                    <a:pt x="1478" y="188"/>
                    <a:pt x="1479" y="187"/>
                    <a:pt x="1479" y="187"/>
                  </a:cubicBezTo>
                  <a:cubicBezTo>
                    <a:pt x="1495" y="183"/>
                    <a:pt x="1538" y="235"/>
                    <a:pt x="1546" y="234"/>
                  </a:cubicBezTo>
                  <a:cubicBezTo>
                    <a:pt x="1552" y="233"/>
                    <a:pt x="1544" y="223"/>
                    <a:pt x="1541" y="221"/>
                  </a:cubicBezTo>
                  <a:cubicBezTo>
                    <a:pt x="1525" y="211"/>
                    <a:pt x="1545" y="222"/>
                    <a:pt x="1541" y="214"/>
                  </a:cubicBezTo>
                  <a:cubicBezTo>
                    <a:pt x="1539" y="209"/>
                    <a:pt x="1532" y="210"/>
                    <a:pt x="1531" y="201"/>
                  </a:cubicBezTo>
                  <a:cubicBezTo>
                    <a:pt x="1531" y="199"/>
                    <a:pt x="1534" y="199"/>
                    <a:pt x="1533" y="197"/>
                  </a:cubicBezTo>
                  <a:cubicBezTo>
                    <a:pt x="1526" y="186"/>
                    <a:pt x="1553" y="209"/>
                    <a:pt x="1545" y="191"/>
                  </a:cubicBezTo>
                  <a:cubicBezTo>
                    <a:pt x="1544" y="189"/>
                    <a:pt x="1552" y="188"/>
                    <a:pt x="1550" y="186"/>
                  </a:cubicBezTo>
                  <a:cubicBezTo>
                    <a:pt x="1547" y="183"/>
                    <a:pt x="1523" y="195"/>
                    <a:pt x="1522" y="186"/>
                  </a:cubicBezTo>
                  <a:cubicBezTo>
                    <a:pt x="1521" y="182"/>
                    <a:pt x="1541" y="182"/>
                    <a:pt x="1544" y="179"/>
                  </a:cubicBezTo>
                  <a:cubicBezTo>
                    <a:pt x="1544" y="178"/>
                    <a:pt x="1550" y="174"/>
                    <a:pt x="1548" y="173"/>
                  </a:cubicBezTo>
                  <a:cubicBezTo>
                    <a:pt x="1541" y="170"/>
                    <a:pt x="1523" y="184"/>
                    <a:pt x="1514" y="182"/>
                  </a:cubicBezTo>
                  <a:cubicBezTo>
                    <a:pt x="1510" y="181"/>
                    <a:pt x="1492" y="175"/>
                    <a:pt x="1491" y="172"/>
                  </a:cubicBezTo>
                  <a:cubicBezTo>
                    <a:pt x="1491" y="169"/>
                    <a:pt x="1497" y="164"/>
                    <a:pt x="1494" y="163"/>
                  </a:cubicBezTo>
                  <a:cubicBezTo>
                    <a:pt x="1487" y="161"/>
                    <a:pt x="1472" y="168"/>
                    <a:pt x="1469" y="158"/>
                  </a:cubicBezTo>
                  <a:cubicBezTo>
                    <a:pt x="1468" y="156"/>
                    <a:pt x="1487" y="146"/>
                    <a:pt x="1490" y="148"/>
                  </a:cubicBezTo>
                  <a:cubicBezTo>
                    <a:pt x="1491" y="149"/>
                    <a:pt x="1489" y="151"/>
                    <a:pt x="1490" y="152"/>
                  </a:cubicBezTo>
                  <a:cubicBezTo>
                    <a:pt x="1493" y="168"/>
                    <a:pt x="1495" y="138"/>
                    <a:pt x="1502" y="140"/>
                  </a:cubicBezTo>
                  <a:cubicBezTo>
                    <a:pt x="1508" y="141"/>
                    <a:pt x="1521" y="166"/>
                    <a:pt x="1528" y="168"/>
                  </a:cubicBezTo>
                  <a:cubicBezTo>
                    <a:pt x="1529" y="168"/>
                    <a:pt x="1528" y="159"/>
                    <a:pt x="1528" y="159"/>
                  </a:cubicBezTo>
                  <a:cubicBezTo>
                    <a:pt x="1532" y="156"/>
                    <a:pt x="1522" y="157"/>
                    <a:pt x="1522" y="151"/>
                  </a:cubicBezTo>
                  <a:cubicBezTo>
                    <a:pt x="1523" y="148"/>
                    <a:pt x="1534" y="142"/>
                    <a:pt x="1538" y="140"/>
                  </a:cubicBezTo>
                  <a:cubicBezTo>
                    <a:pt x="1538" y="140"/>
                    <a:pt x="1540" y="139"/>
                    <a:pt x="1540" y="139"/>
                  </a:cubicBezTo>
                  <a:cubicBezTo>
                    <a:pt x="1542" y="140"/>
                    <a:pt x="1543" y="141"/>
                    <a:pt x="1541" y="142"/>
                  </a:cubicBezTo>
                  <a:cubicBezTo>
                    <a:pt x="1533" y="150"/>
                    <a:pt x="1544" y="143"/>
                    <a:pt x="1547" y="142"/>
                  </a:cubicBezTo>
                  <a:cubicBezTo>
                    <a:pt x="1553" y="141"/>
                    <a:pt x="1545" y="153"/>
                    <a:pt x="1551" y="153"/>
                  </a:cubicBezTo>
                  <a:cubicBezTo>
                    <a:pt x="1551" y="154"/>
                    <a:pt x="1564" y="132"/>
                    <a:pt x="1568" y="147"/>
                  </a:cubicBezTo>
                  <a:cubicBezTo>
                    <a:pt x="1569" y="150"/>
                    <a:pt x="1564" y="152"/>
                    <a:pt x="1563" y="154"/>
                  </a:cubicBezTo>
                  <a:cubicBezTo>
                    <a:pt x="1561" y="157"/>
                    <a:pt x="1569" y="164"/>
                    <a:pt x="1563" y="167"/>
                  </a:cubicBezTo>
                  <a:cubicBezTo>
                    <a:pt x="1563" y="167"/>
                    <a:pt x="1560" y="168"/>
                    <a:pt x="1561" y="169"/>
                  </a:cubicBezTo>
                  <a:cubicBezTo>
                    <a:pt x="1563" y="171"/>
                    <a:pt x="1573" y="169"/>
                    <a:pt x="1577" y="169"/>
                  </a:cubicBezTo>
                  <a:cubicBezTo>
                    <a:pt x="1580" y="170"/>
                    <a:pt x="1588" y="176"/>
                    <a:pt x="1589" y="171"/>
                  </a:cubicBezTo>
                  <a:cubicBezTo>
                    <a:pt x="1590" y="168"/>
                    <a:pt x="1556" y="166"/>
                    <a:pt x="1573" y="151"/>
                  </a:cubicBezTo>
                  <a:cubicBezTo>
                    <a:pt x="1573" y="151"/>
                    <a:pt x="1574" y="150"/>
                    <a:pt x="1574" y="150"/>
                  </a:cubicBezTo>
                  <a:cubicBezTo>
                    <a:pt x="1583" y="146"/>
                    <a:pt x="1591" y="157"/>
                    <a:pt x="1595" y="157"/>
                  </a:cubicBezTo>
                  <a:cubicBezTo>
                    <a:pt x="1598" y="156"/>
                    <a:pt x="1627" y="155"/>
                    <a:pt x="1627" y="160"/>
                  </a:cubicBezTo>
                  <a:cubicBezTo>
                    <a:pt x="1627" y="177"/>
                    <a:pt x="1565" y="178"/>
                    <a:pt x="1565" y="185"/>
                  </a:cubicBezTo>
                  <a:cubicBezTo>
                    <a:pt x="1565" y="185"/>
                    <a:pt x="1579" y="182"/>
                    <a:pt x="1581" y="182"/>
                  </a:cubicBezTo>
                  <a:cubicBezTo>
                    <a:pt x="1594" y="180"/>
                    <a:pt x="1613" y="180"/>
                    <a:pt x="1623" y="172"/>
                  </a:cubicBezTo>
                  <a:cubicBezTo>
                    <a:pt x="1625" y="171"/>
                    <a:pt x="1627" y="169"/>
                    <a:pt x="1629" y="169"/>
                  </a:cubicBezTo>
                  <a:cubicBezTo>
                    <a:pt x="1630" y="169"/>
                    <a:pt x="1630" y="169"/>
                    <a:pt x="1630" y="170"/>
                  </a:cubicBezTo>
                  <a:cubicBezTo>
                    <a:pt x="1631" y="172"/>
                    <a:pt x="1629" y="181"/>
                    <a:pt x="1630" y="186"/>
                  </a:cubicBezTo>
                  <a:cubicBezTo>
                    <a:pt x="1631" y="188"/>
                    <a:pt x="1644" y="184"/>
                    <a:pt x="1642" y="196"/>
                  </a:cubicBezTo>
                  <a:cubicBezTo>
                    <a:pt x="1642" y="197"/>
                    <a:pt x="1637" y="199"/>
                    <a:pt x="1638" y="200"/>
                  </a:cubicBezTo>
                  <a:cubicBezTo>
                    <a:pt x="1642" y="200"/>
                    <a:pt x="1652" y="190"/>
                    <a:pt x="1657" y="192"/>
                  </a:cubicBezTo>
                  <a:cubicBezTo>
                    <a:pt x="1661" y="193"/>
                    <a:pt x="1657" y="200"/>
                    <a:pt x="1657" y="200"/>
                  </a:cubicBezTo>
                  <a:cubicBezTo>
                    <a:pt x="1659" y="200"/>
                    <a:pt x="1662" y="197"/>
                    <a:pt x="1664" y="196"/>
                  </a:cubicBezTo>
                  <a:cubicBezTo>
                    <a:pt x="1696" y="186"/>
                    <a:pt x="1647" y="189"/>
                    <a:pt x="1644" y="177"/>
                  </a:cubicBezTo>
                  <a:cubicBezTo>
                    <a:pt x="1644" y="173"/>
                    <a:pt x="1668" y="176"/>
                    <a:pt x="1665" y="169"/>
                  </a:cubicBezTo>
                  <a:cubicBezTo>
                    <a:pt x="1664" y="167"/>
                    <a:pt x="1656" y="168"/>
                    <a:pt x="1656" y="165"/>
                  </a:cubicBezTo>
                  <a:cubicBezTo>
                    <a:pt x="1656" y="164"/>
                    <a:pt x="1671" y="161"/>
                    <a:pt x="1665" y="160"/>
                  </a:cubicBezTo>
                  <a:cubicBezTo>
                    <a:pt x="1663" y="160"/>
                    <a:pt x="1648" y="159"/>
                    <a:pt x="1650" y="157"/>
                  </a:cubicBezTo>
                  <a:cubicBezTo>
                    <a:pt x="1653" y="153"/>
                    <a:pt x="1676" y="155"/>
                    <a:pt x="1676" y="152"/>
                  </a:cubicBezTo>
                  <a:cubicBezTo>
                    <a:pt x="1676" y="149"/>
                    <a:pt x="1655" y="152"/>
                    <a:pt x="1656" y="150"/>
                  </a:cubicBezTo>
                  <a:cubicBezTo>
                    <a:pt x="1658" y="145"/>
                    <a:pt x="1684" y="145"/>
                    <a:pt x="1683" y="143"/>
                  </a:cubicBezTo>
                  <a:cubicBezTo>
                    <a:pt x="1683" y="142"/>
                    <a:pt x="1670" y="141"/>
                    <a:pt x="1670" y="141"/>
                  </a:cubicBezTo>
                  <a:cubicBezTo>
                    <a:pt x="1667" y="137"/>
                    <a:pt x="1705" y="113"/>
                    <a:pt x="1709" y="112"/>
                  </a:cubicBezTo>
                  <a:cubicBezTo>
                    <a:pt x="1717" y="110"/>
                    <a:pt x="1748" y="119"/>
                    <a:pt x="1750" y="118"/>
                  </a:cubicBezTo>
                  <a:cubicBezTo>
                    <a:pt x="1757" y="113"/>
                    <a:pt x="1727" y="113"/>
                    <a:pt x="1727" y="104"/>
                  </a:cubicBezTo>
                  <a:cubicBezTo>
                    <a:pt x="1727" y="100"/>
                    <a:pt x="1739" y="97"/>
                    <a:pt x="1741" y="94"/>
                  </a:cubicBezTo>
                  <a:cubicBezTo>
                    <a:pt x="1745" y="91"/>
                    <a:pt x="1741" y="80"/>
                    <a:pt x="1750" y="80"/>
                  </a:cubicBezTo>
                  <a:cubicBezTo>
                    <a:pt x="1751" y="80"/>
                    <a:pt x="1762" y="82"/>
                    <a:pt x="1763" y="84"/>
                  </a:cubicBezTo>
                  <a:cubicBezTo>
                    <a:pt x="1765" y="86"/>
                    <a:pt x="1787" y="99"/>
                    <a:pt x="1784" y="87"/>
                  </a:cubicBezTo>
                  <a:cubicBezTo>
                    <a:pt x="1780" y="75"/>
                    <a:pt x="1762" y="71"/>
                    <a:pt x="1750" y="68"/>
                  </a:cubicBezTo>
                  <a:cubicBezTo>
                    <a:pt x="1748" y="68"/>
                    <a:pt x="1739" y="69"/>
                    <a:pt x="1740" y="66"/>
                  </a:cubicBezTo>
                  <a:cubicBezTo>
                    <a:pt x="1745" y="34"/>
                    <a:pt x="1762" y="71"/>
                    <a:pt x="1775" y="66"/>
                  </a:cubicBezTo>
                  <a:cubicBezTo>
                    <a:pt x="1777" y="65"/>
                    <a:pt x="1773" y="55"/>
                    <a:pt x="1772" y="54"/>
                  </a:cubicBezTo>
                  <a:cubicBezTo>
                    <a:pt x="1771" y="51"/>
                    <a:pt x="1786" y="53"/>
                    <a:pt x="1781" y="50"/>
                  </a:cubicBezTo>
                  <a:cubicBezTo>
                    <a:pt x="1780" y="50"/>
                    <a:pt x="1772" y="47"/>
                    <a:pt x="1772" y="46"/>
                  </a:cubicBezTo>
                  <a:cubicBezTo>
                    <a:pt x="1773" y="45"/>
                    <a:pt x="1767" y="40"/>
                    <a:pt x="1771" y="39"/>
                  </a:cubicBezTo>
                  <a:cubicBezTo>
                    <a:pt x="1781" y="37"/>
                    <a:pt x="1771" y="34"/>
                    <a:pt x="1772" y="34"/>
                  </a:cubicBezTo>
                  <a:cubicBezTo>
                    <a:pt x="1786" y="27"/>
                    <a:pt x="1793" y="46"/>
                    <a:pt x="1793" y="46"/>
                  </a:cubicBezTo>
                  <a:cubicBezTo>
                    <a:pt x="1804" y="47"/>
                    <a:pt x="1808" y="29"/>
                    <a:pt x="1813" y="38"/>
                  </a:cubicBezTo>
                  <a:cubicBezTo>
                    <a:pt x="1817" y="43"/>
                    <a:pt x="1794" y="50"/>
                    <a:pt x="1800" y="52"/>
                  </a:cubicBezTo>
                  <a:cubicBezTo>
                    <a:pt x="1809" y="54"/>
                    <a:pt x="1821" y="43"/>
                    <a:pt x="1821" y="43"/>
                  </a:cubicBezTo>
                  <a:cubicBezTo>
                    <a:pt x="1825" y="46"/>
                    <a:pt x="1832" y="55"/>
                    <a:pt x="1830" y="61"/>
                  </a:cubicBezTo>
                  <a:cubicBezTo>
                    <a:pt x="1830" y="61"/>
                    <a:pt x="1828" y="64"/>
                    <a:pt x="1830" y="64"/>
                  </a:cubicBezTo>
                  <a:cubicBezTo>
                    <a:pt x="1849" y="64"/>
                    <a:pt x="1836" y="35"/>
                    <a:pt x="1839" y="35"/>
                  </a:cubicBezTo>
                  <a:cubicBezTo>
                    <a:pt x="1840" y="34"/>
                    <a:pt x="1842" y="35"/>
                    <a:pt x="1843" y="35"/>
                  </a:cubicBezTo>
                  <a:cubicBezTo>
                    <a:pt x="1862" y="44"/>
                    <a:pt x="1844" y="53"/>
                    <a:pt x="1847" y="55"/>
                  </a:cubicBezTo>
                  <a:cubicBezTo>
                    <a:pt x="1847" y="55"/>
                    <a:pt x="1847" y="56"/>
                    <a:pt x="1848" y="56"/>
                  </a:cubicBezTo>
                  <a:cubicBezTo>
                    <a:pt x="1850" y="57"/>
                    <a:pt x="1851" y="53"/>
                    <a:pt x="1852" y="52"/>
                  </a:cubicBezTo>
                  <a:cubicBezTo>
                    <a:pt x="1855" y="49"/>
                    <a:pt x="1866" y="47"/>
                    <a:pt x="1870" y="48"/>
                  </a:cubicBezTo>
                  <a:cubicBezTo>
                    <a:pt x="1871" y="48"/>
                    <a:pt x="1875" y="56"/>
                    <a:pt x="1877" y="52"/>
                  </a:cubicBezTo>
                  <a:cubicBezTo>
                    <a:pt x="1878" y="49"/>
                    <a:pt x="1886" y="44"/>
                    <a:pt x="1888" y="48"/>
                  </a:cubicBezTo>
                  <a:cubicBezTo>
                    <a:pt x="1891" y="54"/>
                    <a:pt x="1837" y="95"/>
                    <a:pt x="1822" y="104"/>
                  </a:cubicBezTo>
                  <a:cubicBezTo>
                    <a:pt x="1821" y="105"/>
                    <a:pt x="1815" y="108"/>
                    <a:pt x="1815" y="109"/>
                  </a:cubicBezTo>
                  <a:cubicBezTo>
                    <a:pt x="1816" y="112"/>
                    <a:pt x="1830" y="103"/>
                    <a:pt x="1833" y="109"/>
                  </a:cubicBezTo>
                  <a:cubicBezTo>
                    <a:pt x="1835" y="116"/>
                    <a:pt x="1813" y="112"/>
                    <a:pt x="1814" y="115"/>
                  </a:cubicBezTo>
                  <a:cubicBezTo>
                    <a:pt x="1815" y="121"/>
                    <a:pt x="1831" y="114"/>
                    <a:pt x="1832" y="118"/>
                  </a:cubicBezTo>
                  <a:cubicBezTo>
                    <a:pt x="1838" y="133"/>
                    <a:pt x="1814" y="124"/>
                    <a:pt x="1815" y="134"/>
                  </a:cubicBezTo>
                  <a:cubicBezTo>
                    <a:pt x="1815" y="138"/>
                    <a:pt x="1831" y="140"/>
                    <a:pt x="1821" y="144"/>
                  </a:cubicBezTo>
                  <a:cubicBezTo>
                    <a:pt x="1812" y="147"/>
                    <a:pt x="1790" y="176"/>
                    <a:pt x="1807" y="181"/>
                  </a:cubicBezTo>
                  <a:cubicBezTo>
                    <a:pt x="1810" y="182"/>
                    <a:pt x="1812" y="181"/>
                    <a:pt x="1811" y="178"/>
                  </a:cubicBezTo>
                  <a:cubicBezTo>
                    <a:pt x="1806" y="165"/>
                    <a:pt x="1813" y="170"/>
                    <a:pt x="1818" y="170"/>
                  </a:cubicBezTo>
                  <a:cubicBezTo>
                    <a:pt x="1821" y="170"/>
                    <a:pt x="1814" y="177"/>
                    <a:pt x="1816" y="178"/>
                  </a:cubicBezTo>
                  <a:cubicBezTo>
                    <a:pt x="1824" y="184"/>
                    <a:pt x="1847" y="154"/>
                    <a:pt x="1853" y="149"/>
                  </a:cubicBezTo>
                  <a:cubicBezTo>
                    <a:pt x="1862" y="139"/>
                    <a:pt x="1840" y="144"/>
                    <a:pt x="1847" y="135"/>
                  </a:cubicBezTo>
                  <a:cubicBezTo>
                    <a:pt x="1865" y="114"/>
                    <a:pt x="1894" y="93"/>
                    <a:pt x="1908" y="76"/>
                  </a:cubicBezTo>
                  <a:cubicBezTo>
                    <a:pt x="1908" y="76"/>
                    <a:pt x="1909" y="75"/>
                    <a:pt x="1909" y="74"/>
                  </a:cubicBezTo>
                  <a:cubicBezTo>
                    <a:pt x="1913" y="66"/>
                    <a:pt x="1921" y="63"/>
                    <a:pt x="1926" y="56"/>
                  </a:cubicBezTo>
                  <a:cubicBezTo>
                    <a:pt x="1928" y="53"/>
                    <a:pt x="1955" y="31"/>
                    <a:pt x="1958" y="37"/>
                  </a:cubicBezTo>
                  <a:cubicBezTo>
                    <a:pt x="1960" y="42"/>
                    <a:pt x="1961" y="71"/>
                    <a:pt x="1954" y="77"/>
                  </a:cubicBezTo>
                  <a:cubicBezTo>
                    <a:pt x="1951" y="80"/>
                    <a:pt x="1926" y="83"/>
                    <a:pt x="1927" y="88"/>
                  </a:cubicBezTo>
                  <a:cubicBezTo>
                    <a:pt x="1927" y="90"/>
                    <a:pt x="1935" y="87"/>
                    <a:pt x="1936" y="86"/>
                  </a:cubicBezTo>
                  <a:cubicBezTo>
                    <a:pt x="1940" y="85"/>
                    <a:pt x="1952" y="84"/>
                    <a:pt x="1954" y="88"/>
                  </a:cubicBezTo>
                  <a:cubicBezTo>
                    <a:pt x="1961" y="100"/>
                    <a:pt x="1936" y="119"/>
                    <a:pt x="1941" y="133"/>
                  </a:cubicBezTo>
                  <a:cubicBezTo>
                    <a:pt x="1944" y="140"/>
                    <a:pt x="1964" y="117"/>
                    <a:pt x="1967" y="114"/>
                  </a:cubicBezTo>
                  <a:cubicBezTo>
                    <a:pt x="1971" y="112"/>
                    <a:pt x="1993" y="121"/>
                    <a:pt x="1994" y="116"/>
                  </a:cubicBezTo>
                  <a:cubicBezTo>
                    <a:pt x="1995" y="112"/>
                    <a:pt x="1979" y="107"/>
                    <a:pt x="1983" y="100"/>
                  </a:cubicBezTo>
                  <a:cubicBezTo>
                    <a:pt x="1988" y="91"/>
                    <a:pt x="1993" y="95"/>
                    <a:pt x="2001" y="96"/>
                  </a:cubicBezTo>
                  <a:cubicBezTo>
                    <a:pt x="2002" y="96"/>
                    <a:pt x="2010" y="98"/>
                    <a:pt x="2009" y="97"/>
                  </a:cubicBezTo>
                  <a:cubicBezTo>
                    <a:pt x="2008" y="94"/>
                    <a:pt x="1993" y="90"/>
                    <a:pt x="1994" y="88"/>
                  </a:cubicBezTo>
                  <a:cubicBezTo>
                    <a:pt x="1996" y="79"/>
                    <a:pt x="1993" y="78"/>
                    <a:pt x="1997" y="72"/>
                  </a:cubicBezTo>
                  <a:cubicBezTo>
                    <a:pt x="2000" y="68"/>
                    <a:pt x="2012" y="74"/>
                    <a:pt x="2014" y="73"/>
                  </a:cubicBezTo>
                  <a:cubicBezTo>
                    <a:pt x="2017" y="70"/>
                    <a:pt x="2007" y="66"/>
                    <a:pt x="2013" y="59"/>
                  </a:cubicBezTo>
                  <a:cubicBezTo>
                    <a:pt x="2015" y="56"/>
                    <a:pt x="2029" y="61"/>
                    <a:pt x="2033" y="61"/>
                  </a:cubicBezTo>
                  <a:cubicBezTo>
                    <a:pt x="2036" y="61"/>
                    <a:pt x="2044" y="63"/>
                    <a:pt x="2041" y="62"/>
                  </a:cubicBezTo>
                  <a:cubicBezTo>
                    <a:pt x="2027" y="59"/>
                    <a:pt x="2027" y="52"/>
                    <a:pt x="2022" y="44"/>
                  </a:cubicBezTo>
                  <a:cubicBezTo>
                    <a:pt x="2021" y="43"/>
                    <a:pt x="2017" y="48"/>
                    <a:pt x="2016" y="49"/>
                  </a:cubicBezTo>
                  <a:cubicBezTo>
                    <a:pt x="2011" y="49"/>
                    <a:pt x="1998" y="49"/>
                    <a:pt x="1996" y="43"/>
                  </a:cubicBezTo>
                  <a:cubicBezTo>
                    <a:pt x="1991" y="28"/>
                    <a:pt x="2014" y="43"/>
                    <a:pt x="2016" y="40"/>
                  </a:cubicBezTo>
                  <a:cubicBezTo>
                    <a:pt x="2019" y="36"/>
                    <a:pt x="2004" y="31"/>
                    <a:pt x="2005" y="28"/>
                  </a:cubicBezTo>
                  <a:cubicBezTo>
                    <a:pt x="2006" y="12"/>
                    <a:pt x="2033" y="39"/>
                    <a:pt x="2035" y="38"/>
                  </a:cubicBezTo>
                  <a:cubicBezTo>
                    <a:pt x="2042" y="33"/>
                    <a:pt x="2021" y="19"/>
                    <a:pt x="2044" y="10"/>
                  </a:cubicBezTo>
                  <a:cubicBezTo>
                    <a:pt x="2047" y="8"/>
                    <a:pt x="2046" y="17"/>
                    <a:pt x="2047" y="20"/>
                  </a:cubicBezTo>
                  <a:cubicBezTo>
                    <a:pt x="2048" y="21"/>
                    <a:pt x="2061" y="24"/>
                    <a:pt x="2063" y="24"/>
                  </a:cubicBezTo>
                  <a:cubicBezTo>
                    <a:pt x="2071" y="27"/>
                    <a:pt x="2093" y="14"/>
                    <a:pt x="2096" y="18"/>
                  </a:cubicBezTo>
                  <a:cubicBezTo>
                    <a:pt x="2102" y="24"/>
                    <a:pt x="2087" y="30"/>
                    <a:pt x="2093" y="34"/>
                  </a:cubicBezTo>
                  <a:cubicBezTo>
                    <a:pt x="2098" y="37"/>
                    <a:pt x="2115" y="22"/>
                    <a:pt x="2123" y="34"/>
                  </a:cubicBezTo>
                  <a:cubicBezTo>
                    <a:pt x="2130" y="43"/>
                    <a:pt x="2109" y="48"/>
                    <a:pt x="2107" y="49"/>
                  </a:cubicBezTo>
                  <a:cubicBezTo>
                    <a:pt x="2106" y="50"/>
                    <a:pt x="2117" y="50"/>
                    <a:pt x="2113" y="53"/>
                  </a:cubicBezTo>
                  <a:cubicBezTo>
                    <a:pt x="2109" y="56"/>
                    <a:pt x="2097" y="55"/>
                    <a:pt x="2095" y="58"/>
                  </a:cubicBezTo>
                  <a:cubicBezTo>
                    <a:pt x="2093" y="59"/>
                    <a:pt x="2106" y="60"/>
                    <a:pt x="2097" y="64"/>
                  </a:cubicBezTo>
                  <a:cubicBezTo>
                    <a:pt x="2090" y="68"/>
                    <a:pt x="2056" y="58"/>
                    <a:pt x="2053" y="65"/>
                  </a:cubicBezTo>
                  <a:cubicBezTo>
                    <a:pt x="2053" y="66"/>
                    <a:pt x="2061" y="66"/>
                    <a:pt x="2059" y="68"/>
                  </a:cubicBezTo>
                  <a:cubicBezTo>
                    <a:pt x="2052" y="75"/>
                    <a:pt x="2057" y="70"/>
                    <a:pt x="2063" y="68"/>
                  </a:cubicBezTo>
                  <a:cubicBezTo>
                    <a:pt x="2069" y="67"/>
                    <a:pt x="2074" y="71"/>
                    <a:pt x="2080" y="71"/>
                  </a:cubicBezTo>
                  <a:cubicBezTo>
                    <a:pt x="2081" y="71"/>
                    <a:pt x="2086" y="72"/>
                    <a:pt x="2086" y="73"/>
                  </a:cubicBezTo>
                  <a:cubicBezTo>
                    <a:pt x="2086" y="78"/>
                    <a:pt x="2055" y="90"/>
                    <a:pt x="2050" y="92"/>
                  </a:cubicBezTo>
                  <a:cubicBezTo>
                    <a:pt x="2050" y="92"/>
                    <a:pt x="2043" y="93"/>
                    <a:pt x="2043" y="94"/>
                  </a:cubicBezTo>
                  <a:cubicBezTo>
                    <a:pt x="2046" y="100"/>
                    <a:pt x="2090" y="79"/>
                    <a:pt x="2096" y="77"/>
                  </a:cubicBezTo>
                  <a:cubicBezTo>
                    <a:pt x="2097" y="77"/>
                    <a:pt x="2100" y="74"/>
                    <a:pt x="2101" y="76"/>
                  </a:cubicBezTo>
                  <a:cubicBezTo>
                    <a:pt x="2114" y="95"/>
                    <a:pt x="2061" y="105"/>
                    <a:pt x="2061" y="114"/>
                  </a:cubicBezTo>
                  <a:cubicBezTo>
                    <a:pt x="2061" y="115"/>
                    <a:pt x="2063" y="117"/>
                    <a:pt x="2064" y="118"/>
                  </a:cubicBezTo>
                  <a:cubicBezTo>
                    <a:pt x="2065" y="127"/>
                    <a:pt x="2072" y="104"/>
                    <a:pt x="2090" y="110"/>
                  </a:cubicBezTo>
                  <a:cubicBezTo>
                    <a:pt x="2091" y="110"/>
                    <a:pt x="2083" y="115"/>
                    <a:pt x="2081" y="116"/>
                  </a:cubicBezTo>
                  <a:cubicBezTo>
                    <a:pt x="2080" y="117"/>
                    <a:pt x="2082" y="120"/>
                    <a:pt x="2084" y="121"/>
                  </a:cubicBezTo>
                  <a:cubicBezTo>
                    <a:pt x="2088" y="123"/>
                    <a:pt x="2096" y="103"/>
                    <a:pt x="2104" y="109"/>
                  </a:cubicBezTo>
                  <a:cubicBezTo>
                    <a:pt x="2105" y="109"/>
                    <a:pt x="2089" y="129"/>
                    <a:pt x="2088" y="132"/>
                  </a:cubicBezTo>
                  <a:cubicBezTo>
                    <a:pt x="2086" y="142"/>
                    <a:pt x="2093" y="160"/>
                    <a:pt x="2089" y="170"/>
                  </a:cubicBezTo>
                  <a:cubicBezTo>
                    <a:pt x="2086" y="176"/>
                    <a:pt x="2078" y="177"/>
                    <a:pt x="2076" y="180"/>
                  </a:cubicBezTo>
                  <a:cubicBezTo>
                    <a:pt x="2075" y="181"/>
                    <a:pt x="2083" y="180"/>
                    <a:pt x="2084" y="180"/>
                  </a:cubicBezTo>
                  <a:cubicBezTo>
                    <a:pt x="2088" y="177"/>
                    <a:pt x="2094" y="169"/>
                    <a:pt x="2095" y="164"/>
                  </a:cubicBezTo>
                  <a:cubicBezTo>
                    <a:pt x="2099" y="150"/>
                    <a:pt x="2088" y="124"/>
                    <a:pt x="2107" y="115"/>
                  </a:cubicBezTo>
                  <a:cubicBezTo>
                    <a:pt x="2116" y="110"/>
                    <a:pt x="2118" y="121"/>
                    <a:pt x="2120" y="120"/>
                  </a:cubicBezTo>
                  <a:cubicBezTo>
                    <a:pt x="2122" y="118"/>
                    <a:pt x="2118" y="114"/>
                    <a:pt x="2121" y="112"/>
                  </a:cubicBezTo>
                  <a:cubicBezTo>
                    <a:pt x="2121" y="112"/>
                    <a:pt x="2125" y="110"/>
                    <a:pt x="2124" y="110"/>
                  </a:cubicBezTo>
                  <a:cubicBezTo>
                    <a:pt x="2121" y="107"/>
                    <a:pt x="2112" y="109"/>
                    <a:pt x="2110" y="104"/>
                  </a:cubicBezTo>
                  <a:cubicBezTo>
                    <a:pt x="2109" y="103"/>
                    <a:pt x="2111" y="101"/>
                    <a:pt x="2112" y="100"/>
                  </a:cubicBezTo>
                  <a:cubicBezTo>
                    <a:pt x="2114" y="96"/>
                    <a:pt x="2116" y="85"/>
                    <a:pt x="2120" y="82"/>
                  </a:cubicBezTo>
                  <a:cubicBezTo>
                    <a:pt x="2122" y="80"/>
                    <a:pt x="2128" y="85"/>
                    <a:pt x="2130" y="83"/>
                  </a:cubicBezTo>
                  <a:cubicBezTo>
                    <a:pt x="2132" y="81"/>
                    <a:pt x="2120" y="79"/>
                    <a:pt x="2121" y="75"/>
                  </a:cubicBezTo>
                  <a:cubicBezTo>
                    <a:pt x="2123" y="67"/>
                    <a:pt x="2141" y="53"/>
                    <a:pt x="2148" y="50"/>
                  </a:cubicBezTo>
                  <a:cubicBezTo>
                    <a:pt x="2149" y="49"/>
                    <a:pt x="2150" y="49"/>
                    <a:pt x="2151" y="49"/>
                  </a:cubicBezTo>
                  <a:cubicBezTo>
                    <a:pt x="2159" y="48"/>
                    <a:pt x="2196" y="57"/>
                    <a:pt x="2200" y="65"/>
                  </a:cubicBezTo>
                  <a:cubicBezTo>
                    <a:pt x="2200" y="66"/>
                    <a:pt x="2196" y="69"/>
                    <a:pt x="2195" y="69"/>
                  </a:cubicBezTo>
                  <a:cubicBezTo>
                    <a:pt x="2189" y="74"/>
                    <a:pt x="2191" y="74"/>
                    <a:pt x="2199" y="73"/>
                  </a:cubicBezTo>
                  <a:cubicBezTo>
                    <a:pt x="2206" y="72"/>
                    <a:pt x="2190" y="76"/>
                    <a:pt x="2193" y="77"/>
                  </a:cubicBezTo>
                  <a:cubicBezTo>
                    <a:pt x="2194" y="77"/>
                    <a:pt x="2197" y="77"/>
                    <a:pt x="2196" y="79"/>
                  </a:cubicBezTo>
                  <a:cubicBezTo>
                    <a:pt x="2196" y="80"/>
                    <a:pt x="2185" y="82"/>
                    <a:pt x="2189" y="86"/>
                  </a:cubicBezTo>
                  <a:cubicBezTo>
                    <a:pt x="2191" y="87"/>
                    <a:pt x="2227" y="68"/>
                    <a:pt x="2233" y="73"/>
                  </a:cubicBezTo>
                  <a:cubicBezTo>
                    <a:pt x="2240" y="80"/>
                    <a:pt x="2223" y="90"/>
                    <a:pt x="2224" y="92"/>
                  </a:cubicBezTo>
                  <a:cubicBezTo>
                    <a:pt x="2227" y="99"/>
                    <a:pt x="2250" y="77"/>
                    <a:pt x="2252" y="77"/>
                  </a:cubicBezTo>
                  <a:cubicBezTo>
                    <a:pt x="2259" y="76"/>
                    <a:pt x="2261" y="77"/>
                    <a:pt x="2266" y="80"/>
                  </a:cubicBezTo>
                  <a:cubicBezTo>
                    <a:pt x="2278" y="86"/>
                    <a:pt x="2260" y="86"/>
                    <a:pt x="2262" y="88"/>
                  </a:cubicBezTo>
                  <a:cubicBezTo>
                    <a:pt x="2263" y="89"/>
                    <a:pt x="2272" y="88"/>
                    <a:pt x="2274" y="90"/>
                  </a:cubicBezTo>
                  <a:cubicBezTo>
                    <a:pt x="2276" y="90"/>
                    <a:pt x="2284" y="93"/>
                    <a:pt x="2284" y="95"/>
                  </a:cubicBezTo>
                  <a:cubicBezTo>
                    <a:pt x="2283" y="102"/>
                    <a:pt x="2272" y="107"/>
                    <a:pt x="2265" y="106"/>
                  </a:cubicBezTo>
                  <a:cubicBezTo>
                    <a:pt x="2263" y="106"/>
                    <a:pt x="2253" y="104"/>
                    <a:pt x="2253" y="105"/>
                  </a:cubicBezTo>
                  <a:cubicBezTo>
                    <a:pt x="2263" y="117"/>
                    <a:pt x="2283" y="100"/>
                    <a:pt x="2294" y="101"/>
                  </a:cubicBezTo>
                  <a:cubicBezTo>
                    <a:pt x="2297" y="102"/>
                    <a:pt x="2304" y="103"/>
                    <a:pt x="2306" y="104"/>
                  </a:cubicBezTo>
                  <a:cubicBezTo>
                    <a:pt x="2307" y="105"/>
                    <a:pt x="2307" y="106"/>
                    <a:pt x="2306" y="107"/>
                  </a:cubicBezTo>
                  <a:cubicBezTo>
                    <a:pt x="2302" y="110"/>
                    <a:pt x="2304" y="110"/>
                    <a:pt x="2309" y="112"/>
                  </a:cubicBezTo>
                  <a:cubicBezTo>
                    <a:pt x="2315" y="114"/>
                    <a:pt x="2320" y="124"/>
                    <a:pt x="2325" y="125"/>
                  </a:cubicBezTo>
                  <a:cubicBezTo>
                    <a:pt x="2326" y="125"/>
                    <a:pt x="2349" y="114"/>
                    <a:pt x="2348" y="133"/>
                  </a:cubicBezTo>
                  <a:cubicBezTo>
                    <a:pt x="2346" y="165"/>
                    <a:pt x="2320" y="138"/>
                    <a:pt x="2299" y="152"/>
                  </a:cubicBezTo>
                  <a:cubicBezTo>
                    <a:pt x="2289" y="159"/>
                    <a:pt x="2275" y="180"/>
                    <a:pt x="2267" y="180"/>
                  </a:cubicBezTo>
                  <a:cubicBezTo>
                    <a:pt x="2234" y="183"/>
                    <a:pt x="2198" y="175"/>
                    <a:pt x="2165" y="170"/>
                  </a:cubicBezTo>
                  <a:cubicBezTo>
                    <a:pt x="2155" y="169"/>
                    <a:pt x="2147" y="162"/>
                    <a:pt x="2136" y="162"/>
                  </a:cubicBezTo>
                  <a:cubicBezTo>
                    <a:pt x="2134" y="163"/>
                    <a:pt x="2129" y="163"/>
                    <a:pt x="2128" y="165"/>
                  </a:cubicBezTo>
                  <a:cubicBezTo>
                    <a:pt x="2127" y="166"/>
                    <a:pt x="2138" y="167"/>
                    <a:pt x="2139" y="168"/>
                  </a:cubicBezTo>
                  <a:cubicBezTo>
                    <a:pt x="2140" y="169"/>
                    <a:pt x="2116" y="179"/>
                    <a:pt x="2140" y="176"/>
                  </a:cubicBezTo>
                  <a:cubicBezTo>
                    <a:pt x="2140" y="176"/>
                    <a:pt x="2152" y="174"/>
                    <a:pt x="2150" y="176"/>
                  </a:cubicBezTo>
                  <a:cubicBezTo>
                    <a:pt x="2148" y="179"/>
                    <a:pt x="2143" y="178"/>
                    <a:pt x="2158" y="179"/>
                  </a:cubicBezTo>
                  <a:cubicBezTo>
                    <a:pt x="2165" y="180"/>
                    <a:pt x="2170" y="180"/>
                    <a:pt x="2176" y="182"/>
                  </a:cubicBezTo>
                  <a:cubicBezTo>
                    <a:pt x="2176" y="182"/>
                    <a:pt x="2176" y="183"/>
                    <a:pt x="2176" y="183"/>
                  </a:cubicBezTo>
                  <a:cubicBezTo>
                    <a:pt x="2174" y="186"/>
                    <a:pt x="2186" y="184"/>
                    <a:pt x="2177" y="188"/>
                  </a:cubicBezTo>
                  <a:cubicBezTo>
                    <a:pt x="2176" y="188"/>
                    <a:pt x="2174" y="189"/>
                    <a:pt x="2176" y="190"/>
                  </a:cubicBezTo>
                  <a:cubicBezTo>
                    <a:pt x="2182" y="193"/>
                    <a:pt x="2201" y="189"/>
                    <a:pt x="2209" y="191"/>
                  </a:cubicBezTo>
                  <a:cubicBezTo>
                    <a:pt x="2209" y="191"/>
                    <a:pt x="2209" y="191"/>
                    <a:pt x="2209" y="191"/>
                  </a:cubicBezTo>
                  <a:cubicBezTo>
                    <a:pt x="2211" y="193"/>
                    <a:pt x="2213" y="194"/>
                    <a:pt x="2216" y="194"/>
                  </a:cubicBezTo>
                  <a:cubicBezTo>
                    <a:pt x="2237" y="199"/>
                    <a:pt x="2203" y="202"/>
                    <a:pt x="2201" y="210"/>
                  </a:cubicBezTo>
                  <a:cubicBezTo>
                    <a:pt x="2201" y="212"/>
                    <a:pt x="2195" y="212"/>
                    <a:pt x="2196" y="214"/>
                  </a:cubicBezTo>
                  <a:cubicBezTo>
                    <a:pt x="2197" y="216"/>
                    <a:pt x="2202" y="215"/>
                    <a:pt x="2203" y="213"/>
                  </a:cubicBezTo>
                  <a:cubicBezTo>
                    <a:pt x="2211" y="198"/>
                    <a:pt x="2229" y="206"/>
                    <a:pt x="2232" y="217"/>
                  </a:cubicBezTo>
                  <a:cubicBezTo>
                    <a:pt x="2234" y="223"/>
                    <a:pt x="2212" y="238"/>
                    <a:pt x="2213" y="239"/>
                  </a:cubicBezTo>
                  <a:cubicBezTo>
                    <a:pt x="2213" y="240"/>
                    <a:pt x="2206" y="245"/>
                    <a:pt x="2207" y="246"/>
                  </a:cubicBezTo>
                  <a:cubicBezTo>
                    <a:pt x="2208" y="247"/>
                    <a:pt x="2211" y="244"/>
                    <a:pt x="2212" y="243"/>
                  </a:cubicBezTo>
                  <a:cubicBezTo>
                    <a:pt x="2224" y="232"/>
                    <a:pt x="2229" y="235"/>
                    <a:pt x="2245" y="235"/>
                  </a:cubicBezTo>
                  <a:cubicBezTo>
                    <a:pt x="2246" y="235"/>
                    <a:pt x="2256" y="224"/>
                    <a:pt x="2259" y="228"/>
                  </a:cubicBezTo>
                  <a:cubicBezTo>
                    <a:pt x="2261" y="232"/>
                    <a:pt x="2247" y="238"/>
                    <a:pt x="2247" y="240"/>
                  </a:cubicBezTo>
                  <a:cubicBezTo>
                    <a:pt x="2247" y="242"/>
                    <a:pt x="2249" y="238"/>
                    <a:pt x="2251" y="238"/>
                  </a:cubicBezTo>
                  <a:cubicBezTo>
                    <a:pt x="2255" y="236"/>
                    <a:pt x="2256" y="236"/>
                    <a:pt x="2259" y="233"/>
                  </a:cubicBezTo>
                  <a:cubicBezTo>
                    <a:pt x="2260" y="232"/>
                    <a:pt x="2262" y="237"/>
                    <a:pt x="2263" y="238"/>
                  </a:cubicBezTo>
                  <a:cubicBezTo>
                    <a:pt x="2274" y="249"/>
                    <a:pt x="2258" y="208"/>
                    <a:pt x="2279" y="210"/>
                  </a:cubicBezTo>
                  <a:cubicBezTo>
                    <a:pt x="2288" y="211"/>
                    <a:pt x="2268" y="219"/>
                    <a:pt x="2285" y="217"/>
                  </a:cubicBezTo>
                  <a:cubicBezTo>
                    <a:pt x="2290" y="216"/>
                    <a:pt x="2292" y="238"/>
                    <a:pt x="2289" y="242"/>
                  </a:cubicBezTo>
                  <a:cubicBezTo>
                    <a:pt x="2288" y="243"/>
                    <a:pt x="2280" y="244"/>
                    <a:pt x="2286" y="245"/>
                  </a:cubicBezTo>
                  <a:cubicBezTo>
                    <a:pt x="2302" y="246"/>
                    <a:pt x="2288" y="224"/>
                    <a:pt x="2293" y="221"/>
                  </a:cubicBezTo>
                  <a:cubicBezTo>
                    <a:pt x="2295" y="220"/>
                    <a:pt x="2311" y="222"/>
                    <a:pt x="2329" y="225"/>
                  </a:cubicBezTo>
                  <a:cubicBezTo>
                    <a:pt x="2334" y="234"/>
                    <a:pt x="2338" y="239"/>
                    <a:pt x="2338" y="248"/>
                  </a:cubicBezTo>
                  <a:cubicBezTo>
                    <a:pt x="2338" y="294"/>
                    <a:pt x="2275" y="240"/>
                    <a:pt x="2260" y="247"/>
                  </a:cubicBezTo>
                  <a:cubicBezTo>
                    <a:pt x="2258" y="248"/>
                    <a:pt x="2264" y="249"/>
                    <a:pt x="2266" y="250"/>
                  </a:cubicBezTo>
                  <a:cubicBezTo>
                    <a:pt x="2277" y="256"/>
                    <a:pt x="2260" y="271"/>
                    <a:pt x="2256" y="274"/>
                  </a:cubicBezTo>
                  <a:cubicBezTo>
                    <a:pt x="2240" y="284"/>
                    <a:pt x="2204" y="286"/>
                    <a:pt x="2192" y="300"/>
                  </a:cubicBezTo>
                  <a:cubicBezTo>
                    <a:pt x="2185" y="309"/>
                    <a:pt x="2192" y="353"/>
                    <a:pt x="2165" y="345"/>
                  </a:cubicBezTo>
                  <a:cubicBezTo>
                    <a:pt x="2163" y="344"/>
                    <a:pt x="2161" y="344"/>
                    <a:pt x="2159" y="343"/>
                  </a:cubicBezTo>
                  <a:cubicBezTo>
                    <a:pt x="2108" y="324"/>
                    <a:pt x="2194" y="286"/>
                    <a:pt x="2190" y="271"/>
                  </a:cubicBezTo>
                  <a:cubicBezTo>
                    <a:pt x="2179" y="222"/>
                    <a:pt x="2102" y="233"/>
                    <a:pt x="2069" y="180"/>
                  </a:cubicBezTo>
                  <a:cubicBezTo>
                    <a:pt x="2037" y="176"/>
                    <a:pt x="2028" y="194"/>
                    <a:pt x="2000" y="203"/>
                  </a:cubicBezTo>
                  <a:cubicBezTo>
                    <a:pt x="1981" y="209"/>
                    <a:pt x="1957" y="190"/>
                    <a:pt x="1938" y="202"/>
                  </a:cubicBezTo>
                  <a:cubicBezTo>
                    <a:pt x="1934" y="204"/>
                    <a:pt x="1899" y="234"/>
                    <a:pt x="1895" y="239"/>
                  </a:cubicBezTo>
                  <a:cubicBezTo>
                    <a:pt x="1892" y="241"/>
                    <a:pt x="1889" y="255"/>
                    <a:pt x="1883" y="263"/>
                  </a:cubicBezTo>
                  <a:cubicBezTo>
                    <a:pt x="1879" y="268"/>
                    <a:pt x="1884" y="283"/>
                    <a:pt x="1881" y="289"/>
                  </a:cubicBezTo>
                  <a:cubicBezTo>
                    <a:pt x="1877" y="300"/>
                    <a:pt x="1870" y="305"/>
                    <a:pt x="1871" y="319"/>
                  </a:cubicBezTo>
                  <a:cubicBezTo>
                    <a:pt x="1871" y="327"/>
                    <a:pt x="1881" y="339"/>
                    <a:pt x="1880" y="348"/>
                  </a:cubicBezTo>
                  <a:cubicBezTo>
                    <a:pt x="1876" y="368"/>
                    <a:pt x="1854" y="366"/>
                    <a:pt x="1841" y="369"/>
                  </a:cubicBezTo>
                  <a:cubicBezTo>
                    <a:pt x="1819" y="375"/>
                    <a:pt x="1827" y="398"/>
                    <a:pt x="1816" y="408"/>
                  </a:cubicBezTo>
                  <a:cubicBezTo>
                    <a:pt x="1810" y="414"/>
                    <a:pt x="1805" y="413"/>
                    <a:pt x="1800" y="419"/>
                  </a:cubicBezTo>
                  <a:cubicBezTo>
                    <a:pt x="1799" y="420"/>
                    <a:pt x="1782" y="402"/>
                    <a:pt x="1779" y="400"/>
                  </a:cubicBezTo>
                  <a:cubicBezTo>
                    <a:pt x="1770" y="396"/>
                    <a:pt x="1710" y="375"/>
                    <a:pt x="1705" y="377"/>
                  </a:cubicBezTo>
                  <a:cubicBezTo>
                    <a:pt x="1699" y="378"/>
                    <a:pt x="1696" y="392"/>
                    <a:pt x="1691" y="395"/>
                  </a:cubicBezTo>
                  <a:cubicBezTo>
                    <a:pt x="1686" y="399"/>
                    <a:pt x="1652" y="410"/>
                    <a:pt x="1647" y="408"/>
                  </a:cubicBezTo>
                  <a:cubicBezTo>
                    <a:pt x="1647" y="408"/>
                    <a:pt x="1635" y="398"/>
                    <a:pt x="1635" y="398"/>
                  </a:cubicBezTo>
                  <a:cubicBezTo>
                    <a:pt x="1622" y="392"/>
                    <a:pt x="1597" y="396"/>
                    <a:pt x="1583" y="396"/>
                  </a:cubicBezTo>
                  <a:cubicBezTo>
                    <a:pt x="1580" y="395"/>
                    <a:pt x="1577" y="397"/>
                    <a:pt x="1575" y="395"/>
                  </a:cubicBezTo>
                  <a:cubicBezTo>
                    <a:pt x="1571" y="390"/>
                    <a:pt x="1574" y="381"/>
                    <a:pt x="1571" y="374"/>
                  </a:cubicBezTo>
                  <a:cubicBezTo>
                    <a:pt x="1562" y="351"/>
                    <a:pt x="1503" y="294"/>
                    <a:pt x="1479" y="297"/>
                  </a:cubicBezTo>
                  <a:cubicBezTo>
                    <a:pt x="1471" y="299"/>
                    <a:pt x="1453" y="313"/>
                    <a:pt x="1453" y="321"/>
                  </a:cubicBezTo>
                  <a:cubicBezTo>
                    <a:pt x="1454" y="325"/>
                    <a:pt x="1467" y="342"/>
                    <a:pt x="1456" y="345"/>
                  </a:cubicBezTo>
                  <a:cubicBezTo>
                    <a:pt x="1452" y="346"/>
                    <a:pt x="1414" y="325"/>
                    <a:pt x="1413" y="340"/>
                  </a:cubicBezTo>
                  <a:cubicBezTo>
                    <a:pt x="1413" y="341"/>
                    <a:pt x="1415" y="341"/>
                    <a:pt x="1417" y="342"/>
                  </a:cubicBezTo>
                  <a:cubicBezTo>
                    <a:pt x="1413" y="342"/>
                    <a:pt x="1385" y="342"/>
                    <a:pt x="1381" y="342"/>
                  </a:cubicBezTo>
                  <a:cubicBezTo>
                    <a:pt x="1377" y="342"/>
                    <a:pt x="1373" y="340"/>
                    <a:pt x="1370" y="342"/>
                  </a:cubicBezTo>
                  <a:cubicBezTo>
                    <a:pt x="1368" y="344"/>
                    <a:pt x="1373" y="346"/>
                    <a:pt x="1375" y="347"/>
                  </a:cubicBezTo>
                  <a:cubicBezTo>
                    <a:pt x="1385" y="357"/>
                    <a:pt x="1396" y="369"/>
                    <a:pt x="1393" y="385"/>
                  </a:cubicBezTo>
                  <a:cubicBezTo>
                    <a:pt x="1389" y="397"/>
                    <a:pt x="1357" y="417"/>
                    <a:pt x="1357" y="421"/>
                  </a:cubicBezTo>
                  <a:cubicBezTo>
                    <a:pt x="1357" y="429"/>
                    <a:pt x="1389" y="424"/>
                    <a:pt x="1378" y="437"/>
                  </a:cubicBezTo>
                  <a:cubicBezTo>
                    <a:pt x="1378" y="437"/>
                    <a:pt x="1358" y="455"/>
                    <a:pt x="1355" y="456"/>
                  </a:cubicBezTo>
                  <a:cubicBezTo>
                    <a:pt x="1334" y="462"/>
                    <a:pt x="1212" y="407"/>
                    <a:pt x="1190" y="429"/>
                  </a:cubicBezTo>
                  <a:cubicBezTo>
                    <a:pt x="1179" y="441"/>
                    <a:pt x="1213" y="497"/>
                    <a:pt x="1173" y="516"/>
                  </a:cubicBezTo>
                  <a:cubicBezTo>
                    <a:pt x="1160" y="522"/>
                    <a:pt x="1131" y="490"/>
                    <a:pt x="1118" y="495"/>
                  </a:cubicBezTo>
                  <a:cubicBezTo>
                    <a:pt x="1117" y="495"/>
                    <a:pt x="1117" y="495"/>
                    <a:pt x="1117" y="495"/>
                  </a:cubicBezTo>
                  <a:cubicBezTo>
                    <a:pt x="1116" y="495"/>
                    <a:pt x="1115" y="495"/>
                    <a:pt x="1114" y="496"/>
                  </a:cubicBezTo>
                  <a:cubicBezTo>
                    <a:pt x="1113" y="496"/>
                    <a:pt x="1113" y="497"/>
                    <a:pt x="1113" y="497"/>
                  </a:cubicBezTo>
                  <a:cubicBezTo>
                    <a:pt x="1102" y="502"/>
                    <a:pt x="1074" y="518"/>
                    <a:pt x="1070" y="524"/>
                  </a:cubicBezTo>
                  <a:cubicBezTo>
                    <a:pt x="1058" y="540"/>
                    <a:pt x="1056" y="561"/>
                    <a:pt x="1043" y="578"/>
                  </a:cubicBezTo>
                  <a:cubicBezTo>
                    <a:pt x="1036" y="588"/>
                    <a:pt x="1015" y="583"/>
                    <a:pt x="1012" y="599"/>
                  </a:cubicBezTo>
                  <a:cubicBezTo>
                    <a:pt x="1010" y="613"/>
                    <a:pt x="1058" y="632"/>
                    <a:pt x="1036" y="661"/>
                  </a:cubicBezTo>
                  <a:cubicBezTo>
                    <a:pt x="1029" y="670"/>
                    <a:pt x="1014" y="674"/>
                    <a:pt x="1006" y="682"/>
                  </a:cubicBezTo>
                  <a:cubicBezTo>
                    <a:pt x="993" y="694"/>
                    <a:pt x="985" y="713"/>
                    <a:pt x="972" y="725"/>
                  </a:cubicBezTo>
                  <a:cubicBezTo>
                    <a:pt x="967" y="730"/>
                    <a:pt x="950" y="737"/>
                    <a:pt x="948" y="743"/>
                  </a:cubicBezTo>
                  <a:cubicBezTo>
                    <a:pt x="946" y="752"/>
                    <a:pt x="959" y="765"/>
                    <a:pt x="957" y="774"/>
                  </a:cubicBezTo>
                  <a:cubicBezTo>
                    <a:pt x="952" y="794"/>
                    <a:pt x="872" y="795"/>
                    <a:pt x="871" y="797"/>
                  </a:cubicBezTo>
                  <a:cubicBezTo>
                    <a:pt x="866" y="804"/>
                    <a:pt x="884" y="834"/>
                    <a:pt x="883" y="843"/>
                  </a:cubicBezTo>
                  <a:cubicBezTo>
                    <a:pt x="882" y="855"/>
                    <a:pt x="873" y="866"/>
                    <a:pt x="871" y="878"/>
                  </a:cubicBezTo>
                  <a:cubicBezTo>
                    <a:pt x="870" y="882"/>
                    <a:pt x="871" y="886"/>
                    <a:pt x="871" y="889"/>
                  </a:cubicBezTo>
                  <a:cubicBezTo>
                    <a:pt x="871" y="889"/>
                    <a:pt x="871" y="911"/>
                    <a:pt x="871" y="911"/>
                  </a:cubicBezTo>
                  <a:cubicBezTo>
                    <a:pt x="871" y="914"/>
                    <a:pt x="872" y="918"/>
                    <a:pt x="871" y="922"/>
                  </a:cubicBezTo>
                  <a:cubicBezTo>
                    <a:pt x="871" y="922"/>
                    <a:pt x="859" y="932"/>
                    <a:pt x="859" y="932"/>
                  </a:cubicBezTo>
                  <a:cubicBezTo>
                    <a:pt x="856" y="937"/>
                    <a:pt x="857" y="944"/>
                    <a:pt x="855" y="949"/>
                  </a:cubicBezTo>
                  <a:cubicBezTo>
                    <a:pt x="850" y="960"/>
                    <a:pt x="816" y="1000"/>
                    <a:pt x="803" y="1022"/>
                  </a:cubicBezTo>
                  <a:cubicBezTo>
                    <a:pt x="802" y="1022"/>
                    <a:pt x="801" y="1022"/>
                    <a:pt x="800" y="1023"/>
                  </a:cubicBezTo>
                  <a:cubicBezTo>
                    <a:pt x="800" y="1023"/>
                    <a:pt x="801" y="1024"/>
                    <a:pt x="801" y="1024"/>
                  </a:cubicBezTo>
                  <a:cubicBezTo>
                    <a:pt x="799" y="1029"/>
                    <a:pt x="797" y="1033"/>
                    <a:pt x="798" y="1035"/>
                  </a:cubicBezTo>
                  <a:cubicBezTo>
                    <a:pt x="813" y="1060"/>
                    <a:pt x="851" y="1030"/>
                    <a:pt x="840" y="1093"/>
                  </a:cubicBezTo>
                  <a:cubicBezTo>
                    <a:pt x="838" y="1100"/>
                    <a:pt x="836" y="1106"/>
                    <a:pt x="832" y="1109"/>
                  </a:cubicBezTo>
                  <a:cubicBezTo>
                    <a:pt x="825" y="1105"/>
                    <a:pt x="820" y="1101"/>
                    <a:pt x="820" y="1101"/>
                  </a:cubicBezTo>
                  <a:cubicBezTo>
                    <a:pt x="819" y="1099"/>
                    <a:pt x="812" y="1093"/>
                    <a:pt x="811" y="1095"/>
                  </a:cubicBezTo>
                  <a:cubicBezTo>
                    <a:pt x="809" y="1097"/>
                    <a:pt x="820" y="1105"/>
                    <a:pt x="830" y="1111"/>
                  </a:cubicBezTo>
                  <a:cubicBezTo>
                    <a:pt x="813" y="1124"/>
                    <a:pt x="780" y="1103"/>
                    <a:pt x="758" y="1105"/>
                  </a:cubicBezTo>
                  <a:cubicBezTo>
                    <a:pt x="752" y="1106"/>
                    <a:pt x="742" y="1110"/>
                    <a:pt x="731" y="1116"/>
                  </a:cubicBezTo>
                  <a:cubicBezTo>
                    <a:pt x="732" y="1102"/>
                    <a:pt x="726" y="1095"/>
                    <a:pt x="718" y="1099"/>
                  </a:cubicBezTo>
                  <a:cubicBezTo>
                    <a:pt x="718" y="1099"/>
                    <a:pt x="724" y="1107"/>
                    <a:pt x="725" y="1109"/>
                  </a:cubicBezTo>
                  <a:cubicBezTo>
                    <a:pt x="725" y="1111"/>
                    <a:pt x="726" y="1115"/>
                    <a:pt x="727" y="1118"/>
                  </a:cubicBezTo>
                  <a:cubicBezTo>
                    <a:pt x="725" y="1119"/>
                    <a:pt x="724" y="1120"/>
                    <a:pt x="722" y="1121"/>
                  </a:cubicBezTo>
                  <a:cubicBezTo>
                    <a:pt x="719" y="1120"/>
                    <a:pt x="716" y="1121"/>
                    <a:pt x="714" y="1124"/>
                  </a:cubicBezTo>
                  <a:cubicBezTo>
                    <a:pt x="714" y="1125"/>
                    <a:pt x="714" y="1125"/>
                    <a:pt x="714" y="1126"/>
                  </a:cubicBezTo>
                  <a:cubicBezTo>
                    <a:pt x="688" y="1143"/>
                    <a:pt x="661" y="1167"/>
                    <a:pt x="660" y="1182"/>
                  </a:cubicBezTo>
                  <a:cubicBezTo>
                    <a:pt x="660" y="1188"/>
                    <a:pt x="667" y="1192"/>
                    <a:pt x="666" y="1197"/>
                  </a:cubicBezTo>
                  <a:cubicBezTo>
                    <a:pt x="664" y="1208"/>
                    <a:pt x="643" y="1218"/>
                    <a:pt x="642" y="1229"/>
                  </a:cubicBezTo>
                  <a:cubicBezTo>
                    <a:pt x="642" y="1241"/>
                    <a:pt x="663" y="1254"/>
                    <a:pt x="663" y="1266"/>
                  </a:cubicBezTo>
                  <a:cubicBezTo>
                    <a:pt x="663" y="1266"/>
                    <a:pt x="651" y="1284"/>
                    <a:pt x="651" y="1284"/>
                  </a:cubicBezTo>
                  <a:cubicBezTo>
                    <a:pt x="649" y="1289"/>
                    <a:pt x="656" y="1300"/>
                    <a:pt x="656" y="1306"/>
                  </a:cubicBezTo>
                  <a:cubicBezTo>
                    <a:pt x="655" y="1312"/>
                    <a:pt x="648" y="1322"/>
                    <a:pt x="650" y="1328"/>
                  </a:cubicBezTo>
                  <a:cubicBezTo>
                    <a:pt x="653" y="1345"/>
                    <a:pt x="673" y="1359"/>
                    <a:pt x="675" y="1377"/>
                  </a:cubicBezTo>
                  <a:cubicBezTo>
                    <a:pt x="677" y="1401"/>
                    <a:pt x="652" y="1433"/>
                    <a:pt x="659" y="1455"/>
                  </a:cubicBezTo>
                  <a:cubicBezTo>
                    <a:pt x="666" y="1483"/>
                    <a:pt x="713" y="1480"/>
                    <a:pt x="724" y="1509"/>
                  </a:cubicBezTo>
                  <a:cubicBezTo>
                    <a:pt x="725" y="1512"/>
                    <a:pt x="709" y="1550"/>
                    <a:pt x="706" y="1552"/>
                  </a:cubicBezTo>
                  <a:cubicBezTo>
                    <a:pt x="698" y="1558"/>
                    <a:pt x="671" y="1550"/>
                    <a:pt x="669" y="1564"/>
                  </a:cubicBezTo>
                  <a:cubicBezTo>
                    <a:pt x="666" y="1587"/>
                    <a:pt x="702" y="1614"/>
                    <a:pt x="702" y="1639"/>
                  </a:cubicBezTo>
                  <a:cubicBezTo>
                    <a:pt x="702" y="1650"/>
                    <a:pt x="694" y="1653"/>
                    <a:pt x="691" y="1663"/>
                  </a:cubicBezTo>
                  <a:cubicBezTo>
                    <a:pt x="690" y="1665"/>
                    <a:pt x="691" y="1668"/>
                    <a:pt x="691" y="1671"/>
                  </a:cubicBezTo>
                  <a:cubicBezTo>
                    <a:pt x="691" y="1676"/>
                    <a:pt x="691" y="1681"/>
                    <a:pt x="691" y="1686"/>
                  </a:cubicBezTo>
                  <a:cubicBezTo>
                    <a:pt x="691" y="1689"/>
                    <a:pt x="692" y="1692"/>
                    <a:pt x="691" y="1694"/>
                  </a:cubicBezTo>
                  <a:cubicBezTo>
                    <a:pt x="688" y="1700"/>
                    <a:pt x="669" y="1718"/>
                    <a:pt x="663" y="1720"/>
                  </a:cubicBezTo>
                  <a:cubicBezTo>
                    <a:pt x="659" y="1722"/>
                    <a:pt x="632" y="1718"/>
                    <a:pt x="632" y="1728"/>
                  </a:cubicBezTo>
                  <a:cubicBezTo>
                    <a:pt x="632" y="1733"/>
                    <a:pt x="638" y="1737"/>
                    <a:pt x="638" y="1742"/>
                  </a:cubicBezTo>
                  <a:cubicBezTo>
                    <a:pt x="640" y="1758"/>
                    <a:pt x="623" y="1752"/>
                    <a:pt x="618" y="1763"/>
                  </a:cubicBezTo>
                  <a:cubicBezTo>
                    <a:pt x="615" y="1770"/>
                    <a:pt x="619" y="1783"/>
                    <a:pt x="623" y="1797"/>
                  </a:cubicBezTo>
                  <a:cubicBezTo>
                    <a:pt x="622" y="1797"/>
                    <a:pt x="622" y="1797"/>
                    <a:pt x="622" y="1797"/>
                  </a:cubicBezTo>
                  <a:cubicBezTo>
                    <a:pt x="621" y="1801"/>
                    <a:pt x="624" y="1807"/>
                    <a:pt x="627" y="1813"/>
                  </a:cubicBezTo>
                  <a:cubicBezTo>
                    <a:pt x="630" y="1831"/>
                    <a:pt x="630" y="1849"/>
                    <a:pt x="615" y="1861"/>
                  </a:cubicBezTo>
                  <a:cubicBezTo>
                    <a:pt x="601" y="1872"/>
                    <a:pt x="599" y="1861"/>
                    <a:pt x="597" y="1851"/>
                  </a:cubicBezTo>
                  <a:close/>
                  <a:moveTo>
                    <a:pt x="1736" y="255"/>
                  </a:moveTo>
                  <a:cubicBezTo>
                    <a:pt x="1736" y="255"/>
                    <a:pt x="1736" y="255"/>
                    <a:pt x="1736" y="255"/>
                  </a:cubicBezTo>
                  <a:cubicBezTo>
                    <a:pt x="1743" y="253"/>
                    <a:pt x="1755" y="240"/>
                    <a:pt x="1734" y="238"/>
                  </a:cubicBezTo>
                  <a:cubicBezTo>
                    <a:pt x="1723" y="237"/>
                    <a:pt x="1726" y="253"/>
                    <a:pt x="1736" y="255"/>
                  </a:cubicBezTo>
                  <a:close/>
                  <a:moveTo>
                    <a:pt x="1273" y="409"/>
                  </a:moveTo>
                  <a:cubicBezTo>
                    <a:pt x="1274" y="411"/>
                    <a:pt x="1281" y="413"/>
                    <a:pt x="1282" y="414"/>
                  </a:cubicBezTo>
                  <a:cubicBezTo>
                    <a:pt x="1305" y="425"/>
                    <a:pt x="1329" y="434"/>
                    <a:pt x="1349" y="450"/>
                  </a:cubicBezTo>
                  <a:cubicBezTo>
                    <a:pt x="1350" y="450"/>
                    <a:pt x="1352" y="450"/>
                    <a:pt x="1353" y="451"/>
                  </a:cubicBezTo>
                  <a:cubicBezTo>
                    <a:pt x="1356" y="449"/>
                    <a:pt x="1335" y="423"/>
                    <a:pt x="1300" y="419"/>
                  </a:cubicBezTo>
                  <a:cubicBezTo>
                    <a:pt x="1293" y="418"/>
                    <a:pt x="1288" y="415"/>
                    <a:pt x="1282" y="413"/>
                  </a:cubicBezTo>
                  <a:cubicBezTo>
                    <a:pt x="1279" y="411"/>
                    <a:pt x="1273" y="406"/>
                    <a:pt x="1273" y="409"/>
                  </a:cubicBezTo>
                  <a:close/>
                  <a:moveTo>
                    <a:pt x="842" y="713"/>
                  </a:moveTo>
                  <a:cubicBezTo>
                    <a:pt x="844" y="712"/>
                    <a:pt x="844" y="712"/>
                    <a:pt x="844" y="712"/>
                  </a:cubicBezTo>
                  <a:cubicBezTo>
                    <a:pt x="847" y="712"/>
                    <a:pt x="850" y="706"/>
                    <a:pt x="849" y="704"/>
                  </a:cubicBezTo>
                  <a:cubicBezTo>
                    <a:pt x="847" y="701"/>
                    <a:pt x="817" y="714"/>
                    <a:pt x="842" y="713"/>
                  </a:cubicBezTo>
                  <a:close/>
                  <a:moveTo>
                    <a:pt x="844" y="759"/>
                  </a:moveTo>
                  <a:cubicBezTo>
                    <a:pt x="845" y="759"/>
                    <a:pt x="850" y="760"/>
                    <a:pt x="850" y="758"/>
                  </a:cubicBezTo>
                  <a:cubicBezTo>
                    <a:pt x="849" y="756"/>
                    <a:pt x="834" y="758"/>
                    <a:pt x="832" y="757"/>
                  </a:cubicBezTo>
                  <a:cubicBezTo>
                    <a:pt x="829" y="757"/>
                    <a:pt x="814" y="748"/>
                    <a:pt x="812" y="751"/>
                  </a:cubicBezTo>
                  <a:cubicBezTo>
                    <a:pt x="809" y="756"/>
                    <a:pt x="823" y="754"/>
                    <a:pt x="826" y="758"/>
                  </a:cubicBezTo>
                  <a:cubicBezTo>
                    <a:pt x="827" y="759"/>
                    <a:pt x="827" y="759"/>
                    <a:pt x="827" y="759"/>
                  </a:cubicBezTo>
                  <a:cubicBezTo>
                    <a:pt x="828" y="768"/>
                    <a:pt x="834" y="760"/>
                    <a:pt x="844" y="759"/>
                  </a:cubicBezTo>
                  <a:close/>
                  <a:moveTo>
                    <a:pt x="807" y="865"/>
                  </a:moveTo>
                  <a:cubicBezTo>
                    <a:pt x="807" y="866"/>
                    <a:pt x="827" y="869"/>
                    <a:pt x="830" y="871"/>
                  </a:cubicBezTo>
                  <a:cubicBezTo>
                    <a:pt x="832" y="870"/>
                    <a:pt x="832" y="870"/>
                    <a:pt x="832" y="870"/>
                  </a:cubicBezTo>
                  <a:cubicBezTo>
                    <a:pt x="851" y="871"/>
                    <a:pt x="831" y="861"/>
                    <a:pt x="832" y="858"/>
                  </a:cubicBezTo>
                  <a:cubicBezTo>
                    <a:pt x="833" y="854"/>
                    <a:pt x="842" y="854"/>
                    <a:pt x="844" y="851"/>
                  </a:cubicBezTo>
                  <a:cubicBezTo>
                    <a:pt x="846" y="849"/>
                    <a:pt x="840" y="849"/>
                    <a:pt x="841" y="847"/>
                  </a:cubicBezTo>
                  <a:cubicBezTo>
                    <a:pt x="843" y="839"/>
                    <a:pt x="851" y="838"/>
                    <a:pt x="859" y="836"/>
                  </a:cubicBezTo>
                  <a:cubicBezTo>
                    <a:pt x="859" y="835"/>
                    <a:pt x="869" y="833"/>
                    <a:pt x="865" y="832"/>
                  </a:cubicBezTo>
                  <a:cubicBezTo>
                    <a:pt x="849" y="827"/>
                    <a:pt x="836" y="844"/>
                    <a:pt x="823" y="850"/>
                  </a:cubicBezTo>
                  <a:cubicBezTo>
                    <a:pt x="821" y="851"/>
                    <a:pt x="810" y="841"/>
                    <a:pt x="810" y="843"/>
                  </a:cubicBezTo>
                  <a:cubicBezTo>
                    <a:pt x="810" y="849"/>
                    <a:pt x="829" y="857"/>
                    <a:pt x="820" y="863"/>
                  </a:cubicBezTo>
                  <a:cubicBezTo>
                    <a:pt x="818" y="864"/>
                    <a:pt x="807" y="865"/>
                    <a:pt x="807" y="865"/>
                  </a:cubicBezTo>
                  <a:close/>
                  <a:moveTo>
                    <a:pt x="784" y="967"/>
                  </a:moveTo>
                  <a:cubicBezTo>
                    <a:pt x="786" y="971"/>
                    <a:pt x="781" y="972"/>
                    <a:pt x="785" y="976"/>
                  </a:cubicBezTo>
                  <a:cubicBezTo>
                    <a:pt x="784" y="976"/>
                    <a:pt x="784" y="976"/>
                    <a:pt x="784" y="976"/>
                  </a:cubicBezTo>
                  <a:cubicBezTo>
                    <a:pt x="788" y="982"/>
                    <a:pt x="796" y="968"/>
                    <a:pt x="803" y="969"/>
                  </a:cubicBezTo>
                  <a:cubicBezTo>
                    <a:pt x="803" y="969"/>
                    <a:pt x="811" y="969"/>
                    <a:pt x="810" y="968"/>
                  </a:cubicBezTo>
                  <a:cubicBezTo>
                    <a:pt x="805" y="960"/>
                    <a:pt x="797" y="969"/>
                    <a:pt x="789" y="969"/>
                  </a:cubicBezTo>
                  <a:cubicBezTo>
                    <a:pt x="788" y="969"/>
                    <a:pt x="781" y="961"/>
                    <a:pt x="780" y="961"/>
                  </a:cubicBezTo>
                  <a:cubicBezTo>
                    <a:pt x="779" y="963"/>
                    <a:pt x="784" y="966"/>
                    <a:pt x="784" y="967"/>
                  </a:cubicBezTo>
                  <a:close/>
                  <a:moveTo>
                    <a:pt x="774" y="992"/>
                  </a:moveTo>
                  <a:cubicBezTo>
                    <a:pt x="780" y="1000"/>
                    <a:pt x="791" y="1010"/>
                    <a:pt x="800" y="1015"/>
                  </a:cubicBezTo>
                  <a:cubicBezTo>
                    <a:pt x="800" y="1015"/>
                    <a:pt x="800" y="1015"/>
                    <a:pt x="800" y="1015"/>
                  </a:cubicBezTo>
                  <a:cubicBezTo>
                    <a:pt x="806" y="1017"/>
                    <a:pt x="805" y="1008"/>
                    <a:pt x="802" y="1007"/>
                  </a:cubicBezTo>
                  <a:cubicBezTo>
                    <a:pt x="784" y="1000"/>
                    <a:pt x="795" y="987"/>
                    <a:pt x="793" y="983"/>
                  </a:cubicBezTo>
                  <a:cubicBezTo>
                    <a:pt x="792" y="981"/>
                    <a:pt x="785" y="978"/>
                    <a:pt x="783" y="980"/>
                  </a:cubicBezTo>
                  <a:cubicBezTo>
                    <a:pt x="781" y="981"/>
                    <a:pt x="779" y="979"/>
                    <a:pt x="778" y="981"/>
                  </a:cubicBezTo>
                  <a:cubicBezTo>
                    <a:pt x="777" y="983"/>
                    <a:pt x="785" y="984"/>
                    <a:pt x="785" y="984"/>
                  </a:cubicBezTo>
                  <a:cubicBezTo>
                    <a:pt x="789" y="987"/>
                    <a:pt x="771" y="988"/>
                    <a:pt x="774" y="992"/>
                  </a:cubicBezTo>
                  <a:close/>
                  <a:moveTo>
                    <a:pt x="754" y="1021"/>
                  </a:moveTo>
                  <a:cubicBezTo>
                    <a:pt x="754" y="1021"/>
                    <a:pt x="754" y="1021"/>
                    <a:pt x="754" y="1021"/>
                  </a:cubicBezTo>
                  <a:cubicBezTo>
                    <a:pt x="760" y="1023"/>
                    <a:pt x="766" y="1015"/>
                    <a:pt x="769" y="1015"/>
                  </a:cubicBezTo>
                  <a:cubicBezTo>
                    <a:pt x="775" y="1014"/>
                    <a:pt x="804" y="1023"/>
                    <a:pt x="788" y="1014"/>
                  </a:cubicBezTo>
                  <a:cubicBezTo>
                    <a:pt x="776" y="1007"/>
                    <a:pt x="762" y="995"/>
                    <a:pt x="757" y="1017"/>
                  </a:cubicBezTo>
                  <a:cubicBezTo>
                    <a:pt x="756" y="1020"/>
                    <a:pt x="752" y="1016"/>
                    <a:pt x="754" y="1021"/>
                  </a:cubicBezTo>
                  <a:close/>
                  <a:moveTo>
                    <a:pt x="641" y="1537"/>
                  </a:moveTo>
                  <a:cubicBezTo>
                    <a:pt x="638" y="1532"/>
                    <a:pt x="634" y="1521"/>
                    <a:pt x="629" y="1519"/>
                  </a:cubicBezTo>
                  <a:cubicBezTo>
                    <a:pt x="629" y="1519"/>
                    <a:pt x="629" y="1519"/>
                    <a:pt x="629" y="1519"/>
                  </a:cubicBezTo>
                  <a:cubicBezTo>
                    <a:pt x="620" y="1514"/>
                    <a:pt x="643" y="1545"/>
                    <a:pt x="645" y="1544"/>
                  </a:cubicBezTo>
                  <a:cubicBezTo>
                    <a:pt x="646" y="1544"/>
                    <a:pt x="641" y="1538"/>
                    <a:pt x="641" y="1537"/>
                  </a:cubicBezTo>
                  <a:close/>
                  <a:moveTo>
                    <a:pt x="640" y="1372"/>
                  </a:moveTo>
                  <a:cubicBezTo>
                    <a:pt x="636" y="1394"/>
                    <a:pt x="625" y="1390"/>
                    <a:pt x="622" y="1399"/>
                  </a:cubicBezTo>
                  <a:cubicBezTo>
                    <a:pt x="622" y="1401"/>
                    <a:pt x="623" y="1402"/>
                    <a:pt x="624" y="1403"/>
                  </a:cubicBezTo>
                  <a:cubicBezTo>
                    <a:pt x="632" y="1409"/>
                    <a:pt x="642" y="1426"/>
                    <a:pt x="641" y="1425"/>
                  </a:cubicBezTo>
                  <a:cubicBezTo>
                    <a:pt x="641" y="1424"/>
                    <a:pt x="639" y="1418"/>
                    <a:pt x="639" y="1417"/>
                  </a:cubicBezTo>
                  <a:cubicBezTo>
                    <a:pt x="639" y="1416"/>
                    <a:pt x="639" y="1416"/>
                    <a:pt x="639" y="1416"/>
                  </a:cubicBezTo>
                  <a:cubicBezTo>
                    <a:pt x="642" y="1401"/>
                    <a:pt x="647" y="1360"/>
                    <a:pt x="644" y="1357"/>
                  </a:cubicBezTo>
                  <a:cubicBezTo>
                    <a:pt x="635" y="1348"/>
                    <a:pt x="641" y="1366"/>
                    <a:pt x="640" y="1372"/>
                  </a:cubicBezTo>
                  <a:close/>
                  <a:moveTo>
                    <a:pt x="609" y="1115"/>
                  </a:moveTo>
                  <a:cubicBezTo>
                    <a:pt x="609" y="1116"/>
                    <a:pt x="609" y="1115"/>
                    <a:pt x="610" y="1115"/>
                  </a:cubicBezTo>
                  <a:cubicBezTo>
                    <a:pt x="619" y="1115"/>
                    <a:pt x="613" y="1104"/>
                    <a:pt x="624" y="1102"/>
                  </a:cubicBezTo>
                  <a:cubicBezTo>
                    <a:pt x="645" y="1097"/>
                    <a:pt x="661" y="1092"/>
                    <a:pt x="679" y="1084"/>
                  </a:cubicBezTo>
                  <a:cubicBezTo>
                    <a:pt x="680" y="1084"/>
                    <a:pt x="680" y="1083"/>
                    <a:pt x="680" y="1082"/>
                  </a:cubicBezTo>
                  <a:cubicBezTo>
                    <a:pt x="678" y="1080"/>
                    <a:pt x="610" y="1102"/>
                    <a:pt x="613" y="1106"/>
                  </a:cubicBezTo>
                  <a:cubicBezTo>
                    <a:pt x="615" y="1108"/>
                    <a:pt x="611" y="1113"/>
                    <a:pt x="610" y="1114"/>
                  </a:cubicBezTo>
                  <a:cubicBezTo>
                    <a:pt x="609" y="1115"/>
                    <a:pt x="609" y="1115"/>
                    <a:pt x="609" y="1115"/>
                  </a:cubicBezTo>
                  <a:cubicBezTo>
                    <a:pt x="609" y="1115"/>
                    <a:pt x="609" y="1115"/>
                    <a:pt x="609" y="1115"/>
                  </a:cubicBezTo>
                  <a:close/>
                  <a:moveTo>
                    <a:pt x="622" y="1662"/>
                  </a:moveTo>
                  <a:cubicBezTo>
                    <a:pt x="623" y="1663"/>
                    <a:pt x="618" y="1651"/>
                    <a:pt x="615" y="1646"/>
                  </a:cubicBezTo>
                  <a:cubicBezTo>
                    <a:pt x="615" y="1646"/>
                    <a:pt x="615" y="1646"/>
                    <a:pt x="615" y="1646"/>
                  </a:cubicBezTo>
                  <a:cubicBezTo>
                    <a:pt x="612" y="1641"/>
                    <a:pt x="615" y="1653"/>
                    <a:pt x="610" y="1652"/>
                  </a:cubicBezTo>
                  <a:cubicBezTo>
                    <a:pt x="602" y="1650"/>
                    <a:pt x="622" y="1662"/>
                    <a:pt x="622" y="1662"/>
                  </a:cubicBezTo>
                  <a:close/>
                  <a:moveTo>
                    <a:pt x="314" y="1848"/>
                  </a:moveTo>
                  <a:cubicBezTo>
                    <a:pt x="314" y="1834"/>
                    <a:pt x="302" y="1838"/>
                    <a:pt x="297" y="1829"/>
                  </a:cubicBezTo>
                  <a:cubicBezTo>
                    <a:pt x="286" y="1809"/>
                    <a:pt x="307" y="1852"/>
                    <a:pt x="314" y="1849"/>
                  </a:cubicBezTo>
                  <a:lnTo>
                    <a:pt x="314" y="1848"/>
                  </a:lnTo>
                  <a:close/>
                  <a:moveTo>
                    <a:pt x="318" y="1734"/>
                  </a:moveTo>
                  <a:cubicBezTo>
                    <a:pt x="314" y="1727"/>
                    <a:pt x="301" y="1728"/>
                    <a:pt x="296" y="1725"/>
                  </a:cubicBezTo>
                  <a:cubicBezTo>
                    <a:pt x="290" y="1722"/>
                    <a:pt x="301" y="1717"/>
                    <a:pt x="293" y="1713"/>
                  </a:cubicBezTo>
                  <a:cubicBezTo>
                    <a:pt x="288" y="1709"/>
                    <a:pt x="278" y="1707"/>
                    <a:pt x="291" y="1713"/>
                  </a:cubicBezTo>
                  <a:cubicBezTo>
                    <a:pt x="292" y="1713"/>
                    <a:pt x="292" y="1713"/>
                    <a:pt x="292" y="1713"/>
                  </a:cubicBezTo>
                  <a:cubicBezTo>
                    <a:pt x="292" y="1713"/>
                    <a:pt x="292" y="1713"/>
                    <a:pt x="293" y="1713"/>
                  </a:cubicBezTo>
                  <a:cubicBezTo>
                    <a:pt x="293" y="1714"/>
                    <a:pt x="294" y="1715"/>
                    <a:pt x="294" y="1716"/>
                  </a:cubicBezTo>
                  <a:cubicBezTo>
                    <a:pt x="295" y="1720"/>
                    <a:pt x="291" y="1726"/>
                    <a:pt x="292" y="1730"/>
                  </a:cubicBezTo>
                  <a:cubicBezTo>
                    <a:pt x="292" y="1733"/>
                    <a:pt x="300" y="1737"/>
                    <a:pt x="303" y="1738"/>
                  </a:cubicBezTo>
                  <a:cubicBezTo>
                    <a:pt x="305" y="1739"/>
                    <a:pt x="312" y="1742"/>
                    <a:pt x="310" y="1740"/>
                  </a:cubicBezTo>
                  <a:cubicBezTo>
                    <a:pt x="309" y="1739"/>
                    <a:pt x="296" y="1732"/>
                    <a:pt x="300" y="1729"/>
                  </a:cubicBezTo>
                  <a:cubicBezTo>
                    <a:pt x="300" y="1728"/>
                    <a:pt x="318" y="1734"/>
                    <a:pt x="318" y="1734"/>
                  </a:cubicBezTo>
                  <a:close/>
                  <a:moveTo>
                    <a:pt x="333" y="1804"/>
                  </a:moveTo>
                  <a:cubicBezTo>
                    <a:pt x="333" y="1804"/>
                    <a:pt x="333" y="1804"/>
                    <a:pt x="333" y="1804"/>
                  </a:cubicBezTo>
                  <a:cubicBezTo>
                    <a:pt x="327" y="1800"/>
                    <a:pt x="330" y="1848"/>
                    <a:pt x="335" y="1847"/>
                  </a:cubicBezTo>
                  <a:cubicBezTo>
                    <a:pt x="335" y="1847"/>
                    <a:pt x="334" y="1806"/>
                    <a:pt x="333" y="1804"/>
                  </a:cubicBezTo>
                  <a:close/>
                  <a:moveTo>
                    <a:pt x="397" y="1512"/>
                  </a:moveTo>
                  <a:cubicBezTo>
                    <a:pt x="397" y="1510"/>
                    <a:pt x="403" y="1512"/>
                    <a:pt x="403" y="1511"/>
                  </a:cubicBezTo>
                  <a:cubicBezTo>
                    <a:pt x="400" y="1505"/>
                    <a:pt x="386" y="1510"/>
                    <a:pt x="381" y="1512"/>
                  </a:cubicBezTo>
                  <a:cubicBezTo>
                    <a:pt x="380" y="1512"/>
                    <a:pt x="380" y="1512"/>
                    <a:pt x="380" y="1512"/>
                  </a:cubicBezTo>
                  <a:cubicBezTo>
                    <a:pt x="369" y="1520"/>
                    <a:pt x="352" y="1511"/>
                    <a:pt x="338" y="1511"/>
                  </a:cubicBezTo>
                  <a:cubicBezTo>
                    <a:pt x="334" y="1510"/>
                    <a:pt x="329" y="1510"/>
                    <a:pt x="325" y="1509"/>
                  </a:cubicBezTo>
                  <a:cubicBezTo>
                    <a:pt x="323" y="1508"/>
                    <a:pt x="316" y="1506"/>
                    <a:pt x="318" y="1508"/>
                  </a:cubicBezTo>
                  <a:cubicBezTo>
                    <a:pt x="330" y="1519"/>
                    <a:pt x="372" y="1519"/>
                    <a:pt x="381" y="1513"/>
                  </a:cubicBezTo>
                  <a:cubicBezTo>
                    <a:pt x="386" y="1510"/>
                    <a:pt x="397" y="1517"/>
                    <a:pt x="397" y="1512"/>
                  </a:cubicBezTo>
                  <a:close/>
                  <a:moveTo>
                    <a:pt x="425" y="1821"/>
                  </a:moveTo>
                  <a:cubicBezTo>
                    <a:pt x="421" y="1814"/>
                    <a:pt x="401" y="1805"/>
                    <a:pt x="402" y="1797"/>
                  </a:cubicBezTo>
                  <a:cubicBezTo>
                    <a:pt x="402" y="1797"/>
                    <a:pt x="402" y="1797"/>
                    <a:pt x="402" y="1797"/>
                  </a:cubicBezTo>
                  <a:cubicBezTo>
                    <a:pt x="402" y="1794"/>
                    <a:pt x="392" y="1795"/>
                    <a:pt x="395" y="1800"/>
                  </a:cubicBezTo>
                  <a:cubicBezTo>
                    <a:pt x="399" y="1806"/>
                    <a:pt x="408" y="1809"/>
                    <a:pt x="412" y="1814"/>
                  </a:cubicBezTo>
                  <a:cubicBezTo>
                    <a:pt x="416" y="1817"/>
                    <a:pt x="426" y="1826"/>
                    <a:pt x="425" y="1821"/>
                  </a:cubicBezTo>
                  <a:close/>
                  <a:moveTo>
                    <a:pt x="515" y="1230"/>
                  </a:moveTo>
                  <a:cubicBezTo>
                    <a:pt x="516" y="1231"/>
                    <a:pt x="520" y="1229"/>
                    <a:pt x="521" y="1229"/>
                  </a:cubicBezTo>
                  <a:cubicBezTo>
                    <a:pt x="526" y="1228"/>
                    <a:pt x="564" y="1238"/>
                    <a:pt x="562" y="1231"/>
                  </a:cubicBezTo>
                  <a:cubicBezTo>
                    <a:pt x="560" y="1228"/>
                    <a:pt x="569" y="1231"/>
                    <a:pt x="566" y="1228"/>
                  </a:cubicBezTo>
                  <a:cubicBezTo>
                    <a:pt x="565" y="1227"/>
                    <a:pt x="565" y="1227"/>
                    <a:pt x="565" y="1227"/>
                  </a:cubicBezTo>
                  <a:cubicBezTo>
                    <a:pt x="557" y="1225"/>
                    <a:pt x="531" y="1226"/>
                    <a:pt x="522" y="1227"/>
                  </a:cubicBezTo>
                  <a:cubicBezTo>
                    <a:pt x="521" y="1227"/>
                    <a:pt x="514" y="1228"/>
                    <a:pt x="515" y="1230"/>
                  </a:cubicBezTo>
                  <a:close/>
                  <a:moveTo>
                    <a:pt x="492" y="1706"/>
                  </a:moveTo>
                  <a:cubicBezTo>
                    <a:pt x="492" y="1705"/>
                    <a:pt x="501" y="1689"/>
                    <a:pt x="499" y="1689"/>
                  </a:cubicBezTo>
                  <a:cubicBezTo>
                    <a:pt x="495" y="1690"/>
                    <a:pt x="497" y="1698"/>
                    <a:pt x="494" y="1698"/>
                  </a:cubicBezTo>
                  <a:cubicBezTo>
                    <a:pt x="483" y="1701"/>
                    <a:pt x="483" y="1677"/>
                    <a:pt x="470" y="1707"/>
                  </a:cubicBezTo>
                  <a:cubicBezTo>
                    <a:pt x="469" y="1708"/>
                    <a:pt x="469" y="1709"/>
                    <a:pt x="469" y="1710"/>
                  </a:cubicBezTo>
                  <a:cubicBezTo>
                    <a:pt x="470" y="1711"/>
                    <a:pt x="476" y="1705"/>
                    <a:pt x="477" y="1704"/>
                  </a:cubicBezTo>
                  <a:cubicBezTo>
                    <a:pt x="488" y="1701"/>
                    <a:pt x="503" y="1729"/>
                    <a:pt x="497" y="1714"/>
                  </a:cubicBezTo>
                  <a:cubicBezTo>
                    <a:pt x="496" y="1711"/>
                    <a:pt x="494" y="1709"/>
                    <a:pt x="493" y="1706"/>
                  </a:cubicBezTo>
                  <a:lnTo>
                    <a:pt x="492" y="1706"/>
                  </a:lnTo>
                  <a:close/>
                  <a:moveTo>
                    <a:pt x="509" y="1639"/>
                  </a:moveTo>
                  <a:cubicBezTo>
                    <a:pt x="507" y="1634"/>
                    <a:pt x="499" y="1631"/>
                    <a:pt x="499" y="1630"/>
                  </a:cubicBezTo>
                  <a:cubicBezTo>
                    <a:pt x="498" y="1627"/>
                    <a:pt x="498" y="1623"/>
                    <a:pt x="498" y="1620"/>
                  </a:cubicBezTo>
                  <a:cubicBezTo>
                    <a:pt x="498" y="1620"/>
                    <a:pt x="498" y="1620"/>
                    <a:pt x="498" y="1620"/>
                  </a:cubicBezTo>
                  <a:cubicBezTo>
                    <a:pt x="500" y="1618"/>
                    <a:pt x="500" y="1616"/>
                    <a:pt x="500" y="1615"/>
                  </a:cubicBezTo>
                  <a:cubicBezTo>
                    <a:pt x="500" y="1615"/>
                    <a:pt x="500" y="1614"/>
                    <a:pt x="500" y="1614"/>
                  </a:cubicBezTo>
                  <a:cubicBezTo>
                    <a:pt x="500" y="1612"/>
                    <a:pt x="499" y="1611"/>
                    <a:pt x="498" y="1609"/>
                  </a:cubicBezTo>
                  <a:cubicBezTo>
                    <a:pt x="498" y="1603"/>
                    <a:pt x="496" y="1597"/>
                    <a:pt x="488" y="1592"/>
                  </a:cubicBezTo>
                  <a:cubicBezTo>
                    <a:pt x="487" y="1592"/>
                    <a:pt x="487" y="1592"/>
                    <a:pt x="487" y="1592"/>
                  </a:cubicBezTo>
                  <a:cubicBezTo>
                    <a:pt x="476" y="1590"/>
                    <a:pt x="492" y="1600"/>
                    <a:pt x="498" y="1609"/>
                  </a:cubicBezTo>
                  <a:cubicBezTo>
                    <a:pt x="498" y="1613"/>
                    <a:pt x="498" y="1616"/>
                    <a:pt x="498" y="1620"/>
                  </a:cubicBezTo>
                  <a:cubicBezTo>
                    <a:pt x="490" y="1627"/>
                    <a:pt x="503" y="1634"/>
                    <a:pt x="504" y="1640"/>
                  </a:cubicBezTo>
                  <a:cubicBezTo>
                    <a:pt x="504" y="1645"/>
                    <a:pt x="495" y="1669"/>
                    <a:pt x="505" y="1670"/>
                  </a:cubicBezTo>
                  <a:cubicBezTo>
                    <a:pt x="506" y="1670"/>
                    <a:pt x="506" y="1670"/>
                    <a:pt x="507" y="1670"/>
                  </a:cubicBezTo>
                  <a:cubicBezTo>
                    <a:pt x="509" y="1668"/>
                    <a:pt x="503" y="1663"/>
                    <a:pt x="503" y="1660"/>
                  </a:cubicBezTo>
                  <a:cubicBezTo>
                    <a:pt x="504" y="1653"/>
                    <a:pt x="509" y="1650"/>
                    <a:pt x="512" y="1645"/>
                  </a:cubicBezTo>
                  <a:cubicBezTo>
                    <a:pt x="513" y="1643"/>
                    <a:pt x="509" y="1641"/>
                    <a:pt x="509" y="1639"/>
                  </a:cubicBezTo>
                  <a:close/>
                  <a:moveTo>
                    <a:pt x="568" y="1667"/>
                  </a:moveTo>
                  <a:cubicBezTo>
                    <a:pt x="575" y="1667"/>
                    <a:pt x="563" y="1658"/>
                    <a:pt x="565" y="1651"/>
                  </a:cubicBezTo>
                  <a:cubicBezTo>
                    <a:pt x="565" y="1649"/>
                    <a:pt x="566" y="1648"/>
                    <a:pt x="565" y="1649"/>
                  </a:cubicBezTo>
                  <a:cubicBezTo>
                    <a:pt x="565" y="1649"/>
                    <a:pt x="565" y="1649"/>
                    <a:pt x="565" y="1649"/>
                  </a:cubicBezTo>
                  <a:cubicBezTo>
                    <a:pt x="565" y="1650"/>
                    <a:pt x="565" y="1650"/>
                    <a:pt x="565" y="1651"/>
                  </a:cubicBezTo>
                  <a:cubicBezTo>
                    <a:pt x="562" y="1656"/>
                    <a:pt x="558" y="1667"/>
                    <a:pt x="568" y="1667"/>
                  </a:cubicBezTo>
                  <a:close/>
                  <a:moveTo>
                    <a:pt x="566" y="1714"/>
                  </a:moveTo>
                  <a:cubicBezTo>
                    <a:pt x="566" y="1714"/>
                    <a:pt x="566" y="1714"/>
                    <a:pt x="566" y="1714"/>
                  </a:cubicBezTo>
                  <a:cubicBezTo>
                    <a:pt x="560" y="1709"/>
                    <a:pt x="566" y="1718"/>
                    <a:pt x="567" y="1720"/>
                  </a:cubicBezTo>
                  <a:cubicBezTo>
                    <a:pt x="574" y="1730"/>
                    <a:pt x="577" y="1740"/>
                    <a:pt x="578" y="1754"/>
                  </a:cubicBezTo>
                  <a:cubicBezTo>
                    <a:pt x="578" y="1756"/>
                    <a:pt x="578" y="1759"/>
                    <a:pt x="581" y="1758"/>
                  </a:cubicBezTo>
                  <a:cubicBezTo>
                    <a:pt x="591" y="1754"/>
                    <a:pt x="569" y="1718"/>
                    <a:pt x="566" y="1714"/>
                  </a:cubicBezTo>
                  <a:close/>
                  <a:moveTo>
                    <a:pt x="584" y="1621"/>
                  </a:moveTo>
                  <a:cubicBezTo>
                    <a:pt x="583" y="1616"/>
                    <a:pt x="582" y="1625"/>
                    <a:pt x="577" y="1621"/>
                  </a:cubicBezTo>
                  <a:cubicBezTo>
                    <a:pt x="560" y="1610"/>
                    <a:pt x="572" y="1582"/>
                    <a:pt x="548" y="1578"/>
                  </a:cubicBezTo>
                  <a:cubicBezTo>
                    <a:pt x="547" y="1578"/>
                    <a:pt x="565" y="1600"/>
                    <a:pt x="546" y="1597"/>
                  </a:cubicBezTo>
                  <a:cubicBezTo>
                    <a:pt x="529" y="1594"/>
                    <a:pt x="534" y="1573"/>
                    <a:pt x="519" y="1562"/>
                  </a:cubicBezTo>
                  <a:cubicBezTo>
                    <a:pt x="519" y="1562"/>
                    <a:pt x="519" y="1562"/>
                    <a:pt x="519" y="1562"/>
                  </a:cubicBezTo>
                  <a:cubicBezTo>
                    <a:pt x="511" y="1558"/>
                    <a:pt x="509" y="1552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8" y="1546"/>
                    <a:pt x="508" y="1545"/>
                    <a:pt x="508" y="1545"/>
                  </a:cubicBezTo>
                  <a:cubicBezTo>
                    <a:pt x="508" y="1545"/>
                    <a:pt x="508" y="1547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9" y="1549"/>
                    <a:pt x="508" y="1551"/>
                    <a:pt x="508" y="1552"/>
                  </a:cubicBezTo>
                  <a:cubicBezTo>
                    <a:pt x="505" y="1561"/>
                    <a:pt x="521" y="1566"/>
                    <a:pt x="527" y="1573"/>
                  </a:cubicBezTo>
                  <a:cubicBezTo>
                    <a:pt x="533" y="1580"/>
                    <a:pt x="527" y="1590"/>
                    <a:pt x="534" y="1595"/>
                  </a:cubicBezTo>
                  <a:cubicBezTo>
                    <a:pt x="544" y="1604"/>
                    <a:pt x="557" y="1608"/>
                    <a:pt x="567" y="1616"/>
                  </a:cubicBezTo>
                  <a:cubicBezTo>
                    <a:pt x="576" y="1623"/>
                    <a:pt x="570" y="1632"/>
                    <a:pt x="575" y="1640"/>
                  </a:cubicBezTo>
                  <a:cubicBezTo>
                    <a:pt x="576" y="1642"/>
                    <a:pt x="577" y="1650"/>
                    <a:pt x="579" y="1648"/>
                  </a:cubicBezTo>
                  <a:cubicBezTo>
                    <a:pt x="581" y="1647"/>
                    <a:pt x="579" y="1636"/>
                    <a:pt x="579" y="1633"/>
                  </a:cubicBezTo>
                  <a:cubicBezTo>
                    <a:pt x="579" y="1629"/>
                    <a:pt x="585" y="1624"/>
                    <a:pt x="584" y="1621"/>
                  </a:cubicBezTo>
                  <a:close/>
                  <a:moveTo>
                    <a:pt x="585" y="1492"/>
                  </a:moveTo>
                  <a:cubicBezTo>
                    <a:pt x="580" y="1482"/>
                    <a:pt x="583" y="1474"/>
                    <a:pt x="579" y="1464"/>
                  </a:cubicBezTo>
                  <a:cubicBezTo>
                    <a:pt x="579" y="1464"/>
                    <a:pt x="579" y="1464"/>
                    <a:pt x="579" y="1464"/>
                  </a:cubicBezTo>
                  <a:cubicBezTo>
                    <a:pt x="577" y="1461"/>
                    <a:pt x="578" y="1504"/>
                    <a:pt x="589" y="1504"/>
                  </a:cubicBezTo>
                  <a:cubicBezTo>
                    <a:pt x="593" y="1504"/>
                    <a:pt x="586" y="1493"/>
                    <a:pt x="585" y="1492"/>
                  </a:cubicBezTo>
                  <a:close/>
                  <a:moveTo>
                    <a:pt x="38" y="1632"/>
                  </a:moveTo>
                  <a:cubicBezTo>
                    <a:pt x="46" y="1625"/>
                    <a:pt x="17" y="1619"/>
                    <a:pt x="16" y="1619"/>
                  </a:cubicBezTo>
                  <a:cubicBezTo>
                    <a:pt x="16" y="1619"/>
                    <a:pt x="16" y="1619"/>
                    <a:pt x="16" y="1619"/>
                  </a:cubicBezTo>
                  <a:cubicBezTo>
                    <a:pt x="12" y="1618"/>
                    <a:pt x="33" y="1636"/>
                    <a:pt x="38" y="1632"/>
                  </a:cubicBezTo>
                  <a:close/>
                  <a:moveTo>
                    <a:pt x="168" y="1435"/>
                  </a:moveTo>
                  <a:cubicBezTo>
                    <a:pt x="164" y="1435"/>
                    <a:pt x="163" y="1438"/>
                    <a:pt x="161" y="1440"/>
                  </a:cubicBezTo>
                  <a:cubicBezTo>
                    <a:pt x="164" y="1439"/>
                    <a:pt x="167" y="1436"/>
                    <a:pt x="171" y="1435"/>
                  </a:cubicBezTo>
                  <a:cubicBezTo>
                    <a:pt x="170" y="1435"/>
                    <a:pt x="169" y="1435"/>
                    <a:pt x="168" y="1435"/>
                  </a:cubicBezTo>
                  <a:close/>
                  <a:moveTo>
                    <a:pt x="31" y="1620"/>
                  </a:moveTo>
                  <a:cubicBezTo>
                    <a:pt x="34" y="1617"/>
                    <a:pt x="9" y="1598"/>
                    <a:pt x="7" y="1597"/>
                  </a:cubicBezTo>
                  <a:cubicBezTo>
                    <a:pt x="6" y="1597"/>
                    <a:pt x="6" y="1597"/>
                    <a:pt x="6" y="1597"/>
                  </a:cubicBezTo>
                  <a:cubicBezTo>
                    <a:pt x="0" y="1595"/>
                    <a:pt x="24" y="1625"/>
                    <a:pt x="31" y="1620"/>
                  </a:cubicBezTo>
                  <a:close/>
                  <a:moveTo>
                    <a:pt x="20" y="1628"/>
                  </a:moveTo>
                  <a:cubicBezTo>
                    <a:pt x="16" y="1626"/>
                    <a:pt x="22" y="1638"/>
                    <a:pt x="24" y="1635"/>
                  </a:cubicBezTo>
                  <a:cubicBezTo>
                    <a:pt x="26" y="1633"/>
                    <a:pt x="31" y="1653"/>
                    <a:pt x="39" y="1648"/>
                  </a:cubicBezTo>
                  <a:cubicBezTo>
                    <a:pt x="50" y="1641"/>
                    <a:pt x="22" y="1630"/>
                    <a:pt x="20" y="1628"/>
                  </a:cubicBezTo>
                  <a:close/>
                  <a:moveTo>
                    <a:pt x="130" y="1797"/>
                  </a:moveTo>
                  <a:cubicBezTo>
                    <a:pt x="130" y="1797"/>
                    <a:pt x="130" y="1797"/>
                    <a:pt x="130" y="1798"/>
                  </a:cubicBezTo>
                  <a:cubicBezTo>
                    <a:pt x="130" y="1798"/>
                    <a:pt x="130" y="1798"/>
                    <a:pt x="130" y="1798"/>
                  </a:cubicBezTo>
                  <a:cubicBezTo>
                    <a:pt x="130" y="1797"/>
                    <a:pt x="130" y="1797"/>
                    <a:pt x="130" y="1797"/>
                  </a:cubicBezTo>
                  <a:close/>
                  <a:moveTo>
                    <a:pt x="60" y="1703"/>
                  </a:moveTo>
                  <a:cubicBezTo>
                    <a:pt x="61" y="1700"/>
                    <a:pt x="59" y="1695"/>
                    <a:pt x="57" y="1694"/>
                  </a:cubicBezTo>
                  <a:cubicBezTo>
                    <a:pt x="57" y="1694"/>
                    <a:pt x="57" y="1694"/>
                    <a:pt x="57" y="1694"/>
                  </a:cubicBezTo>
                  <a:cubicBezTo>
                    <a:pt x="49" y="1693"/>
                    <a:pt x="56" y="1713"/>
                    <a:pt x="60" y="1703"/>
                  </a:cubicBezTo>
                  <a:close/>
                  <a:moveTo>
                    <a:pt x="57" y="1814"/>
                  </a:moveTo>
                  <a:cubicBezTo>
                    <a:pt x="57" y="1814"/>
                    <a:pt x="57" y="1814"/>
                    <a:pt x="57" y="1814"/>
                  </a:cubicBezTo>
                  <a:cubicBezTo>
                    <a:pt x="56" y="1814"/>
                    <a:pt x="52" y="1830"/>
                    <a:pt x="61" y="1825"/>
                  </a:cubicBezTo>
                  <a:cubicBezTo>
                    <a:pt x="65" y="1823"/>
                    <a:pt x="59" y="1816"/>
                    <a:pt x="57" y="1814"/>
                  </a:cubicBezTo>
                  <a:close/>
                  <a:moveTo>
                    <a:pt x="42" y="1791"/>
                  </a:moveTo>
                  <a:cubicBezTo>
                    <a:pt x="40" y="1789"/>
                    <a:pt x="40" y="1791"/>
                    <a:pt x="40" y="1793"/>
                  </a:cubicBezTo>
                  <a:cubicBezTo>
                    <a:pt x="41" y="1808"/>
                    <a:pt x="40" y="1807"/>
                    <a:pt x="38" y="1826"/>
                  </a:cubicBezTo>
                  <a:cubicBezTo>
                    <a:pt x="38" y="1827"/>
                    <a:pt x="38" y="1828"/>
                    <a:pt x="38" y="1828"/>
                  </a:cubicBezTo>
                  <a:cubicBezTo>
                    <a:pt x="55" y="1835"/>
                    <a:pt x="50" y="1797"/>
                    <a:pt x="42" y="1791"/>
                  </a:cubicBezTo>
                  <a:close/>
                  <a:moveTo>
                    <a:pt x="50" y="1716"/>
                  </a:moveTo>
                  <a:cubicBezTo>
                    <a:pt x="41" y="1730"/>
                    <a:pt x="61" y="1742"/>
                    <a:pt x="62" y="1741"/>
                  </a:cubicBezTo>
                  <a:cubicBezTo>
                    <a:pt x="76" y="1737"/>
                    <a:pt x="64" y="1715"/>
                    <a:pt x="55" y="1711"/>
                  </a:cubicBezTo>
                  <a:cubicBezTo>
                    <a:pt x="55" y="1711"/>
                    <a:pt x="55" y="1711"/>
                    <a:pt x="55" y="1711"/>
                  </a:cubicBezTo>
                  <a:cubicBezTo>
                    <a:pt x="55" y="1709"/>
                    <a:pt x="51" y="1714"/>
                    <a:pt x="50" y="1716"/>
                  </a:cubicBezTo>
                  <a:close/>
                  <a:moveTo>
                    <a:pt x="581" y="991"/>
                  </a:moveTo>
                  <a:cubicBezTo>
                    <a:pt x="582" y="990"/>
                    <a:pt x="582" y="989"/>
                    <a:pt x="582" y="988"/>
                  </a:cubicBezTo>
                  <a:cubicBezTo>
                    <a:pt x="581" y="989"/>
                    <a:pt x="581" y="990"/>
                    <a:pt x="581" y="991"/>
                  </a:cubicBezTo>
                  <a:close/>
                  <a:moveTo>
                    <a:pt x="912" y="635"/>
                  </a:moveTo>
                  <a:cubicBezTo>
                    <a:pt x="913" y="635"/>
                    <a:pt x="913" y="635"/>
                    <a:pt x="914" y="634"/>
                  </a:cubicBezTo>
                  <a:cubicBezTo>
                    <a:pt x="913" y="635"/>
                    <a:pt x="913" y="635"/>
                    <a:pt x="912" y="635"/>
                  </a:cubicBezTo>
                  <a:close/>
                  <a:moveTo>
                    <a:pt x="582" y="988"/>
                  </a:moveTo>
                  <a:cubicBezTo>
                    <a:pt x="582" y="987"/>
                    <a:pt x="583" y="987"/>
                    <a:pt x="583" y="986"/>
                  </a:cubicBezTo>
                  <a:cubicBezTo>
                    <a:pt x="583" y="985"/>
                    <a:pt x="577" y="984"/>
                    <a:pt x="576" y="983"/>
                  </a:cubicBezTo>
                  <a:cubicBezTo>
                    <a:pt x="567" y="969"/>
                    <a:pt x="538" y="997"/>
                    <a:pt x="551" y="992"/>
                  </a:cubicBezTo>
                  <a:cubicBezTo>
                    <a:pt x="553" y="990"/>
                    <a:pt x="556" y="988"/>
                    <a:pt x="558" y="987"/>
                  </a:cubicBezTo>
                  <a:cubicBezTo>
                    <a:pt x="559" y="986"/>
                    <a:pt x="559" y="986"/>
                    <a:pt x="559" y="986"/>
                  </a:cubicBezTo>
                  <a:cubicBezTo>
                    <a:pt x="560" y="985"/>
                    <a:pt x="561" y="985"/>
                    <a:pt x="563" y="986"/>
                  </a:cubicBezTo>
                  <a:cubicBezTo>
                    <a:pt x="569" y="992"/>
                    <a:pt x="577" y="995"/>
                    <a:pt x="581" y="991"/>
                  </a:cubicBezTo>
                  <a:cubicBezTo>
                    <a:pt x="581" y="990"/>
                    <a:pt x="581" y="989"/>
                    <a:pt x="582" y="988"/>
                  </a:cubicBezTo>
                  <a:close/>
                  <a:moveTo>
                    <a:pt x="780" y="729"/>
                  </a:moveTo>
                  <a:cubicBezTo>
                    <a:pt x="781" y="728"/>
                    <a:pt x="783" y="727"/>
                    <a:pt x="784" y="727"/>
                  </a:cubicBezTo>
                  <a:cubicBezTo>
                    <a:pt x="782" y="727"/>
                    <a:pt x="781" y="728"/>
                    <a:pt x="780" y="729"/>
                  </a:cubicBezTo>
                  <a:close/>
                  <a:moveTo>
                    <a:pt x="491" y="1220"/>
                  </a:moveTo>
                  <a:cubicBezTo>
                    <a:pt x="490" y="1220"/>
                    <a:pt x="489" y="1220"/>
                    <a:pt x="488" y="1220"/>
                  </a:cubicBezTo>
                  <a:cubicBezTo>
                    <a:pt x="490" y="1221"/>
                    <a:pt x="491" y="1221"/>
                    <a:pt x="492" y="1222"/>
                  </a:cubicBezTo>
                  <a:cubicBezTo>
                    <a:pt x="492" y="1221"/>
                    <a:pt x="491" y="1220"/>
                    <a:pt x="491" y="1220"/>
                  </a:cubicBezTo>
                  <a:close/>
                  <a:moveTo>
                    <a:pt x="546" y="1064"/>
                  </a:move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lose/>
                  <a:moveTo>
                    <a:pt x="56" y="1708"/>
                  </a:moveTo>
                  <a:cubicBezTo>
                    <a:pt x="56" y="1714"/>
                    <a:pt x="67" y="1713"/>
                    <a:pt x="67" y="1713"/>
                  </a:cubicBezTo>
                  <a:cubicBezTo>
                    <a:pt x="75" y="1727"/>
                    <a:pt x="79" y="1717"/>
                    <a:pt x="83" y="1706"/>
                  </a:cubicBezTo>
                  <a:cubicBezTo>
                    <a:pt x="83" y="1705"/>
                    <a:pt x="83" y="1705"/>
                    <a:pt x="83" y="1705"/>
                  </a:cubicBezTo>
                  <a:cubicBezTo>
                    <a:pt x="84" y="1683"/>
                    <a:pt x="63" y="1706"/>
                    <a:pt x="60" y="1706"/>
                  </a:cubicBezTo>
                  <a:cubicBezTo>
                    <a:pt x="59" y="1706"/>
                    <a:pt x="56" y="1706"/>
                    <a:pt x="56" y="1708"/>
                  </a:cubicBezTo>
                  <a:close/>
                  <a:moveTo>
                    <a:pt x="610" y="982"/>
                  </a:moveTo>
                  <a:cubicBezTo>
                    <a:pt x="609" y="983"/>
                    <a:pt x="606" y="983"/>
                    <a:pt x="603" y="983"/>
                  </a:cubicBezTo>
                  <a:cubicBezTo>
                    <a:pt x="605" y="984"/>
                    <a:pt x="608" y="983"/>
                    <a:pt x="610" y="982"/>
                  </a:cubicBezTo>
                  <a:close/>
                  <a:moveTo>
                    <a:pt x="42" y="1762"/>
                  </a:moveTo>
                  <a:cubicBezTo>
                    <a:pt x="45" y="1755"/>
                    <a:pt x="31" y="1748"/>
                    <a:pt x="43" y="1742"/>
                  </a:cubicBezTo>
                  <a:cubicBezTo>
                    <a:pt x="52" y="1737"/>
                    <a:pt x="48" y="1748"/>
                    <a:pt x="48" y="1751"/>
                  </a:cubicBezTo>
                  <a:cubicBezTo>
                    <a:pt x="48" y="1754"/>
                    <a:pt x="53" y="1750"/>
                    <a:pt x="54" y="1749"/>
                  </a:cubicBezTo>
                  <a:cubicBezTo>
                    <a:pt x="57" y="1747"/>
                    <a:pt x="49" y="1739"/>
                    <a:pt x="48" y="1736"/>
                  </a:cubicBezTo>
                  <a:cubicBezTo>
                    <a:pt x="47" y="1732"/>
                    <a:pt x="40" y="1730"/>
                    <a:pt x="38" y="1725"/>
                  </a:cubicBezTo>
                  <a:cubicBezTo>
                    <a:pt x="38" y="1725"/>
                    <a:pt x="38" y="1725"/>
                    <a:pt x="38" y="1725"/>
                  </a:cubicBezTo>
                  <a:cubicBezTo>
                    <a:pt x="36" y="1724"/>
                    <a:pt x="39" y="1730"/>
                    <a:pt x="37" y="1731"/>
                  </a:cubicBezTo>
                  <a:cubicBezTo>
                    <a:pt x="23" y="1742"/>
                    <a:pt x="44" y="1734"/>
                    <a:pt x="35" y="1750"/>
                  </a:cubicBezTo>
                  <a:cubicBezTo>
                    <a:pt x="33" y="1754"/>
                    <a:pt x="35" y="1763"/>
                    <a:pt x="37" y="1766"/>
                  </a:cubicBezTo>
                  <a:cubicBezTo>
                    <a:pt x="38" y="1767"/>
                    <a:pt x="42" y="1763"/>
                    <a:pt x="42" y="1762"/>
                  </a:cubicBezTo>
                  <a:close/>
                  <a:moveTo>
                    <a:pt x="346" y="1178"/>
                  </a:moveTo>
                  <a:cubicBezTo>
                    <a:pt x="345" y="1178"/>
                    <a:pt x="340" y="1177"/>
                    <a:pt x="340" y="1180"/>
                  </a:cubicBezTo>
                  <a:cubicBezTo>
                    <a:pt x="340" y="1182"/>
                    <a:pt x="356" y="1183"/>
                    <a:pt x="356" y="1185"/>
                  </a:cubicBezTo>
                  <a:cubicBezTo>
                    <a:pt x="356" y="1187"/>
                    <a:pt x="350" y="1185"/>
                    <a:pt x="350" y="1185"/>
                  </a:cubicBezTo>
                  <a:cubicBezTo>
                    <a:pt x="339" y="1183"/>
                    <a:pt x="316" y="1187"/>
                    <a:pt x="317" y="1202"/>
                  </a:cubicBezTo>
                  <a:cubicBezTo>
                    <a:pt x="317" y="1210"/>
                    <a:pt x="354" y="1199"/>
                    <a:pt x="363" y="1197"/>
                  </a:cubicBezTo>
                  <a:cubicBezTo>
                    <a:pt x="373" y="1196"/>
                    <a:pt x="386" y="1195"/>
                    <a:pt x="393" y="1187"/>
                  </a:cubicBezTo>
                  <a:cubicBezTo>
                    <a:pt x="394" y="1187"/>
                    <a:pt x="394" y="1187"/>
                    <a:pt x="394" y="1187"/>
                  </a:cubicBezTo>
                  <a:cubicBezTo>
                    <a:pt x="399" y="1185"/>
                    <a:pt x="392" y="1186"/>
                    <a:pt x="392" y="1183"/>
                  </a:cubicBezTo>
                  <a:cubicBezTo>
                    <a:pt x="391" y="1175"/>
                    <a:pt x="381" y="1183"/>
                    <a:pt x="379" y="1182"/>
                  </a:cubicBezTo>
                  <a:cubicBezTo>
                    <a:pt x="374" y="1180"/>
                    <a:pt x="384" y="1168"/>
                    <a:pt x="373" y="1173"/>
                  </a:cubicBezTo>
                  <a:cubicBezTo>
                    <a:pt x="372" y="1173"/>
                    <a:pt x="370" y="1173"/>
                    <a:pt x="369" y="1174"/>
                  </a:cubicBezTo>
                  <a:cubicBezTo>
                    <a:pt x="369" y="1174"/>
                    <a:pt x="355" y="1180"/>
                    <a:pt x="346" y="1178"/>
                  </a:cubicBezTo>
                  <a:close/>
                  <a:moveTo>
                    <a:pt x="552" y="974"/>
                  </a:moveTo>
                  <a:cubicBezTo>
                    <a:pt x="552" y="972"/>
                    <a:pt x="548" y="973"/>
                    <a:pt x="547" y="972"/>
                  </a:cubicBezTo>
                  <a:cubicBezTo>
                    <a:pt x="537" y="971"/>
                    <a:pt x="544" y="982"/>
                    <a:pt x="552" y="975"/>
                  </a:cubicBezTo>
                  <a:cubicBezTo>
                    <a:pt x="552" y="975"/>
                    <a:pt x="552" y="975"/>
                    <a:pt x="552" y="975"/>
                  </a:cubicBezTo>
                  <a:cubicBezTo>
                    <a:pt x="552" y="974"/>
                    <a:pt x="552" y="974"/>
                    <a:pt x="552" y="974"/>
                  </a:cubicBezTo>
                  <a:close/>
                  <a:moveTo>
                    <a:pt x="706" y="802"/>
                  </a:move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lose/>
                  <a:moveTo>
                    <a:pt x="718" y="785"/>
                  </a:moveTo>
                  <a:cubicBezTo>
                    <a:pt x="722" y="785"/>
                    <a:pt x="726" y="779"/>
                    <a:pt x="726" y="776"/>
                  </a:cubicBezTo>
                  <a:cubicBezTo>
                    <a:pt x="726" y="776"/>
                    <a:pt x="726" y="776"/>
                    <a:pt x="726" y="776"/>
                  </a:cubicBezTo>
                  <a:cubicBezTo>
                    <a:pt x="723" y="768"/>
                    <a:pt x="703" y="783"/>
                    <a:pt x="718" y="785"/>
                  </a:cubicBezTo>
                  <a:close/>
                  <a:moveTo>
                    <a:pt x="558" y="981"/>
                  </a:moveTo>
                  <a:cubicBezTo>
                    <a:pt x="559" y="980"/>
                    <a:pt x="559" y="980"/>
                    <a:pt x="559" y="980"/>
                  </a:cubicBezTo>
                  <a:cubicBezTo>
                    <a:pt x="576" y="966"/>
                    <a:pt x="558" y="974"/>
                    <a:pt x="546" y="981"/>
                  </a:cubicBezTo>
                  <a:cubicBezTo>
                    <a:pt x="524" y="994"/>
                    <a:pt x="541" y="990"/>
                    <a:pt x="558" y="981"/>
                  </a:cubicBezTo>
                  <a:close/>
                  <a:moveTo>
                    <a:pt x="1452" y="185"/>
                  </a:moveTo>
                  <a:cubicBezTo>
                    <a:pt x="1453" y="186"/>
                    <a:pt x="1453" y="186"/>
                    <a:pt x="1453" y="186"/>
                  </a:cubicBezTo>
                  <a:cubicBezTo>
                    <a:pt x="1473" y="188"/>
                    <a:pt x="1448" y="173"/>
                    <a:pt x="1452" y="185"/>
                  </a:cubicBezTo>
                  <a:close/>
                  <a:moveTo>
                    <a:pt x="1447" y="177"/>
                  </a:moveTo>
                  <a:cubicBezTo>
                    <a:pt x="1467" y="172"/>
                    <a:pt x="1421" y="161"/>
                    <a:pt x="1444" y="177"/>
                  </a:cubicBezTo>
                  <a:lnTo>
                    <a:pt x="1447" y="177"/>
                  </a:lnTo>
                  <a:close/>
                  <a:moveTo>
                    <a:pt x="1434" y="200"/>
                  </a:moveTo>
                  <a:cubicBezTo>
                    <a:pt x="1440" y="204"/>
                    <a:pt x="1469" y="186"/>
                    <a:pt x="1451" y="191"/>
                  </a:cubicBezTo>
                  <a:cubicBezTo>
                    <a:pt x="1450" y="192"/>
                    <a:pt x="1450" y="192"/>
                    <a:pt x="1450" y="192"/>
                  </a:cubicBezTo>
                  <a:cubicBezTo>
                    <a:pt x="1446" y="193"/>
                    <a:pt x="1443" y="187"/>
                    <a:pt x="1440" y="185"/>
                  </a:cubicBezTo>
                  <a:cubicBezTo>
                    <a:pt x="1429" y="180"/>
                    <a:pt x="1426" y="196"/>
                    <a:pt x="1434" y="200"/>
                  </a:cubicBezTo>
                  <a:close/>
                  <a:moveTo>
                    <a:pt x="647" y="950"/>
                  </a:moveTo>
                  <a:cubicBezTo>
                    <a:pt x="651" y="941"/>
                    <a:pt x="636" y="952"/>
                    <a:pt x="634" y="955"/>
                  </a:cubicBezTo>
                  <a:cubicBezTo>
                    <a:pt x="632" y="959"/>
                    <a:pt x="629" y="960"/>
                    <a:pt x="626" y="963"/>
                  </a:cubicBezTo>
                  <a:cubicBezTo>
                    <a:pt x="620" y="972"/>
                    <a:pt x="642" y="959"/>
                    <a:pt x="645" y="956"/>
                  </a:cubicBezTo>
                  <a:cubicBezTo>
                    <a:pt x="650" y="952"/>
                    <a:pt x="638" y="957"/>
                    <a:pt x="639" y="955"/>
                  </a:cubicBezTo>
                  <a:cubicBezTo>
                    <a:pt x="640" y="951"/>
                    <a:pt x="646" y="953"/>
                    <a:pt x="647" y="950"/>
                  </a:cubicBezTo>
                  <a:close/>
                  <a:moveTo>
                    <a:pt x="665" y="898"/>
                  </a:moveTo>
                  <a:cubicBezTo>
                    <a:pt x="665" y="897"/>
                    <a:pt x="665" y="897"/>
                    <a:pt x="665" y="897"/>
                  </a:cubicBezTo>
                  <a:cubicBezTo>
                    <a:pt x="656" y="896"/>
                    <a:pt x="657" y="921"/>
                    <a:pt x="665" y="898"/>
                  </a:cubicBezTo>
                  <a:close/>
                  <a:moveTo>
                    <a:pt x="702" y="799"/>
                  </a:moveTo>
                  <a:cubicBezTo>
                    <a:pt x="707" y="797"/>
                    <a:pt x="699" y="798"/>
                    <a:pt x="698" y="798"/>
                  </a:cubicBezTo>
                  <a:cubicBezTo>
                    <a:pt x="694" y="797"/>
                    <a:pt x="703" y="795"/>
                    <a:pt x="703" y="794"/>
                  </a:cubicBezTo>
                  <a:cubicBezTo>
                    <a:pt x="703" y="792"/>
                    <a:pt x="701" y="784"/>
                    <a:pt x="698" y="784"/>
                  </a:cubicBezTo>
                  <a:cubicBezTo>
                    <a:pt x="697" y="784"/>
                    <a:pt x="697" y="786"/>
                    <a:pt x="697" y="786"/>
                  </a:cubicBezTo>
                  <a:cubicBezTo>
                    <a:pt x="696" y="788"/>
                    <a:pt x="694" y="788"/>
                    <a:pt x="693" y="788"/>
                  </a:cubicBezTo>
                  <a:cubicBezTo>
                    <a:pt x="676" y="789"/>
                    <a:pt x="700" y="794"/>
                    <a:pt x="700" y="794"/>
                  </a:cubicBezTo>
                  <a:cubicBezTo>
                    <a:pt x="699" y="795"/>
                    <a:pt x="696" y="795"/>
                    <a:pt x="696" y="795"/>
                  </a:cubicBezTo>
                  <a:cubicBezTo>
                    <a:pt x="689" y="799"/>
                    <a:pt x="674" y="812"/>
                    <a:pt x="674" y="815"/>
                  </a:cubicBezTo>
                  <a:cubicBezTo>
                    <a:pt x="674" y="816"/>
                    <a:pt x="703" y="806"/>
                    <a:pt x="706" y="802"/>
                  </a:cubicBezTo>
                  <a:cubicBezTo>
                    <a:pt x="705" y="803"/>
                    <a:pt x="701" y="800"/>
                    <a:pt x="702" y="799"/>
                  </a:cubicBezTo>
                  <a:close/>
                  <a:moveTo>
                    <a:pt x="607" y="962"/>
                  </a:moveTo>
                  <a:cubicBezTo>
                    <a:pt x="612" y="965"/>
                    <a:pt x="618" y="959"/>
                    <a:pt x="624" y="956"/>
                  </a:cubicBezTo>
                  <a:cubicBezTo>
                    <a:pt x="624" y="956"/>
                    <a:pt x="624" y="956"/>
                    <a:pt x="624" y="956"/>
                  </a:cubicBezTo>
                  <a:cubicBezTo>
                    <a:pt x="640" y="947"/>
                    <a:pt x="597" y="958"/>
                    <a:pt x="607" y="962"/>
                  </a:cubicBezTo>
                  <a:close/>
                  <a:moveTo>
                    <a:pt x="689" y="912"/>
                  </a:moveTo>
                  <a:cubicBezTo>
                    <a:pt x="695" y="909"/>
                    <a:pt x="677" y="880"/>
                    <a:pt x="671" y="882"/>
                  </a:cubicBezTo>
                  <a:cubicBezTo>
                    <a:pt x="667" y="883"/>
                    <a:pt x="670" y="889"/>
                    <a:pt x="670" y="889"/>
                  </a:cubicBezTo>
                  <a:cubicBezTo>
                    <a:pt x="668" y="907"/>
                    <a:pt x="671" y="890"/>
                    <a:pt x="676" y="898"/>
                  </a:cubicBezTo>
                  <a:cubicBezTo>
                    <a:pt x="677" y="899"/>
                    <a:pt x="677" y="899"/>
                    <a:pt x="677" y="899"/>
                  </a:cubicBezTo>
                  <a:cubicBezTo>
                    <a:pt x="677" y="900"/>
                    <a:pt x="665" y="906"/>
                    <a:pt x="663" y="909"/>
                  </a:cubicBezTo>
                  <a:cubicBezTo>
                    <a:pt x="661" y="913"/>
                    <a:pt x="658" y="932"/>
                    <a:pt x="655" y="935"/>
                  </a:cubicBezTo>
                  <a:cubicBezTo>
                    <a:pt x="654" y="935"/>
                    <a:pt x="652" y="937"/>
                    <a:pt x="654" y="938"/>
                  </a:cubicBezTo>
                  <a:cubicBezTo>
                    <a:pt x="654" y="938"/>
                    <a:pt x="654" y="938"/>
                    <a:pt x="655" y="938"/>
                  </a:cubicBezTo>
                  <a:cubicBezTo>
                    <a:pt x="670" y="933"/>
                    <a:pt x="663" y="926"/>
                    <a:pt x="666" y="921"/>
                  </a:cubicBezTo>
                  <a:cubicBezTo>
                    <a:pt x="670" y="914"/>
                    <a:pt x="681" y="917"/>
                    <a:pt x="688" y="914"/>
                  </a:cubicBezTo>
                  <a:cubicBezTo>
                    <a:pt x="688" y="914"/>
                    <a:pt x="688" y="914"/>
                    <a:pt x="688" y="914"/>
                  </a:cubicBezTo>
                  <a:cubicBezTo>
                    <a:pt x="688" y="914"/>
                    <a:pt x="688" y="913"/>
                    <a:pt x="689" y="912"/>
                  </a:cubicBezTo>
                  <a:close/>
                  <a:moveTo>
                    <a:pt x="660" y="941"/>
                  </a:moveTo>
                  <a:cubicBezTo>
                    <a:pt x="659" y="941"/>
                    <a:pt x="658" y="941"/>
                    <a:pt x="657" y="942"/>
                  </a:cubicBezTo>
                  <a:cubicBezTo>
                    <a:pt x="655" y="944"/>
                    <a:pt x="661" y="948"/>
                    <a:pt x="659" y="951"/>
                  </a:cubicBezTo>
                  <a:cubicBezTo>
                    <a:pt x="657" y="954"/>
                    <a:pt x="647" y="955"/>
                    <a:pt x="646" y="958"/>
                  </a:cubicBezTo>
                  <a:cubicBezTo>
                    <a:pt x="645" y="964"/>
                    <a:pt x="672" y="958"/>
                    <a:pt x="675" y="956"/>
                  </a:cubicBezTo>
                  <a:cubicBezTo>
                    <a:pt x="676" y="955"/>
                    <a:pt x="676" y="955"/>
                    <a:pt x="676" y="955"/>
                  </a:cubicBezTo>
                  <a:cubicBezTo>
                    <a:pt x="678" y="950"/>
                    <a:pt x="670" y="953"/>
                    <a:pt x="668" y="952"/>
                  </a:cubicBezTo>
                  <a:cubicBezTo>
                    <a:pt x="667" y="952"/>
                    <a:pt x="672" y="947"/>
                    <a:pt x="672" y="947"/>
                  </a:cubicBezTo>
                  <a:cubicBezTo>
                    <a:pt x="673" y="939"/>
                    <a:pt x="663" y="939"/>
                    <a:pt x="660" y="941"/>
                  </a:cubicBezTo>
                  <a:close/>
                  <a:moveTo>
                    <a:pt x="648" y="864"/>
                  </a:moveTo>
                  <a:cubicBezTo>
                    <a:pt x="648" y="863"/>
                    <a:pt x="648" y="863"/>
                    <a:pt x="648" y="863"/>
                  </a:cubicBezTo>
                  <a:cubicBezTo>
                    <a:pt x="644" y="864"/>
                    <a:pt x="620" y="865"/>
                    <a:pt x="627" y="877"/>
                  </a:cubicBezTo>
                  <a:cubicBezTo>
                    <a:pt x="631" y="885"/>
                    <a:pt x="653" y="875"/>
                    <a:pt x="648" y="864"/>
                  </a:cubicBezTo>
                  <a:close/>
                  <a:moveTo>
                    <a:pt x="1884" y="83"/>
                  </a:moveTo>
                  <a:cubicBezTo>
                    <a:pt x="1885" y="83"/>
                    <a:pt x="1885" y="83"/>
                    <a:pt x="1885" y="83"/>
                  </a:cubicBezTo>
                  <a:cubicBezTo>
                    <a:pt x="1893" y="84"/>
                    <a:pt x="1891" y="75"/>
                    <a:pt x="1890" y="76"/>
                  </a:cubicBezTo>
                  <a:cubicBezTo>
                    <a:pt x="1887" y="76"/>
                    <a:pt x="1880" y="80"/>
                    <a:pt x="1884" y="83"/>
                  </a:cubicBezTo>
                  <a:close/>
                  <a:moveTo>
                    <a:pt x="715" y="558"/>
                  </a:moveTo>
                  <a:cubicBezTo>
                    <a:pt x="715" y="558"/>
                    <a:pt x="715" y="558"/>
                    <a:pt x="715" y="558"/>
                  </a:cubicBezTo>
                  <a:cubicBezTo>
                    <a:pt x="715" y="558"/>
                    <a:pt x="697" y="561"/>
                    <a:pt x="703" y="566"/>
                  </a:cubicBezTo>
                  <a:cubicBezTo>
                    <a:pt x="704" y="567"/>
                    <a:pt x="716" y="561"/>
                    <a:pt x="715" y="558"/>
                  </a:cubicBezTo>
                  <a:close/>
                  <a:moveTo>
                    <a:pt x="281" y="1249"/>
                  </a:moveTo>
                  <a:cubicBezTo>
                    <a:pt x="280" y="1248"/>
                    <a:pt x="280" y="1248"/>
                    <a:pt x="280" y="1248"/>
                  </a:cubicBezTo>
                  <a:cubicBezTo>
                    <a:pt x="265" y="1246"/>
                    <a:pt x="277" y="1260"/>
                    <a:pt x="281" y="1249"/>
                  </a:cubicBezTo>
                  <a:close/>
                  <a:moveTo>
                    <a:pt x="284" y="1257"/>
                  </a:moveTo>
                  <a:cubicBezTo>
                    <a:pt x="284" y="1257"/>
                    <a:pt x="284" y="1257"/>
                    <a:pt x="284" y="1257"/>
                  </a:cubicBezTo>
                  <a:cubicBezTo>
                    <a:pt x="280" y="1251"/>
                    <a:pt x="265" y="1257"/>
                    <a:pt x="263" y="1261"/>
                  </a:cubicBezTo>
                  <a:cubicBezTo>
                    <a:pt x="262" y="1263"/>
                    <a:pt x="282" y="1270"/>
                    <a:pt x="284" y="1257"/>
                  </a:cubicBezTo>
                  <a:close/>
                  <a:moveTo>
                    <a:pt x="308" y="1212"/>
                  </a:moveTo>
                  <a:cubicBezTo>
                    <a:pt x="308" y="1211"/>
                    <a:pt x="308" y="1211"/>
                    <a:pt x="308" y="1211"/>
                  </a:cubicBezTo>
                  <a:cubicBezTo>
                    <a:pt x="303" y="1190"/>
                    <a:pt x="287" y="1209"/>
                    <a:pt x="280" y="1205"/>
                  </a:cubicBezTo>
                  <a:cubicBezTo>
                    <a:pt x="279" y="1205"/>
                    <a:pt x="271" y="1208"/>
                    <a:pt x="272" y="1209"/>
                  </a:cubicBezTo>
                  <a:cubicBezTo>
                    <a:pt x="277" y="1218"/>
                    <a:pt x="299" y="1228"/>
                    <a:pt x="308" y="1212"/>
                  </a:cubicBezTo>
                  <a:close/>
                  <a:moveTo>
                    <a:pt x="298" y="1234"/>
                  </a:moveTo>
                  <a:cubicBezTo>
                    <a:pt x="280" y="1237"/>
                    <a:pt x="287" y="1252"/>
                    <a:pt x="305" y="1247"/>
                  </a:cubicBezTo>
                  <a:cubicBezTo>
                    <a:pt x="306" y="1247"/>
                    <a:pt x="306" y="1247"/>
                    <a:pt x="306" y="1247"/>
                  </a:cubicBezTo>
                  <a:cubicBezTo>
                    <a:pt x="310" y="1246"/>
                    <a:pt x="305" y="1233"/>
                    <a:pt x="298" y="1234"/>
                  </a:cubicBezTo>
                  <a:close/>
                  <a:moveTo>
                    <a:pt x="266" y="1269"/>
                  </a:moveTo>
                  <a:cubicBezTo>
                    <a:pt x="266" y="1268"/>
                    <a:pt x="266" y="1268"/>
                    <a:pt x="266" y="1268"/>
                  </a:cubicBezTo>
                  <a:cubicBezTo>
                    <a:pt x="263" y="1264"/>
                    <a:pt x="262" y="1254"/>
                    <a:pt x="260" y="1252"/>
                  </a:cubicBezTo>
                  <a:cubicBezTo>
                    <a:pt x="254" y="1247"/>
                    <a:pt x="256" y="1265"/>
                    <a:pt x="253" y="1266"/>
                  </a:cubicBezTo>
                  <a:cubicBezTo>
                    <a:pt x="250" y="1267"/>
                    <a:pt x="245" y="1259"/>
                    <a:pt x="243" y="1259"/>
                  </a:cubicBezTo>
                  <a:cubicBezTo>
                    <a:pt x="243" y="1260"/>
                    <a:pt x="235" y="1268"/>
                    <a:pt x="235" y="1270"/>
                  </a:cubicBezTo>
                  <a:cubicBezTo>
                    <a:pt x="237" y="1283"/>
                    <a:pt x="260" y="1273"/>
                    <a:pt x="266" y="1269"/>
                  </a:cubicBezTo>
                  <a:close/>
                  <a:moveTo>
                    <a:pt x="119" y="1331"/>
                  </a:moveTo>
                  <a:cubicBezTo>
                    <a:pt x="118" y="1332"/>
                    <a:pt x="113" y="1335"/>
                    <a:pt x="113" y="1337"/>
                  </a:cubicBezTo>
                  <a:cubicBezTo>
                    <a:pt x="114" y="1338"/>
                    <a:pt x="114" y="1338"/>
                    <a:pt x="114" y="1338"/>
                  </a:cubicBezTo>
                  <a:cubicBezTo>
                    <a:pt x="120" y="1345"/>
                    <a:pt x="125" y="1329"/>
                    <a:pt x="119" y="1331"/>
                  </a:cubicBezTo>
                  <a:close/>
                  <a:moveTo>
                    <a:pt x="308" y="1239"/>
                  </a:moveTo>
                  <a:cubicBezTo>
                    <a:pt x="311" y="1244"/>
                    <a:pt x="309" y="1247"/>
                    <a:pt x="318" y="1245"/>
                  </a:cubicBezTo>
                  <a:cubicBezTo>
                    <a:pt x="318" y="1245"/>
                    <a:pt x="318" y="1245"/>
                    <a:pt x="318" y="1245"/>
                  </a:cubicBezTo>
                  <a:cubicBezTo>
                    <a:pt x="325" y="1244"/>
                    <a:pt x="303" y="1229"/>
                    <a:pt x="308" y="1239"/>
                  </a:cubicBezTo>
                  <a:close/>
                  <a:moveTo>
                    <a:pt x="194" y="1314"/>
                  </a:moveTo>
                  <a:cubicBezTo>
                    <a:pt x="194" y="1314"/>
                    <a:pt x="194" y="1314"/>
                    <a:pt x="194" y="1314"/>
                  </a:cubicBezTo>
                  <a:cubicBezTo>
                    <a:pt x="199" y="1304"/>
                    <a:pt x="166" y="1306"/>
                    <a:pt x="171" y="1317"/>
                  </a:cubicBezTo>
                  <a:cubicBezTo>
                    <a:pt x="173" y="1322"/>
                    <a:pt x="189" y="1316"/>
                    <a:pt x="194" y="1314"/>
                  </a:cubicBezTo>
                  <a:close/>
                  <a:moveTo>
                    <a:pt x="197" y="1293"/>
                  </a:moveTo>
                  <a:cubicBezTo>
                    <a:pt x="194" y="1286"/>
                    <a:pt x="181" y="1295"/>
                    <a:pt x="181" y="1297"/>
                  </a:cubicBezTo>
                  <a:cubicBezTo>
                    <a:pt x="181" y="1308"/>
                    <a:pt x="197" y="1294"/>
                    <a:pt x="197" y="1293"/>
                  </a:cubicBezTo>
                  <a:close/>
                  <a:moveTo>
                    <a:pt x="197" y="1293"/>
                  </a:moveTo>
                  <a:cubicBezTo>
                    <a:pt x="197" y="1293"/>
                    <a:pt x="197" y="1293"/>
                    <a:pt x="197" y="1293"/>
                  </a:cubicBezTo>
                  <a:cubicBezTo>
                    <a:pt x="197" y="1293"/>
                    <a:pt x="197" y="1293"/>
                    <a:pt x="197" y="1293"/>
                  </a:cubicBezTo>
                  <a:close/>
                  <a:moveTo>
                    <a:pt x="342" y="1243"/>
                  </a:moveTo>
                  <a:cubicBezTo>
                    <a:pt x="342" y="1242"/>
                    <a:pt x="342" y="1242"/>
                    <a:pt x="342" y="1242"/>
                  </a:cubicBezTo>
                  <a:cubicBezTo>
                    <a:pt x="344" y="1241"/>
                    <a:pt x="342" y="1239"/>
                    <a:pt x="342" y="1238"/>
                  </a:cubicBezTo>
                  <a:cubicBezTo>
                    <a:pt x="340" y="1235"/>
                    <a:pt x="336" y="1236"/>
                    <a:pt x="334" y="1233"/>
                  </a:cubicBezTo>
                  <a:cubicBezTo>
                    <a:pt x="327" y="1218"/>
                    <a:pt x="330" y="1236"/>
                    <a:pt x="326" y="1236"/>
                  </a:cubicBezTo>
                  <a:cubicBezTo>
                    <a:pt x="325" y="1237"/>
                    <a:pt x="325" y="1230"/>
                    <a:pt x="324" y="1230"/>
                  </a:cubicBezTo>
                  <a:cubicBezTo>
                    <a:pt x="323" y="1230"/>
                    <a:pt x="316" y="1229"/>
                    <a:pt x="316" y="1229"/>
                  </a:cubicBezTo>
                  <a:cubicBezTo>
                    <a:pt x="308" y="1239"/>
                    <a:pt x="333" y="1248"/>
                    <a:pt x="342" y="1243"/>
                  </a:cubicBezTo>
                  <a:close/>
                  <a:moveTo>
                    <a:pt x="1039" y="428"/>
                  </a:moveTo>
                  <a:cubicBezTo>
                    <a:pt x="1021" y="415"/>
                    <a:pt x="1013" y="445"/>
                    <a:pt x="1015" y="448"/>
                  </a:cubicBezTo>
                  <a:cubicBezTo>
                    <a:pt x="1015" y="448"/>
                    <a:pt x="1015" y="448"/>
                    <a:pt x="1015" y="448"/>
                  </a:cubicBezTo>
                  <a:cubicBezTo>
                    <a:pt x="1021" y="452"/>
                    <a:pt x="1055" y="439"/>
                    <a:pt x="1039" y="428"/>
                  </a:cubicBezTo>
                  <a:close/>
                  <a:moveTo>
                    <a:pt x="1917" y="22"/>
                  </a:moveTo>
                  <a:cubicBezTo>
                    <a:pt x="1914" y="16"/>
                    <a:pt x="1895" y="38"/>
                    <a:pt x="1891" y="27"/>
                  </a:cubicBezTo>
                  <a:cubicBezTo>
                    <a:pt x="1891" y="26"/>
                    <a:pt x="1900" y="24"/>
                    <a:pt x="1890" y="22"/>
                  </a:cubicBezTo>
                  <a:cubicBezTo>
                    <a:pt x="1885" y="21"/>
                    <a:pt x="1905" y="18"/>
                    <a:pt x="1901" y="11"/>
                  </a:cubicBezTo>
                  <a:cubicBezTo>
                    <a:pt x="1899" y="7"/>
                    <a:pt x="1883" y="13"/>
                    <a:pt x="1880" y="13"/>
                  </a:cubicBezTo>
                  <a:cubicBezTo>
                    <a:pt x="1877" y="12"/>
                    <a:pt x="1879" y="10"/>
                    <a:pt x="1879" y="9"/>
                  </a:cubicBezTo>
                  <a:cubicBezTo>
                    <a:pt x="1885" y="0"/>
                    <a:pt x="1873" y="7"/>
                    <a:pt x="1870" y="6"/>
                  </a:cubicBezTo>
                  <a:cubicBezTo>
                    <a:pt x="1867" y="6"/>
                    <a:pt x="1869" y="1"/>
                    <a:pt x="1867" y="1"/>
                  </a:cubicBezTo>
                  <a:cubicBezTo>
                    <a:pt x="1843" y="10"/>
                    <a:pt x="1879" y="8"/>
                    <a:pt x="1873" y="20"/>
                  </a:cubicBezTo>
                  <a:cubicBezTo>
                    <a:pt x="1872" y="22"/>
                    <a:pt x="1870" y="18"/>
                    <a:pt x="1868" y="17"/>
                  </a:cubicBezTo>
                  <a:cubicBezTo>
                    <a:pt x="1859" y="12"/>
                    <a:pt x="1849" y="17"/>
                    <a:pt x="1847" y="16"/>
                  </a:cubicBezTo>
                  <a:cubicBezTo>
                    <a:pt x="1846" y="16"/>
                    <a:pt x="1837" y="13"/>
                    <a:pt x="1838" y="16"/>
                  </a:cubicBezTo>
                  <a:cubicBezTo>
                    <a:pt x="1838" y="17"/>
                    <a:pt x="1839" y="18"/>
                    <a:pt x="1839" y="18"/>
                  </a:cubicBezTo>
                  <a:cubicBezTo>
                    <a:pt x="1841" y="19"/>
                    <a:pt x="1836" y="20"/>
                    <a:pt x="1835" y="20"/>
                  </a:cubicBezTo>
                  <a:cubicBezTo>
                    <a:pt x="1825" y="27"/>
                    <a:pt x="1857" y="24"/>
                    <a:pt x="1858" y="26"/>
                  </a:cubicBezTo>
                  <a:cubicBezTo>
                    <a:pt x="1859" y="27"/>
                    <a:pt x="1858" y="27"/>
                    <a:pt x="1858" y="28"/>
                  </a:cubicBezTo>
                  <a:cubicBezTo>
                    <a:pt x="1856" y="28"/>
                    <a:pt x="1846" y="29"/>
                    <a:pt x="1846" y="31"/>
                  </a:cubicBezTo>
                  <a:cubicBezTo>
                    <a:pt x="1846" y="32"/>
                    <a:pt x="1851" y="34"/>
                    <a:pt x="1851" y="35"/>
                  </a:cubicBezTo>
                  <a:cubicBezTo>
                    <a:pt x="1853" y="37"/>
                    <a:pt x="1855" y="40"/>
                    <a:pt x="1858" y="41"/>
                  </a:cubicBezTo>
                  <a:cubicBezTo>
                    <a:pt x="1859" y="41"/>
                    <a:pt x="1859" y="41"/>
                    <a:pt x="1859" y="41"/>
                  </a:cubicBezTo>
                  <a:cubicBezTo>
                    <a:pt x="1877" y="42"/>
                    <a:pt x="1870" y="32"/>
                    <a:pt x="1889" y="34"/>
                  </a:cubicBezTo>
                  <a:cubicBezTo>
                    <a:pt x="1891" y="35"/>
                    <a:pt x="1922" y="30"/>
                    <a:pt x="1917" y="22"/>
                  </a:cubicBezTo>
                  <a:close/>
                  <a:moveTo>
                    <a:pt x="330" y="1220"/>
                  </a:moveTo>
                  <a:cubicBezTo>
                    <a:pt x="331" y="1222"/>
                    <a:pt x="350" y="1222"/>
                    <a:pt x="352" y="1218"/>
                  </a:cubicBezTo>
                  <a:cubicBezTo>
                    <a:pt x="352" y="1218"/>
                    <a:pt x="352" y="1218"/>
                    <a:pt x="352" y="1218"/>
                  </a:cubicBezTo>
                  <a:cubicBezTo>
                    <a:pt x="354" y="1210"/>
                    <a:pt x="327" y="1211"/>
                    <a:pt x="330" y="1220"/>
                  </a:cubicBezTo>
                  <a:close/>
                  <a:moveTo>
                    <a:pt x="331" y="1167"/>
                  </a:moveTo>
                  <a:cubicBezTo>
                    <a:pt x="344" y="1168"/>
                    <a:pt x="361" y="1170"/>
                    <a:pt x="365" y="1162"/>
                  </a:cubicBezTo>
                  <a:cubicBezTo>
                    <a:pt x="365" y="1162"/>
                    <a:pt x="365" y="1162"/>
                    <a:pt x="365" y="1162"/>
                  </a:cubicBezTo>
                  <a:cubicBezTo>
                    <a:pt x="366" y="1157"/>
                    <a:pt x="367" y="1148"/>
                    <a:pt x="363" y="1148"/>
                  </a:cubicBezTo>
                  <a:cubicBezTo>
                    <a:pt x="357" y="1148"/>
                    <a:pt x="358" y="1155"/>
                    <a:pt x="355" y="1156"/>
                  </a:cubicBezTo>
                  <a:cubicBezTo>
                    <a:pt x="350" y="1157"/>
                    <a:pt x="316" y="1167"/>
                    <a:pt x="316" y="1168"/>
                  </a:cubicBezTo>
                  <a:cubicBezTo>
                    <a:pt x="316" y="1174"/>
                    <a:pt x="329" y="1167"/>
                    <a:pt x="331" y="1167"/>
                  </a:cubicBezTo>
                  <a:close/>
                  <a:moveTo>
                    <a:pt x="869" y="394"/>
                  </a:moveTo>
                  <a:cubicBezTo>
                    <a:pt x="864" y="394"/>
                    <a:pt x="857" y="400"/>
                    <a:pt x="861" y="405"/>
                  </a:cubicBezTo>
                  <a:cubicBezTo>
                    <a:pt x="862" y="407"/>
                    <a:pt x="877" y="421"/>
                    <a:pt x="886" y="403"/>
                  </a:cubicBezTo>
                  <a:cubicBezTo>
                    <a:pt x="887" y="401"/>
                    <a:pt x="885" y="395"/>
                    <a:pt x="887" y="397"/>
                  </a:cubicBezTo>
                  <a:cubicBezTo>
                    <a:pt x="895" y="402"/>
                    <a:pt x="912" y="403"/>
                    <a:pt x="920" y="393"/>
                  </a:cubicBezTo>
                  <a:cubicBezTo>
                    <a:pt x="924" y="389"/>
                    <a:pt x="911" y="387"/>
                    <a:pt x="919" y="388"/>
                  </a:cubicBezTo>
                  <a:cubicBezTo>
                    <a:pt x="925" y="389"/>
                    <a:pt x="932" y="391"/>
                    <a:pt x="930" y="398"/>
                  </a:cubicBezTo>
                  <a:cubicBezTo>
                    <a:pt x="929" y="405"/>
                    <a:pt x="899" y="402"/>
                    <a:pt x="899" y="411"/>
                  </a:cubicBezTo>
                  <a:cubicBezTo>
                    <a:pt x="898" y="411"/>
                    <a:pt x="898" y="411"/>
                    <a:pt x="898" y="411"/>
                  </a:cubicBezTo>
                  <a:cubicBezTo>
                    <a:pt x="899" y="424"/>
                    <a:pt x="947" y="414"/>
                    <a:pt x="950" y="401"/>
                  </a:cubicBezTo>
                  <a:cubicBezTo>
                    <a:pt x="952" y="391"/>
                    <a:pt x="940" y="391"/>
                    <a:pt x="940" y="389"/>
                  </a:cubicBezTo>
                  <a:cubicBezTo>
                    <a:pt x="940" y="382"/>
                    <a:pt x="951" y="383"/>
                    <a:pt x="950" y="375"/>
                  </a:cubicBezTo>
                  <a:cubicBezTo>
                    <a:pt x="949" y="371"/>
                    <a:pt x="937" y="378"/>
                    <a:pt x="937" y="378"/>
                  </a:cubicBezTo>
                  <a:cubicBezTo>
                    <a:pt x="936" y="375"/>
                    <a:pt x="943" y="369"/>
                    <a:pt x="942" y="364"/>
                  </a:cubicBezTo>
                  <a:cubicBezTo>
                    <a:pt x="941" y="361"/>
                    <a:pt x="931" y="369"/>
                    <a:pt x="933" y="367"/>
                  </a:cubicBezTo>
                  <a:cubicBezTo>
                    <a:pt x="934" y="366"/>
                    <a:pt x="933" y="353"/>
                    <a:pt x="928" y="349"/>
                  </a:cubicBezTo>
                  <a:cubicBezTo>
                    <a:pt x="924" y="346"/>
                    <a:pt x="915" y="353"/>
                    <a:pt x="916" y="358"/>
                  </a:cubicBezTo>
                  <a:cubicBezTo>
                    <a:pt x="917" y="363"/>
                    <a:pt x="931" y="375"/>
                    <a:pt x="929" y="379"/>
                  </a:cubicBezTo>
                  <a:cubicBezTo>
                    <a:pt x="928" y="382"/>
                    <a:pt x="923" y="374"/>
                    <a:pt x="920" y="374"/>
                  </a:cubicBezTo>
                  <a:cubicBezTo>
                    <a:pt x="919" y="374"/>
                    <a:pt x="916" y="388"/>
                    <a:pt x="915" y="380"/>
                  </a:cubicBezTo>
                  <a:cubicBezTo>
                    <a:pt x="915" y="378"/>
                    <a:pt x="915" y="372"/>
                    <a:pt x="911" y="372"/>
                  </a:cubicBezTo>
                  <a:cubicBezTo>
                    <a:pt x="904" y="372"/>
                    <a:pt x="916" y="386"/>
                    <a:pt x="907" y="389"/>
                  </a:cubicBezTo>
                  <a:cubicBezTo>
                    <a:pt x="903" y="390"/>
                    <a:pt x="907" y="383"/>
                    <a:pt x="900" y="384"/>
                  </a:cubicBezTo>
                  <a:cubicBezTo>
                    <a:pt x="897" y="384"/>
                    <a:pt x="889" y="391"/>
                    <a:pt x="887" y="389"/>
                  </a:cubicBezTo>
                  <a:cubicBezTo>
                    <a:pt x="885" y="388"/>
                    <a:pt x="892" y="375"/>
                    <a:pt x="883" y="378"/>
                  </a:cubicBezTo>
                  <a:cubicBezTo>
                    <a:pt x="878" y="380"/>
                    <a:pt x="886" y="393"/>
                    <a:pt x="881" y="393"/>
                  </a:cubicBezTo>
                  <a:cubicBezTo>
                    <a:pt x="875" y="393"/>
                    <a:pt x="876" y="386"/>
                    <a:pt x="876" y="383"/>
                  </a:cubicBezTo>
                  <a:cubicBezTo>
                    <a:pt x="875" y="379"/>
                    <a:pt x="872" y="383"/>
                    <a:pt x="870" y="384"/>
                  </a:cubicBezTo>
                  <a:cubicBezTo>
                    <a:pt x="859" y="390"/>
                    <a:pt x="870" y="389"/>
                    <a:pt x="872" y="392"/>
                  </a:cubicBezTo>
                  <a:cubicBezTo>
                    <a:pt x="873" y="394"/>
                    <a:pt x="869" y="394"/>
                    <a:pt x="869" y="394"/>
                  </a:cubicBezTo>
                  <a:close/>
                  <a:moveTo>
                    <a:pt x="1737" y="40"/>
                  </a:moveTo>
                  <a:cubicBezTo>
                    <a:pt x="1740" y="40"/>
                    <a:pt x="1747" y="36"/>
                    <a:pt x="1745" y="35"/>
                  </a:cubicBezTo>
                  <a:cubicBezTo>
                    <a:pt x="1738" y="30"/>
                    <a:pt x="1734" y="37"/>
                    <a:pt x="1731" y="32"/>
                  </a:cubicBezTo>
                  <a:cubicBezTo>
                    <a:pt x="1731" y="32"/>
                    <a:pt x="1730" y="31"/>
                    <a:pt x="1730" y="31"/>
                  </a:cubicBezTo>
                  <a:cubicBezTo>
                    <a:pt x="1730" y="30"/>
                    <a:pt x="1744" y="29"/>
                    <a:pt x="1743" y="28"/>
                  </a:cubicBezTo>
                  <a:cubicBezTo>
                    <a:pt x="1741" y="27"/>
                    <a:pt x="1737" y="28"/>
                    <a:pt x="1735" y="28"/>
                  </a:cubicBezTo>
                  <a:cubicBezTo>
                    <a:pt x="1724" y="27"/>
                    <a:pt x="1723" y="24"/>
                    <a:pt x="1714" y="28"/>
                  </a:cubicBezTo>
                  <a:cubicBezTo>
                    <a:pt x="1713" y="28"/>
                    <a:pt x="1712" y="29"/>
                    <a:pt x="1713" y="30"/>
                  </a:cubicBezTo>
                  <a:cubicBezTo>
                    <a:pt x="1716" y="34"/>
                    <a:pt x="1723" y="29"/>
                    <a:pt x="1727" y="32"/>
                  </a:cubicBezTo>
                  <a:cubicBezTo>
                    <a:pt x="1728" y="32"/>
                    <a:pt x="1722" y="33"/>
                    <a:pt x="1721" y="33"/>
                  </a:cubicBezTo>
                  <a:cubicBezTo>
                    <a:pt x="1711" y="34"/>
                    <a:pt x="1719" y="36"/>
                    <a:pt x="1723" y="38"/>
                  </a:cubicBezTo>
                  <a:cubicBezTo>
                    <a:pt x="1724" y="39"/>
                    <a:pt x="1724" y="39"/>
                    <a:pt x="1724" y="39"/>
                  </a:cubicBezTo>
                  <a:cubicBezTo>
                    <a:pt x="1727" y="46"/>
                    <a:pt x="1734" y="39"/>
                    <a:pt x="1737" y="40"/>
                  </a:cubicBezTo>
                  <a:close/>
                  <a:moveTo>
                    <a:pt x="1529" y="131"/>
                  </a:moveTo>
                  <a:cubicBezTo>
                    <a:pt x="1517" y="127"/>
                    <a:pt x="1513" y="132"/>
                    <a:pt x="1520" y="146"/>
                  </a:cubicBezTo>
                  <a:cubicBezTo>
                    <a:pt x="1520" y="146"/>
                    <a:pt x="1520" y="146"/>
                    <a:pt x="1520" y="146"/>
                  </a:cubicBezTo>
                  <a:cubicBezTo>
                    <a:pt x="1525" y="151"/>
                    <a:pt x="1534" y="133"/>
                    <a:pt x="1529" y="131"/>
                  </a:cubicBezTo>
                  <a:close/>
                  <a:moveTo>
                    <a:pt x="1427" y="206"/>
                  </a:moveTo>
                  <a:cubicBezTo>
                    <a:pt x="1422" y="198"/>
                    <a:pt x="1408" y="214"/>
                    <a:pt x="1412" y="223"/>
                  </a:cubicBezTo>
                  <a:cubicBezTo>
                    <a:pt x="1412" y="223"/>
                    <a:pt x="1412" y="223"/>
                    <a:pt x="1412" y="223"/>
                  </a:cubicBezTo>
                  <a:cubicBezTo>
                    <a:pt x="1422" y="225"/>
                    <a:pt x="1432" y="213"/>
                    <a:pt x="1427" y="206"/>
                  </a:cubicBezTo>
                  <a:close/>
                  <a:moveTo>
                    <a:pt x="1430" y="172"/>
                  </a:moveTo>
                  <a:cubicBezTo>
                    <a:pt x="1430" y="165"/>
                    <a:pt x="1442" y="156"/>
                    <a:pt x="1428" y="153"/>
                  </a:cubicBezTo>
                  <a:cubicBezTo>
                    <a:pt x="1410" y="149"/>
                    <a:pt x="1380" y="176"/>
                    <a:pt x="1403" y="181"/>
                  </a:cubicBezTo>
                  <a:cubicBezTo>
                    <a:pt x="1404" y="182"/>
                    <a:pt x="1404" y="182"/>
                    <a:pt x="1404" y="182"/>
                  </a:cubicBezTo>
                  <a:cubicBezTo>
                    <a:pt x="1409" y="182"/>
                    <a:pt x="1411" y="174"/>
                    <a:pt x="1413" y="174"/>
                  </a:cubicBezTo>
                  <a:cubicBezTo>
                    <a:pt x="1415" y="174"/>
                    <a:pt x="1410" y="186"/>
                    <a:pt x="1431" y="182"/>
                  </a:cubicBezTo>
                  <a:cubicBezTo>
                    <a:pt x="1434" y="181"/>
                    <a:pt x="1430" y="174"/>
                    <a:pt x="1430" y="172"/>
                  </a:cubicBezTo>
                  <a:close/>
                  <a:moveTo>
                    <a:pt x="1703" y="79"/>
                  </a:moveTo>
                  <a:cubicBezTo>
                    <a:pt x="1702" y="79"/>
                    <a:pt x="1704" y="68"/>
                    <a:pt x="1692" y="71"/>
                  </a:cubicBezTo>
                  <a:cubicBezTo>
                    <a:pt x="1682" y="73"/>
                    <a:pt x="1690" y="100"/>
                    <a:pt x="1696" y="107"/>
                  </a:cubicBezTo>
                  <a:cubicBezTo>
                    <a:pt x="1696" y="107"/>
                    <a:pt x="1696" y="107"/>
                    <a:pt x="1696" y="107"/>
                  </a:cubicBezTo>
                  <a:cubicBezTo>
                    <a:pt x="1716" y="115"/>
                    <a:pt x="1733" y="96"/>
                    <a:pt x="1721" y="81"/>
                  </a:cubicBezTo>
                  <a:cubicBezTo>
                    <a:pt x="1716" y="74"/>
                    <a:pt x="1708" y="80"/>
                    <a:pt x="1703" y="79"/>
                  </a:cubicBezTo>
                  <a:close/>
                  <a:moveTo>
                    <a:pt x="1254" y="243"/>
                  </a:moveTo>
                  <a:cubicBezTo>
                    <a:pt x="1260" y="238"/>
                    <a:pt x="1289" y="231"/>
                    <a:pt x="1273" y="220"/>
                  </a:cubicBezTo>
                  <a:cubicBezTo>
                    <a:pt x="1272" y="219"/>
                    <a:pt x="1272" y="219"/>
                    <a:pt x="1272" y="219"/>
                  </a:cubicBezTo>
                  <a:cubicBezTo>
                    <a:pt x="1267" y="217"/>
                    <a:pt x="1257" y="217"/>
                    <a:pt x="1259" y="214"/>
                  </a:cubicBezTo>
                  <a:cubicBezTo>
                    <a:pt x="1261" y="211"/>
                    <a:pt x="1242" y="209"/>
                    <a:pt x="1242" y="212"/>
                  </a:cubicBezTo>
                  <a:cubicBezTo>
                    <a:pt x="1242" y="214"/>
                    <a:pt x="1260" y="241"/>
                    <a:pt x="1249" y="242"/>
                  </a:cubicBezTo>
                  <a:cubicBezTo>
                    <a:pt x="1247" y="242"/>
                    <a:pt x="1244" y="239"/>
                    <a:pt x="1242" y="238"/>
                  </a:cubicBezTo>
                  <a:cubicBezTo>
                    <a:pt x="1238" y="234"/>
                    <a:pt x="1243" y="225"/>
                    <a:pt x="1241" y="223"/>
                  </a:cubicBezTo>
                  <a:cubicBezTo>
                    <a:pt x="1235" y="215"/>
                    <a:pt x="1230" y="232"/>
                    <a:pt x="1228" y="232"/>
                  </a:cubicBezTo>
                  <a:cubicBezTo>
                    <a:pt x="1227" y="232"/>
                    <a:pt x="1217" y="218"/>
                    <a:pt x="1212" y="227"/>
                  </a:cubicBezTo>
                  <a:cubicBezTo>
                    <a:pt x="1206" y="239"/>
                    <a:pt x="1238" y="237"/>
                    <a:pt x="1236" y="240"/>
                  </a:cubicBezTo>
                  <a:cubicBezTo>
                    <a:pt x="1234" y="245"/>
                    <a:pt x="1202" y="235"/>
                    <a:pt x="1200" y="238"/>
                  </a:cubicBezTo>
                  <a:cubicBezTo>
                    <a:pt x="1199" y="239"/>
                    <a:pt x="1202" y="241"/>
                    <a:pt x="1202" y="242"/>
                  </a:cubicBezTo>
                  <a:cubicBezTo>
                    <a:pt x="1205" y="244"/>
                    <a:pt x="1207" y="249"/>
                    <a:pt x="1211" y="249"/>
                  </a:cubicBezTo>
                  <a:cubicBezTo>
                    <a:pt x="1212" y="250"/>
                    <a:pt x="1218" y="247"/>
                    <a:pt x="1219" y="249"/>
                  </a:cubicBezTo>
                  <a:cubicBezTo>
                    <a:pt x="1219" y="249"/>
                    <a:pt x="1217" y="251"/>
                    <a:pt x="1217" y="251"/>
                  </a:cubicBezTo>
                  <a:cubicBezTo>
                    <a:pt x="1210" y="256"/>
                    <a:pt x="1186" y="247"/>
                    <a:pt x="1186" y="252"/>
                  </a:cubicBezTo>
                  <a:cubicBezTo>
                    <a:pt x="1186" y="253"/>
                    <a:pt x="1181" y="256"/>
                    <a:pt x="1183" y="258"/>
                  </a:cubicBezTo>
                  <a:cubicBezTo>
                    <a:pt x="1190" y="267"/>
                    <a:pt x="1246" y="263"/>
                    <a:pt x="1253" y="258"/>
                  </a:cubicBezTo>
                  <a:cubicBezTo>
                    <a:pt x="1266" y="249"/>
                    <a:pt x="1245" y="251"/>
                    <a:pt x="1254" y="243"/>
                  </a:cubicBezTo>
                  <a:close/>
                  <a:moveTo>
                    <a:pt x="1570" y="112"/>
                  </a:moveTo>
                  <a:cubicBezTo>
                    <a:pt x="1577" y="111"/>
                    <a:pt x="1596" y="110"/>
                    <a:pt x="1596" y="103"/>
                  </a:cubicBezTo>
                  <a:cubicBezTo>
                    <a:pt x="1596" y="102"/>
                    <a:pt x="1595" y="100"/>
                    <a:pt x="1597" y="100"/>
                  </a:cubicBezTo>
                  <a:cubicBezTo>
                    <a:pt x="1606" y="99"/>
                    <a:pt x="1606" y="106"/>
                    <a:pt x="1608" y="107"/>
                  </a:cubicBezTo>
                  <a:cubicBezTo>
                    <a:pt x="1612" y="109"/>
                    <a:pt x="1618" y="106"/>
                    <a:pt x="1622" y="104"/>
                  </a:cubicBezTo>
                  <a:cubicBezTo>
                    <a:pt x="1626" y="101"/>
                    <a:pt x="1615" y="99"/>
                    <a:pt x="1619" y="98"/>
                  </a:cubicBezTo>
                  <a:cubicBezTo>
                    <a:pt x="1635" y="95"/>
                    <a:pt x="1636" y="98"/>
                    <a:pt x="1637" y="97"/>
                  </a:cubicBezTo>
                  <a:cubicBezTo>
                    <a:pt x="1637" y="97"/>
                    <a:pt x="1640" y="86"/>
                    <a:pt x="1641" y="84"/>
                  </a:cubicBezTo>
                  <a:cubicBezTo>
                    <a:pt x="1643" y="77"/>
                    <a:pt x="1652" y="84"/>
                    <a:pt x="1653" y="82"/>
                  </a:cubicBezTo>
                  <a:cubicBezTo>
                    <a:pt x="1655" y="74"/>
                    <a:pt x="1660" y="75"/>
                    <a:pt x="1664" y="72"/>
                  </a:cubicBezTo>
                  <a:cubicBezTo>
                    <a:pt x="1670" y="68"/>
                    <a:pt x="1664" y="64"/>
                    <a:pt x="1666" y="64"/>
                  </a:cubicBezTo>
                  <a:cubicBezTo>
                    <a:pt x="1666" y="64"/>
                    <a:pt x="1672" y="65"/>
                    <a:pt x="1672" y="63"/>
                  </a:cubicBezTo>
                  <a:cubicBezTo>
                    <a:pt x="1670" y="60"/>
                    <a:pt x="1664" y="58"/>
                    <a:pt x="1663" y="56"/>
                  </a:cubicBezTo>
                  <a:cubicBezTo>
                    <a:pt x="1659" y="43"/>
                    <a:pt x="1657" y="67"/>
                    <a:pt x="1655" y="67"/>
                  </a:cubicBezTo>
                  <a:cubicBezTo>
                    <a:pt x="1651" y="67"/>
                    <a:pt x="1649" y="61"/>
                    <a:pt x="1646" y="59"/>
                  </a:cubicBezTo>
                  <a:cubicBezTo>
                    <a:pt x="1643" y="57"/>
                    <a:pt x="1650" y="67"/>
                    <a:pt x="1642" y="63"/>
                  </a:cubicBezTo>
                  <a:cubicBezTo>
                    <a:pt x="1641" y="63"/>
                    <a:pt x="1636" y="59"/>
                    <a:pt x="1635" y="61"/>
                  </a:cubicBezTo>
                  <a:cubicBezTo>
                    <a:pt x="1634" y="63"/>
                    <a:pt x="1629" y="65"/>
                    <a:pt x="1639" y="69"/>
                  </a:cubicBezTo>
                  <a:cubicBezTo>
                    <a:pt x="1642" y="69"/>
                    <a:pt x="1647" y="73"/>
                    <a:pt x="1644" y="74"/>
                  </a:cubicBezTo>
                  <a:cubicBezTo>
                    <a:pt x="1641" y="75"/>
                    <a:pt x="1633" y="74"/>
                    <a:pt x="1631" y="76"/>
                  </a:cubicBezTo>
                  <a:cubicBezTo>
                    <a:pt x="1618" y="92"/>
                    <a:pt x="1628" y="72"/>
                    <a:pt x="1612" y="72"/>
                  </a:cubicBezTo>
                  <a:cubicBezTo>
                    <a:pt x="1608" y="72"/>
                    <a:pt x="1613" y="67"/>
                    <a:pt x="1610" y="69"/>
                  </a:cubicBezTo>
                  <a:cubicBezTo>
                    <a:pt x="1595" y="75"/>
                    <a:pt x="1616" y="79"/>
                    <a:pt x="1613" y="87"/>
                  </a:cubicBezTo>
                  <a:cubicBezTo>
                    <a:pt x="1613" y="90"/>
                    <a:pt x="1607" y="84"/>
                    <a:pt x="1607" y="88"/>
                  </a:cubicBezTo>
                  <a:cubicBezTo>
                    <a:pt x="1605" y="101"/>
                    <a:pt x="1604" y="86"/>
                    <a:pt x="1601" y="86"/>
                  </a:cubicBezTo>
                  <a:cubicBezTo>
                    <a:pt x="1598" y="85"/>
                    <a:pt x="1600" y="88"/>
                    <a:pt x="1598" y="88"/>
                  </a:cubicBezTo>
                  <a:cubicBezTo>
                    <a:pt x="1596" y="89"/>
                    <a:pt x="1597" y="84"/>
                    <a:pt x="1598" y="82"/>
                  </a:cubicBezTo>
                  <a:cubicBezTo>
                    <a:pt x="1598" y="81"/>
                    <a:pt x="1596" y="80"/>
                    <a:pt x="1596" y="80"/>
                  </a:cubicBezTo>
                  <a:cubicBezTo>
                    <a:pt x="1584" y="75"/>
                    <a:pt x="1585" y="83"/>
                    <a:pt x="1583" y="83"/>
                  </a:cubicBezTo>
                  <a:cubicBezTo>
                    <a:pt x="1574" y="81"/>
                    <a:pt x="1571" y="73"/>
                    <a:pt x="1576" y="88"/>
                  </a:cubicBezTo>
                  <a:cubicBezTo>
                    <a:pt x="1576" y="89"/>
                    <a:pt x="1577" y="90"/>
                    <a:pt x="1576" y="90"/>
                  </a:cubicBezTo>
                  <a:cubicBezTo>
                    <a:pt x="1567" y="90"/>
                    <a:pt x="1562" y="76"/>
                    <a:pt x="1562" y="87"/>
                  </a:cubicBezTo>
                  <a:cubicBezTo>
                    <a:pt x="1562" y="88"/>
                    <a:pt x="1562" y="88"/>
                    <a:pt x="1561" y="89"/>
                  </a:cubicBezTo>
                  <a:cubicBezTo>
                    <a:pt x="1560" y="90"/>
                    <a:pt x="1525" y="85"/>
                    <a:pt x="1540" y="89"/>
                  </a:cubicBezTo>
                  <a:cubicBezTo>
                    <a:pt x="1540" y="89"/>
                    <a:pt x="1540" y="89"/>
                    <a:pt x="1540" y="89"/>
                  </a:cubicBezTo>
                  <a:cubicBezTo>
                    <a:pt x="1550" y="91"/>
                    <a:pt x="1532" y="95"/>
                    <a:pt x="1544" y="97"/>
                  </a:cubicBezTo>
                  <a:cubicBezTo>
                    <a:pt x="1547" y="98"/>
                    <a:pt x="1563" y="93"/>
                    <a:pt x="1568" y="93"/>
                  </a:cubicBezTo>
                  <a:cubicBezTo>
                    <a:pt x="1568" y="93"/>
                    <a:pt x="1569" y="92"/>
                    <a:pt x="1569" y="93"/>
                  </a:cubicBezTo>
                  <a:cubicBezTo>
                    <a:pt x="1570" y="94"/>
                    <a:pt x="1564" y="96"/>
                    <a:pt x="1564" y="97"/>
                  </a:cubicBezTo>
                  <a:cubicBezTo>
                    <a:pt x="1557" y="99"/>
                    <a:pt x="1551" y="116"/>
                    <a:pt x="1553" y="116"/>
                  </a:cubicBezTo>
                  <a:cubicBezTo>
                    <a:pt x="1562" y="119"/>
                    <a:pt x="1561" y="105"/>
                    <a:pt x="1566" y="105"/>
                  </a:cubicBezTo>
                  <a:cubicBezTo>
                    <a:pt x="1570" y="104"/>
                    <a:pt x="1562" y="113"/>
                    <a:pt x="1570" y="112"/>
                  </a:cubicBezTo>
                  <a:close/>
                  <a:moveTo>
                    <a:pt x="1738" y="16"/>
                  </a:moveTo>
                  <a:cubicBezTo>
                    <a:pt x="1737" y="16"/>
                    <a:pt x="1727" y="15"/>
                    <a:pt x="1725" y="14"/>
                  </a:cubicBezTo>
                  <a:cubicBezTo>
                    <a:pt x="1719" y="12"/>
                    <a:pt x="1727" y="17"/>
                    <a:pt x="1729" y="19"/>
                  </a:cubicBezTo>
                  <a:cubicBezTo>
                    <a:pt x="1734" y="20"/>
                    <a:pt x="1741" y="21"/>
                    <a:pt x="1738" y="16"/>
                  </a:cubicBezTo>
                  <a:close/>
                  <a:moveTo>
                    <a:pt x="1723" y="18"/>
                  </a:moveTo>
                  <a:cubicBezTo>
                    <a:pt x="1724" y="18"/>
                    <a:pt x="1724" y="18"/>
                    <a:pt x="1724" y="18"/>
                  </a:cubicBezTo>
                  <a:cubicBezTo>
                    <a:pt x="1729" y="20"/>
                    <a:pt x="1729" y="20"/>
                    <a:pt x="1729" y="19"/>
                  </a:cubicBezTo>
                  <a:cubicBezTo>
                    <a:pt x="1723" y="17"/>
                    <a:pt x="1719" y="16"/>
                    <a:pt x="1723" y="18"/>
                  </a:cubicBezTo>
                  <a:close/>
                  <a:moveTo>
                    <a:pt x="1685" y="122"/>
                  </a:moveTo>
                  <a:cubicBezTo>
                    <a:pt x="1690" y="116"/>
                    <a:pt x="1683" y="93"/>
                    <a:pt x="1679" y="92"/>
                  </a:cubicBezTo>
                  <a:cubicBezTo>
                    <a:pt x="1671" y="89"/>
                    <a:pt x="1662" y="94"/>
                    <a:pt x="1666" y="93"/>
                  </a:cubicBezTo>
                  <a:cubicBezTo>
                    <a:pt x="1658" y="96"/>
                    <a:pt x="1676" y="99"/>
                    <a:pt x="1670" y="98"/>
                  </a:cubicBezTo>
                  <a:cubicBezTo>
                    <a:pt x="1680" y="100"/>
                    <a:pt x="1675" y="102"/>
                    <a:pt x="1667" y="102"/>
                  </a:cubicBezTo>
                  <a:cubicBezTo>
                    <a:pt x="1663" y="102"/>
                    <a:pt x="1665" y="110"/>
                    <a:pt x="1662" y="105"/>
                  </a:cubicBezTo>
                  <a:cubicBezTo>
                    <a:pt x="1661" y="104"/>
                    <a:pt x="1656" y="102"/>
                    <a:pt x="1655" y="105"/>
                  </a:cubicBezTo>
                  <a:cubicBezTo>
                    <a:pt x="1654" y="113"/>
                    <a:pt x="1659" y="115"/>
                    <a:pt x="1653" y="115"/>
                  </a:cubicBezTo>
                  <a:cubicBezTo>
                    <a:pt x="1651" y="116"/>
                    <a:pt x="1653" y="107"/>
                    <a:pt x="1652" y="105"/>
                  </a:cubicBezTo>
                  <a:cubicBezTo>
                    <a:pt x="1651" y="103"/>
                    <a:pt x="1643" y="101"/>
                    <a:pt x="1644" y="105"/>
                  </a:cubicBezTo>
                  <a:cubicBezTo>
                    <a:pt x="1645" y="107"/>
                    <a:pt x="1646" y="106"/>
                    <a:pt x="1647" y="107"/>
                  </a:cubicBezTo>
                  <a:cubicBezTo>
                    <a:pt x="1649" y="110"/>
                    <a:pt x="1642" y="108"/>
                    <a:pt x="1639" y="108"/>
                  </a:cubicBezTo>
                  <a:cubicBezTo>
                    <a:pt x="1624" y="109"/>
                    <a:pt x="1611" y="131"/>
                    <a:pt x="1627" y="134"/>
                  </a:cubicBezTo>
                  <a:cubicBezTo>
                    <a:pt x="1629" y="135"/>
                    <a:pt x="1629" y="135"/>
                    <a:pt x="1629" y="135"/>
                  </a:cubicBezTo>
                  <a:cubicBezTo>
                    <a:pt x="1633" y="143"/>
                    <a:pt x="1639" y="125"/>
                    <a:pt x="1641" y="125"/>
                  </a:cubicBezTo>
                  <a:cubicBezTo>
                    <a:pt x="1642" y="125"/>
                    <a:pt x="1634" y="143"/>
                    <a:pt x="1636" y="145"/>
                  </a:cubicBezTo>
                  <a:cubicBezTo>
                    <a:pt x="1640" y="148"/>
                    <a:pt x="1663" y="144"/>
                    <a:pt x="1663" y="140"/>
                  </a:cubicBezTo>
                  <a:cubicBezTo>
                    <a:pt x="1663" y="138"/>
                    <a:pt x="1656" y="139"/>
                    <a:pt x="1655" y="138"/>
                  </a:cubicBezTo>
                  <a:cubicBezTo>
                    <a:pt x="1654" y="136"/>
                    <a:pt x="1666" y="135"/>
                    <a:pt x="1667" y="135"/>
                  </a:cubicBezTo>
                  <a:cubicBezTo>
                    <a:pt x="1673" y="132"/>
                    <a:pt x="1680" y="127"/>
                    <a:pt x="1685" y="122"/>
                  </a:cubicBezTo>
                  <a:close/>
                  <a:moveTo>
                    <a:pt x="1585" y="145"/>
                  </a:moveTo>
                  <a:cubicBezTo>
                    <a:pt x="1599" y="148"/>
                    <a:pt x="1612" y="151"/>
                    <a:pt x="1627" y="151"/>
                  </a:cubicBezTo>
                  <a:cubicBezTo>
                    <a:pt x="1628" y="151"/>
                    <a:pt x="1628" y="151"/>
                    <a:pt x="1628" y="151"/>
                  </a:cubicBezTo>
                  <a:cubicBezTo>
                    <a:pt x="1641" y="149"/>
                    <a:pt x="1609" y="128"/>
                    <a:pt x="1607" y="129"/>
                  </a:cubicBezTo>
                  <a:cubicBezTo>
                    <a:pt x="1606" y="129"/>
                    <a:pt x="1605" y="130"/>
                    <a:pt x="1605" y="131"/>
                  </a:cubicBezTo>
                  <a:cubicBezTo>
                    <a:pt x="1608" y="147"/>
                    <a:pt x="1599" y="128"/>
                    <a:pt x="1599" y="128"/>
                  </a:cubicBezTo>
                  <a:cubicBezTo>
                    <a:pt x="1589" y="130"/>
                    <a:pt x="1583" y="131"/>
                    <a:pt x="1583" y="132"/>
                  </a:cubicBezTo>
                  <a:cubicBezTo>
                    <a:pt x="1583" y="134"/>
                    <a:pt x="1587" y="138"/>
                    <a:pt x="1584" y="139"/>
                  </a:cubicBezTo>
                  <a:cubicBezTo>
                    <a:pt x="1581" y="140"/>
                    <a:pt x="1580" y="132"/>
                    <a:pt x="1574" y="135"/>
                  </a:cubicBezTo>
                  <a:cubicBezTo>
                    <a:pt x="1573" y="135"/>
                    <a:pt x="1573" y="135"/>
                    <a:pt x="1573" y="136"/>
                  </a:cubicBezTo>
                  <a:cubicBezTo>
                    <a:pt x="1571" y="141"/>
                    <a:pt x="1582" y="145"/>
                    <a:pt x="1585" y="145"/>
                  </a:cubicBezTo>
                  <a:close/>
                  <a:moveTo>
                    <a:pt x="1255" y="178"/>
                  </a:moveTo>
                  <a:cubicBezTo>
                    <a:pt x="1251" y="178"/>
                    <a:pt x="1247" y="159"/>
                    <a:pt x="1246" y="175"/>
                  </a:cubicBezTo>
                  <a:cubicBezTo>
                    <a:pt x="1245" y="175"/>
                    <a:pt x="1238" y="183"/>
                    <a:pt x="1241" y="183"/>
                  </a:cubicBezTo>
                  <a:cubicBezTo>
                    <a:pt x="1249" y="184"/>
                    <a:pt x="1240" y="184"/>
                    <a:pt x="1243" y="190"/>
                  </a:cubicBezTo>
                  <a:cubicBezTo>
                    <a:pt x="1243" y="190"/>
                    <a:pt x="1243" y="190"/>
                    <a:pt x="1243" y="190"/>
                  </a:cubicBezTo>
                  <a:cubicBezTo>
                    <a:pt x="1247" y="194"/>
                    <a:pt x="1274" y="178"/>
                    <a:pt x="1271" y="175"/>
                  </a:cubicBezTo>
                  <a:cubicBezTo>
                    <a:pt x="1260" y="166"/>
                    <a:pt x="1265" y="179"/>
                    <a:pt x="1255" y="178"/>
                  </a:cubicBezTo>
                  <a:close/>
                  <a:moveTo>
                    <a:pt x="1280" y="222"/>
                  </a:moveTo>
                  <a:cubicBezTo>
                    <a:pt x="1282" y="226"/>
                    <a:pt x="1288" y="224"/>
                    <a:pt x="1291" y="224"/>
                  </a:cubicBezTo>
                  <a:cubicBezTo>
                    <a:pt x="1311" y="220"/>
                    <a:pt x="1316" y="204"/>
                    <a:pt x="1332" y="195"/>
                  </a:cubicBezTo>
                  <a:cubicBezTo>
                    <a:pt x="1333" y="195"/>
                    <a:pt x="1334" y="192"/>
                    <a:pt x="1334" y="191"/>
                  </a:cubicBezTo>
                  <a:cubicBezTo>
                    <a:pt x="1329" y="183"/>
                    <a:pt x="1326" y="195"/>
                    <a:pt x="1323" y="192"/>
                  </a:cubicBezTo>
                  <a:cubicBezTo>
                    <a:pt x="1319" y="188"/>
                    <a:pt x="1324" y="177"/>
                    <a:pt x="1311" y="187"/>
                  </a:cubicBezTo>
                  <a:cubicBezTo>
                    <a:pt x="1310" y="188"/>
                    <a:pt x="1309" y="189"/>
                    <a:pt x="1309" y="190"/>
                  </a:cubicBezTo>
                  <a:cubicBezTo>
                    <a:pt x="1309" y="191"/>
                    <a:pt x="1311" y="194"/>
                    <a:pt x="1309" y="193"/>
                  </a:cubicBezTo>
                  <a:cubicBezTo>
                    <a:pt x="1294" y="191"/>
                    <a:pt x="1304" y="174"/>
                    <a:pt x="1294" y="180"/>
                  </a:cubicBezTo>
                  <a:cubicBezTo>
                    <a:pt x="1290" y="183"/>
                    <a:pt x="1295" y="171"/>
                    <a:pt x="1289" y="177"/>
                  </a:cubicBezTo>
                  <a:cubicBezTo>
                    <a:pt x="1287" y="180"/>
                    <a:pt x="1277" y="180"/>
                    <a:pt x="1278" y="182"/>
                  </a:cubicBezTo>
                  <a:cubicBezTo>
                    <a:pt x="1280" y="185"/>
                    <a:pt x="1286" y="186"/>
                    <a:pt x="1280" y="189"/>
                  </a:cubicBezTo>
                  <a:cubicBezTo>
                    <a:pt x="1279" y="189"/>
                    <a:pt x="1259" y="182"/>
                    <a:pt x="1258" y="191"/>
                  </a:cubicBezTo>
                  <a:cubicBezTo>
                    <a:pt x="1257" y="194"/>
                    <a:pt x="1269" y="194"/>
                    <a:pt x="1266" y="197"/>
                  </a:cubicBezTo>
                  <a:cubicBezTo>
                    <a:pt x="1263" y="199"/>
                    <a:pt x="1248" y="198"/>
                    <a:pt x="1249" y="201"/>
                  </a:cubicBezTo>
                  <a:cubicBezTo>
                    <a:pt x="1251" y="210"/>
                    <a:pt x="1275" y="212"/>
                    <a:pt x="1280" y="222"/>
                  </a:cubicBezTo>
                  <a:close/>
                  <a:moveTo>
                    <a:pt x="1313" y="164"/>
                  </a:moveTo>
                  <a:cubicBezTo>
                    <a:pt x="1310" y="161"/>
                    <a:pt x="1291" y="169"/>
                    <a:pt x="1320" y="175"/>
                  </a:cubicBezTo>
                  <a:cubicBezTo>
                    <a:pt x="1320" y="175"/>
                    <a:pt x="1320" y="175"/>
                    <a:pt x="1320" y="175"/>
                  </a:cubicBezTo>
                  <a:cubicBezTo>
                    <a:pt x="1337" y="174"/>
                    <a:pt x="1317" y="168"/>
                    <a:pt x="1313" y="164"/>
                  </a:cubicBezTo>
                  <a:close/>
                  <a:moveTo>
                    <a:pt x="1285" y="164"/>
                  </a:moveTo>
                  <a:cubicBezTo>
                    <a:pt x="1285" y="164"/>
                    <a:pt x="1275" y="159"/>
                    <a:pt x="1275" y="165"/>
                  </a:cubicBezTo>
                  <a:cubicBezTo>
                    <a:pt x="1275" y="166"/>
                    <a:pt x="1282" y="169"/>
                    <a:pt x="1283" y="171"/>
                  </a:cubicBezTo>
                  <a:cubicBezTo>
                    <a:pt x="1283" y="171"/>
                    <a:pt x="1283" y="171"/>
                    <a:pt x="1283" y="171"/>
                  </a:cubicBezTo>
                  <a:cubicBezTo>
                    <a:pt x="1287" y="179"/>
                    <a:pt x="1302" y="155"/>
                    <a:pt x="1293" y="150"/>
                  </a:cubicBezTo>
                  <a:cubicBezTo>
                    <a:pt x="1283" y="144"/>
                    <a:pt x="1286" y="161"/>
                    <a:pt x="1285" y="164"/>
                  </a:cubicBezTo>
                  <a:close/>
                  <a:moveTo>
                    <a:pt x="1191" y="293"/>
                  </a:moveTo>
                  <a:cubicBezTo>
                    <a:pt x="1194" y="276"/>
                    <a:pt x="1182" y="286"/>
                    <a:pt x="1179" y="284"/>
                  </a:cubicBezTo>
                  <a:cubicBezTo>
                    <a:pt x="1174" y="280"/>
                    <a:pt x="1193" y="275"/>
                    <a:pt x="1183" y="270"/>
                  </a:cubicBezTo>
                  <a:cubicBezTo>
                    <a:pt x="1182" y="269"/>
                    <a:pt x="1182" y="269"/>
                    <a:pt x="1182" y="269"/>
                  </a:cubicBezTo>
                  <a:cubicBezTo>
                    <a:pt x="1175" y="262"/>
                    <a:pt x="1172" y="281"/>
                    <a:pt x="1168" y="279"/>
                  </a:cubicBezTo>
                  <a:cubicBezTo>
                    <a:pt x="1165" y="278"/>
                    <a:pt x="1175" y="264"/>
                    <a:pt x="1171" y="258"/>
                  </a:cubicBezTo>
                  <a:cubicBezTo>
                    <a:pt x="1167" y="253"/>
                    <a:pt x="1163" y="265"/>
                    <a:pt x="1162" y="265"/>
                  </a:cubicBezTo>
                  <a:cubicBezTo>
                    <a:pt x="1160" y="265"/>
                    <a:pt x="1155" y="251"/>
                    <a:pt x="1152" y="256"/>
                  </a:cubicBezTo>
                  <a:cubicBezTo>
                    <a:pt x="1147" y="264"/>
                    <a:pt x="1161" y="264"/>
                    <a:pt x="1152" y="270"/>
                  </a:cubicBezTo>
                  <a:cubicBezTo>
                    <a:pt x="1150" y="271"/>
                    <a:pt x="1142" y="251"/>
                    <a:pt x="1136" y="255"/>
                  </a:cubicBezTo>
                  <a:cubicBezTo>
                    <a:pt x="1128" y="261"/>
                    <a:pt x="1154" y="275"/>
                    <a:pt x="1151" y="277"/>
                  </a:cubicBezTo>
                  <a:cubicBezTo>
                    <a:pt x="1146" y="283"/>
                    <a:pt x="1131" y="262"/>
                    <a:pt x="1122" y="266"/>
                  </a:cubicBezTo>
                  <a:cubicBezTo>
                    <a:pt x="1119" y="267"/>
                    <a:pt x="1123" y="269"/>
                    <a:pt x="1124" y="270"/>
                  </a:cubicBezTo>
                  <a:cubicBezTo>
                    <a:pt x="1128" y="276"/>
                    <a:pt x="1126" y="274"/>
                    <a:pt x="1122" y="276"/>
                  </a:cubicBezTo>
                  <a:cubicBezTo>
                    <a:pt x="1119" y="277"/>
                    <a:pt x="1113" y="267"/>
                    <a:pt x="1110" y="271"/>
                  </a:cubicBezTo>
                  <a:cubicBezTo>
                    <a:pt x="1105" y="280"/>
                    <a:pt x="1137" y="282"/>
                    <a:pt x="1138" y="283"/>
                  </a:cubicBezTo>
                  <a:cubicBezTo>
                    <a:pt x="1139" y="284"/>
                    <a:pt x="1122" y="285"/>
                    <a:pt x="1121" y="285"/>
                  </a:cubicBezTo>
                  <a:cubicBezTo>
                    <a:pt x="1117" y="286"/>
                    <a:pt x="1132" y="290"/>
                    <a:pt x="1129" y="293"/>
                  </a:cubicBezTo>
                  <a:cubicBezTo>
                    <a:pt x="1128" y="294"/>
                    <a:pt x="1126" y="292"/>
                    <a:pt x="1125" y="292"/>
                  </a:cubicBezTo>
                  <a:cubicBezTo>
                    <a:pt x="1113" y="284"/>
                    <a:pt x="1090" y="286"/>
                    <a:pt x="1083" y="293"/>
                  </a:cubicBezTo>
                  <a:cubicBezTo>
                    <a:pt x="1081" y="295"/>
                    <a:pt x="1097" y="293"/>
                    <a:pt x="1097" y="293"/>
                  </a:cubicBezTo>
                  <a:cubicBezTo>
                    <a:pt x="1103" y="294"/>
                    <a:pt x="1101" y="295"/>
                    <a:pt x="1106" y="301"/>
                  </a:cubicBezTo>
                  <a:cubicBezTo>
                    <a:pt x="1107" y="303"/>
                    <a:pt x="1100" y="300"/>
                    <a:pt x="1100" y="300"/>
                  </a:cubicBezTo>
                  <a:cubicBezTo>
                    <a:pt x="1097" y="300"/>
                    <a:pt x="1085" y="300"/>
                    <a:pt x="1085" y="302"/>
                  </a:cubicBezTo>
                  <a:cubicBezTo>
                    <a:pt x="1084" y="305"/>
                    <a:pt x="1089" y="304"/>
                    <a:pt x="1090" y="304"/>
                  </a:cubicBezTo>
                  <a:cubicBezTo>
                    <a:pt x="1091" y="303"/>
                    <a:pt x="1103" y="308"/>
                    <a:pt x="1103" y="311"/>
                  </a:cubicBezTo>
                  <a:cubicBezTo>
                    <a:pt x="1103" y="313"/>
                    <a:pt x="1106" y="310"/>
                    <a:pt x="1107" y="311"/>
                  </a:cubicBezTo>
                  <a:cubicBezTo>
                    <a:pt x="1109" y="318"/>
                    <a:pt x="1083" y="311"/>
                    <a:pt x="1083" y="315"/>
                  </a:cubicBezTo>
                  <a:cubicBezTo>
                    <a:pt x="1083" y="319"/>
                    <a:pt x="1097" y="325"/>
                    <a:pt x="1105" y="321"/>
                  </a:cubicBezTo>
                  <a:cubicBezTo>
                    <a:pt x="1105" y="321"/>
                    <a:pt x="1109" y="318"/>
                    <a:pt x="1109" y="319"/>
                  </a:cubicBezTo>
                  <a:cubicBezTo>
                    <a:pt x="1110" y="323"/>
                    <a:pt x="1089" y="334"/>
                    <a:pt x="1079" y="332"/>
                  </a:cubicBezTo>
                  <a:cubicBezTo>
                    <a:pt x="1076" y="331"/>
                    <a:pt x="1075" y="333"/>
                    <a:pt x="1074" y="334"/>
                  </a:cubicBezTo>
                  <a:cubicBezTo>
                    <a:pt x="1073" y="335"/>
                    <a:pt x="1073" y="340"/>
                    <a:pt x="1074" y="340"/>
                  </a:cubicBezTo>
                  <a:cubicBezTo>
                    <a:pt x="1078" y="342"/>
                    <a:pt x="1104" y="335"/>
                    <a:pt x="1106" y="338"/>
                  </a:cubicBezTo>
                  <a:cubicBezTo>
                    <a:pt x="1106" y="339"/>
                    <a:pt x="1094" y="349"/>
                    <a:pt x="1098" y="350"/>
                  </a:cubicBezTo>
                  <a:cubicBezTo>
                    <a:pt x="1110" y="354"/>
                    <a:pt x="1116" y="325"/>
                    <a:pt x="1136" y="319"/>
                  </a:cubicBezTo>
                  <a:cubicBezTo>
                    <a:pt x="1142" y="316"/>
                    <a:pt x="1139" y="321"/>
                    <a:pt x="1138" y="324"/>
                  </a:cubicBezTo>
                  <a:cubicBezTo>
                    <a:pt x="1138" y="324"/>
                    <a:pt x="1178" y="329"/>
                    <a:pt x="1183" y="320"/>
                  </a:cubicBezTo>
                  <a:cubicBezTo>
                    <a:pt x="1184" y="319"/>
                    <a:pt x="1173" y="315"/>
                    <a:pt x="1172" y="312"/>
                  </a:cubicBezTo>
                  <a:cubicBezTo>
                    <a:pt x="1172" y="311"/>
                    <a:pt x="1175" y="312"/>
                    <a:pt x="1175" y="312"/>
                  </a:cubicBezTo>
                  <a:cubicBezTo>
                    <a:pt x="1183" y="312"/>
                    <a:pt x="1178" y="306"/>
                    <a:pt x="1176" y="302"/>
                  </a:cubicBezTo>
                  <a:cubicBezTo>
                    <a:pt x="1176" y="301"/>
                    <a:pt x="1174" y="301"/>
                    <a:pt x="1175" y="299"/>
                  </a:cubicBezTo>
                  <a:cubicBezTo>
                    <a:pt x="1178" y="296"/>
                    <a:pt x="1191" y="296"/>
                    <a:pt x="1191" y="293"/>
                  </a:cubicBezTo>
                  <a:close/>
                  <a:moveTo>
                    <a:pt x="1324" y="215"/>
                  </a:moveTo>
                  <a:cubicBezTo>
                    <a:pt x="1353" y="212"/>
                    <a:pt x="1367" y="172"/>
                    <a:pt x="1314" y="215"/>
                  </a:cubicBezTo>
                  <a:cubicBezTo>
                    <a:pt x="1314" y="216"/>
                    <a:pt x="1314" y="216"/>
                    <a:pt x="1314" y="216"/>
                  </a:cubicBezTo>
                  <a:cubicBezTo>
                    <a:pt x="1318" y="218"/>
                    <a:pt x="1320" y="215"/>
                    <a:pt x="1324" y="215"/>
                  </a:cubicBezTo>
                  <a:close/>
                  <a:moveTo>
                    <a:pt x="1098" y="379"/>
                  </a:moveTo>
                  <a:cubicBezTo>
                    <a:pt x="1093" y="366"/>
                    <a:pt x="1081" y="388"/>
                    <a:pt x="1077" y="393"/>
                  </a:cubicBezTo>
                  <a:cubicBezTo>
                    <a:pt x="1077" y="394"/>
                    <a:pt x="1077" y="394"/>
                    <a:pt x="1077" y="394"/>
                  </a:cubicBezTo>
                  <a:cubicBezTo>
                    <a:pt x="1080" y="396"/>
                    <a:pt x="1106" y="390"/>
                    <a:pt x="1107" y="387"/>
                  </a:cubicBezTo>
                  <a:cubicBezTo>
                    <a:pt x="1108" y="385"/>
                    <a:pt x="1099" y="381"/>
                    <a:pt x="1098" y="379"/>
                  </a:cubicBezTo>
                  <a:close/>
                  <a:moveTo>
                    <a:pt x="1110" y="381"/>
                  </a:moveTo>
                  <a:cubicBezTo>
                    <a:pt x="1114" y="384"/>
                    <a:pt x="1134" y="373"/>
                    <a:pt x="1132" y="369"/>
                  </a:cubicBezTo>
                  <a:cubicBezTo>
                    <a:pt x="1129" y="364"/>
                    <a:pt x="1108" y="358"/>
                    <a:pt x="1111" y="366"/>
                  </a:cubicBezTo>
                  <a:cubicBezTo>
                    <a:pt x="1112" y="368"/>
                    <a:pt x="1123" y="378"/>
                    <a:pt x="1113" y="371"/>
                  </a:cubicBezTo>
                  <a:cubicBezTo>
                    <a:pt x="1096" y="360"/>
                    <a:pt x="1102" y="367"/>
                    <a:pt x="1110" y="381"/>
                  </a:cubicBezTo>
                  <a:close/>
                  <a:moveTo>
                    <a:pt x="1134" y="350"/>
                  </a:moveTo>
                  <a:cubicBezTo>
                    <a:pt x="1156" y="339"/>
                    <a:pt x="1147" y="320"/>
                    <a:pt x="1131" y="349"/>
                  </a:cubicBezTo>
                  <a:cubicBezTo>
                    <a:pt x="1131" y="349"/>
                    <a:pt x="1131" y="349"/>
                    <a:pt x="1131" y="349"/>
                  </a:cubicBezTo>
                  <a:cubicBezTo>
                    <a:pt x="1132" y="351"/>
                    <a:pt x="1133" y="351"/>
                    <a:pt x="1134" y="350"/>
                  </a:cubicBezTo>
                  <a:close/>
                  <a:moveTo>
                    <a:pt x="913" y="361"/>
                  </a:moveTo>
                  <a:cubicBezTo>
                    <a:pt x="906" y="358"/>
                    <a:pt x="905" y="368"/>
                    <a:pt x="913" y="369"/>
                  </a:cubicBezTo>
                  <a:cubicBezTo>
                    <a:pt x="913" y="369"/>
                    <a:pt x="913" y="369"/>
                    <a:pt x="913" y="369"/>
                  </a:cubicBezTo>
                  <a:cubicBezTo>
                    <a:pt x="924" y="369"/>
                    <a:pt x="918" y="362"/>
                    <a:pt x="913" y="361"/>
                  </a:cubicBezTo>
                  <a:close/>
                  <a:moveTo>
                    <a:pt x="142" y="1357"/>
                  </a:moveTo>
                  <a:cubicBezTo>
                    <a:pt x="142" y="1357"/>
                    <a:pt x="142" y="1357"/>
                    <a:pt x="142" y="1357"/>
                  </a:cubicBezTo>
                  <a:cubicBezTo>
                    <a:pt x="144" y="1355"/>
                    <a:pt x="120" y="1348"/>
                    <a:pt x="115" y="1352"/>
                  </a:cubicBezTo>
                  <a:cubicBezTo>
                    <a:pt x="112" y="1354"/>
                    <a:pt x="136" y="1359"/>
                    <a:pt x="142" y="1357"/>
                  </a:cubicBezTo>
                  <a:close/>
                  <a:moveTo>
                    <a:pt x="834" y="653"/>
                  </a:moveTo>
                  <a:cubicBezTo>
                    <a:pt x="838" y="656"/>
                    <a:pt x="840" y="664"/>
                    <a:pt x="844" y="664"/>
                  </a:cubicBezTo>
                  <a:cubicBezTo>
                    <a:pt x="844" y="663"/>
                    <a:pt x="844" y="663"/>
                    <a:pt x="844" y="663"/>
                  </a:cubicBezTo>
                  <a:cubicBezTo>
                    <a:pt x="846" y="662"/>
                    <a:pt x="848" y="646"/>
                    <a:pt x="850" y="641"/>
                  </a:cubicBezTo>
                  <a:cubicBezTo>
                    <a:pt x="852" y="634"/>
                    <a:pt x="847" y="640"/>
                    <a:pt x="844" y="643"/>
                  </a:cubicBezTo>
                  <a:cubicBezTo>
                    <a:pt x="839" y="651"/>
                    <a:pt x="828" y="639"/>
                    <a:pt x="826" y="651"/>
                  </a:cubicBezTo>
                  <a:cubicBezTo>
                    <a:pt x="825" y="654"/>
                    <a:pt x="833" y="652"/>
                    <a:pt x="834" y="653"/>
                  </a:cubicBezTo>
                  <a:close/>
                  <a:moveTo>
                    <a:pt x="706" y="802"/>
                  </a:move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lose/>
                  <a:moveTo>
                    <a:pt x="856" y="606"/>
                  </a:moveTo>
                  <a:cubicBezTo>
                    <a:pt x="875" y="600"/>
                    <a:pt x="840" y="596"/>
                    <a:pt x="846" y="608"/>
                  </a:cubicBezTo>
                  <a:cubicBezTo>
                    <a:pt x="846" y="609"/>
                    <a:pt x="855" y="606"/>
                    <a:pt x="856" y="606"/>
                  </a:cubicBezTo>
                  <a:close/>
                  <a:moveTo>
                    <a:pt x="849" y="466"/>
                  </a:moveTo>
                  <a:cubicBezTo>
                    <a:pt x="856" y="456"/>
                    <a:pt x="824" y="455"/>
                    <a:pt x="833" y="462"/>
                  </a:cubicBezTo>
                  <a:cubicBezTo>
                    <a:pt x="835" y="464"/>
                    <a:pt x="840" y="467"/>
                    <a:pt x="843" y="469"/>
                  </a:cubicBezTo>
                  <a:cubicBezTo>
                    <a:pt x="843" y="469"/>
                    <a:pt x="843" y="469"/>
                    <a:pt x="843" y="469"/>
                  </a:cubicBezTo>
                  <a:cubicBezTo>
                    <a:pt x="846" y="469"/>
                    <a:pt x="847" y="469"/>
                    <a:pt x="849" y="466"/>
                  </a:cubicBezTo>
                  <a:close/>
                  <a:moveTo>
                    <a:pt x="726" y="818"/>
                  </a:moveTo>
                  <a:cubicBezTo>
                    <a:pt x="727" y="817"/>
                    <a:pt x="727" y="817"/>
                    <a:pt x="727" y="817"/>
                  </a:cubicBezTo>
                  <a:cubicBezTo>
                    <a:pt x="729" y="816"/>
                    <a:pt x="729" y="815"/>
                    <a:pt x="727" y="814"/>
                  </a:cubicBezTo>
                  <a:cubicBezTo>
                    <a:pt x="718" y="812"/>
                    <a:pt x="711" y="823"/>
                    <a:pt x="703" y="822"/>
                  </a:cubicBezTo>
                  <a:cubicBezTo>
                    <a:pt x="699" y="822"/>
                    <a:pt x="709" y="815"/>
                    <a:pt x="705" y="815"/>
                  </a:cubicBezTo>
                  <a:cubicBezTo>
                    <a:pt x="696" y="814"/>
                    <a:pt x="691" y="821"/>
                    <a:pt x="688" y="827"/>
                  </a:cubicBezTo>
                  <a:cubicBezTo>
                    <a:pt x="687" y="829"/>
                    <a:pt x="680" y="831"/>
                    <a:pt x="681" y="835"/>
                  </a:cubicBezTo>
                  <a:cubicBezTo>
                    <a:pt x="681" y="835"/>
                    <a:pt x="692" y="832"/>
                    <a:pt x="691" y="835"/>
                  </a:cubicBezTo>
                  <a:cubicBezTo>
                    <a:pt x="689" y="840"/>
                    <a:pt x="711" y="822"/>
                    <a:pt x="726" y="818"/>
                  </a:cubicBezTo>
                  <a:close/>
                  <a:moveTo>
                    <a:pt x="1057" y="363"/>
                  </a:moveTo>
                  <a:cubicBezTo>
                    <a:pt x="1062" y="355"/>
                    <a:pt x="1043" y="357"/>
                    <a:pt x="1037" y="353"/>
                  </a:cubicBezTo>
                  <a:cubicBezTo>
                    <a:pt x="1024" y="344"/>
                    <a:pt x="1033" y="366"/>
                    <a:pt x="1050" y="369"/>
                  </a:cubicBezTo>
                  <a:cubicBezTo>
                    <a:pt x="1050" y="369"/>
                    <a:pt x="1050" y="369"/>
                    <a:pt x="1050" y="369"/>
                  </a:cubicBezTo>
                  <a:cubicBezTo>
                    <a:pt x="1058" y="370"/>
                    <a:pt x="1055" y="367"/>
                    <a:pt x="1057" y="363"/>
                  </a:cubicBezTo>
                  <a:close/>
                  <a:moveTo>
                    <a:pt x="737" y="514"/>
                  </a:moveTo>
                  <a:cubicBezTo>
                    <a:pt x="739" y="513"/>
                    <a:pt x="739" y="519"/>
                    <a:pt x="742" y="519"/>
                  </a:cubicBezTo>
                  <a:cubicBezTo>
                    <a:pt x="746" y="519"/>
                    <a:pt x="752" y="515"/>
                    <a:pt x="748" y="508"/>
                  </a:cubicBezTo>
                  <a:cubicBezTo>
                    <a:pt x="748" y="508"/>
                    <a:pt x="748" y="508"/>
                    <a:pt x="748" y="508"/>
                  </a:cubicBezTo>
                  <a:cubicBezTo>
                    <a:pt x="747" y="500"/>
                    <a:pt x="744" y="510"/>
                    <a:pt x="743" y="504"/>
                  </a:cubicBezTo>
                  <a:cubicBezTo>
                    <a:pt x="743" y="501"/>
                    <a:pt x="747" y="500"/>
                    <a:pt x="749" y="497"/>
                  </a:cubicBezTo>
                  <a:cubicBezTo>
                    <a:pt x="750" y="496"/>
                    <a:pt x="743" y="487"/>
                    <a:pt x="742" y="495"/>
                  </a:cubicBezTo>
                  <a:cubicBezTo>
                    <a:pt x="742" y="496"/>
                    <a:pt x="742" y="496"/>
                    <a:pt x="742" y="496"/>
                  </a:cubicBezTo>
                  <a:cubicBezTo>
                    <a:pt x="742" y="496"/>
                    <a:pt x="741" y="498"/>
                    <a:pt x="741" y="498"/>
                  </a:cubicBezTo>
                  <a:cubicBezTo>
                    <a:pt x="734" y="506"/>
                    <a:pt x="716" y="536"/>
                    <a:pt x="718" y="538"/>
                  </a:cubicBezTo>
                  <a:cubicBezTo>
                    <a:pt x="722" y="543"/>
                    <a:pt x="726" y="532"/>
                    <a:pt x="728" y="531"/>
                  </a:cubicBezTo>
                  <a:cubicBezTo>
                    <a:pt x="750" y="523"/>
                    <a:pt x="730" y="519"/>
                    <a:pt x="737" y="514"/>
                  </a:cubicBezTo>
                  <a:close/>
                  <a:moveTo>
                    <a:pt x="762" y="508"/>
                  </a:moveTo>
                  <a:cubicBezTo>
                    <a:pt x="763" y="508"/>
                    <a:pt x="763" y="508"/>
                    <a:pt x="763" y="508"/>
                  </a:cubicBezTo>
                  <a:cubicBezTo>
                    <a:pt x="789" y="481"/>
                    <a:pt x="763" y="481"/>
                    <a:pt x="762" y="488"/>
                  </a:cubicBezTo>
                  <a:cubicBezTo>
                    <a:pt x="762" y="491"/>
                    <a:pt x="768" y="492"/>
                    <a:pt x="766" y="496"/>
                  </a:cubicBezTo>
                  <a:cubicBezTo>
                    <a:pt x="764" y="499"/>
                    <a:pt x="754" y="490"/>
                    <a:pt x="752" y="504"/>
                  </a:cubicBezTo>
                  <a:cubicBezTo>
                    <a:pt x="751" y="512"/>
                    <a:pt x="756" y="502"/>
                    <a:pt x="756" y="502"/>
                  </a:cubicBezTo>
                  <a:cubicBezTo>
                    <a:pt x="760" y="504"/>
                    <a:pt x="754" y="514"/>
                    <a:pt x="762" y="508"/>
                  </a:cubicBezTo>
                  <a:close/>
                  <a:moveTo>
                    <a:pt x="993" y="343"/>
                  </a:moveTo>
                  <a:cubicBezTo>
                    <a:pt x="993" y="335"/>
                    <a:pt x="1032" y="313"/>
                    <a:pt x="1016" y="301"/>
                  </a:cubicBezTo>
                  <a:cubicBezTo>
                    <a:pt x="1015" y="300"/>
                    <a:pt x="1014" y="301"/>
                    <a:pt x="1013" y="302"/>
                  </a:cubicBezTo>
                  <a:cubicBezTo>
                    <a:pt x="1009" y="304"/>
                    <a:pt x="966" y="335"/>
                    <a:pt x="966" y="335"/>
                  </a:cubicBezTo>
                  <a:cubicBezTo>
                    <a:pt x="961" y="345"/>
                    <a:pt x="957" y="356"/>
                    <a:pt x="953" y="364"/>
                  </a:cubicBezTo>
                  <a:cubicBezTo>
                    <a:pt x="953" y="365"/>
                    <a:pt x="953" y="365"/>
                    <a:pt x="953" y="365"/>
                  </a:cubicBezTo>
                  <a:cubicBezTo>
                    <a:pt x="950" y="374"/>
                    <a:pt x="962" y="366"/>
                    <a:pt x="964" y="361"/>
                  </a:cubicBezTo>
                  <a:cubicBezTo>
                    <a:pt x="966" y="357"/>
                    <a:pt x="965" y="351"/>
                    <a:pt x="965" y="351"/>
                  </a:cubicBezTo>
                  <a:cubicBezTo>
                    <a:pt x="965" y="351"/>
                    <a:pt x="993" y="356"/>
                    <a:pt x="993" y="343"/>
                  </a:cubicBezTo>
                  <a:close/>
                  <a:moveTo>
                    <a:pt x="916" y="464"/>
                  </a:moveTo>
                  <a:cubicBezTo>
                    <a:pt x="913" y="458"/>
                    <a:pt x="902" y="466"/>
                    <a:pt x="905" y="471"/>
                  </a:cubicBezTo>
                  <a:cubicBezTo>
                    <a:pt x="908" y="476"/>
                    <a:pt x="912" y="471"/>
                    <a:pt x="914" y="467"/>
                  </a:cubicBezTo>
                  <a:cubicBezTo>
                    <a:pt x="914" y="467"/>
                    <a:pt x="914" y="467"/>
                    <a:pt x="914" y="467"/>
                  </a:cubicBezTo>
                  <a:cubicBezTo>
                    <a:pt x="915" y="466"/>
                    <a:pt x="915" y="465"/>
                    <a:pt x="916" y="464"/>
                  </a:cubicBezTo>
                  <a:close/>
                  <a:moveTo>
                    <a:pt x="916" y="465"/>
                  </a:moveTo>
                  <a:cubicBezTo>
                    <a:pt x="916" y="464"/>
                    <a:pt x="916" y="464"/>
                    <a:pt x="916" y="464"/>
                  </a:cubicBezTo>
                  <a:cubicBezTo>
                    <a:pt x="915" y="465"/>
                    <a:pt x="915" y="466"/>
                    <a:pt x="914" y="467"/>
                  </a:cubicBezTo>
                  <a:cubicBezTo>
                    <a:pt x="914" y="467"/>
                    <a:pt x="914" y="467"/>
                    <a:pt x="914" y="467"/>
                  </a:cubicBezTo>
                  <a:cubicBezTo>
                    <a:pt x="915" y="466"/>
                    <a:pt x="916" y="465"/>
                    <a:pt x="916" y="465"/>
                  </a:cubicBezTo>
                  <a:close/>
                  <a:moveTo>
                    <a:pt x="1812" y="28"/>
                  </a:moveTo>
                  <a:cubicBezTo>
                    <a:pt x="1813" y="28"/>
                    <a:pt x="1813" y="28"/>
                    <a:pt x="1813" y="28"/>
                  </a:cubicBezTo>
                  <a:cubicBezTo>
                    <a:pt x="1829" y="21"/>
                    <a:pt x="1799" y="18"/>
                    <a:pt x="1812" y="28"/>
                  </a:cubicBezTo>
                  <a:close/>
                  <a:moveTo>
                    <a:pt x="1775" y="26"/>
                  </a:moveTo>
                  <a:cubicBezTo>
                    <a:pt x="1774" y="30"/>
                    <a:pt x="1786" y="30"/>
                    <a:pt x="1788" y="30"/>
                  </a:cubicBezTo>
                  <a:cubicBezTo>
                    <a:pt x="1789" y="30"/>
                    <a:pt x="1789" y="30"/>
                    <a:pt x="1789" y="30"/>
                  </a:cubicBezTo>
                  <a:cubicBezTo>
                    <a:pt x="1797" y="29"/>
                    <a:pt x="1775" y="24"/>
                    <a:pt x="1775" y="26"/>
                  </a:cubicBezTo>
                  <a:close/>
                  <a:moveTo>
                    <a:pt x="1792" y="24"/>
                  </a:moveTo>
                  <a:cubicBezTo>
                    <a:pt x="1805" y="23"/>
                    <a:pt x="1796" y="4"/>
                    <a:pt x="1788" y="11"/>
                  </a:cubicBezTo>
                  <a:cubicBezTo>
                    <a:pt x="1786" y="14"/>
                    <a:pt x="1795" y="15"/>
                    <a:pt x="1792" y="17"/>
                  </a:cubicBezTo>
                  <a:cubicBezTo>
                    <a:pt x="1789" y="19"/>
                    <a:pt x="1770" y="17"/>
                    <a:pt x="1792" y="24"/>
                  </a:cubicBezTo>
                  <a:close/>
                  <a:moveTo>
                    <a:pt x="838" y="469"/>
                  </a:moveTo>
                  <a:cubicBezTo>
                    <a:pt x="830" y="463"/>
                    <a:pt x="830" y="471"/>
                    <a:pt x="824" y="471"/>
                  </a:cubicBezTo>
                  <a:cubicBezTo>
                    <a:pt x="816" y="469"/>
                    <a:pt x="787" y="455"/>
                    <a:pt x="783" y="471"/>
                  </a:cubicBezTo>
                  <a:cubicBezTo>
                    <a:pt x="783" y="472"/>
                    <a:pt x="791" y="472"/>
                    <a:pt x="792" y="473"/>
                  </a:cubicBezTo>
                  <a:cubicBezTo>
                    <a:pt x="794" y="478"/>
                    <a:pt x="775" y="472"/>
                    <a:pt x="782" y="483"/>
                  </a:cubicBezTo>
                  <a:cubicBezTo>
                    <a:pt x="783" y="484"/>
                    <a:pt x="781" y="486"/>
                    <a:pt x="781" y="487"/>
                  </a:cubicBezTo>
                  <a:cubicBezTo>
                    <a:pt x="781" y="487"/>
                    <a:pt x="781" y="487"/>
                    <a:pt x="781" y="487"/>
                  </a:cubicBezTo>
                  <a:cubicBezTo>
                    <a:pt x="785" y="488"/>
                    <a:pt x="782" y="484"/>
                    <a:pt x="785" y="486"/>
                  </a:cubicBezTo>
                  <a:cubicBezTo>
                    <a:pt x="788" y="488"/>
                    <a:pt x="772" y="493"/>
                    <a:pt x="781" y="501"/>
                  </a:cubicBezTo>
                  <a:cubicBezTo>
                    <a:pt x="782" y="502"/>
                    <a:pt x="782" y="502"/>
                    <a:pt x="782" y="502"/>
                  </a:cubicBezTo>
                  <a:cubicBezTo>
                    <a:pt x="791" y="502"/>
                    <a:pt x="783" y="488"/>
                    <a:pt x="791" y="490"/>
                  </a:cubicBezTo>
                  <a:cubicBezTo>
                    <a:pt x="791" y="490"/>
                    <a:pt x="794" y="493"/>
                    <a:pt x="794" y="493"/>
                  </a:cubicBezTo>
                  <a:cubicBezTo>
                    <a:pt x="793" y="496"/>
                    <a:pt x="797" y="500"/>
                    <a:pt x="800" y="497"/>
                  </a:cubicBezTo>
                  <a:cubicBezTo>
                    <a:pt x="802" y="496"/>
                    <a:pt x="798" y="489"/>
                    <a:pt x="802" y="489"/>
                  </a:cubicBezTo>
                  <a:cubicBezTo>
                    <a:pt x="803" y="488"/>
                    <a:pt x="813" y="498"/>
                    <a:pt x="813" y="489"/>
                  </a:cubicBezTo>
                  <a:cubicBezTo>
                    <a:pt x="813" y="486"/>
                    <a:pt x="806" y="484"/>
                    <a:pt x="806" y="484"/>
                  </a:cubicBezTo>
                  <a:cubicBezTo>
                    <a:pt x="807" y="484"/>
                    <a:pt x="846" y="475"/>
                    <a:pt x="838" y="469"/>
                  </a:cubicBezTo>
                  <a:close/>
                  <a:moveTo>
                    <a:pt x="891" y="468"/>
                  </a:moveTo>
                  <a:cubicBezTo>
                    <a:pt x="891" y="469"/>
                    <a:pt x="908" y="462"/>
                    <a:pt x="917" y="452"/>
                  </a:cubicBezTo>
                  <a:cubicBezTo>
                    <a:pt x="918" y="450"/>
                    <a:pt x="929" y="439"/>
                    <a:pt x="929" y="438"/>
                  </a:cubicBezTo>
                  <a:cubicBezTo>
                    <a:pt x="928" y="437"/>
                    <a:pt x="920" y="439"/>
                    <a:pt x="919" y="439"/>
                  </a:cubicBezTo>
                  <a:cubicBezTo>
                    <a:pt x="916" y="442"/>
                    <a:pt x="910" y="438"/>
                    <a:pt x="906" y="441"/>
                  </a:cubicBezTo>
                  <a:cubicBezTo>
                    <a:pt x="903" y="443"/>
                    <a:pt x="907" y="449"/>
                    <a:pt x="903" y="449"/>
                  </a:cubicBezTo>
                  <a:cubicBezTo>
                    <a:pt x="902" y="450"/>
                    <a:pt x="900" y="451"/>
                    <a:pt x="899" y="452"/>
                  </a:cubicBezTo>
                  <a:cubicBezTo>
                    <a:pt x="897" y="452"/>
                    <a:pt x="896" y="453"/>
                    <a:pt x="895" y="452"/>
                  </a:cubicBezTo>
                  <a:cubicBezTo>
                    <a:pt x="894" y="452"/>
                    <a:pt x="905" y="446"/>
                    <a:pt x="896" y="441"/>
                  </a:cubicBezTo>
                  <a:cubicBezTo>
                    <a:pt x="887" y="436"/>
                    <a:pt x="892" y="447"/>
                    <a:pt x="890" y="449"/>
                  </a:cubicBezTo>
                  <a:cubicBezTo>
                    <a:pt x="887" y="451"/>
                    <a:pt x="886" y="443"/>
                    <a:pt x="886" y="442"/>
                  </a:cubicBezTo>
                  <a:cubicBezTo>
                    <a:pt x="883" y="440"/>
                    <a:pt x="879" y="443"/>
                    <a:pt x="877" y="444"/>
                  </a:cubicBezTo>
                  <a:cubicBezTo>
                    <a:pt x="875" y="445"/>
                    <a:pt x="875" y="450"/>
                    <a:pt x="874" y="449"/>
                  </a:cubicBezTo>
                  <a:cubicBezTo>
                    <a:pt x="873" y="447"/>
                    <a:pt x="861" y="449"/>
                    <a:pt x="861" y="450"/>
                  </a:cubicBezTo>
                  <a:cubicBezTo>
                    <a:pt x="860" y="452"/>
                    <a:pt x="870" y="456"/>
                    <a:pt x="871" y="459"/>
                  </a:cubicBezTo>
                  <a:cubicBezTo>
                    <a:pt x="872" y="461"/>
                    <a:pt x="867" y="457"/>
                    <a:pt x="866" y="458"/>
                  </a:cubicBezTo>
                  <a:cubicBezTo>
                    <a:pt x="858" y="468"/>
                    <a:pt x="859" y="454"/>
                    <a:pt x="855" y="458"/>
                  </a:cubicBezTo>
                  <a:cubicBezTo>
                    <a:pt x="850" y="463"/>
                    <a:pt x="855" y="464"/>
                    <a:pt x="856" y="467"/>
                  </a:cubicBezTo>
                  <a:cubicBezTo>
                    <a:pt x="856" y="469"/>
                    <a:pt x="851" y="470"/>
                    <a:pt x="853" y="470"/>
                  </a:cubicBezTo>
                  <a:cubicBezTo>
                    <a:pt x="854" y="470"/>
                    <a:pt x="858" y="470"/>
                    <a:pt x="858" y="471"/>
                  </a:cubicBezTo>
                  <a:cubicBezTo>
                    <a:pt x="858" y="471"/>
                    <a:pt x="853" y="473"/>
                    <a:pt x="852" y="473"/>
                  </a:cubicBezTo>
                  <a:cubicBezTo>
                    <a:pt x="842" y="473"/>
                    <a:pt x="848" y="478"/>
                    <a:pt x="845" y="482"/>
                  </a:cubicBezTo>
                  <a:cubicBezTo>
                    <a:pt x="844" y="484"/>
                    <a:pt x="844" y="484"/>
                    <a:pt x="844" y="484"/>
                  </a:cubicBezTo>
                  <a:cubicBezTo>
                    <a:pt x="845" y="485"/>
                    <a:pt x="887" y="473"/>
                    <a:pt x="886" y="469"/>
                  </a:cubicBezTo>
                  <a:cubicBezTo>
                    <a:pt x="885" y="464"/>
                    <a:pt x="885" y="457"/>
                    <a:pt x="890" y="456"/>
                  </a:cubicBezTo>
                  <a:cubicBezTo>
                    <a:pt x="898" y="454"/>
                    <a:pt x="889" y="467"/>
                    <a:pt x="891" y="468"/>
                  </a:cubicBezTo>
                  <a:close/>
                  <a:moveTo>
                    <a:pt x="1055" y="405"/>
                  </a:moveTo>
                  <a:cubicBezTo>
                    <a:pt x="1056" y="397"/>
                    <a:pt x="1052" y="391"/>
                    <a:pt x="1049" y="386"/>
                  </a:cubicBezTo>
                  <a:cubicBezTo>
                    <a:pt x="1048" y="384"/>
                    <a:pt x="1055" y="380"/>
                    <a:pt x="1054" y="379"/>
                  </a:cubicBezTo>
                  <a:cubicBezTo>
                    <a:pt x="1054" y="377"/>
                    <a:pt x="1047" y="381"/>
                    <a:pt x="1044" y="380"/>
                  </a:cubicBezTo>
                  <a:cubicBezTo>
                    <a:pt x="1044" y="379"/>
                    <a:pt x="1031" y="366"/>
                    <a:pt x="1027" y="366"/>
                  </a:cubicBezTo>
                  <a:cubicBezTo>
                    <a:pt x="1024" y="366"/>
                    <a:pt x="1035" y="380"/>
                    <a:pt x="1029" y="376"/>
                  </a:cubicBezTo>
                  <a:cubicBezTo>
                    <a:pt x="1026" y="375"/>
                    <a:pt x="1026" y="373"/>
                    <a:pt x="1023" y="373"/>
                  </a:cubicBezTo>
                  <a:cubicBezTo>
                    <a:pt x="1001" y="375"/>
                    <a:pt x="1023" y="386"/>
                    <a:pt x="1023" y="389"/>
                  </a:cubicBezTo>
                  <a:cubicBezTo>
                    <a:pt x="1025" y="399"/>
                    <a:pt x="1008" y="387"/>
                    <a:pt x="1008" y="398"/>
                  </a:cubicBezTo>
                  <a:cubicBezTo>
                    <a:pt x="1008" y="401"/>
                    <a:pt x="1012" y="410"/>
                    <a:pt x="1009" y="408"/>
                  </a:cubicBezTo>
                  <a:cubicBezTo>
                    <a:pt x="1007" y="407"/>
                    <a:pt x="1008" y="404"/>
                    <a:pt x="1005" y="404"/>
                  </a:cubicBezTo>
                  <a:cubicBezTo>
                    <a:pt x="998" y="402"/>
                    <a:pt x="990" y="415"/>
                    <a:pt x="988" y="420"/>
                  </a:cubicBezTo>
                  <a:cubicBezTo>
                    <a:pt x="988" y="421"/>
                    <a:pt x="982" y="426"/>
                    <a:pt x="981" y="425"/>
                  </a:cubicBezTo>
                  <a:cubicBezTo>
                    <a:pt x="976" y="418"/>
                    <a:pt x="1002" y="400"/>
                    <a:pt x="1004" y="390"/>
                  </a:cubicBezTo>
                  <a:cubicBezTo>
                    <a:pt x="1005" y="383"/>
                    <a:pt x="981" y="399"/>
                    <a:pt x="984" y="393"/>
                  </a:cubicBezTo>
                  <a:cubicBezTo>
                    <a:pt x="986" y="384"/>
                    <a:pt x="1007" y="369"/>
                    <a:pt x="997" y="357"/>
                  </a:cubicBezTo>
                  <a:cubicBezTo>
                    <a:pt x="996" y="357"/>
                    <a:pt x="995" y="356"/>
                    <a:pt x="995" y="356"/>
                  </a:cubicBezTo>
                  <a:cubicBezTo>
                    <a:pt x="982" y="353"/>
                    <a:pt x="961" y="367"/>
                    <a:pt x="965" y="375"/>
                  </a:cubicBezTo>
                  <a:cubicBezTo>
                    <a:pt x="966" y="377"/>
                    <a:pt x="973" y="379"/>
                    <a:pt x="972" y="379"/>
                  </a:cubicBezTo>
                  <a:cubicBezTo>
                    <a:pt x="968" y="383"/>
                    <a:pt x="957" y="376"/>
                    <a:pt x="956" y="384"/>
                  </a:cubicBezTo>
                  <a:cubicBezTo>
                    <a:pt x="956" y="385"/>
                    <a:pt x="956" y="387"/>
                    <a:pt x="956" y="388"/>
                  </a:cubicBezTo>
                  <a:cubicBezTo>
                    <a:pt x="956" y="389"/>
                    <a:pt x="982" y="396"/>
                    <a:pt x="979" y="398"/>
                  </a:cubicBezTo>
                  <a:cubicBezTo>
                    <a:pt x="977" y="399"/>
                    <a:pt x="961" y="391"/>
                    <a:pt x="957" y="394"/>
                  </a:cubicBezTo>
                  <a:cubicBezTo>
                    <a:pt x="946" y="403"/>
                    <a:pt x="967" y="408"/>
                    <a:pt x="968" y="410"/>
                  </a:cubicBezTo>
                  <a:cubicBezTo>
                    <a:pt x="969" y="411"/>
                    <a:pt x="973" y="411"/>
                    <a:pt x="972" y="413"/>
                  </a:cubicBezTo>
                  <a:cubicBezTo>
                    <a:pt x="972" y="413"/>
                    <a:pt x="971" y="413"/>
                    <a:pt x="971" y="413"/>
                  </a:cubicBezTo>
                  <a:cubicBezTo>
                    <a:pt x="970" y="413"/>
                    <a:pt x="970" y="413"/>
                    <a:pt x="969" y="413"/>
                  </a:cubicBezTo>
                  <a:cubicBezTo>
                    <a:pt x="960" y="413"/>
                    <a:pt x="950" y="409"/>
                    <a:pt x="953" y="416"/>
                  </a:cubicBezTo>
                  <a:cubicBezTo>
                    <a:pt x="954" y="417"/>
                    <a:pt x="956" y="421"/>
                    <a:pt x="956" y="421"/>
                  </a:cubicBezTo>
                  <a:cubicBezTo>
                    <a:pt x="950" y="422"/>
                    <a:pt x="940" y="413"/>
                    <a:pt x="935" y="420"/>
                  </a:cubicBezTo>
                  <a:cubicBezTo>
                    <a:pt x="930" y="427"/>
                    <a:pt x="949" y="430"/>
                    <a:pt x="940" y="432"/>
                  </a:cubicBezTo>
                  <a:cubicBezTo>
                    <a:pt x="933" y="433"/>
                    <a:pt x="941" y="435"/>
                    <a:pt x="945" y="435"/>
                  </a:cubicBezTo>
                  <a:cubicBezTo>
                    <a:pt x="946" y="435"/>
                    <a:pt x="948" y="435"/>
                    <a:pt x="948" y="436"/>
                  </a:cubicBezTo>
                  <a:cubicBezTo>
                    <a:pt x="947" y="437"/>
                    <a:pt x="940" y="438"/>
                    <a:pt x="939" y="438"/>
                  </a:cubicBezTo>
                  <a:cubicBezTo>
                    <a:pt x="928" y="438"/>
                    <a:pt x="921" y="456"/>
                    <a:pt x="916" y="464"/>
                  </a:cubicBezTo>
                  <a:cubicBezTo>
                    <a:pt x="916" y="464"/>
                    <a:pt x="916" y="464"/>
                    <a:pt x="916" y="465"/>
                  </a:cubicBezTo>
                  <a:cubicBezTo>
                    <a:pt x="916" y="465"/>
                    <a:pt x="916" y="465"/>
                    <a:pt x="916" y="465"/>
                  </a:cubicBezTo>
                  <a:cubicBezTo>
                    <a:pt x="916" y="465"/>
                    <a:pt x="915" y="466"/>
                    <a:pt x="914" y="467"/>
                  </a:cubicBezTo>
                  <a:cubicBezTo>
                    <a:pt x="914" y="468"/>
                    <a:pt x="914" y="468"/>
                    <a:pt x="914" y="468"/>
                  </a:cubicBezTo>
                  <a:cubicBezTo>
                    <a:pt x="914" y="470"/>
                    <a:pt x="935" y="458"/>
                    <a:pt x="936" y="455"/>
                  </a:cubicBezTo>
                  <a:cubicBezTo>
                    <a:pt x="940" y="449"/>
                    <a:pt x="946" y="447"/>
                    <a:pt x="959" y="439"/>
                  </a:cubicBezTo>
                  <a:cubicBezTo>
                    <a:pt x="962" y="437"/>
                    <a:pt x="962" y="427"/>
                    <a:pt x="965" y="428"/>
                  </a:cubicBezTo>
                  <a:cubicBezTo>
                    <a:pt x="980" y="434"/>
                    <a:pt x="942" y="451"/>
                    <a:pt x="945" y="456"/>
                  </a:cubicBezTo>
                  <a:cubicBezTo>
                    <a:pt x="946" y="457"/>
                    <a:pt x="958" y="457"/>
                    <a:pt x="960" y="456"/>
                  </a:cubicBezTo>
                  <a:cubicBezTo>
                    <a:pt x="965" y="453"/>
                    <a:pt x="970" y="465"/>
                    <a:pt x="972" y="461"/>
                  </a:cubicBezTo>
                  <a:cubicBezTo>
                    <a:pt x="974" y="458"/>
                    <a:pt x="980" y="441"/>
                    <a:pt x="983" y="441"/>
                  </a:cubicBezTo>
                  <a:cubicBezTo>
                    <a:pt x="985" y="442"/>
                    <a:pt x="983" y="447"/>
                    <a:pt x="987" y="447"/>
                  </a:cubicBezTo>
                  <a:cubicBezTo>
                    <a:pt x="988" y="447"/>
                    <a:pt x="989" y="427"/>
                    <a:pt x="994" y="438"/>
                  </a:cubicBezTo>
                  <a:cubicBezTo>
                    <a:pt x="996" y="441"/>
                    <a:pt x="991" y="448"/>
                    <a:pt x="993" y="451"/>
                  </a:cubicBezTo>
                  <a:cubicBezTo>
                    <a:pt x="999" y="459"/>
                    <a:pt x="1012" y="425"/>
                    <a:pt x="1014" y="424"/>
                  </a:cubicBezTo>
                  <a:cubicBezTo>
                    <a:pt x="1026" y="417"/>
                    <a:pt x="1053" y="430"/>
                    <a:pt x="1055" y="405"/>
                  </a:cubicBezTo>
                  <a:close/>
                  <a:moveTo>
                    <a:pt x="922" y="511"/>
                  </a:moveTo>
                  <a:cubicBezTo>
                    <a:pt x="920" y="509"/>
                    <a:pt x="919" y="511"/>
                    <a:pt x="918" y="512"/>
                  </a:cubicBezTo>
                  <a:cubicBezTo>
                    <a:pt x="905" y="524"/>
                    <a:pt x="915" y="523"/>
                    <a:pt x="935" y="521"/>
                  </a:cubicBezTo>
                  <a:cubicBezTo>
                    <a:pt x="936" y="520"/>
                    <a:pt x="936" y="520"/>
                    <a:pt x="936" y="520"/>
                  </a:cubicBezTo>
                  <a:cubicBezTo>
                    <a:pt x="947" y="517"/>
                    <a:pt x="926" y="518"/>
                    <a:pt x="922" y="511"/>
                  </a:cubicBezTo>
                  <a:close/>
                  <a:moveTo>
                    <a:pt x="934" y="513"/>
                  </a:moveTo>
                  <a:cubicBezTo>
                    <a:pt x="936" y="513"/>
                    <a:pt x="937" y="513"/>
                    <a:pt x="938" y="513"/>
                  </a:cubicBezTo>
                  <a:cubicBezTo>
                    <a:pt x="940" y="513"/>
                    <a:pt x="940" y="513"/>
                    <a:pt x="940" y="513"/>
                  </a:cubicBezTo>
                  <a:cubicBezTo>
                    <a:pt x="952" y="504"/>
                    <a:pt x="912" y="511"/>
                    <a:pt x="934" y="513"/>
                  </a:cubicBezTo>
                  <a:close/>
                  <a:moveTo>
                    <a:pt x="562" y="1026"/>
                  </a:moveTo>
                  <a:cubicBezTo>
                    <a:pt x="561" y="1036"/>
                    <a:pt x="572" y="1029"/>
                    <a:pt x="577" y="1032"/>
                  </a:cubicBezTo>
                  <a:cubicBezTo>
                    <a:pt x="584" y="1037"/>
                    <a:pt x="570" y="1032"/>
                    <a:pt x="570" y="1037"/>
                  </a:cubicBezTo>
                  <a:cubicBezTo>
                    <a:pt x="570" y="1043"/>
                    <a:pt x="588" y="1048"/>
                    <a:pt x="592" y="1048"/>
                  </a:cubicBezTo>
                  <a:cubicBezTo>
                    <a:pt x="594" y="1048"/>
                    <a:pt x="595" y="1050"/>
                    <a:pt x="596" y="1049"/>
                  </a:cubicBezTo>
                  <a:cubicBezTo>
                    <a:pt x="597" y="1048"/>
                    <a:pt x="598" y="1045"/>
                    <a:pt x="599" y="1043"/>
                  </a:cubicBezTo>
                  <a:cubicBezTo>
                    <a:pt x="599" y="1043"/>
                    <a:pt x="599" y="1043"/>
                    <a:pt x="599" y="1043"/>
                  </a:cubicBezTo>
                  <a:cubicBezTo>
                    <a:pt x="603" y="1038"/>
                    <a:pt x="585" y="1040"/>
                    <a:pt x="585" y="1039"/>
                  </a:cubicBezTo>
                  <a:cubicBezTo>
                    <a:pt x="584" y="1039"/>
                    <a:pt x="564" y="1013"/>
                    <a:pt x="562" y="1026"/>
                  </a:cubicBezTo>
                  <a:close/>
                  <a:moveTo>
                    <a:pt x="95" y="1822"/>
                  </a:moveTo>
                  <a:cubicBezTo>
                    <a:pt x="90" y="1820"/>
                    <a:pt x="87" y="1835"/>
                    <a:pt x="98" y="1825"/>
                  </a:cubicBezTo>
                  <a:cubicBezTo>
                    <a:pt x="100" y="1823"/>
                    <a:pt x="94" y="1824"/>
                    <a:pt x="95" y="1822"/>
                  </a:cubicBezTo>
                  <a:close/>
                  <a:moveTo>
                    <a:pt x="594" y="1029"/>
                  </a:moveTo>
                  <a:cubicBezTo>
                    <a:pt x="593" y="1029"/>
                    <a:pt x="590" y="1037"/>
                    <a:pt x="600" y="1038"/>
                  </a:cubicBezTo>
                  <a:cubicBezTo>
                    <a:pt x="600" y="1038"/>
                    <a:pt x="600" y="1038"/>
                    <a:pt x="600" y="1038"/>
                  </a:cubicBezTo>
                  <a:cubicBezTo>
                    <a:pt x="606" y="1039"/>
                    <a:pt x="594" y="1029"/>
                    <a:pt x="594" y="1029"/>
                  </a:cubicBezTo>
                  <a:close/>
                  <a:moveTo>
                    <a:pt x="560" y="1158"/>
                  </a:moveTo>
                  <a:cubicBezTo>
                    <a:pt x="563" y="1163"/>
                    <a:pt x="573" y="1152"/>
                    <a:pt x="579" y="1150"/>
                  </a:cubicBezTo>
                  <a:cubicBezTo>
                    <a:pt x="579" y="1150"/>
                    <a:pt x="579" y="1150"/>
                    <a:pt x="579" y="1150"/>
                  </a:cubicBezTo>
                  <a:cubicBezTo>
                    <a:pt x="581" y="1147"/>
                    <a:pt x="556" y="1149"/>
                    <a:pt x="560" y="1158"/>
                  </a:cubicBezTo>
                  <a:close/>
                  <a:moveTo>
                    <a:pt x="21" y="1510"/>
                  </a:moveTo>
                  <a:cubicBezTo>
                    <a:pt x="21" y="1510"/>
                    <a:pt x="21" y="1510"/>
                    <a:pt x="21" y="1510"/>
                  </a:cubicBezTo>
                  <a:cubicBezTo>
                    <a:pt x="19" y="1507"/>
                    <a:pt x="14" y="1506"/>
                    <a:pt x="13" y="1508"/>
                  </a:cubicBezTo>
                  <a:cubicBezTo>
                    <a:pt x="8" y="1515"/>
                    <a:pt x="21" y="1521"/>
                    <a:pt x="21" y="1510"/>
                  </a:cubicBezTo>
                  <a:close/>
                  <a:moveTo>
                    <a:pt x="85" y="1609"/>
                  </a:moveTo>
                  <a:cubicBezTo>
                    <a:pt x="85" y="1609"/>
                    <a:pt x="85" y="1609"/>
                    <a:pt x="85" y="1609"/>
                  </a:cubicBezTo>
                  <a:cubicBezTo>
                    <a:pt x="82" y="1605"/>
                    <a:pt x="74" y="1615"/>
                    <a:pt x="70" y="1621"/>
                  </a:cubicBezTo>
                  <a:cubicBezTo>
                    <a:pt x="67" y="1624"/>
                    <a:pt x="53" y="1625"/>
                    <a:pt x="55" y="1628"/>
                  </a:cubicBezTo>
                  <a:cubicBezTo>
                    <a:pt x="61" y="1642"/>
                    <a:pt x="89" y="1657"/>
                    <a:pt x="85" y="1609"/>
                  </a:cubicBezTo>
                  <a:close/>
                  <a:moveTo>
                    <a:pt x="104" y="1827"/>
                  </a:moveTo>
                  <a:cubicBezTo>
                    <a:pt x="104" y="1827"/>
                    <a:pt x="104" y="1827"/>
                    <a:pt x="104" y="1827"/>
                  </a:cubicBezTo>
                  <a:cubicBezTo>
                    <a:pt x="104" y="1826"/>
                    <a:pt x="103" y="1827"/>
                    <a:pt x="103" y="1827"/>
                  </a:cubicBezTo>
                  <a:cubicBezTo>
                    <a:pt x="94" y="1833"/>
                    <a:pt x="108" y="1835"/>
                    <a:pt x="104" y="1827"/>
                  </a:cubicBezTo>
                  <a:close/>
                  <a:moveTo>
                    <a:pt x="105" y="1816"/>
                  </a:moveTo>
                  <a:cubicBezTo>
                    <a:pt x="109" y="1819"/>
                    <a:pt x="124" y="1813"/>
                    <a:pt x="116" y="1808"/>
                  </a:cubicBezTo>
                  <a:cubicBezTo>
                    <a:pt x="116" y="1808"/>
                    <a:pt x="116" y="1808"/>
                    <a:pt x="116" y="1808"/>
                  </a:cubicBezTo>
                  <a:cubicBezTo>
                    <a:pt x="111" y="1806"/>
                    <a:pt x="99" y="1813"/>
                    <a:pt x="105" y="1816"/>
                  </a:cubicBezTo>
                  <a:close/>
                  <a:moveTo>
                    <a:pt x="111" y="1683"/>
                  </a:moveTo>
                  <a:cubicBezTo>
                    <a:pt x="110" y="1683"/>
                    <a:pt x="110" y="1683"/>
                    <a:pt x="110" y="1683"/>
                  </a:cubicBezTo>
                  <a:cubicBezTo>
                    <a:pt x="106" y="1684"/>
                    <a:pt x="104" y="1688"/>
                    <a:pt x="106" y="1691"/>
                  </a:cubicBezTo>
                  <a:cubicBezTo>
                    <a:pt x="111" y="1701"/>
                    <a:pt x="119" y="1683"/>
                    <a:pt x="111" y="1683"/>
                  </a:cubicBezTo>
                  <a:close/>
                  <a:moveTo>
                    <a:pt x="578" y="1019"/>
                  </a:moveTo>
                  <a:cubicBezTo>
                    <a:pt x="568" y="1022"/>
                    <a:pt x="596" y="1037"/>
                    <a:pt x="590" y="1022"/>
                  </a:cubicBezTo>
                  <a:cubicBezTo>
                    <a:pt x="590" y="1021"/>
                    <a:pt x="590" y="1021"/>
                    <a:pt x="590" y="1021"/>
                  </a:cubicBezTo>
                  <a:cubicBezTo>
                    <a:pt x="587" y="1017"/>
                    <a:pt x="582" y="1017"/>
                    <a:pt x="578" y="1019"/>
                  </a:cubicBezTo>
                  <a:close/>
                  <a:moveTo>
                    <a:pt x="1836" y="147"/>
                  </a:moveTo>
                  <a:cubicBezTo>
                    <a:pt x="1836" y="148"/>
                    <a:pt x="1836" y="148"/>
                    <a:pt x="1836" y="148"/>
                  </a:cubicBezTo>
                  <a:cubicBezTo>
                    <a:pt x="1843" y="157"/>
                    <a:pt x="1841" y="130"/>
                    <a:pt x="1836" y="147"/>
                  </a:cubicBezTo>
                  <a:close/>
                  <a:moveTo>
                    <a:pt x="11" y="1553"/>
                  </a:moveTo>
                  <a:cubicBezTo>
                    <a:pt x="11" y="1553"/>
                    <a:pt x="11" y="1553"/>
                    <a:pt x="11" y="1553"/>
                  </a:cubicBez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1" y="1552"/>
                    <a:pt x="11" y="1553"/>
                  </a:cubicBezTo>
                  <a:close/>
                  <a:moveTo>
                    <a:pt x="8" y="1552"/>
                  </a:moveTo>
                  <a:cubicBezTo>
                    <a:pt x="8" y="1550"/>
                    <a:pt x="10" y="1553"/>
                    <a:pt x="12" y="1554"/>
                  </a:cubicBezTo>
                  <a:cubicBezTo>
                    <a:pt x="12" y="1554"/>
                    <a:pt x="12" y="1554"/>
                    <a:pt x="11" y="1553"/>
                  </a:cubicBezTo>
                  <a:cubicBezTo>
                    <a:pt x="11" y="1553"/>
                    <a:pt x="11" y="1553"/>
                    <a:pt x="11" y="1553"/>
                  </a:cubicBezTo>
                  <a:cubicBezTo>
                    <a:pt x="11" y="1552"/>
                    <a:pt x="12" y="1554"/>
                    <a:pt x="12" y="1554"/>
                  </a:cubicBezTo>
                  <a:cubicBezTo>
                    <a:pt x="14" y="1555"/>
                    <a:pt x="15" y="1555"/>
                    <a:pt x="15" y="1555"/>
                  </a:cubicBezTo>
                  <a:cubicBezTo>
                    <a:pt x="22" y="1548"/>
                    <a:pt x="23" y="1546"/>
                    <a:pt x="20" y="1536"/>
                  </a:cubicBezTo>
                  <a:cubicBezTo>
                    <a:pt x="20" y="1536"/>
                    <a:pt x="20" y="1536"/>
                    <a:pt x="20" y="1536"/>
                  </a:cubicBezTo>
                  <a:cubicBezTo>
                    <a:pt x="18" y="1535"/>
                    <a:pt x="16" y="1536"/>
                    <a:pt x="15" y="1538"/>
                  </a:cubicBezTo>
                  <a:cubicBezTo>
                    <a:pt x="15" y="1539"/>
                    <a:pt x="16" y="1541"/>
                    <a:pt x="15" y="1542"/>
                  </a:cubicBezTo>
                  <a:cubicBezTo>
                    <a:pt x="15" y="1542"/>
                    <a:pt x="16" y="1542"/>
                    <a:pt x="15" y="1543"/>
                  </a:cubicBezTo>
                  <a:cubicBezTo>
                    <a:pt x="14" y="1543"/>
                    <a:pt x="13" y="1536"/>
                    <a:pt x="13" y="1535"/>
                  </a:cubicBezTo>
                  <a:cubicBezTo>
                    <a:pt x="13" y="1531"/>
                    <a:pt x="11" y="1536"/>
                    <a:pt x="13" y="1541"/>
                  </a:cubicBezTo>
                  <a:cubicBezTo>
                    <a:pt x="14" y="1545"/>
                    <a:pt x="12" y="1545"/>
                    <a:pt x="10" y="1542"/>
                  </a:cubicBezTo>
                  <a:cubicBezTo>
                    <a:pt x="3" y="1529"/>
                    <a:pt x="6" y="1561"/>
                    <a:pt x="8" y="1552"/>
                  </a:cubicBezTo>
                  <a:close/>
                  <a:moveTo>
                    <a:pt x="113" y="1370"/>
                  </a:moveTo>
                  <a:cubicBezTo>
                    <a:pt x="113" y="1370"/>
                    <a:pt x="113" y="1370"/>
                    <a:pt x="113" y="1370"/>
                  </a:cubicBezTo>
                  <a:cubicBezTo>
                    <a:pt x="121" y="1364"/>
                    <a:pt x="108" y="1349"/>
                    <a:pt x="100" y="1356"/>
                  </a:cubicBezTo>
                  <a:cubicBezTo>
                    <a:pt x="95" y="1360"/>
                    <a:pt x="90" y="1394"/>
                    <a:pt x="113" y="1370"/>
                  </a:cubicBezTo>
                  <a:close/>
                  <a:moveTo>
                    <a:pt x="994" y="511"/>
                  </a:moveTo>
                  <a:cubicBezTo>
                    <a:pt x="995" y="510"/>
                    <a:pt x="995" y="510"/>
                    <a:pt x="995" y="510"/>
                  </a:cubicBezTo>
                  <a:cubicBezTo>
                    <a:pt x="998" y="509"/>
                    <a:pt x="960" y="500"/>
                    <a:pt x="960" y="512"/>
                  </a:cubicBezTo>
                  <a:cubicBezTo>
                    <a:pt x="960" y="513"/>
                    <a:pt x="969" y="513"/>
                    <a:pt x="970" y="513"/>
                  </a:cubicBezTo>
                  <a:cubicBezTo>
                    <a:pt x="978" y="514"/>
                    <a:pt x="985" y="512"/>
                    <a:pt x="994" y="511"/>
                  </a:cubicBezTo>
                  <a:close/>
                  <a:moveTo>
                    <a:pt x="2256" y="222"/>
                  </a:moveTo>
                  <a:cubicBezTo>
                    <a:pt x="2258" y="221"/>
                    <a:pt x="2268" y="219"/>
                    <a:pt x="2268" y="217"/>
                  </a:cubicBezTo>
                  <a:cubicBezTo>
                    <a:pt x="2269" y="212"/>
                    <a:pt x="2257" y="211"/>
                    <a:pt x="2259" y="207"/>
                  </a:cubicBezTo>
                  <a:cubicBezTo>
                    <a:pt x="2258" y="207"/>
                    <a:pt x="2258" y="207"/>
                    <a:pt x="2258" y="207"/>
                  </a:cubicBezTo>
                  <a:cubicBezTo>
                    <a:pt x="2237" y="197"/>
                    <a:pt x="2247" y="214"/>
                    <a:pt x="2237" y="222"/>
                  </a:cubicBezTo>
                  <a:cubicBezTo>
                    <a:pt x="2234" y="224"/>
                    <a:pt x="2231" y="227"/>
                    <a:pt x="2236" y="228"/>
                  </a:cubicBezTo>
                  <a:cubicBezTo>
                    <a:pt x="2238" y="228"/>
                    <a:pt x="2245" y="229"/>
                    <a:pt x="2245" y="226"/>
                  </a:cubicBezTo>
                  <a:cubicBezTo>
                    <a:pt x="2244" y="220"/>
                    <a:pt x="2248" y="226"/>
                    <a:pt x="2256" y="222"/>
                  </a:cubicBezTo>
                  <a:close/>
                  <a:moveTo>
                    <a:pt x="743" y="757"/>
                  </a:moveTo>
                  <a:cubicBezTo>
                    <a:pt x="743" y="758"/>
                    <a:pt x="743" y="758"/>
                    <a:pt x="743" y="758"/>
                  </a:cubicBezTo>
                  <a:cubicBezTo>
                    <a:pt x="758" y="762"/>
                    <a:pt x="747" y="737"/>
                    <a:pt x="743" y="757"/>
                  </a:cubicBezTo>
                  <a:close/>
                  <a:moveTo>
                    <a:pt x="12" y="1554"/>
                  </a:move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2" y="1554"/>
                    <a:pt x="12" y="1554"/>
                  </a:cubicBezTo>
                  <a:close/>
                  <a:moveTo>
                    <a:pt x="1354" y="182"/>
                  </a:moveTo>
                  <a:cubicBezTo>
                    <a:pt x="1364" y="185"/>
                    <a:pt x="1362" y="176"/>
                    <a:pt x="1368" y="175"/>
                  </a:cubicBezTo>
                  <a:cubicBezTo>
                    <a:pt x="1384" y="172"/>
                    <a:pt x="1363" y="171"/>
                    <a:pt x="1357" y="167"/>
                  </a:cubicBezTo>
                  <a:cubicBezTo>
                    <a:pt x="1356" y="166"/>
                    <a:pt x="1354" y="153"/>
                    <a:pt x="1350" y="157"/>
                  </a:cubicBezTo>
                  <a:cubicBezTo>
                    <a:pt x="1348" y="159"/>
                    <a:pt x="1349" y="166"/>
                    <a:pt x="1344" y="164"/>
                  </a:cubicBezTo>
                  <a:cubicBezTo>
                    <a:pt x="1341" y="162"/>
                    <a:pt x="1344" y="156"/>
                    <a:pt x="1338" y="154"/>
                  </a:cubicBezTo>
                  <a:cubicBezTo>
                    <a:pt x="1335" y="153"/>
                    <a:pt x="1335" y="145"/>
                    <a:pt x="1332" y="145"/>
                  </a:cubicBezTo>
                  <a:cubicBezTo>
                    <a:pt x="1311" y="145"/>
                    <a:pt x="1340" y="179"/>
                    <a:pt x="1353" y="182"/>
                  </a:cubicBezTo>
                  <a:lnTo>
                    <a:pt x="1354" y="182"/>
                  </a:lnTo>
                  <a:close/>
                  <a:moveTo>
                    <a:pt x="14" y="1441"/>
                  </a:moveTo>
                  <a:cubicBezTo>
                    <a:pt x="17" y="1442"/>
                    <a:pt x="10" y="1453"/>
                    <a:pt x="24" y="1447"/>
                  </a:cubicBezTo>
                  <a:cubicBezTo>
                    <a:pt x="26" y="1447"/>
                    <a:pt x="40" y="1436"/>
                    <a:pt x="36" y="1441"/>
                  </a:cubicBezTo>
                  <a:cubicBezTo>
                    <a:pt x="33" y="1444"/>
                    <a:pt x="44" y="1441"/>
                    <a:pt x="44" y="1439"/>
                  </a:cubicBezTo>
                  <a:cubicBezTo>
                    <a:pt x="43" y="1438"/>
                    <a:pt x="43" y="1438"/>
                    <a:pt x="43" y="1438"/>
                  </a:cubicBezTo>
                  <a:cubicBezTo>
                    <a:pt x="34" y="1431"/>
                    <a:pt x="18" y="1432"/>
                    <a:pt x="11" y="1436"/>
                  </a:cubicBezTo>
                  <a:cubicBezTo>
                    <a:pt x="10" y="1436"/>
                    <a:pt x="5" y="1439"/>
                    <a:pt x="7" y="1440"/>
                  </a:cubicBezTo>
                  <a:cubicBezTo>
                    <a:pt x="8" y="1441"/>
                    <a:pt x="12" y="1440"/>
                    <a:pt x="14" y="1441"/>
                  </a:cubicBezTo>
                  <a:close/>
                  <a:moveTo>
                    <a:pt x="27" y="1421"/>
                  </a:moveTo>
                  <a:cubicBezTo>
                    <a:pt x="29" y="1423"/>
                    <a:pt x="23" y="1432"/>
                    <a:pt x="34" y="1419"/>
                  </a:cubicBezTo>
                  <a:cubicBezTo>
                    <a:pt x="34" y="1418"/>
                    <a:pt x="34" y="1418"/>
                    <a:pt x="34" y="1418"/>
                  </a:cubicBezTo>
                  <a:cubicBezTo>
                    <a:pt x="36" y="1416"/>
                    <a:pt x="24" y="1410"/>
                    <a:pt x="20" y="1411"/>
                  </a:cubicBezTo>
                  <a:cubicBezTo>
                    <a:pt x="17" y="1413"/>
                    <a:pt x="25" y="1418"/>
                    <a:pt x="27" y="1421"/>
                  </a:cubicBezTo>
                  <a:close/>
                  <a:moveTo>
                    <a:pt x="96" y="1377"/>
                  </a:moveTo>
                  <a:cubicBezTo>
                    <a:pt x="96" y="1377"/>
                    <a:pt x="96" y="1377"/>
                    <a:pt x="96" y="1377"/>
                  </a:cubicBezTo>
                  <a:cubicBezTo>
                    <a:pt x="96" y="1377"/>
                    <a:pt x="86" y="1373"/>
                    <a:pt x="84" y="1373"/>
                  </a:cubicBezTo>
                  <a:cubicBezTo>
                    <a:pt x="80" y="1375"/>
                    <a:pt x="67" y="1376"/>
                    <a:pt x="70" y="1381"/>
                  </a:cubicBezTo>
                  <a:cubicBezTo>
                    <a:pt x="71" y="1382"/>
                    <a:pt x="78" y="1382"/>
                    <a:pt x="78" y="1384"/>
                  </a:cubicBezTo>
                  <a:cubicBezTo>
                    <a:pt x="78" y="1386"/>
                    <a:pt x="68" y="1382"/>
                    <a:pt x="69" y="1384"/>
                  </a:cubicBezTo>
                  <a:cubicBezTo>
                    <a:pt x="77" y="1401"/>
                    <a:pt x="93" y="1380"/>
                    <a:pt x="96" y="137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inland"/>
            <p:cNvSpPr>
              <a:spLocks noEditPoints="1"/>
            </p:cNvSpPr>
            <p:nvPr/>
          </p:nvSpPr>
          <p:spPr bwMode="auto">
            <a:xfrm>
              <a:off x="3671" y="749"/>
              <a:ext cx="563" cy="835"/>
            </a:xfrm>
            <a:custGeom>
              <a:avLst/>
              <a:gdLst>
                <a:gd name="T0" fmla="*/ 195 w 1081"/>
                <a:gd name="T1" fmla="*/ 1493 h 1604"/>
                <a:gd name="T2" fmla="*/ 261 w 1081"/>
                <a:gd name="T3" fmla="*/ 1595 h 1604"/>
                <a:gd name="T4" fmla="*/ 320 w 1081"/>
                <a:gd name="T5" fmla="*/ 1535 h 1604"/>
                <a:gd name="T6" fmla="*/ 244 w 1081"/>
                <a:gd name="T7" fmla="*/ 1490 h 1604"/>
                <a:gd name="T8" fmla="*/ 214 w 1081"/>
                <a:gd name="T9" fmla="*/ 1502 h 1604"/>
                <a:gd name="T10" fmla="*/ 309 w 1081"/>
                <a:gd name="T11" fmla="*/ 1490 h 1604"/>
                <a:gd name="T12" fmla="*/ 50 w 1081"/>
                <a:gd name="T13" fmla="*/ 1489 h 1604"/>
                <a:gd name="T14" fmla="*/ 39 w 1081"/>
                <a:gd name="T15" fmla="*/ 1469 h 1604"/>
                <a:gd name="T16" fmla="*/ 53 w 1081"/>
                <a:gd name="T17" fmla="*/ 1522 h 1604"/>
                <a:gd name="T18" fmla="*/ 73 w 1081"/>
                <a:gd name="T19" fmla="*/ 1507 h 1604"/>
                <a:gd name="T20" fmla="*/ 875 w 1081"/>
                <a:gd name="T21" fmla="*/ 1228 h 1604"/>
                <a:gd name="T22" fmla="*/ 691 w 1081"/>
                <a:gd name="T23" fmla="*/ 1446 h 1604"/>
                <a:gd name="T24" fmla="*/ 538 w 1081"/>
                <a:gd name="T25" fmla="*/ 1495 h 1604"/>
                <a:gd name="T26" fmla="*/ 304 w 1081"/>
                <a:gd name="T27" fmla="*/ 1509 h 1604"/>
                <a:gd name="T28" fmla="*/ 179 w 1081"/>
                <a:gd name="T29" fmla="*/ 1378 h 1604"/>
                <a:gd name="T30" fmla="*/ 176 w 1081"/>
                <a:gd name="T31" fmla="*/ 1087 h 1604"/>
                <a:gd name="T32" fmla="*/ 463 w 1081"/>
                <a:gd name="T33" fmla="*/ 826 h 1604"/>
                <a:gd name="T34" fmla="*/ 335 w 1081"/>
                <a:gd name="T35" fmla="*/ 310 h 1604"/>
                <a:gd name="T36" fmla="*/ 755 w 1081"/>
                <a:gd name="T37" fmla="*/ 4 h 1604"/>
                <a:gd name="T38" fmla="*/ 1046 w 1081"/>
                <a:gd name="T39" fmla="*/ 1058 h 1604"/>
                <a:gd name="T40" fmla="*/ 986 w 1081"/>
                <a:gd name="T41" fmla="*/ 1122 h 1604"/>
                <a:gd name="T42" fmla="*/ 476 w 1081"/>
                <a:gd name="T43" fmla="*/ 539 h 1604"/>
                <a:gd name="T44" fmla="*/ 942 w 1081"/>
                <a:gd name="T45" fmla="*/ 1052 h 1604"/>
                <a:gd name="T46" fmla="*/ 853 w 1081"/>
                <a:gd name="T47" fmla="*/ 1164 h 1604"/>
                <a:gd name="T48" fmla="*/ 742 w 1081"/>
                <a:gd name="T49" fmla="*/ 1031 h 1604"/>
                <a:gd name="T50" fmla="*/ 667 w 1081"/>
                <a:gd name="T51" fmla="*/ 910 h 1604"/>
                <a:gd name="T52" fmla="*/ 661 w 1081"/>
                <a:gd name="T53" fmla="*/ 620 h 1604"/>
                <a:gd name="T54" fmla="*/ 748 w 1081"/>
                <a:gd name="T55" fmla="*/ 590 h 1604"/>
                <a:gd name="T56" fmla="*/ 784 w 1081"/>
                <a:gd name="T57" fmla="*/ 924 h 1604"/>
                <a:gd name="T58" fmla="*/ 850 w 1081"/>
                <a:gd name="T59" fmla="*/ 707 h 1604"/>
                <a:gd name="T60" fmla="*/ 868 w 1081"/>
                <a:gd name="T61" fmla="*/ 651 h 1604"/>
                <a:gd name="T62" fmla="*/ 844 w 1081"/>
                <a:gd name="T63" fmla="*/ 599 h 1604"/>
                <a:gd name="T64" fmla="*/ 757 w 1081"/>
                <a:gd name="T65" fmla="*/ 205 h 1604"/>
                <a:gd name="T66" fmla="*/ 764 w 1081"/>
                <a:gd name="T67" fmla="*/ 129 h 1604"/>
                <a:gd name="T68" fmla="*/ 716 w 1081"/>
                <a:gd name="T69" fmla="*/ 333 h 1604"/>
                <a:gd name="T70" fmla="*/ 557 w 1081"/>
                <a:gd name="T71" fmla="*/ 1055 h 1604"/>
                <a:gd name="T72" fmla="*/ 495 w 1081"/>
                <a:gd name="T73" fmla="*/ 1140 h 1604"/>
                <a:gd name="T74" fmla="*/ 404 w 1081"/>
                <a:gd name="T75" fmla="*/ 1122 h 1604"/>
                <a:gd name="T76" fmla="*/ 346 w 1081"/>
                <a:gd name="T77" fmla="*/ 1319 h 1604"/>
                <a:gd name="T78" fmla="*/ 457 w 1081"/>
                <a:gd name="T79" fmla="*/ 1231 h 1604"/>
                <a:gd name="T80" fmla="*/ 364 w 1081"/>
                <a:gd name="T81" fmla="*/ 1292 h 1604"/>
                <a:gd name="T82" fmla="*/ 442 w 1081"/>
                <a:gd name="T83" fmla="*/ 1302 h 1604"/>
                <a:gd name="T84" fmla="*/ 463 w 1081"/>
                <a:gd name="T85" fmla="*/ 1344 h 1604"/>
                <a:gd name="T86" fmla="*/ 599 w 1081"/>
                <a:gd name="T87" fmla="*/ 1342 h 1604"/>
                <a:gd name="T88" fmla="*/ 564 w 1081"/>
                <a:gd name="T89" fmla="*/ 1238 h 1604"/>
                <a:gd name="T90" fmla="*/ 666 w 1081"/>
                <a:gd name="T91" fmla="*/ 1169 h 1604"/>
                <a:gd name="T92" fmla="*/ 652 w 1081"/>
                <a:gd name="T93" fmla="*/ 1125 h 1604"/>
                <a:gd name="T94" fmla="*/ 567 w 1081"/>
                <a:gd name="T95" fmla="*/ 1071 h 1604"/>
                <a:gd name="T96" fmla="*/ 557 w 1081"/>
                <a:gd name="T97" fmla="*/ 1220 h 1604"/>
                <a:gd name="T98" fmla="*/ 553 w 1081"/>
                <a:gd name="T99" fmla="*/ 1360 h 1604"/>
                <a:gd name="T100" fmla="*/ 597 w 1081"/>
                <a:gd name="T101" fmla="*/ 1292 h 1604"/>
                <a:gd name="T102" fmla="*/ 635 w 1081"/>
                <a:gd name="T103" fmla="*/ 1329 h 1604"/>
                <a:gd name="T104" fmla="*/ 627 w 1081"/>
                <a:gd name="T105" fmla="*/ 1251 h 1604"/>
                <a:gd name="T106" fmla="*/ 660 w 1081"/>
                <a:gd name="T107" fmla="*/ 1219 h 1604"/>
                <a:gd name="T108" fmla="*/ 835 w 1081"/>
                <a:gd name="T109" fmla="*/ 1302 h 1604"/>
                <a:gd name="T110" fmla="*/ 933 w 1081"/>
                <a:gd name="T111" fmla="*/ 1227 h 1604"/>
                <a:gd name="T112" fmla="*/ 830 w 1081"/>
                <a:gd name="T113" fmla="*/ 1223 h 1604"/>
                <a:gd name="T114" fmla="*/ 723 w 1081"/>
                <a:gd name="T115" fmla="*/ 1089 h 1604"/>
                <a:gd name="T116" fmla="*/ 730 w 1081"/>
                <a:gd name="T117" fmla="*/ 1119 h 1604"/>
                <a:gd name="T118" fmla="*/ 759 w 1081"/>
                <a:gd name="T119" fmla="*/ 1216 h 1604"/>
                <a:gd name="T120" fmla="*/ 743 w 1081"/>
                <a:gd name="T121" fmla="*/ 1286 h 1604"/>
                <a:gd name="T122" fmla="*/ 171 w 1081"/>
                <a:gd name="T123" fmla="*/ 1048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81" h="1604">
                  <a:moveTo>
                    <a:pt x="165" y="1457"/>
                  </a:moveTo>
                  <a:cubicBezTo>
                    <a:pt x="163" y="1455"/>
                    <a:pt x="161" y="1447"/>
                    <a:pt x="164" y="1448"/>
                  </a:cubicBezTo>
                  <a:cubicBezTo>
                    <a:pt x="164" y="1448"/>
                    <a:pt x="164" y="1448"/>
                    <a:pt x="164" y="1448"/>
                  </a:cubicBezTo>
                  <a:cubicBezTo>
                    <a:pt x="170" y="1454"/>
                    <a:pt x="170" y="1465"/>
                    <a:pt x="165" y="1457"/>
                  </a:cubicBezTo>
                  <a:close/>
                  <a:moveTo>
                    <a:pt x="176" y="1448"/>
                  </a:moveTo>
                  <a:cubicBezTo>
                    <a:pt x="173" y="1450"/>
                    <a:pt x="169" y="1457"/>
                    <a:pt x="179" y="1460"/>
                  </a:cubicBezTo>
                  <a:cubicBezTo>
                    <a:pt x="182" y="1461"/>
                    <a:pt x="186" y="1455"/>
                    <a:pt x="185" y="1452"/>
                  </a:cubicBezTo>
                  <a:cubicBezTo>
                    <a:pt x="183" y="1449"/>
                    <a:pt x="178" y="1452"/>
                    <a:pt x="177" y="1448"/>
                  </a:cubicBezTo>
                  <a:cubicBezTo>
                    <a:pt x="177" y="1448"/>
                    <a:pt x="176" y="1448"/>
                    <a:pt x="176" y="1448"/>
                  </a:cubicBezTo>
                  <a:close/>
                  <a:moveTo>
                    <a:pt x="168" y="1500"/>
                  </a:moveTo>
                  <a:cubicBezTo>
                    <a:pt x="168" y="1500"/>
                    <a:pt x="168" y="1500"/>
                    <a:pt x="168" y="1500"/>
                  </a:cubicBezTo>
                  <a:cubicBezTo>
                    <a:pt x="167" y="1500"/>
                    <a:pt x="161" y="1500"/>
                    <a:pt x="161" y="1503"/>
                  </a:cubicBezTo>
                  <a:cubicBezTo>
                    <a:pt x="161" y="1504"/>
                    <a:pt x="164" y="1503"/>
                    <a:pt x="164" y="1503"/>
                  </a:cubicBezTo>
                  <a:cubicBezTo>
                    <a:pt x="166" y="1505"/>
                    <a:pt x="166" y="1505"/>
                    <a:pt x="169" y="1505"/>
                  </a:cubicBezTo>
                  <a:cubicBezTo>
                    <a:pt x="170" y="1505"/>
                    <a:pt x="171" y="1508"/>
                    <a:pt x="171" y="1507"/>
                  </a:cubicBezTo>
                  <a:cubicBezTo>
                    <a:pt x="172" y="1506"/>
                    <a:pt x="171" y="1505"/>
                    <a:pt x="172" y="1504"/>
                  </a:cubicBezTo>
                  <a:cubicBezTo>
                    <a:pt x="173" y="1504"/>
                    <a:pt x="177" y="1504"/>
                    <a:pt x="177" y="1504"/>
                  </a:cubicBezTo>
                  <a:cubicBezTo>
                    <a:pt x="177" y="1503"/>
                    <a:pt x="177" y="1503"/>
                    <a:pt x="176" y="1503"/>
                  </a:cubicBezTo>
                  <a:cubicBezTo>
                    <a:pt x="173" y="1503"/>
                    <a:pt x="170" y="1503"/>
                    <a:pt x="168" y="1500"/>
                  </a:cubicBezTo>
                  <a:close/>
                  <a:moveTo>
                    <a:pt x="182" y="1510"/>
                  </a:moveTo>
                  <a:cubicBezTo>
                    <a:pt x="180" y="1511"/>
                    <a:pt x="189" y="1511"/>
                    <a:pt x="187" y="1512"/>
                  </a:cubicBezTo>
                  <a:cubicBezTo>
                    <a:pt x="186" y="1513"/>
                    <a:pt x="179" y="1512"/>
                    <a:pt x="180" y="1514"/>
                  </a:cubicBezTo>
                  <a:cubicBezTo>
                    <a:pt x="181" y="1516"/>
                    <a:pt x="191" y="1517"/>
                    <a:pt x="194" y="1515"/>
                  </a:cubicBezTo>
                  <a:cubicBezTo>
                    <a:pt x="196" y="1513"/>
                    <a:pt x="192" y="1512"/>
                    <a:pt x="192" y="1512"/>
                  </a:cubicBezTo>
                  <a:cubicBezTo>
                    <a:pt x="191" y="1511"/>
                    <a:pt x="196" y="1511"/>
                    <a:pt x="196" y="1507"/>
                  </a:cubicBezTo>
                  <a:cubicBezTo>
                    <a:pt x="191" y="1504"/>
                    <a:pt x="185" y="1506"/>
                    <a:pt x="182" y="1510"/>
                  </a:cubicBezTo>
                  <a:close/>
                  <a:moveTo>
                    <a:pt x="192" y="1494"/>
                  </a:moveTo>
                  <a:cubicBezTo>
                    <a:pt x="192" y="1495"/>
                    <a:pt x="190" y="1500"/>
                    <a:pt x="192" y="1499"/>
                  </a:cubicBezTo>
                  <a:cubicBezTo>
                    <a:pt x="198" y="1499"/>
                    <a:pt x="193" y="1495"/>
                    <a:pt x="195" y="1493"/>
                  </a:cubicBezTo>
                  <a:cubicBezTo>
                    <a:pt x="195" y="1493"/>
                    <a:pt x="195" y="1493"/>
                    <a:pt x="195" y="1493"/>
                  </a:cubicBezTo>
                  <a:cubicBezTo>
                    <a:pt x="196" y="1490"/>
                    <a:pt x="193" y="1492"/>
                    <a:pt x="192" y="1494"/>
                  </a:cubicBezTo>
                  <a:close/>
                  <a:moveTo>
                    <a:pt x="196" y="1507"/>
                  </a:moveTo>
                  <a:cubicBezTo>
                    <a:pt x="196" y="1507"/>
                    <a:pt x="196" y="1507"/>
                    <a:pt x="196" y="1507"/>
                  </a:cubicBezTo>
                  <a:cubicBezTo>
                    <a:pt x="196" y="1507"/>
                    <a:pt x="196" y="1507"/>
                    <a:pt x="196" y="1507"/>
                  </a:cubicBezTo>
                  <a:close/>
                  <a:moveTo>
                    <a:pt x="248" y="1554"/>
                  </a:moveTo>
                  <a:cubicBezTo>
                    <a:pt x="249" y="1553"/>
                    <a:pt x="249" y="1553"/>
                    <a:pt x="249" y="1553"/>
                  </a:cubicBezTo>
                  <a:cubicBezTo>
                    <a:pt x="253" y="1542"/>
                    <a:pt x="244" y="1543"/>
                    <a:pt x="243" y="1543"/>
                  </a:cubicBezTo>
                  <a:cubicBezTo>
                    <a:pt x="238" y="1537"/>
                    <a:pt x="248" y="1566"/>
                    <a:pt x="248" y="1554"/>
                  </a:cubicBezTo>
                  <a:close/>
                  <a:moveTo>
                    <a:pt x="250" y="1495"/>
                  </a:moveTo>
                  <a:cubicBezTo>
                    <a:pt x="234" y="1501"/>
                    <a:pt x="256" y="1509"/>
                    <a:pt x="252" y="1495"/>
                  </a:cubicBezTo>
                  <a:cubicBezTo>
                    <a:pt x="252" y="1495"/>
                    <a:pt x="252" y="1495"/>
                    <a:pt x="252" y="1495"/>
                  </a:cubicBezTo>
                  <a:cubicBezTo>
                    <a:pt x="252" y="1494"/>
                    <a:pt x="251" y="1494"/>
                    <a:pt x="250" y="1495"/>
                  </a:cubicBezTo>
                  <a:close/>
                  <a:moveTo>
                    <a:pt x="249" y="1575"/>
                  </a:moveTo>
                  <a:cubicBezTo>
                    <a:pt x="246" y="1574"/>
                    <a:pt x="252" y="1568"/>
                    <a:pt x="249" y="1569"/>
                  </a:cubicBezTo>
                  <a:cubicBezTo>
                    <a:pt x="246" y="1570"/>
                    <a:pt x="245" y="1579"/>
                    <a:pt x="245" y="1580"/>
                  </a:cubicBezTo>
                  <a:cubicBezTo>
                    <a:pt x="246" y="1580"/>
                    <a:pt x="246" y="1580"/>
                    <a:pt x="246" y="1580"/>
                  </a:cubicBezTo>
                  <a:cubicBezTo>
                    <a:pt x="246" y="1580"/>
                    <a:pt x="246" y="1580"/>
                    <a:pt x="246" y="1580"/>
                  </a:cubicBezTo>
                  <a:cubicBezTo>
                    <a:pt x="247" y="1580"/>
                    <a:pt x="247" y="1580"/>
                    <a:pt x="247" y="1580"/>
                  </a:cubicBezTo>
                  <a:cubicBezTo>
                    <a:pt x="251" y="1580"/>
                    <a:pt x="257" y="1580"/>
                    <a:pt x="261" y="1581"/>
                  </a:cubicBezTo>
                  <a:cubicBezTo>
                    <a:pt x="261" y="1581"/>
                    <a:pt x="262" y="1581"/>
                    <a:pt x="261" y="1582"/>
                  </a:cubicBezTo>
                  <a:cubicBezTo>
                    <a:pt x="261" y="1582"/>
                    <a:pt x="261" y="1582"/>
                    <a:pt x="261" y="1582"/>
                  </a:cubicBezTo>
                  <a:cubicBezTo>
                    <a:pt x="261" y="1582"/>
                    <a:pt x="261" y="1582"/>
                    <a:pt x="260" y="1582"/>
                  </a:cubicBezTo>
                  <a:cubicBezTo>
                    <a:pt x="259" y="1582"/>
                    <a:pt x="246" y="1582"/>
                    <a:pt x="246" y="1585"/>
                  </a:cubicBezTo>
                  <a:cubicBezTo>
                    <a:pt x="246" y="1587"/>
                    <a:pt x="250" y="1587"/>
                    <a:pt x="250" y="1589"/>
                  </a:cubicBezTo>
                  <a:cubicBezTo>
                    <a:pt x="251" y="1592"/>
                    <a:pt x="249" y="1597"/>
                    <a:pt x="250" y="1600"/>
                  </a:cubicBezTo>
                  <a:cubicBezTo>
                    <a:pt x="250" y="1600"/>
                    <a:pt x="250" y="1601"/>
                    <a:pt x="250" y="1601"/>
                  </a:cubicBezTo>
                  <a:cubicBezTo>
                    <a:pt x="253" y="1601"/>
                    <a:pt x="256" y="1599"/>
                    <a:pt x="259" y="1597"/>
                  </a:cubicBezTo>
                  <a:cubicBezTo>
                    <a:pt x="259" y="1597"/>
                    <a:pt x="260" y="1595"/>
                    <a:pt x="261" y="1595"/>
                  </a:cubicBezTo>
                  <a:cubicBezTo>
                    <a:pt x="262" y="1595"/>
                    <a:pt x="261" y="1596"/>
                    <a:pt x="261" y="1596"/>
                  </a:cubicBezTo>
                  <a:cubicBezTo>
                    <a:pt x="260" y="1597"/>
                    <a:pt x="259" y="1599"/>
                    <a:pt x="259" y="1600"/>
                  </a:cubicBezTo>
                  <a:cubicBezTo>
                    <a:pt x="259" y="1601"/>
                    <a:pt x="261" y="1599"/>
                    <a:pt x="261" y="1600"/>
                  </a:cubicBezTo>
                  <a:cubicBezTo>
                    <a:pt x="262" y="1601"/>
                    <a:pt x="261" y="1603"/>
                    <a:pt x="262" y="1603"/>
                  </a:cubicBezTo>
                  <a:cubicBezTo>
                    <a:pt x="262" y="1604"/>
                    <a:pt x="262" y="1603"/>
                    <a:pt x="262" y="1602"/>
                  </a:cubicBezTo>
                  <a:cubicBezTo>
                    <a:pt x="262" y="1599"/>
                    <a:pt x="264" y="1601"/>
                    <a:pt x="265" y="1600"/>
                  </a:cubicBezTo>
                  <a:cubicBezTo>
                    <a:pt x="265" y="1599"/>
                    <a:pt x="265" y="1597"/>
                    <a:pt x="266" y="1597"/>
                  </a:cubicBezTo>
                  <a:cubicBezTo>
                    <a:pt x="268" y="1598"/>
                    <a:pt x="267" y="1601"/>
                    <a:pt x="270" y="1601"/>
                  </a:cubicBezTo>
                  <a:cubicBezTo>
                    <a:pt x="270" y="1600"/>
                    <a:pt x="270" y="1600"/>
                    <a:pt x="270" y="1600"/>
                  </a:cubicBezTo>
                  <a:cubicBezTo>
                    <a:pt x="271" y="1600"/>
                    <a:pt x="271" y="1600"/>
                    <a:pt x="272" y="1600"/>
                  </a:cubicBezTo>
                  <a:cubicBezTo>
                    <a:pt x="273" y="1600"/>
                    <a:pt x="276" y="1598"/>
                    <a:pt x="276" y="1596"/>
                  </a:cubicBezTo>
                  <a:cubicBezTo>
                    <a:pt x="275" y="1595"/>
                    <a:pt x="272" y="1596"/>
                    <a:pt x="273" y="1595"/>
                  </a:cubicBezTo>
                  <a:cubicBezTo>
                    <a:pt x="277" y="1590"/>
                    <a:pt x="283" y="1591"/>
                    <a:pt x="284" y="1583"/>
                  </a:cubicBezTo>
                  <a:cubicBezTo>
                    <a:pt x="284" y="1581"/>
                    <a:pt x="281" y="1578"/>
                    <a:pt x="281" y="1578"/>
                  </a:cubicBezTo>
                  <a:cubicBezTo>
                    <a:pt x="281" y="1577"/>
                    <a:pt x="283" y="1577"/>
                    <a:pt x="283" y="1576"/>
                  </a:cubicBezTo>
                  <a:cubicBezTo>
                    <a:pt x="283" y="1575"/>
                    <a:pt x="282" y="1574"/>
                    <a:pt x="283" y="1573"/>
                  </a:cubicBezTo>
                  <a:cubicBezTo>
                    <a:pt x="283" y="1571"/>
                    <a:pt x="285" y="1572"/>
                    <a:pt x="285" y="1571"/>
                  </a:cubicBezTo>
                  <a:cubicBezTo>
                    <a:pt x="286" y="1570"/>
                    <a:pt x="294" y="1560"/>
                    <a:pt x="293" y="1559"/>
                  </a:cubicBezTo>
                  <a:cubicBezTo>
                    <a:pt x="290" y="1554"/>
                    <a:pt x="283" y="1568"/>
                    <a:pt x="278" y="1569"/>
                  </a:cubicBezTo>
                  <a:cubicBezTo>
                    <a:pt x="272" y="1570"/>
                    <a:pt x="267" y="1570"/>
                    <a:pt x="261" y="1571"/>
                  </a:cubicBezTo>
                  <a:cubicBezTo>
                    <a:pt x="257" y="1572"/>
                    <a:pt x="256" y="1576"/>
                    <a:pt x="249" y="1575"/>
                  </a:cubicBezTo>
                  <a:close/>
                  <a:moveTo>
                    <a:pt x="308" y="1544"/>
                  </a:moveTo>
                  <a:cubicBezTo>
                    <a:pt x="312" y="1543"/>
                    <a:pt x="307" y="1539"/>
                    <a:pt x="311" y="1538"/>
                  </a:cubicBezTo>
                  <a:cubicBezTo>
                    <a:pt x="311" y="1538"/>
                    <a:pt x="312" y="1540"/>
                    <a:pt x="313" y="1540"/>
                  </a:cubicBezTo>
                  <a:cubicBezTo>
                    <a:pt x="313" y="1541"/>
                    <a:pt x="315" y="1540"/>
                    <a:pt x="315" y="1540"/>
                  </a:cubicBezTo>
                  <a:cubicBezTo>
                    <a:pt x="316" y="1541"/>
                    <a:pt x="315" y="1544"/>
                    <a:pt x="318" y="1544"/>
                  </a:cubicBezTo>
                  <a:cubicBezTo>
                    <a:pt x="321" y="1544"/>
                    <a:pt x="318" y="1541"/>
                    <a:pt x="319" y="1540"/>
                  </a:cubicBezTo>
                  <a:cubicBezTo>
                    <a:pt x="319" y="1538"/>
                    <a:pt x="322" y="1538"/>
                    <a:pt x="321" y="1536"/>
                  </a:cubicBezTo>
                  <a:cubicBezTo>
                    <a:pt x="320" y="1535"/>
                    <a:pt x="320" y="1535"/>
                    <a:pt x="320" y="1535"/>
                  </a:cubicBezTo>
                  <a:cubicBezTo>
                    <a:pt x="317" y="1536"/>
                    <a:pt x="306" y="1534"/>
                    <a:pt x="306" y="1534"/>
                  </a:cubicBezTo>
                  <a:cubicBezTo>
                    <a:pt x="305" y="1535"/>
                    <a:pt x="303" y="1536"/>
                    <a:pt x="301" y="1536"/>
                  </a:cubicBezTo>
                  <a:cubicBezTo>
                    <a:pt x="299" y="1536"/>
                    <a:pt x="301" y="1533"/>
                    <a:pt x="299" y="1533"/>
                  </a:cubicBezTo>
                  <a:cubicBezTo>
                    <a:pt x="298" y="1533"/>
                    <a:pt x="297" y="1535"/>
                    <a:pt x="297" y="1536"/>
                  </a:cubicBezTo>
                  <a:cubicBezTo>
                    <a:pt x="297" y="1539"/>
                    <a:pt x="301" y="1536"/>
                    <a:pt x="301" y="1538"/>
                  </a:cubicBezTo>
                  <a:cubicBezTo>
                    <a:pt x="302" y="1541"/>
                    <a:pt x="304" y="1545"/>
                    <a:pt x="308" y="1544"/>
                  </a:cubicBezTo>
                  <a:close/>
                  <a:moveTo>
                    <a:pt x="225" y="1487"/>
                  </a:moveTo>
                  <a:cubicBezTo>
                    <a:pt x="224" y="1486"/>
                    <a:pt x="224" y="1486"/>
                    <a:pt x="224" y="1486"/>
                  </a:cubicBezTo>
                  <a:cubicBezTo>
                    <a:pt x="218" y="1483"/>
                    <a:pt x="221" y="1497"/>
                    <a:pt x="225" y="1487"/>
                  </a:cubicBezTo>
                  <a:close/>
                  <a:moveTo>
                    <a:pt x="222" y="1510"/>
                  </a:moveTo>
                  <a:cubicBezTo>
                    <a:pt x="222" y="1510"/>
                    <a:pt x="222" y="1510"/>
                    <a:pt x="223" y="1510"/>
                  </a:cubicBezTo>
                  <a:cubicBezTo>
                    <a:pt x="223" y="1511"/>
                    <a:pt x="223" y="1511"/>
                    <a:pt x="223" y="1511"/>
                  </a:cubicBezTo>
                  <a:cubicBezTo>
                    <a:pt x="223" y="1511"/>
                    <a:pt x="224" y="1509"/>
                    <a:pt x="224" y="1509"/>
                  </a:cubicBezTo>
                  <a:cubicBezTo>
                    <a:pt x="225" y="1510"/>
                    <a:pt x="225" y="1511"/>
                    <a:pt x="226" y="1511"/>
                  </a:cubicBezTo>
                  <a:cubicBezTo>
                    <a:pt x="226" y="1511"/>
                    <a:pt x="226" y="1511"/>
                    <a:pt x="226" y="1511"/>
                  </a:cubicBezTo>
                  <a:cubicBezTo>
                    <a:pt x="227" y="1510"/>
                    <a:pt x="229" y="1510"/>
                    <a:pt x="229" y="1509"/>
                  </a:cubicBezTo>
                  <a:cubicBezTo>
                    <a:pt x="230" y="1506"/>
                    <a:pt x="228" y="1507"/>
                    <a:pt x="228" y="1506"/>
                  </a:cubicBezTo>
                  <a:cubicBezTo>
                    <a:pt x="227" y="1504"/>
                    <a:pt x="234" y="1504"/>
                    <a:pt x="233" y="1502"/>
                  </a:cubicBezTo>
                  <a:cubicBezTo>
                    <a:pt x="232" y="1500"/>
                    <a:pt x="217" y="1504"/>
                    <a:pt x="222" y="1510"/>
                  </a:cubicBezTo>
                  <a:close/>
                  <a:moveTo>
                    <a:pt x="321" y="1528"/>
                  </a:moveTo>
                  <a:cubicBezTo>
                    <a:pt x="317" y="1532"/>
                    <a:pt x="330" y="1534"/>
                    <a:pt x="327" y="1529"/>
                  </a:cubicBezTo>
                  <a:cubicBezTo>
                    <a:pt x="327" y="1528"/>
                    <a:pt x="327" y="1528"/>
                    <a:pt x="327" y="1528"/>
                  </a:cubicBezTo>
                  <a:cubicBezTo>
                    <a:pt x="328" y="1526"/>
                    <a:pt x="322" y="1527"/>
                    <a:pt x="321" y="1528"/>
                  </a:cubicBezTo>
                  <a:close/>
                  <a:moveTo>
                    <a:pt x="254" y="1487"/>
                  </a:moveTo>
                  <a:cubicBezTo>
                    <a:pt x="249" y="1485"/>
                    <a:pt x="229" y="1481"/>
                    <a:pt x="231" y="1490"/>
                  </a:cubicBezTo>
                  <a:cubicBezTo>
                    <a:pt x="231" y="1491"/>
                    <a:pt x="244" y="1494"/>
                    <a:pt x="241" y="1490"/>
                  </a:cubicBezTo>
                  <a:cubicBezTo>
                    <a:pt x="241" y="1489"/>
                    <a:pt x="238" y="1490"/>
                    <a:pt x="238" y="1489"/>
                  </a:cubicBezTo>
                  <a:cubicBezTo>
                    <a:pt x="237" y="1489"/>
                    <a:pt x="241" y="1489"/>
                    <a:pt x="242" y="1490"/>
                  </a:cubicBezTo>
                  <a:cubicBezTo>
                    <a:pt x="243" y="1490"/>
                    <a:pt x="243" y="1490"/>
                    <a:pt x="244" y="1490"/>
                  </a:cubicBezTo>
                  <a:cubicBezTo>
                    <a:pt x="244" y="1490"/>
                    <a:pt x="245" y="1490"/>
                    <a:pt x="245" y="1490"/>
                  </a:cubicBezTo>
                  <a:cubicBezTo>
                    <a:pt x="245" y="1491"/>
                    <a:pt x="242" y="1493"/>
                    <a:pt x="243" y="1494"/>
                  </a:cubicBezTo>
                  <a:cubicBezTo>
                    <a:pt x="244" y="1495"/>
                    <a:pt x="249" y="1492"/>
                    <a:pt x="250" y="1491"/>
                  </a:cubicBezTo>
                  <a:cubicBezTo>
                    <a:pt x="252" y="1490"/>
                    <a:pt x="254" y="1493"/>
                    <a:pt x="255" y="1490"/>
                  </a:cubicBezTo>
                  <a:cubicBezTo>
                    <a:pt x="255" y="1489"/>
                    <a:pt x="255" y="1489"/>
                    <a:pt x="255" y="1489"/>
                  </a:cubicBezTo>
                  <a:cubicBezTo>
                    <a:pt x="255" y="1489"/>
                    <a:pt x="255" y="1489"/>
                    <a:pt x="255" y="1489"/>
                  </a:cubicBezTo>
                  <a:cubicBezTo>
                    <a:pt x="256" y="1487"/>
                    <a:pt x="255" y="1487"/>
                    <a:pt x="254" y="1487"/>
                  </a:cubicBezTo>
                  <a:close/>
                  <a:moveTo>
                    <a:pt x="158" y="1404"/>
                  </a:moveTo>
                  <a:cubicBezTo>
                    <a:pt x="157" y="1405"/>
                    <a:pt x="162" y="1406"/>
                    <a:pt x="163" y="1405"/>
                  </a:cubicBezTo>
                  <a:cubicBezTo>
                    <a:pt x="164" y="1404"/>
                    <a:pt x="164" y="1404"/>
                    <a:pt x="164" y="1404"/>
                  </a:cubicBezTo>
                  <a:cubicBezTo>
                    <a:pt x="167" y="1405"/>
                    <a:pt x="160" y="1401"/>
                    <a:pt x="158" y="1404"/>
                  </a:cubicBezTo>
                  <a:close/>
                  <a:moveTo>
                    <a:pt x="224" y="1483"/>
                  </a:moveTo>
                  <a:cubicBezTo>
                    <a:pt x="228" y="1482"/>
                    <a:pt x="224" y="1482"/>
                    <a:pt x="223" y="1482"/>
                  </a:cubicBezTo>
                  <a:cubicBezTo>
                    <a:pt x="217" y="1480"/>
                    <a:pt x="224" y="1471"/>
                    <a:pt x="210" y="1463"/>
                  </a:cubicBezTo>
                  <a:cubicBezTo>
                    <a:pt x="210" y="1463"/>
                    <a:pt x="210" y="1463"/>
                    <a:pt x="210" y="1463"/>
                  </a:cubicBezTo>
                  <a:cubicBezTo>
                    <a:pt x="210" y="1462"/>
                    <a:pt x="206" y="1492"/>
                    <a:pt x="224" y="1483"/>
                  </a:cubicBezTo>
                  <a:close/>
                  <a:moveTo>
                    <a:pt x="199" y="1513"/>
                  </a:moveTo>
                  <a:cubicBezTo>
                    <a:pt x="199" y="1513"/>
                    <a:pt x="201" y="1514"/>
                    <a:pt x="201" y="1514"/>
                  </a:cubicBezTo>
                  <a:cubicBezTo>
                    <a:pt x="203" y="1514"/>
                    <a:pt x="207" y="1513"/>
                    <a:pt x="208" y="1512"/>
                  </a:cubicBezTo>
                  <a:cubicBezTo>
                    <a:pt x="210" y="1510"/>
                    <a:pt x="206" y="1510"/>
                    <a:pt x="208" y="1510"/>
                  </a:cubicBezTo>
                  <a:cubicBezTo>
                    <a:pt x="208" y="1510"/>
                    <a:pt x="209" y="1510"/>
                    <a:pt x="209" y="1510"/>
                  </a:cubicBezTo>
                  <a:cubicBezTo>
                    <a:pt x="209" y="1510"/>
                    <a:pt x="209" y="1510"/>
                    <a:pt x="209" y="1509"/>
                  </a:cubicBezTo>
                  <a:cubicBezTo>
                    <a:pt x="209" y="1509"/>
                    <a:pt x="211" y="1509"/>
                    <a:pt x="211" y="1509"/>
                  </a:cubicBezTo>
                  <a:cubicBezTo>
                    <a:pt x="211" y="1508"/>
                    <a:pt x="207" y="1509"/>
                    <a:pt x="208" y="1508"/>
                  </a:cubicBezTo>
                  <a:cubicBezTo>
                    <a:pt x="208" y="1508"/>
                    <a:pt x="209" y="1508"/>
                    <a:pt x="209" y="1508"/>
                  </a:cubicBezTo>
                  <a:cubicBezTo>
                    <a:pt x="210" y="1508"/>
                    <a:pt x="214" y="1508"/>
                    <a:pt x="214" y="1507"/>
                  </a:cubicBezTo>
                  <a:cubicBezTo>
                    <a:pt x="214" y="1506"/>
                    <a:pt x="212" y="1506"/>
                    <a:pt x="213" y="1505"/>
                  </a:cubicBezTo>
                  <a:cubicBezTo>
                    <a:pt x="214" y="1504"/>
                    <a:pt x="215" y="1506"/>
                    <a:pt x="216" y="1505"/>
                  </a:cubicBezTo>
                  <a:cubicBezTo>
                    <a:pt x="217" y="1504"/>
                    <a:pt x="214" y="1502"/>
                    <a:pt x="214" y="1502"/>
                  </a:cubicBezTo>
                  <a:cubicBezTo>
                    <a:pt x="214" y="1502"/>
                    <a:pt x="214" y="1502"/>
                    <a:pt x="214" y="1502"/>
                  </a:cubicBezTo>
                  <a:cubicBezTo>
                    <a:pt x="210" y="1503"/>
                    <a:pt x="205" y="1502"/>
                    <a:pt x="202" y="1503"/>
                  </a:cubicBezTo>
                  <a:cubicBezTo>
                    <a:pt x="198" y="1504"/>
                    <a:pt x="202" y="1508"/>
                    <a:pt x="202" y="1509"/>
                  </a:cubicBezTo>
                  <a:cubicBezTo>
                    <a:pt x="201" y="1511"/>
                    <a:pt x="200" y="1508"/>
                    <a:pt x="201" y="1511"/>
                  </a:cubicBezTo>
                  <a:cubicBezTo>
                    <a:pt x="201" y="1513"/>
                    <a:pt x="199" y="1512"/>
                    <a:pt x="199" y="1513"/>
                  </a:cubicBezTo>
                  <a:close/>
                  <a:moveTo>
                    <a:pt x="166" y="1435"/>
                  </a:moveTo>
                  <a:cubicBezTo>
                    <a:pt x="151" y="1436"/>
                    <a:pt x="180" y="1456"/>
                    <a:pt x="166" y="1436"/>
                  </a:cubicBezTo>
                  <a:lnTo>
                    <a:pt x="166" y="1435"/>
                  </a:lnTo>
                  <a:close/>
                  <a:moveTo>
                    <a:pt x="261" y="1522"/>
                  </a:moveTo>
                  <a:cubicBezTo>
                    <a:pt x="259" y="1523"/>
                    <a:pt x="262" y="1516"/>
                    <a:pt x="258" y="1518"/>
                  </a:cubicBezTo>
                  <a:cubicBezTo>
                    <a:pt x="255" y="1520"/>
                    <a:pt x="260" y="1531"/>
                    <a:pt x="260" y="1531"/>
                  </a:cubicBezTo>
                  <a:cubicBezTo>
                    <a:pt x="261" y="1531"/>
                    <a:pt x="260" y="1529"/>
                    <a:pt x="261" y="1529"/>
                  </a:cubicBezTo>
                  <a:cubicBezTo>
                    <a:pt x="262" y="1528"/>
                    <a:pt x="262" y="1529"/>
                    <a:pt x="263" y="1528"/>
                  </a:cubicBezTo>
                  <a:cubicBezTo>
                    <a:pt x="264" y="1526"/>
                    <a:pt x="265" y="1531"/>
                    <a:pt x="265" y="1529"/>
                  </a:cubicBezTo>
                  <a:cubicBezTo>
                    <a:pt x="266" y="1529"/>
                    <a:pt x="266" y="1529"/>
                    <a:pt x="266" y="1529"/>
                  </a:cubicBezTo>
                  <a:cubicBezTo>
                    <a:pt x="266" y="1527"/>
                    <a:pt x="267" y="1519"/>
                    <a:pt x="265" y="1518"/>
                  </a:cubicBezTo>
                  <a:cubicBezTo>
                    <a:pt x="259" y="1514"/>
                    <a:pt x="264" y="1521"/>
                    <a:pt x="261" y="1522"/>
                  </a:cubicBezTo>
                  <a:close/>
                  <a:moveTo>
                    <a:pt x="267" y="1499"/>
                  </a:moveTo>
                  <a:cubicBezTo>
                    <a:pt x="254" y="1503"/>
                    <a:pt x="272" y="1509"/>
                    <a:pt x="274" y="1510"/>
                  </a:cubicBezTo>
                  <a:cubicBezTo>
                    <a:pt x="275" y="1510"/>
                    <a:pt x="279" y="1511"/>
                    <a:pt x="279" y="1511"/>
                  </a:cubicBezTo>
                  <a:cubicBezTo>
                    <a:pt x="278" y="1512"/>
                    <a:pt x="270" y="1511"/>
                    <a:pt x="268" y="1513"/>
                  </a:cubicBezTo>
                  <a:cubicBezTo>
                    <a:pt x="262" y="1516"/>
                    <a:pt x="270" y="1517"/>
                    <a:pt x="268" y="1524"/>
                  </a:cubicBezTo>
                  <a:cubicBezTo>
                    <a:pt x="266" y="1532"/>
                    <a:pt x="273" y="1528"/>
                    <a:pt x="277" y="1525"/>
                  </a:cubicBezTo>
                  <a:cubicBezTo>
                    <a:pt x="279" y="1524"/>
                    <a:pt x="278" y="1533"/>
                    <a:pt x="280" y="1531"/>
                  </a:cubicBezTo>
                  <a:cubicBezTo>
                    <a:pt x="280" y="1531"/>
                    <a:pt x="283" y="1525"/>
                    <a:pt x="284" y="1526"/>
                  </a:cubicBezTo>
                  <a:cubicBezTo>
                    <a:pt x="285" y="1527"/>
                    <a:pt x="285" y="1530"/>
                    <a:pt x="287" y="1529"/>
                  </a:cubicBezTo>
                  <a:cubicBezTo>
                    <a:pt x="288" y="1529"/>
                    <a:pt x="288" y="1529"/>
                    <a:pt x="288" y="1529"/>
                  </a:cubicBezTo>
                  <a:cubicBezTo>
                    <a:pt x="289" y="1528"/>
                    <a:pt x="293" y="1528"/>
                    <a:pt x="293" y="1525"/>
                  </a:cubicBezTo>
                  <a:cubicBezTo>
                    <a:pt x="291" y="1516"/>
                    <a:pt x="310" y="1491"/>
                    <a:pt x="309" y="1490"/>
                  </a:cubicBezTo>
                  <a:cubicBezTo>
                    <a:pt x="306" y="1486"/>
                    <a:pt x="298" y="1499"/>
                    <a:pt x="293" y="1499"/>
                  </a:cubicBezTo>
                  <a:cubicBezTo>
                    <a:pt x="284" y="1498"/>
                    <a:pt x="275" y="1506"/>
                    <a:pt x="267" y="1504"/>
                  </a:cubicBezTo>
                  <a:cubicBezTo>
                    <a:pt x="265" y="1504"/>
                    <a:pt x="271" y="1498"/>
                    <a:pt x="267" y="1499"/>
                  </a:cubicBezTo>
                  <a:close/>
                  <a:moveTo>
                    <a:pt x="240" y="1049"/>
                  </a:moveTo>
                  <a:cubicBezTo>
                    <a:pt x="265" y="1049"/>
                    <a:pt x="234" y="1040"/>
                    <a:pt x="237" y="1048"/>
                  </a:cubicBezTo>
                  <a:cubicBezTo>
                    <a:pt x="237" y="1048"/>
                    <a:pt x="237" y="1048"/>
                    <a:pt x="237" y="1048"/>
                  </a:cubicBezTo>
                  <a:cubicBezTo>
                    <a:pt x="238" y="1049"/>
                    <a:pt x="238" y="1049"/>
                    <a:pt x="240" y="1049"/>
                  </a:cubicBezTo>
                  <a:close/>
                  <a:moveTo>
                    <a:pt x="20" y="1492"/>
                  </a:moveTo>
                  <a:cubicBezTo>
                    <a:pt x="20" y="1493"/>
                    <a:pt x="20" y="1486"/>
                    <a:pt x="16" y="1489"/>
                  </a:cubicBezTo>
                  <a:cubicBezTo>
                    <a:pt x="16" y="1489"/>
                    <a:pt x="17" y="1490"/>
                    <a:pt x="17" y="1490"/>
                  </a:cubicBezTo>
                  <a:cubicBezTo>
                    <a:pt x="19" y="1494"/>
                    <a:pt x="19" y="1499"/>
                    <a:pt x="21" y="1503"/>
                  </a:cubicBezTo>
                  <a:cubicBezTo>
                    <a:pt x="22" y="1507"/>
                    <a:pt x="24" y="1509"/>
                    <a:pt x="25" y="1513"/>
                  </a:cubicBezTo>
                  <a:cubicBezTo>
                    <a:pt x="26" y="1513"/>
                    <a:pt x="26" y="1516"/>
                    <a:pt x="26" y="1516"/>
                  </a:cubicBezTo>
                  <a:cubicBezTo>
                    <a:pt x="28" y="1517"/>
                    <a:pt x="28" y="1514"/>
                    <a:pt x="29" y="1513"/>
                  </a:cubicBezTo>
                  <a:cubicBezTo>
                    <a:pt x="32" y="1512"/>
                    <a:pt x="31" y="1516"/>
                    <a:pt x="35" y="1516"/>
                  </a:cubicBezTo>
                  <a:cubicBezTo>
                    <a:pt x="37" y="1515"/>
                    <a:pt x="35" y="1512"/>
                    <a:pt x="38" y="1513"/>
                  </a:cubicBezTo>
                  <a:cubicBezTo>
                    <a:pt x="44" y="1513"/>
                    <a:pt x="40" y="1519"/>
                    <a:pt x="42" y="1520"/>
                  </a:cubicBezTo>
                  <a:cubicBezTo>
                    <a:pt x="42" y="1521"/>
                    <a:pt x="43" y="1520"/>
                    <a:pt x="43" y="1520"/>
                  </a:cubicBezTo>
                  <a:cubicBezTo>
                    <a:pt x="46" y="1520"/>
                    <a:pt x="41" y="1515"/>
                    <a:pt x="44" y="1514"/>
                  </a:cubicBezTo>
                  <a:cubicBezTo>
                    <a:pt x="46" y="1513"/>
                    <a:pt x="49" y="1515"/>
                    <a:pt x="52" y="1514"/>
                  </a:cubicBezTo>
                  <a:cubicBezTo>
                    <a:pt x="55" y="1513"/>
                    <a:pt x="50" y="1510"/>
                    <a:pt x="50" y="1509"/>
                  </a:cubicBezTo>
                  <a:cubicBezTo>
                    <a:pt x="50" y="1507"/>
                    <a:pt x="52" y="1504"/>
                    <a:pt x="52" y="1502"/>
                  </a:cubicBezTo>
                  <a:cubicBezTo>
                    <a:pt x="52" y="1501"/>
                    <a:pt x="49" y="1505"/>
                    <a:pt x="49" y="1505"/>
                  </a:cubicBezTo>
                  <a:cubicBezTo>
                    <a:pt x="47" y="1504"/>
                    <a:pt x="39" y="1498"/>
                    <a:pt x="40" y="1495"/>
                  </a:cubicBezTo>
                  <a:cubicBezTo>
                    <a:pt x="40" y="1495"/>
                    <a:pt x="41" y="1495"/>
                    <a:pt x="41" y="1495"/>
                  </a:cubicBezTo>
                  <a:cubicBezTo>
                    <a:pt x="47" y="1497"/>
                    <a:pt x="40" y="1499"/>
                    <a:pt x="46" y="1499"/>
                  </a:cubicBezTo>
                  <a:cubicBezTo>
                    <a:pt x="47" y="1499"/>
                    <a:pt x="49" y="1501"/>
                    <a:pt x="49" y="1500"/>
                  </a:cubicBezTo>
                  <a:cubicBezTo>
                    <a:pt x="52" y="1495"/>
                    <a:pt x="45" y="1490"/>
                    <a:pt x="45" y="1488"/>
                  </a:cubicBezTo>
                  <a:cubicBezTo>
                    <a:pt x="46" y="1486"/>
                    <a:pt x="48" y="1490"/>
                    <a:pt x="50" y="1489"/>
                  </a:cubicBezTo>
                  <a:cubicBezTo>
                    <a:pt x="52" y="1487"/>
                    <a:pt x="49" y="1483"/>
                    <a:pt x="50" y="1482"/>
                  </a:cubicBezTo>
                  <a:cubicBezTo>
                    <a:pt x="51" y="1481"/>
                    <a:pt x="54" y="1483"/>
                    <a:pt x="54" y="1484"/>
                  </a:cubicBezTo>
                  <a:cubicBezTo>
                    <a:pt x="54" y="1486"/>
                    <a:pt x="50" y="1489"/>
                    <a:pt x="50" y="1491"/>
                  </a:cubicBezTo>
                  <a:cubicBezTo>
                    <a:pt x="50" y="1494"/>
                    <a:pt x="53" y="1494"/>
                    <a:pt x="53" y="1496"/>
                  </a:cubicBezTo>
                  <a:cubicBezTo>
                    <a:pt x="54" y="1496"/>
                    <a:pt x="52" y="1499"/>
                    <a:pt x="53" y="1499"/>
                  </a:cubicBezTo>
                  <a:cubicBezTo>
                    <a:pt x="54" y="1500"/>
                    <a:pt x="55" y="1495"/>
                    <a:pt x="56" y="1494"/>
                  </a:cubicBezTo>
                  <a:cubicBezTo>
                    <a:pt x="57" y="1492"/>
                    <a:pt x="63" y="1490"/>
                    <a:pt x="64" y="1492"/>
                  </a:cubicBezTo>
                  <a:cubicBezTo>
                    <a:pt x="66" y="1494"/>
                    <a:pt x="58" y="1494"/>
                    <a:pt x="57" y="1495"/>
                  </a:cubicBezTo>
                  <a:cubicBezTo>
                    <a:pt x="56" y="1496"/>
                    <a:pt x="55" y="1502"/>
                    <a:pt x="56" y="1502"/>
                  </a:cubicBezTo>
                  <a:cubicBezTo>
                    <a:pt x="57" y="1502"/>
                    <a:pt x="58" y="1500"/>
                    <a:pt x="59" y="1501"/>
                  </a:cubicBezTo>
                  <a:cubicBezTo>
                    <a:pt x="60" y="1501"/>
                    <a:pt x="60" y="1502"/>
                    <a:pt x="61" y="1503"/>
                  </a:cubicBezTo>
                  <a:cubicBezTo>
                    <a:pt x="65" y="1505"/>
                    <a:pt x="63" y="1499"/>
                    <a:pt x="66" y="1498"/>
                  </a:cubicBezTo>
                  <a:cubicBezTo>
                    <a:pt x="66" y="1498"/>
                    <a:pt x="68" y="1499"/>
                    <a:pt x="68" y="1498"/>
                  </a:cubicBezTo>
                  <a:cubicBezTo>
                    <a:pt x="68" y="1497"/>
                    <a:pt x="65" y="1495"/>
                    <a:pt x="67" y="1494"/>
                  </a:cubicBezTo>
                  <a:cubicBezTo>
                    <a:pt x="67" y="1493"/>
                    <a:pt x="69" y="1494"/>
                    <a:pt x="69" y="1494"/>
                  </a:cubicBezTo>
                  <a:cubicBezTo>
                    <a:pt x="70" y="1494"/>
                    <a:pt x="69" y="1492"/>
                    <a:pt x="70" y="1491"/>
                  </a:cubicBezTo>
                  <a:cubicBezTo>
                    <a:pt x="70" y="1490"/>
                    <a:pt x="73" y="1488"/>
                    <a:pt x="73" y="1487"/>
                  </a:cubicBezTo>
                  <a:cubicBezTo>
                    <a:pt x="72" y="1485"/>
                    <a:pt x="65" y="1486"/>
                    <a:pt x="64" y="1486"/>
                  </a:cubicBezTo>
                  <a:cubicBezTo>
                    <a:pt x="64" y="1486"/>
                    <a:pt x="66" y="1481"/>
                    <a:pt x="65" y="1480"/>
                  </a:cubicBezTo>
                  <a:cubicBezTo>
                    <a:pt x="65" y="1480"/>
                    <a:pt x="63" y="1481"/>
                    <a:pt x="63" y="1481"/>
                  </a:cubicBezTo>
                  <a:cubicBezTo>
                    <a:pt x="62" y="1481"/>
                    <a:pt x="62" y="1480"/>
                    <a:pt x="61" y="1479"/>
                  </a:cubicBezTo>
                  <a:cubicBezTo>
                    <a:pt x="60" y="1478"/>
                    <a:pt x="58" y="1479"/>
                    <a:pt x="57" y="1478"/>
                  </a:cubicBezTo>
                  <a:cubicBezTo>
                    <a:pt x="57" y="1477"/>
                    <a:pt x="58" y="1476"/>
                    <a:pt x="57" y="1476"/>
                  </a:cubicBezTo>
                  <a:cubicBezTo>
                    <a:pt x="56" y="1475"/>
                    <a:pt x="55" y="1477"/>
                    <a:pt x="54" y="1477"/>
                  </a:cubicBezTo>
                  <a:cubicBezTo>
                    <a:pt x="54" y="1477"/>
                    <a:pt x="50" y="1473"/>
                    <a:pt x="50" y="1476"/>
                  </a:cubicBezTo>
                  <a:cubicBezTo>
                    <a:pt x="50" y="1476"/>
                    <a:pt x="52" y="1478"/>
                    <a:pt x="51" y="1479"/>
                  </a:cubicBezTo>
                  <a:cubicBezTo>
                    <a:pt x="50" y="1479"/>
                    <a:pt x="47" y="1476"/>
                    <a:pt x="46" y="1475"/>
                  </a:cubicBezTo>
                  <a:cubicBezTo>
                    <a:pt x="45" y="1475"/>
                    <a:pt x="42" y="1477"/>
                    <a:pt x="41" y="1476"/>
                  </a:cubicBezTo>
                  <a:cubicBezTo>
                    <a:pt x="40" y="1475"/>
                    <a:pt x="40" y="1470"/>
                    <a:pt x="39" y="1469"/>
                  </a:cubicBezTo>
                  <a:cubicBezTo>
                    <a:pt x="38" y="1469"/>
                    <a:pt x="38" y="1469"/>
                    <a:pt x="38" y="1469"/>
                  </a:cubicBezTo>
                  <a:cubicBezTo>
                    <a:pt x="33" y="1468"/>
                    <a:pt x="33" y="1471"/>
                    <a:pt x="30" y="1475"/>
                  </a:cubicBezTo>
                  <a:cubicBezTo>
                    <a:pt x="30" y="1475"/>
                    <a:pt x="28" y="1475"/>
                    <a:pt x="28" y="1476"/>
                  </a:cubicBezTo>
                  <a:cubicBezTo>
                    <a:pt x="28" y="1478"/>
                    <a:pt x="31" y="1477"/>
                    <a:pt x="32" y="1478"/>
                  </a:cubicBezTo>
                  <a:cubicBezTo>
                    <a:pt x="33" y="1478"/>
                    <a:pt x="33" y="1483"/>
                    <a:pt x="35" y="1482"/>
                  </a:cubicBezTo>
                  <a:cubicBezTo>
                    <a:pt x="37" y="1481"/>
                    <a:pt x="37" y="1476"/>
                    <a:pt x="38" y="1477"/>
                  </a:cubicBezTo>
                  <a:cubicBezTo>
                    <a:pt x="40" y="1478"/>
                    <a:pt x="45" y="1490"/>
                    <a:pt x="40" y="1488"/>
                  </a:cubicBezTo>
                  <a:cubicBezTo>
                    <a:pt x="38" y="1488"/>
                    <a:pt x="39" y="1483"/>
                    <a:pt x="38" y="1483"/>
                  </a:cubicBezTo>
                  <a:cubicBezTo>
                    <a:pt x="37" y="1483"/>
                    <a:pt x="38" y="1488"/>
                    <a:pt x="38" y="1489"/>
                  </a:cubicBezTo>
                  <a:cubicBezTo>
                    <a:pt x="37" y="1491"/>
                    <a:pt x="35" y="1491"/>
                    <a:pt x="35" y="1494"/>
                  </a:cubicBezTo>
                  <a:cubicBezTo>
                    <a:pt x="35" y="1497"/>
                    <a:pt x="33" y="1494"/>
                    <a:pt x="32" y="1494"/>
                  </a:cubicBezTo>
                  <a:cubicBezTo>
                    <a:pt x="31" y="1494"/>
                    <a:pt x="33" y="1500"/>
                    <a:pt x="31" y="1500"/>
                  </a:cubicBezTo>
                  <a:cubicBezTo>
                    <a:pt x="30" y="1500"/>
                    <a:pt x="27" y="1493"/>
                    <a:pt x="26" y="1492"/>
                  </a:cubicBezTo>
                  <a:cubicBezTo>
                    <a:pt x="26" y="1491"/>
                    <a:pt x="29" y="1486"/>
                    <a:pt x="29" y="1484"/>
                  </a:cubicBezTo>
                  <a:cubicBezTo>
                    <a:pt x="29" y="1484"/>
                    <a:pt x="29" y="1484"/>
                    <a:pt x="29" y="1484"/>
                  </a:cubicBezTo>
                  <a:cubicBezTo>
                    <a:pt x="29" y="1484"/>
                    <a:pt x="30" y="1484"/>
                    <a:pt x="30" y="1483"/>
                  </a:cubicBezTo>
                  <a:cubicBezTo>
                    <a:pt x="29" y="1483"/>
                    <a:pt x="29" y="1483"/>
                    <a:pt x="29" y="1483"/>
                  </a:cubicBezTo>
                  <a:cubicBezTo>
                    <a:pt x="29" y="1483"/>
                    <a:pt x="29" y="1483"/>
                    <a:pt x="29" y="1483"/>
                  </a:cubicBezTo>
                  <a:cubicBezTo>
                    <a:pt x="28" y="1483"/>
                    <a:pt x="28" y="1484"/>
                    <a:pt x="27" y="1483"/>
                  </a:cubicBezTo>
                  <a:cubicBezTo>
                    <a:pt x="23" y="1481"/>
                    <a:pt x="27" y="1486"/>
                    <a:pt x="27" y="1486"/>
                  </a:cubicBezTo>
                  <a:cubicBezTo>
                    <a:pt x="26" y="1487"/>
                    <a:pt x="22" y="1488"/>
                    <a:pt x="22" y="1488"/>
                  </a:cubicBezTo>
                  <a:cubicBezTo>
                    <a:pt x="20" y="1489"/>
                    <a:pt x="21" y="1491"/>
                    <a:pt x="20" y="1492"/>
                  </a:cubicBezTo>
                  <a:close/>
                  <a:moveTo>
                    <a:pt x="67" y="1518"/>
                  </a:moveTo>
                  <a:cubicBezTo>
                    <a:pt x="66" y="1517"/>
                    <a:pt x="61" y="1516"/>
                    <a:pt x="60" y="1515"/>
                  </a:cubicBezTo>
                  <a:cubicBezTo>
                    <a:pt x="58" y="1515"/>
                    <a:pt x="57" y="1512"/>
                    <a:pt x="56" y="1513"/>
                  </a:cubicBezTo>
                  <a:cubicBezTo>
                    <a:pt x="55" y="1514"/>
                    <a:pt x="56" y="1517"/>
                    <a:pt x="55" y="1518"/>
                  </a:cubicBezTo>
                  <a:cubicBezTo>
                    <a:pt x="54" y="1518"/>
                    <a:pt x="47" y="1515"/>
                    <a:pt x="48" y="1519"/>
                  </a:cubicBezTo>
                  <a:cubicBezTo>
                    <a:pt x="48" y="1520"/>
                    <a:pt x="50" y="1519"/>
                    <a:pt x="51" y="1520"/>
                  </a:cubicBezTo>
                  <a:cubicBezTo>
                    <a:pt x="52" y="1520"/>
                    <a:pt x="52" y="1522"/>
                    <a:pt x="53" y="1522"/>
                  </a:cubicBezTo>
                  <a:cubicBezTo>
                    <a:pt x="54" y="1523"/>
                    <a:pt x="55" y="1521"/>
                    <a:pt x="56" y="1522"/>
                  </a:cubicBezTo>
                  <a:cubicBezTo>
                    <a:pt x="58" y="1522"/>
                    <a:pt x="58" y="1527"/>
                    <a:pt x="60" y="1528"/>
                  </a:cubicBezTo>
                  <a:cubicBezTo>
                    <a:pt x="62" y="1529"/>
                    <a:pt x="64" y="1524"/>
                    <a:pt x="65" y="1526"/>
                  </a:cubicBezTo>
                  <a:cubicBezTo>
                    <a:pt x="67" y="1528"/>
                    <a:pt x="65" y="1532"/>
                    <a:pt x="68" y="1527"/>
                  </a:cubicBezTo>
                  <a:cubicBezTo>
                    <a:pt x="68" y="1526"/>
                    <a:pt x="68" y="1526"/>
                    <a:pt x="68" y="1526"/>
                  </a:cubicBezTo>
                  <a:cubicBezTo>
                    <a:pt x="65" y="1523"/>
                    <a:pt x="68" y="1521"/>
                    <a:pt x="67" y="1518"/>
                  </a:cubicBezTo>
                  <a:close/>
                  <a:moveTo>
                    <a:pt x="14" y="1491"/>
                  </a:moveTo>
                  <a:cubicBezTo>
                    <a:pt x="9" y="1484"/>
                    <a:pt x="0" y="1505"/>
                    <a:pt x="8" y="1509"/>
                  </a:cubicBezTo>
                  <a:cubicBezTo>
                    <a:pt x="10" y="1510"/>
                    <a:pt x="12" y="1506"/>
                    <a:pt x="13" y="1504"/>
                  </a:cubicBezTo>
                  <a:cubicBezTo>
                    <a:pt x="13" y="1503"/>
                    <a:pt x="11" y="1498"/>
                    <a:pt x="11" y="1498"/>
                  </a:cubicBezTo>
                  <a:cubicBezTo>
                    <a:pt x="13" y="1498"/>
                    <a:pt x="16" y="1507"/>
                    <a:pt x="18" y="1505"/>
                  </a:cubicBezTo>
                  <a:cubicBezTo>
                    <a:pt x="20" y="1504"/>
                    <a:pt x="15" y="1492"/>
                    <a:pt x="14" y="1491"/>
                  </a:cubicBezTo>
                  <a:close/>
                  <a:moveTo>
                    <a:pt x="79" y="1491"/>
                  </a:moveTo>
                  <a:cubicBezTo>
                    <a:pt x="77" y="1495"/>
                    <a:pt x="83" y="1492"/>
                    <a:pt x="83" y="1494"/>
                  </a:cubicBezTo>
                  <a:cubicBezTo>
                    <a:pt x="83" y="1495"/>
                    <a:pt x="82" y="1496"/>
                    <a:pt x="82" y="1497"/>
                  </a:cubicBezTo>
                  <a:cubicBezTo>
                    <a:pt x="81" y="1500"/>
                    <a:pt x="84" y="1499"/>
                    <a:pt x="84" y="1497"/>
                  </a:cubicBezTo>
                  <a:cubicBezTo>
                    <a:pt x="85" y="1494"/>
                    <a:pt x="86" y="1494"/>
                    <a:pt x="87" y="1492"/>
                  </a:cubicBezTo>
                  <a:cubicBezTo>
                    <a:pt x="88" y="1489"/>
                    <a:pt x="81" y="1486"/>
                    <a:pt x="79" y="1491"/>
                  </a:cubicBezTo>
                  <a:close/>
                  <a:moveTo>
                    <a:pt x="87" y="1492"/>
                  </a:moveTo>
                  <a:cubicBezTo>
                    <a:pt x="87" y="1492"/>
                    <a:pt x="87" y="1492"/>
                    <a:pt x="87" y="1492"/>
                  </a:cubicBezTo>
                  <a:cubicBezTo>
                    <a:pt x="87" y="1492"/>
                    <a:pt x="87" y="1492"/>
                    <a:pt x="87" y="1492"/>
                  </a:cubicBezTo>
                  <a:close/>
                  <a:moveTo>
                    <a:pt x="73" y="1507"/>
                  </a:moveTo>
                  <a:cubicBezTo>
                    <a:pt x="72" y="1506"/>
                    <a:pt x="72" y="1506"/>
                    <a:pt x="72" y="1506"/>
                  </a:cubicBezTo>
                  <a:cubicBezTo>
                    <a:pt x="68" y="1506"/>
                    <a:pt x="73" y="1510"/>
                    <a:pt x="71" y="1511"/>
                  </a:cubicBezTo>
                  <a:cubicBezTo>
                    <a:pt x="69" y="1513"/>
                    <a:pt x="69" y="1506"/>
                    <a:pt x="68" y="1506"/>
                  </a:cubicBezTo>
                  <a:cubicBezTo>
                    <a:pt x="67" y="1506"/>
                    <a:pt x="65" y="1514"/>
                    <a:pt x="66" y="1515"/>
                  </a:cubicBezTo>
                  <a:cubicBezTo>
                    <a:pt x="67" y="1516"/>
                    <a:pt x="69" y="1516"/>
                    <a:pt x="70" y="1517"/>
                  </a:cubicBezTo>
                  <a:cubicBezTo>
                    <a:pt x="72" y="1522"/>
                    <a:pt x="71" y="1516"/>
                    <a:pt x="72" y="1515"/>
                  </a:cubicBezTo>
                  <a:cubicBezTo>
                    <a:pt x="73" y="1511"/>
                    <a:pt x="76" y="1512"/>
                    <a:pt x="73" y="1507"/>
                  </a:cubicBezTo>
                  <a:close/>
                  <a:moveTo>
                    <a:pt x="801" y="1166"/>
                  </a:moveTo>
                  <a:cubicBezTo>
                    <a:pt x="805" y="1163"/>
                    <a:pt x="818" y="1172"/>
                    <a:pt x="819" y="1171"/>
                  </a:cubicBezTo>
                  <a:cubicBezTo>
                    <a:pt x="819" y="1166"/>
                    <a:pt x="796" y="1151"/>
                    <a:pt x="792" y="1152"/>
                  </a:cubicBezTo>
                  <a:cubicBezTo>
                    <a:pt x="770" y="1159"/>
                    <a:pt x="789" y="1180"/>
                    <a:pt x="767" y="1176"/>
                  </a:cubicBezTo>
                  <a:cubicBezTo>
                    <a:pt x="765" y="1176"/>
                    <a:pt x="771" y="1170"/>
                    <a:pt x="773" y="1167"/>
                  </a:cubicBezTo>
                  <a:cubicBezTo>
                    <a:pt x="778" y="1156"/>
                    <a:pt x="766" y="1152"/>
                    <a:pt x="763" y="1143"/>
                  </a:cubicBezTo>
                  <a:cubicBezTo>
                    <a:pt x="762" y="1139"/>
                    <a:pt x="772" y="1144"/>
                    <a:pt x="772" y="1143"/>
                  </a:cubicBezTo>
                  <a:cubicBezTo>
                    <a:pt x="773" y="1128"/>
                    <a:pt x="748" y="1129"/>
                    <a:pt x="740" y="1137"/>
                  </a:cubicBezTo>
                  <a:cubicBezTo>
                    <a:pt x="739" y="1139"/>
                    <a:pt x="743" y="1139"/>
                    <a:pt x="741" y="1140"/>
                  </a:cubicBezTo>
                  <a:cubicBezTo>
                    <a:pt x="728" y="1148"/>
                    <a:pt x="748" y="1148"/>
                    <a:pt x="748" y="1148"/>
                  </a:cubicBezTo>
                  <a:cubicBezTo>
                    <a:pt x="747" y="1152"/>
                    <a:pt x="740" y="1152"/>
                    <a:pt x="738" y="1150"/>
                  </a:cubicBezTo>
                  <a:cubicBezTo>
                    <a:pt x="733" y="1146"/>
                    <a:pt x="743" y="1157"/>
                    <a:pt x="744" y="1160"/>
                  </a:cubicBezTo>
                  <a:cubicBezTo>
                    <a:pt x="747" y="1167"/>
                    <a:pt x="750" y="1180"/>
                    <a:pt x="761" y="1182"/>
                  </a:cubicBezTo>
                  <a:cubicBezTo>
                    <a:pt x="764" y="1183"/>
                    <a:pt x="762" y="1176"/>
                    <a:pt x="765" y="1178"/>
                  </a:cubicBezTo>
                  <a:cubicBezTo>
                    <a:pt x="772" y="1181"/>
                    <a:pt x="737" y="1210"/>
                    <a:pt x="767" y="1207"/>
                  </a:cubicBezTo>
                  <a:cubicBezTo>
                    <a:pt x="771" y="1206"/>
                    <a:pt x="772" y="1200"/>
                    <a:pt x="775" y="1201"/>
                  </a:cubicBezTo>
                  <a:cubicBezTo>
                    <a:pt x="779" y="1201"/>
                    <a:pt x="782" y="1207"/>
                    <a:pt x="787" y="1205"/>
                  </a:cubicBezTo>
                  <a:cubicBezTo>
                    <a:pt x="789" y="1204"/>
                    <a:pt x="786" y="1203"/>
                    <a:pt x="785" y="1202"/>
                  </a:cubicBezTo>
                  <a:cubicBezTo>
                    <a:pt x="779" y="1200"/>
                    <a:pt x="784" y="1198"/>
                    <a:pt x="788" y="1197"/>
                  </a:cubicBezTo>
                  <a:cubicBezTo>
                    <a:pt x="790" y="1196"/>
                    <a:pt x="801" y="1215"/>
                    <a:pt x="810" y="1210"/>
                  </a:cubicBezTo>
                  <a:cubicBezTo>
                    <a:pt x="814" y="1208"/>
                    <a:pt x="809" y="1202"/>
                    <a:pt x="815" y="1201"/>
                  </a:cubicBezTo>
                  <a:cubicBezTo>
                    <a:pt x="816" y="1201"/>
                    <a:pt x="815" y="1192"/>
                    <a:pt x="817" y="1195"/>
                  </a:cubicBezTo>
                  <a:cubicBezTo>
                    <a:pt x="819" y="1199"/>
                    <a:pt x="828" y="1196"/>
                    <a:pt x="820" y="1188"/>
                  </a:cubicBezTo>
                  <a:cubicBezTo>
                    <a:pt x="813" y="1182"/>
                    <a:pt x="830" y="1192"/>
                    <a:pt x="823" y="1186"/>
                  </a:cubicBezTo>
                  <a:cubicBezTo>
                    <a:pt x="823" y="1186"/>
                    <a:pt x="816" y="1183"/>
                    <a:pt x="818" y="1182"/>
                  </a:cubicBezTo>
                  <a:cubicBezTo>
                    <a:pt x="819" y="1181"/>
                    <a:pt x="821" y="1181"/>
                    <a:pt x="822" y="1181"/>
                  </a:cubicBezTo>
                  <a:cubicBezTo>
                    <a:pt x="817" y="1178"/>
                    <a:pt x="813" y="1176"/>
                    <a:pt x="812" y="1175"/>
                  </a:cubicBezTo>
                  <a:cubicBezTo>
                    <a:pt x="807" y="1174"/>
                    <a:pt x="798" y="1169"/>
                    <a:pt x="801" y="1166"/>
                  </a:cubicBezTo>
                  <a:close/>
                  <a:moveTo>
                    <a:pt x="875" y="1228"/>
                  </a:moveTo>
                  <a:cubicBezTo>
                    <a:pt x="876" y="1231"/>
                    <a:pt x="872" y="1234"/>
                    <a:pt x="872" y="1234"/>
                  </a:cubicBezTo>
                  <a:cubicBezTo>
                    <a:pt x="873" y="1235"/>
                    <a:pt x="879" y="1243"/>
                    <a:pt x="875" y="1243"/>
                  </a:cubicBezTo>
                  <a:cubicBezTo>
                    <a:pt x="871" y="1243"/>
                    <a:pt x="866" y="1233"/>
                    <a:pt x="864" y="1230"/>
                  </a:cubicBezTo>
                  <a:cubicBezTo>
                    <a:pt x="862" y="1226"/>
                    <a:pt x="874" y="1234"/>
                    <a:pt x="872" y="1227"/>
                  </a:cubicBezTo>
                  <a:cubicBezTo>
                    <a:pt x="871" y="1226"/>
                    <a:pt x="871" y="1222"/>
                    <a:pt x="870" y="1221"/>
                  </a:cubicBezTo>
                  <a:cubicBezTo>
                    <a:pt x="868" y="1218"/>
                    <a:pt x="823" y="1228"/>
                    <a:pt x="820" y="1232"/>
                  </a:cubicBezTo>
                  <a:cubicBezTo>
                    <a:pt x="819" y="1234"/>
                    <a:pt x="824" y="1240"/>
                    <a:pt x="825" y="1241"/>
                  </a:cubicBezTo>
                  <a:cubicBezTo>
                    <a:pt x="835" y="1248"/>
                    <a:pt x="851" y="1279"/>
                    <a:pt x="866" y="1277"/>
                  </a:cubicBezTo>
                  <a:cubicBezTo>
                    <a:pt x="875" y="1276"/>
                    <a:pt x="867" y="1270"/>
                    <a:pt x="867" y="1269"/>
                  </a:cubicBezTo>
                  <a:cubicBezTo>
                    <a:pt x="867" y="1269"/>
                    <a:pt x="879" y="1265"/>
                    <a:pt x="879" y="1263"/>
                  </a:cubicBezTo>
                  <a:cubicBezTo>
                    <a:pt x="878" y="1258"/>
                    <a:pt x="876" y="1246"/>
                    <a:pt x="881" y="1243"/>
                  </a:cubicBezTo>
                  <a:cubicBezTo>
                    <a:pt x="884" y="1241"/>
                    <a:pt x="893" y="1255"/>
                    <a:pt x="896" y="1250"/>
                  </a:cubicBezTo>
                  <a:cubicBezTo>
                    <a:pt x="897" y="1247"/>
                    <a:pt x="892" y="1245"/>
                    <a:pt x="890" y="1242"/>
                  </a:cubicBezTo>
                  <a:cubicBezTo>
                    <a:pt x="891" y="1242"/>
                    <a:pt x="891" y="1242"/>
                    <a:pt x="891" y="1242"/>
                  </a:cubicBezTo>
                  <a:cubicBezTo>
                    <a:pt x="886" y="1233"/>
                    <a:pt x="871" y="1209"/>
                    <a:pt x="875" y="1228"/>
                  </a:cubicBezTo>
                  <a:close/>
                  <a:moveTo>
                    <a:pt x="153" y="1093"/>
                  </a:moveTo>
                  <a:cubicBezTo>
                    <a:pt x="149" y="1092"/>
                    <a:pt x="154" y="1108"/>
                    <a:pt x="159" y="1100"/>
                  </a:cubicBezTo>
                  <a:cubicBezTo>
                    <a:pt x="161" y="1097"/>
                    <a:pt x="154" y="1094"/>
                    <a:pt x="153" y="1093"/>
                  </a:cubicBezTo>
                  <a:close/>
                  <a:moveTo>
                    <a:pt x="743" y="1451"/>
                  </a:moveTo>
                  <a:cubicBezTo>
                    <a:pt x="742" y="1449"/>
                    <a:pt x="741" y="1447"/>
                    <a:pt x="738" y="1447"/>
                  </a:cubicBezTo>
                  <a:cubicBezTo>
                    <a:pt x="735" y="1448"/>
                    <a:pt x="741" y="1462"/>
                    <a:pt x="735" y="1461"/>
                  </a:cubicBezTo>
                  <a:cubicBezTo>
                    <a:pt x="734" y="1461"/>
                    <a:pt x="727" y="1458"/>
                    <a:pt x="732" y="1458"/>
                  </a:cubicBezTo>
                  <a:cubicBezTo>
                    <a:pt x="732" y="1458"/>
                    <a:pt x="734" y="1457"/>
                    <a:pt x="733" y="1456"/>
                  </a:cubicBezTo>
                  <a:cubicBezTo>
                    <a:pt x="733" y="1455"/>
                    <a:pt x="725" y="1462"/>
                    <a:pt x="720" y="1459"/>
                  </a:cubicBezTo>
                  <a:cubicBezTo>
                    <a:pt x="719" y="1458"/>
                    <a:pt x="712" y="1457"/>
                    <a:pt x="714" y="1458"/>
                  </a:cubicBezTo>
                  <a:cubicBezTo>
                    <a:pt x="716" y="1459"/>
                    <a:pt x="719" y="1464"/>
                    <a:pt x="716" y="1465"/>
                  </a:cubicBezTo>
                  <a:cubicBezTo>
                    <a:pt x="710" y="1465"/>
                    <a:pt x="699" y="1458"/>
                    <a:pt x="692" y="1457"/>
                  </a:cubicBezTo>
                  <a:cubicBezTo>
                    <a:pt x="690" y="1457"/>
                    <a:pt x="705" y="1455"/>
                    <a:pt x="694" y="1452"/>
                  </a:cubicBezTo>
                  <a:cubicBezTo>
                    <a:pt x="690" y="1450"/>
                    <a:pt x="691" y="1446"/>
                    <a:pt x="691" y="1446"/>
                  </a:cubicBezTo>
                  <a:cubicBezTo>
                    <a:pt x="684" y="1446"/>
                    <a:pt x="692" y="1454"/>
                    <a:pt x="688" y="1456"/>
                  </a:cubicBezTo>
                  <a:cubicBezTo>
                    <a:pt x="687" y="1457"/>
                    <a:pt x="688" y="1454"/>
                    <a:pt x="686" y="1454"/>
                  </a:cubicBezTo>
                  <a:cubicBezTo>
                    <a:pt x="673" y="1454"/>
                    <a:pt x="675" y="1460"/>
                    <a:pt x="668" y="1461"/>
                  </a:cubicBezTo>
                  <a:cubicBezTo>
                    <a:pt x="662" y="1461"/>
                    <a:pt x="670" y="1467"/>
                    <a:pt x="668" y="1466"/>
                  </a:cubicBezTo>
                  <a:cubicBezTo>
                    <a:pt x="663" y="1466"/>
                    <a:pt x="658" y="1460"/>
                    <a:pt x="653" y="1460"/>
                  </a:cubicBezTo>
                  <a:cubicBezTo>
                    <a:pt x="646" y="1461"/>
                    <a:pt x="639" y="1474"/>
                    <a:pt x="627" y="1466"/>
                  </a:cubicBezTo>
                  <a:cubicBezTo>
                    <a:pt x="623" y="1464"/>
                    <a:pt x="625" y="1459"/>
                    <a:pt x="628" y="1457"/>
                  </a:cubicBezTo>
                  <a:cubicBezTo>
                    <a:pt x="635" y="1453"/>
                    <a:pt x="632" y="1436"/>
                    <a:pt x="645" y="1446"/>
                  </a:cubicBezTo>
                  <a:cubicBezTo>
                    <a:pt x="645" y="1446"/>
                    <a:pt x="649" y="1448"/>
                    <a:pt x="649" y="1448"/>
                  </a:cubicBezTo>
                  <a:cubicBezTo>
                    <a:pt x="650" y="1448"/>
                    <a:pt x="645" y="1438"/>
                    <a:pt x="644" y="1437"/>
                  </a:cubicBezTo>
                  <a:cubicBezTo>
                    <a:pt x="630" y="1433"/>
                    <a:pt x="622" y="1476"/>
                    <a:pt x="612" y="1477"/>
                  </a:cubicBezTo>
                  <a:cubicBezTo>
                    <a:pt x="611" y="1477"/>
                    <a:pt x="606" y="1467"/>
                    <a:pt x="604" y="1465"/>
                  </a:cubicBezTo>
                  <a:cubicBezTo>
                    <a:pt x="604" y="1465"/>
                    <a:pt x="607" y="1480"/>
                    <a:pt x="601" y="1472"/>
                  </a:cubicBezTo>
                  <a:cubicBezTo>
                    <a:pt x="600" y="1472"/>
                    <a:pt x="586" y="1467"/>
                    <a:pt x="582" y="1464"/>
                  </a:cubicBezTo>
                  <a:cubicBezTo>
                    <a:pt x="581" y="1463"/>
                    <a:pt x="576" y="1459"/>
                    <a:pt x="575" y="1461"/>
                  </a:cubicBezTo>
                  <a:cubicBezTo>
                    <a:pt x="574" y="1461"/>
                    <a:pt x="575" y="1462"/>
                    <a:pt x="575" y="1462"/>
                  </a:cubicBezTo>
                  <a:cubicBezTo>
                    <a:pt x="581" y="1466"/>
                    <a:pt x="595" y="1483"/>
                    <a:pt x="590" y="1488"/>
                  </a:cubicBezTo>
                  <a:cubicBezTo>
                    <a:pt x="587" y="1490"/>
                    <a:pt x="575" y="1468"/>
                    <a:pt x="568" y="1472"/>
                  </a:cubicBezTo>
                  <a:cubicBezTo>
                    <a:pt x="566" y="1474"/>
                    <a:pt x="571" y="1476"/>
                    <a:pt x="573" y="1478"/>
                  </a:cubicBezTo>
                  <a:cubicBezTo>
                    <a:pt x="578" y="1481"/>
                    <a:pt x="571" y="1484"/>
                    <a:pt x="571" y="1485"/>
                  </a:cubicBezTo>
                  <a:cubicBezTo>
                    <a:pt x="572" y="1487"/>
                    <a:pt x="577" y="1493"/>
                    <a:pt x="576" y="1495"/>
                  </a:cubicBezTo>
                  <a:cubicBezTo>
                    <a:pt x="574" y="1498"/>
                    <a:pt x="564" y="1483"/>
                    <a:pt x="559" y="1485"/>
                  </a:cubicBezTo>
                  <a:cubicBezTo>
                    <a:pt x="558" y="1485"/>
                    <a:pt x="562" y="1488"/>
                    <a:pt x="562" y="1489"/>
                  </a:cubicBezTo>
                  <a:cubicBezTo>
                    <a:pt x="563" y="1492"/>
                    <a:pt x="569" y="1490"/>
                    <a:pt x="568" y="1492"/>
                  </a:cubicBezTo>
                  <a:cubicBezTo>
                    <a:pt x="567" y="1499"/>
                    <a:pt x="551" y="1494"/>
                    <a:pt x="551" y="1487"/>
                  </a:cubicBezTo>
                  <a:cubicBezTo>
                    <a:pt x="551" y="1483"/>
                    <a:pt x="555" y="1484"/>
                    <a:pt x="552" y="1483"/>
                  </a:cubicBezTo>
                  <a:cubicBezTo>
                    <a:pt x="552" y="1483"/>
                    <a:pt x="551" y="1483"/>
                    <a:pt x="551" y="1482"/>
                  </a:cubicBezTo>
                  <a:cubicBezTo>
                    <a:pt x="550" y="1481"/>
                    <a:pt x="555" y="1478"/>
                    <a:pt x="553" y="1478"/>
                  </a:cubicBezTo>
                  <a:cubicBezTo>
                    <a:pt x="539" y="1476"/>
                    <a:pt x="545" y="1493"/>
                    <a:pt x="538" y="1495"/>
                  </a:cubicBezTo>
                  <a:cubicBezTo>
                    <a:pt x="535" y="1496"/>
                    <a:pt x="500" y="1495"/>
                    <a:pt x="510" y="1500"/>
                  </a:cubicBezTo>
                  <a:cubicBezTo>
                    <a:pt x="513" y="1501"/>
                    <a:pt x="500" y="1508"/>
                    <a:pt x="501" y="1505"/>
                  </a:cubicBezTo>
                  <a:cubicBezTo>
                    <a:pt x="502" y="1504"/>
                    <a:pt x="503" y="1502"/>
                    <a:pt x="502" y="1503"/>
                  </a:cubicBezTo>
                  <a:cubicBezTo>
                    <a:pt x="497" y="1505"/>
                    <a:pt x="499" y="1509"/>
                    <a:pt x="498" y="1509"/>
                  </a:cubicBezTo>
                  <a:cubicBezTo>
                    <a:pt x="488" y="1511"/>
                    <a:pt x="499" y="1500"/>
                    <a:pt x="494" y="1501"/>
                  </a:cubicBezTo>
                  <a:cubicBezTo>
                    <a:pt x="489" y="1501"/>
                    <a:pt x="493" y="1508"/>
                    <a:pt x="489" y="1510"/>
                  </a:cubicBezTo>
                  <a:cubicBezTo>
                    <a:pt x="488" y="1511"/>
                    <a:pt x="486" y="1510"/>
                    <a:pt x="485" y="1510"/>
                  </a:cubicBezTo>
                  <a:cubicBezTo>
                    <a:pt x="473" y="1507"/>
                    <a:pt x="487" y="1507"/>
                    <a:pt x="481" y="1504"/>
                  </a:cubicBezTo>
                  <a:cubicBezTo>
                    <a:pt x="477" y="1502"/>
                    <a:pt x="469" y="1515"/>
                    <a:pt x="463" y="1516"/>
                  </a:cubicBezTo>
                  <a:cubicBezTo>
                    <a:pt x="462" y="1516"/>
                    <a:pt x="457" y="1508"/>
                    <a:pt x="453" y="1508"/>
                  </a:cubicBezTo>
                  <a:cubicBezTo>
                    <a:pt x="453" y="1508"/>
                    <a:pt x="452" y="1509"/>
                    <a:pt x="452" y="1509"/>
                  </a:cubicBezTo>
                  <a:cubicBezTo>
                    <a:pt x="453" y="1516"/>
                    <a:pt x="457" y="1515"/>
                    <a:pt x="458" y="1516"/>
                  </a:cubicBezTo>
                  <a:cubicBezTo>
                    <a:pt x="459" y="1518"/>
                    <a:pt x="447" y="1533"/>
                    <a:pt x="441" y="1532"/>
                  </a:cubicBezTo>
                  <a:cubicBezTo>
                    <a:pt x="440" y="1531"/>
                    <a:pt x="446" y="1525"/>
                    <a:pt x="445" y="1523"/>
                  </a:cubicBezTo>
                  <a:cubicBezTo>
                    <a:pt x="442" y="1519"/>
                    <a:pt x="438" y="1530"/>
                    <a:pt x="433" y="1531"/>
                  </a:cubicBezTo>
                  <a:cubicBezTo>
                    <a:pt x="432" y="1531"/>
                    <a:pt x="438" y="1521"/>
                    <a:pt x="436" y="1520"/>
                  </a:cubicBezTo>
                  <a:cubicBezTo>
                    <a:pt x="422" y="1517"/>
                    <a:pt x="382" y="1545"/>
                    <a:pt x="354" y="1537"/>
                  </a:cubicBezTo>
                  <a:cubicBezTo>
                    <a:pt x="353" y="1537"/>
                    <a:pt x="366" y="1520"/>
                    <a:pt x="363" y="1520"/>
                  </a:cubicBezTo>
                  <a:cubicBezTo>
                    <a:pt x="355" y="1520"/>
                    <a:pt x="332" y="1572"/>
                    <a:pt x="305" y="1558"/>
                  </a:cubicBezTo>
                  <a:cubicBezTo>
                    <a:pt x="304" y="1557"/>
                    <a:pt x="317" y="1550"/>
                    <a:pt x="319" y="1550"/>
                  </a:cubicBezTo>
                  <a:cubicBezTo>
                    <a:pt x="329" y="1547"/>
                    <a:pt x="342" y="1540"/>
                    <a:pt x="345" y="1527"/>
                  </a:cubicBezTo>
                  <a:cubicBezTo>
                    <a:pt x="346" y="1524"/>
                    <a:pt x="337" y="1538"/>
                    <a:pt x="336" y="1540"/>
                  </a:cubicBezTo>
                  <a:cubicBezTo>
                    <a:pt x="335" y="1541"/>
                    <a:pt x="326" y="1537"/>
                    <a:pt x="326" y="1539"/>
                  </a:cubicBezTo>
                  <a:cubicBezTo>
                    <a:pt x="325" y="1539"/>
                    <a:pt x="325" y="1543"/>
                    <a:pt x="324" y="1541"/>
                  </a:cubicBezTo>
                  <a:cubicBezTo>
                    <a:pt x="319" y="1533"/>
                    <a:pt x="338" y="1531"/>
                    <a:pt x="338" y="1525"/>
                  </a:cubicBezTo>
                  <a:cubicBezTo>
                    <a:pt x="338" y="1523"/>
                    <a:pt x="330" y="1523"/>
                    <a:pt x="329" y="1523"/>
                  </a:cubicBezTo>
                  <a:cubicBezTo>
                    <a:pt x="308" y="1524"/>
                    <a:pt x="323" y="1518"/>
                    <a:pt x="317" y="1512"/>
                  </a:cubicBezTo>
                  <a:cubicBezTo>
                    <a:pt x="317" y="1511"/>
                    <a:pt x="316" y="1513"/>
                    <a:pt x="315" y="1514"/>
                  </a:cubicBezTo>
                  <a:cubicBezTo>
                    <a:pt x="314" y="1517"/>
                    <a:pt x="305" y="1513"/>
                    <a:pt x="304" y="1509"/>
                  </a:cubicBezTo>
                  <a:cubicBezTo>
                    <a:pt x="300" y="1500"/>
                    <a:pt x="325" y="1485"/>
                    <a:pt x="323" y="1480"/>
                  </a:cubicBezTo>
                  <a:cubicBezTo>
                    <a:pt x="322" y="1478"/>
                    <a:pt x="290" y="1497"/>
                    <a:pt x="284" y="1498"/>
                  </a:cubicBezTo>
                  <a:cubicBezTo>
                    <a:pt x="280" y="1499"/>
                    <a:pt x="273" y="1505"/>
                    <a:pt x="272" y="1501"/>
                  </a:cubicBezTo>
                  <a:cubicBezTo>
                    <a:pt x="272" y="1496"/>
                    <a:pt x="288" y="1493"/>
                    <a:pt x="283" y="1490"/>
                  </a:cubicBezTo>
                  <a:cubicBezTo>
                    <a:pt x="282" y="1489"/>
                    <a:pt x="265" y="1498"/>
                    <a:pt x="266" y="1495"/>
                  </a:cubicBezTo>
                  <a:cubicBezTo>
                    <a:pt x="266" y="1492"/>
                    <a:pt x="283" y="1475"/>
                    <a:pt x="282" y="1474"/>
                  </a:cubicBezTo>
                  <a:cubicBezTo>
                    <a:pt x="281" y="1472"/>
                    <a:pt x="257" y="1477"/>
                    <a:pt x="251" y="1477"/>
                  </a:cubicBezTo>
                  <a:cubicBezTo>
                    <a:pt x="238" y="1475"/>
                    <a:pt x="226" y="1456"/>
                    <a:pt x="220" y="1455"/>
                  </a:cubicBezTo>
                  <a:cubicBezTo>
                    <a:pt x="205" y="1453"/>
                    <a:pt x="220" y="1464"/>
                    <a:pt x="207" y="1461"/>
                  </a:cubicBezTo>
                  <a:cubicBezTo>
                    <a:pt x="199" y="1460"/>
                    <a:pt x="213" y="1447"/>
                    <a:pt x="211" y="1440"/>
                  </a:cubicBezTo>
                  <a:cubicBezTo>
                    <a:pt x="211" y="1440"/>
                    <a:pt x="201" y="1447"/>
                    <a:pt x="201" y="1447"/>
                  </a:cubicBezTo>
                  <a:cubicBezTo>
                    <a:pt x="193" y="1449"/>
                    <a:pt x="199" y="1460"/>
                    <a:pt x="188" y="1461"/>
                  </a:cubicBezTo>
                  <a:cubicBezTo>
                    <a:pt x="184" y="1461"/>
                    <a:pt x="189" y="1458"/>
                    <a:pt x="189" y="1456"/>
                  </a:cubicBezTo>
                  <a:cubicBezTo>
                    <a:pt x="187" y="1451"/>
                    <a:pt x="188" y="1450"/>
                    <a:pt x="188" y="1449"/>
                  </a:cubicBezTo>
                  <a:cubicBezTo>
                    <a:pt x="185" y="1446"/>
                    <a:pt x="181" y="1448"/>
                    <a:pt x="177" y="1448"/>
                  </a:cubicBezTo>
                  <a:cubicBezTo>
                    <a:pt x="177" y="1448"/>
                    <a:pt x="177" y="1448"/>
                    <a:pt x="177" y="1448"/>
                  </a:cubicBezTo>
                  <a:cubicBezTo>
                    <a:pt x="177" y="1448"/>
                    <a:pt x="177" y="1448"/>
                    <a:pt x="177" y="1448"/>
                  </a:cubicBezTo>
                  <a:cubicBezTo>
                    <a:pt x="177" y="1448"/>
                    <a:pt x="177" y="1448"/>
                    <a:pt x="176" y="1448"/>
                  </a:cubicBezTo>
                  <a:cubicBezTo>
                    <a:pt x="175" y="1448"/>
                    <a:pt x="174" y="1448"/>
                    <a:pt x="173" y="1447"/>
                  </a:cubicBezTo>
                  <a:cubicBezTo>
                    <a:pt x="170" y="1444"/>
                    <a:pt x="177" y="1444"/>
                    <a:pt x="177" y="1444"/>
                  </a:cubicBezTo>
                  <a:cubicBezTo>
                    <a:pt x="179" y="1442"/>
                    <a:pt x="169" y="1438"/>
                    <a:pt x="168" y="1436"/>
                  </a:cubicBezTo>
                  <a:cubicBezTo>
                    <a:pt x="167" y="1433"/>
                    <a:pt x="181" y="1427"/>
                    <a:pt x="179" y="1425"/>
                  </a:cubicBezTo>
                  <a:cubicBezTo>
                    <a:pt x="177" y="1423"/>
                    <a:pt x="161" y="1411"/>
                    <a:pt x="165" y="1406"/>
                  </a:cubicBezTo>
                  <a:cubicBezTo>
                    <a:pt x="166" y="1404"/>
                    <a:pt x="174" y="1408"/>
                    <a:pt x="175" y="1405"/>
                  </a:cubicBezTo>
                  <a:cubicBezTo>
                    <a:pt x="175" y="1403"/>
                    <a:pt x="170" y="1404"/>
                    <a:pt x="169" y="1403"/>
                  </a:cubicBezTo>
                  <a:cubicBezTo>
                    <a:pt x="165" y="1398"/>
                    <a:pt x="180" y="1400"/>
                    <a:pt x="173" y="1396"/>
                  </a:cubicBezTo>
                  <a:cubicBezTo>
                    <a:pt x="170" y="1394"/>
                    <a:pt x="162" y="1379"/>
                    <a:pt x="163" y="1377"/>
                  </a:cubicBezTo>
                  <a:cubicBezTo>
                    <a:pt x="164" y="1377"/>
                    <a:pt x="169" y="1380"/>
                    <a:pt x="170" y="1380"/>
                  </a:cubicBezTo>
                  <a:cubicBezTo>
                    <a:pt x="173" y="1381"/>
                    <a:pt x="177" y="1381"/>
                    <a:pt x="179" y="1378"/>
                  </a:cubicBezTo>
                  <a:cubicBezTo>
                    <a:pt x="185" y="1370"/>
                    <a:pt x="164" y="1370"/>
                    <a:pt x="186" y="1357"/>
                  </a:cubicBezTo>
                  <a:cubicBezTo>
                    <a:pt x="188" y="1356"/>
                    <a:pt x="184" y="1352"/>
                    <a:pt x="183" y="1352"/>
                  </a:cubicBezTo>
                  <a:cubicBezTo>
                    <a:pt x="175" y="1351"/>
                    <a:pt x="186" y="1345"/>
                    <a:pt x="186" y="1341"/>
                  </a:cubicBezTo>
                  <a:cubicBezTo>
                    <a:pt x="186" y="1334"/>
                    <a:pt x="178" y="1332"/>
                    <a:pt x="176" y="1327"/>
                  </a:cubicBezTo>
                  <a:cubicBezTo>
                    <a:pt x="175" y="1325"/>
                    <a:pt x="185" y="1328"/>
                    <a:pt x="187" y="1327"/>
                  </a:cubicBezTo>
                  <a:cubicBezTo>
                    <a:pt x="191" y="1323"/>
                    <a:pt x="174" y="1316"/>
                    <a:pt x="174" y="1316"/>
                  </a:cubicBezTo>
                  <a:cubicBezTo>
                    <a:pt x="174" y="1315"/>
                    <a:pt x="189" y="1319"/>
                    <a:pt x="189" y="1316"/>
                  </a:cubicBezTo>
                  <a:cubicBezTo>
                    <a:pt x="190" y="1312"/>
                    <a:pt x="175" y="1308"/>
                    <a:pt x="177" y="1305"/>
                  </a:cubicBezTo>
                  <a:cubicBezTo>
                    <a:pt x="181" y="1298"/>
                    <a:pt x="201" y="1318"/>
                    <a:pt x="200" y="1310"/>
                  </a:cubicBezTo>
                  <a:cubicBezTo>
                    <a:pt x="200" y="1309"/>
                    <a:pt x="197" y="1307"/>
                    <a:pt x="197" y="1307"/>
                  </a:cubicBezTo>
                  <a:cubicBezTo>
                    <a:pt x="180" y="1294"/>
                    <a:pt x="188" y="1284"/>
                    <a:pt x="182" y="1280"/>
                  </a:cubicBezTo>
                  <a:cubicBezTo>
                    <a:pt x="181" y="1279"/>
                    <a:pt x="179" y="1278"/>
                    <a:pt x="179" y="1277"/>
                  </a:cubicBezTo>
                  <a:cubicBezTo>
                    <a:pt x="176" y="1273"/>
                    <a:pt x="176" y="1252"/>
                    <a:pt x="170" y="1250"/>
                  </a:cubicBezTo>
                  <a:cubicBezTo>
                    <a:pt x="166" y="1248"/>
                    <a:pt x="159" y="1246"/>
                    <a:pt x="158" y="1243"/>
                  </a:cubicBezTo>
                  <a:cubicBezTo>
                    <a:pt x="153" y="1225"/>
                    <a:pt x="170" y="1218"/>
                    <a:pt x="170" y="1202"/>
                  </a:cubicBezTo>
                  <a:cubicBezTo>
                    <a:pt x="170" y="1200"/>
                    <a:pt x="167" y="1205"/>
                    <a:pt x="165" y="1206"/>
                  </a:cubicBezTo>
                  <a:cubicBezTo>
                    <a:pt x="164" y="1207"/>
                    <a:pt x="166" y="1199"/>
                    <a:pt x="166" y="1197"/>
                  </a:cubicBezTo>
                  <a:cubicBezTo>
                    <a:pt x="168" y="1187"/>
                    <a:pt x="163" y="1191"/>
                    <a:pt x="160" y="1187"/>
                  </a:cubicBezTo>
                  <a:cubicBezTo>
                    <a:pt x="159" y="1186"/>
                    <a:pt x="163" y="1181"/>
                    <a:pt x="160" y="1180"/>
                  </a:cubicBezTo>
                  <a:cubicBezTo>
                    <a:pt x="158" y="1180"/>
                    <a:pt x="155" y="1190"/>
                    <a:pt x="156" y="1191"/>
                  </a:cubicBezTo>
                  <a:cubicBezTo>
                    <a:pt x="156" y="1194"/>
                    <a:pt x="153" y="1187"/>
                    <a:pt x="154" y="1185"/>
                  </a:cubicBezTo>
                  <a:cubicBezTo>
                    <a:pt x="157" y="1177"/>
                    <a:pt x="151" y="1182"/>
                    <a:pt x="148" y="1181"/>
                  </a:cubicBezTo>
                  <a:cubicBezTo>
                    <a:pt x="147" y="1181"/>
                    <a:pt x="150" y="1175"/>
                    <a:pt x="150" y="1174"/>
                  </a:cubicBezTo>
                  <a:cubicBezTo>
                    <a:pt x="151" y="1169"/>
                    <a:pt x="147" y="1164"/>
                    <a:pt x="148" y="1160"/>
                  </a:cubicBezTo>
                  <a:cubicBezTo>
                    <a:pt x="148" y="1157"/>
                    <a:pt x="155" y="1155"/>
                    <a:pt x="155" y="1154"/>
                  </a:cubicBezTo>
                  <a:cubicBezTo>
                    <a:pt x="155" y="1150"/>
                    <a:pt x="142" y="1157"/>
                    <a:pt x="142" y="1152"/>
                  </a:cubicBezTo>
                  <a:cubicBezTo>
                    <a:pt x="142" y="1143"/>
                    <a:pt x="153" y="1116"/>
                    <a:pt x="158" y="1112"/>
                  </a:cubicBezTo>
                  <a:cubicBezTo>
                    <a:pt x="161" y="1110"/>
                    <a:pt x="167" y="1118"/>
                    <a:pt x="170" y="1113"/>
                  </a:cubicBezTo>
                  <a:cubicBezTo>
                    <a:pt x="177" y="1103"/>
                    <a:pt x="171" y="1094"/>
                    <a:pt x="176" y="1087"/>
                  </a:cubicBezTo>
                  <a:cubicBezTo>
                    <a:pt x="178" y="1082"/>
                    <a:pt x="197" y="1091"/>
                    <a:pt x="198" y="1089"/>
                  </a:cubicBezTo>
                  <a:cubicBezTo>
                    <a:pt x="198" y="1087"/>
                    <a:pt x="177" y="1069"/>
                    <a:pt x="181" y="1062"/>
                  </a:cubicBezTo>
                  <a:cubicBezTo>
                    <a:pt x="184" y="1055"/>
                    <a:pt x="199" y="1069"/>
                    <a:pt x="204" y="1063"/>
                  </a:cubicBezTo>
                  <a:cubicBezTo>
                    <a:pt x="205" y="1062"/>
                    <a:pt x="200" y="1062"/>
                    <a:pt x="200" y="1061"/>
                  </a:cubicBezTo>
                  <a:cubicBezTo>
                    <a:pt x="197" y="1059"/>
                    <a:pt x="208" y="1057"/>
                    <a:pt x="210" y="1057"/>
                  </a:cubicBezTo>
                  <a:cubicBezTo>
                    <a:pt x="220" y="1053"/>
                    <a:pt x="212" y="1069"/>
                    <a:pt x="223" y="1072"/>
                  </a:cubicBezTo>
                  <a:cubicBezTo>
                    <a:pt x="228" y="1074"/>
                    <a:pt x="223" y="1060"/>
                    <a:pt x="228" y="1058"/>
                  </a:cubicBezTo>
                  <a:cubicBezTo>
                    <a:pt x="230" y="1057"/>
                    <a:pt x="254" y="1055"/>
                    <a:pt x="256" y="1052"/>
                  </a:cubicBezTo>
                  <a:cubicBezTo>
                    <a:pt x="268" y="1040"/>
                    <a:pt x="236" y="1032"/>
                    <a:pt x="242" y="1024"/>
                  </a:cubicBezTo>
                  <a:cubicBezTo>
                    <a:pt x="244" y="1022"/>
                    <a:pt x="259" y="1031"/>
                    <a:pt x="261" y="1031"/>
                  </a:cubicBezTo>
                  <a:cubicBezTo>
                    <a:pt x="263" y="1032"/>
                    <a:pt x="258" y="1029"/>
                    <a:pt x="257" y="1027"/>
                  </a:cubicBezTo>
                  <a:cubicBezTo>
                    <a:pt x="253" y="1024"/>
                    <a:pt x="246" y="1020"/>
                    <a:pt x="251" y="1015"/>
                  </a:cubicBezTo>
                  <a:cubicBezTo>
                    <a:pt x="254" y="1012"/>
                    <a:pt x="262" y="1026"/>
                    <a:pt x="262" y="1026"/>
                  </a:cubicBezTo>
                  <a:cubicBezTo>
                    <a:pt x="269" y="1023"/>
                    <a:pt x="273" y="993"/>
                    <a:pt x="278" y="988"/>
                  </a:cubicBezTo>
                  <a:cubicBezTo>
                    <a:pt x="283" y="983"/>
                    <a:pt x="291" y="1001"/>
                    <a:pt x="293" y="1001"/>
                  </a:cubicBezTo>
                  <a:cubicBezTo>
                    <a:pt x="309" y="996"/>
                    <a:pt x="303" y="978"/>
                    <a:pt x="306" y="974"/>
                  </a:cubicBezTo>
                  <a:cubicBezTo>
                    <a:pt x="311" y="970"/>
                    <a:pt x="312" y="983"/>
                    <a:pt x="315" y="980"/>
                  </a:cubicBezTo>
                  <a:cubicBezTo>
                    <a:pt x="317" y="979"/>
                    <a:pt x="314" y="970"/>
                    <a:pt x="321" y="966"/>
                  </a:cubicBezTo>
                  <a:cubicBezTo>
                    <a:pt x="326" y="963"/>
                    <a:pt x="345" y="964"/>
                    <a:pt x="352" y="957"/>
                  </a:cubicBezTo>
                  <a:cubicBezTo>
                    <a:pt x="356" y="952"/>
                    <a:pt x="344" y="941"/>
                    <a:pt x="349" y="937"/>
                  </a:cubicBezTo>
                  <a:cubicBezTo>
                    <a:pt x="353" y="934"/>
                    <a:pt x="364" y="944"/>
                    <a:pt x="369" y="940"/>
                  </a:cubicBezTo>
                  <a:cubicBezTo>
                    <a:pt x="373" y="938"/>
                    <a:pt x="367" y="934"/>
                    <a:pt x="367" y="932"/>
                  </a:cubicBezTo>
                  <a:cubicBezTo>
                    <a:pt x="365" y="929"/>
                    <a:pt x="387" y="909"/>
                    <a:pt x="391" y="905"/>
                  </a:cubicBezTo>
                  <a:cubicBezTo>
                    <a:pt x="393" y="903"/>
                    <a:pt x="397" y="909"/>
                    <a:pt x="399" y="907"/>
                  </a:cubicBezTo>
                  <a:cubicBezTo>
                    <a:pt x="399" y="907"/>
                    <a:pt x="398" y="905"/>
                    <a:pt x="398" y="904"/>
                  </a:cubicBezTo>
                  <a:cubicBezTo>
                    <a:pt x="391" y="886"/>
                    <a:pt x="428" y="874"/>
                    <a:pt x="435" y="865"/>
                  </a:cubicBezTo>
                  <a:cubicBezTo>
                    <a:pt x="439" y="859"/>
                    <a:pt x="446" y="839"/>
                    <a:pt x="456" y="828"/>
                  </a:cubicBezTo>
                  <a:cubicBezTo>
                    <a:pt x="457" y="826"/>
                    <a:pt x="450" y="826"/>
                    <a:pt x="452" y="823"/>
                  </a:cubicBezTo>
                  <a:cubicBezTo>
                    <a:pt x="456" y="820"/>
                    <a:pt x="460" y="826"/>
                    <a:pt x="463" y="826"/>
                  </a:cubicBezTo>
                  <a:cubicBezTo>
                    <a:pt x="467" y="826"/>
                    <a:pt x="465" y="817"/>
                    <a:pt x="469" y="816"/>
                  </a:cubicBezTo>
                  <a:cubicBezTo>
                    <a:pt x="475" y="814"/>
                    <a:pt x="497" y="806"/>
                    <a:pt x="502" y="807"/>
                  </a:cubicBezTo>
                  <a:cubicBezTo>
                    <a:pt x="513" y="809"/>
                    <a:pt x="509" y="827"/>
                    <a:pt x="523" y="820"/>
                  </a:cubicBezTo>
                  <a:cubicBezTo>
                    <a:pt x="539" y="814"/>
                    <a:pt x="509" y="804"/>
                    <a:pt x="510" y="799"/>
                  </a:cubicBezTo>
                  <a:cubicBezTo>
                    <a:pt x="513" y="788"/>
                    <a:pt x="528" y="805"/>
                    <a:pt x="532" y="801"/>
                  </a:cubicBezTo>
                  <a:cubicBezTo>
                    <a:pt x="543" y="792"/>
                    <a:pt x="514" y="777"/>
                    <a:pt x="512" y="776"/>
                  </a:cubicBezTo>
                  <a:cubicBezTo>
                    <a:pt x="509" y="772"/>
                    <a:pt x="516" y="769"/>
                    <a:pt x="517" y="768"/>
                  </a:cubicBezTo>
                  <a:cubicBezTo>
                    <a:pt x="524" y="761"/>
                    <a:pt x="521" y="746"/>
                    <a:pt x="518" y="738"/>
                  </a:cubicBezTo>
                  <a:cubicBezTo>
                    <a:pt x="518" y="738"/>
                    <a:pt x="517" y="737"/>
                    <a:pt x="517" y="736"/>
                  </a:cubicBezTo>
                  <a:cubicBezTo>
                    <a:pt x="520" y="732"/>
                    <a:pt x="528" y="731"/>
                    <a:pt x="525" y="721"/>
                  </a:cubicBezTo>
                  <a:cubicBezTo>
                    <a:pt x="522" y="712"/>
                    <a:pt x="486" y="696"/>
                    <a:pt x="476" y="694"/>
                  </a:cubicBezTo>
                  <a:cubicBezTo>
                    <a:pt x="472" y="693"/>
                    <a:pt x="466" y="701"/>
                    <a:pt x="464" y="697"/>
                  </a:cubicBezTo>
                  <a:cubicBezTo>
                    <a:pt x="461" y="694"/>
                    <a:pt x="451" y="681"/>
                    <a:pt x="454" y="674"/>
                  </a:cubicBezTo>
                  <a:cubicBezTo>
                    <a:pt x="455" y="670"/>
                    <a:pt x="467" y="657"/>
                    <a:pt x="467" y="656"/>
                  </a:cubicBezTo>
                  <a:cubicBezTo>
                    <a:pt x="467" y="656"/>
                    <a:pt x="467" y="655"/>
                    <a:pt x="466" y="655"/>
                  </a:cubicBezTo>
                  <a:cubicBezTo>
                    <a:pt x="461" y="658"/>
                    <a:pt x="456" y="672"/>
                    <a:pt x="451" y="673"/>
                  </a:cubicBezTo>
                  <a:cubicBezTo>
                    <a:pt x="442" y="676"/>
                    <a:pt x="420" y="674"/>
                    <a:pt x="419" y="671"/>
                  </a:cubicBezTo>
                  <a:cubicBezTo>
                    <a:pt x="409" y="636"/>
                    <a:pt x="373" y="619"/>
                    <a:pt x="373" y="580"/>
                  </a:cubicBezTo>
                  <a:cubicBezTo>
                    <a:pt x="373" y="562"/>
                    <a:pt x="388" y="567"/>
                    <a:pt x="394" y="554"/>
                  </a:cubicBezTo>
                  <a:cubicBezTo>
                    <a:pt x="397" y="547"/>
                    <a:pt x="391" y="534"/>
                    <a:pt x="395" y="526"/>
                  </a:cubicBezTo>
                  <a:cubicBezTo>
                    <a:pt x="395" y="526"/>
                    <a:pt x="404" y="518"/>
                    <a:pt x="404" y="518"/>
                  </a:cubicBezTo>
                  <a:cubicBezTo>
                    <a:pt x="407" y="498"/>
                    <a:pt x="364" y="482"/>
                    <a:pt x="365" y="462"/>
                  </a:cubicBezTo>
                  <a:cubicBezTo>
                    <a:pt x="366" y="453"/>
                    <a:pt x="394" y="432"/>
                    <a:pt x="383" y="423"/>
                  </a:cubicBezTo>
                  <a:cubicBezTo>
                    <a:pt x="374" y="415"/>
                    <a:pt x="359" y="424"/>
                    <a:pt x="353" y="415"/>
                  </a:cubicBezTo>
                  <a:cubicBezTo>
                    <a:pt x="349" y="408"/>
                    <a:pt x="362" y="402"/>
                    <a:pt x="364" y="397"/>
                  </a:cubicBezTo>
                  <a:cubicBezTo>
                    <a:pt x="368" y="383"/>
                    <a:pt x="350" y="365"/>
                    <a:pt x="359" y="350"/>
                  </a:cubicBezTo>
                  <a:cubicBezTo>
                    <a:pt x="362" y="345"/>
                    <a:pt x="370" y="346"/>
                    <a:pt x="374" y="342"/>
                  </a:cubicBezTo>
                  <a:cubicBezTo>
                    <a:pt x="381" y="335"/>
                    <a:pt x="359" y="329"/>
                    <a:pt x="353" y="321"/>
                  </a:cubicBezTo>
                  <a:cubicBezTo>
                    <a:pt x="346" y="314"/>
                    <a:pt x="345" y="308"/>
                    <a:pt x="335" y="310"/>
                  </a:cubicBezTo>
                  <a:cubicBezTo>
                    <a:pt x="333" y="310"/>
                    <a:pt x="330" y="313"/>
                    <a:pt x="328" y="311"/>
                  </a:cubicBezTo>
                  <a:cubicBezTo>
                    <a:pt x="327" y="309"/>
                    <a:pt x="329" y="297"/>
                    <a:pt x="325" y="293"/>
                  </a:cubicBezTo>
                  <a:cubicBezTo>
                    <a:pt x="299" y="262"/>
                    <a:pt x="260" y="273"/>
                    <a:pt x="230" y="256"/>
                  </a:cubicBezTo>
                  <a:cubicBezTo>
                    <a:pt x="218" y="249"/>
                    <a:pt x="134" y="197"/>
                    <a:pt x="128" y="190"/>
                  </a:cubicBezTo>
                  <a:cubicBezTo>
                    <a:pt x="118" y="180"/>
                    <a:pt x="131" y="188"/>
                    <a:pt x="131" y="182"/>
                  </a:cubicBezTo>
                  <a:cubicBezTo>
                    <a:pt x="129" y="175"/>
                    <a:pt x="111" y="170"/>
                    <a:pt x="103" y="166"/>
                  </a:cubicBezTo>
                  <a:cubicBezTo>
                    <a:pt x="101" y="165"/>
                    <a:pt x="99" y="165"/>
                    <a:pt x="99" y="164"/>
                  </a:cubicBezTo>
                  <a:cubicBezTo>
                    <a:pt x="100" y="149"/>
                    <a:pt x="138" y="170"/>
                    <a:pt x="142" y="169"/>
                  </a:cubicBezTo>
                  <a:cubicBezTo>
                    <a:pt x="153" y="166"/>
                    <a:pt x="140" y="149"/>
                    <a:pt x="139" y="145"/>
                  </a:cubicBezTo>
                  <a:cubicBezTo>
                    <a:pt x="139" y="137"/>
                    <a:pt x="157" y="123"/>
                    <a:pt x="165" y="121"/>
                  </a:cubicBezTo>
                  <a:cubicBezTo>
                    <a:pt x="189" y="118"/>
                    <a:pt x="248" y="175"/>
                    <a:pt x="257" y="198"/>
                  </a:cubicBezTo>
                  <a:cubicBezTo>
                    <a:pt x="260" y="205"/>
                    <a:pt x="257" y="214"/>
                    <a:pt x="261" y="219"/>
                  </a:cubicBezTo>
                  <a:cubicBezTo>
                    <a:pt x="263" y="221"/>
                    <a:pt x="266" y="219"/>
                    <a:pt x="269" y="220"/>
                  </a:cubicBezTo>
                  <a:cubicBezTo>
                    <a:pt x="283" y="220"/>
                    <a:pt x="308" y="216"/>
                    <a:pt x="321" y="222"/>
                  </a:cubicBezTo>
                  <a:cubicBezTo>
                    <a:pt x="321" y="222"/>
                    <a:pt x="333" y="232"/>
                    <a:pt x="333" y="232"/>
                  </a:cubicBezTo>
                  <a:cubicBezTo>
                    <a:pt x="338" y="234"/>
                    <a:pt x="372" y="223"/>
                    <a:pt x="377" y="219"/>
                  </a:cubicBezTo>
                  <a:cubicBezTo>
                    <a:pt x="382" y="216"/>
                    <a:pt x="385" y="202"/>
                    <a:pt x="391" y="201"/>
                  </a:cubicBezTo>
                  <a:cubicBezTo>
                    <a:pt x="396" y="199"/>
                    <a:pt x="456" y="220"/>
                    <a:pt x="465" y="224"/>
                  </a:cubicBezTo>
                  <a:cubicBezTo>
                    <a:pt x="468" y="226"/>
                    <a:pt x="485" y="244"/>
                    <a:pt x="486" y="243"/>
                  </a:cubicBezTo>
                  <a:cubicBezTo>
                    <a:pt x="491" y="237"/>
                    <a:pt x="496" y="238"/>
                    <a:pt x="502" y="232"/>
                  </a:cubicBezTo>
                  <a:cubicBezTo>
                    <a:pt x="513" y="222"/>
                    <a:pt x="505" y="199"/>
                    <a:pt x="527" y="193"/>
                  </a:cubicBezTo>
                  <a:cubicBezTo>
                    <a:pt x="540" y="190"/>
                    <a:pt x="562" y="192"/>
                    <a:pt x="566" y="172"/>
                  </a:cubicBezTo>
                  <a:cubicBezTo>
                    <a:pt x="567" y="163"/>
                    <a:pt x="557" y="151"/>
                    <a:pt x="557" y="143"/>
                  </a:cubicBezTo>
                  <a:cubicBezTo>
                    <a:pt x="556" y="129"/>
                    <a:pt x="563" y="124"/>
                    <a:pt x="567" y="113"/>
                  </a:cubicBezTo>
                  <a:cubicBezTo>
                    <a:pt x="570" y="107"/>
                    <a:pt x="565" y="92"/>
                    <a:pt x="569" y="87"/>
                  </a:cubicBezTo>
                  <a:cubicBezTo>
                    <a:pt x="575" y="79"/>
                    <a:pt x="578" y="65"/>
                    <a:pt x="581" y="63"/>
                  </a:cubicBezTo>
                  <a:cubicBezTo>
                    <a:pt x="585" y="58"/>
                    <a:pt x="620" y="28"/>
                    <a:pt x="624" y="26"/>
                  </a:cubicBezTo>
                  <a:cubicBezTo>
                    <a:pt x="643" y="14"/>
                    <a:pt x="667" y="33"/>
                    <a:pt x="686" y="27"/>
                  </a:cubicBezTo>
                  <a:cubicBezTo>
                    <a:pt x="714" y="18"/>
                    <a:pt x="723" y="0"/>
                    <a:pt x="755" y="4"/>
                  </a:cubicBezTo>
                  <a:cubicBezTo>
                    <a:pt x="788" y="57"/>
                    <a:pt x="865" y="46"/>
                    <a:pt x="876" y="95"/>
                  </a:cubicBezTo>
                  <a:cubicBezTo>
                    <a:pt x="880" y="110"/>
                    <a:pt x="794" y="148"/>
                    <a:pt x="845" y="167"/>
                  </a:cubicBezTo>
                  <a:cubicBezTo>
                    <a:pt x="826" y="176"/>
                    <a:pt x="797" y="190"/>
                    <a:pt x="799" y="193"/>
                  </a:cubicBezTo>
                  <a:cubicBezTo>
                    <a:pt x="808" y="201"/>
                    <a:pt x="829" y="182"/>
                    <a:pt x="832" y="203"/>
                  </a:cubicBezTo>
                  <a:cubicBezTo>
                    <a:pt x="836" y="233"/>
                    <a:pt x="792" y="222"/>
                    <a:pt x="813" y="274"/>
                  </a:cubicBezTo>
                  <a:cubicBezTo>
                    <a:pt x="815" y="281"/>
                    <a:pt x="818" y="296"/>
                    <a:pt x="823" y="301"/>
                  </a:cubicBezTo>
                  <a:cubicBezTo>
                    <a:pt x="837" y="313"/>
                    <a:pt x="866" y="308"/>
                    <a:pt x="881" y="319"/>
                  </a:cubicBezTo>
                  <a:cubicBezTo>
                    <a:pt x="894" y="328"/>
                    <a:pt x="900" y="350"/>
                    <a:pt x="912" y="361"/>
                  </a:cubicBezTo>
                  <a:cubicBezTo>
                    <a:pt x="918" y="366"/>
                    <a:pt x="938" y="371"/>
                    <a:pt x="942" y="379"/>
                  </a:cubicBezTo>
                  <a:cubicBezTo>
                    <a:pt x="956" y="408"/>
                    <a:pt x="845" y="470"/>
                    <a:pt x="856" y="506"/>
                  </a:cubicBezTo>
                  <a:cubicBezTo>
                    <a:pt x="859" y="518"/>
                    <a:pt x="875" y="526"/>
                    <a:pt x="881" y="536"/>
                  </a:cubicBezTo>
                  <a:cubicBezTo>
                    <a:pt x="896" y="563"/>
                    <a:pt x="930" y="619"/>
                    <a:pt x="938" y="647"/>
                  </a:cubicBezTo>
                  <a:cubicBezTo>
                    <a:pt x="940" y="652"/>
                    <a:pt x="956" y="689"/>
                    <a:pt x="949" y="692"/>
                  </a:cubicBezTo>
                  <a:cubicBezTo>
                    <a:pt x="944" y="695"/>
                    <a:pt x="921" y="687"/>
                    <a:pt x="915" y="695"/>
                  </a:cubicBezTo>
                  <a:cubicBezTo>
                    <a:pt x="912" y="699"/>
                    <a:pt x="922" y="701"/>
                    <a:pt x="925" y="705"/>
                  </a:cubicBezTo>
                  <a:cubicBezTo>
                    <a:pt x="930" y="711"/>
                    <a:pt x="917" y="715"/>
                    <a:pt x="917" y="715"/>
                  </a:cubicBezTo>
                  <a:cubicBezTo>
                    <a:pt x="915" y="717"/>
                    <a:pt x="917" y="719"/>
                    <a:pt x="917" y="722"/>
                  </a:cubicBezTo>
                  <a:cubicBezTo>
                    <a:pt x="917" y="726"/>
                    <a:pt x="917" y="730"/>
                    <a:pt x="917" y="734"/>
                  </a:cubicBezTo>
                  <a:cubicBezTo>
                    <a:pt x="917" y="740"/>
                    <a:pt x="899" y="755"/>
                    <a:pt x="905" y="758"/>
                  </a:cubicBezTo>
                  <a:cubicBezTo>
                    <a:pt x="917" y="765"/>
                    <a:pt x="930" y="751"/>
                    <a:pt x="927" y="773"/>
                  </a:cubicBezTo>
                  <a:cubicBezTo>
                    <a:pt x="925" y="784"/>
                    <a:pt x="890" y="772"/>
                    <a:pt x="908" y="806"/>
                  </a:cubicBezTo>
                  <a:cubicBezTo>
                    <a:pt x="921" y="831"/>
                    <a:pt x="949" y="818"/>
                    <a:pt x="958" y="844"/>
                  </a:cubicBezTo>
                  <a:cubicBezTo>
                    <a:pt x="961" y="852"/>
                    <a:pt x="939" y="853"/>
                    <a:pt x="937" y="856"/>
                  </a:cubicBezTo>
                  <a:cubicBezTo>
                    <a:pt x="931" y="868"/>
                    <a:pt x="943" y="866"/>
                    <a:pt x="946" y="872"/>
                  </a:cubicBezTo>
                  <a:cubicBezTo>
                    <a:pt x="946" y="872"/>
                    <a:pt x="943" y="884"/>
                    <a:pt x="943" y="884"/>
                  </a:cubicBezTo>
                  <a:cubicBezTo>
                    <a:pt x="949" y="902"/>
                    <a:pt x="991" y="889"/>
                    <a:pt x="994" y="932"/>
                  </a:cubicBezTo>
                  <a:cubicBezTo>
                    <a:pt x="995" y="951"/>
                    <a:pt x="941" y="976"/>
                    <a:pt x="939" y="981"/>
                  </a:cubicBezTo>
                  <a:cubicBezTo>
                    <a:pt x="937" y="987"/>
                    <a:pt x="972" y="1013"/>
                    <a:pt x="977" y="1017"/>
                  </a:cubicBezTo>
                  <a:cubicBezTo>
                    <a:pt x="997" y="1034"/>
                    <a:pt x="1025" y="1041"/>
                    <a:pt x="1046" y="1058"/>
                  </a:cubicBezTo>
                  <a:cubicBezTo>
                    <a:pt x="1054" y="1065"/>
                    <a:pt x="1051" y="1075"/>
                    <a:pt x="1059" y="1083"/>
                  </a:cubicBezTo>
                  <a:cubicBezTo>
                    <a:pt x="1063" y="1088"/>
                    <a:pt x="1078" y="1099"/>
                    <a:pt x="1080" y="1105"/>
                  </a:cubicBezTo>
                  <a:cubicBezTo>
                    <a:pt x="1081" y="1109"/>
                    <a:pt x="1068" y="1124"/>
                    <a:pt x="1067" y="1127"/>
                  </a:cubicBezTo>
                  <a:cubicBezTo>
                    <a:pt x="1048" y="1167"/>
                    <a:pt x="1035" y="1180"/>
                    <a:pt x="1004" y="1210"/>
                  </a:cubicBezTo>
                  <a:cubicBezTo>
                    <a:pt x="986" y="1227"/>
                    <a:pt x="969" y="1245"/>
                    <a:pt x="952" y="1263"/>
                  </a:cubicBezTo>
                  <a:cubicBezTo>
                    <a:pt x="950" y="1260"/>
                    <a:pt x="948" y="1258"/>
                    <a:pt x="946" y="1257"/>
                  </a:cubicBezTo>
                  <a:cubicBezTo>
                    <a:pt x="946" y="1257"/>
                    <a:pt x="940" y="1246"/>
                    <a:pt x="939" y="1244"/>
                  </a:cubicBezTo>
                  <a:cubicBezTo>
                    <a:pt x="939" y="1243"/>
                    <a:pt x="939" y="1243"/>
                    <a:pt x="939" y="1243"/>
                  </a:cubicBezTo>
                  <a:cubicBezTo>
                    <a:pt x="937" y="1239"/>
                    <a:pt x="911" y="1220"/>
                    <a:pt x="910" y="1226"/>
                  </a:cubicBezTo>
                  <a:cubicBezTo>
                    <a:pt x="909" y="1231"/>
                    <a:pt x="940" y="1245"/>
                    <a:pt x="941" y="1254"/>
                  </a:cubicBezTo>
                  <a:cubicBezTo>
                    <a:pt x="942" y="1256"/>
                    <a:pt x="935" y="1253"/>
                    <a:pt x="934" y="1254"/>
                  </a:cubicBezTo>
                  <a:cubicBezTo>
                    <a:pt x="930" y="1254"/>
                    <a:pt x="925" y="1274"/>
                    <a:pt x="926" y="1275"/>
                  </a:cubicBezTo>
                  <a:cubicBezTo>
                    <a:pt x="934" y="1286"/>
                    <a:pt x="936" y="1269"/>
                    <a:pt x="940" y="1269"/>
                  </a:cubicBezTo>
                  <a:cubicBezTo>
                    <a:pt x="942" y="1269"/>
                    <a:pt x="943" y="1271"/>
                    <a:pt x="942" y="1273"/>
                  </a:cubicBezTo>
                  <a:cubicBezTo>
                    <a:pt x="902" y="1314"/>
                    <a:pt x="862" y="1356"/>
                    <a:pt x="817" y="1391"/>
                  </a:cubicBezTo>
                  <a:cubicBezTo>
                    <a:pt x="793" y="1409"/>
                    <a:pt x="761" y="1427"/>
                    <a:pt x="743" y="1451"/>
                  </a:cubicBezTo>
                  <a:close/>
                  <a:moveTo>
                    <a:pt x="995" y="1122"/>
                  </a:moveTo>
                  <a:cubicBezTo>
                    <a:pt x="995" y="1122"/>
                    <a:pt x="996" y="1123"/>
                    <a:pt x="997" y="1124"/>
                  </a:cubicBezTo>
                  <a:cubicBezTo>
                    <a:pt x="997" y="1125"/>
                    <a:pt x="997" y="1125"/>
                    <a:pt x="998" y="1125"/>
                  </a:cubicBezTo>
                  <a:cubicBezTo>
                    <a:pt x="998" y="1126"/>
                    <a:pt x="998" y="1125"/>
                    <a:pt x="997" y="1124"/>
                  </a:cubicBezTo>
                  <a:cubicBezTo>
                    <a:pt x="996" y="1122"/>
                    <a:pt x="996" y="1120"/>
                    <a:pt x="995" y="1119"/>
                  </a:cubicBezTo>
                  <a:cubicBezTo>
                    <a:pt x="995" y="1119"/>
                    <a:pt x="994" y="1118"/>
                    <a:pt x="995" y="1118"/>
                  </a:cubicBezTo>
                  <a:cubicBezTo>
                    <a:pt x="996" y="1116"/>
                    <a:pt x="999" y="1116"/>
                    <a:pt x="1001" y="1115"/>
                  </a:cubicBezTo>
                  <a:cubicBezTo>
                    <a:pt x="1006" y="1114"/>
                    <a:pt x="1026" y="1091"/>
                    <a:pt x="1016" y="1085"/>
                  </a:cubicBezTo>
                  <a:cubicBezTo>
                    <a:pt x="1000" y="1074"/>
                    <a:pt x="1003" y="1097"/>
                    <a:pt x="1000" y="1099"/>
                  </a:cubicBezTo>
                  <a:cubicBezTo>
                    <a:pt x="1000" y="1099"/>
                    <a:pt x="985" y="1095"/>
                    <a:pt x="985" y="1101"/>
                  </a:cubicBezTo>
                  <a:cubicBezTo>
                    <a:pt x="985" y="1106"/>
                    <a:pt x="1001" y="1110"/>
                    <a:pt x="995" y="1113"/>
                  </a:cubicBezTo>
                  <a:cubicBezTo>
                    <a:pt x="992" y="1114"/>
                    <a:pt x="986" y="1118"/>
                    <a:pt x="984" y="1121"/>
                  </a:cubicBezTo>
                  <a:cubicBezTo>
                    <a:pt x="986" y="1122"/>
                    <a:pt x="986" y="1122"/>
                    <a:pt x="986" y="1122"/>
                  </a:cubicBezTo>
                  <a:cubicBezTo>
                    <a:pt x="970" y="1137"/>
                    <a:pt x="989" y="1120"/>
                    <a:pt x="995" y="1122"/>
                  </a:cubicBezTo>
                  <a:close/>
                  <a:moveTo>
                    <a:pt x="412" y="371"/>
                  </a:moveTo>
                  <a:cubicBezTo>
                    <a:pt x="412" y="371"/>
                    <a:pt x="412" y="371"/>
                    <a:pt x="412" y="371"/>
                  </a:cubicBezTo>
                  <a:cubicBezTo>
                    <a:pt x="413" y="371"/>
                    <a:pt x="413" y="375"/>
                    <a:pt x="413" y="375"/>
                  </a:cubicBezTo>
                  <a:cubicBezTo>
                    <a:pt x="413" y="375"/>
                    <a:pt x="415" y="373"/>
                    <a:pt x="415" y="373"/>
                  </a:cubicBezTo>
                  <a:cubicBezTo>
                    <a:pt x="425" y="357"/>
                    <a:pt x="410" y="350"/>
                    <a:pt x="412" y="371"/>
                  </a:cubicBezTo>
                  <a:close/>
                  <a:moveTo>
                    <a:pt x="420" y="349"/>
                  </a:moveTo>
                  <a:cubicBezTo>
                    <a:pt x="419" y="347"/>
                    <a:pt x="403" y="340"/>
                    <a:pt x="403" y="344"/>
                  </a:cubicBezTo>
                  <a:cubicBezTo>
                    <a:pt x="403" y="346"/>
                    <a:pt x="409" y="348"/>
                    <a:pt x="410" y="351"/>
                  </a:cubicBezTo>
                  <a:cubicBezTo>
                    <a:pt x="411" y="351"/>
                    <a:pt x="411" y="351"/>
                    <a:pt x="411" y="351"/>
                  </a:cubicBezTo>
                  <a:cubicBezTo>
                    <a:pt x="412" y="353"/>
                    <a:pt x="421" y="353"/>
                    <a:pt x="423" y="351"/>
                  </a:cubicBezTo>
                  <a:cubicBezTo>
                    <a:pt x="423" y="350"/>
                    <a:pt x="421" y="349"/>
                    <a:pt x="420" y="349"/>
                  </a:cubicBezTo>
                  <a:close/>
                  <a:moveTo>
                    <a:pt x="476" y="539"/>
                  </a:moveTo>
                  <a:cubicBezTo>
                    <a:pt x="474" y="536"/>
                    <a:pt x="465" y="529"/>
                    <a:pt x="465" y="531"/>
                  </a:cubicBezTo>
                  <a:cubicBezTo>
                    <a:pt x="464" y="534"/>
                    <a:pt x="460" y="529"/>
                    <a:pt x="459" y="532"/>
                  </a:cubicBezTo>
                  <a:cubicBezTo>
                    <a:pt x="459" y="534"/>
                    <a:pt x="466" y="537"/>
                    <a:pt x="465" y="541"/>
                  </a:cubicBezTo>
                  <a:cubicBezTo>
                    <a:pt x="465" y="542"/>
                    <a:pt x="464" y="543"/>
                    <a:pt x="463" y="544"/>
                  </a:cubicBezTo>
                  <a:cubicBezTo>
                    <a:pt x="461" y="545"/>
                    <a:pt x="459" y="544"/>
                    <a:pt x="458" y="543"/>
                  </a:cubicBezTo>
                  <a:cubicBezTo>
                    <a:pt x="458" y="543"/>
                    <a:pt x="447" y="546"/>
                    <a:pt x="444" y="542"/>
                  </a:cubicBezTo>
                  <a:cubicBezTo>
                    <a:pt x="440" y="539"/>
                    <a:pt x="444" y="527"/>
                    <a:pt x="439" y="527"/>
                  </a:cubicBezTo>
                  <a:cubicBezTo>
                    <a:pt x="435" y="527"/>
                    <a:pt x="441" y="539"/>
                    <a:pt x="437" y="538"/>
                  </a:cubicBezTo>
                  <a:cubicBezTo>
                    <a:pt x="433" y="537"/>
                    <a:pt x="435" y="540"/>
                    <a:pt x="434" y="542"/>
                  </a:cubicBezTo>
                  <a:cubicBezTo>
                    <a:pt x="430" y="549"/>
                    <a:pt x="435" y="559"/>
                    <a:pt x="437" y="562"/>
                  </a:cubicBezTo>
                  <a:cubicBezTo>
                    <a:pt x="437" y="562"/>
                    <a:pt x="437" y="562"/>
                    <a:pt x="437" y="562"/>
                  </a:cubicBezTo>
                  <a:cubicBezTo>
                    <a:pt x="446" y="570"/>
                    <a:pt x="442" y="546"/>
                    <a:pt x="442" y="545"/>
                  </a:cubicBezTo>
                  <a:cubicBezTo>
                    <a:pt x="443" y="544"/>
                    <a:pt x="446" y="546"/>
                    <a:pt x="447" y="546"/>
                  </a:cubicBezTo>
                  <a:cubicBezTo>
                    <a:pt x="452" y="547"/>
                    <a:pt x="464" y="556"/>
                    <a:pt x="467" y="549"/>
                  </a:cubicBezTo>
                  <a:cubicBezTo>
                    <a:pt x="468" y="546"/>
                    <a:pt x="465" y="544"/>
                    <a:pt x="467" y="541"/>
                  </a:cubicBezTo>
                  <a:cubicBezTo>
                    <a:pt x="467" y="540"/>
                    <a:pt x="479" y="544"/>
                    <a:pt x="476" y="539"/>
                  </a:cubicBezTo>
                  <a:close/>
                  <a:moveTo>
                    <a:pt x="207" y="1278"/>
                  </a:moveTo>
                  <a:cubicBezTo>
                    <a:pt x="205" y="1276"/>
                    <a:pt x="203" y="1273"/>
                    <a:pt x="202" y="1270"/>
                  </a:cubicBezTo>
                  <a:cubicBezTo>
                    <a:pt x="202" y="1270"/>
                    <a:pt x="202" y="1270"/>
                    <a:pt x="202" y="1270"/>
                  </a:cubicBezTo>
                  <a:cubicBezTo>
                    <a:pt x="200" y="1267"/>
                    <a:pt x="197" y="1275"/>
                    <a:pt x="201" y="1281"/>
                  </a:cubicBezTo>
                  <a:cubicBezTo>
                    <a:pt x="202" y="1282"/>
                    <a:pt x="228" y="1298"/>
                    <a:pt x="207" y="1278"/>
                  </a:cubicBezTo>
                  <a:close/>
                  <a:moveTo>
                    <a:pt x="257" y="1386"/>
                  </a:moveTo>
                  <a:cubicBezTo>
                    <a:pt x="256" y="1385"/>
                    <a:pt x="256" y="1385"/>
                    <a:pt x="256" y="1385"/>
                  </a:cubicBezTo>
                  <a:cubicBezTo>
                    <a:pt x="254" y="1382"/>
                    <a:pt x="251" y="1380"/>
                    <a:pt x="248" y="1378"/>
                  </a:cubicBezTo>
                  <a:cubicBezTo>
                    <a:pt x="222" y="1363"/>
                    <a:pt x="263" y="1432"/>
                    <a:pt x="257" y="1386"/>
                  </a:cubicBezTo>
                  <a:close/>
                  <a:moveTo>
                    <a:pt x="905" y="1046"/>
                  </a:moveTo>
                  <a:cubicBezTo>
                    <a:pt x="902" y="1046"/>
                    <a:pt x="860" y="1008"/>
                    <a:pt x="856" y="1005"/>
                  </a:cubicBezTo>
                  <a:cubicBezTo>
                    <a:pt x="856" y="1005"/>
                    <a:pt x="855" y="1004"/>
                    <a:pt x="854" y="1004"/>
                  </a:cubicBezTo>
                  <a:cubicBezTo>
                    <a:pt x="847" y="1003"/>
                    <a:pt x="869" y="1019"/>
                    <a:pt x="864" y="1025"/>
                  </a:cubicBezTo>
                  <a:cubicBezTo>
                    <a:pt x="862" y="1029"/>
                    <a:pt x="846" y="1014"/>
                    <a:pt x="845" y="1016"/>
                  </a:cubicBezTo>
                  <a:cubicBezTo>
                    <a:pt x="844" y="1017"/>
                    <a:pt x="849" y="1021"/>
                    <a:pt x="850" y="1021"/>
                  </a:cubicBezTo>
                  <a:cubicBezTo>
                    <a:pt x="857" y="1027"/>
                    <a:pt x="879" y="1053"/>
                    <a:pt x="879" y="1055"/>
                  </a:cubicBezTo>
                  <a:cubicBezTo>
                    <a:pt x="875" y="1075"/>
                    <a:pt x="897" y="1062"/>
                    <a:pt x="902" y="1064"/>
                  </a:cubicBezTo>
                  <a:cubicBezTo>
                    <a:pt x="903" y="1064"/>
                    <a:pt x="903" y="1084"/>
                    <a:pt x="910" y="1074"/>
                  </a:cubicBezTo>
                  <a:cubicBezTo>
                    <a:pt x="911" y="1073"/>
                    <a:pt x="921" y="1066"/>
                    <a:pt x="921" y="1066"/>
                  </a:cubicBezTo>
                  <a:cubicBezTo>
                    <a:pt x="925" y="1072"/>
                    <a:pt x="919" y="1076"/>
                    <a:pt x="920" y="1078"/>
                  </a:cubicBezTo>
                  <a:cubicBezTo>
                    <a:pt x="922" y="1082"/>
                    <a:pt x="946" y="1107"/>
                    <a:pt x="953" y="1109"/>
                  </a:cubicBezTo>
                  <a:cubicBezTo>
                    <a:pt x="954" y="1110"/>
                    <a:pt x="954" y="1110"/>
                    <a:pt x="954" y="1110"/>
                  </a:cubicBezTo>
                  <a:cubicBezTo>
                    <a:pt x="964" y="1110"/>
                    <a:pt x="944" y="1136"/>
                    <a:pt x="944" y="1135"/>
                  </a:cubicBezTo>
                  <a:cubicBezTo>
                    <a:pt x="948" y="1141"/>
                    <a:pt x="959" y="1118"/>
                    <a:pt x="960" y="1117"/>
                  </a:cubicBezTo>
                  <a:cubicBezTo>
                    <a:pt x="962" y="1116"/>
                    <a:pt x="972" y="1131"/>
                    <a:pt x="975" y="1125"/>
                  </a:cubicBezTo>
                  <a:cubicBezTo>
                    <a:pt x="976" y="1123"/>
                    <a:pt x="968" y="1118"/>
                    <a:pt x="967" y="1118"/>
                  </a:cubicBezTo>
                  <a:cubicBezTo>
                    <a:pt x="962" y="1117"/>
                    <a:pt x="937" y="1082"/>
                    <a:pt x="936" y="1069"/>
                  </a:cubicBezTo>
                  <a:cubicBezTo>
                    <a:pt x="935" y="1065"/>
                    <a:pt x="935" y="1050"/>
                    <a:pt x="936" y="1052"/>
                  </a:cubicBezTo>
                  <a:cubicBezTo>
                    <a:pt x="937" y="1055"/>
                    <a:pt x="950" y="1062"/>
                    <a:pt x="942" y="1052"/>
                  </a:cubicBezTo>
                  <a:cubicBezTo>
                    <a:pt x="940" y="1050"/>
                    <a:pt x="938" y="1048"/>
                    <a:pt x="935" y="1047"/>
                  </a:cubicBezTo>
                  <a:cubicBezTo>
                    <a:pt x="924" y="1042"/>
                    <a:pt x="932" y="1047"/>
                    <a:pt x="929" y="1050"/>
                  </a:cubicBezTo>
                  <a:cubicBezTo>
                    <a:pt x="924" y="1053"/>
                    <a:pt x="920" y="1046"/>
                    <a:pt x="905" y="1046"/>
                  </a:cubicBezTo>
                  <a:close/>
                  <a:moveTo>
                    <a:pt x="908" y="1139"/>
                  </a:moveTo>
                  <a:cubicBezTo>
                    <a:pt x="908" y="1140"/>
                    <a:pt x="908" y="1140"/>
                    <a:pt x="908" y="1140"/>
                  </a:cubicBezTo>
                  <a:cubicBezTo>
                    <a:pt x="909" y="1144"/>
                    <a:pt x="916" y="1138"/>
                    <a:pt x="919" y="1137"/>
                  </a:cubicBezTo>
                  <a:cubicBezTo>
                    <a:pt x="936" y="1132"/>
                    <a:pt x="904" y="1087"/>
                    <a:pt x="895" y="1086"/>
                  </a:cubicBezTo>
                  <a:cubicBezTo>
                    <a:pt x="887" y="1085"/>
                    <a:pt x="898" y="1098"/>
                    <a:pt x="900" y="1100"/>
                  </a:cubicBezTo>
                  <a:cubicBezTo>
                    <a:pt x="903" y="1102"/>
                    <a:pt x="906" y="1116"/>
                    <a:pt x="906" y="1118"/>
                  </a:cubicBezTo>
                  <a:cubicBezTo>
                    <a:pt x="905" y="1119"/>
                    <a:pt x="897" y="1115"/>
                    <a:pt x="897" y="1115"/>
                  </a:cubicBezTo>
                  <a:cubicBezTo>
                    <a:pt x="897" y="1117"/>
                    <a:pt x="900" y="1117"/>
                    <a:pt x="901" y="1118"/>
                  </a:cubicBezTo>
                  <a:cubicBezTo>
                    <a:pt x="904" y="1126"/>
                    <a:pt x="894" y="1116"/>
                    <a:pt x="892" y="1114"/>
                  </a:cubicBezTo>
                  <a:cubicBezTo>
                    <a:pt x="891" y="1113"/>
                    <a:pt x="890" y="1106"/>
                    <a:pt x="889" y="1107"/>
                  </a:cubicBezTo>
                  <a:cubicBezTo>
                    <a:pt x="876" y="1115"/>
                    <a:pt x="903" y="1123"/>
                    <a:pt x="904" y="1132"/>
                  </a:cubicBezTo>
                  <a:cubicBezTo>
                    <a:pt x="905" y="1134"/>
                    <a:pt x="907" y="1137"/>
                    <a:pt x="908" y="1139"/>
                  </a:cubicBezTo>
                  <a:close/>
                  <a:moveTo>
                    <a:pt x="900" y="1142"/>
                  </a:moveTo>
                  <a:cubicBezTo>
                    <a:pt x="899" y="1137"/>
                    <a:pt x="894" y="1131"/>
                    <a:pt x="889" y="1133"/>
                  </a:cubicBezTo>
                  <a:cubicBezTo>
                    <a:pt x="886" y="1134"/>
                    <a:pt x="885" y="1143"/>
                    <a:pt x="883" y="1142"/>
                  </a:cubicBezTo>
                  <a:cubicBezTo>
                    <a:pt x="880" y="1140"/>
                    <a:pt x="880" y="1127"/>
                    <a:pt x="879" y="1125"/>
                  </a:cubicBezTo>
                  <a:cubicBezTo>
                    <a:pt x="879" y="1125"/>
                    <a:pt x="879" y="1125"/>
                    <a:pt x="879" y="1125"/>
                  </a:cubicBezTo>
                  <a:cubicBezTo>
                    <a:pt x="876" y="1122"/>
                    <a:pt x="878" y="1121"/>
                    <a:pt x="873" y="1123"/>
                  </a:cubicBezTo>
                  <a:cubicBezTo>
                    <a:pt x="864" y="1129"/>
                    <a:pt x="868" y="1133"/>
                    <a:pt x="873" y="1139"/>
                  </a:cubicBezTo>
                  <a:cubicBezTo>
                    <a:pt x="873" y="1140"/>
                    <a:pt x="861" y="1136"/>
                    <a:pt x="863" y="1140"/>
                  </a:cubicBezTo>
                  <a:cubicBezTo>
                    <a:pt x="865" y="1144"/>
                    <a:pt x="870" y="1146"/>
                    <a:pt x="875" y="1145"/>
                  </a:cubicBezTo>
                  <a:cubicBezTo>
                    <a:pt x="880" y="1144"/>
                    <a:pt x="893" y="1150"/>
                    <a:pt x="892" y="1140"/>
                  </a:cubicBezTo>
                  <a:cubicBezTo>
                    <a:pt x="892" y="1134"/>
                    <a:pt x="901" y="1146"/>
                    <a:pt x="900" y="1142"/>
                  </a:cubicBezTo>
                  <a:close/>
                  <a:moveTo>
                    <a:pt x="818" y="1143"/>
                  </a:moveTo>
                  <a:cubicBezTo>
                    <a:pt x="817" y="1145"/>
                    <a:pt x="810" y="1144"/>
                    <a:pt x="810" y="1144"/>
                  </a:cubicBezTo>
                  <a:cubicBezTo>
                    <a:pt x="810" y="1152"/>
                    <a:pt x="851" y="1166"/>
                    <a:pt x="853" y="1164"/>
                  </a:cubicBezTo>
                  <a:cubicBezTo>
                    <a:pt x="858" y="1162"/>
                    <a:pt x="824" y="1139"/>
                    <a:pt x="824" y="1138"/>
                  </a:cubicBezTo>
                  <a:cubicBezTo>
                    <a:pt x="824" y="1137"/>
                    <a:pt x="820" y="1136"/>
                    <a:pt x="821" y="1135"/>
                  </a:cubicBezTo>
                  <a:cubicBezTo>
                    <a:pt x="821" y="1135"/>
                    <a:pt x="821" y="1132"/>
                    <a:pt x="822" y="1132"/>
                  </a:cubicBezTo>
                  <a:cubicBezTo>
                    <a:pt x="824" y="1130"/>
                    <a:pt x="825" y="1133"/>
                    <a:pt x="827" y="1130"/>
                  </a:cubicBezTo>
                  <a:cubicBezTo>
                    <a:pt x="829" y="1127"/>
                    <a:pt x="831" y="1127"/>
                    <a:pt x="832" y="1126"/>
                  </a:cubicBezTo>
                  <a:cubicBezTo>
                    <a:pt x="837" y="1120"/>
                    <a:pt x="828" y="1120"/>
                    <a:pt x="829" y="1112"/>
                  </a:cubicBezTo>
                  <a:cubicBezTo>
                    <a:pt x="830" y="1110"/>
                    <a:pt x="839" y="1117"/>
                    <a:pt x="840" y="1113"/>
                  </a:cubicBezTo>
                  <a:cubicBezTo>
                    <a:pt x="842" y="1105"/>
                    <a:pt x="830" y="1110"/>
                    <a:pt x="827" y="1109"/>
                  </a:cubicBezTo>
                  <a:cubicBezTo>
                    <a:pt x="826" y="1109"/>
                    <a:pt x="821" y="1105"/>
                    <a:pt x="822" y="1108"/>
                  </a:cubicBezTo>
                  <a:cubicBezTo>
                    <a:pt x="825" y="1122"/>
                    <a:pt x="816" y="1109"/>
                    <a:pt x="820" y="1105"/>
                  </a:cubicBezTo>
                  <a:cubicBezTo>
                    <a:pt x="823" y="1101"/>
                    <a:pt x="813" y="1102"/>
                    <a:pt x="818" y="1098"/>
                  </a:cubicBezTo>
                  <a:cubicBezTo>
                    <a:pt x="819" y="1096"/>
                    <a:pt x="823" y="1102"/>
                    <a:pt x="825" y="1097"/>
                  </a:cubicBezTo>
                  <a:cubicBezTo>
                    <a:pt x="826" y="1097"/>
                    <a:pt x="826" y="1097"/>
                    <a:pt x="826" y="1097"/>
                  </a:cubicBezTo>
                  <a:cubicBezTo>
                    <a:pt x="826" y="1095"/>
                    <a:pt x="822" y="1094"/>
                    <a:pt x="820" y="1095"/>
                  </a:cubicBezTo>
                  <a:cubicBezTo>
                    <a:pt x="805" y="1095"/>
                    <a:pt x="818" y="1107"/>
                    <a:pt x="813" y="1107"/>
                  </a:cubicBezTo>
                  <a:cubicBezTo>
                    <a:pt x="808" y="1107"/>
                    <a:pt x="798" y="1097"/>
                    <a:pt x="800" y="1102"/>
                  </a:cubicBezTo>
                  <a:cubicBezTo>
                    <a:pt x="802" y="1107"/>
                    <a:pt x="825" y="1117"/>
                    <a:pt x="825" y="1127"/>
                  </a:cubicBezTo>
                  <a:cubicBezTo>
                    <a:pt x="825" y="1128"/>
                    <a:pt x="819" y="1130"/>
                    <a:pt x="817" y="1130"/>
                  </a:cubicBezTo>
                  <a:cubicBezTo>
                    <a:pt x="804" y="1129"/>
                    <a:pt x="805" y="1117"/>
                    <a:pt x="796" y="1124"/>
                  </a:cubicBezTo>
                  <a:cubicBezTo>
                    <a:pt x="793" y="1127"/>
                    <a:pt x="804" y="1128"/>
                    <a:pt x="801" y="1133"/>
                  </a:cubicBezTo>
                  <a:cubicBezTo>
                    <a:pt x="799" y="1135"/>
                    <a:pt x="805" y="1139"/>
                    <a:pt x="808" y="1140"/>
                  </a:cubicBezTo>
                  <a:cubicBezTo>
                    <a:pt x="809" y="1141"/>
                    <a:pt x="819" y="1137"/>
                    <a:pt x="818" y="1143"/>
                  </a:cubicBezTo>
                  <a:close/>
                  <a:moveTo>
                    <a:pt x="778" y="1081"/>
                  </a:moveTo>
                  <a:cubicBezTo>
                    <a:pt x="786" y="1086"/>
                    <a:pt x="800" y="1080"/>
                    <a:pt x="799" y="1071"/>
                  </a:cubicBezTo>
                  <a:cubicBezTo>
                    <a:pt x="799" y="1071"/>
                    <a:pt x="792" y="1068"/>
                    <a:pt x="795" y="1067"/>
                  </a:cubicBezTo>
                  <a:cubicBezTo>
                    <a:pt x="796" y="1066"/>
                    <a:pt x="799" y="1065"/>
                    <a:pt x="795" y="1065"/>
                  </a:cubicBezTo>
                  <a:cubicBezTo>
                    <a:pt x="778" y="1062"/>
                    <a:pt x="798" y="1068"/>
                    <a:pt x="790" y="1070"/>
                  </a:cubicBezTo>
                  <a:cubicBezTo>
                    <a:pt x="787" y="1071"/>
                    <a:pt x="778" y="1060"/>
                    <a:pt x="771" y="1056"/>
                  </a:cubicBezTo>
                  <a:cubicBezTo>
                    <a:pt x="767" y="1054"/>
                    <a:pt x="745" y="1029"/>
                    <a:pt x="742" y="1031"/>
                  </a:cubicBezTo>
                  <a:cubicBezTo>
                    <a:pt x="741" y="1032"/>
                    <a:pt x="748" y="1038"/>
                    <a:pt x="749" y="1039"/>
                  </a:cubicBezTo>
                  <a:cubicBezTo>
                    <a:pt x="758" y="1045"/>
                    <a:pt x="757" y="1054"/>
                    <a:pt x="763" y="1061"/>
                  </a:cubicBezTo>
                  <a:cubicBezTo>
                    <a:pt x="764" y="1062"/>
                    <a:pt x="764" y="1062"/>
                    <a:pt x="764" y="1062"/>
                  </a:cubicBezTo>
                  <a:cubicBezTo>
                    <a:pt x="763" y="1064"/>
                    <a:pt x="771" y="1064"/>
                    <a:pt x="774" y="1063"/>
                  </a:cubicBezTo>
                  <a:cubicBezTo>
                    <a:pt x="778" y="1063"/>
                    <a:pt x="784" y="1071"/>
                    <a:pt x="787" y="1074"/>
                  </a:cubicBezTo>
                  <a:cubicBezTo>
                    <a:pt x="790" y="1076"/>
                    <a:pt x="775" y="1079"/>
                    <a:pt x="778" y="1081"/>
                  </a:cubicBezTo>
                  <a:close/>
                  <a:moveTo>
                    <a:pt x="737" y="919"/>
                  </a:moveTo>
                  <a:cubicBezTo>
                    <a:pt x="742" y="921"/>
                    <a:pt x="761" y="928"/>
                    <a:pt x="766" y="929"/>
                  </a:cubicBezTo>
                  <a:cubicBezTo>
                    <a:pt x="768" y="929"/>
                    <a:pt x="779" y="926"/>
                    <a:pt x="779" y="926"/>
                  </a:cubicBezTo>
                  <a:cubicBezTo>
                    <a:pt x="772" y="919"/>
                    <a:pt x="763" y="922"/>
                    <a:pt x="752" y="916"/>
                  </a:cubicBezTo>
                  <a:cubicBezTo>
                    <a:pt x="749" y="914"/>
                    <a:pt x="751" y="905"/>
                    <a:pt x="749" y="905"/>
                  </a:cubicBezTo>
                  <a:cubicBezTo>
                    <a:pt x="741" y="904"/>
                    <a:pt x="736" y="917"/>
                    <a:pt x="728" y="903"/>
                  </a:cubicBezTo>
                  <a:cubicBezTo>
                    <a:pt x="727" y="901"/>
                    <a:pt x="733" y="900"/>
                    <a:pt x="735" y="899"/>
                  </a:cubicBezTo>
                  <a:cubicBezTo>
                    <a:pt x="742" y="896"/>
                    <a:pt x="756" y="902"/>
                    <a:pt x="759" y="899"/>
                  </a:cubicBezTo>
                  <a:cubicBezTo>
                    <a:pt x="763" y="895"/>
                    <a:pt x="744" y="897"/>
                    <a:pt x="746" y="891"/>
                  </a:cubicBezTo>
                  <a:cubicBezTo>
                    <a:pt x="747" y="886"/>
                    <a:pt x="762" y="893"/>
                    <a:pt x="762" y="890"/>
                  </a:cubicBezTo>
                  <a:cubicBezTo>
                    <a:pt x="761" y="882"/>
                    <a:pt x="735" y="887"/>
                    <a:pt x="733" y="887"/>
                  </a:cubicBezTo>
                  <a:cubicBezTo>
                    <a:pt x="730" y="887"/>
                    <a:pt x="728" y="881"/>
                    <a:pt x="723" y="883"/>
                  </a:cubicBezTo>
                  <a:cubicBezTo>
                    <a:pt x="719" y="885"/>
                    <a:pt x="725" y="891"/>
                    <a:pt x="712" y="894"/>
                  </a:cubicBezTo>
                  <a:cubicBezTo>
                    <a:pt x="709" y="894"/>
                    <a:pt x="709" y="901"/>
                    <a:pt x="705" y="899"/>
                  </a:cubicBezTo>
                  <a:cubicBezTo>
                    <a:pt x="704" y="899"/>
                    <a:pt x="688" y="887"/>
                    <a:pt x="686" y="883"/>
                  </a:cubicBezTo>
                  <a:cubicBezTo>
                    <a:pt x="683" y="876"/>
                    <a:pt x="698" y="883"/>
                    <a:pt x="688" y="873"/>
                  </a:cubicBezTo>
                  <a:cubicBezTo>
                    <a:pt x="686" y="870"/>
                    <a:pt x="696" y="867"/>
                    <a:pt x="693" y="866"/>
                  </a:cubicBezTo>
                  <a:cubicBezTo>
                    <a:pt x="685" y="861"/>
                    <a:pt x="673" y="870"/>
                    <a:pt x="671" y="870"/>
                  </a:cubicBezTo>
                  <a:cubicBezTo>
                    <a:pt x="671" y="870"/>
                    <a:pt x="640" y="857"/>
                    <a:pt x="656" y="868"/>
                  </a:cubicBezTo>
                  <a:cubicBezTo>
                    <a:pt x="661" y="871"/>
                    <a:pt x="646" y="875"/>
                    <a:pt x="659" y="881"/>
                  </a:cubicBezTo>
                  <a:cubicBezTo>
                    <a:pt x="671" y="886"/>
                    <a:pt x="648" y="879"/>
                    <a:pt x="648" y="882"/>
                  </a:cubicBezTo>
                  <a:cubicBezTo>
                    <a:pt x="647" y="891"/>
                    <a:pt x="657" y="891"/>
                    <a:pt x="662" y="894"/>
                  </a:cubicBezTo>
                  <a:cubicBezTo>
                    <a:pt x="667" y="897"/>
                    <a:pt x="666" y="907"/>
                    <a:pt x="667" y="910"/>
                  </a:cubicBezTo>
                  <a:cubicBezTo>
                    <a:pt x="667" y="910"/>
                    <a:pt x="667" y="910"/>
                    <a:pt x="667" y="910"/>
                  </a:cubicBezTo>
                  <a:cubicBezTo>
                    <a:pt x="672" y="924"/>
                    <a:pt x="683" y="911"/>
                    <a:pt x="689" y="913"/>
                  </a:cubicBezTo>
                  <a:cubicBezTo>
                    <a:pt x="692" y="914"/>
                    <a:pt x="685" y="918"/>
                    <a:pt x="685" y="921"/>
                  </a:cubicBezTo>
                  <a:cubicBezTo>
                    <a:pt x="686" y="923"/>
                    <a:pt x="693" y="926"/>
                    <a:pt x="695" y="927"/>
                  </a:cubicBezTo>
                  <a:cubicBezTo>
                    <a:pt x="696" y="927"/>
                    <a:pt x="695" y="929"/>
                    <a:pt x="697" y="929"/>
                  </a:cubicBezTo>
                  <a:cubicBezTo>
                    <a:pt x="702" y="927"/>
                    <a:pt x="697" y="925"/>
                    <a:pt x="696" y="922"/>
                  </a:cubicBezTo>
                  <a:cubicBezTo>
                    <a:pt x="691" y="906"/>
                    <a:pt x="717" y="917"/>
                    <a:pt x="712" y="904"/>
                  </a:cubicBezTo>
                  <a:cubicBezTo>
                    <a:pt x="712" y="903"/>
                    <a:pt x="720" y="901"/>
                    <a:pt x="720" y="901"/>
                  </a:cubicBezTo>
                  <a:cubicBezTo>
                    <a:pt x="722" y="901"/>
                    <a:pt x="731" y="916"/>
                    <a:pt x="743" y="914"/>
                  </a:cubicBezTo>
                  <a:cubicBezTo>
                    <a:pt x="753" y="912"/>
                    <a:pt x="737" y="919"/>
                    <a:pt x="737" y="919"/>
                  </a:cubicBezTo>
                  <a:close/>
                  <a:moveTo>
                    <a:pt x="640" y="1069"/>
                  </a:moveTo>
                  <a:cubicBezTo>
                    <a:pt x="641" y="1064"/>
                    <a:pt x="649" y="1066"/>
                    <a:pt x="651" y="1064"/>
                  </a:cubicBezTo>
                  <a:cubicBezTo>
                    <a:pt x="651" y="1064"/>
                    <a:pt x="645" y="1056"/>
                    <a:pt x="648" y="1055"/>
                  </a:cubicBezTo>
                  <a:cubicBezTo>
                    <a:pt x="653" y="1052"/>
                    <a:pt x="643" y="1054"/>
                    <a:pt x="642" y="1053"/>
                  </a:cubicBezTo>
                  <a:cubicBezTo>
                    <a:pt x="634" y="1048"/>
                    <a:pt x="656" y="1046"/>
                    <a:pt x="636" y="1046"/>
                  </a:cubicBezTo>
                  <a:cubicBezTo>
                    <a:pt x="631" y="1046"/>
                    <a:pt x="630" y="1036"/>
                    <a:pt x="626" y="1037"/>
                  </a:cubicBezTo>
                  <a:cubicBezTo>
                    <a:pt x="606" y="1041"/>
                    <a:pt x="631" y="1054"/>
                    <a:pt x="636" y="1060"/>
                  </a:cubicBezTo>
                  <a:cubicBezTo>
                    <a:pt x="638" y="1062"/>
                    <a:pt x="639" y="1064"/>
                    <a:pt x="637" y="1065"/>
                  </a:cubicBezTo>
                  <a:cubicBezTo>
                    <a:pt x="637" y="1066"/>
                    <a:pt x="619" y="1069"/>
                    <a:pt x="612" y="1064"/>
                  </a:cubicBezTo>
                  <a:cubicBezTo>
                    <a:pt x="611" y="1063"/>
                    <a:pt x="606" y="1047"/>
                    <a:pt x="600" y="1053"/>
                  </a:cubicBezTo>
                  <a:cubicBezTo>
                    <a:pt x="596" y="1056"/>
                    <a:pt x="619" y="1072"/>
                    <a:pt x="620" y="1074"/>
                  </a:cubicBezTo>
                  <a:cubicBezTo>
                    <a:pt x="631" y="1086"/>
                    <a:pt x="616" y="1090"/>
                    <a:pt x="634" y="1099"/>
                  </a:cubicBezTo>
                  <a:cubicBezTo>
                    <a:pt x="635" y="1100"/>
                    <a:pt x="635" y="1100"/>
                    <a:pt x="635" y="1100"/>
                  </a:cubicBezTo>
                  <a:cubicBezTo>
                    <a:pt x="653" y="1103"/>
                    <a:pt x="628" y="1086"/>
                    <a:pt x="630" y="1081"/>
                  </a:cubicBezTo>
                  <a:cubicBezTo>
                    <a:pt x="631" y="1078"/>
                    <a:pt x="636" y="1082"/>
                    <a:pt x="639" y="1079"/>
                  </a:cubicBezTo>
                  <a:cubicBezTo>
                    <a:pt x="640" y="1078"/>
                    <a:pt x="639" y="1071"/>
                    <a:pt x="640" y="1069"/>
                  </a:cubicBezTo>
                  <a:close/>
                  <a:moveTo>
                    <a:pt x="663" y="613"/>
                  </a:moveTo>
                  <a:cubicBezTo>
                    <a:pt x="664" y="612"/>
                    <a:pt x="659" y="609"/>
                    <a:pt x="658" y="610"/>
                  </a:cubicBezTo>
                  <a:cubicBezTo>
                    <a:pt x="648" y="613"/>
                    <a:pt x="660" y="618"/>
                    <a:pt x="661" y="620"/>
                  </a:cubicBezTo>
                  <a:cubicBezTo>
                    <a:pt x="670" y="631"/>
                    <a:pt x="657" y="625"/>
                    <a:pt x="660" y="634"/>
                  </a:cubicBezTo>
                  <a:cubicBezTo>
                    <a:pt x="661" y="636"/>
                    <a:pt x="670" y="631"/>
                    <a:pt x="668" y="629"/>
                  </a:cubicBezTo>
                  <a:cubicBezTo>
                    <a:pt x="667" y="629"/>
                    <a:pt x="667" y="628"/>
                    <a:pt x="668" y="627"/>
                  </a:cubicBezTo>
                  <a:cubicBezTo>
                    <a:pt x="685" y="620"/>
                    <a:pt x="680" y="643"/>
                    <a:pt x="681" y="645"/>
                  </a:cubicBezTo>
                  <a:cubicBezTo>
                    <a:pt x="681" y="646"/>
                    <a:pt x="681" y="646"/>
                    <a:pt x="681" y="646"/>
                  </a:cubicBezTo>
                  <a:cubicBezTo>
                    <a:pt x="687" y="647"/>
                    <a:pt x="695" y="650"/>
                    <a:pt x="690" y="644"/>
                  </a:cubicBezTo>
                  <a:cubicBezTo>
                    <a:pt x="688" y="640"/>
                    <a:pt x="699" y="632"/>
                    <a:pt x="691" y="627"/>
                  </a:cubicBezTo>
                  <a:cubicBezTo>
                    <a:pt x="689" y="626"/>
                    <a:pt x="658" y="620"/>
                    <a:pt x="663" y="613"/>
                  </a:cubicBezTo>
                  <a:close/>
                  <a:moveTo>
                    <a:pt x="700" y="562"/>
                  </a:moveTo>
                  <a:cubicBezTo>
                    <a:pt x="700" y="562"/>
                    <a:pt x="682" y="557"/>
                    <a:pt x="691" y="562"/>
                  </a:cubicBezTo>
                  <a:cubicBezTo>
                    <a:pt x="692" y="563"/>
                    <a:pt x="694" y="563"/>
                    <a:pt x="695" y="564"/>
                  </a:cubicBezTo>
                  <a:cubicBezTo>
                    <a:pt x="695" y="564"/>
                    <a:pt x="695" y="564"/>
                    <a:pt x="695" y="564"/>
                  </a:cubicBezTo>
                  <a:cubicBezTo>
                    <a:pt x="716" y="574"/>
                    <a:pt x="701" y="556"/>
                    <a:pt x="717" y="549"/>
                  </a:cubicBezTo>
                  <a:cubicBezTo>
                    <a:pt x="725" y="546"/>
                    <a:pt x="738" y="560"/>
                    <a:pt x="746" y="561"/>
                  </a:cubicBezTo>
                  <a:cubicBezTo>
                    <a:pt x="748" y="561"/>
                    <a:pt x="743" y="553"/>
                    <a:pt x="752" y="552"/>
                  </a:cubicBezTo>
                  <a:cubicBezTo>
                    <a:pt x="757" y="552"/>
                    <a:pt x="759" y="548"/>
                    <a:pt x="758" y="543"/>
                  </a:cubicBezTo>
                  <a:cubicBezTo>
                    <a:pt x="757" y="540"/>
                    <a:pt x="751" y="551"/>
                    <a:pt x="751" y="551"/>
                  </a:cubicBezTo>
                  <a:cubicBezTo>
                    <a:pt x="742" y="552"/>
                    <a:pt x="737" y="555"/>
                    <a:pt x="726" y="547"/>
                  </a:cubicBezTo>
                  <a:cubicBezTo>
                    <a:pt x="723" y="545"/>
                    <a:pt x="735" y="543"/>
                    <a:pt x="733" y="540"/>
                  </a:cubicBezTo>
                  <a:cubicBezTo>
                    <a:pt x="730" y="536"/>
                    <a:pt x="713" y="530"/>
                    <a:pt x="713" y="530"/>
                  </a:cubicBezTo>
                  <a:cubicBezTo>
                    <a:pt x="710" y="532"/>
                    <a:pt x="708" y="522"/>
                    <a:pt x="705" y="524"/>
                  </a:cubicBezTo>
                  <a:cubicBezTo>
                    <a:pt x="699" y="529"/>
                    <a:pt x="718" y="537"/>
                    <a:pt x="718" y="538"/>
                  </a:cubicBezTo>
                  <a:cubicBezTo>
                    <a:pt x="719" y="540"/>
                    <a:pt x="719" y="546"/>
                    <a:pt x="717" y="547"/>
                  </a:cubicBezTo>
                  <a:cubicBezTo>
                    <a:pt x="713" y="548"/>
                    <a:pt x="713" y="544"/>
                    <a:pt x="712" y="542"/>
                  </a:cubicBezTo>
                  <a:cubicBezTo>
                    <a:pt x="712" y="540"/>
                    <a:pt x="702" y="547"/>
                    <a:pt x="700" y="554"/>
                  </a:cubicBezTo>
                  <a:cubicBezTo>
                    <a:pt x="699" y="557"/>
                    <a:pt x="703" y="561"/>
                    <a:pt x="700" y="562"/>
                  </a:cubicBezTo>
                  <a:close/>
                  <a:moveTo>
                    <a:pt x="765" y="592"/>
                  </a:moveTo>
                  <a:cubicBezTo>
                    <a:pt x="760" y="596"/>
                    <a:pt x="740" y="575"/>
                    <a:pt x="737" y="585"/>
                  </a:cubicBezTo>
                  <a:cubicBezTo>
                    <a:pt x="736" y="589"/>
                    <a:pt x="745" y="591"/>
                    <a:pt x="748" y="590"/>
                  </a:cubicBezTo>
                  <a:cubicBezTo>
                    <a:pt x="751" y="590"/>
                    <a:pt x="755" y="593"/>
                    <a:pt x="759" y="594"/>
                  </a:cubicBezTo>
                  <a:cubicBezTo>
                    <a:pt x="773" y="596"/>
                    <a:pt x="754" y="599"/>
                    <a:pt x="751" y="601"/>
                  </a:cubicBezTo>
                  <a:cubicBezTo>
                    <a:pt x="750" y="601"/>
                    <a:pt x="750" y="602"/>
                    <a:pt x="749" y="602"/>
                  </a:cubicBezTo>
                  <a:cubicBezTo>
                    <a:pt x="748" y="603"/>
                    <a:pt x="748" y="603"/>
                    <a:pt x="748" y="603"/>
                  </a:cubicBezTo>
                  <a:cubicBezTo>
                    <a:pt x="747" y="604"/>
                    <a:pt x="748" y="604"/>
                    <a:pt x="750" y="604"/>
                  </a:cubicBezTo>
                  <a:cubicBezTo>
                    <a:pt x="751" y="605"/>
                    <a:pt x="771" y="613"/>
                    <a:pt x="773" y="611"/>
                  </a:cubicBezTo>
                  <a:cubicBezTo>
                    <a:pt x="787" y="605"/>
                    <a:pt x="764" y="605"/>
                    <a:pt x="766" y="602"/>
                  </a:cubicBezTo>
                  <a:cubicBezTo>
                    <a:pt x="767" y="600"/>
                    <a:pt x="779" y="600"/>
                    <a:pt x="771" y="597"/>
                  </a:cubicBezTo>
                  <a:cubicBezTo>
                    <a:pt x="770" y="597"/>
                    <a:pt x="766" y="597"/>
                    <a:pt x="766" y="596"/>
                  </a:cubicBezTo>
                  <a:cubicBezTo>
                    <a:pt x="766" y="591"/>
                    <a:pt x="784" y="596"/>
                    <a:pt x="780" y="594"/>
                  </a:cubicBezTo>
                  <a:cubicBezTo>
                    <a:pt x="779" y="593"/>
                    <a:pt x="777" y="591"/>
                    <a:pt x="776" y="590"/>
                  </a:cubicBezTo>
                  <a:cubicBezTo>
                    <a:pt x="775" y="587"/>
                    <a:pt x="769" y="577"/>
                    <a:pt x="767" y="583"/>
                  </a:cubicBezTo>
                  <a:cubicBezTo>
                    <a:pt x="766" y="586"/>
                    <a:pt x="759" y="582"/>
                    <a:pt x="759" y="584"/>
                  </a:cubicBezTo>
                  <a:cubicBezTo>
                    <a:pt x="758" y="585"/>
                    <a:pt x="768" y="590"/>
                    <a:pt x="765" y="592"/>
                  </a:cubicBezTo>
                  <a:close/>
                  <a:moveTo>
                    <a:pt x="741" y="759"/>
                  </a:moveTo>
                  <a:cubicBezTo>
                    <a:pt x="741" y="759"/>
                    <a:pt x="741" y="759"/>
                    <a:pt x="741" y="759"/>
                  </a:cubicBezTo>
                  <a:cubicBezTo>
                    <a:pt x="741" y="759"/>
                    <a:pt x="741" y="759"/>
                    <a:pt x="741" y="759"/>
                  </a:cubicBezTo>
                  <a:cubicBezTo>
                    <a:pt x="741" y="759"/>
                    <a:pt x="741" y="759"/>
                    <a:pt x="741" y="759"/>
                  </a:cubicBezTo>
                  <a:cubicBezTo>
                    <a:pt x="742" y="760"/>
                    <a:pt x="759" y="749"/>
                    <a:pt x="759" y="746"/>
                  </a:cubicBezTo>
                  <a:cubicBezTo>
                    <a:pt x="760" y="745"/>
                    <a:pt x="753" y="745"/>
                    <a:pt x="752" y="745"/>
                  </a:cubicBezTo>
                  <a:cubicBezTo>
                    <a:pt x="744" y="749"/>
                    <a:pt x="745" y="752"/>
                    <a:pt x="741" y="759"/>
                  </a:cubicBezTo>
                  <a:close/>
                  <a:moveTo>
                    <a:pt x="696" y="760"/>
                  </a:moveTo>
                  <a:cubicBezTo>
                    <a:pt x="696" y="760"/>
                    <a:pt x="696" y="760"/>
                    <a:pt x="696" y="760"/>
                  </a:cubicBezTo>
                  <a:cubicBezTo>
                    <a:pt x="697" y="757"/>
                    <a:pt x="702" y="740"/>
                    <a:pt x="689" y="744"/>
                  </a:cubicBezTo>
                  <a:cubicBezTo>
                    <a:pt x="688" y="744"/>
                    <a:pt x="693" y="755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lose/>
                  <a:moveTo>
                    <a:pt x="784" y="924"/>
                  </a:moveTo>
                  <a:cubicBezTo>
                    <a:pt x="785" y="926"/>
                    <a:pt x="792" y="943"/>
                    <a:pt x="793" y="945"/>
                  </a:cubicBezTo>
                  <a:cubicBezTo>
                    <a:pt x="793" y="945"/>
                    <a:pt x="793" y="945"/>
                    <a:pt x="793" y="945"/>
                  </a:cubicBezTo>
                  <a:cubicBezTo>
                    <a:pt x="795" y="949"/>
                    <a:pt x="792" y="935"/>
                    <a:pt x="796" y="933"/>
                  </a:cubicBezTo>
                  <a:cubicBezTo>
                    <a:pt x="797" y="932"/>
                    <a:pt x="798" y="933"/>
                    <a:pt x="799" y="933"/>
                  </a:cubicBezTo>
                  <a:cubicBezTo>
                    <a:pt x="808" y="942"/>
                    <a:pt x="805" y="931"/>
                    <a:pt x="796" y="930"/>
                  </a:cubicBezTo>
                  <a:cubicBezTo>
                    <a:pt x="791" y="929"/>
                    <a:pt x="794" y="926"/>
                    <a:pt x="796" y="924"/>
                  </a:cubicBezTo>
                  <a:cubicBezTo>
                    <a:pt x="796" y="923"/>
                    <a:pt x="795" y="921"/>
                    <a:pt x="796" y="921"/>
                  </a:cubicBezTo>
                  <a:cubicBezTo>
                    <a:pt x="797" y="920"/>
                    <a:pt x="802" y="925"/>
                    <a:pt x="803" y="926"/>
                  </a:cubicBezTo>
                  <a:cubicBezTo>
                    <a:pt x="804" y="926"/>
                    <a:pt x="808" y="927"/>
                    <a:pt x="809" y="929"/>
                  </a:cubicBezTo>
                  <a:cubicBezTo>
                    <a:pt x="810" y="931"/>
                    <a:pt x="804" y="930"/>
                    <a:pt x="805" y="932"/>
                  </a:cubicBezTo>
                  <a:cubicBezTo>
                    <a:pt x="814" y="941"/>
                    <a:pt x="843" y="932"/>
                    <a:pt x="852" y="931"/>
                  </a:cubicBezTo>
                  <a:cubicBezTo>
                    <a:pt x="857" y="931"/>
                    <a:pt x="856" y="940"/>
                    <a:pt x="864" y="940"/>
                  </a:cubicBezTo>
                  <a:cubicBezTo>
                    <a:pt x="865" y="940"/>
                    <a:pt x="865" y="940"/>
                    <a:pt x="865" y="940"/>
                  </a:cubicBezTo>
                  <a:cubicBezTo>
                    <a:pt x="869" y="938"/>
                    <a:pt x="857" y="935"/>
                    <a:pt x="860" y="934"/>
                  </a:cubicBezTo>
                  <a:cubicBezTo>
                    <a:pt x="866" y="930"/>
                    <a:pt x="875" y="928"/>
                    <a:pt x="881" y="929"/>
                  </a:cubicBezTo>
                  <a:cubicBezTo>
                    <a:pt x="882" y="929"/>
                    <a:pt x="889" y="933"/>
                    <a:pt x="889" y="932"/>
                  </a:cubicBezTo>
                  <a:cubicBezTo>
                    <a:pt x="888" y="928"/>
                    <a:pt x="865" y="918"/>
                    <a:pt x="862" y="918"/>
                  </a:cubicBezTo>
                  <a:cubicBezTo>
                    <a:pt x="855" y="919"/>
                    <a:pt x="830" y="942"/>
                    <a:pt x="817" y="929"/>
                  </a:cubicBezTo>
                  <a:cubicBezTo>
                    <a:pt x="815" y="928"/>
                    <a:pt x="808" y="925"/>
                    <a:pt x="811" y="925"/>
                  </a:cubicBezTo>
                  <a:cubicBezTo>
                    <a:pt x="821" y="923"/>
                    <a:pt x="780" y="916"/>
                    <a:pt x="791" y="924"/>
                  </a:cubicBezTo>
                  <a:cubicBezTo>
                    <a:pt x="795" y="927"/>
                    <a:pt x="783" y="923"/>
                    <a:pt x="784" y="924"/>
                  </a:cubicBezTo>
                  <a:close/>
                  <a:moveTo>
                    <a:pt x="795" y="677"/>
                  </a:moveTo>
                  <a:cubicBezTo>
                    <a:pt x="796" y="678"/>
                    <a:pt x="808" y="681"/>
                    <a:pt x="808" y="680"/>
                  </a:cubicBezTo>
                  <a:cubicBezTo>
                    <a:pt x="807" y="670"/>
                    <a:pt x="795" y="656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lose/>
                  <a:moveTo>
                    <a:pt x="873" y="689"/>
                  </a:moveTo>
                  <a:cubicBezTo>
                    <a:pt x="863" y="680"/>
                    <a:pt x="857" y="702"/>
                    <a:pt x="850" y="707"/>
                  </a:cubicBezTo>
                  <a:cubicBezTo>
                    <a:pt x="849" y="707"/>
                    <a:pt x="849" y="707"/>
                    <a:pt x="849" y="707"/>
                  </a:cubicBezTo>
                  <a:cubicBezTo>
                    <a:pt x="824" y="711"/>
                    <a:pt x="870" y="709"/>
                    <a:pt x="871" y="702"/>
                  </a:cubicBezTo>
                  <a:cubicBezTo>
                    <a:pt x="872" y="702"/>
                    <a:pt x="864" y="698"/>
                    <a:pt x="864" y="697"/>
                  </a:cubicBezTo>
                  <a:cubicBezTo>
                    <a:pt x="861" y="691"/>
                    <a:pt x="878" y="693"/>
                    <a:pt x="873" y="689"/>
                  </a:cubicBezTo>
                  <a:close/>
                  <a:moveTo>
                    <a:pt x="837" y="810"/>
                  </a:moveTo>
                  <a:cubicBezTo>
                    <a:pt x="838" y="811"/>
                    <a:pt x="838" y="811"/>
                    <a:pt x="838" y="811"/>
                  </a:cubicBezTo>
                  <a:cubicBezTo>
                    <a:pt x="848" y="811"/>
                    <a:pt x="887" y="829"/>
                    <a:pt x="858" y="816"/>
                  </a:cubicBezTo>
                  <a:cubicBezTo>
                    <a:pt x="856" y="815"/>
                    <a:pt x="854" y="813"/>
                    <a:pt x="855" y="810"/>
                  </a:cubicBezTo>
                  <a:cubicBezTo>
                    <a:pt x="857" y="804"/>
                    <a:pt x="859" y="812"/>
                    <a:pt x="862" y="808"/>
                  </a:cubicBezTo>
                  <a:cubicBezTo>
                    <a:pt x="864" y="807"/>
                    <a:pt x="859" y="807"/>
                    <a:pt x="859" y="807"/>
                  </a:cubicBezTo>
                  <a:cubicBezTo>
                    <a:pt x="858" y="806"/>
                    <a:pt x="858" y="802"/>
                    <a:pt x="861" y="792"/>
                  </a:cubicBezTo>
                  <a:cubicBezTo>
                    <a:pt x="861" y="791"/>
                    <a:pt x="863" y="791"/>
                    <a:pt x="864" y="791"/>
                  </a:cubicBezTo>
                  <a:cubicBezTo>
                    <a:pt x="865" y="791"/>
                    <a:pt x="872" y="792"/>
                    <a:pt x="871" y="791"/>
                  </a:cubicBezTo>
                  <a:cubicBezTo>
                    <a:pt x="871" y="790"/>
                    <a:pt x="866" y="790"/>
                    <a:pt x="867" y="788"/>
                  </a:cubicBezTo>
                  <a:cubicBezTo>
                    <a:pt x="868" y="784"/>
                    <a:pt x="878" y="786"/>
                    <a:pt x="881" y="784"/>
                  </a:cubicBezTo>
                  <a:cubicBezTo>
                    <a:pt x="885" y="782"/>
                    <a:pt x="880" y="774"/>
                    <a:pt x="886" y="769"/>
                  </a:cubicBezTo>
                  <a:cubicBezTo>
                    <a:pt x="888" y="767"/>
                    <a:pt x="899" y="764"/>
                    <a:pt x="898" y="764"/>
                  </a:cubicBezTo>
                  <a:cubicBezTo>
                    <a:pt x="880" y="755"/>
                    <a:pt x="883" y="782"/>
                    <a:pt x="873" y="783"/>
                  </a:cubicBezTo>
                  <a:cubicBezTo>
                    <a:pt x="854" y="786"/>
                    <a:pt x="866" y="763"/>
                    <a:pt x="865" y="763"/>
                  </a:cubicBezTo>
                  <a:cubicBezTo>
                    <a:pt x="848" y="763"/>
                    <a:pt x="861" y="798"/>
                    <a:pt x="854" y="804"/>
                  </a:cubicBezTo>
                  <a:cubicBezTo>
                    <a:pt x="843" y="814"/>
                    <a:pt x="834" y="800"/>
                    <a:pt x="837" y="810"/>
                  </a:cubicBezTo>
                  <a:close/>
                  <a:moveTo>
                    <a:pt x="877" y="828"/>
                  </a:moveTo>
                  <a:cubicBezTo>
                    <a:pt x="877" y="828"/>
                    <a:pt x="865" y="825"/>
                    <a:pt x="865" y="828"/>
                  </a:cubicBezTo>
                  <a:cubicBezTo>
                    <a:pt x="866" y="830"/>
                    <a:pt x="898" y="842"/>
                    <a:pt x="903" y="846"/>
                  </a:cubicBezTo>
                  <a:cubicBezTo>
                    <a:pt x="903" y="846"/>
                    <a:pt x="903" y="846"/>
                    <a:pt x="903" y="846"/>
                  </a:cubicBezTo>
                  <a:cubicBezTo>
                    <a:pt x="916" y="843"/>
                    <a:pt x="888" y="830"/>
                    <a:pt x="877" y="828"/>
                  </a:cubicBezTo>
                  <a:close/>
                  <a:moveTo>
                    <a:pt x="867" y="645"/>
                  </a:moveTo>
                  <a:cubicBezTo>
                    <a:pt x="865" y="645"/>
                    <a:pt x="865" y="645"/>
                    <a:pt x="865" y="645"/>
                  </a:cubicBezTo>
                  <a:cubicBezTo>
                    <a:pt x="860" y="645"/>
                    <a:pt x="871" y="650"/>
                    <a:pt x="868" y="651"/>
                  </a:cubicBezTo>
                  <a:cubicBezTo>
                    <a:pt x="856" y="654"/>
                    <a:pt x="894" y="663"/>
                    <a:pt x="904" y="659"/>
                  </a:cubicBezTo>
                  <a:cubicBezTo>
                    <a:pt x="909" y="657"/>
                    <a:pt x="888" y="653"/>
                    <a:pt x="899" y="654"/>
                  </a:cubicBezTo>
                  <a:cubicBezTo>
                    <a:pt x="906" y="655"/>
                    <a:pt x="919" y="653"/>
                    <a:pt x="924" y="657"/>
                  </a:cubicBezTo>
                  <a:cubicBezTo>
                    <a:pt x="928" y="659"/>
                    <a:pt x="941" y="662"/>
                    <a:pt x="938" y="659"/>
                  </a:cubicBezTo>
                  <a:cubicBezTo>
                    <a:pt x="932" y="655"/>
                    <a:pt x="920" y="652"/>
                    <a:pt x="914" y="650"/>
                  </a:cubicBezTo>
                  <a:cubicBezTo>
                    <a:pt x="911" y="649"/>
                    <a:pt x="906" y="648"/>
                    <a:pt x="904" y="646"/>
                  </a:cubicBezTo>
                  <a:cubicBezTo>
                    <a:pt x="904" y="645"/>
                    <a:pt x="912" y="647"/>
                    <a:pt x="913" y="647"/>
                  </a:cubicBezTo>
                  <a:cubicBezTo>
                    <a:pt x="920" y="648"/>
                    <a:pt x="900" y="642"/>
                    <a:pt x="917" y="644"/>
                  </a:cubicBezTo>
                  <a:cubicBezTo>
                    <a:pt x="918" y="644"/>
                    <a:pt x="922" y="645"/>
                    <a:pt x="922" y="643"/>
                  </a:cubicBezTo>
                  <a:cubicBezTo>
                    <a:pt x="914" y="624"/>
                    <a:pt x="890" y="656"/>
                    <a:pt x="889" y="656"/>
                  </a:cubicBezTo>
                  <a:cubicBezTo>
                    <a:pt x="883" y="657"/>
                    <a:pt x="876" y="649"/>
                    <a:pt x="867" y="645"/>
                  </a:cubicBezTo>
                  <a:close/>
                  <a:moveTo>
                    <a:pt x="776" y="633"/>
                  </a:moveTo>
                  <a:cubicBezTo>
                    <a:pt x="775" y="633"/>
                    <a:pt x="774" y="633"/>
                    <a:pt x="773" y="633"/>
                  </a:cubicBezTo>
                  <a:cubicBezTo>
                    <a:pt x="768" y="631"/>
                    <a:pt x="775" y="624"/>
                    <a:pt x="771" y="620"/>
                  </a:cubicBezTo>
                  <a:cubicBezTo>
                    <a:pt x="766" y="615"/>
                    <a:pt x="759" y="619"/>
                    <a:pt x="754" y="615"/>
                  </a:cubicBezTo>
                  <a:cubicBezTo>
                    <a:pt x="750" y="611"/>
                    <a:pt x="745" y="615"/>
                    <a:pt x="753" y="619"/>
                  </a:cubicBezTo>
                  <a:cubicBezTo>
                    <a:pt x="755" y="619"/>
                    <a:pt x="755" y="619"/>
                    <a:pt x="755" y="619"/>
                  </a:cubicBezTo>
                  <a:cubicBezTo>
                    <a:pt x="771" y="626"/>
                    <a:pt x="757" y="638"/>
                    <a:pt x="773" y="638"/>
                  </a:cubicBezTo>
                  <a:cubicBezTo>
                    <a:pt x="790" y="638"/>
                    <a:pt x="804" y="637"/>
                    <a:pt x="818" y="633"/>
                  </a:cubicBezTo>
                  <a:cubicBezTo>
                    <a:pt x="819" y="632"/>
                    <a:pt x="824" y="628"/>
                    <a:pt x="824" y="628"/>
                  </a:cubicBezTo>
                  <a:cubicBezTo>
                    <a:pt x="821" y="626"/>
                    <a:pt x="796" y="634"/>
                    <a:pt x="799" y="631"/>
                  </a:cubicBezTo>
                  <a:cubicBezTo>
                    <a:pt x="809" y="623"/>
                    <a:pt x="819" y="629"/>
                    <a:pt x="823" y="625"/>
                  </a:cubicBezTo>
                  <a:cubicBezTo>
                    <a:pt x="828" y="621"/>
                    <a:pt x="842" y="607"/>
                    <a:pt x="844" y="605"/>
                  </a:cubicBezTo>
                  <a:cubicBezTo>
                    <a:pt x="848" y="603"/>
                    <a:pt x="854" y="609"/>
                    <a:pt x="858" y="605"/>
                  </a:cubicBezTo>
                  <a:cubicBezTo>
                    <a:pt x="859" y="604"/>
                    <a:pt x="842" y="603"/>
                    <a:pt x="848" y="599"/>
                  </a:cubicBezTo>
                  <a:cubicBezTo>
                    <a:pt x="849" y="598"/>
                    <a:pt x="857" y="597"/>
                    <a:pt x="857" y="597"/>
                  </a:cubicBezTo>
                  <a:cubicBezTo>
                    <a:pt x="860" y="598"/>
                    <a:pt x="867" y="598"/>
                    <a:pt x="865" y="596"/>
                  </a:cubicBezTo>
                  <a:cubicBezTo>
                    <a:pt x="864" y="595"/>
                    <a:pt x="846" y="592"/>
                    <a:pt x="844" y="593"/>
                  </a:cubicBezTo>
                  <a:cubicBezTo>
                    <a:pt x="842" y="593"/>
                    <a:pt x="851" y="600"/>
                    <a:pt x="844" y="599"/>
                  </a:cubicBezTo>
                  <a:cubicBezTo>
                    <a:pt x="841" y="598"/>
                    <a:pt x="835" y="587"/>
                    <a:pt x="831" y="590"/>
                  </a:cubicBezTo>
                  <a:cubicBezTo>
                    <a:pt x="829" y="591"/>
                    <a:pt x="826" y="589"/>
                    <a:pt x="824" y="590"/>
                  </a:cubicBezTo>
                  <a:cubicBezTo>
                    <a:pt x="822" y="592"/>
                    <a:pt x="828" y="595"/>
                    <a:pt x="829" y="595"/>
                  </a:cubicBezTo>
                  <a:cubicBezTo>
                    <a:pt x="836" y="600"/>
                    <a:pt x="834" y="600"/>
                    <a:pt x="835" y="605"/>
                  </a:cubicBezTo>
                  <a:cubicBezTo>
                    <a:pt x="836" y="609"/>
                    <a:pt x="828" y="611"/>
                    <a:pt x="824" y="610"/>
                  </a:cubicBezTo>
                  <a:cubicBezTo>
                    <a:pt x="819" y="609"/>
                    <a:pt x="804" y="614"/>
                    <a:pt x="809" y="615"/>
                  </a:cubicBezTo>
                  <a:cubicBezTo>
                    <a:pt x="811" y="616"/>
                    <a:pt x="816" y="617"/>
                    <a:pt x="815" y="619"/>
                  </a:cubicBezTo>
                  <a:cubicBezTo>
                    <a:pt x="815" y="620"/>
                    <a:pt x="779" y="633"/>
                    <a:pt x="776" y="633"/>
                  </a:cubicBezTo>
                  <a:close/>
                  <a:moveTo>
                    <a:pt x="697" y="196"/>
                  </a:moveTo>
                  <a:cubicBezTo>
                    <a:pt x="698" y="191"/>
                    <a:pt x="688" y="183"/>
                    <a:pt x="704" y="195"/>
                  </a:cubicBezTo>
                  <a:cubicBezTo>
                    <a:pt x="705" y="196"/>
                    <a:pt x="707" y="198"/>
                    <a:pt x="709" y="199"/>
                  </a:cubicBezTo>
                  <a:cubicBezTo>
                    <a:pt x="708" y="201"/>
                    <a:pt x="712" y="204"/>
                    <a:pt x="713" y="205"/>
                  </a:cubicBezTo>
                  <a:cubicBezTo>
                    <a:pt x="716" y="206"/>
                    <a:pt x="713" y="202"/>
                    <a:pt x="709" y="199"/>
                  </a:cubicBezTo>
                  <a:cubicBezTo>
                    <a:pt x="709" y="199"/>
                    <a:pt x="709" y="199"/>
                    <a:pt x="709" y="198"/>
                  </a:cubicBezTo>
                  <a:cubicBezTo>
                    <a:pt x="710" y="198"/>
                    <a:pt x="713" y="195"/>
                    <a:pt x="714" y="197"/>
                  </a:cubicBezTo>
                  <a:cubicBezTo>
                    <a:pt x="717" y="200"/>
                    <a:pt x="723" y="203"/>
                    <a:pt x="722" y="207"/>
                  </a:cubicBezTo>
                  <a:cubicBezTo>
                    <a:pt x="721" y="210"/>
                    <a:pt x="694" y="209"/>
                    <a:pt x="690" y="218"/>
                  </a:cubicBezTo>
                  <a:cubicBezTo>
                    <a:pt x="689" y="219"/>
                    <a:pt x="695" y="219"/>
                    <a:pt x="696" y="220"/>
                  </a:cubicBezTo>
                  <a:cubicBezTo>
                    <a:pt x="707" y="224"/>
                    <a:pt x="694" y="216"/>
                    <a:pt x="701" y="214"/>
                  </a:cubicBezTo>
                  <a:cubicBezTo>
                    <a:pt x="702" y="214"/>
                    <a:pt x="710" y="216"/>
                    <a:pt x="710" y="215"/>
                  </a:cubicBezTo>
                  <a:cubicBezTo>
                    <a:pt x="711" y="212"/>
                    <a:pt x="730" y="214"/>
                    <a:pt x="731" y="216"/>
                  </a:cubicBezTo>
                  <a:cubicBezTo>
                    <a:pt x="733" y="218"/>
                    <a:pt x="727" y="221"/>
                    <a:pt x="727" y="222"/>
                  </a:cubicBezTo>
                  <a:cubicBezTo>
                    <a:pt x="729" y="225"/>
                    <a:pt x="735" y="219"/>
                    <a:pt x="734" y="216"/>
                  </a:cubicBezTo>
                  <a:cubicBezTo>
                    <a:pt x="730" y="205"/>
                    <a:pt x="745" y="197"/>
                    <a:pt x="752" y="207"/>
                  </a:cubicBezTo>
                  <a:cubicBezTo>
                    <a:pt x="755" y="211"/>
                    <a:pt x="738" y="217"/>
                    <a:pt x="738" y="219"/>
                  </a:cubicBezTo>
                  <a:cubicBezTo>
                    <a:pt x="738" y="220"/>
                    <a:pt x="769" y="208"/>
                    <a:pt x="770" y="204"/>
                  </a:cubicBezTo>
                  <a:cubicBezTo>
                    <a:pt x="771" y="202"/>
                    <a:pt x="763" y="198"/>
                    <a:pt x="761" y="199"/>
                  </a:cubicBezTo>
                  <a:cubicBezTo>
                    <a:pt x="760" y="200"/>
                    <a:pt x="763" y="201"/>
                    <a:pt x="763" y="201"/>
                  </a:cubicBezTo>
                  <a:cubicBezTo>
                    <a:pt x="768" y="204"/>
                    <a:pt x="761" y="207"/>
                    <a:pt x="757" y="205"/>
                  </a:cubicBezTo>
                  <a:cubicBezTo>
                    <a:pt x="752" y="202"/>
                    <a:pt x="747" y="194"/>
                    <a:pt x="749" y="192"/>
                  </a:cubicBezTo>
                  <a:cubicBezTo>
                    <a:pt x="758" y="186"/>
                    <a:pt x="787" y="209"/>
                    <a:pt x="795" y="197"/>
                  </a:cubicBezTo>
                  <a:cubicBezTo>
                    <a:pt x="796" y="195"/>
                    <a:pt x="792" y="196"/>
                    <a:pt x="791" y="196"/>
                  </a:cubicBezTo>
                  <a:cubicBezTo>
                    <a:pt x="785" y="196"/>
                    <a:pt x="795" y="194"/>
                    <a:pt x="797" y="193"/>
                  </a:cubicBezTo>
                  <a:cubicBezTo>
                    <a:pt x="799" y="191"/>
                    <a:pt x="777" y="198"/>
                    <a:pt x="788" y="190"/>
                  </a:cubicBezTo>
                  <a:cubicBezTo>
                    <a:pt x="792" y="188"/>
                    <a:pt x="790" y="185"/>
                    <a:pt x="786" y="185"/>
                  </a:cubicBezTo>
                  <a:cubicBezTo>
                    <a:pt x="783" y="185"/>
                    <a:pt x="766" y="181"/>
                    <a:pt x="767" y="177"/>
                  </a:cubicBezTo>
                  <a:cubicBezTo>
                    <a:pt x="771" y="163"/>
                    <a:pt x="774" y="172"/>
                    <a:pt x="782" y="170"/>
                  </a:cubicBezTo>
                  <a:cubicBezTo>
                    <a:pt x="783" y="170"/>
                    <a:pt x="781" y="159"/>
                    <a:pt x="785" y="159"/>
                  </a:cubicBezTo>
                  <a:cubicBezTo>
                    <a:pt x="788" y="159"/>
                    <a:pt x="799" y="170"/>
                    <a:pt x="802" y="168"/>
                  </a:cubicBezTo>
                  <a:cubicBezTo>
                    <a:pt x="806" y="165"/>
                    <a:pt x="807" y="154"/>
                    <a:pt x="803" y="155"/>
                  </a:cubicBezTo>
                  <a:cubicBezTo>
                    <a:pt x="802" y="156"/>
                    <a:pt x="797" y="161"/>
                    <a:pt x="796" y="159"/>
                  </a:cubicBezTo>
                  <a:cubicBezTo>
                    <a:pt x="789" y="149"/>
                    <a:pt x="809" y="147"/>
                    <a:pt x="812" y="144"/>
                  </a:cubicBezTo>
                  <a:cubicBezTo>
                    <a:pt x="814" y="141"/>
                    <a:pt x="822" y="136"/>
                    <a:pt x="818" y="137"/>
                  </a:cubicBezTo>
                  <a:cubicBezTo>
                    <a:pt x="815" y="137"/>
                    <a:pt x="795" y="143"/>
                    <a:pt x="796" y="138"/>
                  </a:cubicBezTo>
                  <a:cubicBezTo>
                    <a:pt x="796" y="141"/>
                    <a:pt x="830" y="109"/>
                    <a:pt x="832" y="108"/>
                  </a:cubicBezTo>
                  <a:cubicBezTo>
                    <a:pt x="833" y="107"/>
                    <a:pt x="836" y="107"/>
                    <a:pt x="835" y="105"/>
                  </a:cubicBezTo>
                  <a:cubicBezTo>
                    <a:pt x="827" y="93"/>
                    <a:pt x="817" y="128"/>
                    <a:pt x="792" y="133"/>
                  </a:cubicBezTo>
                  <a:cubicBezTo>
                    <a:pt x="783" y="134"/>
                    <a:pt x="820" y="121"/>
                    <a:pt x="813" y="116"/>
                  </a:cubicBezTo>
                  <a:cubicBezTo>
                    <a:pt x="809" y="112"/>
                    <a:pt x="802" y="120"/>
                    <a:pt x="799" y="121"/>
                  </a:cubicBezTo>
                  <a:cubicBezTo>
                    <a:pt x="782" y="126"/>
                    <a:pt x="776" y="114"/>
                    <a:pt x="774" y="133"/>
                  </a:cubicBezTo>
                  <a:cubicBezTo>
                    <a:pt x="774" y="135"/>
                    <a:pt x="779" y="128"/>
                    <a:pt x="780" y="127"/>
                  </a:cubicBezTo>
                  <a:cubicBezTo>
                    <a:pt x="787" y="121"/>
                    <a:pt x="777" y="133"/>
                    <a:pt x="786" y="126"/>
                  </a:cubicBezTo>
                  <a:cubicBezTo>
                    <a:pt x="787" y="125"/>
                    <a:pt x="790" y="125"/>
                    <a:pt x="790" y="126"/>
                  </a:cubicBezTo>
                  <a:cubicBezTo>
                    <a:pt x="792" y="129"/>
                    <a:pt x="779" y="142"/>
                    <a:pt x="775" y="138"/>
                  </a:cubicBezTo>
                  <a:cubicBezTo>
                    <a:pt x="773" y="136"/>
                    <a:pt x="772" y="144"/>
                    <a:pt x="769" y="141"/>
                  </a:cubicBezTo>
                  <a:cubicBezTo>
                    <a:pt x="767" y="139"/>
                    <a:pt x="772" y="134"/>
                    <a:pt x="771" y="132"/>
                  </a:cubicBezTo>
                  <a:cubicBezTo>
                    <a:pt x="770" y="131"/>
                    <a:pt x="770" y="131"/>
                    <a:pt x="771" y="129"/>
                  </a:cubicBezTo>
                  <a:cubicBezTo>
                    <a:pt x="777" y="120"/>
                    <a:pt x="769" y="128"/>
                    <a:pt x="764" y="129"/>
                  </a:cubicBezTo>
                  <a:cubicBezTo>
                    <a:pt x="763" y="130"/>
                    <a:pt x="759" y="130"/>
                    <a:pt x="759" y="132"/>
                  </a:cubicBezTo>
                  <a:cubicBezTo>
                    <a:pt x="757" y="139"/>
                    <a:pt x="766" y="152"/>
                    <a:pt x="776" y="142"/>
                  </a:cubicBezTo>
                  <a:cubicBezTo>
                    <a:pt x="779" y="139"/>
                    <a:pt x="787" y="140"/>
                    <a:pt x="786" y="143"/>
                  </a:cubicBezTo>
                  <a:cubicBezTo>
                    <a:pt x="784" y="151"/>
                    <a:pt x="771" y="151"/>
                    <a:pt x="756" y="146"/>
                  </a:cubicBezTo>
                  <a:cubicBezTo>
                    <a:pt x="754" y="145"/>
                    <a:pt x="751" y="146"/>
                    <a:pt x="748" y="147"/>
                  </a:cubicBezTo>
                  <a:cubicBezTo>
                    <a:pt x="719" y="162"/>
                    <a:pt x="715" y="185"/>
                    <a:pt x="677" y="188"/>
                  </a:cubicBezTo>
                  <a:cubicBezTo>
                    <a:pt x="677" y="189"/>
                    <a:pt x="677" y="189"/>
                    <a:pt x="677" y="189"/>
                  </a:cubicBezTo>
                  <a:cubicBezTo>
                    <a:pt x="670" y="191"/>
                    <a:pt x="695" y="203"/>
                    <a:pt x="697" y="196"/>
                  </a:cubicBezTo>
                  <a:close/>
                  <a:moveTo>
                    <a:pt x="593" y="321"/>
                  </a:moveTo>
                  <a:cubicBezTo>
                    <a:pt x="594" y="325"/>
                    <a:pt x="601" y="320"/>
                    <a:pt x="603" y="320"/>
                  </a:cubicBezTo>
                  <a:cubicBezTo>
                    <a:pt x="611" y="318"/>
                    <a:pt x="615" y="315"/>
                    <a:pt x="620" y="315"/>
                  </a:cubicBezTo>
                  <a:cubicBezTo>
                    <a:pt x="640" y="317"/>
                    <a:pt x="649" y="346"/>
                    <a:pt x="669" y="337"/>
                  </a:cubicBezTo>
                  <a:cubicBezTo>
                    <a:pt x="674" y="334"/>
                    <a:pt x="653" y="326"/>
                    <a:pt x="657" y="323"/>
                  </a:cubicBezTo>
                  <a:cubicBezTo>
                    <a:pt x="667" y="315"/>
                    <a:pt x="699" y="320"/>
                    <a:pt x="702" y="331"/>
                  </a:cubicBezTo>
                  <a:cubicBezTo>
                    <a:pt x="704" y="335"/>
                    <a:pt x="700" y="338"/>
                    <a:pt x="702" y="342"/>
                  </a:cubicBezTo>
                  <a:cubicBezTo>
                    <a:pt x="704" y="345"/>
                    <a:pt x="689" y="348"/>
                    <a:pt x="691" y="349"/>
                  </a:cubicBezTo>
                  <a:cubicBezTo>
                    <a:pt x="700" y="353"/>
                    <a:pt x="733" y="367"/>
                    <a:pt x="742" y="358"/>
                  </a:cubicBezTo>
                  <a:cubicBezTo>
                    <a:pt x="743" y="358"/>
                    <a:pt x="737" y="356"/>
                    <a:pt x="737" y="353"/>
                  </a:cubicBezTo>
                  <a:cubicBezTo>
                    <a:pt x="738" y="348"/>
                    <a:pt x="748" y="338"/>
                    <a:pt x="751" y="335"/>
                  </a:cubicBezTo>
                  <a:cubicBezTo>
                    <a:pt x="752" y="333"/>
                    <a:pt x="789" y="339"/>
                    <a:pt x="766" y="332"/>
                  </a:cubicBezTo>
                  <a:cubicBezTo>
                    <a:pt x="766" y="332"/>
                    <a:pt x="766" y="332"/>
                    <a:pt x="766" y="332"/>
                  </a:cubicBezTo>
                  <a:cubicBezTo>
                    <a:pt x="776" y="324"/>
                    <a:pt x="763" y="316"/>
                    <a:pt x="759" y="320"/>
                  </a:cubicBezTo>
                  <a:cubicBezTo>
                    <a:pt x="758" y="321"/>
                    <a:pt x="769" y="323"/>
                    <a:pt x="768" y="327"/>
                  </a:cubicBezTo>
                  <a:cubicBezTo>
                    <a:pt x="766" y="330"/>
                    <a:pt x="741" y="335"/>
                    <a:pt x="741" y="330"/>
                  </a:cubicBezTo>
                  <a:cubicBezTo>
                    <a:pt x="740" y="325"/>
                    <a:pt x="747" y="323"/>
                    <a:pt x="747" y="319"/>
                  </a:cubicBezTo>
                  <a:cubicBezTo>
                    <a:pt x="746" y="311"/>
                    <a:pt x="740" y="323"/>
                    <a:pt x="739" y="323"/>
                  </a:cubicBezTo>
                  <a:cubicBezTo>
                    <a:pt x="733" y="324"/>
                    <a:pt x="734" y="318"/>
                    <a:pt x="725" y="321"/>
                  </a:cubicBezTo>
                  <a:cubicBezTo>
                    <a:pt x="721" y="323"/>
                    <a:pt x="737" y="330"/>
                    <a:pt x="737" y="331"/>
                  </a:cubicBezTo>
                  <a:cubicBezTo>
                    <a:pt x="737" y="338"/>
                    <a:pt x="723" y="331"/>
                    <a:pt x="716" y="333"/>
                  </a:cubicBezTo>
                  <a:cubicBezTo>
                    <a:pt x="703" y="336"/>
                    <a:pt x="721" y="293"/>
                    <a:pt x="708" y="315"/>
                  </a:cubicBezTo>
                  <a:cubicBezTo>
                    <a:pt x="705" y="320"/>
                    <a:pt x="703" y="319"/>
                    <a:pt x="698" y="321"/>
                  </a:cubicBezTo>
                  <a:cubicBezTo>
                    <a:pt x="690" y="325"/>
                    <a:pt x="679" y="308"/>
                    <a:pt x="672" y="307"/>
                  </a:cubicBezTo>
                  <a:cubicBezTo>
                    <a:pt x="669" y="306"/>
                    <a:pt x="672" y="310"/>
                    <a:pt x="672" y="311"/>
                  </a:cubicBezTo>
                  <a:cubicBezTo>
                    <a:pt x="677" y="315"/>
                    <a:pt x="659" y="321"/>
                    <a:pt x="656" y="320"/>
                  </a:cubicBezTo>
                  <a:cubicBezTo>
                    <a:pt x="652" y="320"/>
                    <a:pt x="652" y="313"/>
                    <a:pt x="649" y="310"/>
                  </a:cubicBezTo>
                  <a:cubicBezTo>
                    <a:pt x="648" y="309"/>
                    <a:pt x="643" y="314"/>
                    <a:pt x="641" y="313"/>
                  </a:cubicBezTo>
                  <a:cubicBezTo>
                    <a:pt x="633" y="311"/>
                    <a:pt x="624" y="301"/>
                    <a:pt x="610" y="306"/>
                  </a:cubicBezTo>
                  <a:cubicBezTo>
                    <a:pt x="605" y="307"/>
                    <a:pt x="617" y="308"/>
                    <a:pt x="614" y="310"/>
                  </a:cubicBezTo>
                  <a:cubicBezTo>
                    <a:pt x="609" y="312"/>
                    <a:pt x="600" y="303"/>
                    <a:pt x="599" y="308"/>
                  </a:cubicBezTo>
                  <a:cubicBezTo>
                    <a:pt x="599" y="313"/>
                    <a:pt x="609" y="313"/>
                    <a:pt x="609" y="313"/>
                  </a:cubicBezTo>
                  <a:cubicBezTo>
                    <a:pt x="606" y="321"/>
                    <a:pt x="592" y="308"/>
                    <a:pt x="593" y="321"/>
                  </a:cubicBezTo>
                  <a:close/>
                  <a:moveTo>
                    <a:pt x="561" y="1014"/>
                  </a:moveTo>
                  <a:cubicBezTo>
                    <a:pt x="563" y="1019"/>
                    <a:pt x="583" y="1020"/>
                    <a:pt x="582" y="1013"/>
                  </a:cubicBezTo>
                  <a:cubicBezTo>
                    <a:pt x="580" y="1000"/>
                    <a:pt x="584" y="1012"/>
                    <a:pt x="582" y="996"/>
                  </a:cubicBezTo>
                  <a:cubicBezTo>
                    <a:pt x="582" y="995"/>
                    <a:pt x="582" y="995"/>
                    <a:pt x="582" y="995"/>
                  </a:cubicBezTo>
                  <a:cubicBezTo>
                    <a:pt x="580" y="993"/>
                    <a:pt x="576" y="986"/>
                    <a:pt x="576" y="989"/>
                  </a:cubicBezTo>
                  <a:cubicBezTo>
                    <a:pt x="576" y="991"/>
                    <a:pt x="578" y="991"/>
                    <a:pt x="577" y="994"/>
                  </a:cubicBezTo>
                  <a:cubicBezTo>
                    <a:pt x="573" y="1011"/>
                    <a:pt x="570" y="990"/>
                    <a:pt x="562" y="1001"/>
                  </a:cubicBezTo>
                  <a:cubicBezTo>
                    <a:pt x="560" y="1004"/>
                    <a:pt x="570" y="1015"/>
                    <a:pt x="567" y="1012"/>
                  </a:cubicBezTo>
                  <a:cubicBezTo>
                    <a:pt x="565" y="1010"/>
                    <a:pt x="559" y="1010"/>
                    <a:pt x="561" y="1014"/>
                  </a:cubicBezTo>
                  <a:close/>
                  <a:moveTo>
                    <a:pt x="557" y="1055"/>
                  </a:moveTo>
                  <a:cubicBezTo>
                    <a:pt x="560" y="1055"/>
                    <a:pt x="569" y="1064"/>
                    <a:pt x="570" y="1063"/>
                  </a:cubicBezTo>
                  <a:cubicBezTo>
                    <a:pt x="574" y="1060"/>
                    <a:pt x="558" y="1055"/>
                    <a:pt x="562" y="1052"/>
                  </a:cubicBezTo>
                  <a:cubicBezTo>
                    <a:pt x="565" y="1050"/>
                    <a:pt x="587" y="1077"/>
                    <a:pt x="583" y="1062"/>
                  </a:cubicBezTo>
                  <a:cubicBezTo>
                    <a:pt x="582" y="1062"/>
                    <a:pt x="582" y="1062"/>
                    <a:pt x="582" y="1062"/>
                  </a:cubicBezTo>
                  <a:cubicBezTo>
                    <a:pt x="572" y="1055"/>
                    <a:pt x="562" y="1047"/>
                    <a:pt x="557" y="1039"/>
                  </a:cubicBezTo>
                  <a:cubicBezTo>
                    <a:pt x="556" y="1038"/>
                    <a:pt x="552" y="1042"/>
                    <a:pt x="551" y="1042"/>
                  </a:cubicBezTo>
                  <a:cubicBezTo>
                    <a:pt x="540" y="1043"/>
                    <a:pt x="547" y="1054"/>
                    <a:pt x="557" y="1055"/>
                  </a:cubicBezTo>
                  <a:close/>
                  <a:moveTo>
                    <a:pt x="515" y="1015"/>
                  </a:moveTo>
                  <a:cubicBezTo>
                    <a:pt x="519" y="1018"/>
                    <a:pt x="518" y="1019"/>
                    <a:pt x="520" y="1023"/>
                  </a:cubicBezTo>
                  <a:cubicBezTo>
                    <a:pt x="520" y="1024"/>
                    <a:pt x="521" y="1025"/>
                    <a:pt x="521" y="1026"/>
                  </a:cubicBezTo>
                  <a:cubicBezTo>
                    <a:pt x="522" y="1034"/>
                    <a:pt x="530" y="1039"/>
                    <a:pt x="534" y="1045"/>
                  </a:cubicBezTo>
                  <a:cubicBezTo>
                    <a:pt x="535" y="1046"/>
                    <a:pt x="535" y="1046"/>
                    <a:pt x="535" y="1046"/>
                  </a:cubicBezTo>
                  <a:cubicBezTo>
                    <a:pt x="553" y="1053"/>
                    <a:pt x="522" y="1026"/>
                    <a:pt x="523" y="1023"/>
                  </a:cubicBezTo>
                  <a:cubicBezTo>
                    <a:pt x="525" y="1014"/>
                    <a:pt x="512" y="1012"/>
                    <a:pt x="515" y="1015"/>
                  </a:cubicBezTo>
                  <a:close/>
                  <a:moveTo>
                    <a:pt x="500" y="1048"/>
                  </a:moveTo>
                  <a:cubicBezTo>
                    <a:pt x="501" y="1051"/>
                    <a:pt x="505" y="1074"/>
                    <a:pt x="504" y="1076"/>
                  </a:cubicBezTo>
                  <a:cubicBezTo>
                    <a:pt x="502" y="1082"/>
                    <a:pt x="495" y="1068"/>
                    <a:pt x="494" y="1070"/>
                  </a:cubicBezTo>
                  <a:cubicBezTo>
                    <a:pt x="493" y="1074"/>
                    <a:pt x="511" y="1094"/>
                    <a:pt x="512" y="1101"/>
                  </a:cubicBezTo>
                  <a:cubicBezTo>
                    <a:pt x="514" y="1110"/>
                    <a:pt x="493" y="1097"/>
                    <a:pt x="506" y="1111"/>
                  </a:cubicBezTo>
                  <a:cubicBezTo>
                    <a:pt x="507" y="1111"/>
                    <a:pt x="507" y="1111"/>
                    <a:pt x="507" y="1111"/>
                  </a:cubicBezTo>
                  <a:cubicBezTo>
                    <a:pt x="507" y="1112"/>
                    <a:pt x="515" y="1115"/>
                    <a:pt x="514" y="1107"/>
                  </a:cubicBezTo>
                  <a:cubicBezTo>
                    <a:pt x="513" y="1103"/>
                    <a:pt x="525" y="1099"/>
                    <a:pt x="524" y="1098"/>
                  </a:cubicBezTo>
                  <a:cubicBezTo>
                    <a:pt x="519" y="1094"/>
                    <a:pt x="518" y="1099"/>
                    <a:pt x="512" y="1094"/>
                  </a:cubicBezTo>
                  <a:cubicBezTo>
                    <a:pt x="511" y="1093"/>
                    <a:pt x="508" y="1093"/>
                    <a:pt x="511" y="1091"/>
                  </a:cubicBezTo>
                  <a:cubicBezTo>
                    <a:pt x="514" y="1089"/>
                    <a:pt x="508" y="1085"/>
                    <a:pt x="511" y="1085"/>
                  </a:cubicBezTo>
                  <a:cubicBezTo>
                    <a:pt x="532" y="1083"/>
                    <a:pt x="506" y="1081"/>
                    <a:pt x="511" y="1077"/>
                  </a:cubicBezTo>
                  <a:cubicBezTo>
                    <a:pt x="511" y="1076"/>
                    <a:pt x="515" y="1078"/>
                    <a:pt x="515" y="1077"/>
                  </a:cubicBezTo>
                  <a:cubicBezTo>
                    <a:pt x="515" y="1076"/>
                    <a:pt x="513" y="1074"/>
                    <a:pt x="513" y="1073"/>
                  </a:cubicBezTo>
                  <a:cubicBezTo>
                    <a:pt x="512" y="1072"/>
                    <a:pt x="507" y="1039"/>
                    <a:pt x="495" y="1039"/>
                  </a:cubicBezTo>
                  <a:cubicBezTo>
                    <a:pt x="491" y="1039"/>
                    <a:pt x="500" y="1048"/>
                    <a:pt x="500" y="1048"/>
                  </a:cubicBezTo>
                  <a:close/>
                  <a:moveTo>
                    <a:pt x="539" y="1131"/>
                  </a:moveTo>
                  <a:cubicBezTo>
                    <a:pt x="539" y="1131"/>
                    <a:pt x="539" y="1131"/>
                    <a:pt x="539" y="1131"/>
                  </a:cubicBezTo>
                  <a:cubicBezTo>
                    <a:pt x="540" y="1129"/>
                    <a:pt x="529" y="1123"/>
                    <a:pt x="528" y="1124"/>
                  </a:cubicBezTo>
                  <a:cubicBezTo>
                    <a:pt x="528" y="1124"/>
                    <a:pt x="528" y="1124"/>
                    <a:pt x="528" y="1125"/>
                  </a:cubicBezTo>
                  <a:cubicBezTo>
                    <a:pt x="527" y="1143"/>
                    <a:pt x="513" y="1129"/>
                    <a:pt x="501" y="1140"/>
                  </a:cubicBezTo>
                  <a:cubicBezTo>
                    <a:pt x="499" y="1142"/>
                    <a:pt x="494" y="1134"/>
                    <a:pt x="495" y="1140"/>
                  </a:cubicBezTo>
                  <a:cubicBezTo>
                    <a:pt x="497" y="1152"/>
                    <a:pt x="530" y="1126"/>
                    <a:pt x="537" y="1142"/>
                  </a:cubicBezTo>
                  <a:cubicBezTo>
                    <a:pt x="543" y="1156"/>
                    <a:pt x="520" y="1137"/>
                    <a:pt x="518" y="1142"/>
                  </a:cubicBezTo>
                  <a:cubicBezTo>
                    <a:pt x="513" y="1149"/>
                    <a:pt x="540" y="1153"/>
                    <a:pt x="541" y="1153"/>
                  </a:cubicBezTo>
                  <a:cubicBezTo>
                    <a:pt x="543" y="1153"/>
                    <a:pt x="538" y="1132"/>
                    <a:pt x="539" y="1131"/>
                  </a:cubicBezTo>
                  <a:close/>
                  <a:moveTo>
                    <a:pt x="486" y="1240"/>
                  </a:moveTo>
                  <a:cubicBezTo>
                    <a:pt x="490" y="1243"/>
                    <a:pt x="495" y="1237"/>
                    <a:pt x="502" y="1243"/>
                  </a:cubicBezTo>
                  <a:cubicBezTo>
                    <a:pt x="503" y="1245"/>
                    <a:pt x="501" y="1255"/>
                    <a:pt x="505" y="1254"/>
                  </a:cubicBezTo>
                  <a:cubicBezTo>
                    <a:pt x="506" y="1254"/>
                    <a:pt x="506" y="1248"/>
                    <a:pt x="506" y="1247"/>
                  </a:cubicBezTo>
                  <a:cubicBezTo>
                    <a:pt x="510" y="1244"/>
                    <a:pt x="503" y="1242"/>
                    <a:pt x="501" y="1240"/>
                  </a:cubicBezTo>
                  <a:cubicBezTo>
                    <a:pt x="500" y="1240"/>
                    <a:pt x="500" y="1240"/>
                    <a:pt x="500" y="1240"/>
                  </a:cubicBezTo>
                  <a:cubicBezTo>
                    <a:pt x="487" y="1235"/>
                    <a:pt x="503" y="1228"/>
                    <a:pt x="505" y="1231"/>
                  </a:cubicBezTo>
                  <a:cubicBezTo>
                    <a:pt x="505" y="1231"/>
                    <a:pt x="504" y="1235"/>
                    <a:pt x="506" y="1233"/>
                  </a:cubicBezTo>
                  <a:cubicBezTo>
                    <a:pt x="511" y="1230"/>
                    <a:pt x="509" y="1220"/>
                    <a:pt x="510" y="1215"/>
                  </a:cubicBezTo>
                  <a:cubicBezTo>
                    <a:pt x="511" y="1213"/>
                    <a:pt x="515" y="1211"/>
                    <a:pt x="514" y="1209"/>
                  </a:cubicBezTo>
                  <a:cubicBezTo>
                    <a:pt x="513" y="1209"/>
                    <a:pt x="513" y="1208"/>
                    <a:pt x="513" y="1207"/>
                  </a:cubicBezTo>
                  <a:cubicBezTo>
                    <a:pt x="512" y="1207"/>
                    <a:pt x="510" y="1207"/>
                    <a:pt x="510" y="1207"/>
                  </a:cubicBezTo>
                  <a:cubicBezTo>
                    <a:pt x="507" y="1207"/>
                    <a:pt x="507" y="1200"/>
                    <a:pt x="503" y="1201"/>
                  </a:cubicBezTo>
                  <a:cubicBezTo>
                    <a:pt x="502" y="1201"/>
                    <a:pt x="505" y="1209"/>
                    <a:pt x="506" y="1209"/>
                  </a:cubicBezTo>
                  <a:cubicBezTo>
                    <a:pt x="508" y="1210"/>
                    <a:pt x="508" y="1218"/>
                    <a:pt x="506" y="1224"/>
                  </a:cubicBezTo>
                  <a:cubicBezTo>
                    <a:pt x="504" y="1229"/>
                    <a:pt x="492" y="1227"/>
                    <a:pt x="491" y="1234"/>
                  </a:cubicBezTo>
                  <a:cubicBezTo>
                    <a:pt x="491" y="1235"/>
                    <a:pt x="486" y="1240"/>
                    <a:pt x="486" y="1240"/>
                  </a:cubicBezTo>
                  <a:close/>
                  <a:moveTo>
                    <a:pt x="475" y="1124"/>
                  </a:moveTo>
                  <a:cubicBezTo>
                    <a:pt x="477" y="1128"/>
                    <a:pt x="467" y="1145"/>
                    <a:pt x="475" y="1142"/>
                  </a:cubicBezTo>
                  <a:cubicBezTo>
                    <a:pt x="486" y="1138"/>
                    <a:pt x="472" y="1118"/>
                    <a:pt x="471" y="1113"/>
                  </a:cubicBezTo>
                  <a:cubicBezTo>
                    <a:pt x="471" y="1112"/>
                    <a:pt x="471" y="1112"/>
                    <a:pt x="471" y="1112"/>
                  </a:cubicBezTo>
                  <a:cubicBezTo>
                    <a:pt x="467" y="1109"/>
                    <a:pt x="463" y="1107"/>
                    <a:pt x="460" y="1110"/>
                  </a:cubicBezTo>
                  <a:cubicBezTo>
                    <a:pt x="457" y="1113"/>
                    <a:pt x="474" y="1122"/>
                    <a:pt x="475" y="1124"/>
                  </a:cubicBezTo>
                  <a:close/>
                  <a:moveTo>
                    <a:pt x="404" y="1122"/>
                  </a:moveTo>
                  <a:cubicBezTo>
                    <a:pt x="404" y="1122"/>
                    <a:pt x="404" y="1122"/>
                    <a:pt x="404" y="1122"/>
                  </a:cubicBezTo>
                  <a:cubicBezTo>
                    <a:pt x="404" y="1122"/>
                    <a:pt x="404" y="1122"/>
                    <a:pt x="404" y="1122"/>
                  </a:cubicBezTo>
                  <a:close/>
                  <a:moveTo>
                    <a:pt x="391" y="1183"/>
                  </a:moveTo>
                  <a:cubicBezTo>
                    <a:pt x="402" y="1187"/>
                    <a:pt x="402" y="1171"/>
                    <a:pt x="405" y="1167"/>
                  </a:cubicBezTo>
                  <a:cubicBezTo>
                    <a:pt x="408" y="1164"/>
                    <a:pt x="419" y="1171"/>
                    <a:pt x="422" y="1167"/>
                  </a:cubicBezTo>
                  <a:cubicBezTo>
                    <a:pt x="423" y="1166"/>
                    <a:pt x="403" y="1135"/>
                    <a:pt x="404" y="1126"/>
                  </a:cubicBezTo>
                  <a:cubicBezTo>
                    <a:pt x="404" y="1125"/>
                    <a:pt x="404" y="1125"/>
                    <a:pt x="404" y="1125"/>
                  </a:cubicBezTo>
                  <a:cubicBezTo>
                    <a:pt x="405" y="1121"/>
                    <a:pt x="402" y="1119"/>
                    <a:pt x="401" y="1124"/>
                  </a:cubicBezTo>
                  <a:cubicBezTo>
                    <a:pt x="399" y="1142"/>
                    <a:pt x="417" y="1155"/>
                    <a:pt x="414" y="1163"/>
                  </a:cubicBezTo>
                  <a:cubicBezTo>
                    <a:pt x="412" y="1167"/>
                    <a:pt x="407" y="1162"/>
                    <a:pt x="406" y="1161"/>
                  </a:cubicBezTo>
                  <a:cubicBezTo>
                    <a:pt x="402" y="1159"/>
                    <a:pt x="406" y="1164"/>
                    <a:pt x="404" y="1165"/>
                  </a:cubicBezTo>
                  <a:cubicBezTo>
                    <a:pt x="402" y="1167"/>
                    <a:pt x="401" y="1169"/>
                    <a:pt x="400" y="1170"/>
                  </a:cubicBezTo>
                  <a:cubicBezTo>
                    <a:pt x="397" y="1172"/>
                    <a:pt x="392" y="1163"/>
                    <a:pt x="392" y="1168"/>
                  </a:cubicBezTo>
                  <a:cubicBezTo>
                    <a:pt x="391" y="1171"/>
                    <a:pt x="397" y="1171"/>
                    <a:pt x="398" y="1173"/>
                  </a:cubicBezTo>
                  <a:cubicBezTo>
                    <a:pt x="399" y="1177"/>
                    <a:pt x="390" y="1183"/>
                    <a:pt x="391" y="1183"/>
                  </a:cubicBezTo>
                  <a:close/>
                  <a:moveTo>
                    <a:pt x="369" y="1088"/>
                  </a:moveTo>
                  <a:cubicBezTo>
                    <a:pt x="370" y="1089"/>
                    <a:pt x="374" y="1090"/>
                    <a:pt x="374" y="1087"/>
                  </a:cubicBezTo>
                  <a:cubicBezTo>
                    <a:pt x="375" y="1078"/>
                    <a:pt x="383" y="1080"/>
                    <a:pt x="382" y="1068"/>
                  </a:cubicBezTo>
                  <a:cubicBezTo>
                    <a:pt x="381" y="1062"/>
                    <a:pt x="374" y="1062"/>
                    <a:pt x="371" y="1058"/>
                  </a:cubicBezTo>
                  <a:cubicBezTo>
                    <a:pt x="371" y="1058"/>
                    <a:pt x="371" y="1058"/>
                    <a:pt x="371" y="1058"/>
                  </a:cubicBezTo>
                  <a:cubicBezTo>
                    <a:pt x="370" y="1057"/>
                    <a:pt x="360" y="1075"/>
                    <a:pt x="369" y="1088"/>
                  </a:cubicBezTo>
                  <a:close/>
                  <a:moveTo>
                    <a:pt x="329" y="1285"/>
                  </a:moveTo>
                  <a:cubicBezTo>
                    <a:pt x="329" y="1288"/>
                    <a:pt x="343" y="1283"/>
                    <a:pt x="339" y="1282"/>
                  </a:cubicBezTo>
                  <a:cubicBezTo>
                    <a:pt x="333" y="1279"/>
                    <a:pt x="327" y="1274"/>
                    <a:pt x="316" y="1268"/>
                  </a:cubicBezTo>
                  <a:cubicBezTo>
                    <a:pt x="314" y="1267"/>
                    <a:pt x="314" y="1267"/>
                    <a:pt x="314" y="1267"/>
                  </a:cubicBezTo>
                  <a:cubicBezTo>
                    <a:pt x="299" y="1263"/>
                    <a:pt x="330" y="1277"/>
                    <a:pt x="329" y="1285"/>
                  </a:cubicBezTo>
                  <a:close/>
                  <a:moveTo>
                    <a:pt x="344" y="1320"/>
                  </a:moveTo>
                  <a:cubicBezTo>
                    <a:pt x="344" y="1320"/>
                    <a:pt x="344" y="1320"/>
                    <a:pt x="344" y="1320"/>
                  </a:cubicBezTo>
                  <a:cubicBezTo>
                    <a:pt x="345" y="1320"/>
                    <a:pt x="349" y="1321"/>
                    <a:pt x="349" y="1320"/>
                  </a:cubicBezTo>
                  <a:cubicBezTo>
                    <a:pt x="350" y="1318"/>
                    <a:pt x="347" y="1319"/>
                    <a:pt x="346" y="1319"/>
                  </a:cubicBezTo>
                  <a:cubicBezTo>
                    <a:pt x="319" y="1323"/>
                    <a:pt x="312" y="1329"/>
                    <a:pt x="287" y="1344"/>
                  </a:cubicBezTo>
                  <a:cubicBezTo>
                    <a:pt x="282" y="1347"/>
                    <a:pt x="278" y="1351"/>
                    <a:pt x="277" y="1356"/>
                  </a:cubicBezTo>
                  <a:cubicBezTo>
                    <a:pt x="277" y="1356"/>
                    <a:pt x="280" y="1357"/>
                    <a:pt x="280" y="1357"/>
                  </a:cubicBezTo>
                  <a:cubicBezTo>
                    <a:pt x="286" y="1360"/>
                    <a:pt x="282" y="1353"/>
                    <a:pt x="283" y="1351"/>
                  </a:cubicBezTo>
                  <a:cubicBezTo>
                    <a:pt x="289" y="1345"/>
                    <a:pt x="294" y="1340"/>
                    <a:pt x="302" y="1339"/>
                  </a:cubicBezTo>
                  <a:cubicBezTo>
                    <a:pt x="321" y="1334"/>
                    <a:pt x="317" y="1323"/>
                    <a:pt x="337" y="1328"/>
                  </a:cubicBezTo>
                  <a:cubicBezTo>
                    <a:pt x="337" y="1328"/>
                    <a:pt x="338" y="1328"/>
                    <a:pt x="338" y="1328"/>
                  </a:cubicBezTo>
                  <a:cubicBezTo>
                    <a:pt x="341" y="1326"/>
                    <a:pt x="330" y="1321"/>
                    <a:pt x="344" y="1320"/>
                  </a:cubicBezTo>
                  <a:close/>
                  <a:moveTo>
                    <a:pt x="380" y="1349"/>
                  </a:moveTo>
                  <a:cubicBezTo>
                    <a:pt x="388" y="1334"/>
                    <a:pt x="354" y="1342"/>
                    <a:pt x="359" y="1326"/>
                  </a:cubicBezTo>
                  <a:cubicBezTo>
                    <a:pt x="362" y="1318"/>
                    <a:pt x="392" y="1320"/>
                    <a:pt x="388" y="1298"/>
                  </a:cubicBezTo>
                  <a:cubicBezTo>
                    <a:pt x="388" y="1296"/>
                    <a:pt x="382" y="1303"/>
                    <a:pt x="382" y="1296"/>
                  </a:cubicBezTo>
                  <a:cubicBezTo>
                    <a:pt x="382" y="1295"/>
                    <a:pt x="399" y="1293"/>
                    <a:pt x="398" y="1291"/>
                  </a:cubicBezTo>
                  <a:cubicBezTo>
                    <a:pt x="396" y="1288"/>
                    <a:pt x="383" y="1296"/>
                    <a:pt x="379" y="1291"/>
                  </a:cubicBezTo>
                  <a:cubicBezTo>
                    <a:pt x="377" y="1287"/>
                    <a:pt x="387" y="1285"/>
                    <a:pt x="388" y="1281"/>
                  </a:cubicBezTo>
                  <a:cubicBezTo>
                    <a:pt x="389" y="1277"/>
                    <a:pt x="382" y="1276"/>
                    <a:pt x="380" y="1274"/>
                  </a:cubicBezTo>
                  <a:cubicBezTo>
                    <a:pt x="378" y="1271"/>
                    <a:pt x="400" y="1261"/>
                    <a:pt x="401" y="1260"/>
                  </a:cubicBezTo>
                  <a:cubicBezTo>
                    <a:pt x="416" y="1244"/>
                    <a:pt x="403" y="1259"/>
                    <a:pt x="421" y="1248"/>
                  </a:cubicBezTo>
                  <a:cubicBezTo>
                    <a:pt x="423" y="1247"/>
                    <a:pt x="408" y="1241"/>
                    <a:pt x="410" y="1235"/>
                  </a:cubicBezTo>
                  <a:cubicBezTo>
                    <a:pt x="410" y="1234"/>
                    <a:pt x="428" y="1242"/>
                    <a:pt x="429" y="1242"/>
                  </a:cubicBezTo>
                  <a:cubicBezTo>
                    <a:pt x="446" y="1244"/>
                    <a:pt x="448" y="1235"/>
                    <a:pt x="463" y="1251"/>
                  </a:cubicBezTo>
                  <a:cubicBezTo>
                    <a:pt x="465" y="1252"/>
                    <a:pt x="468" y="1257"/>
                    <a:pt x="470" y="1257"/>
                  </a:cubicBezTo>
                  <a:cubicBezTo>
                    <a:pt x="470" y="1257"/>
                    <a:pt x="462" y="1241"/>
                    <a:pt x="456" y="1240"/>
                  </a:cubicBezTo>
                  <a:cubicBezTo>
                    <a:pt x="456" y="1240"/>
                    <a:pt x="456" y="1240"/>
                    <a:pt x="456" y="1240"/>
                  </a:cubicBezTo>
                  <a:cubicBezTo>
                    <a:pt x="465" y="1232"/>
                    <a:pt x="466" y="1225"/>
                    <a:pt x="466" y="1218"/>
                  </a:cubicBezTo>
                  <a:cubicBezTo>
                    <a:pt x="466" y="1217"/>
                    <a:pt x="477" y="1206"/>
                    <a:pt x="470" y="1208"/>
                  </a:cubicBezTo>
                  <a:cubicBezTo>
                    <a:pt x="468" y="1209"/>
                    <a:pt x="467" y="1215"/>
                    <a:pt x="465" y="1214"/>
                  </a:cubicBezTo>
                  <a:cubicBezTo>
                    <a:pt x="459" y="1212"/>
                    <a:pt x="469" y="1200"/>
                    <a:pt x="466" y="1199"/>
                  </a:cubicBezTo>
                  <a:cubicBezTo>
                    <a:pt x="447" y="1197"/>
                    <a:pt x="465" y="1226"/>
                    <a:pt x="457" y="1231"/>
                  </a:cubicBezTo>
                  <a:cubicBezTo>
                    <a:pt x="456" y="1231"/>
                    <a:pt x="451" y="1223"/>
                    <a:pt x="450" y="1222"/>
                  </a:cubicBezTo>
                  <a:cubicBezTo>
                    <a:pt x="447" y="1219"/>
                    <a:pt x="439" y="1218"/>
                    <a:pt x="436" y="1216"/>
                  </a:cubicBezTo>
                  <a:cubicBezTo>
                    <a:pt x="435" y="1216"/>
                    <a:pt x="429" y="1213"/>
                    <a:pt x="429" y="1215"/>
                  </a:cubicBezTo>
                  <a:cubicBezTo>
                    <a:pt x="430" y="1228"/>
                    <a:pt x="446" y="1219"/>
                    <a:pt x="453" y="1232"/>
                  </a:cubicBezTo>
                  <a:cubicBezTo>
                    <a:pt x="453" y="1233"/>
                    <a:pt x="457" y="1237"/>
                    <a:pt x="456" y="1238"/>
                  </a:cubicBezTo>
                  <a:cubicBezTo>
                    <a:pt x="456" y="1238"/>
                    <a:pt x="454" y="1238"/>
                    <a:pt x="453" y="1238"/>
                  </a:cubicBezTo>
                  <a:cubicBezTo>
                    <a:pt x="440" y="1236"/>
                    <a:pt x="431" y="1240"/>
                    <a:pt x="432" y="1229"/>
                  </a:cubicBezTo>
                  <a:cubicBezTo>
                    <a:pt x="432" y="1227"/>
                    <a:pt x="438" y="1226"/>
                    <a:pt x="435" y="1225"/>
                  </a:cubicBezTo>
                  <a:cubicBezTo>
                    <a:pt x="433" y="1224"/>
                    <a:pt x="430" y="1221"/>
                    <a:pt x="428" y="1222"/>
                  </a:cubicBezTo>
                  <a:cubicBezTo>
                    <a:pt x="424" y="1226"/>
                    <a:pt x="419" y="1243"/>
                    <a:pt x="412" y="1231"/>
                  </a:cubicBezTo>
                  <a:cubicBezTo>
                    <a:pt x="411" y="1229"/>
                    <a:pt x="420" y="1223"/>
                    <a:pt x="418" y="1222"/>
                  </a:cubicBezTo>
                  <a:cubicBezTo>
                    <a:pt x="415" y="1222"/>
                    <a:pt x="406" y="1222"/>
                    <a:pt x="415" y="1221"/>
                  </a:cubicBezTo>
                  <a:cubicBezTo>
                    <a:pt x="416" y="1220"/>
                    <a:pt x="425" y="1217"/>
                    <a:pt x="421" y="1215"/>
                  </a:cubicBezTo>
                  <a:cubicBezTo>
                    <a:pt x="421" y="1214"/>
                    <a:pt x="402" y="1220"/>
                    <a:pt x="401" y="1219"/>
                  </a:cubicBezTo>
                  <a:cubicBezTo>
                    <a:pt x="395" y="1212"/>
                    <a:pt x="413" y="1208"/>
                    <a:pt x="402" y="1205"/>
                  </a:cubicBezTo>
                  <a:cubicBezTo>
                    <a:pt x="392" y="1202"/>
                    <a:pt x="400" y="1220"/>
                    <a:pt x="394" y="1221"/>
                  </a:cubicBezTo>
                  <a:cubicBezTo>
                    <a:pt x="380" y="1225"/>
                    <a:pt x="375" y="1200"/>
                    <a:pt x="370" y="1210"/>
                  </a:cubicBezTo>
                  <a:cubicBezTo>
                    <a:pt x="369" y="1212"/>
                    <a:pt x="374" y="1215"/>
                    <a:pt x="374" y="1217"/>
                  </a:cubicBezTo>
                  <a:cubicBezTo>
                    <a:pt x="372" y="1242"/>
                    <a:pt x="398" y="1207"/>
                    <a:pt x="404" y="1242"/>
                  </a:cubicBezTo>
                  <a:cubicBezTo>
                    <a:pt x="404" y="1243"/>
                    <a:pt x="410" y="1243"/>
                    <a:pt x="410" y="1245"/>
                  </a:cubicBezTo>
                  <a:cubicBezTo>
                    <a:pt x="410" y="1246"/>
                    <a:pt x="407" y="1246"/>
                    <a:pt x="406" y="1246"/>
                  </a:cubicBezTo>
                  <a:cubicBezTo>
                    <a:pt x="389" y="1248"/>
                    <a:pt x="394" y="1260"/>
                    <a:pt x="389" y="1262"/>
                  </a:cubicBezTo>
                  <a:cubicBezTo>
                    <a:pt x="385" y="1264"/>
                    <a:pt x="376" y="1252"/>
                    <a:pt x="372" y="1255"/>
                  </a:cubicBezTo>
                  <a:cubicBezTo>
                    <a:pt x="370" y="1256"/>
                    <a:pt x="385" y="1263"/>
                    <a:pt x="383" y="1265"/>
                  </a:cubicBezTo>
                  <a:cubicBezTo>
                    <a:pt x="374" y="1269"/>
                    <a:pt x="375" y="1270"/>
                    <a:pt x="376" y="1280"/>
                  </a:cubicBezTo>
                  <a:cubicBezTo>
                    <a:pt x="377" y="1285"/>
                    <a:pt x="372" y="1285"/>
                    <a:pt x="367" y="1283"/>
                  </a:cubicBezTo>
                  <a:cubicBezTo>
                    <a:pt x="365" y="1282"/>
                    <a:pt x="361" y="1284"/>
                    <a:pt x="366" y="1285"/>
                  </a:cubicBezTo>
                  <a:cubicBezTo>
                    <a:pt x="371" y="1286"/>
                    <a:pt x="374" y="1292"/>
                    <a:pt x="373" y="1293"/>
                  </a:cubicBezTo>
                  <a:cubicBezTo>
                    <a:pt x="372" y="1296"/>
                    <a:pt x="365" y="1289"/>
                    <a:pt x="364" y="1292"/>
                  </a:cubicBezTo>
                  <a:cubicBezTo>
                    <a:pt x="363" y="1295"/>
                    <a:pt x="379" y="1307"/>
                    <a:pt x="379" y="1312"/>
                  </a:cubicBezTo>
                  <a:cubicBezTo>
                    <a:pt x="379" y="1315"/>
                    <a:pt x="343" y="1326"/>
                    <a:pt x="344" y="1332"/>
                  </a:cubicBezTo>
                  <a:cubicBezTo>
                    <a:pt x="344" y="1334"/>
                    <a:pt x="355" y="1330"/>
                    <a:pt x="357" y="1333"/>
                  </a:cubicBezTo>
                  <a:cubicBezTo>
                    <a:pt x="358" y="1334"/>
                    <a:pt x="358" y="1342"/>
                    <a:pt x="360" y="1344"/>
                  </a:cubicBezTo>
                  <a:cubicBezTo>
                    <a:pt x="364" y="1346"/>
                    <a:pt x="383" y="1337"/>
                    <a:pt x="376" y="1348"/>
                  </a:cubicBezTo>
                  <a:cubicBezTo>
                    <a:pt x="375" y="1350"/>
                    <a:pt x="378" y="1352"/>
                    <a:pt x="380" y="1349"/>
                  </a:cubicBezTo>
                  <a:close/>
                  <a:moveTo>
                    <a:pt x="405" y="1484"/>
                  </a:moveTo>
                  <a:cubicBezTo>
                    <a:pt x="404" y="1485"/>
                    <a:pt x="399" y="1487"/>
                    <a:pt x="402" y="1488"/>
                  </a:cubicBezTo>
                  <a:cubicBezTo>
                    <a:pt x="412" y="1493"/>
                    <a:pt x="396" y="1489"/>
                    <a:pt x="390" y="1490"/>
                  </a:cubicBezTo>
                  <a:cubicBezTo>
                    <a:pt x="388" y="1491"/>
                    <a:pt x="380" y="1495"/>
                    <a:pt x="380" y="1498"/>
                  </a:cubicBezTo>
                  <a:cubicBezTo>
                    <a:pt x="379" y="1503"/>
                    <a:pt x="397" y="1510"/>
                    <a:pt x="394" y="1505"/>
                  </a:cubicBezTo>
                  <a:cubicBezTo>
                    <a:pt x="393" y="1503"/>
                    <a:pt x="398" y="1501"/>
                    <a:pt x="404" y="1499"/>
                  </a:cubicBezTo>
                  <a:cubicBezTo>
                    <a:pt x="404" y="1498"/>
                    <a:pt x="404" y="1498"/>
                    <a:pt x="404" y="1498"/>
                  </a:cubicBezTo>
                  <a:cubicBezTo>
                    <a:pt x="407" y="1496"/>
                    <a:pt x="414" y="1482"/>
                    <a:pt x="405" y="1484"/>
                  </a:cubicBezTo>
                  <a:close/>
                  <a:moveTo>
                    <a:pt x="442" y="1380"/>
                  </a:moveTo>
                  <a:cubicBezTo>
                    <a:pt x="439" y="1377"/>
                    <a:pt x="433" y="1368"/>
                    <a:pt x="434" y="1366"/>
                  </a:cubicBezTo>
                  <a:cubicBezTo>
                    <a:pt x="434" y="1363"/>
                    <a:pt x="437" y="1369"/>
                    <a:pt x="439" y="1368"/>
                  </a:cubicBezTo>
                  <a:cubicBezTo>
                    <a:pt x="440" y="1367"/>
                    <a:pt x="436" y="1362"/>
                    <a:pt x="435" y="1362"/>
                  </a:cubicBezTo>
                  <a:cubicBezTo>
                    <a:pt x="421" y="1355"/>
                    <a:pt x="422" y="1366"/>
                    <a:pt x="408" y="1358"/>
                  </a:cubicBezTo>
                  <a:cubicBezTo>
                    <a:pt x="407" y="1357"/>
                    <a:pt x="406" y="1357"/>
                    <a:pt x="405" y="1356"/>
                  </a:cubicBezTo>
                  <a:cubicBezTo>
                    <a:pt x="404" y="1355"/>
                    <a:pt x="403" y="1354"/>
                    <a:pt x="403" y="1353"/>
                  </a:cubicBezTo>
                  <a:cubicBezTo>
                    <a:pt x="403" y="1348"/>
                    <a:pt x="425" y="1343"/>
                    <a:pt x="428" y="1346"/>
                  </a:cubicBezTo>
                  <a:cubicBezTo>
                    <a:pt x="429" y="1347"/>
                    <a:pt x="431" y="1350"/>
                    <a:pt x="433" y="1347"/>
                  </a:cubicBezTo>
                  <a:cubicBezTo>
                    <a:pt x="434" y="1347"/>
                    <a:pt x="432" y="1346"/>
                    <a:pt x="432" y="1346"/>
                  </a:cubicBezTo>
                  <a:cubicBezTo>
                    <a:pt x="427" y="1341"/>
                    <a:pt x="412" y="1338"/>
                    <a:pt x="412" y="1338"/>
                  </a:cubicBezTo>
                  <a:cubicBezTo>
                    <a:pt x="412" y="1336"/>
                    <a:pt x="417" y="1338"/>
                    <a:pt x="418" y="1336"/>
                  </a:cubicBezTo>
                  <a:cubicBezTo>
                    <a:pt x="420" y="1334"/>
                    <a:pt x="427" y="1298"/>
                    <a:pt x="450" y="1310"/>
                  </a:cubicBezTo>
                  <a:cubicBezTo>
                    <a:pt x="451" y="1311"/>
                    <a:pt x="457" y="1312"/>
                    <a:pt x="458" y="1312"/>
                  </a:cubicBezTo>
                  <a:cubicBezTo>
                    <a:pt x="460" y="1308"/>
                    <a:pt x="442" y="1305"/>
                    <a:pt x="442" y="1302"/>
                  </a:cubicBezTo>
                  <a:cubicBezTo>
                    <a:pt x="442" y="1301"/>
                    <a:pt x="444" y="1300"/>
                    <a:pt x="444" y="1299"/>
                  </a:cubicBezTo>
                  <a:cubicBezTo>
                    <a:pt x="450" y="1290"/>
                    <a:pt x="466" y="1293"/>
                    <a:pt x="466" y="1293"/>
                  </a:cubicBezTo>
                  <a:cubicBezTo>
                    <a:pt x="469" y="1291"/>
                    <a:pt x="462" y="1286"/>
                    <a:pt x="464" y="1284"/>
                  </a:cubicBezTo>
                  <a:cubicBezTo>
                    <a:pt x="466" y="1282"/>
                    <a:pt x="476" y="1281"/>
                    <a:pt x="472" y="1279"/>
                  </a:cubicBezTo>
                  <a:cubicBezTo>
                    <a:pt x="471" y="1279"/>
                    <a:pt x="471" y="1279"/>
                    <a:pt x="471" y="1279"/>
                  </a:cubicBezTo>
                  <a:cubicBezTo>
                    <a:pt x="469" y="1278"/>
                    <a:pt x="467" y="1280"/>
                    <a:pt x="464" y="1280"/>
                  </a:cubicBezTo>
                  <a:cubicBezTo>
                    <a:pt x="458" y="1281"/>
                    <a:pt x="455" y="1287"/>
                    <a:pt x="448" y="1289"/>
                  </a:cubicBezTo>
                  <a:cubicBezTo>
                    <a:pt x="445" y="1291"/>
                    <a:pt x="449" y="1294"/>
                    <a:pt x="447" y="1295"/>
                  </a:cubicBezTo>
                  <a:cubicBezTo>
                    <a:pt x="437" y="1299"/>
                    <a:pt x="436" y="1287"/>
                    <a:pt x="430" y="1296"/>
                  </a:cubicBezTo>
                  <a:cubicBezTo>
                    <a:pt x="427" y="1299"/>
                    <a:pt x="440" y="1297"/>
                    <a:pt x="436" y="1303"/>
                  </a:cubicBezTo>
                  <a:cubicBezTo>
                    <a:pt x="433" y="1307"/>
                    <a:pt x="414" y="1324"/>
                    <a:pt x="411" y="1326"/>
                  </a:cubicBezTo>
                  <a:cubicBezTo>
                    <a:pt x="408" y="1327"/>
                    <a:pt x="406" y="1320"/>
                    <a:pt x="402" y="1323"/>
                  </a:cubicBezTo>
                  <a:cubicBezTo>
                    <a:pt x="402" y="1324"/>
                    <a:pt x="402" y="1324"/>
                    <a:pt x="402" y="1324"/>
                  </a:cubicBezTo>
                  <a:cubicBezTo>
                    <a:pt x="399" y="1330"/>
                    <a:pt x="407" y="1331"/>
                    <a:pt x="408" y="1334"/>
                  </a:cubicBezTo>
                  <a:cubicBezTo>
                    <a:pt x="412" y="1345"/>
                    <a:pt x="404" y="1345"/>
                    <a:pt x="399" y="1350"/>
                  </a:cubicBezTo>
                  <a:cubicBezTo>
                    <a:pt x="397" y="1352"/>
                    <a:pt x="402" y="1358"/>
                    <a:pt x="401" y="1358"/>
                  </a:cubicBezTo>
                  <a:cubicBezTo>
                    <a:pt x="396" y="1362"/>
                    <a:pt x="387" y="1351"/>
                    <a:pt x="386" y="1345"/>
                  </a:cubicBezTo>
                  <a:cubicBezTo>
                    <a:pt x="386" y="1344"/>
                    <a:pt x="384" y="1337"/>
                    <a:pt x="384" y="1338"/>
                  </a:cubicBezTo>
                  <a:cubicBezTo>
                    <a:pt x="375" y="1358"/>
                    <a:pt x="413" y="1368"/>
                    <a:pt x="426" y="1376"/>
                  </a:cubicBezTo>
                  <a:cubicBezTo>
                    <a:pt x="430" y="1379"/>
                    <a:pt x="426" y="1366"/>
                    <a:pt x="431" y="1369"/>
                  </a:cubicBezTo>
                  <a:cubicBezTo>
                    <a:pt x="434" y="1371"/>
                    <a:pt x="437" y="1388"/>
                    <a:pt x="446" y="1384"/>
                  </a:cubicBezTo>
                  <a:cubicBezTo>
                    <a:pt x="448" y="1383"/>
                    <a:pt x="444" y="1381"/>
                    <a:pt x="442" y="1380"/>
                  </a:cubicBezTo>
                  <a:close/>
                  <a:moveTo>
                    <a:pt x="473" y="1340"/>
                  </a:moveTo>
                  <a:cubicBezTo>
                    <a:pt x="472" y="1339"/>
                    <a:pt x="473" y="1337"/>
                    <a:pt x="475" y="1336"/>
                  </a:cubicBezTo>
                  <a:cubicBezTo>
                    <a:pt x="478" y="1333"/>
                    <a:pt x="471" y="1327"/>
                    <a:pt x="467" y="1327"/>
                  </a:cubicBezTo>
                  <a:cubicBezTo>
                    <a:pt x="467" y="1327"/>
                    <a:pt x="467" y="1327"/>
                    <a:pt x="467" y="1327"/>
                  </a:cubicBezTo>
                  <a:cubicBezTo>
                    <a:pt x="464" y="1327"/>
                    <a:pt x="468" y="1333"/>
                    <a:pt x="466" y="1335"/>
                  </a:cubicBezTo>
                  <a:cubicBezTo>
                    <a:pt x="465" y="1335"/>
                    <a:pt x="446" y="1335"/>
                    <a:pt x="462" y="1340"/>
                  </a:cubicBezTo>
                  <a:cubicBezTo>
                    <a:pt x="462" y="1340"/>
                    <a:pt x="464" y="1344"/>
                    <a:pt x="463" y="1344"/>
                  </a:cubicBezTo>
                  <a:cubicBezTo>
                    <a:pt x="462" y="1346"/>
                    <a:pt x="458" y="1348"/>
                    <a:pt x="456" y="1346"/>
                  </a:cubicBezTo>
                  <a:cubicBezTo>
                    <a:pt x="450" y="1339"/>
                    <a:pt x="457" y="1359"/>
                    <a:pt x="446" y="1357"/>
                  </a:cubicBezTo>
                  <a:cubicBezTo>
                    <a:pt x="442" y="1356"/>
                    <a:pt x="439" y="1345"/>
                    <a:pt x="435" y="1349"/>
                  </a:cubicBezTo>
                  <a:cubicBezTo>
                    <a:pt x="434" y="1350"/>
                    <a:pt x="447" y="1368"/>
                    <a:pt x="451" y="1369"/>
                  </a:cubicBezTo>
                  <a:cubicBezTo>
                    <a:pt x="452" y="1369"/>
                    <a:pt x="454" y="1361"/>
                    <a:pt x="454" y="1360"/>
                  </a:cubicBezTo>
                  <a:cubicBezTo>
                    <a:pt x="454" y="1359"/>
                    <a:pt x="470" y="1366"/>
                    <a:pt x="470" y="1364"/>
                  </a:cubicBezTo>
                  <a:cubicBezTo>
                    <a:pt x="470" y="1362"/>
                    <a:pt x="468" y="1361"/>
                    <a:pt x="467" y="1360"/>
                  </a:cubicBezTo>
                  <a:cubicBezTo>
                    <a:pt x="466" y="1360"/>
                    <a:pt x="448" y="1355"/>
                    <a:pt x="460" y="1349"/>
                  </a:cubicBezTo>
                  <a:cubicBezTo>
                    <a:pt x="460" y="1349"/>
                    <a:pt x="466" y="1348"/>
                    <a:pt x="467" y="1346"/>
                  </a:cubicBezTo>
                  <a:cubicBezTo>
                    <a:pt x="467" y="1345"/>
                    <a:pt x="468" y="1339"/>
                    <a:pt x="470" y="1340"/>
                  </a:cubicBezTo>
                  <a:cubicBezTo>
                    <a:pt x="476" y="1345"/>
                    <a:pt x="477" y="1367"/>
                    <a:pt x="485" y="1362"/>
                  </a:cubicBezTo>
                  <a:cubicBezTo>
                    <a:pt x="492" y="1358"/>
                    <a:pt x="476" y="1344"/>
                    <a:pt x="473" y="1340"/>
                  </a:cubicBezTo>
                  <a:close/>
                  <a:moveTo>
                    <a:pt x="508" y="1330"/>
                  </a:moveTo>
                  <a:cubicBezTo>
                    <a:pt x="508" y="1330"/>
                    <a:pt x="507" y="1330"/>
                    <a:pt x="507" y="1330"/>
                  </a:cubicBezTo>
                  <a:cubicBezTo>
                    <a:pt x="499" y="1326"/>
                    <a:pt x="491" y="1331"/>
                    <a:pt x="484" y="1322"/>
                  </a:cubicBezTo>
                  <a:cubicBezTo>
                    <a:pt x="484" y="1322"/>
                    <a:pt x="480" y="1319"/>
                    <a:pt x="481" y="1318"/>
                  </a:cubicBezTo>
                  <a:cubicBezTo>
                    <a:pt x="485" y="1313"/>
                    <a:pt x="508" y="1324"/>
                    <a:pt x="499" y="1313"/>
                  </a:cubicBezTo>
                  <a:cubicBezTo>
                    <a:pt x="498" y="1313"/>
                    <a:pt x="498" y="1313"/>
                    <a:pt x="498" y="1313"/>
                  </a:cubicBezTo>
                  <a:cubicBezTo>
                    <a:pt x="493" y="1311"/>
                    <a:pt x="489" y="1315"/>
                    <a:pt x="483" y="1314"/>
                  </a:cubicBezTo>
                  <a:cubicBezTo>
                    <a:pt x="463" y="1311"/>
                    <a:pt x="494" y="1343"/>
                    <a:pt x="508" y="1331"/>
                  </a:cubicBezTo>
                  <a:cubicBezTo>
                    <a:pt x="508" y="1331"/>
                    <a:pt x="508" y="1331"/>
                    <a:pt x="508" y="1330"/>
                  </a:cubicBezTo>
                  <a:close/>
                  <a:moveTo>
                    <a:pt x="606" y="1373"/>
                  </a:moveTo>
                  <a:cubicBezTo>
                    <a:pt x="593" y="1364"/>
                    <a:pt x="604" y="1367"/>
                    <a:pt x="599" y="1358"/>
                  </a:cubicBezTo>
                  <a:cubicBezTo>
                    <a:pt x="598" y="1355"/>
                    <a:pt x="592" y="1354"/>
                    <a:pt x="592" y="1350"/>
                  </a:cubicBezTo>
                  <a:cubicBezTo>
                    <a:pt x="592" y="1347"/>
                    <a:pt x="599" y="1349"/>
                    <a:pt x="600" y="1347"/>
                  </a:cubicBezTo>
                  <a:cubicBezTo>
                    <a:pt x="603" y="1342"/>
                    <a:pt x="601" y="1352"/>
                    <a:pt x="603" y="1353"/>
                  </a:cubicBezTo>
                  <a:cubicBezTo>
                    <a:pt x="606" y="1355"/>
                    <a:pt x="607" y="1350"/>
                    <a:pt x="606" y="1348"/>
                  </a:cubicBezTo>
                  <a:cubicBezTo>
                    <a:pt x="605" y="1346"/>
                    <a:pt x="608" y="1343"/>
                    <a:pt x="608" y="1343"/>
                  </a:cubicBezTo>
                  <a:cubicBezTo>
                    <a:pt x="606" y="1341"/>
                    <a:pt x="599" y="1343"/>
                    <a:pt x="599" y="1342"/>
                  </a:cubicBezTo>
                  <a:cubicBezTo>
                    <a:pt x="599" y="1340"/>
                    <a:pt x="617" y="1326"/>
                    <a:pt x="614" y="1324"/>
                  </a:cubicBezTo>
                  <a:cubicBezTo>
                    <a:pt x="611" y="1321"/>
                    <a:pt x="605" y="1330"/>
                    <a:pt x="605" y="1332"/>
                  </a:cubicBezTo>
                  <a:cubicBezTo>
                    <a:pt x="604" y="1334"/>
                    <a:pt x="592" y="1344"/>
                    <a:pt x="589" y="1348"/>
                  </a:cubicBezTo>
                  <a:cubicBezTo>
                    <a:pt x="587" y="1354"/>
                    <a:pt x="602" y="1355"/>
                    <a:pt x="592" y="1360"/>
                  </a:cubicBezTo>
                  <a:cubicBezTo>
                    <a:pt x="587" y="1362"/>
                    <a:pt x="578" y="1347"/>
                    <a:pt x="570" y="1345"/>
                  </a:cubicBezTo>
                  <a:cubicBezTo>
                    <a:pt x="566" y="1344"/>
                    <a:pt x="570" y="1350"/>
                    <a:pt x="568" y="1350"/>
                  </a:cubicBezTo>
                  <a:cubicBezTo>
                    <a:pt x="563" y="1350"/>
                    <a:pt x="557" y="1345"/>
                    <a:pt x="552" y="1343"/>
                  </a:cubicBezTo>
                  <a:cubicBezTo>
                    <a:pt x="548" y="1342"/>
                    <a:pt x="546" y="1346"/>
                    <a:pt x="544" y="1344"/>
                  </a:cubicBezTo>
                  <a:cubicBezTo>
                    <a:pt x="543" y="1343"/>
                    <a:pt x="544" y="1338"/>
                    <a:pt x="543" y="1339"/>
                  </a:cubicBezTo>
                  <a:cubicBezTo>
                    <a:pt x="542" y="1340"/>
                    <a:pt x="541" y="1346"/>
                    <a:pt x="540" y="1344"/>
                  </a:cubicBezTo>
                  <a:cubicBezTo>
                    <a:pt x="537" y="1338"/>
                    <a:pt x="546" y="1332"/>
                    <a:pt x="546" y="1329"/>
                  </a:cubicBezTo>
                  <a:cubicBezTo>
                    <a:pt x="547" y="1326"/>
                    <a:pt x="535" y="1322"/>
                    <a:pt x="538" y="1320"/>
                  </a:cubicBezTo>
                  <a:cubicBezTo>
                    <a:pt x="542" y="1319"/>
                    <a:pt x="546" y="1318"/>
                    <a:pt x="549" y="1320"/>
                  </a:cubicBezTo>
                  <a:cubicBezTo>
                    <a:pt x="550" y="1321"/>
                    <a:pt x="558" y="1324"/>
                    <a:pt x="558" y="1322"/>
                  </a:cubicBezTo>
                  <a:cubicBezTo>
                    <a:pt x="556" y="1312"/>
                    <a:pt x="550" y="1319"/>
                    <a:pt x="541" y="1315"/>
                  </a:cubicBezTo>
                  <a:cubicBezTo>
                    <a:pt x="540" y="1315"/>
                    <a:pt x="555" y="1298"/>
                    <a:pt x="545" y="1302"/>
                  </a:cubicBezTo>
                  <a:cubicBezTo>
                    <a:pt x="543" y="1302"/>
                    <a:pt x="542" y="1300"/>
                    <a:pt x="542" y="1299"/>
                  </a:cubicBezTo>
                  <a:cubicBezTo>
                    <a:pt x="546" y="1293"/>
                    <a:pt x="566" y="1308"/>
                    <a:pt x="563" y="1302"/>
                  </a:cubicBezTo>
                  <a:cubicBezTo>
                    <a:pt x="562" y="1297"/>
                    <a:pt x="549" y="1290"/>
                    <a:pt x="549" y="1289"/>
                  </a:cubicBezTo>
                  <a:cubicBezTo>
                    <a:pt x="549" y="1289"/>
                    <a:pt x="565" y="1270"/>
                    <a:pt x="559" y="1266"/>
                  </a:cubicBezTo>
                  <a:cubicBezTo>
                    <a:pt x="558" y="1265"/>
                    <a:pt x="544" y="1281"/>
                    <a:pt x="544" y="1276"/>
                  </a:cubicBezTo>
                  <a:cubicBezTo>
                    <a:pt x="544" y="1266"/>
                    <a:pt x="546" y="1262"/>
                    <a:pt x="554" y="1261"/>
                  </a:cubicBezTo>
                  <a:cubicBezTo>
                    <a:pt x="557" y="1260"/>
                    <a:pt x="561" y="1257"/>
                    <a:pt x="560" y="1256"/>
                  </a:cubicBezTo>
                  <a:cubicBezTo>
                    <a:pt x="556" y="1252"/>
                    <a:pt x="553" y="1260"/>
                    <a:pt x="548" y="1255"/>
                  </a:cubicBezTo>
                  <a:cubicBezTo>
                    <a:pt x="543" y="1250"/>
                    <a:pt x="555" y="1253"/>
                    <a:pt x="553" y="1251"/>
                  </a:cubicBezTo>
                  <a:cubicBezTo>
                    <a:pt x="552" y="1250"/>
                    <a:pt x="546" y="1245"/>
                    <a:pt x="549" y="1243"/>
                  </a:cubicBezTo>
                  <a:cubicBezTo>
                    <a:pt x="553" y="1240"/>
                    <a:pt x="553" y="1248"/>
                    <a:pt x="554" y="1247"/>
                  </a:cubicBezTo>
                  <a:cubicBezTo>
                    <a:pt x="559" y="1245"/>
                    <a:pt x="562" y="1243"/>
                    <a:pt x="562" y="1244"/>
                  </a:cubicBezTo>
                  <a:cubicBezTo>
                    <a:pt x="566" y="1246"/>
                    <a:pt x="563" y="1238"/>
                    <a:pt x="564" y="1238"/>
                  </a:cubicBezTo>
                  <a:cubicBezTo>
                    <a:pt x="567" y="1238"/>
                    <a:pt x="575" y="1244"/>
                    <a:pt x="576" y="1243"/>
                  </a:cubicBezTo>
                  <a:cubicBezTo>
                    <a:pt x="580" y="1238"/>
                    <a:pt x="564" y="1234"/>
                    <a:pt x="563" y="1232"/>
                  </a:cubicBezTo>
                  <a:cubicBezTo>
                    <a:pt x="561" y="1228"/>
                    <a:pt x="567" y="1218"/>
                    <a:pt x="568" y="1215"/>
                  </a:cubicBezTo>
                  <a:cubicBezTo>
                    <a:pt x="568" y="1214"/>
                    <a:pt x="570" y="1207"/>
                    <a:pt x="572" y="1207"/>
                  </a:cubicBezTo>
                  <a:cubicBezTo>
                    <a:pt x="574" y="1208"/>
                    <a:pt x="571" y="1225"/>
                    <a:pt x="582" y="1227"/>
                  </a:cubicBezTo>
                  <a:cubicBezTo>
                    <a:pt x="582" y="1227"/>
                    <a:pt x="575" y="1219"/>
                    <a:pt x="576" y="1217"/>
                  </a:cubicBezTo>
                  <a:cubicBezTo>
                    <a:pt x="577" y="1215"/>
                    <a:pt x="577" y="1200"/>
                    <a:pt x="578" y="1199"/>
                  </a:cubicBezTo>
                  <a:cubicBezTo>
                    <a:pt x="579" y="1199"/>
                    <a:pt x="586" y="1203"/>
                    <a:pt x="587" y="1203"/>
                  </a:cubicBezTo>
                  <a:cubicBezTo>
                    <a:pt x="593" y="1201"/>
                    <a:pt x="577" y="1194"/>
                    <a:pt x="579" y="1188"/>
                  </a:cubicBezTo>
                  <a:cubicBezTo>
                    <a:pt x="579" y="1186"/>
                    <a:pt x="580" y="1180"/>
                    <a:pt x="580" y="1183"/>
                  </a:cubicBezTo>
                  <a:cubicBezTo>
                    <a:pt x="581" y="1189"/>
                    <a:pt x="595" y="1205"/>
                    <a:pt x="601" y="1201"/>
                  </a:cubicBezTo>
                  <a:cubicBezTo>
                    <a:pt x="606" y="1196"/>
                    <a:pt x="580" y="1186"/>
                    <a:pt x="587" y="1183"/>
                  </a:cubicBezTo>
                  <a:cubicBezTo>
                    <a:pt x="592" y="1180"/>
                    <a:pt x="608" y="1197"/>
                    <a:pt x="610" y="1196"/>
                  </a:cubicBezTo>
                  <a:cubicBezTo>
                    <a:pt x="615" y="1193"/>
                    <a:pt x="591" y="1155"/>
                    <a:pt x="613" y="1152"/>
                  </a:cubicBezTo>
                  <a:cubicBezTo>
                    <a:pt x="641" y="1149"/>
                    <a:pt x="630" y="1179"/>
                    <a:pt x="626" y="1172"/>
                  </a:cubicBezTo>
                  <a:cubicBezTo>
                    <a:pt x="626" y="1172"/>
                    <a:pt x="626" y="1172"/>
                    <a:pt x="626" y="1172"/>
                  </a:cubicBezTo>
                  <a:cubicBezTo>
                    <a:pt x="625" y="1171"/>
                    <a:pt x="625" y="1171"/>
                    <a:pt x="626" y="1172"/>
                  </a:cubicBezTo>
                  <a:cubicBezTo>
                    <a:pt x="626" y="1173"/>
                    <a:pt x="629" y="1178"/>
                    <a:pt x="627" y="1178"/>
                  </a:cubicBezTo>
                  <a:cubicBezTo>
                    <a:pt x="624" y="1179"/>
                    <a:pt x="622" y="1176"/>
                    <a:pt x="617" y="1176"/>
                  </a:cubicBezTo>
                  <a:cubicBezTo>
                    <a:pt x="613" y="1176"/>
                    <a:pt x="626" y="1183"/>
                    <a:pt x="617" y="1182"/>
                  </a:cubicBezTo>
                  <a:cubicBezTo>
                    <a:pt x="613" y="1182"/>
                    <a:pt x="614" y="1197"/>
                    <a:pt x="622" y="1197"/>
                  </a:cubicBezTo>
                  <a:cubicBezTo>
                    <a:pt x="624" y="1196"/>
                    <a:pt x="619" y="1193"/>
                    <a:pt x="619" y="1191"/>
                  </a:cubicBezTo>
                  <a:cubicBezTo>
                    <a:pt x="622" y="1179"/>
                    <a:pt x="630" y="1185"/>
                    <a:pt x="638" y="1177"/>
                  </a:cubicBezTo>
                  <a:cubicBezTo>
                    <a:pt x="641" y="1174"/>
                    <a:pt x="640" y="1151"/>
                    <a:pt x="642" y="1151"/>
                  </a:cubicBezTo>
                  <a:cubicBezTo>
                    <a:pt x="643" y="1150"/>
                    <a:pt x="643" y="1151"/>
                    <a:pt x="643" y="1152"/>
                  </a:cubicBezTo>
                  <a:cubicBezTo>
                    <a:pt x="658" y="1163"/>
                    <a:pt x="640" y="1172"/>
                    <a:pt x="644" y="1175"/>
                  </a:cubicBezTo>
                  <a:cubicBezTo>
                    <a:pt x="647" y="1177"/>
                    <a:pt x="653" y="1161"/>
                    <a:pt x="654" y="1170"/>
                  </a:cubicBezTo>
                  <a:cubicBezTo>
                    <a:pt x="654" y="1171"/>
                    <a:pt x="666" y="1177"/>
                    <a:pt x="666" y="1177"/>
                  </a:cubicBezTo>
                  <a:cubicBezTo>
                    <a:pt x="668" y="1177"/>
                    <a:pt x="666" y="1169"/>
                    <a:pt x="666" y="1169"/>
                  </a:cubicBezTo>
                  <a:cubicBezTo>
                    <a:pt x="667" y="1160"/>
                    <a:pt x="659" y="1170"/>
                    <a:pt x="658" y="1170"/>
                  </a:cubicBezTo>
                  <a:cubicBezTo>
                    <a:pt x="656" y="1170"/>
                    <a:pt x="657" y="1167"/>
                    <a:pt x="658" y="1166"/>
                  </a:cubicBezTo>
                  <a:cubicBezTo>
                    <a:pt x="664" y="1163"/>
                    <a:pt x="656" y="1164"/>
                    <a:pt x="654" y="1164"/>
                  </a:cubicBezTo>
                  <a:cubicBezTo>
                    <a:pt x="653" y="1164"/>
                    <a:pt x="653" y="1161"/>
                    <a:pt x="653" y="1160"/>
                  </a:cubicBezTo>
                  <a:cubicBezTo>
                    <a:pt x="654" y="1153"/>
                    <a:pt x="659" y="1156"/>
                    <a:pt x="661" y="1152"/>
                  </a:cubicBezTo>
                  <a:cubicBezTo>
                    <a:pt x="662" y="1152"/>
                    <a:pt x="658" y="1151"/>
                    <a:pt x="660" y="1147"/>
                  </a:cubicBezTo>
                  <a:cubicBezTo>
                    <a:pt x="662" y="1144"/>
                    <a:pt x="672" y="1157"/>
                    <a:pt x="676" y="1155"/>
                  </a:cubicBezTo>
                  <a:cubicBezTo>
                    <a:pt x="680" y="1153"/>
                    <a:pt x="667" y="1149"/>
                    <a:pt x="667" y="1147"/>
                  </a:cubicBezTo>
                  <a:cubicBezTo>
                    <a:pt x="669" y="1135"/>
                    <a:pt x="670" y="1151"/>
                    <a:pt x="676" y="1144"/>
                  </a:cubicBezTo>
                  <a:cubicBezTo>
                    <a:pt x="677" y="1143"/>
                    <a:pt x="672" y="1141"/>
                    <a:pt x="671" y="1140"/>
                  </a:cubicBezTo>
                  <a:cubicBezTo>
                    <a:pt x="665" y="1135"/>
                    <a:pt x="662" y="1132"/>
                    <a:pt x="660" y="1124"/>
                  </a:cubicBezTo>
                  <a:cubicBezTo>
                    <a:pt x="659" y="1124"/>
                    <a:pt x="656" y="1119"/>
                    <a:pt x="657" y="1119"/>
                  </a:cubicBezTo>
                  <a:cubicBezTo>
                    <a:pt x="660" y="1118"/>
                    <a:pt x="668" y="1127"/>
                    <a:pt x="672" y="1127"/>
                  </a:cubicBezTo>
                  <a:cubicBezTo>
                    <a:pt x="676" y="1127"/>
                    <a:pt x="667" y="1117"/>
                    <a:pt x="671" y="1115"/>
                  </a:cubicBezTo>
                  <a:cubicBezTo>
                    <a:pt x="674" y="1113"/>
                    <a:pt x="680" y="1124"/>
                    <a:pt x="688" y="1120"/>
                  </a:cubicBezTo>
                  <a:cubicBezTo>
                    <a:pt x="688" y="1120"/>
                    <a:pt x="675" y="1113"/>
                    <a:pt x="674" y="1113"/>
                  </a:cubicBezTo>
                  <a:cubicBezTo>
                    <a:pt x="665" y="1109"/>
                    <a:pt x="663" y="1123"/>
                    <a:pt x="658" y="1107"/>
                  </a:cubicBezTo>
                  <a:cubicBezTo>
                    <a:pt x="658" y="1106"/>
                    <a:pt x="661" y="1104"/>
                    <a:pt x="662" y="1103"/>
                  </a:cubicBezTo>
                  <a:cubicBezTo>
                    <a:pt x="662" y="1103"/>
                    <a:pt x="665" y="1110"/>
                    <a:pt x="668" y="1108"/>
                  </a:cubicBezTo>
                  <a:cubicBezTo>
                    <a:pt x="671" y="1106"/>
                    <a:pt x="663" y="1102"/>
                    <a:pt x="665" y="1099"/>
                  </a:cubicBezTo>
                  <a:cubicBezTo>
                    <a:pt x="666" y="1098"/>
                    <a:pt x="662" y="1095"/>
                    <a:pt x="667" y="1098"/>
                  </a:cubicBezTo>
                  <a:cubicBezTo>
                    <a:pt x="677" y="1105"/>
                    <a:pt x="680" y="1103"/>
                    <a:pt x="669" y="1096"/>
                  </a:cubicBezTo>
                  <a:cubicBezTo>
                    <a:pt x="661" y="1091"/>
                    <a:pt x="679" y="1092"/>
                    <a:pt x="674" y="1089"/>
                  </a:cubicBezTo>
                  <a:cubicBezTo>
                    <a:pt x="665" y="1083"/>
                    <a:pt x="665" y="1094"/>
                    <a:pt x="662" y="1095"/>
                  </a:cubicBezTo>
                  <a:cubicBezTo>
                    <a:pt x="656" y="1098"/>
                    <a:pt x="645" y="1086"/>
                    <a:pt x="644" y="1092"/>
                  </a:cubicBezTo>
                  <a:cubicBezTo>
                    <a:pt x="643" y="1097"/>
                    <a:pt x="659" y="1099"/>
                    <a:pt x="657" y="1105"/>
                  </a:cubicBezTo>
                  <a:cubicBezTo>
                    <a:pt x="656" y="1109"/>
                    <a:pt x="643" y="1095"/>
                    <a:pt x="642" y="1095"/>
                  </a:cubicBezTo>
                  <a:cubicBezTo>
                    <a:pt x="641" y="1095"/>
                    <a:pt x="647" y="1102"/>
                    <a:pt x="647" y="1103"/>
                  </a:cubicBezTo>
                  <a:cubicBezTo>
                    <a:pt x="646" y="1110"/>
                    <a:pt x="658" y="1121"/>
                    <a:pt x="652" y="1125"/>
                  </a:cubicBezTo>
                  <a:cubicBezTo>
                    <a:pt x="651" y="1125"/>
                    <a:pt x="632" y="1106"/>
                    <a:pt x="631" y="1104"/>
                  </a:cubicBezTo>
                  <a:cubicBezTo>
                    <a:pt x="630" y="1102"/>
                    <a:pt x="622" y="1097"/>
                    <a:pt x="622" y="1100"/>
                  </a:cubicBezTo>
                  <a:cubicBezTo>
                    <a:pt x="622" y="1105"/>
                    <a:pt x="670" y="1139"/>
                    <a:pt x="655" y="1152"/>
                  </a:cubicBezTo>
                  <a:cubicBezTo>
                    <a:pt x="647" y="1159"/>
                    <a:pt x="618" y="1120"/>
                    <a:pt x="616" y="1114"/>
                  </a:cubicBezTo>
                  <a:cubicBezTo>
                    <a:pt x="616" y="1113"/>
                    <a:pt x="612" y="1109"/>
                    <a:pt x="610" y="1109"/>
                  </a:cubicBezTo>
                  <a:cubicBezTo>
                    <a:pt x="603" y="1113"/>
                    <a:pt x="636" y="1145"/>
                    <a:pt x="632" y="1151"/>
                  </a:cubicBezTo>
                  <a:cubicBezTo>
                    <a:pt x="629" y="1154"/>
                    <a:pt x="619" y="1144"/>
                    <a:pt x="617" y="1144"/>
                  </a:cubicBezTo>
                  <a:cubicBezTo>
                    <a:pt x="609" y="1142"/>
                    <a:pt x="615" y="1150"/>
                    <a:pt x="615" y="1150"/>
                  </a:cubicBezTo>
                  <a:cubicBezTo>
                    <a:pt x="603" y="1154"/>
                    <a:pt x="603" y="1151"/>
                    <a:pt x="599" y="1155"/>
                  </a:cubicBezTo>
                  <a:cubicBezTo>
                    <a:pt x="597" y="1158"/>
                    <a:pt x="600" y="1184"/>
                    <a:pt x="600" y="1184"/>
                  </a:cubicBezTo>
                  <a:cubicBezTo>
                    <a:pt x="581" y="1179"/>
                    <a:pt x="594" y="1169"/>
                    <a:pt x="593" y="1167"/>
                  </a:cubicBezTo>
                  <a:cubicBezTo>
                    <a:pt x="593" y="1165"/>
                    <a:pt x="593" y="1159"/>
                    <a:pt x="590" y="1160"/>
                  </a:cubicBezTo>
                  <a:cubicBezTo>
                    <a:pt x="586" y="1161"/>
                    <a:pt x="588" y="1170"/>
                    <a:pt x="584" y="1172"/>
                  </a:cubicBezTo>
                  <a:cubicBezTo>
                    <a:pt x="581" y="1173"/>
                    <a:pt x="584" y="1186"/>
                    <a:pt x="583" y="1182"/>
                  </a:cubicBezTo>
                  <a:cubicBezTo>
                    <a:pt x="581" y="1174"/>
                    <a:pt x="559" y="1164"/>
                    <a:pt x="559" y="1155"/>
                  </a:cubicBezTo>
                  <a:cubicBezTo>
                    <a:pt x="559" y="1152"/>
                    <a:pt x="575" y="1167"/>
                    <a:pt x="565" y="1153"/>
                  </a:cubicBezTo>
                  <a:cubicBezTo>
                    <a:pt x="562" y="1148"/>
                    <a:pt x="570" y="1144"/>
                    <a:pt x="573" y="1142"/>
                  </a:cubicBezTo>
                  <a:cubicBezTo>
                    <a:pt x="577" y="1139"/>
                    <a:pt x="587" y="1154"/>
                    <a:pt x="592" y="1150"/>
                  </a:cubicBezTo>
                  <a:cubicBezTo>
                    <a:pt x="597" y="1145"/>
                    <a:pt x="580" y="1141"/>
                    <a:pt x="579" y="1134"/>
                  </a:cubicBezTo>
                  <a:cubicBezTo>
                    <a:pt x="578" y="1132"/>
                    <a:pt x="584" y="1140"/>
                    <a:pt x="584" y="1138"/>
                  </a:cubicBezTo>
                  <a:cubicBezTo>
                    <a:pt x="584" y="1132"/>
                    <a:pt x="580" y="1118"/>
                    <a:pt x="585" y="1121"/>
                  </a:cubicBezTo>
                  <a:cubicBezTo>
                    <a:pt x="586" y="1121"/>
                    <a:pt x="591" y="1126"/>
                    <a:pt x="590" y="1123"/>
                  </a:cubicBezTo>
                  <a:cubicBezTo>
                    <a:pt x="590" y="1121"/>
                    <a:pt x="584" y="1116"/>
                    <a:pt x="586" y="1114"/>
                  </a:cubicBezTo>
                  <a:cubicBezTo>
                    <a:pt x="593" y="1108"/>
                    <a:pt x="612" y="1146"/>
                    <a:pt x="612" y="1134"/>
                  </a:cubicBezTo>
                  <a:cubicBezTo>
                    <a:pt x="613" y="1129"/>
                    <a:pt x="619" y="1138"/>
                    <a:pt x="619" y="1136"/>
                  </a:cubicBezTo>
                  <a:cubicBezTo>
                    <a:pt x="618" y="1117"/>
                    <a:pt x="582" y="1109"/>
                    <a:pt x="579" y="1094"/>
                  </a:cubicBezTo>
                  <a:cubicBezTo>
                    <a:pt x="578" y="1085"/>
                    <a:pt x="592" y="1103"/>
                    <a:pt x="595" y="1098"/>
                  </a:cubicBezTo>
                  <a:cubicBezTo>
                    <a:pt x="596" y="1097"/>
                    <a:pt x="580" y="1087"/>
                    <a:pt x="578" y="1086"/>
                  </a:cubicBezTo>
                  <a:cubicBezTo>
                    <a:pt x="576" y="1084"/>
                    <a:pt x="573" y="1068"/>
                    <a:pt x="567" y="1071"/>
                  </a:cubicBezTo>
                  <a:cubicBezTo>
                    <a:pt x="560" y="1074"/>
                    <a:pt x="570" y="1083"/>
                    <a:pt x="568" y="1083"/>
                  </a:cubicBezTo>
                  <a:cubicBezTo>
                    <a:pt x="563" y="1083"/>
                    <a:pt x="544" y="1068"/>
                    <a:pt x="549" y="1063"/>
                  </a:cubicBezTo>
                  <a:cubicBezTo>
                    <a:pt x="549" y="1063"/>
                    <a:pt x="550" y="1057"/>
                    <a:pt x="549" y="1056"/>
                  </a:cubicBezTo>
                  <a:cubicBezTo>
                    <a:pt x="546" y="1054"/>
                    <a:pt x="544" y="1064"/>
                    <a:pt x="540" y="1064"/>
                  </a:cubicBezTo>
                  <a:cubicBezTo>
                    <a:pt x="540" y="1064"/>
                    <a:pt x="542" y="1076"/>
                    <a:pt x="538" y="1076"/>
                  </a:cubicBezTo>
                  <a:cubicBezTo>
                    <a:pt x="535" y="1075"/>
                    <a:pt x="537" y="1072"/>
                    <a:pt x="535" y="1071"/>
                  </a:cubicBezTo>
                  <a:cubicBezTo>
                    <a:pt x="525" y="1068"/>
                    <a:pt x="540" y="1084"/>
                    <a:pt x="538" y="1090"/>
                  </a:cubicBezTo>
                  <a:cubicBezTo>
                    <a:pt x="535" y="1096"/>
                    <a:pt x="523" y="1080"/>
                    <a:pt x="524" y="1090"/>
                  </a:cubicBezTo>
                  <a:cubicBezTo>
                    <a:pt x="525" y="1091"/>
                    <a:pt x="522" y="1092"/>
                    <a:pt x="523" y="1094"/>
                  </a:cubicBezTo>
                  <a:cubicBezTo>
                    <a:pt x="536" y="1106"/>
                    <a:pt x="541" y="1098"/>
                    <a:pt x="543" y="1085"/>
                  </a:cubicBezTo>
                  <a:cubicBezTo>
                    <a:pt x="544" y="1084"/>
                    <a:pt x="541" y="1079"/>
                    <a:pt x="541" y="1078"/>
                  </a:cubicBezTo>
                  <a:cubicBezTo>
                    <a:pt x="542" y="1078"/>
                    <a:pt x="568" y="1091"/>
                    <a:pt x="576" y="1101"/>
                  </a:cubicBezTo>
                  <a:cubicBezTo>
                    <a:pt x="578" y="1104"/>
                    <a:pt x="584" y="1107"/>
                    <a:pt x="582" y="1109"/>
                  </a:cubicBezTo>
                  <a:cubicBezTo>
                    <a:pt x="581" y="1110"/>
                    <a:pt x="578" y="1106"/>
                    <a:pt x="577" y="1107"/>
                  </a:cubicBezTo>
                  <a:cubicBezTo>
                    <a:pt x="573" y="1108"/>
                    <a:pt x="562" y="1106"/>
                    <a:pt x="565" y="1108"/>
                  </a:cubicBezTo>
                  <a:cubicBezTo>
                    <a:pt x="567" y="1109"/>
                    <a:pt x="575" y="1113"/>
                    <a:pt x="575" y="1115"/>
                  </a:cubicBezTo>
                  <a:cubicBezTo>
                    <a:pt x="574" y="1117"/>
                    <a:pt x="566" y="1122"/>
                    <a:pt x="564" y="1124"/>
                  </a:cubicBezTo>
                  <a:cubicBezTo>
                    <a:pt x="562" y="1125"/>
                    <a:pt x="581" y="1126"/>
                    <a:pt x="574" y="1138"/>
                  </a:cubicBezTo>
                  <a:cubicBezTo>
                    <a:pt x="571" y="1141"/>
                    <a:pt x="567" y="1129"/>
                    <a:pt x="563" y="1130"/>
                  </a:cubicBezTo>
                  <a:cubicBezTo>
                    <a:pt x="561" y="1131"/>
                    <a:pt x="570" y="1156"/>
                    <a:pt x="554" y="1147"/>
                  </a:cubicBezTo>
                  <a:cubicBezTo>
                    <a:pt x="553" y="1146"/>
                    <a:pt x="546" y="1147"/>
                    <a:pt x="545" y="1148"/>
                  </a:cubicBezTo>
                  <a:cubicBezTo>
                    <a:pt x="543" y="1157"/>
                    <a:pt x="558" y="1163"/>
                    <a:pt x="561" y="1165"/>
                  </a:cubicBezTo>
                  <a:cubicBezTo>
                    <a:pt x="570" y="1170"/>
                    <a:pt x="564" y="1176"/>
                    <a:pt x="564" y="1176"/>
                  </a:cubicBezTo>
                  <a:cubicBezTo>
                    <a:pt x="574" y="1181"/>
                    <a:pt x="569" y="1171"/>
                    <a:pt x="573" y="1175"/>
                  </a:cubicBezTo>
                  <a:cubicBezTo>
                    <a:pt x="576" y="1177"/>
                    <a:pt x="577" y="1193"/>
                    <a:pt x="576" y="1193"/>
                  </a:cubicBezTo>
                  <a:cubicBezTo>
                    <a:pt x="576" y="1194"/>
                    <a:pt x="574" y="1193"/>
                    <a:pt x="573" y="1193"/>
                  </a:cubicBezTo>
                  <a:cubicBezTo>
                    <a:pt x="566" y="1190"/>
                    <a:pt x="575" y="1198"/>
                    <a:pt x="570" y="1204"/>
                  </a:cubicBezTo>
                  <a:cubicBezTo>
                    <a:pt x="562" y="1213"/>
                    <a:pt x="558" y="1204"/>
                    <a:pt x="554" y="1211"/>
                  </a:cubicBezTo>
                  <a:cubicBezTo>
                    <a:pt x="552" y="1215"/>
                    <a:pt x="562" y="1216"/>
                    <a:pt x="557" y="1220"/>
                  </a:cubicBezTo>
                  <a:cubicBezTo>
                    <a:pt x="549" y="1227"/>
                    <a:pt x="532" y="1215"/>
                    <a:pt x="532" y="1216"/>
                  </a:cubicBezTo>
                  <a:cubicBezTo>
                    <a:pt x="527" y="1233"/>
                    <a:pt x="551" y="1221"/>
                    <a:pt x="553" y="1227"/>
                  </a:cubicBezTo>
                  <a:cubicBezTo>
                    <a:pt x="554" y="1228"/>
                    <a:pt x="548" y="1226"/>
                    <a:pt x="549" y="1231"/>
                  </a:cubicBezTo>
                  <a:cubicBezTo>
                    <a:pt x="550" y="1235"/>
                    <a:pt x="560" y="1233"/>
                    <a:pt x="558" y="1237"/>
                  </a:cubicBezTo>
                  <a:cubicBezTo>
                    <a:pt x="555" y="1245"/>
                    <a:pt x="544" y="1237"/>
                    <a:pt x="540" y="1239"/>
                  </a:cubicBezTo>
                  <a:cubicBezTo>
                    <a:pt x="538" y="1239"/>
                    <a:pt x="541" y="1240"/>
                    <a:pt x="541" y="1240"/>
                  </a:cubicBezTo>
                  <a:cubicBezTo>
                    <a:pt x="545" y="1243"/>
                    <a:pt x="542" y="1251"/>
                    <a:pt x="538" y="1252"/>
                  </a:cubicBezTo>
                  <a:cubicBezTo>
                    <a:pt x="536" y="1252"/>
                    <a:pt x="536" y="1255"/>
                    <a:pt x="536" y="1255"/>
                  </a:cubicBezTo>
                  <a:cubicBezTo>
                    <a:pt x="524" y="1254"/>
                    <a:pt x="516" y="1249"/>
                    <a:pt x="512" y="1260"/>
                  </a:cubicBezTo>
                  <a:cubicBezTo>
                    <a:pt x="512" y="1261"/>
                    <a:pt x="534" y="1256"/>
                    <a:pt x="535" y="1259"/>
                  </a:cubicBezTo>
                  <a:cubicBezTo>
                    <a:pt x="537" y="1274"/>
                    <a:pt x="522" y="1275"/>
                    <a:pt x="517" y="1271"/>
                  </a:cubicBezTo>
                  <a:cubicBezTo>
                    <a:pt x="515" y="1270"/>
                    <a:pt x="508" y="1269"/>
                    <a:pt x="508" y="1269"/>
                  </a:cubicBezTo>
                  <a:cubicBezTo>
                    <a:pt x="513" y="1288"/>
                    <a:pt x="538" y="1283"/>
                    <a:pt x="534" y="1293"/>
                  </a:cubicBezTo>
                  <a:cubicBezTo>
                    <a:pt x="533" y="1299"/>
                    <a:pt x="514" y="1309"/>
                    <a:pt x="514" y="1309"/>
                  </a:cubicBezTo>
                  <a:cubicBezTo>
                    <a:pt x="512" y="1308"/>
                    <a:pt x="507" y="1305"/>
                    <a:pt x="506" y="1307"/>
                  </a:cubicBezTo>
                  <a:cubicBezTo>
                    <a:pt x="506" y="1309"/>
                    <a:pt x="507" y="1310"/>
                    <a:pt x="508" y="1310"/>
                  </a:cubicBezTo>
                  <a:cubicBezTo>
                    <a:pt x="517" y="1315"/>
                    <a:pt x="509" y="1316"/>
                    <a:pt x="507" y="1319"/>
                  </a:cubicBezTo>
                  <a:cubicBezTo>
                    <a:pt x="506" y="1319"/>
                    <a:pt x="520" y="1326"/>
                    <a:pt x="521" y="1328"/>
                  </a:cubicBezTo>
                  <a:cubicBezTo>
                    <a:pt x="522" y="1331"/>
                    <a:pt x="513" y="1332"/>
                    <a:pt x="515" y="1334"/>
                  </a:cubicBezTo>
                  <a:cubicBezTo>
                    <a:pt x="516" y="1337"/>
                    <a:pt x="521" y="1334"/>
                    <a:pt x="522" y="1338"/>
                  </a:cubicBezTo>
                  <a:cubicBezTo>
                    <a:pt x="522" y="1339"/>
                    <a:pt x="523" y="1342"/>
                    <a:pt x="524" y="1341"/>
                  </a:cubicBezTo>
                  <a:cubicBezTo>
                    <a:pt x="528" y="1333"/>
                    <a:pt x="534" y="1361"/>
                    <a:pt x="531" y="1347"/>
                  </a:cubicBezTo>
                  <a:cubicBezTo>
                    <a:pt x="530" y="1341"/>
                    <a:pt x="539" y="1347"/>
                    <a:pt x="540" y="1349"/>
                  </a:cubicBezTo>
                  <a:cubicBezTo>
                    <a:pt x="544" y="1359"/>
                    <a:pt x="520" y="1372"/>
                    <a:pt x="520" y="1376"/>
                  </a:cubicBezTo>
                  <a:cubicBezTo>
                    <a:pt x="522" y="1384"/>
                    <a:pt x="538" y="1374"/>
                    <a:pt x="538" y="1374"/>
                  </a:cubicBezTo>
                  <a:cubicBezTo>
                    <a:pt x="544" y="1380"/>
                    <a:pt x="536" y="1382"/>
                    <a:pt x="544" y="1385"/>
                  </a:cubicBezTo>
                  <a:cubicBezTo>
                    <a:pt x="545" y="1386"/>
                    <a:pt x="545" y="1386"/>
                    <a:pt x="545" y="1386"/>
                  </a:cubicBezTo>
                  <a:cubicBezTo>
                    <a:pt x="546" y="1393"/>
                    <a:pt x="552" y="1377"/>
                    <a:pt x="547" y="1373"/>
                  </a:cubicBezTo>
                  <a:cubicBezTo>
                    <a:pt x="545" y="1372"/>
                    <a:pt x="524" y="1369"/>
                    <a:pt x="553" y="1360"/>
                  </a:cubicBezTo>
                  <a:cubicBezTo>
                    <a:pt x="555" y="1359"/>
                    <a:pt x="557" y="1357"/>
                    <a:pt x="558" y="1355"/>
                  </a:cubicBezTo>
                  <a:cubicBezTo>
                    <a:pt x="558" y="1355"/>
                    <a:pt x="551" y="1354"/>
                    <a:pt x="550" y="1354"/>
                  </a:cubicBezTo>
                  <a:cubicBezTo>
                    <a:pt x="547" y="1352"/>
                    <a:pt x="544" y="1347"/>
                    <a:pt x="549" y="1346"/>
                  </a:cubicBezTo>
                  <a:cubicBezTo>
                    <a:pt x="549" y="1346"/>
                    <a:pt x="551" y="1346"/>
                    <a:pt x="551" y="1346"/>
                  </a:cubicBezTo>
                  <a:cubicBezTo>
                    <a:pt x="553" y="1346"/>
                    <a:pt x="554" y="1346"/>
                    <a:pt x="555" y="1347"/>
                  </a:cubicBezTo>
                  <a:cubicBezTo>
                    <a:pt x="561" y="1350"/>
                    <a:pt x="571" y="1360"/>
                    <a:pt x="570" y="1361"/>
                  </a:cubicBezTo>
                  <a:cubicBezTo>
                    <a:pt x="570" y="1362"/>
                    <a:pt x="566" y="1366"/>
                    <a:pt x="568" y="1367"/>
                  </a:cubicBezTo>
                  <a:cubicBezTo>
                    <a:pt x="571" y="1368"/>
                    <a:pt x="574" y="1357"/>
                    <a:pt x="575" y="1356"/>
                  </a:cubicBezTo>
                  <a:cubicBezTo>
                    <a:pt x="576" y="1354"/>
                    <a:pt x="578" y="1361"/>
                    <a:pt x="578" y="1362"/>
                  </a:cubicBezTo>
                  <a:cubicBezTo>
                    <a:pt x="580" y="1362"/>
                    <a:pt x="580" y="1357"/>
                    <a:pt x="582" y="1357"/>
                  </a:cubicBezTo>
                  <a:cubicBezTo>
                    <a:pt x="588" y="1360"/>
                    <a:pt x="588" y="1368"/>
                    <a:pt x="592" y="1371"/>
                  </a:cubicBezTo>
                  <a:cubicBezTo>
                    <a:pt x="593" y="1371"/>
                    <a:pt x="597" y="1371"/>
                    <a:pt x="597" y="1372"/>
                  </a:cubicBezTo>
                  <a:cubicBezTo>
                    <a:pt x="599" y="1383"/>
                    <a:pt x="584" y="1386"/>
                    <a:pt x="584" y="1392"/>
                  </a:cubicBezTo>
                  <a:cubicBezTo>
                    <a:pt x="583" y="1400"/>
                    <a:pt x="589" y="1382"/>
                    <a:pt x="589" y="1392"/>
                  </a:cubicBezTo>
                  <a:cubicBezTo>
                    <a:pt x="589" y="1393"/>
                    <a:pt x="588" y="1396"/>
                    <a:pt x="590" y="1396"/>
                  </a:cubicBezTo>
                  <a:cubicBezTo>
                    <a:pt x="591" y="1396"/>
                    <a:pt x="594" y="1386"/>
                    <a:pt x="595" y="1385"/>
                  </a:cubicBezTo>
                  <a:cubicBezTo>
                    <a:pt x="600" y="1378"/>
                    <a:pt x="597" y="1379"/>
                    <a:pt x="599" y="1378"/>
                  </a:cubicBezTo>
                  <a:cubicBezTo>
                    <a:pt x="601" y="1376"/>
                    <a:pt x="612" y="1377"/>
                    <a:pt x="606" y="1373"/>
                  </a:cubicBezTo>
                  <a:close/>
                  <a:moveTo>
                    <a:pt x="614" y="1287"/>
                  </a:moveTo>
                  <a:cubicBezTo>
                    <a:pt x="605" y="1283"/>
                    <a:pt x="608" y="1262"/>
                    <a:pt x="602" y="1262"/>
                  </a:cubicBezTo>
                  <a:cubicBezTo>
                    <a:pt x="596" y="1261"/>
                    <a:pt x="599" y="1277"/>
                    <a:pt x="596" y="1279"/>
                  </a:cubicBezTo>
                  <a:cubicBezTo>
                    <a:pt x="592" y="1281"/>
                    <a:pt x="577" y="1267"/>
                    <a:pt x="576" y="1269"/>
                  </a:cubicBezTo>
                  <a:cubicBezTo>
                    <a:pt x="573" y="1274"/>
                    <a:pt x="582" y="1274"/>
                    <a:pt x="581" y="1277"/>
                  </a:cubicBezTo>
                  <a:cubicBezTo>
                    <a:pt x="573" y="1291"/>
                    <a:pt x="567" y="1287"/>
                    <a:pt x="576" y="1297"/>
                  </a:cubicBezTo>
                  <a:cubicBezTo>
                    <a:pt x="578" y="1298"/>
                    <a:pt x="585" y="1295"/>
                    <a:pt x="583" y="1303"/>
                  </a:cubicBezTo>
                  <a:cubicBezTo>
                    <a:pt x="584" y="1304"/>
                    <a:pt x="584" y="1304"/>
                    <a:pt x="584" y="1304"/>
                  </a:cubicBezTo>
                  <a:cubicBezTo>
                    <a:pt x="583" y="1305"/>
                    <a:pt x="587" y="1308"/>
                    <a:pt x="588" y="1308"/>
                  </a:cubicBezTo>
                  <a:cubicBezTo>
                    <a:pt x="597" y="1309"/>
                    <a:pt x="598" y="1306"/>
                    <a:pt x="600" y="1295"/>
                  </a:cubicBezTo>
                  <a:cubicBezTo>
                    <a:pt x="600" y="1294"/>
                    <a:pt x="597" y="1294"/>
                    <a:pt x="597" y="1292"/>
                  </a:cubicBezTo>
                  <a:cubicBezTo>
                    <a:pt x="600" y="1280"/>
                    <a:pt x="582" y="1299"/>
                    <a:pt x="589" y="1286"/>
                  </a:cubicBezTo>
                  <a:cubicBezTo>
                    <a:pt x="590" y="1284"/>
                    <a:pt x="587" y="1281"/>
                    <a:pt x="589" y="1280"/>
                  </a:cubicBezTo>
                  <a:cubicBezTo>
                    <a:pt x="590" y="1279"/>
                    <a:pt x="595" y="1282"/>
                    <a:pt x="595" y="1282"/>
                  </a:cubicBezTo>
                  <a:cubicBezTo>
                    <a:pt x="603" y="1288"/>
                    <a:pt x="596" y="1278"/>
                    <a:pt x="602" y="1278"/>
                  </a:cubicBezTo>
                  <a:cubicBezTo>
                    <a:pt x="605" y="1278"/>
                    <a:pt x="613" y="1296"/>
                    <a:pt x="620" y="1297"/>
                  </a:cubicBezTo>
                  <a:cubicBezTo>
                    <a:pt x="621" y="1297"/>
                    <a:pt x="639" y="1299"/>
                    <a:pt x="632" y="1295"/>
                  </a:cubicBezTo>
                  <a:cubicBezTo>
                    <a:pt x="629" y="1293"/>
                    <a:pt x="636" y="1291"/>
                    <a:pt x="633" y="1288"/>
                  </a:cubicBezTo>
                  <a:cubicBezTo>
                    <a:pt x="629" y="1284"/>
                    <a:pt x="630" y="1281"/>
                    <a:pt x="624" y="1277"/>
                  </a:cubicBezTo>
                  <a:cubicBezTo>
                    <a:pt x="622" y="1276"/>
                    <a:pt x="624" y="1282"/>
                    <a:pt x="624" y="1284"/>
                  </a:cubicBezTo>
                  <a:cubicBezTo>
                    <a:pt x="623" y="1289"/>
                    <a:pt x="614" y="1276"/>
                    <a:pt x="613" y="1280"/>
                  </a:cubicBezTo>
                  <a:cubicBezTo>
                    <a:pt x="612" y="1282"/>
                    <a:pt x="617" y="1289"/>
                    <a:pt x="614" y="1287"/>
                  </a:cubicBezTo>
                  <a:close/>
                  <a:moveTo>
                    <a:pt x="635" y="1386"/>
                  </a:moveTo>
                  <a:cubicBezTo>
                    <a:pt x="634" y="1386"/>
                    <a:pt x="634" y="1386"/>
                    <a:pt x="634" y="1386"/>
                  </a:cubicBezTo>
                  <a:cubicBezTo>
                    <a:pt x="634" y="1381"/>
                    <a:pt x="611" y="1381"/>
                    <a:pt x="611" y="1381"/>
                  </a:cubicBezTo>
                  <a:cubicBezTo>
                    <a:pt x="611" y="1381"/>
                    <a:pt x="628" y="1399"/>
                    <a:pt x="612" y="1395"/>
                  </a:cubicBezTo>
                  <a:cubicBezTo>
                    <a:pt x="610" y="1395"/>
                    <a:pt x="605" y="1394"/>
                    <a:pt x="606" y="1398"/>
                  </a:cubicBezTo>
                  <a:cubicBezTo>
                    <a:pt x="608" y="1402"/>
                    <a:pt x="613" y="1400"/>
                    <a:pt x="615" y="1399"/>
                  </a:cubicBezTo>
                  <a:cubicBezTo>
                    <a:pt x="620" y="1395"/>
                    <a:pt x="618" y="1402"/>
                    <a:pt x="619" y="1402"/>
                  </a:cubicBezTo>
                  <a:cubicBezTo>
                    <a:pt x="633" y="1404"/>
                    <a:pt x="611" y="1387"/>
                    <a:pt x="632" y="1389"/>
                  </a:cubicBezTo>
                  <a:cubicBezTo>
                    <a:pt x="633" y="1389"/>
                    <a:pt x="634" y="1392"/>
                    <a:pt x="635" y="1391"/>
                  </a:cubicBezTo>
                  <a:cubicBezTo>
                    <a:pt x="636" y="1390"/>
                    <a:pt x="635" y="1387"/>
                    <a:pt x="635" y="1386"/>
                  </a:cubicBezTo>
                  <a:close/>
                  <a:moveTo>
                    <a:pt x="662" y="1325"/>
                  </a:moveTo>
                  <a:cubicBezTo>
                    <a:pt x="659" y="1324"/>
                    <a:pt x="657" y="1325"/>
                    <a:pt x="654" y="1323"/>
                  </a:cubicBezTo>
                  <a:cubicBezTo>
                    <a:pt x="648" y="1320"/>
                    <a:pt x="649" y="1325"/>
                    <a:pt x="644" y="1324"/>
                  </a:cubicBezTo>
                  <a:cubicBezTo>
                    <a:pt x="640" y="1323"/>
                    <a:pt x="647" y="1314"/>
                    <a:pt x="647" y="1313"/>
                  </a:cubicBezTo>
                  <a:cubicBezTo>
                    <a:pt x="649" y="1301"/>
                    <a:pt x="644" y="1294"/>
                    <a:pt x="641" y="1291"/>
                  </a:cubicBezTo>
                  <a:cubicBezTo>
                    <a:pt x="641" y="1291"/>
                    <a:pt x="638" y="1285"/>
                    <a:pt x="637" y="1285"/>
                  </a:cubicBezTo>
                  <a:cubicBezTo>
                    <a:pt x="636" y="1285"/>
                    <a:pt x="647" y="1310"/>
                    <a:pt x="643" y="1315"/>
                  </a:cubicBezTo>
                  <a:cubicBezTo>
                    <a:pt x="640" y="1320"/>
                    <a:pt x="635" y="1324"/>
                    <a:pt x="635" y="1329"/>
                  </a:cubicBezTo>
                  <a:cubicBezTo>
                    <a:pt x="635" y="1336"/>
                    <a:pt x="651" y="1337"/>
                    <a:pt x="652" y="1341"/>
                  </a:cubicBezTo>
                  <a:cubicBezTo>
                    <a:pt x="652" y="1341"/>
                    <a:pt x="652" y="1343"/>
                    <a:pt x="652" y="1343"/>
                  </a:cubicBezTo>
                  <a:cubicBezTo>
                    <a:pt x="649" y="1354"/>
                    <a:pt x="643" y="1347"/>
                    <a:pt x="640" y="1351"/>
                  </a:cubicBezTo>
                  <a:cubicBezTo>
                    <a:pt x="639" y="1353"/>
                    <a:pt x="633" y="1348"/>
                    <a:pt x="633" y="1350"/>
                  </a:cubicBezTo>
                  <a:cubicBezTo>
                    <a:pt x="635" y="1363"/>
                    <a:pt x="648" y="1359"/>
                    <a:pt x="646" y="1372"/>
                  </a:cubicBezTo>
                  <a:cubicBezTo>
                    <a:pt x="645" y="1373"/>
                    <a:pt x="645" y="1373"/>
                    <a:pt x="645" y="1373"/>
                  </a:cubicBezTo>
                  <a:cubicBezTo>
                    <a:pt x="646" y="1376"/>
                    <a:pt x="648" y="1372"/>
                    <a:pt x="649" y="1373"/>
                  </a:cubicBezTo>
                  <a:cubicBezTo>
                    <a:pt x="660" y="1375"/>
                    <a:pt x="647" y="1364"/>
                    <a:pt x="651" y="1360"/>
                  </a:cubicBezTo>
                  <a:cubicBezTo>
                    <a:pt x="655" y="1357"/>
                    <a:pt x="658" y="1369"/>
                    <a:pt x="663" y="1368"/>
                  </a:cubicBezTo>
                  <a:cubicBezTo>
                    <a:pt x="664" y="1368"/>
                    <a:pt x="669" y="1369"/>
                    <a:pt x="668" y="1367"/>
                  </a:cubicBezTo>
                  <a:cubicBezTo>
                    <a:pt x="668" y="1367"/>
                    <a:pt x="668" y="1367"/>
                    <a:pt x="667" y="1366"/>
                  </a:cubicBezTo>
                  <a:cubicBezTo>
                    <a:pt x="664" y="1362"/>
                    <a:pt x="659" y="1365"/>
                    <a:pt x="656" y="1359"/>
                  </a:cubicBezTo>
                  <a:cubicBezTo>
                    <a:pt x="656" y="1359"/>
                    <a:pt x="657" y="1349"/>
                    <a:pt x="654" y="1352"/>
                  </a:cubicBezTo>
                  <a:cubicBezTo>
                    <a:pt x="653" y="1353"/>
                    <a:pt x="652" y="1357"/>
                    <a:pt x="651" y="1356"/>
                  </a:cubicBezTo>
                  <a:cubicBezTo>
                    <a:pt x="648" y="1353"/>
                    <a:pt x="656" y="1346"/>
                    <a:pt x="656" y="1342"/>
                  </a:cubicBezTo>
                  <a:cubicBezTo>
                    <a:pt x="655" y="1334"/>
                    <a:pt x="639" y="1332"/>
                    <a:pt x="640" y="1329"/>
                  </a:cubicBezTo>
                  <a:cubicBezTo>
                    <a:pt x="645" y="1321"/>
                    <a:pt x="685" y="1339"/>
                    <a:pt x="662" y="1325"/>
                  </a:cubicBezTo>
                  <a:close/>
                  <a:moveTo>
                    <a:pt x="672" y="1282"/>
                  </a:moveTo>
                  <a:cubicBezTo>
                    <a:pt x="671" y="1282"/>
                    <a:pt x="671" y="1282"/>
                    <a:pt x="671" y="1282"/>
                  </a:cubicBezTo>
                  <a:cubicBezTo>
                    <a:pt x="667" y="1281"/>
                    <a:pt x="662" y="1283"/>
                    <a:pt x="661" y="1277"/>
                  </a:cubicBezTo>
                  <a:cubicBezTo>
                    <a:pt x="660" y="1273"/>
                    <a:pt x="664" y="1268"/>
                    <a:pt x="663" y="1264"/>
                  </a:cubicBezTo>
                  <a:cubicBezTo>
                    <a:pt x="663" y="1262"/>
                    <a:pt x="657" y="1261"/>
                    <a:pt x="658" y="1259"/>
                  </a:cubicBezTo>
                  <a:cubicBezTo>
                    <a:pt x="659" y="1256"/>
                    <a:pt x="665" y="1263"/>
                    <a:pt x="663" y="1260"/>
                  </a:cubicBezTo>
                  <a:cubicBezTo>
                    <a:pt x="654" y="1243"/>
                    <a:pt x="640" y="1247"/>
                    <a:pt x="638" y="1236"/>
                  </a:cubicBezTo>
                  <a:cubicBezTo>
                    <a:pt x="638" y="1234"/>
                    <a:pt x="634" y="1232"/>
                    <a:pt x="632" y="1233"/>
                  </a:cubicBezTo>
                  <a:cubicBezTo>
                    <a:pt x="632" y="1233"/>
                    <a:pt x="633" y="1237"/>
                    <a:pt x="634" y="1238"/>
                  </a:cubicBezTo>
                  <a:cubicBezTo>
                    <a:pt x="639" y="1251"/>
                    <a:pt x="666" y="1258"/>
                    <a:pt x="652" y="1263"/>
                  </a:cubicBezTo>
                  <a:cubicBezTo>
                    <a:pt x="646" y="1265"/>
                    <a:pt x="635" y="1247"/>
                    <a:pt x="631" y="1247"/>
                  </a:cubicBezTo>
                  <a:cubicBezTo>
                    <a:pt x="630" y="1246"/>
                    <a:pt x="625" y="1250"/>
                    <a:pt x="627" y="1251"/>
                  </a:cubicBezTo>
                  <a:cubicBezTo>
                    <a:pt x="638" y="1252"/>
                    <a:pt x="621" y="1263"/>
                    <a:pt x="619" y="1263"/>
                  </a:cubicBezTo>
                  <a:cubicBezTo>
                    <a:pt x="612" y="1261"/>
                    <a:pt x="617" y="1260"/>
                    <a:pt x="616" y="1255"/>
                  </a:cubicBezTo>
                  <a:cubicBezTo>
                    <a:pt x="615" y="1247"/>
                    <a:pt x="628" y="1247"/>
                    <a:pt x="621" y="1242"/>
                  </a:cubicBezTo>
                  <a:cubicBezTo>
                    <a:pt x="614" y="1236"/>
                    <a:pt x="614" y="1254"/>
                    <a:pt x="613" y="1256"/>
                  </a:cubicBezTo>
                  <a:cubicBezTo>
                    <a:pt x="611" y="1261"/>
                    <a:pt x="607" y="1258"/>
                    <a:pt x="606" y="1259"/>
                  </a:cubicBezTo>
                  <a:cubicBezTo>
                    <a:pt x="604" y="1261"/>
                    <a:pt x="608" y="1262"/>
                    <a:pt x="609" y="1264"/>
                  </a:cubicBezTo>
                  <a:cubicBezTo>
                    <a:pt x="610" y="1269"/>
                    <a:pt x="630" y="1270"/>
                    <a:pt x="632" y="1273"/>
                  </a:cubicBezTo>
                  <a:cubicBezTo>
                    <a:pt x="635" y="1277"/>
                    <a:pt x="652" y="1295"/>
                    <a:pt x="651" y="1302"/>
                  </a:cubicBezTo>
                  <a:cubicBezTo>
                    <a:pt x="650" y="1303"/>
                    <a:pt x="652" y="1308"/>
                    <a:pt x="655" y="1306"/>
                  </a:cubicBezTo>
                  <a:cubicBezTo>
                    <a:pt x="656" y="1305"/>
                    <a:pt x="652" y="1300"/>
                    <a:pt x="654" y="1299"/>
                  </a:cubicBezTo>
                  <a:cubicBezTo>
                    <a:pt x="657" y="1299"/>
                    <a:pt x="655" y="1306"/>
                    <a:pt x="659" y="1306"/>
                  </a:cubicBezTo>
                  <a:cubicBezTo>
                    <a:pt x="665" y="1306"/>
                    <a:pt x="660" y="1298"/>
                    <a:pt x="661" y="1297"/>
                  </a:cubicBezTo>
                  <a:cubicBezTo>
                    <a:pt x="661" y="1297"/>
                    <a:pt x="661" y="1290"/>
                    <a:pt x="659" y="1289"/>
                  </a:cubicBezTo>
                  <a:cubicBezTo>
                    <a:pt x="655" y="1284"/>
                    <a:pt x="658" y="1295"/>
                    <a:pt x="656" y="1295"/>
                  </a:cubicBezTo>
                  <a:cubicBezTo>
                    <a:pt x="654" y="1293"/>
                    <a:pt x="641" y="1286"/>
                    <a:pt x="643" y="1282"/>
                  </a:cubicBezTo>
                  <a:cubicBezTo>
                    <a:pt x="643" y="1281"/>
                    <a:pt x="646" y="1283"/>
                    <a:pt x="648" y="1284"/>
                  </a:cubicBezTo>
                  <a:cubicBezTo>
                    <a:pt x="658" y="1290"/>
                    <a:pt x="650" y="1280"/>
                    <a:pt x="659" y="1286"/>
                  </a:cubicBezTo>
                  <a:cubicBezTo>
                    <a:pt x="661" y="1287"/>
                    <a:pt x="667" y="1292"/>
                    <a:pt x="670" y="1290"/>
                  </a:cubicBezTo>
                  <a:cubicBezTo>
                    <a:pt x="671" y="1288"/>
                    <a:pt x="671" y="1283"/>
                    <a:pt x="672" y="1285"/>
                  </a:cubicBezTo>
                  <a:cubicBezTo>
                    <a:pt x="683" y="1296"/>
                    <a:pt x="673" y="1282"/>
                    <a:pt x="672" y="1282"/>
                  </a:cubicBezTo>
                  <a:close/>
                  <a:moveTo>
                    <a:pt x="693" y="1262"/>
                  </a:moveTo>
                  <a:cubicBezTo>
                    <a:pt x="700" y="1259"/>
                    <a:pt x="683" y="1246"/>
                    <a:pt x="688" y="1240"/>
                  </a:cubicBezTo>
                  <a:cubicBezTo>
                    <a:pt x="688" y="1239"/>
                    <a:pt x="688" y="1239"/>
                    <a:pt x="688" y="1239"/>
                  </a:cubicBezTo>
                  <a:cubicBezTo>
                    <a:pt x="691" y="1231"/>
                    <a:pt x="682" y="1227"/>
                    <a:pt x="677" y="1222"/>
                  </a:cubicBezTo>
                  <a:cubicBezTo>
                    <a:pt x="677" y="1222"/>
                    <a:pt x="676" y="1221"/>
                    <a:pt x="676" y="1222"/>
                  </a:cubicBezTo>
                  <a:cubicBezTo>
                    <a:pt x="676" y="1223"/>
                    <a:pt x="682" y="1241"/>
                    <a:pt x="681" y="1240"/>
                  </a:cubicBezTo>
                  <a:cubicBezTo>
                    <a:pt x="674" y="1238"/>
                    <a:pt x="674" y="1217"/>
                    <a:pt x="670" y="1223"/>
                  </a:cubicBezTo>
                  <a:cubicBezTo>
                    <a:pt x="670" y="1223"/>
                    <a:pt x="669" y="1231"/>
                    <a:pt x="667" y="1228"/>
                  </a:cubicBezTo>
                  <a:cubicBezTo>
                    <a:pt x="665" y="1225"/>
                    <a:pt x="660" y="1216"/>
                    <a:pt x="660" y="1219"/>
                  </a:cubicBezTo>
                  <a:cubicBezTo>
                    <a:pt x="659" y="1227"/>
                    <a:pt x="677" y="1239"/>
                    <a:pt x="676" y="1242"/>
                  </a:cubicBezTo>
                  <a:cubicBezTo>
                    <a:pt x="673" y="1249"/>
                    <a:pt x="662" y="1239"/>
                    <a:pt x="665" y="1248"/>
                  </a:cubicBezTo>
                  <a:cubicBezTo>
                    <a:pt x="668" y="1254"/>
                    <a:pt x="680" y="1252"/>
                    <a:pt x="681" y="1252"/>
                  </a:cubicBezTo>
                  <a:cubicBezTo>
                    <a:pt x="686" y="1254"/>
                    <a:pt x="689" y="1264"/>
                    <a:pt x="693" y="1262"/>
                  </a:cubicBezTo>
                  <a:close/>
                  <a:moveTo>
                    <a:pt x="701" y="1337"/>
                  </a:moveTo>
                  <a:cubicBezTo>
                    <a:pt x="709" y="1345"/>
                    <a:pt x="718" y="1341"/>
                    <a:pt x="708" y="1346"/>
                  </a:cubicBezTo>
                  <a:cubicBezTo>
                    <a:pt x="707" y="1346"/>
                    <a:pt x="705" y="1349"/>
                    <a:pt x="705" y="1350"/>
                  </a:cubicBezTo>
                  <a:cubicBezTo>
                    <a:pt x="706" y="1352"/>
                    <a:pt x="710" y="1345"/>
                    <a:pt x="711" y="1350"/>
                  </a:cubicBezTo>
                  <a:cubicBezTo>
                    <a:pt x="714" y="1361"/>
                    <a:pt x="745" y="1349"/>
                    <a:pt x="762" y="1346"/>
                  </a:cubicBezTo>
                  <a:cubicBezTo>
                    <a:pt x="765" y="1345"/>
                    <a:pt x="771" y="1357"/>
                    <a:pt x="775" y="1358"/>
                  </a:cubicBezTo>
                  <a:cubicBezTo>
                    <a:pt x="777" y="1359"/>
                    <a:pt x="780" y="1357"/>
                    <a:pt x="780" y="1361"/>
                  </a:cubicBezTo>
                  <a:cubicBezTo>
                    <a:pt x="780" y="1371"/>
                    <a:pt x="765" y="1351"/>
                    <a:pt x="757" y="1356"/>
                  </a:cubicBezTo>
                  <a:cubicBezTo>
                    <a:pt x="747" y="1362"/>
                    <a:pt x="746" y="1362"/>
                    <a:pt x="749" y="1366"/>
                  </a:cubicBezTo>
                  <a:cubicBezTo>
                    <a:pt x="751" y="1368"/>
                    <a:pt x="750" y="1371"/>
                    <a:pt x="752" y="1370"/>
                  </a:cubicBezTo>
                  <a:cubicBezTo>
                    <a:pt x="757" y="1368"/>
                    <a:pt x="752" y="1375"/>
                    <a:pt x="753" y="1376"/>
                  </a:cubicBezTo>
                  <a:cubicBezTo>
                    <a:pt x="755" y="1378"/>
                    <a:pt x="759" y="1377"/>
                    <a:pt x="761" y="1375"/>
                  </a:cubicBezTo>
                  <a:cubicBezTo>
                    <a:pt x="763" y="1374"/>
                    <a:pt x="787" y="1373"/>
                    <a:pt x="797" y="1369"/>
                  </a:cubicBezTo>
                  <a:cubicBezTo>
                    <a:pt x="804" y="1366"/>
                    <a:pt x="841" y="1360"/>
                    <a:pt x="839" y="1349"/>
                  </a:cubicBezTo>
                  <a:cubicBezTo>
                    <a:pt x="837" y="1326"/>
                    <a:pt x="801" y="1341"/>
                    <a:pt x="798" y="1339"/>
                  </a:cubicBezTo>
                  <a:cubicBezTo>
                    <a:pt x="796" y="1338"/>
                    <a:pt x="786" y="1340"/>
                    <a:pt x="787" y="1334"/>
                  </a:cubicBezTo>
                  <a:cubicBezTo>
                    <a:pt x="787" y="1331"/>
                    <a:pt x="794" y="1332"/>
                    <a:pt x="798" y="1332"/>
                  </a:cubicBezTo>
                  <a:cubicBezTo>
                    <a:pt x="798" y="1332"/>
                    <a:pt x="799" y="1333"/>
                    <a:pt x="800" y="1333"/>
                  </a:cubicBezTo>
                  <a:cubicBezTo>
                    <a:pt x="801" y="1333"/>
                    <a:pt x="800" y="1332"/>
                    <a:pt x="798" y="1332"/>
                  </a:cubicBezTo>
                  <a:cubicBezTo>
                    <a:pt x="797" y="1331"/>
                    <a:pt x="811" y="1328"/>
                    <a:pt x="812" y="1326"/>
                  </a:cubicBezTo>
                  <a:cubicBezTo>
                    <a:pt x="817" y="1321"/>
                    <a:pt x="801" y="1307"/>
                    <a:pt x="816" y="1317"/>
                  </a:cubicBezTo>
                  <a:cubicBezTo>
                    <a:pt x="818" y="1319"/>
                    <a:pt x="822" y="1318"/>
                    <a:pt x="824" y="1317"/>
                  </a:cubicBezTo>
                  <a:cubicBezTo>
                    <a:pt x="825" y="1315"/>
                    <a:pt x="818" y="1305"/>
                    <a:pt x="820" y="1302"/>
                  </a:cubicBezTo>
                  <a:cubicBezTo>
                    <a:pt x="826" y="1295"/>
                    <a:pt x="830" y="1304"/>
                    <a:pt x="835" y="1304"/>
                  </a:cubicBezTo>
                  <a:cubicBezTo>
                    <a:pt x="837" y="1304"/>
                    <a:pt x="836" y="1303"/>
                    <a:pt x="835" y="1302"/>
                  </a:cubicBezTo>
                  <a:cubicBezTo>
                    <a:pt x="834" y="1301"/>
                    <a:pt x="832" y="1299"/>
                    <a:pt x="835" y="1299"/>
                  </a:cubicBezTo>
                  <a:cubicBezTo>
                    <a:pt x="836" y="1300"/>
                    <a:pt x="840" y="1301"/>
                    <a:pt x="841" y="1300"/>
                  </a:cubicBezTo>
                  <a:cubicBezTo>
                    <a:pt x="845" y="1295"/>
                    <a:pt x="811" y="1299"/>
                    <a:pt x="814" y="1293"/>
                  </a:cubicBezTo>
                  <a:cubicBezTo>
                    <a:pt x="816" y="1288"/>
                    <a:pt x="822" y="1293"/>
                    <a:pt x="823" y="1294"/>
                  </a:cubicBezTo>
                  <a:cubicBezTo>
                    <a:pt x="826" y="1294"/>
                    <a:pt x="823" y="1287"/>
                    <a:pt x="824" y="1286"/>
                  </a:cubicBezTo>
                  <a:cubicBezTo>
                    <a:pt x="825" y="1285"/>
                    <a:pt x="833" y="1286"/>
                    <a:pt x="834" y="1287"/>
                  </a:cubicBezTo>
                  <a:cubicBezTo>
                    <a:pt x="841" y="1290"/>
                    <a:pt x="854" y="1308"/>
                    <a:pt x="860" y="1305"/>
                  </a:cubicBezTo>
                  <a:cubicBezTo>
                    <a:pt x="862" y="1304"/>
                    <a:pt x="853" y="1297"/>
                    <a:pt x="854" y="1297"/>
                  </a:cubicBezTo>
                  <a:cubicBezTo>
                    <a:pt x="858" y="1297"/>
                    <a:pt x="872" y="1300"/>
                    <a:pt x="872" y="1300"/>
                  </a:cubicBezTo>
                  <a:cubicBezTo>
                    <a:pt x="878" y="1296"/>
                    <a:pt x="867" y="1296"/>
                    <a:pt x="873" y="1294"/>
                  </a:cubicBezTo>
                  <a:cubicBezTo>
                    <a:pt x="878" y="1292"/>
                    <a:pt x="885" y="1283"/>
                    <a:pt x="884" y="1281"/>
                  </a:cubicBezTo>
                  <a:cubicBezTo>
                    <a:pt x="883" y="1281"/>
                    <a:pt x="886" y="1278"/>
                    <a:pt x="886" y="1277"/>
                  </a:cubicBezTo>
                  <a:cubicBezTo>
                    <a:pt x="889" y="1277"/>
                    <a:pt x="886" y="1283"/>
                    <a:pt x="890" y="1282"/>
                  </a:cubicBezTo>
                  <a:cubicBezTo>
                    <a:pt x="891" y="1281"/>
                    <a:pt x="891" y="1279"/>
                    <a:pt x="891" y="1278"/>
                  </a:cubicBezTo>
                  <a:cubicBezTo>
                    <a:pt x="893" y="1275"/>
                    <a:pt x="895" y="1281"/>
                    <a:pt x="897" y="1278"/>
                  </a:cubicBezTo>
                  <a:cubicBezTo>
                    <a:pt x="899" y="1275"/>
                    <a:pt x="892" y="1273"/>
                    <a:pt x="893" y="1272"/>
                  </a:cubicBezTo>
                  <a:cubicBezTo>
                    <a:pt x="895" y="1269"/>
                    <a:pt x="908" y="1271"/>
                    <a:pt x="908" y="1268"/>
                  </a:cubicBezTo>
                  <a:cubicBezTo>
                    <a:pt x="908" y="1266"/>
                    <a:pt x="904" y="1262"/>
                    <a:pt x="907" y="1262"/>
                  </a:cubicBezTo>
                  <a:cubicBezTo>
                    <a:pt x="911" y="1261"/>
                    <a:pt x="911" y="1267"/>
                    <a:pt x="913" y="1267"/>
                  </a:cubicBezTo>
                  <a:cubicBezTo>
                    <a:pt x="922" y="1267"/>
                    <a:pt x="907" y="1254"/>
                    <a:pt x="915" y="1259"/>
                  </a:cubicBezTo>
                  <a:cubicBezTo>
                    <a:pt x="918" y="1260"/>
                    <a:pt x="923" y="1254"/>
                    <a:pt x="921" y="1251"/>
                  </a:cubicBezTo>
                  <a:cubicBezTo>
                    <a:pt x="918" y="1247"/>
                    <a:pt x="914" y="1242"/>
                    <a:pt x="911" y="1237"/>
                  </a:cubicBezTo>
                  <a:cubicBezTo>
                    <a:pt x="903" y="1224"/>
                    <a:pt x="916" y="1255"/>
                    <a:pt x="899" y="1241"/>
                  </a:cubicBezTo>
                  <a:cubicBezTo>
                    <a:pt x="896" y="1237"/>
                    <a:pt x="887" y="1225"/>
                    <a:pt x="888" y="1225"/>
                  </a:cubicBezTo>
                  <a:cubicBezTo>
                    <a:pt x="889" y="1226"/>
                    <a:pt x="896" y="1232"/>
                    <a:pt x="896" y="1229"/>
                  </a:cubicBezTo>
                  <a:cubicBezTo>
                    <a:pt x="896" y="1226"/>
                    <a:pt x="899" y="1219"/>
                    <a:pt x="896" y="1216"/>
                  </a:cubicBezTo>
                  <a:cubicBezTo>
                    <a:pt x="895" y="1215"/>
                    <a:pt x="895" y="1215"/>
                    <a:pt x="895" y="1215"/>
                  </a:cubicBezTo>
                  <a:cubicBezTo>
                    <a:pt x="902" y="1216"/>
                    <a:pt x="920" y="1219"/>
                    <a:pt x="928" y="1225"/>
                  </a:cubicBezTo>
                  <a:cubicBezTo>
                    <a:pt x="930" y="1226"/>
                    <a:pt x="931" y="1230"/>
                    <a:pt x="933" y="1227"/>
                  </a:cubicBezTo>
                  <a:cubicBezTo>
                    <a:pt x="934" y="1226"/>
                    <a:pt x="933" y="1225"/>
                    <a:pt x="934" y="1225"/>
                  </a:cubicBezTo>
                  <a:cubicBezTo>
                    <a:pt x="935" y="1222"/>
                    <a:pt x="939" y="1225"/>
                    <a:pt x="941" y="1221"/>
                  </a:cubicBezTo>
                  <a:cubicBezTo>
                    <a:pt x="941" y="1220"/>
                    <a:pt x="937" y="1216"/>
                    <a:pt x="936" y="1215"/>
                  </a:cubicBezTo>
                  <a:cubicBezTo>
                    <a:pt x="920" y="1212"/>
                    <a:pt x="907" y="1214"/>
                    <a:pt x="898" y="1197"/>
                  </a:cubicBezTo>
                  <a:cubicBezTo>
                    <a:pt x="897" y="1194"/>
                    <a:pt x="904" y="1200"/>
                    <a:pt x="908" y="1199"/>
                  </a:cubicBezTo>
                  <a:cubicBezTo>
                    <a:pt x="911" y="1199"/>
                    <a:pt x="902" y="1193"/>
                    <a:pt x="907" y="1192"/>
                  </a:cubicBezTo>
                  <a:cubicBezTo>
                    <a:pt x="912" y="1192"/>
                    <a:pt x="914" y="1201"/>
                    <a:pt x="916" y="1195"/>
                  </a:cubicBezTo>
                  <a:cubicBezTo>
                    <a:pt x="917" y="1191"/>
                    <a:pt x="927" y="1198"/>
                    <a:pt x="926" y="1195"/>
                  </a:cubicBezTo>
                  <a:cubicBezTo>
                    <a:pt x="925" y="1188"/>
                    <a:pt x="914" y="1192"/>
                    <a:pt x="915" y="1189"/>
                  </a:cubicBezTo>
                  <a:cubicBezTo>
                    <a:pt x="917" y="1185"/>
                    <a:pt x="940" y="1180"/>
                    <a:pt x="930" y="1176"/>
                  </a:cubicBezTo>
                  <a:cubicBezTo>
                    <a:pt x="921" y="1174"/>
                    <a:pt x="923" y="1146"/>
                    <a:pt x="911" y="1148"/>
                  </a:cubicBezTo>
                  <a:cubicBezTo>
                    <a:pt x="897" y="1150"/>
                    <a:pt x="908" y="1154"/>
                    <a:pt x="908" y="1159"/>
                  </a:cubicBezTo>
                  <a:cubicBezTo>
                    <a:pt x="907" y="1167"/>
                    <a:pt x="899" y="1158"/>
                    <a:pt x="906" y="1170"/>
                  </a:cubicBezTo>
                  <a:cubicBezTo>
                    <a:pt x="908" y="1175"/>
                    <a:pt x="898" y="1169"/>
                    <a:pt x="901" y="1173"/>
                  </a:cubicBezTo>
                  <a:cubicBezTo>
                    <a:pt x="906" y="1178"/>
                    <a:pt x="908" y="1178"/>
                    <a:pt x="910" y="1181"/>
                  </a:cubicBezTo>
                  <a:cubicBezTo>
                    <a:pt x="910" y="1182"/>
                    <a:pt x="913" y="1185"/>
                    <a:pt x="910" y="1185"/>
                  </a:cubicBezTo>
                  <a:cubicBezTo>
                    <a:pt x="900" y="1185"/>
                    <a:pt x="891" y="1162"/>
                    <a:pt x="888" y="1160"/>
                  </a:cubicBezTo>
                  <a:cubicBezTo>
                    <a:pt x="883" y="1157"/>
                    <a:pt x="887" y="1172"/>
                    <a:pt x="882" y="1164"/>
                  </a:cubicBezTo>
                  <a:cubicBezTo>
                    <a:pt x="880" y="1161"/>
                    <a:pt x="885" y="1156"/>
                    <a:pt x="883" y="1154"/>
                  </a:cubicBezTo>
                  <a:cubicBezTo>
                    <a:pt x="881" y="1152"/>
                    <a:pt x="877" y="1149"/>
                    <a:pt x="875" y="1151"/>
                  </a:cubicBezTo>
                  <a:cubicBezTo>
                    <a:pt x="872" y="1153"/>
                    <a:pt x="865" y="1157"/>
                    <a:pt x="868" y="1159"/>
                  </a:cubicBezTo>
                  <a:cubicBezTo>
                    <a:pt x="874" y="1165"/>
                    <a:pt x="876" y="1168"/>
                    <a:pt x="879" y="1177"/>
                  </a:cubicBezTo>
                  <a:cubicBezTo>
                    <a:pt x="881" y="1181"/>
                    <a:pt x="869" y="1180"/>
                    <a:pt x="869" y="1181"/>
                  </a:cubicBezTo>
                  <a:cubicBezTo>
                    <a:pt x="876" y="1193"/>
                    <a:pt x="877" y="1196"/>
                    <a:pt x="874" y="1204"/>
                  </a:cubicBezTo>
                  <a:cubicBezTo>
                    <a:pt x="874" y="1206"/>
                    <a:pt x="887" y="1208"/>
                    <a:pt x="886" y="1208"/>
                  </a:cubicBezTo>
                  <a:cubicBezTo>
                    <a:pt x="863" y="1224"/>
                    <a:pt x="877" y="1204"/>
                    <a:pt x="856" y="1210"/>
                  </a:cubicBezTo>
                  <a:cubicBezTo>
                    <a:pt x="853" y="1212"/>
                    <a:pt x="870" y="1214"/>
                    <a:pt x="870" y="1217"/>
                  </a:cubicBezTo>
                  <a:cubicBezTo>
                    <a:pt x="870" y="1220"/>
                    <a:pt x="856" y="1217"/>
                    <a:pt x="854" y="1217"/>
                  </a:cubicBezTo>
                  <a:cubicBezTo>
                    <a:pt x="849" y="1215"/>
                    <a:pt x="837" y="1227"/>
                    <a:pt x="830" y="1223"/>
                  </a:cubicBezTo>
                  <a:cubicBezTo>
                    <a:pt x="830" y="1223"/>
                    <a:pt x="827" y="1222"/>
                    <a:pt x="829" y="1221"/>
                  </a:cubicBezTo>
                  <a:cubicBezTo>
                    <a:pt x="831" y="1220"/>
                    <a:pt x="834" y="1222"/>
                    <a:pt x="836" y="1221"/>
                  </a:cubicBezTo>
                  <a:cubicBezTo>
                    <a:pt x="839" y="1219"/>
                    <a:pt x="822" y="1213"/>
                    <a:pt x="821" y="1212"/>
                  </a:cubicBezTo>
                  <a:cubicBezTo>
                    <a:pt x="820" y="1209"/>
                    <a:pt x="842" y="1219"/>
                    <a:pt x="843" y="1218"/>
                  </a:cubicBezTo>
                  <a:cubicBezTo>
                    <a:pt x="849" y="1216"/>
                    <a:pt x="825" y="1205"/>
                    <a:pt x="831" y="1205"/>
                  </a:cubicBezTo>
                  <a:cubicBezTo>
                    <a:pt x="832" y="1205"/>
                    <a:pt x="846" y="1215"/>
                    <a:pt x="846" y="1213"/>
                  </a:cubicBezTo>
                  <a:cubicBezTo>
                    <a:pt x="848" y="1207"/>
                    <a:pt x="836" y="1204"/>
                    <a:pt x="834" y="1201"/>
                  </a:cubicBezTo>
                  <a:cubicBezTo>
                    <a:pt x="833" y="1200"/>
                    <a:pt x="830" y="1188"/>
                    <a:pt x="826" y="1183"/>
                  </a:cubicBezTo>
                  <a:cubicBezTo>
                    <a:pt x="831" y="1186"/>
                    <a:pt x="837" y="1189"/>
                    <a:pt x="840" y="1189"/>
                  </a:cubicBezTo>
                  <a:cubicBezTo>
                    <a:pt x="841" y="1189"/>
                    <a:pt x="829" y="1179"/>
                    <a:pt x="840" y="1182"/>
                  </a:cubicBezTo>
                  <a:cubicBezTo>
                    <a:pt x="842" y="1183"/>
                    <a:pt x="846" y="1186"/>
                    <a:pt x="847" y="1184"/>
                  </a:cubicBezTo>
                  <a:cubicBezTo>
                    <a:pt x="849" y="1181"/>
                    <a:pt x="823" y="1171"/>
                    <a:pt x="820" y="1167"/>
                  </a:cubicBezTo>
                  <a:cubicBezTo>
                    <a:pt x="805" y="1144"/>
                    <a:pt x="785" y="1157"/>
                    <a:pt x="772" y="1122"/>
                  </a:cubicBezTo>
                  <a:cubicBezTo>
                    <a:pt x="772" y="1122"/>
                    <a:pt x="775" y="1121"/>
                    <a:pt x="775" y="1120"/>
                  </a:cubicBezTo>
                  <a:cubicBezTo>
                    <a:pt x="776" y="1117"/>
                    <a:pt x="780" y="1120"/>
                    <a:pt x="783" y="1115"/>
                  </a:cubicBezTo>
                  <a:cubicBezTo>
                    <a:pt x="783" y="1114"/>
                    <a:pt x="775" y="1110"/>
                    <a:pt x="774" y="1110"/>
                  </a:cubicBezTo>
                  <a:cubicBezTo>
                    <a:pt x="769" y="1110"/>
                    <a:pt x="779" y="1097"/>
                    <a:pt x="781" y="1095"/>
                  </a:cubicBezTo>
                  <a:cubicBezTo>
                    <a:pt x="782" y="1094"/>
                    <a:pt x="801" y="1095"/>
                    <a:pt x="786" y="1091"/>
                  </a:cubicBezTo>
                  <a:cubicBezTo>
                    <a:pt x="782" y="1091"/>
                    <a:pt x="795" y="1093"/>
                    <a:pt x="795" y="1090"/>
                  </a:cubicBezTo>
                  <a:cubicBezTo>
                    <a:pt x="795" y="1085"/>
                    <a:pt x="792" y="1087"/>
                    <a:pt x="790" y="1087"/>
                  </a:cubicBezTo>
                  <a:cubicBezTo>
                    <a:pt x="780" y="1087"/>
                    <a:pt x="783" y="1094"/>
                    <a:pt x="774" y="1095"/>
                  </a:cubicBezTo>
                  <a:cubicBezTo>
                    <a:pt x="768" y="1096"/>
                    <a:pt x="765" y="1087"/>
                    <a:pt x="762" y="1087"/>
                  </a:cubicBezTo>
                  <a:cubicBezTo>
                    <a:pt x="753" y="1085"/>
                    <a:pt x="754" y="1097"/>
                    <a:pt x="745" y="1091"/>
                  </a:cubicBezTo>
                  <a:cubicBezTo>
                    <a:pt x="741" y="1088"/>
                    <a:pt x="753" y="1080"/>
                    <a:pt x="747" y="1076"/>
                  </a:cubicBezTo>
                  <a:cubicBezTo>
                    <a:pt x="746" y="1075"/>
                    <a:pt x="744" y="1077"/>
                    <a:pt x="743" y="1078"/>
                  </a:cubicBezTo>
                  <a:cubicBezTo>
                    <a:pt x="730" y="1082"/>
                    <a:pt x="744" y="1085"/>
                    <a:pt x="738" y="1093"/>
                  </a:cubicBezTo>
                  <a:cubicBezTo>
                    <a:pt x="734" y="1098"/>
                    <a:pt x="749" y="1095"/>
                    <a:pt x="743" y="1100"/>
                  </a:cubicBezTo>
                  <a:cubicBezTo>
                    <a:pt x="738" y="1103"/>
                    <a:pt x="732" y="1103"/>
                    <a:pt x="729" y="1093"/>
                  </a:cubicBezTo>
                  <a:cubicBezTo>
                    <a:pt x="729" y="1092"/>
                    <a:pt x="723" y="1088"/>
                    <a:pt x="723" y="1089"/>
                  </a:cubicBezTo>
                  <a:cubicBezTo>
                    <a:pt x="722" y="1092"/>
                    <a:pt x="727" y="1093"/>
                    <a:pt x="728" y="1095"/>
                  </a:cubicBezTo>
                  <a:cubicBezTo>
                    <a:pt x="729" y="1099"/>
                    <a:pt x="720" y="1097"/>
                    <a:pt x="719" y="1097"/>
                  </a:cubicBezTo>
                  <a:cubicBezTo>
                    <a:pt x="717" y="1097"/>
                    <a:pt x="712" y="1095"/>
                    <a:pt x="711" y="1095"/>
                  </a:cubicBezTo>
                  <a:cubicBezTo>
                    <a:pt x="703" y="1090"/>
                    <a:pt x="697" y="1076"/>
                    <a:pt x="691" y="1068"/>
                  </a:cubicBezTo>
                  <a:cubicBezTo>
                    <a:pt x="691" y="1068"/>
                    <a:pt x="691" y="1067"/>
                    <a:pt x="691" y="1067"/>
                  </a:cubicBezTo>
                  <a:cubicBezTo>
                    <a:pt x="692" y="1062"/>
                    <a:pt x="698" y="1071"/>
                    <a:pt x="700" y="1071"/>
                  </a:cubicBezTo>
                  <a:cubicBezTo>
                    <a:pt x="707" y="1071"/>
                    <a:pt x="700" y="1061"/>
                    <a:pt x="701" y="1055"/>
                  </a:cubicBezTo>
                  <a:cubicBezTo>
                    <a:pt x="701" y="1052"/>
                    <a:pt x="707" y="1048"/>
                    <a:pt x="706" y="1047"/>
                  </a:cubicBezTo>
                  <a:cubicBezTo>
                    <a:pt x="705" y="1046"/>
                    <a:pt x="702" y="1042"/>
                    <a:pt x="704" y="1041"/>
                  </a:cubicBezTo>
                  <a:cubicBezTo>
                    <a:pt x="706" y="1040"/>
                    <a:pt x="699" y="1044"/>
                    <a:pt x="697" y="1043"/>
                  </a:cubicBezTo>
                  <a:cubicBezTo>
                    <a:pt x="696" y="1042"/>
                    <a:pt x="696" y="1041"/>
                    <a:pt x="696" y="1040"/>
                  </a:cubicBezTo>
                  <a:cubicBezTo>
                    <a:pt x="697" y="1035"/>
                    <a:pt x="687" y="1024"/>
                    <a:pt x="691" y="1027"/>
                  </a:cubicBezTo>
                  <a:cubicBezTo>
                    <a:pt x="693" y="1029"/>
                    <a:pt x="696" y="1037"/>
                    <a:pt x="698" y="1034"/>
                  </a:cubicBezTo>
                  <a:cubicBezTo>
                    <a:pt x="706" y="1025"/>
                    <a:pt x="665" y="1000"/>
                    <a:pt x="661" y="1006"/>
                  </a:cubicBezTo>
                  <a:cubicBezTo>
                    <a:pt x="660" y="1007"/>
                    <a:pt x="673" y="1021"/>
                    <a:pt x="673" y="1021"/>
                  </a:cubicBezTo>
                  <a:cubicBezTo>
                    <a:pt x="678" y="1018"/>
                    <a:pt x="669" y="1015"/>
                    <a:pt x="673" y="1013"/>
                  </a:cubicBezTo>
                  <a:cubicBezTo>
                    <a:pt x="681" y="1011"/>
                    <a:pt x="687" y="1026"/>
                    <a:pt x="692" y="1040"/>
                  </a:cubicBezTo>
                  <a:cubicBezTo>
                    <a:pt x="698" y="1054"/>
                    <a:pt x="678" y="1045"/>
                    <a:pt x="693" y="1061"/>
                  </a:cubicBezTo>
                  <a:cubicBezTo>
                    <a:pt x="695" y="1064"/>
                    <a:pt x="680" y="1063"/>
                    <a:pt x="683" y="1066"/>
                  </a:cubicBezTo>
                  <a:cubicBezTo>
                    <a:pt x="701" y="1080"/>
                    <a:pt x="684" y="1078"/>
                    <a:pt x="686" y="1083"/>
                  </a:cubicBezTo>
                  <a:cubicBezTo>
                    <a:pt x="687" y="1086"/>
                    <a:pt x="690" y="1084"/>
                    <a:pt x="691" y="1083"/>
                  </a:cubicBezTo>
                  <a:cubicBezTo>
                    <a:pt x="692" y="1082"/>
                    <a:pt x="693" y="1083"/>
                    <a:pt x="693" y="1088"/>
                  </a:cubicBezTo>
                  <a:cubicBezTo>
                    <a:pt x="693" y="1088"/>
                    <a:pt x="698" y="1092"/>
                    <a:pt x="699" y="1092"/>
                  </a:cubicBezTo>
                  <a:cubicBezTo>
                    <a:pt x="702" y="1094"/>
                    <a:pt x="717" y="1121"/>
                    <a:pt x="722" y="1117"/>
                  </a:cubicBezTo>
                  <a:cubicBezTo>
                    <a:pt x="724" y="1116"/>
                    <a:pt x="719" y="1110"/>
                    <a:pt x="722" y="1107"/>
                  </a:cubicBezTo>
                  <a:cubicBezTo>
                    <a:pt x="723" y="1107"/>
                    <a:pt x="725" y="1112"/>
                    <a:pt x="726" y="1108"/>
                  </a:cubicBezTo>
                  <a:cubicBezTo>
                    <a:pt x="727" y="1104"/>
                    <a:pt x="732" y="1102"/>
                    <a:pt x="734" y="1107"/>
                  </a:cubicBezTo>
                  <a:cubicBezTo>
                    <a:pt x="735" y="1114"/>
                    <a:pt x="725" y="1110"/>
                    <a:pt x="729" y="1118"/>
                  </a:cubicBezTo>
                  <a:cubicBezTo>
                    <a:pt x="729" y="1118"/>
                    <a:pt x="729" y="1119"/>
                    <a:pt x="730" y="1119"/>
                  </a:cubicBezTo>
                  <a:cubicBezTo>
                    <a:pt x="727" y="1120"/>
                    <a:pt x="725" y="1122"/>
                    <a:pt x="725" y="1124"/>
                  </a:cubicBezTo>
                  <a:cubicBezTo>
                    <a:pt x="725" y="1127"/>
                    <a:pt x="733" y="1127"/>
                    <a:pt x="732" y="1130"/>
                  </a:cubicBezTo>
                  <a:cubicBezTo>
                    <a:pt x="732" y="1136"/>
                    <a:pt x="726" y="1131"/>
                    <a:pt x="726" y="1131"/>
                  </a:cubicBezTo>
                  <a:cubicBezTo>
                    <a:pt x="726" y="1137"/>
                    <a:pt x="725" y="1142"/>
                    <a:pt x="725" y="1146"/>
                  </a:cubicBezTo>
                  <a:cubicBezTo>
                    <a:pt x="724" y="1149"/>
                    <a:pt x="732" y="1157"/>
                    <a:pt x="729" y="1156"/>
                  </a:cubicBezTo>
                  <a:cubicBezTo>
                    <a:pt x="724" y="1154"/>
                    <a:pt x="718" y="1146"/>
                    <a:pt x="716" y="1150"/>
                  </a:cubicBezTo>
                  <a:cubicBezTo>
                    <a:pt x="714" y="1157"/>
                    <a:pt x="735" y="1160"/>
                    <a:pt x="737" y="1166"/>
                  </a:cubicBezTo>
                  <a:cubicBezTo>
                    <a:pt x="740" y="1174"/>
                    <a:pt x="725" y="1160"/>
                    <a:pt x="724" y="1163"/>
                  </a:cubicBezTo>
                  <a:cubicBezTo>
                    <a:pt x="724" y="1165"/>
                    <a:pt x="732" y="1172"/>
                    <a:pt x="734" y="1175"/>
                  </a:cubicBezTo>
                  <a:cubicBezTo>
                    <a:pt x="735" y="1176"/>
                    <a:pt x="737" y="1178"/>
                    <a:pt x="735" y="1178"/>
                  </a:cubicBezTo>
                  <a:cubicBezTo>
                    <a:pt x="732" y="1177"/>
                    <a:pt x="719" y="1167"/>
                    <a:pt x="720" y="1163"/>
                  </a:cubicBezTo>
                  <a:cubicBezTo>
                    <a:pt x="721" y="1162"/>
                    <a:pt x="721" y="1158"/>
                    <a:pt x="720" y="1159"/>
                  </a:cubicBezTo>
                  <a:cubicBezTo>
                    <a:pt x="718" y="1159"/>
                    <a:pt x="714" y="1167"/>
                    <a:pt x="711" y="1165"/>
                  </a:cubicBezTo>
                  <a:cubicBezTo>
                    <a:pt x="708" y="1164"/>
                    <a:pt x="712" y="1156"/>
                    <a:pt x="708" y="1155"/>
                  </a:cubicBezTo>
                  <a:cubicBezTo>
                    <a:pt x="704" y="1153"/>
                    <a:pt x="707" y="1163"/>
                    <a:pt x="705" y="1158"/>
                  </a:cubicBezTo>
                  <a:cubicBezTo>
                    <a:pt x="701" y="1150"/>
                    <a:pt x="702" y="1168"/>
                    <a:pt x="701" y="1168"/>
                  </a:cubicBezTo>
                  <a:cubicBezTo>
                    <a:pt x="696" y="1169"/>
                    <a:pt x="678" y="1142"/>
                    <a:pt x="682" y="1153"/>
                  </a:cubicBezTo>
                  <a:cubicBezTo>
                    <a:pt x="685" y="1161"/>
                    <a:pt x="703" y="1182"/>
                    <a:pt x="709" y="1171"/>
                  </a:cubicBezTo>
                  <a:cubicBezTo>
                    <a:pt x="709" y="1170"/>
                    <a:pt x="705" y="1168"/>
                    <a:pt x="705" y="1168"/>
                  </a:cubicBezTo>
                  <a:cubicBezTo>
                    <a:pt x="703" y="1166"/>
                    <a:pt x="710" y="1169"/>
                    <a:pt x="712" y="1169"/>
                  </a:cubicBezTo>
                  <a:cubicBezTo>
                    <a:pt x="715" y="1168"/>
                    <a:pt x="712" y="1175"/>
                    <a:pt x="718" y="1181"/>
                  </a:cubicBezTo>
                  <a:cubicBezTo>
                    <a:pt x="719" y="1182"/>
                    <a:pt x="723" y="1184"/>
                    <a:pt x="724" y="1184"/>
                  </a:cubicBezTo>
                  <a:cubicBezTo>
                    <a:pt x="732" y="1181"/>
                    <a:pt x="720" y="1173"/>
                    <a:pt x="723" y="1173"/>
                  </a:cubicBezTo>
                  <a:cubicBezTo>
                    <a:pt x="724" y="1172"/>
                    <a:pt x="748" y="1194"/>
                    <a:pt x="739" y="1177"/>
                  </a:cubicBezTo>
                  <a:cubicBezTo>
                    <a:pt x="739" y="1176"/>
                    <a:pt x="735" y="1168"/>
                    <a:pt x="740" y="1171"/>
                  </a:cubicBezTo>
                  <a:cubicBezTo>
                    <a:pt x="741" y="1172"/>
                    <a:pt x="744" y="1177"/>
                    <a:pt x="744" y="1178"/>
                  </a:cubicBezTo>
                  <a:cubicBezTo>
                    <a:pt x="747" y="1198"/>
                    <a:pt x="750" y="1182"/>
                    <a:pt x="754" y="1191"/>
                  </a:cubicBezTo>
                  <a:cubicBezTo>
                    <a:pt x="757" y="1197"/>
                    <a:pt x="745" y="1190"/>
                    <a:pt x="744" y="1193"/>
                  </a:cubicBezTo>
                  <a:cubicBezTo>
                    <a:pt x="744" y="1198"/>
                    <a:pt x="757" y="1210"/>
                    <a:pt x="759" y="1216"/>
                  </a:cubicBezTo>
                  <a:cubicBezTo>
                    <a:pt x="761" y="1219"/>
                    <a:pt x="746" y="1216"/>
                    <a:pt x="749" y="1218"/>
                  </a:cubicBezTo>
                  <a:cubicBezTo>
                    <a:pt x="755" y="1223"/>
                    <a:pt x="783" y="1230"/>
                    <a:pt x="786" y="1229"/>
                  </a:cubicBezTo>
                  <a:cubicBezTo>
                    <a:pt x="786" y="1229"/>
                    <a:pt x="774" y="1226"/>
                    <a:pt x="783" y="1224"/>
                  </a:cubicBezTo>
                  <a:cubicBezTo>
                    <a:pt x="791" y="1222"/>
                    <a:pt x="804" y="1235"/>
                    <a:pt x="801" y="1235"/>
                  </a:cubicBezTo>
                  <a:cubicBezTo>
                    <a:pt x="799" y="1234"/>
                    <a:pt x="789" y="1228"/>
                    <a:pt x="788" y="1230"/>
                  </a:cubicBezTo>
                  <a:cubicBezTo>
                    <a:pt x="786" y="1233"/>
                    <a:pt x="820" y="1245"/>
                    <a:pt x="822" y="1248"/>
                  </a:cubicBezTo>
                  <a:cubicBezTo>
                    <a:pt x="822" y="1249"/>
                    <a:pt x="830" y="1250"/>
                    <a:pt x="829" y="1252"/>
                  </a:cubicBezTo>
                  <a:cubicBezTo>
                    <a:pt x="829" y="1252"/>
                    <a:pt x="816" y="1252"/>
                    <a:pt x="815" y="1252"/>
                  </a:cubicBezTo>
                  <a:cubicBezTo>
                    <a:pt x="815" y="1252"/>
                    <a:pt x="814" y="1252"/>
                    <a:pt x="814" y="1252"/>
                  </a:cubicBezTo>
                  <a:cubicBezTo>
                    <a:pt x="814" y="1253"/>
                    <a:pt x="818" y="1255"/>
                    <a:pt x="819" y="1255"/>
                  </a:cubicBezTo>
                  <a:cubicBezTo>
                    <a:pt x="832" y="1259"/>
                    <a:pt x="836" y="1257"/>
                    <a:pt x="838" y="1266"/>
                  </a:cubicBezTo>
                  <a:cubicBezTo>
                    <a:pt x="840" y="1273"/>
                    <a:pt x="803" y="1261"/>
                    <a:pt x="803" y="1262"/>
                  </a:cubicBezTo>
                  <a:cubicBezTo>
                    <a:pt x="801" y="1264"/>
                    <a:pt x="808" y="1263"/>
                    <a:pt x="808" y="1264"/>
                  </a:cubicBezTo>
                  <a:cubicBezTo>
                    <a:pt x="812" y="1268"/>
                    <a:pt x="799" y="1267"/>
                    <a:pt x="807" y="1272"/>
                  </a:cubicBezTo>
                  <a:cubicBezTo>
                    <a:pt x="807" y="1273"/>
                    <a:pt x="809" y="1276"/>
                    <a:pt x="808" y="1277"/>
                  </a:cubicBezTo>
                  <a:cubicBezTo>
                    <a:pt x="805" y="1278"/>
                    <a:pt x="801" y="1271"/>
                    <a:pt x="801" y="1271"/>
                  </a:cubicBezTo>
                  <a:cubicBezTo>
                    <a:pt x="798" y="1272"/>
                    <a:pt x="801" y="1278"/>
                    <a:pt x="801" y="1279"/>
                  </a:cubicBezTo>
                  <a:cubicBezTo>
                    <a:pt x="800" y="1279"/>
                    <a:pt x="798" y="1274"/>
                    <a:pt x="795" y="1274"/>
                  </a:cubicBezTo>
                  <a:cubicBezTo>
                    <a:pt x="789" y="1272"/>
                    <a:pt x="802" y="1282"/>
                    <a:pt x="793" y="1279"/>
                  </a:cubicBezTo>
                  <a:cubicBezTo>
                    <a:pt x="788" y="1278"/>
                    <a:pt x="789" y="1271"/>
                    <a:pt x="783" y="1277"/>
                  </a:cubicBezTo>
                  <a:cubicBezTo>
                    <a:pt x="782" y="1278"/>
                    <a:pt x="782" y="1278"/>
                    <a:pt x="781" y="1279"/>
                  </a:cubicBezTo>
                  <a:cubicBezTo>
                    <a:pt x="778" y="1284"/>
                    <a:pt x="784" y="1309"/>
                    <a:pt x="767" y="1316"/>
                  </a:cubicBezTo>
                  <a:cubicBezTo>
                    <a:pt x="764" y="1318"/>
                    <a:pt x="764" y="1313"/>
                    <a:pt x="763" y="1311"/>
                  </a:cubicBezTo>
                  <a:cubicBezTo>
                    <a:pt x="762" y="1305"/>
                    <a:pt x="760" y="1296"/>
                    <a:pt x="755" y="1296"/>
                  </a:cubicBezTo>
                  <a:cubicBezTo>
                    <a:pt x="747" y="1296"/>
                    <a:pt x="758" y="1294"/>
                    <a:pt x="756" y="1292"/>
                  </a:cubicBezTo>
                  <a:cubicBezTo>
                    <a:pt x="750" y="1284"/>
                    <a:pt x="749" y="1284"/>
                    <a:pt x="745" y="1276"/>
                  </a:cubicBezTo>
                  <a:cubicBezTo>
                    <a:pt x="744" y="1275"/>
                    <a:pt x="734" y="1281"/>
                    <a:pt x="734" y="1277"/>
                  </a:cubicBezTo>
                  <a:cubicBezTo>
                    <a:pt x="735" y="1274"/>
                    <a:pt x="728" y="1266"/>
                    <a:pt x="726" y="1268"/>
                  </a:cubicBezTo>
                  <a:cubicBezTo>
                    <a:pt x="719" y="1277"/>
                    <a:pt x="744" y="1282"/>
                    <a:pt x="743" y="1286"/>
                  </a:cubicBezTo>
                  <a:cubicBezTo>
                    <a:pt x="741" y="1291"/>
                    <a:pt x="738" y="1292"/>
                    <a:pt x="733" y="1292"/>
                  </a:cubicBezTo>
                  <a:cubicBezTo>
                    <a:pt x="722" y="1293"/>
                    <a:pt x="725" y="1296"/>
                    <a:pt x="734" y="1296"/>
                  </a:cubicBezTo>
                  <a:cubicBezTo>
                    <a:pt x="734" y="1296"/>
                    <a:pt x="736" y="1295"/>
                    <a:pt x="736" y="1296"/>
                  </a:cubicBezTo>
                  <a:cubicBezTo>
                    <a:pt x="737" y="1298"/>
                    <a:pt x="733" y="1300"/>
                    <a:pt x="731" y="1301"/>
                  </a:cubicBezTo>
                  <a:cubicBezTo>
                    <a:pt x="724" y="1301"/>
                    <a:pt x="721" y="1305"/>
                    <a:pt x="719" y="1302"/>
                  </a:cubicBezTo>
                  <a:cubicBezTo>
                    <a:pt x="717" y="1301"/>
                    <a:pt x="718" y="1290"/>
                    <a:pt x="713" y="1292"/>
                  </a:cubicBezTo>
                  <a:cubicBezTo>
                    <a:pt x="711" y="1293"/>
                    <a:pt x="714" y="1300"/>
                    <a:pt x="714" y="1301"/>
                  </a:cubicBezTo>
                  <a:cubicBezTo>
                    <a:pt x="714" y="1308"/>
                    <a:pt x="724" y="1316"/>
                    <a:pt x="702" y="1308"/>
                  </a:cubicBezTo>
                  <a:cubicBezTo>
                    <a:pt x="701" y="1308"/>
                    <a:pt x="703" y="1300"/>
                    <a:pt x="704" y="1300"/>
                  </a:cubicBezTo>
                  <a:cubicBezTo>
                    <a:pt x="706" y="1299"/>
                    <a:pt x="706" y="1297"/>
                    <a:pt x="705" y="1295"/>
                  </a:cubicBezTo>
                  <a:cubicBezTo>
                    <a:pt x="702" y="1292"/>
                    <a:pt x="702" y="1301"/>
                    <a:pt x="700" y="1299"/>
                  </a:cubicBezTo>
                  <a:cubicBezTo>
                    <a:pt x="699" y="1297"/>
                    <a:pt x="706" y="1278"/>
                    <a:pt x="696" y="1289"/>
                  </a:cubicBezTo>
                  <a:cubicBezTo>
                    <a:pt x="691" y="1294"/>
                    <a:pt x="697" y="1311"/>
                    <a:pt x="705" y="1313"/>
                  </a:cubicBezTo>
                  <a:cubicBezTo>
                    <a:pt x="707" y="1314"/>
                    <a:pt x="715" y="1319"/>
                    <a:pt x="715" y="1319"/>
                  </a:cubicBezTo>
                  <a:cubicBezTo>
                    <a:pt x="704" y="1319"/>
                    <a:pt x="688" y="1309"/>
                    <a:pt x="695" y="1322"/>
                  </a:cubicBezTo>
                  <a:cubicBezTo>
                    <a:pt x="698" y="1327"/>
                    <a:pt x="699" y="1318"/>
                    <a:pt x="703" y="1321"/>
                  </a:cubicBezTo>
                  <a:cubicBezTo>
                    <a:pt x="704" y="1322"/>
                    <a:pt x="701" y="1327"/>
                    <a:pt x="700" y="1327"/>
                  </a:cubicBezTo>
                  <a:cubicBezTo>
                    <a:pt x="691" y="1332"/>
                    <a:pt x="697" y="1332"/>
                    <a:pt x="693" y="1340"/>
                  </a:cubicBezTo>
                  <a:cubicBezTo>
                    <a:pt x="692" y="1342"/>
                    <a:pt x="699" y="1335"/>
                    <a:pt x="701" y="1337"/>
                  </a:cubicBezTo>
                  <a:close/>
                  <a:moveTo>
                    <a:pt x="729" y="1375"/>
                  </a:moveTo>
                  <a:cubicBezTo>
                    <a:pt x="729" y="1376"/>
                    <a:pt x="733" y="1380"/>
                    <a:pt x="734" y="1379"/>
                  </a:cubicBezTo>
                  <a:cubicBezTo>
                    <a:pt x="738" y="1379"/>
                    <a:pt x="737" y="1384"/>
                    <a:pt x="732" y="1389"/>
                  </a:cubicBezTo>
                  <a:cubicBezTo>
                    <a:pt x="730" y="1392"/>
                    <a:pt x="730" y="1380"/>
                    <a:pt x="727" y="1384"/>
                  </a:cubicBezTo>
                  <a:cubicBezTo>
                    <a:pt x="717" y="1401"/>
                    <a:pt x="707" y="1371"/>
                    <a:pt x="699" y="1387"/>
                  </a:cubicBezTo>
                  <a:cubicBezTo>
                    <a:pt x="699" y="1388"/>
                    <a:pt x="699" y="1388"/>
                    <a:pt x="699" y="1388"/>
                  </a:cubicBezTo>
                  <a:cubicBezTo>
                    <a:pt x="699" y="1388"/>
                    <a:pt x="699" y="1392"/>
                    <a:pt x="701" y="1390"/>
                  </a:cubicBezTo>
                  <a:cubicBezTo>
                    <a:pt x="703" y="1387"/>
                    <a:pt x="741" y="1403"/>
                    <a:pt x="749" y="1388"/>
                  </a:cubicBezTo>
                  <a:cubicBezTo>
                    <a:pt x="751" y="1385"/>
                    <a:pt x="732" y="1369"/>
                    <a:pt x="729" y="1375"/>
                  </a:cubicBezTo>
                  <a:close/>
                  <a:moveTo>
                    <a:pt x="171" y="1048"/>
                  </a:moveTo>
                  <a:cubicBezTo>
                    <a:pt x="186" y="1038"/>
                    <a:pt x="165" y="1042"/>
                    <a:pt x="165" y="1041"/>
                  </a:cubicBezTo>
                  <a:cubicBezTo>
                    <a:pt x="165" y="1041"/>
                    <a:pt x="165" y="1041"/>
                    <a:pt x="165" y="1041"/>
                  </a:cubicBezTo>
                  <a:cubicBezTo>
                    <a:pt x="162" y="1042"/>
                    <a:pt x="168" y="1050"/>
                    <a:pt x="171" y="1048"/>
                  </a:cubicBezTo>
                  <a:close/>
                  <a:moveTo>
                    <a:pt x="154" y="1052"/>
                  </a:moveTo>
                  <a:cubicBezTo>
                    <a:pt x="138" y="1053"/>
                    <a:pt x="174" y="1083"/>
                    <a:pt x="179" y="1055"/>
                  </a:cubicBezTo>
                  <a:cubicBezTo>
                    <a:pt x="179" y="1054"/>
                    <a:pt x="179" y="1054"/>
                    <a:pt x="179" y="1054"/>
                  </a:cubicBezTo>
                  <a:cubicBezTo>
                    <a:pt x="176" y="1049"/>
                    <a:pt x="165" y="1059"/>
                    <a:pt x="161" y="1059"/>
                  </a:cubicBezTo>
                  <a:cubicBezTo>
                    <a:pt x="156" y="1058"/>
                    <a:pt x="170" y="1051"/>
                    <a:pt x="154" y="1052"/>
                  </a:cubicBezTo>
                  <a:close/>
                  <a:moveTo>
                    <a:pt x="94" y="1525"/>
                  </a:moveTo>
                  <a:cubicBezTo>
                    <a:pt x="95" y="1526"/>
                    <a:pt x="106" y="1526"/>
                    <a:pt x="104" y="1522"/>
                  </a:cubicBezTo>
                  <a:cubicBezTo>
                    <a:pt x="103" y="1520"/>
                    <a:pt x="102" y="1522"/>
                    <a:pt x="101" y="1519"/>
                  </a:cubicBezTo>
                  <a:cubicBezTo>
                    <a:pt x="100" y="1519"/>
                    <a:pt x="100" y="1519"/>
                    <a:pt x="100" y="1519"/>
                  </a:cubicBezTo>
                  <a:cubicBezTo>
                    <a:pt x="98" y="1519"/>
                    <a:pt x="92" y="1524"/>
                    <a:pt x="94" y="1525"/>
                  </a:cubicBezTo>
                  <a:close/>
                  <a:moveTo>
                    <a:pt x="86" y="1521"/>
                  </a:moveTo>
                  <a:cubicBezTo>
                    <a:pt x="83" y="1530"/>
                    <a:pt x="87" y="1523"/>
                    <a:pt x="89" y="1520"/>
                  </a:cubicBezTo>
                  <a:cubicBezTo>
                    <a:pt x="90" y="1519"/>
                    <a:pt x="90" y="1519"/>
                    <a:pt x="90" y="1519"/>
                  </a:cubicBezTo>
                  <a:cubicBezTo>
                    <a:pt x="91" y="1517"/>
                    <a:pt x="87" y="1518"/>
                    <a:pt x="86" y="1521"/>
                  </a:cubicBezTo>
                  <a:close/>
                  <a:moveTo>
                    <a:pt x="75" y="1530"/>
                  </a:moveTo>
                  <a:cubicBezTo>
                    <a:pt x="76" y="1531"/>
                    <a:pt x="79" y="1529"/>
                    <a:pt x="80" y="1529"/>
                  </a:cubicBezTo>
                  <a:cubicBezTo>
                    <a:pt x="80" y="1529"/>
                    <a:pt x="84" y="1531"/>
                    <a:pt x="85" y="1530"/>
                  </a:cubicBezTo>
                  <a:cubicBezTo>
                    <a:pt x="85" y="1529"/>
                    <a:pt x="84" y="1528"/>
                    <a:pt x="83" y="1527"/>
                  </a:cubicBezTo>
                  <a:cubicBezTo>
                    <a:pt x="82" y="1527"/>
                    <a:pt x="82" y="1527"/>
                    <a:pt x="82" y="1527"/>
                  </a:cubicBezTo>
                  <a:cubicBezTo>
                    <a:pt x="82" y="1527"/>
                    <a:pt x="80" y="1526"/>
                    <a:pt x="79" y="1526"/>
                  </a:cubicBezTo>
                  <a:cubicBezTo>
                    <a:pt x="79" y="1526"/>
                    <a:pt x="75" y="1530"/>
                    <a:pt x="75" y="15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" name="Denmark"/>
            <p:cNvSpPr>
              <a:spLocks noEditPoints="1"/>
            </p:cNvSpPr>
            <p:nvPr/>
          </p:nvSpPr>
          <p:spPr bwMode="auto">
            <a:xfrm>
              <a:off x="3141" y="1709"/>
              <a:ext cx="337" cy="232"/>
            </a:xfrm>
            <a:custGeom>
              <a:avLst/>
              <a:gdLst>
                <a:gd name="T0" fmla="*/ 138 w 647"/>
                <a:gd name="T1" fmla="*/ 401 h 446"/>
                <a:gd name="T2" fmla="*/ 52 w 647"/>
                <a:gd name="T3" fmla="*/ 371 h 446"/>
                <a:gd name="T4" fmla="*/ 55 w 647"/>
                <a:gd name="T5" fmla="*/ 368 h 446"/>
                <a:gd name="T6" fmla="*/ 14 w 647"/>
                <a:gd name="T7" fmla="*/ 316 h 446"/>
                <a:gd name="T8" fmla="*/ 12 w 647"/>
                <a:gd name="T9" fmla="*/ 275 h 446"/>
                <a:gd name="T10" fmla="*/ 13 w 647"/>
                <a:gd name="T11" fmla="*/ 161 h 446"/>
                <a:gd name="T12" fmla="*/ 55 w 647"/>
                <a:gd name="T13" fmla="*/ 163 h 446"/>
                <a:gd name="T14" fmla="*/ 88 w 647"/>
                <a:gd name="T15" fmla="*/ 166 h 446"/>
                <a:gd name="T16" fmla="*/ 117 w 647"/>
                <a:gd name="T17" fmla="*/ 170 h 446"/>
                <a:gd name="T18" fmla="*/ 138 w 647"/>
                <a:gd name="T19" fmla="*/ 114 h 446"/>
                <a:gd name="T20" fmla="*/ 38 w 647"/>
                <a:gd name="T21" fmla="*/ 140 h 446"/>
                <a:gd name="T22" fmla="*/ 47 w 647"/>
                <a:gd name="T23" fmla="*/ 156 h 446"/>
                <a:gd name="T24" fmla="*/ 48 w 647"/>
                <a:gd name="T25" fmla="*/ 94 h 446"/>
                <a:gd name="T26" fmla="*/ 223 w 647"/>
                <a:gd name="T27" fmla="*/ 11 h 446"/>
                <a:gd name="T28" fmla="*/ 203 w 647"/>
                <a:gd name="T29" fmla="*/ 111 h 446"/>
                <a:gd name="T30" fmla="*/ 200 w 647"/>
                <a:gd name="T31" fmla="*/ 112 h 446"/>
                <a:gd name="T32" fmla="*/ 177 w 647"/>
                <a:gd name="T33" fmla="*/ 154 h 446"/>
                <a:gd name="T34" fmla="*/ 203 w 647"/>
                <a:gd name="T35" fmla="*/ 153 h 446"/>
                <a:gd name="T36" fmla="*/ 259 w 647"/>
                <a:gd name="T37" fmla="*/ 188 h 446"/>
                <a:gd name="T38" fmla="*/ 204 w 647"/>
                <a:gd name="T39" fmla="*/ 222 h 446"/>
                <a:gd name="T40" fmla="*/ 161 w 647"/>
                <a:gd name="T41" fmla="*/ 270 h 446"/>
                <a:gd name="T42" fmla="*/ 133 w 647"/>
                <a:gd name="T43" fmla="*/ 289 h 446"/>
                <a:gd name="T44" fmla="*/ 138 w 647"/>
                <a:gd name="T45" fmla="*/ 319 h 446"/>
                <a:gd name="T46" fmla="*/ 133 w 647"/>
                <a:gd name="T47" fmla="*/ 376 h 446"/>
                <a:gd name="T48" fmla="*/ 366 w 647"/>
                <a:gd name="T49" fmla="*/ 408 h 446"/>
                <a:gd name="T50" fmla="*/ 351 w 647"/>
                <a:gd name="T51" fmla="*/ 390 h 446"/>
                <a:gd name="T52" fmla="*/ 392 w 647"/>
                <a:gd name="T53" fmla="*/ 347 h 446"/>
                <a:gd name="T54" fmla="*/ 378 w 647"/>
                <a:gd name="T55" fmla="*/ 231 h 446"/>
                <a:gd name="T56" fmla="*/ 344 w 647"/>
                <a:gd name="T57" fmla="*/ 297 h 446"/>
                <a:gd name="T58" fmla="*/ 327 w 647"/>
                <a:gd name="T59" fmla="*/ 287 h 446"/>
                <a:gd name="T60" fmla="*/ 326 w 647"/>
                <a:gd name="T61" fmla="*/ 263 h 446"/>
                <a:gd name="T62" fmla="*/ 293 w 647"/>
                <a:gd name="T63" fmla="*/ 255 h 446"/>
                <a:gd name="T64" fmla="*/ 258 w 647"/>
                <a:gd name="T65" fmla="*/ 285 h 446"/>
                <a:gd name="T66" fmla="*/ 275 w 647"/>
                <a:gd name="T67" fmla="*/ 307 h 446"/>
                <a:gd name="T68" fmla="*/ 279 w 647"/>
                <a:gd name="T69" fmla="*/ 341 h 446"/>
                <a:gd name="T70" fmla="*/ 327 w 647"/>
                <a:gd name="T71" fmla="*/ 358 h 446"/>
                <a:gd name="T72" fmla="*/ 333 w 647"/>
                <a:gd name="T73" fmla="*/ 384 h 446"/>
                <a:gd name="T74" fmla="*/ 366 w 647"/>
                <a:gd name="T75" fmla="*/ 408 h 446"/>
                <a:gd name="T76" fmla="*/ 262 w 647"/>
                <a:gd name="T77" fmla="*/ 416 h 446"/>
                <a:gd name="T78" fmla="*/ 396 w 647"/>
                <a:gd name="T79" fmla="*/ 384 h 446"/>
                <a:gd name="T80" fmla="*/ 200 w 647"/>
                <a:gd name="T81" fmla="*/ 112 h 446"/>
                <a:gd name="T82" fmla="*/ 177 w 647"/>
                <a:gd name="T83" fmla="*/ 154 h 446"/>
                <a:gd name="T84" fmla="*/ 245 w 647"/>
                <a:gd name="T85" fmla="*/ 389 h 446"/>
                <a:gd name="T86" fmla="*/ 233 w 647"/>
                <a:gd name="T87" fmla="*/ 418 h 446"/>
                <a:gd name="T88" fmla="*/ 261 w 647"/>
                <a:gd name="T89" fmla="*/ 79 h 446"/>
                <a:gd name="T90" fmla="*/ 179 w 647"/>
                <a:gd name="T91" fmla="*/ 375 h 446"/>
                <a:gd name="T92" fmla="*/ 238 w 647"/>
                <a:gd name="T93" fmla="*/ 321 h 446"/>
                <a:gd name="T94" fmla="*/ 219 w 647"/>
                <a:gd name="T95" fmla="*/ 313 h 446"/>
                <a:gd name="T96" fmla="*/ 147 w 647"/>
                <a:gd name="T97" fmla="*/ 323 h 446"/>
                <a:gd name="T98" fmla="*/ 159 w 647"/>
                <a:gd name="T99" fmla="*/ 332 h 446"/>
                <a:gd name="T100" fmla="*/ 179 w 647"/>
                <a:gd name="T101" fmla="*/ 374 h 446"/>
                <a:gd name="T102" fmla="*/ 77 w 647"/>
                <a:gd name="T103" fmla="*/ 114 h 446"/>
                <a:gd name="T104" fmla="*/ 147 w 647"/>
                <a:gd name="T105" fmla="*/ 323 h 446"/>
                <a:gd name="T106" fmla="*/ 158 w 647"/>
                <a:gd name="T107" fmla="*/ 390 h 446"/>
                <a:gd name="T108" fmla="*/ 164 w 647"/>
                <a:gd name="T109" fmla="*/ 404 h 446"/>
                <a:gd name="T110" fmla="*/ 222 w 647"/>
                <a:gd name="T111" fmla="*/ 390 h 446"/>
                <a:gd name="T112" fmla="*/ 223 w 647"/>
                <a:gd name="T113" fmla="*/ 253 h 446"/>
                <a:gd name="T114" fmla="*/ 210 w 647"/>
                <a:gd name="T115" fmla="*/ 410 h 446"/>
                <a:gd name="T116" fmla="*/ 232 w 647"/>
                <a:gd name="T117" fmla="*/ 265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47" h="446">
                  <a:moveTo>
                    <a:pt x="152" y="397"/>
                  </a:moveTo>
                  <a:cubicBezTo>
                    <a:pt x="153" y="399"/>
                    <a:pt x="153" y="400"/>
                    <a:pt x="152" y="401"/>
                  </a:cubicBezTo>
                  <a:cubicBezTo>
                    <a:pt x="151" y="403"/>
                    <a:pt x="148" y="400"/>
                    <a:pt x="146" y="401"/>
                  </a:cubicBezTo>
                  <a:cubicBezTo>
                    <a:pt x="144" y="404"/>
                    <a:pt x="156" y="411"/>
                    <a:pt x="140" y="406"/>
                  </a:cubicBezTo>
                  <a:cubicBezTo>
                    <a:pt x="138" y="406"/>
                    <a:pt x="139" y="402"/>
                    <a:pt x="138" y="401"/>
                  </a:cubicBezTo>
                  <a:cubicBezTo>
                    <a:pt x="137" y="400"/>
                    <a:pt x="145" y="399"/>
                    <a:pt x="140" y="396"/>
                  </a:cubicBezTo>
                  <a:cubicBezTo>
                    <a:pt x="139" y="396"/>
                    <a:pt x="126" y="406"/>
                    <a:pt x="123" y="411"/>
                  </a:cubicBezTo>
                  <a:cubicBezTo>
                    <a:pt x="106" y="412"/>
                    <a:pt x="85" y="399"/>
                    <a:pt x="67" y="401"/>
                  </a:cubicBezTo>
                  <a:cubicBezTo>
                    <a:pt x="65" y="401"/>
                    <a:pt x="58" y="401"/>
                    <a:pt x="52" y="400"/>
                  </a:cubicBezTo>
                  <a:cubicBezTo>
                    <a:pt x="53" y="387"/>
                    <a:pt x="56" y="371"/>
                    <a:pt x="52" y="371"/>
                  </a:cubicBezTo>
                  <a:cubicBezTo>
                    <a:pt x="48" y="370"/>
                    <a:pt x="46" y="367"/>
                    <a:pt x="44" y="368"/>
                  </a:cubicBezTo>
                  <a:cubicBezTo>
                    <a:pt x="43" y="370"/>
                    <a:pt x="46" y="373"/>
                    <a:pt x="44" y="375"/>
                  </a:cubicBezTo>
                  <a:cubicBezTo>
                    <a:pt x="41" y="377"/>
                    <a:pt x="37" y="380"/>
                    <a:pt x="36" y="374"/>
                  </a:cubicBezTo>
                  <a:cubicBezTo>
                    <a:pt x="36" y="371"/>
                    <a:pt x="35" y="370"/>
                    <a:pt x="36" y="367"/>
                  </a:cubicBezTo>
                  <a:cubicBezTo>
                    <a:pt x="44" y="345"/>
                    <a:pt x="42" y="372"/>
                    <a:pt x="55" y="368"/>
                  </a:cubicBezTo>
                  <a:cubicBezTo>
                    <a:pt x="57" y="368"/>
                    <a:pt x="52" y="331"/>
                    <a:pt x="50" y="328"/>
                  </a:cubicBezTo>
                  <a:cubicBezTo>
                    <a:pt x="47" y="322"/>
                    <a:pt x="35" y="325"/>
                    <a:pt x="30" y="319"/>
                  </a:cubicBezTo>
                  <a:cubicBezTo>
                    <a:pt x="24" y="313"/>
                    <a:pt x="23" y="303"/>
                    <a:pt x="16" y="309"/>
                  </a:cubicBezTo>
                  <a:cubicBezTo>
                    <a:pt x="11" y="313"/>
                    <a:pt x="25" y="318"/>
                    <a:pt x="24" y="322"/>
                  </a:cubicBezTo>
                  <a:cubicBezTo>
                    <a:pt x="23" y="325"/>
                    <a:pt x="15" y="317"/>
                    <a:pt x="14" y="316"/>
                  </a:cubicBezTo>
                  <a:cubicBezTo>
                    <a:pt x="12" y="314"/>
                    <a:pt x="3" y="314"/>
                    <a:pt x="2" y="311"/>
                  </a:cubicBezTo>
                  <a:cubicBezTo>
                    <a:pt x="0" y="304"/>
                    <a:pt x="12" y="290"/>
                    <a:pt x="11" y="281"/>
                  </a:cubicBezTo>
                  <a:cubicBezTo>
                    <a:pt x="10" y="274"/>
                    <a:pt x="8" y="267"/>
                    <a:pt x="8" y="260"/>
                  </a:cubicBezTo>
                  <a:cubicBezTo>
                    <a:pt x="8" y="259"/>
                    <a:pt x="5" y="251"/>
                    <a:pt x="6" y="251"/>
                  </a:cubicBezTo>
                  <a:cubicBezTo>
                    <a:pt x="10" y="250"/>
                    <a:pt x="11" y="275"/>
                    <a:pt x="12" y="275"/>
                  </a:cubicBezTo>
                  <a:cubicBezTo>
                    <a:pt x="38" y="275"/>
                    <a:pt x="27" y="232"/>
                    <a:pt x="7" y="233"/>
                  </a:cubicBezTo>
                  <a:cubicBezTo>
                    <a:pt x="7" y="233"/>
                    <a:pt x="9" y="251"/>
                    <a:pt x="5" y="249"/>
                  </a:cubicBezTo>
                  <a:cubicBezTo>
                    <a:pt x="4" y="249"/>
                    <a:pt x="4" y="246"/>
                    <a:pt x="4" y="245"/>
                  </a:cubicBezTo>
                  <a:cubicBezTo>
                    <a:pt x="2" y="227"/>
                    <a:pt x="2" y="166"/>
                    <a:pt x="13" y="151"/>
                  </a:cubicBezTo>
                  <a:cubicBezTo>
                    <a:pt x="15" y="148"/>
                    <a:pt x="10" y="160"/>
                    <a:pt x="13" y="161"/>
                  </a:cubicBezTo>
                  <a:cubicBezTo>
                    <a:pt x="22" y="164"/>
                    <a:pt x="18" y="169"/>
                    <a:pt x="21" y="172"/>
                  </a:cubicBezTo>
                  <a:cubicBezTo>
                    <a:pt x="22" y="174"/>
                    <a:pt x="25" y="169"/>
                    <a:pt x="27" y="169"/>
                  </a:cubicBezTo>
                  <a:cubicBezTo>
                    <a:pt x="32" y="167"/>
                    <a:pt x="42" y="170"/>
                    <a:pt x="45" y="169"/>
                  </a:cubicBezTo>
                  <a:cubicBezTo>
                    <a:pt x="49" y="169"/>
                    <a:pt x="46" y="184"/>
                    <a:pt x="53" y="183"/>
                  </a:cubicBezTo>
                  <a:cubicBezTo>
                    <a:pt x="73" y="182"/>
                    <a:pt x="54" y="167"/>
                    <a:pt x="55" y="163"/>
                  </a:cubicBezTo>
                  <a:cubicBezTo>
                    <a:pt x="58" y="157"/>
                    <a:pt x="72" y="155"/>
                    <a:pt x="76" y="152"/>
                  </a:cubicBezTo>
                  <a:cubicBezTo>
                    <a:pt x="79" y="151"/>
                    <a:pt x="69" y="150"/>
                    <a:pt x="69" y="150"/>
                  </a:cubicBezTo>
                  <a:cubicBezTo>
                    <a:pt x="70" y="145"/>
                    <a:pt x="76" y="139"/>
                    <a:pt x="79" y="137"/>
                  </a:cubicBezTo>
                  <a:cubicBezTo>
                    <a:pt x="82" y="136"/>
                    <a:pt x="85" y="136"/>
                    <a:pt x="88" y="137"/>
                  </a:cubicBezTo>
                  <a:cubicBezTo>
                    <a:pt x="110" y="147"/>
                    <a:pt x="85" y="154"/>
                    <a:pt x="88" y="166"/>
                  </a:cubicBezTo>
                  <a:cubicBezTo>
                    <a:pt x="88" y="167"/>
                    <a:pt x="88" y="170"/>
                    <a:pt x="89" y="171"/>
                  </a:cubicBezTo>
                  <a:cubicBezTo>
                    <a:pt x="94" y="174"/>
                    <a:pt x="92" y="159"/>
                    <a:pt x="97" y="158"/>
                  </a:cubicBezTo>
                  <a:cubicBezTo>
                    <a:pt x="110" y="156"/>
                    <a:pt x="105" y="176"/>
                    <a:pt x="112" y="176"/>
                  </a:cubicBezTo>
                  <a:cubicBezTo>
                    <a:pt x="113" y="176"/>
                    <a:pt x="113" y="174"/>
                    <a:pt x="114" y="173"/>
                  </a:cubicBezTo>
                  <a:cubicBezTo>
                    <a:pt x="115" y="173"/>
                    <a:pt x="120" y="172"/>
                    <a:pt x="117" y="170"/>
                  </a:cubicBezTo>
                  <a:cubicBezTo>
                    <a:pt x="99" y="160"/>
                    <a:pt x="122" y="163"/>
                    <a:pt x="111" y="152"/>
                  </a:cubicBezTo>
                  <a:cubicBezTo>
                    <a:pt x="108" y="149"/>
                    <a:pt x="100" y="158"/>
                    <a:pt x="99" y="155"/>
                  </a:cubicBezTo>
                  <a:cubicBezTo>
                    <a:pt x="97" y="153"/>
                    <a:pt x="106" y="149"/>
                    <a:pt x="105" y="146"/>
                  </a:cubicBezTo>
                  <a:cubicBezTo>
                    <a:pt x="105" y="142"/>
                    <a:pt x="98" y="130"/>
                    <a:pt x="98" y="125"/>
                  </a:cubicBezTo>
                  <a:cubicBezTo>
                    <a:pt x="103" y="98"/>
                    <a:pt x="132" y="115"/>
                    <a:pt x="138" y="114"/>
                  </a:cubicBezTo>
                  <a:cubicBezTo>
                    <a:pt x="142" y="114"/>
                    <a:pt x="143" y="106"/>
                    <a:pt x="145" y="105"/>
                  </a:cubicBezTo>
                  <a:cubicBezTo>
                    <a:pt x="151" y="101"/>
                    <a:pt x="170" y="107"/>
                    <a:pt x="165" y="102"/>
                  </a:cubicBezTo>
                  <a:cubicBezTo>
                    <a:pt x="154" y="90"/>
                    <a:pt x="123" y="107"/>
                    <a:pt x="107" y="111"/>
                  </a:cubicBezTo>
                  <a:cubicBezTo>
                    <a:pt x="103" y="112"/>
                    <a:pt x="98" y="105"/>
                    <a:pt x="94" y="103"/>
                  </a:cubicBezTo>
                  <a:cubicBezTo>
                    <a:pt x="90" y="101"/>
                    <a:pt x="45" y="125"/>
                    <a:pt x="38" y="140"/>
                  </a:cubicBezTo>
                  <a:cubicBezTo>
                    <a:pt x="35" y="145"/>
                    <a:pt x="42" y="152"/>
                    <a:pt x="41" y="153"/>
                  </a:cubicBezTo>
                  <a:cubicBezTo>
                    <a:pt x="41" y="153"/>
                    <a:pt x="30" y="154"/>
                    <a:pt x="31" y="154"/>
                  </a:cubicBezTo>
                  <a:cubicBezTo>
                    <a:pt x="33" y="158"/>
                    <a:pt x="36" y="152"/>
                    <a:pt x="38" y="156"/>
                  </a:cubicBezTo>
                  <a:cubicBezTo>
                    <a:pt x="39" y="157"/>
                    <a:pt x="42" y="156"/>
                    <a:pt x="43" y="155"/>
                  </a:cubicBezTo>
                  <a:cubicBezTo>
                    <a:pt x="45" y="153"/>
                    <a:pt x="49" y="152"/>
                    <a:pt x="47" y="156"/>
                  </a:cubicBezTo>
                  <a:cubicBezTo>
                    <a:pt x="46" y="159"/>
                    <a:pt x="49" y="159"/>
                    <a:pt x="49" y="162"/>
                  </a:cubicBezTo>
                  <a:cubicBezTo>
                    <a:pt x="49" y="164"/>
                    <a:pt x="46" y="168"/>
                    <a:pt x="43" y="168"/>
                  </a:cubicBezTo>
                  <a:cubicBezTo>
                    <a:pt x="36" y="168"/>
                    <a:pt x="22" y="140"/>
                    <a:pt x="17" y="141"/>
                  </a:cubicBezTo>
                  <a:cubicBezTo>
                    <a:pt x="15" y="142"/>
                    <a:pt x="20" y="153"/>
                    <a:pt x="17" y="152"/>
                  </a:cubicBezTo>
                  <a:cubicBezTo>
                    <a:pt x="4" y="148"/>
                    <a:pt x="39" y="101"/>
                    <a:pt x="48" y="94"/>
                  </a:cubicBezTo>
                  <a:cubicBezTo>
                    <a:pt x="56" y="88"/>
                    <a:pt x="105" y="95"/>
                    <a:pt x="118" y="89"/>
                  </a:cubicBezTo>
                  <a:cubicBezTo>
                    <a:pt x="143" y="78"/>
                    <a:pt x="151" y="47"/>
                    <a:pt x="168" y="29"/>
                  </a:cubicBezTo>
                  <a:cubicBezTo>
                    <a:pt x="173" y="24"/>
                    <a:pt x="191" y="28"/>
                    <a:pt x="199" y="23"/>
                  </a:cubicBezTo>
                  <a:cubicBezTo>
                    <a:pt x="205" y="19"/>
                    <a:pt x="222" y="0"/>
                    <a:pt x="230" y="7"/>
                  </a:cubicBezTo>
                  <a:cubicBezTo>
                    <a:pt x="230" y="7"/>
                    <a:pt x="224" y="11"/>
                    <a:pt x="223" y="11"/>
                  </a:cubicBezTo>
                  <a:cubicBezTo>
                    <a:pt x="218" y="15"/>
                    <a:pt x="210" y="24"/>
                    <a:pt x="211" y="31"/>
                  </a:cubicBezTo>
                  <a:cubicBezTo>
                    <a:pt x="212" y="38"/>
                    <a:pt x="222" y="43"/>
                    <a:pt x="221" y="50"/>
                  </a:cubicBezTo>
                  <a:cubicBezTo>
                    <a:pt x="221" y="56"/>
                    <a:pt x="223" y="72"/>
                    <a:pt x="221" y="78"/>
                  </a:cubicBezTo>
                  <a:cubicBezTo>
                    <a:pt x="220" y="82"/>
                    <a:pt x="212" y="85"/>
                    <a:pt x="210" y="90"/>
                  </a:cubicBezTo>
                  <a:cubicBezTo>
                    <a:pt x="209" y="94"/>
                    <a:pt x="206" y="110"/>
                    <a:pt x="203" y="111"/>
                  </a:cubicBezTo>
                  <a:cubicBezTo>
                    <a:pt x="202" y="112"/>
                    <a:pt x="201" y="112"/>
                    <a:pt x="200" y="112"/>
                  </a:cubicBezTo>
                  <a:cubicBezTo>
                    <a:pt x="198" y="111"/>
                    <a:pt x="193" y="109"/>
                    <a:pt x="186" y="106"/>
                  </a:cubicBezTo>
                  <a:cubicBezTo>
                    <a:pt x="182" y="102"/>
                    <a:pt x="178" y="98"/>
                    <a:pt x="173" y="98"/>
                  </a:cubicBezTo>
                  <a:cubicBezTo>
                    <a:pt x="160" y="97"/>
                    <a:pt x="174" y="102"/>
                    <a:pt x="186" y="106"/>
                  </a:cubicBezTo>
                  <a:cubicBezTo>
                    <a:pt x="190" y="110"/>
                    <a:pt x="194" y="113"/>
                    <a:pt x="200" y="112"/>
                  </a:cubicBezTo>
                  <a:cubicBezTo>
                    <a:pt x="200" y="112"/>
                    <a:pt x="200" y="112"/>
                    <a:pt x="200" y="112"/>
                  </a:cubicBezTo>
                  <a:cubicBezTo>
                    <a:pt x="204" y="116"/>
                    <a:pt x="197" y="124"/>
                    <a:pt x="197" y="129"/>
                  </a:cubicBezTo>
                  <a:cubicBezTo>
                    <a:pt x="198" y="136"/>
                    <a:pt x="207" y="144"/>
                    <a:pt x="203" y="150"/>
                  </a:cubicBezTo>
                  <a:cubicBezTo>
                    <a:pt x="203" y="150"/>
                    <a:pt x="201" y="151"/>
                    <a:pt x="198" y="151"/>
                  </a:cubicBezTo>
                  <a:cubicBezTo>
                    <a:pt x="191" y="151"/>
                    <a:pt x="183" y="152"/>
                    <a:pt x="177" y="154"/>
                  </a:cubicBezTo>
                  <a:cubicBezTo>
                    <a:pt x="167" y="156"/>
                    <a:pt x="156" y="158"/>
                    <a:pt x="156" y="160"/>
                  </a:cubicBezTo>
                  <a:cubicBezTo>
                    <a:pt x="155" y="160"/>
                    <a:pt x="171" y="160"/>
                    <a:pt x="174" y="157"/>
                  </a:cubicBezTo>
                  <a:cubicBezTo>
                    <a:pt x="174" y="156"/>
                    <a:pt x="176" y="155"/>
                    <a:pt x="177" y="154"/>
                  </a:cubicBezTo>
                  <a:cubicBezTo>
                    <a:pt x="185" y="153"/>
                    <a:pt x="193" y="152"/>
                    <a:pt x="198" y="151"/>
                  </a:cubicBezTo>
                  <a:cubicBezTo>
                    <a:pt x="200" y="152"/>
                    <a:pt x="202" y="152"/>
                    <a:pt x="203" y="153"/>
                  </a:cubicBezTo>
                  <a:cubicBezTo>
                    <a:pt x="215" y="158"/>
                    <a:pt x="181" y="178"/>
                    <a:pt x="189" y="185"/>
                  </a:cubicBezTo>
                  <a:cubicBezTo>
                    <a:pt x="192" y="187"/>
                    <a:pt x="194" y="166"/>
                    <a:pt x="202" y="166"/>
                  </a:cubicBezTo>
                  <a:cubicBezTo>
                    <a:pt x="202" y="166"/>
                    <a:pt x="204" y="166"/>
                    <a:pt x="204" y="167"/>
                  </a:cubicBezTo>
                  <a:cubicBezTo>
                    <a:pt x="217" y="187"/>
                    <a:pt x="239" y="169"/>
                    <a:pt x="256" y="185"/>
                  </a:cubicBezTo>
                  <a:cubicBezTo>
                    <a:pt x="257" y="186"/>
                    <a:pt x="259" y="187"/>
                    <a:pt x="259" y="188"/>
                  </a:cubicBezTo>
                  <a:cubicBezTo>
                    <a:pt x="257" y="201"/>
                    <a:pt x="232" y="240"/>
                    <a:pt x="235" y="220"/>
                  </a:cubicBezTo>
                  <a:cubicBezTo>
                    <a:pt x="235" y="218"/>
                    <a:pt x="232" y="217"/>
                    <a:pt x="230" y="217"/>
                  </a:cubicBezTo>
                  <a:cubicBezTo>
                    <a:pt x="218" y="218"/>
                    <a:pt x="227" y="237"/>
                    <a:pt x="220" y="235"/>
                  </a:cubicBezTo>
                  <a:cubicBezTo>
                    <a:pt x="217" y="235"/>
                    <a:pt x="217" y="230"/>
                    <a:pt x="219" y="229"/>
                  </a:cubicBezTo>
                  <a:cubicBezTo>
                    <a:pt x="222" y="227"/>
                    <a:pt x="204" y="226"/>
                    <a:pt x="204" y="222"/>
                  </a:cubicBezTo>
                  <a:cubicBezTo>
                    <a:pt x="204" y="218"/>
                    <a:pt x="215" y="224"/>
                    <a:pt x="216" y="220"/>
                  </a:cubicBezTo>
                  <a:cubicBezTo>
                    <a:pt x="217" y="218"/>
                    <a:pt x="218" y="205"/>
                    <a:pt x="209" y="209"/>
                  </a:cubicBezTo>
                  <a:cubicBezTo>
                    <a:pt x="182" y="217"/>
                    <a:pt x="202" y="257"/>
                    <a:pt x="190" y="273"/>
                  </a:cubicBezTo>
                  <a:cubicBezTo>
                    <a:pt x="189" y="273"/>
                    <a:pt x="189" y="273"/>
                    <a:pt x="188" y="273"/>
                  </a:cubicBezTo>
                  <a:cubicBezTo>
                    <a:pt x="185" y="271"/>
                    <a:pt x="164" y="259"/>
                    <a:pt x="161" y="270"/>
                  </a:cubicBezTo>
                  <a:cubicBezTo>
                    <a:pt x="160" y="272"/>
                    <a:pt x="167" y="273"/>
                    <a:pt x="168" y="273"/>
                  </a:cubicBezTo>
                  <a:cubicBezTo>
                    <a:pt x="181" y="275"/>
                    <a:pt x="175" y="282"/>
                    <a:pt x="173" y="287"/>
                  </a:cubicBezTo>
                  <a:cubicBezTo>
                    <a:pt x="172" y="288"/>
                    <a:pt x="175" y="289"/>
                    <a:pt x="174" y="290"/>
                  </a:cubicBezTo>
                  <a:cubicBezTo>
                    <a:pt x="164" y="299"/>
                    <a:pt x="148" y="287"/>
                    <a:pt x="139" y="289"/>
                  </a:cubicBezTo>
                  <a:cubicBezTo>
                    <a:pt x="138" y="289"/>
                    <a:pt x="133" y="289"/>
                    <a:pt x="133" y="289"/>
                  </a:cubicBezTo>
                  <a:cubicBezTo>
                    <a:pt x="132" y="292"/>
                    <a:pt x="140" y="291"/>
                    <a:pt x="141" y="291"/>
                  </a:cubicBezTo>
                  <a:cubicBezTo>
                    <a:pt x="145" y="293"/>
                    <a:pt x="147" y="300"/>
                    <a:pt x="150" y="301"/>
                  </a:cubicBezTo>
                  <a:cubicBezTo>
                    <a:pt x="152" y="302"/>
                    <a:pt x="159" y="299"/>
                    <a:pt x="160" y="301"/>
                  </a:cubicBezTo>
                  <a:cubicBezTo>
                    <a:pt x="162" y="309"/>
                    <a:pt x="128" y="317"/>
                    <a:pt x="128" y="320"/>
                  </a:cubicBezTo>
                  <a:cubicBezTo>
                    <a:pt x="128" y="321"/>
                    <a:pt x="137" y="319"/>
                    <a:pt x="138" y="319"/>
                  </a:cubicBezTo>
                  <a:cubicBezTo>
                    <a:pt x="147" y="320"/>
                    <a:pt x="135" y="331"/>
                    <a:pt x="137" y="336"/>
                  </a:cubicBezTo>
                  <a:cubicBezTo>
                    <a:pt x="138" y="340"/>
                    <a:pt x="148" y="349"/>
                    <a:pt x="147" y="353"/>
                  </a:cubicBezTo>
                  <a:cubicBezTo>
                    <a:pt x="147" y="354"/>
                    <a:pt x="146" y="354"/>
                    <a:pt x="145" y="355"/>
                  </a:cubicBezTo>
                  <a:cubicBezTo>
                    <a:pt x="143" y="359"/>
                    <a:pt x="121" y="370"/>
                    <a:pt x="126" y="370"/>
                  </a:cubicBezTo>
                  <a:cubicBezTo>
                    <a:pt x="127" y="371"/>
                    <a:pt x="135" y="373"/>
                    <a:pt x="133" y="376"/>
                  </a:cubicBezTo>
                  <a:cubicBezTo>
                    <a:pt x="131" y="378"/>
                    <a:pt x="122" y="380"/>
                    <a:pt x="122" y="382"/>
                  </a:cubicBezTo>
                  <a:cubicBezTo>
                    <a:pt x="123" y="385"/>
                    <a:pt x="135" y="380"/>
                    <a:pt x="136" y="380"/>
                  </a:cubicBezTo>
                  <a:cubicBezTo>
                    <a:pt x="141" y="380"/>
                    <a:pt x="147" y="387"/>
                    <a:pt x="151" y="393"/>
                  </a:cubicBezTo>
                  <a:cubicBezTo>
                    <a:pt x="150" y="393"/>
                    <a:pt x="150" y="395"/>
                    <a:pt x="152" y="397"/>
                  </a:cubicBezTo>
                  <a:close/>
                  <a:moveTo>
                    <a:pt x="366" y="408"/>
                  </a:moveTo>
                  <a:cubicBezTo>
                    <a:pt x="366" y="407"/>
                    <a:pt x="364" y="406"/>
                    <a:pt x="364" y="405"/>
                  </a:cubicBezTo>
                  <a:cubicBezTo>
                    <a:pt x="358" y="398"/>
                    <a:pt x="338" y="396"/>
                    <a:pt x="341" y="392"/>
                  </a:cubicBezTo>
                  <a:cubicBezTo>
                    <a:pt x="343" y="390"/>
                    <a:pt x="341" y="389"/>
                    <a:pt x="342" y="387"/>
                  </a:cubicBezTo>
                  <a:cubicBezTo>
                    <a:pt x="345" y="383"/>
                    <a:pt x="347" y="389"/>
                    <a:pt x="351" y="390"/>
                  </a:cubicBezTo>
                  <a:cubicBezTo>
                    <a:pt x="351" y="390"/>
                    <a:pt x="351" y="390"/>
                    <a:pt x="351" y="390"/>
                  </a:cubicBezTo>
                  <a:cubicBezTo>
                    <a:pt x="364" y="393"/>
                    <a:pt x="368" y="374"/>
                    <a:pt x="367" y="370"/>
                  </a:cubicBezTo>
                  <a:cubicBezTo>
                    <a:pt x="367" y="368"/>
                    <a:pt x="350" y="368"/>
                    <a:pt x="352" y="364"/>
                  </a:cubicBezTo>
                  <a:cubicBezTo>
                    <a:pt x="357" y="357"/>
                    <a:pt x="361" y="365"/>
                    <a:pt x="361" y="365"/>
                  </a:cubicBezTo>
                  <a:cubicBezTo>
                    <a:pt x="364" y="364"/>
                    <a:pt x="363" y="357"/>
                    <a:pt x="369" y="355"/>
                  </a:cubicBezTo>
                  <a:cubicBezTo>
                    <a:pt x="374" y="353"/>
                    <a:pt x="391" y="355"/>
                    <a:pt x="392" y="347"/>
                  </a:cubicBezTo>
                  <a:cubicBezTo>
                    <a:pt x="394" y="329"/>
                    <a:pt x="367" y="335"/>
                    <a:pt x="368" y="321"/>
                  </a:cubicBezTo>
                  <a:cubicBezTo>
                    <a:pt x="369" y="304"/>
                    <a:pt x="392" y="308"/>
                    <a:pt x="395" y="303"/>
                  </a:cubicBezTo>
                  <a:cubicBezTo>
                    <a:pt x="410" y="282"/>
                    <a:pt x="393" y="266"/>
                    <a:pt x="405" y="246"/>
                  </a:cubicBezTo>
                  <a:cubicBezTo>
                    <a:pt x="405" y="245"/>
                    <a:pt x="407" y="244"/>
                    <a:pt x="406" y="243"/>
                  </a:cubicBezTo>
                  <a:cubicBezTo>
                    <a:pt x="403" y="237"/>
                    <a:pt x="384" y="232"/>
                    <a:pt x="378" y="231"/>
                  </a:cubicBezTo>
                  <a:cubicBezTo>
                    <a:pt x="370" y="230"/>
                    <a:pt x="337" y="250"/>
                    <a:pt x="337" y="255"/>
                  </a:cubicBezTo>
                  <a:cubicBezTo>
                    <a:pt x="337" y="262"/>
                    <a:pt x="351" y="252"/>
                    <a:pt x="352" y="255"/>
                  </a:cubicBezTo>
                  <a:cubicBezTo>
                    <a:pt x="355" y="260"/>
                    <a:pt x="364" y="293"/>
                    <a:pt x="356" y="297"/>
                  </a:cubicBezTo>
                  <a:cubicBezTo>
                    <a:pt x="351" y="299"/>
                    <a:pt x="355" y="293"/>
                    <a:pt x="352" y="292"/>
                  </a:cubicBezTo>
                  <a:cubicBezTo>
                    <a:pt x="352" y="292"/>
                    <a:pt x="345" y="298"/>
                    <a:pt x="344" y="297"/>
                  </a:cubicBezTo>
                  <a:cubicBezTo>
                    <a:pt x="343" y="295"/>
                    <a:pt x="345" y="293"/>
                    <a:pt x="346" y="292"/>
                  </a:cubicBezTo>
                  <a:cubicBezTo>
                    <a:pt x="354" y="285"/>
                    <a:pt x="358" y="262"/>
                    <a:pt x="343" y="260"/>
                  </a:cubicBezTo>
                  <a:cubicBezTo>
                    <a:pt x="341" y="260"/>
                    <a:pt x="344" y="264"/>
                    <a:pt x="345" y="266"/>
                  </a:cubicBezTo>
                  <a:cubicBezTo>
                    <a:pt x="345" y="267"/>
                    <a:pt x="336" y="296"/>
                    <a:pt x="332" y="296"/>
                  </a:cubicBezTo>
                  <a:cubicBezTo>
                    <a:pt x="329" y="296"/>
                    <a:pt x="330" y="286"/>
                    <a:pt x="327" y="287"/>
                  </a:cubicBezTo>
                  <a:cubicBezTo>
                    <a:pt x="310" y="295"/>
                    <a:pt x="338" y="275"/>
                    <a:pt x="326" y="277"/>
                  </a:cubicBezTo>
                  <a:cubicBezTo>
                    <a:pt x="320" y="279"/>
                    <a:pt x="312" y="279"/>
                    <a:pt x="322" y="274"/>
                  </a:cubicBezTo>
                  <a:cubicBezTo>
                    <a:pt x="323" y="273"/>
                    <a:pt x="325" y="275"/>
                    <a:pt x="327" y="273"/>
                  </a:cubicBezTo>
                  <a:cubicBezTo>
                    <a:pt x="330" y="269"/>
                    <a:pt x="319" y="266"/>
                    <a:pt x="322" y="262"/>
                  </a:cubicBezTo>
                  <a:cubicBezTo>
                    <a:pt x="324" y="259"/>
                    <a:pt x="326" y="262"/>
                    <a:pt x="326" y="263"/>
                  </a:cubicBezTo>
                  <a:cubicBezTo>
                    <a:pt x="329" y="265"/>
                    <a:pt x="328" y="261"/>
                    <a:pt x="328" y="260"/>
                  </a:cubicBezTo>
                  <a:cubicBezTo>
                    <a:pt x="328" y="257"/>
                    <a:pt x="332" y="257"/>
                    <a:pt x="332" y="255"/>
                  </a:cubicBezTo>
                  <a:cubicBezTo>
                    <a:pt x="332" y="253"/>
                    <a:pt x="317" y="258"/>
                    <a:pt x="315" y="257"/>
                  </a:cubicBezTo>
                  <a:cubicBezTo>
                    <a:pt x="310" y="256"/>
                    <a:pt x="292" y="249"/>
                    <a:pt x="286" y="250"/>
                  </a:cubicBezTo>
                  <a:cubicBezTo>
                    <a:pt x="284" y="250"/>
                    <a:pt x="293" y="255"/>
                    <a:pt x="293" y="255"/>
                  </a:cubicBezTo>
                  <a:cubicBezTo>
                    <a:pt x="299" y="259"/>
                    <a:pt x="315" y="258"/>
                    <a:pt x="305" y="271"/>
                  </a:cubicBezTo>
                  <a:cubicBezTo>
                    <a:pt x="295" y="283"/>
                    <a:pt x="302" y="261"/>
                    <a:pt x="295" y="281"/>
                  </a:cubicBezTo>
                  <a:cubicBezTo>
                    <a:pt x="292" y="288"/>
                    <a:pt x="269" y="294"/>
                    <a:pt x="277" y="285"/>
                  </a:cubicBezTo>
                  <a:cubicBezTo>
                    <a:pt x="277" y="284"/>
                    <a:pt x="272" y="284"/>
                    <a:pt x="271" y="284"/>
                  </a:cubicBezTo>
                  <a:cubicBezTo>
                    <a:pt x="266" y="287"/>
                    <a:pt x="263" y="286"/>
                    <a:pt x="258" y="285"/>
                  </a:cubicBezTo>
                  <a:cubicBezTo>
                    <a:pt x="257" y="285"/>
                    <a:pt x="250" y="284"/>
                    <a:pt x="251" y="286"/>
                  </a:cubicBezTo>
                  <a:cubicBezTo>
                    <a:pt x="252" y="292"/>
                    <a:pt x="262" y="292"/>
                    <a:pt x="268" y="294"/>
                  </a:cubicBezTo>
                  <a:cubicBezTo>
                    <a:pt x="272" y="295"/>
                    <a:pt x="259" y="293"/>
                    <a:pt x="255" y="295"/>
                  </a:cubicBezTo>
                  <a:cubicBezTo>
                    <a:pt x="254" y="296"/>
                    <a:pt x="261" y="297"/>
                    <a:pt x="262" y="297"/>
                  </a:cubicBezTo>
                  <a:cubicBezTo>
                    <a:pt x="268" y="298"/>
                    <a:pt x="272" y="301"/>
                    <a:pt x="275" y="307"/>
                  </a:cubicBezTo>
                  <a:cubicBezTo>
                    <a:pt x="278" y="314"/>
                    <a:pt x="268" y="311"/>
                    <a:pt x="269" y="316"/>
                  </a:cubicBezTo>
                  <a:cubicBezTo>
                    <a:pt x="269" y="318"/>
                    <a:pt x="274" y="316"/>
                    <a:pt x="275" y="317"/>
                  </a:cubicBezTo>
                  <a:cubicBezTo>
                    <a:pt x="278" y="320"/>
                    <a:pt x="283" y="328"/>
                    <a:pt x="281" y="333"/>
                  </a:cubicBezTo>
                  <a:cubicBezTo>
                    <a:pt x="279" y="337"/>
                    <a:pt x="266" y="334"/>
                    <a:pt x="271" y="341"/>
                  </a:cubicBezTo>
                  <a:cubicBezTo>
                    <a:pt x="274" y="344"/>
                    <a:pt x="275" y="337"/>
                    <a:pt x="279" y="341"/>
                  </a:cubicBezTo>
                  <a:cubicBezTo>
                    <a:pt x="282" y="344"/>
                    <a:pt x="284" y="348"/>
                    <a:pt x="287" y="352"/>
                  </a:cubicBezTo>
                  <a:cubicBezTo>
                    <a:pt x="289" y="354"/>
                    <a:pt x="280" y="354"/>
                    <a:pt x="284" y="359"/>
                  </a:cubicBezTo>
                  <a:cubicBezTo>
                    <a:pt x="285" y="360"/>
                    <a:pt x="293" y="361"/>
                    <a:pt x="289" y="359"/>
                  </a:cubicBezTo>
                  <a:cubicBezTo>
                    <a:pt x="285" y="357"/>
                    <a:pt x="301" y="355"/>
                    <a:pt x="305" y="358"/>
                  </a:cubicBezTo>
                  <a:cubicBezTo>
                    <a:pt x="313" y="364"/>
                    <a:pt x="323" y="356"/>
                    <a:pt x="327" y="358"/>
                  </a:cubicBezTo>
                  <a:cubicBezTo>
                    <a:pt x="330" y="360"/>
                    <a:pt x="324" y="364"/>
                    <a:pt x="326" y="365"/>
                  </a:cubicBezTo>
                  <a:cubicBezTo>
                    <a:pt x="327" y="366"/>
                    <a:pt x="342" y="370"/>
                    <a:pt x="329" y="370"/>
                  </a:cubicBezTo>
                  <a:cubicBezTo>
                    <a:pt x="320" y="369"/>
                    <a:pt x="337" y="377"/>
                    <a:pt x="336" y="380"/>
                  </a:cubicBezTo>
                  <a:cubicBezTo>
                    <a:pt x="335" y="381"/>
                    <a:pt x="319" y="373"/>
                    <a:pt x="317" y="375"/>
                  </a:cubicBezTo>
                  <a:cubicBezTo>
                    <a:pt x="312" y="380"/>
                    <a:pt x="327" y="380"/>
                    <a:pt x="333" y="384"/>
                  </a:cubicBezTo>
                  <a:cubicBezTo>
                    <a:pt x="348" y="393"/>
                    <a:pt x="327" y="391"/>
                    <a:pt x="327" y="393"/>
                  </a:cubicBezTo>
                  <a:cubicBezTo>
                    <a:pt x="329" y="411"/>
                    <a:pt x="348" y="422"/>
                    <a:pt x="344" y="442"/>
                  </a:cubicBezTo>
                  <a:cubicBezTo>
                    <a:pt x="343" y="444"/>
                    <a:pt x="347" y="446"/>
                    <a:pt x="348" y="446"/>
                  </a:cubicBezTo>
                  <a:cubicBezTo>
                    <a:pt x="349" y="446"/>
                    <a:pt x="347" y="430"/>
                    <a:pt x="348" y="427"/>
                  </a:cubicBezTo>
                  <a:cubicBezTo>
                    <a:pt x="350" y="423"/>
                    <a:pt x="366" y="411"/>
                    <a:pt x="366" y="408"/>
                  </a:cubicBezTo>
                  <a:close/>
                  <a:moveTo>
                    <a:pt x="320" y="399"/>
                  </a:moveTo>
                  <a:cubicBezTo>
                    <a:pt x="315" y="398"/>
                    <a:pt x="319" y="415"/>
                    <a:pt x="314" y="412"/>
                  </a:cubicBezTo>
                  <a:cubicBezTo>
                    <a:pt x="302" y="407"/>
                    <a:pt x="278" y="381"/>
                    <a:pt x="266" y="397"/>
                  </a:cubicBezTo>
                  <a:cubicBezTo>
                    <a:pt x="262" y="402"/>
                    <a:pt x="265" y="403"/>
                    <a:pt x="267" y="407"/>
                  </a:cubicBezTo>
                  <a:cubicBezTo>
                    <a:pt x="272" y="415"/>
                    <a:pt x="260" y="414"/>
                    <a:pt x="262" y="416"/>
                  </a:cubicBezTo>
                  <a:cubicBezTo>
                    <a:pt x="262" y="416"/>
                    <a:pt x="262" y="416"/>
                    <a:pt x="262" y="416"/>
                  </a:cubicBezTo>
                  <a:cubicBezTo>
                    <a:pt x="273" y="430"/>
                    <a:pt x="335" y="445"/>
                    <a:pt x="338" y="429"/>
                  </a:cubicBezTo>
                  <a:cubicBezTo>
                    <a:pt x="339" y="426"/>
                    <a:pt x="327" y="400"/>
                    <a:pt x="320" y="399"/>
                  </a:cubicBezTo>
                  <a:close/>
                  <a:moveTo>
                    <a:pt x="399" y="386"/>
                  </a:moveTo>
                  <a:cubicBezTo>
                    <a:pt x="398" y="385"/>
                    <a:pt x="397" y="385"/>
                    <a:pt x="396" y="384"/>
                  </a:cubicBezTo>
                  <a:cubicBezTo>
                    <a:pt x="362" y="372"/>
                    <a:pt x="384" y="392"/>
                    <a:pt x="368" y="388"/>
                  </a:cubicBezTo>
                  <a:cubicBezTo>
                    <a:pt x="367" y="388"/>
                    <a:pt x="364" y="392"/>
                    <a:pt x="364" y="395"/>
                  </a:cubicBezTo>
                  <a:cubicBezTo>
                    <a:pt x="364" y="395"/>
                    <a:pt x="361" y="398"/>
                    <a:pt x="361" y="399"/>
                  </a:cubicBezTo>
                  <a:cubicBezTo>
                    <a:pt x="363" y="402"/>
                    <a:pt x="400" y="392"/>
                    <a:pt x="399" y="386"/>
                  </a:cubicBezTo>
                  <a:close/>
                  <a:moveTo>
                    <a:pt x="200" y="112"/>
                  </a:moveTo>
                  <a:cubicBezTo>
                    <a:pt x="198" y="111"/>
                    <a:pt x="193" y="109"/>
                    <a:pt x="186" y="106"/>
                  </a:cubicBezTo>
                  <a:cubicBezTo>
                    <a:pt x="190" y="110"/>
                    <a:pt x="194" y="113"/>
                    <a:pt x="200" y="112"/>
                  </a:cubicBezTo>
                  <a:close/>
                  <a:moveTo>
                    <a:pt x="177" y="154"/>
                  </a:moveTo>
                  <a:cubicBezTo>
                    <a:pt x="185" y="153"/>
                    <a:pt x="193" y="152"/>
                    <a:pt x="198" y="151"/>
                  </a:cubicBezTo>
                  <a:cubicBezTo>
                    <a:pt x="191" y="151"/>
                    <a:pt x="183" y="152"/>
                    <a:pt x="177" y="154"/>
                  </a:cubicBezTo>
                  <a:close/>
                  <a:moveTo>
                    <a:pt x="408" y="293"/>
                  </a:moveTo>
                  <a:cubicBezTo>
                    <a:pt x="408" y="290"/>
                    <a:pt x="391" y="308"/>
                    <a:pt x="404" y="311"/>
                  </a:cubicBezTo>
                  <a:cubicBezTo>
                    <a:pt x="415" y="313"/>
                    <a:pt x="413" y="298"/>
                    <a:pt x="408" y="293"/>
                  </a:cubicBezTo>
                  <a:close/>
                  <a:moveTo>
                    <a:pt x="233" y="418"/>
                  </a:moveTo>
                  <a:cubicBezTo>
                    <a:pt x="237" y="408"/>
                    <a:pt x="239" y="398"/>
                    <a:pt x="245" y="389"/>
                  </a:cubicBezTo>
                  <a:cubicBezTo>
                    <a:pt x="245" y="389"/>
                    <a:pt x="245" y="389"/>
                    <a:pt x="245" y="389"/>
                  </a:cubicBezTo>
                  <a:cubicBezTo>
                    <a:pt x="262" y="351"/>
                    <a:pt x="234" y="384"/>
                    <a:pt x="227" y="400"/>
                  </a:cubicBezTo>
                  <a:cubicBezTo>
                    <a:pt x="226" y="402"/>
                    <a:pt x="226" y="405"/>
                    <a:pt x="225" y="407"/>
                  </a:cubicBezTo>
                  <a:cubicBezTo>
                    <a:pt x="225" y="410"/>
                    <a:pt x="218" y="411"/>
                    <a:pt x="220" y="413"/>
                  </a:cubicBezTo>
                  <a:cubicBezTo>
                    <a:pt x="228" y="417"/>
                    <a:pt x="227" y="435"/>
                    <a:pt x="233" y="418"/>
                  </a:cubicBezTo>
                  <a:close/>
                  <a:moveTo>
                    <a:pt x="625" y="386"/>
                  </a:moveTo>
                  <a:cubicBezTo>
                    <a:pt x="625" y="386"/>
                    <a:pt x="625" y="386"/>
                    <a:pt x="625" y="386"/>
                  </a:cubicBezTo>
                  <a:cubicBezTo>
                    <a:pt x="647" y="377"/>
                    <a:pt x="604" y="343"/>
                    <a:pt x="598" y="344"/>
                  </a:cubicBezTo>
                  <a:cubicBezTo>
                    <a:pt x="578" y="348"/>
                    <a:pt x="600" y="397"/>
                    <a:pt x="625" y="386"/>
                  </a:cubicBezTo>
                  <a:close/>
                  <a:moveTo>
                    <a:pt x="261" y="79"/>
                  </a:moveTo>
                  <a:cubicBezTo>
                    <a:pt x="275" y="77"/>
                    <a:pt x="284" y="50"/>
                    <a:pt x="262" y="67"/>
                  </a:cubicBezTo>
                  <a:cubicBezTo>
                    <a:pt x="262" y="67"/>
                    <a:pt x="262" y="67"/>
                    <a:pt x="262" y="67"/>
                  </a:cubicBezTo>
                  <a:cubicBezTo>
                    <a:pt x="246" y="68"/>
                    <a:pt x="250" y="81"/>
                    <a:pt x="261" y="79"/>
                  </a:cubicBezTo>
                  <a:close/>
                  <a:moveTo>
                    <a:pt x="179" y="374"/>
                  </a:moveTo>
                  <a:cubicBezTo>
                    <a:pt x="179" y="374"/>
                    <a:pt x="179" y="374"/>
                    <a:pt x="179" y="375"/>
                  </a:cubicBezTo>
                  <a:cubicBezTo>
                    <a:pt x="180" y="376"/>
                    <a:pt x="183" y="374"/>
                    <a:pt x="185" y="374"/>
                  </a:cubicBezTo>
                  <a:cubicBezTo>
                    <a:pt x="189" y="375"/>
                    <a:pt x="229" y="390"/>
                    <a:pt x="239" y="377"/>
                  </a:cubicBezTo>
                  <a:cubicBezTo>
                    <a:pt x="252" y="360"/>
                    <a:pt x="245" y="340"/>
                    <a:pt x="236" y="328"/>
                  </a:cubicBezTo>
                  <a:cubicBezTo>
                    <a:pt x="231" y="321"/>
                    <a:pt x="225" y="328"/>
                    <a:pt x="224" y="328"/>
                  </a:cubicBezTo>
                  <a:cubicBezTo>
                    <a:pt x="218" y="327"/>
                    <a:pt x="237" y="322"/>
                    <a:pt x="238" y="321"/>
                  </a:cubicBezTo>
                  <a:cubicBezTo>
                    <a:pt x="243" y="319"/>
                    <a:pt x="227" y="301"/>
                    <a:pt x="227" y="302"/>
                  </a:cubicBezTo>
                  <a:cubicBezTo>
                    <a:pt x="227" y="302"/>
                    <a:pt x="227" y="302"/>
                    <a:pt x="227" y="302"/>
                  </a:cubicBezTo>
                  <a:cubicBezTo>
                    <a:pt x="222" y="307"/>
                    <a:pt x="231" y="318"/>
                    <a:pt x="223" y="321"/>
                  </a:cubicBezTo>
                  <a:cubicBezTo>
                    <a:pt x="205" y="326"/>
                    <a:pt x="212" y="318"/>
                    <a:pt x="221" y="315"/>
                  </a:cubicBezTo>
                  <a:cubicBezTo>
                    <a:pt x="222" y="314"/>
                    <a:pt x="220" y="314"/>
                    <a:pt x="219" y="313"/>
                  </a:cubicBezTo>
                  <a:cubicBezTo>
                    <a:pt x="217" y="312"/>
                    <a:pt x="200" y="300"/>
                    <a:pt x="199" y="302"/>
                  </a:cubicBezTo>
                  <a:cubicBezTo>
                    <a:pt x="196" y="306"/>
                    <a:pt x="170" y="317"/>
                    <a:pt x="163" y="317"/>
                  </a:cubicBezTo>
                  <a:cubicBezTo>
                    <a:pt x="161" y="317"/>
                    <a:pt x="154" y="308"/>
                    <a:pt x="150" y="314"/>
                  </a:cubicBezTo>
                  <a:cubicBezTo>
                    <a:pt x="148" y="316"/>
                    <a:pt x="144" y="316"/>
                    <a:pt x="144" y="318"/>
                  </a:cubicBezTo>
                  <a:cubicBezTo>
                    <a:pt x="144" y="320"/>
                    <a:pt x="145" y="321"/>
                    <a:pt x="147" y="323"/>
                  </a:cubicBezTo>
                  <a:cubicBezTo>
                    <a:pt x="148" y="323"/>
                    <a:pt x="149" y="324"/>
                    <a:pt x="150" y="324"/>
                  </a:cubicBezTo>
                  <a:cubicBezTo>
                    <a:pt x="152" y="325"/>
                    <a:pt x="150" y="324"/>
                    <a:pt x="147" y="323"/>
                  </a:cubicBezTo>
                  <a:cubicBezTo>
                    <a:pt x="147" y="322"/>
                    <a:pt x="147" y="322"/>
                    <a:pt x="146" y="323"/>
                  </a:cubicBezTo>
                  <a:cubicBezTo>
                    <a:pt x="144" y="323"/>
                    <a:pt x="153" y="328"/>
                    <a:pt x="154" y="328"/>
                  </a:cubicBezTo>
                  <a:cubicBezTo>
                    <a:pt x="155" y="328"/>
                    <a:pt x="158" y="330"/>
                    <a:pt x="159" y="332"/>
                  </a:cubicBezTo>
                  <a:cubicBezTo>
                    <a:pt x="160" y="335"/>
                    <a:pt x="153" y="333"/>
                    <a:pt x="153" y="335"/>
                  </a:cubicBezTo>
                  <a:cubicBezTo>
                    <a:pt x="154" y="340"/>
                    <a:pt x="162" y="337"/>
                    <a:pt x="163" y="339"/>
                  </a:cubicBezTo>
                  <a:cubicBezTo>
                    <a:pt x="167" y="349"/>
                    <a:pt x="168" y="361"/>
                    <a:pt x="171" y="369"/>
                  </a:cubicBezTo>
                  <a:cubicBezTo>
                    <a:pt x="172" y="370"/>
                    <a:pt x="173" y="355"/>
                    <a:pt x="182" y="361"/>
                  </a:cubicBezTo>
                  <a:cubicBezTo>
                    <a:pt x="193" y="367"/>
                    <a:pt x="179" y="371"/>
                    <a:pt x="179" y="374"/>
                  </a:cubicBezTo>
                  <a:close/>
                  <a:moveTo>
                    <a:pt x="40" y="147"/>
                  </a:moveTo>
                  <a:cubicBezTo>
                    <a:pt x="41" y="148"/>
                    <a:pt x="46" y="146"/>
                    <a:pt x="48" y="148"/>
                  </a:cubicBezTo>
                  <a:cubicBezTo>
                    <a:pt x="73" y="169"/>
                    <a:pt x="66" y="137"/>
                    <a:pt x="69" y="128"/>
                  </a:cubicBezTo>
                  <a:cubicBezTo>
                    <a:pt x="70" y="125"/>
                    <a:pt x="76" y="126"/>
                    <a:pt x="77" y="114"/>
                  </a:cubicBezTo>
                  <a:cubicBezTo>
                    <a:pt x="77" y="114"/>
                    <a:pt x="77" y="114"/>
                    <a:pt x="77" y="114"/>
                  </a:cubicBezTo>
                  <a:cubicBezTo>
                    <a:pt x="77" y="113"/>
                    <a:pt x="66" y="123"/>
                    <a:pt x="65" y="123"/>
                  </a:cubicBezTo>
                  <a:cubicBezTo>
                    <a:pt x="49" y="121"/>
                    <a:pt x="54" y="136"/>
                    <a:pt x="53" y="137"/>
                  </a:cubicBezTo>
                  <a:cubicBezTo>
                    <a:pt x="52" y="138"/>
                    <a:pt x="36" y="142"/>
                    <a:pt x="40" y="147"/>
                  </a:cubicBezTo>
                  <a:close/>
                  <a:moveTo>
                    <a:pt x="150" y="324"/>
                  </a:moveTo>
                  <a:cubicBezTo>
                    <a:pt x="149" y="324"/>
                    <a:pt x="148" y="323"/>
                    <a:pt x="147" y="323"/>
                  </a:cubicBezTo>
                  <a:cubicBezTo>
                    <a:pt x="150" y="324"/>
                    <a:pt x="152" y="325"/>
                    <a:pt x="150" y="324"/>
                  </a:cubicBezTo>
                  <a:close/>
                  <a:moveTo>
                    <a:pt x="171" y="387"/>
                  </a:moveTo>
                  <a:cubicBezTo>
                    <a:pt x="171" y="386"/>
                    <a:pt x="171" y="386"/>
                    <a:pt x="171" y="386"/>
                  </a:cubicBezTo>
                  <a:cubicBezTo>
                    <a:pt x="168" y="382"/>
                    <a:pt x="143" y="368"/>
                    <a:pt x="140" y="379"/>
                  </a:cubicBezTo>
                  <a:cubicBezTo>
                    <a:pt x="139" y="384"/>
                    <a:pt x="158" y="383"/>
                    <a:pt x="158" y="390"/>
                  </a:cubicBezTo>
                  <a:cubicBezTo>
                    <a:pt x="159" y="393"/>
                    <a:pt x="152" y="391"/>
                    <a:pt x="151" y="393"/>
                  </a:cubicBezTo>
                  <a:cubicBezTo>
                    <a:pt x="151" y="394"/>
                    <a:pt x="152" y="396"/>
                    <a:pt x="152" y="397"/>
                  </a:cubicBezTo>
                  <a:cubicBezTo>
                    <a:pt x="153" y="398"/>
                    <a:pt x="153" y="398"/>
                    <a:pt x="154" y="399"/>
                  </a:cubicBezTo>
                  <a:cubicBezTo>
                    <a:pt x="157" y="403"/>
                    <a:pt x="160" y="398"/>
                    <a:pt x="163" y="398"/>
                  </a:cubicBezTo>
                  <a:cubicBezTo>
                    <a:pt x="182" y="401"/>
                    <a:pt x="160" y="403"/>
                    <a:pt x="164" y="404"/>
                  </a:cubicBezTo>
                  <a:cubicBezTo>
                    <a:pt x="180" y="408"/>
                    <a:pt x="182" y="398"/>
                    <a:pt x="171" y="387"/>
                  </a:cubicBezTo>
                  <a:close/>
                  <a:moveTo>
                    <a:pt x="222" y="390"/>
                  </a:moveTo>
                  <a:cubicBezTo>
                    <a:pt x="222" y="389"/>
                    <a:pt x="222" y="389"/>
                    <a:pt x="222" y="389"/>
                  </a:cubicBezTo>
                  <a:cubicBezTo>
                    <a:pt x="225" y="381"/>
                    <a:pt x="218" y="385"/>
                    <a:pt x="214" y="387"/>
                  </a:cubicBezTo>
                  <a:cubicBezTo>
                    <a:pt x="201" y="393"/>
                    <a:pt x="226" y="403"/>
                    <a:pt x="222" y="390"/>
                  </a:cubicBezTo>
                  <a:close/>
                  <a:moveTo>
                    <a:pt x="226" y="282"/>
                  </a:moveTo>
                  <a:cubicBezTo>
                    <a:pt x="229" y="282"/>
                    <a:pt x="229" y="276"/>
                    <a:pt x="228" y="274"/>
                  </a:cubicBezTo>
                  <a:cubicBezTo>
                    <a:pt x="228" y="272"/>
                    <a:pt x="229" y="268"/>
                    <a:pt x="231" y="265"/>
                  </a:cubicBezTo>
                  <a:cubicBezTo>
                    <a:pt x="228" y="263"/>
                    <a:pt x="223" y="257"/>
                    <a:pt x="222" y="253"/>
                  </a:cubicBezTo>
                  <a:cubicBezTo>
                    <a:pt x="223" y="253"/>
                    <a:pt x="223" y="253"/>
                    <a:pt x="223" y="253"/>
                  </a:cubicBezTo>
                  <a:cubicBezTo>
                    <a:pt x="221" y="245"/>
                    <a:pt x="216" y="284"/>
                    <a:pt x="226" y="282"/>
                  </a:cubicBezTo>
                  <a:close/>
                  <a:moveTo>
                    <a:pt x="183" y="394"/>
                  </a:moveTo>
                  <a:cubicBezTo>
                    <a:pt x="183" y="394"/>
                    <a:pt x="183" y="394"/>
                    <a:pt x="183" y="394"/>
                  </a:cubicBezTo>
                  <a:cubicBezTo>
                    <a:pt x="181" y="390"/>
                    <a:pt x="182" y="395"/>
                    <a:pt x="183" y="396"/>
                  </a:cubicBezTo>
                  <a:cubicBezTo>
                    <a:pt x="194" y="408"/>
                    <a:pt x="197" y="411"/>
                    <a:pt x="210" y="410"/>
                  </a:cubicBezTo>
                  <a:cubicBezTo>
                    <a:pt x="210" y="410"/>
                    <a:pt x="212" y="410"/>
                    <a:pt x="211" y="410"/>
                  </a:cubicBezTo>
                  <a:cubicBezTo>
                    <a:pt x="202" y="400"/>
                    <a:pt x="199" y="410"/>
                    <a:pt x="183" y="394"/>
                  </a:cubicBezTo>
                  <a:close/>
                  <a:moveTo>
                    <a:pt x="232" y="265"/>
                  </a:moveTo>
                  <a:cubicBezTo>
                    <a:pt x="232" y="264"/>
                    <a:pt x="231" y="264"/>
                    <a:pt x="231" y="265"/>
                  </a:cubicBezTo>
                  <a:cubicBezTo>
                    <a:pt x="232" y="266"/>
                    <a:pt x="232" y="266"/>
                    <a:pt x="232" y="265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4" name="Iceland"/>
          <p:cNvSpPr>
            <a:spLocks noEditPoints="1"/>
          </p:cNvSpPr>
          <p:nvPr/>
        </p:nvSpPr>
        <p:spPr bwMode="auto">
          <a:xfrm>
            <a:off x="4758621" y="4374019"/>
            <a:ext cx="1322353" cy="747724"/>
          </a:xfrm>
          <a:custGeom>
            <a:avLst/>
            <a:gdLst>
              <a:gd name="T0" fmla="*/ 1639 w 1826"/>
              <a:gd name="T1" fmla="*/ 595 h 882"/>
              <a:gd name="T2" fmla="*/ 1526 w 1826"/>
              <a:gd name="T3" fmla="*/ 630 h 882"/>
              <a:gd name="T4" fmla="*/ 1461 w 1826"/>
              <a:gd name="T5" fmla="*/ 664 h 882"/>
              <a:gd name="T6" fmla="*/ 1268 w 1826"/>
              <a:gd name="T7" fmla="*/ 756 h 882"/>
              <a:gd name="T8" fmla="*/ 1212 w 1826"/>
              <a:gd name="T9" fmla="*/ 767 h 882"/>
              <a:gd name="T10" fmla="*/ 1110 w 1826"/>
              <a:gd name="T11" fmla="*/ 803 h 882"/>
              <a:gd name="T12" fmla="*/ 1031 w 1826"/>
              <a:gd name="T13" fmla="*/ 840 h 882"/>
              <a:gd name="T14" fmla="*/ 704 w 1826"/>
              <a:gd name="T15" fmla="*/ 832 h 882"/>
              <a:gd name="T16" fmla="*/ 682 w 1826"/>
              <a:gd name="T17" fmla="*/ 767 h 882"/>
              <a:gd name="T18" fmla="*/ 589 w 1826"/>
              <a:gd name="T19" fmla="*/ 764 h 882"/>
              <a:gd name="T20" fmla="*/ 343 w 1826"/>
              <a:gd name="T21" fmla="*/ 762 h 882"/>
              <a:gd name="T22" fmla="*/ 360 w 1826"/>
              <a:gd name="T23" fmla="*/ 710 h 882"/>
              <a:gd name="T24" fmla="*/ 471 w 1826"/>
              <a:gd name="T25" fmla="*/ 664 h 882"/>
              <a:gd name="T26" fmla="*/ 462 w 1826"/>
              <a:gd name="T27" fmla="*/ 610 h 882"/>
              <a:gd name="T28" fmla="*/ 504 w 1826"/>
              <a:gd name="T29" fmla="*/ 556 h 882"/>
              <a:gd name="T30" fmla="*/ 415 w 1826"/>
              <a:gd name="T31" fmla="*/ 563 h 882"/>
              <a:gd name="T32" fmla="*/ 358 w 1826"/>
              <a:gd name="T33" fmla="*/ 541 h 882"/>
              <a:gd name="T34" fmla="*/ 332 w 1826"/>
              <a:gd name="T35" fmla="*/ 491 h 882"/>
              <a:gd name="T36" fmla="*/ 82 w 1826"/>
              <a:gd name="T37" fmla="*/ 478 h 882"/>
              <a:gd name="T38" fmla="*/ 230 w 1826"/>
              <a:gd name="T39" fmla="*/ 454 h 882"/>
              <a:gd name="T40" fmla="*/ 328 w 1826"/>
              <a:gd name="T41" fmla="*/ 423 h 882"/>
              <a:gd name="T42" fmla="*/ 386 w 1826"/>
              <a:gd name="T43" fmla="*/ 341 h 882"/>
              <a:gd name="T44" fmla="*/ 382 w 1826"/>
              <a:gd name="T45" fmla="*/ 313 h 882"/>
              <a:gd name="T46" fmla="*/ 339 w 1826"/>
              <a:gd name="T47" fmla="*/ 293 h 882"/>
              <a:gd name="T48" fmla="*/ 276 w 1826"/>
              <a:gd name="T49" fmla="*/ 280 h 882"/>
              <a:gd name="T50" fmla="*/ 108 w 1826"/>
              <a:gd name="T51" fmla="*/ 321 h 882"/>
              <a:gd name="T52" fmla="*/ 119 w 1826"/>
              <a:gd name="T53" fmla="*/ 289 h 882"/>
              <a:gd name="T54" fmla="*/ 152 w 1826"/>
              <a:gd name="T55" fmla="*/ 241 h 882"/>
              <a:gd name="T56" fmla="*/ 213 w 1826"/>
              <a:gd name="T57" fmla="*/ 219 h 882"/>
              <a:gd name="T58" fmla="*/ 128 w 1826"/>
              <a:gd name="T59" fmla="*/ 135 h 882"/>
              <a:gd name="T60" fmla="*/ 165 w 1826"/>
              <a:gd name="T61" fmla="*/ 102 h 882"/>
              <a:gd name="T62" fmla="*/ 293 w 1826"/>
              <a:gd name="T63" fmla="*/ 148 h 882"/>
              <a:gd name="T64" fmla="*/ 363 w 1826"/>
              <a:gd name="T65" fmla="*/ 174 h 882"/>
              <a:gd name="T66" fmla="*/ 339 w 1826"/>
              <a:gd name="T67" fmla="*/ 67 h 882"/>
              <a:gd name="T68" fmla="*/ 241 w 1826"/>
              <a:gd name="T69" fmla="*/ 37 h 882"/>
              <a:gd name="T70" fmla="*/ 348 w 1826"/>
              <a:gd name="T71" fmla="*/ 29 h 882"/>
              <a:gd name="T72" fmla="*/ 443 w 1826"/>
              <a:gd name="T73" fmla="*/ 94 h 882"/>
              <a:gd name="T74" fmla="*/ 532 w 1826"/>
              <a:gd name="T75" fmla="*/ 157 h 882"/>
              <a:gd name="T76" fmla="*/ 506 w 1826"/>
              <a:gd name="T77" fmla="*/ 220 h 882"/>
              <a:gd name="T78" fmla="*/ 506 w 1826"/>
              <a:gd name="T79" fmla="*/ 276 h 882"/>
              <a:gd name="T80" fmla="*/ 571 w 1826"/>
              <a:gd name="T81" fmla="*/ 389 h 882"/>
              <a:gd name="T82" fmla="*/ 640 w 1826"/>
              <a:gd name="T83" fmla="*/ 241 h 882"/>
              <a:gd name="T84" fmla="*/ 690 w 1826"/>
              <a:gd name="T85" fmla="*/ 283 h 882"/>
              <a:gd name="T86" fmla="*/ 810 w 1826"/>
              <a:gd name="T87" fmla="*/ 224 h 882"/>
              <a:gd name="T88" fmla="*/ 847 w 1826"/>
              <a:gd name="T89" fmla="*/ 152 h 882"/>
              <a:gd name="T90" fmla="*/ 944 w 1826"/>
              <a:gd name="T91" fmla="*/ 96 h 882"/>
              <a:gd name="T92" fmla="*/ 1042 w 1826"/>
              <a:gd name="T93" fmla="*/ 185 h 882"/>
              <a:gd name="T94" fmla="*/ 1070 w 1826"/>
              <a:gd name="T95" fmla="*/ 105 h 882"/>
              <a:gd name="T96" fmla="*/ 1205 w 1826"/>
              <a:gd name="T97" fmla="*/ 102 h 882"/>
              <a:gd name="T98" fmla="*/ 1335 w 1826"/>
              <a:gd name="T99" fmla="*/ 104 h 882"/>
              <a:gd name="T100" fmla="*/ 1448 w 1826"/>
              <a:gd name="T101" fmla="*/ 37 h 882"/>
              <a:gd name="T102" fmla="*/ 1594 w 1826"/>
              <a:gd name="T103" fmla="*/ 46 h 882"/>
              <a:gd name="T104" fmla="*/ 1633 w 1826"/>
              <a:gd name="T105" fmla="*/ 141 h 882"/>
              <a:gd name="T106" fmla="*/ 1678 w 1826"/>
              <a:gd name="T107" fmla="*/ 230 h 882"/>
              <a:gd name="T108" fmla="*/ 1717 w 1826"/>
              <a:gd name="T109" fmla="*/ 256 h 882"/>
              <a:gd name="T110" fmla="*/ 1742 w 1826"/>
              <a:gd name="T111" fmla="*/ 359 h 882"/>
              <a:gd name="T112" fmla="*/ 1804 w 1826"/>
              <a:gd name="T113" fmla="*/ 389 h 882"/>
              <a:gd name="T114" fmla="*/ 1744 w 1826"/>
              <a:gd name="T115" fmla="*/ 421 h 882"/>
              <a:gd name="T116" fmla="*/ 1781 w 1826"/>
              <a:gd name="T117" fmla="*/ 473 h 882"/>
              <a:gd name="T118" fmla="*/ 1679 w 1826"/>
              <a:gd name="T119" fmla="*/ 511 h 882"/>
              <a:gd name="T120" fmla="*/ 1685 w 1826"/>
              <a:gd name="T121" fmla="*/ 550 h 882"/>
              <a:gd name="T122" fmla="*/ 1385 w 1826"/>
              <a:gd name="T123" fmla="*/ 272 h 882"/>
              <a:gd name="T124" fmla="*/ 1678 w 1826"/>
              <a:gd name="T125" fmla="*/ 334 h 8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26" h="882">
                <a:moveTo>
                  <a:pt x="313" y="497"/>
                </a:move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close/>
                <a:moveTo>
                  <a:pt x="847" y="152"/>
                </a:move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close/>
                <a:moveTo>
                  <a:pt x="1142" y="790"/>
                </a:move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close/>
                <a:moveTo>
                  <a:pt x="1670" y="567"/>
                </a:moveTo>
                <a:lnTo>
                  <a:pt x="1670" y="567"/>
                </a:lnTo>
                <a:lnTo>
                  <a:pt x="1665" y="578"/>
                </a:lnTo>
                <a:lnTo>
                  <a:pt x="1654" y="599"/>
                </a:lnTo>
                <a:lnTo>
                  <a:pt x="1646" y="608"/>
                </a:lnTo>
                <a:lnTo>
                  <a:pt x="1639" y="613"/>
                </a:lnTo>
                <a:lnTo>
                  <a:pt x="1635" y="613"/>
                </a:lnTo>
                <a:lnTo>
                  <a:pt x="1631" y="613"/>
                </a:lnTo>
                <a:lnTo>
                  <a:pt x="1628" y="612"/>
                </a:lnTo>
                <a:lnTo>
                  <a:pt x="1622" y="608"/>
                </a:lnTo>
                <a:lnTo>
                  <a:pt x="1622" y="608"/>
                </a:lnTo>
                <a:lnTo>
                  <a:pt x="1622" y="608"/>
                </a:lnTo>
                <a:lnTo>
                  <a:pt x="1624" y="606"/>
                </a:lnTo>
                <a:lnTo>
                  <a:pt x="1631" y="604"/>
                </a:lnTo>
                <a:lnTo>
                  <a:pt x="1639" y="602"/>
                </a:lnTo>
                <a:lnTo>
                  <a:pt x="1642" y="600"/>
                </a:lnTo>
                <a:lnTo>
                  <a:pt x="1644" y="599"/>
                </a:lnTo>
                <a:lnTo>
                  <a:pt x="1644" y="599"/>
                </a:lnTo>
                <a:lnTo>
                  <a:pt x="1642" y="597"/>
                </a:lnTo>
                <a:lnTo>
                  <a:pt x="1642" y="595"/>
                </a:lnTo>
                <a:lnTo>
                  <a:pt x="1639" y="595"/>
                </a:lnTo>
                <a:lnTo>
                  <a:pt x="1639" y="595"/>
                </a:lnTo>
                <a:lnTo>
                  <a:pt x="1628" y="597"/>
                </a:lnTo>
                <a:lnTo>
                  <a:pt x="1615" y="604"/>
                </a:lnTo>
                <a:lnTo>
                  <a:pt x="1602" y="613"/>
                </a:lnTo>
                <a:lnTo>
                  <a:pt x="1596" y="619"/>
                </a:lnTo>
                <a:lnTo>
                  <a:pt x="1592" y="625"/>
                </a:lnTo>
                <a:lnTo>
                  <a:pt x="1592" y="625"/>
                </a:lnTo>
                <a:lnTo>
                  <a:pt x="1590" y="630"/>
                </a:lnTo>
                <a:lnTo>
                  <a:pt x="1590" y="638"/>
                </a:lnTo>
                <a:lnTo>
                  <a:pt x="1589" y="641"/>
                </a:lnTo>
                <a:lnTo>
                  <a:pt x="1585" y="643"/>
                </a:lnTo>
                <a:lnTo>
                  <a:pt x="1585" y="643"/>
                </a:lnTo>
                <a:lnTo>
                  <a:pt x="1578" y="643"/>
                </a:lnTo>
                <a:lnTo>
                  <a:pt x="1574" y="639"/>
                </a:lnTo>
                <a:lnTo>
                  <a:pt x="1568" y="636"/>
                </a:lnTo>
                <a:lnTo>
                  <a:pt x="1563" y="632"/>
                </a:lnTo>
                <a:lnTo>
                  <a:pt x="1563" y="632"/>
                </a:lnTo>
                <a:lnTo>
                  <a:pt x="1557" y="632"/>
                </a:lnTo>
                <a:lnTo>
                  <a:pt x="1552" y="636"/>
                </a:lnTo>
                <a:lnTo>
                  <a:pt x="1544" y="641"/>
                </a:lnTo>
                <a:lnTo>
                  <a:pt x="1544" y="641"/>
                </a:lnTo>
                <a:lnTo>
                  <a:pt x="1542" y="641"/>
                </a:lnTo>
                <a:lnTo>
                  <a:pt x="1540" y="639"/>
                </a:lnTo>
                <a:lnTo>
                  <a:pt x="1540" y="634"/>
                </a:lnTo>
                <a:lnTo>
                  <a:pt x="1542" y="630"/>
                </a:lnTo>
                <a:lnTo>
                  <a:pt x="1542" y="630"/>
                </a:lnTo>
                <a:lnTo>
                  <a:pt x="1540" y="632"/>
                </a:lnTo>
                <a:lnTo>
                  <a:pt x="1540" y="632"/>
                </a:lnTo>
                <a:lnTo>
                  <a:pt x="1539" y="632"/>
                </a:lnTo>
                <a:lnTo>
                  <a:pt x="1537" y="630"/>
                </a:lnTo>
                <a:lnTo>
                  <a:pt x="1533" y="626"/>
                </a:lnTo>
                <a:lnTo>
                  <a:pt x="1529" y="623"/>
                </a:lnTo>
                <a:lnTo>
                  <a:pt x="1529" y="623"/>
                </a:lnTo>
                <a:lnTo>
                  <a:pt x="1527" y="623"/>
                </a:lnTo>
                <a:lnTo>
                  <a:pt x="1527" y="623"/>
                </a:lnTo>
                <a:lnTo>
                  <a:pt x="1526" y="630"/>
                </a:lnTo>
                <a:lnTo>
                  <a:pt x="1526" y="630"/>
                </a:lnTo>
                <a:lnTo>
                  <a:pt x="1524" y="626"/>
                </a:lnTo>
                <a:lnTo>
                  <a:pt x="1520" y="617"/>
                </a:lnTo>
                <a:lnTo>
                  <a:pt x="1516" y="613"/>
                </a:lnTo>
                <a:lnTo>
                  <a:pt x="1513" y="608"/>
                </a:lnTo>
                <a:lnTo>
                  <a:pt x="1513" y="608"/>
                </a:lnTo>
                <a:lnTo>
                  <a:pt x="1511" y="608"/>
                </a:lnTo>
                <a:lnTo>
                  <a:pt x="1513" y="610"/>
                </a:lnTo>
                <a:lnTo>
                  <a:pt x="1513" y="610"/>
                </a:lnTo>
                <a:lnTo>
                  <a:pt x="1514" y="615"/>
                </a:lnTo>
                <a:lnTo>
                  <a:pt x="1516" y="621"/>
                </a:lnTo>
                <a:lnTo>
                  <a:pt x="1516" y="626"/>
                </a:lnTo>
                <a:lnTo>
                  <a:pt x="1514" y="630"/>
                </a:lnTo>
                <a:lnTo>
                  <a:pt x="1514" y="630"/>
                </a:lnTo>
                <a:lnTo>
                  <a:pt x="1513" y="632"/>
                </a:lnTo>
                <a:lnTo>
                  <a:pt x="1511" y="634"/>
                </a:lnTo>
                <a:lnTo>
                  <a:pt x="1502" y="638"/>
                </a:lnTo>
                <a:lnTo>
                  <a:pt x="1496" y="639"/>
                </a:lnTo>
                <a:lnTo>
                  <a:pt x="1494" y="639"/>
                </a:lnTo>
                <a:lnTo>
                  <a:pt x="1496" y="641"/>
                </a:lnTo>
                <a:lnTo>
                  <a:pt x="1496" y="641"/>
                </a:lnTo>
                <a:lnTo>
                  <a:pt x="1502" y="641"/>
                </a:lnTo>
                <a:lnTo>
                  <a:pt x="1503" y="641"/>
                </a:lnTo>
                <a:lnTo>
                  <a:pt x="1505" y="643"/>
                </a:lnTo>
                <a:lnTo>
                  <a:pt x="1505" y="643"/>
                </a:lnTo>
                <a:lnTo>
                  <a:pt x="1507" y="645"/>
                </a:lnTo>
                <a:lnTo>
                  <a:pt x="1505" y="647"/>
                </a:lnTo>
                <a:lnTo>
                  <a:pt x="1498" y="649"/>
                </a:lnTo>
                <a:lnTo>
                  <a:pt x="1477" y="649"/>
                </a:lnTo>
                <a:lnTo>
                  <a:pt x="1477" y="649"/>
                </a:lnTo>
                <a:lnTo>
                  <a:pt x="1472" y="652"/>
                </a:lnTo>
                <a:lnTo>
                  <a:pt x="1468" y="652"/>
                </a:lnTo>
                <a:lnTo>
                  <a:pt x="1466" y="652"/>
                </a:lnTo>
                <a:lnTo>
                  <a:pt x="1466" y="652"/>
                </a:lnTo>
                <a:lnTo>
                  <a:pt x="1464" y="656"/>
                </a:lnTo>
                <a:lnTo>
                  <a:pt x="1463" y="660"/>
                </a:lnTo>
                <a:lnTo>
                  <a:pt x="1461" y="664"/>
                </a:lnTo>
                <a:lnTo>
                  <a:pt x="1461" y="664"/>
                </a:lnTo>
                <a:lnTo>
                  <a:pt x="1453" y="665"/>
                </a:lnTo>
                <a:lnTo>
                  <a:pt x="1446" y="667"/>
                </a:lnTo>
                <a:lnTo>
                  <a:pt x="1429" y="671"/>
                </a:lnTo>
                <a:lnTo>
                  <a:pt x="1416" y="673"/>
                </a:lnTo>
                <a:lnTo>
                  <a:pt x="1413" y="675"/>
                </a:lnTo>
                <a:lnTo>
                  <a:pt x="1414" y="678"/>
                </a:lnTo>
                <a:lnTo>
                  <a:pt x="1414" y="678"/>
                </a:lnTo>
                <a:lnTo>
                  <a:pt x="1416" y="680"/>
                </a:lnTo>
                <a:lnTo>
                  <a:pt x="1416" y="682"/>
                </a:lnTo>
                <a:lnTo>
                  <a:pt x="1411" y="686"/>
                </a:lnTo>
                <a:lnTo>
                  <a:pt x="1403" y="689"/>
                </a:lnTo>
                <a:lnTo>
                  <a:pt x="1398" y="691"/>
                </a:lnTo>
                <a:lnTo>
                  <a:pt x="1398" y="691"/>
                </a:lnTo>
                <a:lnTo>
                  <a:pt x="1375" y="702"/>
                </a:lnTo>
                <a:lnTo>
                  <a:pt x="1361" y="710"/>
                </a:lnTo>
                <a:lnTo>
                  <a:pt x="1355" y="714"/>
                </a:lnTo>
                <a:lnTo>
                  <a:pt x="1355" y="714"/>
                </a:lnTo>
                <a:lnTo>
                  <a:pt x="1353" y="717"/>
                </a:lnTo>
                <a:lnTo>
                  <a:pt x="1350" y="723"/>
                </a:lnTo>
                <a:lnTo>
                  <a:pt x="1342" y="734"/>
                </a:lnTo>
                <a:lnTo>
                  <a:pt x="1342" y="734"/>
                </a:lnTo>
                <a:lnTo>
                  <a:pt x="1340" y="738"/>
                </a:lnTo>
                <a:lnTo>
                  <a:pt x="1335" y="741"/>
                </a:lnTo>
                <a:lnTo>
                  <a:pt x="1322" y="745"/>
                </a:lnTo>
                <a:lnTo>
                  <a:pt x="1303" y="749"/>
                </a:lnTo>
                <a:lnTo>
                  <a:pt x="1283" y="753"/>
                </a:lnTo>
                <a:lnTo>
                  <a:pt x="1283" y="753"/>
                </a:lnTo>
                <a:lnTo>
                  <a:pt x="1281" y="754"/>
                </a:lnTo>
                <a:lnTo>
                  <a:pt x="1281" y="756"/>
                </a:lnTo>
                <a:lnTo>
                  <a:pt x="1283" y="762"/>
                </a:lnTo>
                <a:lnTo>
                  <a:pt x="1283" y="767"/>
                </a:lnTo>
                <a:lnTo>
                  <a:pt x="1283" y="769"/>
                </a:lnTo>
                <a:lnTo>
                  <a:pt x="1281" y="769"/>
                </a:lnTo>
                <a:lnTo>
                  <a:pt x="1281" y="769"/>
                </a:lnTo>
                <a:lnTo>
                  <a:pt x="1275" y="765"/>
                </a:lnTo>
                <a:lnTo>
                  <a:pt x="1272" y="760"/>
                </a:lnTo>
                <a:lnTo>
                  <a:pt x="1268" y="756"/>
                </a:lnTo>
                <a:lnTo>
                  <a:pt x="1268" y="756"/>
                </a:lnTo>
                <a:lnTo>
                  <a:pt x="1268" y="758"/>
                </a:lnTo>
                <a:lnTo>
                  <a:pt x="1268" y="758"/>
                </a:lnTo>
                <a:lnTo>
                  <a:pt x="1266" y="764"/>
                </a:lnTo>
                <a:lnTo>
                  <a:pt x="1264" y="769"/>
                </a:lnTo>
                <a:lnTo>
                  <a:pt x="1264" y="769"/>
                </a:lnTo>
                <a:lnTo>
                  <a:pt x="1259" y="775"/>
                </a:lnTo>
                <a:lnTo>
                  <a:pt x="1255" y="775"/>
                </a:lnTo>
                <a:lnTo>
                  <a:pt x="1253" y="773"/>
                </a:lnTo>
                <a:lnTo>
                  <a:pt x="1253" y="773"/>
                </a:lnTo>
                <a:lnTo>
                  <a:pt x="1251" y="771"/>
                </a:lnTo>
                <a:lnTo>
                  <a:pt x="1253" y="765"/>
                </a:lnTo>
                <a:lnTo>
                  <a:pt x="1257" y="754"/>
                </a:lnTo>
                <a:lnTo>
                  <a:pt x="1257" y="743"/>
                </a:lnTo>
                <a:lnTo>
                  <a:pt x="1257" y="740"/>
                </a:lnTo>
                <a:lnTo>
                  <a:pt x="1253" y="736"/>
                </a:lnTo>
                <a:lnTo>
                  <a:pt x="1253" y="736"/>
                </a:lnTo>
                <a:lnTo>
                  <a:pt x="1251" y="738"/>
                </a:lnTo>
                <a:lnTo>
                  <a:pt x="1249" y="741"/>
                </a:lnTo>
                <a:lnTo>
                  <a:pt x="1249" y="749"/>
                </a:lnTo>
                <a:lnTo>
                  <a:pt x="1249" y="749"/>
                </a:lnTo>
                <a:lnTo>
                  <a:pt x="1249" y="753"/>
                </a:lnTo>
                <a:lnTo>
                  <a:pt x="1248" y="753"/>
                </a:lnTo>
                <a:lnTo>
                  <a:pt x="1244" y="753"/>
                </a:lnTo>
                <a:lnTo>
                  <a:pt x="1242" y="753"/>
                </a:lnTo>
                <a:lnTo>
                  <a:pt x="1242" y="754"/>
                </a:lnTo>
                <a:lnTo>
                  <a:pt x="1242" y="754"/>
                </a:lnTo>
                <a:lnTo>
                  <a:pt x="1246" y="762"/>
                </a:lnTo>
                <a:lnTo>
                  <a:pt x="1248" y="769"/>
                </a:lnTo>
                <a:lnTo>
                  <a:pt x="1248" y="769"/>
                </a:lnTo>
                <a:lnTo>
                  <a:pt x="1244" y="773"/>
                </a:lnTo>
                <a:lnTo>
                  <a:pt x="1240" y="773"/>
                </a:lnTo>
                <a:lnTo>
                  <a:pt x="1231" y="769"/>
                </a:lnTo>
                <a:lnTo>
                  <a:pt x="1222" y="765"/>
                </a:lnTo>
                <a:lnTo>
                  <a:pt x="1216" y="765"/>
                </a:lnTo>
                <a:lnTo>
                  <a:pt x="1212" y="767"/>
                </a:lnTo>
                <a:lnTo>
                  <a:pt x="1212" y="767"/>
                </a:lnTo>
                <a:lnTo>
                  <a:pt x="1183" y="778"/>
                </a:lnTo>
                <a:lnTo>
                  <a:pt x="1166" y="784"/>
                </a:lnTo>
                <a:lnTo>
                  <a:pt x="1160" y="786"/>
                </a:lnTo>
                <a:lnTo>
                  <a:pt x="1159" y="784"/>
                </a:lnTo>
                <a:lnTo>
                  <a:pt x="1159" y="784"/>
                </a:lnTo>
                <a:lnTo>
                  <a:pt x="1159" y="778"/>
                </a:lnTo>
                <a:lnTo>
                  <a:pt x="1157" y="775"/>
                </a:lnTo>
                <a:lnTo>
                  <a:pt x="1157" y="775"/>
                </a:lnTo>
                <a:lnTo>
                  <a:pt x="1157" y="775"/>
                </a:lnTo>
                <a:lnTo>
                  <a:pt x="1151" y="778"/>
                </a:lnTo>
                <a:lnTo>
                  <a:pt x="1149" y="782"/>
                </a:lnTo>
                <a:lnTo>
                  <a:pt x="1147" y="786"/>
                </a:lnTo>
                <a:lnTo>
                  <a:pt x="1142" y="790"/>
                </a:lnTo>
                <a:lnTo>
                  <a:pt x="1142" y="790"/>
                </a:lnTo>
                <a:lnTo>
                  <a:pt x="1134" y="791"/>
                </a:lnTo>
                <a:lnTo>
                  <a:pt x="1131" y="791"/>
                </a:lnTo>
                <a:lnTo>
                  <a:pt x="1133" y="790"/>
                </a:lnTo>
                <a:lnTo>
                  <a:pt x="1134" y="786"/>
                </a:lnTo>
                <a:lnTo>
                  <a:pt x="1134" y="786"/>
                </a:lnTo>
                <a:lnTo>
                  <a:pt x="1136" y="784"/>
                </a:lnTo>
                <a:lnTo>
                  <a:pt x="1134" y="782"/>
                </a:lnTo>
                <a:lnTo>
                  <a:pt x="1134" y="782"/>
                </a:lnTo>
                <a:lnTo>
                  <a:pt x="1127" y="780"/>
                </a:lnTo>
                <a:lnTo>
                  <a:pt x="1125" y="780"/>
                </a:lnTo>
                <a:lnTo>
                  <a:pt x="1125" y="782"/>
                </a:lnTo>
                <a:lnTo>
                  <a:pt x="1123" y="784"/>
                </a:lnTo>
                <a:lnTo>
                  <a:pt x="1121" y="784"/>
                </a:lnTo>
                <a:lnTo>
                  <a:pt x="1118" y="784"/>
                </a:lnTo>
                <a:lnTo>
                  <a:pt x="1118" y="784"/>
                </a:lnTo>
                <a:lnTo>
                  <a:pt x="1103" y="791"/>
                </a:lnTo>
                <a:lnTo>
                  <a:pt x="1092" y="799"/>
                </a:lnTo>
                <a:lnTo>
                  <a:pt x="1086" y="804"/>
                </a:lnTo>
                <a:lnTo>
                  <a:pt x="1086" y="804"/>
                </a:lnTo>
                <a:lnTo>
                  <a:pt x="1086" y="808"/>
                </a:lnTo>
                <a:lnTo>
                  <a:pt x="1090" y="808"/>
                </a:lnTo>
                <a:lnTo>
                  <a:pt x="1099" y="804"/>
                </a:lnTo>
                <a:lnTo>
                  <a:pt x="1110" y="803"/>
                </a:lnTo>
                <a:lnTo>
                  <a:pt x="1114" y="803"/>
                </a:lnTo>
                <a:lnTo>
                  <a:pt x="1116" y="806"/>
                </a:lnTo>
                <a:lnTo>
                  <a:pt x="1116" y="806"/>
                </a:lnTo>
                <a:lnTo>
                  <a:pt x="1112" y="812"/>
                </a:lnTo>
                <a:lnTo>
                  <a:pt x="1109" y="816"/>
                </a:lnTo>
                <a:lnTo>
                  <a:pt x="1109" y="816"/>
                </a:lnTo>
                <a:lnTo>
                  <a:pt x="1105" y="817"/>
                </a:lnTo>
                <a:lnTo>
                  <a:pt x="1103" y="817"/>
                </a:lnTo>
                <a:lnTo>
                  <a:pt x="1101" y="816"/>
                </a:lnTo>
                <a:lnTo>
                  <a:pt x="1101" y="816"/>
                </a:lnTo>
                <a:lnTo>
                  <a:pt x="1097" y="814"/>
                </a:lnTo>
                <a:lnTo>
                  <a:pt x="1096" y="814"/>
                </a:lnTo>
                <a:lnTo>
                  <a:pt x="1096" y="819"/>
                </a:lnTo>
                <a:lnTo>
                  <a:pt x="1097" y="829"/>
                </a:lnTo>
                <a:lnTo>
                  <a:pt x="1099" y="832"/>
                </a:lnTo>
                <a:lnTo>
                  <a:pt x="1097" y="836"/>
                </a:lnTo>
                <a:lnTo>
                  <a:pt x="1097" y="836"/>
                </a:lnTo>
                <a:lnTo>
                  <a:pt x="1096" y="840"/>
                </a:lnTo>
                <a:lnTo>
                  <a:pt x="1094" y="843"/>
                </a:lnTo>
                <a:lnTo>
                  <a:pt x="1094" y="843"/>
                </a:lnTo>
                <a:lnTo>
                  <a:pt x="1086" y="847"/>
                </a:lnTo>
                <a:lnTo>
                  <a:pt x="1071" y="853"/>
                </a:lnTo>
                <a:lnTo>
                  <a:pt x="1057" y="856"/>
                </a:lnTo>
                <a:lnTo>
                  <a:pt x="1051" y="856"/>
                </a:lnTo>
                <a:lnTo>
                  <a:pt x="1049" y="856"/>
                </a:lnTo>
                <a:lnTo>
                  <a:pt x="1049" y="856"/>
                </a:lnTo>
                <a:lnTo>
                  <a:pt x="1047" y="853"/>
                </a:lnTo>
                <a:lnTo>
                  <a:pt x="1049" y="851"/>
                </a:lnTo>
                <a:lnTo>
                  <a:pt x="1057" y="845"/>
                </a:lnTo>
                <a:lnTo>
                  <a:pt x="1060" y="843"/>
                </a:lnTo>
                <a:lnTo>
                  <a:pt x="1055" y="845"/>
                </a:lnTo>
                <a:lnTo>
                  <a:pt x="1055" y="845"/>
                </a:lnTo>
                <a:lnTo>
                  <a:pt x="1051" y="843"/>
                </a:lnTo>
                <a:lnTo>
                  <a:pt x="1045" y="843"/>
                </a:lnTo>
                <a:lnTo>
                  <a:pt x="1045" y="843"/>
                </a:lnTo>
                <a:lnTo>
                  <a:pt x="1036" y="841"/>
                </a:lnTo>
                <a:lnTo>
                  <a:pt x="1031" y="840"/>
                </a:lnTo>
                <a:lnTo>
                  <a:pt x="1031" y="840"/>
                </a:lnTo>
                <a:lnTo>
                  <a:pt x="1031" y="843"/>
                </a:lnTo>
                <a:lnTo>
                  <a:pt x="1033" y="853"/>
                </a:lnTo>
                <a:lnTo>
                  <a:pt x="1036" y="860"/>
                </a:lnTo>
                <a:lnTo>
                  <a:pt x="1038" y="862"/>
                </a:lnTo>
                <a:lnTo>
                  <a:pt x="1040" y="862"/>
                </a:lnTo>
                <a:lnTo>
                  <a:pt x="1040" y="862"/>
                </a:lnTo>
                <a:lnTo>
                  <a:pt x="1047" y="864"/>
                </a:lnTo>
                <a:lnTo>
                  <a:pt x="1051" y="864"/>
                </a:lnTo>
                <a:lnTo>
                  <a:pt x="1051" y="866"/>
                </a:lnTo>
                <a:lnTo>
                  <a:pt x="1051" y="866"/>
                </a:lnTo>
                <a:lnTo>
                  <a:pt x="1051" y="866"/>
                </a:lnTo>
                <a:lnTo>
                  <a:pt x="1033" y="873"/>
                </a:lnTo>
                <a:lnTo>
                  <a:pt x="1010" y="879"/>
                </a:lnTo>
                <a:lnTo>
                  <a:pt x="986" y="880"/>
                </a:lnTo>
                <a:lnTo>
                  <a:pt x="962" y="882"/>
                </a:lnTo>
                <a:lnTo>
                  <a:pt x="938" y="880"/>
                </a:lnTo>
                <a:lnTo>
                  <a:pt x="918" y="879"/>
                </a:lnTo>
                <a:lnTo>
                  <a:pt x="884" y="873"/>
                </a:lnTo>
                <a:lnTo>
                  <a:pt x="884" y="873"/>
                </a:lnTo>
                <a:lnTo>
                  <a:pt x="855" y="864"/>
                </a:lnTo>
                <a:lnTo>
                  <a:pt x="823" y="853"/>
                </a:lnTo>
                <a:lnTo>
                  <a:pt x="823" y="853"/>
                </a:lnTo>
                <a:lnTo>
                  <a:pt x="814" y="851"/>
                </a:lnTo>
                <a:lnTo>
                  <a:pt x="801" y="847"/>
                </a:lnTo>
                <a:lnTo>
                  <a:pt x="793" y="845"/>
                </a:lnTo>
                <a:lnTo>
                  <a:pt x="792" y="845"/>
                </a:lnTo>
                <a:lnTo>
                  <a:pt x="793" y="843"/>
                </a:lnTo>
                <a:lnTo>
                  <a:pt x="793" y="843"/>
                </a:lnTo>
                <a:lnTo>
                  <a:pt x="801" y="841"/>
                </a:lnTo>
                <a:lnTo>
                  <a:pt x="795" y="841"/>
                </a:lnTo>
                <a:lnTo>
                  <a:pt x="777" y="841"/>
                </a:lnTo>
                <a:lnTo>
                  <a:pt x="777" y="841"/>
                </a:lnTo>
                <a:lnTo>
                  <a:pt x="753" y="841"/>
                </a:lnTo>
                <a:lnTo>
                  <a:pt x="727" y="840"/>
                </a:lnTo>
                <a:lnTo>
                  <a:pt x="716" y="836"/>
                </a:lnTo>
                <a:lnTo>
                  <a:pt x="704" y="832"/>
                </a:lnTo>
                <a:lnTo>
                  <a:pt x="697" y="829"/>
                </a:lnTo>
                <a:lnTo>
                  <a:pt x="693" y="823"/>
                </a:lnTo>
                <a:lnTo>
                  <a:pt x="693" y="823"/>
                </a:lnTo>
                <a:lnTo>
                  <a:pt x="690" y="816"/>
                </a:lnTo>
                <a:lnTo>
                  <a:pt x="690" y="816"/>
                </a:lnTo>
                <a:lnTo>
                  <a:pt x="690" y="814"/>
                </a:lnTo>
                <a:lnTo>
                  <a:pt x="690" y="814"/>
                </a:lnTo>
                <a:lnTo>
                  <a:pt x="684" y="810"/>
                </a:lnTo>
                <a:lnTo>
                  <a:pt x="680" y="804"/>
                </a:lnTo>
                <a:lnTo>
                  <a:pt x="678" y="799"/>
                </a:lnTo>
                <a:lnTo>
                  <a:pt x="678" y="799"/>
                </a:lnTo>
                <a:lnTo>
                  <a:pt x="677" y="801"/>
                </a:lnTo>
                <a:lnTo>
                  <a:pt x="677" y="801"/>
                </a:lnTo>
                <a:lnTo>
                  <a:pt x="677" y="804"/>
                </a:lnTo>
                <a:lnTo>
                  <a:pt x="678" y="806"/>
                </a:lnTo>
                <a:lnTo>
                  <a:pt x="682" y="814"/>
                </a:lnTo>
                <a:lnTo>
                  <a:pt x="682" y="814"/>
                </a:lnTo>
                <a:lnTo>
                  <a:pt x="680" y="812"/>
                </a:lnTo>
                <a:lnTo>
                  <a:pt x="673" y="810"/>
                </a:lnTo>
                <a:lnTo>
                  <a:pt x="667" y="804"/>
                </a:lnTo>
                <a:lnTo>
                  <a:pt x="664" y="801"/>
                </a:lnTo>
                <a:lnTo>
                  <a:pt x="664" y="797"/>
                </a:lnTo>
                <a:lnTo>
                  <a:pt x="664" y="797"/>
                </a:lnTo>
                <a:lnTo>
                  <a:pt x="665" y="788"/>
                </a:lnTo>
                <a:lnTo>
                  <a:pt x="667" y="784"/>
                </a:lnTo>
                <a:lnTo>
                  <a:pt x="673" y="782"/>
                </a:lnTo>
                <a:lnTo>
                  <a:pt x="678" y="784"/>
                </a:lnTo>
                <a:lnTo>
                  <a:pt x="691" y="788"/>
                </a:lnTo>
                <a:lnTo>
                  <a:pt x="695" y="790"/>
                </a:lnTo>
                <a:lnTo>
                  <a:pt x="701" y="788"/>
                </a:lnTo>
                <a:lnTo>
                  <a:pt x="701" y="788"/>
                </a:lnTo>
                <a:lnTo>
                  <a:pt x="701" y="786"/>
                </a:lnTo>
                <a:lnTo>
                  <a:pt x="699" y="784"/>
                </a:lnTo>
                <a:lnTo>
                  <a:pt x="691" y="778"/>
                </a:lnTo>
                <a:lnTo>
                  <a:pt x="684" y="773"/>
                </a:lnTo>
                <a:lnTo>
                  <a:pt x="682" y="771"/>
                </a:lnTo>
                <a:lnTo>
                  <a:pt x="682" y="767"/>
                </a:lnTo>
                <a:lnTo>
                  <a:pt x="682" y="767"/>
                </a:lnTo>
                <a:lnTo>
                  <a:pt x="684" y="764"/>
                </a:lnTo>
                <a:lnTo>
                  <a:pt x="684" y="760"/>
                </a:lnTo>
                <a:lnTo>
                  <a:pt x="682" y="758"/>
                </a:lnTo>
                <a:lnTo>
                  <a:pt x="682" y="758"/>
                </a:lnTo>
                <a:lnTo>
                  <a:pt x="677" y="758"/>
                </a:lnTo>
                <a:lnTo>
                  <a:pt x="671" y="762"/>
                </a:lnTo>
                <a:lnTo>
                  <a:pt x="667" y="767"/>
                </a:lnTo>
                <a:lnTo>
                  <a:pt x="664" y="775"/>
                </a:lnTo>
                <a:lnTo>
                  <a:pt x="658" y="788"/>
                </a:lnTo>
                <a:lnTo>
                  <a:pt x="656" y="791"/>
                </a:lnTo>
                <a:lnTo>
                  <a:pt x="654" y="793"/>
                </a:lnTo>
                <a:lnTo>
                  <a:pt x="654" y="793"/>
                </a:lnTo>
                <a:lnTo>
                  <a:pt x="647" y="791"/>
                </a:lnTo>
                <a:lnTo>
                  <a:pt x="643" y="788"/>
                </a:lnTo>
                <a:lnTo>
                  <a:pt x="638" y="784"/>
                </a:lnTo>
                <a:lnTo>
                  <a:pt x="634" y="780"/>
                </a:lnTo>
                <a:lnTo>
                  <a:pt x="634" y="780"/>
                </a:lnTo>
                <a:lnTo>
                  <a:pt x="628" y="778"/>
                </a:lnTo>
                <a:lnTo>
                  <a:pt x="630" y="777"/>
                </a:lnTo>
                <a:lnTo>
                  <a:pt x="641" y="777"/>
                </a:lnTo>
                <a:lnTo>
                  <a:pt x="651" y="777"/>
                </a:lnTo>
                <a:lnTo>
                  <a:pt x="638" y="773"/>
                </a:lnTo>
                <a:lnTo>
                  <a:pt x="638" y="773"/>
                </a:lnTo>
                <a:lnTo>
                  <a:pt x="638" y="771"/>
                </a:lnTo>
                <a:lnTo>
                  <a:pt x="640" y="767"/>
                </a:lnTo>
                <a:lnTo>
                  <a:pt x="638" y="758"/>
                </a:lnTo>
                <a:lnTo>
                  <a:pt x="638" y="751"/>
                </a:lnTo>
                <a:lnTo>
                  <a:pt x="638" y="756"/>
                </a:lnTo>
                <a:lnTo>
                  <a:pt x="638" y="756"/>
                </a:lnTo>
                <a:lnTo>
                  <a:pt x="638" y="762"/>
                </a:lnTo>
                <a:lnTo>
                  <a:pt x="636" y="765"/>
                </a:lnTo>
                <a:lnTo>
                  <a:pt x="632" y="767"/>
                </a:lnTo>
                <a:lnTo>
                  <a:pt x="628" y="769"/>
                </a:lnTo>
                <a:lnTo>
                  <a:pt x="615" y="769"/>
                </a:lnTo>
                <a:lnTo>
                  <a:pt x="602" y="767"/>
                </a:lnTo>
                <a:lnTo>
                  <a:pt x="589" y="764"/>
                </a:lnTo>
                <a:lnTo>
                  <a:pt x="575" y="760"/>
                </a:lnTo>
                <a:lnTo>
                  <a:pt x="564" y="754"/>
                </a:lnTo>
                <a:lnTo>
                  <a:pt x="556" y="747"/>
                </a:lnTo>
                <a:lnTo>
                  <a:pt x="556" y="747"/>
                </a:lnTo>
                <a:lnTo>
                  <a:pt x="554" y="745"/>
                </a:lnTo>
                <a:lnTo>
                  <a:pt x="554" y="743"/>
                </a:lnTo>
                <a:lnTo>
                  <a:pt x="558" y="738"/>
                </a:lnTo>
                <a:lnTo>
                  <a:pt x="569" y="730"/>
                </a:lnTo>
                <a:lnTo>
                  <a:pt x="573" y="727"/>
                </a:lnTo>
                <a:lnTo>
                  <a:pt x="573" y="725"/>
                </a:lnTo>
                <a:lnTo>
                  <a:pt x="573" y="725"/>
                </a:lnTo>
                <a:lnTo>
                  <a:pt x="567" y="725"/>
                </a:lnTo>
                <a:lnTo>
                  <a:pt x="554" y="727"/>
                </a:lnTo>
                <a:lnTo>
                  <a:pt x="554" y="727"/>
                </a:lnTo>
                <a:lnTo>
                  <a:pt x="545" y="728"/>
                </a:lnTo>
                <a:lnTo>
                  <a:pt x="541" y="732"/>
                </a:lnTo>
                <a:lnTo>
                  <a:pt x="541" y="736"/>
                </a:lnTo>
                <a:lnTo>
                  <a:pt x="543" y="740"/>
                </a:lnTo>
                <a:lnTo>
                  <a:pt x="543" y="743"/>
                </a:lnTo>
                <a:lnTo>
                  <a:pt x="543" y="749"/>
                </a:lnTo>
                <a:lnTo>
                  <a:pt x="538" y="753"/>
                </a:lnTo>
                <a:lnTo>
                  <a:pt x="525" y="756"/>
                </a:lnTo>
                <a:lnTo>
                  <a:pt x="525" y="756"/>
                </a:lnTo>
                <a:lnTo>
                  <a:pt x="513" y="758"/>
                </a:lnTo>
                <a:lnTo>
                  <a:pt x="504" y="758"/>
                </a:lnTo>
                <a:lnTo>
                  <a:pt x="488" y="756"/>
                </a:lnTo>
                <a:lnTo>
                  <a:pt x="473" y="751"/>
                </a:lnTo>
                <a:lnTo>
                  <a:pt x="454" y="749"/>
                </a:lnTo>
                <a:lnTo>
                  <a:pt x="454" y="749"/>
                </a:lnTo>
                <a:lnTo>
                  <a:pt x="452" y="749"/>
                </a:lnTo>
                <a:lnTo>
                  <a:pt x="450" y="753"/>
                </a:lnTo>
                <a:lnTo>
                  <a:pt x="450" y="753"/>
                </a:lnTo>
                <a:lnTo>
                  <a:pt x="447" y="754"/>
                </a:lnTo>
                <a:lnTo>
                  <a:pt x="441" y="756"/>
                </a:lnTo>
                <a:lnTo>
                  <a:pt x="426" y="758"/>
                </a:lnTo>
                <a:lnTo>
                  <a:pt x="386" y="760"/>
                </a:lnTo>
                <a:lnTo>
                  <a:pt x="343" y="762"/>
                </a:lnTo>
                <a:lnTo>
                  <a:pt x="326" y="762"/>
                </a:lnTo>
                <a:lnTo>
                  <a:pt x="315" y="764"/>
                </a:lnTo>
                <a:lnTo>
                  <a:pt x="315" y="764"/>
                </a:lnTo>
                <a:lnTo>
                  <a:pt x="311" y="765"/>
                </a:lnTo>
                <a:lnTo>
                  <a:pt x="308" y="767"/>
                </a:lnTo>
                <a:lnTo>
                  <a:pt x="308" y="767"/>
                </a:lnTo>
                <a:lnTo>
                  <a:pt x="306" y="767"/>
                </a:lnTo>
                <a:lnTo>
                  <a:pt x="304" y="765"/>
                </a:lnTo>
                <a:lnTo>
                  <a:pt x="304" y="760"/>
                </a:lnTo>
                <a:lnTo>
                  <a:pt x="306" y="751"/>
                </a:lnTo>
                <a:lnTo>
                  <a:pt x="306" y="751"/>
                </a:lnTo>
                <a:lnTo>
                  <a:pt x="306" y="749"/>
                </a:lnTo>
                <a:lnTo>
                  <a:pt x="304" y="749"/>
                </a:lnTo>
                <a:lnTo>
                  <a:pt x="302" y="747"/>
                </a:lnTo>
                <a:lnTo>
                  <a:pt x="300" y="745"/>
                </a:lnTo>
                <a:lnTo>
                  <a:pt x="300" y="745"/>
                </a:lnTo>
                <a:lnTo>
                  <a:pt x="302" y="743"/>
                </a:lnTo>
                <a:lnTo>
                  <a:pt x="304" y="740"/>
                </a:lnTo>
                <a:lnTo>
                  <a:pt x="304" y="740"/>
                </a:lnTo>
                <a:lnTo>
                  <a:pt x="306" y="736"/>
                </a:lnTo>
                <a:lnTo>
                  <a:pt x="308" y="730"/>
                </a:lnTo>
                <a:lnTo>
                  <a:pt x="308" y="730"/>
                </a:lnTo>
                <a:lnTo>
                  <a:pt x="308" y="728"/>
                </a:lnTo>
                <a:lnTo>
                  <a:pt x="306" y="723"/>
                </a:lnTo>
                <a:lnTo>
                  <a:pt x="302" y="712"/>
                </a:lnTo>
                <a:lnTo>
                  <a:pt x="300" y="704"/>
                </a:lnTo>
                <a:lnTo>
                  <a:pt x="298" y="699"/>
                </a:lnTo>
                <a:lnTo>
                  <a:pt x="300" y="693"/>
                </a:lnTo>
                <a:lnTo>
                  <a:pt x="306" y="691"/>
                </a:lnTo>
                <a:lnTo>
                  <a:pt x="306" y="691"/>
                </a:lnTo>
                <a:lnTo>
                  <a:pt x="311" y="689"/>
                </a:lnTo>
                <a:lnTo>
                  <a:pt x="315" y="693"/>
                </a:lnTo>
                <a:lnTo>
                  <a:pt x="323" y="704"/>
                </a:lnTo>
                <a:lnTo>
                  <a:pt x="328" y="710"/>
                </a:lnTo>
                <a:lnTo>
                  <a:pt x="336" y="714"/>
                </a:lnTo>
                <a:lnTo>
                  <a:pt x="347" y="714"/>
                </a:lnTo>
                <a:lnTo>
                  <a:pt x="360" y="710"/>
                </a:lnTo>
                <a:lnTo>
                  <a:pt x="360" y="710"/>
                </a:lnTo>
                <a:lnTo>
                  <a:pt x="374" y="708"/>
                </a:lnTo>
                <a:lnTo>
                  <a:pt x="397" y="706"/>
                </a:lnTo>
                <a:lnTo>
                  <a:pt x="408" y="704"/>
                </a:lnTo>
                <a:lnTo>
                  <a:pt x="415" y="701"/>
                </a:lnTo>
                <a:lnTo>
                  <a:pt x="423" y="697"/>
                </a:lnTo>
                <a:lnTo>
                  <a:pt x="426" y="693"/>
                </a:lnTo>
                <a:lnTo>
                  <a:pt x="426" y="693"/>
                </a:lnTo>
                <a:lnTo>
                  <a:pt x="426" y="691"/>
                </a:lnTo>
                <a:lnTo>
                  <a:pt x="423" y="689"/>
                </a:lnTo>
                <a:lnTo>
                  <a:pt x="417" y="686"/>
                </a:lnTo>
                <a:lnTo>
                  <a:pt x="415" y="686"/>
                </a:lnTo>
                <a:lnTo>
                  <a:pt x="415" y="684"/>
                </a:lnTo>
                <a:lnTo>
                  <a:pt x="425" y="682"/>
                </a:lnTo>
                <a:lnTo>
                  <a:pt x="425" y="682"/>
                </a:lnTo>
                <a:lnTo>
                  <a:pt x="428" y="682"/>
                </a:lnTo>
                <a:lnTo>
                  <a:pt x="432" y="682"/>
                </a:lnTo>
                <a:lnTo>
                  <a:pt x="432" y="682"/>
                </a:lnTo>
                <a:lnTo>
                  <a:pt x="434" y="680"/>
                </a:lnTo>
                <a:lnTo>
                  <a:pt x="432" y="678"/>
                </a:lnTo>
                <a:lnTo>
                  <a:pt x="425" y="676"/>
                </a:lnTo>
                <a:lnTo>
                  <a:pt x="417" y="675"/>
                </a:lnTo>
                <a:lnTo>
                  <a:pt x="415" y="673"/>
                </a:lnTo>
                <a:lnTo>
                  <a:pt x="413" y="671"/>
                </a:lnTo>
                <a:lnTo>
                  <a:pt x="413" y="671"/>
                </a:lnTo>
                <a:lnTo>
                  <a:pt x="415" y="669"/>
                </a:lnTo>
                <a:lnTo>
                  <a:pt x="417" y="669"/>
                </a:lnTo>
                <a:lnTo>
                  <a:pt x="423" y="669"/>
                </a:lnTo>
                <a:lnTo>
                  <a:pt x="434" y="671"/>
                </a:lnTo>
                <a:lnTo>
                  <a:pt x="434" y="671"/>
                </a:lnTo>
                <a:lnTo>
                  <a:pt x="437" y="673"/>
                </a:lnTo>
                <a:lnTo>
                  <a:pt x="441" y="673"/>
                </a:lnTo>
                <a:lnTo>
                  <a:pt x="454" y="671"/>
                </a:lnTo>
                <a:lnTo>
                  <a:pt x="465" y="667"/>
                </a:lnTo>
                <a:lnTo>
                  <a:pt x="471" y="664"/>
                </a:lnTo>
                <a:lnTo>
                  <a:pt x="471" y="664"/>
                </a:lnTo>
                <a:lnTo>
                  <a:pt x="471" y="664"/>
                </a:lnTo>
                <a:lnTo>
                  <a:pt x="469" y="662"/>
                </a:lnTo>
                <a:lnTo>
                  <a:pt x="465" y="664"/>
                </a:lnTo>
                <a:lnTo>
                  <a:pt x="465" y="664"/>
                </a:lnTo>
                <a:lnTo>
                  <a:pt x="460" y="660"/>
                </a:lnTo>
                <a:lnTo>
                  <a:pt x="449" y="654"/>
                </a:lnTo>
                <a:lnTo>
                  <a:pt x="439" y="647"/>
                </a:lnTo>
                <a:lnTo>
                  <a:pt x="437" y="643"/>
                </a:lnTo>
                <a:lnTo>
                  <a:pt x="439" y="639"/>
                </a:lnTo>
                <a:lnTo>
                  <a:pt x="439" y="639"/>
                </a:lnTo>
                <a:lnTo>
                  <a:pt x="445" y="634"/>
                </a:lnTo>
                <a:lnTo>
                  <a:pt x="452" y="628"/>
                </a:lnTo>
                <a:lnTo>
                  <a:pt x="463" y="623"/>
                </a:lnTo>
                <a:lnTo>
                  <a:pt x="478" y="619"/>
                </a:lnTo>
                <a:lnTo>
                  <a:pt x="489" y="617"/>
                </a:lnTo>
                <a:lnTo>
                  <a:pt x="512" y="615"/>
                </a:lnTo>
                <a:lnTo>
                  <a:pt x="521" y="612"/>
                </a:lnTo>
                <a:lnTo>
                  <a:pt x="523" y="610"/>
                </a:lnTo>
                <a:lnTo>
                  <a:pt x="526" y="606"/>
                </a:lnTo>
                <a:lnTo>
                  <a:pt x="526" y="606"/>
                </a:lnTo>
                <a:lnTo>
                  <a:pt x="526" y="606"/>
                </a:lnTo>
                <a:lnTo>
                  <a:pt x="525" y="606"/>
                </a:lnTo>
                <a:lnTo>
                  <a:pt x="521" y="606"/>
                </a:lnTo>
                <a:lnTo>
                  <a:pt x="513" y="608"/>
                </a:lnTo>
                <a:lnTo>
                  <a:pt x="513" y="608"/>
                </a:lnTo>
                <a:lnTo>
                  <a:pt x="508" y="610"/>
                </a:lnTo>
                <a:lnTo>
                  <a:pt x="506" y="608"/>
                </a:lnTo>
                <a:lnTo>
                  <a:pt x="508" y="606"/>
                </a:lnTo>
                <a:lnTo>
                  <a:pt x="508" y="606"/>
                </a:lnTo>
                <a:lnTo>
                  <a:pt x="512" y="604"/>
                </a:lnTo>
                <a:lnTo>
                  <a:pt x="512" y="604"/>
                </a:lnTo>
                <a:lnTo>
                  <a:pt x="506" y="602"/>
                </a:lnTo>
                <a:lnTo>
                  <a:pt x="491" y="602"/>
                </a:lnTo>
                <a:lnTo>
                  <a:pt x="491" y="602"/>
                </a:lnTo>
                <a:lnTo>
                  <a:pt x="482" y="602"/>
                </a:lnTo>
                <a:lnTo>
                  <a:pt x="475" y="602"/>
                </a:lnTo>
                <a:lnTo>
                  <a:pt x="467" y="606"/>
                </a:lnTo>
                <a:lnTo>
                  <a:pt x="462" y="610"/>
                </a:lnTo>
                <a:lnTo>
                  <a:pt x="447" y="617"/>
                </a:lnTo>
                <a:lnTo>
                  <a:pt x="434" y="628"/>
                </a:lnTo>
                <a:lnTo>
                  <a:pt x="434" y="628"/>
                </a:lnTo>
                <a:lnTo>
                  <a:pt x="428" y="628"/>
                </a:lnTo>
                <a:lnTo>
                  <a:pt x="417" y="630"/>
                </a:lnTo>
                <a:lnTo>
                  <a:pt x="408" y="628"/>
                </a:lnTo>
                <a:lnTo>
                  <a:pt x="404" y="628"/>
                </a:lnTo>
                <a:lnTo>
                  <a:pt x="404" y="626"/>
                </a:lnTo>
                <a:lnTo>
                  <a:pt x="404" y="626"/>
                </a:lnTo>
                <a:lnTo>
                  <a:pt x="406" y="621"/>
                </a:lnTo>
                <a:lnTo>
                  <a:pt x="410" y="619"/>
                </a:lnTo>
                <a:lnTo>
                  <a:pt x="423" y="613"/>
                </a:lnTo>
                <a:lnTo>
                  <a:pt x="436" y="612"/>
                </a:lnTo>
                <a:lnTo>
                  <a:pt x="441" y="610"/>
                </a:lnTo>
                <a:lnTo>
                  <a:pt x="443" y="606"/>
                </a:lnTo>
                <a:lnTo>
                  <a:pt x="443" y="606"/>
                </a:lnTo>
                <a:lnTo>
                  <a:pt x="443" y="604"/>
                </a:lnTo>
                <a:lnTo>
                  <a:pt x="441" y="602"/>
                </a:lnTo>
                <a:lnTo>
                  <a:pt x="432" y="604"/>
                </a:lnTo>
                <a:lnTo>
                  <a:pt x="421" y="606"/>
                </a:lnTo>
                <a:lnTo>
                  <a:pt x="417" y="606"/>
                </a:lnTo>
                <a:lnTo>
                  <a:pt x="413" y="604"/>
                </a:lnTo>
                <a:lnTo>
                  <a:pt x="413" y="604"/>
                </a:lnTo>
                <a:lnTo>
                  <a:pt x="413" y="600"/>
                </a:lnTo>
                <a:lnTo>
                  <a:pt x="415" y="597"/>
                </a:lnTo>
                <a:lnTo>
                  <a:pt x="421" y="586"/>
                </a:lnTo>
                <a:lnTo>
                  <a:pt x="432" y="576"/>
                </a:lnTo>
                <a:lnTo>
                  <a:pt x="445" y="565"/>
                </a:lnTo>
                <a:lnTo>
                  <a:pt x="458" y="558"/>
                </a:lnTo>
                <a:lnTo>
                  <a:pt x="471" y="550"/>
                </a:lnTo>
                <a:lnTo>
                  <a:pt x="480" y="550"/>
                </a:lnTo>
                <a:lnTo>
                  <a:pt x="484" y="550"/>
                </a:lnTo>
                <a:lnTo>
                  <a:pt x="486" y="552"/>
                </a:lnTo>
                <a:lnTo>
                  <a:pt x="486" y="552"/>
                </a:lnTo>
                <a:lnTo>
                  <a:pt x="489" y="556"/>
                </a:lnTo>
                <a:lnTo>
                  <a:pt x="495" y="556"/>
                </a:lnTo>
                <a:lnTo>
                  <a:pt x="504" y="556"/>
                </a:lnTo>
                <a:lnTo>
                  <a:pt x="504" y="556"/>
                </a:lnTo>
                <a:lnTo>
                  <a:pt x="504" y="556"/>
                </a:lnTo>
                <a:lnTo>
                  <a:pt x="504" y="556"/>
                </a:lnTo>
                <a:lnTo>
                  <a:pt x="501" y="554"/>
                </a:lnTo>
                <a:lnTo>
                  <a:pt x="497" y="552"/>
                </a:lnTo>
                <a:lnTo>
                  <a:pt x="493" y="550"/>
                </a:lnTo>
                <a:lnTo>
                  <a:pt x="493" y="550"/>
                </a:lnTo>
                <a:lnTo>
                  <a:pt x="488" y="547"/>
                </a:lnTo>
                <a:lnTo>
                  <a:pt x="482" y="545"/>
                </a:lnTo>
                <a:lnTo>
                  <a:pt x="478" y="545"/>
                </a:lnTo>
                <a:lnTo>
                  <a:pt x="476" y="543"/>
                </a:lnTo>
                <a:lnTo>
                  <a:pt x="476" y="543"/>
                </a:lnTo>
                <a:lnTo>
                  <a:pt x="476" y="541"/>
                </a:lnTo>
                <a:lnTo>
                  <a:pt x="478" y="539"/>
                </a:lnTo>
                <a:lnTo>
                  <a:pt x="488" y="539"/>
                </a:lnTo>
                <a:lnTo>
                  <a:pt x="499" y="537"/>
                </a:lnTo>
                <a:lnTo>
                  <a:pt x="502" y="537"/>
                </a:lnTo>
                <a:lnTo>
                  <a:pt x="502" y="534"/>
                </a:lnTo>
                <a:lnTo>
                  <a:pt x="502" y="534"/>
                </a:lnTo>
                <a:lnTo>
                  <a:pt x="501" y="532"/>
                </a:lnTo>
                <a:lnTo>
                  <a:pt x="497" y="530"/>
                </a:lnTo>
                <a:lnTo>
                  <a:pt x="486" y="532"/>
                </a:lnTo>
                <a:lnTo>
                  <a:pt x="471" y="536"/>
                </a:lnTo>
                <a:lnTo>
                  <a:pt x="471" y="536"/>
                </a:lnTo>
                <a:lnTo>
                  <a:pt x="471" y="532"/>
                </a:lnTo>
                <a:lnTo>
                  <a:pt x="469" y="530"/>
                </a:lnTo>
                <a:lnTo>
                  <a:pt x="469" y="532"/>
                </a:lnTo>
                <a:lnTo>
                  <a:pt x="463" y="539"/>
                </a:lnTo>
                <a:lnTo>
                  <a:pt x="463" y="539"/>
                </a:lnTo>
                <a:lnTo>
                  <a:pt x="454" y="549"/>
                </a:lnTo>
                <a:lnTo>
                  <a:pt x="443" y="558"/>
                </a:lnTo>
                <a:lnTo>
                  <a:pt x="430" y="565"/>
                </a:lnTo>
                <a:lnTo>
                  <a:pt x="417" y="569"/>
                </a:lnTo>
                <a:lnTo>
                  <a:pt x="417" y="569"/>
                </a:lnTo>
                <a:lnTo>
                  <a:pt x="415" y="569"/>
                </a:lnTo>
                <a:lnTo>
                  <a:pt x="415" y="567"/>
                </a:lnTo>
                <a:lnTo>
                  <a:pt x="415" y="563"/>
                </a:lnTo>
                <a:lnTo>
                  <a:pt x="417" y="558"/>
                </a:lnTo>
                <a:lnTo>
                  <a:pt x="417" y="556"/>
                </a:lnTo>
                <a:lnTo>
                  <a:pt x="415" y="556"/>
                </a:lnTo>
                <a:lnTo>
                  <a:pt x="415" y="556"/>
                </a:lnTo>
                <a:lnTo>
                  <a:pt x="412" y="558"/>
                </a:lnTo>
                <a:lnTo>
                  <a:pt x="408" y="563"/>
                </a:lnTo>
                <a:lnTo>
                  <a:pt x="400" y="576"/>
                </a:lnTo>
                <a:lnTo>
                  <a:pt x="397" y="588"/>
                </a:lnTo>
                <a:lnTo>
                  <a:pt x="393" y="589"/>
                </a:lnTo>
                <a:lnTo>
                  <a:pt x="391" y="588"/>
                </a:lnTo>
                <a:lnTo>
                  <a:pt x="391" y="588"/>
                </a:lnTo>
                <a:lnTo>
                  <a:pt x="389" y="584"/>
                </a:lnTo>
                <a:lnTo>
                  <a:pt x="384" y="584"/>
                </a:lnTo>
                <a:lnTo>
                  <a:pt x="380" y="582"/>
                </a:lnTo>
                <a:lnTo>
                  <a:pt x="378" y="578"/>
                </a:lnTo>
                <a:lnTo>
                  <a:pt x="378" y="578"/>
                </a:lnTo>
                <a:lnTo>
                  <a:pt x="380" y="571"/>
                </a:lnTo>
                <a:lnTo>
                  <a:pt x="382" y="563"/>
                </a:lnTo>
                <a:lnTo>
                  <a:pt x="384" y="558"/>
                </a:lnTo>
                <a:lnTo>
                  <a:pt x="382" y="556"/>
                </a:lnTo>
                <a:lnTo>
                  <a:pt x="380" y="554"/>
                </a:lnTo>
                <a:lnTo>
                  <a:pt x="380" y="554"/>
                </a:lnTo>
                <a:lnTo>
                  <a:pt x="376" y="554"/>
                </a:lnTo>
                <a:lnTo>
                  <a:pt x="373" y="554"/>
                </a:lnTo>
                <a:lnTo>
                  <a:pt x="367" y="558"/>
                </a:lnTo>
                <a:lnTo>
                  <a:pt x="365" y="558"/>
                </a:lnTo>
                <a:lnTo>
                  <a:pt x="363" y="558"/>
                </a:lnTo>
                <a:lnTo>
                  <a:pt x="361" y="554"/>
                </a:lnTo>
                <a:lnTo>
                  <a:pt x="361" y="549"/>
                </a:lnTo>
                <a:lnTo>
                  <a:pt x="361" y="549"/>
                </a:lnTo>
                <a:lnTo>
                  <a:pt x="363" y="545"/>
                </a:lnTo>
                <a:lnTo>
                  <a:pt x="363" y="543"/>
                </a:lnTo>
                <a:lnTo>
                  <a:pt x="363" y="543"/>
                </a:lnTo>
                <a:lnTo>
                  <a:pt x="363" y="543"/>
                </a:lnTo>
                <a:lnTo>
                  <a:pt x="361" y="541"/>
                </a:lnTo>
                <a:lnTo>
                  <a:pt x="358" y="541"/>
                </a:lnTo>
                <a:lnTo>
                  <a:pt x="358" y="541"/>
                </a:lnTo>
                <a:lnTo>
                  <a:pt x="352" y="536"/>
                </a:lnTo>
                <a:lnTo>
                  <a:pt x="348" y="530"/>
                </a:lnTo>
                <a:lnTo>
                  <a:pt x="348" y="530"/>
                </a:lnTo>
                <a:lnTo>
                  <a:pt x="348" y="528"/>
                </a:lnTo>
                <a:lnTo>
                  <a:pt x="350" y="528"/>
                </a:lnTo>
                <a:lnTo>
                  <a:pt x="354" y="530"/>
                </a:lnTo>
                <a:lnTo>
                  <a:pt x="358" y="532"/>
                </a:lnTo>
                <a:lnTo>
                  <a:pt x="363" y="534"/>
                </a:lnTo>
                <a:lnTo>
                  <a:pt x="363" y="534"/>
                </a:lnTo>
                <a:lnTo>
                  <a:pt x="367" y="530"/>
                </a:lnTo>
                <a:lnTo>
                  <a:pt x="369" y="528"/>
                </a:lnTo>
                <a:lnTo>
                  <a:pt x="371" y="524"/>
                </a:lnTo>
                <a:lnTo>
                  <a:pt x="374" y="521"/>
                </a:lnTo>
                <a:lnTo>
                  <a:pt x="374" y="521"/>
                </a:lnTo>
                <a:lnTo>
                  <a:pt x="384" y="515"/>
                </a:lnTo>
                <a:lnTo>
                  <a:pt x="389" y="511"/>
                </a:lnTo>
                <a:lnTo>
                  <a:pt x="389" y="510"/>
                </a:lnTo>
                <a:lnTo>
                  <a:pt x="389" y="510"/>
                </a:lnTo>
                <a:lnTo>
                  <a:pt x="389" y="510"/>
                </a:lnTo>
                <a:lnTo>
                  <a:pt x="386" y="510"/>
                </a:lnTo>
                <a:lnTo>
                  <a:pt x="382" y="510"/>
                </a:lnTo>
                <a:lnTo>
                  <a:pt x="373" y="515"/>
                </a:lnTo>
                <a:lnTo>
                  <a:pt x="363" y="521"/>
                </a:lnTo>
                <a:lnTo>
                  <a:pt x="360" y="523"/>
                </a:lnTo>
                <a:lnTo>
                  <a:pt x="358" y="523"/>
                </a:lnTo>
                <a:lnTo>
                  <a:pt x="358" y="523"/>
                </a:lnTo>
                <a:lnTo>
                  <a:pt x="358" y="521"/>
                </a:lnTo>
                <a:lnTo>
                  <a:pt x="358" y="519"/>
                </a:lnTo>
                <a:lnTo>
                  <a:pt x="361" y="513"/>
                </a:lnTo>
                <a:lnTo>
                  <a:pt x="367" y="508"/>
                </a:lnTo>
                <a:lnTo>
                  <a:pt x="367" y="506"/>
                </a:lnTo>
                <a:lnTo>
                  <a:pt x="367" y="502"/>
                </a:lnTo>
                <a:lnTo>
                  <a:pt x="367" y="502"/>
                </a:lnTo>
                <a:lnTo>
                  <a:pt x="361" y="499"/>
                </a:lnTo>
                <a:lnTo>
                  <a:pt x="350" y="493"/>
                </a:lnTo>
                <a:lnTo>
                  <a:pt x="339" y="491"/>
                </a:lnTo>
                <a:lnTo>
                  <a:pt x="332" y="491"/>
                </a:lnTo>
                <a:lnTo>
                  <a:pt x="328" y="493"/>
                </a:lnTo>
                <a:lnTo>
                  <a:pt x="328" y="493"/>
                </a:lnTo>
                <a:lnTo>
                  <a:pt x="319" y="495"/>
                </a:lnTo>
                <a:lnTo>
                  <a:pt x="313" y="497"/>
                </a:lnTo>
                <a:lnTo>
                  <a:pt x="313" y="497"/>
                </a:lnTo>
                <a:lnTo>
                  <a:pt x="308" y="495"/>
                </a:lnTo>
                <a:lnTo>
                  <a:pt x="304" y="489"/>
                </a:lnTo>
                <a:lnTo>
                  <a:pt x="298" y="487"/>
                </a:lnTo>
                <a:lnTo>
                  <a:pt x="297" y="487"/>
                </a:lnTo>
                <a:lnTo>
                  <a:pt x="295" y="491"/>
                </a:lnTo>
                <a:lnTo>
                  <a:pt x="295" y="491"/>
                </a:lnTo>
                <a:lnTo>
                  <a:pt x="297" y="493"/>
                </a:lnTo>
                <a:lnTo>
                  <a:pt x="298" y="495"/>
                </a:lnTo>
                <a:lnTo>
                  <a:pt x="300" y="497"/>
                </a:lnTo>
                <a:lnTo>
                  <a:pt x="300" y="499"/>
                </a:lnTo>
                <a:lnTo>
                  <a:pt x="300" y="499"/>
                </a:lnTo>
                <a:lnTo>
                  <a:pt x="297" y="499"/>
                </a:lnTo>
                <a:lnTo>
                  <a:pt x="287" y="497"/>
                </a:lnTo>
                <a:lnTo>
                  <a:pt x="260" y="491"/>
                </a:lnTo>
                <a:lnTo>
                  <a:pt x="228" y="486"/>
                </a:lnTo>
                <a:lnTo>
                  <a:pt x="215" y="484"/>
                </a:lnTo>
                <a:lnTo>
                  <a:pt x="206" y="484"/>
                </a:lnTo>
                <a:lnTo>
                  <a:pt x="206" y="484"/>
                </a:lnTo>
                <a:lnTo>
                  <a:pt x="189" y="486"/>
                </a:lnTo>
                <a:lnTo>
                  <a:pt x="178" y="489"/>
                </a:lnTo>
                <a:lnTo>
                  <a:pt x="169" y="493"/>
                </a:lnTo>
                <a:lnTo>
                  <a:pt x="159" y="499"/>
                </a:lnTo>
                <a:lnTo>
                  <a:pt x="152" y="502"/>
                </a:lnTo>
                <a:lnTo>
                  <a:pt x="143" y="508"/>
                </a:lnTo>
                <a:lnTo>
                  <a:pt x="132" y="510"/>
                </a:lnTo>
                <a:lnTo>
                  <a:pt x="119" y="511"/>
                </a:lnTo>
                <a:lnTo>
                  <a:pt x="119" y="511"/>
                </a:lnTo>
                <a:lnTo>
                  <a:pt x="113" y="510"/>
                </a:lnTo>
                <a:lnTo>
                  <a:pt x="108" y="506"/>
                </a:lnTo>
                <a:lnTo>
                  <a:pt x="93" y="493"/>
                </a:lnTo>
                <a:lnTo>
                  <a:pt x="87" y="486"/>
                </a:lnTo>
                <a:lnTo>
                  <a:pt x="82" y="478"/>
                </a:lnTo>
                <a:lnTo>
                  <a:pt x="80" y="471"/>
                </a:lnTo>
                <a:lnTo>
                  <a:pt x="80" y="465"/>
                </a:lnTo>
                <a:lnTo>
                  <a:pt x="80" y="465"/>
                </a:lnTo>
                <a:lnTo>
                  <a:pt x="87" y="460"/>
                </a:lnTo>
                <a:lnTo>
                  <a:pt x="95" y="456"/>
                </a:lnTo>
                <a:lnTo>
                  <a:pt x="104" y="456"/>
                </a:lnTo>
                <a:lnTo>
                  <a:pt x="113" y="458"/>
                </a:lnTo>
                <a:lnTo>
                  <a:pt x="132" y="463"/>
                </a:lnTo>
                <a:lnTo>
                  <a:pt x="141" y="465"/>
                </a:lnTo>
                <a:lnTo>
                  <a:pt x="148" y="465"/>
                </a:lnTo>
                <a:lnTo>
                  <a:pt x="148" y="465"/>
                </a:lnTo>
                <a:lnTo>
                  <a:pt x="156" y="461"/>
                </a:lnTo>
                <a:lnTo>
                  <a:pt x="165" y="458"/>
                </a:lnTo>
                <a:lnTo>
                  <a:pt x="182" y="450"/>
                </a:lnTo>
                <a:lnTo>
                  <a:pt x="189" y="447"/>
                </a:lnTo>
                <a:lnTo>
                  <a:pt x="196" y="445"/>
                </a:lnTo>
                <a:lnTo>
                  <a:pt x="202" y="447"/>
                </a:lnTo>
                <a:lnTo>
                  <a:pt x="206" y="450"/>
                </a:lnTo>
                <a:lnTo>
                  <a:pt x="206" y="450"/>
                </a:lnTo>
                <a:lnTo>
                  <a:pt x="209" y="456"/>
                </a:lnTo>
                <a:lnTo>
                  <a:pt x="213" y="458"/>
                </a:lnTo>
                <a:lnTo>
                  <a:pt x="215" y="458"/>
                </a:lnTo>
                <a:lnTo>
                  <a:pt x="217" y="454"/>
                </a:lnTo>
                <a:lnTo>
                  <a:pt x="217" y="454"/>
                </a:lnTo>
                <a:lnTo>
                  <a:pt x="217" y="439"/>
                </a:lnTo>
                <a:lnTo>
                  <a:pt x="217" y="435"/>
                </a:lnTo>
                <a:lnTo>
                  <a:pt x="219" y="432"/>
                </a:lnTo>
                <a:lnTo>
                  <a:pt x="221" y="430"/>
                </a:lnTo>
                <a:lnTo>
                  <a:pt x="226" y="430"/>
                </a:lnTo>
                <a:lnTo>
                  <a:pt x="226" y="430"/>
                </a:lnTo>
                <a:lnTo>
                  <a:pt x="235" y="432"/>
                </a:lnTo>
                <a:lnTo>
                  <a:pt x="241" y="434"/>
                </a:lnTo>
                <a:lnTo>
                  <a:pt x="241" y="434"/>
                </a:lnTo>
                <a:lnTo>
                  <a:pt x="237" y="439"/>
                </a:lnTo>
                <a:lnTo>
                  <a:pt x="232" y="447"/>
                </a:lnTo>
                <a:lnTo>
                  <a:pt x="230" y="450"/>
                </a:lnTo>
                <a:lnTo>
                  <a:pt x="230" y="454"/>
                </a:lnTo>
                <a:lnTo>
                  <a:pt x="232" y="456"/>
                </a:lnTo>
                <a:lnTo>
                  <a:pt x="237" y="458"/>
                </a:lnTo>
                <a:lnTo>
                  <a:pt x="237" y="458"/>
                </a:lnTo>
                <a:lnTo>
                  <a:pt x="241" y="458"/>
                </a:lnTo>
                <a:lnTo>
                  <a:pt x="243" y="456"/>
                </a:lnTo>
                <a:lnTo>
                  <a:pt x="245" y="448"/>
                </a:lnTo>
                <a:lnTo>
                  <a:pt x="248" y="441"/>
                </a:lnTo>
                <a:lnTo>
                  <a:pt x="250" y="434"/>
                </a:lnTo>
                <a:lnTo>
                  <a:pt x="250" y="434"/>
                </a:lnTo>
                <a:lnTo>
                  <a:pt x="254" y="432"/>
                </a:lnTo>
                <a:lnTo>
                  <a:pt x="256" y="432"/>
                </a:lnTo>
                <a:lnTo>
                  <a:pt x="263" y="432"/>
                </a:lnTo>
                <a:lnTo>
                  <a:pt x="272" y="434"/>
                </a:lnTo>
                <a:lnTo>
                  <a:pt x="280" y="432"/>
                </a:lnTo>
                <a:lnTo>
                  <a:pt x="280" y="432"/>
                </a:lnTo>
                <a:lnTo>
                  <a:pt x="282" y="432"/>
                </a:lnTo>
                <a:lnTo>
                  <a:pt x="282" y="428"/>
                </a:lnTo>
                <a:lnTo>
                  <a:pt x="284" y="421"/>
                </a:lnTo>
                <a:lnTo>
                  <a:pt x="285" y="417"/>
                </a:lnTo>
                <a:lnTo>
                  <a:pt x="289" y="415"/>
                </a:lnTo>
                <a:lnTo>
                  <a:pt x="293" y="413"/>
                </a:lnTo>
                <a:lnTo>
                  <a:pt x="300" y="413"/>
                </a:lnTo>
                <a:lnTo>
                  <a:pt x="300" y="413"/>
                </a:lnTo>
                <a:lnTo>
                  <a:pt x="302" y="419"/>
                </a:lnTo>
                <a:lnTo>
                  <a:pt x="304" y="428"/>
                </a:lnTo>
                <a:lnTo>
                  <a:pt x="306" y="434"/>
                </a:lnTo>
                <a:lnTo>
                  <a:pt x="310" y="437"/>
                </a:lnTo>
                <a:lnTo>
                  <a:pt x="315" y="441"/>
                </a:lnTo>
                <a:lnTo>
                  <a:pt x="324" y="441"/>
                </a:lnTo>
                <a:lnTo>
                  <a:pt x="324" y="441"/>
                </a:lnTo>
                <a:lnTo>
                  <a:pt x="326" y="441"/>
                </a:lnTo>
                <a:lnTo>
                  <a:pt x="326" y="439"/>
                </a:lnTo>
                <a:lnTo>
                  <a:pt x="326" y="434"/>
                </a:lnTo>
                <a:lnTo>
                  <a:pt x="324" y="426"/>
                </a:lnTo>
                <a:lnTo>
                  <a:pt x="326" y="424"/>
                </a:lnTo>
                <a:lnTo>
                  <a:pt x="328" y="423"/>
                </a:lnTo>
                <a:lnTo>
                  <a:pt x="328" y="423"/>
                </a:lnTo>
                <a:lnTo>
                  <a:pt x="339" y="421"/>
                </a:lnTo>
                <a:lnTo>
                  <a:pt x="356" y="421"/>
                </a:lnTo>
                <a:lnTo>
                  <a:pt x="397" y="424"/>
                </a:lnTo>
                <a:lnTo>
                  <a:pt x="436" y="426"/>
                </a:lnTo>
                <a:lnTo>
                  <a:pt x="449" y="426"/>
                </a:lnTo>
                <a:lnTo>
                  <a:pt x="452" y="426"/>
                </a:lnTo>
                <a:lnTo>
                  <a:pt x="454" y="424"/>
                </a:lnTo>
                <a:lnTo>
                  <a:pt x="454" y="424"/>
                </a:lnTo>
                <a:lnTo>
                  <a:pt x="454" y="417"/>
                </a:lnTo>
                <a:lnTo>
                  <a:pt x="456" y="406"/>
                </a:lnTo>
                <a:lnTo>
                  <a:pt x="456" y="406"/>
                </a:lnTo>
                <a:lnTo>
                  <a:pt x="460" y="391"/>
                </a:lnTo>
                <a:lnTo>
                  <a:pt x="460" y="384"/>
                </a:lnTo>
                <a:lnTo>
                  <a:pt x="458" y="382"/>
                </a:lnTo>
                <a:lnTo>
                  <a:pt x="456" y="382"/>
                </a:lnTo>
                <a:lnTo>
                  <a:pt x="450" y="384"/>
                </a:lnTo>
                <a:lnTo>
                  <a:pt x="432" y="395"/>
                </a:lnTo>
                <a:lnTo>
                  <a:pt x="421" y="400"/>
                </a:lnTo>
                <a:lnTo>
                  <a:pt x="410" y="406"/>
                </a:lnTo>
                <a:lnTo>
                  <a:pt x="410" y="406"/>
                </a:lnTo>
                <a:lnTo>
                  <a:pt x="402" y="406"/>
                </a:lnTo>
                <a:lnTo>
                  <a:pt x="393" y="406"/>
                </a:lnTo>
                <a:lnTo>
                  <a:pt x="373" y="400"/>
                </a:lnTo>
                <a:lnTo>
                  <a:pt x="354" y="395"/>
                </a:lnTo>
                <a:lnTo>
                  <a:pt x="339" y="391"/>
                </a:lnTo>
                <a:lnTo>
                  <a:pt x="339" y="391"/>
                </a:lnTo>
                <a:lnTo>
                  <a:pt x="332" y="391"/>
                </a:lnTo>
                <a:lnTo>
                  <a:pt x="328" y="389"/>
                </a:lnTo>
                <a:lnTo>
                  <a:pt x="328" y="387"/>
                </a:lnTo>
                <a:lnTo>
                  <a:pt x="328" y="387"/>
                </a:lnTo>
                <a:lnTo>
                  <a:pt x="328" y="387"/>
                </a:lnTo>
                <a:lnTo>
                  <a:pt x="330" y="382"/>
                </a:lnTo>
                <a:lnTo>
                  <a:pt x="330" y="382"/>
                </a:lnTo>
                <a:lnTo>
                  <a:pt x="339" y="371"/>
                </a:lnTo>
                <a:lnTo>
                  <a:pt x="354" y="361"/>
                </a:lnTo>
                <a:lnTo>
                  <a:pt x="369" y="350"/>
                </a:lnTo>
                <a:lnTo>
                  <a:pt x="386" y="341"/>
                </a:lnTo>
                <a:lnTo>
                  <a:pt x="421" y="326"/>
                </a:lnTo>
                <a:lnTo>
                  <a:pt x="436" y="321"/>
                </a:lnTo>
                <a:lnTo>
                  <a:pt x="449" y="319"/>
                </a:lnTo>
                <a:lnTo>
                  <a:pt x="449" y="319"/>
                </a:lnTo>
                <a:lnTo>
                  <a:pt x="460" y="315"/>
                </a:lnTo>
                <a:lnTo>
                  <a:pt x="467" y="311"/>
                </a:lnTo>
                <a:lnTo>
                  <a:pt x="471" y="308"/>
                </a:lnTo>
                <a:lnTo>
                  <a:pt x="471" y="308"/>
                </a:lnTo>
                <a:lnTo>
                  <a:pt x="469" y="308"/>
                </a:lnTo>
                <a:lnTo>
                  <a:pt x="465" y="309"/>
                </a:lnTo>
                <a:lnTo>
                  <a:pt x="460" y="311"/>
                </a:lnTo>
                <a:lnTo>
                  <a:pt x="460" y="311"/>
                </a:lnTo>
                <a:lnTo>
                  <a:pt x="452" y="311"/>
                </a:lnTo>
                <a:lnTo>
                  <a:pt x="443" y="313"/>
                </a:lnTo>
                <a:lnTo>
                  <a:pt x="425" y="311"/>
                </a:lnTo>
                <a:lnTo>
                  <a:pt x="425" y="311"/>
                </a:lnTo>
                <a:lnTo>
                  <a:pt x="425" y="311"/>
                </a:lnTo>
                <a:lnTo>
                  <a:pt x="425" y="311"/>
                </a:lnTo>
                <a:lnTo>
                  <a:pt x="426" y="308"/>
                </a:lnTo>
                <a:lnTo>
                  <a:pt x="428" y="304"/>
                </a:lnTo>
                <a:lnTo>
                  <a:pt x="428" y="302"/>
                </a:lnTo>
                <a:lnTo>
                  <a:pt x="428" y="302"/>
                </a:lnTo>
                <a:lnTo>
                  <a:pt x="425" y="302"/>
                </a:lnTo>
                <a:lnTo>
                  <a:pt x="419" y="302"/>
                </a:lnTo>
                <a:lnTo>
                  <a:pt x="413" y="302"/>
                </a:lnTo>
                <a:lnTo>
                  <a:pt x="410" y="302"/>
                </a:lnTo>
                <a:lnTo>
                  <a:pt x="410" y="300"/>
                </a:lnTo>
                <a:lnTo>
                  <a:pt x="410" y="300"/>
                </a:lnTo>
                <a:lnTo>
                  <a:pt x="406" y="293"/>
                </a:lnTo>
                <a:lnTo>
                  <a:pt x="404" y="289"/>
                </a:lnTo>
                <a:lnTo>
                  <a:pt x="402" y="287"/>
                </a:lnTo>
                <a:lnTo>
                  <a:pt x="402" y="287"/>
                </a:lnTo>
                <a:lnTo>
                  <a:pt x="400" y="289"/>
                </a:lnTo>
                <a:lnTo>
                  <a:pt x="399" y="295"/>
                </a:lnTo>
                <a:lnTo>
                  <a:pt x="393" y="300"/>
                </a:lnTo>
                <a:lnTo>
                  <a:pt x="387" y="308"/>
                </a:lnTo>
                <a:lnTo>
                  <a:pt x="382" y="313"/>
                </a:lnTo>
                <a:lnTo>
                  <a:pt x="378" y="313"/>
                </a:lnTo>
                <a:lnTo>
                  <a:pt x="374" y="315"/>
                </a:lnTo>
                <a:lnTo>
                  <a:pt x="371" y="313"/>
                </a:lnTo>
                <a:lnTo>
                  <a:pt x="367" y="311"/>
                </a:lnTo>
                <a:lnTo>
                  <a:pt x="361" y="306"/>
                </a:lnTo>
                <a:lnTo>
                  <a:pt x="358" y="300"/>
                </a:lnTo>
                <a:lnTo>
                  <a:pt x="358" y="300"/>
                </a:lnTo>
                <a:lnTo>
                  <a:pt x="358" y="300"/>
                </a:lnTo>
                <a:lnTo>
                  <a:pt x="358" y="298"/>
                </a:lnTo>
                <a:lnTo>
                  <a:pt x="365" y="295"/>
                </a:lnTo>
                <a:lnTo>
                  <a:pt x="384" y="285"/>
                </a:lnTo>
                <a:lnTo>
                  <a:pt x="400" y="276"/>
                </a:lnTo>
                <a:lnTo>
                  <a:pt x="404" y="270"/>
                </a:lnTo>
                <a:lnTo>
                  <a:pt x="404" y="269"/>
                </a:lnTo>
                <a:lnTo>
                  <a:pt x="402" y="267"/>
                </a:lnTo>
                <a:lnTo>
                  <a:pt x="402" y="267"/>
                </a:lnTo>
                <a:lnTo>
                  <a:pt x="399" y="267"/>
                </a:lnTo>
                <a:lnTo>
                  <a:pt x="395" y="269"/>
                </a:lnTo>
                <a:lnTo>
                  <a:pt x="389" y="276"/>
                </a:lnTo>
                <a:lnTo>
                  <a:pt x="389" y="276"/>
                </a:lnTo>
                <a:lnTo>
                  <a:pt x="384" y="282"/>
                </a:lnTo>
                <a:lnTo>
                  <a:pt x="378" y="283"/>
                </a:lnTo>
                <a:lnTo>
                  <a:pt x="378" y="283"/>
                </a:lnTo>
                <a:lnTo>
                  <a:pt x="373" y="285"/>
                </a:lnTo>
                <a:lnTo>
                  <a:pt x="369" y="285"/>
                </a:lnTo>
                <a:lnTo>
                  <a:pt x="369" y="283"/>
                </a:lnTo>
                <a:lnTo>
                  <a:pt x="367" y="282"/>
                </a:lnTo>
                <a:lnTo>
                  <a:pt x="367" y="280"/>
                </a:lnTo>
                <a:lnTo>
                  <a:pt x="363" y="278"/>
                </a:lnTo>
                <a:lnTo>
                  <a:pt x="360" y="278"/>
                </a:lnTo>
                <a:lnTo>
                  <a:pt x="352" y="282"/>
                </a:lnTo>
                <a:lnTo>
                  <a:pt x="352" y="282"/>
                </a:lnTo>
                <a:lnTo>
                  <a:pt x="350" y="289"/>
                </a:lnTo>
                <a:lnTo>
                  <a:pt x="347" y="293"/>
                </a:lnTo>
                <a:lnTo>
                  <a:pt x="343" y="295"/>
                </a:lnTo>
                <a:lnTo>
                  <a:pt x="339" y="293"/>
                </a:lnTo>
                <a:lnTo>
                  <a:pt x="339" y="293"/>
                </a:lnTo>
                <a:lnTo>
                  <a:pt x="337" y="287"/>
                </a:lnTo>
                <a:lnTo>
                  <a:pt x="337" y="274"/>
                </a:lnTo>
                <a:lnTo>
                  <a:pt x="334" y="261"/>
                </a:lnTo>
                <a:lnTo>
                  <a:pt x="332" y="258"/>
                </a:lnTo>
                <a:lnTo>
                  <a:pt x="328" y="258"/>
                </a:lnTo>
                <a:lnTo>
                  <a:pt x="328" y="258"/>
                </a:lnTo>
                <a:lnTo>
                  <a:pt x="328" y="261"/>
                </a:lnTo>
                <a:lnTo>
                  <a:pt x="328" y="269"/>
                </a:lnTo>
                <a:lnTo>
                  <a:pt x="328" y="269"/>
                </a:lnTo>
                <a:lnTo>
                  <a:pt x="330" y="272"/>
                </a:lnTo>
                <a:lnTo>
                  <a:pt x="328" y="276"/>
                </a:lnTo>
                <a:lnTo>
                  <a:pt x="324" y="282"/>
                </a:lnTo>
                <a:lnTo>
                  <a:pt x="321" y="283"/>
                </a:lnTo>
                <a:lnTo>
                  <a:pt x="315" y="285"/>
                </a:lnTo>
                <a:lnTo>
                  <a:pt x="315" y="285"/>
                </a:lnTo>
                <a:lnTo>
                  <a:pt x="310" y="285"/>
                </a:lnTo>
                <a:lnTo>
                  <a:pt x="308" y="280"/>
                </a:lnTo>
                <a:lnTo>
                  <a:pt x="306" y="274"/>
                </a:lnTo>
                <a:lnTo>
                  <a:pt x="306" y="267"/>
                </a:lnTo>
                <a:lnTo>
                  <a:pt x="306" y="261"/>
                </a:lnTo>
                <a:lnTo>
                  <a:pt x="304" y="258"/>
                </a:lnTo>
                <a:lnTo>
                  <a:pt x="304" y="256"/>
                </a:lnTo>
                <a:lnTo>
                  <a:pt x="300" y="256"/>
                </a:lnTo>
                <a:lnTo>
                  <a:pt x="295" y="259"/>
                </a:lnTo>
                <a:lnTo>
                  <a:pt x="295" y="259"/>
                </a:lnTo>
                <a:lnTo>
                  <a:pt x="295" y="261"/>
                </a:lnTo>
                <a:lnTo>
                  <a:pt x="295" y="265"/>
                </a:lnTo>
                <a:lnTo>
                  <a:pt x="298" y="276"/>
                </a:lnTo>
                <a:lnTo>
                  <a:pt x="302" y="289"/>
                </a:lnTo>
                <a:lnTo>
                  <a:pt x="302" y="293"/>
                </a:lnTo>
                <a:lnTo>
                  <a:pt x="300" y="295"/>
                </a:lnTo>
                <a:lnTo>
                  <a:pt x="300" y="295"/>
                </a:lnTo>
                <a:lnTo>
                  <a:pt x="295" y="293"/>
                </a:lnTo>
                <a:lnTo>
                  <a:pt x="287" y="289"/>
                </a:lnTo>
                <a:lnTo>
                  <a:pt x="274" y="283"/>
                </a:lnTo>
                <a:lnTo>
                  <a:pt x="274" y="283"/>
                </a:lnTo>
                <a:lnTo>
                  <a:pt x="276" y="280"/>
                </a:lnTo>
                <a:lnTo>
                  <a:pt x="282" y="276"/>
                </a:lnTo>
                <a:lnTo>
                  <a:pt x="287" y="270"/>
                </a:lnTo>
                <a:lnTo>
                  <a:pt x="289" y="269"/>
                </a:lnTo>
                <a:lnTo>
                  <a:pt x="289" y="267"/>
                </a:lnTo>
                <a:lnTo>
                  <a:pt x="289" y="267"/>
                </a:lnTo>
                <a:lnTo>
                  <a:pt x="285" y="263"/>
                </a:lnTo>
                <a:lnTo>
                  <a:pt x="280" y="263"/>
                </a:lnTo>
                <a:lnTo>
                  <a:pt x="274" y="267"/>
                </a:lnTo>
                <a:lnTo>
                  <a:pt x="271" y="269"/>
                </a:lnTo>
                <a:lnTo>
                  <a:pt x="261" y="278"/>
                </a:lnTo>
                <a:lnTo>
                  <a:pt x="252" y="283"/>
                </a:lnTo>
                <a:lnTo>
                  <a:pt x="252" y="283"/>
                </a:lnTo>
                <a:lnTo>
                  <a:pt x="248" y="283"/>
                </a:lnTo>
                <a:lnTo>
                  <a:pt x="247" y="282"/>
                </a:lnTo>
                <a:lnTo>
                  <a:pt x="239" y="276"/>
                </a:lnTo>
                <a:lnTo>
                  <a:pt x="232" y="272"/>
                </a:lnTo>
                <a:lnTo>
                  <a:pt x="230" y="270"/>
                </a:lnTo>
                <a:lnTo>
                  <a:pt x="226" y="272"/>
                </a:lnTo>
                <a:lnTo>
                  <a:pt x="226" y="272"/>
                </a:lnTo>
                <a:lnTo>
                  <a:pt x="224" y="274"/>
                </a:lnTo>
                <a:lnTo>
                  <a:pt x="222" y="278"/>
                </a:lnTo>
                <a:lnTo>
                  <a:pt x="222" y="282"/>
                </a:lnTo>
                <a:lnTo>
                  <a:pt x="224" y="287"/>
                </a:lnTo>
                <a:lnTo>
                  <a:pt x="224" y="291"/>
                </a:lnTo>
                <a:lnTo>
                  <a:pt x="224" y="291"/>
                </a:lnTo>
                <a:lnTo>
                  <a:pt x="221" y="296"/>
                </a:lnTo>
                <a:lnTo>
                  <a:pt x="217" y="298"/>
                </a:lnTo>
                <a:lnTo>
                  <a:pt x="209" y="298"/>
                </a:lnTo>
                <a:lnTo>
                  <a:pt x="204" y="296"/>
                </a:lnTo>
                <a:lnTo>
                  <a:pt x="193" y="291"/>
                </a:lnTo>
                <a:lnTo>
                  <a:pt x="189" y="289"/>
                </a:lnTo>
                <a:lnTo>
                  <a:pt x="189" y="289"/>
                </a:lnTo>
                <a:lnTo>
                  <a:pt x="174" y="298"/>
                </a:lnTo>
                <a:lnTo>
                  <a:pt x="152" y="309"/>
                </a:lnTo>
                <a:lnTo>
                  <a:pt x="128" y="319"/>
                </a:lnTo>
                <a:lnTo>
                  <a:pt x="117" y="321"/>
                </a:lnTo>
                <a:lnTo>
                  <a:pt x="108" y="321"/>
                </a:lnTo>
                <a:lnTo>
                  <a:pt x="108" y="321"/>
                </a:lnTo>
                <a:lnTo>
                  <a:pt x="102" y="321"/>
                </a:lnTo>
                <a:lnTo>
                  <a:pt x="96" y="319"/>
                </a:lnTo>
                <a:lnTo>
                  <a:pt x="91" y="313"/>
                </a:lnTo>
                <a:lnTo>
                  <a:pt x="89" y="308"/>
                </a:lnTo>
                <a:lnTo>
                  <a:pt x="87" y="304"/>
                </a:lnTo>
                <a:lnTo>
                  <a:pt x="87" y="304"/>
                </a:lnTo>
                <a:lnTo>
                  <a:pt x="70" y="298"/>
                </a:lnTo>
                <a:lnTo>
                  <a:pt x="70" y="298"/>
                </a:lnTo>
                <a:lnTo>
                  <a:pt x="56" y="298"/>
                </a:lnTo>
                <a:lnTo>
                  <a:pt x="33" y="298"/>
                </a:lnTo>
                <a:lnTo>
                  <a:pt x="11" y="296"/>
                </a:lnTo>
                <a:lnTo>
                  <a:pt x="4" y="296"/>
                </a:lnTo>
                <a:lnTo>
                  <a:pt x="0" y="295"/>
                </a:lnTo>
                <a:lnTo>
                  <a:pt x="0" y="295"/>
                </a:lnTo>
                <a:lnTo>
                  <a:pt x="2" y="293"/>
                </a:lnTo>
                <a:lnTo>
                  <a:pt x="4" y="291"/>
                </a:lnTo>
                <a:lnTo>
                  <a:pt x="13" y="285"/>
                </a:lnTo>
                <a:lnTo>
                  <a:pt x="28" y="278"/>
                </a:lnTo>
                <a:lnTo>
                  <a:pt x="28" y="278"/>
                </a:lnTo>
                <a:lnTo>
                  <a:pt x="30" y="276"/>
                </a:lnTo>
                <a:lnTo>
                  <a:pt x="30" y="274"/>
                </a:lnTo>
                <a:lnTo>
                  <a:pt x="30" y="267"/>
                </a:lnTo>
                <a:lnTo>
                  <a:pt x="32" y="261"/>
                </a:lnTo>
                <a:lnTo>
                  <a:pt x="33" y="258"/>
                </a:lnTo>
                <a:lnTo>
                  <a:pt x="37" y="256"/>
                </a:lnTo>
                <a:lnTo>
                  <a:pt x="37" y="256"/>
                </a:lnTo>
                <a:lnTo>
                  <a:pt x="41" y="254"/>
                </a:lnTo>
                <a:lnTo>
                  <a:pt x="44" y="254"/>
                </a:lnTo>
                <a:lnTo>
                  <a:pt x="56" y="258"/>
                </a:lnTo>
                <a:lnTo>
                  <a:pt x="67" y="265"/>
                </a:lnTo>
                <a:lnTo>
                  <a:pt x="80" y="274"/>
                </a:lnTo>
                <a:lnTo>
                  <a:pt x="93" y="282"/>
                </a:lnTo>
                <a:lnTo>
                  <a:pt x="106" y="287"/>
                </a:lnTo>
                <a:lnTo>
                  <a:pt x="111" y="289"/>
                </a:lnTo>
                <a:lnTo>
                  <a:pt x="115" y="289"/>
                </a:lnTo>
                <a:lnTo>
                  <a:pt x="119" y="289"/>
                </a:lnTo>
                <a:lnTo>
                  <a:pt x="122" y="285"/>
                </a:lnTo>
                <a:lnTo>
                  <a:pt x="122" y="285"/>
                </a:lnTo>
                <a:lnTo>
                  <a:pt x="120" y="285"/>
                </a:lnTo>
                <a:lnTo>
                  <a:pt x="119" y="285"/>
                </a:lnTo>
                <a:lnTo>
                  <a:pt x="119" y="285"/>
                </a:lnTo>
                <a:lnTo>
                  <a:pt x="109" y="280"/>
                </a:lnTo>
                <a:lnTo>
                  <a:pt x="95" y="272"/>
                </a:lnTo>
                <a:lnTo>
                  <a:pt x="80" y="261"/>
                </a:lnTo>
                <a:lnTo>
                  <a:pt x="76" y="256"/>
                </a:lnTo>
                <a:lnTo>
                  <a:pt x="76" y="252"/>
                </a:lnTo>
                <a:lnTo>
                  <a:pt x="76" y="252"/>
                </a:lnTo>
                <a:lnTo>
                  <a:pt x="80" y="250"/>
                </a:lnTo>
                <a:lnTo>
                  <a:pt x="85" y="250"/>
                </a:lnTo>
                <a:lnTo>
                  <a:pt x="100" y="256"/>
                </a:lnTo>
                <a:lnTo>
                  <a:pt x="113" y="263"/>
                </a:lnTo>
                <a:lnTo>
                  <a:pt x="119" y="263"/>
                </a:lnTo>
                <a:lnTo>
                  <a:pt x="122" y="263"/>
                </a:lnTo>
                <a:lnTo>
                  <a:pt x="122" y="263"/>
                </a:lnTo>
                <a:lnTo>
                  <a:pt x="117" y="258"/>
                </a:lnTo>
                <a:lnTo>
                  <a:pt x="108" y="252"/>
                </a:lnTo>
                <a:lnTo>
                  <a:pt x="108" y="252"/>
                </a:lnTo>
                <a:lnTo>
                  <a:pt x="95" y="246"/>
                </a:lnTo>
                <a:lnTo>
                  <a:pt x="78" y="235"/>
                </a:lnTo>
                <a:lnTo>
                  <a:pt x="70" y="228"/>
                </a:lnTo>
                <a:lnTo>
                  <a:pt x="67" y="220"/>
                </a:lnTo>
                <a:lnTo>
                  <a:pt x="67" y="219"/>
                </a:lnTo>
                <a:lnTo>
                  <a:pt x="67" y="215"/>
                </a:lnTo>
                <a:lnTo>
                  <a:pt x="69" y="211"/>
                </a:lnTo>
                <a:lnTo>
                  <a:pt x="72" y="207"/>
                </a:lnTo>
                <a:lnTo>
                  <a:pt x="72" y="207"/>
                </a:lnTo>
                <a:lnTo>
                  <a:pt x="76" y="207"/>
                </a:lnTo>
                <a:lnTo>
                  <a:pt x="80" y="207"/>
                </a:lnTo>
                <a:lnTo>
                  <a:pt x="91" y="209"/>
                </a:lnTo>
                <a:lnTo>
                  <a:pt x="106" y="217"/>
                </a:lnTo>
                <a:lnTo>
                  <a:pt x="122" y="224"/>
                </a:lnTo>
                <a:lnTo>
                  <a:pt x="139" y="232"/>
                </a:lnTo>
                <a:lnTo>
                  <a:pt x="152" y="241"/>
                </a:lnTo>
                <a:lnTo>
                  <a:pt x="161" y="248"/>
                </a:lnTo>
                <a:lnTo>
                  <a:pt x="163" y="252"/>
                </a:lnTo>
                <a:lnTo>
                  <a:pt x="163" y="254"/>
                </a:lnTo>
                <a:lnTo>
                  <a:pt x="163" y="254"/>
                </a:lnTo>
                <a:lnTo>
                  <a:pt x="165" y="259"/>
                </a:lnTo>
                <a:lnTo>
                  <a:pt x="167" y="261"/>
                </a:lnTo>
                <a:lnTo>
                  <a:pt x="171" y="261"/>
                </a:lnTo>
                <a:lnTo>
                  <a:pt x="178" y="259"/>
                </a:lnTo>
                <a:lnTo>
                  <a:pt x="189" y="252"/>
                </a:lnTo>
                <a:lnTo>
                  <a:pt x="202" y="248"/>
                </a:lnTo>
                <a:lnTo>
                  <a:pt x="202" y="248"/>
                </a:lnTo>
                <a:lnTo>
                  <a:pt x="206" y="246"/>
                </a:lnTo>
                <a:lnTo>
                  <a:pt x="208" y="246"/>
                </a:lnTo>
                <a:lnTo>
                  <a:pt x="209" y="245"/>
                </a:lnTo>
                <a:lnTo>
                  <a:pt x="209" y="245"/>
                </a:lnTo>
                <a:lnTo>
                  <a:pt x="206" y="243"/>
                </a:lnTo>
                <a:lnTo>
                  <a:pt x="200" y="243"/>
                </a:lnTo>
                <a:lnTo>
                  <a:pt x="185" y="245"/>
                </a:lnTo>
                <a:lnTo>
                  <a:pt x="178" y="245"/>
                </a:lnTo>
                <a:lnTo>
                  <a:pt x="172" y="243"/>
                </a:lnTo>
                <a:lnTo>
                  <a:pt x="169" y="239"/>
                </a:lnTo>
                <a:lnTo>
                  <a:pt x="167" y="233"/>
                </a:lnTo>
                <a:lnTo>
                  <a:pt x="167" y="233"/>
                </a:lnTo>
                <a:lnTo>
                  <a:pt x="167" y="232"/>
                </a:lnTo>
                <a:lnTo>
                  <a:pt x="169" y="230"/>
                </a:lnTo>
                <a:lnTo>
                  <a:pt x="176" y="228"/>
                </a:lnTo>
                <a:lnTo>
                  <a:pt x="198" y="228"/>
                </a:lnTo>
                <a:lnTo>
                  <a:pt x="208" y="226"/>
                </a:lnTo>
                <a:lnTo>
                  <a:pt x="217" y="224"/>
                </a:lnTo>
                <a:lnTo>
                  <a:pt x="222" y="222"/>
                </a:lnTo>
                <a:lnTo>
                  <a:pt x="224" y="219"/>
                </a:lnTo>
                <a:lnTo>
                  <a:pt x="224" y="217"/>
                </a:lnTo>
                <a:lnTo>
                  <a:pt x="224" y="217"/>
                </a:lnTo>
                <a:lnTo>
                  <a:pt x="222" y="215"/>
                </a:lnTo>
                <a:lnTo>
                  <a:pt x="219" y="217"/>
                </a:lnTo>
                <a:lnTo>
                  <a:pt x="213" y="219"/>
                </a:lnTo>
                <a:lnTo>
                  <a:pt x="213" y="219"/>
                </a:lnTo>
                <a:lnTo>
                  <a:pt x="202" y="222"/>
                </a:lnTo>
                <a:lnTo>
                  <a:pt x="189" y="222"/>
                </a:lnTo>
                <a:lnTo>
                  <a:pt x="165" y="222"/>
                </a:lnTo>
                <a:lnTo>
                  <a:pt x="165" y="222"/>
                </a:lnTo>
                <a:lnTo>
                  <a:pt x="146" y="219"/>
                </a:lnTo>
                <a:lnTo>
                  <a:pt x="135" y="213"/>
                </a:lnTo>
                <a:lnTo>
                  <a:pt x="124" y="207"/>
                </a:lnTo>
                <a:lnTo>
                  <a:pt x="117" y="200"/>
                </a:lnTo>
                <a:lnTo>
                  <a:pt x="111" y="193"/>
                </a:lnTo>
                <a:lnTo>
                  <a:pt x="109" y="189"/>
                </a:lnTo>
                <a:lnTo>
                  <a:pt x="111" y="185"/>
                </a:lnTo>
                <a:lnTo>
                  <a:pt x="113" y="181"/>
                </a:lnTo>
                <a:lnTo>
                  <a:pt x="117" y="176"/>
                </a:lnTo>
                <a:lnTo>
                  <a:pt x="117" y="176"/>
                </a:lnTo>
                <a:lnTo>
                  <a:pt x="124" y="176"/>
                </a:lnTo>
                <a:lnTo>
                  <a:pt x="135" y="178"/>
                </a:lnTo>
                <a:lnTo>
                  <a:pt x="169" y="187"/>
                </a:lnTo>
                <a:lnTo>
                  <a:pt x="202" y="196"/>
                </a:lnTo>
                <a:lnTo>
                  <a:pt x="215" y="198"/>
                </a:lnTo>
                <a:lnTo>
                  <a:pt x="221" y="198"/>
                </a:lnTo>
                <a:lnTo>
                  <a:pt x="221" y="198"/>
                </a:lnTo>
                <a:lnTo>
                  <a:pt x="221" y="196"/>
                </a:lnTo>
                <a:lnTo>
                  <a:pt x="221" y="194"/>
                </a:lnTo>
                <a:lnTo>
                  <a:pt x="211" y="193"/>
                </a:lnTo>
                <a:lnTo>
                  <a:pt x="189" y="189"/>
                </a:lnTo>
                <a:lnTo>
                  <a:pt x="189" y="189"/>
                </a:lnTo>
                <a:lnTo>
                  <a:pt x="174" y="185"/>
                </a:lnTo>
                <a:lnTo>
                  <a:pt x="152" y="176"/>
                </a:lnTo>
                <a:lnTo>
                  <a:pt x="141" y="169"/>
                </a:lnTo>
                <a:lnTo>
                  <a:pt x="130" y="163"/>
                </a:lnTo>
                <a:lnTo>
                  <a:pt x="124" y="156"/>
                </a:lnTo>
                <a:lnTo>
                  <a:pt x="120" y="148"/>
                </a:lnTo>
                <a:lnTo>
                  <a:pt x="120" y="148"/>
                </a:lnTo>
                <a:lnTo>
                  <a:pt x="120" y="144"/>
                </a:lnTo>
                <a:lnTo>
                  <a:pt x="120" y="141"/>
                </a:lnTo>
                <a:lnTo>
                  <a:pt x="124" y="137"/>
                </a:lnTo>
                <a:lnTo>
                  <a:pt x="128" y="135"/>
                </a:lnTo>
                <a:lnTo>
                  <a:pt x="137" y="135"/>
                </a:lnTo>
                <a:lnTo>
                  <a:pt x="150" y="137"/>
                </a:lnTo>
                <a:lnTo>
                  <a:pt x="161" y="141"/>
                </a:lnTo>
                <a:lnTo>
                  <a:pt x="174" y="144"/>
                </a:lnTo>
                <a:lnTo>
                  <a:pt x="182" y="150"/>
                </a:lnTo>
                <a:lnTo>
                  <a:pt x="187" y="154"/>
                </a:lnTo>
                <a:lnTo>
                  <a:pt x="187" y="154"/>
                </a:lnTo>
                <a:lnTo>
                  <a:pt x="191" y="156"/>
                </a:lnTo>
                <a:lnTo>
                  <a:pt x="193" y="157"/>
                </a:lnTo>
                <a:lnTo>
                  <a:pt x="195" y="156"/>
                </a:lnTo>
                <a:lnTo>
                  <a:pt x="195" y="156"/>
                </a:lnTo>
                <a:lnTo>
                  <a:pt x="195" y="154"/>
                </a:lnTo>
                <a:lnTo>
                  <a:pt x="193" y="152"/>
                </a:lnTo>
                <a:lnTo>
                  <a:pt x="189" y="146"/>
                </a:lnTo>
                <a:lnTo>
                  <a:pt x="172" y="137"/>
                </a:lnTo>
                <a:lnTo>
                  <a:pt x="156" y="130"/>
                </a:lnTo>
                <a:lnTo>
                  <a:pt x="148" y="126"/>
                </a:lnTo>
                <a:lnTo>
                  <a:pt x="145" y="120"/>
                </a:lnTo>
                <a:lnTo>
                  <a:pt x="145" y="120"/>
                </a:lnTo>
                <a:lnTo>
                  <a:pt x="145" y="120"/>
                </a:lnTo>
                <a:lnTo>
                  <a:pt x="146" y="118"/>
                </a:lnTo>
                <a:lnTo>
                  <a:pt x="150" y="117"/>
                </a:lnTo>
                <a:lnTo>
                  <a:pt x="165" y="118"/>
                </a:lnTo>
                <a:lnTo>
                  <a:pt x="191" y="126"/>
                </a:lnTo>
                <a:lnTo>
                  <a:pt x="191" y="126"/>
                </a:lnTo>
                <a:lnTo>
                  <a:pt x="191" y="126"/>
                </a:lnTo>
                <a:lnTo>
                  <a:pt x="189" y="124"/>
                </a:lnTo>
                <a:lnTo>
                  <a:pt x="182" y="117"/>
                </a:lnTo>
                <a:lnTo>
                  <a:pt x="182" y="117"/>
                </a:lnTo>
                <a:lnTo>
                  <a:pt x="178" y="115"/>
                </a:lnTo>
                <a:lnTo>
                  <a:pt x="174" y="115"/>
                </a:lnTo>
                <a:lnTo>
                  <a:pt x="165" y="115"/>
                </a:lnTo>
                <a:lnTo>
                  <a:pt x="158" y="113"/>
                </a:lnTo>
                <a:lnTo>
                  <a:pt x="158" y="111"/>
                </a:lnTo>
                <a:lnTo>
                  <a:pt x="159" y="107"/>
                </a:lnTo>
                <a:lnTo>
                  <a:pt x="159" y="107"/>
                </a:lnTo>
                <a:lnTo>
                  <a:pt x="165" y="102"/>
                </a:lnTo>
                <a:lnTo>
                  <a:pt x="171" y="100"/>
                </a:lnTo>
                <a:lnTo>
                  <a:pt x="178" y="98"/>
                </a:lnTo>
                <a:lnTo>
                  <a:pt x="187" y="98"/>
                </a:lnTo>
                <a:lnTo>
                  <a:pt x="204" y="102"/>
                </a:lnTo>
                <a:lnTo>
                  <a:pt x="221" y="109"/>
                </a:lnTo>
                <a:lnTo>
                  <a:pt x="237" y="118"/>
                </a:lnTo>
                <a:lnTo>
                  <a:pt x="248" y="130"/>
                </a:lnTo>
                <a:lnTo>
                  <a:pt x="258" y="139"/>
                </a:lnTo>
                <a:lnTo>
                  <a:pt x="260" y="143"/>
                </a:lnTo>
                <a:lnTo>
                  <a:pt x="260" y="146"/>
                </a:lnTo>
                <a:lnTo>
                  <a:pt x="260" y="146"/>
                </a:lnTo>
                <a:lnTo>
                  <a:pt x="254" y="159"/>
                </a:lnTo>
                <a:lnTo>
                  <a:pt x="254" y="161"/>
                </a:lnTo>
                <a:lnTo>
                  <a:pt x="256" y="161"/>
                </a:lnTo>
                <a:lnTo>
                  <a:pt x="260" y="156"/>
                </a:lnTo>
                <a:lnTo>
                  <a:pt x="265" y="143"/>
                </a:lnTo>
                <a:lnTo>
                  <a:pt x="265" y="143"/>
                </a:lnTo>
                <a:lnTo>
                  <a:pt x="267" y="141"/>
                </a:lnTo>
                <a:lnTo>
                  <a:pt x="269" y="141"/>
                </a:lnTo>
                <a:lnTo>
                  <a:pt x="271" y="146"/>
                </a:lnTo>
                <a:lnTo>
                  <a:pt x="271" y="146"/>
                </a:lnTo>
                <a:lnTo>
                  <a:pt x="274" y="150"/>
                </a:lnTo>
                <a:lnTo>
                  <a:pt x="278" y="154"/>
                </a:lnTo>
                <a:lnTo>
                  <a:pt x="278" y="156"/>
                </a:lnTo>
                <a:lnTo>
                  <a:pt x="276" y="157"/>
                </a:lnTo>
                <a:lnTo>
                  <a:pt x="267" y="169"/>
                </a:lnTo>
                <a:lnTo>
                  <a:pt x="267" y="169"/>
                </a:lnTo>
                <a:lnTo>
                  <a:pt x="274" y="163"/>
                </a:lnTo>
                <a:lnTo>
                  <a:pt x="284" y="159"/>
                </a:lnTo>
                <a:lnTo>
                  <a:pt x="284" y="159"/>
                </a:lnTo>
                <a:lnTo>
                  <a:pt x="284" y="170"/>
                </a:lnTo>
                <a:lnTo>
                  <a:pt x="284" y="178"/>
                </a:lnTo>
                <a:lnTo>
                  <a:pt x="284" y="178"/>
                </a:lnTo>
                <a:lnTo>
                  <a:pt x="287" y="176"/>
                </a:lnTo>
                <a:lnTo>
                  <a:pt x="287" y="172"/>
                </a:lnTo>
                <a:lnTo>
                  <a:pt x="291" y="157"/>
                </a:lnTo>
                <a:lnTo>
                  <a:pt x="293" y="148"/>
                </a:lnTo>
                <a:lnTo>
                  <a:pt x="297" y="143"/>
                </a:lnTo>
                <a:lnTo>
                  <a:pt x="300" y="137"/>
                </a:lnTo>
                <a:lnTo>
                  <a:pt x="304" y="137"/>
                </a:lnTo>
                <a:lnTo>
                  <a:pt x="308" y="137"/>
                </a:lnTo>
                <a:lnTo>
                  <a:pt x="308" y="137"/>
                </a:lnTo>
                <a:lnTo>
                  <a:pt x="315" y="139"/>
                </a:lnTo>
                <a:lnTo>
                  <a:pt x="319" y="141"/>
                </a:lnTo>
                <a:lnTo>
                  <a:pt x="321" y="144"/>
                </a:lnTo>
                <a:lnTo>
                  <a:pt x="323" y="148"/>
                </a:lnTo>
                <a:lnTo>
                  <a:pt x="324" y="157"/>
                </a:lnTo>
                <a:lnTo>
                  <a:pt x="321" y="169"/>
                </a:lnTo>
                <a:lnTo>
                  <a:pt x="313" y="189"/>
                </a:lnTo>
                <a:lnTo>
                  <a:pt x="311" y="196"/>
                </a:lnTo>
                <a:lnTo>
                  <a:pt x="311" y="200"/>
                </a:lnTo>
                <a:lnTo>
                  <a:pt x="313" y="202"/>
                </a:lnTo>
                <a:lnTo>
                  <a:pt x="313" y="202"/>
                </a:lnTo>
                <a:lnTo>
                  <a:pt x="317" y="196"/>
                </a:lnTo>
                <a:lnTo>
                  <a:pt x="324" y="181"/>
                </a:lnTo>
                <a:lnTo>
                  <a:pt x="334" y="159"/>
                </a:lnTo>
                <a:lnTo>
                  <a:pt x="334" y="159"/>
                </a:lnTo>
                <a:lnTo>
                  <a:pt x="337" y="163"/>
                </a:lnTo>
                <a:lnTo>
                  <a:pt x="341" y="167"/>
                </a:lnTo>
                <a:lnTo>
                  <a:pt x="345" y="176"/>
                </a:lnTo>
                <a:lnTo>
                  <a:pt x="345" y="176"/>
                </a:lnTo>
                <a:lnTo>
                  <a:pt x="347" y="176"/>
                </a:lnTo>
                <a:lnTo>
                  <a:pt x="350" y="178"/>
                </a:lnTo>
                <a:lnTo>
                  <a:pt x="352" y="180"/>
                </a:lnTo>
                <a:lnTo>
                  <a:pt x="352" y="183"/>
                </a:lnTo>
                <a:lnTo>
                  <a:pt x="350" y="187"/>
                </a:lnTo>
                <a:lnTo>
                  <a:pt x="348" y="191"/>
                </a:lnTo>
                <a:lnTo>
                  <a:pt x="348" y="191"/>
                </a:lnTo>
                <a:lnTo>
                  <a:pt x="343" y="196"/>
                </a:lnTo>
                <a:lnTo>
                  <a:pt x="347" y="193"/>
                </a:lnTo>
                <a:lnTo>
                  <a:pt x="361" y="178"/>
                </a:lnTo>
                <a:lnTo>
                  <a:pt x="361" y="178"/>
                </a:lnTo>
                <a:lnTo>
                  <a:pt x="363" y="176"/>
                </a:lnTo>
                <a:lnTo>
                  <a:pt x="363" y="174"/>
                </a:lnTo>
                <a:lnTo>
                  <a:pt x="360" y="165"/>
                </a:lnTo>
                <a:lnTo>
                  <a:pt x="347" y="150"/>
                </a:lnTo>
                <a:lnTo>
                  <a:pt x="347" y="150"/>
                </a:lnTo>
                <a:lnTo>
                  <a:pt x="343" y="144"/>
                </a:lnTo>
                <a:lnTo>
                  <a:pt x="343" y="139"/>
                </a:lnTo>
                <a:lnTo>
                  <a:pt x="345" y="137"/>
                </a:lnTo>
                <a:lnTo>
                  <a:pt x="347" y="135"/>
                </a:lnTo>
                <a:lnTo>
                  <a:pt x="354" y="133"/>
                </a:lnTo>
                <a:lnTo>
                  <a:pt x="358" y="131"/>
                </a:lnTo>
                <a:lnTo>
                  <a:pt x="358" y="128"/>
                </a:lnTo>
                <a:lnTo>
                  <a:pt x="358" y="128"/>
                </a:lnTo>
                <a:lnTo>
                  <a:pt x="356" y="126"/>
                </a:lnTo>
                <a:lnTo>
                  <a:pt x="352" y="128"/>
                </a:lnTo>
                <a:lnTo>
                  <a:pt x="343" y="131"/>
                </a:lnTo>
                <a:lnTo>
                  <a:pt x="343" y="131"/>
                </a:lnTo>
                <a:lnTo>
                  <a:pt x="336" y="131"/>
                </a:lnTo>
                <a:lnTo>
                  <a:pt x="328" y="130"/>
                </a:lnTo>
                <a:lnTo>
                  <a:pt x="304" y="117"/>
                </a:lnTo>
                <a:lnTo>
                  <a:pt x="304" y="117"/>
                </a:lnTo>
                <a:lnTo>
                  <a:pt x="272" y="102"/>
                </a:lnTo>
                <a:lnTo>
                  <a:pt x="260" y="93"/>
                </a:lnTo>
                <a:lnTo>
                  <a:pt x="256" y="91"/>
                </a:lnTo>
                <a:lnTo>
                  <a:pt x="256" y="89"/>
                </a:lnTo>
                <a:lnTo>
                  <a:pt x="258" y="89"/>
                </a:lnTo>
                <a:lnTo>
                  <a:pt x="258" y="89"/>
                </a:lnTo>
                <a:lnTo>
                  <a:pt x="291" y="85"/>
                </a:lnTo>
                <a:lnTo>
                  <a:pt x="332" y="83"/>
                </a:lnTo>
                <a:lnTo>
                  <a:pt x="356" y="80"/>
                </a:lnTo>
                <a:lnTo>
                  <a:pt x="356" y="80"/>
                </a:lnTo>
                <a:lnTo>
                  <a:pt x="352" y="80"/>
                </a:lnTo>
                <a:lnTo>
                  <a:pt x="336" y="78"/>
                </a:lnTo>
                <a:lnTo>
                  <a:pt x="336" y="78"/>
                </a:lnTo>
                <a:lnTo>
                  <a:pt x="330" y="76"/>
                </a:lnTo>
                <a:lnTo>
                  <a:pt x="328" y="74"/>
                </a:lnTo>
                <a:lnTo>
                  <a:pt x="328" y="72"/>
                </a:lnTo>
                <a:lnTo>
                  <a:pt x="332" y="70"/>
                </a:lnTo>
                <a:lnTo>
                  <a:pt x="339" y="67"/>
                </a:lnTo>
                <a:lnTo>
                  <a:pt x="343" y="63"/>
                </a:lnTo>
                <a:lnTo>
                  <a:pt x="343" y="63"/>
                </a:lnTo>
                <a:lnTo>
                  <a:pt x="339" y="63"/>
                </a:lnTo>
                <a:lnTo>
                  <a:pt x="336" y="65"/>
                </a:lnTo>
                <a:lnTo>
                  <a:pt x="328" y="68"/>
                </a:lnTo>
                <a:lnTo>
                  <a:pt x="319" y="70"/>
                </a:lnTo>
                <a:lnTo>
                  <a:pt x="313" y="72"/>
                </a:lnTo>
                <a:lnTo>
                  <a:pt x="308" y="70"/>
                </a:lnTo>
                <a:lnTo>
                  <a:pt x="308" y="70"/>
                </a:lnTo>
                <a:lnTo>
                  <a:pt x="304" y="68"/>
                </a:lnTo>
                <a:lnTo>
                  <a:pt x="304" y="67"/>
                </a:lnTo>
                <a:lnTo>
                  <a:pt x="308" y="61"/>
                </a:lnTo>
                <a:lnTo>
                  <a:pt x="308" y="61"/>
                </a:lnTo>
                <a:lnTo>
                  <a:pt x="313" y="54"/>
                </a:lnTo>
                <a:lnTo>
                  <a:pt x="313" y="52"/>
                </a:lnTo>
                <a:lnTo>
                  <a:pt x="313" y="52"/>
                </a:lnTo>
                <a:lnTo>
                  <a:pt x="308" y="52"/>
                </a:lnTo>
                <a:lnTo>
                  <a:pt x="300" y="54"/>
                </a:lnTo>
                <a:lnTo>
                  <a:pt x="280" y="61"/>
                </a:lnTo>
                <a:lnTo>
                  <a:pt x="265" y="68"/>
                </a:lnTo>
                <a:lnTo>
                  <a:pt x="265" y="68"/>
                </a:lnTo>
                <a:lnTo>
                  <a:pt x="261" y="68"/>
                </a:lnTo>
                <a:lnTo>
                  <a:pt x="256" y="68"/>
                </a:lnTo>
                <a:lnTo>
                  <a:pt x="243" y="65"/>
                </a:lnTo>
                <a:lnTo>
                  <a:pt x="230" y="59"/>
                </a:lnTo>
                <a:lnTo>
                  <a:pt x="226" y="55"/>
                </a:lnTo>
                <a:lnTo>
                  <a:pt x="224" y="52"/>
                </a:lnTo>
                <a:lnTo>
                  <a:pt x="224" y="52"/>
                </a:lnTo>
                <a:lnTo>
                  <a:pt x="228" y="52"/>
                </a:lnTo>
                <a:lnTo>
                  <a:pt x="237" y="52"/>
                </a:lnTo>
                <a:lnTo>
                  <a:pt x="247" y="50"/>
                </a:lnTo>
                <a:lnTo>
                  <a:pt x="250" y="46"/>
                </a:lnTo>
                <a:lnTo>
                  <a:pt x="252" y="42"/>
                </a:lnTo>
                <a:lnTo>
                  <a:pt x="252" y="42"/>
                </a:lnTo>
                <a:lnTo>
                  <a:pt x="250" y="41"/>
                </a:lnTo>
                <a:lnTo>
                  <a:pt x="248" y="39"/>
                </a:lnTo>
                <a:lnTo>
                  <a:pt x="241" y="37"/>
                </a:lnTo>
                <a:lnTo>
                  <a:pt x="235" y="33"/>
                </a:lnTo>
                <a:lnTo>
                  <a:pt x="234" y="31"/>
                </a:lnTo>
                <a:lnTo>
                  <a:pt x="234" y="29"/>
                </a:lnTo>
                <a:lnTo>
                  <a:pt x="234" y="29"/>
                </a:lnTo>
                <a:lnTo>
                  <a:pt x="235" y="28"/>
                </a:lnTo>
                <a:lnTo>
                  <a:pt x="239" y="28"/>
                </a:lnTo>
                <a:lnTo>
                  <a:pt x="245" y="29"/>
                </a:lnTo>
                <a:lnTo>
                  <a:pt x="254" y="35"/>
                </a:lnTo>
                <a:lnTo>
                  <a:pt x="254" y="35"/>
                </a:lnTo>
                <a:lnTo>
                  <a:pt x="254" y="29"/>
                </a:lnTo>
                <a:lnTo>
                  <a:pt x="258" y="28"/>
                </a:lnTo>
                <a:lnTo>
                  <a:pt x="261" y="28"/>
                </a:lnTo>
                <a:lnTo>
                  <a:pt x="265" y="28"/>
                </a:lnTo>
                <a:lnTo>
                  <a:pt x="280" y="31"/>
                </a:lnTo>
                <a:lnTo>
                  <a:pt x="280" y="31"/>
                </a:lnTo>
                <a:lnTo>
                  <a:pt x="276" y="28"/>
                </a:lnTo>
                <a:lnTo>
                  <a:pt x="271" y="26"/>
                </a:lnTo>
                <a:lnTo>
                  <a:pt x="265" y="20"/>
                </a:lnTo>
                <a:lnTo>
                  <a:pt x="265" y="20"/>
                </a:lnTo>
                <a:lnTo>
                  <a:pt x="267" y="18"/>
                </a:lnTo>
                <a:lnTo>
                  <a:pt x="272" y="18"/>
                </a:lnTo>
                <a:lnTo>
                  <a:pt x="284" y="24"/>
                </a:lnTo>
                <a:lnTo>
                  <a:pt x="304" y="33"/>
                </a:lnTo>
                <a:lnTo>
                  <a:pt x="304" y="33"/>
                </a:lnTo>
                <a:lnTo>
                  <a:pt x="310" y="33"/>
                </a:lnTo>
                <a:lnTo>
                  <a:pt x="313" y="33"/>
                </a:lnTo>
                <a:lnTo>
                  <a:pt x="319" y="28"/>
                </a:lnTo>
                <a:lnTo>
                  <a:pt x="323" y="26"/>
                </a:lnTo>
                <a:lnTo>
                  <a:pt x="326" y="26"/>
                </a:lnTo>
                <a:lnTo>
                  <a:pt x="332" y="26"/>
                </a:lnTo>
                <a:lnTo>
                  <a:pt x="339" y="28"/>
                </a:lnTo>
                <a:lnTo>
                  <a:pt x="339" y="28"/>
                </a:lnTo>
                <a:lnTo>
                  <a:pt x="343" y="31"/>
                </a:lnTo>
                <a:lnTo>
                  <a:pt x="345" y="33"/>
                </a:lnTo>
                <a:lnTo>
                  <a:pt x="347" y="31"/>
                </a:lnTo>
                <a:lnTo>
                  <a:pt x="347" y="31"/>
                </a:lnTo>
                <a:lnTo>
                  <a:pt x="348" y="29"/>
                </a:lnTo>
                <a:lnTo>
                  <a:pt x="348" y="28"/>
                </a:lnTo>
                <a:lnTo>
                  <a:pt x="348" y="26"/>
                </a:lnTo>
                <a:lnTo>
                  <a:pt x="345" y="22"/>
                </a:lnTo>
                <a:lnTo>
                  <a:pt x="345" y="20"/>
                </a:lnTo>
                <a:lnTo>
                  <a:pt x="345" y="20"/>
                </a:lnTo>
                <a:lnTo>
                  <a:pt x="345" y="20"/>
                </a:lnTo>
                <a:lnTo>
                  <a:pt x="350" y="18"/>
                </a:lnTo>
                <a:lnTo>
                  <a:pt x="354" y="20"/>
                </a:lnTo>
                <a:lnTo>
                  <a:pt x="358" y="22"/>
                </a:lnTo>
                <a:lnTo>
                  <a:pt x="360" y="26"/>
                </a:lnTo>
                <a:lnTo>
                  <a:pt x="369" y="41"/>
                </a:lnTo>
                <a:lnTo>
                  <a:pt x="376" y="48"/>
                </a:lnTo>
                <a:lnTo>
                  <a:pt x="387" y="57"/>
                </a:lnTo>
                <a:lnTo>
                  <a:pt x="387" y="57"/>
                </a:lnTo>
                <a:lnTo>
                  <a:pt x="387" y="59"/>
                </a:lnTo>
                <a:lnTo>
                  <a:pt x="387" y="61"/>
                </a:lnTo>
                <a:lnTo>
                  <a:pt x="386" y="67"/>
                </a:lnTo>
                <a:lnTo>
                  <a:pt x="382" y="72"/>
                </a:lnTo>
                <a:lnTo>
                  <a:pt x="382" y="74"/>
                </a:lnTo>
                <a:lnTo>
                  <a:pt x="382" y="76"/>
                </a:lnTo>
                <a:lnTo>
                  <a:pt x="382" y="76"/>
                </a:lnTo>
                <a:lnTo>
                  <a:pt x="384" y="78"/>
                </a:lnTo>
                <a:lnTo>
                  <a:pt x="387" y="78"/>
                </a:lnTo>
                <a:lnTo>
                  <a:pt x="395" y="76"/>
                </a:lnTo>
                <a:lnTo>
                  <a:pt x="406" y="70"/>
                </a:lnTo>
                <a:lnTo>
                  <a:pt x="406" y="70"/>
                </a:lnTo>
                <a:lnTo>
                  <a:pt x="415" y="74"/>
                </a:lnTo>
                <a:lnTo>
                  <a:pt x="425" y="80"/>
                </a:lnTo>
                <a:lnTo>
                  <a:pt x="430" y="85"/>
                </a:lnTo>
                <a:lnTo>
                  <a:pt x="430" y="87"/>
                </a:lnTo>
                <a:lnTo>
                  <a:pt x="428" y="91"/>
                </a:lnTo>
                <a:lnTo>
                  <a:pt x="428" y="91"/>
                </a:lnTo>
                <a:lnTo>
                  <a:pt x="425" y="93"/>
                </a:lnTo>
                <a:lnTo>
                  <a:pt x="423" y="94"/>
                </a:lnTo>
                <a:lnTo>
                  <a:pt x="423" y="94"/>
                </a:lnTo>
                <a:lnTo>
                  <a:pt x="423" y="94"/>
                </a:lnTo>
                <a:lnTo>
                  <a:pt x="443" y="94"/>
                </a:lnTo>
                <a:lnTo>
                  <a:pt x="454" y="96"/>
                </a:lnTo>
                <a:lnTo>
                  <a:pt x="458" y="98"/>
                </a:lnTo>
                <a:lnTo>
                  <a:pt x="462" y="100"/>
                </a:lnTo>
                <a:lnTo>
                  <a:pt x="462" y="100"/>
                </a:lnTo>
                <a:lnTo>
                  <a:pt x="465" y="105"/>
                </a:lnTo>
                <a:lnTo>
                  <a:pt x="467" y="111"/>
                </a:lnTo>
                <a:lnTo>
                  <a:pt x="471" y="126"/>
                </a:lnTo>
                <a:lnTo>
                  <a:pt x="473" y="139"/>
                </a:lnTo>
                <a:lnTo>
                  <a:pt x="475" y="144"/>
                </a:lnTo>
                <a:lnTo>
                  <a:pt x="475" y="146"/>
                </a:lnTo>
                <a:lnTo>
                  <a:pt x="475" y="146"/>
                </a:lnTo>
                <a:lnTo>
                  <a:pt x="478" y="148"/>
                </a:lnTo>
                <a:lnTo>
                  <a:pt x="480" y="146"/>
                </a:lnTo>
                <a:lnTo>
                  <a:pt x="484" y="143"/>
                </a:lnTo>
                <a:lnTo>
                  <a:pt x="484" y="143"/>
                </a:lnTo>
                <a:lnTo>
                  <a:pt x="484" y="139"/>
                </a:lnTo>
                <a:lnTo>
                  <a:pt x="482" y="135"/>
                </a:lnTo>
                <a:lnTo>
                  <a:pt x="480" y="130"/>
                </a:lnTo>
                <a:lnTo>
                  <a:pt x="480" y="130"/>
                </a:lnTo>
                <a:lnTo>
                  <a:pt x="488" y="124"/>
                </a:lnTo>
                <a:lnTo>
                  <a:pt x="493" y="124"/>
                </a:lnTo>
                <a:lnTo>
                  <a:pt x="495" y="128"/>
                </a:lnTo>
                <a:lnTo>
                  <a:pt x="497" y="131"/>
                </a:lnTo>
                <a:lnTo>
                  <a:pt x="499" y="141"/>
                </a:lnTo>
                <a:lnTo>
                  <a:pt x="499" y="146"/>
                </a:lnTo>
                <a:lnTo>
                  <a:pt x="499" y="146"/>
                </a:lnTo>
                <a:lnTo>
                  <a:pt x="502" y="148"/>
                </a:lnTo>
                <a:lnTo>
                  <a:pt x="508" y="148"/>
                </a:lnTo>
                <a:lnTo>
                  <a:pt x="517" y="146"/>
                </a:lnTo>
                <a:lnTo>
                  <a:pt x="521" y="146"/>
                </a:lnTo>
                <a:lnTo>
                  <a:pt x="525" y="146"/>
                </a:lnTo>
                <a:lnTo>
                  <a:pt x="528" y="148"/>
                </a:lnTo>
                <a:lnTo>
                  <a:pt x="532" y="154"/>
                </a:lnTo>
                <a:lnTo>
                  <a:pt x="532" y="154"/>
                </a:lnTo>
                <a:lnTo>
                  <a:pt x="532" y="154"/>
                </a:lnTo>
                <a:lnTo>
                  <a:pt x="532" y="156"/>
                </a:lnTo>
                <a:lnTo>
                  <a:pt x="532" y="157"/>
                </a:lnTo>
                <a:lnTo>
                  <a:pt x="528" y="157"/>
                </a:lnTo>
                <a:lnTo>
                  <a:pt x="517" y="157"/>
                </a:lnTo>
                <a:lnTo>
                  <a:pt x="517" y="157"/>
                </a:lnTo>
                <a:lnTo>
                  <a:pt x="510" y="159"/>
                </a:lnTo>
                <a:lnTo>
                  <a:pt x="502" y="161"/>
                </a:lnTo>
                <a:lnTo>
                  <a:pt x="502" y="161"/>
                </a:lnTo>
                <a:lnTo>
                  <a:pt x="499" y="161"/>
                </a:lnTo>
                <a:lnTo>
                  <a:pt x="504" y="161"/>
                </a:lnTo>
                <a:lnTo>
                  <a:pt x="513" y="163"/>
                </a:lnTo>
                <a:lnTo>
                  <a:pt x="523" y="165"/>
                </a:lnTo>
                <a:lnTo>
                  <a:pt x="523" y="165"/>
                </a:lnTo>
                <a:lnTo>
                  <a:pt x="523" y="165"/>
                </a:lnTo>
                <a:lnTo>
                  <a:pt x="517" y="169"/>
                </a:lnTo>
                <a:lnTo>
                  <a:pt x="513" y="172"/>
                </a:lnTo>
                <a:lnTo>
                  <a:pt x="513" y="172"/>
                </a:lnTo>
                <a:lnTo>
                  <a:pt x="517" y="172"/>
                </a:lnTo>
                <a:lnTo>
                  <a:pt x="523" y="172"/>
                </a:lnTo>
                <a:lnTo>
                  <a:pt x="534" y="170"/>
                </a:lnTo>
                <a:lnTo>
                  <a:pt x="534" y="170"/>
                </a:lnTo>
                <a:lnTo>
                  <a:pt x="536" y="172"/>
                </a:lnTo>
                <a:lnTo>
                  <a:pt x="536" y="174"/>
                </a:lnTo>
                <a:lnTo>
                  <a:pt x="534" y="180"/>
                </a:lnTo>
                <a:lnTo>
                  <a:pt x="534" y="185"/>
                </a:lnTo>
                <a:lnTo>
                  <a:pt x="534" y="189"/>
                </a:lnTo>
                <a:lnTo>
                  <a:pt x="534" y="189"/>
                </a:lnTo>
                <a:lnTo>
                  <a:pt x="534" y="189"/>
                </a:lnTo>
                <a:lnTo>
                  <a:pt x="538" y="191"/>
                </a:lnTo>
                <a:lnTo>
                  <a:pt x="539" y="193"/>
                </a:lnTo>
                <a:lnTo>
                  <a:pt x="539" y="193"/>
                </a:lnTo>
                <a:lnTo>
                  <a:pt x="539" y="193"/>
                </a:lnTo>
                <a:lnTo>
                  <a:pt x="538" y="198"/>
                </a:lnTo>
                <a:lnTo>
                  <a:pt x="532" y="202"/>
                </a:lnTo>
                <a:lnTo>
                  <a:pt x="521" y="206"/>
                </a:lnTo>
                <a:lnTo>
                  <a:pt x="512" y="211"/>
                </a:lnTo>
                <a:lnTo>
                  <a:pt x="508" y="215"/>
                </a:lnTo>
                <a:lnTo>
                  <a:pt x="506" y="220"/>
                </a:lnTo>
                <a:lnTo>
                  <a:pt x="506" y="220"/>
                </a:lnTo>
                <a:lnTo>
                  <a:pt x="508" y="222"/>
                </a:lnTo>
                <a:lnTo>
                  <a:pt x="512" y="224"/>
                </a:lnTo>
                <a:lnTo>
                  <a:pt x="521" y="224"/>
                </a:lnTo>
                <a:lnTo>
                  <a:pt x="528" y="226"/>
                </a:lnTo>
                <a:lnTo>
                  <a:pt x="530" y="226"/>
                </a:lnTo>
                <a:lnTo>
                  <a:pt x="530" y="228"/>
                </a:lnTo>
                <a:lnTo>
                  <a:pt x="530" y="228"/>
                </a:lnTo>
                <a:lnTo>
                  <a:pt x="525" y="235"/>
                </a:lnTo>
                <a:lnTo>
                  <a:pt x="519" y="239"/>
                </a:lnTo>
                <a:lnTo>
                  <a:pt x="512" y="243"/>
                </a:lnTo>
                <a:lnTo>
                  <a:pt x="508" y="243"/>
                </a:lnTo>
                <a:lnTo>
                  <a:pt x="502" y="241"/>
                </a:lnTo>
                <a:lnTo>
                  <a:pt x="497" y="239"/>
                </a:lnTo>
                <a:lnTo>
                  <a:pt x="488" y="232"/>
                </a:lnTo>
                <a:lnTo>
                  <a:pt x="478" y="224"/>
                </a:lnTo>
                <a:lnTo>
                  <a:pt x="471" y="217"/>
                </a:lnTo>
                <a:lnTo>
                  <a:pt x="467" y="215"/>
                </a:lnTo>
                <a:lnTo>
                  <a:pt x="463" y="215"/>
                </a:lnTo>
                <a:lnTo>
                  <a:pt x="460" y="217"/>
                </a:lnTo>
                <a:lnTo>
                  <a:pt x="458" y="219"/>
                </a:lnTo>
                <a:lnTo>
                  <a:pt x="458" y="219"/>
                </a:lnTo>
                <a:lnTo>
                  <a:pt x="463" y="222"/>
                </a:lnTo>
                <a:lnTo>
                  <a:pt x="471" y="226"/>
                </a:lnTo>
                <a:lnTo>
                  <a:pt x="471" y="226"/>
                </a:lnTo>
                <a:lnTo>
                  <a:pt x="478" y="239"/>
                </a:lnTo>
                <a:lnTo>
                  <a:pt x="484" y="246"/>
                </a:lnTo>
                <a:lnTo>
                  <a:pt x="491" y="250"/>
                </a:lnTo>
                <a:lnTo>
                  <a:pt x="499" y="252"/>
                </a:lnTo>
                <a:lnTo>
                  <a:pt x="510" y="252"/>
                </a:lnTo>
                <a:lnTo>
                  <a:pt x="515" y="254"/>
                </a:lnTo>
                <a:lnTo>
                  <a:pt x="519" y="258"/>
                </a:lnTo>
                <a:lnTo>
                  <a:pt x="519" y="258"/>
                </a:lnTo>
                <a:lnTo>
                  <a:pt x="521" y="259"/>
                </a:lnTo>
                <a:lnTo>
                  <a:pt x="519" y="263"/>
                </a:lnTo>
                <a:lnTo>
                  <a:pt x="513" y="269"/>
                </a:lnTo>
                <a:lnTo>
                  <a:pt x="508" y="274"/>
                </a:lnTo>
                <a:lnTo>
                  <a:pt x="506" y="276"/>
                </a:lnTo>
                <a:lnTo>
                  <a:pt x="506" y="278"/>
                </a:lnTo>
                <a:lnTo>
                  <a:pt x="506" y="278"/>
                </a:lnTo>
                <a:lnTo>
                  <a:pt x="510" y="278"/>
                </a:lnTo>
                <a:lnTo>
                  <a:pt x="513" y="276"/>
                </a:lnTo>
                <a:lnTo>
                  <a:pt x="525" y="269"/>
                </a:lnTo>
                <a:lnTo>
                  <a:pt x="528" y="267"/>
                </a:lnTo>
                <a:lnTo>
                  <a:pt x="534" y="267"/>
                </a:lnTo>
                <a:lnTo>
                  <a:pt x="536" y="270"/>
                </a:lnTo>
                <a:lnTo>
                  <a:pt x="538" y="280"/>
                </a:lnTo>
                <a:lnTo>
                  <a:pt x="538" y="280"/>
                </a:lnTo>
                <a:lnTo>
                  <a:pt x="536" y="287"/>
                </a:lnTo>
                <a:lnTo>
                  <a:pt x="530" y="293"/>
                </a:lnTo>
                <a:lnTo>
                  <a:pt x="517" y="304"/>
                </a:lnTo>
                <a:lnTo>
                  <a:pt x="517" y="304"/>
                </a:lnTo>
                <a:lnTo>
                  <a:pt x="508" y="311"/>
                </a:lnTo>
                <a:lnTo>
                  <a:pt x="508" y="311"/>
                </a:lnTo>
                <a:lnTo>
                  <a:pt x="510" y="311"/>
                </a:lnTo>
                <a:lnTo>
                  <a:pt x="513" y="311"/>
                </a:lnTo>
                <a:lnTo>
                  <a:pt x="523" y="306"/>
                </a:lnTo>
                <a:lnTo>
                  <a:pt x="532" y="300"/>
                </a:lnTo>
                <a:lnTo>
                  <a:pt x="536" y="300"/>
                </a:lnTo>
                <a:lnTo>
                  <a:pt x="539" y="300"/>
                </a:lnTo>
                <a:lnTo>
                  <a:pt x="539" y="300"/>
                </a:lnTo>
                <a:lnTo>
                  <a:pt x="547" y="306"/>
                </a:lnTo>
                <a:lnTo>
                  <a:pt x="551" y="313"/>
                </a:lnTo>
                <a:lnTo>
                  <a:pt x="554" y="322"/>
                </a:lnTo>
                <a:lnTo>
                  <a:pt x="556" y="334"/>
                </a:lnTo>
                <a:lnTo>
                  <a:pt x="558" y="354"/>
                </a:lnTo>
                <a:lnTo>
                  <a:pt x="560" y="363"/>
                </a:lnTo>
                <a:lnTo>
                  <a:pt x="565" y="372"/>
                </a:lnTo>
                <a:lnTo>
                  <a:pt x="565" y="372"/>
                </a:lnTo>
                <a:lnTo>
                  <a:pt x="567" y="376"/>
                </a:lnTo>
                <a:lnTo>
                  <a:pt x="569" y="382"/>
                </a:lnTo>
                <a:lnTo>
                  <a:pt x="569" y="385"/>
                </a:lnTo>
                <a:lnTo>
                  <a:pt x="569" y="389"/>
                </a:lnTo>
                <a:lnTo>
                  <a:pt x="569" y="389"/>
                </a:lnTo>
                <a:lnTo>
                  <a:pt x="571" y="389"/>
                </a:lnTo>
                <a:lnTo>
                  <a:pt x="573" y="389"/>
                </a:lnTo>
                <a:lnTo>
                  <a:pt x="575" y="382"/>
                </a:lnTo>
                <a:lnTo>
                  <a:pt x="573" y="372"/>
                </a:lnTo>
                <a:lnTo>
                  <a:pt x="573" y="367"/>
                </a:lnTo>
                <a:lnTo>
                  <a:pt x="573" y="367"/>
                </a:lnTo>
                <a:lnTo>
                  <a:pt x="569" y="363"/>
                </a:lnTo>
                <a:lnTo>
                  <a:pt x="569" y="359"/>
                </a:lnTo>
                <a:lnTo>
                  <a:pt x="571" y="354"/>
                </a:lnTo>
                <a:lnTo>
                  <a:pt x="573" y="346"/>
                </a:lnTo>
                <a:lnTo>
                  <a:pt x="575" y="339"/>
                </a:lnTo>
                <a:lnTo>
                  <a:pt x="575" y="339"/>
                </a:lnTo>
                <a:lnTo>
                  <a:pt x="571" y="322"/>
                </a:lnTo>
                <a:lnTo>
                  <a:pt x="569" y="313"/>
                </a:lnTo>
                <a:lnTo>
                  <a:pt x="569" y="309"/>
                </a:lnTo>
                <a:lnTo>
                  <a:pt x="571" y="308"/>
                </a:lnTo>
                <a:lnTo>
                  <a:pt x="571" y="308"/>
                </a:lnTo>
                <a:lnTo>
                  <a:pt x="575" y="308"/>
                </a:lnTo>
                <a:lnTo>
                  <a:pt x="578" y="311"/>
                </a:lnTo>
                <a:lnTo>
                  <a:pt x="586" y="324"/>
                </a:lnTo>
                <a:lnTo>
                  <a:pt x="595" y="337"/>
                </a:lnTo>
                <a:lnTo>
                  <a:pt x="599" y="339"/>
                </a:lnTo>
                <a:lnTo>
                  <a:pt x="601" y="339"/>
                </a:lnTo>
                <a:lnTo>
                  <a:pt x="601" y="339"/>
                </a:lnTo>
                <a:lnTo>
                  <a:pt x="601" y="339"/>
                </a:lnTo>
                <a:lnTo>
                  <a:pt x="601" y="335"/>
                </a:lnTo>
                <a:lnTo>
                  <a:pt x="601" y="335"/>
                </a:lnTo>
                <a:lnTo>
                  <a:pt x="597" y="330"/>
                </a:lnTo>
                <a:lnTo>
                  <a:pt x="595" y="322"/>
                </a:lnTo>
                <a:lnTo>
                  <a:pt x="591" y="308"/>
                </a:lnTo>
                <a:lnTo>
                  <a:pt x="593" y="291"/>
                </a:lnTo>
                <a:lnTo>
                  <a:pt x="597" y="274"/>
                </a:lnTo>
                <a:lnTo>
                  <a:pt x="604" y="261"/>
                </a:lnTo>
                <a:lnTo>
                  <a:pt x="614" y="248"/>
                </a:lnTo>
                <a:lnTo>
                  <a:pt x="619" y="245"/>
                </a:lnTo>
                <a:lnTo>
                  <a:pt x="627" y="243"/>
                </a:lnTo>
                <a:lnTo>
                  <a:pt x="632" y="241"/>
                </a:lnTo>
                <a:lnTo>
                  <a:pt x="640" y="241"/>
                </a:lnTo>
                <a:lnTo>
                  <a:pt x="640" y="241"/>
                </a:lnTo>
                <a:lnTo>
                  <a:pt x="645" y="243"/>
                </a:lnTo>
                <a:lnTo>
                  <a:pt x="647" y="246"/>
                </a:lnTo>
                <a:lnTo>
                  <a:pt x="647" y="254"/>
                </a:lnTo>
                <a:lnTo>
                  <a:pt x="647" y="261"/>
                </a:lnTo>
                <a:lnTo>
                  <a:pt x="643" y="274"/>
                </a:lnTo>
                <a:lnTo>
                  <a:pt x="643" y="280"/>
                </a:lnTo>
                <a:lnTo>
                  <a:pt x="645" y="283"/>
                </a:lnTo>
                <a:lnTo>
                  <a:pt x="645" y="283"/>
                </a:lnTo>
                <a:lnTo>
                  <a:pt x="649" y="282"/>
                </a:lnTo>
                <a:lnTo>
                  <a:pt x="653" y="278"/>
                </a:lnTo>
                <a:lnTo>
                  <a:pt x="656" y="276"/>
                </a:lnTo>
                <a:lnTo>
                  <a:pt x="656" y="276"/>
                </a:lnTo>
                <a:lnTo>
                  <a:pt x="656" y="276"/>
                </a:lnTo>
                <a:lnTo>
                  <a:pt x="656" y="276"/>
                </a:lnTo>
                <a:lnTo>
                  <a:pt x="658" y="283"/>
                </a:lnTo>
                <a:lnTo>
                  <a:pt x="662" y="293"/>
                </a:lnTo>
                <a:lnTo>
                  <a:pt x="665" y="296"/>
                </a:lnTo>
                <a:lnTo>
                  <a:pt x="669" y="298"/>
                </a:lnTo>
                <a:lnTo>
                  <a:pt x="673" y="298"/>
                </a:lnTo>
                <a:lnTo>
                  <a:pt x="677" y="296"/>
                </a:lnTo>
                <a:lnTo>
                  <a:pt x="677" y="296"/>
                </a:lnTo>
                <a:lnTo>
                  <a:pt x="680" y="291"/>
                </a:lnTo>
                <a:lnTo>
                  <a:pt x="680" y="287"/>
                </a:lnTo>
                <a:lnTo>
                  <a:pt x="677" y="283"/>
                </a:lnTo>
                <a:lnTo>
                  <a:pt x="673" y="280"/>
                </a:lnTo>
                <a:lnTo>
                  <a:pt x="669" y="278"/>
                </a:lnTo>
                <a:lnTo>
                  <a:pt x="669" y="274"/>
                </a:lnTo>
                <a:lnTo>
                  <a:pt x="673" y="270"/>
                </a:lnTo>
                <a:lnTo>
                  <a:pt x="682" y="269"/>
                </a:lnTo>
                <a:lnTo>
                  <a:pt x="682" y="269"/>
                </a:lnTo>
                <a:lnTo>
                  <a:pt x="684" y="269"/>
                </a:lnTo>
                <a:lnTo>
                  <a:pt x="684" y="270"/>
                </a:lnTo>
                <a:lnTo>
                  <a:pt x="686" y="276"/>
                </a:lnTo>
                <a:lnTo>
                  <a:pt x="688" y="283"/>
                </a:lnTo>
                <a:lnTo>
                  <a:pt x="690" y="283"/>
                </a:lnTo>
                <a:lnTo>
                  <a:pt x="690" y="283"/>
                </a:lnTo>
                <a:lnTo>
                  <a:pt x="690" y="283"/>
                </a:lnTo>
                <a:lnTo>
                  <a:pt x="697" y="272"/>
                </a:lnTo>
                <a:lnTo>
                  <a:pt x="701" y="261"/>
                </a:lnTo>
                <a:lnTo>
                  <a:pt x="704" y="250"/>
                </a:lnTo>
                <a:lnTo>
                  <a:pt x="704" y="241"/>
                </a:lnTo>
                <a:lnTo>
                  <a:pt x="704" y="232"/>
                </a:lnTo>
                <a:lnTo>
                  <a:pt x="704" y="222"/>
                </a:lnTo>
                <a:lnTo>
                  <a:pt x="699" y="206"/>
                </a:lnTo>
                <a:lnTo>
                  <a:pt x="691" y="187"/>
                </a:lnTo>
                <a:lnTo>
                  <a:pt x="684" y="170"/>
                </a:lnTo>
                <a:lnTo>
                  <a:pt x="680" y="150"/>
                </a:lnTo>
                <a:lnTo>
                  <a:pt x="680" y="141"/>
                </a:lnTo>
                <a:lnTo>
                  <a:pt x="680" y="130"/>
                </a:lnTo>
                <a:lnTo>
                  <a:pt x="680" y="130"/>
                </a:lnTo>
                <a:lnTo>
                  <a:pt x="684" y="126"/>
                </a:lnTo>
                <a:lnTo>
                  <a:pt x="688" y="124"/>
                </a:lnTo>
                <a:lnTo>
                  <a:pt x="704" y="122"/>
                </a:lnTo>
                <a:lnTo>
                  <a:pt x="721" y="120"/>
                </a:lnTo>
                <a:lnTo>
                  <a:pt x="734" y="117"/>
                </a:lnTo>
                <a:lnTo>
                  <a:pt x="734" y="117"/>
                </a:lnTo>
                <a:lnTo>
                  <a:pt x="738" y="118"/>
                </a:lnTo>
                <a:lnTo>
                  <a:pt x="741" y="122"/>
                </a:lnTo>
                <a:lnTo>
                  <a:pt x="751" y="143"/>
                </a:lnTo>
                <a:lnTo>
                  <a:pt x="751" y="143"/>
                </a:lnTo>
                <a:lnTo>
                  <a:pt x="751" y="143"/>
                </a:lnTo>
                <a:lnTo>
                  <a:pt x="758" y="156"/>
                </a:lnTo>
                <a:lnTo>
                  <a:pt x="764" y="165"/>
                </a:lnTo>
                <a:lnTo>
                  <a:pt x="771" y="172"/>
                </a:lnTo>
                <a:lnTo>
                  <a:pt x="779" y="178"/>
                </a:lnTo>
                <a:lnTo>
                  <a:pt x="792" y="183"/>
                </a:lnTo>
                <a:lnTo>
                  <a:pt x="797" y="187"/>
                </a:lnTo>
                <a:lnTo>
                  <a:pt x="801" y="193"/>
                </a:lnTo>
                <a:lnTo>
                  <a:pt x="801" y="193"/>
                </a:lnTo>
                <a:lnTo>
                  <a:pt x="805" y="200"/>
                </a:lnTo>
                <a:lnTo>
                  <a:pt x="806" y="207"/>
                </a:lnTo>
                <a:lnTo>
                  <a:pt x="806" y="217"/>
                </a:lnTo>
                <a:lnTo>
                  <a:pt x="810" y="224"/>
                </a:lnTo>
                <a:lnTo>
                  <a:pt x="810" y="224"/>
                </a:lnTo>
                <a:lnTo>
                  <a:pt x="812" y="224"/>
                </a:lnTo>
                <a:lnTo>
                  <a:pt x="812" y="224"/>
                </a:lnTo>
                <a:lnTo>
                  <a:pt x="816" y="226"/>
                </a:lnTo>
                <a:lnTo>
                  <a:pt x="819" y="226"/>
                </a:lnTo>
                <a:lnTo>
                  <a:pt x="821" y="226"/>
                </a:lnTo>
                <a:lnTo>
                  <a:pt x="823" y="224"/>
                </a:lnTo>
                <a:lnTo>
                  <a:pt x="825" y="220"/>
                </a:lnTo>
                <a:lnTo>
                  <a:pt x="827" y="220"/>
                </a:lnTo>
                <a:lnTo>
                  <a:pt x="829" y="220"/>
                </a:lnTo>
                <a:lnTo>
                  <a:pt x="829" y="220"/>
                </a:lnTo>
                <a:lnTo>
                  <a:pt x="834" y="220"/>
                </a:lnTo>
                <a:lnTo>
                  <a:pt x="836" y="222"/>
                </a:lnTo>
                <a:lnTo>
                  <a:pt x="840" y="226"/>
                </a:lnTo>
                <a:lnTo>
                  <a:pt x="842" y="230"/>
                </a:lnTo>
                <a:lnTo>
                  <a:pt x="845" y="228"/>
                </a:lnTo>
                <a:lnTo>
                  <a:pt x="845" y="228"/>
                </a:lnTo>
                <a:lnTo>
                  <a:pt x="851" y="226"/>
                </a:lnTo>
                <a:lnTo>
                  <a:pt x="853" y="222"/>
                </a:lnTo>
                <a:lnTo>
                  <a:pt x="855" y="217"/>
                </a:lnTo>
                <a:lnTo>
                  <a:pt x="855" y="213"/>
                </a:lnTo>
                <a:lnTo>
                  <a:pt x="853" y="204"/>
                </a:lnTo>
                <a:lnTo>
                  <a:pt x="849" y="194"/>
                </a:lnTo>
                <a:lnTo>
                  <a:pt x="838" y="176"/>
                </a:lnTo>
                <a:lnTo>
                  <a:pt x="832" y="169"/>
                </a:lnTo>
                <a:lnTo>
                  <a:pt x="832" y="165"/>
                </a:lnTo>
                <a:lnTo>
                  <a:pt x="832" y="165"/>
                </a:lnTo>
                <a:lnTo>
                  <a:pt x="832" y="163"/>
                </a:lnTo>
                <a:lnTo>
                  <a:pt x="834" y="161"/>
                </a:lnTo>
                <a:lnTo>
                  <a:pt x="840" y="157"/>
                </a:lnTo>
                <a:lnTo>
                  <a:pt x="845" y="156"/>
                </a:lnTo>
                <a:lnTo>
                  <a:pt x="847" y="154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44"/>
                </a:lnTo>
                <a:lnTo>
                  <a:pt x="847" y="137"/>
                </a:lnTo>
                <a:lnTo>
                  <a:pt x="851" y="133"/>
                </a:lnTo>
                <a:lnTo>
                  <a:pt x="853" y="130"/>
                </a:lnTo>
                <a:lnTo>
                  <a:pt x="858" y="128"/>
                </a:lnTo>
                <a:lnTo>
                  <a:pt x="862" y="126"/>
                </a:lnTo>
                <a:lnTo>
                  <a:pt x="873" y="126"/>
                </a:lnTo>
                <a:lnTo>
                  <a:pt x="884" y="128"/>
                </a:lnTo>
                <a:lnTo>
                  <a:pt x="895" y="131"/>
                </a:lnTo>
                <a:lnTo>
                  <a:pt x="903" y="133"/>
                </a:lnTo>
                <a:lnTo>
                  <a:pt x="906" y="133"/>
                </a:lnTo>
                <a:lnTo>
                  <a:pt x="906" y="133"/>
                </a:lnTo>
                <a:lnTo>
                  <a:pt x="908" y="131"/>
                </a:lnTo>
                <a:lnTo>
                  <a:pt x="910" y="130"/>
                </a:lnTo>
                <a:lnTo>
                  <a:pt x="906" y="122"/>
                </a:lnTo>
                <a:lnTo>
                  <a:pt x="903" y="117"/>
                </a:lnTo>
                <a:lnTo>
                  <a:pt x="903" y="113"/>
                </a:lnTo>
                <a:lnTo>
                  <a:pt x="903" y="109"/>
                </a:lnTo>
                <a:lnTo>
                  <a:pt x="903" y="109"/>
                </a:lnTo>
                <a:lnTo>
                  <a:pt x="905" y="107"/>
                </a:lnTo>
                <a:lnTo>
                  <a:pt x="908" y="104"/>
                </a:lnTo>
                <a:lnTo>
                  <a:pt x="918" y="102"/>
                </a:lnTo>
                <a:lnTo>
                  <a:pt x="918" y="102"/>
                </a:lnTo>
                <a:lnTo>
                  <a:pt x="918" y="102"/>
                </a:lnTo>
                <a:lnTo>
                  <a:pt x="919" y="100"/>
                </a:lnTo>
                <a:lnTo>
                  <a:pt x="921" y="102"/>
                </a:lnTo>
                <a:lnTo>
                  <a:pt x="925" y="105"/>
                </a:lnTo>
                <a:lnTo>
                  <a:pt x="929" y="111"/>
                </a:lnTo>
                <a:lnTo>
                  <a:pt x="931" y="111"/>
                </a:lnTo>
                <a:lnTo>
                  <a:pt x="932" y="111"/>
                </a:lnTo>
                <a:lnTo>
                  <a:pt x="932" y="111"/>
                </a:lnTo>
                <a:lnTo>
                  <a:pt x="936" y="109"/>
                </a:lnTo>
                <a:lnTo>
                  <a:pt x="938" y="105"/>
                </a:lnTo>
                <a:lnTo>
                  <a:pt x="938" y="100"/>
                </a:lnTo>
                <a:lnTo>
                  <a:pt x="940" y="98"/>
                </a:lnTo>
                <a:lnTo>
                  <a:pt x="940" y="96"/>
                </a:lnTo>
                <a:lnTo>
                  <a:pt x="944" y="96"/>
                </a:lnTo>
                <a:lnTo>
                  <a:pt x="949" y="98"/>
                </a:lnTo>
                <a:lnTo>
                  <a:pt x="949" y="98"/>
                </a:lnTo>
                <a:lnTo>
                  <a:pt x="953" y="100"/>
                </a:lnTo>
                <a:lnTo>
                  <a:pt x="953" y="102"/>
                </a:lnTo>
                <a:lnTo>
                  <a:pt x="953" y="102"/>
                </a:lnTo>
                <a:lnTo>
                  <a:pt x="949" y="107"/>
                </a:lnTo>
                <a:lnTo>
                  <a:pt x="949" y="111"/>
                </a:lnTo>
                <a:lnTo>
                  <a:pt x="949" y="113"/>
                </a:lnTo>
                <a:lnTo>
                  <a:pt x="951" y="113"/>
                </a:lnTo>
                <a:lnTo>
                  <a:pt x="957" y="109"/>
                </a:lnTo>
                <a:lnTo>
                  <a:pt x="957" y="109"/>
                </a:lnTo>
                <a:lnTo>
                  <a:pt x="960" y="105"/>
                </a:lnTo>
                <a:lnTo>
                  <a:pt x="964" y="105"/>
                </a:lnTo>
                <a:lnTo>
                  <a:pt x="964" y="105"/>
                </a:lnTo>
                <a:lnTo>
                  <a:pt x="971" y="105"/>
                </a:lnTo>
                <a:lnTo>
                  <a:pt x="975" y="107"/>
                </a:lnTo>
                <a:lnTo>
                  <a:pt x="977" y="111"/>
                </a:lnTo>
                <a:lnTo>
                  <a:pt x="977" y="117"/>
                </a:lnTo>
                <a:lnTo>
                  <a:pt x="973" y="124"/>
                </a:lnTo>
                <a:lnTo>
                  <a:pt x="973" y="128"/>
                </a:lnTo>
                <a:lnTo>
                  <a:pt x="973" y="128"/>
                </a:lnTo>
                <a:lnTo>
                  <a:pt x="975" y="131"/>
                </a:lnTo>
                <a:lnTo>
                  <a:pt x="981" y="131"/>
                </a:lnTo>
                <a:lnTo>
                  <a:pt x="988" y="133"/>
                </a:lnTo>
                <a:lnTo>
                  <a:pt x="992" y="135"/>
                </a:lnTo>
                <a:lnTo>
                  <a:pt x="994" y="139"/>
                </a:lnTo>
                <a:lnTo>
                  <a:pt x="994" y="146"/>
                </a:lnTo>
                <a:lnTo>
                  <a:pt x="994" y="156"/>
                </a:lnTo>
                <a:lnTo>
                  <a:pt x="994" y="156"/>
                </a:lnTo>
                <a:lnTo>
                  <a:pt x="992" y="159"/>
                </a:lnTo>
                <a:lnTo>
                  <a:pt x="994" y="161"/>
                </a:lnTo>
                <a:lnTo>
                  <a:pt x="994" y="161"/>
                </a:lnTo>
                <a:lnTo>
                  <a:pt x="1001" y="167"/>
                </a:lnTo>
                <a:lnTo>
                  <a:pt x="1007" y="170"/>
                </a:lnTo>
                <a:lnTo>
                  <a:pt x="1021" y="176"/>
                </a:lnTo>
                <a:lnTo>
                  <a:pt x="1034" y="181"/>
                </a:lnTo>
                <a:lnTo>
                  <a:pt x="1042" y="185"/>
                </a:lnTo>
                <a:lnTo>
                  <a:pt x="1047" y="193"/>
                </a:lnTo>
                <a:lnTo>
                  <a:pt x="1047" y="193"/>
                </a:lnTo>
                <a:lnTo>
                  <a:pt x="1051" y="198"/>
                </a:lnTo>
                <a:lnTo>
                  <a:pt x="1053" y="206"/>
                </a:lnTo>
                <a:lnTo>
                  <a:pt x="1055" y="226"/>
                </a:lnTo>
                <a:lnTo>
                  <a:pt x="1057" y="235"/>
                </a:lnTo>
                <a:lnTo>
                  <a:pt x="1060" y="243"/>
                </a:lnTo>
                <a:lnTo>
                  <a:pt x="1064" y="250"/>
                </a:lnTo>
                <a:lnTo>
                  <a:pt x="1070" y="254"/>
                </a:lnTo>
                <a:lnTo>
                  <a:pt x="1070" y="254"/>
                </a:lnTo>
                <a:lnTo>
                  <a:pt x="1071" y="254"/>
                </a:lnTo>
                <a:lnTo>
                  <a:pt x="1073" y="252"/>
                </a:lnTo>
                <a:lnTo>
                  <a:pt x="1073" y="246"/>
                </a:lnTo>
                <a:lnTo>
                  <a:pt x="1070" y="235"/>
                </a:lnTo>
                <a:lnTo>
                  <a:pt x="1070" y="235"/>
                </a:lnTo>
                <a:lnTo>
                  <a:pt x="1066" y="228"/>
                </a:lnTo>
                <a:lnTo>
                  <a:pt x="1064" y="219"/>
                </a:lnTo>
                <a:lnTo>
                  <a:pt x="1062" y="202"/>
                </a:lnTo>
                <a:lnTo>
                  <a:pt x="1062" y="194"/>
                </a:lnTo>
                <a:lnTo>
                  <a:pt x="1060" y="185"/>
                </a:lnTo>
                <a:lnTo>
                  <a:pt x="1055" y="176"/>
                </a:lnTo>
                <a:lnTo>
                  <a:pt x="1045" y="163"/>
                </a:lnTo>
                <a:lnTo>
                  <a:pt x="1045" y="163"/>
                </a:lnTo>
                <a:lnTo>
                  <a:pt x="1040" y="157"/>
                </a:lnTo>
                <a:lnTo>
                  <a:pt x="1034" y="152"/>
                </a:lnTo>
                <a:lnTo>
                  <a:pt x="1034" y="152"/>
                </a:lnTo>
                <a:lnTo>
                  <a:pt x="1034" y="152"/>
                </a:lnTo>
                <a:lnTo>
                  <a:pt x="1029" y="143"/>
                </a:lnTo>
                <a:lnTo>
                  <a:pt x="1025" y="135"/>
                </a:lnTo>
                <a:lnTo>
                  <a:pt x="1023" y="128"/>
                </a:lnTo>
                <a:lnTo>
                  <a:pt x="1023" y="122"/>
                </a:lnTo>
                <a:lnTo>
                  <a:pt x="1027" y="117"/>
                </a:lnTo>
                <a:lnTo>
                  <a:pt x="1029" y="113"/>
                </a:lnTo>
                <a:lnTo>
                  <a:pt x="1034" y="109"/>
                </a:lnTo>
                <a:lnTo>
                  <a:pt x="1040" y="107"/>
                </a:lnTo>
                <a:lnTo>
                  <a:pt x="1053" y="105"/>
                </a:lnTo>
                <a:lnTo>
                  <a:pt x="1070" y="105"/>
                </a:lnTo>
                <a:lnTo>
                  <a:pt x="1084" y="107"/>
                </a:lnTo>
                <a:lnTo>
                  <a:pt x="1096" y="111"/>
                </a:lnTo>
                <a:lnTo>
                  <a:pt x="1096" y="111"/>
                </a:lnTo>
                <a:lnTo>
                  <a:pt x="1103" y="115"/>
                </a:lnTo>
                <a:lnTo>
                  <a:pt x="1109" y="118"/>
                </a:lnTo>
                <a:lnTo>
                  <a:pt x="1121" y="131"/>
                </a:lnTo>
                <a:lnTo>
                  <a:pt x="1142" y="156"/>
                </a:lnTo>
                <a:lnTo>
                  <a:pt x="1142" y="156"/>
                </a:lnTo>
                <a:lnTo>
                  <a:pt x="1151" y="169"/>
                </a:lnTo>
                <a:lnTo>
                  <a:pt x="1157" y="178"/>
                </a:lnTo>
                <a:lnTo>
                  <a:pt x="1157" y="178"/>
                </a:lnTo>
                <a:lnTo>
                  <a:pt x="1159" y="167"/>
                </a:lnTo>
                <a:lnTo>
                  <a:pt x="1157" y="161"/>
                </a:lnTo>
                <a:lnTo>
                  <a:pt x="1157" y="159"/>
                </a:lnTo>
                <a:lnTo>
                  <a:pt x="1155" y="157"/>
                </a:lnTo>
                <a:lnTo>
                  <a:pt x="1155" y="157"/>
                </a:lnTo>
                <a:lnTo>
                  <a:pt x="1151" y="157"/>
                </a:lnTo>
                <a:lnTo>
                  <a:pt x="1149" y="156"/>
                </a:lnTo>
                <a:lnTo>
                  <a:pt x="1149" y="154"/>
                </a:lnTo>
                <a:lnTo>
                  <a:pt x="1149" y="154"/>
                </a:lnTo>
                <a:lnTo>
                  <a:pt x="1151" y="152"/>
                </a:lnTo>
                <a:lnTo>
                  <a:pt x="1155" y="152"/>
                </a:lnTo>
                <a:lnTo>
                  <a:pt x="1155" y="152"/>
                </a:lnTo>
                <a:lnTo>
                  <a:pt x="1162" y="152"/>
                </a:lnTo>
                <a:lnTo>
                  <a:pt x="1168" y="152"/>
                </a:lnTo>
                <a:lnTo>
                  <a:pt x="1173" y="156"/>
                </a:lnTo>
                <a:lnTo>
                  <a:pt x="1177" y="161"/>
                </a:lnTo>
                <a:lnTo>
                  <a:pt x="1177" y="161"/>
                </a:lnTo>
                <a:lnTo>
                  <a:pt x="1177" y="163"/>
                </a:lnTo>
                <a:lnTo>
                  <a:pt x="1177" y="165"/>
                </a:lnTo>
                <a:lnTo>
                  <a:pt x="1179" y="165"/>
                </a:lnTo>
                <a:lnTo>
                  <a:pt x="1179" y="165"/>
                </a:lnTo>
                <a:lnTo>
                  <a:pt x="1185" y="157"/>
                </a:lnTo>
                <a:lnTo>
                  <a:pt x="1188" y="146"/>
                </a:lnTo>
                <a:lnTo>
                  <a:pt x="1196" y="122"/>
                </a:lnTo>
                <a:lnTo>
                  <a:pt x="1199" y="111"/>
                </a:lnTo>
                <a:lnTo>
                  <a:pt x="1205" y="102"/>
                </a:lnTo>
                <a:lnTo>
                  <a:pt x="1212" y="94"/>
                </a:lnTo>
                <a:lnTo>
                  <a:pt x="1218" y="93"/>
                </a:lnTo>
                <a:lnTo>
                  <a:pt x="1223" y="93"/>
                </a:lnTo>
                <a:lnTo>
                  <a:pt x="1223" y="93"/>
                </a:lnTo>
                <a:lnTo>
                  <a:pt x="1236" y="93"/>
                </a:lnTo>
                <a:lnTo>
                  <a:pt x="1242" y="93"/>
                </a:lnTo>
                <a:lnTo>
                  <a:pt x="1246" y="96"/>
                </a:lnTo>
                <a:lnTo>
                  <a:pt x="1249" y="100"/>
                </a:lnTo>
                <a:lnTo>
                  <a:pt x="1251" y="107"/>
                </a:lnTo>
                <a:lnTo>
                  <a:pt x="1255" y="113"/>
                </a:lnTo>
                <a:lnTo>
                  <a:pt x="1257" y="115"/>
                </a:lnTo>
                <a:lnTo>
                  <a:pt x="1261" y="117"/>
                </a:lnTo>
                <a:lnTo>
                  <a:pt x="1274" y="117"/>
                </a:lnTo>
                <a:lnTo>
                  <a:pt x="1292" y="115"/>
                </a:lnTo>
                <a:lnTo>
                  <a:pt x="1292" y="115"/>
                </a:lnTo>
                <a:lnTo>
                  <a:pt x="1296" y="117"/>
                </a:lnTo>
                <a:lnTo>
                  <a:pt x="1303" y="122"/>
                </a:lnTo>
                <a:lnTo>
                  <a:pt x="1309" y="126"/>
                </a:lnTo>
                <a:lnTo>
                  <a:pt x="1312" y="128"/>
                </a:lnTo>
                <a:lnTo>
                  <a:pt x="1314" y="126"/>
                </a:lnTo>
                <a:lnTo>
                  <a:pt x="1314" y="126"/>
                </a:lnTo>
                <a:lnTo>
                  <a:pt x="1312" y="122"/>
                </a:lnTo>
                <a:lnTo>
                  <a:pt x="1311" y="118"/>
                </a:lnTo>
                <a:lnTo>
                  <a:pt x="1311" y="118"/>
                </a:lnTo>
                <a:lnTo>
                  <a:pt x="1305" y="113"/>
                </a:lnTo>
                <a:lnTo>
                  <a:pt x="1303" y="111"/>
                </a:lnTo>
                <a:lnTo>
                  <a:pt x="1305" y="109"/>
                </a:lnTo>
                <a:lnTo>
                  <a:pt x="1309" y="104"/>
                </a:lnTo>
                <a:lnTo>
                  <a:pt x="1318" y="100"/>
                </a:lnTo>
                <a:lnTo>
                  <a:pt x="1318" y="100"/>
                </a:lnTo>
                <a:lnTo>
                  <a:pt x="1322" y="98"/>
                </a:lnTo>
                <a:lnTo>
                  <a:pt x="1327" y="100"/>
                </a:lnTo>
                <a:lnTo>
                  <a:pt x="1331" y="104"/>
                </a:lnTo>
                <a:lnTo>
                  <a:pt x="1335" y="109"/>
                </a:lnTo>
                <a:lnTo>
                  <a:pt x="1335" y="109"/>
                </a:lnTo>
                <a:lnTo>
                  <a:pt x="1337" y="109"/>
                </a:lnTo>
                <a:lnTo>
                  <a:pt x="1335" y="104"/>
                </a:lnTo>
                <a:lnTo>
                  <a:pt x="1335" y="96"/>
                </a:lnTo>
                <a:lnTo>
                  <a:pt x="1337" y="91"/>
                </a:lnTo>
                <a:lnTo>
                  <a:pt x="1340" y="87"/>
                </a:lnTo>
                <a:lnTo>
                  <a:pt x="1340" y="87"/>
                </a:lnTo>
                <a:lnTo>
                  <a:pt x="1342" y="81"/>
                </a:lnTo>
                <a:lnTo>
                  <a:pt x="1344" y="74"/>
                </a:lnTo>
                <a:lnTo>
                  <a:pt x="1344" y="74"/>
                </a:lnTo>
                <a:lnTo>
                  <a:pt x="1342" y="67"/>
                </a:lnTo>
                <a:lnTo>
                  <a:pt x="1338" y="59"/>
                </a:lnTo>
                <a:lnTo>
                  <a:pt x="1329" y="44"/>
                </a:lnTo>
                <a:lnTo>
                  <a:pt x="1320" y="29"/>
                </a:lnTo>
                <a:lnTo>
                  <a:pt x="1316" y="22"/>
                </a:lnTo>
                <a:lnTo>
                  <a:pt x="1316" y="16"/>
                </a:lnTo>
                <a:lnTo>
                  <a:pt x="1316" y="16"/>
                </a:lnTo>
                <a:lnTo>
                  <a:pt x="1320" y="11"/>
                </a:lnTo>
                <a:lnTo>
                  <a:pt x="1325" y="9"/>
                </a:lnTo>
                <a:lnTo>
                  <a:pt x="1333" y="7"/>
                </a:lnTo>
                <a:lnTo>
                  <a:pt x="1340" y="9"/>
                </a:lnTo>
                <a:lnTo>
                  <a:pt x="1355" y="15"/>
                </a:lnTo>
                <a:lnTo>
                  <a:pt x="1362" y="16"/>
                </a:lnTo>
                <a:lnTo>
                  <a:pt x="1362" y="16"/>
                </a:lnTo>
                <a:lnTo>
                  <a:pt x="1374" y="11"/>
                </a:lnTo>
                <a:lnTo>
                  <a:pt x="1392" y="4"/>
                </a:lnTo>
                <a:lnTo>
                  <a:pt x="1403" y="0"/>
                </a:lnTo>
                <a:lnTo>
                  <a:pt x="1414" y="0"/>
                </a:lnTo>
                <a:lnTo>
                  <a:pt x="1418" y="2"/>
                </a:lnTo>
                <a:lnTo>
                  <a:pt x="1424" y="5"/>
                </a:lnTo>
                <a:lnTo>
                  <a:pt x="1427" y="9"/>
                </a:lnTo>
                <a:lnTo>
                  <a:pt x="1429" y="15"/>
                </a:lnTo>
                <a:lnTo>
                  <a:pt x="1429" y="15"/>
                </a:lnTo>
                <a:lnTo>
                  <a:pt x="1431" y="18"/>
                </a:lnTo>
                <a:lnTo>
                  <a:pt x="1431" y="22"/>
                </a:lnTo>
                <a:lnTo>
                  <a:pt x="1429" y="29"/>
                </a:lnTo>
                <a:lnTo>
                  <a:pt x="1429" y="31"/>
                </a:lnTo>
                <a:lnTo>
                  <a:pt x="1431" y="35"/>
                </a:lnTo>
                <a:lnTo>
                  <a:pt x="1437" y="37"/>
                </a:lnTo>
                <a:lnTo>
                  <a:pt x="1448" y="37"/>
                </a:lnTo>
                <a:lnTo>
                  <a:pt x="1448" y="37"/>
                </a:lnTo>
                <a:lnTo>
                  <a:pt x="1459" y="39"/>
                </a:lnTo>
                <a:lnTo>
                  <a:pt x="1463" y="41"/>
                </a:lnTo>
                <a:lnTo>
                  <a:pt x="1463" y="44"/>
                </a:lnTo>
                <a:lnTo>
                  <a:pt x="1463" y="44"/>
                </a:lnTo>
                <a:lnTo>
                  <a:pt x="1461" y="59"/>
                </a:lnTo>
                <a:lnTo>
                  <a:pt x="1457" y="70"/>
                </a:lnTo>
                <a:lnTo>
                  <a:pt x="1455" y="76"/>
                </a:lnTo>
                <a:lnTo>
                  <a:pt x="1455" y="81"/>
                </a:lnTo>
                <a:lnTo>
                  <a:pt x="1459" y="85"/>
                </a:lnTo>
                <a:lnTo>
                  <a:pt x="1463" y="89"/>
                </a:lnTo>
                <a:lnTo>
                  <a:pt x="1463" y="89"/>
                </a:lnTo>
                <a:lnTo>
                  <a:pt x="1468" y="89"/>
                </a:lnTo>
                <a:lnTo>
                  <a:pt x="1474" y="89"/>
                </a:lnTo>
                <a:lnTo>
                  <a:pt x="1479" y="87"/>
                </a:lnTo>
                <a:lnTo>
                  <a:pt x="1483" y="87"/>
                </a:lnTo>
                <a:lnTo>
                  <a:pt x="1483" y="87"/>
                </a:lnTo>
                <a:lnTo>
                  <a:pt x="1489" y="91"/>
                </a:lnTo>
                <a:lnTo>
                  <a:pt x="1494" y="96"/>
                </a:lnTo>
                <a:lnTo>
                  <a:pt x="1502" y="102"/>
                </a:lnTo>
                <a:lnTo>
                  <a:pt x="1509" y="107"/>
                </a:lnTo>
                <a:lnTo>
                  <a:pt x="1509" y="107"/>
                </a:lnTo>
                <a:lnTo>
                  <a:pt x="1516" y="109"/>
                </a:lnTo>
                <a:lnTo>
                  <a:pt x="1520" y="109"/>
                </a:lnTo>
                <a:lnTo>
                  <a:pt x="1522" y="104"/>
                </a:lnTo>
                <a:lnTo>
                  <a:pt x="1520" y="98"/>
                </a:lnTo>
                <a:lnTo>
                  <a:pt x="1520" y="87"/>
                </a:lnTo>
                <a:lnTo>
                  <a:pt x="1520" y="81"/>
                </a:lnTo>
                <a:lnTo>
                  <a:pt x="1524" y="78"/>
                </a:lnTo>
                <a:lnTo>
                  <a:pt x="1524" y="78"/>
                </a:lnTo>
                <a:lnTo>
                  <a:pt x="1542" y="72"/>
                </a:lnTo>
                <a:lnTo>
                  <a:pt x="1555" y="68"/>
                </a:lnTo>
                <a:lnTo>
                  <a:pt x="1566" y="63"/>
                </a:lnTo>
                <a:lnTo>
                  <a:pt x="1581" y="50"/>
                </a:lnTo>
                <a:lnTo>
                  <a:pt x="1581" y="50"/>
                </a:lnTo>
                <a:lnTo>
                  <a:pt x="1585" y="48"/>
                </a:lnTo>
                <a:lnTo>
                  <a:pt x="1594" y="46"/>
                </a:lnTo>
                <a:lnTo>
                  <a:pt x="1616" y="44"/>
                </a:lnTo>
                <a:lnTo>
                  <a:pt x="1639" y="42"/>
                </a:lnTo>
                <a:lnTo>
                  <a:pt x="1646" y="42"/>
                </a:lnTo>
                <a:lnTo>
                  <a:pt x="1650" y="44"/>
                </a:lnTo>
                <a:lnTo>
                  <a:pt x="1650" y="44"/>
                </a:lnTo>
                <a:lnTo>
                  <a:pt x="1644" y="46"/>
                </a:lnTo>
                <a:lnTo>
                  <a:pt x="1631" y="52"/>
                </a:lnTo>
                <a:lnTo>
                  <a:pt x="1609" y="61"/>
                </a:lnTo>
                <a:lnTo>
                  <a:pt x="1609" y="61"/>
                </a:lnTo>
                <a:lnTo>
                  <a:pt x="1590" y="68"/>
                </a:lnTo>
                <a:lnTo>
                  <a:pt x="1579" y="72"/>
                </a:lnTo>
                <a:lnTo>
                  <a:pt x="1576" y="76"/>
                </a:lnTo>
                <a:lnTo>
                  <a:pt x="1576" y="76"/>
                </a:lnTo>
                <a:lnTo>
                  <a:pt x="1576" y="76"/>
                </a:lnTo>
                <a:lnTo>
                  <a:pt x="1579" y="80"/>
                </a:lnTo>
                <a:lnTo>
                  <a:pt x="1583" y="83"/>
                </a:lnTo>
                <a:lnTo>
                  <a:pt x="1587" y="87"/>
                </a:lnTo>
                <a:lnTo>
                  <a:pt x="1589" y="91"/>
                </a:lnTo>
                <a:lnTo>
                  <a:pt x="1589" y="91"/>
                </a:lnTo>
                <a:lnTo>
                  <a:pt x="1589" y="96"/>
                </a:lnTo>
                <a:lnTo>
                  <a:pt x="1585" y="100"/>
                </a:lnTo>
                <a:lnTo>
                  <a:pt x="1585" y="100"/>
                </a:lnTo>
                <a:lnTo>
                  <a:pt x="1578" y="105"/>
                </a:lnTo>
                <a:lnTo>
                  <a:pt x="1565" y="111"/>
                </a:lnTo>
                <a:lnTo>
                  <a:pt x="1552" y="117"/>
                </a:lnTo>
                <a:lnTo>
                  <a:pt x="1550" y="120"/>
                </a:lnTo>
                <a:lnTo>
                  <a:pt x="1548" y="122"/>
                </a:lnTo>
                <a:lnTo>
                  <a:pt x="1548" y="122"/>
                </a:lnTo>
                <a:lnTo>
                  <a:pt x="1553" y="128"/>
                </a:lnTo>
                <a:lnTo>
                  <a:pt x="1557" y="131"/>
                </a:lnTo>
                <a:lnTo>
                  <a:pt x="1570" y="137"/>
                </a:lnTo>
                <a:lnTo>
                  <a:pt x="1583" y="139"/>
                </a:lnTo>
                <a:lnTo>
                  <a:pt x="1596" y="139"/>
                </a:lnTo>
                <a:lnTo>
                  <a:pt x="1620" y="137"/>
                </a:lnTo>
                <a:lnTo>
                  <a:pt x="1628" y="137"/>
                </a:lnTo>
                <a:lnTo>
                  <a:pt x="1633" y="141"/>
                </a:lnTo>
                <a:lnTo>
                  <a:pt x="1633" y="141"/>
                </a:lnTo>
                <a:lnTo>
                  <a:pt x="1639" y="148"/>
                </a:lnTo>
                <a:lnTo>
                  <a:pt x="1641" y="154"/>
                </a:lnTo>
                <a:lnTo>
                  <a:pt x="1642" y="161"/>
                </a:lnTo>
                <a:lnTo>
                  <a:pt x="1642" y="167"/>
                </a:lnTo>
                <a:lnTo>
                  <a:pt x="1641" y="170"/>
                </a:lnTo>
                <a:lnTo>
                  <a:pt x="1639" y="176"/>
                </a:lnTo>
                <a:lnTo>
                  <a:pt x="1633" y="183"/>
                </a:lnTo>
                <a:lnTo>
                  <a:pt x="1615" y="198"/>
                </a:lnTo>
                <a:lnTo>
                  <a:pt x="1607" y="206"/>
                </a:lnTo>
                <a:lnTo>
                  <a:pt x="1600" y="215"/>
                </a:lnTo>
                <a:lnTo>
                  <a:pt x="1600" y="215"/>
                </a:lnTo>
                <a:lnTo>
                  <a:pt x="1600" y="217"/>
                </a:lnTo>
                <a:lnTo>
                  <a:pt x="1602" y="217"/>
                </a:lnTo>
                <a:lnTo>
                  <a:pt x="1605" y="215"/>
                </a:lnTo>
                <a:lnTo>
                  <a:pt x="1611" y="213"/>
                </a:lnTo>
                <a:lnTo>
                  <a:pt x="1613" y="213"/>
                </a:lnTo>
                <a:lnTo>
                  <a:pt x="1613" y="215"/>
                </a:lnTo>
                <a:lnTo>
                  <a:pt x="1613" y="215"/>
                </a:lnTo>
                <a:lnTo>
                  <a:pt x="1613" y="219"/>
                </a:lnTo>
                <a:lnTo>
                  <a:pt x="1609" y="220"/>
                </a:lnTo>
                <a:lnTo>
                  <a:pt x="1607" y="224"/>
                </a:lnTo>
                <a:lnTo>
                  <a:pt x="1607" y="228"/>
                </a:lnTo>
                <a:lnTo>
                  <a:pt x="1607" y="228"/>
                </a:lnTo>
                <a:lnTo>
                  <a:pt x="1609" y="230"/>
                </a:lnTo>
                <a:lnTo>
                  <a:pt x="1611" y="230"/>
                </a:lnTo>
                <a:lnTo>
                  <a:pt x="1620" y="230"/>
                </a:lnTo>
                <a:lnTo>
                  <a:pt x="1646" y="220"/>
                </a:lnTo>
                <a:lnTo>
                  <a:pt x="1672" y="213"/>
                </a:lnTo>
                <a:lnTo>
                  <a:pt x="1681" y="211"/>
                </a:lnTo>
                <a:lnTo>
                  <a:pt x="1685" y="211"/>
                </a:lnTo>
                <a:lnTo>
                  <a:pt x="1687" y="213"/>
                </a:lnTo>
                <a:lnTo>
                  <a:pt x="1687" y="213"/>
                </a:lnTo>
                <a:lnTo>
                  <a:pt x="1687" y="215"/>
                </a:lnTo>
                <a:lnTo>
                  <a:pt x="1687" y="219"/>
                </a:lnTo>
                <a:lnTo>
                  <a:pt x="1683" y="222"/>
                </a:lnTo>
                <a:lnTo>
                  <a:pt x="1679" y="228"/>
                </a:lnTo>
                <a:lnTo>
                  <a:pt x="1678" y="230"/>
                </a:lnTo>
                <a:lnTo>
                  <a:pt x="1678" y="233"/>
                </a:lnTo>
                <a:lnTo>
                  <a:pt x="1678" y="233"/>
                </a:lnTo>
                <a:lnTo>
                  <a:pt x="1678" y="235"/>
                </a:lnTo>
                <a:lnTo>
                  <a:pt x="1681" y="237"/>
                </a:lnTo>
                <a:lnTo>
                  <a:pt x="1689" y="241"/>
                </a:lnTo>
                <a:lnTo>
                  <a:pt x="1694" y="243"/>
                </a:lnTo>
                <a:lnTo>
                  <a:pt x="1694" y="243"/>
                </a:lnTo>
                <a:lnTo>
                  <a:pt x="1694" y="245"/>
                </a:lnTo>
                <a:lnTo>
                  <a:pt x="1694" y="245"/>
                </a:lnTo>
                <a:lnTo>
                  <a:pt x="1685" y="250"/>
                </a:lnTo>
                <a:lnTo>
                  <a:pt x="1676" y="258"/>
                </a:lnTo>
                <a:lnTo>
                  <a:pt x="1676" y="258"/>
                </a:lnTo>
                <a:lnTo>
                  <a:pt x="1666" y="270"/>
                </a:lnTo>
                <a:lnTo>
                  <a:pt x="1655" y="282"/>
                </a:lnTo>
                <a:lnTo>
                  <a:pt x="1655" y="282"/>
                </a:lnTo>
                <a:lnTo>
                  <a:pt x="1650" y="291"/>
                </a:lnTo>
                <a:lnTo>
                  <a:pt x="1648" y="295"/>
                </a:lnTo>
                <a:lnTo>
                  <a:pt x="1648" y="295"/>
                </a:lnTo>
                <a:lnTo>
                  <a:pt x="1650" y="295"/>
                </a:lnTo>
                <a:lnTo>
                  <a:pt x="1650" y="295"/>
                </a:lnTo>
                <a:lnTo>
                  <a:pt x="1655" y="293"/>
                </a:lnTo>
                <a:lnTo>
                  <a:pt x="1661" y="289"/>
                </a:lnTo>
                <a:lnTo>
                  <a:pt x="1672" y="278"/>
                </a:lnTo>
                <a:lnTo>
                  <a:pt x="1685" y="265"/>
                </a:lnTo>
                <a:lnTo>
                  <a:pt x="1694" y="256"/>
                </a:lnTo>
                <a:lnTo>
                  <a:pt x="1694" y="256"/>
                </a:lnTo>
                <a:lnTo>
                  <a:pt x="1698" y="254"/>
                </a:lnTo>
                <a:lnTo>
                  <a:pt x="1700" y="254"/>
                </a:lnTo>
                <a:lnTo>
                  <a:pt x="1704" y="256"/>
                </a:lnTo>
                <a:lnTo>
                  <a:pt x="1704" y="256"/>
                </a:lnTo>
                <a:lnTo>
                  <a:pt x="1707" y="258"/>
                </a:lnTo>
                <a:lnTo>
                  <a:pt x="1707" y="256"/>
                </a:lnTo>
                <a:lnTo>
                  <a:pt x="1705" y="252"/>
                </a:lnTo>
                <a:lnTo>
                  <a:pt x="1705" y="252"/>
                </a:lnTo>
                <a:lnTo>
                  <a:pt x="1707" y="250"/>
                </a:lnTo>
                <a:lnTo>
                  <a:pt x="1709" y="252"/>
                </a:lnTo>
                <a:lnTo>
                  <a:pt x="1717" y="256"/>
                </a:lnTo>
                <a:lnTo>
                  <a:pt x="1717" y="256"/>
                </a:lnTo>
                <a:lnTo>
                  <a:pt x="1730" y="263"/>
                </a:lnTo>
                <a:lnTo>
                  <a:pt x="1737" y="265"/>
                </a:lnTo>
                <a:lnTo>
                  <a:pt x="1744" y="267"/>
                </a:lnTo>
                <a:lnTo>
                  <a:pt x="1744" y="267"/>
                </a:lnTo>
                <a:lnTo>
                  <a:pt x="1755" y="265"/>
                </a:lnTo>
                <a:lnTo>
                  <a:pt x="1761" y="267"/>
                </a:lnTo>
                <a:lnTo>
                  <a:pt x="1765" y="269"/>
                </a:lnTo>
                <a:lnTo>
                  <a:pt x="1767" y="272"/>
                </a:lnTo>
                <a:lnTo>
                  <a:pt x="1768" y="282"/>
                </a:lnTo>
                <a:lnTo>
                  <a:pt x="1770" y="285"/>
                </a:lnTo>
                <a:lnTo>
                  <a:pt x="1776" y="287"/>
                </a:lnTo>
                <a:lnTo>
                  <a:pt x="1776" y="287"/>
                </a:lnTo>
                <a:lnTo>
                  <a:pt x="1783" y="285"/>
                </a:lnTo>
                <a:lnTo>
                  <a:pt x="1793" y="283"/>
                </a:lnTo>
                <a:lnTo>
                  <a:pt x="1798" y="282"/>
                </a:lnTo>
                <a:lnTo>
                  <a:pt x="1804" y="283"/>
                </a:lnTo>
                <a:lnTo>
                  <a:pt x="1806" y="287"/>
                </a:lnTo>
                <a:lnTo>
                  <a:pt x="1807" y="293"/>
                </a:lnTo>
                <a:lnTo>
                  <a:pt x="1807" y="293"/>
                </a:lnTo>
                <a:lnTo>
                  <a:pt x="1806" y="304"/>
                </a:lnTo>
                <a:lnTo>
                  <a:pt x="1802" y="311"/>
                </a:lnTo>
                <a:lnTo>
                  <a:pt x="1796" y="319"/>
                </a:lnTo>
                <a:lnTo>
                  <a:pt x="1791" y="324"/>
                </a:lnTo>
                <a:lnTo>
                  <a:pt x="1780" y="332"/>
                </a:lnTo>
                <a:lnTo>
                  <a:pt x="1778" y="334"/>
                </a:lnTo>
                <a:lnTo>
                  <a:pt x="1778" y="334"/>
                </a:lnTo>
                <a:lnTo>
                  <a:pt x="1778" y="334"/>
                </a:lnTo>
                <a:lnTo>
                  <a:pt x="1785" y="337"/>
                </a:lnTo>
                <a:lnTo>
                  <a:pt x="1787" y="339"/>
                </a:lnTo>
                <a:lnTo>
                  <a:pt x="1785" y="343"/>
                </a:lnTo>
                <a:lnTo>
                  <a:pt x="1785" y="343"/>
                </a:lnTo>
                <a:lnTo>
                  <a:pt x="1776" y="345"/>
                </a:lnTo>
                <a:lnTo>
                  <a:pt x="1761" y="348"/>
                </a:lnTo>
                <a:lnTo>
                  <a:pt x="1748" y="354"/>
                </a:lnTo>
                <a:lnTo>
                  <a:pt x="1742" y="356"/>
                </a:lnTo>
                <a:lnTo>
                  <a:pt x="1742" y="359"/>
                </a:lnTo>
                <a:lnTo>
                  <a:pt x="1742" y="359"/>
                </a:lnTo>
                <a:lnTo>
                  <a:pt x="1744" y="359"/>
                </a:lnTo>
                <a:lnTo>
                  <a:pt x="1748" y="358"/>
                </a:lnTo>
                <a:lnTo>
                  <a:pt x="1754" y="356"/>
                </a:lnTo>
                <a:lnTo>
                  <a:pt x="1754" y="356"/>
                </a:lnTo>
                <a:lnTo>
                  <a:pt x="1767" y="354"/>
                </a:lnTo>
                <a:lnTo>
                  <a:pt x="1780" y="352"/>
                </a:lnTo>
                <a:lnTo>
                  <a:pt x="1793" y="350"/>
                </a:lnTo>
                <a:lnTo>
                  <a:pt x="1798" y="352"/>
                </a:lnTo>
                <a:lnTo>
                  <a:pt x="1804" y="354"/>
                </a:lnTo>
                <a:lnTo>
                  <a:pt x="1804" y="354"/>
                </a:lnTo>
                <a:lnTo>
                  <a:pt x="1811" y="356"/>
                </a:lnTo>
                <a:lnTo>
                  <a:pt x="1813" y="359"/>
                </a:lnTo>
                <a:lnTo>
                  <a:pt x="1815" y="361"/>
                </a:lnTo>
                <a:lnTo>
                  <a:pt x="1815" y="361"/>
                </a:lnTo>
                <a:lnTo>
                  <a:pt x="1813" y="365"/>
                </a:lnTo>
                <a:lnTo>
                  <a:pt x="1809" y="369"/>
                </a:lnTo>
                <a:lnTo>
                  <a:pt x="1806" y="372"/>
                </a:lnTo>
                <a:lnTo>
                  <a:pt x="1802" y="374"/>
                </a:lnTo>
                <a:lnTo>
                  <a:pt x="1791" y="374"/>
                </a:lnTo>
                <a:lnTo>
                  <a:pt x="1778" y="374"/>
                </a:lnTo>
                <a:lnTo>
                  <a:pt x="1754" y="374"/>
                </a:lnTo>
                <a:lnTo>
                  <a:pt x="1742" y="376"/>
                </a:lnTo>
                <a:lnTo>
                  <a:pt x="1739" y="378"/>
                </a:lnTo>
                <a:lnTo>
                  <a:pt x="1737" y="380"/>
                </a:lnTo>
                <a:lnTo>
                  <a:pt x="1737" y="380"/>
                </a:lnTo>
                <a:lnTo>
                  <a:pt x="1737" y="382"/>
                </a:lnTo>
                <a:lnTo>
                  <a:pt x="1739" y="382"/>
                </a:lnTo>
                <a:lnTo>
                  <a:pt x="1744" y="382"/>
                </a:lnTo>
                <a:lnTo>
                  <a:pt x="1754" y="382"/>
                </a:lnTo>
                <a:lnTo>
                  <a:pt x="1754" y="382"/>
                </a:lnTo>
                <a:lnTo>
                  <a:pt x="1781" y="382"/>
                </a:lnTo>
                <a:lnTo>
                  <a:pt x="1798" y="382"/>
                </a:lnTo>
                <a:lnTo>
                  <a:pt x="1806" y="384"/>
                </a:lnTo>
                <a:lnTo>
                  <a:pt x="1806" y="384"/>
                </a:lnTo>
                <a:lnTo>
                  <a:pt x="1806" y="387"/>
                </a:lnTo>
                <a:lnTo>
                  <a:pt x="1804" y="389"/>
                </a:lnTo>
                <a:lnTo>
                  <a:pt x="1794" y="391"/>
                </a:lnTo>
                <a:lnTo>
                  <a:pt x="1787" y="393"/>
                </a:lnTo>
                <a:lnTo>
                  <a:pt x="1785" y="395"/>
                </a:lnTo>
                <a:lnTo>
                  <a:pt x="1785" y="397"/>
                </a:lnTo>
                <a:lnTo>
                  <a:pt x="1785" y="397"/>
                </a:lnTo>
                <a:lnTo>
                  <a:pt x="1789" y="398"/>
                </a:lnTo>
                <a:lnTo>
                  <a:pt x="1793" y="400"/>
                </a:lnTo>
                <a:lnTo>
                  <a:pt x="1800" y="400"/>
                </a:lnTo>
                <a:lnTo>
                  <a:pt x="1807" y="398"/>
                </a:lnTo>
                <a:lnTo>
                  <a:pt x="1815" y="397"/>
                </a:lnTo>
                <a:lnTo>
                  <a:pt x="1820" y="395"/>
                </a:lnTo>
                <a:lnTo>
                  <a:pt x="1824" y="397"/>
                </a:lnTo>
                <a:lnTo>
                  <a:pt x="1826" y="402"/>
                </a:lnTo>
                <a:lnTo>
                  <a:pt x="1826" y="413"/>
                </a:lnTo>
                <a:lnTo>
                  <a:pt x="1826" y="413"/>
                </a:lnTo>
                <a:lnTo>
                  <a:pt x="1824" y="419"/>
                </a:lnTo>
                <a:lnTo>
                  <a:pt x="1818" y="423"/>
                </a:lnTo>
                <a:lnTo>
                  <a:pt x="1809" y="424"/>
                </a:lnTo>
                <a:lnTo>
                  <a:pt x="1809" y="424"/>
                </a:lnTo>
                <a:lnTo>
                  <a:pt x="1806" y="428"/>
                </a:lnTo>
                <a:lnTo>
                  <a:pt x="1806" y="432"/>
                </a:lnTo>
                <a:lnTo>
                  <a:pt x="1806" y="435"/>
                </a:lnTo>
                <a:lnTo>
                  <a:pt x="1804" y="437"/>
                </a:lnTo>
                <a:lnTo>
                  <a:pt x="1804" y="437"/>
                </a:lnTo>
                <a:lnTo>
                  <a:pt x="1794" y="441"/>
                </a:lnTo>
                <a:lnTo>
                  <a:pt x="1785" y="439"/>
                </a:lnTo>
                <a:lnTo>
                  <a:pt x="1778" y="435"/>
                </a:lnTo>
                <a:lnTo>
                  <a:pt x="1770" y="430"/>
                </a:lnTo>
                <a:lnTo>
                  <a:pt x="1755" y="419"/>
                </a:lnTo>
                <a:lnTo>
                  <a:pt x="1746" y="415"/>
                </a:lnTo>
                <a:lnTo>
                  <a:pt x="1739" y="413"/>
                </a:lnTo>
                <a:lnTo>
                  <a:pt x="1739" y="413"/>
                </a:lnTo>
                <a:lnTo>
                  <a:pt x="1737" y="413"/>
                </a:lnTo>
                <a:lnTo>
                  <a:pt x="1737" y="415"/>
                </a:lnTo>
                <a:lnTo>
                  <a:pt x="1741" y="417"/>
                </a:lnTo>
                <a:lnTo>
                  <a:pt x="1741" y="417"/>
                </a:lnTo>
                <a:lnTo>
                  <a:pt x="1744" y="421"/>
                </a:lnTo>
                <a:lnTo>
                  <a:pt x="1742" y="423"/>
                </a:lnTo>
                <a:lnTo>
                  <a:pt x="1733" y="423"/>
                </a:lnTo>
                <a:lnTo>
                  <a:pt x="1733" y="423"/>
                </a:lnTo>
                <a:lnTo>
                  <a:pt x="1717" y="423"/>
                </a:lnTo>
                <a:lnTo>
                  <a:pt x="1717" y="423"/>
                </a:lnTo>
                <a:lnTo>
                  <a:pt x="1709" y="424"/>
                </a:lnTo>
                <a:lnTo>
                  <a:pt x="1705" y="426"/>
                </a:lnTo>
                <a:lnTo>
                  <a:pt x="1704" y="426"/>
                </a:lnTo>
                <a:lnTo>
                  <a:pt x="1704" y="426"/>
                </a:lnTo>
                <a:lnTo>
                  <a:pt x="1705" y="428"/>
                </a:lnTo>
                <a:lnTo>
                  <a:pt x="1711" y="430"/>
                </a:lnTo>
                <a:lnTo>
                  <a:pt x="1718" y="430"/>
                </a:lnTo>
                <a:lnTo>
                  <a:pt x="1718" y="430"/>
                </a:lnTo>
                <a:lnTo>
                  <a:pt x="1735" y="432"/>
                </a:lnTo>
                <a:lnTo>
                  <a:pt x="1759" y="437"/>
                </a:lnTo>
                <a:lnTo>
                  <a:pt x="1772" y="441"/>
                </a:lnTo>
                <a:lnTo>
                  <a:pt x="1781" y="445"/>
                </a:lnTo>
                <a:lnTo>
                  <a:pt x="1789" y="450"/>
                </a:lnTo>
                <a:lnTo>
                  <a:pt x="1791" y="454"/>
                </a:lnTo>
                <a:lnTo>
                  <a:pt x="1793" y="456"/>
                </a:lnTo>
                <a:lnTo>
                  <a:pt x="1793" y="456"/>
                </a:lnTo>
                <a:lnTo>
                  <a:pt x="1793" y="458"/>
                </a:lnTo>
                <a:lnTo>
                  <a:pt x="1791" y="458"/>
                </a:lnTo>
                <a:lnTo>
                  <a:pt x="1785" y="460"/>
                </a:lnTo>
                <a:lnTo>
                  <a:pt x="1765" y="458"/>
                </a:lnTo>
                <a:lnTo>
                  <a:pt x="1746" y="454"/>
                </a:lnTo>
                <a:lnTo>
                  <a:pt x="1735" y="454"/>
                </a:lnTo>
                <a:lnTo>
                  <a:pt x="1735" y="454"/>
                </a:lnTo>
                <a:lnTo>
                  <a:pt x="1733" y="454"/>
                </a:lnTo>
                <a:lnTo>
                  <a:pt x="1735" y="456"/>
                </a:lnTo>
                <a:lnTo>
                  <a:pt x="1739" y="458"/>
                </a:lnTo>
                <a:lnTo>
                  <a:pt x="1746" y="461"/>
                </a:lnTo>
                <a:lnTo>
                  <a:pt x="1746" y="461"/>
                </a:lnTo>
                <a:lnTo>
                  <a:pt x="1765" y="463"/>
                </a:lnTo>
                <a:lnTo>
                  <a:pt x="1774" y="465"/>
                </a:lnTo>
                <a:lnTo>
                  <a:pt x="1778" y="469"/>
                </a:lnTo>
                <a:lnTo>
                  <a:pt x="1781" y="473"/>
                </a:lnTo>
                <a:lnTo>
                  <a:pt x="1781" y="473"/>
                </a:lnTo>
                <a:lnTo>
                  <a:pt x="1781" y="478"/>
                </a:lnTo>
                <a:lnTo>
                  <a:pt x="1780" y="480"/>
                </a:lnTo>
                <a:lnTo>
                  <a:pt x="1774" y="482"/>
                </a:lnTo>
                <a:lnTo>
                  <a:pt x="1768" y="482"/>
                </a:lnTo>
                <a:lnTo>
                  <a:pt x="1755" y="480"/>
                </a:lnTo>
                <a:lnTo>
                  <a:pt x="1750" y="480"/>
                </a:lnTo>
                <a:lnTo>
                  <a:pt x="1750" y="480"/>
                </a:lnTo>
                <a:lnTo>
                  <a:pt x="1750" y="482"/>
                </a:lnTo>
                <a:lnTo>
                  <a:pt x="1752" y="482"/>
                </a:lnTo>
                <a:lnTo>
                  <a:pt x="1759" y="486"/>
                </a:lnTo>
                <a:lnTo>
                  <a:pt x="1767" y="487"/>
                </a:lnTo>
                <a:lnTo>
                  <a:pt x="1770" y="489"/>
                </a:lnTo>
                <a:lnTo>
                  <a:pt x="1770" y="491"/>
                </a:lnTo>
                <a:lnTo>
                  <a:pt x="1770" y="491"/>
                </a:lnTo>
                <a:lnTo>
                  <a:pt x="1767" y="493"/>
                </a:lnTo>
                <a:lnTo>
                  <a:pt x="1767" y="493"/>
                </a:lnTo>
                <a:lnTo>
                  <a:pt x="1761" y="491"/>
                </a:lnTo>
                <a:lnTo>
                  <a:pt x="1755" y="493"/>
                </a:lnTo>
                <a:lnTo>
                  <a:pt x="1742" y="500"/>
                </a:lnTo>
                <a:lnTo>
                  <a:pt x="1728" y="510"/>
                </a:lnTo>
                <a:lnTo>
                  <a:pt x="1718" y="515"/>
                </a:lnTo>
                <a:lnTo>
                  <a:pt x="1707" y="521"/>
                </a:lnTo>
                <a:lnTo>
                  <a:pt x="1707" y="521"/>
                </a:lnTo>
                <a:lnTo>
                  <a:pt x="1704" y="521"/>
                </a:lnTo>
                <a:lnTo>
                  <a:pt x="1704" y="521"/>
                </a:lnTo>
                <a:lnTo>
                  <a:pt x="1694" y="517"/>
                </a:lnTo>
                <a:lnTo>
                  <a:pt x="1689" y="511"/>
                </a:lnTo>
                <a:lnTo>
                  <a:pt x="1678" y="499"/>
                </a:lnTo>
                <a:lnTo>
                  <a:pt x="1678" y="499"/>
                </a:lnTo>
                <a:lnTo>
                  <a:pt x="1674" y="495"/>
                </a:lnTo>
                <a:lnTo>
                  <a:pt x="1665" y="491"/>
                </a:lnTo>
                <a:lnTo>
                  <a:pt x="1659" y="491"/>
                </a:lnTo>
                <a:lnTo>
                  <a:pt x="1657" y="491"/>
                </a:lnTo>
                <a:lnTo>
                  <a:pt x="1657" y="491"/>
                </a:lnTo>
                <a:lnTo>
                  <a:pt x="1657" y="491"/>
                </a:lnTo>
                <a:lnTo>
                  <a:pt x="1679" y="511"/>
                </a:lnTo>
                <a:lnTo>
                  <a:pt x="1692" y="524"/>
                </a:lnTo>
                <a:lnTo>
                  <a:pt x="1696" y="530"/>
                </a:lnTo>
                <a:lnTo>
                  <a:pt x="1698" y="534"/>
                </a:lnTo>
                <a:lnTo>
                  <a:pt x="1698" y="534"/>
                </a:lnTo>
                <a:lnTo>
                  <a:pt x="1696" y="536"/>
                </a:lnTo>
                <a:lnTo>
                  <a:pt x="1692" y="536"/>
                </a:lnTo>
                <a:lnTo>
                  <a:pt x="1683" y="534"/>
                </a:lnTo>
                <a:lnTo>
                  <a:pt x="1672" y="530"/>
                </a:lnTo>
                <a:lnTo>
                  <a:pt x="1666" y="528"/>
                </a:lnTo>
                <a:lnTo>
                  <a:pt x="1663" y="530"/>
                </a:lnTo>
                <a:lnTo>
                  <a:pt x="1663" y="530"/>
                </a:lnTo>
                <a:lnTo>
                  <a:pt x="1663" y="532"/>
                </a:lnTo>
                <a:lnTo>
                  <a:pt x="1663" y="534"/>
                </a:lnTo>
                <a:lnTo>
                  <a:pt x="1663" y="534"/>
                </a:lnTo>
                <a:lnTo>
                  <a:pt x="1672" y="543"/>
                </a:lnTo>
                <a:lnTo>
                  <a:pt x="1672" y="547"/>
                </a:lnTo>
                <a:lnTo>
                  <a:pt x="1672" y="549"/>
                </a:lnTo>
                <a:lnTo>
                  <a:pt x="1670" y="549"/>
                </a:lnTo>
                <a:lnTo>
                  <a:pt x="1665" y="547"/>
                </a:lnTo>
                <a:lnTo>
                  <a:pt x="1665" y="547"/>
                </a:lnTo>
                <a:lnTo>
                  <a:pt x="1659" y="547"/>
                </a:lnTo>
                <a:lnTo>
                  <a:pt x="1652" y="549"/>
                </a:lnTo>
                <a:lnTo>
                  <a:pt x="1648" y="549"/>
                </a:lnTo>
                <a:lnTo>
                  <a:pt x="1646" y="550"/>
                </a:lnTo>
                <a:lnTo>
                  <a:pt x="1646" y="554"/>
                </a:lnTo>
                <a:lnTo>
                  <a:pt x="1648" y="556"/>
                </a:lnTo>
                <a:lnTo>
                  <a:pt x="1648" y="556"/>
                </a:lnTo>
                <a:lnTo>
                  <a:pt x="1657" y="562"/>
                </a:lnTo>
                <a:lnTo>
                  <a:pt x="1661" y="562"/>
                </a:lnTo>
                <a:lnTo>
                  <a:pt x="1665" y="562"/>
                </a:lnTo>
                <a:lnTo>
                  <a:pt x="1672" y="556"/>
                </a:lnTo>
                <a:lnTo>
                  <a:pt x="1681" y="550"/>
                </a:lnTo>
                <a:lnTo>
                  <a:pt x="1681" y="550"/>
                </a:lnTo>
                <a:lnTo>
                  <a:pt x="1683" y="550"/>
                </a:lnTo>
                <a:lnTo>
                  <a:pt x="1685" y="550"/>
                </a:lnTo>
                <a:lnTo>
                  <a:pt x="1685" y="550"/>
                </a:lnTo>
                <a:lnTo>
                  <a:pt x="1685" y="550"/>
                </a:lnTo>
                <a:lnTo>
                  <a:pt x="1683" y="554"/>
                </a:lnTo>
                <a:lnTo>
                  <a:pt x="1679" y="560"/>
                </a:lnTo>
                <a:lnTo>
                  <a:pt x="1670" y="567"/>
                </a:lnTo>
                <a:lnTo>
                  <a:pt x="1670" y="567"/>
                </a:lnTo>
                <a:close/>
                <a:moveTo>
                  <a:pt x="1390" y="287"/>
                </a:moveTo>
                <a:lnTo>
                  <a:pt x="1390" y="287"/>
                </a:lnTo>
                <a:lnTo>
                  <a:pt x="1392" y="282"/>
                </a:lnTo>
                <a:lnTo>
                  <a:pt x="1392" y="276"/>
                </a:lnTo>
                <a:lnTo>
                  <a:pt x="1390" y="270"/>
                </a:lnTo>
                <a:lnTo>
                  <a:pt x="1388" y="265"/>
                </a:lnTo>
                <a:lnTo>
                  <a:pt x="1381" y="256"/>
                </a:lnTo>
                <a:lnTo>
                  <a:pt x="1372" y="248"/>
                </a:lnTo>
                <a:lnTo>
                  <a:pt x="1372" y="248"/>
                </a:lnTo>
                <a:lnTo>
                  <a:pt x="1372" y="248"/>
                </a:lnTo>
                <a:lnTo>
                  <a:pt x="1366" y="243"/>
                </a:lnTo>
                <a:lnTo>
                  <a:pt x="1362" y="237"/>
                </a:lnTo>
                <a:lnTo>
                  <a:pt x="1359" y="224"/>
                </a:lnTo>
                <a:lnTo>
                  <a:pt x="1355" y="213"/>
                </a:lnTo>
                <a:lnTo>
                  <a:pt x="1353" y="209"/>
                </a:lnTo>
                <a:lnTo>
                  <a:pt x="1350" y="206"/>
                </a:lnTo>
                <a:lnTo>
                  <a:pt x="1350" y="206"/>
                </a:lnTo>
                <a:lnTo>
                  <a:pt x="1348" y="206"/>
                </a:lnTo>
                <a:lnTo>
                  <a:pt x="1348" y="207"/>
                </a:lnTo>
                <a:lnTo>
                  <a:pt x="1348" y="213"/>
                </a:lnTo>
                <a:lnTo>
                  <a:pt x="1350" y="220"/>
                </a:lnTo>
                <a:lnTo>
                  <a:pt x="1350" y="220"/>
                </a:lnTo>
                <a:lnTo>
                  <a:pt x="1348" y="230"/>
                </a:lnTo>
                <a:lnTo>
                  <a:pt x="1346" y="235"/>
                </a:lnTo>
                <a:lnTo>
                  <a:pt x="1348" y="239"/>
                </a:lnTo>
                <a:lnTo>
                  <a:pt x="1348" y="239"/>
                </a:lnTo>
                <a:lnTo>
                  <a:pt x="1350" y="245"/>
                </a:lnTo>
                <a:lnTo>
                  <a:pt x="1355" y="248"/>
                </a:lnTo>
                <a:lnTo>
                  <a:pt x="1366" y="256"/>
                </a:lnTo>
                <a:lnTo>
                  <a:pt x="1377" y="263"/>
                </a:lnTo>
                <a:lnTo>
                  <a:pt x="1385" y="269"/>
                </a:lnTo>
                <a:lnTo>
                  <a:pt x="1385" y="269"/>
                </a:lnTo>
                <a:lnTo>
                  <a:pt x="1385" y="272"/>
                </a:lnTo>
                <a:lnTo>
                  <a:pt x="1385" y="280"/>
                </a:lnTo>
                <a:lnTo>
                  <a:pt x="1385" y="287"/>
                </a:lnTo>
                <a:lnTo>
                  <a:pt x="1387" y="291"/>
                </a:lnTo>
                <a:lnTo>
                  <a:pt x="1388" y="293"/>
                </a:lnTo>
                <a:lnTo>
                  <a:pt x="1388" y="293"/>
                </a:lnTo>
                <a:lnTo>
                  <a:pt x="1390" y="293"/>
                </a:lnTo>
                <a:lnTo>
                  <a:pt x="1390" y="293"/>
                </a:lnTo>
                <a:lnTo>
                  <a:pt x="1390" y="287"/>
                </a:lnTo>
                <a:lnTo>
                  <a:pt x="1390" y="287"/>
                </a:lnTo>
                <a:close/>
                <a:moveTo>
                  <a:pt x="1678" y="334"/>
                </a:moveTo>
                <a:lnTo>
                  <a:pt x="1678" y="334"/>
                </a:lnTo>
                <a:lnTo>
                  <a:pt x="1678" y="334"/>
                </a:lnTo>
                <a:lnTo>
                  <a:pt x="1676" y="335"/>
                </a:lnTo>
                <a:lnTo>
                  <a:pt x="1676" y="337"/>
                </a:lnTo>
                <a:lnTo>
                  <a:pt x="1674" y="346"/>
                </a:lnTo>
                <a:lnTo>
                  <a:pt x="1672" y="354"/>
                </a:lnTo>
                <a:lnTo>
                  <a:pt x="1670" y="358"/>
                </a:lnTo>
                <a:lnTo>
                  <a:pt x="1668" y="361"/>
                </a:lnTo>
                <a:lnTo>
                  <a:pt x="1668" y="361"/>
                </a:lnTo>
                <a:lnTo>
                  <a:pt x="1661" y="365"/>
                </a:lnTo>
                <a:lnTo>
                  <a:pt x="1654" y="371"/>
                </a:lnTo>
                <a:lnTo>
                  <a:pt x="1642" y="382"/>
                </a:lnTo>
                <a:lnTo>
                  <a:pt x="1642" y="382"/>
                </a:lnTo>
                <a:lnTo>
                  <a:pt x="1618" y="397"/>
                </a:lnTo>
                <a:lnTo>
                  <a:pt x="1618" y="397"/>
                </a:lnTo>
                <a:lnTo>
                  <a:pt x="1611" y="404"/>
                </a:lnTo>
                <a:lnTo>
                  <a:pt x="1611" y="406"/>
                </a:lnTo>
                <a:lnTo>
                  <a:pt x="1613" y="404"/>
                </a:lnTo>
                <a:lnTo>
                  <a:pt x="1624" y="400"/>
                </a:lnTo>
                <a:lnTo>
                  <a:pt x="1639" y="391"/>
                </a:lnTo>
                <a:lnTo>
                  <a:pt x="1655" y="378"/>
                </a:lnTo>
                <a:lnTo>
                  <a:pt x="1670" y="363"/>
                </a:lnTo>
                <a:lnTo>
                  <a:pt x="1674" y="356"/>
                </a:lnTo>
                <a:lnTo>
                  <a:pt x="1678" y="348"/>
                </a:lnTo>
                <a:lnTo>
                  <a:pt x="1679" y="341"/>
                </a:lnTo>
                <a:lnTo>
                  <a:pt x="1678" y="334"/>
                </a:lnTo>
                <a:lnTo>
                  <a:pt x="1678" y="334"/>
                </a:lnTo>
                <a:close/>
              </a:path>
            </a:pathLst>
          </a:custGeom>
          <a:solidFill>
            <a:schemeClr val="accent3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Denmark Text"/>
          <p:cNvSpPr txBox="1">
            <a:spLocks/>
          </p:cNvSpPr>
          <p:nvPr/>
        </p:nvSpPr>
        <p:spPr>
          <a:xfrm>
            <a:off x="7963894" y="5976693"/>
            <a:ext cx="5021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chemeClr val="accent1"/>
                </a:solidFill>
              </a:rPr>
              <a:t>Denmark</a:t>
            </a:r>
          </a:p>
        </p:txBody>
      </p:sp>
      <p:sp>
        <p:nvSpPr>
          <p:cNvPr id="17" name="Finland Text"/>
          <p:cNvSpPr txBox="1">
            <a:spLocks/>
          </p:cNvSpPr>
          <p:nvPr/>
        </p:nvSpPr>
        <p:spPr>
          <a:xfrm>
            <a:off x="10430208" y="3140764"/>
            <a:ext cx="4041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chemeClr val="accent1"/>
                </a:solidFill>
              </a:rPr>
              <a:t>Finland</a:t>
            </a:r>
          </a:p>
        </p:txBody>
      </p:sp>
      <p:sp>
        <p:nvSpPr>
          <p:cNvPr id="18" name="Sweden Text"/>
          <p:cNvSpPr txBox="1">
            <a:spLocks/>
          </p:cNvSpPr>
          <p:nvPr/>
        </p:nvSpPr>
        <p:spPr>
          <a:xfrm>
            <a:off x="9035922" y="4690272"/>
            <a:ext cx="43737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chemeClr val="accent1"/>
                </a:solidFill>
              </a:rPr>
              <a:t>Sweden</a:t>
            </a:r>
          </a:p>
        </p:txBody>
      </p:sp>
      <p:sp>
        <p:nvSpPr>
          <p:cNvPr id="19" name="Norway Text"/>
          <p:cNvSpPr txBox="1">
            <a:spLocks/>
          </p:cNvSpPr>
          <p:nvPr/>
        </p:nvSpPr>
        <p:spPr>
          <a:xfrm>
            <a:off x="8143515" y="4444794"/>
            <a:ext cx="42863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chemeClr val="accent1"/>
                </a:solidFill>
              </a:rPr>
              <a:t>Norway</a:t>
            </a:r>
          </a:p>
        </p:txBody>
      </p:sp>
      <p:sp>
        <p:nvSpPr>
          <p:cNvPr id="20" name="Iceland Text"/>
          <p:cNvSpPr txBox="1">
            <a:spLocks/>
          </p:cNvSpPr>
          <p:nvPr/>
        </p:nvSpPr>
        <p:spPr>
          <a:xfrm>
            <a:off x="5320765" y="4734408"/>
            <a:ext cx="39189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chemeClr val="accent1"/>
                </a:solidFill>
              </a:rPr>
              <a:t>Iceland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9137721" y="6964656"/>
            <a:ext cx="2355779" cy="1767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grpSp>
        <p:nvGrpSpPr>
          <p:cNvPr id="184" name="Greenland"/>
          <p:cNvGrpSpPr>
            <a:grpSpLocks noChangeAspect="1"/>
          </p:cNvGrpSpPr>
          <p:nvPr/>
        </p:nvGrpSpPr>
        <p:grpSpPr bwMode="auto">
          <a:xfrm rot="1181657">
            <a:off x="2374868" y="499204"/>
            <a:ext cx="2916164" cy="5138535"/>
            <a:chOff x="3036" y="1082"/>
            <a:chExt cx="1303" cy="2296"/>
          </a:xfrm>
          <a:solidFill>
            <a:schemeClr val="accent3"/>
          </a:solidFill>
        </p:grpSpPr>
        <p:sp>
          <p:nvSpPr>
            <p:cNvPr id="185" name="Freeform 5"/>
            <p:cNvSpPr>
              <a:spLocks/>
            </p:cNvSpPr>
            <p:nvPr/>
          </p:nvSpPr>
          <p:spPr bwMode="auto">
            <a:xfrm>
              <a:off x="3429" y="3262"/>
              <a:ext cx="31" cy="26"/>
            </a:xfrm>
            <a:custGeom>
              <a:avLst/>
              <a:gdLst>
                <a:gd name="T0" fmla="*/ 26 w 31"/>
                <a:gd name="T1" fmla="*/ 15 h 26"/>
                <a:gd name="T2" fmla="*/ 21 w 31"/>
                <a:gd name="T3" fmla="*/ 26 h 26"/>
                <a:gd name="T4" fmla="*/ 0 w 31"/>
                <a:gd name="T5" fmla="*/ 15 h 26"/>
                <a:gd name="T6" fmla="*/ 31 w 31"/>
                <a:gd name="T7" fmla="*/ 0 h 26"/>
                <a:gd name="T8" fmla="*/ 26 w 31"/>
                <a:gd name="T9" fmla="*/ 1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6">
                  <a:moveTo>
                    <a:pt x="26" y="15"/>
                  </a:moveTo>
                  <a:lnTo>
                    <a:pt x="21" y="26"/>
                  </a:lnTo>
                  <a:lnTo>
                    <a:pt x="0" y="15"/>
                  </a:lnTo>
                  <a:lnTo>
                    <a:pt x="31" y="0"/>
                  </a:lnTo>
                  <a:lnTo>
                    <a:pt x="26" y="1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6" name="Freeform 6"/>
            <p:cNvSpPr>
              <a:spLocks/>
            </p:cNvSpPr>
            <p:nvPr/>
          </p:nvSpPr>
          <p:spPr bwMode="auto">
            <a:xfrm>
              <a:off x="3854" y="2799"/>
              <a:ext cx="10" cy="21"/>
            </a:xfrm>
            <a:custGeom>
              <a:avLst/>
              <a:gdLst>
                <a:gd name="T0" fmla="*/ 5 w 10"/>
                <a:gd name="T1" fmla="*/ 21 h 21"/>
                <a:gd name="T2" fmla="*/ 0 w 10"/>
                <a:gd name="T3" fmla="*/ 21 h 21"/>
                <a:gd name="T4" fmla="*/ 5 w 10"/>
                <a:gd name="T5" fmla="*/ 0 h 21"/>
                <a:gd name="T6" fmla="*/ 10 w 10"/>
                <a:gd name="T7" fmla="*/ 5 h 21"/>
                <a:gd name="T8" fmla="*/ 5 w 10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1">
                  <a:moveTo>
                    <a:pt x="5" y="21"/>
                  </a:moveTo>
                  <a:lnTo>
                    <a:pt x="0" y="21"/>
                  </a:lnTo>
                  <a:lnTo>
                    <a:pt x="5" y="0"/>
                  </a:lnTo>
                  <a:lnTo>
                    <a:pt x="10" y="5"/>
                  </a:lnTo>
                  <a:lnTo>
                    <a:pt x="5" y="21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7" name="Freeform 7"/>
            <p:cNvSpPr>
              <a:spLocks/>
            </p:cNvSpPr>
            <p:nvPr/>
          </p:nvSpPr>
          <p:spPr bwMode="auto">
            <a:xfrm>
              <a:off x="3343" y="2377"/>
              <a:ext cx="25" cy="36"/>
            </a:xfrm>
            <a:custGeom>
              <a:avLst/>
              <a:gdLst>
                <a:gd name="T0" fmla="*/ 10 w 25"/>
                <a:gd name="T1" fmla="*/ 36 h 36"/>
                <a:gd name="T2" fmla="*/ 0 w 25"/>
                <a:gd name="T3" fmla="*/ 36 h 36"/>
                <a:gd name="T4" fmla="*/ 5 w 25"/>
                <a:gd name="T5" fmla="*/ 0 h 36"/>
                <a:gd name="T6" fmla="*/ 25 w 25"/>
                <a:gd name="T7" fmla="*/ 10 h 36"/>
                <a:gd name="T8" fmla="*/ 15 w 25"/>
                <a:gd name="T9" fmla="*/ 15 h 36"/>
                <a:gd name="T10" fmla="*/ 10 w 25"/>
                <a:gd name="T1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36">
                  <a:moveTo>
                    <a:pt x="10" y="36"/>
                  </a:moveTo>
                  <a:lnTo>
                    <a:pt x="0" y="36"/>
                  </a:lnTo>
                  <a:lnTo>
                    <a:pt x="5" y="0"/>
                  </a:lnTo>
                  <a:lnTo>
                    <a:pt x="25" y="10"/>
                  </a:lnTo>
                  <a:lnTo>
                    <a:pt x="15" y="15"/>
                  </a:lnTo>
                  <a:lnTo>
                    <a:pt x="10" y="36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8" name="Freeform 8"/>
            <p:cNvSpPr>
              <a:spLocks/>
            </p:cNvSpPr>
            <p:nvPr/>
          </p:nvSpPr>
          <p:spPr bwMode="auto">
            <a:xfrm>
              <a:off x="3225" y="2321"/>
              <a:ext cx="97" cy="107"/>
            </a:xfrm>
            <a:custGeom>
              <a:avLst/>
              <a:gdLst>
                <a:gd name="T0" fmla="*/ 77 w 97"/>
                <a:gd name="T1" fmla="*/ 46 h 107"/>
                <a:gd name="T2" fmla="*/ 82 w 97"/>
                <a:gd name="T3" fmla="*/ 56 h 107"/>
                <a:gd name="T4" fmla="*/ 97 w 97"/>
                <a:gd name="T5" fmla="*/ 61 h 107"/>
                <a:gd name="T6" fmla="*/ 92 w 97"/>
                <a:gd name="T7" fmla="*/ 71 h 107"/>
                <a:gd name="T8" fmla="*/ 97 w 97"/>
                <a:gd name="T9" fmla="*/ 82 h 107"/>
                <a:gd name="T10" fmla="*/ 61 w 97"/>
                <a:gd name="T11" fmla="*/ 102 h 107"/>
                <a:gd name="T12" fmla="*/ 36 w 97"/>
                <a:gd name="T13" fmla="*/ 107 h 107"/>
                <a:gd name="T14" fmla="*/ 26 w 97"/>
                <a:gd name="T15" fmla="*/ 102 h 107"/>
                <a:gd name="T16" fmla="*/ 15 w 97"/>
                <a:gd name="T17" fmla="*/ 87 h 107"/>
                <a:gd name="T18" fmla="*/ 36 w 97"/>
                <a:gd name="T19" fmla="*/ 82 h 107"/>
                <a:gd name="T20" fmla="*/ 0 w 97"/>
                <a:gd name="T21" fmla="*/ 61 h 107"/>
                <a:gd name="T22" fmla="*/ 5 w 97"/>
                <a:gd name="T23" fmla="*/ 31 h 107"/>
                <a:gd name="T24" fmla="*/ 20 w 97"/>
                <a:gd name="T25" fmla="*/ 36 h 107"/>
                <a:gd name="T26" fmla="*/ 10 w 97"/>
                <a:gd name="T27" fmla="*/ 26 h 107"/>
                <a:gd name="T28" fmla="*/ 15 w 97"/>
                <a:gd name="T29" fmla="*/ 0 h 107"/>
                <a:gd name="T30" fmla="*/ 61 w 97"/>
                <a:gd name="T31" fmla="*/ 16 h 107"/>
                <a:gd name="T32" fmla="*/ 77 w 97"/>
                <a:gd name="T33" fmla="*/ 4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7" h="107">
                  <a:moveTo>
                    <a:pt x="77" y="46"/>
                  </a:moveTo>
                  <a:lnTo>
                    <a:pt x="82" y="56"/>
                  </a:lnTo>
                  <a:lnTo>
                    <a:pt x="97" y="61"/>
                  </a:lnTo>
                  <a:lnTo>
                    <a:pt x="92" y="71"/>
                  </a:lnTo>
                  <a:lnTo>
                    <a:pt x="97" y="82"/>
                  </a:lnTo>
                  <a:lnTo>
                    <a:pt x="61" y="102"/>
                  </a:lnTo>
                  <a:lnTo>
                    <a:pt x="36" y="107"/>
                  </a:lnTo>
                  <a:lnTo>
                    <a:pt x="26" y="102"/>
                  </a:lnTo>
                  <a:lnTo>
                    <a:pt x="15" y="87"/>
                  </a:lnTo>
                  <a:lnTo>
                    <a:pt x="36" y="82"/>
                  </a:lnTo>
                  <a:lnTo>
                    <a:pt x="0" y="61"/>
                  </a:lnTo>
                  <a:lnTo>
                    <a:pt x="5" y="31"/>
                  </a:lnTo>
                  <a:lnTo>
                    <a:pt x="20" y="36"/>
                  </a:lnTo>
                  <a:lnTo>
                    <a:pt x="10" y="26"/>
                  </a:lnTo>
                  <a:lnTo>
                    <a:pt x="15" y="0"/>
                  </a:lnTo>
                  <a:lnTo>
                    <a:pt x="61" y="16"/>
                  </a:lnTo>
                  <a:lnTo>
                    <a:pt x="77" y="46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9" name="Freeform 9"/>
            <p:cNvSpPr>
              <a:spLocks/>
            </p:cNvSpPr>
            <p:nvPr/>
          </p:nvSpPr>
          <p:spPr bwMode="auto">
            <a:xfrm>
              <a:off x="3332" y="2270"/>
              <a:ext cx="21" cy="16"/>
            </a:xfrm>
            <a:custGeom>
              <a:avLst/>
              <a:gdLst>
                <a:gd name="T0" fmla="*/ 16 w 21"/>
                <a:gd name="T1" fmla="*/ 16 h 16"/>
                <a:gd name="T2" fmla="*/ 0 w 21"/>
                <a:gd name="T3" fmla="*/ 6 h 16"/>
                <a:gd name="T4" fmla="*/ 11 w 21"/>
                <a:gd name="T5" fmla="*/ 0 h 16"/>
                <a:gd name="T6" fmla="*/ 21 w 21"/>
                <a:gd name="T7" fmla="*/ 11 h 16"/>
                <a:gd name="T8" fmla="*/ 16 w 21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6">
                  <a:moveTo>
                    <a:pt x="16" y="16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21" y="11"/>
                  </a:lnTo>
                  <a:lnTo>
                    <a:pt x="16" y="16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0" name="Freeform 10"/>
            <p:cNvSpPr>
              <a:spLocks/>
            </p:cNvSpPr>
            <p:nvPr/>
          </p:nvSpPr>
          <p:spPr bwMode="auto">
            <a:xfrm>
              <a:off x="4109" y="2220"/>
              <a:ext cx="82" cy="71"/>
            </a:xfrm>
            <a:custGeom>
              <a:avLst/>
              <a:gdLst>
                <a:gd name="T0" fmla="*/ 72 w 82"/>
                <a:gd name="T1" fmla="*/ 10 h 71"/>
                <a:gd name="T2" fmla="*/ 82 w 82"/>
                <a:gd name="T3" fmla="*/ 35 h 71"/>
                <a:gd name="T4" fmla="*/ 67 w 82"/>
                <a:gd name="T5" fmla="*/ 45 h 71"/>
                <a:gd name="T6" fmla="*/ 62 w 82"/>
                <a:gd name="T7" fmla="*/ 61 h 71"/>
                <a:gd name="T8" fmla="*/ 46 w 82"/>
                <a:gd name="T9" fmla="*/ 50 h 71"/>
                <a:gd name="T10" fmla="*/ 16 w 82"/>
                <a:gd name="T11" fmla="*/ 71 h 71"/>
                <a:gd name="T12" fmla="*/ 0 w 82"/>
                <a:gd name="T13" fmla="*/ 71 h 71"/>
                <a:gd name="T14" fmla="*/ 5 w 82"/>
                <a:gd name="T15" fmla="*/ 25 h 71"/>
                <a:gd name="T16" fmla="*/ 16 w 82"/>
                <a:gd name="T17" fmla="*/ 30 h 71"/>
                <a:gd name="T18" fmla="*/ 36 w 82"/>
                <a:gd name="T19" fmla="*/ 25 h 71"/>
                <a:gd name="T20" fmla="*/ 57 w 82"/>
                <a:gd name="T21" fmla="*/ 0 h 71"/>
                <a:gd name="T22" fmla="*/ 72 w 82"/>
                <a:gd name="T23" fmla="*/ 1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71">
                  <a:moveTo>
                    <a:pt x="72" y="10"/>
                  </a:moveTo>
                  <a:lnTo>
                    <a:pt x="82" y="35"/>
                  </a:lnTo>
                  <a:lnTo>
                    <a:pt x="67" y="45"/>
                  </a:lnTo>
                  <a:lnTo>
                    <a:pt x="62" y="61"/>
                  </a:lnTo>
                  <a:lnTo>
                    <a:pt x="46" y="50"/>
                  </a:lnTo>
                  <a:lnTo>
                    <a:pt x="16" y="71"/>
                  </a:lnTo>
                  <a:lnTo>
                    <a:pt x="0" y="71"/>
                  </a:lnTo>
                  <a:lnTo>
                    <a:pt x="5" y="25"/>
                  </a:lnTo>
                  <a:lnTo>
                    <a:pt x="16" y="30"/>
                  </a:lnTo>
                  <a:lnTo>
                    <a:pt x="36" y="25"/>
                  </a:lnTo>
                  <a:lnTo>
                    <a:pt x="57" y="0"/>
                  </a:lnTo>
                  <a:lnTo>
                    <a:pt x="72" y="1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1" name="Freeform 11"/>
            <p:cNvSpPr>
              <a:spLocks/>
            </p:cNvSpPr>
            <p:nvPr/>
          </p:nvSpPr>
          <p:spPr bwMode="auto">
            <a:xfrm>
              <a:off x="3281" y="2230"/>
              <a:ext cx="16" cy="25"/>
            </a:xfrm>
            <a:custGeom>
              <a:avLst/>
              <a:gdLst>
                <a:gd name="T0" fmla="*/ 10 w 16"/>
                <a:gd name="T1" fmla="*/ 25 h 25"/>
                <a:gd name="T2" fmla="*/ 0 w 16"/>
                <a:gd name="T3" fmla="*/ 20 h 25"/>
                <a:gd name="T4" fmla="*/ 0 w 16"/>
                <a:gd name="T5" fmla="*/ 10 h 25"/>
                <a:gd name="T6" fmla="*/ 16 w 16"/>
                <a:gd name="T7" fmla="*/ 0 h 25"/>
                <a:gd name="T8" fmla="*/ 10 w 16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25">
                  <a:moveTo>
                    <a:pt x="10" y="25"/>
                  </a:moveTo>
                  <a:lnTo>
                    <a:pt x="0" y="20"/>
                  </a:lnTo>
                  <a:lnTo>
                    <a:pt x="0" y="10"/>
                  </a:lnTo>
                  <a:lnTo>
                    <a:pt x="16" y="0"/>
                  </a:lnTo>
                  <a:lnTo>
                    <a:pt x="10" y="2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2" name="Freeform 12"/>
            <p:cNvSpPr>
              <a:spLocks/>
            </p:cNvSpPr>
            <p:nvPr/>
          </p:nvSpPr>
          <p:spPr bwMode="auto">
            <a:xfrm>
              <a:off x="3245" y="2072"/>
              <a:ext cx="36" cy="26"/>
            </a:xfrm>
            <a:custGeom>
              <a:avLst/>
              <a:gdLst>
                <a:gd name="T0" fmla="*/ 36 w 36"/>
                <a:gd name="T1" fmla="*/ 5 h 26"/>
                <a:gd name="T2" fmla="*/ 21 w 36"/>
                <a:gd name="T3" fmla="*/ 26 h 26"/>
                <a:gd name="T4" fmla="*/ 0 w 36"/>
                <a:gd name="T5" fmla="*/ 5 h 26"/>
                <a:gd name="T6" fmla="*/ 11 w 36"/>
                <a:gd name="T7" fmla="*/ 0 h 26"/>
                <a:gd name="T8" fmla="*/ 36 w 36"/>
                <a:gd name="T9" fmla="*/ 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26">
                  <a:moveTo>
                    <a:pt x="36" y="5"/>
                  </a:moveTo>
                  <a:lnTo>
                    <a:pt x="21" y="26"/>
                  </a:lnTo>
                  <a:lnTo>
                    <a:pt x="0" y="5"/>
                  </a:lnTo>
                  <a:lnTo>
                    <a:pt x="11" y="0"/>
                  </a:lnTo>
                  <a:lnTo>
                    <a:pt x="36" y="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3" name="Freeform 13"/>
            <p:cNvSpPr>
              <a:spLocks/>
            </p:cNvSpPr>
            <p:nvPr/>
          </p:nvSpPr>
          <p:spPr bwMode="auto">
            <a:xfrm>
              <a:off x="4217" y="1747"/>
              <a:ext cx="46" cy="40"/>
            </a:xfrm>
            <a:custGeom>
              <a:avLst/>
              <a:gdLst>
                <a:gd name="T0" fmla="*/ 15 w 46"/>
                <a:gd name="T1" fmla="*/ 0 h 40"/>
                <a:gd name="T2" fmla="*/ 30 w 46"/>
                <a:gd name="T3" fmla="*/ 20 h 40"/>
                <a:gd name="T4" fmla="*/ 46 w 46"/>
                <a:gd name="T5" fmla="*/ 25 h 40"/>
                <a:gd name="T6" fmla="*/ 41 w 46"/>
                <a:gd name="T7" fmla="*/ 35 h 40"/>
                <a:gd name="T8" fmla="*/ 10 w 46"/>
                <a:gd name="T9" fmla="*/ 40 h 40"/>
                <a:gd name="T10" fmla="*/ 0 w 46"/>
                <a:gd name="T11" fmla="*/ 15 h 40"/>
                <a:gd name="T12" fmla="*/ 15 w 46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40">
                  <a:moveTo>
                    <a:pt x="15" y="0"/>
                  </a:moveTo>
                  <a:lnTo>
                    <a:pt x="30" y="20"/>
                  </a:lnTo>
                  <a:lnTo>
                    <a:pt x="46" y="25"/>
                  </a:lnTo>
                  <a:lnTo>
                    <a:pt x="41" y="35"/>
                  </a:lnTo>
                  <a:lnTo>
                    <a:pt x="10" y="40"/>
                  </a:lnTo>
                  <a:lnTo>
                    <a:pt x="0" y="15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4" name="Freeform 14"/>
            <p:cNvSpPr>
              <a:spLocks/>
            </p:cNvSpPr>
            <p:nvPr/>
          </p:nvSpPr>
          <p:spPr bwMode="auto">
            <a:xfrm>
              <a:off x="4160" y="1640"/>
              <a:ext cx="36" cy="56"/>
            </a:xfrm>
            <a:custGeom>
              <a:avLst/>
              <a:gdLst>
                <a:gd name="T0" fmla="*/ 36 w 36"/>
                <a:gd name="T1" fmla="*/ 56 h 56"/>
                <a:gd name="T2" fmla="*/ 0 w 36"/>
                <a:gd name="T3" fmla="*/ 0 h 56"/>
                <a:gd name="T4" fmla="*/ 11 w 36"/>
                <a:gd name="T5" fmla="*/ 5 h 56"/>
                <a:gd name="T6" fmla="*/ 36 w 36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56">
                  <a:moveTo>
                    <a:pt x="36" y="56"/>
                  </a:moveTo>
                  <a:lnTo>
                    <a:pt x="0" y="0"/>
                  </a:lnTo>
                  <a:lnTo>
                    <a:pt x="11" y="5"/>
                  </a:lnTo>
                  <a:lnTo>
                    <a:pt x="36" y="56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5" name="Freeform 15"/>
            <p:cNvSpPr>
              <a:spLocks/>
            </p:cNvSpPr>
            <p:nvPr/>
          </p:nvSpPr>
          <p:spPr bwMode="auto">
            <a:xfrm>
              <a:off x="3036" y="1508"/>
              <a:ext cx="15" cy="20"/>
            </a:xfrm>
            <a:custGeom>
              <a:avLst/>
              <a:gdLst>
                <a:gd name="T0" fmla="*/ 10 w 15"/>
                <a:gd name="T1" fmla="*/ 20 h 20"/>
                <a:gd name="T2" fmla="*/ 0 w 15"/>
                <a:gd name="T3" fmla="*/ 0 h 20"/>
                <a:gd name="T4" fmla="*/ 10 w 15"/>
                <a:gd name="T5" fmla="*/ 0 h 20"/>
                <a:gd name="T6" fmla="*/ 15 w 15"/>
                <a:gd name="T7" fmla="*/ 10 h 20"/>
                <a:gd name="T8" fmla="*/ 10 w 15"/>
                <a:gd name="T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0">
                  <a:moveTo>
                    <a:pt x="10" y="2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15" y="10"/>
                  </a:lnTo>
                  <a:lnTo>
                    <a:pt x="10" y="2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6" name="Freeform 16"/>
            <p:cNvSpPr>
              <a:spLocks/>
            </p:cNvSpPr>
            <p:nvPr/>
          </p:nvSpPr>
          <p:spPr bwMode="auto">
            <a:xfrm>
              <a:off x="4140" y="1523"/>
              <a:ext cx="10" cy="25"/>
            </a:xfrm>
            <a:custGeom>
              <a:avLst/>
              <a:gdLst>
                <a:gd name="T0" fmla="*/ 5 w 10"/>
                <a:gd name="T1" fmla="*/ 25 h 25"/>
                <a:gd name="T2" fmla="*/ 0 w 10"/>
                <a:gd name="T3" fmla="*/ 0 h 25"/>
                <a:gd name="T4" fmla="*/ 10 w 10"/>
                <a:gd name="T5" fmla="*/ 15 h 25"/>
                <a:gd name="T6" fmla="*/ 5 w 10"/>
                <a:gd name="T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5">
                  <a:moveTo>
                    <a:pt x="5" y="25"/>
                  </a:moveTo>
                  <a:lnTo>
                    <a:pt x="0" y="0"/>
                  </a:lnTo>
                  <a:lnTo>
                    <a:pt x="10" y="15"/>
                  </a:lnTo>
                  <a:lnTo>
                    <a:pt x="5" y="25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7" name="Freeform 17"/>
            <p:cNvSpPr>
              <a:spLocks/>
            </p:cNvSpPr>
            <p:nvPr/>
          </p:nvSpPr>
          <p:spPr bwMode="auto">
            <a:xfrm>
              <a:off x="4094" y="1482"/>
              <a:ext cx="20" cy="41"/>
            </a:xfrm>
            <a:custGeom>
              <a:avLst/>
              <a:gdLst>
                <a:gd name="T0" fmla="*/ 20 w 20"/>
                <a:gd name="T1" fmla="*/ 41 h 41"/>
                <a:gd name="T2" fmla="*/ 5 w 20"/>
                <a:gd name="T3" fmla="*/ 26 h 41"/>
                <a:gd name="T4" fmla="*/ 0 w 20"/>
                <a:gd name="T5" fmla="*/ 10 h 41"/>
                <a:gd name="T6" fmla="*/ 5 w 20"/>
                <a:gd name="T7" fmla="*/ 0 h 41"/>
                <a:gd name="T8" fmla="*/ 20 w 20"/>
                <a:gd name="T9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41">
                  <a:moveTo>
                    <a:pt x="20" y="41"/>
                  </a:moveTo>
                  <a:lnTo>
                    <a:pt x="5" y="26"/>
                  </a:lnTo>
                  <a:lnTo>
                    <a:pt x="0" y="10"/>
                  </a:lnTo>
                  <a:lnTo>
                    <a:pt x="5" y="0"/>
                  </a:lnTo>
                  <a:lnTo>
                    <a:pt x="20" y="41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8" name="Freeform 18"/>
            <p:cNvSpPr>
              <a:spLocks/>
            </p:cNvSpPr>
            <p:nvPr/>
          </p:nvSpPr>
          <p:spPr bwMode="auto">
            <a:xfrm>
              <a:off x="4038" y="1330"/>
              <a:ext cx="30" cy="35"/>
            </a:xfrm>
            <a:custGeom>
              <a:avLst/>
              <a:gdLst>
                <a:gd name="T0" fmla="*/ 30 w 30"/>
                <a:gd name="T1" fmla="*/ 20 h 35"/>
                <a:gd name="T2" fmla="*/ 25 w 30"/>
                <a:gd name="T3" fmla="*/ 35 h 35"/>
                <a:gd name="T4" fmla="*/ 10 w 30"/>
                <a:gd name="T5" fmla="*/ 35 h 35"/>
                <a:gd name="T6" fmla="*/ 0 w 30"/>
                <a:gd name="T7" fmla="*/ 20 h 35"/>
                <a:gd name="T8" fmla="*/ 20 w 30"/>
                <a:gd name="T9" fmla="*/ 0 h 35"/>
                <a:gd name="T10" fmla="*/ 30 w 30"/>
                <a:gd name="T11" fmla="*/ 2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5">
                  <a:moveTo>
                    <a:pt x="30" y="20"/>
                  </a:moveTo>
                  <a:lnTo>
                    <a:pt x="25" y="35"/>
                  </a:lnTo>
                  <a:lnTo>
                    <a:pt x="10" y="35"/>
                  </a:lnTo>
                  <a:lnTo>
                    <a:pt x="0" y="20"/>
                  </a:lnTo>
                  <a:lnTo>
                    <a:pt x="20" y="0"/>
                  </a:lnTo>
                  <a:lnTo>
                    <a:pt x="30" y="2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9" name="Freeform 19"/>
            <p:cNvSpPr>
              <a:spLocks/>
            </p:cNvSpPr>
            <p:nvPr/>
          </p:nvSpPr>
          <p:spPr bwMode="auto">
            <a:xfrm>
              <a:off x="3951" y="1157"/>
              <a:ext cx="20" cy="25"/>
            </a:xfrm>
            <a:custGeom>
              <a:avLst/>
              <a:gdLst>
                <a:gd name="T0" fmla="*/ 20 w 20"/>
                <a:gd name="T1" fmla="*/ 20 h 25"/>
                <a:gd name="T2" fmla="*/ 15 w 20"/>
                <a:gd name="T3" fmla="*/ 25 h 25"/>
                <a:gd name="T4" fmla="*/ 0 w 20"/>
                <a:gd name="T5" fmla="*/ 0 h 25"/>
                <a:gd name="T6" fmla="*/ 20 w 20"/>
                <a:gd name="T7" fmla="*/ 2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5">
                  <a:moveTo>
                    <a:pt x="20" y="20"/>
                  </a:moveTo>
                  <a:lnTo>
                    <a:pt x="15" y="25"/>
                  </a:lnTo>
                  <a:lnTo>
                    <a:pt x="0" y="0"/>
                  </a:lnTo>
                  <a:lnTo>
                    <a:pt x="20" y="20"/>
                  </a:lnTo>
                  <a:close/>
                </a:path>
              </a:pathLst>
            </a:custGeom>
            <a:grpFill/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0" name="Freeform 20"/>
            <p:cNvSpPr>
              <a:spLocks/>
            </p:cNvSpPr>
            <p:nvPr/>
          </p:nvSpPr>
          <p:spPr bwMode="auto">
            <a:xfrm>
              <a:off x="3588" y="1157"/>
              <a:ext cx="31" cy="61"/>
            </a:xfrm>
            <a:custGeom>
              <a:avLst/>
              <a:gdLst>
                <a:gd name="T0" fmla="*/ 31 w 31"/>
                <a:gd name="T1" fmla="*/ 61 h 61"/>
                <a:gd name="T2" fmla="*/ 5 w 31"/>
                <a:gd name="T3" fmla="*/ 30 h 61"/>
                <a:gd name="T4" fmla="*/ 0 w 31"/>
                <a:gd name="T5" fmla="*/ 5 h 61"/>
                <a:gd name="T6" fmla="*/ 10 w 31"/>
                <a:gd name="T7" fmla="*/ 0 h 61"/>
                <a:gd name="T8" fmla="*/ 31 w 31"/>
                <a:gd name="T9" fmla="*/ 20 h 61"/>
                <a:gd name="T10" fmla="*/ 31 w 31"/>
                <a:gd name="T11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1" h="61">
                  <a:moveTo>
                    <a:pt x="31" y="61"/>
                  </a:moveTo>
                  <a:lnTo>
                    <a:pt x="5" y="30"/>
                  </a:lnTo>
                  <a:lnTo>
                    <a:pt x="0" y="5"/>
                  </a:lnTo>
                  <a:lnTo>
                    <a:pt x="10" y="0"/>
                  </a:lnTo>
                  <a:lnTo>
                    <a:pt x="31" y="20"/>
                  </a:lnTo>
                  <a:lnTo>
                    <a:pt x="31" y="61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1" name="Freeform 21"/>
            <p:cNvSpPr>
              <a:spLocks/>
            </p:cNvSpPr>
            <p:nvPr/>
          </p:nvSpPr>
          <p:spPr bwMode="auto">
            <a:xfrm>
              <a:off x="3076" y="1082"/>
              <a:ext cx="1263" cy="2296"/>
            </a:xfrm>
            <a:custGeom>
              <a:avLst/>
              <a:gdLst>
                <a:gd name="T0" fmla="*/ 823 w 1273"/>
                <a:gd name="T1" fmla="*/ 51 h 2314"/>
                <a:gd name="T2" fmla="*/ 843 w 1273"/>
                <a:gd name="T3" fmla="*/ 132 h 2314"/>
                <a:gd name="T4" fmla="*/ 935 w 1273"/>
                <a:gd name="T5" fmla="*/ 148 h 2314"/>
                <a:gd name="T6" fmla="*/ 1027 w 1273"/>
                <a:gd name="T7" fmla="*/ 224 h 2314"/>
                <a:gd name="T8" fmla="*/ 1027 w 1273"/>
                <a:gd name="T9" fmla="*/ 366 h 2314"/>
                <a:gd name="T10" fmla="*/ 1068 w 1273"/>
                <a:gd name="T11" fmla="*/ 488 h 2314"/>
                <a:gd name="T12" fmla="*/ 1084 w 1273"/>
                <a:gd name="T13" fmla="*/ 570 h 2314"/>
                <a:gd name="T14" fmla="*/ 1125 w 1273"/>
                <a:gd name="T15" fmla="*/ 651 h 2314"/>
                <a:gd name="T16" fmla="*/ 1135 w 1273"/>
                <a:gd name="T17" fmla="*/ 743 h 2314"/>
                <a:gd name="T18" fmla="*/ 1140 w 1273"/>
                <a:gd name="T19" fmla="*/ 829 h 2314"/>
                <a:gd name="T20" fmla="*/ 1099 w 1273"/>
                <a:gd name="T21" fmla="*/ 890 h 2314"/>
                <a:gd name="T22" fmla="*/ 1033 w 1273"/>
                <a:gd name="T23" fmla="*/ 982 h 2314"/>
                <a:gd name="T24" fmla="*/ 1104 w 1273"/>
                <a:gd name="T25" fmla="*/ 961 h 2314"/>
                <a:gd name="T26" fmla="*/ 1201 w 1273"/>
                <a:gd name="T27" fmla="*/ 1048 h 2314"/>
                <a:gd name="T28" fmla="*/ 1232 w 1273"/>
                <a:gd name="T29" fmla="*/ 1144 h 2314"/>
                <a:gd name="T30" fmla="*/ 1073 w 1273"/>
                <a:gd name="T31" fmla="*/ 1124 h 2314"/>
                <a:gd name="T32" fmla="*/ 1114 w 1273"/>
                <a:gd name="T33" fmla="*/ 1221 h 2314"/>
                <a:gd name="T34" fmla="*/ 1268 w 1273"/>
                <a:gd name="T35" fmla="*/ 1216 h 2314"/>
                <a:gd name="T36" fmla="*/ 1165 w 1273"/>
                <a:gd name="T37" fmla="*/ 1388 h 2314"/>
                <a:gd name="T38" fmla="*/ 946 w 1273"/>
                <a:gd name="T39" fmla="*/ 1536 h 2314"/>
                <a:gd name="T40" fmla="*/ 849 w 1273"/>
                <a:gd name="T41" fmla="*/ 1724 h 2314"/>
                <a:gd name="T42" fmla="*/ 787 w 1273"/>
                <a:gd name="T43" fmla="*/ 1688 h 2314"/>
                <a:gd name="T44" fmla="*/ 700 w 1273"/>
                <a:gd name="T45" fmla="*/ 1805 h 2314"/>
                <a:gd name="T46" fmla="*/ 639 w 1273"/>
                <a:gd name="T47" fmla="*/ 1887 h 2314"/>
                <a:gd name="T48" fmla="*/ 659 w 1273"/>
                <a:gd name="T49" fmla="*/ 1983 h 2314"/>
                <a:gd name="T50" fmla="*/ 613 w 1273"/>
                <a:gd name="T51" fmla="*/ 2105 h 2314"/>
                <a:gd name="T52" fmla="*/ 562 w 1273"/>
                <a:gd name="T53" fmla="*/ 2263 h 2314"/>
                <a:gd name="T54" fmla="*/ 496 w 1273"/>
                <a:gd name="T55" fmla="*/ 2294 h 2314"/>
                <a:gd name="T56" fmla="*/ 434 w 1273"/>
                <a:gd name="T57" fmla="*/ 2197 h 2314"/>
                <a:gd name="T58" fmla="*/ 348 w 1273"/>
                <a:gd name="T59" fmla="*/ 2192 h 2314"/>
                <a:gd name="T60" fmla="*/ 296 w 1273"/>
                <a:gd name="T61" fmla="*/ 2080 h 2314"/>
                <a:gd name="T62" fmla="*/ 220 w 1273"/>
                <a:gd name="T63" fmla="*/ 1958 h 2314"/>
                <a:gd name="T64" fmla="*/ 230 w 1273"/>
                <a:gd name="T65" fmla="*/ 1831 h 2314"/>
                <a:gd name="T66" fmla="*/ 240 w 1273"/>
                <a:gd name="T67" fmla="*/ 1826 h 2314"/>
                <a:gd name="T68" fmla="*/ 256 w 1273"/>
                <a:gd name="T69" fmla="*/ 1714 h 2314"/>
                <a:gd name="T70" fmla="*/ 245 w 1273"/>
                <a:gd name="T71" fmla="*/ 1627 h 2314"/>
                <a:gd name="T72" fmla="*/ 179 w 1273"/>
                <a:gd name="T73" fmla="*/ 1541 h 2314"/>
                <a:gd name="T74" fmla="*/ 179 w 1273"/>
                <a:gd name="T75" fmla="*/ 1531 h 2314"/>
                <a:gd name="T76" fmla="*/ 240 w 1273"/>
                <a:gd name="T77" fmla="*/ 1424 h 2314"/>
                <a:gd name="T78" fmla="*/ 302 w 1273"/>
                <a:gd name="T79" fmla="*/ 1383 h 2314"/>
                <a:gd name="T80" fmla="*/ 276 w 1273"/>
                <a:gd name="T81" fmla="*/ 1297 h 2314"/>
                <a:gd name="T82" fmla="*/ 332 w 1273"/>
                <a:gd name="T83" fmla="*/ 1266 h 2314"/>
                <a:gd name="T84" fmla="*/ 286 w 1273"/>
                <a:gd name="T85" fmla="*/ 1154 h 2314"/>
                <a:gd name="T86" fmla="*/ 271 w 1273"/>
                <a:gd name="T87" fmla="*/ 1119 h 2314"/>
                <a:gd name="T88" fmla="*/ 210 w 1273"/>
                <a:gd name="T89" fmla="*/ 1068 h 2314"/>
                <a:gd name="T90" fmla="*/ 245 w 1273"/>
                <a:gd name="T91" fmla="*/ 971 h 2314"/>
                <a:gd name="T92" fmla="*/ 245 w 1273"/>
                <a:gd name="T93" fmla="*/ 849 h 2314"/>
                <a:gd name="T94" fmla="*/ 82 w 1273"/>
                <a:gd name="T95" fmla="*/ 631 h 2314"/>
                <a:gd name="T96" fmla="*/ 26 w 1273"/>
                <a:gd name="T97" fmla="*/ 514 h 2314"/>
                <a:gd name="T98" fmla="*/ 77 w 1273"/>
                <a:gd name="T99" fmla="*/ 493 h 2314"/>
                <a:gd name="T100" fmla="*/ 56 w 1273"/>
                <a:gd name="T101" fmla="*/ 437 h 2314"/>
                <a:gd name="T102" fmla="*/ 164 w 1273"/>
                <a:gd name="T103" fmla="*/ 346 h 2314"/>
                <a:gd name="T104" fmla="*/ 276 w 1273"/>
                <a:gd name="T105" fmla="*/ 198 h 2314"/>
                <a:gd name="T106" fmla="*/ 404 w 1273"/>
                <a:gd name="T107" fmla="*/ 204 h 2314"/>
                <a:gd name="T108" fmla="*/ 491 w 1273"/>
                <a:gd name="T109" fmla="*/ 153 h 2314"/>
                <a:gd name="T110" fmla="*/ 572 w 1273"/>
                <a:gd name="T111" fmla="*/ 92 h 2314"/>
                <a:gd name="T112" fmla="*/ 613 w 1273"/>
                <a:gd name="T113" fmla="*/ 46 h 2314"/>
                <a:gd name="T114" fmla="*/ 746 w 1273"/>
                <a:gd name="T115" fmla="*/ 0 h 2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73" h="2314">
                  <a:moveTo>
                    <a:pt x="746" y="0"/>
                  </a:moveTo>
                  <a:lnTo>
                    <a:pt x="797" y="15"/>
                  </a:lnTo>
                  <a:lnTo>
                    <a:pt x="797" y="26"/>
                  </a:lnTo>
                  <a:lnTo>
                    <a:pt x="731" y="51"/>
                  </a:lnTo>
                  <a:lnTo>
                    <a:pt x="736" y="61"/>
                  </a:lnTo>
                  <a:lnTo>
                    <a:pt x="751" y="46"/>
                  </a:lnTo>
                  <a:lnTo>
                    <a:pt x="792" y="41"/>
                  </a:lnTo>
                  <a:lnTo>
                    <a:pt x="808" y="26"/>
                  </a:lnTo>
                  <a:lnTo>
                    <a:pt x="823" y="51"/>
                  </a:lnTo>
                  <a:lnTo>
                    <a:pt x="833" y="46"/>
                  </a:lnTo>
                  <a:lnTo>
                    <a:pt x="864" y="56"/>
                  </a:lnTo>
                  <a:lnTo>
                    <a:pt x="869" y="76"/>
                  </a:lnTo>
                  <a:lnTo>
                    <a:pt x="859" y="97"/>
                  </a:lnTo>
                  <a:lnTo>
                    <a:pt x="782" y="132"/>
                  </a:lnTo>
                  <a:lnTo>
                    <a:pt x="777" y="142"/>
                  </a:lnTo>
                  <a:lnTo>
                    <a:pt x="787" y="153"/>
                  </a:lnTo>
                  <a:lnTo>
                    <a:pt x="808" y="137"/>
                  </a:lnTo>
                  <a:lnTo>
                    <a:pt x="843" y="132"/>
                  </a:lnTo>
                  <a:lnTo>
                    <a:pt x="864" y="158"/>
                  </a:lnTo>
                  <a:lnTo>
                    <a:pt x="869" y="122"/>
                  </a:lnTo>
                  <a:lnTo>
                    <a:pt x="889" y="112"/>
                  </a:lnTo>
                  <a:lnTo>
                    <a:pt x="910" y="168"/>
                  </a:lnTo>
                  <a:lnTo>
                    <a:pt x="905" y="234"/>
                  </a:lnTo>
                  <a:lnTo>
                    <a:pt x="925" y="178"/>
                  </a:lnTo>
                  <a:lnTo>
                    <a:pt x="925" y="142"/>
                  </a:lnTo>
                  <a:lnTo>
                    <a:pt x="930" y="137"/>
                  </a:lnTo>
                  <a:lnTo>
                    <a:pt x="935" y="148"/>
                  </a:lnTo>
                  <a:lnTo>
                    <a:pt x="966" y="153"/>
                  </a:lnTo>
                  <a:lnTo>
                    <a:pt x="971" y="102"/>
                  </a:lnTo>
                  <a:lnTo>
                    <a:pt x="997" y="92"/>
                  </a:lnTo>
                  <a:lnTo>
                    <a:pt x="1038" y="102"/>
                  </a:lnTo>
                  <a:lnTo>
                    <a:pt x="1038" y="148"/>
                  </a:lnTo>
                  <a:lnTo>
                    <a:pt x="1022" y="163"/>
                  </a:lnTo>
                  <a:lnTo>
                    <a:pt x="1033" y="188"/>
                  </a:lnTo>
                  <a:lnTo>
                    <a:pt x="1007" y="219"/>
                  </a:lnTo>
                  <a:lnTo>
                    <a:pt x="1027" y="224"/>
                  </a:lnTo>
                  <a:lnTo>
                    <a:pt x="1027" y="244"/>
                  </a:lnTo>
                  <a:lnTo>
                    <a:pt x="1007" y="265"/>
                  </a:lnTo>
                  <a:lnTo>
                    <a:pt x="981" y="259"/>
                  </a:lnTo>
                  <a:lnTo>
                    <a:pt x="976" y="290"/>
                  </a:lnTo>
                  <a:lnTo>
                    <a:pt x="987" y="310"/>
                  </a:lnTo>
                  <a:lnTo>
                    <a:pt x="1002" y="310"/>
                  </a:lnTo>
                  <a:lnTo>
                    <a:pt x="1012" y="346"/>
                  </a:lnTo>
                  <a:lnTo>
                    <a:pt x="1027" y="351"/>
                  </a:lnTo>
                  <a:lnTo>
                    <a:pt x="1027" y="366"/>
                  </a:lnTo>
                  <a:lnTo>
                    <a:pt x="1017" y="376"/>
                  </a:lnTo>
                  <a:lnTo>
                    <a:pt x="1022" y="397"/>
                  </a:lnTo>
                  <a:lnTo>
                    <a:pt x="1012" y="402"/>
                  </a:lnTo>
                  <a:lnTo>
                    <a:pt x="1007" y="417"/>
                  </a:lnTo>
                  <a:lnTo>
                    <a:pt x="1017" y="422"/>
                  </a:lnTo>
                  <a:lnTo>
                    <a:pt x="1027" y="504"/>
                  </a:lnTo>
                  <a:lnTo>
                    <a:pt x="1038" y="514"/>
                  </a:lnTo>
                  <a:lnTo>
                    <a:pt x="1043" y="483"/>
                  </a:lnTo>
                  <a:lnTo>
                    <a:pt x="1068" y="488"/>
                  </a:lnTo>
                  <a:lnTo>
                    <a:pt x="1084" y="504"/>
                  </a:lnTo>
                  <a:lnTo>
                    <a:pt x="1063" y="498"/>
                  </a:lnTo>
                  <a:lnTo>
                    <a:pt x="1053" y="509"/>
                  </a:lnTo>
                  <a:lnTo>
                    <a:pt x="1063" y="524"/>
                  </a:lnTo>
                  <a:lnTo>
                    <a:pt x="1094" y="534"/>
                  </a:lnTo>
                  <a:lnTo>
                    <a:pt x="1109" y="524"/>
                  </a:lnTo>
                  <a:lnTo>
                    <a:pt x="1125" y="544"/>
                  </a:lnTo>
                  <a:lnTo>
                    <a:pt x="1130" y="570"/>
                  </a:lnTo>
                  <a:lnTo>
                    <a:pt x="1084" y="570"/>
                  </a:lnTo>
                  <a:lnTo>
                    <a:pt x="1068" y="600"/>
                  </a:lnTo>
                  <a:lnTo>
                    <a:pt x="1048" y="595"/>
                  </a:lnTo>
                  <a:lnTo>
                    <a:pt x="1043" y="605"/>
                  </a:lnTo>
                  <a:lnTo>
                    <a:pt x="1063" y="615"/>
                  </a:lnTo>
                  <a:lnTo>
                    <a:pt x="1084" y="641"/>
                  </a:lnTo>
                  <a:lnTo>
                    <a:pt x="1094" y="631"/>
                  </a:lnTo>
                  <a:lnTo>
                    <a:pt x="1104" y="636"/>
                  </a:lnTo>
                  <a:lnTo>
                    <a:pt x="1114" y="631"/>
                  </a:lnTo>
                  <a:lnTo>
                    <a:pt x="1125" y="651"/>
                  </a:lnTo>
                  <a:lnTo>
                    <a:pt x="1145" y="666"/>
                  </a:lnTo>
                  <a:lnTo>
                    <a:pt x="1165" y="707"/>
                  </a:lnTo>
                  <a:lnTo>
                    <a:pt x="1165" y="727"/>
                  </a:lnTo>
                  <a:lnTo>
                    <a:pt x="1140" y="717"/>
                  </a:lnTo>
                  <a:lnTo>
                    <a:pt x="1135" y="737"/>
                  </a:lnTo>
                  <a:lnTo>
                    <a:pt x="1119" y="753"/>
                  </a:lnTo>
                  <a:lnTo>
                    <a:pt x="1104" y="753"/>
                  </a:lnTo>
                  <a:lnTo>
                    <a:pt x="1125" y="758"/>
                  </a:lnTo>
                  <a:lnTo>
                    <a:pt x="1135" y="743"/>
                  </a:lnTo>
                  <a:lnTo>
                    <a:pt x="1155" y="783"/>
                  </a:lnTo>
                  <a:lnTo>
                    <a:pt x="1150" y="748"/>
                  </a:lnTo>
                  <a:lnTo>
                    <a:pt x="1160" y="743"/>
                  </a:lnTo>
                  <a:lnTo>
                    <a:pt x="1201" y="783"/>
                  </a:lnTo>
                  <a:lnTo>
                    <a:pt x="1201" y="804"/>
                  </a:lnTo>
                  <a:lnTo>
                    <a:pt x="1181" y="809"/>
                  </a:lnTo>
                  <a:lnTo>
                    <a:pt x="1186" y="819"/>
                  </a:lnTo>
                  <a:lnTo>
                    <a:pt x="1165" y="834"/>
                  </a:lnTo>
                  <a:lnTo>
                    <a:pt x="1140" y="829"/>
                  </a:lnTo>
                  <a:lnTo>
                    <a:pt x="1130" y="799"/>
                  </a:lnTo>
                  <a:lnTo>
                    <a:pt x="1135" y="849"/>
                  </a:lnTo>
                  <a:lnTo>
                    <a:pt x="1145" y="854"/>
                  </a:lnTo>
                  <a:lnTo>
                    <a:pt x="1191" y="849"/>
                  </a:lnTo>
                  <a:lnTo>
                    <a:pt x="1201" y="890"/>
                  </a:lnTo>
                  <a:lnTo>
                    <a:pt x="1181" y="895"/>
                  </a:lnTo>
                  <a:lnTo>
                    <a:pt x="1165" y="921"/>
                  </a:lnTo>
                  <a:lnTo>
                    <a:pt x="1114" y="910"/>
                  </a:lnTo>
                  <a:lnTo>
                    <a:pt x="1099" y="890"/>
                  </a:lnTo>
                  <a:lnTo>
                    <a:pt x="1094" y="910"/>
                  </a:lnTo>
                  <a:lnTo>
                    <a:pt x="1058" y="895"/>
                  </a:lnTo>
                  <a:lnTo>
                    <a:pt x="1089" y="921"/>
                  </a:lnTo>
                  <a:lnTo>
                    <a:pt x="1063" y="956"/>
                  </a:lnTo>
                  <a:lnTo>
                    <a:pt x="1022" y="946"/>
                  </a:lnTo>
                  <a:lnTo>
                    <a:pt x="1048" y="956"/>
                  </a:lnTo>
                  <a:lnTo>
                    <a:pt x="1048" y="966"/>
                  </a:lnTo>
                  <a:lnTo>
                    <a:pt x="1022" y="977"/>
                  </a:lnTo>
                  <a:lnTo>
                    <a:pt x="1033" y="982"/>
                  </a:lnTo>
                  <a:lnTo>
                    <a:pt x="1033" y="971"/>
                  </a:lnTo>
                  <a:lnTo>
                    <a:pt x="1063" y="961"/>
                  </a:lnTo>
                  <a:lnTo>
                    <a:pt x="1079" y="946"/>
                  </a:lnTo>
                  <a:lnTo>
                    <a:pt x="1079" y="936"/>
                  </a:lnTo>
                  <a:lnTo>
                    <a:pt x="1099" y="926"/>
                  </a:lnTo>
                  <a:lnTo>
                    <a:pt x="1181" y="951"/>
                  </a:lnTo>
                  <a:lnTo>
                    <a:pt x="1201" y="1027"/>
                  </a:lnTo>
                  <a:lnTo>
                    <a:pt x="1150" y="1017"/>
                  </a:lnTo>
                  <a:lnTo>
                    <a:pt x="1104" y="961"/>
                  </a:lnTo>
                  <a:lnTo>
                    <a:pt x="1058" y="1007"/>
                  </a:lnTo>
                  <a:lnTo>
                    <a:pt x="1068" y="1012"/>
                  </a:lnTo>
                  <a:lnTo>
                    <a:pt x="1104" y="977"/>
                  </a:lnTo>
                  <a:lnTo>
                    <a:pt x="1119" y="1007"/>
                  </a:lnTo>
                  <a:lnTo>
                    <a:pt x="1109" y="1027"/>
                  </a:lnTo>
                  <a:lnTo>
                    <a:pt x="1114" y="1032"/>
                  </a:lnTo>
                  <a:lnTo>
                    <a:pt x="1125" y="1017"/>
                  </a:lnTo>
                  <a:lnTo>
                    <a:pt x="1130" y="1027"/>
                  </a:lnTo>
                  <a:lnTo>
                    <a:pt x="1201" y="1048"/>
                  </a:lnTo>
                  <a:lnTo>
                    <a:pt x="1206" y="1063"/>
                  </a:lnTo>
                  <a:lnTo>
                    <a:pt x="1222" y="1058"/>
                  </a:lnTo>
                  <a:lnTo>
                    <a:pt x="1211" y="1088"/>
                  </a:lnTo>
                  <a:lnTo>
                    <a:pt x="1222" y="1109"/>
                  </a:lnTo>
                  <a:lnTo>
                    <a:pt x="1222" y="1088"/>
                  </a:lnTo>
                  <a:lnTo>
                    <a:pt x="1237" y="1083"/>
                  </a:lnTo>
                  <a:lnTo>
                    <a:pt x="1273" y="1175"/>
                  </a:lnTo>
                  <a:lnTo>
                    <a:pt x="1247" y="1180"/>
                  </a:lnTo>
                  <a:lnTo>
                    <a:pt x="1232" y="1144"/>
                  </a:lnTo>
                  <a:lnTo>
                    <a:pt x="1242" y="1185"/>
                  </a:lnTo>
                  <a:lnTo>
                    <a:pt x="1232" y="1190"/>
                  </a:lnTo>
                  <a:lnTo>
                    <a:pt x="1201" y="1185"/>
                  </a:lnTo>
                  <a:lnTo>
                    <a:pt x="1176" y="1160"/>
                  </a:lnTo>
                  <a:lnTo>
                    <a:pt x="1176" y="1144"/>
                  </a:lnTo>
                  <a:lnTo>
                    <a:pt x="1160" y="1134"/>
                  </a:lnTo>
                  <a:lnTo>
                    <a:pt x="1109" y="1109"/>
                  </a:lnTo>
                  <a:lnTo>
                    <a:pt x="1073" y="1114"/>
                  </a:lnTo>
                  <a:lnTo>
                    <a:pt x="1073" y="1124"/>
                  </a:lnTo>
                  <a:lnTo>
                    <a:pt x="1114" y="1119"/>
                  </a:lnTo>
                  <a:lnTo>
                    <a:pt x="1125" y="1144"/>
                  </a:lnTo>
                  <a:lnTo>
                    <a:pt x="1104" y="1175"/>
                  </a:lnTo>
                  <a:lnTo>
                    <a:pt x="1048" y="1185"/>
                  </a:lnTo>
                  <a:lnTo>
                    <a:pt x="1063" y="1190"/>
                  </a:lnTo>
                  <a:lnTo>
                    <a:pt x="1063" y="1216"/>
                  </a:lnTo>
                  <a:lnTo>
                    <a:pt x="1038" y="1241"/>
                  </a:lnTo>
                  <a:lnTo>
                    <a:pt x="1089" y="1236"/>
                  </a:lnTo>
                  <a:lnTo>
                    <a:pt x="1114" y="1221"/>
                  </a:lnTo>
                  <a:lnTo>
                    <a:pt x="1119" y="1231"/>
                  </a:lnTo>
                  <a:lnTo>
                    <a:pt x="1104" y="1241"/>
                  </a:lnTo>
                  <a:lnTo>
                    <a:pt x="1094" y="1271"/>
                  </a:lnTo>
                  <a:lnTo>
                    <a:pt x="1104" y="1271"/>
                  </a:lnTo>
                  <a:lnTo>
                    <a:pt x="1109" y="1251"/>
                  </a:lnTo>
                  <a:lnTo>
                    <a:pt x="1155" y="1221"/>
                  </a:lnTo>
                  <a:lnTo>
                    <a:pt x="1217" y="1226"/>
                  </a:lnTo>
                  <a:lnTo>
                    <a:pt x="1263" y="1210"/>
                  </a:lnTo>
                  <a:lnTo>
                    <a:pt x="1268" y="1216"/>
                  </a:lnTo>
                  <a:lnTo>
                    <a:pt x="1242" y="1241"/>
                  </a:lnTo>
                  <a:lnTo>
                    <a:pt x="1247" y="1251"/>
                  </a:lnTo>
                  <a:lnTo>
                    <a:pt x="1222" y="1266"/>
                  </a:lnTo>
                  <a:lnTo>
                    <a:pt x="1232" y="1277"/>
                  </a:lnTo>
                  <a:lnTo>
                    <a:pt x="1211" y="1282"/>
                  </a:lnTo>
                  <a:lnTo>
                    <a:pt x="1222" y="1292"/>
                  </a:lnTo>
                  <a:lnTo>
                    <a:pt x="1191" y="1322"/>
                  </a:lnTo>
                  <a:lnTo>
                    <a:pt x="1201" y="1332"/>
                  </a:lnTo>
                  <a:lnTo>
                    <a:pt x="1165" y="1388"/>
                  </a:lnTo>
                  <a:lnTo>
                    <a:pt x="1079" y="1449"/>
                  </a:lnTo>
                  <a:lnTo>
                    <a:pt x="1053" y="1449"/>
                  </a:lnTo>
                  <a:lnTo>
                    <a:pt x="1043" y="1465"/>
                  </a:lnTo>
                  <a:lnTo>
                    <a:pt x="1027" y="1465"/>
                  </a:lnTo>
                  <a:lnTo>
                    <a:pt x="1033" y="1475"/>
                  </a:lnTo>
                  <a:lnTo>
                    <a:pt x="1017" y="1485"/>
                  </a:lnTo>
                  <a:lnTo>
                    <a:pt x="966" y="1455"/>
                  </a:lnTo>
                  <a:lnTo>
                    <a:pt x="976" y="1505"/>
                  </a:lnTo>
                  <a:lnTo>
                    <a:pt x="946" y="1536"/>
                  </a:lnTo>
                  <a:lnTo>
                    <a:pt x="920" y="1643"/>
                  </a:lnTo>
                  <a:lnTo>
                    <a:pt x="915" y="1638"/>
                  </a:lnTo>
                  <a:lnTo>
                    <a:pt x="910" y="1643"/>
                  </a:lnTo>
                  <a:lnTo>
                    <a:pt x="910" y="1658"/>
                  </a:lnTo>
                  <a:lnTo>
                    <a:pt x="884" y="1683"/>
                  </a:lnTo>
                  <a:lnTo>
                    <a:pt x="859" y="1663"/>
                  </a:lnTo>
                  <a:lnTo>
                    <a:pt x="869" y="1699"/>
                  </a:lnTo>
                  <a:lnTo>
                    <a:pt x="854" y="1709"/>
                  </a:lnTo>
                  <a:lnTo>
                    <a:pt x="849" y="1724"/>
                  </a:lnTo>
                  <a:lnTo>
                    <a:pt x="838" y="1709"/>
                  </a:lnTo>
                  <a:lnTo>
                    <a:pt x="828" y="1734"/>
                  </a:lnTo>
                  <a:lnTo>
                    <a:pt x="818" y="1724"/>
                  </a:lnTo>
                  <a:lnTo>
                    <a:pt x="803" y="1750"/>
                  </a:lnTo>
                  <a:lnTo>
                    <a:pt x="792" y="1755"/>
                  </a:lnTo>
                  <a:lnTo>
                    <a:pt x="782" y="1750"/>
                  </a:lnTo>
                  <a:lnTo>
                    <a:pt x="803" y="1683"/>
                  </a:lnTo>
                  <a:lnTo>
                    <a:pt x="767" y="1678"/>
                  </a:lnTo>
                  <a:lnTo>
                    <a:pt x="787" y="1688"/>
                  </a:lnTo>
                  <a:lnTo>
                    <a:pt x="772" y="1724"/>
                  </a:lnTo>
                  <a:lnTo>
                    <a:pt x="757" y="1714"/>
                  </a:lnTo>
                  <a:lnTo>
                    <a:pt x="772" y="1729"/>
                  </a:lnTo>
                  <a:lnTo>
                    <a:pt x="772" y="1744"/>
                  </a:lnTo>
                  <a:lnTo>
                    <a:pt x="757" y="1755"/>
                  </a:lnTo>
                  <a:lnTo>
                    <a:pt x="690" y="1765"/>
                  </a:lnTo>
                  <a:lnTo>
                    <a:pt x="716" y="1780"/>
                  </a:lnTo>
                  <a:lnTo>
                    <a:pt x="716" y="1790"/>
                  </a:lnTo>
                  <a:lnTo>
                    <a:pt x="700" y="1805"/>
                  </a:lnTo>
                  <a:lnTo>
                    <a:pt x="690" y="1811"/>
                  </a:lnTo>
                  <a:lnTo>
                    <a:pt x="654" y="1805"/>
                  </a:lnTo>
                  <a:lnTo>
                    <a:pt x="659" y="1831"/>
                  </a:lnTo>
                  <a:lnTo>
                    <a:pt x="675" y="1826"/>
                  </a:lnTo>
                  <a:lnTo>
                    <a:pt x="695" y="1861"/>
                  </a:lnTo>
                  <a:lnTo>
                    <a:pt x="685" y="1882"/>
                  </a:lnTo>
                  <a:lnTo>
                    <a:pt x="675" y="1882"/>
                  </a:lnTo>
                  <a:lnTo>
                    <a:pt x="670" y="1892"/>
                  </a:lnTo>
                  <a:lnTo>
                    <a:pt x="639" y="1887"/>
                  </a:lnTo>
                  <a:lnTo>
                    <a:pt x="659" y="1902"/>
                  </a:lnTo>
                  <a:lnTo>
                    <a:pt x="665" y="1897"/>
                  </a:lnTo>
                  <a:lnTo>
                    <a:pt x="680" y="1902"/>
                  </a:lnTo>
                  <a:lnTo>
                    <a:pt x="675" y="1922"/>
                  </a:lnTo>
                  <a:lnTo>
                    <a:pt x="680" y="1943"/>
                  </a:lnTo>
                  <a:lnTo>
                    <a:pt x="675" y="1958"/>
                  </a:lnTo>
                  <a:lnTo>
                    <a:pt x="659" y="1963"/>
                  </a:lnTo>
                  <a:lnTo>
                    <a:pt x="654" y="1978"/>
                  </a:lnTo>
                  <a:lnTo>
                    <a:pt x="659" y="1983"/>
                  </a:lnTo>
                  <a:lnTo>
                    <a:pt x="644" y="2004"/>
                  </a:lnTo>
                  <a:lnTo>
                    <a:pt x="624" y="2004"/>
                  </a:lnTo>
                  <a:lnTo>
                    <a:pt x="613" y="1994"/>
                  </a:lnTo>
                  <a:lnTo>
                    <a:pt x="634" y="2014"/>
                  </a:lnTo>
                  <a:lnTo>
                    <a:pt x="624" y="2039"/>
                  </a:lnTo>
                  <a:lnTo>
                    <a:pt x="578" y="2039"/>
                  </a:lnTo>
                  <a:lnTo>
                    <a:pt x="613" y="2055"/>
                  </a:lnTo>
                  <a:lnTo>
                    <a:pt x="603" y="2095"/>
                  </a:lnTo>
                  <a:lnTo>
                    <a:pt x="613" y="2105"/>
                  </a:lnTo>
                  <a:lnTo>
                    <a:pt x="613" y="2121"/>
                  </a:lnTo>
                  <a:lnTo>
                    <a:pt x="608" y="2131"/>
                  </a:lnTo>
                  <a:lnTo>
                    <a:pt x="593" y="2131"/>
                  </a:lnTo>
                  <a:lnTo>
                    <a:pt x="603" y="2136"/>
                  </a:lnTo>
                  <a:lnTo>
                    <a:pt x="603" y="2146"/>
                  </a:lnTo>
                  <a:lnTo>
                    <a:pt x="583" y="2228"/>
                  </a:lnTo>
                  <a:lnTo>
                    <a:pt x="562" y="2253"/>
                  </a:lnTo>
                  <a:lnTo>
                    <a:pt x="526" y="2243"/>
                  </a:lnTo>
                  <a:lnTo>
                    <a:pt x="562" y="2263"/>
                  </a:lnTo>
                  <a:lnTo>
                    <a:pt x="562" y="2294"/>
                  </a:lnTo>
                  <a:lnTo>
                    <a:pt x="552" y="2304"/>
                  </a:lnTo>
                  <a:lnTo>
                    <a:pt x="521" y="2294"/>
                  </a:lnTo>
                  <a:lnTo>
                    <a:pt x="537" y="2314"/>
                  </a:lnTo>
                  <a:lnTo>
                    <a:pt x="516" y="2314"/>
                  </a:lnTo>
                  <a:lnTo>
                    <a:pt x="516" y="2304"/>
                  </a:lnTo>
                  <a:lnTo>
                    <a:pt x="501" y="2309"/>
                  </a:lnTo>
                  <a:lnTo>
                    <a:pt x="511" y="2273"/>
                  </a:lnTo>
                  <a:lnTo>
                    <a:pt x="496" y="2294"/>
                  </a:lnTo>
                  <a:lnTo>
                    <a:pt x="480" y="2294"/>
                  </a:lnTo>
                  <a:lnTo>
                    <a:pt x="455" y="2278"/>
                  </a:lnTo>
                  <a:lnTo>
                    <a:pt x="455" y="2258"/>
                  </a:lnTo>
                  <a:lnTo>
                    <a:pt x="470" y="2258"/>
                  </a:lnTo>
                  <a:lnTo>
                    <a:pt x="486" y="2233"/>
                  </a:lnTo>
                  <a:lnTo>
                    <a:pt x="460" y="2253"/>
                  </a:lnTo>
                  <a:lnTo>
                    <a:pt x="424" y="2233"/>
                  </a:lnTo>
                  <a:lnTo>
                    <a:pt x="419" y="2217"/>
                  </a:lnTo>
                  <a:lnTo>
                    <a:pt x="434" y="2197"/>
                  </a:lnTo>
                  <a:lnTo>
                    <a:pt x="440" y="2182"/>
                  </a:lnTo>
                  <a:lnTo>
                    <a:pt x="434" y="2177"/>
                  </a:lnTo>
                  <a:lnTo>
                    <a:pt x="388" y="2212"/>
                  </a:lnTo>
                  <a:lnTo>
                    <a:pt x="358" y="2207"/>
                  </a:lnTo>
                  <a:lnTo>
                    <a:pt x="342" y="2207"/>
                  </a:lnTo>
                  <a:lnTo>
                    <a:pt x="342" y="2217"/>
                  </a:lnTo>
                  <a:lnTo>
                    <a:pt x="322" y="2212"/>
                  </a:lnTo>
                  <a:lnTo>
                    <a:pt x="322" y="2202"/>
                  </a:lnTo>
                  <a:lnTo>
                    <a:pt x="348" y="2192"/>
                  </a:lnTo>
                  <a:lnTo>
                    <a:pt x="317" y="2187"/>
                  </a:lnTo>
                  <a:lnTo>
                    <a:pt x="317" y="2172"/>
                  </a:lnTo>
                  <a:lnTo>
                    <a:pt x="291" y="2161"/>
                  </a:lnTo>
                  <a:lnTo>
                    <a:pt x="291" y="2136"/>
                  </a:lnTo>
                  <a:lnTo>
                    <a:pt x="281" y="2131"/>
                  </a:lnTo>
                  <a:lnTo>
                    <a:pt x="286" y="2121"/>
                  </a:lnTo>
                  <a:lnTo>
                    <a:pt x="281" y="2095"/>
                  </a:lnTo>
                  <a:lnTo>
                    <a:pt x="307" y="2085"/>
                  </a:lnTo>
                  <a:lnTo>
                    <a:pt x="296" y="2080"/>
                  </a:lnTo>
                  <a:lnTo>
                    <a:pt x="266" y="2085"/>
                  </a:lnTo>
                  <a:lnTo>
                    <a:pt x="276" y="2065"/>
                  </a:lnTo>
                  <a:lnTo>
                    <a:pt x="256" y="2055"/>
                  </a:lnTo>
                  <a:lnTo>
                    <a:pt x="245" y="2039"/>
                  </a:lnTo>
                  <a:lnTo>
                    <a:pt x="250" y="2019"/>
                  </a:lnTo>
                  <a:lnTo>
                    <a:pt x="245" y="2014"/>
                  </a:lnTo>
                  <a:lnTo>
                    <a:pt x="271" y="1983"/>
                  </a:lnTo>
                  <a:lnTo>
                    <a:pt x="245" y="2004"/>
                  </a:lnTo>
                  <a:lnTo>
                    <a:pt x="220" y="1958"/>
                  </a:lnTo>
                  <a:lnTo>
                    <a:pt x="204" y="1907"/>
                  </a:lnTo>
                  <a:lnTo>
                    <a:pt x="215" y="1892"/>
                  </a:lnTo>
                  <a:lnTo>
                    <a:pt x="210" y="1882"/>
                  </a:lnTo>
                  <a:lnTo>
                    <a:pt x="266" y="1872"/>
                  </a:lnTo>
                  <a:lnTo>
                    <a:pt x="256" y="1872"/>
                  </a:lnTo>
                  <a:lnTo>
                    <a:pt x="261" y="1861"/>
                  </a:lnTo>
                  <a:lnTo>
                    <a:pt x="210" y="1877"/>
                  </a:lnTo>
                  <a:lnTo>
                    <a:pt x="204" y="1861"/>
                  </a:lnTo>
                  <a:lnTo>
                    <a:pt x="230" y="1831"/>
                  </a:lnTo>
                  <a:lnTo>
                    <a:pt x="245" y="1836"/>
                  </a:lnTo>
                  <a:lnTo>
                    <a:pt x="250" y="1826"/>
                  </a:lnTo>
                  <a:lnTo>
                    <a:pt x="271" y="1826"/>
                  </a:lnTo>
                  <a:lnTo>
                    <a:pt x="281" y="1851"/>
                  </a:lnTo>
                  <a:lnTo>
                    <a:pt x="281" y="1826"/>
                  </a:lnTo>
                  <a:lnTo>
                    <a:pt x="266" y="1816"/>
                  </a:lnTo>
                  <a:lnTo>
                    <a:pt x="250" y="1770"/>
                  </a:lnTo>
                  <a:lnTo>
                    <a:pt x="256" y="1811"/>
                  </a:lnTo>
                  <a:lnTo>
                    <a:pt x="240" y="1826"/>
                  </a:lnTo>
                  <a:lnTo>
                    <a:pt x="230" y="1826"/>
                  </a:lnTo>
                  <a:lnTo>
                    <a:pt x="235" y="1811"/>
                  </a:lnTo>
                  <a:lnTo>
                    <a:pt x="204" y="1856"/>
                  </a:lnTo>
                  <a:lnTo>
                    <a:pt x="199" y="1861"/>
                  </a:lnTo>
                  <a:lnTo>
                    <a:pt x="194" y="1856"/>
                  </a:lnTo>
                  <a:lnTo>
                    <a:pt x="199" y="1770"/>
                  </a:lnTo>
                  <a:lnTo>
                    <a:pt x="189" y="1750"/>
                  </a:lnTo>
                  <a:lnTo>
                    <a:pt x="230" y="1719"/>
                  </a:lnTo>
                  <a:lnTo>
                    <a:pt x="256" y="1714"/>
                  </a:lnTo>
                  <a:lnTo>
                    <a:pt x="225" y="1719"/>
                  </a:lnTo>
                  <a:lnTo>
                    <a:pt x="189" y="1739"/>
                  </a:lnTo>
                  <a:lnTo>
                    <a:pt x="184" y="1724"/>
                  </a:lnTo>
                  <a:lnTo>
                    <a:pt x="169" y="1724"/>
                  </a:lnTo>
                  <a:lnTo>
                    <a:pt x="179" y="1683"/>
                  </a:lnTo>
                  <a:lnTo>
                    <a:pt x="169" y="1683"/>
                  </a:lnTo>
                  <a:lnTo>
                    <a:pt x="169" y="1673"/>
                  </a:lnTo>
                  <a:lnTo>
                    <a:pt x="235" y="1627"/>
                  </a:lnTo>
                  <a:lnTo>
                    <a:pt x="245" y="1627"/>
                  </a:lnTo>
                  <a:lnTo>
                    <a:pt x="266" y="1607"/>
                  </a:lnTo>
                  <a:lnTo>
                    <a:pt x="184" y="1663"/>
                  </a:lnTo>
                  <a:lnTo>
                    <a:pt x="158" y="1663"/>
                  </a:lnTo>
                  <a:lnTo>
                    <a:pt x="174" y="1617"/>
                  </a:lnTo>
                  <a:lnTo>
                    <a:pt x="194" y="1602"/>
                  </a:lnTo>
                  <a:lnTo>
                    <a:pt x="220" y="1602"/>
                  </a:lnTo>
                  <a:lnTo>
                    <a:pt x="179" y="1592"/>
                  </a:lnTo>
                  <a:lnTo>
                    <a:pt x="169" y="1566"/>
                  </a:lnTo>
                  <a:lnTo>
                    <a:pt x="179" y="1541"/>
                  </a:lnTo>
                  <a:lnTo>
                    <a:pt x="225" y="1516"/>
                  </a:lnTo>
                  <a:lnTo>
                    <a:pt x="296" y="1551"/>
                  </a:lnTo>
                  <a:lnTo>
                    <a:pt x="276" y="1531"/>
                  </a:lnTo>
                  <a:lnTo>
                    <a:pt x="291" y="1526"/>
                  </a:lnTo>
                  <a:lnTo>
                    <a:pt x="286" y="1521"/>
                  </a:lnTo>
                  <a:lnTo>
                    <a:pt x="256" y="1526"/>
                  </a:lnTo>
                  <a:lnTo>
                    <a:pt x="235" y="1510"/>
                  </a:lnTo>
                  <a:lnTo>
                    <a:pt x="194" y="1531"/>
                  </a:lnTo>
                  <a:lnTo>
                    <a:pt x="179" y="1531"/>
                  </a:lnTo>
                  <a:lnTo>
                    <a:pt x="215" y="1470"/>
                  </a:lnTo>
                  <a:lnTo>
                    <a:pt x="261" y="1495"/>
                  </a:lnTo>
                  <a:lnTo>
                    <a:pt x="281" y="1480"/>
                  </a:lnTo>
                  <a:lnTo>
                    <a:pt x="286" y="1460"/>
                  </a:lnTo>
                  <a:lnTo>
                    <a:pt x="276" y="1460"/>
                  </a:lnTo>
                  <a:lnTo>
                    <a:pt x="271" y="1475"/>
                  </a:lnTo>
                  <a:lnTo>
                    <a:pt x="240" y="1475"/>
                  </a:lnTo>
                  <a:lnTo>
                    <a:pt x="210" y="1455"/>
                  </a:lnTo>
                  <a:lnTo>
                    <a:pt x="240" y="1424"/>
                  </a:lnTo>
                  <a:lnTo>
                    <a:pt x="276" y="1449"/>
                  </a:lnTo>
                  <a:lnTo>
                    <a:pt x="302" y="1439"/>
                  </a:lnTo>
                  <a:lnTo>
                    <a:pt x="307" y="1424"/>
                  </a:lnTo>
                  <a:lnTo>
                    <a:pt x="291" y="1429"/>
                  </a:lnTo>
                  <a:lnTo>
                    <a:pt x="302" y="1394"/>
                  </a:lnTo>
                  <a:lnTo>
                    <a:pt x="327" y="1394"/>
                  </a:lnTo>
                  <a:lnTo>
                    <a:pt x="322" y="1383"/>
                  </a:lnTo>
                  <a:lnTo>
                    <a:pt x="312" y="1388"/>
                  </a:lnTo>
                  <a:lnTo>
                    <a:pt x="302" y="1383"/>
                  </a:lnTo>
                  <a:lnTo>
                    <a:pt x="317" y="1343"/>
                  </a:lnTo>
                  <a:lnTo>
                    <a:pt x="337" y="1332"/>
                  </a:lnTo>
                  <a:lnTo>
                    <a:pt x="332" y="1317"/>
                  </a:lnTo>
                  <a:lnTo>
                    <a:pt x="342" y="1312"/>
                  </a:lnTo>
                  <a:lnTo>
                    <a:pt x="337" y="1307"/>
                  </a:lnTo>
                  <a:lnTo>
                    <a:pt x="322" y="1312"/>
                  </a:lnTo>
                  <a:lnTo>
                    <a:pt x="312" y="1302"/>
                  </a:lnTo>
                  <a:lnTo>
                    <a:pt x="296" y="1307"/>
                  </a:lnTo>
                  <a:lnTo>
                    <a:pt x="276" y="1297"/>
                  </a:lnTo>
                  <a:lnTo>
                    <a:pt x="245" y="1261"/>
                  </a:lnTo>
                  <a:lnTo>
                    <a:pt x="220" y="1246"/>
                  </a:lnTo>
                  <a:lnTo>
                    <a:pt x="215" y="1221"/>
                  </a:lnTo>
                  <a:lnTo>
                    <a:pt x="230" y="1210"/>
                  </a:lnTo>
                  <a:lnTo>
                    <a:pt x="250" y="1226"/>
                  </a:lnTo>
                  <a:lnTo>
                    <a:pt x="271" y="1226"/>
                  </a:lnTo>
                  <a:lnTo>
                    <a:pt x="307" y="1266"/>
                  </a:lnTo>
                  <a:lnTo>
                    <a:pt x="327" y="1277"/>
                  </a:lnTo>
                  <a:lnTo>
                    <a:pt x="332" y="1266"/>
                  </a:lnTo>
                  <a:lnTo>
                    <a:pt x="317" y="1256"/>
                  </a:lnTo>
                  <a:lnTo>
                    <a:pt x="322" y="1226"/>
                  </a:lnTo>
                  <a:lnTo>
                    <a:pt x="307" y="1210"/>
                  </a:lnTo>
                  <a:lnTo>
                    <a:pt x="322" y="1216"/>
                  </a:lnTo>
                  <a:lnTo>
                    <a:pt x="332" y="1210"/>
                  </a:lnTo>
                  <a:lnTo>
                    <a:pt x="286" y="1185"/>
                  </a:lnTo>
                  <a:lnTo>
                    <a:pt x="271" y="1185"/>
                  </a:lnTo>
                  <a:lnTo>
                    <a:pt x="271" y="1170"/>
                  </a:lnTo>
                  <a:lnTo>
                    <a:pt x="286" y="1154"/>
                  </a:lnTo>
                  <a:lnTo>
                    <a:pt x="317" y="1144"/>
                  </a:lnTo>
                  <a:lnTo>
                    <a:pt x="291" y="1139"/>
                  </a:lnTo>
                  <a:lnTo>
                    <a:pt x="271" y="1149"/>
                  </a:lnTo>
                  <a:lnTo>
                    <a:pt x="266" y="1144"/>
                  </a:lnTo>
                  <a:lnTo>
                    <a:pt x="276" y="1129"/>
                  </a:lnTo>
                  <a:lnTo>
                    <a:pt x="266" y="1088"/>
                  </a:lnTo>
                  <a:lnTo>
                    <a:pt x="271" y="1068"/>
                  </a:lnTo>
                  <a:lnTo>
                    <a:pt x="266" y="1068"/>
                  </a:lnTo>
                  <a:lnTo>
                    <a:pt x="271" y="1119"/>
                  </a:lnTo>
                  <a:lnTo>
                    <a:pt x="250" y="1134"/>
                  </a:lnTo>
                  <a:lnTo>
                    <a:pt x="250" y="1149"/>
                  </a:lnTo>
                  <a:lnTo>
                    <a:pt x="225" y="1160"/>
                  </a:lnTo>
                  <a:lnTo>
                    <a:pt x="199" y="1144"/>
                  </a:lnTo>
                  <a:lnTo>
                    <a:pt x="199" y="1114"/>
                  </a:lnTo>
                  <a:lnTo>
                    <a:pt x="240" y="1063"/>
                  </a:lnTo>
                  <a:lnTo>
                    <a:pt x="235" y="1058"/>
                  </a:lnTo>
                  <a:lnTo>
                    <a:pt x="220" y="1073"/>
                  </a:lnTo>
                  <a:lnTo>
                    <a:pt x="210" y="1068"/>
                  </a:lnTo>
                  <a:lnTo>
                    <a:pt x="225" y="1058"/>
                  </a:lnTo>
                  <a:lnTo>
                    <a:pt x="220" y="1048"/>
                  </a:lnTo>
                  <a:lnTo>
                    <a:pt x="225" y="1043"/>
                  </a:lnTo>
                  <a:lnTo>
                    <a:pt x="235" y="1048"/>
                  </a:lnTo>
                  <a:lnTo>
                    <a:pt x="250" y="1027"/>
                  </a:lnTo>
                  <a:lnTo>
                    <a:pt x="250" y="1002"/>
                  </a:lnTo>
                  <a:lnTo>
                    <a:pt x="230" y="997"/>
                  </a:lnTo>
                  <a:lnTo>
                    <a:pt x="230" y="987"/>
                  </a:lnTo>
                  <a:lnTo>
                    <a:pt x="245" y="971"/>
                  </a:lnTo>
                  <a:lnTo>
                    <a:pt x="245" y="951"/>
                  </a:lnTo>
                  <a:lnTo>
                    <a:pt x="235" y="956"/>
                  </a:lnTo>
                  <a:lnTo>
                    <a:pt x="230" y="941"/>
                  </a:lnTo>
                  <a:lnTo>
                    <a:pt x="240" y="921"/>
                  </a:lnTo>
                  <a:lnTo>
                    <a:pt x="240" y="885"/>
                  </a:lnTo>
                  <a:lnTo>
                    <a:pt x="215" y="880"/>
                  </a:lnTo>
                  <a:lnTo>
                    <a:pt x="230" y="875"/>
                  </a:lnTo>
                  <a:lnTo>
                    <a:pt x="235" y="849"/>
                  </a:lnTo>
                  <a:lnTo>
                    <a:pt x="245" y="849"/>
                  </a:lnTo>
                  <a:lnTo>
                    <a:pt x="210" y="753"/>
                  </a:lnTo>
                  <a:lnTo>
                    <a:pt x="225" y="743"/>
                  </a:lnTo>
                  <a:lnTo>
                    <a:pt x="220" y="717"/>
                  </a:lnTo>
                  <a:lnTo>
                    <a:pt x="210" y="712"/>
                  </a:lnTo>
                  <a:lnTo>
                    <a:pt x="194" y="682"/>
                  </a:lnTo>
                  <a:lnTo>
                    <a:pt x="133" y="626"/>
                  </a:lnTo>
                  <a:lnTo>
                    <a:pt x="118" y="636"/>
                  </a:lnTo>
                  <a:lnTo>
                    <a:pt x="112" y="621"/>
                  </a:lnTo>
                  <a:lnTo>
                    <a:pt x="82" y="631"/>
                  </a:lnTo>
                  <a:lnTo>
                    <a:pt x="77" y="615"/>
                  </a:lnTo>
                  <a:lnTo>
                    <a:pt x="56" y="621"/>
                  </a:lnTo>
                  <a:lnTo>
                    <a:pt x="46" y="610"/>
                  </a:lnTo>
                  <a:lnTo>
                    <a:pt x="46" y="631"/>
                  </a:lnTo>
                  <a:lnTo>
                    <a:pt x="20" y="610"/>
                  </a:lnTo>
                  <a:lnTo>
                    <a:pt x="5" y="570"/>
                  </a:lnTo>
                  <a:lnTo>
                    <a:pt x="46" y="559"/>
                  </a:lnTo>
                  <a:lnTo>
                    <a:pt x="15" y="534"/>
                  </a:lnTo>
                  <a:lnTo>
                    <a:pt x="26" y="514"/>
                  </a:lnTo>
                  <a:lnTo>
                    <a:pt x="5" y="524"/>
                  </a:lnTo>
                  <a:lnTo>
                    <a:pt x="0" y="519"/>
                  </a:lnTo>
                  <a:lnTo>
                    <a:pt x="5" y="509"/>
                  </a:lnTo>
                  <a:lnTo>
                    <a:pt x="0" y="498"/>
                  </a:lnTo>
                  <a:lnTo>
                    <a:pt x="5" y="488"/>
                  </a:lnTo>
                  <a:lnTo>
                    <a:pt x="41" y="493"/>
                  </a:lnTo>
                  <a:lnTo>
                    <a:pt x="51" y="504"/>
                  </a:lnTo>
                  <a:lnTo>
                    <a:pt x="61" y="493"/>
                  </a:lnTo>
                  <a:lnTo>
                    <a:pt x="77" y="493"/>
                  </a:lnTo>
                  <a:lnTo>
                    <a:pt x="97" y="504"/>
                  </a:lnTo>
                  <a:lnTo>
                    <a:pt x="107" y="519"/>
                  </a:lnTo>
                  <a:lnTo>
                    <a:pt x="118" y="498"/>
                  </a:lnTo>
                  <a:lnTo>
                    <a:pt x="112" y="478"/>
                  </a:lnTo>
                  <a:lnTo>
                    <a:pt x="82" y="483"/>
                  </a:lnTo>
                  <a:lnTo>
                    <a:pt x="77" y="468"/>
                  </a:lnTo>
                  <a:lnTo>
                    <a:pt x="56" y="478"/>
                  </a:lnTo>
                  <a:lnTo>
                    <a:pt x="41" y="443"/>
                  </a:lnTo>
                  <a:lnTo>
                    <a:pt x="56" y="437"/>
                  </a:lnTo>
                  <a:lnTo>
                    <a:pt x="51" y="432"/>
                  </a:lnTo>
                  <a:lnTo>
                    <a:pt x="46" y="437"/>
                  </a:lnTo>
                  <a:lnTo>
                    <a:pt x="26" y="412"/>
                  </a:lnTo>
                  <a:lnTo>
                    <a:pt x="26" y="381"/>
                  </a:lnTo>
                  <a:lnTo>
                    <a:pt x="46" y="356"/>
                  </a:lnTo>
                  <a:lnTo>
                    <a:pt x="82" y="361"/>
                  </a:lnTo>
                  <a:lnTo>
                    <a:pt x="123" y="356"/>
                  </a:lnTo>
                  <a:lnTo>
                    <a:pt x="128" y="346"/>
                  </a:lnTo>
                  <a:lnTo>
                    <a:pt x="164" y="346"/>
                  </a:lnTo>
                  <a:lnTo>
                    <a:pt x="189" y="356"/>
                  </a:lnTo>
                  <a:lnTo>
                    <a:pt x="210" y="336"/>
                  </a:lnTo>
                  <a:lnTo>
                    <a:pt x="235" y="285"/>
                  </a:lnTo>
                  <a:lnTo>
                    <a:pt x="250" y="280"/>
                  </a:lnTo>
                  <a:lnTo>
                    <a:pt x="245" y="275"/>
                  </a:lnTo>
                  <a:lnTo>
                    <a:pt x="220" y="280"/>
                  </a:lnTo>
                  <a:lnTo>
                    <a:pt x="204" y="265"/>
                  </a:lnTo>
                  <a:lnTo>
                    <a:pt x="210" y="244"/>
                  </a:lnTo>
                  <a:lnTo>
                    <a:pt x="276" y="198"/>
                  </a:lnTo>
                  <a:lnTo>
                    <a:pt x="291" y="198"/>
                  </a:lnTo>
                  <a:lnTo>
                    <a:pt x="296" y="219"/>
                  </a:lnTo>
                  <a:lnTo>
                    <a:pt x="307" y="188"/>
                  </a:lnTo>
                  <a:lnTo>
                    <a:pt x="327" y="204"/>
                  </a:lnTo>
                  <a:lnTo>
                    <a:pt x="358" y="137"/>
                  </a:lnTo>
                  <a:lnTo>
                    <a:pt x="368" y="132"/>
                  </a:lnTo>
                  <a:lnTo>
                    <a:pt x="383" y="148"/>
                  </a:lnTo>
                  <a:lnTo>
                    <a:pt x="383" y="163"/>
                  </a:lnTo>
                  <a:lnTo>
                    <a:pt x="404" y="204"/>
                  </a:lnTo>
                  <a:lnTo>
                    <a:pt x="383" y="132"/>
                  </a:lnTo>
                  <a:lnTo>
                    <a:pt x="409" y="122"/>
                  </a:lnTo>
                  <a:lnTo>
                    <a:pt x="440" y="122"/>
                  </a:lnTo>
                  <a:lnTo>
                    <a:pt x="450" y="112"/>
                  </a:lnTo>
                  <a:lnTo>
                    <a:pt x="460" y="122"/>
                  </a:lnTo>
                  <a:lnTo>
                    <a:pt x="450" y="183"/>
                  </a:lnTo>
                  <a:lnTo>
                    <a:pt x="465" y="163"/>
                  </a:lnTo>
                  <a:lnTo>
                    <a:pt x="470" y="122"/>
                  </a:lnTo>
                  <a:lnTo>
                    <a:pt x="491" y="153"/>
                  </a:lnTo>
                  <a:lnTo>
                    <a:pt x="491" y="168"/>
                  </a:lnTo>
                  <a:lnTo>
                    <a:pt x="511" y="168"/>
                  </a:lnTo>
                  <a:lnTo>
                    <a:pt x="501" y="148"/>
                  </a:lnTo>
                  <a:lnTo>
                    <a:pt x="501" y="112"/>
                  </a:lnTo>
                  <a:lnTo>
                    <a:pt x="511" y="112"/>
                  </a:lnTo>
                  <a:lnTo>
                    <a:pt x="578" y="183"/>
                  </a:lnTo>
                  <a:lnTo>
                    <a:pt x="578" y="153"/>
                  </a:lnTo>
                  <a:lnTo>
                    <a:pt x="588" y="127"/>
                  </a:lnTo>
                  <a:lnTo>
                    <a:pt x="572" y="92"/>
                  </a:lnTo>
                  <a:lnTo>
                    <a:pt x="578" y="87"/>
                  </a:lnTo>
                  <a:lnTo>
                    <a:pt x="608" y="92"/>
                  </a:lnTo>
                  <a:lnTo>
                    <a:pt x="619" y="102"/>
                  </a:lnTo>
                  <a:lnTo>
                    <a:pt x="624" y="92"/>
                  </a:lnTo>
                  <a:lnTo>
                    <a:pt x="562" y="81"/>
                  </a:lnTo>
                  <a:lnTo>
                    <a:pt x="567" y="61"/>
                  </a:lnTo>
                  <a:lnTo>
                    <a:pt x="572" y="66"/>
                  </a:lnTo>
                  <a:lnTo>
                    <a:pt x="603" y="46"/>
                  </a:lnTo>
                  <a:lnTo>
                    <a:pt x="613" y="46"/>
                  </a:lnTo>
                  <a:lnTo>
                    <a:pt x="624" y="61"/>
                  </a:lnTo>
                  <a:lnTo>
                    <a:pt x="634" y="36"/>
                  </a:lnTo>
                  <a:lnTo>
                    <a:pt x="659" y="66"/>
                  </a:lnTo>
                  <a:lnTo>
                    <a:pt x="665" y="51"/>
                  </a:lnTo>
                  <a:lnTo>
                    <a:pt x="654" y="46"/>
                  </a:lnTo>
                  <a:lnTo>
                    <a:pt x="649" y="31"/>
                  </a:lnTo>
                  <a:lnTo>
                    <a:pt x="659" y="31"/>
                  </a:lnTo>
                  <a:lnTo>
                    <a:pt x="659" y="20"/>
                  </a:lnTo>
                  <a:lnTo>
                    <a:pt x="746" y="0"/>
                  </a:lnTo>
                  <a:close/>
                </a:path>
              </a:pathLst>
            </a:custGeom>
            <a:grpFill/>
            <a:ln w="635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03" name="Greenland Text"/>
          <p:cNvSpPr txBox="1">
            <a:spLocks/>
          </p:cNvSpPr>
          <p:nvPr/>
        </p:nvSpPr>
        <p:spPr>
          <a:xfrm>
            <a:off x="3932404" y="2416629"/>
            <a:ext cx="58264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chemeClr val="accent1"/>
                </a:solidFill>
              </a:rPr>
              <a:t>Greenland</a:t>
            </a:r>
          </a:p>
        </p:txBody>
      </p:sp>
      <p:grpSp>
        <p:nvGrpSpPr>
          <p:cNvPr id="205" name="Faeroe Island"/>
          <p:cNvGrpSpPr>
            <a:grpSpLocks noChangeAspect="1"/>
          </p:cNvGrpSpPr>
          <p:nvPr/>
        </p:nvGrpSpPr>
        <p:grpSpPr bwMode="auto">
          <a:xfrm>
            <a:off x="6480389" y="5063749"/>
            <a:ext cx="219076" cy="322263"/>
            <a:chOff x="4167" y="3001"/>
            <a:chExt cx="138" cy="203"/>
          </a:xfrm>
          <a:solidFill>
            <a:schemeClr val="accent3"/>
          </a:solidFill>
        </p:grpSpPr>
        <p:sp>
          <p:nvSpPr>
            <p:cNvPr id="207" name="Freeform 5"/>
            <p:cNvSpPr>
              <a:spLocks/>
            </p:cNvSpPr>
            <p:nvPr/>
          </p:nvSpPr>
          <p:spPr bwMode="auto">
            <a:xfrm>
              <a:off x="4217" y="3156"/>
              <a:ext cx="28" cy="48"/>
            </a:xfrm>
            <a:custGeom>
              <a:avLst/>
              <a:gdLst>
                <a:gd name="T0" fmla="*/ 25 w 28"/>
                <a:gd name="T1" fmla="*/ 41 h 48"/>
                <a:gd name="T2" fmla="*/ 28 w 28"/>
                <a:gd name="T3" fmla="*/ 48 h 48"/>
                <a:gd name="T4" fmla="*/ 23 w 28"/>
                <a:gd name="T5" fmla="*/ 46 h 48"/>
                <a:gd name="T6" fmla="*/ 15 w 28"/>
                <a:gd name="T7" fmla="*/ 39 h 48"/>
                <a:gd name="T8" fmla="*/ 3 w 28"/>
                <a:gd name="T9" fmla="*/ 22 h 48"/>
                <a:gd name="T10" fmla="*/ 0 w 28"/>
                <a:gd name="T11" fmla="*/ 7 h 48"/>
                <a:gd name="T12" fmla="*/ 0 w 28"/>
                <a:gd name="T13" fmla="*/ 0 h 48"/>
                <a:gd name="T14" fmla="*/ 3 w 28"/>
                <a:gd name="T15" fmla="*/ 0 h 48"/>
                <a:gd name="T16" fmla="*/ 5 w 28"/>
                <a:gd name="T17" fmla="*/ 7 h 48"/>
                <a:gd name="T18" fmla="*/ 20 w 28"/>
                <a:gd name="T19" fmla="*/ 12 h 48"/>
                <a:gd name="T20" fmla="*/ 23 w 28"/>
                <a:gd name="T21" fmla="*/ 14 h 48"/>
                <a:gd name="T22" fmla="*/ 23 w 28"/>
                <a:gd name="T23" fmla="*/ 22 h 48"/>
                <a:gd name="T24" fmla="*/ 25 w 28"/>
                <a:gd name="T25" fmla="*/ 29 h 48"/>
                <a:gd name="T26" fmla="*/ 25 w 28"/>
                <a:gd name="T27" fmla="*/ 4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48">
                  <a:moveTo>
                    <a:pt x="25" y="41"/>
                  </a:moveTo>
                  <a:lnTo>
                    <a:pt x="28" y="48"/>
                  </a:lnTo>
                  <a:lnTo>
                    <a:pt x="23" y="46"/>
                  </a:lnTo>
                  <a:lnTo>
                    <a:pt x="15" y="39"/>
                  </a:lnTo>
                  <a:lnTo>
                    <a:pt x="3" y="22"/>
                  </a:lnTo>
                  <a:lnTo>
                    <a:pt x="0" y="7"/>
                  </a:lnTo>
                  <a:lnTo>
                    <a:pt x="0" y="0"/>
                  </a:lnTo>
                  <a:lnTo>
                    <a:pt x="3" y="0"/>
                  </a:lnTo>
                  <a:lnTo>
                    <a:pt x="5" y="7"/>
                  </a:lnTo>
                  <a:lnTo>
                    <a:pt x="20" y="12"/>
                  </a:lnTo>
                  <a:lnTo>
                    <a:pt x="23" y="14"/>
                  </a:lnTo>
                  <a:lnTo>
                    <a:pt x="23" y="22"/>
                  </a:lnTo>
                  <a:lnTo>
                    <a:pt x="25" y="29"/>
                  </a:lnTo>
                  <a:lnTo>
                    <a:pt x="25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8" name="Freeform 6"/>
            <p:cNvSpPr>
              <a:spLocks/>
            </p:cNvSpPr>
            <p:nvPr/>
          </p:nvSpPr>
          <p:spPr bwMode="auto">
            <a:xfrm>
              <a:off x="4230" y="3097"/>
              <a:ext cx="35" cy="32"/>
            </a:xfrm>
            <a:custGeom>
              <a:avLst/>
              <a:gdLst>
                <a:gd name="T0" fmla="*/ 32 w 35"/>
                <a:gd name="T1" fmla="*/ 22 h 32"/>
                <a:gd name="T2" fmla="*/ 30 w 35"/>
                <a:gd name="T3" fmla="*/ 32 h 32"/>
                <a:gd name="T4" fmla="*/ 25 w 35"/>
                <a:gd name="T5" fmla="*/ 32 h 32"/>
                <a:gd name="T6" fmla="*/ 15 w 35"/>
                <a:gd name="T7" fmla="*/ 19 h 32"/>
                <a:gd name="T8" fmla="*/ 5 w 35"/>
                <a:gd name="T9" fmla="*/ 15 h 32"/>
                <a:gd name="T10" fmla="*/ 2 w 35"/>
                <a:gd name="T11" fmla="*/ 10 h 32"/>
                <a:gd name="T12" fmla="*/ 0 w 35"/>
                <a:gd name="T13" fmla="*/ 2 h 32"/>
                <a:gd name="T14" fmla="*/ 7 w 35"/>
                <a:gd name="T15" fmla="*/ 0 h 32"/>
                <a:gd name="T16" fmla="*/ 12 w 35"/>
                <a:gd name="T17" fmla="*/ 2 h 32"/>
                <a:gd name="T18" fmla="*/ 30 w 35"/>
                <a:gd name="T19" fmla="*/ 12 h 32"/>
                <a:gd name="T20" fmla="*/ 35 w 35"/>
                <a:gd name="T21" fmla="*/ 17 h 32"/>
                <a:gd name="T22" fmla="*/ 32 w 35"/>
                <a:gd name="T2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32">
                  <a:moveTo>
                    <a:pt x="32" y="22"/>
                  </a:moveTo>
                  <a:lnTo>
                    <a:pt x="30" y="32"/>
                  </a:lnTo>
                  <a:lnTo>
                    <a:pt x="25" y="32"/>
                  </a:lnTo>
                  <a:lnTo>
                    <a:pt x="15" y="19"/>
                  </a:lnTo>
                  <a:lnTo>
                    <a:pt x="5" y="15"/>
                  </a:lnTo>
                  <a:lnTo>
                    <a:pt x="2" y="10"/>
                  </a:lnTo>
                  <a:lnTo>
                    <a:pt x="0" y="2"/>
                  </a:lnTo>
                  <a:lnTo>
                    <a:pt x="7" y="0"/>
                  </a:lnTo>
                  <a:lnTo>
                    <a:pt x="12" y="2"/>
                  </a:lnTo>
                  <a:lnTo>
                    <a:pt x="30" y="12"/>
                  </a:lnTo>
                  <a:lnTo>
                    <a:pt x="35" y="17"/>
                  </a:lnTo>
                  <a:lnTo>
                    <a:pt x="32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9" name="Freeform 7"/>
            <p:cNvSpPr>
              <a:spLocks/>
            </p:cNvSpPr>
            <p:nvPr/>
          </p:nvSpPr>
          <p:spPr bwMode="auto">
            <a:xfrm>
              <a:off x="4167" y="3045"/>
              <a:ext cx="45" cy="22"/>
            </a:xfrm>
            <a:custGeom>
              <a:avLst/>
              <a:gdLst>
                <a:gd name="T0" fmla="*/ 33 w 45"/>
                <a:gd name="T1" fmla="*/ 3 h 22"/>
                <a:gd name="T2" fmla="*/ 43 w 45"/>
                <a:gd name="T3" fmla="*/ 10 h 22"/>
                <a:gd name="T4" fmla="*/ 45 w 45"/>
                <a:gd name="T5" fmla="*/ 18 h 22"/>
                <a:gd name="T6" fmla="*/ 38 w 45"/>
                <a:gd name="T7" fmla="*/ 22 h 22"/>
                <a:gd name="T8" fmla="*/ 30 w 45"/>
                <a:gd name="T9" fmla="*/ 22 h 22"/>
                <a:gd name="T10" fmla="*/ 20 w 45"/>
                <a:gd name="T11" fmla="*/ 22 h 22"/>
                <a:gd name="T12" fmla="*/ 3 w 45"/>
                <a:gd name="T13" fmla="*/ 15 h 22"/>
                <a:gd name="T14" fmla="*/ 0 w 45"/>
                <a:gd name="T15" fmla="*/ 0 h 22"/>
                <a:gd name="T16" fmla="*/ 10 w 45"/>
                <a:gd name="T17" fmla="*/ 3 h 22"/>
                <a:gd name="T18" fmla="*/ 25 w 45"/>
                <a:gd name="T19" fmla="*/ 0 h 22"/>
                <a:gd name="T20" fmla="*/ 33 w 45"/>
                <a:gd name="T21" fmla="*/ 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">
                  <a:moveTo>
                    <a:pt x="33" y="3"/>
                  </a:moveTo>
                  <a:lnTo>
                    <a:pt x="43" y="10"/>
                  </a:lnTo>
                  <a:lnTo>
                    <a:pt x="45" y="18"/>
                  </a:lnTo>
                  <a:lnTo>
                    <a:pt x="38" y="22"/>
                  </a:lnTo>
                  <a:lnTo>
                    <a:pt x="30" y="22"/>
                  </a:lnTo>
                  <a:lnTo>
                    <a:pt x="20" y="22"/>
                  </a:lnTo>
                  <a:lnTo>
                    <a:pt x="3" y="15"/>
                  </a:lnTo>
                  <a:lnTo>
                    <a:pt x="0" y="0"/>
                  </a:lnTo>
                  <a:lnTo>
                    <a:pt x="10" y="3"/>
                  </a:lnTo>
                  <a:lnTo>
                    <a:pt x="25" y="0"/>
                  </a:lnTo>
                  <a:lnTo>
                    <a:pt x="3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0" name="Freeform 8"/>
            <p:cNvSpPr>
              <a:spLocks/>
            </p:cNvSpPr>
            <p:nvPr/>
          </p:nvSpPr>
          <p:spPr bwMode="auto">
            <a:xfrm>
              <a:off x="4205" y="3009"/>
              <a:ext cx="70" cy="78"/>
            </a:xfrm>
            <a:custGeom>
              <a:avLst/>
              <a:gdLst>
                <a:gd name="T0" fmla="*/ 70 w 70"/>
                <a:gd name="T1" fmla="*/ 19 h 78"/>
                <a:gd name="T2" fmla="*/ 62 w 70"/>
                <a:gd name="T3" fmla="*/ 49 h 78"/>
                <a:gd name="T4" fmla="*/ 57 w 70"/>
                <a:gd name="T5" fmla="*/ 49 h 78"/>
                <a:gd name="T6" fmla="*/ 47 w 70"/>
                <a:gd name="T7" fmla="*/ 41 h 78"/>
                <a:gd name="T8" fmla="*/ 42 w 70"/>
                <a:gd name="T9" fmla="*/ 39 h 78"/>
                <a:gd name="T10" fmla="*/ 40 w 70"/>
                <a:gd name="T11" fmla="*/ 44 h 78"/>
                <a:gd name="T12" fmla="*/ 37 w 70"/>
                <a:gd name="T13" fmla="*/ 49 h 78"/>
                <a:gd name="T14" fmla="*/ 42 w 70"/>
                <a:gd name="T15" fmla="*/ 51 h 78"/>
                <a:gd name="T16" fmla="*/ 50 w 70"/>
                <a:gd name="T17" fmla="*/ 71 h 78"/>
                <a:gd name="T18" fmla="*/ 50 w 70"/>
                <a:gd name="T19" fmla="*/ 76 h 78"/>
                <a:gd name="T20" fmla="*/ 50 w 70"/>
                <a:gd name="T21" fmla="*/ 78 h 78"/>
                <a:gd name="T22" fmla="*/ 37 w 70"/>
                <a:gd name="T23" fmla="*/ 73 h 78"/>
                <a:gd name="T24" fmla="*/ 15 w 70"/>
                <a:gd name="T25" fmla="*/ 49 h 78"/>
                <a:gd name="T26" fmla="*/ 0 w 70"/>
                <a:gd name="T27" fmla="*/ 7 h 78"/>
                <a:gd name="T28" fmla="*/ 30 w 70"/>
                <a:gd name="T29" fmla="*/ 0 h 78"/>
                <a:gd name="T30" fmla="*/ 47 w 70"/>
                <a:gd name="T31" fmla="*/ 12 h 78"/>
                <a:gd name="T32" fmla="*/ 70 w 70"/>
                <a:gd name="T33" fmla="*/ 1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0" h="78">
                  <a:moveTo>
                    <a:pt x="70" y="19"/>
                  </a:moveTo>
                  <a:lnTo>
                    <a:pt x="62" y="49"/>
                  </a:lnTo>
                  <a:lnTo>
                    <a:pt x="57" y="49"/>
                  </a:lnTo>
                  <a:lnTo>
                    <a:pt x="47" y="41"/>
                  </a:lnTo>
                  <a:lnTo>
                    <a:pt x="42" y="39"/>
                  </a:lnTo>
                  <a:lnTo>
                    <a:pt x="40" y="44"/>
                  </a:lnTo>
                  <a:lnTo>
                    <a:pt x="37" y="49"/>
                  </a:lnTo>
                  <a:lnTo>
                    <a:pt x="42" y="51"/>
                  </a:lnTo>
                  <a:lnTo>
                    <a:pt x="50" y="71"/>
                  </a:lnTo>
                  <a:lnTo>
                    <a:pt x="50" y="76"/>
                  </a:lnTo>
                  <a:lnTo>
                    <a:pt x="50" y="78"/>
                  </a:lnTo>
                  <a:lnTo>
                    <a:pt x="37" y="73"/>
                  </a:lnTo>
                  <a:lnTo>
                    <a:pt x="15" y="49"/>
                  </a:lnTo>
                  <a:lnTo>
                    <a:pt x="0" y="7"/>
                  </a:lnTo>
                  <a:lnTo>
                    <a:pt x="30" y="0"/>
                  </a:lnTo>
                  <a:lnTo>
                    <a:pt x="47" y="12"/>
                  </a:lnTo>
                  <a:lnTo>
                    <a:pt x="70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1" name="Freeform 9"/>
            <p:cNvSpPr>
              <a:spLocks/>
            </p:cNvSpPr>
            <p:nvPr/>
          </p:nvSpPr>
          <p:spPr bwMode="auto">
            <a:xfrm>
              <a:off x="4285" y="3001"/>
              <a:ext cx="20" cy="37"/>
            </a:xfrm>
            <a:custGeom>
              <a:avLst/>
              <a:gdLst>
                <a:gd name="T0" fmla="*/ 20 w 20"/>
                <a:gd name="T1" fmla="*/ 22 h 37"/>
                <a:gd name="T2" fmla="*/ 12 w 20"/>
                <a:gd name="T3" fmla="*/ 37 h 37"/>
                <a:gd name="T4" fmla="*/ 2 w 20"/>
                <a:gd name="T5" fmla="*/ 35 h 37"/>
                <a:gd name="T6" fmla="*/ 0 w 20"/>
                <a:gd name="T7" fmla="*/ 32 h 37"/>
                <a:gd name="T8" fmla="*/ 0 w 20"/>
                <a:gd name="T9" fmla="*/ 30 h 37"/>
                <a:gd name="T10" fmla="*/ 2 w 20"/>
                <a:gd name="T11" fmla="*/ 18 h 37"/>
                <a:gd name="T12" fmla="*/ 2 w 20"/>
                <a:gd name="T13" fmla="*/ 0 h 37"/>
                <a:gd name="T14" fmla="*/ 12 w 20"/>
                <a:gd name="T15" fmla="*/ 15 h 37"/>
                <a:gd name="T16" fmla="*/ 20 w 20"/>
                <a:gd name="T17" fmla="*/ 2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37">
                  <a:moveTo>
                    <a:pt x="20" y="22"/>
                  </a:moveTo>
                  <a:lnTo>
                    <a:pt x="12" y="37"/>
                  </a:lnTo>
                  <a:lnTo>
                    <a:pt x="2" y="35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2" y="18"/>
                  </a:lnTo>
                  <a:lnTo>
                    <a:pt x="2" y="0"/>
                  </a:lnTo>
                  <a:lnTo>
                    <a:pt x="12" y="15"/>
                  </a:lnTo>
                  <a:lnTo>
                    <a:pt x="20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12" name="Faroe Island Text"/>
          <p:cNvSpPr txBox="1">
            <a:spLocks/>
          </p:cNvSpPr>
          <p:nvPr/>
        </p:nvSpPr>
        <p:spPr>
          <a:xfrm>
            <a:off x="6310916" y="5476178"/>
            <a:ext cx="558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900" b="1" dirty="0">
                <a:solidFill>
                  <a:schemeClr val="accent1"/>
                </a:solidFill>
              </a:rPr>
              <a:t>Faroe </a:t>
            </a:r>
            <a:br>
              <a:rPr lang="en-GB" sz="900" b="1" dirty="0">
                <a:solidFill>
                  <a:schemeClr val="accent1"/>
                </a:solidFill>
              </a:rPr>
            </a:br>
            <a:r>
              <a:rPr lang="en-GB" sz="900" b="1" dirty="0">
                <a:solidFill>
                  <a:schemeClr val="accent1"/>
                </a:solidFill>
              </a:rPr>
              <a:t>Islands</a:t>
            </a:r>
          </a:p>
        </p:txBody>
      </p:sp>
      <p:sp>
        <p:nvSpPr>
          <p:cNvPr id="48" name="Åland Islands Text"/>
          <p:cNvSpPr txBox="1">
            <a:spLocks/>
          </p:cNvSpPr>
          <p:nvPr/>
        </p:nvSpPr>
        <p:spPr>
          <a:xfrm>
            <a:off x="9732683" y="4665157"/>
            <a:ext cx="558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900" b="1" noProof="1">
                <a:solidFill>
                  <a:schemeClr val="accent1"/>
                </a:solidFill>
              </a:rPr>
              <a:t>Åland Islands</a:t>
            </a:r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6871644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172"/>
          <p:cNvGrpSpPr>
            <a:grpSpLocks noChangeAspect="1"/>
          </p:cNvGrpSpPr>
          <p:nvPr/>
        </p:nvGrpSpPr>
        <p:grpSpPr bwMode="auto">
          <a:xfrm rot="20418998">
            <a:off x="5869970" y="594201"/>
            <a:ext cx="5439342" cy="5600739"/>
            <a:chOff x="2987" y="657"/>
            <a:chExt cx="1247" cy="1284"/>
          </a:xfrm>
          <a:solidFill>
            <a:schemeClr val="accent3"/>
          </a:solidFill>
        </p:grpSpPr>
        <p:sp>
          <p:nvSpPr>
            <p:cNvPr id="9" name="Sweden"/>
            <p:cNvSpPr>
              <a:spLocks noEditPoints="1"/>
            </p:cNvSpPr>
            <p:nvPr/>
          </p:nvSpPr>
          <p:spPr bwMode="auto">
            <a:xfrm>
              <a:off x="3277" y="834"/>
              <a:ext cx="612" cy="1054"/>
            </a:xfrm>
            <a:custGeom>
              <a:avLst/>
              <a:gdLst>
                <a:gd name="T0" fmla="*/ 1078 w 1175"/>
                <a:gd name="T1" fmla="*/ 523 h 2023"/>
                <a:gd name="T2" fmla="*/ 968 w 1175"/>
                <a:gd name="T3" fmla="*/ 549 h 2023"/>
                <a:gd name="T4" fmla="*/ 913 w 1175"/>
                <a:gd name="T5" fmla="*/ 682 h 2023"/>
                <a:gd name="T6" fmla="*/ 760 w 1175"/>
                <a:gd name="T7" fmla="*/ 867 h 2023"/>
                <a:gd name="T8" fmla="*/ 668 w 1175"/>
                <a:gd name="T9" fmla="*/ 947 h 2023"/>
                <a:gd name="T10" fmla="*/ 589 w 1175"/>
                <a:gd name="T11" fmla="*/ 1045 h 2023"/>
                <a:gd name="T12" fmla="*/ 558 w 1175"/>
                <a:gd name="T13" fmla="*/ 1219 h 2023"/>
                <a:gd name="T14" fmla="*/ 690 w 1175"/>
                <a:gd name="T15" fmla="*/ 1348 h 2023"/>
                <a:gd name="T16" fmla="*/ 603 w 1175"/>
                <a:gd name="T17" fmla="*/ 1416 h 2023"/>
                <a:gd name="T18" fmla="*/ 463 w 1175"/>
                <a:gd name="T19" fmla="*/ 1442 h 2023"/>
                <a:gd name="T20" fmla="*/ 676 w 1175"/>
                <a:gd name="T21" fmla="*/ 1466 h 2023"/>
                <a:gd name="T22" fmla="*/ 565 w 1175"/>
                <a:gd name="T23" fmla="*/ 1544 h 2023"/>
                <a:gd name="T24" fmla="*/ 512 w 1175"/>
                <a:gd name="T25" fmla="*/ 1663 h 2023"/>
                <a:gd name="T26" fmla="*/ 481 w 1175"/>
                <a:gd name="T27" fmla="*/ 1837 h 2023"/>
                <a:gd name="T28" fmla="*/ 146 w 1175"/>
                <a:gd name="T29" fmla="*/ 1872 h 2023"/>
                <a:gd name="T30" fmla="*/ 46 w 1175"/>
                <a:gd name="T31" fmla="*/ 1615 h 2023"/>
                <a:gd name="T32" fmla="*/ 79 w 1175"/>
                <a:gd name="T33" fmla="*/ 1511 h 2023"/>
                <a:gd name="T34" fmla="*/ 111 w 1175"/>
                <a:gd name="T35" fmla="*/ 1224 h 2023"/>
                <a:gd name="T36" fmla="*/ 286 w 1175"/>
                <a:gd name="T37" fmla="*/ 780 h 2023"/>
                <a:gd name="T38" fmla="*/ 425 w 1175"/>
                <a:gd name="T39" fmla="*/ 808 h 2023"/>
                <a:gd name="T40" fmla="*/ 478 w 1175"/>
                <a:gd name="T41" fmla="*/ 321 h 2023"/>
                <a:gd name="T42" fmla="*/ 887 w 1175"/>
                <a:gd name="T43" fmla="*/ 18 h 2023"/>
                <a:gd name="T44" fmla="*/ 530 w 1175"/>
                <a:gd name="T45" fmla="*/ 1508 h 2023"/>
                <a:gd name="T46" fmla="*/ 480 w 1175"/>
                <a:gd name="T47" fmla="*/ 248 h 2023"/>
                <a:gd name="T48" fmla="*/ 465 w 1175"/>
                <a:gd name="T49" fmla="*/ 619 h 2023"/>
                <a:gd name="T50" fmla="*/ 317 w 1175"/>
                <a:gd name="T51" fmla="*/ 459 h 2023"/>
                <a:gd name="T52" fmla="*/ 424 w 1175"/>
                <a:gd name="T53" fmla="*/ 1284 h 2023"/>
                <a:gd name="T54" fmla="*/ 378 w 1175"/>
                <a:gd name="T55" fmla="*/ 1004 h 2023"/>
                <a:gd name="T56" fmla="*/ 356 w 1175"/>
                <a:gd name="T57" fmla="*/ 1262 h 2023"/>
                <a:gd name="T58" fmla="*/ 290 w 1175"/>
                <a:gd name="T59" fmla="*/ 1515 h 2023"/>
                <a:gd name="T60" fmla="*/ 315 w 1175"/>
                <a:gd name="T61" fmla="*/ 1531 h 2023"/>
                <a:gd name="T62" fmla="*/ 310 w 1175"/>
                <a:gd name="T63" fmla="*/ 928 h 2023"/>
                <a:gd name="T64" fmla="*/ 190 w 1175"/>
                <a:gd name="T65" fmla="*/ 1367 h 2023"/>
                <a:gd name="T66" fmla="*/ 205 w 1175"/>
                <a:gd name="T67" fmla="*/ 863 h 2023"/>
                <a:gd name="T68" fmla="*/ 144 w 1175"/>
                <a:gd name="T69" fmla="*/ 883 h 2023"/>
                <a:gd name="T70" fmla="*/ 152 w 1175"/>
                <a:gd name="T71" fmla="*/ 1437 h 2023"/>
                <a:gd name="T72" fmla="*/ 133 w 1175"/>
                <a:gd name="T73" fmla="*/ 1660 h 2023"/>
                <a:gd name="T74" fmla="*/ 191 w 1175"/>
                <a:gd name="T75" fmla="*/ 1470 h 2023"/>
                <a:gd name="T76" fmla="*/ 193 w 1175"/>
                <a:gd name="T77" fmla="*/ 1579 h 2023"/>
                <a:gd name="T78" fmla="*/ 302 w 1175"/>
                <a:gd name="T79" fmla="*/ 1912 h 2023"/>
                <a:gd name="T80" fmla="*/ 348 w 1175"/>
                <a:gd name="T81" fmla="*/ 1791 h 2023"/>
                <a:gd name="T82" fmla="*/ 385 w 1175"/>
                <a:gd name="T83" fmla="*/ 1648 h 2023"/>
                <a:gd name="T84" fmla="*/ 447 w 1175"/>
                <a:gd name="T85" fmla="*/ 1650 h 2023"/>
                <a:gd name="T86" fmla="*/ 406 w 1175"/>
                <a:gd name="T87" fmla="*/ 1476 h 2023"/>
                <a:gd name="T88" fmla="*/ 515 w 1175"/>
                <a:gd name="T89" fmla="*/ 709 h 2023"/>
                <a:gd name="T90" fmla="*/ 527 w 1175"/>
                <a:gd name="T91" fmla="*/ 811 h 2023"/>
                <a:gd name="T92" fmla="*/ 537 w 1175"/>
                <a:gd name="T93" fmla="*/ 1327 h 2023"/>
                <a:gd name="T94" fmla="*/ 508 w 1175"/>
                <a:gd name="T95" fmla="*/ 599 h 2023"/>
                <a:gd name="T96" fmla="*/ 529 w 1175"/>
                <a:gd name="T97" fmla="*/ 412 h 2023"/>
                <a:gd name="T98" fmla="*/ 595 w 1175"/>
                <a:gd name="T99" fmla="*/ 496 h 2023"/>
                <a:gd name="T100" fmla="*/ 644 w 1175"/>
                <a:gd name="T101" fmla="*/ 422 h 2023"/>
                <a:gd name="T102" fmla="*/ 695 w 1175"/>
                <a:gd name="T103" fmla="*/ 349 h 2023"/>
                <a:gd name="T104" fmla="*/ 541 w 1175"/>
                <a:gd name="T105" fmla="*/ 200 h 2023"/>
                <a:gd name="T106" fmla="*/ 852 w 1175"/>
                <a:gd name="T107" fmla="*/ 190 h 2023"/>
                <a:gd name="T108" fmla="*/ 872 w 1175"/>
                <a:gd name="T109" fmla="*/ 200 h 2023"/>
                <a:gd name="T110" fmla="*/ 528 w 1175"/>
                <a:gd name="T111" fmla="*/ 1784 h 2023"/>
                <a:gd name="T112" fmla="*/ 584 w 1175"/>
                <a:gd name="T113" fmla="*/ 1448 h 2023"/>
                <a:gd name="T114" fmla="*/ 662 w 1175"/>
                <a:gd name="T115" fmla="*/ 1511 h 2023"/>
                <a:gd name="T116" fmla="*/ 735 w 1175"/>
                <a:gd name="T117" fmla="*/ 1656 h 2023"/>
                <a:gd name="T118" fmla="*/ 672 w 1175"/>
                <a:gd name="T119" fmla="*/ 1441 h 2023"/>
                <a:gd name="T120" fmla="*/ 643 w 1175"/>
                <a:gd name="T121" fmla="*/ 1776 h 2023"/>
                <a:gd name="T122" fmla="*/ 304 w 1175"/>
                <a:gd name="T123" fmla="*/ 1639 h 2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75" h="2023">
                  <a:moveTo>
                    <a:pt x="675" y="1343"/>
                  </a:moveTo>
                  <a:cubicBezTo>
                    <a:pt x="675" y="1342"/>
                    <a:pt x="675" y="1342"/>
                    <a:pt x="674" y="1342"/>
                  </a:cubicBezTo>
                  <a:cubicBezTo>
                    <a:pt x="674" y="1342"/>
                    <a:pt x="675" y="1342"/>
                    <a:pt x="675" y="1343"/>
                  </a:cubicBezTo>
                  <a:close/>
                  <a:moveTo>
                    <a:pt x="65" y="1650"/>
                  </a:moveTo>
                  <a:cubicBezTo>
                    <a:pt x="65" y="1650"/>
                    <a:pt x="65" y="1650"/>
                    <a:pt x="65" y="1650"/>
                  </a:cubicBezTo>
                  <a:cubicBezTo>
                    <a:pt x="67" y="1637"/>
                    <a:pt x="44" y="1644"/>
                    <a:pt x="44" y="1646"/>
                  </a:cubicBezTo>
                  <a:cubicBezTo>
                    <a:pt x="42" y="1652"/>
                    <a:pt x="50" y="1647"/>
                    <a:pt x="50" y="1650"/>
                  </a:cubicBezTo>
                  <a:cubicBezTo>
                    <a:pt x="49" y="1668"/>
                    <a:pt x="61" y="1656"/>
                    <a:pt x="65" y="1650"/>
                  </a:cubicBezTo>
                  <a:close/>
                  <a:moveTo>
                    <a:pt x="694" y="893"/>
                  </a:moveTo>
                  <a:cubicBezTo>
                    <a:pt x="694" y="893"/>
                    <a:pt x="694" y="893"/>
                    <a:pt x="694" y="893"/>
                  </a:cubicBezTo>
                  <a:cubicBezTo>
                    <a:pt x="694" y="893"/>
                    <a:pt x="694" y="893"/>
                    <a:pt x="694" y="893"/>
                  </a:cubicBezTo>
                  <a:close/>
                  <a:moveTo>
                    <a:pt x="705" y="900"/>
                  </a:moveTo>
                  <a:cubicBezTo>
                    <a:pt x="710" y="898"/>
                    <a:pt x="700" y="896"/>
                    <a:pt x="698" y="895"/>
                  </a:cubicBezTo>
                  <a:cubicBezTo>
                    <a:pt x="696" y="895"/>
                    <a:pt x="695" y="894"/>
                    <a:pt x="694" y="893"/>
                  </a:cubicBezTo>
                  <a:cubicBezTo>
                    <a:pt x="697" y="896"/>
                    <a:pt x="689" y="910"/>
                    <a:pt x="705" y="900"/>
                  </a:cubicBezTo>
                  <a:close/>
                  <a:moveTo>
                    <a:pt x="1129" y="416"/>
                  </a:moveTo>
                  <a:cubicBezTo>
                    <a:pt x="1129" y="455"/>
                    <a:pt x="1165" y="472"/>
                    <a:pt x="1175" y="507"/>
                  </a:cubicBezTo>
                  <a:cubicBezTo>
                    <a:pt x="1175" y="507"/>
                    <a:pt x="1154" y="515"/>
                    <a:pt x="1153" y="514"/>
                  </a:cubicBezTo>
                  <a:cubicBezTo>
                    <a:pt x="1139" y="510"/>
                    <a:pt x="1125" y="503"/>
                    <a:pt x="1113" y="503"/>
                  </a:cubicBezTo>
                  <a:cubicBezTo>
                    <a:pt x="1108" y="502"/>
                    <a:pt x="1110" y="514"/>
                    <a:pt x="1110" y="514"/>
                  </a:cubicBezTo>
                  <a:cubicBezTo>
                    <a:pt x="1109" y="514"/>
                    <a:pt x="1092" y="504"/>
                    <a:pt x="1088" y="504"/>
                  </a:cubicBezTo>
                  <a:cubicBezTo>
                    <a:pt x="1085" y="504"/>
                    <a:pt x="1092" y="510"/>
                    <a:pt x="1092" y="514"/>
                  </a:cubicBezTo>
                  <a:cubicBezTo>
                    <a:pt x="1091" y="515"/>
                    <a:pt x="1085" y="515"/>
                    <a:pt x="1084" y="516"/>
                  </a:cubicBezTo>
                  <a:cubicBezTo>
                    <a:pt x="1082" y="517"/>
                    <a:pt x="1085" y="524"/>
                    <a:pt x="1078" y="523"/>
                  </a:cubicBezTo>
                  <a:cubicBezTo>
                    <a:pt x="1076" y="523"/>
                    <a:pt x="1078" y="520"/>
                    <a:pt x="1078" y="519"/>
                  </a:cubicBezTo>
                  <a:cubicBezTo>
                    <a:pt x="1078" y="519"/>
                    <a:pt x="1044" y="491"/>
                    <a:pt x="1039" y="492"/>
                  </a:cubicBezTo>
                  <a:cubicBezTo>
                    <a:pt x="1037" y="492"/>
                    <a:pt x="1041" y="496"/>
                    <a:pt x="1042" y="496"/>
                  </a:cubicBezTo>
                  <a:cubicBezTo>
                    <a:pt x="1045" y="499"/>
                    <a:pt x="1045" y="514"/>
                    <a:pt x="1040" y="515"/>
                  </a:cubicBezTo>
                  <a:cubicBezTo>
                    <a:pt x="1038" y="516"/>
                    <a:pt x="1038" y="510"/>
                    <a:pt x="1036" y="508"/>
                  </a:cubicBezTo>
                  <a:cubicBezTo>
                    <a:pt x="1033" y="506"/>
                    <a:pt x="1028" y="513"/>
                    <a:pt x="1027" y="512"/>
                  </a:cubicBezTo>
                  <a:cubicBezTo>
                    <a:pt x="1025" y="510"/>
                    <a:pt x="1028" y="492"/>
                    <a:pt x="1014" y="499"/>
                  </a:cubicBezTo>
                  <a:cubicBezTo>
                    <a:pt x="1012" y="500"/>
                    <a:pt x="1016" y="501"/>
                    <a:pt x="1012" y="502"/>
                  </a:cubicBezTo>
                  <a:cubicBezTo>
                    <a:pt x="1010" y="503"/>
                    <a:pt x="1014" y="512"/>
                    <a:pt x="1013" y="515"/>
                  </a:cubicBezTo>
                  <a:cubicBezTo>
                    <a:pt x="1011" y="523"/>
                    <a:pt x="1001" y="513"/>
                    <a:pt x="1001" y="514"/>
                  </a:cubicBezTo>
                  <a:cubicBezTo>
                    <a:pt x="998" y="520"/>
                    <a:pt x="1015" y="519"/>
                    <a:pt x="1016" y="525"/>
                  </a:cubicBezTo>
                  <a:cubicBezTo>
                    <a:pt x="1016" y="528"/>
                    <a:pt x="1012" y="530"/>
                    <a:pt x="1012" y="528"/>
                  </a:cubicBezTo>
                  <a:cubicBezTo>
                    <a:pt x="1011" y="527"/>
                    <a:pt x="1006" y="519"/>
                    <a:pt x="1005" y="525"/>
                  </a:cubicBezTo>
                  <a:cubicBezTo>
                    <a:pt x="1003" y="533"/>
                    <a:pt x="1011" y="534"/>
                    <a:pt x="998" y="535"/>
                  </a:cubicBezTo>
                  <a:cubicBezTo>
                    <a:pt x="995" y="536"/>
                    <a:pt x="1011" y="535"/>
                    <a:pt x="1009" y="532"/>
                  </a:cubicBezTo>
                  <a:cubicBezTo>
                    <a:pt x="1005" y="527"/>
                    <a:pt x="1011" y="528"/>
                    <a:pt x="1011" y="531"/>
                  </a:cubicBezTo>
                  <a:cubicBezTo>
                    <a:pt x="1011" y="534"/>
                    <a:pt x="1011" y="539"/>
                    <a:pt x="1014" y="540"/>
                  </a:cubicBezTo>
                  <a:cubicBezTo>
                    <a:pt x="1016" y="541"/>
                    <a:pt x="1023" y="545"/>
                    <a:pt x="1019" y="548"/>
                  </a:cubicBezTo>
                  <a:cubicBezTo>
                    <a:pt x="1013" y="552"/>
                    <a:pt x="965" y="519"/>
                    <a:pt x="961" y="520"/>
                  </a:cubicBezTo>
                  <a:cubicBezTo>
                    <a:pt x="959" y="520"/>
                    <a:pt x="962" y="524"/>
                    <a:pt x="963" y="525"/>
                  </a:cubicBezTo>
                  <a:cubicBezTo>
                    <a:pt x="973" y="535"/>
                    <a:pt x="990" y="538"/>
                    <a:pt x="999" y="547"/>
                  </a:cubicBezTo>
                  <a:cubicBezTo>
                    <a:pt x="1000" y="548"/>
                    <a:pt x="993" y="549"/>
                    <a:pt x="993" y="549"/>
                  </a:cubicBezTo>
                  <a:cubicBezTo>
                    <a:pt x="987" y="548"/>
                    <a:pt x="981" y="555"/>
                    <a:pt x="973" y="549"/>
                  </a:cubicBezTo>
                  <a:cubicBezTo>
                    <a:pt x="972" y="549"/>
                    <a:pt x="969" y="548"/>
                    <a:pt x="968" y="549"/>
                  </a:cubicBezTo>
                  <a:cubicBezTo>
                    <a:pt x="968" y="559"/>
                    <a:pt x="988" y="549"/>
                    <a:pt x="983" y="565"/>
                  </a:cubicBezTo>
                  <a:cubicBezTo>
                    <a:pt x="983" y="566"/>
                    <a:pt x="980" y="565"/>
                    <a:pt x="979" y="565"/>
                  </a:cubicBezTo>
                  <a:cubicBezTo>
                    <a:pt x="977" y="564"/>
                    <a:pt x="976" y="559"/>
                    <a:pt x="975" y="564"/>
                  </a:cubicBezTo>
                  <a:cubicBezTo>
                    <a:pt x="974" y="572"/>
                    <a:pt x="958" y="567"/>
                    <a:pt x="945" y="571"/>
                  </a:cubicBezTo>
                  <a:cubicBezTo>
                    <a:pt x="944" y="572"/>
                    <a:pt x="935" y="569"/>
                    <a:pt x="934" y="572"/>
                  </a:cubicBezTo>
                  <a:cubicBezTo>
                    <a:pt x="933" y="580"/>
                    <a:pt x="961" y="583"/>
                    <a:pt x="952" y="592"/>
                  </a:cubicBezTo>
                  <a:cubicBezTo>
                    <a:pt x="944" y="599"/>
                    <a:pt x="933" y="582"/>
                    <a:pt x="929" y="578"/>
                  </a:cubicBezTo>
                  <a:cubicBezTo>
                    <a:pt x="927" y="577"/>
                    <a:pt x="919" y="571"/>
                    <a:pt x="921" y="575"/>
                  </a:cubicBezTo>
                  <a:cubicBezTo>
                    <a:pt x="924" y="578"/>
                    <a:pt x="916" y="576"/>
                    <a:pt x="916" y="578"/>
                  </a:cubicBezTo>
                  <a:cubicBezTo>
                    <a:pt x="916" y="581"/>
                    <a:pt x="927" y="580"/>
                    <a:pt x="928" y="581"/>
                  </a:cubicBezTo>
                  <a:cubicBezTo>
                    <a:pt x="932" y="583"/>
                    <a:pt x="948" y="602"/>
                    <a:pt x="948" y="607"/>
                  </a:cubicBezTo>
                  <a:cubicBezTo>
                    <a:pt x="948" y="609"/>
                    <a:pt x="943" y="609"/>
                    <a:pt x="943" y="612"/>
                  </a:cubicBezTo>
                  <a:cubicBezTo>
                    <a:pt x="942" y="616"/>
                    <a:pt x="938" y="617"/>
                    <a:pt x="944" y="619"/>
                  </a:cubicBezTo>
                  <a:cubicBezTo>
                    <a:pt x="948" y="620"/>
                    <a:pt x="940" y="621"/>
                    <a:pt x="939" y="621"/>
                  </a:cubicBezTo>
                  <a:cubicBezTo>
                    <a:pt x="935" y="620"/>
                    <a:pt x="931" y="633"/>
                    <a:pt x="927" y="636"/>
                  </a:cubicBezTo>
                  <a:cubicBezTo>
                    <a:pt x="924" y="638"/>
                    <a:pt x="917" y="635"/>
                    <a:pt x="914" y="637"/>
                  </a:cubicBezTo>
                  <a:cubicBezTo>
                    <a:pt x="911" y="641"/>
                    <a:pt x="912" y="658"/>
                    <a:pt x="903" y="657"/>
                  </a:cubicBezTo>
                  <a:cubicBezTo>
                    <a:pt x="900" y="657"/>
                    <a:pt x="899" y="647"/>
                    <a:pt x="896" y="653"/>
                  </a:cubicBezTo>
                  <a:cubicBezTo>
                    <a:pt x="891" y="667"/>
                    <a:pt x="922" y="661"/>
                    <a:pt x="920" y="667"/>
                  </a:cubicBezTo>
                  <a:cubicBezTo>
                    <a:pt x="919" y="670"/>
                    <a:pt x="914" y="666"/>
                    <a:pt x="913" y="668"/>
                  </a:cubicBezTo>
                  <a:cubicBezTo>
                    <a:pt x="912" y="673"/>
                    <a:pt x="929" y="686"/>
                    <a:pt x="912" y="676"/>
                  </a:cubicBezTo>
                  <a:cubicBezTo>
                    <a:pt x="910" y="675"/>
                    <a:pt x="904" y="668"/>
                    <a:pt x="902" y="671"/>
                  </a:cubicBezTo>
                  <a:cubicBezTo>
                    <a:pt x="901" y="672"/>
                    <a:pt x="902" y="675"/>
                    <a:pt x="902" y="675"/>
                  </a:cubicBezTo>
                  <a:cubicBezTo>
                    <a:pt x="903" y="680"/>
                    <a:pt x="910" y="681"/>
                    <a:pt x="913" y="682"/>
                  </a:cubicBezTo>
                  <a:cubicBezTo>
                    <a:pt x="918" y="683"/>
                    <a:pt x="920" y="690"/>
                    <a:pt x="923" y="694"/>
                  </a:cubicBezTo>
                  <a:cubicBezTo>
                    <a:pt x="925" y="697"/>
                    <a:pt x="923" y="685"/>
                    <a:pt x="929" y="691"/>
                  </a:cubicBezTo>
                  <a:cubicBezTo>
                    <a:pt x="930" y="693"/>
                    <a:pt x="932" y="698"/>
                    <a:pt x="934" y="696"/>
                  </a:cubicBezTo>
                  <a:cubicBezTo>
                    <a:pt x="940" y="690"/>
                    <a:pt x="940" y="709"/>
                    <a:pt x="934" y="699"/>
                  </a:cubicBezTo>
                  <a:cubicBezTo>
                    <a:pt x="932" y="696"/>
                    <a:pt x="930" y="702"/>
                    <a:pt x="929" y="703"/>
                  </a:cubicBezTo>
                  <a:cubicBezTo>
                    <a:pt x="928" y="703"/>
                    <a:pt x="923" y="698"/>
                    <a:pt x="923" y="700"/>
                  </a:cubicBezTo>
                  <a:cubicBezTo>
                    <a:pt x="923" y="704"/>
                    <a:pt x="931" y="704"/>
                    <a:pt x="933" y="703"/>
                  </a:cubicBezTo>
                  <a:cubicBezTo>
                    <a:pt x="939" y="701"/>
                    <a:pt x="933" y="711"/>
                    <a:pt x="935" y="713"/>
                  </a:cubicBezTo>
                  <a:cubicBezTo>
                    <a:pt x="939" y="715"/>
                    <a:pt x="944" y="706"/>
                    <a:pt x="946" y="709"/>
                  </a:cubicBezTo>
                  <a:cubicBezTo>
                    <a:pt x="948" y="712"/>
                    <a:pt x="947" y="714"/>
                    <a:pt x="945" y="714"/>
                  </a:cubicBezTo>
                  <a:cubicBezTo>
                    <a:pt x="934" y="715"/>
                    <a:pt x="911" y="745"/>
                    <a:pt x="899" y="747"/>
                  </a:cubicBezTo>
                  <a:cubicBezTo>
                    <a:pt x="898" y="747"/>
                    <a:pt x="867" y="810"/>
                    <a:pt x="864" y="812"/>
                  </a:cubicBezTo>
                  <a:cubicBezTo>
                    <a:pt x="861" y="813"/>
                    <a:pt x="851" y="810"/>
                    <a:pt x="851" y="809"/>
                  </a:cubicBezTo>
                  <a:cubicBezTo>
                    <a:pt x="850" y="809"/>
                    <a:pt x="849" y="806"/>
                    <a:pt x="848" y="807"/>
                  </a:cubicBezTo>
                  <a:cubicBezTo>
                    <a:pt x="841" y="807"/>
                    <a:pt x="842" y="824"/>
                    <a:pt x="839" y="827"/>
                  </a:cubicBezTo>
                  <a:cubicBezTo>
                    <a:pt x="831" y="832"/>
                    <a:pt x="837" y="814"/>
                    <a:pt x="832" y="818"/>
                  </a:cubicBezTo>
                  <a:cubicBezTo>
                    <a:pt x="830" y="819"/>
                    <a:pt x="834" y="833"/>
                    <a:pt x="830" y="833"/>
                  </a:cubicBezTo>
                  <a:cubicBezTo>
                    <a:pt x="824" y="832"/>
                    <a:pt x="831" y="821"/>
                    <a:pt x="829" y="820"/>
                  </a:cubicBezTo>
                  <a:cubicBezTo>
                    <a:pt x="825" y="820"/>
                    <a:pt x="825" y="833"/>
                    <a:pt x="825" y="833"/>
                  </a:cubicBezTo>
                  <a:cubicBezTo>
                    <a:pt x="820" y="836"/>
                    <a:pt x="812" y="830"/>
                    <a:pt x="808" y="831"/>
                  </a:cubicBezTo>
                  <a:cubicBezTo>
                    <a:pt x="801" y="833"/>
                    <a:pt x="806" y="844"/>
                    <a:pt x="794" y="838"/>
                  </a:cubicBezTo>
                  <a:cubicBezTo>
                    <a:pt x="790" y="836"/>
                    <a:pt x="779" y="864"/>
                    <a:pt x="777" y="865"/>
                  </a:cubicBezTo>
                  <a:cubicBezTo>
                    <a:pt x="771" y="867"/>
                    <a:pt x="762" y="839"/>
                    <a:pt x="752" y="847"/>
                  </a:cubicBezTo>
                  <a:cubicBezTo>
                    <a:pt x="752" y="848"/>
                    <a:pt x="762" y="863"/>
                    <a:pt x="760" y="867"/>
                  </a:cubicBezTo>
                  <a:cubicBezTo>
                    <a:pt x="759" y="871"/>
                    <a:pt x="752" y="862"/>
                    <a:pt x="751" y="861"/>
                  </a:cubicBezTo>
                  <a:cubicBezTo>
                    <a:pt x="747" y="859"/>
                    <a:pt x="743" y="859"/>
                    <a:pt x="741" y="860"/>
                  </a:cubicBezTo>
                  <a:cubicBezTo>
                    <a:pt x="736" y="862"/>
                    <a:pt x="740" y="878"/>
                    <a:pt x="738" y="881"/>
                  </a:cubicBezTo>
                  <a:cubicBezTo>
                    <a:pt x="737" y="882"/>
                    <a:pt x="736" y="882"/>
                    <a:pt x="735" y="881"/>
                  </a:cubicBezTo>
                  <a:cubicBezTo>
                    <a:pt x="729" y="873"/>
                    <a:pt x="725" y="894"/>
                    <a:pt x="725" y="894"/>
                  </a:cubicBezTo>
                  <a:cubicBezTo>
                    <a:pt x="722" y="895"/>
                    <a:pt x="720" y="891"/>
                    <a:pt x="719" y="891"/>
                  </a:cubicBezTo>
                  <a:cubicBezTo>
                    <a:pt x="715" y="894"/>
                    <a:pt x="720" y="897"/>
                    <a:pt x="723" y="897"/>
                  </a:cubicBezTo>
                  <a:cubicBezTo>
                    <a:pt x="724" y="897"/>
                    <a:pt x="720" y="903"/>
                    <a:pt x="719" y="903"/>
                  </a:cubicBezTo>
                  <a:cubicBezTo>
                    <a:pt x="713" y="905"/>
                    <a:pt x="710" y="888"/>
                    <a:pt x="704" y="888"/>
                  </a:cubicBezTo>
                  <a:cubicBezTo>
                    <a:pt x="702" y="889"/>
                    <a:pt x="690" y="889"/>
                    <a:pt x="694" y="893"/>
                  </a:cubicBezTo>
                  <a:cubicBezTo>
                    <a:pt x="693" y="893"/>
                    <a:pt x="691" y="893"/>
                    <a:pt x="688" y="895"/>
                  </a:cubicBezTo>
                  <a:cubicBezTo>
                    <a:pt x="687" y="896"/>
                    <a:pt x="693" y="905"/>
                    <a:pt x="692" y="906"/>
                  </a:cubicBezTo>
                  <a:cubicBezTo>
                    <a:pt x="691" y="908"/>
                    <a:pt x="678" y="902"/>
                    <a:pt x="675" y="903"/>
                  </a:cubicBezTo>
                  <a:cubicBezTo>
                    <a:pt x="675" y="903"/>
                    <a:pt x="680" y="905"/>
                    <a:pt x="680" y="906"/>
                  </a:cubicBezTo>
                  <a:cubicBezTo>
                    <a:pt x="682" y="909"/>
                    <a:pt x="674" y="921"/>
                    <a:pt x="668" y="926"/>
                  </a:cubicBezTo>
                  <a:cubicBezTo>
                    <a:pt x="667" y="927"/>
                    <a:pt x="664" y="921"/>
                    <a:pt x="662" y="921"/>
                  </a:cubicBezTo>
                  <a:cubicBezTo>
                    <a:pt x="654" y="922"/>
                    <a:pt x="665" y="927"/>
                    <a:pt x="663" y="927"/>
                  </a:cubicBezTo>
                  <a:cubicBezTo>
                    <a:pt x="659" y="928"/>
                    <a:pt x="650" y="923"/>
                    <a:pt x="647" y="929"/>
                  </a:cubicBezTo>
                  <a:cubicBezTo>
                    <a:pt x="646" y="930"/>
                    <a:pt x="654" y="931"/>
                    <a:pt x="654" y="931"/>
                  </a:cubicBezTo>
                  <a:cubicBezTo>
                    <a:pt x="658" y="931"/>
                    <a:pt x="678" y="927"/>
                    <a:pt x="677" y="935"/>
                  </a:cubicBezTo>
                  <a:cubicBezTo>
                    <a:pt x="677" y="936"/>
                    <a:pt x="660" y="933"/>
                    <a:pt x="660" y="937"/>
                  </a:cubicBezTo>
                  <a:cubicBezTo>
                    <a:pt x="659" y="942"/>
                    <a:pt x="672" y="939"/>
                    <a:pt x="672" y="941"/>
                  </a:cubicBezTo>
                  <a:cubicBezTo>
                    <a:pt x="670" y="948"/>
                    <a:pt x="665" y="942"/>
                    <a:pt x="661" y="942"/>
                  </a:cubicBezTo>
                  <a:cubicBezTo>
                    <a:pt x="658" y="943"/>
                    <a:pt x="668" y="947"/>
                    <a:pt x="668" y="947"/>
                  </a:cubicBezTo>
                  <a:cubicBezTo>
                    <a:pt x="668" y="949"/>
                    <a:pt x="660" y="953"/>
                    <a:pt x="659" y="954"/>
                  </a:cubicBezTo>
                  <a:cubicBezTo>
                    <a:pt x="654" y="954"/>
                    <a:pt x="650" y="944"/>
                    <a:pt x="647" y="946"/>
                  </a:cubicBezTo>
                  <a:cubicBezTo>
                    <a:pt x="639" y="953"/>
                    <a:pt x="648" y="951"/>
                    <a:pt x="650" y="952"/>
                  </a:cubicBezTo>
                  <a:cubicBezTo>
                    <a:pt x="653" y="955"/>
                    <a:pt x="641" y="965"/>
                    <a:pt x="642" y="961"/>
                  </a:cubicBezTo>
                  <a:cubicBezTo>
                    <a:pt x="645" y="952"/>
                    <a:pt x="639" y="963"/>
                    <a:pt x="637" y="963"/>
                  </a:cubicBezTo>
                  <a:cubicBezTo>
                    <a:pt x="631" y="965"/>
                    <a:pt x="625" y="962"/>
                    <a:pt x="631" y="958"/>
                  </a:cubicBezTo>
                  <a:cubicBezTo>
                    <a:pt x="633" y="957"/>
                    <a:pt x="639" y="956"/>
                    <a:pt x="637" y="955"/>
                  </a:cubicBezTo>
                  <a:cubicBezTo>
                    <a:pt x="629" y="952"/>
                    <a:pt x="622" y="958"/>
                    <a:pt x="622" y="958"/>
                  </a:cubicBezTo>
                  <a:cubicBezTo>
                    <a:pt x="612" y="954"/>
                    <a:pt x="621" y="927"/>
                    <a:pt x="598" y="930"/>
                  </a:cubicBezTo>
                  <a:cubicBezTo>
                    <a:pt x="598" y="930"/>
                    <a:pt x="604" y="935"/>
                    <a:pt x="605" y="935"/>
                  </a:cubicBezTo>
                  <a:cubicBezTo>
                    <a:pt x="608" y="937"/>
                    <a:pt x="615" y="950"/>
                    <a:pt x="614" y="954"/>
                  </a:cubicBezTo>
                  <a:cubicBezTo>
                    <a:pt x="612" y="960"/>
                    <a:pt x="628" y="967"/>
                    <a:pt x="625" y="978"/>
                  </a:cubicBezTo>
                  <a:cubicBezTo>
                    <a:pt x="624" y="982"/>
                    <a:pt x="612" y="976"/>
                    <a:pt x="614" y="979"/>
                  </a:cubicBezTo>
                  <a:cubicBezTo>
                    <a:pt x="618" y="984"/>
                    <a:pt x="630" y="981"/>
                    <a:pt x="631" y="989"/>
                  </a:cubicBezTo>
                  <a:cubicBezTo>
                    <a:pt x="631" y="989"/>
                    <a:pt x="627" y="990"/>
                    <a:pt x="626" y="991"/>
                  </a:cubicBezTo>
                  <a:cubicBezTo>
                    <a:pt x="623" y="993"/>
                    <a:pt x="621" y="998"/>
                    <a:pt x="621" y="990"/>
                  </a:cubicBezTo>
                  <a:cubicBezTo>
                    <a:pt x="621" y="989"/>
                    <a:pt x="621" y="985"/>
                    <a:pt x="619" y="988"/>
                  </a:cubicBezTo>
                  <a:cubicBezTo>
                    <a:pt x="614" y="994"/>
                    <a:pt x="618" y="999"/>
                    <a:pt x="611" y="1005"/>
                  </a:cubicBezTo>
                  <a:cubicBezTo>
                    <a:pt x="608" y="1007"/>
                    <a:pt x="601" y="1000"/>
                    <a:pt x="595" y="1006"/>
                  </a:cubicBezTo>
                  <a:cubicBezTo>
                    <a:pt x="593" y="1009"/>
                    <a:pt x="600" y="1012"/>
                    <a:pt x="598" y="1012"/>
                  </a:cubicBezTo>
                  <a:cubicBezTo>
                    <a:pt x="584" y="1014"/>
                    <a:pt x="573" y="989"/>
                    <a:pt x="565" y="1005"/>
                  </a:cubicBezTo>
                  <a:cubicBezTo>
                    <a:pt x="563" y="1010"/>
                    <a:pt x="571" y="1031"/>
                    <a:pt x="577" y="1037"/>
                  </a:cubicBezTo>
                  <a:cubicBezTo>
                    <a:pt x="580" y="1040"/>
                    <a:pt x="593" y="1038"/>
                    <a:pt x="594" y="1042"/>
                  </a:cubicBezTo>
                  <a:cubicBezTo>
                    <a:pt x="595" y="1043"/>
                    <a:pt x="591" y="1044"/>
                    <a:pt x="589" y="1045"/>
                  </a:cubicBezTo>
                  <a:cubicBezTo>
                    <a:pt x="581" y="1049"/>
                    <a:pt x="586" y="1039"/>
                    <a:pt x="581" y="1045"/>
                  </a:cubicBezTo>
                  <a:cubicBezTo>
                    <a:pt x="575" y="1051"/>
                    <a:pt x="577" y="1075"/>
                    <a:pt x="577" y="1075"/>
                  </a:cubicBezTo>
                  <a:cubicBezTo>
                    <a:pt x="577" y="1078"/>
                    <a:pt x="568" y="1081"/>
                    <a:pt x="567" y="1084"/>
                  </a:cubicBezTo>
                  <a:cubicBezTo>
                    <a:pt x="565" y="1092"/>
                    <a:pt x="568" y="1110"/>
                    <a:pt x="571" y="1115"/>
                  </a:cubicBezTo>
                  <a:cubicBezTo>
                    <a:pt x="571" y="1115"/>
                    <a:pt x="570" y="1117"/>
                    <a:pt x="571" y="1118"/>
                  </a:cubicBezTo>
                  <a:cubicBezTo>
                    <a:pt x="576" y="1120"/>
                    <a:pt x="588" y="1114"/>
                    <a:pt x="580" y="1129"/>
                  </a:cubicBezTo>
                  <a:cubicBezTo>
                    <a:pt x="580" y="1131"/>
                    <a:pt x="579" y="1131"/>
                    <a:pt x="578" y="1131"/>
                  </a:cubicBezTo>
                  <a:cubicBezTo>
                    <a:pt x="571" y="1128"/>
                    <a:pt x="555" y="1108"/>
                    <a:pt x="548" y="1117"/>
                  </a:cubicBezTo>
                  <a:cubicBezTo>
                    <a:pt x="547" y="1119"/>
                    <a:pt x="554" y="1119"/>
                    <a:pt x="554" y="1119"/>
                  </a:cubicBezTo>
                  <a:cubicBezTo>
                    <a:pt x="571" y="1122"/>
                    <a:pt x="537" y="1130"/>
                    <a:pt x="549" y="1131"/>
                  </a:cubicBezTo>
                  <a:cubicBezTo>
                    <a:pt x="551" y="1131"/>
                    <a:pt x="557" y="1131"/>
                    <a:pt x="558" y="1133"/>
                  </a:cubicBezTo>
                  <a:cubicBezTo>
                    <a:pt x="560" y="1136"/>
                    <a:pt x="549" y="1135"/>
                    <a:pt x="549" y="1135"/>
                  </a:cubicBezTo>
                  <a:cubicBezTo>
                    <a:pt x="548" y="1134"/>
                    <a:pt x="542" y="1135"/>
                    <a:pt x="541" y="1138"/>
                  </a:cubicBezTo>
                  <a:cubicBezTo>
                    <a:pt x="541" y="1138"/>
                    <a:pt x="550" y="1140"/>
                    <a:pt x="551" y="1140"/>
                  </a:cubicBezTo>
                  <a:cubicBezTo>
                    <a:pt x="553" y="1141"/>
                    <a:pt x="539" y="1142"/>
                    <a:pt x="545" y="1143"/>
                  </a:cubicBezTo>
                  <a:cubicBezTo>
                    <a:pt x="560" y="1146"/>
                    <a:pt x="547" y="1164"/>
                    <a:pt x="548" y="1169"/>
                  </a:cubicBezTo>
                  <a:cubicBezTo>
                    <a:pt x="549" y="1171"/>
                    <a:pt x="560" y="1176"/>
                    <a:pt x="560" y="1177"/>
                  </a:cubicBezTo>
                  <a:cubicBezTo>
                    <a:pt x="560" y="1177"/>
                    <a:pt x="560" y="1180"/>
                    <a:pt x="557" y="1181"/>
                  </a:cubicBezTo>
                  <a:cubicBezTo>
                    <a:pt x="555" y="1181"/>
                    <a:pt x="545" y="1175"/>
                    <a:pt x="544" y="1176"/>
                  </a:cubicBezTo>
                  <a:cubicBezTo>
                    <a:pt x="544" y="1177"/>
                    <a:pt x="553" y="1184"/>
                    <a:pt x="554" y="1185"/>
                  </a:cubicBezTo>
                  <a:cubicBezTo>
                    <a:pt x="555" y="1187"/>
                    <a:pt x="548" y="1204"/>
                    <a:pt x="549" y="1206"/>
                  </a:cubicBezTo>
                  <a:cubicBezTo>
                    <a:pt x="552" y="1211"/>
                    <a:pt x="552" y="1204"/>
                    <a:pt x="552" y="1211"/>
                  </a:cubicBezTo>
                  <a:cubicBezTo>
                    <a:pt x="552" y="1214"/>
                    <a:pt x="552" y="1218"/>
                    <a:pt x="550" y="1219"/>
                  </a:cubicBezTo>
                  <a:cubicBezTo>
                    <a:pt x="549" y="1220"/>
                    <a:pt x="558" y="1219"/>
                    <a:pt x="558" y="1219"/>
                  </a:cubicBezTo>
                  <a:cubicBezTo>
                    <a:pt x="560" y="1224"/>
                    <a:pt x="549" y="1225"/>
                    <a:pt x="549" y="1230"/>
                  </a:cubicBezTo>
                  <a:cubicBezTo>
                    <a:pt x="549" y="1237"/>
                    <a:pt x="564" y="1243"/>
                    <a:pt x="561" y="1253"/>
                  </a:cubicBezTo>
                  <a:cubicBezTo>
                    <a:pt x="560" y="1257"/>
                    <a:pt x="567" y="1253"/>
                    <a:pt x="566" y="1256"/>
                  </a:cubicBezTo>
                  <a:cubicBezTo>
                    <a:pt x="565" y="1260"/>
                    <a:pt x="552" y="1263"/>
                    <a:pt x="552" y="1266"/>
                  </a:cubicBezTo>
                  <a:cubicBezTo>
                    <a:pt x="553" y="1268"/>
                    <a:pt x="558" y="1265"/>
                    <a:pt x="559" y="1266"/>
                  </a:cubicBezTo>
                  <a:cubicBezTo>
                    <a:pt x="566" y="1269"/>
                    <a:pt x="565" y="1276"/>
                    <a:pt x="566" y="1277"/>
                  </a:cubicBezTo>
                  <a:cubicBezTo>
                    <a:pt x="568" y="1281"/>
                    <a:pt x="587" y="1269"/>
                    <a:pt x="594" y="1278"/>
                  </a:cubicBezTo>
                  <a:cubicBezTo>
                    <a:pt x="596" y="1281"/>
                    <a:pt x="590" y="1281"/>
                    <a:pt x="590" y="1282"/>
                  </a:cubicBezTo>
                  <a:cubicBezTo>
                    <a:pt x="588" y="1285"/>
                    <a:pt x="592" y="1291"/>
                    <a:pt x="594" y="1292"/>
                  </a:cubicBezTo>
                  <a:cubicBezTo>
                    <a:pt x="600" y="1301"/>
                    <a:pt x="605" y="1275"/>
                    <a:pt x="621" y="1280"/>
                  </a:cubicBezTo>
                  <a:cubicBezTo>
                    <a:pt x="623" y="1281"/>
                    <a:pt x="622" y="1282"/>
                    <a:pt x="623" y="1284"/>
                  </a:cubicBezTo>
                  <a:cubicBezTo>
                    <a:pt x="625" y="1289"/>
                    <a:pt x="631" y="1306"/>
                    <a:pt x="640" y="1310"/>
                  </a:cubicBezTo>
                  <a:cubicBezTo>
                    <a:pt x="641" y="1310"/>
                    <a:pt x="648" y="1311"/>
                    <a:pt x="648" y="1312"/>
                  </a:cubicBezTo>
                  <a:cubicBezTo>
                    <a:pt x="649" y="1314"/>
                    <a:pt x="642" y="1313"/>
                    <a:pt x="645" y="1318"/>
                  </a:cubicBezTo>
                  <a:cubicBezTo>
                    <a:pt x="645" y="1318"/>
                    <a:pt x="645" y="1319"/>
                    <a:pt x="646" y="1319"/>
                  </a:cubicBezTo>
                  <a:cubicBezTo>
                    <a:pt x="648" y="1319"/>
                    <a:pt x="651" y="1315"/>
                    <a:pt x="653" y="1315"/>
                  </a:cubicBezTo>
                  <a:cubicBezTo>
                    <a:pt x="656" y="1315"/>
                    <a:pt x="679" y="1331"/>
                    <a:pt x="679" y="1332"/>
                  </a:cubicBezTo>
                  <a:cubicBezTo>
                    <a:pt x="680" y="1335"/>
                    <a:pt x="673" y="1334"/>
                    <a:pt x="672" y="1333"/>
                  </a:cubicBezTo>
                  <a:cubicBezTo>
                    <a:pt x="665" y="1331"/>
                    <a:pt x="660" y="1318"/>
                    <a:pt x="653" y="1321"/>
                  </a:cubicBezTo>
                  <a:cubicBezTo>
                    <a:pt x="650" y="1323"/>
                    <a:pt x="665" y="1335"/>
                    <a:pt x="665" y="1336"/>
                  </a:cubicBezTo>
                  <a:cubicBezTo>
                    <a:pt x="665" y="1338"/>
                    <a:pt x="661" y="1335"/>
                    <a:pt x="669" y="1343"/>
                  </a:cubicBezTo>
                  <a:cubicBezTo>
                    <a:pt x="671" y="1346"/>
                    <a:pt x="674" y="1341"/>
                    <a:pt x="674" y="1342"/>
                  </a:cubicBezTo>
                  <a:cubicBezTo>
                    <a:pt x="674" y="1343"/>
                    <a:pt x="675" y="1357"/>
                    <a:pt x="677" y="1356"/>
                  </a:cubicBezTo>
                  <a:cubicBezTo>
                    <a:pt x="682" y="1355"/>
                    <a:pt x="675" y="1338"/>
                    <a:pt x="690" y="1348"/>
                  </a:cubicBezTo>
                  <a:cubicBezTo>
                    <a:pt x="691" y="1350"/>
                    <a:pt x="689" y="1358"/>
                    <a:pt x="692" y="1362"/>
                  </a:cubicBezTo>
                  <a:cubicBezTo>
                    <a:pt x="693" y="1363"/>
                    <a:pt x="696" y="1367"/>
                    <a:pt x="696" y="1366"/>
                  </a:cubicBezTo>
                  <a:cubicBezTo>
                    <a:pt x="696" y="1363"/>
                    <a:pt x="689" y="1347"/>
                    <a:pt x="697" y="1349"/>
                  </a:cubicBezTo>
                  <a:cubicBezTo>
                    <a:pt x="702" y="1351"/>
                    <a:pt x="699" y="1359"/>
                    <a:pt x="701" y="1364"/>
                  </a:cubicBezTo>
                  <a:cubicBezTo>
                    <a:pt x="704" y="1374"/>
                    <a:pt x="711" y="1376"/>
                    <a:pt x="716" y="1382"/>
                  </a:cubicBezTo>
                  <a:cubicBezTo>
                    <a:pt x="716" y="1383"/>
                    <a:pt x="718" y="1384"/>
                    <a:pt x="718" y="1382"/>
                  </a:cubicBezTo>
                  <a:cubicBezTo>
                    <a:pt x="720" y="1376"/>
                    <a:pt x="721" y="1386"/>
                    <a:pt x="720" y="1390"/>
                  </a:cubicBezTo>
                  <a:cubicBezTo>
                    <a:pt x="719" y="1396"/>
                    <a:pt x="705" y="1375"/>
                    <a:pt x="704" y="1376"/>
                  </a:cubicBezTo>
                  <a:cubicBezTo>
                    <a:pt x="700" y="1380"/>
                    <a:pt x="707" y="1387"/>
                    <a:pt x="704" y="1391"/>
                  </a:cubicBezTo>
                  <a:cubicBezTo>
                    <a:pt x="701" y="1395"/>
                    <a:pt x="690" y="1395"/>
                    <a:pt x="690" y="1399"/>
                  </a:cubicBezTo>
                  <a:cubicBezTo>
                    <a:pt x="690" y="1400"/>
                    <a:pt x="725" y="1391"/>
                    <a:pt x="721" y="1403"/>
                  </a:cubicBezTo>
                  <a:cubicBezTo>
                    <a:pt x="719" y="1408"/>
                    <a:pt x="710" y="1398"/>
                    <a:pt x="706" y="1402"/>
                  </a:cubicBezTo>
                  <a:cubicBezTo>
                    <a:pt x="695" y="1413"/>
                    <a:pt x="687" y="1415"/>
                    <a:pt x="684" y="1418"/>
                  </a:cubicBezTo>
                  <a:cubicBezTo>
                    <a:pt x="680" y="1422"/>
                    <a:pt x="670" y="1438"/>
                    <a:pt x="659" y="1442"/>
                  </a:cubicBezTo>
                  <a:cubicBezTo>
                    <a:pt x="657" y="1443"/>
                    <a:pt x="650" y="1439"/>
                    <a:pt x="649" y="1441"/>
                  </a:cubicBezTo>
                  <a:cubicBezTo>
                    <a:pt x="647" y="1445"/>
                    <a:pt x="658" y="1449"/>
                    <a:pt x="655" y="1452"/>
                  </a:cubicBezTo>
                  <a:cubicBezTo>
                    <a:pt x="653" y="1452"/>
                    <a:pt x="651" y="1453"/>
                    <a:pt x="650" y="1452"/>
                  </a:cubicBezTo>
                  <a:cubicBezTo>
                    <a:pt x="648" y="1452"/>
                    <a:pt x="638" y="1451"/>
                    <a:pt x="640" y="1449"/>
                  </a:cubicBezTo>
                  <a:cubicBezTo>
                    <a:pt x="646" y="1439"/>
                    <a:pt x="636" y="1449"/>
                    <a:pt x="633" y="1451"/>
                  </a:cubicBezTo>
                  <a:cubicBezTo>
                    <a:pt x="631" y="1453"/>
                    <a:pt x="626" y="1449"/>
                    <a:pt x="626" y="1451"/>
                  </a:cubicBezTo>
                  <a:cubicBezTo>
                    <a:pt x="626" y="1452"/>
                    <a:pt x="639" y="1460"/>
                    <a:pt x="638" y="1461"/>
                  </a:cubicBezTo>
                  <a:cubicBezTo>
                    <a:pt x="634" y="1465"/>
                    <a:pt x="605" y="1459"/>
                    <a:pt x="603" y="1450"/>
                  </a:cubicBezTo>
                  <a:cubicBezTo>
                    <a:pt x="602" y="1443"/>
                    <a:pt x="611" y="1436"/>
                    <a:pt x="611" y="1433"/>
                  </a:cubicBezTo>
                  <a:cubicBezTo>
                    <a:pt x="611" y="1429"/>
                    <a:pt x="605" y="1419"/>
                    <a:pt x="603" y="1416"/>
                  </a:cubicBezTo>
                  <a:cubicBezTo>
                    <a:pt x="600" y="1411"/>
                    <a:pt x="601" y="1408"/>
                    <a:pt x="600" y="1409"/>
                  </a:cubicBezTo>
                  <a:cubicBezTo>
                    <a:pt x="598" y="1410"/>
                    <a:pt x="602" y="1421"/>
                    <a:pt x="599" y="1421"/>
                  </a:cubicBezTo>
                  <a:cubicBezTo>
                    <a:pt x="598" y="1420"/>
                    <a:pt x="592" y="1414"/>
                    <a:pt x="592" y="1413"/>
                  </a:cubicBezTo>
                  <a:cubicBezTo>
                    <a:pt x="592" y="1410"/>
                    <a:pt x="604" y="1398"/>
                    <a:pt x="589" y="1394"/>
                  </a:cubicBezTo>
                  <a:cubicBezTo>
                    <a:pt x="586" y="1393"/>
                    <a:pt x="587" y="1400"/>
                    <a:pt x="584" y="1402"/>
                  </a:cubicBezTo>
                  <a:cubicBezTo>
                    <a:pt x="581" y="1405"/>
                    <a:pt x="573" y="1401"/>
                    <a:pt x="569" y="1402"/>
                  </a:cubicBezTo>
                  <a:cubicBezTo>
                    <a:pt x="567" y="1403"/>
                    <a:pt x="578" y="1405"/>
                    <a:pt x="578" y="1405"/>
                  </a:cubicBezTo>
                  <a:cubicBezTo>
                    <a:pt x="582" y="1407"/>
                    <a:pt x="576" y="1413"/>
                    <a:pt x="578" y="1418"/>
                  </a:cubicBezTo>
                  <a:cubicBezTo>
                    <a:pt x="579" y="1420"/>
                    <a:pt x="581" y="1427"/>
                    <a:pt x="584" y="1427"/>
                  </a:cubicBezTo>
                  <a:cubicBezTo>
                    <a:pt x="584" y="1427"/>
                    <a:pt x="583" y="1420"/>
                    <a:pt x="582" y="1418"/>
                  </a:cubicBezTo>
                  <a:cubicBezTo>
                    <a:pt x="580" y="1414"/>
                    <a:pt x="584" y="1408"/>
                    <a:pt x="585" y="1407"/>
                  </a:cubicBezTo>
                  <a:cubicBezTo>
                    <a:pt x="587" y="1402"/>
                    <a:pt x="590" y="1407"/>
                    <a:pt x="589" y="1409"/>
                  </a:cubicBezTo>
                  <a:cubicBezTo>
                    <a:pt x="587" y="1425"/>
                    <a:pt x="609" y="1426"/>
                    <a:pt x="606" y="1433"/>
                  </a:cubicBezTo>
                  <a:cubicBezTo>
                    <a:pt x="595" y="1462"/>
                    <a:pt x="570" y="1416"/>
                    <a:pt x="570" y="1415"/>
                  </a:cubicBezTo>
                  <a:cubicBezTo>
                    <a:pt x="564" y="1414"/>
                    <a:pt x="568" y="1424"/>
                    <a:pt x="569" y="1424"/>
                  </a:cubicBezTo>
                  <a:cubicBezTo>
                    <a:pt x="572" y="1440"/>
                    <a:pt x="571" y="1437"/>
                    <a:pt x="568" y="1442"/>
                  </a:cubicBezTo>
                  <a:cubicBezTo>
                    <a:pt x="568" y="1443"/>
                    <a:pt x="542" y="1423"/>
                    <a:pt x="541" y="1423"/>
                  </a:cubicBezTo>
                  <a:cubicBezTo>
                    <a:pt x="538" y="1422"/>
                    <a:pt x="543" y="1429"/>
                    <a:pt x="542" y="1431"/>
                  </a:cubicBezTo>
                  <a:cubicBezTo>
                    <a:pt x="541" y="1434"/>
                    <a:pt x="536" y="1432"/>
                    <a:pt x="535" y="1431"/>
                  </a:cubicBezTo>
                  <a:cubicBezTo>
                    <a:pt x="511" y="1423"/>
                    <a:pt x="515" y="1436"/>
                    <a:pt x="507" y="1433"/>
                  </a:cubicBezTo>
                  <a:cubicBezTo>
                    <a:pt x="504" y="1432"/>
                    <a:pt x="501" y="1424"/>
                    <a:pt x="497" y="1422"/>
                  </a:cubicBezTo>
                  <a:cubicBezTo>
                    <a:pt x="497" y="1422"/>
                    <a:pt x="496" y="1422"/>
                    <a:pt x="495" y="1422"/>
                  </a:cubicBezTo>
                  <a:cubicBezTo>
                    <a:pt x="493" y="1423"/>
                    <a:pt x="490" y="1438"/>
                    <a:pt x="490" y="1438"/>
                  </a:cubicBezTo>
                  <a:cubicBezTo>
                    <a:pt x="476" y="1443"/>
                    <a:pt x="472" y="1438"/>
                    <a:pt x="463" y="1442"/>
                  </a:cubicBezTo>
                  <a:cubicBezTo>
                    <a:pt x="459" y="1445"/>
                    <a:pt x="450" y="1433"/>
                    <a:pt x="449" y="1438"/>
                  </a:cubicBezTo>
                  <a:cubicBezTo>
                    <a:pt x="445" y="1450"/>
                    <a:pt x="500" y="1443"/>
                    <a:pt x="500" y="1443"/>
                  </a:cubicBezTo>
                  <a:cubicBezTo>
                    <a:pt x="501" y="1443"/>
                    <a:pt x="502" y="1441"/>
                    <a:pt x="503" y="1441"/>
                  </a:cubicBezTo>
                  <a:cubicBezTo>
                    <a:pt x="506" y="1441"/>
                    <a:pt x="525" y="1461"/>
                    <a:pt x="526" y="1453"/>
                  </a:cubicBezTo>
                  <a:cubicBezTo>
                    <a:pt x="527" y="1452"/>
                    <a:pt x="509" y="1442"/>
                    <a:pt x="510" y="1441"/>
                  </a:cubicBezTo>
                  <a:cubicBezTo>
                    <a:pt x="523" y="1427"/>
                    <a:pt x="532" y="1454"/>
                    <a:pt x="539" y="1458"/>
                  </a:cubicBezTo>
                  <a:cubicBezTo>
                    <a:pt x="543" y="1459"/>
                    <a:pt x="549" y="1454"/>
                    <a:pt x="554" y="1457"/>
                  </a:cubicBezTo>
                  <a:cubicBezTo>
                    <a:pt x="556" y="1458"/>
                    <a:pt x="563" y="1457"/>
                    <a:pt x="564" y="1460"/>
                  </a:cubicBezTo>
                  <a:cubicBezTo>
                    <a:pt x="566" y="1464"/>
                    <a:pt x="559" y="1463"/>
                    <a:pt x="558" y="1464"/>
                  </a:cubicBezTo>
                  <a:cubicBezTo>
                    <a:pt x="557" y="1464"/>
                    <a:pt x="558" y="1466"/>
                    <a:pt x="559" y="1466"/>
                  </a:cubicBezTo>
                  <a:cubicBezTo>
                    <a:pt x="560" y="1468"/>
                    <a:pt x="553" y="1471"/>
                    <a:pt x="555" y="1472"/>
                  </a:cubicBezTo>
                  <a:cubicBezTo>
                    <a:pt x="556" y="1473"/>
                    <a:pt x="570" y="1475"/>
                    <a:pt x="571" y="1474"/>
                  </a:cubicBezTo>
                  <a:cubicBezTo>
                    <a:pt x="572" y="1473"/>
                    <a:pt x="565" y="1465"/>
                    <a:pt x="567" y="1463"/>
                  </a:cubicBezTo>
                  <a:cubicBezTo>
                    <a:pt x="573" y="1458"/>
                    <a:pt x="589" y="1477"/>
                    <a:pt x="589" y="1477"/>
                  </a:cubicBezTo>
                  <a:cubicBezTo>
                    <a:pt x="592" y="1476"/>
                    <a:pt x="587" y="1469"/>
                    <a:pt x="589" y="1468"/>
                  </a:cubicBezTo>
                  <a:cubicBezTo>
                    <a:pt x="593" y="1467"/>
                    <a:pt x="611" y="1477"/>
                    <a:pt x="614" y="1477"/>
                  </a:cubicBezTo>
                  <a:cubicBezTo>
                    <a:pt x="620" y="1479"/>
                    <a:pt x="617" y="1466"/>
                    <a:pt x="624" y="1465"/>
                  </a:cubicBezTo>
                  <a:cubicBezTo>
                    <a:pt x="628" y="1464"/>
                    <a:pt x="642" y="1467"/>
                    <a:pt x="645" y="1464"/>
                  </a:cubicBezTo>
                  <a:cubicBezTo>
                    <a:pt x="648" y="1458"/>
                    <a:pt x="649" y="1456"/>
                    <a:pt x="656" y="1456"/>
                  </a:cubicBezTo>
                  <a:cubicBezTo>
                    <a:pt x="663" y="1455"/>
                    <a:pt x="664" y="1463"/>
                    <a:pt x="667" y="1462"/>
                  </a:cubicBezTo>
                  <a:cubicBezTo>
                    <a:pt x="671" y="1460"/>
                    <a:pt x="661" y="1452"/>
                    <a:pt x="663" y="1447"/>
                  </a:cubicBezTo>
                  <a:cubicBezTo>
                    <a:pt x="664" y="1445"/>
                    <a:pt x="671" y="1448"/>
                    <a:pt x="672" y="1449"/>
                  </a:cubicBezTo>
                  <a:cubicBezTo>
                    <a:pt x="674" y="1451"/>
                    <a:pt x="682" y="1461"/>
                    <a:pt x="683" y="1463"/>
                  </a:cubicBezTo>
                  <a:cubicBezTo>
                    <a:pt x="684" y="1465"/>
                    <a:pt x="678" y="1466"/>
                    <a:pt x="676" y="1466"/>
                  </a:cubicBezTo>
                  <a:cubicBezTo>
                    <a:pt x="667" y="1467"/>
                    <a:pt x="653" y="1460"/>
                    <a:pt x="650" y="1465"/>
                  </a:cubicBezTo>
                  <a:cubicBezTo>
                    <a:pt x="648" y="1467"/>
                    <a:pt x="649" y="1471"/>
                    <a:pt x="651" y="1472"/>
                  </a:cubicBezTo>
                  <a:cubicBezTo>
                    <a:pt x="654" y="1473"/>
                    <a:pt x="667" y="1481"/>
                    <a:pt x="663" y="1481"/>
                  </a:cubicBezTo>
                  <a:cubicBezTo>
                    <a:pt x="662" y="1481"/>
                    <a:pt x="659" y="1480"/>
                    <a:pt x="658" y="1479"/>
                  </a:cubicBezTo>
                  <a:cubicBezTo>
                    <a:pt x="648" y="1472"/>
                    <a:pt x="656" y="1484"/>
                    <a:pt x="659" y="1484"/>
                  </a:cubicBezTo>
                  <a:cubicBezTo>
                    <a:pt x="661" y="1483"/>
                    <a:pt x="663" y="1485"/>
                    <a:pt x="663" y="1486"/>
                  </a:cubicBezTo>
                  <a:cubicBezTo>
                    <a:pt x="663" y="1490"/>
                    <a:pt x="644" y="1495"/>
                    <a:pt x="629" y="1501"/>
                  </a:cubicBezTo>
                  <a:cubicBezTo>
                    <a:pt x="624" y="1503"/>
                    <a:pt x="619" y="1528"/>
                    <a:pt x="616" y="1529"/>
                  </a:cubicBezTo>
                  <a:cubicBezTo>
                    <a:pt x="613" y="1530"/>
                    <a:pt x="613" y="1523"/>
                    <a:pt x="613" y="1522"/>
                  </a:cubicBezTo>
                  <a:cubicBezTo>
                    <a:pt x="612" y="1518"/>
                    <a:pt x="608" y="1522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ubicBezTo>
                    <a:pt x="607" y="1519"/>
                    <a:pt x="610" y="1528"/>
                    <a:pt x="603" y="1521"/>
                  </a:cubicBezTo>
                  <a:cubicBezTo>
                    <a:pt x="601" y="1519"/>
                    <a:pt x="606" y="1490"/>
                    <a:pt x="604" y="1491"/>
                  </a:cubicBezTo>
                  <a:cubicBezTo>
                    <a:pt x="599" y="1492"/>
                    <a:pt x="601" y="1502"/>
                    <a:pt x="599" y="1502"/>
                  </a:cubicBezTo>
                  <a:cubicBezTo>
                    <a:pt x="593" y="1500"/>
                    <a:pt x="599" y="1481"/>
                    <a:pt x="595" y="1485"/>
                  </a:cubicBezTo>
                  <a:cubicBezTo>
                    <a:pt x="583" y="1498"/>
                    <a:pt x="599" y="1523"/>
                    <a:pt x="585" y="1523"/>
                  </a:cubicBezTo>
                  <a:cubicBezTo>
                    <a:pt x="584" y="1523"/>
                    <a:pt x="590" y="1530"/>
                    <a:pt x="587" y="1531"/>
                  </a:cubicBezTo>
                  <a:cubicBezTo>
                    <a:pt x="585" y="1531"/>
                    <a:pt x="578" y="1522"/>
                    <a:pt x="576" y="1524"/>
                  </a:cubicBezTo>
                  <a:cubicBezTo>
                    <a:pt x="572" y="1527"/>
                    <a:pt x="584" y="1538"/>
                    <a:pt x="579" y="1539"/>
                  </a:cubicBezTo>
                  <a:cubicBezTo>
                    <a:pt x="578" y="1539"/>
                    <a:pt x="571" y="1539"/>
                    <a:pt x="570" y="1538"/>
                  </a:cubicBezTo>
                  <a:cubicBezTo>
                    <a:pt x="569" y="1538"/>
                    <a:pt x="567" y="1536"/>
                    <a:pt x="566" y="1537"/>
                  </a:cubicBezTo>
                  <a:cubicBezTo>
                    <a:pt x="565" y="1539"/>
                    <a:pt x="570" y="1540"/>
                    <a:pt x="569" y="1542"/>
                  </a:cubicBezTo>
                  <a:cubicBezTo>
                    <a:pt x="569" y="1546"/>
                    <a:pt x="567" y="1545"/>
                    <a:pt x="565" y="1544"/>
                  </a:cubicBezTo>
                  <a:cubicBezTo>
                    <a:pt x="560" y="1543"/>
                    <a:pt x="561" y="1548"/>
                    <a:pt x="560" y="1548"/>
                  </a:cubicBezTo>
                  <a:cubicBezTo>
                    <a:pt x="550" y="1549"/>
                    <a:pt x="546" y="1541"/>
                    <a:pt x="539" y="1544"/>
                  </a:cubicBezTo>
                  <a:cubicBezTo>
                    <a:pt x="537" y="1545"/>
                    <a:pt x="541" y="1546"/>
                    <a:pt x="541" y="1546"/>
                  </a:cubicBezTo>
                  <a:cubicBezTo>
                    <a:pt x="548" y="1547"/>
                    <a:pt x="538" y="1550"/>
                    <a:pt x="543" y="1551"/>
                  </a:cubicBezTo>
                  <a:cubicBezTo>
                    <a:pt x="556" y="1553"/>
                    <a:pt x="539" y="1554"/>
                    <a:pt x="533" y="1554"/>
                  </a:cubicBezTo>
                  <a:cubicBezTo>
                    <a:pt x="528" y="1554"/>
                    <a:pt x="542" y="1558"/>
                    <a:pt x="539" y="1560"/>
                  </a:cubicBezTo>
                  <a:cubicBezTo>
                    <a:pt x="518" y="1575"/>
                    <a:pt x="475" y="1545"/>
                    <a:pt x="463" y="1561"/>
                  </a:cubicBezTo>
                  <a:cubicBezTo>
                    <a:pt x="460" y="1565"/>
                    <a:pt x="474" y="1557"/>
                    <a:pt x="477" y="1561"/>
                  </a:cubicBezTo>
                  <a:cubicBezTo>
                    <a:pt x="478" y="1562"/>
                    <a:pt x="480" y="1567"/>
                    <a:pt x="481" y="1567"/>
                  </a:cubicBezTo>
                  <a:cubicBezTo>
                    <a:pt x="485" y="1568"/>
                    <a:pt x="483" y="1561"/>
                    <a:pt x="487" y="1561"/>
                  </a:cubicBezTo>
                  <a:cubicBezTo>
                    <a:pt x="501" y="1565"/>
                    <a:pt x="532" y="1573"/>
                    <a:pt x="530" y="1582"/>
                  </a:cubicBezTo>
                  <a:cubicBezTo>
                    <a:pt x="530" y="1586"/>
                    <a:pt x="506" y="1590"/>
                    <a:pt x="497" y="1586"/>
                  </a:cubicBezTo>
                  <a:cubicBezTo>
                    <a:pt x="496" y="1586"/>
                    <a:pt x="483" y="1582"/>
                    <a:pt x="484" y="1583"/>
                  </a:cubicBezTo>
                  <a:cubicBezTo>
                    <a:pt x="491" y="1593"/>
                    <a:pt x="515" y="1593"/>
                    <a:pt x="516" y="1599"/>
                  </a:cubicBezTo>
                  <a:cubicBezTo>
                    <a:pt x="516" y="1603"/>
                    <a:pt x="501" y="1597"/>
                    <a:pt x="503" y="1601"/>
                  </a:cubicBezTo>
                  <a:cubicBezTo>
                    <a:pt x="504" y="1605"/>
                    <a:pt x="508" y="1604"/>
                    <a:pt x="509" y="1608"/>
                  </a:cubicBezTo>
                  <a:cubicBezTo>
                    <a:pt x="510" y="1611"/>
                    <a:pt x="513" y="1606"/>
                    <a:pt x="514" y="1605"/>
                  </a:cubicBezTo>
                  <a:cubicBezTo>
                    <a:pt x="516" y="1605"/>
                    <a:pt x="512" y="1614"/>
                    <a:pt x="520" y="1621"/>
                  </a:cubicBezTo>
                  <a:cubicBezTo>
                    <a:pt x="522" y="1624"/>
                    <a:pt x="520" y="1628"/>
                    <a:pt x="518" y="1631"/>
                  </a:cubicBezTo>
                  <a:cubicBezTo>
                    <a:pt x="513" y="1636"/>
                    <a:pt x="503" y="1621"/>
                    <a:pt x="502" y="1622"/>
                  </a:cubicBezTo>
                  <a:cubicBezTo>
                    <a:pt x="502" y="1622"/>
                    <a:pt x="515" y="1646"/>
                    <a:pt x="514" y="1648"/>
                  </a:cubicBezTo>
                  <a:cubicBezTo>
                    <a:pt x="510" y="1655"/>
                    <a:pt x="502" y="1640"/>
                    <a:pt x="501" y="1652"/>
                  </a:cubicBezTo>
                  <a:cubicBezTo>
                    <a:pt x="501" y="1652"/>
                    <a:pt x="505" y="1653"/>
                    <a:pt x="505" y="1653"/>
                  </a:cubicBezTo>
                  <a:cubicBezTo>
                    <a:pt x="516" y="1656"/>
                    <a:pt x="512" y="1661"/>
                    <a:pt x="512" y="1663"/>
                  </a:cubicBezTo>
                  <a:cubicBezTo>
                    <a:pt x="513" y="1666"/>
                    <a:pt x="517" y="1665"/>
                    <a:pt x="514" y="1668"/>
                  </a:cubicBezTo>
                  <a:cubicBezTo>
                    <a:pt x="511" y="1669"/>
                    <a:pt x="510" y="1666"/>
                    <a:pt x="510" y="1665"/>
                  </a:cubicBezTo>
                  <a:cubicBezTo>
                    <a:pt x="509" y="1662"/>
                    <a:pt x="506" y="1662"/>
                    <a:pt x="504" y="1661"/>
                  </a:cubicBezTo>
                  <a:cubicBezTo>
                    <a:pt x="501" y="1659"/>
                    <a:pt x="493" y="1650"/>
                    <a:pt x="492" y="1651"/>
                  </a:cubicBezTo>
                  <a:cubicBezTo>
                    <a:pt x="490" y="1652"/>
                    <a:pt x="498" y="1662"/>
                    <a:pt x="498" y="1663"/>
                  </a:cubicBezTo>
                  <a:cubicBezTo>
                    <a:pt x="499" y="1667"/>
                    <a:pt x="491" y="1662"/>
                    <a:pt x="494" y="1665"/>
                  </a:cubicBezTo>
                  <a:cubicBezTo>
                    <a:pt x="495" y="1668"/>
                    <a:pt x="510" y="1682"/>
                    <a:pt x="508" y="1684"/>
                  </a:cubicBezTo>
                  <a:cubicBezTo>
                    <a:pt x="506" y="1686"/>
                    <a:pt x="487" y="1663"/>
                    <a:pt x="484" y="1665"/>
                  </a:cubicBezTo>
                  <a:cubicBezTo>
                    <a:pt x="483" y="1666"/>
                    <a:pt x="504" y="1687"/>
                    <a:pt x="504" y="1687"/>
                  </a:cubicBezTo>
                  <a:cubicBezTo>
                    <a:pt x="505" y="1687"/>
                    <a:pt x="512" y="1691"/>
                    <a:pt x="510" y="1692"/>
                  </a:cubicBezTo>
                  <a:cubicBezTo>
                    <a:pt x="507" y="1694"/>
                    <a:pt x="495" y="1691"/>
                    <a:pt x="502" y="1696"/>
                  </a:cubicBezTo>
                  <a:cubicBezTo>
                    <a:pt x="503" y="1697"/>
                    <a:pt x="503" y="1698"/>
                    <a:pt x="502" y="1698"/>
                  </a:cubicBezTo>
                  <a:cubicBezTo>
                    <a:pt x="498" y="1705"/>
                    <a:pt x="497" y="1706"/>
                    <a:pt x="492" y="1711"/>
                  </a:cubicBezTo>
                  <a:cubicBezTo>
                    <a:pt x="491" y="1712"/>
                    <a:pt x="497" y="1712"/>
                    <a:pt x="499" y="1713"/>
                  </a:cubicBezTo>
                  <a:cubicBezTo>
                    <a:pt x="501" y="1714"/>
                    <a:pt x="507" y="1716"/>
                    <a:pt x="508" y="1722"/>
                  </a:cubicBezTo>
                  <a:cubicBezTo>
                    <a:pt x="510" y="1731"/>
                    <a:pt x="487" y="1746"/>
                    <a:pt x="488" y="1753"/>
                  </a:cubicBezTo>
                  <a:cubicBezTo>
                    <a:pt x="489" y="1756"/>
                    <a:pt x="485" y="1764"/>
                    <a:pt x="488" y="1768"/>
                  </a:cubicBezTo>
                  <a:cubicBezTo>
                    <a:pt x="491" y="1771"/>
                    <a:pt x="502" y="1781"/>
                    <a:pt x="499" y="1784"/>
                  </a:cubicBezTo>
                  <a:cubicBezTo>
                    <a:pt x="498" y="1785"/>
                    <a:pt x="486" y="1782"/>
                    <a:pt x="486" y="1784"/>
                  </a:cubicBezTo>
                  <a:cubicBezTo>
                    <a:pt x="486" y="1788"/>
                    <a:pt x="485" y="1800"/>
                    <a:pt x="486" y="1808"/>
                  </a:cubicBezTo>
                  <a:cubicBezTo>
                    <a:pt x="486" y="1809"/>
                    <a:pt x="481" y="1823"/>
                    <a:pt x="487" y="1818"/>
                  </a:cubicBezTo>
                  <a:cubicBezTo>
                    <a:pt x="489" y="1816"/>
                    <a:pt x="490" y="1819"/>
                    <a:pt x="489" y="1822"/>
                  </a:cubicBezTo>
                  <a:cubicBezTo>
                    <a:pt x="488" y="1825"/>
                    <a:pt x="480" y="1820"/>
                    <a:pt x="478" y="1824"/>
                  </a:cubicBezTo>
                  <a:cubicBezTo>
                    <a:pt x="477" y="1827"/>
                    <a:pt x="483" y="1833"/>
                    <a:pt x="481" y="1837"/>
                  </a:cubicBezTo>
                  <a:cubicBezTo>
                    <a:pt x="477" y="1842"/>
                    <a:pt x="473" y="1835"/>
                    <a:pt x="469" y="1839"/>
                  </a:cubicBezTo>
                  <a:cubicBezTo>
                    <a:pt x="460" y="1852"/>
                    <a:pt x="448" y="1913"/>
                    <a:pt x="434" y="1918"/>
                  </a:cubicBezTo>
                  <a:cubicBezTo>
                    <a:pt x="426" y="1921"/>
                    <a:pt x="432" y="1907"/>
                    <a:pt x="431" y="1907"/>
                  </a:cubicBezTo>
                  <a:cubicBezTo>
                    <a:pt x="426" y="1903"/>
                    <a:pt x="413" y="1908"/>
                    <a:pt x="410" y="1907"/>
                  </a:cubicBezTo>
                  <a:cubicBezTo>
                    <a:pt x="407" y="1906"/>
                    <a:pt x="413" y="1901"/>
                    <a:pt x="410" y="1901"/>
                  </a:cubicBezTo>
                  <a:cubicBezTo>
                    <a:pt x="404" y="1899"/>
                    <a:pt x="394" y="1910"/>
                    <a:pt x="390" y="1910"/>
                  </a:cubicBezTo>
                  <a:cubicBezTo>
                    <a:pt x="381" y="1911"/>
                    <a:pt x="389" y="1906"/>
                    <a:pt x="384" y="1904"/>
                  </a:cubicBezTo>
                  <a:cubicBezTo>
                    <a:pt x="384" y="1903"/>
                    <a:pt x="383" y="1905"/>
                    <a:pt x="383" y="1905"/>
                  </a:cubicBezTo>
                  <a:cubicBezTo>
                    <a:pt x="372" y="1913"/>
                    <a:pt x="345" y="1901"/>
                    <a:pt x="331" y="1907"/>
                  </a:cubicBezTo>
                  <a:cubicBezTo>
                    <a:pt x="323" y="1910"/>
                    <a:pt x="345" y="1927"/>
                    <a:pt x="333" y="1929"/>
                  </a:cubicBezTo>
                  <a:cubicBezTo>
                    <a:pt x="324" y="1930"/>
                    <a:pt x="321" y="1915"/>
                    <a:pt x="311" y="1924"/>
                  </a:cubicBezTo>
                  <a:cubicBezTo>
                    <a:pt x="258" y="1970"/>
                    <a:pt x="323" y="1991"/>
                    <a:pt x="286" y="2013"/>
                  </a:cubicBezTo>
                  <a:cubicBezTo>
                    <a:pt x="277" y="2019"/>
                    <a:pt x="255" y="2006"/>
                    <a:pt x="243" y="2008"/>
                  </a:cubicBezTo>
                  <a:cubicBezTo>
                    <a:pt x="217" y="2012"/>
                    <a:pt x="200" y="2023"/>
                    <a:pt x="172" y="2014"/>
                  </a:cubicBezTo>
                  <a:cubicBezTo>
                    <a:pt x="170" y="2013"/>
                    <a:pt x="164" y="2015"/>
                    <a:pt x="164" y="2013"/>
                  </a:cubicBezTo>
                  <a:cubicBezTo>
                    <a:pt x="164" y="2011"/>
                    <a:pt x="166" y="2010"/>
                    <a:pt x="166" y="2008"/>
                  </a:cubicBezTo>
                  <a:cubicBezTo>
                    <a:pt x="166" y="2008"/>
                    <a:pt x="177" y="2008"/>
                    <a:pt x="178" y="2005"/>
                  </a:cubicBezTo>
                  <a:cubicBezTo>
                    <a:pt x="178" y="2004"/>
                    <a:pt x="178" y="2002"/>
                    <a:pt x="177" y="2002"/>
                  </a:cubicBezTo>
                  <a:cubicBezTo>
                    <a:pt x="161" y="1989"/>
                    <a:pt x="185" y="1983"/>
                    <a:pt x="185" y="1973"/>
                  </a:cubicBezTo>
                  <a:cubicBezTo>
                    <a:pt x="185" y="1963"/>
                    <a:pt x="174" y="1968"/>
                    <a:pt x="174" y="1959"/>
                  </a:cubicBezTo>
                  <a:cubicBezTo>
                    <a:pt x="174" y="1958"/>
                    <a:pt x="142" y="1903"/>
                    <a:pt x="137" y="1895"/>
                  </a:cubicBezTo>
                  <a:cubicBezTo>
                    <a:pt x="135" y="1893"/>
                    <a:pt x="128" y="1890"/>
                    <a:pt x="130" y="1888"/>
                  </a:cubicBezTo>
                  <a:cubicBezTo>
                    <a:pt x="137" y="1882"/>
                    <a:pt x="154" y="1906"/>
                    <a:pt x="163" y="1897"/>
                  </a:cubicBezTo>
                  <a:cubicBezTo>
                    <a:pt x="170" y="1888"/>
                    <a:pt x="145" y="1877"/>
                    <a:pt x="146" y="1872"/>
                  </a:cubicBezTo>
                  <a:cubicBezTo>
                    <a:pt x="148" y="1856"/>
                    <a:pt x="191" y="1882"/>
                    <a:pt x="169" y="1840"/>
                  </a:cubicBezTo>
                  <a:cubicBezTo>
                    <a:pt x="166" y="1834"/>
                    <a:pt x="157" y="1844"/>
                    <a:pt x="154" y="1840"/>
                  </a:cubicBezTo>
                  <a:cubicBezTo>
                    <a:pt x="142" y="1823"/>
                    <a:pt x="141" y="1813"/>
                    <a:pt x="121" y="1802"/>
                  </a:cubicBezTo>
                  <a:cubicBezTo>
                    <a:pt x="118" y="1800"/>
                    <a:pt x="123" y="1791"/>
                    <a:pt x="119" y="1787"/>
                  </a:cubicBezTo>
                  <a:cubicBezTo>
                    <a:pt x="116" y="1784"/>
                    <a:pt x="103" y="1765"/>
                    <a:pt x="103" y="1764"/>
                  </a:cubicBezTo>
                  <a:cubicBezTo>
                    <a:pt x="106" y="1757"/>
                    <a:pt x="99" y="1742"/>
                    <a:pt x="96" y="1743"/>
                  </a:cubicBezTo>
                  <a:cubicBezTo>
                    <a:pt x="96" y="1744"/>
                    <a:pt x="94" y="1744"/>
                    <a:pt x="94" y="1743"/>
                  </a:cubicBezTo>
                  <a:cubicBezTo>
                    <a:pt x="93" y="1734"/>
                    <a:pt x="99" y="1738"/>
                    <a:pt x="96" y="1729"/>
                  </a:cubicBezTo>
                  <a:cubicBezTo>
                    <a:pt x="96" y="1728"/>
                    <a:pt x="96" y="1727"/>
                    <a:pt x="95" y="1726"/>
                  </a:cubicBezTo>
                  <a:cubicBezTo>
                    <a:pt x="94" y="1726"/>
                    <a:pt x="83" y="1755"/>
                    <a:pt x="81" y="1736"/>
                  </a:cubicBezTo>
                  <a:cubicBezTo>
                    <a:pt x="80" y="1719"/>
                    <a:pt x="88" y="1715"/>
                    <a:pt x="78" y="1706"/>
                  </a:cubicBezTo>
                  <a:cubicBezTo>
                    <a:pt x="78" y="1706"/>
                    <a:pt x="78" y="1705"/>
                    <a:pt x="78" y="1705"/>
                  </a:cubicBezTo>
                  <a:cubicBezTo>
                    <a:pt x="78" y="1703"/>
                    <a:pt x="74" y="1698"/>
                    <a:pt x="75" y="1696"/>
                  </a:cubicBezTo>
                  <a:cubicBezTo>
                    <a:pt x="75" y="1695"/>
                    <a:pt x="84" y="1694"/>
                    <a:pt x="83" y="1693"/>
                  </a:cubicBezTo>
                  <a:cubicBezTo>
                    <a:pt x="80" y="1689"/>
                    <a:pt x="64" y="1695"/>
                    <a:pt x="63" y="1693"/>
                  </a:cubicBezTo>
                  <a:cubicBezTo>
                    <a:pt x="63" y="1688"/>
                    <a:pt x="71" y="1684"/>
                    <a:pt x="73" y="1682"/>
                  </a:cubicBezTo>
                  <a:cubicBezTo>
                    <a:pt x="77" y="1677"/>
                    <a:pt x="62" y="1678"/>
                    <a:pt x="60" y="1673"/>
                  </a:cubicBezTo>
                  <a:cubicBezTo>
                    <a:pt x="58" y="1671"/>
                    <a:pt x="62" y="1666"/>
                    <a:pt x="64" y="1666"/>
                  </a:cubicBezTo>
                  <a:cubicBezTo>
                    <a:pt x="72" y="1664"/>
                    <a:pt x="66" y="1662"/>
                    <a:pt x="66" y="1658"/>
                  </a:cubicBezTo>
                  <a:cubicBezTo>
                    <a:pt x="66" y="1651"/>
                    <a:pt x="82" y="1625"/>
                    <a:pt x="80" y="1620"/>
                  </a:cubicBezTo>
                  <a:cubicBezTo>
                    <a:pt x="79" y="1619"/>
                    <a:pt x="71" y="1612"/>
                    <a:pt x="73" y="1608"/>
                  </a:cubicBezTo>
                  <a:cubicBezTo>
                    <a:pt x="74" y="1605"/>
                    <a:pt x="80" y="1606"/>
                    <a:pt x="80" y="1602"/>
                  </a:cubicBezTo>
                  <a:cubicBezTo>
                    <a:pt x="79" y="1600"/>
                    <a:pt x="71" y="1605"/>
                    <a:pt x="69" y="1604"/>
                  </a:cubicBezTo>
                  <a:cubicBezTo>
                    <a:pt x="63" y="1602"/>
                    <a:pt x="51" y="1618"/>
                    <a:pt x="46" y="1615"/>
                  </a:cubicBezTo>
                  <a:cubicBezTo>
                    <a:pt x="42" y="1612"/>
                    <a:pt x="57" y="1593"/>
                    <a:pt x="59" y="1592"/>
                  </a:cubicBezTo>
                  <a:cubicBezTo>
                    <a:pt x="60" y="1592"/>
                    <a:pt x="62" y="1591"/>
                    <a:pt x="60" y="1590"/>
                  </a:cubicBezTo>
                  <a:cubicBezTo>
                    <a:pt x="57" y="1587"/>
                    <a:pt x="54" y="1593"/>
                    <a:pt x="53" y="1593"/>
                  </a:cubicBezTo>
                  <a:cubicBezTo>
                    <a:pt x="51" y="1592"/>
                    <a:pt x="51" y="1588"/>
                    <a:pt x="51" y="1587"/>
                  </a:cubicBezTo>
                  <a:cubicBezTo>
                    <a:pt x="48" y="1579"/>
                    <a:pt x="48" y="1605"/>
                    <a:pt x="42" y="1611"/>
                  </a:cubicBezTo>
                  <a:cubicBezTo>
                    <a:pt x="41" y="1611"/>
                    <a:pt x="37" y="1614"/>
                    <a:pt x="36" y="1614"/>
                  </a:cubicBezTo>
                  <a:cubicBezTo>
                    <a:pt x="35" y="1612"/>
                    <a:pt x="44" y="1605"/>
                    <a:pt x="39" y="1607"/>
                  </a:cubicBezTo>
                  <a:cubicBezTo>
                    <a:pt x="33" y="1609"/>
                    <a:pt x="36" y="1602"/>
                    <a:pt x="38" y="1603"/>
                  </a:cubicBezTo>
                  <a:cubicBezTo>
                    <a:pt x="40" y="1603"/>
                    <a:pt x="39" y="1595"/>
                    <a:pt x="37" y="1596"/>
                  </a:cubicBezTo>
                  <a:cubicBezTo>
                    <a:pt x="36" y="1597"/>
                    <a:pt x="41" y="1592"/>
                    <a:pt x="39" y="1588"/>
                  </a:cubicBezTo>
                  <a:cubicBezTo>
                    <a:pt x="38" y="1586"/>
                    <a:pt x="35" y="1593"/>
                    <a:pt x="33" y="1595"/>
                  </a:cubicBezTo>
                  <a:cubicBezTo>
                    <a:pt x="30" y="1598"/>
                    <a:pt x="24" y="1603"/>
                    <a:pt x="21" y="1603"/>
                  </a:cubicBezTo>
                  <a:cubicBezTo>
                    <a:pt x="20" y="1603"/>
                    <a:pt x="21" y="1596"/>
                    <a:pt x="20" y="1595"/>
                  </a:cubicBezTo>
                  <a:cubicBezTo>
                    <a:pt x="20" y="1591"/>
                    <a:pt x="23" y="1579"/>
                    <a:pt x="27" y="1570"/>
                  </a:cubicBezTo>
                  <a:cubicBezTo>
                    <a:pt x="27" y="1570"/>
                    <a:pt x="27" y="1569"/>
                    <a:pt x="26" y="1569"/>
                  </a:cubicBezTo>
                  <a:cubicBezTo>
                    <a:pt x="14" y="1552"/>
                    <a:pt x="26" y="1541"/>
                    <a:pt x="22" y="1531"/>
                  </a:cubicBezTo>
                  <a:cubicBezTo>
                    <a:pt x="17" y="1522"/>
                    <a:pt x="0" y="1494"/>
                    <a:pt x="29" y="1494"/>
                  </a:cubicBezTo>
                  <a:cubicBezTo>
                    <a:pt x="34" y="1494"/>
                    <a:pt x="35" y="1511"/>
                    <a:pt x="39" y="1511"/>
                  </a:cubicBezTo>
                  <a:cubicBezTo>
                    <a:pt x="41" y="1521"/>
                    <a:pt x="43" y="1532"/>
                    <a:pt x="57" y="1521"/>
                  </a:cubicBezTo>
                  <a:cubicBezTo>
                    <a:pt x="72" y="1509"/>
                    <a:pt x="72" y="1491"/>
                    <a:pt x="69" y="1473"/>
                  </a:cubicBezTo>
                  <a:cubicBezTo>
                    <a:pt x="72" y="1482"/>
                    <a:pt x="76" y="1490"/>
                    <a:pt x="73" y="1495"/>
                  </a:cubicBezTo>
                  <a:cubicBezTo>
                    <a:pt x="72" y="1496"/>
                    <a:pt x="75" y="1498"/>
                    <a:pt x="75" y="1499"/>
                  </a:cubicBezTo>
                  <a:cubicBezTo>
                    <a:pt x="76" y="1503"/>
                    <a:pt x="75" y="1501"/>
                    <a:pt x="76" y="1505"/>
                  </a:cubicBezTo>
                  <a:cubicBezTo>
                    <a:pt x="78" y="1509"/>
                    <a:pt x="73" y="1508"/>
                    <a:pt x="79" y="1511"/>
                  </a:cubicBezTo>
                  <a:cubicBezTo>
                    <a:pt x="80" y="1512"/>
                    <a:pt x="80" y="1513"/>
                    <a:pt x="80" y="1515"/>
                  </a:cubicBezTo>
                  <a:cubicBezTo>
                    <a:pt x="82" y="1529"/>
                    <a:pt x="85" y="1516"/>
                    <a:pt x="81" y="1509"/>
                  </a:cubicBezTo>
                  <a:cubicBezTo>
                    <a:pt x="81" y="1508"/>
                    <a:pt x="81" y="1508"/>
                    <a:pt x="81" y="1508"/>
                  </a:cubicBezTo>
                  <a:cubicBezTo>
                    <a:pt x="81" y="1509"/>
                    <a:pt x="74" y="1470"/>
                    <a:pt x="75" y="1468"/>
                  </a:cubicBezTo>
                  <a:cubicBezTo>
                    <a:pt x="75" y="1467"/>
                    <a:pt x="76" y="1464"/>
                    <a:pt x="78" y="1464"/>
                  </a:cubicBezTo>
                  <a:cubicBezTo>
                    <a:pt x="78" y="1464"/>
                    <a:pt x="82" y="1478"/>
                    <a:pt x="85" y="1479"/>
                  </a:cubicBezTo>
                  <a:cubicBezTo>
                    <a:pt x="91" y="1482"/>
                    <a:pt x="102" y="1489"/>
                    <a:pt x="105" y="1497"/>
                  </a:cubicBezTo>
                  <a:cubicBezTo>
                    <a:pt x="105" y="1497"/>
                    <a:pt x="106" y="1513"/>
                    <a:pt x="107" y="1510"/>
                  </a:cubicBezTo>
                  <a:cubicBezTo>
                    <a:pt x="118" y="1489"/>
                    <a:pt x="89" y="1485"/>
                    <a:pt x="83" y="1470"/>
                  </a:cubicBezTo>
                  <a:cubicBezTo>
                    <a:pt x="81" y="1465"/>
                    <a:pt x="81" y="1462"/>
                    <a:pt x="84" y="1457"/>
                  </a:cubicBezTo>
                  <a:cubicBezTo>
                    <a:pt x="93" y="1442"/>
                    <a:pt x="81" y="1453"/>
                    <a:pt x="80" y="1452"/>
                  </a:cubicBezTo>
                  <a:cubicBezTo>
                    <a:pt x="77" y="1450"/>
                    <a:pt x="77" y="1441"/>
                    <a:pt x="76" y="1441"/>
                  </a:cubicBezTo>
                  <a:cubicBezTo>
                    <a:pt x="70" y="1441"/>
                    <a:pt x="76" y="1459"/>
                    <a:pt x="73" y="1464"/>
                  </a:cubicBezTo>
                  <a:cubicBezTo>
                    <a:pt x="72" y="1467"/>
                    <a:pt x="67" y="1458"/>
                    <a:pt x="65" y="1457"/>
                  </a:cubicBezTo>
                  <a:cubicBezTo>
                    <a:pt x="61" y="1443"/>
                    <a:pt x="57" y="1430"/>
                    <a:pt x="60" y="1423"/>
                  </a:cubicBezTo>
                  <a:cubicBezTo>
                    <a:pt x="65" y="1412"/>
                    <a:pt x="82" y="1418"/>
                    <a:pt x="80" y="1402"/>
                  </a:cubicBezTo>
                  <a:cubicBezTo>
                    <a:pt x="80" y="1397"/>
                    <a:pt x="74" y="1393"/>
                    <a:pt x="74" y="1388"/>
                  </a:cubicBezTo>
                  <a:cubicBezTo>
                    <a:pt x="74" y="1378"/>
                    <a:pt x="101" y="1382"/>
                    <a:pt x="105" y="1380"/>
                  </a:cubicBezTo>
                  <a:cubicBezTo>
                    <a:pt x="111" y="1378"/>
                    <a:pt x="130" y="1360"/>
                    <a:pt x="133" y="1354"/>
                  </a:cubicBezTo>
                  <a:cubicBezTo>
                    <a:pt x="134" y="1352"/>
                    <a:pt x="133" y="1349"/>
                    <a:pt x="133" y="1346"/>
                  </a:cubicBezTo>
                  <a:cubicBezTo>
                    <a:pt x="133" y="1341"/>
                    <a:pt x="133" y="1336"/>
                    <a:pt x="133" y="1331"/>
                  </a:cubicBezTo>
                  <a:cubicBezTo>
                    <a:pt x="133" y="1328"/>
                    <a:pt x="132" y="1325"/>
                    <a:pt x="133" y="1323"/>
                  </a:cubicBezTo>
                  <a:cubicBezTo>
                    <a:pt x="136" y="1313"/>
                    <a:pt x="144" y="1310"/>
                    <a:pt x="144" y="1299"/>
                  </a:cubicBezTo>
                  <a:cubicBezTo>
                    <a:pt x="144" y="1274"/>
                    <a:pt x="108" y="1247"/>
                    <a:pt x="111" y="1224"/>
                  </a:cubicBezTo>
                  <a:cubicBezTo>
                    <a:pt x="113" y="1210"/>
                    <a:pt x="140" y="1218"/>
                    <a:pt x="148" y="1212"/>
                  </a:cubicBezTo>
                  <a:cubicBezTo>
                    <a:pt x="151" y="1210"/>
                    <a:pt x="167" y="1172"/>
                    <a:pt x="166" y="1169"/>
                  </a:cubicBezTo>
                  <a:cubicBezTo>
                    <a:pt x="155" y="1140"/>
                    <a:pt x="108" y="1143"/>
                    <a:pt x="101" y="1115"/>
                  </a:cubicBezTo>
                  <a:cubicBezTo>
                    <a:pt x="94" y="1093"/>
                    <a:pt x="119" y="1061"/>
                    <a:pt x="117" y="1037"/>
                  </a:cubicBezTo>
                  <a:cubicBezTo>
                    <a:pt x="115" y="1019"/>
                    <a:pt x="95" y="1005"/>
                    <a:pt x="92" y="988"/>
                  </a:cubicBezTo>
                  <a:cubicBezTo>
                    <a:pt x="90" y="982"/>
                    <a:pt x="97" y="972"/>
                    <a:pt x="98" y="966"/>
                  </a:cubicBezTo>
                  <a:cubicBezTo>
                    <a:pt x="98" y="960"/>
                    <a:pt x="91" y="949"/>
                    <a:pt x="93" y="944"/>
                  </a:cubicBezTo>
                  <a:cubicBezTo>
                    <a:pt x="93" y="944"/>
                    <a:pt x="105" y="926"/>
                    <a:pt x="105" y="926"/>
                  </a:cubicBezTo>
                  <a:cubicBezTo>
                    <a:pt x="105" y="914"/>
                    <a:pt x="84" y="901"/>
                    <a:pt x="84" y="889"/>
                  </a:cubicBezTo>
                  <a:cubicBezTo>
                    <a:pt x="85" y="878"/>
                    <a:pt x="106" y="868"/>
                    <a:pt x="108" y="857"/>
                  </a:cubicBezTo>
                  <a:cubicBezTo>
                    <a:pt x="109" y="852"/>
                    <a:pt x="102" y="848"/>
                    <a:pt x="102" y="842"/>
                  </a:cubicBezTo>
                  <a:cubicBezTo>
                    <a:pt x="103" y="827"/>
                    <a:pt x="130" y="803"/>
                    <a:pt x="156" y="786"/>
                  </a:cubicBezTo>
                  <a:cubicBezTo>
                    <a:pt x="155" y="791"/>
                    <a:pt x="173" y="792"/>
                    <a:pt x="175" y="799"/>
                  </a:cubicBezTo>
                  <a:cubicBezTo>
                    <a:pt x="176" y="800"/>
                    <a:pt x="183" y="815"/>
                    <a:pt x="184" y="815"/>
                  </a:cubicBezTo>
                  <a:cubicBezTo>
                    <a:pt x="194" y="817"/>
                    <a:pt x="183" y="798"/>
                    <a:pt x="180" y="797"/>
                  </a:cubicBezTo>
                  <a:cubicBezTo>
                    <a:pt x="179" y="796"/>
                    <a:pt x="179" y="796"/>
                    <a:pt x="179" y="796"/>
                  </a:cubicBezTo>
                  <a:cubicBezTo>
                    <a:pt x="178" y="795"/>
                    <a:pt x="171" y="783"/>
                    <a:pt x="164" y="781"/>
                  </a:cubicBezTo>
                  <a:cubicBezTo>
                    <a:pt x="166" y="780"/>
                    <a:pt x="167" y="779"/>
                    <a:pt x="169" y="778"/>
                  </a:cubicBezTo>
                  <a:cubicBezTo>
                    <a:pt x="170" y="781"/>
                    <a:pt x="171" y="783"/>
                    <a:pt x="172" y="781"/>
                  </a:cubicBezTo>
                  <a:cubicBezTo>
                    <a:pt x="172" y="780"/>
                    <a:pt x="172" y="780"/>
                    <a:pt x="172" y="780"/>
                  </a:cubicBezTo>
                  <a:cubicBezTo>
                    <a:pt x="172" y="778"/>
                    <a:pt x="173" y="777"/>
                    <a:pt x="173" y="776"/>
                  </a:cubicBezTo>
                  <a:cubicBezTo>
                    <a:pt x="184" y="770"/>
                    <a:pt x="194" y="766"/>
                    <a:pt x="200" y="765"/>
                  </a:cubicBezTo>
                  <a:cubicBezTo>
                    <a:pt x="222" y="763"/>
                    <a:pt x="255" y="784"/>
                    <a:pt x="272" y="771"/>
                  </a:cubicBezTo>
                  <a:cubicBezTo>
                    <a:pt x="279" y="776"/>
                    <a:pt x="285" y="779"/>
                    <a:pt x="286" y="780"/>
                  </a:cubicBezTo>
                  <a:cubicBezTo>
                    <a:pt x="289" y="782"/>
                    <a:pt x="276" y="785"/>
                    <a:pt x="277" y="786"/>
                  </a:cubicBezTo>
                  <a:cubicBezTo>
                    <a:pt x="277" y="788"/>
                    <a:pt x="281" y="786"/>
                    <a:pt x="282" y="786"/>
                  </a:cubicBezTo>
                  <a:cubicBezTo>
                    <a:pt x="292" y="783"/>
                    <a:pt x="315" y="800"/>
                    <a:pt x="318" y="810"/>
                  </a:cubicBezTo>
                  <a:cubicBezTo>
                    <a:pt x="319" y="811"/>
                    <a:pt x="319" y="811"/>
                    <a:pt x="319" y="811"/>
                  </a:cubicBezTo>
                  <a:cubicBezTo>
                    <a:pt x="346" y="817"/>
                    <a:pt x="298" y="785"/>
                    <a:pt x="274" y="769"/>
                  </a:cubicBezTo>
                  <a:cubicBezTo>
                    <a:pt x="278" y="766"/>
                    <a:pt x="280" y="760"/>
                    <a:pt x="282" y="753"/>
                  </a:cubicBezTo>
                  <a:cubicBezTo>
                    <a:pt x="293" y="690"/>
                    <a:pt x="255" y="720"/>
                    <a:pt x="240" y="695"/>
                  </a:cubicBezTo>
                  <a:cubicBezTo>
                    <a:pt x="239" y="693"/>
                    <a:pt x="241" y="689"/>
                    <a:pt x="243" y="684"/>
                  </a:cubicBezTo>
                  <a:cubicBezTo>
                    <a:pt x="249" y="688"/>
                    <a:pt x="273" y="700"/>
                    <a:pt x="277" y="701"/>
                  </a:cubicBezTo>
                  <a:cubicBezTo>
                    <a:pt x="274" y="700"/>
                    <a:pt x="288" y="719"/>
                    <a:pt x="299" y="723"/>
                  </a:cubicBezTo>
                  <a:cubicBezTo>
                    <a:pt x="317" y="729"/>
                    <a:pt x="352" y="724"/>
                    <a:pt x="366" y="742"/>
                  </a:cubicBezTo>
                  <a:cubicBezTo>
                    <a:pt x="369" y="746"/>
                    <a:pt x="386" y="762"/>
                    <a:pt x="388" y="771"/>
                  </a:cubicBezTo>
                  <a:cubicBezTo>
                    <a:pt x="388" y="775"/>
                    <a:pt x="384" y="771"/>
                    <a:pt x="385" y="776"/>
                  </a:cubicBezTo>
                  <a:cubicBezTo>
                    <a:pt x="386" y="778"/>
                    <a:pt x="403" y="786"/>
                    <a:pt x="399" y="789"/>
                  </a:cubicBezTo>
                  <a:cubicBezTo>
                    <a:pt x="397" y="790"/>
                    <a:pt x="395" y="785"/>
                    <a:pt x="393" y="785"/>
                  </a:cubicBezTo>
                  <a:cubicBezTo>
                    <a:pt x="392" y="785"/>
                    <a:pt x="403" y="797"/>
                    <a:pt x="387" y="790"/>
                  </a:cubicBezTo>
                  <a:cubicBezTo>
                    <a:pt x="384" y="788"/>
                    <a:pt x="378" y="779"/>
                    <a:pt x="379" y="788"/>
                  </a:cubicBezTo>
                  <a:cubicBezTo>
                    <a:pt x="379" y="793"/>
                    <a:pt x="400" y="797"/>
                    <a:pt x="405" y="801"/>
                  </a:cubicBezTo>
                  <a:cubicBezTo>
                    <a:pt x="408" y="804"/>
                    <a:pt x="403" y="818"/>
                    <a:pt x="404" y="819"/>
                  </a:cubicBezTo>
                  <a:cubicBezTo>
                    <a:pt x="406" y="820"/>
                    <a:pt x="407" y="816"/>
                    <a:pt x="408" y="816"/>
                  </a:cubicBezTo>
                  <a:cubicBezTo>
                    <a:pt x="413" y="815"/>
                    <a:pt x="408" y="801"/>
                    <a:pt x="423" y="809"/>
                  </a:cubicBezTo>
                  <a:cubicBezTo>
                    <a:pt x="426" y="810"/>
                    <a:pt x="422" y="814"/>
                    <a:pt x="423" y="816"/>
                  </a:cubicBezTo>
                  <a:cubicBezTo>
                    <a:pt x="424" y="817"/>
                    <a:pt x="430" y="820"/>
                    <a:pt x="432" y="819"/>
                  </a:cubicBezTo>
                  <a:cubicBezTo>
                    <a:pt x="432" y="819"/>
                    <a:pt x="426" y="809"/>
                    <a:pt x="425" y="808"/>
                  </a:cubicBezTo>
                  <a:cubicBezTo>
                    <a:pt x="423" y="803"/>
                    <a:pt x="414" y="805"/>
                    <a:pt x="410" y="802"/>
                  </a:cubicBezTo>
                  <a:cubicBezTo>
                    <a:pt x="404" y="797"/>
                    <a:pt x="405" y="790"/>
                    <a:pt x="401" y="783"/>
                  </a:cubicBezTo>
                  <a:cubicBezTo>
                    <a:pt x="399" y="782"/>
                    <a:pt x="381" y="735"/>
                    <a:pt x="381" y="732"/>
                  </a:cubicBezTo>
                  <a:cubicBezTo>
                    <a:pt x="381" y="730"/>
                    <a:pt x="362" y="726"/>
                    <a:pt x="361" y="728"/>
                  </a:cubicBezTo>
                  <a:cubicBezTo>
                    <a:pt x="361" y="730"/>
                    <a:pt x="390" y="740"/>
                    <a:pt x="378" y="750"/>
                  </a:cubicBezTo>
                  <a:cubicBezTo>
                    <a:pt x="377" y="752"/>
                    <a:pt x="374" y="746"/>
                    <a:pt x="373" y="746"/>
                  </a:cubicBezTo>
                  <a:cubicBezTo>
                    <a:pt x="370" y="739"/>
                    <a:pt x="362" y="731"/>
                    <a:pt x="355" y="729"/>
                  </a:cubicBezTo>
                  <a:cubicBezTo>
                    <a:pt x="330" y="723"/>
                    <a:pt x="305" y="724"/>
                    <a:pt x="285" y="708"/>
                  </a:cubicBezTo>
                  <a:cubicBezTo>
                    <a:pt x="282" y="705"/>
                    <a:pt x="285" y="702"/>
                    <a:pt x="283" y="700"/>
                  </a:cubicBezTo>
                  <a:cubicBezTo>
                    <a:pt x="283" y="699"/>
                    <a:pt x="257" y="683"/>
                    <a:pt x="253" y="683"/>
                  </a:cubicBezTo>
                  <a:cubicBezTo>
                    <a:pt x="251" y="683"/>
                    <a:pt x="247" y="682"/>
                    <a:pt x="245" y="682"/>
                  </a:cubicBezTo>
                  <a:cubicBezTo>
                    <a:pt x="258" y="660"/>
                    <a:pt x="292" y="620"/>
                    <a:pt x="297" y="609"/>
                  </a:cubicBezTo>
                  <a:cubicBezTo>
                    <a:pt x="299" y="604"/>
                    <a:pt x="298" y="597"/>
                    <a:pt x="301" y="592"/>
                  </a:cubicBezTo>
                  <a:cubicBezTo>
                    <a:pt x="301" y="592"/>
                    <a:pt x="313" y="582"/>
                    <a:pt x="313" y="582"/>
                  </a:cubicBezTo>
                  <a:cubicBezTo>
                    <a:pt x="314" y="578"/>
                    <a:pt x="313" y="574"/>
                    <a:pt x="313" y="571"/>
                  </a:cubicBezTo>
                  <a:cubicBezTo>
                    <a:pt x="313" y="571"/>
                    <a:pt x="313" y="549"/>
                    <a:pt x="313" y="549"/>
                  </a:cubicBezTo>
                  <a:cubicBezTo>
                    <a:pt x="313" y="546"/>
                    <a:pt x="312" y="542"/>
                    <a:pt x="313" y="538"/>
                  </a:cubicBezTo>
                  <a:cubicBezTo>
                    <a:pt x="315" y="526"/>
                    <a:pt x="324" y="515"/>
                    <a:pt x="325" y="503"/>
                  </a:cubicBezTo>
                  <a:cubicBezTo>
                    <a:pt x="326" y="494"/>
                    <a:pt x="308" y="464"/>
                    <a:pt x="313" y="457"/>
                  </a:cubicBezTo>
                  <a:cubicBezTo>
                    <a:pt x="314" y="455"/>
                    <a:pt x="394" y="454"/>
                    <a:pt x="399" y="434"/>
                  </a:cubicBezTo>
                  <a:cubicBezTo>
                    <a:pt x="401" y="425"/>
                    <a:pt x="388" y="412"/>
                    <a:pt x="390" y="403"/>
                  </a:cubicBezTo>
                  <a:cubicBezTo>
                    <a:pt x="392" y="397"/>
                    <a:pt x="409" y="390"/>
                    <a:pt x="414" y="385"/>
                  </a:cubicBezTo>
                  <a:cubicBezTo>
                    <a:pt x="427" y="373"/>
                    <a:pt x="435" y="354"/>
                    <a:pt x="448" y="342"/>
                  </a:cubicBezTo>
                  <a:cubicBezTo>
                    <a:pt x="456" y="334"/>
                    <a:pt x="471" y="330"/>
                    <a:pt x="478" y="321"/>
                  </a:cubicBezTo>
                  <a:cubicBezTo>
                    <a:pt x="500" y="292"/>
                    <a:pt x="452" y="273"/>
                    <a:pt x="454" y="259"/>
                  </a:cubicBezTo>
                  <a:cubicBezTo>
                    <a:pt x="457" y="243"/>
                    <a:pt x="478" y="248"/>
                    <a:pt x="485" y="238"/>
                  </a:cubicBezTo>
                  <a:cubicBezTo>
                    <a:pt x="498" y="221"/>
                    <a:pt x="500" y="200"/>
                    <a:pt x="512" y="184"/>
                  </a:cubicBezTo>
                  <a:cubicBezTo>
                    <a:pt x="516" y="178"/>
                    <a:pt x="544" y="162"/>
                    <a:pt x="555" y="157"/>
                  </a:cubicBezTo>
                  <a:cubicBezTo>
                    <a:pt x="555" y="162"/>
                    <a:pt x="583" y="179"/>
                    <a:pt x="584" y="184"/>
                  </a:cubicBezTo>
                  <a:cubicBezTo>
                    <a:pt x="585" y="185"/>
                    <a:pt x="585" y="186"/>
                    <a:pt x="586" y="187"/>
                  </a:cubicBezTo>
                  <a:cubicBezTo>
                    <a:pt x="587" y="188"/>
                    <a:pt x="587" y="188"/>
                    <a:pt x="587" y="189"/>
                  </a:cubicBezTo>
                  <a:cubicBezTo>
                    <a:pt x="588" y="189"/>
                    <a:pt x="588" y="189"/>
                    <a:pt x="588" y="189"/>
                  </a:cubicBezTo>
                  <a:cubicBezTo>
                    <a:pt x="594" y="192"/>
                    <a:pt x="588" y="174"/>
                    <a:pt x="582" y="174"/>
                  </a:cubicBezTo>
                  <a:cubicBezTo>
                    <a:pt x="565" y="172"/>
                    <a:pt x="587" y="168"/>
                    <a:pt x="574" y="162"/>
                  </a:cubicBezTo>
                  <a:cubicBezTo>
                    <a:pt x="571" y="161"/>
                    <a:pt x="568" y="168"/>
                    <a:pt x="565" y="162"/>
                  </a:cubicBezTo>
                  <a:cubicBezTo>
                    <a:pt x="565" y="161"/>
                    <a:pt x="562" y="156"/>
                    <a:pt x="559" y="155"/>
                  </a:cubicBezTo>
                  <a:cubicBezTo>
                    <a:pt x="559" y="155"/>
                    <a:pt x="559" y="155"/>
                    <a:pt x="560" y="155"/>
                  </a:cubicBezTo>
                  <a:cubicBezTo>
                    <a:pt x="573" y="150"/>
                    <a:pt x="602" y="182"/>
                    <a:pt x="615" y="176"/>
                  </a:cubicBezTo>
                  <a:cubicBezTo>
                    <a:pt x="655" y="157"/>
                    <a:pt x="621" y="101"/>
                    <a:pt x="632" y="89"/>
                  </a:cubicBezTo>
                  <a:cubicBezTo>
                    <a:pt x="654" y="67"/>
                    <a:pt x="776" y="122"/>
                    <a:pt x="797" y="116"/>
                  </a:cubicBezTo>
                  <a:cubicBezTo>
                    <a:pt x="800" y="115"/>
                    <a:pt x="820" y="97"/>
                    <a:pt x="820" y="97"/>
                  </a:cubicBezTo>
                  <a:cubicBezTo>
                    <a:pt x="831" y="84"/>
                    <a:pt x="799" y="89"/>
                    <a:pt x="799" y="81"/>
                  </a:cubicBezTo>
                  <a:cubicBezTo>
                    <a:pt x="799" y="77"/>
                    <a:pt x="831" y="57"/>
                    <a:pt x="835" y="45"/>
                  </a:cubicBezTo>
                  <a:cubicBezTo>
                    <a:pt x="838" y="29"/>
                    <a:pt x="827" y="17"/>
                    <a:pt x="817" y="7"/>
                  </a:cubicBezTo>
                  <a:cubicBezTo>
                    <a:pt x="815" y="6"/>
                    <a:pt x="810" y="4"/>
                    <a:pt x="812" y="2"/>
                  </a:cubicBezTo>
                  <a:cubicBezTo>
                    <a:pt x="815" y="0"/>
                    <a:pt x="819" y="2"/>
                    <a:pt x="823" y="2"/>
                  </a:cubicBezTo>
                  <a:cubicBezTo>
                    <a:pt x="827" y="2"/>
                    <a:pt x="855" y="2"/>
                    <a:pt x="859" y="2"/>
                  </a:cubicBezTo>
                  <a:cubicBezTo>
                    <a:pt x="867" y="6"/>
                    <a:pt x="885" y="11"/>
                    <a:pt x="887" y="18"/>
                  </a:cubicBezTo>
                  <a:cubicBezTo>
                    <a:pt x="887" y="24"/>
                    <a:pt x="874" y="16"/>
                    <a:pt x="884" y="26"/>
                  </a:cubicBezTo>
                  <a:cubicBezTo>
                    <a:pt x="890" y="33"/>
                    <a:pt x="974" y="85"/>
                    <a:pt x="986" y="92"/>
                  </a:cubicBezTo>
                  <a:cubicBezTo>
                    <a:pt x="1016" y="109"/>
                    <a:pt x="1055" y="98"/>
                    <a:pt x="1081" y="129"/>
                  </a:cubicBezTo>
                  <a:cubicBezTo>
                    <a:pt x="1085" y="133"/>
                    <a:pt x="1083" y="145"/>
                    <a:pt x="1084" y="147"/>
                  </a:cubicBezTo>
                  <a:cubicBezTo>
                    <a:pt x="1086" y="149"/>
                    <a:pt x="1089" y="146"/>
                    <a:pt x="1091" y="146"/>
                  </a:cubicBezTo>
                  <a:cubicBezTo>
                    <a:pt x="1101" y="144"/>
                    <a:pt x="1102" y="150"/>
                    <a:pt x="1109" y="157"/>
                  </a:cubicBezTo>
                  <a:cubicBezTo>
                    <a:pt x="1115" y="165"/>
                    <a:pt x="1137" y="171"/>
                    <a:pt x="1130" y="178"/>
                  </a:cubicBezTo>
                  <a:cubicBezTo>
                    <a:pt x="1126" y="182"/>
                    <a:pt x="1118" y="181"/>
                    <a:pt x="1115" y="186"/>
                  </a:cubicBezTo>
                  <a:cubicBezTo>
                    <a:pt x="1106" y="201"/>
                    <a:pt x="1124" y="219"/>
                    <a:pt x="1120" y="233"/>
                  </a:cubicBezTo>
                  <a:cubicBezTo>
                    <a:pt x="1118" y="238"/>
                    <a:pt x="1105" y="244"/>
                    <a:pt x="1109" y="251"/>
                  </a:cubicBezTo>
                  <a:cubicBezTo>
                    <a:pt x="1115" y="260"/>
                    <a:pt x="1130" y="251"/>
                    <a:pt x="1139" y="259"/>
                  </a:cubicBezTo>
                  <a:cubicBezTo>
                    <a:pt x="1150" y="268"/>
                    <a:pt x="1122" y="289"/>
                    <a:pt x="1121" y="298"/>
                  </a:cubicBezTo>
                  <a:cubicBezTo>
                    <a:pt x="1120" y="318"/>
                    <a:pt x="1163" y="334"/>
                    <a:pt x="1160" y="354"/>
                  </a:cubicBezTo>
                  <a:cubicBezTo>
                    <a:pt x="1160" y="354"/>
                    <a:pt x="1151" y="362"/>
                    <a:pt x="1151" y="362"/>
                  </a:cubicBezTo>
                  <a:cubicBezTo>
                    <a:pt x="1147" y="370"/>
                    <a:pt x="1153" y="383"/>
                    <a:pt x="1150" y="390"/>
                  </a:cubicBezTo>
                  <a:cubicBezTo>
                    <a:pt x="1144" y="403"/>
                    <a:pt x="1129" y="398"/>
                    <a:pt x="1129" y="416"/>
                  </a:cubicBezTo>
                  <a:close/>
                  <a:moveTo>
                    <a:pt x="465" y="1611"/>
                  </a:moveTo>
                  <a:cubicBezTo>
                    <a:pt x="466" y="1614"/>
                    <a:pt x="489" y="1615"/>
                    <a:pt x="488" y="1615"/>
                  </a:cubicBezTo>
                  <a:cubicBezTo>
                    <a:pt x="485" y="1615"/>
                    <a:pt x="481" y="1612"/>
                    <a:pt x="479" y="1610"/>
                  </a:cubicBezTo>
                  <a:cubicBezTo>
                    <a:pt x="479" y="1610"/>
                    <a:pt x="479" y="1610"/>
                    <a:pt x="479" y="1610"/>
                  </a:cubicBezTo>
                  <a:cubicBezTo>
                    <a:pt x="476" y="1606"/>
                    <a:pt x="464" y="1606"/>
                    <a:pt x="465" y="1611"/>
                  </a:cubicBezTo>
                  <a:close/>
                  <a:moveTo>
                    <a:pt x="526" y="1502"/>
                  </a:moveTo>
                  <a:cubicBezTo>
                    <a:pt x="529" y="1503"/>
                    <a:pt x="522" y="1521"/>
                    <a:pt x="529" y="1509"/>
                  </a:cubicBezTo>
                  <a:cubicBezTo>
                    <a:pt x="530" y="1508"/>
                    <a:pt x="530" y="1508"/>
                    <a:pt x="530" y="1508"/>
                  </a:cubicBezTo>
                  <a:cubicBezTo>
                    <a:pt x="535" y="1506"/>
                    <a:pt x="546" y="1516"/>
                    <a:pt x="547" y="1510"/>
                  </a:cubicBezTo>
                  <a:cubicBezTo>
                    <a:pt x="548" y="1499"/>
                    <a:pt x="533" y="1505"/>
                    <a:pt x="523" y="1497"/>
                  </a:cubicBezTo>
                  <a:cubicBezTo>
                    <a:pt x="522" y="1496"/>
                    <a:pt x="524" y="1502"/>
                    <a:pt x="526" y="1502"/>
                  </a:cubicBezTo>
                  <a:close/>
                  <a:moveTo>
                    <a:pt x="674" y="1389"/>
                  </a:moveTo>
                  <a:cubicBezTo>
                    <a:pt x="677" y="1390"/>
                    <a:pt x="684" y="1390"/>
                    <a:pt x="684" y="1386"/>
                  </a:cubicBezTo>
                  <a:cubicBezTo>
                    <a:pt x="684" y="1386"/>
                    <a:pt x="684" y="1386"/>
                    <a:pt x="684" y="1386"/>
                  </a:cubicBezTo>
                  <a:cubicBezTo>
                    <a:pt x="680" y="1382"/>
                    <a:pt x="659" y="1386"/>
                    <a:pt x="674" y="1389"/>
                  </a:cubicBezTo>
                  <a:close/>
                  <a:moveTo>
                    <a:pt x="668" y="247"/>
                  </a:moveTo>
                  <a:cubicBezTo>
                    <a:pt x="679" y="251"/>
                    <a:pt x="714" y="268"/>
                    <a:pt x="725" y="260"/>
                  </a:cubicBezTo>
                  <a:cubicBezTo>
                    <a:pt x="727" y="258"/>
                    <a:pt x="719" y="259"/>
                    <a:pt x="716" y="259"/>
                  </a:cubicBezTo>
                  <a:cubicBezTo>
                    <a:pt x="714" y="258"/>
                    <a:pt x="714" y="258"/>
                    <a:pt x="714" y="258"/>
                  </a:cubicBezTo>
                  <a:cubicBezTo>
                    <a:pt x="710" y="258"/>
                    <a:pt x="667" y="241"/>
                    <a:pt x="666" y="244"/>
                  </a:cubicBezTo>
                  <a:cubicBezTo>
                    <a:pt x="665" y="245"/>
                    <a:pt x="666" y="247"/>
                    <a:pt x="668" y="247"/>
                  </a:cubicBezTo>
                  <a:close/>
                  <a:moveTo>
                    <a:pt x="509" y="275"/>
                  </a:moveTo>
                  <a:cubicBezTo>
                    <a:pt x="511" y="273"/>
                    <a:pt x="496" y="265"/>
                    <a:pt x="507" y="265"/>
                  </a:cubicBezTo>
                  <a:cubicBezTo>
                    <a:pt x="508" y="265"/>
                    <a:pt x="517" y="269"/>
                    <a:pt x="516" y="266"/>
                  </a:cubicBezTo>
                  <a:cubicBezTo>
                    <a:pt x="514" y="261"/>
                    <a:pt x="501" y="262"/>
                    <a:pt x="497" y="260"/>
                  </a:cubicBezTo>
                  <a:cubicBezTo>
                    <a:pt x="495" y="259"/>
                    <a:pt x="490" y="255"/>
                    <a:pt x="492" y="254"/>
                  </a:cubicBezTo>
                  <a:cubicBezTo>
                    <a:pt x="501" y="251"/>
                    <a:pt x="549" y="247"/>
                    <a:pt x="552" y="236"/>
                  </a:cubicBezTo>
                  <a:cubicBezTo>
                    <a:pt x="552" y="235"/>
                    <a:pt x="543" y="234"/>
                    <a:pt x="542" y="233"/>
                  </a:cubicBezTo>
                  <a:cubicBezTo>
                    <a:pt x="536" y="233"/>
                    <a:pt x="546" y="238"/>
                    <a:pt x="536" y="239"/>
                  </a:cubicBezTo>
                  <a:cubicBezTo>
                    <a:pt x="528" y="240"/>
                    <a:pt x="511" y="229"/>
                    <a:pt x="503" y="235"/>
                  </a:cubicBezTo>
                  <a:cubicBezTo>
                    <a:pt x="500" y="239"/>
                    <a:pt x="527" y="241"/>
                    <a:pt x="527" y="242"/>
                  </a:cubicBezTo>
                  <a:cubicBezTo>
                    <a:pt x="520" y="252"/>
                    <a:pt x="486" y="246"/>
                    <a:pt x="480" y="248"/>
                  </a:cubicBezTo>
                  <a:cubicBezTo>
                    <a:pt x="470" y="251"/>
                    <a:pt x="490" y="258"/>
                    <a:pt x="491" y="260"/>
                  </a:cubicBezTo>
                  <a:cubicBezTo>
                    <a:pt x="492" y="262"/>
                    <a:pt x="473" y="260"/>
                    <a:pt x="473" y="263"/>
                  </a:cubicBezTo>
                  <a:cubicBezTo>
                    <a:pt x="473" y="264"/>
                    <a:pt x="506" y="281"/>
                    <a:pt x="509" y="275"/>
                  </a:cubicBezTo>
                  <a:close/>
                  <a:moveTo>
                    <a:pt x="483" y="328"/>
                  </a:moveTo>
                  <a:cubicBezTo>
                    <a:pt x="484" y="327"/>
                    <a:pt x="489" y="328"/>
                    <a:pt x="491" y="329"/>
                  </a:cubicBezTo>
                  <a:cubicBezTo>
                    <a:pt x="504" y="331"/>
                    <a:pt x="482" y="334"/>
                    <a:pt x="490" y="334"/>
                  </a:cubicBezTo>
                  <a:cubicBezTo>
                    <a:pt x="496" y="334"/>
                    <a:pt x="507" y="336"/>
                    <a:pt x="513" y="339"/>
                  </a:cubicBezTo>
                  <a:cubicBezTo>
                    <a:pt x="513" y="339"/>
                    <a:pt x="513" y="339"/>
                    <a:pt x="513" y="339"/>
                  </a:cubicBezTo>
                  <a:cubicBezTo>
                    <a:pt x="515" y="340"/>
                    <a:pt x="483" y="314"/>
                    <a:pt x="477" y="324"/>
                  </a:cubicBezTo>
                  <a:cubicBezTo>
                    <a:pt x="474" y="328"/>
                    <a:pt x="482" y="330"/>
                    <a:pt x="483" y="328"/>
                  </a:cubicBezTo>
                  <a:close/>
                  <a:moveTo>
                    <a:pt x="472" y="345"/>
                  </a:moveTo>
                  <a:cubicBezTo>
                    <a:pt x="472" y="345"/>
                    <a:pt x="472" y="345"/>
                    <a:pt x="472" y="345"/>
                  </a:cubicBezTo>
                  <a:cubicBezTo>
                    <a:pt x="484" y="343"/>
                    <a:pt x="497" y="344"/>
                    <a:pt x="509" y="346"/>
                  </a:cubicBezTo>
                  <a:cubicBezTo>
                    <a:pt x="509" y="346"/>
                    <a:pt x="528" y="348"/>
                    <a:pt x="527" y="348"/>
                  </a:cubicBezTo>
                  <a:cubicBezTo>
                    <a:pt x="527" y="347"/>
                    <a:pt x="527" y="347"/>
                    <a:pt x="526" y="347"/>
                  </a:cubicBezTo>
                  <a:cubicBezTo>
                    <a:pt x="517" y="343"/>
                    <a:pt x="431" y="329"/>
                    <a:pt x="472" y="345"/>
                  </a:cubicBezTo>
                  <a:close/>
                  <a:moveTo>
                    <a:pt x="486" y="401"/>
                  </a:moveTo>
                  <a:cubicBezTo>
                    <a:pt x="482" y="398"/>
                    <a:pt x="476" y="381"/>
                    <a:pt x="473" y="382"/>
                  </a:cubicBezTo>
                  <a:cubicBezTo>
                    <a:pt x="458" y="386"/>
                    <a:pt x="485" y="407"/>
                    <a:pt x="505" y="411"/>
                  </a:cubicBezTo>
                  <a:cubicBezTo>
                    <a:pt x="508" y="411"/>
                    <a:pt x="508" y="411"/>
                    <a:pt x="508" y="411"/>
                  </a:cubicBezTo>
                  <a:cubicBezTo>
                    <a:pt x="535" y="411"/>
                    <a:pt x="495" y="406"/>
                    <a:pt x="486" y="401"/>
                  </a:cubicBezTo>
                  <a:close/>
                  <a:moveTo>
                    <a:pt x="460" y="605"/>
                  </a:moveTo>
                  <a:cubicBezTo>
                    <a:pt x="465" y="608"/>
                    <a:pt x="473" y="614"/>
                    <a:pt x="475" y="617"/>
                  </a:cubicBezTo>
                  <a:cubicBezTo>
                    <a:pt x="481" y="623"/>
                    <a:pt x="467" y="614"/>
                    <a:pt x="465" y="619"/>
                  </a:cubicBezTo>
                  <a:cubicBezTo>
                    <a:pt x="465" y="620"/>
                    <a:pt x="474" y="622"/>
                    <a:pt x="475" y="623"/>
                  </a:cubicBezTo>
                  <a:cubicBezTo>
                    <a:pt x="484" y="625"/>
                    <a:pt x="486" y="643"/>
                    <a:pt x="494" y="648"/>
                  </a:cubicBezTo>
                  <a:cubicBezTo>
                    <a:pt x="500" y="652"/>
                    <a:pt x="515" y="653"/>
                    <a:pt x="516" y="651"/>
                  </a:cubicBezTo>
                  <a:cubicBezTo>
                    <a:pt x="517" y="651"/>
                    <a:pt x="507" y="648"/>
                    <a:pt x="505" y="646"/>
                  </a:cubicBezTo>
                  <a:cubicBezTo>
                    <a:pt x="498" y="636"/>
                    <a:pt x="504" y="655"/>
                    <a:pt x="496" y="645"/>
                  </a:cubicBezTo>
                  <a:cubicBezTo>
                    <a:pt x="484" y="627"/>
                    <a:pt x="483" y="613"/>
                    <a:pt x="465" y="604"/>
                  </a:cubicBezTo>
                  <a:cubicBezTo>
                    <a:pt x="463" y="603"/>
                    <a:pt x="455" y="598"/>
                    <a:pt x="454" y="599"/>
                  </a:cubicBezTo>
                  <a:cubicBezTo>
                    <a:pt x="453" y="599"/>
                    <a:pt x="459" y="605"/>
                    <a:pt x="460" y="605"/>
                  </a:cubicBezTo>
                  <a:close/>
                  <a:moveTo>
                    <a:pt x="396" y="533"/>
                  </a:moveTo>
                  <a:cubicBezTo>
                    <a:pt x="402" y="537"/>
                    <a:pt x="402" y="544"/>
                    <a:pt x="406" y="549"/>
                  </a:cubicBezTo>
                  <a:cubicBezTo>
                    <a:pt x="407" y="549"/>
                    <a:pt x="407" y="549"/>
                    <a:pt x="407" y="549"/>
                  </a:cubicBezTo>
                  <a:cubicBezTo>
                    <a:pt x="423" y="556"/>
                    <a:pt x="402" y="532"/>
                    <a:pt x="395" y="528"/>
                  </a:cubicBezTo>
                  <a:cubicBezTo>
                    <a:pt x="376" y="518"/>
                    <a:pt x="383" y="524"/>
                    <a:pt x="396" y="533"/>
                  </a:cubicBezTo>
                  <a:close/>
                  <a:moveTo>
                    <a:pt x="375" y="541"/>
                  </a:moveTo>
                  <a:cubicBezTo>
                    <a:pt x="376" y="545"/>
                    <a:pt x="394" y="559"/>
                    <a:pt x="399" y="559"/>
                  </a:cubicBezTo>
                  <a:cubicBezTo>
                    <a:pt x="406" y="560"/>
                    <a:pt x="414" y="558"/>
                    <a:pt x="422" y="559"/>
                  </a:cubicBezTo>
                  <a:cubicBezTo>
                    <a:pt x="423" y="559"/>
                    <a:pt x="429" y="559"/>
                    <a:pt x="429" y="558"/>
                  </a:cubicBezTo>
                  <a:cubicBezTo>
                    <a:pt x="428" y="554"/>
                    <a:pt x="405" y="557"/>
                    <a:pt x="402" y="556"/>
                  </a:cubicBezTo>
                  <a:cubicBezTo>
                    <a:pt x="392" y="553"/>
                    <a:pt x="386" y="531"/>
                    <a:pt x="370" y="531"/>
                  </a:cubicBezTo>
                  <a:cubicBezTo>
                    <a:pt x="367" y="530"/>
                    <a:pt x="375" y="540"/>
                    <a:pt x="375" y="541"/>
                  </a:cubicBezTo>
                  <a:close/>
                  <a:moveTo>
                    <a:pt x="359" y="480"/>
                  </a:moveTo>
                  <a:cubicBezTo>
                    <a:pt x="360" y="481"/>
                    <a:pt x="360" y="481"/>
                    <a:pt x="360" y="481"/>
                  </a:cubicBezTo>
                  <a:cubicBezTo>
                    <a:pt x="359" y="484"/>
                    <a:pt x="371" y="477"/>
                    <a:pt x="365" y="474"/>
                  </a:cubicBezTo>
                  <a:cubicBezTo>
                    <a:pt x="354" y="468"/>
                    <a:pt x="318" y="453"/>
                    <a:pt x="317" y="459"/>
                  </a:cubicBezTo>
                  <a:cubicBezTo>
                    <a:pt x="315" y="464"/>
                    <a:pt x="362" y="469"/>
                    <a:pt x="359" y="480"/>
                  </a:cubicBezTo>
                  <a:close/>
                  <a:moveTo>
                    <a:pt x="400" y="633"/>
                  </a:moveTo>
                  <a:cubicBezTo>
                    <a:pt x="400" y="633"/>
                    <a:pt x="385" y="632"/>
                    <a:pt x="383" y="630"/>
                  </a:cubicBezTo>
                  <a:cubicBezTo>
                    <a:pt x="383" y="629"/>
                    <a:pt x="383" y="629"/>
                    <a:pt x="383" y="629"/>
                  </a:cubicBezTo>
                  <a:cubicBezTo>
                    <a:pt x="377" y="627"/>
                    <a:pt x="376" y="617"/>
                    <a:pt x="373" y="616"/>
                  </a:cubicBezTo>
                  <a:cubicBezTo>
                    <a:pt x="371" y="616"/>
                    <a:pt x="375" y="626"/>
                    <a:pt x="371" y="625"/>
                  </a:cubicBezTo>
                  <a:cubicBezTo>
                    <a:pt x="368" y="624"/>
                    <a:pt x="339" y="615"/>
                    <a:pt x="340" y="622"/>
                  </a:cubicBezTo>
                  <a:cubicBezTo>
                    <a:pt x="340" y="625"/>
                    <a:pt x="363" y="625"/>
                    <a:pt x="366" y="627"/>
                  </a:cubicBezTo>
                  <a:cubicBezTo>
                    <a:pt x="370" y="628"/>
                    <a:pt x="396" y="642"/>
                    <a:pt x="400" y="633"/>
                  </a:cubicBezTo>
                  <a:close/>
                  <a:moveTo>
                    <a:pt x="436" y="780"/>
                  </a:moveTo>
                  <a:cubicBezTo>
                    <a:pt x="437" y="779"/>
                    <a:pt x="437" y="779"/>
                    <a:pt x="437" y="779"/>
                  </a:cubicBezTo>
                  <a:cubicBezTo>
                    <a:pt x="447" y="757"/>
                    <a:pt x="407" y="739"/>
                    <a:pt x="399" y="743"/>
                  </a:cubicBezTo>
                  <a:cubicBezTo>
                    <a:pt x="396" y="744"/>
                    <a:pt x="407" y="747"/>
                    <a:pt x="408" y="747"/>
                  </a:cubicBezTo>
                  <a:cubicBezTo>
                    <a:pt x="411" y="748"/>
                    <a:pt x="426" y="758"/>
                    <a:pt x="428" y="760"/>
                  </a:cubicBezTo>
                  <a:cubicBezTo>
                    <a:pt x="433" y="764"/>
                    <a:pt x="430" y="795"/>
                    <a:pt x="436" y="780"/>
                  </a:cubicBezTo>
                  <a:close/>
                  <a:moveTo>
                    <a:pt x="399" y="1195"/>
                  </a:moveTo>
                  <a:cubicBezTo>
                    <a:pt x="414" y="1193"/>
                    <a:pt x="412" y="1216"/>
                    <a:pt x="425" y="1216"/>
                  </a:cubicBezTo>
                  <a:cubicBezTo>
                    <a:pt x="427" y="1216"/>
                    <a:pt x="421" y="1210"/>
                    <a:pt x="421" y="1209"/>
                  </a:cubicBezTo>
                  <a:cubicBezTo>
                    <a:pt x="415" y="1201"/>
                    <a:pt x="426" y="1199"/>
                    <a:pt x="413" y="1195"/>
                  </a:cubicBezTo>
                  <a:cubicBezTo>
                    <a:pt x="413" y="1195"/>
                    <a:pt x="413" y="1195"/>
                    <a:pt x="413" y="1195"/>
                  </a:cubicBezTo>
                  <a:cubicBezTo>
                    <a:pt x="408" y="1193"/>
                    <a:pt x="412" y="1190"/>
                    <a:pt x="407" y="1190"/>
                  </a:cubicBezTo>
                  <a:cubicBezTo>
                    <a:pt x="405" y="1191"/>
                    <a:pt x="388" y="1196"/>
                    <a:pt x="399" y="1195"/>
                  </a:cubicBezTo>
                  <a:close/>
                  <a:moveTo>
                    <a:pt x="414" y="1287"/>
                  </a:moveTo>
                  <a:cubicBezTo>
                    <a:pt x="402" y="1308"/>
                    <a:pt x="425" y="1293"/>
                    <a:pt x="424" y="1284"/>
                  </a:cubicBezTo>
                  <a:cubicBezTo>
                    <a:pt x="424" y="1284"/>
                    <a:pt x="424" y="1284"/>
                    <a:pt x="424" y="1284"/>
                  </a:cubicBezTo>
                  <a:cubicBezTo>
                    <a:pt x="418" y="1278"/>
                    <a:pt x="416" y="1284"/>
                    <a:pt x="414" y="1287"/>
                  </a:cubicBezTo>
                  <a:close/>
                  <a:moveTo>
                    <a:pt x="392" y="1446"/>
                  </a:moveTo>
                  <a:cubicBezTo>
                    <a:pt x="392" y="1446"/>
                    <a:pt x="392" y="1446"/>
                    <a:pt x="392" y="1446"/>
                  </a:cubicBezTo>
                  <a:cubicBezTo>
                    <a:pt x="393" y="1440"/>
                    <a:pt x="381" y="1445"/>
                    <a:pt x="382" y="1448"/>
                  </a:cubicBezTo>
                  <a:cubicBezTo>
                    <a:pt x="384" y="1455"/>
                    <a:pt x="403" y="1453"/>
                    <a:pt x="392" y="1446"/>
                  </a:cubicBezTo>
                  <a:close/>
                  <a:moveTo>
                    <a:pt x="361" y="950"/>
                  </a:moveTo>
                  <a:cubicBezTo>
                    <a:pt x="370" y="953"/>
                    <a:pt x="374" y="954"/>
                    <a:pt x="382" y="960"/>
                  </a:cubicBezTo>
                  <a:cubicBezTo>
                    <a:pt x="386" y="964"/>
                    <a:pt x="393" y="973"/>
                    <a:pt x="396" y="969"/>
                  </a:cubicBezTo>
                  <a:cubicBezTo>
                    <a:pt x="400" y="962"/>
                    <a:pt x="366" y="938"/>
                    <a:pt x="366" y="937"/>
                  </a:cubicBezTo>
                  <a:cubicBezTo>
                    <a:pt x="366" y="937"/>
                    <a:pt x="366" y="937"/>
                    <a:pt x="366" y="937"/>
                  </a:cubicBezTo>
                  <a:cubicBezTo>
                    <a:pt x="367" y="936"/>
                    <a:pt x="362" y="937"/>
                    <a:pt x="363" y="938"/>
                  </a:cubicBezTo>
                  <a:cubicBezTo>
                    <a:pt x="364" y="942"/>
                    <a:pt x="358" y="949"/>
                    <a:pt x="361" y="950"/>
                  </a:cubicBezTo>
                  <a:close/>
                  <a:moveTo>
                    <a:pt x="353" y="1009"/>
                  </a:moveTo>
                  <a:cubicBezTo>
                    <a:pt x="352" y="1010"/>
                    <a:pt x="370" y="1038"/>
                    <a:pt x="361" y="1030"/>
                  </a:cubicBezTo>
                  <a:cubicBezTo>
                    <a:pt x="358" y="1026"/>
                    <a:pt x="350" y="1021"/>
                    <a:pt x="358" y="1029"/>
                  </a:cubicBezTo>
                  <a:cubicBezTo>
                    <a:pt x="358" y="1029"/>
                    <a:pt x="358" y="1029"/>
                    <a:pt x="358" y="1029"/>
                  </a:cubicBezTo>
                  <a:cubicBezTo>
                    <a:pt x="358" y="1030"/>
                    <a:pt x="358" y="1030"/>
                    <a:pt x="358" y="1030"/>
                  </a:cubicBezTo>
                  <a:cubicBezTo>
                    <a:pt x="360" y="1032"/>
                    <a:pt x="362" y="1034"/>
                    <a:pt x="364" y="1036"/>
                  </a:cubicBezTo>
                  <a:cubicBezTo>
                    <a:pt x="387" y="1053"/>
                    <a:pt x="359" y="1028"/>
                    <a:pt x="367" y="1020"/>
                  </a:cubicBezTo>
                  <a:cubicBezTo>
                    <a:pt x="368" y="1019"/>
                    <a:pt x="370" y="1019"/>
                    <a:pt x="372" y="1018"/>
                  </a:cubicBezTo>
                  <a:cubicBezTo>
                    <a:pt x="372" y="1018"/>
                    <a:pt x="373" y="1018"/>
                    <a:pt x="373" y="1018"/>
                  </a:cubicBezTo>
                  <a:cubicBezTo>
                    <a:pt x="383" y="1015"/>
                    <a:pt x="398" y="1017"/>
                    <a:pt x="397" y="1013"/>
                  </a:cubicBezTo>
                  <a:cubicBezTo>
                    <a:pt x="397" y="1011"/>
                    <a:pt x="378" y="1000"/>
                    <a:pt x="378" y="1004"/>
                  </a:cubicBezTo>
                  <a:cubicBezTo>
                    <a:pt x="377" y="1005"/>
                    <a:pt x="381" y="1005"/>
                    <a:pt x="381" y="1005"/>
                  </a:cubicBezTo>
                  <a:cubicBezTo>
                    <a:pt x="387" y="1006"/>
                    <a:pt x="392" y="1016"/>
                    <a:pt x="381" y="1008"/>
                  </a:cubicBezTo>
                  <a:cubicBezTo>
                    <a:pt x="373" y="1002"/>
                    <a:pt x="382" y="1013"/>
                    <a:pt x="382" y="1013"/>
                  </a:cubicBezTo>
                  <a:cubicBezTo>
                    <a:pt x="380" y="1015"/>
                    <a:pt x="377" y="1016"/>
                    <a:pt x="373" y="1018"/>
                  </a:cubicBezTo>
                  <a:cubicBezTo>
                    <a:pt x="373" y="1018"/>
                    <a:pt x="372" y="1018"/>
                    <a:pt x="372" y="1018"/>
                  </a:cubicBezTo>
                  <a:cubicBezTo>
                    <a:pt x="368" y="1019"/>
                    <a:pt x="363" y="1019"/>
                    <a:pt x="361" y="1018"/>
                  </a:cubicBezTo>
                  <a:cubicBezTo>
                    <a:pt x="359" y="1017"/>
                    <a:pt x="354" y="1008"/>
                    <a:pt x="353" y="1009"/>
                  </a:cubicBezTo>
                  <a:close/>
                  <a:moveTo>
                    <a:pt x="366" y="1507"/>
                  </a:moveTo>
                  <a:cubicBezTo>
                    <a:pt x="359" y="1507"/>
                    <a:pt x="368" y="1512"/>
                    <a:pt x="374" y="1509"/>
                  </a:cubicBezTo>
                  <a:cubicBezTo>
                    <a:pt x="375" y="1509"/>
                    <a:pt x="375" y="1509"/>
                    <a:pt x="375" y="1509"/>
                  </a:cubicBezTo>
                  <a:cubicBezTo>
                    <a:pt x="380" y="1507"/>
                    <a:pt x="369" y="1506"/>
                    <a:pt x="366" y="1507"/>
                  </a:cubicBezTo>
                  <a:close/>
                  <a:moveTo>
                    <a:pt x="362" y="1572"/>
                  </a:moveTo>
                  <a:cubicBezTo>
                    <a:pt x="362" y="1575"/>
                    <a:pt x="368" y="1572"/>
                    <a:pt x="370" y="1573"/>
                  </a:cubicBezTo>
                  <a:cubicBezTo>
                    <a:pt x="372" y="1577"/>
                    <a:pt x="379" y="1574"/>
                    <a:pt x="382" y="1573"/>
                  </a:cubicBezTo>
                  <a:cubicBezTo>
                    <a:pt x="383" y="1572"/>
                    <a:pt x="383" y="1572"/>
                    <a:pt x="383" y="1572"/>
                  </a:cubicBezTo>
                  <a:cubicBezTo>
                    <a:pt x="380" y="1569"/>
                    <a:pt x="362" y="1565"/>
                    <a:pt x="362" y="1572"/>
                  </a:cubicBezTo>
                  <a:close/>
                  <a:moveTo>
                    <a:pt x="325" y="1229"/>
                  </a:moveTo>
                  <a:cubicBezTo>
                    <a:pt x="325" y="1229"/>
                    <a:pt x="325" y="1229"/>
                    <a:pt x="325" y="1229"/>
                  </a:cubicBezTo>
                  <a:cubicBezTo>
                    <a:pt x="325" y="1224"/>
                    <a:pt x="309" y="1227"/>
                    <a:pt x="310" y="1232"/>
                  </a:cubicBezTo>
                  <a:cubicBezTo>
                    <a:pt x="312" y="1239"/>
                    <a:pt x="322" y="1240"/>
                    <a:pt x="327" y="1244"/>
                  </a:cubicBezTo>
                  <a:cubicBezTo>
                    <a:pt x="329" y="1247"/>
                    <a:pt x="330" y="1256"/>
                    <a:pt x="333" y="1255"/>
                  </a:cubicBezTo>
                  <a:cubicBezTo>
                    <a:pt x="335" y="1255"/>
                    <a:pt x="340" y="1244"/>
                    <a:pt x="350" y="1248"/>
                  </a:cubicBezTo>
                  <a:cubicBezTo>
                    <a:pt x="361" y="1252"/>
                    <a:pt x="338" y="1259"/>
                    <a:pt x="351" y="1258"/>
                  </a:cubicBezTo>
                  <a:cubicBezTo>
                    <a:pt x="352" y="1258"/>
                    <a:pt x="354" y="1264"/>
                    <a:pt x="356" y="1262"/>
                  </a:cubicBezTo>
                  <a:cubicBezTo>
                    <a:pt x="356" y="1261"/>
                    <a:pt x="355" y="1260"/>
                    <a:pt x="355" y="1259"/>
                  </a:cubicBezTo>
                  <a:cubicBezTo>
                    <a:pt x="350" y="1246"/>
                    <a:pt x="369" y="1244"/>
                    <a:pt x="366" y="1239"/>
                  </a:cubicBezTo>
                  <a:cubicBezTo>
                    <a:pt x="365" y="1238"/>
                    <a:pt x="361" y="1237"/>
                    <a:pt x="360" y="1237"/>
                  </a:cubicBezTo>
                  <a:cubicBezTo>
                    <a:pt x="354" y="1238"/>
                    <a:pt x="331" y="1242"/>
                    <a:pt x="325" y="1229"/>
                  </a:cubicBezTo>
                  <a:close/>
                  <a:moveTo>
                    <a:pt x="333" y="1427"/>
                  </a:moveTo>
                  <a:cubicBezTo>
                    <a:pt x="335" y="1423"/>
                    <a:pt x="326" y="1424"/>
                    <a:pt x="330" y="1417"/>
                  </a:cubicBezTo>
                  <a:cubicBezTo>
                    <a:pt x="328" y="1416"/>
                    <a:pt x="327" y="1417"/>
                    <a:pt x="325" y="1417"/>
                  </a:cubicBezTo>
                  <a:cubicBezTo>
                    <a:pt x="317" y="1416"/>
                    <a:pt x="319" y="1425"/>
                    <a:pt x="318" y="1425"/>
                  </a:cubicBezTo>
                  <a:cubicBezTo>
                    <a:pt x="317" y="1425"/>
                    <a:pt x="324" y="1439"/>
                    <a:pt x="328" y="1433"/>
                  </a:cubicBezTo>
                  <a:cubicBezTo>
                    <a:pt x="330" y="1432"/>
                    <a:pt x="324" y="1432"/>
                    <a:pt x="323" y="1431"/>
                  </a:cubicBezTo>
                  <a:cubicBezTo>
                    <a:pt x="316" y="1412"/>
                    <a:pt x="332" y="1429"/>
                    <a:pt x="333" y="1427"/>
                  </a:cubicBezTo>
                  <a:close/>
                  <a:moveTo>
                    <a:pt x="318" y="1465"/>
                  </a:moveTo>
                  <a:cubicBezTo>
                    <a:pt x="318" y="1465"/>
                    <a:pt x="318" y="1465"/>
                    <a:pt x="318" y="1465"/>
                  </a:cubicBezTo>
                  <a:cubicBezTo>
                    <a:pt x="321" y="1459"/>
                    <a:pt x="310" y="1467"/>
                    <a:pt x="309" y="1468"/>
                  </a:cubicBezTo>
                  <a:cubicBezTo>
                    <a:pt x="304" y="1474"/>
                    <a:pt x="316" y="1468"/>
                    <a:pt x="318" y="1465"/>
                  </a:cubicBezTo>
                  <a:close/>
                  <a:moveTo>
                    <a:pt x="306" y="1578"/>
                  </a:moveTo>
                  <a:cubicBezTo>
                    <a:pt x="315" y="1570"/>
                    <a:pt x="302" y="1567"/>
                    <a:pt x="300" y="1559"/>
                  </a:cubicBezTo>
                  <a:cubicBezTo>
                    <a:pt x="300" y="1557"/>
                    <a:pt x="296" y="1554"/>
                    <a:pt x="295" y="1553"/>
                  </a:cubicBezTo>
                  <a:cubicBezTo>
                    <a:pt x="290" y="1555"/>
                    <a:pt x="282" y="1562"/>
                    <a:pt x="284" y="1565"/>
                  </a:cubicBezTo>
                  <a:cubicBezTo>
                    <a:pt x="287" y="1574"/>
                    <a:pt x="291" y="1557"/>
                    <a:pt x="294" y="1558"/>
                  </a:cubicBezTo>
                  <a:cubicBezTo>
                    <a:pt x="299" y="1559"/>
                    <a:pt x="298" y="1569"/>
                    <a:pt x="303" y="1569"/>
                  </a:cubicBezTo>
                  <a:cubicBezTo>
                    <a:pt x="308" y="1569"/>
                    <a:pt x="305" y="1579"/>
                    <a:pt x="306" y="1578"/>
                  </a:cubicBezTo>
                  <a:close/>
                  <a:moveTo>
                    <a:pt x="277" y="1514"/>
                  </a:moveTo>
                  <a:cubicBezTo>
                    <a:pt x="277" y="1518"/>
                    <a:pt x="287" y="1512"/>
                    <a:pt x="290" y="1515"/>
                  </a:cubicBezTo>
                  <a:cubicBezTo>
                    <a:pt x="295" y="1521"/>
                    <a:pt x="301" y="1526"/>
                    <a:pt x="300" y="1509"/>
                  </a:cubicBezTo>
                  <a:cubicBezTo>
                    <a:pt x="299" y="1508"/>
                    <a:pt x="299" y="1508"/>
                    <a:pt x="299" y="1508"/>
                  </a:cubicBezTo>
                  <a:cubicBezTo>
                    <a:pt x="299" y="1508"/>
                    <a:pt x="299" y="1498"/>
                    <a:pt x="299" y="1498"/>
                  </a:cubicBezTo>
                  <a:cubicBezTo>
                    <a:pt x="292" y="1498"/>
                    <a:pt x="297" y="1506"/>
                    <a:pt x="291" y="1503"/>
                  </a:cubicBezTo>
                  <a:cubicBezTo>
                    <a:pt x="278" y="1495"/>
                    <a:pt x="292" y="1508"/>
                    <a:pt x="291" y="1510"/>
                  </a:cubicBezTo>
                  <a:cubicBezTo>
                    <a:pt x="290" y="1513"/>
                    <a:pt x="277" y="1507"/>
                    <a:pt x="277" y="1514"/>
                  </a:cubicBezTo>
                  <a:close/>
                  <a:moveTo>
                    <a:pt x="279" y="1245"/>
                  </a:moveTo>
                  <a:cubicBezTo>
                    <a:pt x="276" y="1243"/>
                    <a:pt x="275" y="1238"/>
                    <a:pt x="272" y="1236"/>
                  </a:cubicBezTo>
                  <a:cubicBezTo>
                    <a:pt x="269" y="1235"/>
                    <a:pt x="267" y="1232"/>
                    <a:pt x="264" y="1230"/>
                  </a:cubicBezTo>
                  <a:cubicBezTo>
                    <a:pt x="263" y="1230"/>
                    <a:pt x="263" y="1230"/>
                    <a:pt x="263" y="1230"/>
                  </a:cubicBezTo>
                  <a:cubicBezTo>
                    <a:pt x="260" y="1230"/>
                    <a:pt x="262" y="1233"/>
                    <a:pt x="264" y="1234"/>
                  </a:cubicBezTo>
                  <a:cubicBezTo>
                    <a:pt x="265" y="1234"/>
                    <a:pt x="266" y="1237"/>
                    <a:pt x="267" y="1238"/>
                  </a:cubicBezTo>
                  <a:cubicBezTo>
                    <a:pt x="267" y="1243"/>
                    <a:pt x="283" y="1248"/>
                    <a:pt x="279" y="1245"/>
                  </a:cubicBezTo>
                  <a:close/>
                  <a:moveTo>
                    <a:pt x="297" y="1399"/>
                  </a:moveTo>
                  <a:cubicBezTo>
                    <a:pt x="297" y="1399"/>
                    <a:pt x="297" y="1399"/>
                    <a:pt x="297" y="1399"/>
                  </a:cubicBezTo>
                  <a:cubicBezTo>
                    <a:pt x="297" y="1396"/>
                    <a:pt x="289" y="1400"/>
                    <a:pt x="289" y="1403"/>
                  </a:cubicBezTo>
                  <a:cubicBezTo>
                    <a:pt x="289" y="1410"/>
                    <a:pt x="300" y="1413"/>
                    <a:pt x="297" y="1399"/>
                  </a:cubicBezTo>
                  <a:close/>
                  <a:moveTo>
                    <a:pt x="291" y="1449"/>
                  </a:moveTo>
                  <a:cubicBezTo>
                    <a:pt x="296" y="1445"/>
                    <a:pt x="295" y="1442"/>
                    <a:pt x="293" y="1438"/>
                  </a:cubicBezTo>
                  <a:cubicBezTo>
                    <a:pt x="292" y="1437"/>
                    <a:pt x="292" y="1437"/>
                    <a:pt x="292" y="1437"/>
                  </a:cubicBezTo>
                  <a:cubicBezTo>
                    <a:pt x="290" y="1435"/>
                    <a:pt x="286" y="1455"/>
                    <a:pt x="291" y="1449"/>
                  </a:cubicBezTo>
                  <a:close/>
                  <a:moveTo>
                    <a:pt x="310" y="1553"/>
                  </a:moveTo>
                  <a:cubicBezTo>
                    <a:pt x="311" y="1553"/>
                    <a:pt x="315" y="1533"/>
                    <a:pt x="315" y="1531"/>
                  </a:cubicBezTo>
                  <a:cubicBezTo>
                    <a:pt x="315" y="1531"/>
                    <a:pt x="315" y="1531"/>
                    <a:pt x="315" y="1531"/>
                  </a:cubicBezTo>
                  <a:cubicBezTo>
                    <a:pt x="312" y="1528"/>
                    <a:pt x="310" y="1529"/>
                    <a:pt x="311" y="1533"/>
                  </a:cubicBezTo>
                  <a:cubicBezTo>
                    <a:pt x="312" y="1538"/>
                    <a:pt x="300" y="1531"/>
                    <a:pt x="298" y="1535"/>
                  </a:cubicBezTo>
                  <a:cubicBezTo>
                    <a:pt x="297" y="1538"/>
                    <a:pt x="308" y="1553"/>
                    <a:pt x="310" y="1553"/>
                  </a:cubicBezTo>
                  <a:close/>
                  <a:moveTo>
                    <a:pt x="325" y="933"/>
                  </a:moveTo>
                  <a:cubicBezTo>
                    <a:pt x="325" y="932"/>
                    <a:pt x="325" y="932"/>
                    <a:pt x="325" y="932"/>
                  </a:cubicBezTo>
                  <a:cubicBezTo>
                    <a:pt x="325" y="925"/>
                    <a:pt x="316" y="935"/>
                    <a:pt x="315" y="937"/>
                  </a:cubicBezTo>
                  <a:cubicBezTo>
                    <a:pt x="314" y="943"/>
                    <a:pt x="321" y="941"/>
                    <a:pt x="323" y="946"/>
                  </a:cubicBezTo>
                  <a:cubicBezTo>
                    <a:pt x="329" y="965"/>
                    <a:pt x="318" y="952"/>
                    <a:pt x="322" y="962"/>
                  </a:cubicBezTo>
                  <a:cubicBezTo>
                    <a:pt x="323" y="965"/>
                    <a:pt x="330" y="978"/>
                    <a:pt x="333" y="978"/>
                  </a:cubicBezTo>
                  <a:cubicBezTo>
                    <a:pt x="334" y="977"/>
                    <a:pt x="328" y="965"/>
                    <a:pt x="328" y="963"/>
                  </a:cubicBezTo>
                  <a:cubicBezTo>
                    <a:pt x="327" y="942"/>
                    <a:pt x="323" y="941"/>
                    <a:pt x="325" y="933"/>
                  </a:cubicBezTo>
                  <a:close/>
                  <a:moveTo>
                    <a:pt x="295" y="888"/>
                  </a:moveTo>
                  <a:cubicBezTo>
                    <a:pt x="292" y="888"/>
                    <a:pt x="268" y="879"/>
                    <a:pt x="268" y="880"/>
                  </a:cubicBezTo>
                  <a:cubicBezTo>
                    <a:pt x="267" y="883"/>
                    <a:pt x="284" y="892"/>
                    <a:pt x="282" y="898"/>
                  </a:cubicBezTo>
                  <a:cubicBezTo>
                    <a:pt x="281" y="900"/>
                    <a:pt x="268" y="888"/>
                    <a:pt x="264" y="888"/>
                  </a:cubicBezTo>
                  <a:cubicBezTo>
                    <a:pt x="263" y="888"/>
                    <a:pt x="264" y="891"/>
                    <a:pt x="264" y="892"/>
                  </a:cubicBezTo>
                  <a:cubicBezTo>
                    <a:pt x="270" y="898"/>
                    <a:pt x="297" y="907"/>
                    <a:pt x="301" y="912"/>
                  </a:cubicBezTo>
                  <a:cubicBezTo>
                    <a:pt x="306" y="920"/>
                    <a:pt x="307" y="943"/>
                    <a:pt x="305" y="944"/>
                  </a:cubicBezTo>
                  <a:cubicBezTo>
                    <a:pt x="302" y="945"/>
                    <a:pt x="299" y="928"/>
                    <a:pt x="298" y="930"/>
                  </a:cubicBezTo>
                  <a:cubicBezTo>
                    <a:pt x="296" y="933"/>
                    <a:pt x="299" y="945"/>
                    <a:pt x="301" y="946"/>
                  </a:cubicBezTo>
                  <a:cubicBezTo>
                    <a:pt x="304" y="948"/>
                    <a:pt x="309" y="951"/>
                    <a:pt x="308" y="954"/>
                  </a:cubicBezTo>
                  <a:cubicBezTo>
                    <a:pt x="308" y="954"/>
                    <a:pt x="304" y="963"/>
                    <a:pt x="306" y="961"/>
                  </a:cubicBezTo>
                  <a:cubicBezTo>
                    <a:pt x="316" y="955"/>
                    <a:pt x="309" y="939"/>
                    <a:pt x="310" y="929"/>
                  </a:cubicBezTo>
                  <a:cubicBezTo>
                    <a:pt x="310" y="928"/>
                    <a:pt x="310" y="928"/>
                    <a:pt x="310" y="928"/>
                  </a:cubicBezTo>
                  <a:cubicBezTo>
                    <a:pt x="308" y="921"/>
                    <a:pt x="300" y="907"/>
                    <a:pt x="311" y="905"/>
                  </a:cubicBezTo>
                  <a:cubicBezTo>
                    <a:pt x="317" y="903"/>
                    <a:pt x="329" y="906"/>
                    <a:pt x="333" y="911"/>
                  </a:cubicBezTo>
                  <a:cubicBezTo>
                    <a:pt x="333" y="912"/>
                    <a:pt x="339" y="920"/>
                    <a:pt x="339" y="916"/>
                  </a:cubicBezTo>
                  <a:cubicBezTo>
                    <a:pt x="340" y="914"/>
                    <a:pt x="314" y="887"/>
                    <a:pt x="313" y="886"/>
                  </a:cubicBezTo>
                  <a:cubicBezTo>
                    <a:pt x="308" y="885"/>
                    <a:pt x="313" y="894"/>
                    <a:pt x="308" y="894"/>
                  </a:cubicBezTo>
                  <a:cubicBezTo>
                    <a:pt x="301" y="894"/>
                    <a:pt x="301" y="888"/>
                    <a:pt x="295" y="888"/>
                  </a:cubicBezTo>
                  <a:close/>
                  <a:moveTo>
                    <a:pt x="275" y="844"/>
                  </a:moveTo>
                  <a:cubicBezTo>
                    <a:pt x="278" y="844"/>
                    <a:pt x="291" y="849"/>
                    <a:pt x="293" y="847"/>
                  </a:cubicBezTo>
                  <a:cubicBezTo>
                    <a:pt x="296" y="845"/>
                    <a:pt x="271" y="839"/>
                    <a:pt x="269" y="838"/>
                  </a:cubicBezTo>
                  <a:cubicBezTo>
                    <a:pt x="268" y="838"/>
                    <a:pt x="268" y="838"/>
                    <a:pt x="268" y="838"/>
                  </a:cubicBezTo>
                  <a:cubicBezTo>
                    <a:pt x="249" y="821"/>
                    <a:pt x="258" y="845"/>
                    <a:pt x="275" y="844"/>
                  </a:cubicBezTo>
                  <a:close/>
                  <a:moveTo>
                    <a:pt x="254" y="1262"/>
                  </a:moveTo>
                  <a:cubicBezTo>
                    <a:pt x="259" y="1263"/>
                    <a:pt x="261" y="1254"/>
                    <a:pt x="262" y="1251"/>
                  </a:cubicBezTo>
                  <a:cubicBezTo>
                    <a:pt x="262" y="1251"/>
                    <a:pt x="262" y="1251"/>
                    <a:pt x="262" y="1251"/>
                  </a:cubicBezTo>
                  <a:cubicBezTo>
                    <a:pt x="265" y="1244"/>
                    <a:pt x="247" y="1259"/>
                    <a:pt x="254" y="1262"/>
                  </a:cubicBezTo>
                  <a:close/>
                  <a:moveTo>
                    <a:pt x="201" y="1128"/>
                  </a:moveTo>
                  <a:cubicBezTo>
                    <a:pt x="201" y="1128"/>
                    <a:pt x="201" y="1128"/>
                    <a:pt x="201" y="1128"/>
                  </a:cubicBezTo>
                  <a:cubicBezTo>
                    <a:pt x="196" y="1124"/>
                    <a:pt x="210" y="1141"/>
                    <a:pt x="215" y="1144"/>
                  </a:cubicBezTo>
                  <a:cubicBezTo>
                    <a:pt x="221" y="1149"/>
                    <a:pt x="231" y="1148"/>
                    <a:pt x="238" y="1153"/>
                  </a:cubicBezTo>
                  <a:cubicBezTo>
                    <a:pt x="239" y="1154"/>
                    <a:pt x="240" y="1156"/>
                    <a:pt x="241" y="1157"/>
                  </a:cubicBezTo>
                  <a:cubicBezTo>
                    <a:pt x="241" y="1158"/>
                    <a:pt x="242" y="1165"/>
                    <a:pt x="244" y="1162"/>
                  </a:cubicBezTo>
                  <a:cubicBezTo>
                    <a:pt x="249" y="1154"/>
                    <a:pt x="212" y="1139"/>
                    <a:pt x="201" y="1128"/>
                  </a:cubicBezTo>
                  <a:close/>
                  <a:moveTo>
                    <a:pt x="190" y="1374"/>
                  </a:moveTo>
                  <a:cubicBezTo>
                    <a:pt x="189" y="1371"/>
                    <a:pt x="191" y="1369"/>
                    <a:pt x="190" y="1367"/>
                  </a:cubicBezTo>
                  <a:cubicBezTo>
                    <a:pt x="189" y="1366"/>
                    <a:pt x="189" y="1366"/>
                    <a:pt x="189" y="1366"/>
                  </a:cubicBezTo>
                  <a:cubicBezTo>
                    <a:pt x="188" y="1363"/>
                    <a:pt x="182" y="1348"/>
                    <a:pt x="179" y="1349"/>
                  </a:cubicBezTo>
                  <a:cubicBezTo>
                    <a:pt x="173" y="1350"/>
                    <a:pt x="207" y="1403"/>
                    <a:pt x="190" y="1374"/>
                  </a:cubicBezTo>
                  <a:close/>
                  <a:moveTo>
                    <a:pt x="180" y="1391"/>
                  </a:moveTo>
                  <a:cubicBezTo>
                    <a:pt x="179" y="1391"/>
                    <a:pt x="179" y="1391"/>
                    <a:pt x="179" y="1391"/>
                  </a:cubicBezTo>
                  <a:cubicBezTo>
                    <a:pt x="176" y="1386"/>
                    <a:pt x="173" y="1372"/>
                    <a:pt x="170" y="1377"/>
                  </a:cubicBezTo>
                  <a:cubicBezTo>
                    <a:pt x="166" y="1384"/>
                    <a:pt x="182" y="1395"/>
                    <a:pt x="180" y="1391"/>
                  </a:cubicBezTo>
                  <a:close/>
                  <a:moveTo>
                    <a:pt x="205" y="1430"/>
                  </a:moveTo>
                  <a:cubicBezTo>
                    <a:pt x="205" y="1431"/>
                    <a:pt x="206" y="1434"/>
                    <a:pt x="207" y="1434"/>
                  </a:cubicBezTo>
                  <a:cubicBezTo>
                    <a:pt x="209" y="1434"/>
                    <a:pt x="208" y="1430"/>
                    <a:pt x="208" y="1429"/>
                  </a:cubicBezTo>
                  <a:cubicBezTo>
                    <a:pt x="208" y="1414"/>
                    <a:pt x="193" y="1408"/>
                    <a:pt x="193" y="1393"/>
                  </a:cubicBezTo>
                  <a:cubicBezTo>
                    <a:pt x="193" y="1393"/>
                    <a:pt x="193" y="1393"/>
                    <a:pt x="193" y="1393"/>
                  </a:cubicBezTo>
                  <a:cubicBezTo>
                    <a:pt x="185" y="1385"/>
                    <a:pt x="204" y="1430"/>
                    <a:pt x="205" y="1430"/>
                  </a:cubicBezTo>
                  <a:close/>
                  <a:moveTo>
                    <a:pt x="219" y="1068"/>
                  </a:moveTo>
                  <a:cubicBezTo>
                    <a:pt x="221" y="1065"/>
                    <a:pt x="206" y="1060"/>
                    <a:pt x="203" y="1060"/>
                  </a:cubicBezTo>
                  <a:cubicBezTo>
                    <a:pt x="203" y="1060"/>
                    <a:pt x="203" y="1060"/>
                    <a:pt x="203" y="1060"/>
                  </a:cubicBezTo>
                  <a:cubicBezTo>
                    <a:pt x="196" y="1060"/>
                    <a:pt x="217" y="1070"/>
                    <a:pt x="219" y="1068"/>
                  </a:cubicBezTo>
                  <a:close/>
                  <a:moveTo>
                    <a:pt x="210" y="896"/>
                  </a:moveTo>
                  <a:cubicBezTo>
                    <a:pt x="210" y="896"/>
                    <a:pt x="210" y="896"/>
                    <a:pt x="210" y="896"/>
                  </a:cubicBezTo>
                  <a:cubicBezTo>
                    <a:pt x="204" y="893"/>
                    <a:pt x="184" y="897"/>
                    <a:pt x="190" y="900"/>
                  </a:cubicBezTo>
                  <a:cubicBezTo>
                    <a:pt x="198" y="904"/>
                    <a:pt x="203" y="897"/>
                    <a:pt x="212" y="901"/>
                  </a:cubicBezTo>
                  <a:cubicBezTo>
                    <a:pt x="213" y="901"/>
                    <a:pt x="228" y="905"/>
                    <a:pt x="226" y="901"/>
                  </a:cubicBezTo>
                  <a:cubicBezTo>
                    <a:pt x="225" y="898"/>
                    <a:pt x="214" y="899"/>
                    <a:pt x="210" y="896"/>
                  </a:cubicBezTo>
                  <a:close/>
                  <a:moveTo>
                    <a:pt x="205" y="863"/>
                  </a:moveTo>
                  <a:cubicBezTo>
                    <a:pt x="206" y="863"/>
                    <a:pt x="211" y="869"/>
                    <a:pt x="212" y="869"/>
                  </a:cubicBezTo>
                  <a:cubicBezTo>
                    <a:pt x="219" y="861"/>
                    <a:pt x="189" y="852"/>
                    <a:pt x="185" y="847"/>
                  </a:cubicBezTo>
                  <a:cubicBezTo>
                    <a:pt x="176" y="836"/>
                    <a:pt x="193" y="842"/>
                    <a:pt x="195" y="839"/>
                  </a:cubicBezTo>
                  <a:cubicBezTo>
                    <a:pt x="198" y="833"/>
                    <a:pt x="181" y="835"/>
                    <a:pt x="180" y="828"/>
                  </a:cubicBezTo>
                  <a:cubicBezTo>
                    <a:pt x="177" y="815"/>
                    <a:pt x="214" y="842"/>
                    <a:pt x="203" y="822"/>
                  </a:cubicBezTo>
                  <a:cubicBezTo>
                    <a:pt x="203" y="821"/>
                    <a:pt x="203" y="821"/>
                    <a:pt x="203" y="821"/>
                  </a:cubicBezTo>
                  <a:cubicBezTo>
                    <a:pt x="197" y="818"/>
                    <a:pt x="187" y="821"/>
                    <a:pt x="181" y="822"/>
                  </a:cubicBezTo>
                  <a:cubicBezTo>
                    <a:pt x="179" y="822"/>
                    <a:pt x="173" y="828"/>
                    <a:pt x="173" y="829"/>
                  </a:cubicBezTo>
                  <a:cubicBezTo>
                    <a:pt x="172" y="832"/>
                    <a:pt x="167" y="828"/>
                    <a:pt x="167" y="830"/>
                  </a:cubicBezTo>
                  <a:cubicBezTo>
                    <a:pt x="161" y="840"/>
                    <a:pt x="199" y="859"/>
                    <a:pt x="205" y="863"/>
                  </a:cubicBezTo>
                  <a:close/>
                  <a:moveTo>
                    <a:pt x="130" y="824"/>
                  </a:moveTo>
                  <a:cubicBezTo>
                    <a:pt x="134" y="826"/>
                    <a:pt x="160" y="831"/>
                    <a:pt x="162" y="827"/>
                  </a:cubicBezTo>
                  <a:cubicBezTo>
                    <a:pt x="162" y="827"/>
                    <a:pt x="130" y="824"/>
                    <a:pt x="130" y="816"/>
                  </a:cubicBezTo>
                  <a:cubicBezTo>
                    <a:pt x="130" y="816"/>
                    <a:pt x="130" y="816"/>
                    <a:pt x="130" y="816"/>
                  </a:cubicBezTo>
                  <a:cubicBezTo>
                    <a:pt x="126" y="812"/>
                    <a:pt x="127" y="821"/>
                    <a:pt x="130" y="824"/>
                  </a:cubicBezTo>
                  <a:close/>
                  <a:moveTo>
                    <a:pt x="132" y="833"/>
                  </a:moveTo>
                  <a:cubicBezTo>
                    <a:pt x="136" y="834"/>
                    <a:pt x="142" y="845"/>
                    <a:pt x="147" y="842"/>
                  </a:cubicBezTo>
                  <a:cubicBezTo>
                    <a:pt x="152" y="840"/>
                    <a:pt x="146" y="834"/>
                    <a:pt x="144" y="832"/>
                  </a:cubicBezTo>
                  <a:cubicBezTo>
                    <a:pt x="144" y="832"/>
                    <a:pt x="144" y="832"/>
                    <a:pt x="144" y="832"/>
                  </a:cubicBezTo>
                  <a:cubicBezTo>
                    <a:pt x="143" y="831"/>
                    <a:pt x="127" y="830"/>
                    <a:pt x="127" y="831"/>
                  </a:cubicBezTo>
                  <a:cubicBezTo>
                    <a:pt x="127" y="832"/>
                    <a:pt x="131" y="833"/>
                    <a:pt x="132" y="833"/>
                  </a:cubicBezTo>
                  <a:close/>
                  <a:moveTo>
                    <a:pt x="142" y="895"/>
                  </a:moveTo>
                  <a:cubicBezTo>
                    <a:pt x="146" y="894"/>
                    <a:pt x="144" y="892"/>
                    <a:pt x="145" y="889"/>
                  </a:cubicBezTo>
                  <a:cubicBezTo>
                    <a:pt x="146" y="885"/>
                    <a:pt x="144" y="887"/>
                    <a:pt x="144" y="883"/>
                  </a:cubicBezTo>
                  <a:cubicBezTo>
                    <a:pt x="144" y="882"/>
                    <a:pt x="144" y="882"/>
                    <a:pt x="144" y="882"/>
                  </a:cubicBezTo>
                  <a:cubicBezTo>
                    <a:pt x="137" y="874"/>
                    <a:pt x="122" y="898"/>
                    <a:pt x="142" y="895"/>
                  </a:cubicBezTo>
                  <a:close/>
                  <a:moveTo>
                    <a:pt x="172" y="1018"/>
                  </a:moveTo>
                  <a:cubicBezTo>
                    <a:pt x="169" y="1010"/>
                    <a:pt x="148" y="1008"/>
                    <a:pt x="146" y="999"/>
                  </a:cubicBezTo>
                  <a:cubicBezTo>
                    <a:pt x="146" y="999"/>
                    <a:pt x="146" y="999"/>
                    <a:pt x="146" y="999"/>
                  </a:cubicBezTo>
                  <a:cubicBezTo>
                    <a:pt x="144" y="997"/>
                    <a:pt x="143" y="998"/>
                    <a:pt x="144" y="1000"/>
                  </a:cubicBezTo>
                  <a:cubicBezTo>
                    <a:pt x="147" y="1004"/>
                    <a:pt x="152" y="1006"/>
                    <a:pt x="154" y="1011"/>
                  </a:cubicBezTo>
                  <a:cubicBezTo>
                    <a:pt x="156" y="1017"/>
                    <a:pt x="175" y="1024"/>
                    <a:pt x="172" y="1018"/>
                  </a:cubicBezTo>
                  <a:close/>
                  <a:moveTo>
                    <a:pt x="168" y="1429"/>
                  </a:moveTo>
                  <a:cubicBezTo>
                    <a:pt x="169" y="1427"/>
                    <a:pt x="170" y="1434"/>
                    <a:pt x="171" y="1435"/>
                  </a:cubicBezTo>
                  <a:cubicBezTo>
                    <a:pt x="172" y="1437"/>
                    <a:pt x="185" y="1452"/>
                    <a:pt x="186" y="1452"/>
                  </a:cubicBezTo>
                  <a:cubicBezTo>
                    <a:pt x="190" y="1451"/>
                    <a:pt x="180" y="1441"/>
                    <a:pt x="180" y="1440"/>
                  </a:cubicBezTo>
                  <a:cubicBezTo>
                    <a:pt x="179" y="1440"/>
                    <a:pt x="179" y="1440"/>
                    <a:pt x="179" y="1440"/>
                  </a:cubicBezTo>
                  <a:cubicBezTo>
                    <a:pt x="175" y="1436"/>
                    <a:pt x="173" y="1416"/>
                    <a:pt x="171" y="1415"/>
                  </a:cubicBezTo>
                  <a:cubicBezTo>
                    <a:pt x="168" y="1415"/>
                    <a:pt x="170" y="1417"/>
                    <a:pt x="170" y="1418"/>
                  </a:cubicBezTo>
                  <a:cubicBezTo>
                    <a:pt x="175" y="1430"/>
                    <a:pt x="165" y="1423"/>
                    <a:pt x="162" y="1422"/>
                  </a:cubicBezTo>
                  <a:cubicBezTo>
                    <a:pt x="160" y="1422"/>
                    <a:pt x="165" y="1432"/>
                    <a:pt x="168" y="1429"/>
                  </a:cubicBezTo>
                  <a:close/>
                  <a:moveTo>
                    <a:pt x="152" y="1437"/>
                  </a:moveTo>
                  <a:cubicBezTo>
                    <a:pt x="153" y="1438"/>
                    <a:pt x="164" y="1459"/>
                    <a:pt x="164" y="1458"/>
                  </a:cubicBezTo>
                  <a:cubicBezTo>
                    <a:pt x="167" y="1455"/>
                    <a:pt x="164" y="1453"/>
                    <a:pt x="163" y="1452"/>
                  </a:cubicBezTo>
                  <a:cubicBezTo>
                    <a:pt x="148" y="1435"/>
                    <a:pt x="145" y="1423"/>
                    <a:pt x="133" y="1414"/>
                  </a:cubicBezTo>
                  <a:cubicBezTo>
                    <a:pt x="133" y="1414"/>
                    <a:pt x="133" y="1414"/>
                    <a:pt x="133" y="1414"/>
                  </a:cubicBezTo>
                  <a:cubicBezTo>
                    <a:pt x="130" y="1413"/>
                    <a:pt x="132" y="1415"/>
                    <a:pt x="130" y="1416"/>
                  </a:cubicBezTo>
                  <a:cubicBezTo>
                    <a:pt x="125" y="1417"/>
                    <a:pt x="146" y="1432"/>
                    <a:pt x="152" y="1437"/>
                  </a:cubicBezTo>
                  <a:close/>
                  <a:moveTo>
                    <a:pt x="133" y="1445"/>
                  </a:moveTo>
                  <a:cubicBezTo>
                    <a:pt x="136" y="1444"/>
                    <a:pt x="137" y="1438"/>
                    <a:pt x="135" y="1436"/>
                  </a:cubicBezTo>
                  <a:cubicBezTo>
                    <a:pt x="132" y="1433"/>
                    <a:pt x="126" y="1439"/>
                    <a:pt x="127" y="1434"/>
                  </a:cubicBezTo>
                  <a:cubicBezTo>
                    <a:pt x="127" y="1434"/>
                    <a:pt x="127" y="1434"/>
                    <a:pt x="127" y="1434"/>
                  </a:cubicBezTo>
                  <a:cubicBezTo>
                    <a:pt x="125" y="1429"/>
                    <a:pt x="124" y="1446"/>
                    <a:pt x="133" y="1445"/>
                  </a:cubicBezTo>
                  <a:close/>
                  <a:moveTo>
                    <a:pt x="118" y="1485"/>
                  </a:moveTo>
                  <a:cubicBezTo>
                    <a:pt x="119" y="1486"/>
                    <a:pt x="120" y="1493"/>
                    <a:pt x="120" y="1493"/>
                  </a:cubicBezTo>
                  <a:cubicBezTo>
                    <a:pt x="120" y="1493"/>
                    <a:pt x="123" y="1471"/>
                    <a:pt x="123" y="1470"/>
                  </a:cubicBezTo>
                  <a:cubicBezTo>
                    <a:pt x="120" y="1470"/>
                    <a:pt x="119" y="1475"/>
                    <a:pt x="119" y="1478"/>
                  </a:cubicBezTo>
                  <a:cubicBezTo>
                    <a:pt x="119" y="1481"/>
                    <a:pt x="118" y="1469"/>
                    <a:pt x="115" y="1474"/>
                  </a:cubicBezTo>
                  <a:cubicBezTo>
                    <a:pt x="107" y="1486"/>
                    <a:pt x="102" y="1475"/>
                    <a:pt x="102" y="1457"/>
                  </a:cubicBezTo>
                  <a:cubicBezTo>
                    <a:pt x="102" y="1456"/>
                    <a:pt x="102" y="1456"/>
                    <a:pt x="102" y="1456"/>
                  </a:cubicBezTo>
                  <a:cubicBezTo>
                    <a:pt x="99" y="1451"/>
                    <a:pt x="99" y="1468"/>
                    <a:pt x="99" y="1469"/>
                  </a:cubicBezTo>
                  <a:cubicBezTo>
                    <a:pt x="98" y="1487"/>
                    <a:pt x="117" y="1481"/>
                    <a:pt x="118" y="1485"/>
                  </a:cubicBezTo>
                  <a:close/>
                  <a:moveTo>
                    <a:pt x="128" y="1717"/>
                  </a:moveTo>
                  <a:cubicBezTo>
                    <a:pt x="128" y="1717"/>
                    <a:pt x="128" y="1717"/>
                    <a:pt x="128" y="1717"/>
                  </a:cubicBezTo>
                  <a:cubicBezTo>
                    <a:pt x="126" y="1714"/>
                    <a:pt x="121" y="1722"/>
                    <a:pt x="118" y="1723"/>
                  </a:cubicBezTo>
                  <a:cubicBezTo>
                    <a:pt x="117" y="1724"/>
                    <a:pt x="107" y="1726"/>
                    <a:pt x="107" y="1728"/>
                  </a:cubicBezTo>
                  <a:cubicBezTo>
                    <a:pt x="108" y="1730"/>
                    <a:pt x="131" y="1724"/>
                    <a:pt x="128" y="1717"/>
                  </a:cubicBezTo>
                  <a:close/>
                  <a:moveTo>
                    <a:pt x="128" y="1660"/>
                  </a:moveTo>
                  <a:cubicBezTo>
                    <a:pt x="124" y="1662"/>
                    <a:pt x="120" y="1662"/>
                    <a:pt x="119" y="1667"/>
                  </a:cubicBezTo>
                  <a:cubicBezTo>
                    <a:pt x="118" y="1668"/>
                    <a:pt x="117" y="1675"/>
                    <a:pt x="121" y="1672"/>
                  </a:cubicBezTo>
                  <a:cubicBezTo>
                    <a:pt x="125" y="1668"/>
                    <a:pt x="129" y="1663"/>
                    <a:pt x="133" y="1660"/>
                  </a:cubicBezTo>
                  <a:cubicBezTo>
                    <a:pt x="133" y="1660"/>
                    <a:pt x="133" y="1660"/>
                    <a:pt x="133" y="1660"/>
                  </a:cubicBezTo>
                  <a:cubicBezTo>
                    <a:pt x="133" y="1657"/>
                    <a:pt x="130" y="1660"/>
                    <a:pt x="128" y="1660"/>
                  </a:cubicBezTo>
                  <a:close/>
                  <a:moveTo>
                    <a:pt x="213" y="1681"/>
                  </a:moveTo>
                  <a:cubicBezTo>
                    <a:pt x="213" y="1676"/>
                    <a:pt x="203" y="1693"/>
                    <a:pt x="207" y="1695"/>
                  </a:cubicBezTo>
                  <a:cubicBezTo>
                    <a:pt x="214" y="1697"/>
                    <a:pt x="213" y="1684"/>
                    <a:pt x="213" y="1681"/>
                  </a:cubicBezTo>
                  <a:close/>
                  <a:moveTo>
                    <a:pt x="253" y="1790"/>
                  </a:moveTo>
                  <a:cubicBezTo>
                    <a:pt x="245" y="1763"/>
                    <a:pt x="227" y="1812"/>
                    <a:pt x="236" y="1823"/>
                  </a:cubicBezTo>
                  <a:cubicBezTo>
                    <a:pt x="238" y="1826"/>
                    <a:pt x="251" y="1791"/>
                    <a:pt x="252" y="1791"/>
                  </a:cubicBezTo>
                  <a:lnTo>
                    <a:pt x="253" y="1790"/>
                  </a:lnTo>
                  <a:close/>
                  <a:moveTo>
                    <a:pt x="258" y="1543"/>
                  </a:moveTo>
                  <a:cubicBezTo>
                    <a:pt x="259" y="1542"/>
                    <a:pt x="273" y="1524"/>
                    <a:pt x="270" y="1515"/>
                  </a:cubicBezTo>
                  <a:cubicBezTo>
                    <a:pt x="269" y="1514"/>
                    <a:pt x="264" y="1512"/>
                    <a:pt x="265" y="1510"/>
                  </a:cubicBezTo>
                  <a:cubicBezTo>
                    <a:pt x="266" y="1509"/>
                    <a:pt x="283" y="1504"/>
                    <a:pt x="279" y="1500"/>
                  </a:cubicBezTo>
                  <a:cubicBezTo>
                    <a:pt x="271" y="1491"/>
                    <a:pt x="261" y="1509"/>
                    <a:pt x="262" y="1496"/>
                  </a:cubicBezTo>
                  <a:cubicBezTo>
                    <a:pt x="262" y="1488"/>
                    <a:pt x="282" y="1472"/>
                    <a:pt x="275" y="1463"/>
                  </a:cubicBezTo>
                  <a:cubicBezTo>
                    <a:pt x="270" y="1458"/>
                    <a:pt x="261" y="1464"/>
                    <a:pt x="257" y="1465"/>
                  </a:cubicBezTo>
                  <a:cubicBezTo>
                    <a:pt x="254" y="1465"/>
                    <a:pt x="254" y="1458"/>
                    <a:pt x="251" y="1458"/>
                  </a:cubicBezTo>
                  <a:cubicBezTo>
                    <a:pt x="249" y="1457"/>
                    <a:pt x="253" y="1464"/>
                    <a:pt x="246" y="1463"/>
                  </a:cubicBezTo>
                  <a:cubicBezTo>
                    <a:pt x="241" y="1463"/>
                    <a:pt x="249" y="1454"/>
                    <a:pt x="248" y="1453"/>
                  </a:cubicBezTo>
                  <a:cubicBezTo>
                    <a:pt x="245" y="1451"/>
                    <a:pt x="242" y="1457"/>
                    <a:pt x="239" y="1456"/>
                  </a:cubicBezTo>
                  <a:cubicBezTo>
                    <a:pt x="236" y="1454"/>
                    <a:pt x="240" y="1451"/>
                    <a:pt x="239" y="1451"/>
                  </a:cubicBezTo>
                  <a:cubicBezTo>
                    <a:pt x="236" y="1450"/>
                    <a:pt x="201" y="1459"/>
                    <a:pt x="200" y="1460"/>
                  </a:cubicBezTo>
                  <a:cubicBezTo>
                    <a:pt x="198" y="1462"/>
                    <a:pt x="205" y="1464"/>
                    <a:pt x="204" y="1466"/>
                  </a:cubicBezTo>
                  <a:cubicBezTo>
                    <a:pt x="203" y="1467"/>
                    <a:pt x="196" y="1466"/>
                    <a:pt x="196" y="1464"/>
                  </a:cubicBezTo>
                  <a:cubicBezTo>
                    <a:pt x="189" y="1449"/>
                    <a:pt x="195" y="1466"/>
                    <a:pt x="191" y="1470"/>
                  </a:cubicBezTo>
                  <a:cubicBezTo>
                    <a:pt x="189" y="1473"/>
                    <a:pt x="187" y="1468"/>
                    <a:pt x="186" y="1469"/>
                  </a:cubicBezTo>
                  <a:cubicBezTo>
                    <a:pt x="186" y="1469"/>
                    <a:pt x="209" y="1522"/>
                    <a:pt x="198" y="1526"/>
                  </a:cubicBezTo>
                  <a:cubicBezTo>
                    <a:pt x="197" y="1526"/>
                    <a:pt x="197" y="1526"/>
                    <a:pt x="197" y="1526"/>
                  </a:cubicBezTo>
                  <a:cubicBezTo>
                    <a:pt x="187" y="1524"/>
                    <a:pt x="188" y="1511"/>
                    <a:pt x="185" y="1507"/>
                  </a:cubicBezTo>
                  <a:cubicBezTo>
                    <a:pt x="178" y="1500"/>
                    <a:pt x="172" y="1506"/>
                    <a:pt x="169" y="1498"/>
                  </a:cubicBezTo>
                  <a:cubicBezTo>
                    <a:pt x="169" y="1497"/>
                    <a:pt x="169" y="1496"/>
                    <a:pt x="168" y="1496"/>
                  </a:cubicBezTo>
                  <a:cubicBezTo>
                    <a:pt x="141" y="1504"/>
                    <a:pt x="150" y="1534"/>
                    <a:pt x="140" y="1536"/>
                  </a:cubicBezTo>
                  <a:cubicBezTo>
                    <a:pt x="134" y="1537"/>
                    <a:pt x="141" y="1513"/>
                    <a:pt x="129" y="1514"/>
                  </a:cubicBezTo>
                  <a:cubicBezTo>
                    <a:pt x="128" y="1514"/>
                    <a:pt x="135" y="1534"/>
                    <a:pt x="135" y="1536"/>
                  </a:cubicBezTo>
                  <a:cubicBezTo>
                    <a:pt x="134" y="1538"/>
                    <a:pt x="124" y="1529"/>
                    <a:pt x="127" y="1537"/>
                  </a:cubicBezTo>
                  <a:cubicBezTo>
                    <a:pt x="130" y="1547"/>
                    <a:pt x="137" y="1533"/>
                    <a:pt x="134" y="1544"/>
                  </a:cubicBezTo>
                  <a:cubicBezTo>
                    <a:pt x="133" y="1548"/>
                    <a:pt x="134" y="1554"/>
                    <a:pt x="136" y="1556"/>
                  </a:cubicBezTo>
                  <a:cubicBezTo>
                    <a:pt x="138" y="1558"/>
                    <a:pt x="147" y="1560"/>
                    <a:pt x="147" y="1560"/>
                  </a:cubicBezTo>
                  <a:cubicBezTo>
                    <a:pt x="143" y="1574"/>
                    <a:pt x="117" y="1583"/>
                    <a:pt x="117" y="1594"/>
                  </a:cubicBezTo>
                  <a:cubicBezTo>
                    <a:pt x="117" y="1595"/>
                    <a:pt x="117" y="1597"/>
                    <a:pt x="118" y="1597"/>
                  </a:cubicBezTo>
                  <a:cubicBezTo>
                    <a:pt x="132" y="1604"/>
                    <a:pt x="138" y="1584"/>
                    <a:pt x="146" y="1583"/>
                  </a:cubicBezTo>
                  <a:cubicBezTo>
                    <a:pt x="152" y="1582"/>
                    <a:pt x="133" y="1600"/>
                    <a:pt x="139" y="1601"/>
                  </a:cubicBezTo>
                  <a:cubicBezTo>
                    <a:pt x="146" y="1602"/>
                    <a:pt x="151" y="1593"/>
                    <a:pt x="150" y="1589"/>
                  </a:cubicBezTo>
                  <a:cubicBezTo>
                    <a:pt x="149" y="1586"/>
                    <a:pt x="177" y="1580"/>
                    <a:pt x="173" y="1576"/>
                  </a:cubicBezTo>
                  <a:cubicBezTo>
                    <a:pt x="170" y="1574"/>
                    <a:pt x="168" y="1571"/>
                    <a:pt x="174" y="1570"/>
                  </a:cubicBezTo>
                  <a:cubicBezTo>
                    <a:pt x="178" y="1570"/>
                    <a:pt x="177" y="1564"/>
                    <a:pt x="179" y="1564"/>
                  </a:cubicBezTo>
                  <a:cubicBezTo>
                    <a:pt x="179" y="1565"/>
                    <a:pt x="179" y="1565"/>
                    <a:pt x="179" y="1565"/>
                  </a:cubicBezTo>
                  <a:cubicBezTo>
                    <a:pt x="180" y="1567"/>
                    <a:pt x="182" y="1565"/>
                    <a:pt x="184" y="1565"/>
                  </a:cubicBezTo>
                  <a:cubicBezTo>
                    <a:pt x="206" y="1560"/>
                    <a:pt x="184" y="1578"/>
                    <a:pt x="193" y="1579"/>
                  </a:cubicBezTo>
                  <a:cubicBezTo>
                    <a:pt x="194" y="1579"/>
                    <a:pt x="195" y="1579"/>
                    <a:pt x="196" y="1579"/>
                  </a:cubicBezTo>
                  <a:cubicBezTo>
                    <a:pt x="197" y="1579"/>
                    <a:pt x="197" y="1579"/>
                    <a:pt x="197" y="1579"/>
                  </a:cubicBezTo>
                  <a:cubicBezTo>
                    <a:pt x="198" y="1579"/>
                    <a:pt x="198" y="1579"/>
                    <a:pt x="198" y="1579"/>
                  </a:cubicBezTo>
                  <a:cubicBezTo>
                    <a:pt x="199" y="1579"/>
                    <a:pt x="199" y="1579"/>
                    <a:pt x="199" y="1579"/>
                  </a:cubicBezTo>
                  <a:cubicBezTo>
                    <a:pt x="207" y="1578"/>
                    <a:pt x="205" y="1567"/>
                    <a:pt x="211" y="1563"/>
                  </a:cubicBezTo>
                  <a:cubicBezTo>
                    <a:pt x="225" y="1553"/>
                    <a:pt x="237" y="1553"/>
                    <a:pt x="252" y="1549"/>
                  </a:cubicBezTo>
                  <a:cubicBezTo>
                    <a:pt x="253" y="1549"/>
                    <a:pt x="258" y="1544"/>
                    <a:pt x="258" y="1543"/>
                  </a:cubicBezTo>
                  <a:close/>
                  <a:moveTo>
                    <a:pt x="272" y="1768"/>
                  </a:moveTo>
                  <a:cubicBezTo>
                    <a:pt x="263" y="1768"/>
                    <a:pt x="267" y="1797"/>
                    <a:pt x="268" y="1790"/>
                  </a:cubicBezTo>
                  <a:cubicBezTo>
                    <a:pt x="268" y="1790"/>
                    <a:pt x="268" y="1790"/>
                    <a:pt x="268" y="1790"/>
                  </a:cubicBezTo>
                  <a:cubicBezTo>
                    <a:pt x="268" y="1787"/>
                    <a:pt x="275" y="1769"/>
                    <a:pt x="272" y="1768"/>
                  </a:cubicBezTo>
                  <a:close/>
                  <a:moveTo>
                    <a:pt x="277" y="1790"/>
                  </a:moveTo>
                  <a:cubicBezTo>
                    <a:pt x="277" y="1789"/>
                    <a:pt x="277" y="1789"/>
                    <a:pt x="277" y="1789"/>
                  </a:cubicBezTo>
                  <a:cubicBezTo>
                    <a:pt x="276" y="1786"/>
                    <a:pt x="282" y="1779"/>
                    <a:pt x="281" y="1777"/>
                  </a:cubicBezTo>
                  <a:cubicBezTo>
                    <a:pt x="279" y="1772"/>
                    <a:pt x="274" y="1781"/>
                    <a:pt x="273" y="1784"/>
                  </a:cubicBezTo>
                  <a:cubicBezTo>
                    <a:pt x="273" y="1793"/>
                    <a:pt x="278" y="1802"/>
                    <a:pt x="277" y="1790"/>
                  </a:cubicBezTo>
                  <a:close/>
                  <a:moveTo>
                    <a:pt x="280" y="1849"/>
                  </a:moveTo>
                  <a:cubicBezTo>
                    <a:pt x="284" y="1853"/>
                    <a:pt x="287" y="1842"/>
                    <a:pt x="289" y="1837"/>
                  </a:cubicBezTo>
                  <a:cubicBezTo>
                    <a:pt x="289" y="1837"/>
                    <a:pt x="289" y="1837"/>
                    <a:pt x="289" y="1837"/>
                  </a:cubicBezTo>
                  <a:cubicBezTo>
                    <a:pt x="300" y="1831"/>
                    <a:pt x="265" y="1835"/>
                    <a:pt x="280" y="1849"/>
                  </a:cubicBezTo>
                  <a:close/>
                  <a:moveTo>
                    <a:pt x="315" y="1910"/>
                  </a:moveTo>
                  <a:cubicBezTo>
                    <a:pt x="315" y="1907"/>
                    <a:pt x="312" y="1913"/>
                    <a:pt x="311" y="1909"/>
                  </a:cubicBezTo>
                  <a:cubicBezTo>
                    <a:pt x="311" y="1908"/>
                    <a:pt x="309" y="1909"/>
                    <a:pt x="307" y="1908"/>
                  </a:cubicBezTo>
                  <a:cubicBezTo>
                    <a:pt x="303" y="1905"/>
                    <a:pt x="305" y="1911"/>
                    <a:pt x="302" y="1912"/>
                  </a:cubicBezTo>
                  <a:cubicBezTo>
                    <a:pt x="299" y="1913"/>
                    <a:pt x="295" y="1907"/>
                    <a:pt x="294" y="1909"/>
                  </a:cubicBezTo>
                  <a:cubicBezTo>
                    <a:pt x="290" y="1919"/>
                    <a:pt x="316" y="1924"/>
                    <a:pt x="315" y="1910"/>
                  </a:cubicBezTo>
                  <a:close/>
                  <a:moveTo>
                    <a:pt x="339" y="1836"/>
                  </a:moveTo>
                  <a:cubicBezTo>
                    <a:pt x="334" y="1839"/>
                    <a:pt x="337" y="1831"/>
                    <a:pt x="332" y="1829"/>
                  </a:cubicBezTo>
                  <a:cubicBezTo>
                    <a:pt x="329" y="1827"/>
                    <a:pt x="332" y="1850"/>
                    <a:pt x="325" y="1835"/>
                  </a:cubicBezTo>
                  <a:cubicBezTo>
                    <a:pt x="324" y="1832"/>
                    <a:pt x="324" y="1829"/>
                    <a:pt x="323" y="1825"/>
                  </a:cubicBezTo>
                  <a:cubicBezTo>
                    <a:pt x="323" y="1825"/>
                    <a:pt x="323" y="1825"/>
                    <a:pt x="323" y="1825"/>
                  </a:cubicBezTo>
                  <a:cubicBezTo>
                    <a:pt x="319" y="1822"/>
                    <a:pt x="321" y="1829"/>
                    <a:pt x="322" y="1831"/>
                  </a:cubicBezTo>
                  <a:cubicBezTo>
                    <a:pt x="326" y="1843"/>
                    <a:pt x="330" y="1858"/>
                    <a:pt x="340" y="1855"/>
                  </a:cubicBezTo>
                  <a:cubicBezTo>
                    <a:pt x="340" y="1855"/>
                    <a:pt x="332" y="1841"/>
                    <a:pt x="341" y="1846"/>
                  </a:cubicBezTo>
                  <a:cubicBezTo>
                    <a:pt x="352" y="1851"/>
                    <a:pt x="340" y="1836"/>
                    <a:pt x="339" y="1836"/>
                  </a:cubicBezTo>
                  <a:close/>
                  <a:moveTo>
                    <a:pt x="334" y="1804"/>
                  </a:moveTo>
                  <a:cubicBezTo>
                    <a:pt x="341" y="1806"/>
                    <a:pt x="347" y="1794"/>
                    <a:pt x="338" y="1791"/>
                  </a:cubicBezTo>
                  <a:cubicBezTo>
                    <a:pt x="339" y="1790"/>
                    <a:pt x="339" y="1790"/>
                    <a:pt x="339" y="1790"/>
                  </a:cubicBezTo>
                  <a:cubicBezTo>
                    <a:pt x="342" y="1786"/>
                    <a:pt x="317" y="1797"/>
                    <a:pt x="334" y="1804"/>
                  </a:cubicBezTo>
                  <a:close/>
                  <a:moveTo>
                    <a:pt x="349" y="1599"/>
                  </a:moveTo>
                  <a:cubicBezTo>
                    <a:pt x="349" y="1599"/>
                    <a:pt x="349" y="1599"/>
                    <a:pt x="349" y="1599"/>
                  </a:cubicBezTo>
                  <a:cubicBezTo>
                    <a:pt x="349" y="1599"/>
                    <a:pt x="349" y="1599"/>
                    <a:pt x="349" y="1599"/>
                  </a:cubicBezTo>
                  <a:cubicBezTo>
                    <a:pt x="349" y="1599"/>
                    <a:pt x="349" y="1599"/>
                    <a:pt x="349" y="1599"/>
                  </a:cubicBezTo>
                  <a:cubicBezTo>
                    <a:pt x="348" y="1595"/>
                    <a:pt x="333" y="1597"/>
                    <a:pt x="334" y="1602"/>
                  </a:cubicBezTo>
                  <a:cubicBezTo>
                    <a:pt x="335" y="1607"/>
                    <a:pt x="347" y="1602"/>
                    <a:pt x="349" y="1599"/>
                  </a:cubicBezTo>
                  <a:close/>
                  <a:moveTo>
                    <a:pt x="354" y="1791"/>
                  </a:moveTo>
                  <a:cubicBezTo>
                    <a:pt x="354" y="1790"/>
                    <a:pt x="354" y="1790"/>
                    <a:pt x="354" y="1790"/>
                  </a:cubicBezTo>
                  <a:cubicBezTo>
                    <a:pt x="354" y="1784"/>
                    <a:pt x="347" y="1790"/>
                    <a:pt x="348" y="1791"/>
                  </a:cubicBezTo>
                  <a:cubicBezTo>
                    <a:pt x="350" y="1793"/>
                    <a:pt x="358" y="1796"/>
                    <a:pt x="354" y="1791"/>
                  </a:cubicBezTo>
                  <a:close/>
                  <a:moveTo>
                    <a:pt x="356" y="1577"/>
                  </a:moveTo>
                  <a:cubicBezTo>
                    <a:pt x="359" y="1570"/>
                    <a:pt x="346" y="1572"/>
                    <a:pt x="344" y="1568"/>
                  </a:cubicBezTo>
                  <a:cubicBezTo>
                    <a:pt x="342" y="1565"/>
                    <a:pt x="365" y="1522"/>
                    <a:pt x="350" y="1526"/>
                  </a:cubicBezTo>
                  <a:cubicBezTo>
                    <a:pt x="349" y="1526"/>
                    <a:pt x="350" y="1533"/>
                    <a:pt x="348" y="1535"/>
                  </a:cubicBezTo>
                  <a:cubicBezTo>
                    <a:pt x="335" y="1551"/>
                    <a:pt x="334" y="1544"/>
                    <a:pt x="317" y="1562"/>
                  </a:cubicBezTo>
                  <a:cubicBezTo>
                    <a:pt x="315" y="1564"/>
                    <a:pt x="288" y="1624"/>
                    <a:pt x="287" y="1632"/>
                  </a:cubicBezTo>
                  <a:cubicBezTo>
                    <a:pt x="287" y="1638"/>
                    <a:pt x="267" y="1681"/>
                    <a:pt x="286" y="1681"/>
                  </a:cubicBezTo>
                  <a:cubicBezTo>
                    <a:pt x="294" y="1681"/>
                    <a:pt x="296" y="1656"/>
                    <a:pt x="306" y="1650"/>
                  </a:cubicBezTo>
                  <a:cubicBezTo>
                    <a:pt x="307" y="1650"/>
                    <a:pt x="307" y="1650"/>
                    <a:pt x="307" y="1650"/>
                  </a:cubicBezTo>
                  <a:cubicBezTo>
                    <a:pt x="320" y="1634"/>
                    <a:pt x="317" y="1609"/>
                    <a:pt x="328" y="1596"/>
                  </a:cubicBezTo>
                  <a:cubicBezTo>
                    <a:pt x="336" y="1586"/>
                    <a:pt x="352" y="1587"/>
                    <a:pt x="356" y="1577"/>
                  </a:cubicBezTo>
                  <a:close/>
                  <a:moveTo>
                    <a:pt x="358" y="1764"/>
                  </a:moveTo>
                  <a:cubicBezTo>
                    <a:pt x="357" y="1763"/>
                    <a:pt x="357" y="1763"/>
                    <a:pt x="357" y="1763"/>
                  </a:cubicBezTo>
                  <a:cubicBezTo>
                    <a:pt x="356" y="1759"/>
                    <a:pt x="355" y="1783"/>
                    <a:pt x="361" y="1781"/>
                  </a:cubicBezTo>
                  <a:cubicBezTo>
                    <a:pt x="361" y="1781"/>
                    <a:pt x="359" y="1764"/>
                    <a:pt x="358" y="1764"/>
                  </a:cubicBezTo>
                  <a:close/>
                  <a:moveTo>
                    <a:pt x="371" y="1822"/>
                  </a:moveTo>
                  <a:cubicBezTo>
                    <a:pt x="371" y="1822"/>
                    <a:pt x="371" y="1822"/>
                    <a:pt x="371" y="1822"/>
                  </a:cubicBezTo>
                  <a:cubicBezTo>
                    <a:pt x="370" y="1820"/>
                    <a:pt x="369" y="1821"/>
                    <a:pt x="368" y="1822"/>
                  </a:cubicBezTo>
                  <a:cubicBezTo>
                    <a:pt x="366" y="1824"/>
                    <a:pt x="356" y="1818"/>
                    <a:pt x="365" y="1828"/>
                  </a:cubicBezTo>
                  <a:cubicBezTo>
                    <a:pt x="371" y="1833"/>
                    <a:pt x="374" y="1829"/>
                    <a:pt x="371" y="1822"/>
                  </a:cubicBezTo>
                  <a:close/>
                  <a:moveTo>
                    <a:pt x="390" y="1651"/>
                  </a:moveTo>
                  <a:cubicBezTo>
                    <a:pt x="390" y="1650"/>
                    <a:pt x="390" y="1650"/>
                    <a:pt x="390" y="1650"/>
                  </a:cubicBezTo>
                  <a:cubicBezTo>
                    <a:pt x="389" y="1644"/>
                    <a:pt x="386" y="1650"/>
                    <a:pt x="385" y="1648"/>
                  </a:cubicBezTo>
                  <a:cubicBezTo>
                    <a:pt x="376" y="1637"/>
                    <a:pt x="375" y="1646"/>
                    <a:pt x="368" y="1645"/>
                  </a:cubicBezTo>
                  <a:cubicBezTo>
                    <a:pt x="366" y="1644"/>
                    <a:pt x="363" y="1646"/>
                    <a:pt x="362" y="1643"/>
                  </a:cubicBezTo>
                  <a:cubicBezTo>
                    <a:pt x="362" y="1641"/>
                    <a:pt x="359" y="1625"/>
                    <a:pt x="359" y="1634"/>
                  </a:cubicBezTo>
                  <a:cubicBezTo>
                    <a:pt x="360" y="1638"/>
                    <a:pt x="357" y="1641"/>
                    <a:pt x="357" y="1641"/>
                  </a:cubicBezTo>
                  <a:cubicBezTo>
                    <a:pt x="358" y="1645"/>
                    <a:pt x="372" y="1663"/>
                    <a:pt x="375" y="1663"/>
                  </a:cubicBezTo>
                  <a:cubicBezTo>
                    <a:pt x="375" y="1663"/>
                    <a:pt x="375" y="1649"/>
                    <a:pt x="379" y="1651"/>
                  </a:cubicBezTo>
                  <a:cubicBezTo>
                    <a:pt x="381" y="1652"/>
                    <a:pt x="385" y="1669"/>
                    <a:pt x="389" y="1666"/>
                  </a:cubicBezTo>
                  <a:cubicBezTo>
                    <a:pt x="394" y="1663"/>
                    <a:pt x="381" y="1651"/>
                    <a:pt x="386" y="1652"/>
                  </a:cubicBezTo>
                  <a:cubicBezTo>
                    <a:pt x="389" y="1652"/>
                    <a:pt x="393" y="1662"/>
                    <a:pt x="390" y="1651"/>
                  </a:cubicBezTo>
                  <a:close/>
                  <a:moveTo>
                    <a:pt x="405" y="1500"/>
                  </a:moveTo>
                  <a:cubicBezTo>
                    <a:pt x="405" y="1500"/>
                    <a:pt x="405" y="1500"/>
                    <a:pt x="405" y="1500"/>
                  </a:cubicBezTo>
                  <a:cubicBezTo>
                    <a:pt x="384" y="1500"/>
                    <a:pt x="406" y="1516"/>
                    <a:pt x="405" y="1500"/>
                  </a:cubicBezTo>
                  <a:close/>
                  <a:moveTo>
                    <a:pt x="425" y="1579"/>
                  </a:moveTo>
                  <a:cubicBezTo>
                    <a:pt x="427" y="1577"/>
                    <a:pt x="455" y="1576"/>
                    <a:pt x="433" y="1575"/>
                  </a:cubicBezTo>
                  <a:cubicBezTo>
                    <a:pt x="426" y="1575"/>
                    <a:pt x="420" y="1574"/>
                    <a:pt x="413" y="1574"/>
                  </a:cubicBezTo>
                  <a:cubicBezTo>
                    <a:pt x="413" y="1574"/>
                    <a:pt x="413" y="1574"/>
                    <a:pt x="413" y="1574"/>
                  </a:cubicBezTo>
                  <a:cubicBezTo>
                    <a:pt x="394" y="1582"/>
                    <a:pt x="412" y="1589"/>
                    <a:pt x="425" y="1579"/>
                  </a:cubicBezTo>
                  <a:close/>
                  <a:moveTo>
                    <a:pt x="433" y="1518"/>
                  </a:moveTo>
                  <a:cubicBezTo>
                    <a:pt x="427" y="1518"/>
                    <a:pt x="440" y="1520"/>
                    <a:pt x="441" y="1520"/>
                  </a:cubicBezTo>
                  <a:cubicBezTo>
                    <a:pt x="460" y="1523"/>
                    <a:pt x="447" y="1516"/>
                    <a:pt x="435" y="1509"/>
                  </a:cubicBezTo>
                  <a:cubicBezTo>
                    <a:pt x="434" y="1509"/>
                    <a:pt x="434" y="1509"/>
                    <a:pt x="434" y="1509"/>
                  </a:cubicBezTo>
                  <a:cubicBezTo>
                    <a:pt x="416" y="1506"/>
                    <a:pt x="448" y="1518"/>
                    <a:pt x="433" y="1518"/>
                  </a:cubicBezTo>
                  <a:close/>
                  <a:moveTo>
                    <a:pt x="447" y="1650"/>
                  </a:moveTo>
                  <a:cubicBezTo>
                    <a:pt x="447" y="1650"/>
                    <a:pt x="447" y="1650"/>
                    <a:pt x="447" y="1650"/>
                  </a:cubicBezTo>
                  <a:cubicBezTo>
                    <a:pt x="442" y="1646"/>
                    <a:pt x="435" y="1650"/>
                    <a:pt x="433" y="1647"/>
                  </a:cubicBezTo>
                  <a:cubicBezTo>
                    <a:pt x="431" y="1645"/>
                    <a:pt x="431" y="1645"/>
                    <a:pt x="428" y="1647"/>
                  </a:cubicBezTo>
                  <a:cubicBezTo>
                    <a:pt x="422" y="1651"/>
                    <a:pt x="437" y="1668"/>
                    <a:pt x="441" y="1659"/>
                  </a:cubicBezTo>
                  <a:cubicBezTo>
                    <a:pt x="443" y="1654"/>
                    <a:pt x="420" y="1652"/>
                    <a:pt x="440" y="1650"/>
                  </a:cubicBezTo>
                  <a:cubicBezTo>
                    <a:pt x="443" y="1650"/>
                    <a:pt x="445" y="1651"/>
                    <a:pt x="447" y="1650"/>
                  </a:cubicBezTo>
                  <a:close/>
                  <a:moveTo>
                    <a:pt x="442" y="1555"/>
                  </a:moveTo>
                  <a:cubicBezTo>
                    <a:pt x="442" y="1554"/>
                    <a:pt x="442" y="1554"/>
                    <a:pt x="442" y="1554"/>
                  </a:cubicBezTo>
                  <a:cubicBezTo>
                    <a:pt x="438" y="1552"/>
                    <a:pt x="430" y="1566"/>
                    <a:pt x="441" y="1567"/>
                  </a:cubicBezTo>
                  <a:cubicBezTo>
                    <a:pt x="459" y="1568"/>
                    <a:pt x="452" y="1563"/>
                    <a:pt x="442" y="1555"/>
                  </a:cubicBezTo>
                  <a:close/>
                  <a:moveTo>
                    <a:pt x="490" y="1525"/>
                  </a:moveTo>
                  <a:cubicBezTo>
                    <a:pt x="503" y="1535"/>
                    <a:pt x="490" y="1533"/>
                    <a:pt x="500" y="1537"/>
                  </a:cubicBezTo>
                  <a:cubicBezTo>
                    <a:pt x="502" y="1537"/>
                    <a:pt x="510" y="1541"/>
                    <a:pt x="511" y="1539"/>
                  </a:cubicBezTo>
                  <a:cubicBezTo>
                    <a:pt x="511" y="1539"/>
                    <a:pt x="504" y="1535"/>
                    <a:pt x="504" y="1534"/>
                  </a:cubicBezTo>
                  <a:cubicBezTo>
                    <a:pt x="502" y="1526"/>
                    <a:pt x="500" y="1524"/>
                    <a:pt x="497" y="1523"/>
                  </a:cubicBezTo>
                  <a:cubicBezTo>
                    <a:pt x="497" y="1523"/>
                    <a:pt x="497" y="1523"/>
                    <a:pt x="497" y="1523"/>
                  </a:cubicBezTo>
                  <a:cubicBezTo>
                    <a:pt x="494" y="1524"/>
                    <a:pt x="483" y="1521"/>
                    <a:pt x="490" y="1525"/>
                  </a:cubicBezTo>
                  <a:close/>
                  <a:moveTo>
                    <a:pt x="447" y="1468"/>
                  </a:moveTo>
                  <a:cubicBezTo>
                    <a:pt x="446" y="1469"/>
                    <a:pt x="446" y="1469"/>
                    <a:pt x="446" y="1469"/>
                  </a:cubicBezTo>
                  <a:cubicBezTo>
                    <a:pt x="432" y="1469"/>
                    <a:pt x="430" y="1469"/>
                    <a:pt x="424" y="1466"/>
                  </a:cubicBezTo>
                  <a:cubicBezTo>
                    <a:pt x="414" y="1460"/>
                    <a:pt x="406" y="1467"/>
                    <a:pt x="398" y="1469"/>
                  </a:cubicBezTo>
                  <a:cubicBezTo>
                    <a:pt x="395" y="1469"/>
                    <a:pt x="379" y="1465"/>
                    <a:pt x="378" y="1468"/>
                  </a:cubicBezTo>
                  <a:cubicBezTo>
                    <a:pt x="377" y="1472"/>
                    <a:pt x="384" y="1470"/>
                    <a:pt x="385" y="1470"/>
                  </a:cubicBezTo>
                  <a:cubicBezTo>
                    <a:pt x="388" y="1471"/>
                    <a:pt x="407" y="1471"/>
                    <a:pt x="407" y="1471"/>
                  </a:cubicBezTo>
                  <a:cubicBezTo>
                    <a:pt x="411" y="1472"/>
                    <a:pt x="404" y="1473"/>
                    <a:pt x="406" y="1476"/>
                  </a:cubicBezTo>
                  <a:cubicBezTo>
                    <a:pt x="409" y="1478"/>
                    <a:pt x="413" y="1475"/>
                    <a:pt x="415" y="1477"/>
                  </a:cubicBezTo>
                  <a:cubicBezTo>
                    <a:pt x="416" y="1478"/>
                    <a:pt x="403" y="1491"/>
                    <a:pt x="423" y="1489"/>
                  </a:cubicBezTo>
                  <a:cubicBezTo>
                    <a:pt x="440" y="1487"/>
                    <a:pt x="432" y="1483"/>
                    <a:pt x="442" y="1479"/>
                  </a:cubicBezTo>
                  <a:cubicBezTo>
                    <a:pt x="448" y="1476"/>
                    <a:pt x="483" y="1473"/>
                    <a:pt x="485" y="1465"/>
                  </a:cubicBezTo>
                  <a:cubicBezTo>
                    <a:pt x="485" y="1464"/>
                    <a:pt x="481" y="1466"/>
                    <a:pt x="479" y="1467"/>
                  </a:cubicBezTo>
                  <a:cubicBezTo>
                    <a:pt x="472" y="1470"/>
                    <a:pt x="452" y="1466"/>
                    <a:pt x="447" y="1468"/>
                  </a:cubicBezTo>
                  <a:close/>
                  <a:moveTo>
                    <a:pt x="447" y="1374"/>
                  </a:moveTo>
                  <a:cubicBezTo>
                    <a:pt x="447" y="1373"/>
                    <a:pt x="447" y="1373"/>
                    <a:pt x="447" y="1373"/>
                  </a:cubicBezTo>
                  <a:cubicBezTo>
                    <a:pt x="448" y="1370"/>
                    <a:pt x="443" y="1371"/>
                    <a:pt x="442" y="1371"/>
                  </a:cubicBezTo>
                  <a:cubicBezTo>
                    <a:pt x="434" y="1372"/>
                    <a:pt x="440" y="1374"/>
                    <a:pt x="440" y="1374"/>
                  </a:cubicBezTo>
                  <a:cubicBezTo>
                    <a:pt x="437" y="1376"/>
                    <a:pt x="441" y="1377"/>
                    <a:pt x="443" y="1378"/>
                  </a:cubicBezTo>
                  <a:cubicBezTo>
                    <a:pt x="450" y="1384"/>
                    <a:pt x="446" y="1378"/>
                    <a:pt x="447" y="1374"/>
                  </a:cubicBezTo>
                  <a:close/>
                  <a:moveTo>
                    <a:pt x="447" y="1077"/>
                  </a:moveTo>
                  <a:cubicBezTo>
                    <a:pt x="446" y="1077"/>
                    <a:pt x="446" y="1077"/>
                    <a:pt x="446" y="1077"/>
                  </a:cubicBezTo>
                  <a:cubicBezTo>
                    <a:pt x="436" y="1065"/>
                    <a:pt x="445" y="1079"/>
                    <a:pt x="439" y="1076"/>
                  </a:cubicBezTo>
                  <a:cubicBezTo>
                    <a:pt x="438" y="1075"/>
                    <a:pt x="433" y="1074"/>
                    <a:pt x="432" y="1076"/>
                  </a:cubicBezTo>
                  <a:cubicBezTo>
                    <a:pt x="432" y="1077"/>
                    <a:pt x="435" y="1079"/>
                    <a:pt x="436" y="1080"/>
                  </a:cubicBezTo>
                  <a:cubicBezTo>
                    <a:pt x="439" y="1083"/>
                    <a:pt x="449" y="1080"/>
                    <a:pt x="449" y="1080"/>
                  </a:cubicBezTo>
                  <a:cubicBezTo>
                    <a:pt x="449" y="1078"/>
                    <a:pt x="451" y="1078"/>
                    <a:pt x="447" y="1077"/>
                  </a:cubicBezTo>
                  <a:close/>
                  <a:moveTo>
                    <a:pt x="470" y="672"/>
                  </a:moveTo>
                  <a:cubicBezTo>
                    <a:pt x="473" y="675"/>
                    <a:pt x="473" y="680"/>
                    <a:pt x="477" y="683"/>
                  </a:cubicBezTo>
                  <a:cubicBezTo>
                    <a:pt x="489" y="692"/>
                    <a:pt x="466" y="668"/>
                    <a:pt x="486" y="680"/>
                  </a:cubicBezTo>
                  <a:cubicBezTo>
                    <a:pt x="494" y="685"/>
                    <a:pt x="504" y="691"/>
                    <a:pt x="511" y="699"/>
                  </a:cubicBezTo>
                  <a:cubicBezTo>
                    <a:pt x="512" y="700"/>
                    <a:pt x="514" y="709"/>
                    <a:pt x="515" y="709"/>
                  </a:cubicBezTo>
                  <a:cubicBezTo>
                    <a:pt x="516" y="708"/>
                    <a:pt x="517" y="706"/>
                    <a:pt x="517" y="705"/>
                  </a:cubicBezTo>
                  <a:cubicBezTo>
                    <a:pt x="515" y="700"/>
                    <a:pt x="509" y="686"/>
                    <a:pt x="502" y="683"/>
                  </a:cubicBezTo>
                  <a:cubicBezTo>
                    <a:pt x="493" y="680"/>
                    <a:pt x="442" y="653"/>
                    <a:pt x="440" y="641"/>
                  </a:cubicBezTo>
                  <a:cubicBezTo>
                    <a:pt x="440" y="640"/>
                    <a:pt x="440" y="640"/>
                    <a:pt x="440" y="640"/>
                  </a:cubicBezTo>
                  <a:cubicBezTo>
                    <a:pt x="435" y="635"/>
                    <a:pt x="442" y="649"/>
                    <a:pt x="443" y="650"/>
                  </a:cubicBezTo>
                  <a:cubicBezTo>
                    <a:pt x="449" y="660"/>
                    <a:pt x="460" y="664"/>
                    <a:pt x="470" y="672"/>
                  </a:cubicBezTo>
                  <a:close/>
                  <a:moveTo>
                    <a:pt x="512" y="1088"/>
                  </a:moveTo>
                  <a:cubicBezTo>
                    <a:pt x="512" y="1088"/>
                    <a:pt x="512" y="1088"/>
                    <a:pt x="512" y="1088"/>
                  </a:cubicBezTo>
                  <a:cubicBezTo>
                    <a:pt x="509" y="1088"/>
                    <a:pt x="505" y="1088"/>
                    <a:pt x="502" y="1089"/>
                  </a:cubicBezTo>
                  <a:cubicBezTo>
                    <a:pt x="489" y="1091"/>
                    <a:pt x="540" y="1116"/>
                    <a:pt x="512" y="1088"/>
                  </a:cubicBezTo>
                  <a:close/>
                  <a:moveTo>
                    <a:pt x="515" y="1109"/>
                  </a:moveTo>
                  <a:cubicBezTo>
                    <a:pt x="520" y="1112"/>
                    <a:pt x="512" y="1101"/>
                    <a:pt x="504" y="1098"/>
                  </a:cubicBezTo>
                  <a:cubicBezTo>
                    <a:pt x="504" y="1098"/>
                    <a:pt x="504" y="1098"/>
                    <a:pt x="504" y="1098"/>
                  </a:cubicBezTo>
                  <a:cubicBezTo>
                    <a:pt x="496" y="1098"/>
                    <a:pt x="509" y="1105"/>
                    <a:pt x="503" y="1104"/>
                  </a:cubicBezTo>
                  <a:cubicBezTo>
                    <a:pt x="493" y="1103"/>
                    <a:pt x="512" y="1108"/>
                    <a:pt x="515" y="1109"/>
                  </a:cubicBezTo>
                  <a:close/>
                  <a:moveTo>
                    <a:pt x="501" y="1285"/>
                  </a:moveTo>
                  <a:cubicBezTo>
                    <a:pt x="506" y="1290"/>
                    <a:pt x="526" y="1290"/>
                    <a:pt x="527" y="1279"/>
                  </a:cubicBezTo>
                  <a:cubicBezTo>
                    <a:pt x="527" y="1279"/>
                    <a:pt x="527" y="1279"/>
                    <a:pt x="527" y="1279"/>
                  </a:cubicBezTo>
                  <a:cubicBezTo>
                    <a:pt x="528" y="1278"/>
                    <a:pt x="498" y="1282"/>
                    <a:pt x="501" y="1285"/>
                  </a:cubicBezTo>
                  <a:close/>
                  <a:moveTo>
                    <a:pt x="527" y="811"/>
                  </a:moveTo>
                  <a:cubicBezTo>
                    <a:pt x="527" y="811"/>
                    <a:pt x="527" y="811"/>
                    <a:pt x="527" y="811"/>
                  </a:cubicBezTo>
                  <a:cubicBezTo>
                    <a:pt x="526" y="809"/>
                    <a:pt x="526" y="815"/>
                    <a:pt x="525" y="817"/>
                  </a:cubicBezTo>
                  <a:cubicBezTo>
                    <a:pt x="522" y="821"/>
                    <a:pt x="511" y="808"/>
                    <a:pt x="511" y="812"/>
                  </a:cubicBezTo>
                  <a:cubicBezTo>
                    <a:pt x="508" y="825"/>
                    <a:pt x="546" y="827"/>
                    <a:pt x="527" y="811"/>
                  </a:cubicBezTo>
                  <a:close/>
                  <a:moveTo>
                    <a:pt x="476" y="1124"/>
                  </a:moveTo>
                  <a:cubicBezTo>
                    <a:pt x="476" y="1124"/>
                    <a:pt x="476" y="1124"/>
                    <a:pt x="476" y="1124"/>
                  </a:cubicBezTo>
                  <a:cubicBezTo>
                    <a:pt x="476" y="1122"/>
                    <a:pt x="474" y="1118"/>
                    <a:pt x="473" y="1122"/>
                  </a:cubicBezTo>
                  <a:cubicBezTo>
                    <a:pt x="473" y="1126"/>
                    <a:pt x="462" y="1120"/>
                    <a:pt x="462" y="1124"/>
                  </a:cubicBezTo>
                  <a:cubicBezTo>
                    <a:pt x="462" y="1129"/>
                    <a:pt x="469" y="1128"/>
                    <a:pt x="472" y="1128"/>
                  </a:cubicBezTo>
                  <a:cubicBezTo>
                    <a:pt x="476" y="1130"/>
                    <a:pt x="479" y="1146"/>
                    <a:pt x="482" y="1144"/>
                  </a:cubicBezTo>
                  <a:cubicBezTo>
                    <a:pt x="485" y="1143"/>
                    <a:pt x="476" y="1127"/>
                    <a:pt x="476" y="1124"/>
                  </a:cubicBezTo>
                  <a:close/>
                  <a:moveTo>
                    <a:pt x="499" y="976"/>
                  </a:moveTo>
                  <a:cubicBezTo>
                    <a:pt x="500" y="976"/>
                    <a:pt x="514" y="989"/>
                    <a:pt x="515" y="987"/>
                  </a:cubicBezTo>
                  <a:cubicBezTo>
                    <a:pt x="519" y="982"/>
                    <a:pt x="488" y="970"/>
                    <a:pt x="488" y="970"/>
                  </a:cubicBezTo>
                  <a:cubicBezTo>
                    <a:pt x="488" y="970"/>
                    <a:pt x="488" y="970"/>
                    <a:pt x="488" y="970"/>
                  </a:cubicBezTo>
                  <a:cubicBezTo>
                    <a:pt x="481" y="968"/>
                    <a:pt x="472" y="966"/>
                    <a:pt x="472" y="967"/>
                  </a:cubicBezTo>
                  <a:cubicBezTo>
                    <a:pt x="474" y="978"/>
                    <a:pt x="493" y="972"/>
                    <a:pt x="499" y="976"/>
                  </a:cubicBezTo>
                  <a:close/>
                  <a:moveTo>
                    <a:pt x="558" y="1344"/>
                  </a:moveTo>
                  <a:cubicBezTo>
                    <a:pt x="557" y="1347"/>
                    <a:pt x="573" y="1347"/>
                    <a:pt x="573" y="1343"/>
                  </a:cubicBezTo>
                  <a:cubicBezTo>
                    <a:pt x="573" y="1343"/>
                    <a:pt x="573" y="1343"/>
                    <a:pt x="573" y="1343"/>
                  </a:cubicBezTo>
                  <a:cubicBezTo>
                    <a:pt x="577" y="1339"/>
                    <a:pt x="560" y="1340"/>
                    <a:pt x="558" y="1344"/>
                  </a:cubicBezTo>
                  <a:close/>
                  <a:moveTo>
                    <a:pt x="517" y="1327"/>
                  </a:moveTo>
                  <a:cubicBezTo>
                    <a:pt x="513" y="1329"/>
                    <a:pt x="518" y="1337"/>
                    <a:pt x="514" y="1339"/>
                  </a:cubicBezTo>
                  <a:cubicBezTo>
                    <a:pt x="511" y="1340"/>
                    <a:pt x="489" y="1340"/>
                    <a:pt x="489" y="1340"/>
                  </a:cubicBezTo>
                  <a:cubicBezTo>
                    <a:pt x="489" y="1347"/>
                    <a:pt x="510" y="1338"/>
                    <a:pt x="516" y="1342"/>
                  </a:cubicBezTo>
                  <a:cubicBezTo>
                    <a:pt x="528" y="1349"/>
                    <a:pt x="515" y="1335"/>
                    <a:pt x="523" y="1328"/>
                  </a:cubicBezTo>
                  <a:cubicBezTo>
                    <a:pt x="527" y="1325"/>
                    <a:pt x="534" y="1329"/>
                    <a:pt x="536" y="1327"/>
                  </a:cubicBezTo>
                  <a:cubicBezTo>
                    <a:pt x="537" y="1327"/>
                    <a:pt x="537" y="1327"/>
                    <a:pt x="537" y="1327"/>
                  </a:cubicBezTo>
                  <a:cubicBezTo>
                    <a:pt x="539" y="1325"/>
                    <a:pt x="538" y="1319"/>
                    <a:pt x="541" y="1317"/>
                  </a:cubicBezTo>
                  <a:cubicBezTo>
                    <a:pt x="550" y="1311"/>
                    <a:pt x="543" y="1323"/>
                    <a:pt x="548" y="1321"/>
                  </a:cubicBezTo>
                  <a:cubicBezTo>
                    <a:pt x="553" y="1320"/>
                    <a:pt x="568" y="1308"/>
                    <a:pt x="572" y="1303"/>
                  </a:cubicBezTo>
                  <a:cubicBezTo>
                    <a:pt x="579" y="1291"/>
                    <a:pt x="562" y="1290"/>
                    <a:pt x="570" y="1298"/>
                  </a:cubicBezTo>
                  <a:cubicBezTo>
                    <a:pt x="570" y="1298"/>
                    <a:pt x="571" y="1299"/>
                    <a:pt x="571" y="1299"/>
                  </a:cubicBezTo>
                  <a:cubicBezTo>
                    <a:pt x="572" y="1301"/>
                    <a:pt x="548" y="1308"/>
                    <a:pt x="547" y="1309"/>
                  </a:cubicBezTo>
                  <a:cubicBezTo>
                    <a:pt x="544" y="1317"/>
                    <a:pt x="525" y="1321"/>
                    <a:pt x="517" y="1327"/>
                  </a:cubicBezTo>
                  <a:close/>
                  <a:moveTo>
                    <a:pt x="551" y="929"/>
                  </a:moveTo>
                  <a:cubicBezTo>
                    <a:pt x="550" y="928"/>
                    <a:pt x="550" y="928"/>
                    <a:pt x="550" y="928"/>
                  </a:cubicBezTo>
                  <a:cubicBezTo>
                    <a:pt x="549" y="927"/>
                    <a:pt x="530" y="909"/>
                    <a:pt x="528" y="916"/>
                  </a:cubicBezTo>
                  <a:cubicBezTo>
                    <a:pt x="528" y="917"/>
                    <a:pt x="554" y="935"/>
                    <a:pt x="551" y="929"/>
                  </a:cubicBezTo>
                  <a:close/>
                  <a:moveTo>
                    <a:pt x="543" y="614"/>
                  </a:moveTo>
                  <a:cubicBezTo>
                    <a:pt x="542" y="612"/>
                    <a:pt x="546" y="615"/>
                    <a:pt x="544" y="611"/>
                  </a:cubicBezTo>
                  <a:cubicBezTo>
                    <a:pt x="543" y="607"/>
                    <a:pt x="539" y="602"/>
                    <a:pt x="536" y="600"/>
                  </a:cubicBezTo>
                  <a:cubicBezTo>
                    <a:pt x="532" y="596"/>
                    <a:pt x="507" y="579"/>
                    <a:pt x="503" y="580"/>
                  </a:cubicBezTo>
                  <a:cubicBezTo>
                    <a:pt x="502" y="580"/>
                    <a:pt x="513" y="593"/>
                    <a:pt x="501" y="586"/>
                  </a:cubicBezTo>
                  <a:cubicBezTo>
                    <a:pt x="493" y="581"/>
                    <a:pt x="502" y="578"/>
                    <a:pt x="492" y="572"/>
                  </a:cubicBezTo>
                  <a:cubicBezTo>
                    <a:pt x="488" y="569"/>
                    <a:pt x="482" y="571"/>
                    <a:pt x="478" y="569"/>
                  </a:cubicBezTo>
                  <a:cubicBezTo>
                    <a:pt x="477" y="568"/>
                    <a:pt x="470" y="564"/>
                    <a:pt x="470" y="564"/>
                  </a:cubicBezTo>
                  <a:cubicBezTo>
                    <a:pt x="467" y="565"/>
                    <a:pt x="475" y="570"/>
                    <a:pt x="475" y="570"/>
                  </a:cubicBezTo>
                  <a:cubicBezTo>
                    <a:pt x="478" y="574"/>
                    <a:pt x="492" y="575"/>
                    <a:pt x="493" y="579"/>
                  </a:cubicBezTo>
                  <a:cubicBezTo>
                    <a:pt x="494" y="580"/>
                    <a:pt x="491" y="586"/>
                    <a:pt x="492" y="589"/>
                  </a:cubicBezTo>
                  <a:cubicBezTo>
                    <a:pt x="492" y="592"/>
                    <a:pt x="498" y="590"/>
                    <a:pt x="501" y="591"/>
                  </a:cubicBezTo>
                  <a:cubicBezTo>
                    <a:pt x="505" y="592"/>
                    <a:pt x="506" y="596"/>
                    <a:pt x="508" y="599"/>
                  </a:cubicBezTo>
                  <a:cubicBezTo>
                    <a:pt x="515" y="604"/>
                    <a:pt x="525" y="598"/>
                    <a:pt x="541" y="617"/>
                  </a:cubicBezTo>
                  <a:cubicBezTo>
                    <a:pt x="542" y="617"/>
                    <a:pt x="542" y="617"/>
                    <a:pt x="542" y="617"/>
                  </a:cubicBezTo>
                  <a:cubicBezTo>
                    <a:pt x="543" y="620"/>
                    <a:pt x="556" y="625"/>
                    <a:pt x="558" y="621"/>
                  </a:cubicBezTo>
                  <a:cubicBezTo>
                    <a:pt x="559" y="615"/>
                    <a:pt x="546" y="619"/>
                    <a:pt x="543" y="614"/>
                  </a:cubicBezTo>
                  <a:close/>
                  <a:moveTo>
                    <a:pt x="577" y="531"/>
                  </a:moveTo>
                  <a:cubicBezTo>
                    <a:pt x="571" y="525"/>
                    <a:pt x="534" y="507"/>
                    <a:pt x="525" y="507"/>
                  </a:cubicBezTo>
                  <a:cubicBezTo>
                    <a:pt x="524" y="507"/>
                    <a:pt x="524" y="507"/>
                    <a:pt x="523" y="507"/>
                  </a:cubicBezTo>
                  <a:cubicBezTo>
                    <a:pt x="523" y="507"/>
                    <a:pt x="531" y="510"/>
                    <a:pt x="531" y="510"/>
                  </a:cubicBezTo>
                  <a:cubicBezTo>
                    <a:pt x="533" y="511"/>
                    <a:pt x="541" y="517"/>
                    <a:pt x="543" y="519"/>
                  </a:cubicBezTo>
                  <a:cubicBezTo>
                    <a:pt x="549" y="528"/>
                    <a:pt x="558" y="523"/>
                    <a:pt x="573" y="532"/>
                  </a:cubicBezTo>
                  <a:cubicBezTo>
                    <a:pt x="576" y="534"/>
                    <a:pt x="571" y="538"/>
                    <a:pt x="577" y="542"/>
                  </a:cubicBezTo>
                  <a:cubicBezTo>
                    <a:pt x="577" y="543"/>
                    <a:pt x="577" y="543"/>
                    <a:pt x="577" y="543"/>
                  </a:cubicBezTo>
                  <a:cubicBezTo>
                    <a:pt x="582" y="546"/>
                    <a:pt x="579" y="533"/>
                    <a:pt x="577" y="531"/>
                  </a:cubicBezTo>
                  <a:close/>
                  <a:moveTo>
                    <a:pt x="658" y="519"/>
                  </a:moveTo>
                  <a:cubicBezTo>
                    <a:pt x="656" y="515"/>
                    <a:pt x="632" y="509"/>
                    <a:pt x="618" y="490"/>
                  </a:cubicBezTo>
                  <a:cubicBezTo>
                    <a:pt x="617" y="489"/>
                    <a:pt x="622" y="480"/>
                    <a:pt x="622" y="479"/>
                  </a:cubicBezTo>
                  <a:cubicBezTo>
                    <a:pt x="623" y="476"/>
                    <a:pt x="613" y="472"/>
                    <a:pt x="618" y="469"/>
                  </a:cubicBezTo>
                  <a:cubicBezTo>
                    <a:pt x="621" y="467"/>
                    <a:pt x="637" y="473"/>
                    <a:pt x="635" y="468"/>
                  </a:cubicBezTo>
                  <a:cubicBezTo>
                    <a:pt x="635" y="467"/>
                    <a:pt x="634" y="467"/>
                    <a:pt x="634" y="466"/>
                  </a:cubicBezTo>
                  <a:cubicBezTo>
                    <a:pt x="628" y="459"/>
                    <a:pt x="618" y="463"/>
                    <a:pt x="609" y="454"/>
                  </a:cubicBezTo>
                  <a:cubicBezTo>
                    <a:pt x="609" y="453"/>
                    <a:pt x="608" y="453"/>
                    <a:pt x="608" y="453"/>
                  </a:cubicBezTo>
                  <a:cubicBezTo>
                    <a:pt x="602" y="451"/>
                    <a:pt x="612" y="452"/>
                    <a:pt x="612" y="451"/>
                  </a:cubicBezTo>
                  <a:cubicBezTo>
                    <a:pt x="613" y="443"/>
                    <a:pt x="594" y="450"/>
                    <a:pt x="590" y="443"/>
                  </a:cubicBezTo>
                  <a:cubicBezTo>
                    <a:pt x="582" y="433"/>
                    <a:pt x="538" y="400"/>
                    <a:pt x="529" y="412"/>
                  </a:cubicBezTo>
                  <a:cubicBezTo>
                    <a:pt x="528" y="413"/>
                    <a:pt x="542" y="415"/>
                    <a:pt x="539" y="416"/>
                  </a:cubicBezTo>
                  <a:cubicBezTo>
                    <a:pt x="530" y="419"/>
                    <a:pt x="556" y="420"/>
                    <a:pt x="563" y="428"/>
                  </a:cubicBezTo>
                  <a:cubicBezTo>
                    <a:pt x="567" y="434"/>
                    <a:pt x="579" y="434"/>
                    <a:pt x="579" y="441"/>
                  </a:cubicBezTo>
                  <a:cubicBezTo>
                    <a:pt x="579" y="441"/>
                    <a:pt x="566" y="441"/>
                    <a:pt x="567" y="442"/>
                  </a:cubicBezTo>
                  <a:cubicBezTo>
                    <a:pt x="582" y="453"/>
                    <a:pt x="602" y="450"/>
                    <a:pt x="612" y="466"/>
                  </a:cubicBezTo>
                  <a:cubicBezTo>
                    <a:pt x="612" y="466"/>
                    <a:pt x="612" y="467"/>
                    <a:pt x="612" y="467"/>
                  </a:cubicBezTo>
                  <a:cubicBezTo>
                    <a:pt x="611" y="467"/>
                    <a:pt x="611" y="467"/>
                    <a:pt x="610" y="467"/>
                  </a:cubicBezTo>
                  <a:cubicBezTo>
                    <a:pt x="604" y="466"/>
                    <a:pt x="606" y="476"/>
                    <a:pt x="601" y="467"/>
                  </a:cubicBezTo>
                  <a:cubicBezTo>
                    <a:pt x="601" y="466"/>
                    <a:pt x="599" y="463"/>
                    <a:pt x="597" y="464"/>
                  </a:cubicBezTo>
                  <a:cubicBezTo>
                    <a:pt x="597" y="465"/>
                    <a:pt x="598" y="471"/>
                    <a:pt x="595" y="470"/>
                  </a:cubicBezTo>
                  <a:cubicBezTo>
                    <a:pt x="592" y="470"/>
                    <a:pt x="590" y="463"/>
                    <a:pt x="587" y="462"/>
                  </a:cubicBezTo>
                  <a:cubicBezTo>
                    <a:pt x="586" y="462"/>
                    <a:pt x="584" y="460"/>
                    <a:pt x="584" y="460"/>
                  </a:cubicBezTo>
                  <a:cubicBezTo>
                    <a:pt x="580" y="461"/>
                    <a:pt x="587" y="473"/>
                    <a:pt x="585" y="470"/>
                  </a:cubicBezTo>
                  <a:cubicBezTo>
                    <a:pt x="583" y="466"/>
                    <a:pt x="579" y="456"/>
                    <a:pt x="573" y="462"/>
                  </a:cubicBezTo>
                  <a:cubicBezTo>
                    <a:pt x="571" y="465"/>
                    <a:pt x="564" y="459"/>
                    <a:pt x="563" y="461"/>
                  </a:cubicBezTo>
                  <a:cubicBezTo>
                    <a:pt x="562" y="464"/>
                    <a:pt x="567" y="464"/>
                    <a:pt x="565" y="466"/>
                  </a:cubicBezTo>
                  <a:cubicBezTo>
                    <a:pt x="564" y="468"/>
                    <a:pt x="570" y="477"/>
                    <a:pt x="570" y="477"/>
                  </a:cubicBezTo>
                  <a:cubicBezTo>
                    <a:pt x="574" y="474"/>
                    <a:pt x="566" y="469"/>
                    <a:pt x="576" y="467"/>
                  </a:cubicBezTo>
                  <a:cubicBezTo>
                    <a:pt x="577" y="466"/>
                    <a:pt x="577" y="467"/>
                    <a:pt x="578" y="467"/>
                  </a:cubicBezTo>
                  <a:cubicBezTo>
                    <a:pt x="581" y="468"/>
                    <a:pt x="582" y="472"/>
                    <a:pt x="583" y="474"/>
                  </a:cubicBezTo>
                  <a:cubicBezTo>
                    <a:pt x="589" y="479"/>
                    <a:pt x="603" y="478"/>
                    <a:pt x="604" y="485"/>
                  </a:cubicBezTo>
                  <a:cubicBezTo>
                    <a:pt x="605" y="487"/>
                    <a:pt x="597" y="487"/>
                    <a:pt x="595" y="487"/>
                  </a:cubicBezTo>
                  <a:cubicBezTo>
                    <a:pt x="594" y="488"/>
                    <a:pt x="600" y="492"/>
                    <a:pt x="600" y="492"/>
                  </a:cubicBezTo>
                  <a:cubicBezTo>
                    <a:pt x="601" y="497"/>
                    <a:pt x="594" y="495"/>
                    <a:pt x="595" y="496"/>
                  </a:cubicBezTo>
                  <a:cubicBezTo>
                    <a:pt x="605" y="511"/>
                    <a:pt x="608" y="494"/>
                    <a:pt x="613" y="492"/>
                  </a:cubicBezTo>
                  <a:cubicBezTo>
                    <a:pt x="614" y="492"/>
                    <a:pt x="632" y="508"/>
                    <a:pt x="631" y="519"/>
                  </a:cubicBezTo>
                  <a:cubicBezTo>
                    <a:pt x="631" y="521"/>
                    <a:pt x="631" y="521"/>
                    <a:pt x="631" y="521"/>
                  </a:cubicBezTo>
                  <a:cubicBezTo>
                    <a:pt x="632" y="522"/>
                    <a:pt x="631" y="539"/>
                    <a:pt x="639" y="540"/>
                  </a:cubicBezTo>
                  <a:cubicBezTo>
                    <a:pt x="640" y="540"/>
                    <a:pt x="643" y="537"/>
                    <a:pt x="641" y="536"/>
                  </a:cubicBezTo>
                  <a:cubicBezTo>
                    <a:pt x="630" y="528"/>
                    <a:pt x="646" y="529"/>
                    <a:pt x="645" y="528"/>
                  </a:cubicBezTo>
                  <a:cubicBezTo>
                    <a:pt x="644" y="528"/>
                    <a:pt x="640" y="527"/>
                    <a:pt x="642" y="526"/>
                  </a:cubicBezTo>
                  <a:cubicBezTo>
                    <a:pt x="646" y="523"/>
                    <a:pt x="663" y="536"/>
                    <a:pt x="672" y="531"/>
                  </a:cubicBezTo>
                  <a:cubicBezTo>
                    <a:pt x="677" y="527"/>
                    <a:pt x="660" y="525"/>
                    <a:pt x="658" y="519"/>
                  </a:cubicBezTo>
                  <a:close/>
                  <a:moveTo>
                    <a:pt x="613" y="408"/>
                  </a:moveTo>
                  <a:cubicBezTo>
                    <a:pt x="614" y="408"/>
                    <a:pt x="614" y="408"/>
                    <a:pt x="614" y="408"/>
                  </a:cubicBezTo>
                  <a:cubicBezTo>
                    <a:pt x="620" y="409"/>
                    <a:pt x="614" y="400"/>
                    <a:pt x="611" y="397"/>
                  </a:cubicBezTo>
                  <a:cubicBezTo>
                    <a:pt x="603" y="390"/>
                    <a:pt x="572" y="371"/>
                    <a:pt x="573" y="367"/>
                  </a:cubicBezTo>
                  <a:cubicBezTo>
                    <a:pt x="573" y="364"/>
                    <a:pt x="567" y="361"/>
                    <a:pt x="566" y="364"/>
                  </a:cubicBezTo>
                  <a:cubicBezTo>
                    <a:pt x="564" y="368"/>
                    <a:pt x="609" y="406"/>
                    <a:pt x="613" y="408"/>
                  </a:cubicBezTo>
                  <a:close/>
                  <a:moveTo>
                    <a:pt x="659" y="413"/>
                  </a:moveTo>
                  <a:cubicBezTo>
                    <a:pt x="656" y="414"/>
                    <a:pt x="652" y="412"/>
                    <a:pt x="649" y="413"/>
                  </a:cubicBezTo>
                  <a:cubicBezTo>
                    <a:pt x="648" y="413"/>
                    <a:pt x="648" y="414"/>
                    <a:pt x="648" y="414"/>
                  </a:cubicBezTo>
                  <a:cubicBezTo>
                    <a:pt x="649" y="415"/>
                    <a:pt x="653" y="415"/>
                    <a:pt x="652" y="415"/>
                  </a:cubicBezTo>
                  <a:cubicBezTo>
                    <a:pt x="652" y="416"/>
                    <a:pt x="647" y="415"/>
                    <a:pt x="646" y="415"/>
                  </a:cubicBezTo>
                  <a:cubicBezTo>
                    <a:pt x="640" y="412"/>
                    <a:pt x="633" y="411"/>
                    <a:pt x="626" y="408"/>
                  </a:cubicBezTo>
                  <a:cubicBezTo>
                    <a:pt x="614" y="401"/>
                    <a:pt x="629" y="423"/>
                    <a:pt x="626" y="411"/>
                  </a:cubicBezTo>
                  <a:cubicBezTo>
                    <a:pt x="626" y="411"/>
                    <a:pt x="626" y="411"/>
                    <a:pt x="626" y="411"/>
                  </a:cubicBezTo>
                  <a:cubicBezTo>
                    <a:pt x="629" y="412"/>
                    <a:pt x="644" y="422"/>
                    <a:pt x="644" y="422"/>
                  </a:cubicBezTo>
                  <a:cubicBezTo>
                    <a:pt x="650" y="422"/>
                    <a:pt x="660" y="413"/>
                    <a:pt x="667" y="416"/>
                  </a:cubicBezTo>
                  <a:cubicBezTo>
                    <a:pt x="679" y="421"/>
                    <a:pt x="674" y="424"/>
                    <a:pt x="678" y="430"/>
                  </a:cubicBezTo>
                  <a:cubicBezTo>
                    <a:pt x="679" y="431"/>
                    <a:pt x="680" y="432"/>
                    <a:pt x="681" y="432"/>
                  </a:cubicBezTo>
                  <a:cubicBezTo>
                    <a:pt x="690" y="428"/>
                    <a:pt x="672" y="410"/>
                    <a:pt x="659" y="413"/>
                  </a:cubicBezTo>
                  <a:close/>
                  <a:moveTo>
                    <a:pt x="703" y="374"/>
                  </a:moveTo>
                  <a:cubicBezTo>
                    <a:pt x="702" y="370"/>
                    <a:pt x="679" y="361"/>
                    <a:pt x="674" y="361"/>
                  </a:cubicBezTo>
                  <a:cubicBezTo>
                    <a:pt x="669" y="361"/>
                    <a:pt x="663" y="361"/>
                    <a:pt x="658" y="360"/>
                  </a:cubicBezTo>
                  <a:cubicBezTo>
                    <a:pt x="657" y="360"/>
                    <a:pt x="648" y="362"/>
                    <a:pt x="651" y="364"/>
                  </a:cubicBezTo>
                  <a:cubicBezTo>
                    <a:pt x="653" y="365"/>
                    <a:pt x="657" y="364"/>
                    <a:pt x="659" y="364"/>
                  </a:cubicBezTo>
                  <a:cubicBezTo>
                    <a:pt x="664" y="363"/>
                    <a:pt x="672" y="363"/>
                    <a:pt x="676" y="364"/>
                  </a:cubicBezTo>
                  <a:cubicBezTo>
                    <a:pt x="683" y="367"/>
                    <a:pt x="686" y="375"/>
                    <a:pt x="691" y="378"/>
                  </a:cubicBezTo>
                  <a:cubicBezTo>
                    <a:pt x="691" y="378"/>
                    <a:pt x="691" y="378"/>
                    <a:pt x="691" y="378"/>
                  </a:cubicBezTo>
                  <a:cubicBezTo>
                    <a:pt x="694" y="380"/>
                    <a:pt x="699" y="379"/>
                    <a:pt x="697" y="375"/>
                  </a:cubicBezTo>
                  <a:cubicBezTo>
                    <a:pt x="693" y="369"/>
                    <a:pt x="704" y="377"/>
                    <a:pt x="703" y="374"/>
                  </a:cubicBezTo>
                  <a:close/>
                  <a:moveTo>
                    <a:pt x="756" y="372"/>
                  </a:moveTo>
                  <a:cubicBezTo>
                    <a:pt x="754" y="366"/>
                    <a:pt x="699" y="344"/>
                    <a:pt x="676" y="338"/>
                  </a:cubicBezTo>
                  <a:cubicBezTo>
                    <a:pt x="667" y="336"/>
                    <a:pt x="655" y="343"/>
                    <a:pt x="646" y="343"/>
                  </a:cubicBezTo>
                  <a:cubicBezTo>
                    <a:pt x="637" y="343"/>
                    <a:pt x="613" y="343"/>
                    <a:pt x="606" y="336"/>
                  </a:cubicBezTo>
                  <a:cubicBezTo>
                    <a:pt x="606" y="335"/>
                    <a:pt x="602" y="332"/>
                    <a:pt x="600" y="334"/>
                  </a:cubicBezTo>
                  <a:cubicBezTo>
                    <a:pt x="595" y="342"/>
                    <a:pt x="621" y="344"/>
                    <a:pt x="624" y="345"/>
                  </a:cubicBezTo>
                  <a:cubicBezTo>
                    <a:pt x="625" y="345"/>
                    <a:pt x="625" y="345"/>
                    <a:pt x="625" y="345"/>
                  </a:cubicBezTo>
                  <a:cubicBezTo>
                    <a:pt x="638" y="351"/>
                    <a:pt x="660" y="342"/>
                    <a:pt x="673" y="341"/>
                  </a:cubicBezTo>
                  <a:cubicBezTo>
                    <a:pt x="679" y="340"/>
                    <a:pt x="686" y="348"/>
                    <a:pt x="692" y="348"/>
                  </a:cubicBezTo>
                  <a:cubicBezTo>
                    <a:pt x="692" y="348"/>
                    <a:pt x="695" y="348"/>
                    <a:pt x="695" y="349"/>
                  </a:cubicBezTo>
                  <a:cubicBezTo>
                    <a:pt x="695" y="350"/>
                    <a:pt x="689" y="351"/>
                    <a:pt x="690" y="352"/>
                  </a:cubicBezTo>
                  <a:cubicBezTo>
                    <a:pt x="692" y="355"/>
                    <a:pt x="701" y="350"/>
                    <a:pt x="702" y="350"/>
                  </a:cubicBezTo>
                  <a:cubicBezTo>
                    <a:pt x="713" y="351"/>
                    <a:pt x="735" y="369"/>
                    <a:pt x="736" y="371"/>
                  </a:cubicBezTo>
                  <a:cubicBezTo>
                    <a:pt x="737" y="374"/>
                    <a:pt x="754" y="381"/>
                    <a:pt x="752" y="378"/>
                  </a:cubicBezTo>
                  <a:cubicBezTo>
                    <a:pt x="751" y="375"/>
                    <a:pt x="757" y="374"/>
                    <a:pt x="756" y="372"/>
                  </a:cubicBezTo>
                  <a:close/>
                  <a:moveTo>
                    <a:pt x="645" y="316"/>
                  </a:moveTo>
                  <a:cubicBezTo>
                    <a:pt x="655" y="317"/>
                    <a:pt x="665" y="319"/>
                    <a:pt x="673" y="324"/>
                  </a:cubicBezTo>
                  <a:cubicBezTo>
                    <a:pt x="674" y="325"/>
                    <a:pt x="674" y="325"/>
                    <a:pt x="674" y="325"/>
                  </a:cubicBezTo>
                  <a:cubicBezTo>
                    <a:pt x="678" y="328"/>
                    <a:pt x="676" y="321"/>
                    <a:pt x="675" y="319"/>
                  </a:cubicBezTo>
                  <a:cubicBezTo>
                    <a:pt x="673" y="317"/>
                    <a:pt x="638" y="303"/>
                    <a:pt x="632" y="316"/>
                  </a:cubicBezTo>
                  <a:cubicBezTo>
                    <a:pt x="630" y="319"/>
                    <a:pt x="644" y="316"/>
                    <a:pt x="645" y="316"/>
                  </a:cubicBezTo>
                  <a:close/>
                  <a:moveTo>
                    <a:pt x="786" y="378"/>
                  </a:moveTo>
                  <a:cubicBezTo>
                    <a:pt x="786" y="370"/>
                    <a:pt x="768" y="361"/>
                    <a:pt x="766" y="368"/>
                  </a:cubicBezTo>
                  <a:cubicBezTo>
                    <a:pt x="765" y="372"/>
                    <a:pt x="782" y="375"/>
                    <a:pt x="779" y="380"/>
                  </a:cubicBezTo>
                  <a:cubicBezTo>
                    <a:pt x="777" y="384"/>
                    <a:pt x="755" y="375"/>
                    <a:pt x="754" y="381"/>
                  </a:cubicBezTo>
                  <a:cubicBezTo>
                    <a:pt x="753" y="383"/>
                    <a:pt x="761" y="385"/>
                    <a:pt x="762" y="385"/>
                  </a:cubicBezTo>
                  <a:cubicBezTo>
                    <a:pt x="762" y="385"/>
                    <a:pt x="762" y="385"/>
                    <a:pt x="762" y="385"/>
                  </a:cubicBezTo>
                  <a:cubicBezTo>
                    <a:pt x="766" y="384"/>
                    <a:pt x="786" y="383"/>
                    <a:pt x="786" y="378"/>
                  </a:cubicBezTo>
                  <a:close/>
                  <a:moveTo>
                    <a:pt x="742" y="298"/>
                  </a:moveTo>
                  <a:cubicBezTo>
                    <a:pt x="727" y="289"/>
                    <a:pt x="714" y="271"/>
                    <a:pt x="698" y="263"/>
                  </a:cubicBezTo>
                  <a:cubicBezTo>
                    <a:pt x="689" y="259"/>
                    <a:pt x="679" y="263"/>
                    <a:pt x="670" y="260"/>
                  </a:cubicBezTo>
                  <a:cubicBezTo>
                    <a:pt x="659" y="258"/>
                    <a:pt x="650" y="243"/>
                    <a:pt x="640" y="238"/>
                  </a:cubicBezTo>
                  <a:cubicBezTo>
                    <a:pt x="627" y="232"/>
                    <a:pt x="615" y="229"/>
                    <a:pt x="602" y="224"/>
                  </a:cubicBezTo>
                  <a:cubicBezTo>
                    <a:pt x="594" y="222"/>
                    <a:pt x="544" y="198"/>
                    <a:pt x="541" y="200"/>
                  </a:cubicBezTo>
                  <a:cubicBezTo>
                    <a:pt x="537" y="203"/>
                    <a:pt x="547" y="203"/>
                    <a:pt x="550" y="206"/>
                  </a:cubicBezTo>
                  <a:cubicBezTo>
                    <a:pt x="560" y="212"/>
                    <a:pt x="566" y="216"/>
                    <a:pt x="566" y="216"/>
                  </a:cubicBezTo>
                  <a:cubicBezTo>
                    <a:pt x="567" y="220"/>
                    <a:pt x="551" y="215"/>
                    <a:pt x="552" y="216"/>
                  </a:cubicBezTo>
                  <a:cubicBezTo>
                    <a:pt x="554" y="222"/>
                    <a:pt x="611" y="232"/>
                    <a:pt x="633" y="239"/>
                  </a:cubicBezTo>
                  <a:cubicBezTo>
                    <a:pt x="635" y="240"/>
                    <a:pt x="658" y="257"/>
                    <a:pt x="664" y="262"/>
                  </a:cubicBezTo>
                  <a:cubicBezTo>
                    <a:pt x="674" y="269"/>
                    <a:pt x="689" y="262"/>
                    <a:pt x="696" y="267"/>
                  </a:cubicBezTo>
                  <a:cubicBezTo>
                    <a:pt x="712" y="277"/>
                    <a:pt x="731" y="301"/>
                    <a:pt x="740" y="306"/>
                  </a:cubicBezTo>
                  <a:cubicBezTo>
                    <a:pt x="747" y="310"/>
                    <a:pt x="755" y="305"/>
                    <a:pt x="763" y="308"/>
                  </a:cubicBezTo>
                  <a:cubicBezTo>
                    <a:pt x="764" y="308"/>
                    <a:pt x="782" y="325"/>
                    <a:pt x="786" y="324"/>
                  </a:cubicBezTo>
                  <a:cubicBezTo>
                    <a:pt x="786" y="323"/>
                    <a:pt x="786" y="323"/>
                    <a:pt x="786" y="323"/>
                  </a:cubicBezTo>
                  <a:cubicBezTo>
                    <a:pt x="791" y="302"/>
                    <a:pt x="751" y="304"/>
                    <a:pt x="742" y="298"/>
                  </a:cubicBezTo>
                  <a:close/>
                  <a:moveTo>
                    <a:pt x="780" y="197"/>
                  </a:moveTo>
                  <a:cubicBezTo>
                    <a:pt x="764" y="197"/>
                    <a:pt x="748" y="192"/>
                    <a:pt x="731" y="192"/>
                  </a:cubicBezTo>
                  <a:cubicBezTo>
                    <a:pt x="729" y="192"/>
                    <a:pt x="718" y="193"/>
                    <a:pt x="718" y="193"/>
                  </a:cubicBezTo>
                  <a:cubicBezTo>
                    <a:pt x="719" y="195"/>
                    <a:pt x="723" y="196"/>
                    <a:pt x="724" y="196"/>
                  </a:cubicBezTo>
                  <a:cubicBezTo>
                    <a:pt x="752" y="197"/>
                    <a:pt x="772" y="200"/>
                    <a:pt x="798" y="208"/>
                  </a:cubicBezTo>
                  <a:cubicBezTo>
                    <a:pt x="798" y="208"/>
                    <a:pt x="798" y="208"/>
                    <a:pt x="798" y="208"/>
                  </a:cubicBezTo>
                  <a:cubicBezTo>
                    <a:pt x="806" y="209"/>
                    <a:pt x="786" y="197"/>
                    <a:pt x="780" y="197"/>
                  </a:cubicBezTo>
                  <a:close/>
                  <a:moveTo>
                    <a:pt x="848" y="705"/>
                  </a:moveTo>
                  <a:cubicBezTo>
                    <a:pt x="842" y="703"/>
                    <a:pt x="834" y="719"/>
                    <a:pt x="844" y="723"/>
                  </a:cubicBezTo>
                  <a:cubicBezTo>
                    <a:pt x="844" y="723"/>
                    <a:pt x="844" y="723"/>
                    <a:pt x="844" y="723"/>
                  </a:cubicBezTo>
                  <a:cubicBezTo>
                    <a:pt x="847" y="728"/>
                    <a:pt x="852" y="707"/>
                    <a:pt x="848" y="705"/>
                  </a:cubicBezTo>
                  <a:close/>
                  <a:moveTo>
                    <a:pt x="876" y="191"/>
                  </a:moveTo>
                  <a:cubicBezTo>
                    <a:pt x="874" y="183"/>
                    <a:pt x="861" y="191"/>
                    <a:pt x="852" y="190"/>
                  </a:cubicBezTo>
                  <a:cubicBezTo>
                    <a:pt x="849" y="189"/>
                    <a:pt x="847" y="188"/>
                    <a:pt x="844" y="186"/>
                  </a:cubicBezTo>
                  <a:cubicBezTo>
                    <a:pt x="843" y="185"/>
                    <a:pt x="843" y="183"/>
                    <a:pt x="842" y="181"/>
                  </a:cubicBezTo>
                  <a:cubicBezTo>
                    <a:pt x="842" y="178"/>
                    <a:pt x="845" y="169"/>
                    <a:pt x="841" y="168"/>
                  </a:cubicBezTo>
                  <a:cubicBezTo>
                    <a:pt x="838" y="166"/>
                    <a:pt x="843" y="176"/>
                    <a:pt x="840" y="176"/>
                  </a:cubicBezTo>
                  <a:cubicBezTo>
                    <a:pt x="828" y="176"/>
                    <a:pt x="835" y="166"/>
                    <a:pt x="832" y="163"/>
                  </a:cubicBezTo>
                  <a:cubicBezTo>
                    <a:pt x="829" y="160"/>
                    <a:pt x="830" y="165"/>
                    <a:pt x="828" y="166"/>
                  </a:cubicBezTo>
                  <a:cubicBezTo>
                    <a:pt x="823" y="170"/>
                    <a:pt x="816" y="155"/>
                    <a:pt x="813" y="152"/>
                  </a:cubicBezTo>
                  <a:cubicBezTo>
                    <a:pt x="810" y="148"/>
                    <a:pt x="802" y="136"/>
                    <a:pt x="809" y="136"/>
                  </a:cubicBezTo>
                  <a:cubicBezTo>
                    <a:pt x="809" y="136"/>
                    <a:pt x="812" y="137"/>
                    <a:pt x="811" y="136"/>
                  </a:cubicBezTo>
                  <a:cubicBezTo>
                    <a:pt x="807" y="129"/>
                    <a:pt x="776" y="128"/>
                    <a:pt x="770" y="128"/>
                  </a:cubicBezTo>
                  <a:cubicBezTo>
                    <a:pt x="769" y="128"/>
                    <a:pt x="764" y="128"/>
                    <a:pt x="764" y="127"/>
                  </a:cubicBezTo>
                  <a:cubicBezTo>
                    <a:pt x="766" y="119"/>
                    <a:pt x="797" y="128"/>
                    <a:pt x="794" y="123"/>
                  </a:cubicBezTo>
                  <a:cubicBezTo>
                    <a:pt x="788" y="115"/>
                    <a:pt x="745" y="122"/>
                    <a:pt x="732" y="115"/>
                  </a:cubicBezTo>
                  <a:cubicBezTo>
                    <a:pt x="721" y="109"/>
                    <a:pt x="708" y="106"/>
                    <a:pt x="695" y="102"/>
                  </a:cubicBezTo>
                  <a:cubicBezTo>
                    <a:pt x="688" y="100"/>
                    <a:pt x="677" y="87"/>
                    <a:pt x="675" y="94"/>
                  </a:cubicBezTo>
                  <a:cubicBezTo>
                    <a:pt x="672" y="117"/>
                    <a:pt x="744" y="120"/>
                    <a:pt x="757" y="123"/>
                  </a:cubicBezTo>
                  <a:cubicBezTo>
                    <a:pt x="761" y="125"/>
                    <a:pt x="758" y="130"/>
                    <a:pt x="765" y="132"/>
                  </a:cubicBezTo>
                  <a:cubicBezTo>
                    <a:pt x="778" y="137"/>
                    <a:pt x="795" y="134"/>
                    <a:pt x="806" y="143"/>
                  </a:cubicBezTo>
                  <a:cubicBezTo>
                    <a:pt x="811" y="147"/>
                    <a:pt x="814" y="159"/>
                    <a:pt x="818" y="164"/>
                  </a:cubicBezTo>
                  <a:cubicBezTo>
                    <a:pt x="822" y="171"/>
                    <a:pt x="833" y="179"/>
                    <a:pt x="844" y="186"/>
                  </a:cubicBezTo>
                  <a:cubicBezTo>
                    <a:pt x="846" y="189"/>
                    <a:pt x="849" y="190"/>
                    <a:pt x="852" y="190"/>
                  </a:cubicBezTo>
                  <a:cubicBezTo>
                    <a:pt x="856" y="193"/>
                    <a:pt x="860" y="195"/>
                    <a:pt x="864" y="196"/>
                  </a:cubicBezTo>
                  <a:cubicBezTo>
                    <a:pt x="868" y="199"/>
                    <a:pt x="875" y="202"/>
                    <a:pt x="872" y="200"/>
                  </a:cubicBezTo>
                  <a:cubicBezTo>
                    <a:pt x="872" y="200"/>
                    <a:pt x="872" y="200"/>
                    <a:pt x="872" y="200"/>
                  </a:cubicBezTo>
                  <a:cubicBezTo>
                    <a:pt x="869" y="199"/>
                    <a:pt x="866" y="198"/>
                    <a:pt x="864" y="196"/>
                  </a:cubicBezTo>
                  <a:cubicBezTo>
                    <a:pt x="862" y="195"/>
                    <a:pt x="861" y="194"/>
                    <a:pt x="862" y="193"/>
                  </a:cubicBezTo>
                  <a:cubicBezTo>
                    <a:pt x="864" y="191"/>
                    <a:pt x="871" y="197"/>
                    <a:pt x="874" y="195"/>
                  </a:cubicBezTo>
                  <a:cubicBezTo>
                    <a:pt x="876" y="194"/>
                    <a:pt x="876" y="193"/>
                    <a:pt x="876" y="191"/>
                  </a:cubicBezTo>
                  <a:close/>
                  <a:moveTo>
                    <a:pt x="42" y="1640"/>
                  </a:moveTo>
                  <a:cubicBezTo>
                    <a:pt x="44" y="1643"/>
                    <a:pt x="47" y="1637"/>
                    <a:pt x="49" y="1635"/>
                  </a:cubicBezTo>
                  <a:cubicBezTo>
                    <a:pt x="53" y="1631"/>
                    <a:pt x="88" y="1652"/>
                    <a:pt x="67" y="1612"/>
                  </a:cubicBezTo>
                  <a:cubicBezTo>
                    <a:pt x="67" y="1612"/>
                    <a:pt x="67" y="1612"/>
                    <a:pt x="67" y="1612"/>
                  </a:cubicBezTo>
                  <a:cubicBezTo>
                    <a:pt x="62" y="1611"/>
                    <a:pt x="29" y="1628"/>
                    <a:pt x="42" y="1640"/>
                  </a:cubicBezTo>
                  <a:close/>
                  <a:moveTo>
                    <a:pt x="541" y="1740"/>
                  </a:moveTo>
                  <a:cubicBezTo>
                    <a:pt x="539" y="1735"/>
                    <a:pt x="530" y="1746"/>
                    <a:pt x="531" y="1753"/>
                  </a:cubicBezTo>
                  <a:cubicBezTo>
                    <a:pt x="533" y="1761"/>
                    <a:pt x="525" y="1758"/>
                    <a:pt x="526" y="1765"/>
                  </a:cubicBezTo>
                  <a:cubicBezTo>
                    <a:pt x="527" y="1772"/>
                    <a:pt x="526" y="1775"/>
                    <a:pt x="517" y="1789"/>
                  </a:cubicBezTo>
                  <a:cubicBezTo>
                    <a:pt x="508" y="1804"/>
                    <a:pt x="514" y="1806"/>
                    <a:pt x="507" y="1805"/>
                  </a:cubicBezTo>
                  <a:cubicBezTo>
                    <a:pt x="499" y="1805"/>
                    <a:pt x="501" y="1807"/>
                    <a:pt x="494" y="1821"/>
                  </a:cubicBezTo>
                  <a:cubicBezTo>
                    <a:pt x="487" y="1835"/>
                    <a:pt x="479" y="1848"/>
                    <a:pt x="481" y="1865"/>
                  </a:cubicBezTo>
                  <a:cubicBezTo>
                    <a:pt x="484" y="1881"/>
                    <a:pt x="478" y="1900"/>
                    <a:pt x="484" y="1900"/>
                  </a:cubicBezTo>
                  <a:cubicBezTo>
                    <a:pt x="494" y="1899"/>
                    <a:pt x="496" y="1873"/>
                    <a:pt x="500" y="1867"/>
                  </a:cubicBezTo>
                  <a:cubicBezTo>
                    <a:pt x="504" y="1861"/>
                    <a:pt x="500" y="1852"/>
                    <a:pt x="504" y="1850"/>
                  </a:cubicBezTo>
                  <a:cubicBezTo>
                    <a:pt x="508" y="1847"/>
                    <a:pt x="508" y="1842"/>
                    <a:pt x="512" y="1824"/>
                  </a:cubicBezTo>
                  <a:cubicBezTo>
                    <a:pt x="517" y="1806"/>
                    <a:pt x="521" y="1819"/>
                    <a:pt x="521" y="1810"/>
                  </a:cubicBezTo>
                  <a:cubicBezTo>
                    <a:pt x="521" y="1799"/>
                    <a:pt x="524" y="1809"/>
                    <a:pt x="524" y="1798"/>
                  </a:cubicBezTo>
                  <a:cubicBezTo>
                    <a:pt x="524" y="1787"/>
                    <a:pt x="530" y="1787"/>
                    <a:pt x="527" y="1786"/>
                  </a:cubicBezTo>
                  <a:cubicBezTo>
                    <a:pt x="525" y="1785"/>
                    <a:pt x="525" y="1783"/>
                    <a:pt x="528" y="1784"/>
                  </a:cubicBezTo>
                  <a:cubicBezTo>
                    <a:pt x="530" y="1784"/>
                    <a:pt x="532" y="1783"/>
                    <a:pt x="534" y="1772"/>
                  </a:cubicBezTo>
                  <a:cubicBezTo>
                    <a:pt x="537" y="1761"/>
                    <a:pt x="542" y="1763"/>
                    <a:pt x="540" y="1755"/>
                  </a:cubicBezTo>
                  <a:cubicBezTo>
                    <a:pt x="537" y="1746"/>
                    <a:pt x="547" y="1746"/>
                    <a:pt x="546" y="1742"/>
                  </a:cubicBezTo>
                  <a:cubicBezTo>
                    <a:pt x="545" y="1738"/>
                    <a:pt x="543" y="1744"/>
                    <a:pt x="541" y="1740"/>
                  </a:cubicBezTo>
                  <a:close/>
                  <a:moveTo>
                    <a:pt x="558" y="1445"/>
                  </a:moveTo>
                  <a:cubicBezTo>
                    <a:pt x="556" y="1445"/>
                    <a:pt x="558" y="1447"/>
                    <a:pt x="551" y="1444"/>
                  </a:cubicBezTo>
                  <a:cubicBezTo>
                    <a:pt x="537" y="1439"/>
                    <a:pt x="549" y="1460"/>
                    <a:pt x="562" y="1453"/>
                  </a:cubicBezTo>
                  <a:cubicBezTo>
                    <a:pt x="563" y="1453"/>
                    <a:pt x="564" y="1453"/>
                    <a:pt x="564" y="1451"/>
                  </a:cubicBezTo>
                  <a:cubicBezTo>
                    <a:pt x="564" y="1449"/>
                    <a:pt x="560" y="1445"/>
                    <a:pt x="558" y="1445"/>
                  </a:cubicBezTo>
                  <a:close/>
                  <a:moveTo>
                    <a:pt x="690" y="1462"/>
                  </a:moveTo>
                  <a:cubicBezTo>
                    <a:pt x="690" y="1462"/>
                    <a:pt x="695" y="1461"/>
                    <a:pt x="695" y="1459"/>
                  </a:cubicBezTo>
                  <a:cubicBezTo>
                    <a:pt x="695" y="1458"/>
                    <a:pt x="695" y="1458"/>
                    <a:pt x="695" y="1458"/>
                  </a:cubicBezTo>
                  <a:cubicBezTo>
                    <a:pt x="695" y="1456"/>
                    <a:pt x="695" y="1456"/>
                    <a:pt x="695" y="1454"/>
                  </a:cubicBezTo>
                  <a:cubicBezTo>
                    <a:pt x="695" y="1454"/>
                    <a:pt x="695" y="1454"/>
                    <a:pt x="695" y="1454"/>
                  </a:cubicBezTo>
                  <a:cubicBezTo>
                    <a:pt x="693" y="1451"/>
                    <a:pt x="688" y="1451"/>
                    <a:pt x="693" y="1458"/>
                  </a:cubicBezTo>
                  <a:cubicBezTo>
                    <a:pt x="694" y="1459"/>
                    <a:pt x="691" y="1461"/>
                    <a:pt x="690" y="1462"/>
                  </a:cubicBezTo>
                  <a:close/>
                  <a:moveTo>
                    <a:pt x="643" y="1507"/>
                  </a:moveTo>
                  <a:cubicBezTo>
                    <a:pt x="643" y="1506"/>
                    <a:pt x="643" y="1506"/>
                    <a:pt x="643" y="1506"/>
                  </a:cubicBezTo>
                  <a:cubicBezTo>
                    <a:pt x="642" y="1499"/>
                    <a:pt x="636" y="1510"/>
                    <a:pt x="636" y="1511"/>
                  </a:cubicBezTo>
                  <a:cubicBezTo>
                    <a:pt x="637" y="1512"/>
                    <a:pt x="643" y="1509"/>
                    <a:pt x="643" y="1507"/>
                  </a:cubicBezTo>
                  <a:close/>
                  <a:moveTo>
                    <a:pt x="584" y="1448"/>
                  </a:moveTo>
                  <a:cubicBezTo>
                    <a:pt x="578" y="1447"/>
                    <a:pt x="584" y="1451"/>
                    <a:pt x="585" y="1454"/>
                  </a:cubicBezTo>
                  <a:cubicBezTo>
                    <a:pt x="586" y="1462"/>
                    <a:pt x="591" y="1453"/>
                    <a:pt x="585" y="1448"/>
                  </a:cubicBezTo>
                  <a:lnTo>
                    <a:pt x="584" y="1448"/>
                  </a:lnTo>
                  <a:close/>
                  <a:moveTo>
                    <a:pt x="706" y="1416"/>
                  </a:moveTo>
                  <a:cubicBezTo>
                    <a:pt x="706" y="1415"/>
                    <a:pt x="706" y="1415"/>
                    <a:pt x="706" y="1415"/>
                  </a:cubicBezTo>
                  <a:cubicBezTo>
                    <a:pt x="711" y="1412"/>
                    <a:pt x="687" y="1424"/>
                    <a:pt x="692" y="1426"/>
                  </a:cubicBezTo>
                  <a:cubicBezTo>
                    <a:pt x="697" y="1427"/>
                    <a:pt x="703" y="1418"/>
                    <a:pt x="706" y="1416"/>
                  </a:cubicBezTo>
                  <a:close/>
                  <a:moveTo>
                    <a:pt x="581" y="1546"/>
                  </a:moveTo>
                  <a:cubicBezTo>
                    <a:pt x="583" y="1544"/>
                    <a:pt x="582" y="1542"/>
                    <a:pt x="580" y="1541"/>
                  </a:cubicBezTo>
                  <a:cubicBezTo>
                    <a:pt x="580" y="1541"/>
                    <a:pt x="580" y="1541"/>
                    <a:pt x="580" y="1541"/>
                  </a:cubicBezTo>
                  <a:cubicBezTo>
                    <a:pt x="578" y="1540"/>
                    <a:pt x="579" y="1547"/>
                    <a:pt x="581" y="1546"/>
                  </a:cubicBezTo>
                  <a:close/>
                  <a:moveTo>
                    <a:pt x="658" y="1470"/>
                  </a:moveTo>
                  <a:cubicBezTo>
                    <a:pt x="658" y="1470"/>
                    <a:pt x="654" y="1470"/>
                    <a:pt x="654" y="1470"/>
                  </a:cubicBezTo>
                  <a:cubicBezTo>
                    <a:pt x="654" y="1471"/>
                    <a:pt x="659" y="1471"/>
                    <a:pt x="660" y="1472"/>
                  </a:cubicBezTo>
                  <a:cubicBezTo>
                    <a:pt x="664" y="1476"/>
                    <a:pt x="678" y="1484"/>
                    <a:pt x="670" y="1478"/>
                  </a:cubicBezTo>
                  <a:cubicBezTo>
                    <a:pt x="668" y="1476"/>
                    <a:pt x="684" y="1476"/>
                    <a:pt x="668" y="1470"/>
                  </a:cubicBezTo>
                  <a:cubicBezTo>
                    <a:pt x="668" y="1470"/>
                    <a:pt x="668" y="1470"/>
                    <a:pt x="668" y="1470"/>
                  </a:cubicBezTo>
                  <a:cubicBezTo>
                    <a:pt x="666" y="1471"/>
                    <a:pt x="661" y="1471"/>
                    <a:pt x="658" y="1470"/>
                  </a:cubicBezTo>
                  <a:close/>
                  <a:moveTo>
                    <a:pt x="676" y="1322"/>
                  </a:moveTo>
                  <a:cubicBezTo>
                    <a:pt x="676" y="1322"/>
                    <a:pt x="673" y="1317"/>
                    <a:pt x="673" y="1316"/>
                  </a:cubicBezTo>
                  <a:cubicBezTo>
                    <a:pt x="670" y="1308"/>
                    <a:pt x="661" y="1306"/>
                    <a:pt x="661" y="1294"/>
                  </a:cubicBezTo>
                  <a:cubicBezTo>
                    <a:pt x="661" y="1294"/>
                    <a:pt x="661" y="1294"/>
                    <a:pt x="661" y="1294"/>
                  </a:cubicBezTo>
                  <a:cubicBezTo>
                    <a:pt x="650" y="1290"/>
                    <a:pt x="668" y="1331"/>
                    <a:pt x="676" y="1322"/>
                  </a:cubicBezTo>
                  <a:close/>
                  <a:moveTo>
                    <a:pt x="662" y="1511"/>
                  </a:moveTo>
                  <a:cubicBezTo>
                    <a:pt x="662" y="1511"/>
                    <a:pt x="662" y="1511"/>
                    <a:pt x="662" y="1511"/>
                  </a:cubicBezTo>
                  <a:cubicBezTo>
                    <a:pt x="664" y="1507"/>
                    <a:pt x="658" y="1511"/>
                    <a:pt x="655" y="1512"/>
                  </a:cubicBezTo>
                  <a:cubicBezTo>
                    <a:pt x="650" y="1514"/>
                    <a:pt x="655" y="1516"/>
                    <a:pt x="662" y="1511"/>
                  </a:cubicBezTo>
                  <a:close/>
                  <a:moveTo>
                    <a:pt x="697" y="1335"/>
                  </a:moveTo>
                  <a:cubicBezTo>
                    <a:pt x="698" y="1335"/>
                    <a:pt x="698" y="1335"/>
                    <a:pt x="698" y="1335"/>
                  </a:cubicBezTo>
                  <a:cubicBezTo>
                    <a:pt x="691" y="1330"/>
                    <a:pt x="701" y="1352"/>
                    <a:pt x="697" y="1335"/>
                  </a:cubicBezTo>
                  <a:close/>
                  <a:moveTo>
                    <a:pt x="692" y="1476"/>
                  </a:moveTo>
                  <a:cubicBezTo>
                    <a:pt x="686" y="1481"/>
                    <a:pt x="694" y="1480"/>
                    <a:pt x="697" y="1477"/>
                  </a:cubicBezTo>
                  <a:cubicBezTo>
                    <a:pt x="697" y="1477"/>
                    <a:pt x="697" y="1477"/>
                    <a:pt x="697" y="1477"/>
                  </a:cubicBezTo>
                  <a:cubicBezTo>
                    <a:pt x="699" y="1474"/>
                    <a:pt x="692" y="1475"/>
                    <a:pt x="692" y="1476"/>
                  </a:cubicBezTo>
                  <a:close/>
                  <a:moveTo>
                    <a:pt x="742" y="1655"/>
                  </a:moveTo>
                  <a:cubicBezTo>
                    <a:pt x="742" y="1655"/>
                    <a:pt x="742" y="1655"/>
                    <a:pt x="742" y="1655"/>
                  </a:cubicBezTo>
                  <a:cubicBezTo>
                    <a:pt x="745" y="1654"/>
                    <a:pt x="744" y="1652"/>
                    <a:pt x="741" y="1652"/>
                  </a:cubicBezTo>
                  <a:cubicBezTo>
                    <a:pt x="739" y="1651"/>
                    <a:pt x="735" y="1654"/>
                    <a:pt x="734" y="1653"/>
                  </a:cubicBezTo>
                  <a:cubicBezTo>
                    <a:pt x="734" y="1652"/>
                    <a:pt x="734" y="1652"/>
                    <a:pt x="734" y="1652"/>
                  </a:cubicBezTo>
                  <a:cubicBezTo>
                    <a:pt x="734" y="1649"/>
                    <a:pt x="733" y="1652"/>
                    <a:pt x="732" y="1652"/>
                  </a:cubicBezTo>
                  <a:cubicBezTo>
                    <a:pt x="730" y="1652"/>
                    <a:pt x="731" y="1650"/>
                    <a:pt x="729" y="1650"/>
                  </a:cubicBezTo>
                  <a:cubicBezTo>
                    <a:pt x="728" y="1651"/>
                    <a:pt x="723" y="1652"/>
                    <a:pt x="722" y="1653"/>
                  </a:cubicBezTo>
                  <a:cubicBezTo>
                    <a:pt x="721" y="1654"/>
                    <a:pt x="721" y="1656"/>
                    <a:pt x="720" y="1658"/>
                  </a:cubicBezTo>
                  <a:cubicBezTo>
                    <a:pt x="719" y="1660"/>
                    <a:pt x="717" y="1659"/>
                    <a:pt x="717" y="1662"/>
                  </a:cubicBezTo>
                  <a:cubicBezTo>
                    <a:pt x="718" y="1664"/>
                    <a:pt x="720" y="1664"/>
                    <a:pt x="720" y="1666"/>
                  </a:cubicBezTo>
                  <a:cubicBezTo>
                    <a:pt x="721" y="1666"/>
                    <a:pt x="724" y="1673"/>
                    <a:pt x="726" y="1671"/>
                  </a:cubicBezTo>
                  <a:cubicBezTo>
                    <a:pt x="727" y="1670"/>
                    <a:pt x="725" y="1669"/>
                    <a:pt x="726" y="1668"/>
                  </a:cubicBezTo>
                  <a:cubicBezTo>
                    <a:pt x="734" y="1662"/>
                    <a:pt x="724" y="1665"/>
                    <a:pt x="727" y="1660"/>
                  </a:cubicBezTo>
                  <a:cubicBezTo>
                    <a:pt x="728" y="1660"/>
                    <a:pt x="728" y="1659"/>
                    <a:pt x="729" y="1659"/>
                  </a:cubicBezTo>
                  <a:cubicBezTo>
                    <a:pt x="730" y="1658"/>
                    <a:pt x="731" y="1659"/>
                    <a:pt x="732" y="1659"/>
                  </a:cubicBezTo>
                  <a:cubicBezTo>
                    <a:pt x="734" y="1659"/>
                    <a:pt x="734" y="1657"/>
                    <a:pt x="735" y="1656"/>
                  </a:cubicBezTo>
                  <a:cubicBezTo>
                    <a:pt x="739" y="1654"/>
                    <a:pt x="739" y="1658"/>
                    <a:pt x="742" y="1655"/>
                  </a:cubicBezTo>
                  <a:close/>
                  <a:moveTo>
                    <a:pt x="734" y="1601"/>
                  </a:moveTo>
                  <a:cubicBezTo>
                    <a:pt x="736" y="1601"/>
                    <a:pt x="744" y="1599"/>
                    <a:pt x="744" y="1596"/>
                  </a:cubicBezTo>
                  <a:cubicBezTo>
                    <a:pt x="743" y="1595"/>
                    <a:pt x="736" y="1594"/>
                    <a:pt x="734" y="1593"/>
                  </a:cubicBezTo>
                  <a:cubicBezTo>
                    <a:pt x="734" y="1593"/>
                    <a:pt x="734" y="1593"/>
                    <a:pt x="734" y="1593"/>
                  </a:cubicBezTo>
                  <a:cubicBezTo>
                    <a:pt x="727" y="1593"/>
                    <a:pt x="734" y="1601"/>
                    <a:pt x="734" y="1601"/>
                  </a:cubicBezTo>
                  <a:close/>
                  <a:moveTo>
                    <a:pt x="606" y="1517"/>
                  </a:moveTo>
                  <a:cubicBezTo>
                    <a:pt x="606" y="1517"/>
                    <a:pt x="606" y="1517"/>
                    <a:pt x="606" y="1517"/>
                  </a:cubicBezTo>
                  <a:cubicBezTo>
                    <a:pt x="606" y="1517"/>
                    <a:pt x="606" y="1517"/>
                    <a:pt x="606" y="1517"/>
                  </a:cubicBezTo>
                  <a:close/>
                  <a:moveTo>
                    <a:pt x="713" y="1444"/>
                  </a:moveTo>
                  <a:cubicBezTo>
                    <a:pt x="713" y="1443"/>
                    <a:pt x="713" y="1443"/>
                    <a:pt x="713" y="1443"/>
                  </a:cubicBezTo>
                  <a:cubicBezTo>
                    <a:pt x="707" y="1435"/>
                    <a:pt x="708" y="1455"/>
                    <a:pt x="713" y="1444"/>
                  </a:cubicBezTo>
                  <a:close/>
                  <a:moveTo>
                    <a:pt x="673" y="1490"/>
                  </a:moveTo>
                  <a:cubicBezTo>
                    <a:pt x="673" y="1490"/>
                    <a:pt x="673" y="1490"/>
                    <a:pt x="673" y="1490"/>
                  </a:cubicBezTo>
                  <a:cubicBezTo>
                    <a:pt x="673" y="1486"/>
                    <a:pt x="665" y="1498"/>
                    <a:pt x="664" y="1498"/>
                  </a:cubicBezTo>
                  <a:cubicBezTo>
                    <a:pt x="661" y="1500"/>
                    <a:pt x="670" y="1502"/>
                    <a:pt x="673" y="1490"/>
                  </a:cubicBezTo>
                  <a:close/>
                  <a:moveTo>
                    <a:pt x="673" y="1469"/>
                  </a:moveTo>
                  <a:cubicBezTo>
                    <a:pt x="677" y="1475"/>
                    <a:pt x="683" y="1470"/>
                    <a:pt x="685" y="1468"/>
                  </a:cubicBezTo>
                  <a:cubicBezTo>
                    <a:pt x="685" y="1468"/>
                    <a:pt x="685" y="1468"/>
                    <a:pt x="685" y="1468"/>
                  </a:cubicBezTo>
                  <a:cubicBezTo>
                    <a:pt x="689" y="1466"/>
                    <a:pt x="671" y="1465"/>
                    <a:pt x="673" y="1469"/>
                  </a:cubicBezTo>
                  <a:close/>
                  <a:moveTo>
                    <a:pt x="718" y="1416"/>
                  </a:moveTo>
                  <a:cubicBezTo>
                    <a:pt x="718" y="1411"/>
                    <a:pt x="714" y="1415"/>
                    <a:pt x="712" y="1416"/>
                  </a:cubicBezTo>
                  <a:cubicBezTo>
                    <a:pt x="699" y="1423"/>
                    <a:pt x="715" y="1416"/>
                    <a:pt x="718" y="1416"/>
                  </a:cubicBezTo>
                  <a:close/>
                  <a:moveTo>
                    <a:pt x="672" y="1441"/>
                  </a:moveTo>
                  <a:cubicBezTo>
                    <a:pt x="673" y="1448"/>
                    <a:pt x="682" y="1436"/>
                    <a:pt x="690" y="1432"/>
                  </a:cubicBezTo>
                  <a:cubicBezTo>
                    <a:pt x="690" y="1432"/>
                    <a:pt x="690" y="1432"/>
                    <a:pt x="690" y="1432"/>
                  </a:cubicBezTo>
                  <a:cubicBezTo>
                    <a:pt x="696" y="1428"/>
                    <a:pt x="670" y="1435"/>
                    <a:pt x="672" y="1441"/>
                  </a:cubicBezTo>
                  <a:close/>
                  <a:moveTo>
                    <a:pt x="541" y="1439"/>
                  </a:moveTo>
                  <a:cubicBezTo>
                    <a:pt x="540" y="1437"/>
                    <a:pt x="540" y="1436"/>
                    <a:pt x="538" y="1435"/>
                  </a:cubicBezTo>
                  <a:cubicBezTo>
                    <a:pt x="538" y="1435"/>
                    <a:pt x="538" y="1435"/>
                    <a:pt x="538" y="1435"/>
                  </a:cubicBezTo>
                  <a:cubicBezTo>
                    <a:pt x="535" y="1433"/>
                    <a:pt x="525" y="1447"/>
                    <a:pt x="539" y="1454"/>
                  </a:cubicBezTo>
                  <a:cubicBezTo>
                    <a:pt x="542" y="1455"/>
                    <a:pt x="542" y="1453"/>
                    <a:pt x="541" y="1452"/>
                  </a:cubicBezTo>
                  <a:cubicBezTo>
                    <a:pt x="536" y="1442"/>
                    <a:pt x="544" y="1442"/>
                    <a:pt x="541" y="1439"/>
                  </a:cubicBezTo>
                  <a:close/>
                  <a:moveTo>
                    <a:pt x="718" y="1668"/>
                  </a:moveTo>
                  <a:cubicBezTo>
                    <a:pt x="711" y="1663"/>
                    <a:pt x="717" y="1660"/>
                    <a:pt x="712" y="1661"/>
                  </a:cubicBezTo>
                  <a:cubicBezTo>
                    <a:pt x="707" y="1662"/>
                    <a:pt x="710" y="1666"/>
                    <a:pt x="707" y="1666"/>
                  </a:cubicBezTo>
                  <a:cubicBezTo>
                    <a:pt x="704" y="1666"/>
                    <a:pt x="707" y="1658"/>
                    <a:pt x="702" y="1660"/>
                  </a:cubicBezTo>
                  <a:cubicBezTo>
                    <a:pt x="696" y="1662"/>
                    <a:pt x="703" y="1666"/>
                    <a:pt x="700" y="1667"/>
                  </a:cubicBezTo>
                  <a:cubicBezTo>
                    <a:pt x="696" y="1669"/>
                    <a:pt x="699" y="1672"/>
                    <a:pt x="697" y="1673"/>
                  </a:cubicBezTo>
                  <a:cubicBezTo>
                    <a:pt x="692" y="1674"/>
                    <a:pt x="696" y="1659"/>
                    <a:pt x="688" y="1659"/>
                  </a:cubicBezTo>
                  <a:cubicBezTo>
                    <a:pt x="679" y="1659"/>
                    <a:pt x="685" y="1673"/>
                    <a:pt x="674" y="1672"/>
                  </a:cubicBezTo>
                  <a:cubicBezTo>
                    <a:pt x="661" y="1672"/>
                    <a:pt x="658" y="1694"/>
                    <a:pt x="645" y="1704"/>
                  </a:cubicBezTo>
                  <a:cubicBezTo>
                    <a:pt x="631" y="1714"/>
                    <a:pt x="635" y="1717"/>
                    <a:pt x="636" y="1727"/>
                  </a:cubicBezTo>
                  <a:cubicBezTo>
                    <a:pt x="638" y="1737"/>
                    <a:pt x="642" y="1734"/>
                    <a:pt x="640" y="1736"/>
                  </a:cubicBezTo>
                  <a:cubicBezTo>
                    <a:pt x="639" y="1739"/>
                    <a:pt x="641" y="1742"/>
                    <a:pt x="637" y="1746"/>
                  </a:cubicBezTo>
                  <a:cubicBezTo>
                    <a:pt x="632" y="1751"/>
                    <a:pt x="632" y="1753"/>
                    <a:pt x="636" y="1755"/>
                  </a:cubicBezTo>
                  <a:cubicBezTo>
                    <a:pt x="639" y="1757"/>
                    <a:pt x="638" y="1756"/>
                    <a:pt x="639" y="1765"/>
                  </a:cubicBezTo>
                  <a:cubicBezTo>
                    <a:pt x="640" y="1773"/>
                    <a:pt x="646" y="1769"/>
                    <a:pt x="643" y="1776"/>
                  </a:cubicBezTo>
                  <a:cubicBezTo>
                    <a:pt x="641" y="1783"/>
                    <a:pt x="643" y="1783"/>
                    <a:pt x="648" y="1778"/>
                  </a:cubicBezTo>
                  <a:cubicBezTo>
                    <a:pt x="653" y="1774"/>
                    <a:pt x="652" y="1783"/>
                    <a:pt x="646" y="1785"/>
                  </a:cubicBezTo>
                  <a:cubicBezTo>
                    <a:pt x="640" y="1787"/>
                    <a:pt x="645" y="1788"/>
                    <a:pt x="641" y="1795"/>
                  </a:cubicBezTo>
                  <a:cubicBezTo>
                    <a:pt x="636" y="1803"/>
                    <a:pt x="635" y="1802"/>
                    <a:pt x="645" y="1800"/>
                  </a:cubicBezTo>
                  <a:cubicBezTo>
                    <a:pt x="651" y="1799"/>
                    <a:pt x="652" y="1800"/>
                    <a:pt x="652" y="1796"/>
                  </a:cubicBezTo>
                  <a:cubicBezTo>
                    <a:pt x="653" y="1792"/>
                    <a:pt x="657" y="1795"/>
                    <a:pt x="656" y="1792"/>
                  </a:cubicBezTo>
                  <a:cubicBezTo>
                    <a:pt x="655" y="1789"/>
                    <a:pt x="660" y="1789"/>
                    <a:pt x="658" y="1788"/>
                  </a:cubicBezTo>
                  <a:cubicBezTo>
                    <a:pt x="655" y="1786"/>
                    <a:pt x="654" y="1777"/>
                    <a:pt x="659" y="1776"/>
                  </a:cubicBezTo>
                  <a:cubicBezTo>
                    <a:pt x="664" y="1774"/>
                    <a:pt x="669" y="1771"/>
                    <a:pt x="664" y="1771"/>
                  </a:cubicBezTo>
                  <a:cubicBezTo>
                    <a:pt x="659" y="1772"/>
                    <a:pt x="657" y="1770"/>
                    <a:pt x="670" y="1765"/>
                  </a:cubicBezTo>
                  <a:cubicBezTo>
                    <a:pt x="684" y="1760"/>
                    <a:pt x="667" y="1762"/>
                    <a:pt x="681" y="1758"/>
                  </a:cubicBezTo>
                  <a:cubicBezTo>
                    <a:pt x="690" y="1756"/>
                    <a:pt x="693" y="1754"/>
                    <a:pt x="686" y="1750"/>
                  </a:cubicBezTo>
                  <a:cubicBezTo>
                    <a:pt x="679" y="1747"/>
                    <a:pt x="700" y="1733"/>
                    <a:pt x="704" y="1736"/>
                  </a:cubicBezTo>
                  <a:cubicBezTo>
                    <a:pt x="708" y="1738"/>
                    <a:pt x="713" y="1724"/>
                    <a:pt x="702" y="1728"/>
                  </a:cubicBezTo>
                  <a:cubicBezTo>
                    <a:pt x="692" y="1731"/>
                    <a:pt x="691" y="1719"/>
                    <a:pt x="696" y="1710"/>
                  </a:cubicBezTo>
                  <a:cubicBezTo>
                    <a:pt x="701" y="1701"/>
                    <a:pt x="690" y="1705"/>
                    <a:pt x="694" y="1699"/>
                  </a:cubicBezTo>
                  <a:cubicBezTo>
                    <a:pt x="698" y="1692"/>
                    <a:pt x="695" y="1685"/>
                    <a:pt x="699" y="1687"/>
                  </a:cubicBezTo>
                  <a:cubicBezTo>
                    <a:pt x="704" y="1689"/>
                    <a:pt x="702" y="1686"/>
                    <a:pt x="704" y="1688"/>
                  </a:cubicBezTo>
                  <a:cubicBezTo>
                    <a:pt x="706" y="1690"/>
                    <a:pt x="708" y="1690"/>
                    <a:pt x="708" y="1683"/>
                  </a:cubicBezTo>
                  <a:cubicBezTo>
                    <a:pt x="709" y="1676"/>
                    <a:pt x="712" y="1683"/>
                    <a:pt x="713" y="1679"/>
                  </a:cubicBezTo>
                  <a:cubicBezTo>
                    <a:pt x="713" y="1675"/>
                    <a:pt x="715" y="1671"/>
                    <a:pt x="719" y="1673"/>
                  </a:cubicBezTo>
                  <a:cubicBezTo>
                    <a:pt x="723" y="1675"/>
                    <a:pt x="724" y="1673"/>
                    <a:pt x="718" y="1668"/>
                  </a:cubicBezTo>
                  <a:close/>
                  <a:moveTo>
                    <a:pt x="301" y="1648"/>
                  </a:moveTo>
                  <a:cubicBezTo>
                    <a:pt x="306" y="1644"/>
                    <a:pt x="311" y="1629"/>
                    <a:pt x="304" y="1639"/>
                  </a:cubicBezTo>
                  <a:cubicBezTo>
                    <a:pt x="301" y="1642"/>
                    <a:pt x="295" y="1650"/>
                    <a:pt x="301" y="1648"/>
                  </a:cubicBezTo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Norway"/>
            <p:cNvSpPr>
              <a:spLocks noEditPoints="1"/>
            </p:cNvSpPr>
            <p:nvPr/>
          </p:nvSpPr>
          <p:spPr bwMode="auto">
            <a:xfrm>
              <a:off x="2987" y="657"/>
              <a:ext cx="1223" cy="1039"/>
            </a:xfrm>
            <a:custGeom>
              <a:avLst/>
              <a:gdLst>
                <a:gd name="T0" fmla="*/ 550 w 2349"/>
                <a:gd name="T1" fmla="*/ 1825 h 1995"/>
                <a:gd name="T2" fmla="*/ 389 w 2349"/>
                <a:gd name="T3" fmla="*/ 1893 h 1995"/>
                <a:gd name="T4" fmla="*/ 71 w 2349"/>
                <a:gd name="T5" fmla="*/ 1857 h 1995"/>
                <a:gd name="T6" fmla="*/ 107 w 2349"/>
                <a:gd name="T7" fmla="*/ 1799 h 1995"/>
                <a:gd name="T8" fmla="*/ 82 w 2349"/>
                <a:gd name="T9" fmla="*/ 1729 h 1995"/>
                <a:gd name="T10" fmla="*/ 79 w 2349"/>
                <a:gd name="T11" fmla="*/ 1671 h 1995"/>
                <a:gd name="T12" fmla="*/ 35 w 2349"/>
                <a:gd name="T13" fmla="*/ 1565 h 1995"/>
                <a:gd name="T14" fmla="*/ 110 w 2349"/>
                <a:gd name="T15" fmla="*/ 1539 h 1995"/>
                <a:gd name="T16" fmla="*/ 64 w 2349"/>
                <a:gd name="T17" fmla="*/ 1429 h 1995"/>
                <a:gd name="T18" fmla="*/ 84 w 2349"/>
                <a:gd name="T19" fmla="*/ 1391 h 1995"/>
                <a:gd name="T20" fmla="*/ 168 w 2349"/>
                <a:gd name="T21" fmla="*/ 1334 h 1995"/>
                <a:gd name="T22" fmla="*/ 306 w 2349"/>
                <a:gd name="T23" fmla="*/ 1297 h 1995"/>
                <a:gd name="T24" fmla="*/ 417 w 2349"/>
                <a:gd name="T25" fmla="*/ 1212 h 1995"/>
                <a:gd name="T26" fmla="*/ 567 w 2349"/>
                <a:gd name="T27" fmla="*/ 1138 h 1995"/>
                <a:gd name="T28" fmla="*/ 546 w 2349"/>
                <a:gd name="T29" fmla="*/ 1064 h 1995"/>
                <a:gd name="T30" fmla="*/ 603 w 2349"/>
                <a:gd name="T31" fmla="*/ 983 h 1995"/>
                <a:gd name="T32" fmla="*/ 691 w 2349"/>
                <a:gd name="T33" fmla="*/ 887 h 1995"/>
                <a:gd name="T34" fmla="*/ 751 w 2349"/>
                <a:gd name="T35" fmla="*/ 768 h 1995"/>
                <a:gd name="T36" fmla="*/ 824 w 2349"/>
                <a:gd name="T37" fmla="*/ 665 h 1995"/>
                <a:gd name="T38" fmla="*/ 921 w 2349"/>
                <a:gd name="T39" fmla="*/ 625 h 1995"/>
                <a:gd name="T40" fmla="*/ 962 w 2349"/>
                <a:gd name="T41" fmla="*/ 559 h 1995"/>
                <a:gd name="T42" fmla="*/ 954 w 2349"/>
                <a:gd name="T43" fmla="*/ 508 h 1995"/>
                <a:gd name="T44" fmla="*/ 1077 w 2349"/>
                <a:gd name="T45" fmla="*/ 487 h 1995"/>
                <a:gd name="T46" fmla="*/ 1139 w 2349"/>
                <a:gd name="T47" fmla="*/ 364 h 1995"/>
                <a:gd name="T48" fmla="*/ 1330 w 2349"/>
                <a:gd name="T49" fmla="*/ 277 h 1995"/>
                <a:gd name="T50" fmla="*/ 1533 w 2349"/>
                <a:gd name="T51" fmla="*/ 197 h 1995"/>
                <a:gd name="T52" fmla="*/ 1642 w 2349"/>
                <a:gd name="T53" fmla="*/ 196 h 1995"/>
                <a:gd name="T54" fmla="*/ 1847 w 2349"/>
                <a:gd name="T55" fmla="*/ 55 h 1995"/>
                <a:gd name="T56" fmla="*/ 2033 w 2349"/>
                <a:gd name="T57" fmla="*/ 61 h 1995"/>
                <a:gd name="T58" fmla="*/ 2095 w 2349"/>
                <a:gd name="T59" fmla="*/ 164 h 1995"/>
                <a:gd name="T60" fmla="*/ 2128 w 2349"/>
                <a:gd name="T61" fmla="*/ 165 h 1995"/>
                <a:gd name="T62" fmla="*/ 2159 w 2349"/>
                <a:gd name="T63" fmla="*/ 343 h 1995"/>
                <a:gd name="T64" fmla="*/ 1114 w 2349"/>
                <a:gd name="T65" fmla="*/ 496 h 1995"/>
                <a:gd name="T66" fmla="*/ 642 w 2349"/>
                <a:gd name="T67" fmla="*/ 1229 h 1995"/>
                <a:gd name="T68" fmla="*/ 849 w 2349"/>
                <a:gd name="T69" fmla="*/ 704 h 1995"/>
                <a:gd name="T70" fmla="*/ 774 w 2349"/>
                <a:gd name="T71" fmla="*/ 992 h 1995"/>
                <a:gd name="T72" fmla="*/ 314 w 2349"/>
                <a:gd name="T73" fmla="*/ 1848 h 1995"/>
                <a:gd name="T74" fmla="*/ 522 w 2349"/>
                <a:gd name="T75" fmla="*/ 1227 h 1995"/>
                <a:gd name="T76" fmla="*/ 578 w 2349"/>
                <a:gd name="T77" fmla="*/ 1754 h 1995"/>
                <a:gd name="T78" fmla="*/ 7 w 2349"/>
                <a:gd name="T79" fmla="*/ 1597 h 1995"/>
                <a:gd name="T80" fmla="*/ 576 w 2349"/>
                <a:gd name="T81" fmla="*/ 983 h 1995"/>
                <a:gd name="T82" fmla="*/ 42 w 2349"/>
                <a:gd name="T83" fmla="*/ 1762 h 1995"/>
                <a:gd name="T84" fmla="*/ 1451 w 2349"/>
                <a:gd name="T85" fmla="*/ 191 h 1995"/>
                <a:gd name="T86" fmla="*/ 666 w 2349"/>
                <a:gd name="T87" fmla="*/ 921 h 1995"/>
                <a:gd name="T88" fmla="*/ 298 w 2349"/>
                <a:gd name="T89" fmla="*/ 1234 h 1995"/>
                <a:gd name="T90" fmla="*/ 1039 w 2349"/>
                <a:gd name="T91" fmla="*/ 428 h 1995"/>
                <a:gd name="T92" fmla="*/ 869 w 2349"/>
                <a:gd name="T93" fmla="*/ 394 h 1995"/>
                <a:gd name="T94" fmla="*/ 1713 w 2349"/>
                <a:gd name="T95" fmla="*/ 30 h 1995"/>
                <a:gd name="T96" fmla="*/ 1236 w 2349"/>
                <a:gd name="T97" fmla="*/ 240 h 1995"/>
                <a:gd name="T98" fmla="*/ 1596 w 2349"/>
                <a:gd name="T99" fmla="*/ 80 h 1995"/>
                <a:gd name="T100" fmla="*/ 1641 w 2349"/>
                <a:gd name="T101" fmla="*/ 125 h 1995"/>
                <a:gd name="T102" fmla="*/ 1266 w 2349"/>
                <a:gd name="T103" fmla="*/ 197 h 1995"/>
                <a:gd name="T104" fmla="*/ 1090 w 2349"/>
                <a:gd name="T105" fmla="*/ 304 h 1995"/>
                <a:gd name="T106" fmla="*/ 913 w 2349"/>
                <a:gd name="T107" fmla="*/ 361 h 1995"/>
                <a:gd name="T108" fmla="*/ 1037 w 2349"/>
                <a:gd name="T109" fmla="*/ 353 h 1995"/>
                <a:gd name="T110" fmla="*/ 916 w 2349"/>
                <a:gd name="T111" fmla="*/ 465 h 1995"/>
                <a:gd name="T112" fmla="*/ 906 w 2349"/>
                <a:gd name="T113" fmla="*/ 441 h 1995"/>
                <a:gd name="T114" fmla="*/ 997 w 2349"/>
                <a:gd name="T115" fmla="*/ 357 h 1995"/>
                <a:gd name="T116" fmla="*/ 918 w 2349"/>
                <a:gd name="T117" fmla="*/ 512 h 1995"/>
                <a:gd name="T118" fmla="*/ 104 w 2349"/>
                <a:gd name="T119" fmla="*/ 1827 h 1995"/>
                <a:gd name="T120" fmla="*/ 10 w 2349"/>
                <a:gd name="T121" fmla="*/ 1542 h 1995"/>
                <a:gd name="T122" fmla="*/ 44 w 2349"/>
                <a:gd name="T123" fmla="*/ 1439 h 19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49" h="1995">
                  <a:moveTo>
                    <a:pt x="42" y="1698"/>
                  </a:moveTo>
                  <a:cubicBezTo>
                    <a:pt x="40" y="1696"/>
                    <a:pt x="38" y="1688"/>
                    <a:pt x="41" y="1690"/>
                  </a:cubicBezTo>
                  <a:cubicBezTo>
                    <a:pt x="41" y="1690"/>
                    <a:pt x="41" y="1690"/>
                    <a:pt x="41" y="1690"/>
                  </a:cubicBezTo>
                  <a:cubicBezTo>
                    <a:pt x="46" y="1695"/>
                    <a:pt x="46" y="1698"/>
                    <a:pt x="47" y="1703"/>
                  </a:cubicBezTo>
                  <a:cubicBezTo>
                    <a:pt x="48" y="1707"/>
                    <a:pt x="42" y="1705"/>
                    <a:pt x="39" y="1702"/>
                  </a:cubicBezTo>
                  <a:cubicBezTo>
                    <a:pt x="32" y="1693"/>
                    <a:pt x="44" y="1701"/>
                    <a:pt x="42" y="1698"/>
                  </a:cubicBezTo>
                  <a:close/>
                  <a:moveTo>
                    <a:pt x="247" y="1329"/>
                  </a:moveTo>
                  <a:cubicBezTo>
                    <a:pt x="247" y="1327"/>
                    <a:pt x="248" y="1325"/>
                    <a:pt x="247" y="1324"/>
                  </a:cubicBezTo>
                  <a:cubicBezTo>
                    <a:pt x="247" y="1326"/>
                    <a:pt x="247" y="1327"/>
                    <a:pt x="247" y="1329"/>
                  </a:cubicBezTo>
                  <a:close/>
                  <a:moveTo>
                    <a:pt x="161" y="1398"/>
                  </a:moveTo>
                  <a:cubicBezTo>
                    <a:pt x="162" y="1397"/>
                    <a:pt x="163" y="1396"/>
                    <a:pt x="164" y="1396"/>
                  </a:cubicBezTo>
                  <a:cubicBezTo>
                    <a:pt x="164" y="1395"/>
                    <a:pt x="163" y="1393"/>
                    <a:pt x="161" y="1390"/>
                  </a:cubicBezTo>
                  <a:cubicBezTo>
                    <a:pt x="162" y="1393"/>
                    <a:pt x="162" y="1396"/>
                    <a:pt x="161" y="1398"/>
                  </a:cubicBezTo>
                  <a:close/>
                  <a:moveTo>
                    <a:pt x="430" y="1186"/>
                  </a:moveTo>
                  <a:cubicBezTo>
                    <a:pt x="430" y="1185"/>
                    <a:pt x="429" y="1185"/>
                    <a:pt x="429" y="1185"/>
                  </a:cubicBezTo>
                  <a:cubicBezTo>
                    <a:pt x="428" y="1183"/>
                    <a:pt x="426" y="1183"/>
                    <a:pt x="425" y="1183"/>
                  </a:cubicBezTo>
                  <a:cubicBezTo>
                    <a:pt x="426" y="1184"/>
                    <a:pt x="428" y="1185"/>
                    <a:pt x="430" y="1186"/>
                  </a:cubicBezTo>
                  <a:close/>
                  <a:moveTo>
                    <a:pt x="30" y="1706"/>
                  </a:moveTo>
                  <a:cubicBezTo>
                    <a:pt x="30" y="1707"/>
                    <a:pt x="30" y="1707"/>
                    <a:pt x="30" y="1707"/>
                  </a:cubicBezTo>
                  <a:cubicBezTo>
                    <a:pt x="30" y="1725"/>
                    <a:pt x="46" y="1688"/>
                    <a:pt x="30" y="1706"/>
                  </a:cubicBezTo>
                  <a:close/>
                  <a:moveTo>
                    <a:pt x="33" y="1672"/>
                  </a:moveTo>
                  <a:cubicBezTo>
                    <a:pt x="31" y="1666"/>
                    <a:pt x="30" y="1655"/>
                    <a:pt x="23" y="1644"/>
                  </a:cubicBezTo>
                  <a:cubicBezTo>
                    <a:pt x="19" y="1639"/>
                    <a:pt x="21" y="1653"/>
                    <a:pt x="21" y="1658"/>
                  </a:cubicBezTo>
                  <a:cubicBezTo>
                    <a:pt x="21" y="1658"/>
                    <a:pt x="21" y="1658"/>
                    <a:pt x="21" y="1659"/>
                  </a:cubicBezTo>
                  <a:cubicBezTo>
                    <a:pt x="21" y="1659"/>
                    <a:pt x="22" y="1659"/>
                    <a:pt x="22" y="1659"/>
                  </a:cubicBezTo>
                  <a:cubicBezTo>
                    <a:pt x="22" y="1660"/>
                    <a:pt x="23" y="1660"/>
                    <a:pt x="24" y="1661"/>
                  </a:cubicBezTo>
                  <a:cubicBezTo>
                    <a:pt x="27" y="1664"/>
                    <a:pt x="26" y="1668"/>
                    <a:pt x="20" y="1664"/>
                  </a:cubicBezTo>
                  <a:cubicBezTo>
                    <a:pt x="17" y="1662"/>
                    <a:pt x="19" y="1670"/>
                    <a:pt x="20" y="1671"/>
                  </a:cubicBezTo>
                  <a:cubicBezTo>
                    <a:pt x="20" y="1672"/>
                    <a:pt x="32" y="1680"/>
                    <a:pt x="33" y="1680"/>
                  </a:cubicBezTo>
                  <a:cubicBezTo>
                    <a:pt x="35" y="1680"/>
                    <a:pt x="34" y="1673"/>
                    <a:pt x="33" y="1672"/>
                  </a:cubicBezTo>
                  <a:close/>
                  <a:moveTo>
                    <a:pt x="597" y="1851"/>
                  </a:moveTo>
                  <a:cubicBezTo>
                    <a:pt x="598" y="1851"/>
                    <a:pt x="593" y="1836"/>
                    <a:pt x="593" y="1835"/>
                  </a:cubicBezTo>
                  <a:cubicBezTo>
                    <a:pt x="589" y="1827"/>
                    <a:pt x="581" y="1836"/>
                    <a:pt x="575" y="1832"/>
                  </a:cubicBezTo>
                  <a:cubicBezTo>
                    <a:pt x="572" y="1830"/>
                    <a:pt x="578" y="1820"/>
                    <a:pt x="574" y="1821"/>
                  </a:cubicBezTo>
                  <a:cubicBezTo>
                    <a:pt x="564" y="1824"/>
                    <a:pt x="573" y="1830"/>
                    <a:pt x="566" y="1832"/>
                  </a:cubicBezTo>
                  <a:cubicBezTo>
                    <a:pt x="562" y="1833"/>
                    <a:pt x="561" y="1825"/>
                    <a:pt x="558" y="1824"/>
                  </a:cubicBezTo>
                  <a:cubicBezTo>
                    <a:pt x="550" y="1820"/>
                    <a:pt x="555" y="1836"/>
                    <a:pt x="550" y="1825"/>
                  </a:cubicBezTo>
                  <a:cubicBezTo>
                    <a:pt x="549" y="1822"/>
                    <a:pt x="548" y="1828"/>
                    <a:pt x="539" y="1819"/>
                  </a:cubicBezTo>
                  <a:cubicBezTo>
                    <a:pt x="539" y="1818"/>
                    <a:pt x="536" y="1820"/>
                    <a:pt x="535" y="1818"/>
                  </a:cubicBezTo>
                  <a:cubicBezTo>
                    <a:pt x="534" y="1816"/>
                    <a:pt x="535" y="1813"/>
                    <a:pt x="535" y="1810"/>
                  </a:cubicBezTo>
                  <a:cubicBezTo>
                    <a:pt x="535" y="1806"/>
                    <a:pt x="522" y="1790"/>
                    <a:pt x="522" y="1788"/>
                  </a:cubicBezTo>
                  <a:cubicBezTo>
                    <a:pt x="526" y="1769"/>
                    <a:pt x="531" y="1791"/>
                    <a:pt x="532" y="1781"/>
                  </a:cubicBezTo>
                  <a:cubicBezTo>
                    <a:pt x="535" y="1761"/>
                    <a:pt x="509" y="1731"/>
                    <a:pt x="527" y="1727"/>
                  </a:cubicBezTo>
                  <a:cubicBezTo>
                    <a:pt x="533" y="1725"/>
                    <a:pt x="530" y="1749"/>
                    <a:pt x="534" y="1744"/>
                  </a:cubicBezTo>
                  <a:cubicBezTo>
                    <a:pt x="535" y="1741"/>
                    <a:pt x="540" y="1715"/>
                    <a:pt x="531" y="1720"/>
                  </a:cubicBezTo>
                  <a:cubicBezTo>
                    <a:pt x="484" y="1743"/>
                    <a:pt x="537" y="1752"/>
                    <a:pt x="522" y="1769"/>
                  </a:cubicBezTo>
                  <a:cubicBezTo>
                    <a:pt x="509" y="1785"/>
                    <a:pt x="506" y="1756"/>
                    <a:pt x="498" y="1747"/>
                  </a:cubicBezTo>
                  <a:cubicBezTo>
                    <a:pt x="497" y="1745"/>
                    <a:pt x="491" y="1741"/>
                    <a:pt x="490" y="1745"/>
                  </a:cubicBezTo>
                  <a:cubicBezTo>
                    <a:pt x="489" y="1748"/>
                    <a:pt x="502" y="1757"/>
                    <a:pt x="503" y="1765"/>
                  </a:cubicBezTo>
                  <a:cubicBezTo>
                    <a:pt x="504" y="1784"/>
                    <a:pt x="495" y="1766"/>
                    <a:pt x="491" y="1769"/>
                  </a:cubicBezTo>
                  <a:cubicBezTo>
                    <a:pt x="489" y="1770"/>
                    <a:pt x="494" y="1774"/>
                    <a:pt x="494" y="1775"/>
                  </a:cubicBezTo>
                  <a:cubicBezTo>
                    <a:pt x="498" y="1778"/>
                    <a:pt x="513" y="1789"/>
                    <a:pt x="513" y="1790"/>
                  </a:cubicBezTo>
                  <a:cubicBezTo>
                    <a:pt x="513" y="1794"/>
                    <a:pt x="508" y="1796"/>
                    <a:pt x="510" y="1800"/>
                  </a:cubicBezTo>
                  <a:cubicBezTo>
                    <a:pt x="511" y="1803"/>
                    <a:pt x="517" y="1804"/>
                    <a:pt x="516" y="1806"/>
                  </a:cubicBezTo>
                  <a:cubicBezTo>
                    <a:pt x="510" y="1818"/>
                    <a:pt x="506" y="1807"/>
                    <a:pt x="502" y="1811"/>
                  </a:cubicBezTo>
                  <a:cubicBezTo>
                    <a:pt x="495" y="1819"/>
                    <a:pt x="501" y="1834"/>
                    <a:pt x="497" y="1841"/>
                  </a:cubicBezTo>
                  <a:cubicBezTo>
                    <a:pt x="497" y="1842"/>
                    <a:pt x="495" y="1845"/>
                    <a:pt x="493" y="1844"/>
                  </a:cubicBezTo>
                  <a:cubicBezTo>
                    <a:pt x="491" y="1843"/>
                    <a:pt x="490" y="1846"/>
                    <a:pt x="489" y="1847"/>
                  </a:cubicBezTo>
                  <a:cubicBezTo>
                    <a:pt x="478" y="1853"/>
                    <a:pt x="487" y="1839"/>
                    <a:pt x="472" y="1844"/>
                  </a:cubicBezTo>
                  <a:cubicBezTo>
                    <a:pt x="472" y="1844"/>
                    <a:pt x="471" y="1860"/>
                    <a:pt x="456" y="1856"/>
                  </a:cubicBezTo>
                  <a:cubicBezTo>
                    <a:pt x="455" y="1856"/>
                    <a:pt x="455" y="1856"/>
                    <a:pt x="455" y="1856"/>
                  </a:cubicBezTo>
                  <a:cubicBezTo>
                    <a:pt x="453" y="1854"/>
                    <a:pt x="458" y="1851"/>
                    <a:pt x="455" y="1847"/>
                  </a:cubicBezTo>
                  <a:cubicBezTo>
                    <a:pt x="453" y="1844"/>
                    <a:pt x="450" y="1840"/>
                    <a:pt x="449" y="1841"/>
                  </a:cubicBezTo>
                  <a:cubicBezTo>
                    <a:pt x="446" y="1848"/>
                    <a:pt x="445" y="1838"/>
                    <a:pt x="443" y="1836"/>
                  </a:cubicBezTo>
                  <a:cubicBezTo>
                    <a:pt x="441" y="1834"/>
                    <a:pt x="442" y="1841"/>
                    <a:pt x="440" y="1841"/>
                  </a:cubicBezTo>
                  <a:cubicBezTo>
                    <a:pt x="436" y="1840"/>
                    <a:pt x="438" y="1829"/>
                    <a:pt x="436" y="1831"/>
                  </a:cubicBezTo>
                  <a:cubicBezTo>
                    <a:pt x="434" y="1833"/>
                    <a:pt x="430" y="1831"/>
                    <a:pt x="429" y="1832"/>
                  </a:cubicBezTo>
                  <a:cubicBezTo>
                    <a:pt x="425" y="1837"/>
                    <a:pt x="450" y="1850"/>
                    <a:pt x="445" y="1852"/>
                  </a:cubicBezTo>
                  <a:cubicBezTo>
                    <a:pt x="435" y="1856"/>
                    <a:pt x="419" y="1866"/>
                    <a:pt x="414" y="1868"/>
                  </a:cubicBezTo>
                  <a:cubicBezTo>
                    <a:pt x="413" y="1869"/>
                    <a:pt x="401" y="1866"/>
                    <a:pt x="405" y="1873"/>
                  </a:cubicBezTo>
                  <a:cubicBezTo>
                    <a:pt x="409" y="1879"/>
                    <a:pt x="428" y="1864"/>
                    <a:pt x="414" y="1878"/>
                  </a:cubicBezTo>
                  <a:cubicBezTo>
                    <a:pt x="412" y="1880"/>
                    <a:pt x="417" y="1878"/>
                    <a:pt x="418" y="1879"/>
                  </a:cubicBezTo>
                  <a:cubicBezTo>
                    <a:pt x="421" y="1888"/>
                    <a:pt x="383" y="1887"/>
                    <a:pt x="393" y="1888"/>
                  </a:cubicBezTo>
                  <a:cubicBezTo>
                    <a:pt x="407" y="1890"/>
                    <a:pt x="397" y="1891"/>
                    <a:pt x="389" y="1893"/>
                  </a:cubicBezTo>
                  <a:cubicBezTo>
                    <a:pt x="379" y="1895"/>
                    <a:pt x="401" y="1892"/>
                    <a:pt x="399" y="1896"/>
                  </a:cubicBezTo>
                  <a:cubicBezTo>
                    <a:pt x="395" y="1904"/>
                    <a:pt x="373" y="1905"/>
                    <a:pt x="373" y="1905"/>
                  </a:cubicBezTo>
                  <a:cubicBezTo>
                    <a:pt x="372" y="1906"/>
                    <a:pt x="378" y="1909"/>
                    <a:pt x="375" y="1912"/>
                  </a:cubicBezTo>
                  <a:cubicBezTo>
                    <a:pt x="367" y="1923"/>
                    <a:pt x="339" y="1953"/>
                    <a:pt x="337" y="1954"/>
                  </a:cubicBezTo>
                  <a:cubicBezTo>
                    <a:pt x="336" y="1955"/>
                    <a:pt x="322" y="1955"/>
                    <a:pt x="314" y="1962"/>
                  </a:cubicBezTo>
                  <a:cubicBezTo>
                    <a:pt x="310" y="1964"/>
                    <a:pt x="314" y="1972"/>
                    <a:pt x="310" y="1974"/>
                  </a:cubicBezTo>
                  <a:cubicBezTo>
                    <a:pt x="310" y="1974"/>
                    <a:pt x="287" y="1977"/>
                    <a:pt x="298" y="1969"/>
                  </a:cubicBezTo>
                  <a:cubicBezTo>
                    <a:pt x="299" y="1968"/>
                    <a:pt x="294" y="1957"/>
                    <a:pt x="292" y="1959"/>
                  </a:cubicBezTo>
                  <a:cubicBezTo>
                    <a:pt x="290" y="1961"/>
                    <a:pt x="290" y="1976"/>
                    <a:pt x="286" y="1979"/>
                  </a:cubicBezTo>
                  <a:cubicBezTo>
                    <a:pt x="285" y="1980"/>
                    <a:pt x="262" y="1985"/>
                    <a:pt x="260" y="1984"/>
                  </a:cubicBezTo>
                  <a:cubicBezTo>
                    <a:pt x="259" y="1984"/>
                    <a:pt x="259" y="1984"/>
                    <a:pt x="258" y="1984"/>
                  </a:cubicBezTo>
                  <a:cubicBezTo>
                    <a:pt x="249" y="1987"/>
                    <a:pt x="235" y="1983"/>
                    <a:pt x="227" y="1985"/>
                  </a:cubicBezTo>
                  <a:cubicBezTo>
                    <a:pt x="226" y="1985"/>
                    <a:pt x="225" y="1986"/>
                    <a:pt x="225" y="1984"/>
                  </a:cubicBezTo>
                  <a:cubicBezTo>
                    <a:pt x="225" y="1984"/>
                    <a:pt x="225" y="1982"/>
                    <a:pt x="224" y="1982"/>
                  </a:cubicBezTo>
                  <a:cubicBezTo>
                    <a:pt x="221" y="1983"/>
                    <a:pt x="204" y="1993"/>
                    <a:pt x="202" y="1992"/>
                  </a:cubicBezTo>
                  <a:cubicBezTo>
                    <a:pt x="197" y="1990"/>
                    <a:pt x="217" y="1979"/>
                    <a:pt x="216" y="1976"/>
                  </a:cubicBezTo>
                  <a:cubicBezTo>
                    <a:pt x="215" y="1975"/>
                    <a:pt x="200" y="1986"/>
                    <a:pt x="198" y="1985"/>
                  </a:cubicBezTo>
                  <a:cubicBezTo>
                    <a:pt x="198" y="1985"/>
                    <a:pt x="204" y="1973"/>
                    <a:pt x="199" y="1979"/>
                  </a:cubicBezTo>
                  <a:cubicBezTo>
                    <a:pt x="195" y="1983"/>
                    <a:pt x="195" y="1986"/>
                    <a:pt x="195" y="1979"/>
                  </a:cubicBezTo>
                  <a:cubicBezTo>
                    <a:pt x="195" y="1974"/>
                    <a:pt x="185" y="1983"/>
                    <a:pt x="185" y="1977"/>
                  </a:cubicBezTo>
                  <a:cubicBezTo>
                    <a:pt x="185" y="1972"/>
                    <a:pt x="203" y="1974"/>
                    <a:pt x="201" y="1971"/>
                  </a:cubicBezTo>
                  <a:cubicBezTo>
                    <a:pt x="200" y="1967"/>
                    <a:pt x="193" y="1972"/>
                    <a:pt x="189" y="1970"/>
                  </a:cubicBezTo>
                  <a:cubicBezTo>
                    <a:pt x="185" y="1967"/>
                    <a:pt x="180" y="1962"/>
                    <a:pt x="185" y="1971"/>
                  </a:cubicBezTo>
                  <a:cubicBezTo>
                    <a:pt x="187" y="1973"/>
                    <a:pt x="184" y="1974"/>
                    <a:pt x="180" y="1972"/>
                  </a:cubicBezTo>
                  <a:cubicBezTo>
                    <a:pt x="179" y="1972"/>
                    <a:pt x="177" y="1960"/>
                    <a:pt x="177" y="1967"/>
                  </a:cubicBezTo>
                  <a:cubicBezTo>
                    <a:pt x="176" y="1972"/>
                    <a:pt x="186" y="1995"/>
                    <a:pt x="166" y="1980"/>
                  </a:cubicBezTo>
                  <a:cubicBezTo>
                    <a:pt x="155" y="1971"/>
                    <a:pt x="174" y="1961"/>
                    <a:pt x="184" y="1955"/>
                  </a:cubicBezTo>
                  <a:cubicBezTo>
                    <a:pt x="186" y="1954"/>
                    <a:pt x="189" y="1953"/>
                    <a:pt x="189" y="1952"/>
                  </a:cubicBezTo>
                  <a:cubicBezTo>
                    <a:pt x="188" y="1949"/>
                    <a:pt x="176" y="1958"/>
                    <a:pt x="174" y="1957"/>
                  </a:cubicBezTo>
                  <a:cubicBezTo>
                    <a:pt x="170" y="1955"/>
                    <a:pt x="176" y="1951"/>
                    <a:pt x="176" y="1947"/>
                  </a:cubicBezTo>
                  <a:cubicBezTo>
                    <a:pt x="177" y="1944"/>
                    <a:pt x="173" y="1945"/>
                    <a:pt x="172" y="1945"/>
                  </a:cubicBezTo>
                  <a:cubicBezTo>
                    <a:pt x="165" y="1946"/>
                    <a:pt x="170" y="1952"/>
                    <a:pt x="169" y="1956"/>
                  </a:cubicBezTo>
                  <a:cubicBezTo>
                    <a:pt x="167" y="1962"/>
                    <a:pt x="136" y="1945"/>
                    <a:pt x="132" y="1944"/>
                  </a:cubicBezTo>
                  <a:cubicBezTo>
                    <a:pt x="113" y="1938"/>
                    <a:pt x="118" y="1930"/>
                    <a:pt x="109" y="1924"/>
                  </a:cubicBezTo>
                  <a:cubicBezTo>
                    <a:pt x="106" y="1921"/>
                    <a:pt x="96" y="1923"/>
                    <a:pt x="92" y="1922"/>
                  </a:cubicBezTo>
                  <a:cubicBezTo>
                    <a:pt x="84" y="1919"/>
                    <a:pt x="64" y="1893"/>
                    <a:pt x="65" y="1884"/>
                  </a:cubicBezTo>
                  <a:cubicBezTo>
                    <a:pt x="65" y="1873"/>
                    <a:pt x="74" y="1869"/>
                    <a:pt x="71" y="1857"/>
                  </a:cubicBezTo>
                  <a:cubicBezTo>
                    <a:pt x="70" y="1853"/>
                    <a:pt x="79" y="1867"/>
                    <a:pt x="80" y="1860"/>
                  </a:cubicBezTo>
                  <a:cubicBezTo>
                    <a:pt x="80" y="1857"/>
                    <a:pt x="66" y="1846"/>
                    <a:pt x="73" y="1844"/>
                  </a:cubicBezTo>
                  <a:cubicBezTo>
                    <a:pt x="83" y="1842"/>
                    <a:pt x="86" y="1857"/>
                    <a:pt x="87" y="1862"/>
                  </a:cubicBezTo>
                  <a:cubicBezTo>
                    <a:pt x="87" y="1863"/>
                    <a:pt x="86" y="1868"/>
                    <a:pt x="88" y="1868"/>
                  </a:cubicBezTo>
                  <a:cubicBezTo>
                    <a:pt x="91" y="1867"/>
                    <a:pt x="95" y="1854"/>
                    <a:pt x="100" y="1854"/>
                  </a:cubicBezTo>
                  <a:cubicBezTo>
                    <a:pt x="110" y="1855"/>
                    <a:pt x="118" y="1879"/>
                    <a:pt x="133" y="1872"/>
                  </a:cubicBezTo>
                  <a:cubicBezTo>
                    <a:pt x="135" y="1872"/>
                    <a:pt x="128" y="1871"/>
                    <a:pt x="127" y="1871"/>
                  </a:cubicBezTo>
                  <a:cubicBezTo>
                    <a:pt x="117" y="1868"/>
                    <a:pt x="121" y="1856"/>
                    <a:pt x="124" y="1854"/>
                  </a:cubicBezTo>
                  <a:cubicBezTo>
                    <a:pt x="132" y="1850"/>
                    <a:pt x="165" y="1848"/>
                    <a:pt x="169" y="1841"/>
                  </a:cubicBezTo>
                  <a:cubicBezTo>
                    <a:pt x="170" y="1840"/>
                    <a:pt x="155" y="1843"/>
                    <a:pt x="154" y="1843"/>
                  </a:cubicBezTo>
                  <a:cubicBezTo>
                    <a:pt x="146" y="1844"/>
                    <a:pt x="124" y="1848"/>
                    <a:pt x="119" y="1855"/>
                  </a:cubicBezTo>
                  <a:cubicBezTo>
                    <a:pt x="118" y="1857"/>
                    <a:pt x="117" y="1865"/>
                    <a:pt x="115" y="1862"/>
                  </a:cubicBezTo>
                  <a:cubicBezTo>
                    <a:pt x="113" y="1859"/>
                    <a:pt x="108" y="1851"/>
                    <a:pt x="114" y="1850"/>
                  </a:cubicBezTo>
                  <a:cubicBezTo>
                    <a:pt x="115" y="1850"/>
                    <a:pt x="119" y="1851"/>
                    <a:pt x="117" y="1849"/>
                  </a:cubicBezTo>
                  <a:cubicBezTo>
                    <a:pt x="113" y="1845"/>
                    <a:pt x="101" y="1848"/>
                    <a:pt x="101" y="1839"/>
                  </a:cubicBezTo>
                  <a:cubicBezTo>
                    <a:pt x="101" y="1832"/>
                    <a:pt x="125" y="1829"/>
                    <a:pt x="125" y="1828"/>
                  </a:cubicBezTo>
                  <a:cubicBezTo>
                    <a:pt x="124" y="1826"/>
                    <a:pt x="110" y="1831"/>
                    <a:pt x="114" y="1825"/>
                  </a:cubicBezTo>
                  <a:cubicBezTo>
                    <a:pt x="121" y="1816"/>
                    <a:pt x="134" y="1812"/>
                    <a:pt x="143" y="1806"/>
                  </a:cubicBezTo>
                  <a:cubicBezTo>
                    <a:pt x="146" y="1803"/>
                    <a:pt x="158" y="1806"/>
                    <a:pt x="155" y="1803"/>
                  </a:cubicBezTo>
                  <a:cubicBezTo>
                    <a:pt x="147" y="1795"/>
                    <a:pt x="131" y="1813"/>
                    <a:pt x="124" y="1812"/>
                  </a:cubicBezTo>
                  <a:cubicBezTo>
                    <a:pt x="116" y="1811"/>
                    <a:pt x="135" y="1805"/>
                    <a:pt x="131" y="1800"/>
                  </a:cubicBezTo>
                  <a:cubicBezTo>
                    <a:pt x="131" y="1799"/>
                    <a:pt x="131" y="1799"/>
                    <a:pt x="130" y="1798"/>
                  </a:cubicBezTo>
                  <a:cubicBezTo>
                    <a:pt x="130" y="1797"/>
                    <a:pt x="130" y="1797"/>
                    <a:pt x="130" y="1797"/>
                  </a:cubicBezTo>
                  <a:cubicBezTo>
                    <a:pt x="130" y="1797"/>
                    <a:pt x="130" y="1797"/>
                    <a:pt x="130" y="1798"/>
                  </a:cubicBezTo>
                  <a:cubicBezTo>
                    <a:pt x="130" y="1798"/>
                    <a:pt x="130" y="1798"/>
                    <a:pt x="130" y="1798"/>
                  </a:cubicBezTo>
                  <a:cubicBezTo>
                    <a:pt x="130" y="1800"/>
                    <a:pt x="130" y="1803"/>
                    <a:pt x="128" y="1803"/>
                  </a:cubicBezTo>
                  <a:cubicBezTo>
                    <a:pt x="125" y="1803"/>
                    <a:pt x="119" y="1796"/>
                    <a:pt x="118" y="1800"/>
                  </a:cubicBezTo>
                  <a:cubicBezTo>
                    <a:pt x="118" y="1802"/>
                    <a:pt x="114" y="1805"/>
                    <a:pt x="113" y="1802"/>
                  </a:cubicBezTo>
                  <a:cubicBezTo>
                    <a:pt x="111" y="1797"/>
                    <a:pt x="138" y="1777"/>
                    <a:pt x="141" y="1776"/>
                  </a:cubicBezTo>
                  <a:cubicBezTo>
                    <a:pt x="145" y="1774"/>
                    <a:pt x="151" y="1770"/>
                    <a:pt x="155" y="1770"/>
                  </a:cubicBezTo>
                  <a:cubicBezTo>
                    <a:pt x="156" y="1770"/>
                    <a:pt x="162" y="1769"/>
                    <a:pt x="162" y="1769"/>
                  </a:cubicBezTo>
                  <a:cubicBezTo>
                    <a:pt x="153" y="1762"/>
                    <a:pt x="144" y="1775"/>
                    <a:pt x="137" y="1774"/>
                  </a:cubicBezTo>
                  <a:cubicBezTo>
                    <a:pt x="130" y="1772"/>
                    <a:pt x="147" y="1757"/>
                    <a:pt x="141" y="1756"/>
                  </a:cubicBezTo>
                  <a:cubicBezTo>
                    <a:pt x="137" y="1755"/>
                    <a:pt x="132" y="1773"/>
                    <a:pt x="131" y="1776"/>
                  </a:cubicBezTo>
                  <a:cubicBezTo>
                    <a:pt x="127" y="1783"/>
                    <a:pt x="119" y="1794"/>
                    <a:pt x="114" y="1792"/>
                  </a:cubicBezTo>
                  <a:cubicBezTo>
                    <a:pt x="113" y="1792"/>
                    <a:pt x="114" y="1786"/>
                    <a:pt x="112" y="1788"/>
                  </a:cubicBezTo>
                  <a:cubicBezTo>
                    <a:pt x="110" y="1790"/>
                    <a:pt x="114" y="1800"/>
                    <a:pt x="107" y="1799"/>
                  </a:cubicBezTo>
                  <a:cubicBezTo>
                    <a:pt x="100" y="1798"/>
                    <a:pt x="102" y="1787"/>
                    <a:pt x="109" y="1786"/>
                  </a:cubicBezTo>
                  <a:cubicBezTo>
                    <a:pt x="113" y="1785"/>
                    <a:pt x="116" y="1784"/>
                    <a:pt x="120" y="1782"/>
                  </a:cubicBezTo>
                  <a:cubicBezTo>
                    <a:pt x="121" y="1782"/>
                    <a:pt x="124" y="1781"/>
                    <a:pt x="123" y="1780"/>
                  </a:cubicBezTo>
                  <a:cubicBezTo>
                    <a:pt x="121" y="1778"/>
                    <a:pt x="109" y="1781"/>
                    <a:pt x="106" y="1781"/>
                  </a:cubicBezTo>
                  <a:cubicBezTo>
                    <a:pt x="103" y="1781"/>
                    <a:pt x="96" y="1773"/>
                    <a:pt x="96" y="1773"/>
                  </a:cubicBezTo>
                  <a:cubicBezTo>
                    <a:pt x="90" y="1776"/>
                    <a:pt x="99" y="1779"/>
                    <a:pt x="96" y="1783"/>
                  </a:cubicBezTo>
                  <a:cubicBezTo>
                    <a:pt x="92" y="1786"/>
                    <a:pt x="82" y="1783"/>
                    <a:pt x="82" y="1791"/>
                  </a:cubicBezTo>
                  <a:cubicBezTo>
                    <a:pt x="82" y="1793"/>
                    <a:pt x="85" y="1790"/>
                    <a:pt x="85" y="1790"/>
                  </a:cubicBezTo>
                  <a:cubicBezTo>
                    <a:pt x="91" y="1786"/>
                    <a:pt x="104" y="1792"/>
                    <a:pt x="99" y="1800"/>
                  </a:cubicBezTo>
                  <a:cubicBezTo>
                    <a:pt x="98" y="1803"/>
                    <a:pt x="89" y="1801"/>
                    <a:pt x="87" y="1801"/>
                  </a:cubicBezTo>
                  <a:cubicBezTo>
                    <a:pt x="87" y="1801"/>
                    <a:pt x="82" y="1810"/>
                    <a:pt x="78" y="1808"/>
                  </a:cubicBezTo>
                  <a:cubicBezTo>
                    <a:pt x="76" y="1806"/>
                    <a:pt x="84" y="1783"/>
                    <a:pt x="74" y="1790"/>
                  </a:cubicBezTo>
                  <a:cubicBezTo>
                    <a:pt x="68" y="1794"/>
                    <a:pt x="77" y="1807"/>
                    <a:pt x="71" y="1809"/>
                  </a:cubicBezTo>
                  <a:cubicBezTo>
                    <a:pt x="57" y="1815"/>
                    <a:pt x="66" y="1791"/>
                    <a:pt x="62" y="1791"/>
                  </a:cubicBezTo>
                  <a:cubicBezTo>
                    <a:pt x="58" y="1790"/>
                    <a:pt x="62" y="1807"/>
                    <a:pt x="59" y="1808"/>
                  </a:cubicBezTo>
                  <a:cubicBezTo>
                    <a:pt x="57" y="1808"/>
                    <a:pt x="56" y="1799"/>
                    <a:pt x="56" y="1798"/>
                  </a:cubicBezTo>
                  <a:cubicBezTo>
                    <a:pt x="57" y="1790"/>
                    <a:pt x="53" y="1788"/>
                    <a:pt x="53" y="1796"/>
                  </a:cubicBezTo>
                  <a:cubicBezTo>
                    <a:pt x="53" y="1797"/>
                    <a:pt x="54" y="1801"/>
                    <a:pt x="52" y="1801"/>
                  </a:cubicBezTo>
                  <a:cubicBezTo>
                    <a:pt x="47" y="1801"/>
                    <a:pt x="40" y="1780"/>
                    <a:pt x="40" y="1776"/>
                  </a:cubicBezTo>
                  <a:cubicBezTo>
                    <a:pt x="40" y="1773"/>
                    <a:pt x="44" y="1776"/>
                    <a:pt x="46" y="1774"/>
                  </a:cubicBezTo>
                  <a:cubicBezTo>
                    <a:pt x="52" y="1767"/>
                    <a:pt x="49" y="1752"/>
                    <a:pt x="58" y="1756"/>
                  </a:cubicBezTo>
                  <a:cubicBezTo>
                    <a:pt x="60" y="1757"/>
                    <a:pt x="59" y="1764"/>
                    <a:pt x="60" y="1765"/>
                  </a:cubicBezTo>
                  <a:cubicBezTo>
                    <a:pt x="67" y="1766"/>
                    <a:pt x="61" y="1751"/>
                    <a:pt x="65" y="1746"/>
                  </a:cubicBezTo>
                  <a:cubicBezTo>
                    <a:pt x="66" y="1746"/>
                    <a:pt x="67" y="1744"/>
                    <a:pt x="68" y="1745"/>
                  </a:cubicBezTo>
                  <a:cubicBezTo>
                    <a:pt x="69" y="1746"/>
                    <a:pt x="68" y="1765"/>
                    <a:pt x="67" y="1768"/>
                  </a:cubicBezTo>
                  <a:cubicBezTo>
                    <a:pt x="66" y="1769"/>
                    <a:pt x="56" y="1774"/>
                    <a:pt x="61" y="1777"/>
                  </a:cubicBezTo>
                  <a:cubicBezTo>
                    <a:pt x="71" y="1784"/>
                    <a:pt x="71" y="1753"/>
                    <a:pt x="75" y="1752"/>
                  </a:cubicBezTo>
                  <a:cubicBezTo>
                    <a:pt x="83" y="1751"/>
                    <a:pt x="89" y="1763"/>
                    <a:pt x="89" y="1763"/>
                  </a:cubicBezTo>
                  <a:cubicBezTo>
                    <a:pt x="94" y="1764"/>
                    <a:pt x="91" y="1756"/>
                    <a:pt x="98" y="1756"/>
                  </a:cubicBezTo>
                  <a:cubicBezTo>
                    <a:pt x="112" y="1755"/>
                    <a:pt x="90" y="1753"/>
                    <a:pt x="90" y="1752"/>
                  </a:cubicBezTo>
                  <a:cubicBezTo>
                    <a:pt x="92" y="1740"/>
                    <a:pt x="114" y="1744"/>
                    <a:pt x="125" y="1738"/>
                  </a:cubicBezTo>
                  <a:cubicBezTo>
                    <a:pt x="137" y="1731"/>
                    <a:pt x="142" y="1728"/>
                    <a:pt x="141" y="1727"/>
                  </a:cubicBezTo>
                  <a:cubicBezTo>
                    <a:pt x="135" y="1723"/>
                    <a:pt x="118" y="1739"/>
                    <a:pt x="112" y="1739"/>
                  </a:cubicBezTo>
                  <a:cubicBezTo>
                    <a:pt x="103" y="1740"/>
                    <a:pt x="112" y="1730"/>
                    <a:pt x="110" y="1727"/>
                  </a:cubicBezTo>
                  <a:cubicBezTo>
                    <a:pt x="108" y="1721"/>
                    <a:pt x="105" y="1739"/>
                    <a:pt x="99" y="1739"/>
                  </a:cubicBezTo>
                  <a:cubicBezTo>
                    <a:pt x="91" y="1740"/>
                    <a:pt x="89" y="1726"/>
                    <a:pt x="87" y="1728"/>
                  </a:cubicBezTo>
                  <a:cubicBezTo>
                    <a:pt x="86" y="1729"/>
                    <a:pt x="83" y="1731"/>
                    <a:pt x="82" y="1729"/>
                  </a:cubicBezTo>
                  <a:cubicBezTo>
                    <a:pt x="81" y="1727"/>
                    <a:pt x="89" y="1725"/>
                    <a:pt x="90" y="1725"/>
                  </a:cubicBezTo>
                  <a:cubicBezTo>
                    <a:pt x="92" y="1723"/>
                    <a:pt x="88" y="1719"/>
                    <a:pt x="93" y="1717"/>
                  </a:cubicBezTo>
                  <a:cubicBezTo>
                    <a:pt x="97" y="1715"/>
                    <a:pt x="107" y="1715"/>
                    <a:pt x="110" y="1712"/>
                  </a:cubicBezTo>
                  <a:cubicBezTo>
                    <a:pt x="117" y="1706"/>
                    <a:pt x="108" y="1698"/>
                    <a:pt x="131" y="1691"/>
                  </a:cubicBezTo>
                  <a:cubicBezTo>
                    <a:pt x="133" y="1690"/>
                    <a:pt x="138" y="1690"/>
                    <a:pt x="139" y="1689"/>
                  </a:cubicBezTo>
                  <a:cubicBezTo>
                    <a:pt x="142" y="1683"/>
                    <a:pt x="120" y="1697"/>
                    <a:pt x="120" y="1680"/>
                  </a:cubicBezTo>
                  <a:cubicBezTo>
                    <a:pt x="119" y="1676"/>
                    <a:pt x="155" y="1643"/>
                    <a:pt x="164" y="1645"/>
                  </a:cubicBezTo>
                  <a:cubicBezTo>
                    <a:pt x="172" y="1646"/>
                    <a:pt x="160" y="1672"/>
                    <a:pt x="159" y="1681"/>
                  </a:cubicBezTo>
                  <a:cubicBezTo>
                    <a:pt x="159" y="1682"/>
                    <a:pt x="158" y="1696"/>
                    <a:pt x="160" y="1695"/>
                  </a:cubicBezTo>
                  <a:cubicBezTo>
                    <a:pt x="167" y="1691"/>
                    <a:pt x="163" y="1657"/>
                    <a:pt x="174" y="1651"/>
                  </a:cubicBezTo>
                  <a:cubicBezTo>
                    <a:pt x="183" y="1645"/>
                    <a:pt x="183" y="1638"/>
                    <a:pt x="196" y="1636"/>
                  </a:cubicBezTo>
                  <a:cubicBezTo>
                    <a:pt x="199" y="1636"/>
                    <a:pt x="211" y="1641"/>
                    <a:pt x="212" y="1635"/>
                  </a:cubicBezTo>
                  <a:cubicBezTo>
                    <a:pt x="212" y="1634"/>
                    <a:pt x="194" y="1635"/>
                    <a:pt x="193" y="1634"/>
                  </a:cubicBezTo>
                  <a:cubicBezTo>
                    <a:pt x="193" y="1634"/>
                    <a:pt x="205" y="1622"/>
                    <a:pt x="204" y="1621"/>
                  </a:cubicBezTo>
                  <a:cubicBezTo>
                    <a:pt x="200" y="1619"/>
                    <a:pt x="177" y="1645"/>
                    <a:pt x="169" y="1645"/>
                  </a:cubicBezTo>
                  <a:cubicBezTo>
                    <a:pt x="158" y="1643"/>
                    <a:pt x="177" y="1632"/>
                    <a:pt x="174" y="1632"/>
                  </a:cubicBezTo>
                  <a:cubicBezTo>
                    <a:pt x="169" y="1630"/>
                    <a:pt x="148" y="1649"/>
                    <a:pt x="141" y="1650"/>
                  </a:cubicBezTo>
                  <a:cubicBezTo>
                    <a:pt x="136" y="1650"/>
                    <a:pt x="132" y="1638"/>
                    <a:pt x="129" y="1639"/>
                  </a:cubicBezTo>
                  <a:cubicBezTo>
                    <a:pt x="125" y="1640"/>
                    <a:pt x="135" y="1651"/>
                    <a:pt x="133" y="1652"/>
                  </a:cubicBezTo>
                  <a:cubicBezTo>
                    <a:pt x="133" y="1652"/>
                    <a:pt x="123" y="1652"/>
                    <a:pt x="124" y="1654"/>
                  </a:cubicBezTo>
                  <a:cubicBezTo>
                    <a:pt x="125" y="1655"/>
                    <a:pt x="130" y="1654"/>
                    <a:pt x="130" y="1656"/>
                  </a:cubicBezTo>
                  <a:cubicBezTo>
                    <a:pt x="130" y="1657"/>
                    <a:pt x="127" y="1664"/>
                    <a:pt x="127" y="1666"/>
                  </a:cubicBezTo>
                  <a:cubicBezTo>
                    <a:pt x="128" y="1667"/>
                    <a:pt x="124" y="1670"/>
                    <a:pt x="124" y="1671"/>
                  </a:cubicBezTo>
                  <a:cubicBezTo>
                    <a:pt x="122" y="1672"/>
                    <a:pt x="116" y="1667"/>
                    <a:pt x="113" y="1668"/>
                  </a:cubicBezTo>
                  <a:cubicBezTo>
                    <a:pt x="107" y="1670"/>
                    <a:pt x="104" y="1677"/>
                    <a:pt x="100" y="1683"/>
                  </a:cubicBezTo>
                  <a:cubicBezTo>
                    <a:pt x="98" y="1687"/>
                    <a:pt x="104" y="1695"/>
                    <a:pt x="102" y="1700"/>
                  </a:cubicBezTo>
                  <a:cubicBezTo>
                    <a:pt x="99" y="1708"/>
                    <a:pt x="92" y="1703"/>
                    <a:pt x="92" y="1705"/>
                  </a:cubicBezTo>
                  <a:cubicBezTo>
                    <a:pt x="92" y="1710"/>
                    <a:pt x="90" y="1707"/>
                    <a:pt x="87" y="1706"/>
                  </a:cubicBezTo>
                  <a:cubicBezTo>
                    <a:pt x="85" y="1704"/>
                    <a:pt x="83" y="1695"/>
                    <a:pt x="88" y="1697"/>
                  </a:cubicBezTo>
                  <a:cubicBezTo>
                    <a:pt x="90" y="1698"/>
                    <a:pt x="92" y="1698"/>
                    <a:pt x="94" y="1696"/>
                  </a:cubicBezTo>
                  <a:cubicBezTo>
                    <a:pt x="99" y="1691"/>
                    <a:pt x="89" y="1695"/>
                    <a:pt x="89" y="1695"/>
                  </a:cubicBezTo>
                  <a:cubicBezTo>
                    <a:pt x="84" y="1692"/>
                    <a:pt x="90" y="1689"/>
                    <a:pt x="87" y="1684"/>
                  </a:cubicBezTo>
                  <a:cubicBezTo>
                    <a:pt x="85" y="1681"/>
                    <a:pt x="95" y="1676"/>
                    <a:pt x="94" y="1676"/>
                  </a:cubicBezTo>
                  <a:cubicBezTo>
                    <a:pt x="87" y="1671"/>
                    <a:pt x="82" y="1689"/>
                    <a:pt x="74" y="1685"/>
                  </a:cubicBezTo>
                  <a:cubicBezTo>
                    <a:pt x="71" y="1684"/>
                    <a:pt x="78" y="1675"/>
                    <a:pt x="82" y="1674"/>
                  </a:cubicBezTo>
                  <a:cubicBezTo>
                    <a:pt x="83" y="1674"/>
                    <a:pt x="88" y="1673"/>
                    <a:pt x="87" y="1672"/>
                  </a:cubicBezTo>
                  <a:cubicBezTo>
                    <a:pt x="85" y="1670"/>
                    <a:pt x="76" y="1675"/>
                    <a:pt x="79" y="1671"/>
                  </a:cubicBezTo>
                  <a:cubicBezTo>
                    <a:pt x="79" y="1671"/>
                    <a:pt x="82" y="1668"/>
                    <a:pt x="79" y="1668"/>
                  </a:cubicBezTo>
                  <a:cubicBezTo>
                    <a:pt x="78" y="1669"/>
                    <a:pt x="75" y="1673"/>
                    <a:pt x="75" y="1672"/>
                  </a:cubicBezTo>
                  <a:cubicBezTo>
                    <a:pt x="73" y="1668"/>
                    <a:pt x="91" y="1653"/>
                    <a:pt x="90" y="1650"/>
                  </a:cubicBezTo>
                  <a:cubicBezTo>
                    <a:pt x="88" y="1649"/>
                    <a:pt x="80" y="1656"/>
                    <a:pt x="76" y="1663"/>
                  </a:cubicBezTo>
                  <a:cubicBezTo>
                    <a:pt x="65" y="1682"/>
                    <a:pt x="64" y="1687"/>
                    <a:pt x="61" y="1687"/>
                  </a:cubicBezTo>
                  <a:cubicBezTo>
                    <a:pt x="54" y="1688"/>
                    <a:pt x="56" y="1676"/>
                    <a:pt x="55" y="1675"/>
                  </a:cubicBezTo>
                  <a:cubicBezTo>
                    <a:pt x="53" y="1674"/>
                    <a:pt x="38" y="1679"/>
                    <a:pt x="47" y="1673"/>
                  </a:cubicBezTo>
                  <a:cubicBezTo>
                    <a:pt x="47" y="1673"/>
                    <a:pt x="53" y="1669"/>
                    <a:pt x="52" y="1668"/>
                  </a:cubicBezTo>
                  <a:cubicBezTo>
                    <a:pt x="52" y="1668"/>
                    <a:pt x="29" y="1660"/>
                    <a:pt x="42" y="1660"/>
                  </a:cubicBezTo>
                  <a:cubicBezTo>
                    <a:pt x="43" y="1661"/>
                    <a:pt x="38" y="1659"/>
                    <a:pt x="37" y="1657"/>
                  </a:cubicBezTo>
                  <a:cubicBezTo>
                    <a:pt x="35" y="1652"/>
                    <a:pt x="50" y="1655"/>
                    <a:pt x="51" y="1650"/>
                  </a:cubicBezTo>
                  <a:cubicBezTo>
                    <a:pt x="51" y="1647"/>
                    <a:pt x="49" y="1643"/>
                    <a:pt x="46" y="1640"/>
                  </a:cubicBezTo>
                  <a:cubicBezTo>
                    <a:pt x="43" y="1638"/>
                    <a:pt x="46" y="1629"/>
                    <a:pt x="50" y="1631"/>
                  </a:cubicBezTo>
                  <a:cubicBezTo>
                    <a:pt x="61" y="1637"/>
                    <a:pt x="64" y="1651"/>
                    <a:pt x="81" y="1646"/>
                  </a:cubicBezTo>
                  <a:cubicBezTo>
                    <a:pt x="84" y="1645"/>
                    <a:pt x="87" y="1642"/>
                    <a:pt x="88" y="1638"/>
                  </a:cubicBezTo>
                  <a:cubicBezTo>
                    <a:pt x="89" y="1629"/>
                    <a:pt x="87" y="1615"/>
                    <a:pt x="88" y="1609"/>
                  </a:cubicBezTo>
                  <a:cubicBezTo>
                    <a:pt x="89" y="1607"/>
                    <a:pt x="92" y="1603"/>
                    <a:pt x="91" y="1603"/>
                  </a:cubicBezTo>
                  <a:cubicBezTo>
                    <a:pt x="81" y="1606"/>
                    <a:pt x="86" y="1593"/>
                    <a:pt x="71" y="1606"/>
                  </a:cubicBezTo>
                  <a:cubicBezTo>
                    <a:pt x="68" y="1609"/>
                    <a:pt x="74" y="1614"/>
                    <a:pt x="70" y="1617"/>
                  </a:cubicBezTo>
                  <a:cubicBezTo>
                    <a:pt x="62" y="1622"/>
                    <a:pt x="28" y="1630"/>
                    <a:pt x="32" y="1611"/>
                  </a:cubicBezTo>
                  <a:cubicBezTo>
                    <a:pt x="32" y="1611"/>
                    <a:pt x="34" y="1611"/>
                    <a:pt x="34" y="1611"/>
                  </a:cubicBezTo>
                  <a:cubicBezTo>
                    <a:pt x="38" y="1611"/>
                    <a:pt x="41" y="1619"/>
                    <a:pt x="44" y="1618"/>
                  </a:cubicBezTo>
                  <a:cubicBezTo>
                    <a:pt x="44" y="1617"/>
                    <a:pt x="37" y="1607"/>
                    <a:pt x="34" y="1606"/>
                  </a:cubicBezTo>
                  <a:cubicBezTo>
                    <a:pt x="27" y="1602"/>
                    <a:pt x="40" y="1607"/>
                    <a:pt x="36" y="1603"/>
                  </a:cubicBezTo>
                  <a:cubicBezTo>
                    <a:pt x="31" y="1598"/>
                    <a:pt x="22" y="1598"/>
                    <a:pt x="18" y="1591"/>
                  </a:cubicBezTo>
                  <a:cubicBezTo>
                    <a:pt x="15" y="1587"/>
                    <a:pt x="26" y="1595"/>
                    <a:pt x="31" y="1595"/>
                  </a:cubicBezTo>
                  <a:cubicBezTo>
                    <a:pt x="43" y="1595"/>
                    <a:pt x="53" y="1615"/>
                    <a:pt x="57" y="1615"/>
                  </a:cubicBezTo>
                  <a:cubicBezTo>
                    <a:pt x="57" y="1615"/>
                    <a:pt x="63" y="1617"/>
                    <a:pt x="57" y="1610"/>
                  </a:cubicBezTo>
                  <a:cubicBezTo>
                    <a:pt x="56" y="1608"/>
                    <a:pt x="58" y="1607"/>
                    <a:pt x="60" y="1608"/>
                  </a:cubicBezTo>
                  <a:cubicBezTo>
                    <a:pt x="68" y="1615"/>
                    <a:pt x="58" y="1601"/>
                    <a:pt x="56" y="1599"/>
                  </a:cubicBezTo>
                  <a:cubicBezTo>
                    <a:pt x="54" y="1598"/>
                    <a:pt x="45" y="1600"/>
                    <a:pt x="45" y="1595"/>
                  </a:cubicBezTo>
                  <a:cubicBezTo>
                    <a:pt x="45" y="1593"/>
                    <a:pt x="59" y="1582"/>
                    <a:pt x="61" y="1582"/>
                  </a:cubicBezTo>
                  <a:cubicBezTo>
                    <a:pt x="62" y="1582"/>
                    <a:pt x="72" y="1581"/>
                    <a:pt x="72" y="1580"/>
                  </a:cubicBezTo>
                  <a:cubicBezTo>
                    <a:pt x="58" y="1574"/>
                    <a:pt x="39" y="1596"/>
                    <a:pt x="28" y="1585"/>
                  </a:cubicBezTo>
                  <a:cubicBezTo>
                    <a:pt x="28" y="1585"/>
                    <a:pt x="27" y="1584"/>
                    <a:pt x="27" y="1583"/>
                  </a:cubicBezTo>
                  <a:cubicBezTo>
                    <a:pt x="23" y="1567"/>
                    <a:pt x="25" y="1563"/>
                    <a:pt x="31" y="1579"/>
                  </a:cubicBezTo>
                  <a:cubicBezTo>
                    <a:pt x="32" y="1580"/>
                    <a:pt x="37" y="1562"/>
                    <a:pt x="35" y="1565"/>
                  </a:cubicBezTo>
                  <a:cubicBezTo>
                    <a:pt x="33" y="1568"/>
                    <a:pt x="24" y="1566"/>
                    <a:pt x="24" y="1563"/>
                  </a:cubicBezTo>
                  <a:cubicBezTo>
                    <a:pt x="23" y="1536"/>
                    <a:pt x="61" y="1566"/>
                    <a:pt x="65" y="1562"/>
                  </a:cubicBezTo>
                  <a:cubicBezTo>
                    <a:pt x="67" y="1561"/>
                    <a:pt x="63" y="1556"/>
                    <a:pt x="66" y="1554"/>
                  </a:cubicBezTo>
                  <a:cubicBezTo>
                    <a:pt x="70" y="1552"/>
                    <a:pt x="81" y="1552"/>
                    <a:pt x="80" y="1552"/>
                  </a:cubicBezTo>
                  <a:cubicBezTo>
                    <a:pt x="77" y="1551"/>
                    <a:pt x="77" y="1549"/>
                    <a:pt x="81" y="1549"/>
                  </a:cubicBezTo>
                  <a:cubicBezTo>
                    <a:pt x="84" y="1549"/>
                    <a:pt x="96" y="1543"/>
                    <a:pt x="94" y="1549"/>
                  </a:cubicBezTo>
                  <a:cubicBezTo>
                    <a:pt x="94" y="1549"/>
                    <a:pt x="92" y="1553"/>
                    <a:pt x="94" y="1553"/>
                  </a:cubicBezTo>
                  <a:cubicBezTo>
                    <a:pt x="95" y="1552"/>
                    <a:pt x="128" y="1535"/>
                    <a:pt x="137" y="1550"/>
                  </a:cubicBezTo>
                  <a:cubicBezTo>
                    <a:pt x="138" y="1551"/>
                    <a:pt x="133" y="1555"/>
                    <a:pt x="135" y="1556"/>
                  </a:cubicBezTo>
                  <a:cubicBezTo>
                    <a:pt x="139" y="1557"/>
                    <a:pt x="139" y="1552"/>
                    <a:pt x="142" y="1552"/>
                  </a:cubicBezTo>
                  <a:cubicBezTo>
                    <a:pt x="150" y="1551"/>
                    <a:pt x="142" y="1563"/>
                    <a:pt x="146" y="1561"/>
                  </a:cubicBezTo>
                  <a:cubicBezTo>
                    <a:pt x="161" y="1553"/>
                    <a:pt x="163" y="1530"/>
                    <a:pt x="188" y="1542"/>
                  </a:cubicBezTo>
                  <a:cubicBezTo>
                    <a:pt x="190" y="1543"/>
                    <a:pt x="204" y="1555"/>
                    <a:pt x="203" y="1560"/>
                  </a:cubicBezTo>
                  <a:cubicBezTo>
                    <a:pt x="203" y="1566"/>
                    <a:pt x="185" y="1571"/>
                    <a:pt x="191" y="1571"/>
                  </a:cubicBezTo>
                  <a:cubicBezTo>
                    <a:pt x="202" y="1573"/>
                    <a:pt x="201" y="1564"/>
                    <a:pt x="212" y="1571"/>
                  </a:cubicBezTo>
                  <a:cubicBezTo>
                    <a:pt x="216" y="1573"/>
                    <a:pt x="211" y="1581"/>
                    <a:pt x="212" y="1582"/>
                  </a:cubicBezTo>
                  <a:cubicBezTo>
                    <a:pt x="214" y="1584"/>
                    <a:pt x="217" y="1576"/>
                    <a:pt x="217" y="1575"/>
                  </a:cubicBezTo>
                  <a:cubicBezTo>
                    <a:pt x="218" y="1567"/>
                    <a:pt x="198" y="1555"/>
                    <a:pt x="204" y="1548"/>
                  </a:cubicBezTo>
                  <a:cubicBezTo>
                    <a:pt x="205" y="1547"/>
                    <a:pt x="215" y="1546"/>
                    <a:pt x="217" y="1546"/>
                  </a:cubicBezTo>
                  <a:cubicBezTo>
                    <a:pt x="222" y="1547"/>
                    <a:pt x="222" y="1541"/>
                    <a:pt x="230" y="1544"/>
                  </a:cubicBezTo>
                  <a:cubicBezTo>
                    <a:pt x="232" y="1545"/>
                    <a:pt x="239" y="1551"/>
                    <a:pt x="241" y="1548"/>
                  </a:cubicBezTo>
                  <a:cubicBezTo>
                    <a:pt x="244" y="1545"/>
                    <a:pt x="231" y="1542"/>
                    <a:pt x="234" y="1540"/>
                  </a:cubicBezTo>
                  <a:cubicBezTo>
                    <a:pt x="236" y="1538"/>
                    <a:pt x="264" y="1529"/>
                    <a:pt x="264" y="1529"/>
                  </a:cubicBezTo>
                  <a:cubicBezTo>
                    <a:pt x="261" y="1525"/>
                    <a:pt x="229" y="1539"/>
                    <a:pt x="232" y="1516"/>
                  </a:cubicBezTo>
                  <a:cubicBezTo>
                    <a:pt x="233" y="1511"/>
                    <a:pt x="254" y="1493"/>
                    <a:pt x="254" y="1492"/>
                  </a:cubicBezTo>
                  <a:cubicBezTo>
                    <a:pt x="252" y="1486"/>
                    <a:pt x="234" y="1510"/>
                    <a:pt x="230" y="1509"/>
                  </a:cubicBezTo>
                  <a:cubicBezTo>
                    <a:pt x="217" y="1506"/>
                    <a:pt x="234" y="1528"/>
                    <a:pt x="234" y="1535"/>
                  </a:cubicBezTo>
                  <a:cubicBezTo>
                    <a:pt x="235" y="1542"/>
                    <a:pt x="223" y="1536"/>
                    <a:pt x="222" y="1536"/>
                  </a:cubicBezTo>
                  <a:cubicBezTo>
                    <a:pt x="218" y="1535"/>
                    <a:pt x="206" y="1543"/>
                    <a:pt x="201" y="1545"/>
                  </a:cubicBezTo>
                  <a:cubicBezTo>
                    <a:pt x="198" y="1546"/>
                    <a:pt x="194" y="1543"/>
                    <a:pt x="195" y="1541"/>
                  </a:cubicBezTo>
                  <a:cubicBezTo>
                    <a:pt x="195" y="1540"/>
                    <a:pt x="205" y="1539"/>
                    <a:pt x="203" y="1536"/>
                  </a:cubicBezTo>
                  <a:cubicBezTo>
                    <a:pt x="201" y="1533"/>
                    <a:pt x="166" y="1541"/>
                    <a:pt x="163" y="1530"/>
                  </a:cubicBezTo>
                  <a:cubicBezTo>
                    <a:pt x="162" y="1527"/>
                    <a:pt x="183" y="1508"/>
                    <a:pt x="177" y="1504"/>
                  </a:cubicBezTo>
                  <a:cubicBezTo>
                    <a:pt x="170" y="1499"/>
                    <a:pt x="172" y="1518"/>
                    <a:pt x="164" y="1522"/>
                  </a:cubicBezTo>
                  <a:cubicBezTo>
                    <a:pt x="149" y="1529"/>
                    <a:pt x="164" y="1539"/>
                    <a:pt x="158" y="1543"/>
                  </a:cubicBezTo>
                  <a:cubicBezTo>
                    <a:pt x="144" y="1551"/>
                    <a:pt x="138" y="1539"/>
                    <a:pt x="129" y="1536"/>
                  </a:cubicBezTo>
                  <a:cubicBezTo>
                    <a:pt x="126" y="1535"/>
                    <a:pt x="116" y="1547"/>
                    <a:pt x="110" y="1539"/>
                  </a:cubicBezTo>
                  <a:cubicBezTo>
                    <a:pt x="109" y="1538"/>
                    <a:pt x="118" y="1534"/>
                    <a:pt x="116" y="1533"/>
                  </a:cubicBezTo>
                  <a:cubicBezTo>
                    <a:pt x="109" y="1529"/>
                    <a:pt x="75" y="1550"/>
                    <a:pt x="59" y="1552"/>
                  </a:cubicBezTo>
                  <a:cubicBezTo>
                    <a:pt x="57" y="1552"/>
                    <a:pt x="39" y="1544"/>
                    <a:pt x="39" y="1544"/>
                  </a:cubicBezTo>
                  <a:cubicBezTo>
                    <a:pt x="38" y="1542"/>
                    <a:pt x="49" y="1542"/>
                    <a:pt x="40" y="1540"/>
                  </a:cubicBezTo>
                  <a:cubicBezTo>
                    <a:pt x="37" y="1539"/>
                    <a:pt x="31" y="1543"/>
                    <a:pt x="28" y="1538"/>
                  </a:cubicBezTo>
                  <a:cubicBezTo>
                    <a:pt x="26" y="1534"/>
                    <a:pt x="46" y="1538"/>
                    <a:pt x="46" y="1536"/>
                  </a:cubicBezTo>
                  <a:cubicBezTo>
                    <a:pt x="46" y="1535"/>
                    <a:pt x="42" y="1532"/>
                    <a:pt x="41" y="1532"/>
                  </a:cubicBezTo>
                  <a:cubicBezTo>
                    <a:pt x="32" y="1529"/>
                    <a:pt x="30" y="1526"/>
                    <a:pt x="28" y="1527"/>
                  </a:cubicBezTo>
                  <a:cubicBezTo>
                    <a:pt x="26" y="1529"/>
                    <a:pt x="21" y="1528"/>
                    <a:pt x="20" y="1525"/>
                  </a:cubicBezTo>
                  <a:cubicBezTo>
                    <a:pt x="19" y="1522"/>
                    <a:pt x="45" y="1515"/>
                    <a:pt x="46" y="1516"/>
                  </a:cubicBezTo>
                  <a:cubicBezTo>
                    <a:pt x="49" y="1517"/>
                    <a:pt x="63" y="1533"/>
                    <a:pt x="53" y="1517"/>
                  </a:cubicBezTo>
                  <a:cubicBezTo>
                    <a:pt x="52" y="1515"/>
                    <a:pt x="49" y="1516"/>
                    <a:pt x="49" y="1514"/>
                  </a:cubicBezTo>
                  <a:cubicBezTo>
                    <a:pt x="49" y="1510"/>
                    <a:pt x="71" y="1510"/>
                    <a:pt x="73" y="1510"/>
                  </a:cubicBezTo>
                  <a:cubicBezTo>
                    <a:pt x="75" y="1510"/>
                    <a:pt x="76" y="1509"/>
                    <a:pt x="78" y="1509"/>
                  </a:cubicBezTo>
                  <a:cubicBezTo>
                    <a:pt x="78" y="1509"/>
                    <a:pt x="81" y="1510"/>
                    <a:pt x="81" y="1509"/>
                  </a:cubicBezTo>
                  <a:cubicBezTo>
                    <a:pt x="76" y="1496"/>
                    <a:pt x="33" y="1518"/>
                    <a:pt x="28" y="1516"/>
                  </a:cubicBezTo>
                  <a:cubicBezTo>
                    <a:pt x="15" y="1509"/>
                    <a:pt x="36" y="1505"/>
                    <a:pt x="35" y="1501"/>
                  </a:cubicBezTo>
                  <a:cubicBezTo>
                    <a:pt x="35" y="1501"/>
                    <a:pt x="19" y="1504"/>
                    <a:pt x="19" y="1502"/>
                  </a:cubicBezTo>
                  <a:cubicBezTo>
                    <a:pt x="26" y="1489"/>
                    <a:pt x="62" y="1498"/>
                    <a:pt x="68" y="1499"/>
                  </a:cubicBezTo>
                  <a:cubicBezTo>
                    <a:pt x="71" y="1500"/>
                    <a:pt x="89" y="1488"/>
                    <a:pt x="92" y="1495"/>
                  </a:cubicBezTo>
                  <a:cubicBezTo>
                    <a:pt x="92" y="1497"/>
                    <a:pt x="94" y="1499"/>
                    <a:pt x="96" y="1497"/>
                  </a:cubicBezTo>
                  <a:cubicBezTo>
                    <a:pt x="97" y="1496"/>
                    <a:pt x="94" y="1494"/>
                    <a:pt x="93" y="1492"/>
                  </a:cubicBezTo>
                  <a:cubicBezTo>
                    <a:pt x="91" y="1488"/>
                    <a:pt x="39" y="1500"/>
                    <a:pt x="36" y="1485"/>
                  </a:cubicBezTo>
                  <a:cubicBezTo>
                    <a:pt x="34" y="1477"/>
                    <a:pt x="53" y="1487"/>
                    <a:pt x="55" y="1483"/>
                  </a:cubicBezTo>
                  <a:cubicBezTo>
                    <a:pt x="58" y="1477"/>
                    <a:pt x="34" y="1483"/>
                    <a:pt x="39" y="1479"/>
                  </a:cubicBezTo>
                  <a:cubicBezTo>
                    <a:pt x="47" y="1473"/>
                    <a:pt x="54" y="1479"/>
                    <a:pt x="56" y="1479"/>
                  </a:cubicBezTo>
                  <a:cubicBezTo>
                    <a:pt x="57" y="1479"/>
                    <a:pt x="63" y="1479"/>
                    <a:pt x="62" y="1477"/>
                  </a:cubicBezTo>
                  <a:cubicBezTo>
                    <a:pt x="57" y="1469"/>
                    <a:pt x="36" y="1483"/>
                    <a:pt x="33" y="1474"/>
                  </a:cubicBezTo>
                  <a:cubicBezTo>
                    <a:pt x="32" y="1471"/>
                    <a:pt x="56" y="1471"/>
                    <a:pt x="56" y="1469"/>
                  </a:cubicBezTo>
                  <a:cubicBezTo>
                    <a:pt x="56" y="1467"/>
                    <a:pt x="48" y="1470"/>
                    <a:pt x="47" y="1470"/>
                  </a:cubicBezTo>
                  <a:cubicBezTo>
                    <a:pt x="44" y="1471"/>
                    <a:pt x="23" y="1472"/>
                    <a:pt x="21" y="1470"/>
                  </a:cubicBezTo>
                  <a:cubicBezTo>
                    <a:pt x="7" y="1452"/>
                    <a:pt x="38" y="1458"/>
                    <a:pt x="36" y="1454"/>
                  </a:cubicBezTo>
                  <a:cubicBezTo>
                    <a:pt x="34" y="1451"/>
                    <a:pt x="47" y="1452"/>
                    <a:pt x="45" y="1450"/>
                  </a:cubicBezTo>
                  <a:cubicBezTo>
                    <a:pt x="43" y="1449"/>
                    <a:pt x="29" y="1453"/>
                    <a:pt x="30" y="1451"/>
                  </a:cubicBezTo>
                  <a:cubicBezTo>
                    <a:pt x="30" y="1450"/>
                    <a:pt x="32" y="1449"/>
                    <a:pt x="33" y="1449"/>
                  </a:cubicBezTo>
                  <a:cubicBezTo>
                    <a:pt x="46" y="1443"/>
                    <a:pt x="58" y="1428"/>
                    <a:pt x="63" y="1429"/>
                  </a:cubicBezTo>
                  <a:cubicBezTo>
                    <a:pt x="63" y="1429"/>
                    <a:pt x="64" y="1429"/>
                    <a:pt x="64" y="1429"/>
                  </a:cubicBezTo>
                  <a:cubicBezTo>
                    <a:pt x="64" y="1430"/>
                    <a:pt x="65" y="1430"/>
                    <a:pt x="65" y="1430"/>
                  </a:cubicBezTo>
                  <a:cubicBezTo>
                    <a:pt x="67" y="1430"/>
                    <a:pt x="93" y="1434"/>
                    <a:pt x="90" y="1439"/>
                  </a:cubicBezTo>
                  <a:cubicBezTo>
                    <a:pt x="90" y="1440"/>
                    <a:pt x="85" y="1440"/>
                    <a:pt x="84" y="1440"/>
                  </a:cubicBezTo>
                  <a:cubicBezTo>
                    <a:pt x="74" y="1443"/>
                    <a:pt x="84" y="1442"/>
                    <a:pt x="89" y="1441"/>
                  </a:cubicBezTo>
                  <a:cubicBezTo>
                    <a:pt x="92" y="1440"/>
                    <a:pt x="95" y="1440"/>
                    <a:pt x="99" y="1439"/>
                  </a:cubicBezTo>
                  <a:cubicBezTo>
                    <a:pt x="117" y="1434"/>
                    <a:pt x="101" y="1458"/>
                    <a:pt x="108" y="1452"/>
                  </a:cubicBezTo>
                  <a:cubicBezTo>
                    <a:pt x="109" y="1450"/>
                    <a:pt x="109" y="1442"/>
                    <a:pt x="111" y="1441"/>
                  </a:cubicBezTo>
                  <a:cubicBezTo>
                    <a:pt x="118" y="1438"/>
                    <a:pt x="122" y="1456"/>
                    <a:pt x="129" y="1450"/>
                  </a:cubicBezTo>
                  <a:cubicBezTo>
                    <a:pt x="130" y="1449"/>
                    <a:pt x="118" y="1443"/>
                    <a:pt x="118" y="1441"/>
                  </a:cubicBezTo>
                  <a:cubicBezTo>
                    <a:pt x="118" y="1440"/>
                    <a:pt x="120" y="1441"/>
                    <a:pt x="121" y="1441"/>
                  </a:cubicBezTo>
                  <a:cubicBezTo>
                    <a:pt x="123" y="1442"/>
                    <a:pt x="125" y="1442"/>
                    <a:pt x="127" y="1441"/>
                  </a:cubicBezTo>
                  <a:cubicBezTo>
                    <a:pt x="137" y="1440"/>
                    <a:pt x="146" y="1447"/>
                    <a:pt x="155" y="1445"/>
                  </a:cubicBezTo>
                  <a:cubicBezTo>
                    <a:pt x="159" y="1444"/>
                    <a:pt x="160" y="1442"/>
                    <a:pt x="161" y="1440"/>
                  </a:cubicBezTo>
                  <a:cubicBezTo>
                    <a:pt x="164" y="1439"/>
                    <a:pt x="167" y="1436"/>
                    <a:pt x="171" y="1435"/>
                  </a:cubicBezTo>
                  <a:cubicBezTo>
                    <a:pt x="176" y="1436"/>
                    <a:pt x="185" y="1442"/>
                    <a:pt x="186" y="1436"/>
                  </a:cubicBezTo>
                  <a:cubicBezTo>
                    <a:pt x="186" y="1435"/>
                    <a:pt x="179" y="1435"/>
                    <a:pt x="177" y="1434"/>
                  </a:cubicBezTo>
                  <a:cubicBezTo>
                    <a:pt x="175" y="1434"/>
                    <a:pt x="172" y="1434"/>
                    <a:pt x="171" y="1435"/>
                  </a:cubicBezTo>
                  <a:cubicBezTo>
                    <a:pt x="170" y="1435"/>
                    <a:pt x="169" y="1435"/>
                    <a:pt x="168" y="1435"/>
                  </a:cubicBezTo>
                  <a:cubicBezTo>
                    <a:pt x="164" y="1435"/>
                    <a:pt x="163" y="1438"/>
                    <a:pt x="161" y="1440"/>
                  </a:cubicBezTo>
                  <a:cubicBezTo>
                    <a:pt x="160" y="1441"/>
                    <a:pt x="159" y="1442"/>
                    <a:pt x="157" y="1442"/>
                  </a:cubicBezTo>
                  <a:cubicBezTo>
                    <a:pt x="152" y="1442"/>
                    <a:pt x="96" y="1438"/>
                    <a:pt x="94" y="1437"/>
                  </a:cubicBezTo>
                  <a:cubicBezTo>
                    <a:pt x="82" y="1432"/>
                    <a:pt x="98" y="1430"/>
                    <a:pt x="103" y="1431"/>
                  </a:cubicBezTo>
                  <a:cubicBezTo>
                    <a:pt x="104" y="1431"/>
                    <a:pt x="111" y="1430"/>
                    <a:pt x="110" y="1429"/>
                  </a:cubicBezTo>
                  <a:cubicBezTo>
                    <a:pt x="99" y="1422"/>
                    <a:pt x="35" y="1432"/>
                    <a:pt x="33" y="1429"/>
                  </a:cubicBezTo>
                  <a:cubicBezTo>
                    <a:pt x="32" y="1427"/>
                    <a:pt x="36" y="1425"/>
                    <a:pt x="36" y="1423"/>
                  </a:cubicBezTo>
                  <a:cubicBezTo>
                    <a:pt x="36" y="1417"/>
                    <a:pt x="43" y="1424"/>
                    <a:pt x="45" y="1423"/>
                  </a:cubicBezTo>
                  <a:cubicBezTo>
                    <a:pt x="47" y="1423"/>
                    <a:pt x="52" y="1413"/>
                    <a:pt x="53" y="1413"/>
                  </a:cubicBezTo>
                  <a:cubicBezTo>
                    <a:pt x="54" y="1413"/>
                    <a:pt x="62" y="1416"/>
                    <a:pt x="60" y="1413"/>
                  </a:cubicBezTo>
                  <a:cubicBezTo>
                    <a:pt x="50" y="1397"/>
                    <a:pt x="33" y="1406"/>
                    <a:pt x="31" y="1390"/>
                  </a:cubicBezTo>
                  <a:cubicBezTo>
                    <a:pt x="30" y="1386"/>
                    <a:pt x="37" y="1391"/>
                    <a:pt x="37" y="1387"/>
                  </a:cubicBezTo>
                  <a:cubicBezTo>
                    <a:pt x="37" y="1382"/>
                    <a:pt x="46" y="1391"/>
                    <a:pt x="48" y="1392"/>
                  </a:cubicBezTo>
                  <a:cubicBezTo>
                    <a:pt x="51" y="1392"/>
                    <a:pt x="64" y="1415"/>
                    <a:pt x="65" y="1415"/>
                  </a:cubicBezTo>
                  <a:cubicBezTo>
                    <a:pt x="67" y="1416"/>
                    <a:pt x="69" y="1410"/>
                    <a:pt x="70" y="1409"/>
                  </a:cubicBezTo>
                  <a:cubicBezTo>
                    <a:pt x="71" y="1407"/>
                    <a:pt x="76" y="1409"/>
                    <a:pt x="77" y="1406"/>
                  </a:cubicBezTo>
                  <a:cubicBezTo>
                    <a:pt x="78" y="1400"/>
                    <a:pt x="50" y="1406"/>
                    <a:pt x="61" y="1390"/>
                  </a:cubicBezTo>
                  <a:cubicBezTo>
                    <a:pt x="70" y="1379"/>
                    <a:pt x="85" y="1405"/>
                    <a:pt x="91" y="1403"/>
                  </a:cubicBezTo>
                  <a:cubicBezTo>
                    <a:pt x="95" y="1402"/>
                    <a:pt x="80" y="1394"/>
                    <a:pt x="84" y="1391"/>
                  </a:cubicBezTo>
                  <a:cubicBezTo>
                    <a:pt x="87" y="1389"/>
                    <a:pt x="104" y="1385"/>
                    <a:pt x="106" y="1391"/>
                  </a:cubicBezTo>
                  <a:cubicBezTo>
                    <a:pt x="108" y="1395"/>
                    <a:pt x="99" y="1413"/>
                    <a:pt x="99" y="1413"/>
                  </a:cubicBezTo>
                  <a:cubicBezTo>
                    <a:pt x="105" y="1417"/>
                    <a:pt x="103" y="1396"/>
                    <a:pt x="110" y="1396"/>
                  </a:cubicBezTo>
                  <a:cubicBezTo>
                    <a:pt x="112" y="1396"/>
                    <a:pt x="114" y="1400"/>
                    <a:pt x="116" y="1401"/>
                  </a:cubicBezTo>
                  <a:cubicBezTo>
                    <a:pt x="125" y="1405"/>
                    <a:pt x="145" y="1408"/>
                    <a:pt x="146" y="1408"/>
                  </a:cubicBezTo>
                  <a:cubicBezTo>
                    <a:pt x="147" y="1405"/>
                    <a:pt x="122" y="1402"/>
                    <a:pt x="121" y="1400"/>
                  </a:cubicBezTo>
                  <a:cubicBezTo>
                    <a:pt x="108" y="1388"/>
                    <a:pt x="102" y="1388"/>
                    <a:pt x="117" y="1387"/>
                  </a:cubicBezTo>
                  <a:cubicBezTo>
                    <a:pt x="121" y="1387"/>
                    <a:pt x="108" y="1383"/>
                    <a:pt x="108" y="1379"/>
                  </a:cubicBezTo>
                  <a:cubicBezTo>
                    <a:pt x="110" y="1374"/>
                    <a:pt x="137" y="1360"/>
                    <a:pt x="141" y="1362"/>
                  </a:cubicBezTo>
                  <a:cubicBezTo>
                    <a:pt x="144" y="1363"/>
                    <a:pt x="156" y="1380"/>
                    <a:pt x="161" y="1390"/>
                  </a:cubicBezTo>
                  <a:cubicBezTo>
                    <a:pt x="162" y="1393"/>
                    <a:pt x="162" y="1396"/>
                    <a:pt x="161" y="1398"/>
                  </a:cubicBezTo>
                  <a:cubicBezTo>
                    <a:pt x="161" y="1399"/>
                    <a:pt x="160" y="1400"/>
                    <a:pt x="160" y="1401"/>
                  </a:cubicBezTo>
                  <a:cubicBezTo>
                    <a:pt x="161" y="1401"/>
                    <a:pt x="161" y="1400"/>
                    <a:pt x="161" y="1398"/>
                  </a:cubicBezTo>
                  <a:cubicBezTo>
                    <a:pt x="162" y="1397"/>
                    <a:pt x="163" y="1396"/>
                    <a:pt x="164" y="1396"/>
                  </a:cubicBezTo>
                  <a:cubicBezTo>
                    <a:pt x="164" y="1395"/>
                    <a:pt x="163" y="1393"/>
                    <a:pt x="161" y="1390"/>
                  </a:cubicBezTo>
                  <a:cubicBezTo>
                    <a:pt x="161" y="1387"/>
                    <a:pt x="160" y="1385"/>
                    <a:pt x="159" y="1383"/>
                  </a:cubicBezTo>
                  <a:cubicBezTo>
                    <a:pt x="156" y="1377"/>
                    <a:pt x="146" y="1369"/>
                    <a:pt x="148" y="1362"/>
                  </a:cubicBezTo>
                  <a:cubicBezTo>
                    <a:pt x="151" y="1350"/>
                    <a:pt x="163" y="1365"/>
                    <a:pt x="164" y="1364"/>
                  </a:cubicBezTo>
                  <a:cubicBezTo>
                    <a:pt x="165" y="1364"/>
                    <a:pt x="164" y="1352"/>
                    <a:pt x="175" y="1351"/>
                  </a:cubicBezTo>
                  <a:cubicBezTo>
                    <a:pt x="205" y="1347"/>
                    <a:pt x="198" y="1402"/>
                    <a:pt x="200" y="1403"/>
                  </a:cubicBezTo>
                  <a:cubicBezTo>
                    <a:pt x="206" y="1407"/>
                    <a:pt x="212" y="1397"/>
                    <a:pt x="217" y="1401"/>
                  </a:cubicBezTo>
                  <a:cubicBezTo>
                    <a:pt x="219" y="1402"/>
                    <a:pt x="216" y="1396"/>
                    <a:pt x="209" y="1400"/>
                  </a:cubicBezTo>
                  <a:cubicBezTo>
                    <a:pt x="195" y="1410"/>
                    <a:pt x="206" y="1388"/>
                    <a:pt x="205" y="1383"/>
                  </a:cubicBezTo>
                  <a:cubicBezTo>
                    <a:pt x="205" y="1382"/>
                    <a:pt x="204" y="1377"/>
                    <a:pt x="205" y="1377"/>
                  </a:cubicBezTo>
                  <a:cubicBezTo>
                    <a:pt x="208" y="1374"/>
                    <a:pt x="233" y="1377"/>
                    <a:pt x="236" y="1380"/>
                  </a:cubicBezTo>
                  <a:cubicBezTo>
                    <a:pt x="236" y="1381"/>
                    <a:pt x="238" y="1384"/>
                    <a:pt x="239" y="1383"/>
                  </a:cubicBezTo>
                  <a:cubicBezTo>
                    <a:pt x="241" y="1382"/>
                    <a:pt x="236" y="1377"/>
                    <a:pt x="235" y="1377"/>
                  </a:cubicBezTo>
                  <a:cubicBezTo>
                    <a:pt x="228" y="1370"/>
                    <a:pt x="210" y="1375"/>
                    <a:pt x="200" y="1371"/>
                  </a:cubicBezTo>
                  <a:cubicBezTo>
                    <a:pt x="195" y="1368"/>
                    <a:pt x="199" y="1350"/>
                    <a:pt x="175" y="1346"/>
                  </a:cubicBezTo>
                  <a:cubicBezTo>
                    <a:pt x="166" y="1344"/>
                    <a:pt x="156" y="1359"/>
                    <a:pt x="144" y="1353"/>
                  </a:cubicBezTo>
                  <a:cubicBezTo>
                    <a:pt x="141" y="1351"/>
                    <a:pt x="130" y="1352"/>
                    <a:pt x="133" y="1349"/>
                  </a:cubicBezTo>
                  <a:cubicBezTo>
                    <a:pt x="141" y="1340"/>
                    <a:pt x="168" y="1350"/>
                    <a:pt x="173" y="1344"/>
                  </a:cubicBezTo>
                  <a:cubicBezTo>
                    <a:pt x="173" y="1344"/>
                    <a:pt x="167" y="1341"/>
                    <a:pt x="165" y="1341"/>
                  </a:cubicBezTo>
                  <a:cubicBezTo>
                    <a:pt x="150" y="1343"/>
                    <a:pt x="134" y="1339"/>
                    <a:pt x="135" y="1332"/>
                  </a:cubicBezTo>
                  <a:cubicBezTo>
                    <a:pt x="136" y="1330"/>
                    <a:pt x="138" y="1329"/>
                    <a:pt x="139" y="1328"/>
                  </a:cubicBezTo>
                  <a:cubicBezTo>
                    <a:pt x="144" y="1325"/>
                    <a:pt x="162" y="1325"/>
                    <a:pt x="165" y="1329"/>
                  </a:cubicBezTo>
                  <a:cubicBezTo>
                    <a:pt x="166" y="1331"/>
                    <a:pt x="166" y="1335"/>
                    <a:pt x="168" y="1334"/>
                  </a:cubicBezTo>
                  <a:cubicBezTo>
                    <a:pt x="174" y="1329"/>
                    <a:pt x="169" y="1327"/>
                    <a:pt x="178" y="1321"/>
                  </a:cubicBezTo>
                  <a:cubicBezTo>
                    <a:pt x="182" y="1319"/>
                    <a:pt x="185" y="1323"/>
                    <a:pt x="188" y="1325"/>
                  </a:cubicBezTo>
                  <a:cubicBezTo>
                    <a:pt x="189" y="1326"/>
                    <a:pt x="193" y="1328"/>
                    <a:pt x="193" y="1330"/>
                  </a:cubicBezTo>
                  <a:cubicBezTo>
                    <a:pt x="194" y="1330"/>
                    <a:pt x="193" y="1322"/>
                    <a:pt x="206" y="1321"/>
                  </a:cubicBezTo>
                  <a:cubicBezTo>
                    <a:pt x="207" y="1321"/>
                    <a:pt x="211" y="1326"/>
                    <a:pt x="212" y="1330"/>
                  </a:cubicBezTo>
                  <a:cubicBezTo>
                    <a:pt x="213" y="1333"/>
                    <a:pt x="211" y="1340"/>
                    <a:pt x="214" y="1339"/>
                  </a:cubicBezTo>
                  <a:cubicBezTo>
                    <a:pt x="218" y="1336"/>
                    <a:pt x="212" y="1324"/>
                    <a:pt x="217" y="1324"/>
                  </a:cubicBezTo>
                  <a:cubicBezTo>
                    <a:pt x="231" y="1322"/>
                    <a:pt x="243" y="1343"/>
                    <a:pt x="250" y="1343"/>
                  </a:cubicBezTo>
                  <a:cubicBezTo>
                    <a:pt x="254" y="1343"/>
                    <a:pt x="252" y="1337"/>
                    <a:pt x="254" y="1336"/>
                  </a:cubicBezTo>
                  <a:cubicBezTo>
                    <a:pt x="258" y="1332"/>
                    <a:pt x="267" y="1334"/>
                    <a:pt x="272" y="1332"/>
                  </a:cubicBezTo>
                  <a:cubicBezTo>
                    <a:pt x="275" y="1331"/>
                    <a:pt x="266" y="1331"/>
                    <a:pt x="263" y="1332"/>
                  </a:cubicBezTo>
                  <a:cubicBezTo>
                    <a:pt x="257" y="1332"/>
                    <a:pt x="247" y="1336"/>
                    <a:pt x="242" y="1331"/>
                  </a:cubicBezTo>
                  <a:cubicBezTo>
                    <a:pt x="239" y="1328"/>
                    <a:pt x="239" y="1318"/>
                    <a:pt x="246" y="1323"/>
                  </a:cubicBezTo>
                  <a:cubicBezTo>
                    <a:pt x="246" y="1323"/>
                    <a:pt x="246" y="1324"/>
                    <a:pt x="247" y="1324"/>
                  </a:cubicBezTo>
                  <a:cubicBezTo>
                    <a:pt x="247" y="1326"/>
                    <a:pt x="247" y="1327"/>
                    <a:pt x="247" y="1329"/>
                  </a:cubicBezTo>
                  <a:cubicBezTo>
                    <a:pt x="247" y="1329"/>
                    <a:pt x="247" y="1329"/>
                    <a:pt x="247" y="1330"/>
                  </a:cubicBezTo>
                  <a:cubicBezTo>
                    <a:pt x="247" y="1331"/>
                    <a:pt x="247" y="1330"/>
                    <a:pt x="247" y="1329"/>
                  </a:cubicBezTo>
                  <a:cubicBezTo>
                    <a:pt x="247" y="1327"/>
                    <a:pt x="248" y="1325"/>
                    <a:pt x="247" y="1324"/>
                  </a:cubicBezTo>
                  <a:cubicBezTo>
                    <a:pt x="247" y="1322"/>
                    <a:pt x="247" y="1321"/>
                    <a:pt x="247" y="1320"/>
                  </a:cubicBezTo>
                  <a:cubicBezTo>
                    <a:pt x="251" y="1308"/>
                    <a:pt x="291" y="1308"/>
                    <a:pt x="296" y="1310"/>
                  </a:cubicBezTo>
                  <a:cubicBezTo>
                    <a:pt x="297" y="1311"/>
                    <a:pt x="304" y="1315"/>
                    <a:pt x="304" y="1315"/>
                  </a:cubicBezTo>
                  <a:cubicBezTo>
                    <a:pt x="306" y="1312"/>
                    <a:pt x="300" y="1309"/>
                    <a:pt x="298" y="1308"/>
                  </a:cubicBezTo>
                  <a:cubicBezTo>
                    <a:pt x="294" y="1306"/>
                    <a:pt x="299" y="1303"/>
                    <a:pt x="298" y="1302"/>
                  </a:cubicBezTo>
                  <a:cubicBezTo>
                    <a:pt x="293" y="1298"/>
                    <a:pt x="244" y="1319"/>
                    <a:pt x="235" y="1316"/>
                  </a:cubicBezTo>
                  <a:cubicBezTo>
                    <a:pt x="232" y="1315"/>
                    <a:pt x="243" y="1303"/>
                    <a:pt x="254" y="1302"/>
                  </a:cubicBezTo>
                  <a:cubicBezTo>
                    <a:pt x="257" y="1301"/>
                    <a:pt x="265" y="1302"/>
                    <a:pt x="263" y="1300"/>
                  </a:cubicBezTo>
                  <a:cubicBezTo>
                    <a:pt x="258" y="1295"/>
                    <a:pt x="215" y="1308"/>
                    <a:pt x="206" y="1309"/>
                  </a:cubicBezTo>
                  <a:cubicBezTo>
                    <a:pt x="205" y="1309"/>
                    <a:pt x="198" y="1311"/>
                    <a:pt x="198" y="1309"/>
                  </a:cubicBezTo>
                  <a:cubicBezTo>
                    <a:pt x="197" y="1297"/>
                    <a:pt x="206" y="1295"/>
                    <a:pt x="220" y="1297"/>
                  </a:cubicBezTo>
                  <a:cubicBezTo>
                    <a:pt x="220" y="1297"/>
                    <a:pt x="222" y="1297"/>
                    <a:pt x="221" y="1297"/>
                  </a:cubicBezTo>
                  <a:cubicBezTo>
                    <a:pt x="219" y="1294"/>
                    <a:pt x="189" y="1287"/>
                    <a:pt x="192" y="1281"/>
                  </a:cubicBezTo>
                  <a:cubicBezTo>
                    <a:pt x="194" y="1277"/>
                    <a:pt x="221" y="1266"/>
                    <a:pt x="227" y="1267"/>
                  </a:cubicBezTo>
                  <a:cubicBezTo>
                    <a:pt x="232" y="1269"/>
                    <a:pt x="241" y="1282"/>
                    <a:pt x="245" y="1282"/>
                  </a:cubicBezTo>
                  <a:cubicBezTo>
                    <a:pt x="252" y="1281"/>
                    <a:pt x="264" y="1266"/>
                    <a:pt x="272" y="1273"/>
                  </a:cubicBezTo>
                  <a:cubicBezTo>
                    <a:pt x="274" y="1275"/>
                    <a:pt x="261" y="1282"/>
                    <a:pt x="263" y="1282"/>
                  </a:cubicBezTo>
                  <a:cubicBezTo>
                    <a:pt x="272" y="1283"/>
                    <a:pt x="284" y="1269"/>
                    <a:pt x="293" y="1274"/>
                  </a:cubicBezTo>
                  <a:cubicBezTo>
                    <a:pt x="304" y="1280"/>
                    <a:pt x="299" y="1289"/>
                    <a:pt x="306" y="1297"/>
                  </a:cubicBezTo>
                  <a:cubicBezTo>
                    <a:pt x="313" y="1304"/>
                    <a:pt x="331" y="1306"/>
                    <a:pt x="337" y="1312"/>
                  </a:cubicBezTo>
                  <a:cubicBezTo>
                    <a:pt x="339" y="1315"/>
                    <a:pt x="338" y="1322"/>
                    <a:pt x="340" y="1320"/>
                  </a:cubicBezTo>
                  <a:cubicBezTo>
                    <a:pt x="342" y="1318"/>
                    <a:pt x="342" y="1317"/>
                    <a:pt x="342" y="1315"/>
                  </a:cubicBezTo>
                  <a:cubicBezTo>
                    <a:pt x="342" y="1313"/>
                    <a:pt x="342" y="1312"/>
                    <a:pt x="341" y="1311"/>
                  </a:cubicBezTo>
                  <a:cubicBezTo>
                    <a:pt x="315" y="1292"/>
                    <a:pt x="308" y="1289"/>
                    <a:pt x="291" y="1266"/>
                  </a:cubicBezTo>
                  <a:cubicBezTo>
                    <a:pt x="289" y="1263"/>
                    <a:pt x="279" y="1270"/>
                    <a:pt x="281" y="1267"/>
                  </a:cubicBezTo>
                  <a:cubicBezTo>
                    <a:pt x="300" y="1232"/>
                    <a:pt x="318" y="1285"/>
                    <a:pt x="326" y="1286"/>
                  </a:cubicBezTo>
                  <a:cubicBezTo>
                    <a:pt x="329" y="1286"/>
                    <a:pt x="337" y="1295"/>
                    <a:pt x="340" y="1292"/>
                  </a:cubicBezTo>
                  <a:cubicBezTo>
                    <a:pt x="343" y="1288"/>
                    <a:pt x="329" y="1287"/>
                    <a:pt x="330" y="1285"/>
                  </a:cubicBezTo>
                  <a:cubicBezTo>
                    <a:pt x="334" y="1279"/>
                    <a:pt x="352" y="1297"/>
                    <a:pt x="354" y="1295"/>
                  </a:cubicBezTo>
                  <a:cubicBezTo>
                    <a:pt x="357" y="1293"/>
                    <a:pt x="326" y="1281"/>
                    <a:pt x="329" y="1276"/>
                  </a:cubicBezTo>
                  <a:cubicBezTo>
                    <a:pt x="331" y="1271"/>
                    <a:pt x="347" y="1279"/>
                    <a:pt x="351" y="1273"/>
                  </a:cubicBezTo>
                  <a:cubicBezTo>
                    <a:pt x="353" y="1269"/>
                    <a:pt x="338" y="1274"/>
                    <a:pt x="337" y="1271"/>
                  </a:cubicBezTo>
                  <a:cubicBezTo>
                    <a:pt x="337" y="1270"/>
                    <a:pt x="345" y="1267"/>
                    <a:pt x="344" y="1266"/>
                  </a:cubicBezTo>
                  <a:cubicBezTo>
                    <a:pt x="344" y="1266"/>
                    <a:pt x="327" y="1273"/>
                    <a:pt x="323" y="1271"/>
                  </a:cubicBezTo>
                  <a:cubicBezTo>
                    <a:pt x="323" y="1271"/>
                    <a:pt x="320" y="1271"/>
                    <a:pt x="320" y="1270"/>
                  </a:cubicBezTo>
                  <a:cubicBezTo>
                    <a:pt x="321" y="1266"/>
                    <a:pt x="334" y="1269"/>
                    <a:pt x="333" y="1266"/>
                  </a:cubicBezTo>
                  <a:cubicBezTo>
                    <a:pt x="333" y="1266"/>
                    <a:pt x="300" y="1266"/>
                    <a:pt x="306" y="1251"/>
                  </a:cubicBezTo>
                  <a:cubicBezTo>
                    <a:pt x="307" y="1247"/>
                    <a:pt x="313" y="1259"/>
                    <a:pt x="318" y="1258"/>
                  </a:cubicBezTo>
                  <a:cubicBezTo>
                    <a:pt x="322" y="1257"/>
                    <a:pt x="310" y="1249"/>
                    <a:pt x="313" y="1247"/>
                  </a:cubicBezTo>
                  <a:cubicBezTo>
                    <a:pt x="318" y="1244"/>
                    <a:pt x="340" y="1248"/>
                    <a:pt x="346" y="1251"/>
                  </a:cubicBezTo>
                  <a:cubicBezTo>
                    <a:pt x="347" y="1251"/>
                    <a:pt x="348" y="1254"/>
                    <a:pt x="349" y="1253"/>
                  </a:cubicBezTo>
                  <a:cubicBezTo>
                    <a:pt x="350" y="1249"/>
                    <a:pt x="340" y="1250"/>
                    <a:pt x="342" y="1245"/>
                  </a:cubicBezTo>
                  <a:cubicBezTo>
                    <a:pt x="344" y="1239"/>
                    <a:pt x="369" y="1239"/>
                    <a:pt x="374" y="1238"/>
                  </a:cubicBezTo>
                  <a:cubicBezTo>
                    <a:pt x="375" y="1238"/>
                    <a:pt x="376" y="1238"/>
                    <a:pt x="375" y="1238"/>
                  </a:cubicBezTo>
                  <a:cubicBezTo>
                    <a:pt x="375" y="1238"/>
                    <a:pt x="375" y="1238"/>
                    <a:pt x="374" y="1238"/>
                  </a:cubicBezTo>
                  <a:cubicBezTo>
                    <a:pt x="373" y="1238"/>
                    <a:pt x="372" y="1238"/>
                    <a:pt x="371" y="1238"/>
                  </a:cubicBezTo>
                  <a:cubicBezTo>
                    <a:pt x="352" y="1237"/>
                    <a:pt x="349" y="1240"/>
                    <a:pt x="338" y="1227"/>
                  </a:cubicBezTo>
                  <a:cubicBezTo>
                    <a:pt x="338" y="1227"/>
                    <a:pt x="334" y="1226"/>
                    <a:pt x="334" y="1225"/>
                  </a:cubicBezTo>
                  <a:cubicBezTo>
                    <a:pt x="339" y="1219"/>
                    <a:pt x="353" y="1224"/>
                    <a:pt x="359" y="1218"/>
                  </a:cubicBezTo>
                  <a:cubicBezTo>
                    <a:pt x="363" y="1215"/>
                    <a:pt x="346" y="1214"/>
                    <a:pt x="348" y="1209"/>
                  </a:cubicBezTo>
                  <a:cubicBezTo>
                    <a:pt x="352" y="1202"/>
                    <a:pt x="367" y="1211"/>
                    <a:pt x="370" y="1210"/>
                  </a:cubicBezTo>
                  <a:cubicBezTo>
                    <a:pt x="376" y="1210"/>
                    <a:pt x="379" y="1199"/>
                    <a:pt x="381" y="1199"/>
                  </a:cubicBezTo>
                  <a:cubicBezTo>
                    <a:pt x="397" y="1200"/>
                    <a:pt x="388" y="1225"/>
                    <a:pt x="389" y="1226"/>
                  </a:cubicBezTo>
                  <a:cubicBezTo>
                    <a:pt x="394" y="1227"/>
                    <a:pt x="398" y="1217"/>
                    <a:pt x="403" y="1216"/>
                  </a:cubicBezTo>
                  <a:cubicBezTo>
                    <a:pt x="406" y="1215"/>
                    <a:pt x="424" y="1215"/>
                    <a:pt x="423" y="1209"/>
                  </a:cubicBezTo>
                  <a:cubicBezTo>
                    <a:pt x="423" y="1207"/>
                    <a:pt x="419" y="1212"/>
                    <a:pt x="417" y="1212"/>
                  </a:cubicBezTo>
                  <a:cubicBezTo>
                    <a:pt x="412" y="1213"/>
                    <a:pt x="396" y="1216"/>
                    <a:pt x="395" y="1211"/>
                  </a:cubicBezTo>
                  <a:cubicBezTo>
                    <a:pt x="393" y="1198"/>
                    <a:pt x="424" y="1204"/>
                    <a:pt x="424" y="1198"/>
                  </a:cubicBezTo>
                  <a:cubicBezTo>
                    <a:pt x="424" y="1197"/>
                    <a:pt x="418" y="1199"/>
                    <a:pt x="417" y="1200"/>
                  </a:cubicBezTo>
                  <a:cubicBezTo>
                    <a:pt x="409" y="1200"/>
                    <a:pt x="409" y="1196"/>
                    <a:pt x="404" y="1195"/>
                  </a:cubicBezTo>
                  <a:cubicBezTo>
                    <a:pt x="402" y="1194"/>
                    <a:pt x="407" y="1199"/>
                    <a:pt x="407" y="1201"/>
                  </a:cubicBezTo>
                  <a:cubicBezTo>
                    <a:pt x="406" y="1203"/>
                    <a:pt x="398" y="1200"/>
                    <a:pt x="397" y="1200"/>
                  </a:cubicBezTo>
                  <a:cubicBezTo>
                    <a:pt x="395" y="1199"/>
                    <a:pt x="394" y="1198"/>
                    <a:pt x="394" y="1196"/>
                  </a:cubicBezTo>
                  <a:cubicBezTo>
                    <a:pt x="395" y="1195"/>
                    <a:pt x="413" y="1184"/>
                    <a:pt x="415" y="1186"/>
                  </a:cubicBezTo>
                  <a:cubicBezTo>
                    <a:pt x="416" y="1186"/>
                    <a:pt x="412" y="1191"/>
                    <a:pt x="415" y="1193"/>
                  </a:cubicBezTo>
                  <a:cubicBezTo>
                    <a:pt x="416" y="1193"/>
                    <a:pt x="417" y="1194"/>
                    <a:pt x="417" y="1193"/>
                  </a:cubicBezTo>
                  <a:cubicBezTo>
                    <a:pt x="419" y="1193"/>
                    <a:pt x="421" y="1184"/>
                    <a:pt x="425" y="1183"/>
                  </a:cubicBezTo>
                  <a:cubicBezTo>
                    <a:pt x="426" y="1184"/>
                    <a:pt x="428" y="1185"/>
                    <a:pt x="430" y="1186"/>
                  </a:cubicBezTo>
                  <a:cubicBezTo>
                    <a:pt x="430" y="1187"/>
                    <a:pt x="430" y="1189"/>
                    <a:pt x="431" y="1189"/>
                  </a:cubicBezTo>
                  <a:cubicBezTo>
                    <a:pt x="431" y="1189"/>
                    <a:pt x="431" y="1189"/>
                    <a:pt x="432" y="1189"/>
                  </a:cubicBezTo>
                  <a:cubicBezTo>
                    <a:pt x="432" y="1188"/>
                    <a:pt x="431" y="1187"/>
                    <a:pt x="430" y="1186"/>
                  </a:cubicBezTo>
                  <a:cubicBezTo>
                    <a:pt x="430" y="1185"/>
                    <a:pt x="429" y="1185"/>
                    <a:pt x="429" y="1185"/>
                  </a:cubicBezTo>
                  <a:cubicBezTo>
                    <a:pt x="428" y="1183"/>
                    <a:pt x="426" y="1183"/>
                    <a:pt x="425" y="1183"/>
                  </a:cubicBezTo>
                  <a:cubicBezTo>
                    <a:pt x="425" y="1183"/>
                    <a:pt x="425" y="1182"/>
                    <a:pt x="425" y="1182"/>
                  </a:cubicBezTo>
                  <a:cubicBezTo>
                    <a:pt x="425" y="1180"/>
                    <a:pt x="443" y="1173"/>
                    <a:pt x="444" y="1174"/>
                  </a:cubicBezTo>
                  <a:cubicBezTo>
                    <a:pt x="450" y="1176"/>
                    <a:pt x="468" y="1208"/>
                    <a:pt x="461" y="1216"/>
                  </a:cubicBezTo>
                  <a:cubicBezTo>
                    <a:pt x="460" y="1217"/>
                    <a:pt x="454" y="1219"/>
                    <a:pt x="455" y="1221"/>
                  </a:cubicBezTo>
                  <a:cubicBezTo>
                    <a:pt x="456" y="1223"/>
                    <a:pt x="467" y="1216"/>
                    <a:pt x="469" y="1216"/>
                  </a:cubicBezTo>
                  <a:cubicBezTo>
                    <a:pt x="473" y="1215"/>
                    <a:pt x="482" y="1219"/>
                    <a:pt x="488" y="1220"/>
                  </a:cubicBezTo>
                  <a:cubicBezTo>
                    <a:pt x="490" y="1221"/>
                    <a:pt x="491" y="1221"/>
                    <a:pt x="492" y="1222"/>
                  </a:cubicBezTo>
                  <a:cubicBezTo>
                    <a:pt x="493" y="1225"/>
                    <a:pt x="491" y="1232"/>
                    <a:pt x="493" y="1230"/>
                  </a:cubicBezTo>
                  <a:cubicBezTo>
                    <a:pt x="499" y="1227"/>
                    <a:pt x="497" y="1224"/>
                    <a:pt x="492" y="1222"/>
                  </a:cubicBezTo>
                  <a:cubicBezTo>
                    <a:pt x="492" y="1221"/>
                    <a:pt x="491" y="1220"/>
                    <a:pt x="491" y="1220"/>
                  </a:cubicBezTo>
                  <a:cubicBezTo>
                    <a:pt x="490" y="1220"/>
                    <a:pt x="489" y="1220"/>
                    <a:pt x="488" y="1220"/>
                  </a:cubicBezTo>
                  <a:cubicBezTo>
                    <a:pt x="479" y="1216"/>
                    <a:pt x="468" y="1212"/>
                    <a:pt x="477" y="1205"/>
                  </a:cubicBezTo>
                  <a:cubicBezTo>
                    <a:pt x="494" y="1193"/>
                    <a:pt x="548" y="1213"/>
                    <a:pt x="551" y="1201"/>
                  </a:cubicBezTo>
                  <a:cubicBezTo>
                    <a:pt x="552" y="1198"/>
                    <a:pt x="537" y="1200"/>
                    <a:pt x="538" y="1193"/>
                  </a:cubicBezTo>
                  <a:cubicBezTo>
                    <a:pt x="538" y="1192"/>
                    <a:pt x="545" y="1184"/>
                    <a:pt x="549" y="1183"/>
                  </a:cubicBezTo>
                  <a:cubicBezTo>
                    <a:pt x="551" y="1183"/>
                    <a:pt x="551" y="1183"/>
                    <a:pt x="551" y="1182"/>
                  </a:cubicBezTo>
                  <a:cubicBezTo>
                    <a:pt x="552" y="1181"/>
                    <a:pt x="552" y="1180"/>
                    <a:pt x="552" y="1180"/>
                  </a:cubicBezTo>
                  <a:cubicBezTo>
                    <a:pt x="550" y="1177"/>
                    <a:pt x="528" y="1188"/>
                    <a:pt x="529" y="1187"/>
                  </a:cubicBezTo>
                  <a:cubicBezTo>
                    <a:pt x="539" y="1168"/>
                    <a:pt x="599" y="1153"/>
                    <a:pt x="600" y="1151"/>
                  </a:cubicBezTo>
                  <a:cubicBezTo>
                    <a:pt x="605" y="1136"/>
                    <a:pt x="568" y="1146"/>
                    <a:pt x="567" y="1138"/>
                  </a:cubicBezTo>
                  <a:cubicBezTo>
                    <a:pt x="566" y="1129"/>
                    <a:pt x="604" y="1124"/>
                    <a:pt x="603" y="1118"/>
                  </a:cubicBezTo>
                  <a:cubicBezTo>
                    <a:pt x="603" y="1114"/>
                    <a:pt x="582" y="1119"/>
                    <a:pt x="580" y="1113"/>
                  </a:cubicBezTo>
                  <a:cubicBezTo>
                    <a:pt x="579" y="1108"/>
                    <a:pt x="595" y="1106"/>
                    <a:pt x="591" y="1103"/>
                  </a:cubicBezTo>
                  <a:cubicBezTo>
                    <a:pt x="583" y="1099"/>
                    <a:pt x="576" y="1118"/>
                    <a:pt x="570" y="1122"/>
                  </a:cubicBezTo>
                  <a:cubicBezTo>
                    <a:pt x="561" y="1129"/>
                    <a:pt x="524" y="1139"/>
                    <a:pt x="521" y="1149"/>
                  </a:cubicBezTo>
                  <a:cubicBezTo>
                    <a:pt x="521" y="1150"/>
                    <a:pt x="531" y="1145"/>
                    <a:pt x="532" y="1144"/>
                  </a:cubicBezTo>
                  <a:cubicBezTo>
                    <a:pt x="536" y="1141"/>
                    <a:pt x="567" y="1130"/>
                    <a:pt x="566" y="1144"/>
                  </a:cubicBezTo>
                  <a:cubicBezTo>
                    <a:pt x="565" y="1156"/>
                    <a:pt x="472" y="1203"/>
                    <a:pt x="463" y="1194"/>
                  </a:cubicBezTo>
                  <a:cubicBezTo>
                    <a:pt x="460" y="1191"/>
                    <a:pt x="462" y="1184"/>
                    <a:pt x="461" y="1181"/>
                  </a:cubicBezTo>
                  <a:cubicBezTo>
                    <a:pt x="460" y="1177"/>
                    <a:pt x="448" y="1175"/>
                    <a:pt x="452" y="1167"/>
                  </a:cubicBezTo>
                  <a:cubicBezTo>
                    <a:pt x="454" y="1162"/>
                    <a:pt x="492" y="1158"/>
                    <a:pt x="471" y="1159"/>
                  </a:cubicBezTo>
                  <a:cubicBezTo>
                    <a:pt x="468" y="1159"/>
                    <a:pt x="474" y="1154"/>
                    <a:pt x="474" y="1153"/>
                  </a:cubicBezTo>
                  <a:cubicBezTo>
                    <a:pt x="473" y="1152"/>
                    <a:pt x="430" y="1173"/>
                    <a:pt x="429" y="1170"/>
                  </a:cubicBezTo>
                  <a:cubicBezTo>
                    <a:pt x="422" y="1160"/>
                    <a:pt x="445" y="1159"/>
                    <a:pt x="450" y="1155"/>
                  </a:cubicBezTo>
                  <a:cubicBezTo>
                    <a:pt x="450" y="1155"/>
                    <a:pt x="430" y="1158"/>
                    <a:pt x="429" y="1155"/>
                  </a:cubicBezTo>
                  <a:cubicBezTo>
                    <a:pt x="428" y="1149"/>
                    <a:pt x="474" y="1135"/>
                    <a:pt x="477" y="1132"/>
                  </a:cubicBezTo>
                  <a:cubicBezTo>
                    <a:pt x="480" y="1130"/>
                    <a:pt x="487" y="1133"/>
                    <a:pt x="487" y="1130"/>
                  </a:cubicBezTo>
                  <a:cubicBezTo>
                    <a:pt x="487" y="1120"/>
                    <a:pt x="468" y="1136"/>
                    <a:pt x="465" y="1132"/>
                  </a:cubicBezTo>
                  <a:cubicBezTo>
                    <a:pt x="464" y="1131"/>
                    <a:pt x="481" y="1126"/>
                    <a:pt x="481" y="1123"/>
                  </a:cubicBezTo>
                  <a:cubicBezTo>
                    <a:pt x="481" y="1120"/>
                    <a:pt x="465" y="1128"/>
                    <a:pt x="464" y="1127"/>
                  </a:cubicBezTo>
                  <a:cubicBezTo>
                    <a:pt x="464" y="1126"/>
                    <a:pt x="468" y="1121"/>
                    <a:pt x="469" y="1120"/>
                  </a:cubicBezTo>
                  <a:cubicBezTo>
                    <a:pt x="470" y="1114"/>
                    <a:pt x="465" y="1105"/>
                    <a:pt x="470" y="1103"/>
                  </a:cubicBezTo>
                  <a:cubicBezTo>
                    <a:pt x="472" y="1103"/>
                    <a:pt x="490" y="1111"/>
                    <a:pt x="489" y="1103"/>
                  </a:cubicBezTo>
                  <a:cubicBezTo>
                    <a:pt x="489" y="1099"/>
                    <a:pt x="479" y="1105"/>
                    <a:pt x="479" y="1102"/>
                  </a:cubicBezTo>
                  <a:cubicBezTo>
                    <a:pt x="483" y="1089"/>
                    <a:pt x="489" y="1094"/>
                    <a:pt x="502" y="1093"/>
                  </a:cubicBezTo>
                  <a:cubicBezTo>
                    <a:pt x="507" y="1092"/>
                    <a:pt x="490" y="1089"/>
                    <a:pt x="492" y="1085"/>
                  </a:cubicBezTo>
                  <a:cubicBezTo>
                    <a:pt x="495" y="1076"/>
                    <a:pt x="510" y="1083"/>
                    <a:pt x="514" y="1076"/>
                  </a:cubicBezTo>
                  <a:cubicBezTo>
                    <a:pt x="514" y="1076"/>
                    <a:pt x="508" y="1061"/>
                    <a:pt x="518" y="1070"/>
                  </a:cubicBezTo>
                  <a:cubicBezTo>
                    <a:pt x="521" y="1073"/>
                    <a:pt x="514" y="1065"/>
                    <a:pt x="516" y="1065"/>
                  </a:cubicBezTo>
                  <a:cubicBezTo>
                    <a:pt x="520" y="1065"/>
                    <a:pt x="524" y="1072"/>
                    <a:pt x="528" y="1067"/>
                  </a:cubicBezTo>
                  <a:cubicBezTo>
                    <a:pt x="532" y="1062"/>
                    <a:pt x="507" y="1064"/>
                    <a:pt x="511" y="1059"/>
                  </a:cubicBezTo>
                  <a:cubicBezTo>
                    <a:pt x="513" y="1056"/>
                    <a:pt x="530" y="1054"/>
                    <a:pt x="537" y="1062"/>
                  </a:cubicBezTo>
                  <a:cubicBezTo>
                    <a:pt x="537" y="1063"/>
                    <a:pt x="541" y="1065"/>
                    <a:pt x="542" y="1065"/>
                  </a:cubicBezTo>
                  <a:cubicBezTo>
                    <a:pt x="542" y="1065"/>
                    <a:pt x="545" y="1065"/>
                    <a:pt x="545" y="1065"/>
                  </a:cubicBezTo>
                  <a:cubicBezTo>
                    <a:pt x="545" y="1065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5" y="1063"/>
                    <a:pt x="545" y="1063"/>
                  </a:cubicBezTo>
                  <a:cubicBezTo>
                    <a:pt x="542" y="1059"/>
                    <a:pt x="541" y="1054"/>
                    <a:pt x="537" y="1054"/>
                  </a:cubicBezTo>
                  <a:cubicBezTo>
                    <a:pt x="537" y="1054"/>
                    <a:pt x="526" y="1056"/>
                    <a:pt x="528" y="1053"/>
                  </a:cubicBezTo>
                  <a:cubicBezTo>
                    <a:pt x="531" y="1049"/>
                    <a:pt x="539" y="1048"/>
                    <a:pt x="543" y="1050"/>
                  </a:cubicBezTo>
                  <a:cubicBezTo>
                    <a:pt x="545" y="1051"/>
                    <a:pt x="540" y="1045"/>
                    <a:pt x="541" y="1044"/>
                  </a:cubicBezTo>
                  <a:cubicBezTo>
                    <a:pt x="544" y="1042"/>
                    <a:pt x="547" y="1047"/>
                    <a:pt x="548" y="1048"/>
                  </a:cubicBezTo>
                  <a:cubicBezTo>
                    <a:pt x="549" y="1049"/>
                    <a:pt x="551" y="1051"/>
                    <a:pt x="550" y="1048"/>
                  </a:cubicBezTo>
                  <a:cubicBezTo>
                    <a:pt x="550" y="1046"/>
                    <a:pt x="555" y="1046"/>
                    <a:pt x="556" y="1045"/>
                  </a:cubicBezTo>
                  <a:cubicBezTo>
                    <a:pt x="558" y="1041"/>
                    <a:pt x="549" y="1036"/>
                    <a:pt x="551" y="1033"/>
                  </a:cubicBezTo>
                  <a:cubicBezTo>
                    <a:pt x="561" y="1022"/>
                    <a:pt x="575" y="1056"/>
                    <a:pt x="577" y="1055"/>
                  </a:cubicBezTo>
                  <a:cubicBezTo>
                    <a:pt x="579" y="1054"/>
                    <a:pt x="588" y="1050"/>
                    <a:pt x="589" y="1056"/>
                  </a:cubicBezTo>
                  <a:cubicBezTo>
                    <a:pt x="590" y="1060"/>
                    <a:pt x="577" y="1071"/>
                    <a:pt x="579" y="1073"/>
                  </a:cubicBezTo>
                  <a:cubicBezTo>
                    <a:pt x="580" y="1074"/>
                    <a:pt x="585" y="1067"/>
                    <a:pt x="585" y="1066"/>
                  </a:cubicBezTo>
                  <a:cubicBezTo>
                    <a:pt x="588" y="1063"/>
                    <a:pt x="593" y="1054"/>
                    <a:pt x="595" y="1053"/>
                  </a:cubicBezTo>
                  <a:cubicBezTo>
                    <a:pt x="596" y="1053"/>
                    <a:pt x="617" y="1050"/>
                    <a:pt x="617" y="1049"/>
                  </a:cubicBezTo>
                  <a:cubicBezTo>
                    <a:pt x="618" y="1046"/>
                    <a:pt x="593" y="1057"/>
                    <a:pt x="599" y="1045"/>
                  </a:cubicBezTo>
                  <a:cubicBezTo>
                    <a:pt x="605" y="1035"/>
                    <a:pt x="607" y="1042"/>
                    <a:pt x="613" y="1038"/>
                  </a:cubicBezTo>
                  <a:cubicBezTo>
                    <a:pt x="615" y="1037"/>
                    <a:pt x="628" y="1032"/>
                    <a:pt x="628" y="1031"/>
                  </a:cubicBezTo>
                  <a:cubicBezTo>
                    <a:pt x="627" y="1028"/>
                    <a:pt x="616" y="1034"/>
                    <a:pt x="615" y="1032"/>
                  </a:cubicBezTo>
                  <a:cubicBezTo>
                    <a:pt x="612" y="1028"/>
                    <a:pt x="599" y="1040"/>
                    <a:pt x="594" y="1014"/>
                  </a:cubicBezTo>
                  <a:cubicBezTo>
                    <a:pt x="594" y="1014"/>
                    <a:pt x="602" y="1011"/>
                    <a:pt x="603" y="1011"/>
                  </a:cubicBezTo>
                  <a:cubicBezTo>
                    <a:pt x="612" y="1007"/>
                    <a:pt x="631" y="1004"/>
                    <a:pt x="634" y="1001"/>
                  </a:cubicBezTo>
                  <a:cubicBezTo>
                    <a:pt x="638" y="996"/>
                    <a:pt x="621" y="1001"/>
                    <a:pt x="616" y="997"/>
                  </a:cubicBezTo>
                  <a:cubicBezTo>
                    <a:pt x="613" y="994"/>
                    <a:pt x="626" y="996"/>
                    <a:pt x="629" y="992"/>
                  </a:cubicBezTo>
                  <a:cubicBezTo>
                    <a:pt x="629" y="991"/>
                    <a:pt x="617" y="997"/>
                    <a:pt x="617" y="994"/>
                  </a:cubicBezTo>
                  <a:cubicBezTo>
                    <a:pt x="618" y="987"/>
                    <a:pt x="657" y="975"/>
                    <a:pt x="662" y="977"/>
                  </a:cubicBezTo>
                  <a:cubicBezTo>
                    <a:pt x="662" y="977"/>
                    <a:pt x="668" y="982"/>
                    <a:pt x="668" y="979"/>
                  </a:cubicBezTo>
                  <a:cubicBezTo>
                    <a:pt x="668" y="977"/>
                    <a:pt x="664" y="976"/>
                    <a:pt x="663" y="975"/>
                  </a:cubicBezTo>
                  <a:cubicBezTo>
                    <a:pt x="638" y="962"/>
                    <a:pt x="601" y="1013"/>
                    <a:pt x="581" y="1010"/>
                  </a:cubicBezTo>
                  <a:cubicBezTo>
                    <a:pt x="580" y="1010"/>
                    <a:pt x="598" y="1002"/>
                    <a:pt x="598" y="998"/>
                  </a:cubicBezTo>
                  <a:cubicBezTo>
                    <a:pt x="596" y="994"/>
                    <a:pt x="574" y="1004"/>
                    <a:pt x="583" y="994"/>
                  </a:cubicBezTo>
                  <a:cubicBezTo>
                    <a:pt x="584" y="992"/>
                    <a:pt x="624" y="988"/>
                    <a:pt x="621" y="984"/>
                  </a:cubicBezTo>
                  <a:cubicBezTo>
                    <a:pt x="620" y="982"/>
                    <a:pt x="583" y="996"/>
                    <a:pt x="581" y="991"/>
                  </a:cubicBezTo>
                  <a:cubicBezTo>
                    <a:pt x="581" y="991"/>
                    <a:pt x="581" y="991"/>
                    <a:pt x="581" y="991"/>
                  </a:cubicBezTo>
                  <a:cubicBezTo>
                    <a:pt x="582" y="990"/>
                    <a:pt x="582" y="989"/>
                    <a:pt x="582" y="988"/>
                  </a:cubicBezTo>
                  <a:cubicBezTo>
                    <a:pt x="586" y="985"/>
                    <a:pt x="596" y="984"/>
                    <a:pt x="603" y="983"/>
                  </a:cubicBezTo>
                  <a:cubicBezTo>
                    <a:pt x="605" y="984"/>
                    <a:pt x="608" y="983"/>
                    <a:pt x="610" y="982"/>
                  </a:cubicBezTo>
                  <a:cubicBezTo>
                    <a:pt x="611" y="982"/>
                    <a:pt x="612" y="982"/>
                    <a:pt x="612" y="982"/>
                  </a:cubicBezTo>
                  <a:cubicBezTo>
                    <a:pt x="612" y="982"/>
                    <a:pt x="611" y="982"/>
                    <a:pt x="610" y="982"/>
                  </a:cubicBezTo>
                  <a:cubicBezTo>
                    <a:pt x="609" y="983"/>
                    <a:pt x="606" y="983"/>
                    <a:pt x="603" y="983"/>
                  </a:cubicBezTo>
                  <a:cubicBezTo>
                    <a:pt x="602" y="982"/>
                    <a:pt x="602" y="982"/>
                    <a:pt x="602" y="980"/>
                  </a:cubicBezTo>
                  <a:cubicBezTo>
                    <a:pt x="602" y="979"/>
                    <a:pt x="605" y="979"/>
                    <a:pt x="606" y="979"/>
                  </a:cubicBezTo>
                  <a:cubicBezTo>
                    <a:pt x="614" y="973"/>
                    <a:pt x="621" y="982"/>
                    <a:pt x="633" y="973"/>
                  </a:cubicBezTo>
                  <a:cubicBezTo>
                    <a:pt x="634" y="972"/>
                    <a:pt x="641" y="951"/>
                    <a:pt x="649" y="965"/>
                  </a:cubicBezTo>
                  <a:cubicBezTo>
                    <a:pt x="651" y="968"/>
                    <a:pt x="657" y="962"/>
                    <a:pt x="660" y="963"/>
                  </a:cubicBezTo>
                  <a:cubicBezTo>
                    <a:pt x="664" y="964"/>
                    <a:pt x="663" y="971"/>
                    <a:pt x="665" y="971"/>
                  </a:cubicBezTo>
                  <a:cubicBezTo>
                    <a:pt x="669" y="971"/>
                    <a:pt x="664" y="965"/>
                    <a:pt x="665" y="963"/>
                  </a:cubicBezTo>
                  <a:cubicBezTo>
                    <a:pt x="668" y="958"/>
                    <a:pt x="731" y="944"/>
                    <a:pt x="733" y="921"/>
                  </a:cubicBezTo>
                  <a:cubicBezTo>
                    <a:pt x="733" y="917"/>
                    <a:pt x="722" y="928"/>
                    <a:pt x="721" y="929"/>
                  </a:cubicBezTo>
                  <a:cubicBezTo>
                    <a:pt x="712" y="936"/>
                    <a:pt x="695" y="955"/>
                    <a:pt x="682" y="948"/>
                  </a:cubicBezTo>
                  <a:cubicBezTo>
                    <a:pt x="681" y="947"/>
                    <a:pt x="680" y="945"/>
                    <a:pt x="682" y="944"/>
                  </a:cubicBezTo>
                  <a:cubicBezTo>
                    <a:pt x="683" y="943"/>
                    <a:pt x="694" y="942"/>
                    <a:pt x="692" y="940"/>
                  </a:cubicBezTo>
                  <a:cubicBezTo>
                    <a:pt x="691" y="939"/>
                    <a:pt x="688" y="940"/>
                    <a:pt x="687" y="938"/>
                  </a:cubicBezTo>
                  <a:cubicBezTo>
                    <a:pt x="686" y="933"/>
                    <a:pt x="676" y="938"/>
                    <a:pt x="682" y="933"/>
                  </a:cubicBezTo>
                  <a:cubicBezTo>
                    <a:pt x="685" y="931"/>
                    <a:pt x="711" y="934"/>
                    <a:pt x="712" y="932"/>
                  </a:cubicBezTo>
                  <a:cubicBezTo>
                    <a:pt x="712" y="930"/>
                    <a:pt x="702" y="928"/>
                    <a:pt x="701" y="930"/>
                  </a:cubicBezTo>
                  <a:cubicBezTo>
                    <a:pt x="697" y="933"/>
                    <a:pt x="687" y="929"/>
                    <a:pt x="681" y="929"/>
                  </a:cubicBezTo>
                  <a:cubicBezTo>
                    <a:pt x="679" y="929"/>
                    <a:pt x="672" y="938"/>
                    <a:pt x="670" y="935"/>
                  </a:cubicBezTo>
                  <a:cubicBezTo>
                    <a:pt x="670" y="935"/>
                    <a:pt x="679" y="924"/>
                    <a:pt x="680" y="924"/>
                  </a:cubicBezTo>
                  <a:cubicBezTo>
                    <a:pt x="689" y="923"/>
                    <a:pt x="692" y="908"/>
                    <a:pt x="704" y="918"/>
                  </a:cubicBezTo>
                  <a:cubicBezTo>
                    <a:pt x="705" y="918"/>
                    <a:pt x="708" y="924"/>
                    <a:pt x="709" y="920"/>
                  </a:cubicBezTo>
                  <a:cubicBezTo>
                    <a:pt x="710" y="919"/>
                    <a:pt x="700" y="914"/>
                    <a:pt x="694" y="908"/>
                  </a:cubicBezTo>
                  <a:cubicBezTo>
                    <a:pt x="694" y="907"/>
                    <a:pt x="689" y="903"/>
                    <a:pt x="691" y="902"/>
                  </a:cubicBezTo>
                  <a:cubicBezTo>
                    <a:pt x="702" y="897"/>
                    <a:pt x="702" y="916"/>
                    <a:pt x="711" y="914"/>
                  </a:cubicBezTo>
                  <a:cubicBezTo>
                    <a:pt x="716" y="914"/>
                    <a:pt x="704" y="902"/>
                    <a:pt x="708" y="902"/>
                  </a:cubicBezTo>
                  <a:cubicBezTo>
                    <a:pt x="710" y="901"/>
                    <a:pt x="716" y="902"/>
                    <a:pt x="717" y="901"/>
                  </a:cubicBezTo>
                  <a:cubicBezTo>
                    <a:pt x="718" y="900"/>
                    <a:pt x="703" y="901"/>
                    <a:pt x="702" y="900"/>
                  </a:cubicBezTo>
                  <a:cubicBezTo>
                    <a:pt x="702" y="899"/>
                    <a:pt x="707" y="898"/>
                    <a:pt x="706" y="897"/>
                  </a:cubicBezTo>
                  <a:cubicBezTo>
                    <a:pt x="706" y="897"/>
                    <a:pt x="699" y="897"/>
                    <a:pt x="698" y="893"/>
                  </a:cubicBezTo>
                  <a:cubicBezTo>
                    <a:pt x="697" y="889"/>
                    <a:pt x="702" y="884"/>
                    <a:pt x="699" y="880"/>
                  </a:cubicBezTo>
                  <a:cubicBezTo>
                    <a:pt x="699" y="879"/>
                    <a:pt x="697" y="884"/>
                    <a:pt x="697" y="884"/>
                  </a:cubicBezTo>
                  <a:cubicBezTo>
                    <a:pt x="697" y="893"/>
                    <a:pt x="690" y="890"/>
                    <a:pt x="691" y="889"/>
                  </a:cubicBezTo>
                  <a:cubicBezTo>
                    <a:pt x="696" y="884"/>
                    <a:pt x="697" y="878"/>
                    <a:pt x="691" y="887"/>
                  </a:cubicBezTo>
                  <a:cubicBezTo>
                    <a:pt x="689" y="889"/>
                    <a:pt x="685" y="892"/>
                    <a:pt x="683" y="887"/>
                  </a:cubicBezTo>
                  <a:cubicBezTo>
                    <a:pt x="682" y="884"/>
                    <a:pt x="687" y="880"/>
                    <a:pt x="684" y="880"/>
                  </a:cubicBezTo>
                  <a:cubicBezTo>
                    <a:pt x="683" y="880"/>
                    <a:pt x="680" y="882"/>
                    <a:pt x="680" y="880"/>
                  </a:cubicBezTo>
                  <a:cubicBezTo>
                    <a:pt x="678" y="845"/>
                    <a:pt x="706" y="872"/>
                    <a:pt x="711" y="873"/>
                  </a:cubicBezTo>
                  <a:cubicBezTo>
                    <a:pt x="713" y="873"/>
                    <a:pt x="717" y="877"/>
                    <a:pt x="718" y="873"/>
                  </a:cubicBezTo>
                  <a:cubicBezTo>
                    <a:pt x="719" y="870"/>
                    <a:pt x="709" y="870"/>
                    <a:pt x="708" y="870"/>
                  </a:cubicBezTo>
                  <a:cubicBezTo>
                    <a:pt x="703" y="867"/>
                    <a:pt x="697" y="862"/>
                    <a:pt x="697" y="856"/>
                  </a:cubicBezTo>
                  <a:cubicBezTo>
                    <a:pt x="697" y="854"/>
                    <a:pt x="705" y="847"/>
                    <a:pt x="706" y="847"/>
                  </a:cubicBezTo>
                  <a:cubicBezTo>
                    <a:pt x="707" y="847"/>
                    <a:pt x="711" y="853"/>
                    <a:pt x="712" y="850"/>
                  </a:cubicBezTo>
                  <a:cubicBezTo>
                    <a:pt x="715" y="838"/>
                    <a:pt x="700" y="851"/>
                    <a:pt x="706" y="833"/>
                  </a:cubicBezTo>
                  <a:cubicBezTo>
                    <a:pt x="710" y="818"/>
                    <a:pt x="731" y="825"/>
                    <a:pt x="740" y="829"/>
                  </a:cubicBezTo>
                  <a:cubicBezTo>
                    <a:pt x="742" y="830"/>
                    <a:pt x="752" y="841"/>
                    <a:pt x="753" y="840"/>
                  </a:cubicBezTo>
                  <a:cubicBezTo>
                    <a:pt x="761" y="827"/>
                    <a:pt x="731" y="826"/>
                    <a:pt x="731" y="820"/>
                  </a:cubicBezTo>
                  <a:cubicBezTo>
                    <a:pt x="730" y="814"/>
                    <a:pt x="746" y="809"/>
                    <a:pt x="741" y="805"/>
                  </a:cubicBezTo>
                  <a:cubicBezTo>
                    <a:pt x="740" y="805"/>
                    <a:pt x="702" y="815"/>
                    <a:pt x="708" y="807"/>
                  </a:cubicBezTo>
                  <a:cubicBezTo>
                    <a:pt x="712" y="802"/>
                    <a:pt x="782" y="779"/>
                    <a:pt x="788" y="782"/>
                  </a:cubicBezTo>
                  <a:cubicBezTo>
                    <a:pt x="791" y="783"/>
                    <a:pt x="788" y="786"/>
                    <a:pt x="786" y="787"/>
                  </a:cubicBezTo>
                  <a:cubicBezTo>
                    <a:pt x="784" y="788"/>
                    <a:pt x="785" y="802"/>
                    <a:pt x="785" y="802"/>
                  </a:cubicBezTo>
                  <a:cubicBezTo>
                    <a:pt x="786" y="802"/>
                    <a:pt x="792" y="795"/>
                    <a:pt x="794" y="794"/>
                  </a:cubicBezTo>
                  <a:cubicBezTo>
                    <a:pt x="799" y="791"/>
                    <a:pt x="811" y="800"/>
                    <a:pt x="812" y="794"/>
                  </a:cubicBezTo>
                  <a:cubicBezTo>
                    <a:pt x="812" y="788"/>
                    <a:pt x="791" y="792"/>
                    <a:pt x="792" y="788"/>
                  </a:cubicBezTo>
                  <a:cubicBezTo>
                    <a:pt x="792" y="787"/>
                    <a:pt x="795" y="785"/>
                    <a:pt x="796" y="783"/>
                  </a:cubicBezTo>
                  <a:cubicBezTo>
                    <a:pt x="796" y="783"/>
                    <a:pt x="824" y="790"/>
                    <a:pt x="830" y="775"/>
                  </a:cubicBezTo>
                  <a:cubicBezTo>
                    <a:pt x="831" y="773"/>
                    <a:pt x="841" y="771"/>
                    <a:pt x="839" y="767"/>
                  </a:cubicBezTo>
                  <a:cubicBezTo>
                    <a:pt x="838" y="764"/>
                    <a:pt x="828" y="771"/>
                    <a:pt x="826" y="771"/>
                  </a:cubicBezTo>
                  <a:cubicBezTo>
                    <a:pt x="793" y="776"/>
                    <a:pt x="791" y="778"/>
                    <a:pt x="753" y="788"/>
                  </a:cubicBezTo>
                  <a:cubicBezTo>
                    <a:pt x="750" y="788"/>
                    <a:pt x="742" y="793"/>
                    <a:pt x="740" y="789"/>
                  </a:cubicBezTo>
                  <a:cubicBezTo>
                    <a:pt x="739" y="787"/>
                    <a:pt x="746" y="784"/>
                    <a:pt x="747" y="783"/>
                  </a:cubicBezTo>
                  <a:cubicBezTo>
                    <a:pt x="753" y="775"/>
                    <a:pt x="784" y="773"/>
                    <a:pt x="785" y="771"/>
                  </a:cubicBezTo>
                  <a:cubicBezTo>
                    <a:pt x="786" y="769"/>
                    <a:pt x="774" y="770"/>
                    <a:pt x="773" y="769"/>
                  </a:cubicBezTo>
                  <a:cubicBezTo>
                    <a:pt x="771" y="768"/>
                    <a:pt x="777" y="767"/>
                    <a:pt x="777" y="766"/>
                  </a:cubicBezTo>
                  <a:cubicBezTo>
                    <a:pt x="778" y="764"/>
                    <a:pt x="769" y="768"/>
                    <a:pt x="769" y="765"/>
                  </a:cubicBezTo>
                  <a:cubicBezTo>
                    <a:pt x="767" y="760"/>
                    <a:pt x="761" y="759"/>
                    <a:pt x="767" y="766"/>
                  </a:cubicBezTo>
                  <a:cubicBezTo>
                    <a:pt x="767" y="766"/>
                    <a:pt x="768" y="767"/>
                    <a:pt x="767" y="768"/>
                  </a:cubicBezTo>
                  <a:cubicBezTo>
                    <a:pt x="766" y="770"/>
                    <a:pt x="759" y="772"/>
                    <a:pt x="757" y="772"/>
                  </a:cubicBezTo>
                  <a:cubicBezTo>
                    <a:pt x="756" y="772"/>
                    <a:pt x="750" y="773"/>
                    <a:pt x="750" y="771"/>
                  </a:cubicBezTo>
                  <a:cubicBezTo>
                    <a:pt x="749" y="770"/>
                    <a:pt x="754" y="768"/>
                    <a:pt x="751" y="768"/>
                  </a:cubicBezTo>
                  <a:cubicBezTo>
                    <a:pt x="748" y="767"/>
                    <a:pt x="748" y="769"/>
                    <a:pt x="746" y="770"/>
                  </a:cubicBezTo>
                  <a:cubicBezTo>
                    <a:pt x="744" y="770"/>
                    <a:pt x="741" y="769"/>
                    <a:pt x="739" y="768"/>
                  </a:cubicBezTo>
                  <a:cubicBezTo>
                    <a:pt x="731" y="761"/>
                    <a:pt x="758" y="761"/>
                    <a:pt x="751" y="751"/>
                  </a:cubicBezTo>
                  <a:cubicBezTo>
                    <a:pt x="750" y="749"/>
                    <a:pt x="753" y="748"/>
                    <a:pt x="752" y="747"/>
                  </a:cubicBezTo>
                  <a:cubicBezTo>
                    <a:pt x="750" y="744"/>
                    <a:pt x="734" y="740"/>
                    <a:pt x="735" y="738"/>
                  </a:cubicBezTo>
                  <a:cubicBezTo>
                    <a:pt x="735" y="737"/>
                    <a:pt x="740" y="737"/>
                    <a:pt x="741" y="737"/>
                  </a:cubicBezTo>
                  <a:cubicBezTo>
                    <a:pt x="758" y="729"/>
                    <a:pt x="754" y="755"/>
                    <a:pt x="772" y="747"/>
                  </a:cubicBezTo>
                  <a:cubicBezTo>
                    <a:pt x="775" y="746"/>
                    <a:pt x="768" y="746"/>
                    <a:pt x="767" y="746"/>
                  </a:cubicBezTo>
                  <a:cubicBezTo>
                    <a:pt x="758" y="747"/>
                    <a:pt x="764" y="745"/>
                    <a:pt x="763" y="741"/>
                  </a:cubicBezTo>
                  <a:cubicBezTo>
                    <a:pt x="763" y="739"/>
                    <a:pt x="759" y="739"/>
                    <a:pt x="761" y="738"/>
                  </a:cubicBezTo>
                  <a:cubicBezTo>
                    <a:pt x="768" y="731"/>
                    <a:pt x="795" y="741"/>
                    <a:pt x="797" y="739"/>
                  </a:cubicBezTo>
                  <a:cubicBezTo>
                    <a:pt x="799" y="736"/>
                    <a:pt x="778" y="732"/>
                    <a:pt x="778" y="732"/>
                  </a:cubicBezTo>
                  <a:cubicBezTo>
                    <a:pt x="778" y="730"/>
                    <a:pt x="779" y="730"/>
                    <a:pt x="780" y="729"/>
                  </a:cubicBezTo>
                  <a:cubicBezTo>
                    <a:pt x="781" y="728"/>
                    <a:pt x="783" y="727"/>
                    <a:pt x="784" y="727"/>
                  </a:cubicBezTo>
                  <a:cubicBezTo>
                    <a:pt x="791" y="725"/>
                    <a:pt x="802" y="726"/>
                    <a:pt x="802" y="725"/>
                  </a:cubicBezTo>
                  <a:cubicBezTo>
                    <a:pt x="802" y="725"/>
                    <a:pt x="795" y="723"/>
                    <a:pt x="794" y="723"/>
                  </a:cubicBezTo>
                  <a:cubicBezTo>
                    <a:pt x="792" y="723"/>
                    <a:pt x="788" y="725"/>
                    <a:pt x="784" y="727"/>
                  </a:cubicBezTo>
                  <a:cubicBezTo>
                    <a:pt x="782" y="727"/>
                    <a:pt x="781" y="728"/>
                    <a:pt x="780" y="729"/>
                  </a:cubicBezTo>
                  <a:cubicBezTo>
                    <a:pt x="770" y="733"/>
                    <a:pt x="759" y="738"/>
                    <a:pt x="756" y="732"/>
                  </a:cubicBezTo>
                  <a:cubicBezTo>
                    <a:pt x="752" y="726"/>
                    <a:pt x="773" y="729"/>
                    <a:pt x="773" y="722"/>
                  </a:cubicBezTo>
                  <a:cubicBezTo>
                    <a:pt x="773" y="720"/>
                    <a:pt x="755" y="721"/>
                    <a:pt x="753" y="718"/>
                  </a:cubicBezTo>
                  <a:cubicBezTo>
                    <a:pt x="751" y="716"/>
                    <a:pt x="758" y="718"/>
                    <a:pt x="761" y="717"/>
                  </a:cubicBezTo>
                  <a:cubicBezTo>
                    <a:pt x="764" y="716"/>
                    <a:pt x="785" y="721"/>
                    <a:pt x="786" y="720"/>
                  </a:cubicBezTo>
                  <a:cubicBezTo>
                    <a:pt x="788" y="716"/>
                    <a:pt x="757" y="709"/>
                    <a:pt x="758" y="708"/>
                  </a:cubicBezTo>
                  <a:cubicBezTo>
                    <a:pt x="761" y="704"/>
                    <a:pt x="814" y="717"/>
                    <a:pt x="817" y="705"/>
                  </a:cubicBezTo>
                  <a:cubicBezTo>
                    <a:pt x="818" y="703"/>
                    <a:pt x="788" y="709"/>
                    <a:pt x="787" y="709"/>
                  </a:cubicBezTo>
                  <a:cubicBezTo>
                    <a:pt x="782" y="707"/>
                    <a:pt x="788" y="701"/>
                    <a:pt x="791" y="701"/>
                  </a:cubicBezTo>
                  <a:cubicBezTo>
                    <a:pt x="793" y="700"/>
                    <a:pt x="804" y="704"/>
                    <a:pt x="805" y="701"/>
                  </a:cubicBezTo>
                  <a:cubicBezTo>
                    <a:pt x="805" y="699"/>
                    <a:pt x="781" y="700"/>
                    <a:pt x="782" y="697"/>
                  </a:cubicBezTo>
                  <a:cubicBezTo>
                    <a:pt x="784" y="689"/>
                    <a:pt x="820" y="698"/>
                    <a:pt x="826" y="697"/>
                  </a:cubicBezTo>
                  <a:cubicBezTo>
                    <a:pt x="831" y="696"/>
                    <a:pt x="815" y="696"/>
                    <a:pt x="810" y="694"/>
                  </a:cubicBezTo>
                  <a:cubicBezTo>
                    <a:pt x="799" y="690"/>
                    <a:pt x="801" y="684"/>
                    <a:pt x="793" y="680"/>
                  </a:cubicBezTo>
                  <a:cubicBezTo>
                    <a:pt x="791" y="679"/>
                    <a:pt x="784" y="681"/>
                    <a:pt x="784" y="679"/>
                  </a:cubicBezTo>
                  <a:cubicBezTo>
                    <a:pt x="783" y="669"/>
                    <a:pt x="802" y="676"/>
                    <a:pt x="807" y="673"/>
                  </a:cubicBezTo>
                  <a:cubicBezTo>
                    <a:pt x="809" y="671"/>
                    <a:pt x="813" y="671"/>
                    <a:pt x="815" y="668"/>
                  </a:cubicBezTo>
                  <a:cubicBezTo>
                    <a:pt x="816" y="666"/>
                    <a:pt x="822" y="667"/>
                    <a:pt x="821" y="665"/>
                  </a:cubicBezTo>
                  <a:cubicBezTo>
                    <a:pt x="820" y="664"/>
                    <a:pt x="824" y="664"/>
                    <a:pt x="824" y="665"/>
                  </a:cubicBezTo>
                  <a:cubicBezTo>
                    <a:pt x="825" y="669"/>
                    <a:pt x="817" y="670"/>
                    <a:pt x="817" y="673"/>
                  </a:cubicBezTo>
                  <a:cubicBezTo>
                    <a:pt x="819" y="678"/>
                    <a:pt x="827" y="673"/>
                    <a:pt x="830" y="668"/>
                  </a:cubicBezTo>
                  <a:cubicBezTo>
                    <a:pt x="833" y="664"/>
                    <a:pt x="824" y="659"/>
                    <a:pt x="830" y="655"/>
                  </a:cubicBezTo>
                  <a:cubicBezTo>
                    <a:pt x="833" y="654"/>
                    <a:pt x="834" y="657"/>
                    <a:pt x="834" y="659"/>
                  </a:cubicBezTo>
                  <a:cubicBezTo>
                    <a:pt x="837" y="673"/>
                    <a:pt x="839" y="670"/>
                    <a:pt x="848" y="664"/>
                  </a:cubicBezTo>
                  <a:cubicBezTo>
                    <a:pt x="848" y="664"/>
                    <a:pt x="848" y="664"/>
                    <a:pt x="848" y="664"/>
                  </a:cubicBezTo>
                  <a:cubicBezTo>
                    <a:pt x="858" y="659"/>
                    <a:pt x="841" y="654"/>
                    <a:pt x="873" y="657"/>
                  </a:cubicBezTo>
                  <a:cubicBezTo>
                    <a:pt x="875" y="657"/>
                    <a:pt x="880" y="659"/>
                    <a:pt x="880" y="657"/>
                  </a:cubicBezTo>
                  <a:cubicBezTo>
                    <a:pt x="875" y="642"/>
                    <a:pt x="841" y="665"/>
                    <a:pt x="855" y="642"/>
                  </a:cubicBezTo>
                  <a:cubicBezTo>
                    <a:pt x="856" y="640"/>
                    <a:pt x="865" y="638"/>
                    <a:pt x="866" y="638"/>
                  </a:cubicBezTo>
                  <a:cubicBezTo>
                    <a:pt x="870" y="638"/>
                    <a:pt x="861" y="646"/>
                    <a:pt x="864" y="647"/>
                  </a:cubicBezTo>
                  <a:cubicBezTo>
                    <a:pt x="866" y="648"/>
                    <a:pt x="866" y="641"/>
                    <a:pt x="868" y="640"/>
                  </a:cubicBezTo>
                  <a:cubicBezTo>
                    <a:pt x="875" y="639"/>
                    <a:pt x="879" y="641"/>
                    <a:pt x="885" y="640"/>
                  </a:cubicBezTo>
                  <a:cubicBezTo>
                    <a:pt x="889" y="639"/>
                    <a:pt x="894" y="645"/>
                    <a:pt x="894" y="645"/>
                  </a:cubicBezTo>
                  <a:cubicBezTo>
                    <a:pt x="898" y="634"/>
                    <a:pt x="872" y="638"/>
                    <a:pt x="872" y="636"/>
                  </a:cubicBezTo>
                  <a:cubicBezTo>
                    <a:pt x="872" y="635"/>
                    <a:pt x="910" y="629"/>
                    <a:pt x="914" y="631"/>
                  </a:cubicBezTo>
                  <a:cubicBezTo>
                    <a:pt x="915" y="632"/>
                    <a:pt x="914" y="633"/>
                    <a:pt x="914" y="634"/>
                  </a:cubicBezTo>
                  <a:cubicBezTo>
                    <a:pt x="913" y="635"/>
                    <a:pt x="913" y="635"/>
                    <a:pt x="912" y="635"/>
                  </a:cubicBezTo>
                  <a:cubicBezTo>
                    <a:pt x="910" y="638"/>
                    <a:pt x="905" y="641"/>
                    <a:pt x="908" y="643"/>
                  </a:cubicBezTo>
                  <a:cubicBezTo>
                    <a:pt x="924" y="654"/>
                    <a:pt x="908" y="642"/>
                    <a:pt x="912" y="635"/>
                  </a:cubicBezTo>
                  <a:cubicBezTo>
                    <a:pt x="913" y="635"/>
                    <a:pt x="913" y="635"/>
                    <a:pt x="914" y="634"/>
                  </a:cubicBezTo>
                  <a:cubicBezTo>
                    <a:pt x="915" y="633"/>
                    <a:pt x="916" y="632"/>
                    <a:pt x="918" y="632"/>
                  </a:cubicBezTo>
                  <a:cubicBezTo>
                    <a:pt x="941" y="625"/>
                    <a:pt x="953" y="655"/>
                    <a:pt x="960" y="653"/>
                  </a:cubicBezTo>
                  <a:cubicBezTo>
                    <a:pt x="962" y="653"/>
                    <a:pt x="956" y="650"/>
                    <a:pt x="955" y="647"/>
                  </a:cubicBezTo>
                  <a:cubicBezTo>
                    <a:pt x="954" y="644"/>
                    <a:pt x="959" y="643"/>
                    <a:pt x="958" y="639"/>
                  </a:cubicBezTo>
                  <a:cubicBezTo>
                    <a:pt x="957" y="637"/>
                    <a:pt x="948" y="635"/>
                    <a:pt x="950" y="632"/>
                  </a:cubicBezTo>
                  <a:cubicBezTo>
                    <a:pt x="953" y="626"/>
                    <a:pt x="978" y="643"/>
                    <a:pt x="982" y="637"/>
                  </a:cubicBezTo>
                  <a:cubicBezTo>
                    <a:pt x="982" y="637"/>
                    <a:pt x="978" y="632"/>
                    <a:pt x="978" y="631"/>
                  </a:cubicBezTo>
                  <a:cubicBezTo>
                    <a:pt x="978" y="631"/>
                    <a:pt x="978" y="631"/>
                    <a:pt x="978" y="631"/>
                  </a:cubicBezTo>
                  <a:cubicBezTo>
                    <a:pt x="977" y="631"/>
                    <a:pt x="977" y="631"/>
                    <a:pt x="977" y="631"/>
                  </a:cubicBezTo>
                  <a:cubicBezTo>
                    <a:pt x="976" y="631"/>
                    <a:pt x="976" y="631"/>
                    <a:pt x="975" y="632"/>
                  </a:cubicBezTo>
                  <a:cubicBezTo>
                    <a:pt x="975" y="632"/>
                    <a:pt x="975" y="632"/>
                    <a:pt x="974" y="632"/>
                  </a:cubicBezTo>
                  <a:cubicBezTo>
                    <a:pt x="972" y="632"/>
                    <a:pt x="970" y="632"/>
                    <a:pt x="968" y="632"/>
                  </a:cubicBezTo>
                  <a:cubicBezTo>
                    <a:pt x="963" y="631"/>
                    <a:pt x="956" y="627"/>
                    <a:pt x="951" y="627"/>
                  </a:cubicBezTo>
                  <a:cubicBezTo>
                    <a:pt x="948" y="627"/>
                    <a:pt x="943" y="636"/>
                    <a:pt x="939" y="631"/>
                  </a:cubicBezTo>
                  <a:cubicBezTo>
                    <a:pt x="939" y="631"/>
                    <a:pt x="941" y="629"/>
                    <a:pt x="942" y="627"/>
                  </a:cubicBezTo>
                  <a:cubicBezTo>
                    <a:pt x="943" y="626"/>
                    <a:pt x="923" y="628"/>
                    <a:pt x="921" y="625"/>
                  </a:cubicBezTo>
                  <a:cubicBezTo>
                    <a:pt x="919" y="622"/>
                    <a:pt x="933" y="616"/>
                    <a:pt x="929" y="616"/>
                  </a:cubicBezTo>
                  <a:cubicBezTo>
                    <a:pt x="922" y="615"/>
                    <a:pt x="918" y="621"/>
                    <a:pt x="913" y="623"/>
                  </a:cubicBezTo>
                  <a:cubicBezTo>
                    <a:pt x="911" y="624"/>
                    <a:pt x="910" y="623"/>
                    <a:pt x="909" y="622"/>
                  </a:cubicBezTo>
                  <a:cubicBezTo>
                    <a:pt x="907" y="621"/>
                    <a:pt x="896" y="620"/>
                    <a:pt x="895" y="623"/>
                  </a:cubicBezTo>
                  <a:cubicBezTo>
                    <a:pt x="895" y="624"/>
                    <a:pt x="901" y="623"/>
                    <a:pt x="901" y="625"/>
                  </a:cubicBezTo>
                  <a:cubicBezTo>
                    <a:pt x="900" y="627"/>
                    <a:pt x="881" y="632"/>
                    <a:pt x="882" y="631"/>
                  </a:cubicBezTo>
                  <a:cubicBezTo>
                    <a:pt x="882" y="628"/>
                    <a:pt x="889" y="627"/>
                    <a:pt x="889" y="621"/>
                  </a:cubicBezTo>
                  <a:cubicBezTo>
                    <a:pt x="889" y="620"/>
                    <a:pt x="885" y="622"/>
                    <a:pt x="884" y="622"/>
                  </a:cubicBezTo>
                  <a:cubicBezTo>
                    <a:pt x="880" y="625"/>
                    <a:pt x="875" y="625"/>
                    <a:pt x="870" y="626"/>
                  </a:cubicBezTo>
                  <a:cubicBezTo>
                    <a:pt x="868" y="626"/>
                    <a:pt x="855" y="627"/>
                    <a:pt x="856" y="626"/>
                  </a:cubicBezTo>
                  <a:cubicBezTo>
                    <a:pt x="859" y="620"/>
                    <a:pt x="875" y="606"/>
                    <a:pt x="882" y="599"/>
                  </a:cubicBezTo>
                  <a:cubicBezTo>
                    <a:pt x="882" y="599"/>
                    <a:pt x="884" y="598"/>
                    <a:pt x="885" y="598"/>
                  </a:cubicBezTo>
                  <a:cubicBezTo>
                    <a:pt x="895" y="596"/>
                    <a:pt x="899" y="606"/>
                    <a:pt x="899" y="606"/>
                  </a:cubicBezTo>
                  <a:cubicBezTo>
                    <a:pt x="903" y="606"/>
                    <a:pt x="904" y="600"/>
                    <a:pt x="907" y="600"/>
                  </a:cubicBezTo>
                  <a:cubicBezTo>
                    <a:pt x="908" y="600"/>
                    <a:pt x="920" y="596"/>
                    <a:pt x="920" y="595"/>
                  </a:cubicBezTo>
                  <a:cubicBezTo>
                    <a:pt x="919" y="593"/>
                    <a:pt x="886" y="597"/>
                    <a:pt x="891" y="587"/>
                  </a:cubicBezTo>
                  <a:cubicBezTo>
                    <a:pt x="892" y="585"/>
                    <a:pt x="899" y="582"/>
                    <a:pt x="900" y="581"/>
                  </a:cubicBezTo>
                  <a:cubicBezTo>
                    <a:pt x="903" y="580"/>
                    <a:pt x="933" y="570"/>
                    <a:pt x="930" y="580"/>
                  </a:cubicBezTo>
                  <a:cubicBezTo>
                    <a:pt x="927" y="586"/>
                    <a:pt x="921" y="580"/>
                    <a:pt x="918" y="580"/>
                  </a:cubicBezTo>
                  <a:cubicBezTo>
                    <a:pt x="915" y="581"/>
                    <a:pt x="924" y="585"/>
                    <a:pt x="913" y="588"/>
                  </a:cubicBezTo>
                  <a:cubicBezTo>
                    <a:pt x="911" y="588"/>
                    <a:pt x="906" y="588"/>
                    <a:pt x="906" y="589"/>
                  </a:cubicBezTo>
                  <a:cubicBezTo>
                    <a:pt x="906" y="590"/>
                    <a:pt x="908" y="590"/>
                    <a:pt x="909" y="590"/>
                  </a:cubicBezTo>
                  <a:cubicBezTo>
                    <a:pt x="917" y="590"/>
                    <a:pt x="918" y="590"/>
                    <a:pt x="925" y="587"/>
                  </a:cubicBezTo>
                  <a:cubicBezTo>
                    <a:pt x="926" y="587"/>
                    <a:pt x="932" y="583"/>
                    <a:pt x="932" y="585"/>
                  </a:cubicBezTo>
                  <a:cubicBezTo>
                    <a:pt x="933" y="589"/>
                    <a:pt x="932" y="592"/>
                    <a:pt x="929" y="594"/>
                  </a:cubicBezTo>
                  <a:cubicBezTo>
                    <a:pt x="925" y="598"/>
                    <a:pt x="945" y="586"/>
                    <a:pt x="955" y="590"/>
                  </a:cubicBezTo>
                  <a:cubicBezTo>
                    <a:pt x="969" y="596"/>
                    <a:pt x="965" y="632"/>
                    <a:pt x="977" y="618"/>
                  </a:cubicBezTo>
                  <a:cubicBezTo>
                    <a:pt x="979" y="617"/>
                    <a:pt x="962" y="602"/>
                    <a:pt x="965" y="590"/>
                  </a:cubicBezTo>
                  <a:cubicBezTo>
                    <a:pt x="966" y="584"/>
                    <a:pt x="980" y="579"/>
                    <a:pt x="985" y="578"/>
                  </a:cubicBezTo>
                  <a:cubicBezTo>
                    <a:pt x="987" y="578"/>
                    <a:pt x="996" y="579"/>
                    <a:pt x="996" y="577"/>
                  </a:cubicBezTo>
                  <a:cubicBezTo>
                    <a:pt x="996" y="574"/>
                    <a:pt x="983" y="574"/>
                    <a:pt x="982" y="575"/>
                  </a:cubicBezTo>
                  <a:cubicBezTo>
                    <a:pt x="969" y="579"/>
                    <a:pt x="951" y="591"/>
                    <a:pt x="937" y="582"/>
                  </a:cubicBezTo>
                  <a:cubicBezTo>
                    <a:pt x="933" y="580"/>
                    <a:pt x="938" y="571"/>
                    <a:pt x="940" y="571"/>
                  </a:cubicBezTo>
                  <a:cubicBezTo>
                    <a:pt x="946" y="571"/>
                    <a:pt x="958" y="579"/>
                    <a:pt x="957" y="574"/>
                  </a:cubicBezTo>
                  <a:cubicBezTo>
                    <a:pt x="956" y="568"/>
                    <a:pt x="945" y="563"/>
                    <a:pt x="938" y="568"/>
                  </a:cubicBezTo>
                  <a:cubicBezTo>
                    <a:pt x="937" y="569"/>
                    <a:pt x="931" y="571"/>
                    <a:pt x="931" y="568"/>
                  </a:cubicBezTo>
                  <a:cubicBezTo>
                    <a:pt x="932" y="556"/>
                    <a:pt x="944" y="552"/>
                    <a:pt x="962" y="559"/>
                  </a:cubicBezTo>
                  <a:cubicBezTo>
                    <a:pt x="964" y="560"/>
                    <a:pt x="961" y="553"/>
                    <a:pt x="968" y="557"/>
                  </a:cubicBezTo>
                  <a:cubicBezTo>
                    <a:pt x="969" y="558"/>
                    <a:pt x="974" y="558"/>
                    <a:pt x="974" y="558"/>
                  </a:cubicBezTo>
                  <a:cubicBezTo>
                    <a:pt x="973" y="557"/>
                    <a:pt x="949" y="551"/>
                    <a:pt x="951" y="549"/>
                  </a:cubicBezTo>
                  <a:cubicBezTo>
                    <a:pt x="957" y="544"/>
                    <a:pt x="979" y="548"/>
                    <a:pt x="982" y="554"/>
                  </a:cubicBezTo>
                  <a:cubicBezTo>
                    <a:pt x="984" y="557"/>
                    <a:pt x="992" y="560"/>
                    <a:pt x="990" y="556"/>
                  </a:cubicBezTo>
                  <a:cubicBezTo>
                    <a:pt x="978" y="537"/>
                    <a:pt x="975" y="547"/>
                    <a:pt x="960" y="543"/>
                  </a:cubicBezTo>
                  <a:cubicBezTo>
                    <a:pt x="952" y="540"/>
                    <a:pt x="956" y="531"/>
                    <a:pt x="953" y="531"/>
                  </a:cubicBezTo>
                  <a:cubicBezTo>
                    <a:pt x="951" y="530"/>
                    <a:pt x="953" y="535"/>
                    <a:pt x="952" y="536"/>
                  </a:cubicBezTo>
                  <a:cubicBezTo>
                    <a:pt x="950" y="536"/>
                    <a:pt x="952" y="529"/>
                    <a:pt x="948" y="531"/>
                  </a:cubicBezTo>
                  <a:cubicBezTo>
                    <a:pt x="946" y="532"/>
                    <a:pt x="952" y="539"/>
                    <a:pt x="947" y="542"/>
                  </a:cubicBezTo>
                  <a:cubicBezTo>
                    <a:pt x="937" y="549"/>
                    <a:pt x="907" y="573"/>
                    <a:pt x="892" y="563"/>
                  </a:cubicBezTo>
                  <a:cubicBezTo>
                    <a:pt x="890" y="561"/>
                    <a:pt x="901" y="557"/>
                    <a:pt x="903" y="556"/>
                  </a:cubicBezTo>
                  <a:cubicBezTo>
                    <a:pt x="908" y="553"/>
                    <a:pt x="893" y="552"/>
                    <a:pt x="897" y="551"/>
                  </a:cubicBezTo>
                  <a:cubicBezTo>
                    <a:pt x="903" y="549"/>
                    <a:pt x="913" y="550"/>
                    <a:pt x="920" y="550"/>
                  </a:cubicBezTo>
                  <a:cubicBezTo>
                    <a:pt x="921" y="550"/>
                    <a:pt x="925" y="550"/>
                    <a:pt x="926" y="549"/>
                  </a:cubicBezTo>
                  <a:cubicBezTo>
                    <a:pt x="927" y="545"/>
                    <a:pt x="917" y="548"/>
                    <a:pt x="915" y="546"/>
                  </a:cubicBezTo>
                  <a:cubicBezTo>
                    <a:pt x="911" y="542"/>
                    <a:pt x="895" y="547"/>
                    <a:pt x="894" y="539"/>
                  </a:cubicBezTo>
                  <a:cubicBezTo>
                    <a:pt x="893" y="534"/>
                    <a:pt x="924" y="535"/>
                    <a:pt x="925" y="531"/>
                  </a:cubicBezTo>
                  <a:cubicBezTo>
                    <a:pt x="925" y="530"/>
                    <a:pt x="902" y="532"/>
                    <a:pt x="902" y="532"/>
                  </a:cubicBezTo>
                  <a:cubicBezTo>
                    <a:pt x="905" y="528"/>
                    <a:pt x="934" y="520"/>
                    <a:pt x="935" y="528"/>
                  </a:cubicBezTo>
                  <a:cubicBezTo>
                    <a:pt x="935" y="530"/>
                    <a:pt x="931" y="531"/>
                    <a:pt x="932" y="534"/>
                  </a:cubicBezTo>
                  <a:cubicBezTo>
                    <a:pt x="933" y="535"/>
                    <a:pt x="939" y="530"/>
                    <a:pt x="940" y="529"/>
                  </a:cubicBezTo>
                  <a:cubicBezTo>
                    <a:pt x="942" y="527"/>
                    <a:pt x="957" y="518"/>
                    <a:pt x="964" y="520"/>
                  </a:cubicBezTo>
                  <a:cubicBezTo>
                    <a:pt x="966" y="521"/>
                    <a:pt x="957" y="529"/>
                    <a:pt x="962" y="531"/>
                  </a:cubicBezTo>
                  <a:cubicBezTo>
                    <a:pt x="962" y="531"/>
                    <a:pt x="969" y="519"/>
                    <a:pt x="979" y="516"/>
                  </a:cubicBezTo>
                  <a:cubicBezTo>
                    <a:pt x="988" y="513"/>
                    <a:pt x="988" y="524"/>
                    <a:pt x="991" y="524"/>
                  </a:cubicBezTo>
                  <a:cubicBezTo>
                    <a:pt x="998" y="524"/>
                    <a:pt x="995" y="509"/>
                    <a:pt x="1001" y="507"/>
                  </a:cubicBezTo>
                  <a:cubicBezTo>
                    <a:pt x="1002" y="507"/>
                    <a:pt x="1002" y="507"/>
                    <a:pt x="1003" y="507"/>
                  </a:cubicBezTo>
                  <a:cubicBezTo>
                    <a:pt x="1003" y="507"/>
                    <a:pt x="1004" y="508"/>
                    <a:pt x="1004" y="508"/>
                  </a:cubicBezTo>
                  <a:cubicBezTo>
                    <a:pt x="1005" y="508"/>
                    <a:pt x="1001" y="508"/>
                    <a:pt x="1003" y="508"/>
                  </a:cubicBezTo>
                  <a:cubicBezTo>
                    <a:pt x="1003" y="508"/>
                    <a:pt x="1005" y="508"/>
                    <a:pt x="1005" y="507"/>
                  </a:cubicBezTo>
                  <a:cubicBezTo>
                    <a:pt x="1010" y="503"/>
                    <a:pt x="995" y="509"/>
                    <a:pt x="992" y="503"/>
                  </a:cubicBezTo>
                  <a:cubicBezTo>
                    <a:pt x="991" y="500"/>
                    <a:pt x="997" y="502"/>
                    <a:pt x="996" y="499"/>
                  </a:cubicBezTo>
                  <a:cubicBezTo>
                    <a:pt x="995" y="497"/>
                    <a:pt x="990" y="499"/>
                    <a:pt x="989" y="500"/>
                  </a:cubicBezTo>
                  <a:cubicBezTo>
                    <a:pt x="985" y="505"/>
                    <a:pt x="979" y="503"/>
                    <a:pt x="972" y="503"/>
                  </a:cubicBezTo>
                  <a:cubicBezTo>
                    <a:pt x="969" y="503"/>
                    <a:pt x="965" y="494"/>
                    <a:pt x="962" y="496"/>
                  </a:cubicBezTo>
                  <a:cubicBezTo>
                    <a:pt x="960" y="498"/>
                    <a:pt x="956" y="506"/>
                    <a:pt x="954" y="508"/>
                  </a:cubicBezTo>
                  <a:cubicBezTo>
                    <a:pt x="952" y="509"/>
                    <a:pt x="952" y="510"/>
                    <a:pt x="950" y="509"/>
                  </a:cubicBezTo>
                  <a:cubicBezTo>
                    <a:pt x="948" y="508"/>
                    <a:pt x="939" y="508"/>
                    <a:pt x="941" y="502"/>
                  </a:cubicBezTo>
                  <a:cubicBezTo>
                    <a:pt x="945" y="488"/>
                    <a:pt x="963" y="491"/>
                    <a:pt x="967" y="491"/>
                  </a:cubicBezTo>
                  <a:cubicBezTo>
                    <a:pt x="970" y="491"/>
                    <a:pt x="974" y="481"/>
                    <a:pt x="975" y="482"/>
                  </a:cubicBezTo>
                  <a:cubicBezTo>
                    <a:pt x="977" y="487"/>
                    <a:pt x="988" y="494"/>
                    <a:pt x="972" y="493"/>
                  </a:cubicBezTo>
                  <a:cubicBezTo>
                    <a:pt x="970" y="493"/>
                    <a:pt x="972" y="500"/>
                    <a:pt x="977" y="499"/>
                  </a:cubicBezTo>
                  <a:cubicBezTo>
                    <a:pt x="1005" y="493"/>
                    <a:pt x="996" y="463"/>
                    <a:pt x="1008" y="470"/>
                  </a:cubicBezTo>
                  <a:cubicBezTo>
                    <a:pt x="1012" y="473"/>
                    <a:pt x="1007" y="481"/>
                    <a:pt x="1008" y="482"/>
                  </a:cubicBezTo>
                  <a:cubicBezTo>
                    <a:pt x="1009" y="483"/>
                    <a:pt x="1013" y="480"/>
                    <a:pt x="1014" y="482"/>
                  </a:cubicBezTo>
                  <a:cubicBezTo>
                    <a:pt x="1015" y="484"/>
                    <a:pt x="1013" y="489"/>
                    <a:pt x="1011" y="490"/>
                  </a:cubicBezTo>
                  <a:cubicBezTo>
                    <a:pt x="1009" y="494"/>
                    <a:pt x="1009" y="501"/>
                    <a:pt x="1010" y="505"/>
                  </a:cubicBezTo>
                  <a:cubicBezTo>
                    <a:pt x="1012" y="510"/>
                    <a:pt x="1043" y="543"/>
                    <a:pt x="1050" y="540"/>
                  </a:cubicBezTo>
                  <a:cubicBezTo>
                    <a:pt x="1051" y="540"/>
                    <a:pt x="1041" y="536"/>
                    <a:pt x="1045" y="533"/>
                  </a:cubicBezTo>
                  <a:cubicBezTo>
                    <a:pt x="1047" y="531"/>
                    <a:pt x="1042" y="530"/>
                    <a:pt x="1041" y="529"/>
                  </a:cubicBezTo>
                  <a:cubicBezTo>
                    <a:pt x="1032" y="524"/>
                    <a:pt x="1025" y="523"/>
                    <a:pt x="1029" y="513"/>
                  </a:cubicBezTo>
                  <a:cubicBezTo>
                    <a:pt x="1030" y="511"/>
                    <a:pt x="1021" y="509"/>
                    <a:pt x="1023" y="508"/>
                  </a:cubicBezTo>
                  <a:cubicBezTo>
                    <a:pt x="1032" y="501"/>
                    <a:pt x="1038" y="524"/>
                    <a:pt x="1045" y="524"/>
                  </a:cubicBezTo>
                  <a:cubicBezTo>
                    <a:pt x="1052" y="524"/>
                    <a:pt x="1033" y="510"/>
                    <a:pt x="1034" y="508"/>
                  </a:cubicBezTo>
                  <a:cubicBezTo>
                    <a:pt x="1036" y="502"/>
                    <a:pt x="1050" y="522"/>
                    <a:pt x="1053" y="514"/>
                  </a:cubicBezTo>
                  <a:cubicBezTo>
                    <a:pt x="1053" y="514"/>
                    <a:pt x="1047" y="513"/>
                    <a:pt x="1046" y="512"/>
                  </a:cubicBezTo>
                  <a:cubicBezTo>
                    <a:pt x="1043" y="510"/>
                    <a:pt x="1050" y="508"/>
                    <a:pt x="1049" y="506"/>
                  </a:cubicBezTo>
                  <a:cubicBezTo>
                    <a:pt x="1048" y="504"/>
                    <a:pt x="1036" y="506"/>
                    <a:pt x="1037" y="502"/>
                  </a:cubicBezTo>
                  <a:cubicBezTo>
                    <a:pt x="1040" y="491"/>
                    <a:pt x="1069" y="498"/>
                    <a:pt x="1068" y="497"/>
                  </a:cubicBezTo>
                  <a:cubicBezTo>
                    <a:pt x="1057" y="486"/>
                    <a:pt x="1044" y="497"/>
                    <a:pt x="1035" y="496"/>
                  </a:cubicBezTo>
                  <a:cubicBezTo>
                    <a:pt x="1029" y="495"/>
                    <a:pt x="1032" y="492"/>
                    <a:pt x="1027" y="489"/>
                  </a:cubicBezTo>
                  <a:cubicBezTo>
                    <a:pt x="1027" y="489"/>
                    <a:pt x="1026" y="489"/>
                    <a:pt x="1026" y="488"/>
                  </a:cubicBezTo>
                  <a:cubicBezTo>
                    <a:pt x="1027" y="487"/>
                    <a:pt x="1040" y="488"/>
                    <a:pt x="1041" y="487"/>
                  </a:cubicBezTo>
                  <a:cubicBezTo>
                    <a:pt x="1044" y="487"/>
                    <a:pt x="1040" y="480"/>
                    <a:pt x="1043" y="480"/>
                  </a:cubicBezTo>
                  <a:cubicBezTo>
                    <a:pt x="1044" y="481"/>
                    <a:pt x="1054" y="486"/>
                    <a:pt x="1054" y="483"/>
                  </a:cubicBezTo>
                  <a:cubicBezTo>
                    <a:pt x="1055" y="482"/>
                    <a:pt x="1052" y="480"/>
                    <a:pt x="1051" y="480"/>
                  </a:cubicBezTo>
                  <a:cubicBezTo>
                    <a:pt x="1046" y="478"/>
                    <a:pt x="1048" y="476"/>
                    <a:pt x="1046" y="474"/>
                  </a:cubicBezTo>
                  <a:cubicBezTo>
                    <a:pt x="1044" y="473"/>
                    <a:pt x="1030" y="478"/>
                    <a:pt x="1026" y="478"/>
                  </a:cubicBezTo>
                  <a:cubicBezTo>
                    <a:pt x="1025" y="478"/>
                    <a:pt x="1020" y="478"/>
                    <a:pt x="1019" y="477"/>
                  </a:cubicBezTo>
                  <a:cubicBezTo>
                    <a:pt x="1015" y="473"/>
                    <a:pt x="1034" y="472"/>
                    <a:pt x="1033" y="470"/>
                  </a:cubicBezTo>
                  <a:cubicBezTo>
                    <a:pt x="1032" y="469"/>
                    <a:pt x="1013" y="465"/>
                    <a:pt x="1014" y="464"/>
                  </a:cubicBezTo>
                  <a:cubicBezTo>
                    <a:pt x="1024" y="451"/>
                    <a:pt x="1048" y="467"/>
                    <a:pt x="1055" y="478"/>
                  </a:cubicBezTo>
                  <a:cubicBezTo>
                    <a:pt x="1057" y="480"/>
                    <a:pt x="1076" y="489"/>
                    <a:pt x="1077" y="487"/>
                  </a:cubicBezTo>
                  <a:cubicBezTo>
                    <a:pt x="1077" y="478"/>
                    <a:pt x="1029" y="455"/>
                    <a:pt x="1029" y="455"/>
                  </a:cubicBezTo>
                  <a:cubicBezTo>
                    <a:pt x="1031" y="453"/>
                    <a:pt x="1025" y="455"/>
                    <a:pt x="1024" y="454"/>
                  </a:cubicBezTo>
                  <a:cubicBezTo>
                    <a:pt x="1024" y="450"/>
                    <a:pt x="1059" y="446"/>
                    <a:pt x="1063" y="445"/>
                  </a:cubicBezTo>
                  <a:cubicBezTo>
                    <a:pt x="1066" y="445"/>
                    <a:pt x="1069" y="445"/>
                    <a:pt x="1073" y="447"/>
                  </a:cubicBezTo>
                  <a:cubicBezTo>
                    <a:pt x="1075" y="448"/>
                    <a:pt x="1077" y="448"/>
                    <a:pt x="1079" y="449"/>
                  </a:cubicBezTo>
                  <a:cubicBezTo>
                    <a:pt x="1086" y="451"/>
                    <a:pt x="1079" y="458"/>
                    <a:pt x="1079" y="458"/>
                  </a:cubicBezTo>
                  <a:cubicBezTo>
                    <a:pt x="1085" y="457"/>
                    <a:pt x="1094" y="451"/>
                    <a:pt x="1099" y="451"/>
                  </a:cubicBezTo>
                  <a:cubicBezTo>
                    <a:pt x="1113" y="452"/>
                    <a:pt x="1104" y="458"/>
                    <a:pt x="1114" y="463"/>
                  </a:cubicBezTo>
                  <a:cubicBezTo>
                    <a:pt x="1116" y="464"/>
                    <a:pt x="1123" y="466"/>
                    <a:pt x="1123" y="469"/>
                  </a:cubicBezTo>
                  <a:cubicBezTo>
                    <a:pt x="1123" y="470"/>
                    <a:pt x="1121" y="481"/>
                    <a:pt x="1122" y="482"/>
                  </a:cubicBezTo>
                  <a:cubicBezTo>
                    <a:pt x="1125" y="485"/>
                    <a:pt x="1127" y="474"/>
                    <a:pt x="1131" y="472"/>
                  </a:cubicBezTo>
                  <a:cubicBezTo>
                    <a:pt x="1131" y="472"/>
                    <a:pt x="1131" y="471"/>
                    <a:pt x="1131" y="471"/>
                  </a:cubicBezTo>
                  <a:cubicBezTo>
                    <a:pt x="1131" y="464"/>
                    <a:pt x="1106" y="456"/>
                    <a:pt x="1112" y="449"/>
                  </a:cubicBezTo>
                  <a:cubicBezTo>
                    <a:pt x="1118" y="442"/>
                    <a:pt x="1125" y="448"/>
                    <a:pt x="1135" y="452"/>
                  </a:cubicBezTo>
                  <a:cubicBezTo>
                    <a:pt x="1136" y="453"/>
                    <a:pt x="1147" y="454"/>
                    <a:pt x="1145" y="451"/>
                  </a:cubicBezTo>
                  <a:cubicBezTo>
                    <a:pt x="1145" y="449"/>
                    <a:pt x="1127" y="446"/>
                    <a:pt x="1128" y="443"/>
                  </a:cubicBezTo>
                  <a:cubicBezTo>
                    <a:pt x="1130" y="437"/>
                    <a:pt x="1156" y="444"/>
                    <a:pt x="1159" y="446"/>
                  </a:cubicBezTo>
                  <a:cubicBezTo>
                    <a:pt x="1163" y="448"/>
                    <a:pt x="1176" y="448"/>
                    <a:pt x="1172" y="447"/>
                  </a:cubicBezTo>
                  <a:cubicBezTo>
                    <a:pt x="1163" y="446"/>
                    <a:pt x="1157" y="440"/>
                    <a:pt x="1149" y="437"/>
                  </a:cubicBezTo>
                  <a:cubicBezTo>
                    <a:pt x="1147" y="437"/>
                    <a:pt x="1138" y="439"/>
                    <a:pt x="1136" y="437"/>
                  </a:cubicBezTo>
                  <a:cubicBezTo>
                    <a:pt x="1136" y="436"/>
                    <a:pt x="1147" y="426"/>
                    <a:pt x="1142" y="425"/>
                  </a:cubicBezTo>
                  <a:cubicBezTo>
                    <a:pt x="1127" y="421"/>
                    <a:pt x="1112" y="449"/>
                    <a:pt x="1095" y="439"/>
                  </a:cubicBezTo>
                  <a:cubicBezTo>
                    <a:pt x="1093" y="438"/>
                    <a:pt x="1095" y="437"/>
                    <a:pt x="1096" y="437"/>
                  </a:cubicBezTo>
                  <a:cubicBezTo>
                    <a:pt x="1107" y="436"/>
                    <a:pt x="1100" y="432"/>
                    <a:pt x="1094" y="429"/>
                  </a:cubicBezTo>
                  <a:cubicBezTo>
                    <a:pt x="1091" y="428"/>
                    <a:pt x="1054" y="450"/>
                    <a:pt x="1049" y="439"/>
                  </a:cubicBezTo>
                  <a:cubicBezTo>
                    <a:pt x="1041" y="421"/>
                    <a:pt x="1057" y="431"/>
                    <a:pt x="1061" y="424"/>
                  </a:cubicBezTo>
                  <a:cubicBezTo>
                    <a:pt x="1065" y="418"/>
                    <a:pt x="1040" y="417"/>
                    <a:pt x="1074" y="402"/>
                  </a:cubicBezTo>
                  <a:cubicBezTo>
                    <a:pt x="1090" y="396"/>
                    <a:pt x="1113" y="410"/>
                    <a:pt x="1104" y="404"/>
                  </a:cubicBezTo>
                  <a:cubicBezTo>
                    <a:pt x="1097" y="399"/>
                    <a:pt x="1114" y="395"/>
                    <a:pt x="1117" y="395"/>
                  </a:cubicBezTo>
                  <a:cubicBezTo>
                    <a:pt x="1122" y="394"/>
                    <a:pt x="1149" y="412"/>
                    <a:pt x="1155" y="405"/>
                  </a:cubicBezTo>
                  <a:cubicBezTo>
                    <a:pt x="1155" y="404"/>
                    <a:pt x="1153" y="403"/>
                    <a:pt x="1152" y="402"/>
                  </a:cubicBezTo>
                  <a:cubicBezTo>
                    <a:pt x="1149" y="400"/>
                    <a:pt x="1114" y="391"/>
                    <a:pt x="1115" y="389"/>
                  </a:cubicBezTo>
                  <a:cubicBezTo>
                    <a:pt x="1120" y="370"/>
                    <a:pt x="1163" y="392"/>
                    <a:pt x="1164" y="390"/>
                  </a:cubicBezTo>
                  <a:cubicBezTo>
                    <a:pt x="1169" y="383"/>
                    <a:pt x="1134" y="380"/>
                    <a:pt x="1136" y="377"/>
                  </a:cubicBezTo>
                  <a:cubicBezTo>
                    <a:pt x="1141" y="367"/>
                    <a:pt x="1169" y="373"/>
                    <a:pt x="1170" y="371"/>
                  </a:cubicBezTo>
                  <a:cubicBezTo>
                    <a:pt x="1170" y="370"/>
                    <a:pt x="1166" y="368"/>
                    <a:pt x="1165" y="367"/>
                  </a:cubicBezTo>
                  <a:cubicBezTo>
                    <a:pt x="1158" y="361"/>
                    <a:pt x="1150" y="361"/>
                    <a:pt x="1139" y="364"/>
                  </a:cubicBezTo>
                  <a:cubicBezTo>
                    <a:pt x="1138" y="365"/>
                    <a:pt x="1133" y="368"/>
                    <a:pt x="1133" y="366"/>
                  </a:cubicBezTo>
                  <a:cubicBezTo>
                    <a:pt x="1131" y="361"/>
                    <a:pt x="1140" y="359"/>
                    <a:pt x="1142" y="357"/>
                  </a:cubicBezTo>
                  <a:cubicBezTo>
                    <a:pt x="1143" y="356"/>
                    <a:pt x="1136" y="356"/>
                    <a:pt x="1152" y="339"/>
                  </a:cubicBezTo>
                  <a:cubicBezTo>
                    <a:pt x="1159" y="331"/>
                    <a:pt x="1161" y="336"/>
                    <a:pt x="1178" y="328"/>
                  </a:cubicBezTo>
                  <a:cubicBezTo>
                    <a:pt x="1180" y="327"/>
                    <a:pt x="1197" y="327"/>
                    <a:pt x="1197" y="326"/>
                  </a:cubicBezTo>
                  <a:cubicBezTo>
                    <a:pt x="1196" y="323"/>
                    <a:pt x="1189" y="325"/>
                    <a:pt x="1189" y="322"/>
                  </a:cubicBezTo>
                  <a:cubicBezTo>
                    <a:pt x="1189" y="320"/>
                    <a:pt x="1192" y="314"/>
                    <a:pt x="1191" y="313"/>
                  </a:cubicBezTo>
                  <a:cubicBezTo>
                    <a:pt x="1189" y="313"/>
                    <a:pt x="1180" y="317"/>
                    <a:pt x="1183" y="312"/>
                  </a:cubicBezTo>
                  <a:cubicBezTo>
                    <a:pt x="1188" y="304"/>
                    <a:pt x="1193" y="297"/>
                    <a:pt x="1198" y="289"/>
                  </a:cubicBezTo>
                  <a:cubicBezTo>
                    <a:pt x="1201" y="286"/>
                    <a:pt x="1195" y="280"/>
                    <a:pt x="1197" y="278"/>
                  </a:cubicBezTo>
                  <a:cubicBezTo>
                    <a:pt x="1202" y="271"/>
                    <a:pt x="1214" y="272"/>
                    <a:pt x="1217" y="282"/>
                  </a:cubicBezTo>
                  <a:cubicBezTo>
                    <a:pt x="1217" y="284"/>
                    <a:pt x="1213" y="289"/>
                    <a:pt x="1216" y="289"/>
                  </a:cubicBezTo>
                  <a:cubicBezTo>
                    <a:pt x="1219" y="290"/>
                    <a:pt x="1224" y="286"/>
                    <a:pt x="1227" y="291"/>
                  </a:cubicBezTo>
                  <a:cubicBezTo>
                    <a:pt x="1230" y="297"/>
                    <a:pt x="1224" y="312"/>
                    <a:pt x="1228" y="313"/>
                  </a:cubicBezTo>
                  <a:cubicBezTo>
                    <a:pt x="1232" y="314"/>
                    <a:pt x="1230" y="294"/>
                    <a:pt x="1233" y="293"/>
                  </a:cubicBezTo>
                  <a:cubicBezTo>
                    <a:pt x="1237" y="293"/>
                    <a:pt x="1235" y="302"/>
                    <a:pt x="1237" y="304"/>
                  </a:cubicBezTo>
                  <a:cubicBezTo>
                    <a:pt x="1249" y="316"/>
                    <a:pt x="1242" y="301"/>
                    <a:pt x="1243" y="300"/>
                  </a:cubicBezTo>
                  <a:cubicBezTo>
                    <a:pt x="1249" y="297"/>
                    <a:pt x="1273" y="305"/>
                    <a:pt x="1273" y="305"/>
                  </a:cubicBezTo>
                  <a:cubicBezTo>
                    <a:pt x="1274" y="303"/>
                    <a:pt x="1271" y="302"/>
                    <a:pt x="1270" y="301"/>
                  </a:cubicBezTo>
                  <a:cubicBezTo>
                    <a:pt x="1268" y="299"/>
                    <a:pt x="1221" y="284"/>
                    <a:pt x="1223" y="277"/>
                  </a:cubicBezTo>
                  <a:cubicBezTo>
                    <a:pt x="1226" y="267"/>
                    <a:pt x="1255" y="260"/>
                    <a:pt x="1261" y="265"/>
                  </a:cubicBezTo>
                  <a:cubicBezTo>
                    <a:pt x="1264" y="267"/>
                    <a:pt x="1258" y="269"/>
                    <a:pt x="1259" y="271"/>
                  </a:cubicBezTo>
                  <a:cubicBezTo>
                    <a:pt x="1260" y="276"/>
                    <a:pt x="1276" y="289"/>
                    <a:pt x="1281" y="293"/>
                  </a:cubicBezTo>
                  <a:cubicBezTo>
                    <a:pt x="1287" y="297"/>
                    <a:pt x="1301" y="292"/>
                    <a:pt x="1306" y="299"/>
                  </a:cubicBezTo>
                  <a:cubicBezTo>
                    <a:pt x="1311" y="310"/>
                    <a:pt x="1284" y="304"/>
                    <a:pt x="1287" y="310"/>
                  </a:cubicBezTo>
                  <a:cubicBezTo>
                    <a:pt x="1287" y="311"/>
                    <a:pt x="1287" y="311"/>
                    <a:pt x="1287" y="311"/>
                  </a:cubicBezTo>
                  <a:cubicBezTo>
                    <a:pt x="1289" y="311"/>
                    <a:pt x="1290" y="311"/>
                    <a:pt x="1291" y="310"/>
                  </a:cubicBezTo>
                  <a:cubicBezTo>
                    <a:pt x="1294" y="308"/>
                    <a:pt x="1309" y="321"/>
                    <a:pt x="1317" y="316"/>
                  </a:cubicBezTo>
                  <a:cubicBezTo>
                    <a:pt x="1319" y="314"/>
                    <a:pt x="1313" y="311"/>
                    <a:pt x="1312" y="310"/>
                  </a:cubicBezTo>
                  <a:cubicBezTo>
                    <a:pt x="1309" y="305"/>
                    <a:pt x="1314" y="300"/>
                    <a:pt x="1309" y="295"/>
                  </a:cubicBezTo>
                  <a:cubicBezTo>
                    <a:pt x="1299" y="284"/>
                    <a:pt x="1279" y="295"/>
                    <a:pt x="1272" y="278"/>
                  </a:cubicBezTo>
                  <a:cubicBezTo>
                    <a:pt x="1268" y="269"/>
                    <a:pt x="1286" y="262"/>
                    <a:pt x="1292" y="267"/>
                  </a:cubicBezTo>
                  <a:cubicBezTo>
                    <a:pt x="1292" y="267"/>
                    <a:pt x="1296" y="270"/>
                    <a:pt x="1295" y="267"/>
                  </a:cubicBezTo>
                  <a:cubicBezTo>
                    <a:pt x="1291" y="250"/>
                    <a:pt x="1271" y="275"/>
                    <a:pt x="1267" y="259"/>
                  </a:cubicBezTo>
                  <a:cubicBezTo>
                    <a:pt x="1262" y="238"/>
                    <a:pt x="1326" y="213"/>
                    <a:pt x="1341" y="222"/>
                  </a:cubicBezTo>
                  <a:cubicBezTo>
                    <a:pt x="1343" y="223"/>
                    <a:pt x="1341" y="226"/>
                    <a:pt x="1340" y="227"/>
                  </a:cubicBezTo>
                  <a:cubicBezTo>
                    <a:pt x="1332" y="233"/>
                    <a:pt x="1331" y="266"/>
                    <a:pt x="1330" y="277"/>
                  </a:cubicBezTo>
                  <a:cubicBezTo>
                    <a:pt x="1330" y="278"/>
                    <a:pt x="1317" y="287"/>
                    <a:pt x="1320" y="288"/>
                  </a:cubicBezTo>
                  <a:cubicBezTo>
                    <a:pt x="1338" y="296"/>
                    <a:pt x="1335" y="257"/>
                    <a:pt x="1338" y="254"/>
                  </a:cubicBezTo>
                  <a:cubicBezTo>
                    <a:pt x="1342" y="251"/>
                    <a:pt x="1366" y="257"/>
                    <a:pt x="1372" y="258"/>
                  </a:cubicBezTo>
                  <a:cubicBezTo>
                    <a:pt x="1376" y="259"/>
                    <a:pt x="1364" y="255"/>
                    <a:pt x="1360" y="253"/>
                  </a:cubicBezTo>
                  <a:cubicBezTo>
                    <a:pt x="1352" y="251"/>
                    <a:pt x="1342" y="247"/>
                    <a:pt x="1346" y="237"/>
                  </a:cubicBezTo>
                  <a:cubicBezTo>
                    <a:pt x="1346" y="236"/>
                    <a:pt x="1358" y="215"/>
                    <a:pt x="1361" y="217"/>
                  </a:cubicBezTo>
                  <a:cubicBezTo>
                    <a:pt x="1364" y="219"/>
                    <a:pt x="1359" y="231"/>
                    <a:pt x="1362" y="229"/>
                  </a:cubicBezTo>
                  <a:cubicBezTo>
                    <a:pt x="1367" y="224"/>
                    <a:pt x="1371" y="203"/>
                    <a:pt x="1375" y="201"/>
                  </a:cubicBezTo>
                  <a:cubicBezTo>
                    <a:pt x="1377" y="201"/>
                    <a:pt x="1375" y="215"/>
                    <a:pt x="1380" y="215"/>
                  </a:cubicBezTo>
                  <a:cubicBezTo>
                    <a:pt x="1387" y="215"/>
                    <a:pt x="1381" y="193"/>
                    <a:pt x="1388" y="196"/>
                  </a:cubicBezTo>
                  <a:cubicBezTo>
                    <a:pt x="1400" y="201"/>
                    <a:pt x="1396" y="260"/>
                    <a:pt x="1387" y="265"/>
                  </a:cubicBezTo>
                  <a:cubicBezTo>
                    <a:pt x="1382" y="269"/>
                    <a:pt x="1389" y="275"/>
                    <a:pt x="1384" y="279"/>
                  </a:cubicBezTo>
                  <a:cubicBezTo>
                    <a:pt x="1378" y="284"/>
                    <a:pt x="1362" y="295"/>
                    <a:pt x="1362" y="299"/>
                  </a:cubicBezTo>
                  <a:cubicBezTo>
                    <a:pt x="1361" y="302"/>
                    <a:pt x="1351" y="306"/>
                    <a:pt x="1354" y="309"/>
                  </a:cubicBezTo>
                  <a:cubicBezTo>
                    <a:pt x="1358" y="313"/>
                    <a:pt x="1363" y="303"/>
                    <a:pt x="1365" y="302"/>
                  </a:cubicBezTo>
                  <a:cubicBezTo>
                    <a:pt x="1369" y="298"/>
                    <a:pt x="1385" y="292"/>
                    <a:pt x="1387" y="289"/>
                  </a:cubicBezTo>
                  <a:cubicBezTo>
                    <a:pt x="1391" y="283"/>
                    <a:pt x="1400" y="270"/>
                    <a:pt x="1401" y="264"/>
                  </a:cubicBezTo>
                  <a:cubicBezTo>
                    <a:pt x="1402" y="263"/>
                    <a:pt x="1403" y="259"/>
                    <a:pt x="1403" y="259"/>
                  </a:cubicBezTo>
                  <a:cubicBezTo>
                    <a:pt x="1407" y="257"/>
                    <a:pt x="1433" y="278"/>
                    <a:pt x="1437" y="273"/>
                  </a:cubicBezTo>
                  <a:cubicBezTo>
                    <a:pt x="1438" y="272"/>
                    <a:pt x="1405" y="253"/>
                    <a:pt x="1404" y="250"/>
                  </a:cubicBezTo>
                  <a:cubicBezTo>
                    <a:pt x="1404" y="246"/>
                    <a:pt x="1410" y="243"/>
                    <a:pt x="1410" y="239"/>
                  </a:cubicBezTo>
                  <a:cubicBezTo>
                    <a:pt x="1410" y="235"/>
                    <a:pt x="1403" y="233"/>
                    <a:pt x="1404" y="230"/>
                  </a:cubicBezTo>
                  <a:cubicBezTo>
                    <a:pt x="1405" y="228"/>
                    <a:pt x="1410" y="230"/>
                    <a:pt x="1412" y="229"/>
                  </a:cubicBezTo>
                  <a:cubicBezTo>
                    <a:pt x="1439" y="222"/>
                    <a:pt x="1430" y="208"/>
                    <a:pt x="1456" y="200"/>
                  </a:cubicBezTo>
                  <a:cubicBezTo>
                    <a:pt x="1462" y="197"/>
                    <a:pt x="1454" y="204"/>
                    <a:pt x="1452" y="204"/>
                  </a:cubicBezTo>
                  <a:cubicBezTo>
                    <a:pt x="1441" y="210"/>
                    <a:pt x="1441" y="222"/>
                    <a:pt x="1450" y="226"/>
                  </a:cubicBezTo>
                  <a:cubicBezTo>
                    <a:pt x="1455" y="227"/>
                    <a:pt x="1450" y="214"/>
                    <a:pt x="1459" y="212"/>
                  </a:cubicBezTo>
                  <a:cubicBezTo>
                    <a:pt x="1473" y="209"/>
                    <a:pt x="1460" y="222"/>
                    <a:pt x="1463" y="222"/>
                  </a:cubicBezTo>
                  <a:cubicBezTo>
                    <a:pt x="1471" y="223"/>
                    <a:pt x="1469" y="213"/>
                    <a:pt x="1469" y="209"/>
                  </a:cubicBezTo>
                  <a:cubicBezTo>
                    <a:pt x="1470" y="204"/>
                    <a:pt x="1480" y="209"/>
                    <a:pt x="1480" y="206"/>
                  </a:cubicBezTo>
                  <a:cubicBezTo>
                    <a:pt x="1480" y="203"/>
                    <a:pt x="1459" y="196"/>
                    <a:pt x="1478" y="188"/>
                  </a:cubicBezTo>
                  <a:cubicBezTo>
                    <a:pt x="1478" y="188"/>
                    <a:pt x="1479" y="187"/>
                    <a:pt x="1479" y="187"/>
                  </a:cubicBezTo>
                  <a:cubicBezTo>
                    <a:pt x="1495" y="183"/>
                    <a:pt x="1538" y="235"/>
                    <a:pt x="1546" y="234"/>
                  </a:cubicBezTo>
                  <a:cubicBezTo>
                    <a:pt x="1552" y="233"/>
                    <a:pt x="1544" y="223"/>
                    <a:pt x="1541" y="221"/>
                  </a:cubicBezTo>
                  <a:cubicBezTo>
                    <a:pt x="1525" y="211"/>
                    <a:pt x="1545" y="222"/>
                    <a:pt x="1541" y="214"/>
                  </a:cubicBezTo>
                  <a:cubicBezTo>
                    <a:pt x="1539" y="209"/>
                    <a:pt x="1532" y="210"/>
                    <a:pt x="1531" y="201"/>
                  </a:cubicBezTo>
                  <a:cubicBezTo>
                    <a:pt x="1531" y="199"/>
                    <a:pt x="1534" y="199"/>
                    <a:pt x="1533" y="197"/>
                  </a:cubicBezTo>
                  <a:cubicBezTo>
                    <a:pt x="1526" y="186"/>
                    <a:pt x="1553" y="209"/>
                    <a:pt x="1545" y="191"/>
                  </a:cubicBezTo>
                  <a:cubicBezTo>
                    <a:pt x="1544" y="189"/>
                    <a:pt x="1552" y="188"/>
                    <a:pt x="1550" y="186"/>
                  </a:cubicBezTo>
                  <a:cubicBezTo>
                    <a:pt x="1547" y="183"/>
                    <a:pt x="1523" y="195"/>
                    <a:pt x="1522" y="186"/>
                  </a:cubicBezTo>
                  <a:cubicBezTo>
                    <a:pt x="1521" y="182"/>
                    <a:pt x="1541" y="182"/>
                    <a:pt x="1544" y="179"/>
                  </a:cubicBezTo>
                  <a:cubicBezTo>
                    <a:pt x="1544" y="178"/>
                    <a:pt x="1550" y="174"/>
                    <a:pt x="1548" y="173"/>
                  </a:cubicBezTo>
                  <a:cubicBezTo>
                    <a:pt x="1541" y="170"/>
                    <a:pt x="1523" y="184"/>
                    <a:pt x="1514" y="182"/>
                  </a:cubicBezTo>
                  <a:cubicBezTo>
                    <a:pt x="1510" y="181"/>
                    <a:pt x="1492" y="175"/>
                    <a:pt x="1491" y="172"/>
                  </a:cubicBezTo>
                  <a:cubicBezTo>
                    <a:pt x="1491" y="169"/>
                    <a:pt x="1497" y="164"/>
                    <a:pt x="1494" y="163"/>
                  </a:cubicBezTo>
                  <a:cubicBezTo>
                    <a:pt x="1487" y="161"/>
                    <a:pt x="1472" y="168"/>
                    <a:pt x="1469" y="158"/>
                  </a:cubicBezTo>
                  <a:cubicBezTo>
                    <a:pt x="1468" y="156"/>
                    <a:pt x="1487" y="146"/>
                    <a:pt x="1490" y="148"/>
                  </a:cubicBezTo>
                  <a:cubicBezTo>
                    <a:pt x="1491" y="149"/>
                    <a:pt x="1489" y="151"/>
                    <a:pt x="1490" y="152"/>
                  </a:cubicBezTo>
                  <a:cubicBezTo>
                    <a:pt x="1493" y="168"/>
                    <a:pt x="1495" y="138"/>
                    <a:pt x="1502" y="140"/>
                  </a:cubicBezTo>
                  <a:cubicBezTo>
                    <a:pt x="1508" y="141"/>
                    <a:pt x="1521" y="166"/>
                    <a:pt x="1528" y="168"/>
                  </a:cubicBezTo>
                  <a:cubicBezTo>
                    <a:pt x="1529" y="168"/>
                    <a:pt x="1528" y="159"/>
                    <a:pt x="1528" y="159"/>
                  </a:cubicBezTo>
                  <a:cubicBezTo>
                    <a:pt x="1532" y="156"/>
                    <a:pt x="1522" y="157"/>
                    <a:pt x="1522" y="151"/>
                  </a:cubicBezTo>
                  <a:cubicBezTo>
                    <a:pt x="1523" y="148"/>
                    <a:pt x="1534" y="142"/>
                    <a:pt x="1538" y="140"/>
                  </a:cubicBezTo>
                  <a:cubicBezTo>
                    <a:pt x="1538" y="140"/>
                    <a:pt x="1540" y="139"/>
                    <a:pt x="1540" y="139"/>
                  </a:cubicBezTo>
                  <a:cubicBezTo>
                    <a:pt x="1542" y="140"/>
                    <a:pt x="1543" y="141"/>
                    <a:pt x="1541" y="142"/>
                  </a:cubicBezTo>
                  <a:cubicBezTo>
                    <a:pt x="1533" y="150"/>
                    <a:pt x="1544" y="143"/>
                    <a:pt x="1547" y="142"/>
                  </a:cubicBezTo>
                  <a:cubicBezTo>
                    <a:pt x="1553" y="141"/>
                    <a:pt x="1545" y="153"/>
                    <a:pt x="1551" y="153"/>
                  </a:cubicBezTo>
                  <a:cubicBezTo>
                    <a:pt x="1551" y="154"/>
                    <a:pt x="1564" y="132"/>
                    <a:pt x="1568" y="147"/>
                  </a:cubicBezTo>
                  <a:cubicBezTo>
                    <a:pt x="1569" y="150"/>
                    <a:pt x="1564" y="152"/>
                    <a:pt x="1563" y="154"/>
                  </a:cubicBezTo>
                  <a:cubicBezTo>
                    <a:pt x="1561" y="157"/>
                    <a:pt x="1569" y="164"/>
                    <a:pt x="1563" y="167"/>
                  </a:cubicBezTo>
                  <a:cubicBezTo>
                    <a:pt x="1563" y="167"/>
                    <a:pt x="1560" y="168"/>
                    <a:pt x="1561" y="169"/>
                  </a:cubicBezTo>
                  <a:cubicBezTo>
                    <a:pt x="1563" y="171"/>
                    <a:pt x="1573" y="169"/>
                    <a:pt x="1577" y="169"/>
                  </a:cubicBezTo>
                  <a:cubicBezTo>
                    <a:pt x="1580" y="170"/>
                    <a:pt x="1588" y="176"/>
                    <a:pt x="1589" y="171"/>
                  </a:cubicBezTo>
                  <a:cubicBezTo>
                    <a:pt x="1590" y="168"/>
                    <a:pt x="1556" y="166"/>
                    <a:pt x="1573" y="151"/>
                  </a:cubicBezTo>
                  <a:cubicBezTo>
                    <a:pt x="1573" y="151"/>
                    <a:pt x="1574" y="150"/>
                    <a:pt x="1574" y="150"/>
                  </a:cubicBezTo>
                  <a:cubicBezTo>
                    <a:pt x="1583" y="146"/>
                    <a:pt x="1591" y="157"/>
                    <a:pt x="1595" y="157"/>
                  </a:cubicBezTo>
                  <a:cubicBezTo>
                    <a:pt x="1598" y="156"/>
                    <a:pt x="1627" y="155"/>
                    <a:pt x="1627" y="160"/>
                  </a:cubicBezTo>
                  <a:cubicBezTo>
                    <a:pt x="1627" y="177"/>
                    <a:pt x="1565" y="178"/>
                    <a:pt x="1565" y="185"/>
                  </a:cubicBezTo>
                  <a:cubicBezTo>
                    <a:pt x="1565" y="185"/>
                    <a:pt x="1579" y="182"/>
                    <a:pt x="1581" y="182"/>
                  </a:cubicBezTo>
                  <a:cubicBezTo>
                    <a:pt x="1594" y="180"/>
                    <a:pt x="1613" y="180"/>
                    <a:pt x="1623" y="172"/>
                  </a:cubicBezTo>
                  <a:cubicBezTo>
                    <a:pt x="1625" y="171"/>
                    <a:pt x="1627" y="169"/>
                    <a:pt x="1629" y="169"/>
                  </a:cubicBezTo>
                  <a:cubicBezTo>
                    <a:pt x="1630" y="169"/>
                    <a:pt x="1630" y="169"/>
                    <a:pt x="1630" y="170"/>
                  </a:cubicBezTo>
                  <a:cubicBezTo>
                    <a:pt x="1631" y="172"/>
                    <a:pt x="1629" y="181"/>
                    <a:pt x="1630" y="186"/>
                  </a:cubicBezTo>
                  <a:cubicBezTo>
                    <a:pt x="1631" y="188"/>
                    <a:pt x="1644" y="184"/>
                    <a:pt x="1642" y="196"/>
                  </a:cubicBezTo>
                  <a:cubicBezTo>
                    <a:pt x="1642" y="197"/>
                    <a:pt x="1637" y="199"/>
                    <a:pt x="1638" y="200"/>
                  </a:cubicBezTo>
                  <a:cubicBezTo>
                    <a:pt x="1642" y="200"/>
                    <a:pt x="1652" y="190"/>
                    <a:pt x="1657" y="192"/>
                  </a:cubicBezTo>
                  <a:cubicBezTo>
                    <a:pt x="1661" y="193"/>
                    <a:pt x="1657" y="200"/>
                    <a:pt x="1657" y="200"/>
                  </a:cubicBezTo>
                  <a:cubicBezTo>
                    <a:pt x="1659" y="200"/>
                    <a:pt x="1662" y="197"/>
                    <a:pt x="1664" y="196"/>
                  </a:cubicBezTo>
                  <a:cubicBezTo>
                    <a:pt x="1696" y="186"/>
                    <a:pt x="1647" y="189"/>
                    <a:pt x="1644" y="177"/>
                  </a:cubicBezTo>
                  <a:cubicBezTo>
                    <a:pt x="1644" y="173"/>
                    <a:pt x="1668" y="176"/>
                    <a:pt x="1665" y="169"/>
                  </a:cubicBezTo>
                  <a:cubicBezTo>
                    <a:pt x="1664" y="167"/>
                    <a:pt x="1656" y="168"/>
                    <a:pt x="1656" y="165"/>
                  </a:cubicBezTo>
                  <a:cubicBezTo>
                    <a:pt x="1656" y="164"/>
                    <a:pt x="1671" y="161"/>
                    <a:pt x="1665" y="160"/>
                  </a:cubicBezTo>
                  <a:cubicBezTo>
                    <a:pt x="1663" y="160"/>
                    <a:pt x="1648" y="159"/>
                    <a:pt x="1650" y="157"/>
                  </a:cubicBezTo>
                  <a:cubicBezTo>
                    <a:pt x="1653" y="153"/>
                    <a:pt x="1676" y="155"/>
                    <a:pt x="1676" y="152"/>
                  </a:cubicBezTo>
                  <a:cubicBezTo>
                    <a:pt x="1676" y="149"/>
                    <a:pt x="1655" y="152"/>
                    <a:pt x="1656" y="150"/>
                  </a:cubicBezTo>
                  <a:cubicBezTo>
                    <a:pt x="1658" y="145"/>
                    <a:pt x="1684" y="145"/>
                    <a:pt x="1683" y="143"/>
                  </a:cubicBezTo>
                  <a:cubicBezTo>
                    <a:pt x="1683" y="142"/>
                    <a:pt x="1670" y="141"/>
                    <a:pt x="1670" y="141"/>
                  </a:cubicBezTo>
                  <a:cubicBezTo>
                    <a:pt x="1667" y="137"/>
                    <a:pt x="1705" y="113"/>
                    <a:pt x="1709" y="112"/>
                  </a:cubicBezTo>
                  <a:cubicBezTo>
                    <a:pt x="1717" y="110"/>
                    <a:pt x="1748" y="119"/>
                    <a:pt x="1750" y="118"/>
                  </a:cubicBezTo>
                  <a:cubicBezTo>
                    <a:pt x="1757" y="113"/>
                    <a:pt x="1727" y="113"/>
                    <a:pt x="1727" y="104"/>
                  </a:cubicBezTo>
                  <a:cubicBezTo>
                    <a:pt x="1727" y="100"/>
                    <a:pt x="1739" y="97"/>
                    <a:pt x="1741" y="94"/>
                  </a:cubicBezTo>
                  <a:cubicBezTo>
                    <a:pt x="1745" y="91"/>
                    <a:pt x="1741" y="80"/>
                    <a:pt x="1750" y="80"/>
                  </a:cubicBezTo>
                  <a:cubicBezTo>
                    <a:pt x="1751" y="80"/>
                    <a:pt x="1762" y="82"/>
                    <a:pt x="1763" y="84"/>
                  </a:cubicBezTo>
                  <a:cubicBezTo>
                    <a:pt x="1765" y="86"/>
                    <a:pt x="1787" y="99"/>
                    <a:pt x="1784" y="87"/>
                  </a:cubicBezTo>
                  <a:cubicBezTo>
                    <a:pt x="1780" y="75"/>
                    <a:pt x="1762" y="71"/>
                    <a:pt x="1750" y="68"/>
                  </a:cubicBezTo>
                  <a:cubicBezTo>
                    <a:pt x="1748" y="68"/>
                    <a:pt x="1739" y="69"/>
                    <a:pt x="1740" y="66"/>
                  </a:cubicBezTo>
                  <a:cubicBezTo>
                    <a:pt x="1745" y="34"/>
                    <a:pt x="1762" y="71"/>
                    <a:pt x="1775" y="66"/>
                  </a:cubicBezTo>
                  <a:cubicBezTo>
                    <a:pt x="1777" y="65"/>
                    <a:pt x="1773" y="55"/>
                    <a:pt x="1772" y="54"/>
                  </a:cubicBezTo>
                  <a:cubicBezTo>
                    <a:pt x="1771" y="51"/>
                    <a:pt x="1786" y="53"/>
                    <a:pt x="1781" y="50"/>
                  </a:cubicBezTo>
                  <a:cubicBezTo>
                    <a:pt x="1780" y="50"/>
                    <a:pt x="1772" y="47"/>
                    <a:pt x="1772" y="46"/>
                  </a:cubicBezTo>
                  <a:cubicBezTo>
                    <a:pt x="1773" y="45"/>
                    <a:pt x="1767" y="40"/>
                    <a:pt x="1771" y="39"/>
                  </a:cubicBezTo>
                  <a:cubicBezTo>
                    <a:pt x="1781" y="37"/>
                    <a:pt x="1771" y="34"/>
                    <a:pt x="1772" y="34"/>
                  </a:cubicBezTo>
                  <a:cubicBezTo>
                    <a:pt x="1786" y="27"/>
                    <a:pt x="1793" y="46"/>
                    <a:pt x="1793" y="46"/>
                  </a:cubicBezTo>
                  <a:cubicBezTo>
                    <a:pt x="1804" y="47"/>
                    <a:pt x="1808" y="29"/>
                    <a:pt x="1813" y="38"/>
                  </a:cubicBezTo>
                  <a:cubicBezTo>
                    <a:pt x="1817" y="43"/>
                    <a:pt x="1794" y="50"/>
                    <a:pt x="1800" y="52"/>
                  </a:cubicBezTo>
                  <a:cubicBezTo>
                    <a:pt x="1809" y="54"/>
                    <a:pt x="1821" y="43"/>
                    <a:pt x="1821" y="43"/>
                  </a:cubicBezTo>
                  <a:cubicBezTo>
                    <a:pt x="1825" y="46"/>
                    <a:pt x="1832" y="55"/>
                    <a:pt x="1830" y="61"/>
                  </a:cubicBezTo>
                  <a:cubicBezTo>
                    <a:pt x="1830" y="61"/>
                    <a:pt x="1828" y="64"/>
                    <a:pt x="1830" y="64"/>
                  </a:cubicBezTo>
                  <a:cubicBezTo>
                    <a:pt x="1849" y="64"/>
                    <a:pt x="1836" y="35"/>
                    <a:pt x="1839" y="35"/>
                  </a:cubicBezTo>
                  <a:cubicBezTo>
                    <a:pt x="1840" y="34"/>
                    <a:pt x="1842" y="35"/>
                    <a:pt x="1843" y="35"/>
                  </a:cubicBezTo>
                  <a:cubicBezTo>
                    <a:pt x="1862" y="44"/>
                    <a:pt x="1844" y="53"/>
                    <a:pt x="1847" y="55"/>
                  </a:cubicBezTo>
                  <a:cubicBezTo>
                    <a:pt x="1847" y="55"/>
                    <a:pt x="1847" y="56"/>
                    <a:pt x="1848" y="56"/>
                  </a:cubicBezTo>
                  <a:cubicBezTo>
                    <a:pt x="1850" y="57"/>
                    <a:pt x="1851" y="53"/>
                    <a:pt x="1852" y="52"/>
                  </a:cubicBezTo>
                  <a:cubicBezTo>
                    <a:pt x="1855" y="49"/>
                    <a:pt x="1866" y="47"/>
                    <a:pt x="1870" y="48"/>
                  </a:cubicBezTo>
                  <a:cubicBezTo>
                    <a:pt x="1871" y="48"/>
                    <a:pt x="1875" y="56"/>
                    <a:pt x="1877" y="52"/>
                  </a:cubicBezTo>
                  <a:cubicBezTo>
                    <a:pt x="1878" y="49"/>
                    <a:pt x="1886" y="44"/>
                    <a:pt x="1888" y="48"/>
                  </a:cubicBezTo>
                  <a:cubicBezTo>
                    <a:pt x="1891" y="54"/>
                    <a:pt x="1837" y="95"/>
                    <a:pt x="1822" y="104"/>
                  </a:cubicBezTo>
                  <a:cubicBezTo>
                    <a:pt x="1821" y="105"/>
                    <a:pt x="1815" y="108"/>
                    <a:pt x="1815" y="109"/>
                  </a:cubicBezTo>
                  <a:cubicBezTo>
                    <a:pt x="1816" y="112"/>
                    <a:pt x="1830" y="103"/>
                    <a:pt x="1833" y="109"/>
                  </a:cubicBezTo>
                  <a:cubicBezTo>
                    <a:pt x="1835" y="116"/>
                    <a:pt x="1813" y="112"/>
                    <a:pt x="1814" y="115"/>
                  </a:cubicBezTo>
                  <a:cubicBezTo>
                    <a:pt x="1815" y="121"/>
                    <a:pt x="1831" y="114"/>
                    <a:pt x="1832" y="118"/>
                  </a:cubicBezTo>
                  <a:cubicBezTo>
                    <a:pt x="1838" y="133"/>
                    <a:pt x="1814" y="124"/>
                    <a:pt x="1815" y="134"/>
                  </a:cubicBezTo>
                  <a:cubicBezTo>
                    <a:pt x="1815" y="138"/>
                    <a:pt x="1831" y="140"/>
                    <a:pt x="1821" y="144"/>
                  </a:cubicBezTo>
                  <a:cubicBezTo>
                    <a:pt x="1812" y="147"/>
                    <a:pt x="1790" y="176"/>
                    <a:pt x="1807" y="181"/>
                  </a:cubicBezTo>
                  <a:cubicBezTo>
                    <a:pt x="1810" y="182"/>
                    <a:pt x="1812" y="181"/>
                    <a:pt x="1811" y="178"/>
                  </a:cubicBezTo>
                  <a:cubicBezTo>
                    <a:pt x="1806" y="165"/>
                    <a:pt x="1813" y="170"/>
                    <a:pt x="1818" y="170"/>
                  </a:cubicBezTo>
                  <a:cubicBezTo>
                    <a:pt x="1821" y="170"/>
                    <a:pt x="1814" y="177"/>
                    <a:pt x="1816" y="178"/>
                  </a:cubicBezTo>
                  <a:cubicBezTo>
                    <a:pt x="1824" y="184"/>
                    <a:pt x="1847" y="154"/>
                    <a:pt x="1853" y="149"/>
                  </a:cubicBezTo>
                  <a:cubicBezTo>
                    <a:pt x="1862" y="139"/>
                    <a:pt x="1840" y="144"/>
                    <a:pt x="1847" y="135"/>
                  </a:cubicBezTo>
                  <a:cubicBezTo>
                    <a:pt x="1865" y="114"/>
                    <a:pt x="1894" y="93"/>
                    <a:pt x="1908" y="76"/>
                  </a:cubicBezTo>
                  <a:cubicBezTo>
                    <a:pt x="1908" y="76"/>
                    <a:pt x="1909" y="75"/>
                    <a:pt x="1909" y="74"/>
                  </a:cubicBezTo>
                  <a:cubicBezTo>
                    <a:pt x="1913" y="66"/>
                    <a:pt x="1921" y="63"/>
                    <a:pt x="1926" y="56"/>
                  </a:cubicBezTo>
                  <a:cubicBezTo>
                    <a:pt x="1928" y="53"/>
                    <a:pt x="1955" y="31"/>
                    <a:pt x="1958" y="37"/>
                  </a:cubicBezTo>
                  <a:cubicBezTo>
                    <a:pt x="1960" y="42"/>
                    <a:pt x="1961" y="71"/>
                    <a:pt x="1954" y="77"/>
                  </a:cubicBezTo>
                  <a:cubicBezTo>
                    <a:pt x="1951" y="80"/>
                    <a:pt x="1926" y="83"/>
                    <a:pt x="1927" y="88"/>
                  </a:cubicBezTo>
                  <a:cubicBezTo>
                    <a:pt x="1927" y="90"/>
                    <a:pt x="1935" y="87"/>
                    <a:pt x="1936" y="86"/>
                  </a:cubicBezTo>
                  <a:cubicBezTo>
                    <a:pt x="1940" y="85"/>
                    <a:pt x="1952" y="84"/>
                    <a:pt x="1954" y="88"/>
                  </a:cubicBezTo>
                  <a:cubicBezTo>
                    <a:pt x="1961" y="100"/>
                    <a:pt x="1936" y="119"/>
                    <a:pt x="1941" y="133"/>
                  </a:cubicBezTo>
                  <a:cubicBezTo>
                    <a:pt x="1944" y="140"/>
                    <a:pt x="1964" y="117"/>
                    <a:pt x="1967" y="114"/>
                  </a:cubicBezTo>
                  <a:cubicBezTo>
                    <a:pt x="1971" y="112"/>
                    <a:pt x="1993" y="121"/>
                    <a:pt x="1994" y="116"/>
                  </a:cubicBezTo>
                  <a:cubicBezTo>
                    <a:pt x="1995" y="112"/>
                    <a:pt x="1979" y="107"/>
                    <a:pt x="1983" y="100"/>
                  </a:cubicBezTo>
                  <a:cubicBezTo>
                    <a:pt x="1988" y="91"/>
                    <a:pt x="1993" y="95"/>
                    <a:pt x="2001" y="96"/>
                  </a:cubicBezTo>
                  <a:cubicBezTo>
                    <a:pt x="2002" y="96"/>
                    <a:pt x="2010" y="98"/>
                    <a:pt x="2009" y="97"/>
                  </a:cubicBezTo>
                  <a:cubicBezTo>
                    <a:pt x="2008" y="94"/>
                    <a:pt x="1993" y="90"/>
                    <a:pt x="1994" y="88"/>
                  </a:cubicBezTo>
                  <a:cubicBezTo>
                    <a:pt x="1996" y="79"/>
                    <a:pt x="1993" y="78"/>
                    <a:pt x="1997" y="72"/>
                  </a:cubicBezTo>
                  <a:cubicBezTo>
                    <a:pt x="2000" y="68"/>
                    <a:pt x="2012" y="74"/>
                    <a:pt x="2014" y="73"/>
                  </a:cubicBezTo>
                  <a:cubicBezTo>
                    <a:pt x="2017" y="70"/>
                    <a:pt x="2007" y="66"/>
                    <a:pt x="2013" y="59"/>
                  </a:cubicBezTo>
                  <a:cubicBezTo>
                    <a:pt x="2015" y="56"/>
                    <a:pt x="2029" y="61"/>
                    <a:pt x="2033" y="61"/>
                  </a:cubicBezTo>
                  <a:cubicBezTo>
                    <a:pt x="2036" y="61"/>
                    <a:pt x="2044" y="63"/>
                    <a:pt x="2041" y="62"/>
                  </a:cubicBezTo>
                  <a:cubicBezTo>
                    <a:pt x="2027" y="59"/>
                    <a:pt x="2027" y="52"/>
                    <a:pt x="2022" y="44"/>
                  </a:cubicBezTo>
                  <a:cubicBezTo>
                    <a:pt x="2021" y="43"/>
                    <a:pt x="2017" y="48"/>
                    <a:pt x="2016" y="49"/>
                  </a:cubicBezTo>
                  <a:cubicBezTo>
                    <a:pt x="2011" y="49"/>
                    <a:pt x="1998" y="49"/>
                    <a:pt x="1996" y="43"/>
                  </a:cubicBezTo>
                  <a:cubicBezTo>
                    <a:pt x="1991" y="28"/>
                    <a:pt x="2014" y="43"/>
                    <a:pt x="2016" y="40"/>
                  </a:cubicBezTo>
                  <a:cubicBezTo>
                    <a:pt x="2019" y="36"/>
                    <a:pt x="2004" y="31"/>
                    <a:pt x="2005" y="28"/>
                  </a:cubicBezTo>
                  <a:cubicBezTo>
                    <a:pt x="2006" y="12"/>
                    <a:pt x="2033" y="39"/>
                    <a:pt x="2035" y="38"/>
                  </a:cubicBezTo>
                  <a:cubicBezTo>
                    <a:pt x="2042" y="33"/>
                    <a:pt x="2021" y="19"/>
                    <a:pt x="2044" y="10"/>
                  </a:cubicBezTo>
                  <a:cubicBezTo>
                    <a:pt x="2047" y="8"/>
                    <a:pt x="2046" y="17"/>
                    <a:pt x="2047" y="20"/>
                  </a:cubicBezTo>
                  <a:cubicBezTo>
                    <a:pt x="2048" y="21"/>
                    <a:pt x="2061" y="24"/>
                    <a:pt x="2063" y="24"/>
                  </a:cubicBezTo>
                  <a:cubicBezTo>
                    <a:pt x="2071" y="27"/>
                    <a:pt x="2093" y="14"/>
                    <a:pt x="2096" y="18"/>
                  </a:cubicBezTo>
                  <a:cubicBezTo>
                    <a:pt x="2102" y="24"/>
                    <a:pt x="2087" y="30"/>
                    <a:pt x="2093" y="34"/>
                  </a:cubicBezTo>
                  <a:cubicBezTo>
                    <a:pt x="2098" y="37"/>
                    <a:pt x="2115" y="22"/>
                    <a:pt x="2123" y="34"/>
                  </a:cubicBezTo>
                  <a:cubicBezTo>
                    <a:pt x="2130" y="43"/>
                    <a:pt x="2109" y="48"/>
                    <a:pt x="2107" y="49"/>
                  </a:cubicBezTo>
                  <a:cubicBezTo>
                    <a:pt x="2106" y="50"/>
                    <a:pt x="2117" y="50"/>
                    <a:pt x="2113" y="53"/>
                  </a:cubicBezTo>
                  <a:cubicBezTo>
                    <a:pt x="2109" y="56"/>
                    <a:pt x="2097" y="55"/>
                    <a:pt x="2095" y="58"/>
                  </a:cubicBezTo>
                  <a:cubicBezTo>
                    <a:pt x="2093" y="59"/>
                    <a:pt x="2106" y="60"/>
                    <a:pt x="2097" y="64"/>
                  </a:cubicBezTo>
                  <a:cubicBezTo>
                    <a:pt x="2090" y="68"/>
                    <a:pt x="2056" y="58"/>
                    <a:pt x="2053" y="65"/>
                  </a:cubicBezTo>
                  <a:cubicBezTo>
                    <a:pt x="2053" y="66"/>
                    <a:pt x="2061" y="66"/>
                    <a:pt x="2059" y="68"/>
                  </a:cubicBezTo>
                  <a:cubicBezTo>
                    <a:pt x="2052" y="75"/>
                    <a:pt x="2057" y="70"/>
                    <a:pt x="2063" y="68"/>
                  </a:cubicBezTo>
                  <a:cubicBezTo>
                    <a:pt x="2069" y="67"/>
                    <a:pt x="2074" y="71"/>
                    <a:pt x="2080" y="71"/>
                  </a:cubicBezTo>
                  <a:cubicBezTo>
                    <a:pt x="2081" y="71"/>
                    <a:pt x="2086" y="72"/>
                    <a:pt x="2086" y="73"/>
                  </a:cubicBezTo>
                  <a:cubicBezTo>
                    <a:pt x="2086" y="78"/>
                    <a:pt x="2055" y="90"/>
                    <a:pt x="2050" y="92"/>
                  </a:cubicBezTo>
                  <a:cubicBezTo>
                    <a:pt x="2050" y="92"/>
                    <a:pt x="2043" y="93"/>
                    <a:pt x="2043" y="94"/>
                  </a:cubicBezTo>
                  <a:cubicBezTo>
                    <a:pt x="2046" y="100"/>
                    <a:pt x="2090" y="79"/>
                    <a:pt x="2096" y="77"/>
                  </a:cubicBezTo>
                  <a:cubicBezTo>
                    <a:pt x="2097" y="77"/>
                    <a:pt x="2100" y="74"/>
                    <a:pt x="2101" y="76"/>
                  </a:cubicBezTo>
                  <a:cubicBezTo>
                    <a:pt x="2114" y="95"/>
                    <a:pt x="2061" y="105"/>
                    <a:pt x="2061" y="114"/>
                  </a:cubicBezTo>
                  <a:cubicBezTo>
                    <a:pt x="2061" y="115"/>
                    <a:pt x="2063" y="117"/>
                    <a:pt x="2064" y="118"/>
                  </a:cubicBezTo>
                  <a:cubicBezTo>
                    <a:pt x="2065" y="127"/>
                    <a:pt x="2072" y="104"/>
                    <a:pt x="2090" y="110"/>
                  </a:cubicBezTo>
                  <a:cubicBezTo>
                    <a:pt x="2091" y="110"/>
                    <a:pt x="2083" y="115"/>
                    <a:pt x="2081" y="116"/>
                  </a:cubicBezTo>
                  <a:cubicBezTo>
                    <a:pt x="2080" y="117"/>
                    <a:pt x="2082" y="120"/>
                    <a:pt x="2084" y="121"/>
                  </a:cubicBezTo>
                  <a:cubicBezTo>
                    <a:pt x="2088" y="123"/>
                    <a:pt x="2096" y="103"/>
                    <a:pt x="2104" y="109"/>
                  </a:cubicBezTo>
                  <a:cubicBezTo>
                    <a:pt x="2105" y="109"/>
                    <a:pt x="2089" y="129"/>
                    <a:pt x="2088" y="132"/>
                  </a:cubicBezTo>
                  <a:cubicBezTo>
                    <a:pt x="2086" y="142"/>
                    <a:pt x="2093" y="160"/>
                    <a:pt x="2089" y="170"/>
                  </a:cubicBezTo>
                  <a:cubicBezTo>
                    <a:pt x="2086" y="176"/>
                    <a:pt x="2078" y="177"/>
                    <a:pt x="2076" y="180"/>
                  </a:cubicBezTo>
                  <a:cubicBezTo>
                    <a:pt x="2075" y="181"/>
                    <a:pt x="2083" y="180"/>
                    <a:pt x="2084" y="180"/>
                  </a:cubicBezTo>
                  <a:cubicBezTo>
                    <a:pt x="2088" y="177"/>
                    <a:pt x="2094" y="169"/>
                    <a:pt x="2095" y="164"/>
                  </a:cubicBezTo>
                  <a:cubicBezTo>
                    <a:pt x="2099" y="150"/>
                    <a:pt x="2088" y="124"/>
                    <a:pt x="2107" y="115"/>
                  </a:cubicBezTo>
                  <a:cubicBezTo>
                    <a:pt x="2116" y="110"/>
                    <a:pt x="2118" y="121"/>
                    <a:pt x="2120" y="120"/>
                  </a:cubicBezTo>
                  <a:cubicBezTo>
                    <a:pt x="2122" y="118"/>
                    <a:pt x="2118" y="114"/>
                    <a:pt x="2121" y="112"/>
                  </a:cubicBezTo>
                  <a:cubicBezTo>
                    <a:pt x="2121" y="112"/>
                    <a:pt x="2125" y="110"/>
                    <a:pt x="2124" y="110"/>
                  </a:cubicBezTo>
                  <a:cubicBezTo>
                    <a:pt x="2121" y="107"/>
                    <a:pt x="2112" y="109"/>
                    <a:pt x="2110" y="104"/>
                  </a:cubicBezTo>
                  <a:cubicBezTo>
                    <a:pt x="2109" y="103"/>
                    <a:pt x="2111" y="101"/>
                    <a:pt x="2112" y="100"/>
                  </a:cubicBezTo>
                  <a:cubicBezTo>
                    <a:pt x="2114" y="96"/>
                    <a:pt x="2116" y="85"/>
                    <a:pt x="2120" y="82"/>
                  </a:cubicBezTo>
                  <a:cubicBezTo>
                    <a:pt x="2122" y="80"/>
                    <a:pt x="2128" y="85"/>
                    <a:pt x="2130" y="83"/>
                  </a:cubicBezTo>
                  <a:cubicBezTo>
                    <a:pt x="2132" y="81"/>
                    <a:pt x="2120" y="79"/>
                    <a:pt x="2121" y="75"/>
                  </a:cubicBezTo>
                  <a:cubicBezTo>
                    <a:pt x="2123" y="67"/>
                    <a:pt x="2141" y="53"/>
                    <a:pt x="2148" y="50"/>
                  </a:cubicBezTo>
                  <a:cubicBezTo>
                    <a:pt x="2149" y="49"/>
                    <a:pt x="2150" y="49"/>
                    <a:pt x="2151" y="49"/>
                  </a:cubicBezTo>
                  <a:cubicBezTo>
                    <a:pt x="2159" y="48"/>
                    <a:pt x="2196" y="57"/>
                    <a:pt x="2200" y="65"/>
                  </a:cubicBezTo>
                  <a:cubicBezTo>
                    <a:pt x="2200" y="66"/>
                    <a:pt x="2196" y="69"/>
                    <a:pt x="2195" y="69"/>
                  </a:cubicBezTo>
                  <a:cubicBezTo>
                    <a:pt x="2189" y="74"/>
                    <a:pt x="2191" y="74"/>
                    <a:pt x="2199" y="73"/>
                  </a:cubicBezTo>
                  <a:cubicBezTo>
                    <a:pt x="2206" y="72"/>
                    <a:pt x="2190" y="76"/>
                    <a:pt x="2193" y="77"/>
                  </a:cubicBezTo>
                  <a:cubicBezTo>
                    <a:pt x="2194" y="77"/>
                    <a:pt x="2197" y="77"/>
                    <a:pt x="2196" y="79"/>
                  </a:cubicBezTo>
                  <a:cubicBezTo>
                    <a:pt x="2196" y="80"/>
                    <a:pt x="2185" y="82"/>
                    <a:pt x="2189" y="86"/>
                  </a:cubicBezTo>
                  <a:cubicBezTo>
                    <a:pt x="2191" y="87"/>
                    <a:pt x="2227" y="68"/>
                    <a:pt x="2233" y="73"/>
                  </a:cubicBezTo>
                  <a:cubicBezTo>
                    <a:pt x="2240" y="80"/>
                    <a:pt x="2223" y="90"/>
                    <a:pt x="2224" y="92"/>
                  </a:cubicBezTo>
                  <a:cubicBezTo>
                    <a:pt x="2227" y="99"/>
                    <a:pt x="2250" y="77"/>
                    <a:pt x="2252" y="77"/>
                  </a:cubicBezTo>
                  <a:cubicBezTo>
                    <a:pt x="2259" y="76"/>
                    <a:pt x="2261" y="77"/>
                    <a:pt x="2266" y="80"/>
                  </a:cubicBezTo>
                  <a:cubicBezTo>
                    <a:pt x="2278" y="86"/>
                    <a:pt x="2260" y="86"/>
                    <a:pt x="2262" y="88"/>
                  </a:cubicBezTo>
                  <a:cubicBezTo>
                    <a:pt x="2263" y="89"/>
                    <a:pt x="2272" y="88"/>
                    <a:pt x="2274" y="90"/>
                  </a:cubicBezTo>
                  <a:cubicBezTo>
                    <a:pt x="2276" y="90"/>
                    <a:pt x="2284" y="93"/>
                    <a:pt x="2284" y="95"/>
                  </a:cubicBezTo>
                  <a:cubicBezTo>
                    <a:pt x="2283" y="102"/>
                    <a:pt x="2272" y="107"/>
                    <a:pt x="2265" y="106"/>
                  </a:cubicBezTo>
                  <a:cubicBezTo>
                    <a:pt x="2263" y="106"/>
                    <a:pt x="2253" y="104"/>
                    <a:pt x="2253" y="105"/>
                  </a:cubicBezTo>
                  <a:cubicBezTo>
                    <a:pt x="2263" y="117"/>
                    <a:pt x="2283" y="100"/>
                    <a:pt x="2294" y="101"/>
                  </a:cubicBezTo>
                  <a:cubicBezTo>
                    <a:pt x="2297" y="102"/>
                    <a:pt x="2304" y="103"/>
                    <a:pt x="2306" y="104"/>
                  </a:cubicBezTo>
                  <a:cubicBezTo>
                    <a:pt x="2307" y="105"/>
                    <a:pt x="2307" y="106"/>
                    <a:pt x="2306" y="107"/>
                  </a:cubicBezTo>
                  <a:cubicBezTo>
                    <a:pt x="2302" y="110"/>
                    <a:pt x="2304" y="110"/>
                    <a:pt x="2309" y="112"/>
                  </a:cubicBezTo>
                  <a:cubicBezTo>
                    <a:pt x="2315" y="114"/>
                    <a:pt x="2320" y="124"/>
                    <a:pt x="2325" y="125"/>
                  </a:cubicBezTo>
                  <a:cubicBezTo>
                    <a:pt x="2326" y="125"/>
                    <a:pt x="2349" y="114"/>
                    <a:pt x="2348" y="133"/>
                  </a:cubicBezTo>
                  <a:cubicBezTo>
                    <a:pt x="2346" y="165"/>
                    <a:pt x="2320" y="138"/>
                    <a:pt x="2299" y="152"/>
                  </a:cubicBezTo>
                  <a:cubicBezTo>
                    <a:pt x="2289" y="159"/>
                    <a:pt x="2275" y="180"/>
                    <a:pt x="2267" y="180"/>
                  </a:cubicBezTo>
                  <a:cubicBezTo>
                    <a:pt x="2234" y="183"/>
                    <a:pt x="2198" y="175"/>
                    <a:pt x="2165" y="170"/>
                  </a:cubicBezTo>
                  <a:cubicBezTo>
                    <a:pt x="2155" y="169"/>
                    <a:pt x="2147" y="162"/>
                    <a:pt x="2136" y="162"/>
                  </a:cubicBezTo>
                  <a:cubicBezTo>
                    <a:pt x="2134" y="163"/>
                    <a:pt x="2129" y="163"/>
                    <a:pt x="2128" y="165"/>
                  </a:cubicBezTo>
                  <a:cubicBezTo>
                    <a:pt x="2127" y="166"/>
                    <a:pt x="2138" y="167"/>
                    <a:pt x="2139" y="168"/>
                  </a:cubicBezTo>
                  <a:cubicBezTo>
                    <a:pt x="2140" y="169"/>
                    <a:pt x="2116" y="179"/>
                    <a:pt x="2140" y="176"/>
                  </a:cubicBezTo>
                  <a:cubicBezTo>
                    <a:pt x="2140" y="176"/>
                    <a:pt x="2152" y="174"/>
                    <a:pt x="2150" y="176"/>
                  </a:cubicBezTo>
                  <a:cubicBezTo>
                    <a:pt x="2148" y="179"/>
                    <a:pt x="2143" y="178"/>
                    <a:pt x="2158" y="179"/>
                  </a:cubicBezTo>
                  <a:cubicBezTo>
                    <a:pt x="2165" y="180"/>
                    <a:pt x="2170" y="180"/>
                    <a:pt x="2176" y="182"/>
                  </a:cubicBezTo>
                  <a:cubicBezTo>
                    <a:pt x="2176" y="182"/>
                    <a:pt x="2176" y="183"/>
                    <a:pt x="2176" y="183"/>
                  </a:cubicBezTo>
                  <a:cubicBezTo>
                    <a:pt x="2174" y="186"/>
                    <a:pt x="2186" y="184"/>
                    <a:pt x="2177" y="188"/>
                  </a:cubicBezTo>
                  <a:cubicBezTo>
                    <a:pt x="2176" y="188"/>
                    <a:pt x="2174" y="189"/>
                    <a:pt x="2176" y="190"/>
                  </a:cubicBezTo>
                  <a:cubicBezTo>
                    <a:pt x="2182" y="193"/>
                    <a:pt x="2201" y="189"/>
                    <a:pt x="2209" y="191"/>
                  </a:cubicBezTo>
                  <a:cubicBezTo>
                    <a:pt x="2209" y="191"/>
                    <a:pt x="2209" y="191"/>
                    <a:pt x="2209" y="191"/>
                  </a:cubicBezTo>
                  <a:cubicBezTo>
                    <a:pt x="2211" y="193"/>
                    <a:pt x="2213" y="194"/>
                    <a:pt x="2216" y="194"/>
                  </a:cubicBezTo>
                  <a:cubicBezTo>
                    <a:pt x="2237" y="199"/>
                    <a:pt x="2203" y="202"/>
                    <a:pt x="2201" y="210"/>
                  </a:cubicBezTo>
                  <a:cubicBezTo>
                    <a:pt x="2201" y="212"/>
                    <a:pt x="2195" y="212"/>
                    <a:pt x="2196" y="214"/>
                  </a:cubicBezTo>
                  <a:cubicBezTo>
                    <a:pt x="2197" y="216"/>
                    <a:pt x="2202" y="215"/>
                    <a:pt x="2203" y="213"/>
                  </a:cubicBezTo>
                  <a:cubicBezTo>
                    <a:pt x="2211" y="198"/>
                    <a:pt x="2229" y="206"/>
                    <a:pt x="2232" y="217"/>
                  </a:cubicBezTo>
                  <a:cubicBezTo>
                    <a:pt x="2234" y="223"/>
                    <a:pt x="2212" y="238"/>
                    <a:pt x="2213" y="239"/>
                  </a:cubicBezTo>
                  <a:cubicBezTo>
                    <a:pt x="2213" y="240"/>
                    <a:pt x="2206" y="245"/>
                    <a:pt x="2207" y="246"/>
                  </a:cubicBezTo>
                  <a:cubicBezTo>
                    <a:pt x="2208" y="247"/>
                    <a:pt x="2211" y="244"/>
                    <a:pt x="2212" y="243"/>
                  </a:cubicBezTo>
                  <a:cubicBezTo>
                    <a:pt x="2224" y="232"/>
                    <a:pt x="2229" y="235"/>
                    <a:pt x="2245" y="235"/>
                  </a:cubicBezTo>
                  <a:cubicBezTo>
                    <a:pt x="2246" y="235"/>
                    <a:pt x="2256" y="224"/>
                    <a:pt x="2259" y="228"/>
                  </a:cubicBezTo>
                  <a:cubicBezTo>
                    <a:pt x="2261" y="232"/>
                    <a:pt x="2247" y="238"/>
                    <a:pt x="2247" y="240"/>
                  </a:cubicBezTo>
                  <a:cubicBezTo>
                    <a:pt x="2247" y="242"/>
                    <a:pt x="2249" y="238"/>
                    <a:pt x="2251" y="238"/>
                  </a:cubicBezTo>
                  <a:cubicBezTo>
                    <a:pt x="2255" y="236"/>
                    <a:pt x="2256" y="236"/>
                    <a:pt x="2259" y="233"/>
                  </a:cubicBezTo>
                  <a:cubicBezTo>
                    <a:pt x="2260" y="232"/>
                    <a:pt x="2262" y="237"/>
                    <a:pt x="2263" y="238"/>
                  </a:cubicBezTo>
                  <a:cubicBezTo>
                    <a:pt x="2274" y="249"/>
                    <a:pt x="2258" y="208"/>
                    <a:pt x="2279" y="210"/>
                  </a:cubicBezTo>
                  <a:cubicBezTo>
                    <a:pt x="2288" y="211"/>
                    <a:pt x="2268" y="219"/>
                    <a:pt x="2285" y="217"/>
                  </a:cubicBezTo>
                  <a:cubicBezTo>
                    <a:pt x="2290" y="216"/>
                    <a:pt x="2292" y="238"/>
                    <a:pt x="2289" y="242"/>
                  </a:cubicBezTo>
                  <a:cubicBezTo>
                    <a:pt x="2288" y="243"/>
                    <a:pt x="2280" y="244"/>
                    <a:pt x="2286" y="245"/>
                  </a:cubicBezTo>
                  <a:cubicBezTo>
                    <a:pt x="2302" y="246"/>
                    <a:pt x="2288" y="224"/>
                    <a:pt x="2293" y="221"/>
                  </a:cubicBezTo>
                  <a:cubicBezTo>
                    <a:pt x="2295" y="220"/>
                    <a:pt x="2311" y="222"/>
                    <a:pt x="2329" y="225"/>
                  </a:cubicBezTo>
                  <a:cubicBezTo>
                    <a:pt x="2334" y="234"/>
                    <a:pt x="2338" y="239"/>
                    <a:pt x="2338" y="248"/>
                  </a:cubicBezTo>
                  <a:cubicBezTo>
                    <a:pt x="2338" y="294"/>
                    <a:pt x="2275" y="240"/>
                    <a:pt x="2260" y="247"/>
                  </a:cubicBezTo>
                  <a:cubicBezTo>
                    <a:pt x="2258" y="248"/>
                    <a:pt x="2264" y="249"/>
                    <a:pt x="2266" y="250"/>
                  </a:cubicBezTo>
                  <a:cubicBezTo>
                    <a:pt x="2277" y="256"/>
                    <a:pt x="2260" y="271"/>
                    <a:pt x="2256" y="274"/>
                  </a:cubicBezTo>
                  <a:cubicBezTo>
                    <a:pt x="2240" y="284"/>
                    <a:pt x="2204" y="286"/>
                    <a:pt x="2192" y="300"/>
                  </a:cubicBezTo>
                  <a:cubicBezTo>
                    <a:pt x="2185" y="309"/>
                    <a:pt x="2192" y="353"/>
                    <a:pt x="2165" y="345"/>
                  </a:cubicBezTo>
                  <a:cubicBezTo>
                    <a:pt x="2163" y="344"/>
                    <a:pt x="2161" y="344"/>
                    <a:pt x="2159" y="343"/>
                  </a:cubicBezTo>
                  <a:cubicBezTo>
                    <a:pt x="2108" y="324"/>
                    <a:pt x="2194" y="286"/>
                    <a:pt x="2190" y="271"/>
                  </a:cubicBezTo>
                  <a:cubicBezTo>
                    <a:pt x="2179" y="222"/>
                    <a:pt x="2102" y="233"/>
                    <a:pt x="2069" y="180"/>
                  </a:cubicBezTo>
                  <a:cubicBezTo>
                    <a:pt x="2037" y="176"/>
                    <a:pt x="2028" y="194"/>
                    <a:pt x="2000" y="203"/>
                  </a:cubicBezTo>
                  <a:cubicBezTo>
                    <a:pt x="1981" y="209"/>
                    <a:pt x="1957" y="190"/>
                    <a:pt x="1938" y="202"/>
                  </a:cubicBezTo>
                  <a:cubicBezTo>
                    <a:pt x="1934" y="204"/>
                    <a:pt x="1899" y="234"/>
                    <a:pt x="1895" y="239"/>
                  </a:cubicBezTo>
                  <a:cubicBezTo>
                    <a:pt x="1892" y="241"/>
                    <a:pt x="1889" y="255"/>
                    <a:pt x="1883" y="263"/>
                  </a:cubicBezTo>
                  <a:cubicBezTo>
                    <a:pt x="1879" y="268"/>
                    <a:pt x="1884" y="283"/>
                    <a:pt x="1881" y="289"/>
                  </a:cubicBezTo>
                  <a:cubicBezTo>
                    <a:pt x="1877" y="300"/>
                    <a:pt x="1870" y="305"/>
                    <a:pt x="1871" y="319"/>
                  </a:cubicBezTo>
                  <a:cubicBezTo>
                    <a:pt x="1871" y="327"/>
                    <a:pt x="1881" y="339"/>
                    <a:pt x="1880" y="348"/>
                  </a:cubicBezTo>
                  <a:cubicBezTo>
                    <a:pt x="1876" y="368"/>
                    <a:pt x="1854" y="366"/>
                    <a:pt x="1841" y="369"/>
                  </a:cubicBezTo>
                  <a:cubicBezTo>
                    <a:pt x="1819" y="375"/>
                    <a:pt x="1827" y="398"/>
                    <a:pt x="1816" y="408"/>
                  </a:cubicBezTo>
                  <a:cubicBezTo>
                    <a:pt x="1810" y="414"/>
                    <a:pt x="1805" y="413"/>
                    <a:pt x="1800" y="419"/>
                  </a:cubicBezTo>
                  <a:cubicBezTo>
                    <a:pt x="1799" y="420"/>
                    <a:pt x="1782" y="402"/>
                    <a:pt x="1779" y="400"/>
                  </a:cubicBezTo>
                  <a:cubicBezTo>
                    <a:pt x="1770" y="396"/>
                    <a:pt x="1710" y="375"/>
                    <a:pt x="1705" y="377"/>
                  </a:cubicBezTo>
                  <a:cubicBezTo>
                    <a:pt x="1699" y="378"/>
                    <a:pt x="1696" y="392"/>
                    <a:pt x="1691" y="395"/>
                  </a:cubicBezTo>
                  <a:cubicBezTo>
                    <a:pt x="1686" y="399"/>
                    <a:pt x="1652" y="410"/>
                    <a:pt x="1647" y="408"/>
                  </a:cubicBezTo>
                  <a:cubicBezTo>
                    <a:pt x="1647" y="408"/>
                    <a:pt x="1635" y="398"/>
                    <a:pt x="1635" y="398"/>
                  </a:cubicBezTo>
                  <a:cubicBezTo>
                    <a:pt x="1622" y="392"/>
                    <a:pt x="1597" y="396"/>
                    <a:pt x="1583" y="396"/>
                  </a:cubicBezTo>
                  <a:cubicBezTo>
                    <a:pt x="1580" y="395"/>
                    <a:pt x="1577" y="397"/>
                    <a:pt x="1575" y="395"/>
                  </a:cubicBezTo>
                  <a:cubicBezTo>
                    <a:pt x="1571" y="390"/>
                    <a:pt x="1574" y="381"/>
                    <a:pt x="1571" y="374"/>
                  </a:cubicBezTo>
                  <a:cubicBezTo>
                    <a:pt x="1562" y="351"/>
                    <a:pt x="1503" y="294"/>
                    <a:pt x="1479" y="297"/>
                  </a:cubicBezTo>
                  <a:cubicBezTo>
                    <a:pt x="1471" y="299"/>
                    <a:pt x="1453" y="313"/>
                    <a:pt x="1453" y="321"/>
                  </a:cubicBezTo>
                  <a:cubicBezTo>
                    <a:pt x="1454" y="325"/>
                    <a:pt x="1467" y="342"/>
                    <a:pt x="1456" y="345"/>
                  </a:cubicBezTo>
                  <a:cubicBezTo>
                    <a:pt x="1452" y="346"/>
                    <a:pt x="1414" y="325"/>
                    <a:pt x="1413" y="340"/>
                  </a:cubicBezTo>
                  <a:cubicBezTo>
                    <a:pt x="1413" y="341"/>
                    <a:pt x="1415" y="341"/>
                    <a:pt x="1417" y="342"/>
                  </a:cubicBezTo>
                  <a:cubicBezTo>
                    <a:pt x="1413" y="342"/>
                    <a:pt x="1385" y="342"/>
                    <a:pt x="1381" y="342"/>
                  </a:cubicBezTo>
                  <a:cubicBezTo>
                    <a:pt x="1377" y="342"/>
                    <a:pt x="1373" y="340"/>
                    <a:pt x="1370" y="342"/>
                  </a:cubicBezTo>
                  <a:cubicBezTo>
                    <a:pt x="1368" y="344"/>
                    <a:pt x="1373" y="346"/>
                    <a:pt x="1375" y="347"/>
                  </a:cubicBezTo>
                  <a:cubicBezTo>
                    <a:pt x="1385" y="357"/>
                    <a:pt x="1396" y="369"/>
                    <a:pt x="1393" y="385"/>
                  </a:cubicBezTo>
                  <a:cubicBezTo>
                    <a:pt x="1389" y="397"/>
                    <a:pt x="1357" y="417"/>
                    <a:pt x="1357" y="421"/>
                  </a:cubicBezTo>
                  <a:cubicBezTo>
                    <a:pt x="1357" y="429"/>
                    <a:pt x="1389" y="424"/>
                    <a:pt x="1378" y="437"/>
                  </a:cubicBezTo>
                  <a:cubicBezTo>
                    <a:pt x="1378" y="437"/>
                    <a:pt x="1358" y="455"/>
                    <a:pt x="1355" y="456"/>
                  </a:cubicBezTo>
                  <a:cubicBezTo>
                    <a:pt x="1334" y="462"/>
                    <a:pt x="1212" y="407"/>
                    <a:pt x="1190" y="429"/>
                  </a:cubicBezTo>
                  <a:cubicBezTo>
                    <a:pt x="1179" y="441"/>
                    <a:pt x="1213" y="497"/>
                    <a:pt x="1173" y="516"/>
                  </a:cubicBezTo>
                  <a:cubicBezTo>
                    <a:pt x="1160" y="522"/>
                    <a:pt x="1131" y="490"/>
                    <a:pt x="1118" y="495"/>
                  </a:cubicBezTo>
                  <a:cubicBezTo>
                    <a:pt x="1117" y="495"/>
                    <a:pt x="1117" y="495"/>
                    <a:pt x="1117" y="495"/>
                  </a:cubicBezTo>
                  <a:cubicBezTo>
                    <a:pt x="1116" y="495"/>
                    <a:pt x="1115" y="495"/>
                    <a:pt x="1114" y="496"/>
                  </a:cubicBezTo>
                  <a:cubicBezTo>
                    <a:pt x="1113" y="496"/>
                    <a:pt x="1113" y="497"/>
                    <a:pt x="1113" y="497"/>
                  </a:cubicBezTo>
                  <a:cubicBezTo>
                    <a:pt x="1102" y="502"/>
                    <a:pt x="1074" y="518"/>
                    <a:pt x="1070" y="524"/>
                  </a:cubicBezTo>
                  <a:cubicBezTo>
                    <a:pt x="1058" y="540"/>
                    <a:pt x="1056" y="561"/>
                    <a:pt x="1043" y="578"/>
                  </a:cubicBezTo>
                  <a:cubicBezTo>
                    <a:pt x="1036" y="588"/>
                    <a:pt x="1015" y="583"/>
                    <a:pt x="1012" y="599"/>
                  </a:cubicBezTo>
                  <a:cubicBezTo>
                    <a:pt x="1010" y="613"/>
                    <a:pt x="1058" y="632"/>
                    <a:pt x="1036" y="661"/>
                  </a:cubicBezTo>
                  <a:cubicBezTo>
                    <a:pt x="1029" y="670"/>
                    <a:pt x="1014" y="674"/>
                    <a:pt x="1006" y="682"/>
                  </a:cubicBezTo>
                  <a:cubicBezTo>
                    <a:pt x="993" y="694"/>
                    <a:pt x="985" y="713"/>
                    <a:pt x="972" y="725"/>
                  </a:cubicBezTo>
                  <a:cubicBezTo>
                    <a:pt x="967" y="730"/>
                    <a:pt x="950" y="737"/>
                    <a:pt x="948" y="743"/>
                  </a:cubicBezTo>
                  <a:cubicBezTo>
                    <a:pt x="946" y="752"/>
                    <a:pt x="959" y="765"/>
                    <a:pt x="957" y="774"/>
                  </a:cubicBezTo>
                  <a:cubicBezTo>
                    <a:pt x="952" y="794"/>
                    <a:pt x="872" y="795"/>
                    <a:pt x="871" y="797"/>
                  </a:cubicBezTo>
                  <a:cubicBezTo>
                    <a:pt x="866" y="804"/>
                    <a:pt x="884" y="834"/>
                    <a:pt x="883" y="843"/>
                  </a:cubicBezTo>
                  <a:cubicBezTo>
                    <a:pt x="882" y="855"/>
                    <a:pt x="873" y="866"/>
                    <a:pt x="871" y="878"/>
                  </a:cubicBezTo>
                  <a:cubicBezTo>
                    <a:pt x="870" y="882"/>
                    <a:pt x="871" y="886"/>
                    <a:pt x="871" y="889"/>
                  </a:cubicBezTo>
                  <a:cubicBezTo>
                    <a:pt x="871" y="889"/>
                    <a:pt x="871" y="911"/>
                    <a:pt x="871" y="911"/>
                  </a:cubicBezTo>
                  <a:cubicBezTo>
                    <a:pt x="871" y="914"/>
                    <a:pt x="872" y="918"/>
                    <a:pt x="871" y="922"/>
                  </a:cubicBezTo>
                  <a:cubicBezTo>
                    <a:pt x="871" y="922"/>
                    <a:pt x="859" y="932"/>
                    <a:pt x="859" y="932"/>
                  </a:cubicBezTo>
                  <a:cubicBezTo>
                    <a:pt x="856" y="937"/>
                    <a:pt x="857" y="944"/>
                    <a:pt x="855" y="949"/>
                  </a:cubicBezTo>
                  <a:cubicBezTo>
                    <a:pt x="850" y="960"/>
                    <a:pt x="816" y="1000"/>
                    <a:pt x="803" y="1022"/>
                  </a:cubicBezTo>
                  <a:cubicBezTo>
                    <a:pt x="802" y="1022"/>
                    <a:pt x="801" y="1022"/>
                    <a:pt x="800" y="1023"/>
                  </a:cubicBezTo>
                  <a:cubicBezTo>
                    <a:pt x="800" y="1023"/>
                    <a:pt x="801" y="1024"/>
                    <a:pt x="801" y="1024"/>
                  </a:cubicBezTo>
                  <a:cubicBezTo>
                    <a:pt x="799" y="1029"/>
                    <a:pt x="797" y="1033"/>
                    <a:pt x="798" y="1035"/>
                  </a:cubicBezTo>
                  <a:cubicBezTo>
                    <a:pt x="813" y="1060"/>
                    <a:pt x="851" y="1030"/>
                    <a:pt x="840" y="1093"/>
                  </a:cubicBezTo>
                  <a:cubicBezTo>
                    <a:pt x="838" y="1100"/>
                    <a:pt x="836" y="1106"/>
                    <a:pt x="832" y="1109"/>
                  </a:cubicBezTo>
                  <a:cubicBezTo>
                    <a:pt x="825" y="1105"/>
                    <a:pt x="820" y="1101"/>
                    <a:pt x="820" y="1101"/>
                  </a:cubicBezTo>
                  <a:cubicBezTo>
                    <a:pt x="819" y="1099"/>
                    <a:pt x="812" y="1093"/>
                    <a:pt x="811" y="1095"/>
                  </a:cubicBezTo>
                  <a:cubicBezTo>
                    <a:pt x="809" y="1097"/>
                    <a:pt x="820" y="1105"/>
                    <a:pt x="830" y="1111"/>
                  </a:cubicBezTo>
                  <a:cubicBezTo>
                    <a:pt x="813" y="1124"/>
                    <a:pt x="780" y="1103"/>
                    <a:pt x="758" y="1105"/>
                  </a:cubicBezTo>
                  <a:cubicBezTo>
                    <a:pt x="752" y="1106"/>
                    <a:pt x="742" y="1110"/>
                    <a:pt x="731" y="1116"/>
                  </a:cubicBezTo>
                  <a:cubicBezTo>
                    <a:pt x="732" y="1102"/>
                    <a:pt x="726" y="1095"/>
                    <a:pt x="718" y="1099"/>
                  </a:cubicBezTo>
                  <a:cubicBezTo>
                    <a:pt x="718" y="1099"/>
                    <a:pt x="724" y="1107"/>
                    <a:pt x="725" y="1109"/>
                  </a:cubicBezTo>
                  <a:cubicBezTo>
                    <a:pt x="725" y="1111"/>
                    <a:pt x="726" y="1115"/>
                    <a:pt x="727" y="1118"/>
                  </a:cubicBezTo>
                  <a:cubicBezTo>
                    <a:pt x="725" y="1119"/>
                    <a:pt x="724" y="1120"/>
                    <a:pt x="722" y="1121"/>
                  </a:cubicBezTo>
                  <a:cubicBezTo>
                    <a:pt x="719" y="1120"/>
                    <a:pt x="716" y="1121"/>
                    <a:pt x="714" y="1124"/>
                  </a:cubicBezTo>
                  <a:cubicBezTo>
                    <a:pt x="714" y="1125"/>
                    <a:pt x="714" y="1125"/>
                    <a:pt x="714" y="1126"/>
                  </a:cubicBezTo>
                  <a:cubicBezTo>
                    <a:pt x="688" y="1143"/>
                    <a:pt x="661" y="1167"/>
                    <a:pt x="660" y="1182"/>
                  </a:cubicBezTo>
                  <a:cubicBezTo>
                    <a:pt x="660" y="1188"/>
                    <a:pt x="667" y="1192"/>
                    <a:pt x="666" y="1197"/>
                  </a:cubicBezTo>
                  <a:cubicBezTo>
                    <a:pt x="664" y="1208"/>
                    <a:pt x="643" y="1218"/>
                    <a:pt x="642" y="1229"/>
                  </a:cubicBezTo>
                  <a:cubicBezTo>
                    <a:pt x="642" y="1241"/>
                    <a:pt x="663" y="1254"/>
                    <a:pt x="663" y="1266"/>
                  </a:cubicBezTo>
                  <a:cubicBezTo>
                    <a:pt x="663" y="1266"/>
                    <a:pt x="651" y="1284"/>
                    <a:pt x="651" y="1284"/>
                  </a:cubicBezTo>
                  <a:cubicBezTo>
                    <a:pt x="649" y="1289"/>
                    <a:pt x="656" y="1300"/>
                    <a:pt x="656" y="1306"/>
                  </a:cubicBezTo>
                  <a:cubicBezTo>
                    <a:pt x="655" y="1312"/>
                    <a:pt x="648" y="1322"/>
                    <a:pt x="650" y="1328"/>
                  </a:cubicBezTo>
                  <a:cubicBezTo>
                    <a:pt x="653" y="1345"/>
                    <a:pt x="673" y="1359"/>
                    <a:pt x="675" y="1377"/>
                  </a:cubicBezTo>
                  <a:cubicBezTo>
                    <a:pt x="677" y="1401"/>
                    <a:pt x="652" y="1433"/>
                    <a:pt x="659" y="1455"/>
                  </a:cubicBezTo>
                  <a:cubicBezTo>
                    <a:pt x="666" y="1483"/>
                    <a:pt x="713" y="1480"/>
                    <a:pt x="724" y="1509"/>
                  </a:cubicBezTo>
                  <a:cubicBezTo>
                    <a:pt x="725" y="1512"/>
                    <a:pt x="709" y="1550"/>
                    <a:pt x="706" y="1552"/>
                  </a:cubicBezTo>
                  <a:cubicBezTo>
                    <a:pt x="698" y="1558"/>
                    <a:pt x="671" y="1550"/>
                    <a:pt x="669" y="1564"/>
                  </a:cubicBezTo>
                  <a:cubicBezTo>
                    <a:pt x="666" y="1587"/>
                    <a:pt x="702" y="1614"/>
                    <a:pt x="702" y="1639"/>
                  </a:cubicBezTo>
                  <a:cubicBezTo>
                    <a:pt x="702" y="1650"/>
                    <a:pt x="694" y="1653"/>
                    <a:pt x="691" y="1663"/>
                  </a:cubicBezTo>
                  <a:cubicBezTo>
                    <a:pt x="690" y="1665"/>
                    <a:pt x="691" y="1668"/>
                    <a:pt x="691" y="1671"/>
                  </a:cubicBezTo>
                  <a:cubicBezTo>
                    <a:pt x="691" y="1676"/>
                    <a:pt x="691" y="1681"/>
                    <a:pt x="691" y="1686"/>
                  </a:cubicBezTo>
                  <a:cubicBezTo>
                    <a:pt x="691" y="1689"/>
                    <a:pt x="692" y="1692"/>
                    <a:pt x="691" y="1694"/>
                  </a:cubicBezTo>
                  <a:cubicBezTo>
                    <a:pt x="688" y="1700"/>
                    <a:pt x="669" y="1718"/>
                    <a:pt x="663" y="1720"/>
                  </a:cubicBezTo>
                  <a:cubicBezTo>
                    <a:pt x="659" y="1722"/>
                    <a:pt x="632" y="1718"/>
                    <a:pt x="632" y="1728"/>
                  </a:cubicBezTo>
                  <a:cubicBezTo>
                    <a:pt x="632" y="1733"/>
                    <a:pt x="638" y="1737"/>
                    <a:pt x="638" y="1742"/>
                  </a:cubicBezTo>
                  <a:cubicBezTo>
                    <a:pt x="640" y="1758"/>
                    <a:pt x="623" y="1752"/>
                    <a:pt x="618" y="1763"/>
                  </a:cubicBezTo>
                  <a:cubicBezTo>
                    <a:pt x="615" y="1770"/>
                    <a:pt x="619" y="1783"/>
                    <a:pt x="623" y="1797"/>
                  </a:cubicBezTo>
                  <a:cubicBezTo>
                    <a:pt x="622" y="1797"/>
                    <a:pt x="622" y="1797"/>
                    <a:pt x="622" y="1797"/>
                  </a:cubicBezTo>
                  <a:cubicBezTo>
                    <a:pt x="621" y="1801"/>
                    <a:pt x="624" y="1807"/>
                    <a:pt x="627" y="1813"/>
                  </a:cubicBezTo>
                  <a:cubicBezTo>
                    <a:pt x="630" y="1831"/>
                    <a:pt x="630" y="1849"/>
                    <a:pt x="615" y="1861"/>
                  </a:cubicBezTo>
                  <a:cubicBezTo>
                    <a:pt x="601" y="1872"/>
                    <a:pt x="599" y="1861"/>
                    <a:pt x="597" y="1851"/>
                  </a:cubicBezTo>
                  <a:close/>
                  <a:moveTo>
                    <a:pt x="1736" y="255"/>
                  </a:moveTo>
                  <a:cubicBezTo>
                    <a:pt x="1736" y="255"/>
                    <a:pt x="1736" y="255"/>
                    <a:pt x="1736" y="255"/>
                  </a:cubicBezTo>
                  <a:cubicBezTo>
                    <a:pt x="1743" y="253"/>
                    <a:pt x="1755" y="240"/>
                    <a:pt x="1734" y="238"/>
                  </a:cubicBezTo>
                  <a:cubicBezTo>
                    <a:pt x="1723" y="237"/>
                    <a:pt x="1726" y="253"/>
                    <a:pt x="1736" y="255"/>
                  </a:cubicBezTo>
                  <a:close/>
                  <a:moveTo>
                    <a:pt x="1273" y="409"/>
                  </a:moveTo>
                  <a:cubicBezTo>
                    <a:pt x="1274" y="411"/>
                    <a:pt x="1281" y="413"/>
                    <a:pt x="1282" y="414"/>
                  </a:cubicBezTo>
                  <a:cubicBezTo>
                    <a:pt x="1305" y="425"/>
                    <a:pt x="1329" y="434"/>
                    <a:pt x="1349" y="450"/>
                  </a:cubicBezTo>
                  <a:cubicBezTo>
                    <a:pt x="1350" y="450"/>
                    <a:pt x="1352" y="450"/>
                    <a:pt x="1353" y="451"/>
                  </a:cubicBezTo>
                  <a:cubicBezTo>
                    <a:pt x="1356" y="449"/>
                    <a:pt x="1335" y="423"/>
                    <a:pt x="1300" y="419"/>
                  </a:cubicBezTo>
                  <a:cubicBezTo>
                    <a:pt x="1293" y="418"/>
                    <a:pt x="1288" y="415"/>
                    <a:pt x="1282" y="413"/>
                  </a:cubicBezTo>
                  <a:cubicBezTo>
                    <a:pt x="1279" y="411"/>
                    <a:pt x="1273" y="406"/>
                    <a:pt x="1273" y="409"/>
                  </a:cubicBezTo>
                  <a:close/>
                  <a:moveTo>
                    <a:pt x="842" y="713"/>
                  </a:moveTo>
                  <a:cubicBezTo>
                    <a:pt x="844" y="712"/>
                    <a:pt x="844" y="712"/>
                    <a:pt x="844" y="712"/>
                  </a:cubicBezTo>
                  <a:cubicBezTo>
                    <a:pt x="847" y="712"/>
                    <a:pt x="850" y="706"/>
                    <a:pt x="849" y="704"/>
                  </a:cubicBezTo>
                  <a:cubicBezTo>
                    <a:pt x="847" y="701"/>
                    <a:pt x="817" y="714"/>
                    <a:pt x="842" y="713"/>
                  </a:cubicBezTo>
                  <a:close/>
                  <a:moveTo>
                    <a:pt x="844" y="759"/>
                  </a:moveTo>
                  <a:cubicBezTo>
                    <a:pt x="845" y="759"/>
                    <a:pt x="850" y="760"/>
                    <a:pt x="850" y="758"/>
                  </a:cubicBezTo>
                  <a:cubicBezTo>
                    <a:pt x="849" y="756"/>
                    <a:pt x="834" y="758"/>
                    <a:pt x="832" y="757"/>
                  </a:cubicBezTo>
                  <a:cubicBezTo>
                    <a:pt x="829" y="757"/>
                    <a:pt x="814" y="748"/>
                    <a:pt x="812" y="751"/>
                  </a:cubicBezTo>
                  <a:cubicBezTo>
                    <a:pt x="809" y="756"/>
                    <a:pt x="823" y="754"/>
                    <a:pt x="826" y="758"/>
                  </a:cubicBezTo>
                  <a:cubicBezTo>
                    <a:pt x="827" y="759"/>
                    <a:pt x="827" y="759"/>
                    <a:pt x="827" y="759"/>
                  </a:cubicBezTo>
                  <a:cubicBezTo>
                    <a:pt x="828" y="768"/>
                    <a:pt x="834" y="760"/>
                    <a:pt x="844" y="759"/>
                  </a:cubicBezTo>
                  <a:close/>
                  <a:moveTo>
                    <a:pt x="807" y="865"/>
                  </a:moveTo>
                  <a:cubicBezTo>
                    <a:pt x="807" y="866"/>
                    <a:pt x="827" y="869"/>
                    <a:pt x="830" y="871"/>
                  </a:cubicBezTo>
                  <a:cubicBezTo>
                    <a:pt x="832" y="870"/>
                    <a:pt x="832" y="870"/>
                    <a:pt x="832" y="870"/>
                  </a:cubicBezTo>
                  <a:cubicBezTo>
                    <a:pt x="851" y="871"/>
                    <a:pt x="831" y="861"/>
                    <a:pt x="832" y="858"/>
                  </a:cubicBezTo>
                  <a:cubicBezTo>
                    <a:pt x="833" y="854"/>
                    <a:pt x="842" y="854"/>
                    <a:pt x="844" y="851"/>
                  </a:cubicBezTo>
                  <a:cubicBezTo>
                    <a:pt x="846" y="849"/>
                    <a:pt x="840" y="849"/>
                    <a:pt x="841" y="847"/>
                  </a:cubicBezTo>
                  <a:cubicBezTo>
                    <a:pt x="843" y="839"/>
                    <a:pt x="851" y="838"/>
                    <a:pt x="859" y="836"/>
                  </a:cubicBezTo>
                  <a:cubicBezTo>
                    <a:pt x="859" y="835"/>
                    <a:pt x="869" y="833"/>
                    <a:pt x="865" y="832"/>
                  </a:cubicBezTo>
                  <a:cubicBezTo>
                    <a:pt x="849" y="827"/>
                    <a:pt x="836" y="844"/>
                    <a:pt x="823" y="850"/>
                  </a:cubicBezTo>
                  <a:cubicBezTo>
                    <a:pt x="821" y="851"/>
                    <a:pt x="810" y="841"/>
                    <a:pt x="810" y="843"/>
                  </a:cubicBezTo>
                  <a:cubicBezTo>
                    <a:pt x="810" y="849"/>
                    <a:pt x="829" y="857"/>
                    <a:pt x="820" y="863"/>
                  </a:cubicBezTo>
                  <a:cubicBezTo>
                    <a:pt x="818" y="864"/>
                    <a:pt x="807" y="865"/>
                    <a:pt x="807" y="865"/>
                  </a:cubicBezTo>
                  <a:close/>
                  <a:moveTo>
                    <a:pt x="784" y="967"/>
                  </a:moveTo>
                  <a:cubicBezTo>
                    <a:pt x="786" y="971"/>
                    <a:pt x="781" y="972"/>
                    <a:pt x="785" y="976"/>
                  </a:cubicBezTo>
                  <a:cubicBezTo>
                    <a:pt x="784" y="976"/>
                    <a:pt x="784" y="976"/>
                    <a:pt x="784" y="976"/>
                  </a:cubicBezTo>
                  <a:cubicBezTo>
                    <a:pt x="788" y="982"/>
                    <a:pt x="796" y="968"/>
                    <a:pt x="803" y="969"/>
                  </a:cubicBezTo>
                  <a:cubicBezTo>
                    <a:pt x="803" y="969"/>
                    <a:pt x="811" y="969"/>
                    <a:pt x="810" y="968"/>
                  </a:cubicBezTo>
                  <a:cubicBezTo>
                    <a:pt x="805" y="960"/>
                    <a:pt x="797" y="969"/>
                    <a:pt x="789" y="969"/>
                  </a:cubicBezTo>
                  <a:cubicBezTo>
                    <a:pt x="788" y="969"/>
                    <a:pt x="781" y="961"/>
                    <a:pt x="780" y="961"/>
                  </a:cubicBezTo>
                  <a:cubicBezTo>
                    <a:pt x="779" y="963"/>
                    <a:pt x="784" y="966"/>
                    <a:pt x="784" y="967"/>
                  </a:cubicBezTo>
                  <a:close/>
                  <a:moveTo>
                    <a:pt x="774" y="992"/>
                  </a:moveTo>
                  <a:cubicBezTo>
                    <a:pt x="780" y="1000"/>
                    <a:pt x="791" y="1010"/>
                    <a:pt x="800" y="1015"/>
                  </a:cubicBezTo>
                  <a:cubicBezTo>
                    <a:pt x="800" y="1015"/>
                    <a:pt x="800" y="1015"/>
                    <a:pt x="800" y="1015"/>
                  </a:cubicBezTo>
                  <a:cubicBezTo>
                    <a:pt x="806" y="1017"/>
                    <a:pt x="805" y="1008"/>
                    <a:pt x="802" y="1007"/>
                  </a:cubicBezTo>
                  <a:cubicBezTo>
                    <a:pt x="784" y="1000"/>
                    <a:pt x="795" y="987"/>
                    <a:pt x="793" y="983"/>
                  </a:cubicBezTo>
                  <a:cubicBezTo>
                    <a:pt x="792" y="981"/>
                    <a:pt x="785" y="978"/>
                    <a:pt x="783" y="980"/>
                  </a:cubicBezTo>
                  <a:cubicBezTo>
                    <a:pt x="781" y="981"/>
                    <a:pt x="779" y="979"/>
                    <a:pt x="778" y="981"/>
                  </a:cubicBezTo>
                  <a:cubicBezTo>
                    <a:pt x="777" y="983"/>
                    <a:pt x="785" y="984"/>
                    <a:pt x="785" y="984"/>
                  </a:cubicBezTo>
                  <a:cubicBezTo>
                    <a:pt x="789" y="987"/>
                    <a:pt x="771" y="988"/>
                    <a:pt x="774" y="992"/>
                  </a:cubicBezTo>
                  <a:close/>
                  <a:moveTo>
                    <a:pt x="754" y="1021"/>
                  </a:moveTo>
                  <a:cubicBezTo>
                    <a:pt x="754" y="1021"/>
                    <a:pt x="754" y="1021"/>
                    <a:pt x="754" y="1021"/>
                  </a:cubicBezTo>
                  <a:cubicBezTo>
                    <a:pt x="760" y="1023"/>
                    <a:pt x="766" y="1015"/>
                    <a:pt x="769" y="1015"/>
                  </a:cubicBezTo>
                  <a:cubicBezTo>
                    <a:pt x="775" y="1014"/>
                    <a:pt x="804" y="1023"/>
                    <a:pt x="788" y="1014"/>
                  </a:cubicBezTo>
                  <a:cubicBezTo>
                    <a:pt x="776" y="1007"/>
                    <a:pt x="762" y="995"/>
                    <a:pt x="757" y="1017"/>
                  </a:cubicBezTo>
                  <a:cubicBezTo>
                    <a:pt x="756" y="1020"/>
                    <a:pt x="752" y="1016"/>
                    <a:pt x="754" y="1021"/>
                  </a:cubicBezTo>
                  <a:close/>
                  <a:moveTo>
                    <a:pt x="641" y="1537"/>
                  </a:moveTo>
                  <a:cubicBezTo>
                    <a:pt x="638" y="1532"/>
                    <a:pt x="634" y="1521"/>
                    <a:pt x="629" y="1519"/>
                  </a:cubicBezTo>
                  <a:cubicBezTo>
                    <a:pt x="629" y="1519"/>
                    <a:pt x="629" y="1519"/>
                    <a:pt x="629" y="1519"/>
                  </a:cubicBezTo>
                  <a:cubicBezTo>
                    <a:pt x="620" y="1514"/>
                    <a:pt x="643" y="1545"/>
                    <a:pt x="645" y="1544"/>
                  </a:cubicBezTo>
                  <a:cubicBezTo>
                    <a:pt x="646" y="1544"/>
                    <a:pt x="641" y="1538"/>
                    <a:pt x="641" y="1537"/>
                  </a:cubicBezTo>
                  <a:close/>
                  <a:moveTo>
                    <a:pt x="640" y="1372"/>
                  </a:moveTo>
                  <a:cubicBezTo>
                    <a:pt x="636" y="1394"/>
                    <a:pt x="625" y="1390"/>
                    <a:pt x="622" y="1399"/>
                  </a:cubicBezTo>
                  <a:cubicBezTo>
                    <a:pt x="622" y="1401"/>
                    <a:pt x="623" y="1402"/>
                    <a:pt x="624" y="1403"/>
                  </a:cubicBezTo>
                  <a:cubicBezTo>
                    <a:pt x="632" y="1409"/>
                    <a:pt x="642" y="1426"/>
                    <a:pt x="641" y="1425"/>
                  </a:cubicBezTo>
                  <a:cubicBezTo>
                    <a:pt x="641" y="1424"/>
                    <a:pt x="639" y="1418"/>
                    <a:pt x="639" y="1417"/>
                  </a:cubicBezTo>
                  <a:cubicBezTo>
                    <a:pt x="639" y="1416"/>
                    <a:pt x="639" y="1416"/>
                    <a:pt x="639" y="1416"/>
                  </a:cubicBezTo>
                  <a:cubicBezTo>
                    <a:pt x="642" y="1401"/>
                    <a:pt x="647" y="1360"/>
                    <a:pt x="644" y="1357"/>
                  </a:cubicBezTo>
                  <a:cubicBezTo>
                    <a:pt x="635" y="1348"/>
                    <a:pt x="641" y="1366"/>
                    <a:pt x="640" y="1372"/>
                  </a:cubicBezTo>
                  <a:close/>
                  <a:moveTo>
                    <a:pt x="609" y="1115"/>
                  </a:moveTo>
                  <a:cubicBezTo>
                    <a:pt x="609" y="1116"/>
                    <a:pt x="609" y="1115"/>
                    <a:pt x="610" y="1115"/>
                  </a:cubicBezTo>
                  <a:cubicBezTo>
                    <a:pt x="619" y="1115"/>
                    <a:pt x="613" y="1104"/>
                    <a:pt x="624" y="1102"/>
                  </a:cubicBezTo>
                  <a:cubicBezTo>
                    <a:pt x="645" y="1097"/>
                    <a:pt x="661" y="1092"/>
                    <a:pt x="679" y="1084"/>
                  </a:cubicBezTo>
                  <a:cubicBezTo>
                    <a:pt x="680" y="1084"/>
                    <a:pt x="680" y="1083"/>
                    <a:pt x="680" y="1082"/>
                  </a:cubicBezTo>
                  <a:cubicBezTo>
                    <a:pt x="678" y="1080"/>
                    <a:pt x="610" y="1102"/>
                    <a:pt x="613" y="1106"/>
                  </a:cubicBezTo>
                  <a:cubicBezTo>
                    <a:pt x="615" y="1108"/>
                    <a:pt x="611" y="1113"/>
                    <a:pt x="610" y="1114"/>
                  </a:cubicBezTo>
                  <a:cubicBezTo>
                    <a:pt x="609" y="1115"/>
                    <a:pt x="609" y="1115"/>
                    <a:pt x="609" y="1115"/>
                  </a:cubicBezTo>
                  <a:cubicBezTo>
                    <a:pt x="609" y="1115"/>
                    <a:pt x="609" y="1115"/>
                    <a:pt x="609" y="1115"/>
                  </a:cubicBezTo>
                  <a:close/>
                  <a:moveTo>
                    <a:pt x="622" y="1662"/>
                  </a:moveTo>
                  <a:cubicBezTo>
                    <a:pt x="623" y="1663"/>
                    <a:pt x="618" y="1651"/>
                    <a:pt x="615" y="1646"/>
                  </a:cubicBezTo>
                  <a:cubicBezTo>
                    <a:pt x="615" y="1646"/>
                    <a:pt x="615" y="1646"/>
                    <a:pt x="615" y="1646"/>
                  </a:cubicBezTo>
                  <a:cubicBezTo>
                    <a:pt x="612" y="1641"/>
                    <a:pt x="615" y="1653"/>
                    <a:pt x="610" y="1652"/>
                  </a:cubicBezTo>
                  <a:cubicBezTo>
                    <a:pt x="602" y="1650"/>
                    <a:pt x="622" y="1662"/>
                    <a:pt x="622" y="1662"/>
                  </a:cubicBezTo>
                  <a:close/>
                  <a:moveTo>
                    <a:pt x="314" y="1848"/>
                  </a:moveTo>
                  <a:cubicBezTo>
                    <a:pt x="314" y="1834"/>
                    <a:pt x="302" y="1838"/>
                    <a:pt x="297" y="1829"/>
                  </a:cubicBezTo>
                  <a:cubicBezTo>
                    <a:pt x="286" y="1809"/>
                    <a:pt x="307" y="1852"/>
                    <a:pt x="314" y="1849"/>
                  </a:cubicBezTo>
                  <a:lnTo>
                    <a:pt x="314" y="1848"/>
                  </a:lnTo>
                  <a:close/>
                  <a:moveTo>
                    <a:pt x="318" y="1734"/>
                  </a:moveTo>
                  <a:cubicBezTo>
                    <a:pt x="314" y="1727"/>
                    <a:pt x="301" y="1728"/>
                    <a:pt x="296" y="1725"/>
                  </a:cubicBezTo>
                  <a:cubicBezTo>
                    <a:pt x="290" y="1722"/>
                    <a:pt x="301" y="1717"/>
                    <a:pt x="293" y="1713"/>
                  </a:cubicBezTo>
                  <a:cubicBezTo>
                    <a:pt x="288" y="1709"/>
                    <a:pt x="278" y="1707"/>
                    <a:pt x="291" y="1713"/>
                  </a:cubicBezTo>
                  <a:cubicBezTo>
                    <a:pt x="292" y="1713"/>
                    <a:pt x="292" y="1713"/>
                    <a:pt x="292" y="1713"/>
                  </a:cubicBezTo>
                  <a:cubicBezTo>
                    <a:pt x="292" y="1713"/>
                    <a:pt x="292" y="1713"/>
                    <a:pt x="293" y="1713"/>
                  </a:cubicBezTo>
                  <a:cubicBezTo>
                    <a:pt x="293" y="1714"/>
                    <a:pt x="294" y="1715"/>
                    <a:pt x="294" y="1716"/>
                  </a:cubicBezTo>
                  <a:cubicBezTo>
                    <a:pt x="295" y="1720"/>
                    <a:pt x="291" y="1726"/>
                    <a:pt x="292" y="1730"/>
                  </a:cubicBezTo>
                  <a:cubicBezTo>
                    <a:pt x="292" y="1733"/>
                    <a:pt x="300" y="1737"/>
                    <a:pt x="303" y="1738"/>
                  </a:cubicBezTo>
                  <a:cubicBezTo>
                    <a:pt x="305" y="1739"/>
                    <a:pt x="312" y="1742"/>
                    <a:pt x="310" y="1740"/>
                  </a:cubicBezTo>
                  <a:cubicBezTo>
                    <a:pt x="309" y="1739"/>
                    <a:pt x="296" y="1732"/>
                    <a:pt x="300" y="1729"/>
                  </a:cubicBezTo>
                  <a:cubicBezTo>
                    <a:pt x="300" y="1728"/>
                    <a:pt x="318" y="1734"/>
                    <a:pt x="318" y="1734"/>
                  </a:cubicBezTo>
                  <a:close/>
                  <a:moveTo>
                    <a:pt x="333" y="1804"/>
                  </a:moveTo>
                  <a:cubicBezTo>
                    <a:pt x="333" y="1804"/>
                    <a:pt x="333" y="1804"/>
                    <a:pt x="333" y="1804"/>
                  </a:cubicBezTo>
                  <a:cubicBezTo>
                    <a:pt x="327" y="1800"/>
                    <a:pt x="330" y="1848"/>
                    <a:pt x="335" y="1847"/>
                  </a:cubicBezTo>
                  <a:cubicBezTo>
                    <a:pt x="335" y="1847"/>
                    <a:pt x="334" y="1806"/>
                    <a:pt x="333" y="1804"/>
                  </a:cubicBezTo>
                  <a:close/>
                  <a:moveTo>
                    <a:pt x="397" y="1512"/>
                  </a:moveTo>
                  <a:cubicBezTo>
                    <a:pt x="397" y="1510"/>
                    <a:pt x="403" y="1512"/>
                    <a:pt x="403" y="1511"/>
                  </a:cubicBezTo>
                  <a:cubicBezTo>
                    <a:pt x="400" y="1505"/>
                    <a:pt x="386" y="1510"/>
                    <a:pt x="381" y="1512"/>
                  </a:cubicBezTo>
                  <a:cubicBezTo>
                    <a:pt x="380" y="1512"/>
                    <a:pt x="380" y="1512"/>
                    <a:pt x="380" y="1512"/>
                  </a:cubicBezTo>
                  <a:cubicBezTo>
                    <a:pt x="369" y="1520"/>
                    <a:pt x="352" y="1511"/>
                    <a:pt x="338" y="1511"/>
                  </a:cubicBezTo>
                  <a:cubicBezTo>
                    <a:pt x="334" y="1510"/>
                    <a:pt x="329" y="1510"/>
                    <a:pt x="325" y="1509"/>
                  </a:cubicBezTo>
                  <a:cubicBezTo>
                    <a:pt x="323" y="1508"/>
                    <a:pt x="316" y="1506"/>
                    <a:pt x="318" y="1508"/>
                  </a:cubicBezTo>
                  <a:cubicBezTo>
                    <a:pt x="330" y="1519"/>
                    <a:pt x="372" y="1519"/>
                    <a:pt x="381" y="1513"/>
                  </a:cubicBezTo>
                  <a:cubicBezTo>
                    <a:pt x="386" y="1510"/>
                    <a:pt x="397" y="1517"/>
                    <a:pt x="397" y="1512"/>
                  </a:cubicBezTo>
                  <a:close/>
                  <a:moveTo>
                    <a:pt x="425" y="1821"/>
                  </a:moveTo>
                  <a:cubicBezTo>
                    <a:pt x="421" y="1814"/>
                    <a:pt x="401" y="1805"/>
                    <a:pt x="402" y="1797"/>
                  </a:cubicBezTo>
                  <a:cubicBezTo>
                    <a:pt x="402" y="1797"/>
                    <a:pt x="402" y="1797"/>
                    <a:pt x="402" y="1797"/>
                  </a:cubicBezTo>
                  <a:cubicBezTo>
                    <a:pt x="402" y="1794"/>
                    <a:pt x="392" y="1795"/>
                    <a:pt x="395" y="1800"/>
                  </a:cubicBezTo>
                  <a:cubicBezTo>
                    <a:pt x="399" y="1806"/>
                    <a:pt x="408" y="1809"/>
                    <a:pt x="412" y="1814"/>
                  </a:cubicBezTo>
                  <a:cubicBezTo>
                    <a:pt x="416" y="1817"/>
                    <a:pt x="426" y="1826"/>
                    <a:pt x="425" y="1821"/>
                  </a:cubicBezTo>
                  <a:close/>
                  <a:moveTo>
                    <a:pt x="515" y="1230"/>
                  </a:moveTo>
                  <a:cubicBezTo>
                    <a:pt x="516" y="1231"/>
                    <a:pt x="520" y="1229"/>
                    <a:pt x="521" y="1229"/>
                  </a:cubicBezTo>
                  <a:cubicBezTo>
                    <a:pt x="526" y="1228"/>
                    <a:pt x="564" y="1238"/>
                    <a:pt x="562" y="1231"/>
                  </a:cubicBezTo>
                  <a:cubicBezTo>
                    <a:pt x="560" y="1228"/>
                    <a:pt x="569" y="1231"/>
                    <a:pt x="566" y="1228"/>
                  </a:cubicBezTo>
                  <a:cubicBezTo>
                    <a:pt x="565" y="1227"/>
                    <a:pt x="565" y="1227"/>
                    <a:pt x="565" y="1227"/>
                  </a:cubicBezTo>
                  <a:cubicBezTo>
                    <a:pt x="557" y="1225"/>
                    <a:pt x="531" y="1226"/>
                    <a:pt x="522" y="1227"/>
                  </a:cubicBezTo>
                  <a:cubicBezTo>
                    <a:pt x="521" y="1227"/>
                    <a:pt x="514" y="1228"/>
                    <a:pt x="515" y="1230"/>
                  </a:cubicBezTo>
                  <a:close/>
                  <a:moveTo>
                    <a:pt x="492" y="1706"/>
                  </a:moveTo>
                  <a:cubicBezTo>
                    <a:pt x="492" y="1705"/>
                    <a:pt x="501" y="1689"/>
                    <a:pt x="499" y="1689"/>
                  </a:cubicBezTo>
                  <a:cubicBezTo>
                    <a:pt x="495" y="1690"/>
                    <a:pt x="497" y="1698"/>
                    <a:pt x="494" y="1698"/>
                  </a:cubicBezTo>
                  <a:cubicBezTo>
                    <a:pt x="483" y="1701"/>
                    <a:pt x="483" y="1677"/>
                    <a:pt x="470" y="1707"/>
                  </a:cubicBezTo>
                  <a:cubicBezTo>
                    <a:pt x="469" y="1708"/>
                    <a:pt x="469" y="1709"/>
                    <a:pt x="469" y="1710"/>
                  </a:cubicBezTo>
                  <a:cubicBezTo>
                    <a:pt x="470" y="1711"/>
                    <a:pt x="476" y="1705"/>
                    <a:pt x="477" y="1704"/>
                  </a:cubicBezTo>
                  <a:cubicBezTo>
                    <a:pt x="488" y="1701"/>
                    <a:pt x="503" y="1729"/>
                    <a:pt x="497" y="1714"/>
                  </a:cubicBezTo>
                  <a:cubicBezTo>
                    <a:pt x="496" y="1711"/>
                    <a:pt x="494" y="1709"/>
                    <a:pt x="493" y="1706"/>
                  </a:cubicBezTo>
                  <a:lnTo>
                    <a:pt x="492" y="1706"/>
                  </a:lnTo>
                  <a:close/>
                  <a:moveTo>
                    <a:pt x="509" y="1639"/>
                  </a:moveTo>
                  <a:cubicBezTo>
                    <a:pt x="507" y="1634"/>
                    <a:pt x="499" y="1631"/>
                    <a:pt x="499" y="1630"/>
                  </a:cubicBezTo>
                  <a:cubicBezTo>
                    <a:pt x="498" y="1627"/>
                    <a:pt x="498" y="1623"/>
                    <a:pt x="498" y="1620"/>
                  </a:cubicBezTo>
                  <a:cubicBezTo>
                    <a:pt x="498" y="1620"/>
                    <a:pt x="498" y="1620"/>
                    <a:pt x="498" y="1620"/>
                  </a:cubicBezTo>
                  <a:cubicBezTo>
                    <a:pt x="500" y="1618"/>
                    <a:pt x="500" y="1616"/>
                    <a:pt x="500" y="1615"/>
                  </a:cubicBezTo>
                  <a:cubicBezTo>
                    <a:pt x="500" y="1615"/>
                    <a:pt x="500" y="1614"/>
                    <a:pt x="500" y="1614"/>
                  </a:cubicBezTo>
                  <a:cubicBezTo>
                    <a:pt x="500" y="1612"/>
                    <a:pt x="499" y="1611"/>
                    <a:pt x="498" y="1609"/>
                  </a:cubicBezTo>
                  <a:cubicBezTo>
                    <a:pt x="498" y="1603"/>
                    <a:pt x="496" y="1597"/>
                    <a:pt x="488" y="1592"/>
                  </a:cubicBezTo>
                  <a:cubicBezTo>
                    <a:pt x="487" y="1592"/>
                    <a:pt x="487" y="1592"/>
                    <a:pt x="487" y="1592"/>
                  </a:cubicBezTo>
                  <a:cubicBezTo>
                    <a:pt x="476" y="1590"/>
                    <a:pt x="492" y="1600"/>
                    <a:pt x="498" y="1609"/>
                  </a:cubicBezTo>
                  <a:cubicBezTo>
                    <a:pt x="498" y="1613"/>
                    <a:pt x="498" y="1616"/>
                    <a:pt x="498" y="1620"/>
                  </a:cubicBezTo>
                  <a:cubicBezTo>
                    <a:pt x="490" y="1627"/>
                    <a:pt x="503" y="1634"/>
                    <a:pt x="504" y="1640"/>
                  </a:cubicBezTo>
                  <a:cubicBezTo>
                    <a:pt x="504" y="1645"/>
                    <a:pt x="495" y="1669"/>
                    <a:pt x="505" y="1670"/>
                  </a:cubicBezTo>
                  <a:cubicBezTo>
                    <a:pt x="506" y="1670"/>
                    <a:pt x="506" y="1670"/>
                    <a:pt x="507" y="1670"/>
                  </a:cubicBezTo>
                  <a:cubicBezTo>
                    <a:pt x="509" y="1668"/>
                    <a:pt x="503" y="1663"/>
                    <a:pt x="503" y="1660"/>
                  </a:cubicBezTo>
                  <a:cubicBezTo>
                    <a:pt x="504" y="1653"/>
                    <a:pt x="509" y="1650"/>
                    <a:pt x="512" y="1645"/>
                  </a:cubicBezTo>
                  <a:cubicBezTo>
                    <a:pt x="513" y="1643"/>
                    <a:pt x="509" y="1641"/>
                    <a:pt x="509" y="1639"/>
                  </a:cubicBezTo>
                  <a:close/>
                  <a:moveTo>
                    <a:pt x="568" y="1667"/>
                  </a:moveTo>
                  <a:cubicBezTo>
                    <a:pt x="575" y="1667"/>
                    <a:pt x="563" y="1658"/>
                    <a:pt x="565" y="1651"/>
                  </a:cubicBezTo>
                  <a:cubicBezTo>
                    <a:pt x="565" y="1649"/>
                    <a:pt x="566" y="1648"/>
                    <a:pt x="565" y="1649"/>
                  </a:cubicBezTo>
                  <a:cubicBezTo>
                    <a:pt x="565" y="1649"/>
                    <a:pt x="565" y="1649"/>
                    <a:pt x="565" y="1649"/>
                  </a:cubicBezTo>
                  <a:cubicBezTo>
                    <a:pt x="565" y="1650"/>
                    <a:pt x="565" y="1650"/>
                    <a:pt x="565" y="1651"/>
                  </a:cubicBezTo>
                  <a:cubicBezTo>
                    <a:pt x="562" y="1656"/>
                    <a:pt x="558" y="1667"/>
                    <a:pt x="568" y="1667"/>
                  </a:cubicBezTo>
                  <a:close/>
                  <a:moveTo>
                    <a:pt x="566" y="1714"/>
                  </a:moveTo>
                  <a:cubicBezTo>
                    <a:pt x="566" y="1714"/>
                    <a:pt x="566" y="1714"/>
                    <a:pt x="566" y="1714"/>
                  </a:cubicBezTo>
                  <a:cubicBezTo>
                    <a:pt x="560" y="1709"/>
                    <a:pt x="566" y="1718"/>
                    <a:pt x="567" y="1720"/>
                  </a:cubicBezTo>
                  <a:cubicBezTo>
                    <a:pt x="574" y="1730"/>
                    <a:pt x="577" y="1740"/>
                    <a:pt x="578" y="1754"/>
                  </a:cubicBezTo>
                  <a:cubicBezTo>
                    <a:pt x="578" y="1756"/>
                    <a:pt x="578" y="1759"/>
                    <a:pt x="581" y="1758"/>
                  </a:cubicBezTo>
                  <a:cubicBezTo>
                    <a:pt x="591" y="1754"/>
                    <a:pt x="569" y="1718"/>
                    <a:pt x="566" y="1714"/>
                  </a:cubicBezTo>
                  <a:close/>
                  <a:moveTo>
                    <a:pt x="584" y="1621"/>
                  </a:moveTo>
                  <a:cubicBezTo>
                    <a:pt x="583" y="1616"/>
                    <a:pt x="582" y="1625"/>
                    <a:pt x="577" y="1621"/>
                  </a:cubicBezTo>
                  <a:cubicBezTo>
                    <a:pt x="560" y="1610"/>
                    <a:pt x="572" y="1582"/>
                    <a:pt x="548" y="1578"/>
                  </a:cubicBezTo>
                  <a:cubicBezTo>
                    <a:pt x="547" y="1578"/>
                    <a:pt x="565" y="1600"/>
                    <a:pt x="546" y="1597"/>
                  </a:cubicBezTo>
                  <a:cubicBezTo>
                    <a:pt x="529" y="1594"/>
                    <a:pt x="534" y="1573"/>
                    <a:pt x="519" y="1562"/>
                  </a:cubicBezTo>
                  <a:cubicBezTo>
                    <a:pt x="519" y="1562"/>
                    <a:pt x="519" y="1562"/>
                    <a:pt x="519" y="1562"/>
                  </a:cubicBezTo>
                  <a:cubicBezTo>
                    <a:pt x="511" y="1558"/>
                    <a:pt x="509" y="1552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8" y="1546"/>
                    <a:pt x="508" y="1545"/>
                    <a:pt x="508" y="1545"/>
                  </a:cubicBezTo>
                  <a:cubicBezTo>
                    <a:pt x="508" y="1545"/>
                    <a:pt x="508" y="1547"/>
                    <a:pt x="509" y="1548"/>
                  </a:cubicBezTo>
                  <a:cubicBezTo>
                    <a:pt x="509" y="1548"/>
                    <a:pt x="509" y="1548"/>
                    <a:pt x="509" y="1548"/>
                  </a:cubicBezTo>
                  <a:cubicBezTo>
                    <a:pt x="509" y="1549"/>
                    <a:pt x="508" y="1551"/>
                    <a:pt x="508" y="1552"/>
                  </a:cubicBezTo>
                  <a:cubicBezTo>
                    <a:pt x="505" y="1561"/>
                    <a:pt x="521" y="1566"/>
                    <a:pt x="527" y="1573"/>
                  </a:cubicBezTo>
                  <a:cubicBezTo>
                    <a:pt x="533" y="1580"/>
                    <a:pt x="527" y="1590"/>
                    <a:pt x="534" y="1595"/>
                  </a:cubicBezTo>
                  <a:cubicBezTo>
                    <a:pt x="544" y="1604"/>
                    <a:pt x="557" y="1608"/>
                    <a:pt x="567" y="1616"/>
                  </a:cubicBezTo>
                  <a:cubicBezTo>
                    <a:pt x="576" y="1623"/>
                    <a:pt x="570" y="1632"/>
                    <a:pt x="575" y="1640"/>
                  </a:cubicBezTo>
                  <a:cubicBezTo>
                    <a:pt x="576" y="1642"/>
                    <a:pt x="577" y="1650"/>
                    <a:pt x="579" y="1648"/>
                  </a:cubicBezTo>
                  <a:cubicBezTo>
                    <a:pt x="581" y="1647"/>
                    <a:pt x="579" y="1636"/>
                    <a:pt x="579" y="1633"/>
                  </a:cubicBezTo>
                  <a:cubicBezTo>
                    <a:pt x="579" y="1629"/>
                    <a:pt x="585" y="1624"/>
                    <a:pt x="584" y="1621"/>
                  </a:cubicBezTo>
                  <a:close/>
                  <a:moveTo>
                    <a:pt x="585" y="1492"/>
                  </a:moveTo>
                  <a:cubicBezTo>
                    <a:pt x="580" y="1482"/>
                    <a:pt x="583" y="1474"/>
                    <a:pt x="579" y="1464"/>
                  </a:cubicBezTo>
                  <a:cubicBezTo>
                    <a:pt x="579" y="1464"/>
                    <a:pt x="579" y="1464"/>
                    <a:pt x="579" y="1464"/>
                  </a:cubicBezTo>
                  <a:cubicBezTo>
                    <a:pt x="577" y="1461"/>
                    <a:pt x="578" y="1504"/>
                    <a:pt x="589" y="1504"/>
                  </a:cubicBezTo>
                  <a:cubicBezTo>
                    <a:pt x="593" y="1504"/>
                    <a:pt x="586" y="1493"/>
                    <a:pt x="585" y="1492"/>
                  </a:cubicBezTo>
                  <a:close/>
                  <a:moveTo>
                    <a:pt x="38" y="1632"/>
                  </a:moveTo>
                  <a:cubicBezTo>
                    <a:pt x="46" y="1625"/>
                    <a:pt x="17" y="1619"/>
                    <a:pt x="16" y="1619"/>
                  </a:cubicBezTo>
                  <a:cubicBezTo>
                    <a:pt x="16" y="1619"/>
                    <a:pt x="16" y="1619"/>
                    <a:pt x="16" y="1619"/>
                  </a:cubicBezTo>
                  <a:cubicBezTo>
                    <a:pt x="12" y="1618"/>
                    <a:pt x="33" y="1636"/>
                    <a:pt x="38" y="1632"/>
                  </a:cubicBezTo>
                  <a:close/>
                  <a:moveTo>
                    <a:pt x="168" y="1435"/>
                  </a:moveTo>
                  <a:cubicBezTo>
                    <a:pt x="164" y="1435"/>
                    <a:pt x="163" y="1438"/>
                    <a:pt x="161" y="1440"/>
                  </a:cubicBezTo>
                  <a:cubicBezTo>
                    <a:pt x="164" y="1439"/>
                    <a:pt x="167" y="1436"/>
                    <a:pt x="171" y="1435"/>
                  </a:cubicBezTo>
                  <a:cubicBezTo>
                    <a:pt x="170" y="1435"/>
                    <a:pt x="169" y="1435"/>
                    <a:pt x="168" y="1435"/>
                  </a:cubicBezTo>
                  <a:close/>
                  <a:moveTo>
                    <a:pt x="31" y="1620"/>
                  </a:moveTo>
                  <a:cubicBezTo>
                    <a:pt x="34" y="1617"/>
                    <a:pt x="9" y="1598"/>
                    <a:pt x="7" y="1597"/>
                  </a:cubicBezTo>
                  <a:cubicBezTo>
                    <a:pt x="6" y="1597"/>
                    <a:pt x="6" y="1597"/>
                    <a:pt x="6" y="1597"/>
                  </a:cubicBezTo>
                  <a:cubicBezTo>
                    <a:pt x="0" y="1595"/>
                    <a:pt x="24" y="1625"/>
                    <a:pt x="31" y="1620"/>
                  </a:cubicBezTo>
                  <a:close/>
                  <a:moveTo>
                    <a:pt x="20" y="1628"/>
                  </a:moveTo>
                  <a:cubicBezTo>
                    <a:pt x="16" y="1626"/>
                    <a:pt x="22" y="1638"/>
                    <a:pt x="24" y="1635"/>
                  </a:cubicBezTo>
                  <a:cubicBezTo>
                    <a:pt x="26" y="1633"/>
                    <a:pt x="31" y="1653"/>
                    <a:pt x="39" y="1648"/>
                  </a:cubicBezTo>
                  <a:cubicBezTo>
                    <a:pt x="50" y="1641"/>
                    <a:pt x="22" y="1630"/>
                    <a:pt x="20" y="1628"/>
                  </a:cubicBezTo>
                  <a:close/>
                  <a:moveTo>
                    <a:pt x="130" y="1797"/>
                  </a:moveTo>
                  <a:cubicBezTo>
                    <a:pt x="130" y="1797"/>
                    <a:pt x="130" y="1797"/>
                    <a:pt x="130" y="1798"/>
                  </a:cubicBezTo>
                  <a:cubicBezTo>
                    <a:pt x="130" y="1798"/>
                    <a:pt x="130" y="1798"/>
                    <a:pt x="130" y="1798"/>
                  </a:cubicBezTo>
                  <a:cubicBezTo>
                    <a:pt x="130" y="1797"/>
                    <a:pt x="130" y="1797"/>
                    <a:pt x="130" y="1797"/>
                  </a:cubicBezTo>
                  <a:close/>
                  <a:moveTo>
                    <a:pt x="60" y="1703"/>
                  </a:moveTo>
                  <a:cubicBezTo>
                    <a:pt x="61" y="1700"/>
                    <a:pt x="59" y="1695"/>
                    <a:pt x="57" y="1694"/>
                  </a:cubicBezTo>
                  <a:cubicBezTo>
                    <a:pt x="57" y="1694"/>
                    <a:pt x="57" y="1694"/>
                    <a:pt x="57" y="1694"/>
                  </a:cubicBezTo>
                  <a:cubicBezTo>
                    <a:pt x="49" y="1693"/>
                    <a:pt x="56" y="1713"/>
                    <a:pt x="60" y="1703"/>
                  </a:cubicBezTo>
                  <a:close/>
                  <a:moveTo>
                    <a:pt x="57" y="1814"/>
                  </a:moveTo>
                  <a:cubicBezTo>
                    <a:pt x="57" y="1814"/>
                    <a:pt x="57" y="1814"/>
                    <a:pt x="57" y="1814"/>
                  </a:cubicBezTo>
                  <a:cubicBezTo>
                    <a:pt x="56" y="1814"/>
                    <a:pt x="52" y="1830"/>
                    <a:pt x="61" y="1825"/>
                  </a:cubicBezTo>
                  <a:cubicBezTo>
                    <a:pt x="65" y="1823"/>
                    <a:pt x="59" y="1816"/>
                    <a:pt x="57" y="1814"/>
                  </a:cubicBezTo>
                  <a:close/>
                  <a:moveTo>
                    <a:pt x="42" y="1791"/>
                  </a:moveTo>
                  <a:cubicBezTo>
                    <a:pt x="40" y="1789"/>
                    <a:pt x="40" y="1791"/>
                    <a:pt x="40" y="1793"/>
                  </a:cubicBezTo>
                  <a:cubicBezTo>
                    <a:pt x="41" y="1808"/>
                    <a:pt x="40" y="1807"/>
                    <a:pt x="38" y="1826"/>
                  </a:cubicBezTo>
                  <a:cubicBezTo>
                    <a:pt x="38" y="1827"/>
                    <a:pt x="38" y="1828"/>
                    <a:pt x="38" y="1828"/>
                  </a:cubicBezTo>
                  <a:cubicBezTo>
                    <a:pt x="55" y="1835"/>
                    <a:pt x="50" y="1797"/>
                    <a:pt x="42" y="1791"/>
                  </a:cubicBezTo>
                  <a:close/>
                  <a:moveTo>
                    <a:pt x="50" y="1716"/>
                  </a:moveTo>
                  <a:cubicBezTo>
                    <a:pt x="41" y="1730"/>
                    <a:pt x="61" y="1742"/>
                    <a:pt x="62" y="1741"/>
                  </a:cubicBezTo>
                  <a:cubicBezTo>
                    <a:pt x="76" y="1737"/>
                    <a:pt x="64" y="1715"/>
                    <a:pt x="55" y="1711"/>
                  </a:cubicBezTo>
                  <a:cubicBezTo>
                    <a:pt x="55" y="1711"/>
                    <a:pt x="55" y="1711"/>
                    <a:pt x="55" y="1711"/>
                  </a:cubicBezTo>
                  <a:cubicBezTo>
                    <a:pt x="55" y="1709"/>
                    <a:pt x="51" y="1714"/>
                    <a:pt x="50" y="1716"/>
                  </a:cubicBezTo>
                  <a:close/>
                  <a:moveTo>
                    <a:pt x="581" y="991"/>
                  </a:moveTo>
                  <a:cubicBezTo>
                    <a:pt x="582" y="990"/>
                    <a:pt x="582" y="989"/>
                    <a:pt x="582" y="988"/>
                  </a:cubicBezTo>
                  <a:cubicBezTo>
                    <a:pt x="581" y="989"/>
                    <a:pt x="581" y="990"/>
                    <a:pt x="581" y="991"/>
                  </a:cubicBezTo>
                  <a:close/>
                  <a:moveTo>
                    <a:pt x="912" y="635"/>
                  </a:moveTo>
                  <a:cubicBezTo>
                    <a:pt x="913" y="635"/>
                    <a:pt x="913" y="635"/>
                    <a:pt x="914" y="634"/>
                  </a:cubicBezTo>
                  <a:cubicBezTo>
                    <a:pt x="913" y="635"/>
                    <a:pt x="913" y="635"/>
                    <a:pt x="912" y="635"/>
                  </a:cubicBezTo>
                  <a:close/>
                  <a:moveTo>
                    <a:pt x="582" y="988"/>
                  </a:moveTo>
                  <a:cubicBezTo>
                    <a:pt x="582" y="987"/>
                    <a:pt x="583" y="987"/>
                    <a:pt x="583" y="986"/>
                  </a:cubicBezTo>
                  <a:cubicBezTo>
                    <a:pt x="583" y="985"/>
                    <a:pt x="577" y="984"/>
                    <a:pt x="576" y="983"/>
                  </a:cubicBezTo>
                  <a:cubicBezTo>
                    <a:pt x="567" y="969"/>
                    <a:pt x="538" y="997"/>
                    <a:pt x="551" y="992"/>
                  </a:cubicBezTo>
                  <a:cubicBezTo>
                    <a:pt x="553" y="990"/>
                    <a:pt x="556" y="988"/>
                    <a:pt x="558" y="987"/>
                  </a:cubicBezTo>
                  <a:cubicBezTo>
                    <a:pt x="559" y="986"/>
                    <a:pt x="559" y="986"/>
                    <a:pt x="559" y="986"/>
                  </a:cubicBezTo>
                  <a:cubicBezTo>
                    <a:pt x="560" y="985"/>
                    <a:pt x="561" y="985"/>
                    <a:pt x="563" y="986"/>
                  </a:cubicBezTo>
                  <a:cubicBezTo>
                    <a:pt x="569" y="992"/>
                    <a:pt x="577" y="995"/>
                    <a:pt x="581" y="991"/>
                  </a:cubicBezTo>
                  <a:cubicBezTo>
                    <a:pt x="581" y="990"/>
                    <a:pt x="581" y="989"/>
                    <a:pt x="582" y="988"/>
                  </a:cubicBezTo>
                  <a:close/>
                  <a:moveTo>
                    <a:pt x="780" y="729"/>
                  </a:moveTo>
                  <a:cubicBezTo>
                    <a:pt x="781" y="728"/>
                    <a:pt x="783" y="727"/>
                    <a:pt x="784" y="727"/>
                  </a:cubicBezTo>
                  <a:cubicBezTo>
                    <a:pt x="782" y="727"/>
                    <a:pt x="781" y="728"/>
                    <a:pt x="780" y="729"/>
                  </a:cubicBezTo>
                  <a:close/>
                  <a:moveTo>
                    <a:pt x="491" y="1220"/>
                  </a:moveTo>
                  <a:cubicBezTo>
                    <a:pt x="490" y="1220"/>
                    <a:pt x="489" y="1220"/>
                    <a:pt x="488" y="1220"/>
                  </a:cubicBezTo>
                  <a:cubicBezTo>
                    <a:pt x="490" y="1221"/>
                    <a:pt x="491" y="1221"/>
                    <a:pt x="492" y="1222"/>
                  </a:cubicBezTo>
                  <a:cubicBezTo>
                    <a:pt x="492" y="1221"/>
                    <a:pt x="491" y="1220"/>
                    <a:pt x="491" y="1220"/>
                  </a:cubicBezTo>
                  <a:close/>
                  <a:moveTo>
                    <a:pt x="546" y="1064"/>
                  </a:move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ubicBezTo>
                    <a:pt x="546" y="1064"/>
                    <a:pt x="546" y="1064"/>
                    <a:pt x="546" y="1064"/>
                  </a:cubicBezTo>
                  <a:close/>
                  <a:moveTo>
                    <a:pt x="56" y="1708"/>
                  </a:moveTo>
                  <a:cubicBezTo>
                    <a:pt x="56" y="1714"/>
                    <a:pt x="67" y="1713"/>
                    <a:pt x="67" y="1713"/>
                  </a:cubicBezTo>
                  <a:cubicBezTo>
                    <a:pt x="75" y="1727"/>
                    <a:pt x="79" y="1717"/>
                    <a:pt x="83" y="1706"/>
                  </a:cubicBezTo>
                  <a:cubicBezTo>
                    <a:pt x="83" y="1705"/>
                    <a:pt x="83" y="1705"/>
                    <a:pt x="83" y="1705"/>
                  </a:cubicBezTo>
                  <a:cubicBezTo>
                    <a:pt x="84" y="1683"/>
                    <a:pt x="63" y="1706"/>
                    <a:pt x="60" y="1706"/>
                  </a:cubicBezTo>
                  <a:cubicBezTo>
                    <a:pt x="59" y="1706"/>
                    <a:pt x="56" y="1706"/>
                    <a:pt x="56" y="1708"/>
                  </a:cubicBezTo>
                  <a:close/>
                  <a:moveTo>
                    <a:pt x="610" y="982"/>
                  </a:moveTo>
                  <a:cubicBezTo>
                    <a:pt x="609" y="983"/>
                    <a:pt x="606" y="983"/>
                    <a:pt x="603" y="983"/>
                  </a:cubicBezTo>
                  <a:cubicBezTo>
                    <a:pt x="605" y="984"/>
                    <a:pt x="608" y="983"/>
                    <a:pt x="610" y="982"/>
                  </a:cubicBezTo>
                  <a:close/>
                  <a:moveTo>
                    <a:pt x="42" y="1762"/>
                  </a:moveTo>
                  <a:cubicBezTo>
                    <a:pt x="45" y="1755"/>
                    <a:pt x="31" y="1748"/>
                    <a:pt x="43" y="1742"/>
                  </a:cubicBezTo>
                  <a:cubicBezTo>
                    <a:pt x="52" y="1737"/>
                    <a:pt x="48" y="1748"/>
                    <a:pt x="48" y="1751"/>
                  </a:cubicBezTo>
                  <a:cubicBezTo>
                    <a:pt x="48" y="1754"/>
                    <a:pt x="53" y="1750"/>
                    <a:pt x="54" y="1749"/>
                  </a:cubicBezTo>
                  <a:cubicBezTo>
                    <a:pt x="57" y="1747"/>
                    <a:pt x="49" y="1739"/>
                    <a:pt x="48" y="1736"/>
                  </a:cubicBezTo>
                  <a:cubicBezTo>
                    <a:pt x="47" y="1732"/>
                    <a:pt x="40" y="1730"/>
                    <a:pt x="38" y="1725"/>
                  </a:cubicBezTo>
                  <a:cubicBezTo>
                    <a:pt x="38" y="1725"/>
                    <a:pt x="38" y="1725"/>
                    <a:pt x="38" y="1725"/>
                  </a:cubicBezTo>
                  <a:cubicBezTo>
                    <a:pt x="36" y="1724"/>
                    <a:pt x="39" y="1730"/>
                    <a:pt x="37" y="1731"/>
                  </a:cubicBezTo>
                  <a:cubicBezTo>
                    <a:pt x="23" y="1742"/>
                    <a:pt x="44" y="1734"/>
                    <a:pt x="35" y="1750"/>
                  </a:cubicBezTo>
                  <a:cubicBezTo>
                    <a:pt x="33" y="1754"/>
                    <a:pt x="35" y="1763"/>
                    <a:pt x="37" y="1766"/>
                  </a:cubicBezTo>
                  <a:cubicBezTo>
                    <a:pt x="38" y="1767"/>
                    <a:pt x="42" y="1763"/>
                    <a:pt x="42" y="1762"/>
                  </a:cubicBezTo>
                  <a:close/>
                  <a:moveTo>
                    <a:pt x="346" y="1178"/>
                  </a:moveTo>
                  <a:cubicBezTo>
                    <a:pt x="345" y="1178"/>
                    <a:pt x="340" y="1177"/>
                    <a:pt x="340" y="1180"/>
                  </a:cubicBezTo>
                  <a:cubicBezTo>
                    <a:pt x="340" y="1182"/>
                    <a:pt x="356" y="1183"/>
                    <a:pt x="356" y="1185"/>
                  </a:cubicBezTo>
                  <a:cubicBezTo>
                    <a:pt x="356" y="1187"/>
                    <a:pt x="350" y="1185"/>
                    <a:pt x="350" y="1185"/>
                  </a:cubicBezTo>
                  <a:cubicBezTo>
                    <a:pt x="339" y="1183"/>
                    <a:pt x="316" y="1187"/>
                    <a:pt x="317" y="1202"/>
                  </a:cubicBezTo>
                  <a:cubicBezTo>
                    <a:pt x="317" y="1210"/>
                    <a:pt x="354" y="1199"/>
                    <a:pt x="363" y="1197"/>
                  </a:cubicBezTo>
                  <a:cubicBezTo>
                    <a:pt x="373" y="1196"/>
                    <a:pt x="386" y="1195"/>
                    <a:pt x="393" y="1187"/>
                  </a:cubicBezTo>
                  <a:cubicBezTo>
                    <a:pt x="394" y="1187"/>
                    <a:pt x="394" y="1187"/>
                    <a:pt x="394" y="1187"/>
                  </a:cubicBezTo>
                  <a:cubicBezTo>
                    <a:pt x="399" y="1185"/>
                    <a:pt x="392" y="1186"/>
                    <a:pt x="392" y="1183"/>
                  </a:cubicBezTo>
                  <a:cubicBezTo>
                    <a:pt x="391" y="1175"/>
                    <a:pt x="381" y="1183"/>
                    <a:pt x="379" y="1182"/>
                  </a:cubicBezTo>
                  <a:cubicBezTo>
                    <a:pt x="374" y="1180"/>
                    <a:pt x="384" y="1168"/>
                    <a:pt x="373" y="1173"/>
                  </a:cubicBezTo>
                  <a:cubicBezTo>
                    <a:pt x="372" y="1173"/>
                    <a:pt x="370" y="1173"/>
                    <a:pt x="369" y="1174"/>
                  </a:cubicBezTo>
                  <a:cubicBezTo>
                    <a:pt x="369" y="1174"/>
                    <a:pt x="355" y="1180"/>
                    <a:pt x="346" y="1178"/>
                  </a:cubicBezTo>
                  <a:close/>
                  <a:moveTo>
                    <a:pt x="552" y="974"/>
                  </a:moveTo>
                  <a:cubicBezTo>
                    <a:pt x="552" y="972"/>
                    <a:pt x="548" y="973"/>
                    <a:pt x="547" y="972"/>
                  </a:cubicBezTo>
                  <a:cubicBezTo>
                    <a:pt x="537" y="971"/>
                    <a:pt x="544" y="982"/>
                    <a:pt x="552" y="975"/>
                  </a:cubicBezTo>
                  <a:cubicBezTo>
                    <a:pt x="552" y="975"/>
                    <a:pt x="552" y="975"/>
                    <a:pt x="552" y="975"/>
                  </a:cubicBezTo>
                  <a:cubicBezTo>
                    <a:pt x="552" y="974"/>
                    <a:pt x="552" y="974"/>
                    <a:pt x="552" y="974"/>
                  </a:cubicBezTo>
                  <a:close/>
                  <a:moveTo>
                    <a:pt x="706" y="802"/>
                  </a:move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lose/>
                  <a:moveTo>
                    <a:pt x="718" y="785"/>
                  </a:moveTo>
                  <a:cubicBezTo>
                    <a:pt x="722" y="785"/>
                    <a:pt x="726" y="779"/>
                    <a:pt x="726" y="776"/>
                  </a:cubicBezTo>
                  <a:cubicBezTo>
                    <a:pt x="726" y="776"/>
                    <a:pt x="726" y="776"/>
                    <a:pt x="726" y="776"/>
                  </a:cubicBezTo>
                  <a:cubicBezTo>
                    <a:pt x="723" y="768"/>
                    <a:pt x="703" y="783"/>
                    <a:pt x="718" y="785"/>
                  </a:cubicBezTo>
                  <a:close/>
                  <a:moveTo>
                    <a:pt x="558" y="981"/>
                  </a:moveTo>
                  <a:cubicBezTo>
                    <a:pt x="559" y="980"/>
                    <a:pt x="559" y="980"/>
                    <a:pt x="559" y="980"/>
                  </a:cubicBezTo>
                  <a:cubicBezTo>
                    <a:pt x="576" y="966"/>
                    <a:pt x="558" y="974"/>
                    <a:pt x="546" y="981"/>
                  </a:cubicBezTo>
                  <a:cubicBezTo>
                    <a:pt x="524" y="994"/>
                    <a:pt x="541" y="990"/>
                    <a:pt x="558" y="981"/>
                  </a:cubicBezTo>
                  <a:close/>
                  <a:moveTo>
                    <a:pt x="1452" y="185"/>
                  </a:moveTo>
                  <a:cubicBezTo>
                    <a:pt x="1453" y="186"/>
                    <a:pt x="1453" y="186"/>
                    <a:pt x="1453" y="186"/>
                  </a:cubicBezTo>
                  <a:cubicBezTo>
                    <a:pt x="1473" y="188"/>
                    <a:pt x="1448" y="173"/>
                    <a:pt x="1452" y="185"/>
                  </a:cubicBezTo>
                  <a:close/>
                  <a:moveTo>
                    <a:pt x="1447" y="177"/>
                  </a:moveTo>
                  <a:cubicBezTo>
                    <a:pt x="1467" y="172"/>
                    <a:pt x="1421" y="161"/>
                    <a:pt x="1444" y="177"/>
                  </a:cubicBezTo>
                  <a:lnTo>
                    <a:pt x="1447" y="177"/>
                  </a:lnTo>
                  <a:close/>
                  <a:moveTo>
                    <a:pt x="1434" y="200"/>
                  </a:moveTo>
                  <a:cubicBezTo>
                    <a:pt x="1440" y="204"/>
                    <a:pt x="1469" y="186"/>
                    <a:pt x="1451" y="191"/>
                  </a:cubicBezTo>
                  <a:cubicBezTo>
                    <a:pt x="1450" y="192"/>
                    <a:pt x="1450" y="192"/>
                    <a:pt x="1450" y="192"/>
                  </a:cubicBezTo>
                  <a:cubicBezTo>
                    <a:pt x="1446" y="193"/>
                    <a:pt x="1443" y="187"/>
                    <a:pt x="1440" y="185"/>
                  </a:cubicBezTo>
                  <a:cubicBezTo>
                    <a:pt x="1429" y="180"/>
                    <a:pt x="1426" y="196"/>
                    <a:pt x="1434" y="200"/>
                  </a:cubicBezTo>
                  <a:close/>
                  <a:moveTo>
                    <a:pt x="647" y="950"/>
                  </a:moveTo>
                  <a:cubicBezTo>
                    <a:pt x="651" y="941"/>
                    <a:pt x="636" y="952"/>
                    <a:pt x="634" y="955"/>
                  </a:cubicBezTo>
                  <a:cubicBezTo>
                    <a:pt x="632" y="959"/>
                    <a:pt x="629" y="960"/>
                    <a:pt x="626" y="963"/>
                  </a:cubicBezTo>
                  <a:cubicBezTo>
                    <a:pt x="620" y="972"/>
                    <a:pt x="642" y="959"/>
                    <a:pt x="645" y="956"/>
                  </a:cubicBezTo>
                  <a:cubicBezTo>
                    <a:pt x="650" y="952"/>
                    <a:pt x="638" y="957"/>
                    <a:pt x="639" y="955"/>
                  </a:cubicBezTo>
                  <a:cubicBezTo>
                    <a:pt x="640" y="951"/>
                    <a:pt x="646" y="953"/>
                    <a:pt x="647" y="950"/>
                  </a:cubicBezTo>
                  <a:close/>
                  <a:moveTo>
                    <a:pt x="665" y="898"/>
                  </a:moveTo>
                  <a:cubicBezTo>
                    <a:pt x="665" y="897"/>
                    <a:pt x="665" y="897"/>
                    <a:pt x="665" y="897"/>
                  </a:cubicBezTo>
                  <a:cubicBezTo>
                    <a:pt x="656" y="896"/>
                    <a:pt x="657" y="921"/>
                    <a:pt x="665" y="898"/>
                  </a:cubicBezTo>
                  <a:close/>
                  <a:moveTo>
                    <a:pt x="702" y="799"/>
                  </a:moveTo>
                  <a:cubicBezTo>
                    <a:pt x="707" y="797"/>
                    <a:pt x="699" y="798"/>
                    <a:pt x="698" y="798"/>
                  </a:cubicBezTo>
                  <a:cubicBezTo>
                    <a:pt x="694" y="797"/>
                    <a:pt x="703" y="795"/>
                    <a:pt x="703" y="794"/>
                  </a:cubicBezTo>
                  <a:cubicBezTo>
                    <a:pt x="703" y="792"/>
                    <a:pt x="701" y="784"/>
                    <a:pt x="698" y="784"/>
                  </a:cubicBezTo>
                  <a:cubicBezTo>
                    <a:pt x="697" y="784"/>
                    <a:pt x="697" y="786"/>
                    <a:pt x="697" y="786"/>
                  </a:cubicBezTo>
                  <a:cubicBezTo>
                    <a:pt x="696" y="788"/>
                    <a:pt x="694" y="788"/>
                    <a:pt x="693" y="788"/>
                  </a:cubicBezTo>
                  <a:cubicBezTo>
                    <a:pt x="676" y="789"/>
                    <a:pt x="700" y="794"/>
                    <a:pt x="700" y="794"/>
                  </a:cubicBezTo>
                  <a:cubicBezTo>
                    <a:pt x="699" y="795"/>
                    <a:pt x="696" y="795"/>
                    <a:pt x="696" y="795"/>
                  </a:cubicBezTo>
                  <a:cubicBezTo>
                    <a:pt x="689" y="799"/>
                    <a:pt x="674" y="812"/>
                    <a:pt x="674" y="815"/>
                  </a:cubicBezTo>
                  <a:cubicBezTo>
                    <a:pt x="674" y="816"/>
                    <a:pt x="703" y="806"/>
                    <a:pt x="706" y="802"/>
                  </a:cubicBezTo>
                  <a:cubicBezTo>
                    <a:pt x="705" y="803"/>
                    <a:pt x="701" y="800"/>
                    <a:pt x="702" y="799"/>
                  </a:cubicBezTo>
                  <a:close/>
                  <a:moveTo>
                    <a:pt x="607" y="962"/>
                  </a:moveTo>
                  <a:cubicBezTo>
                    <a:pt x="612" y="965"/>
                    <a:pt x="618" y="959"/>
                    <a:pt x="624" y="956"/>
                  </a:cubicBezTo>
                  <a:cubicBezTo>
                    <a:pt x="624" y="956"/>
                    <a:pt x="624" y="956"/>
                    <a:pt x="624" y="956"/>
                  </a:cubicBezTo>
                  <a:cubicBezTo>
                    <a:pt x="640" y="947"/>
                    <a:pt x="597" y="958"/>
                    <a:pt x="607" y="962"/>
                  </a:cubicBezTo>
                  <a:close/>
                  <a:moveTo>
                    <a:pt x="689" y="912"/>
                  </a:moveTo>
                  <a:cubicBezTo>
                    <a:pt x="695" y="909"/>
                    <a:pt x="677" y="880"/>
                    <a:pt x="671" y="882"/>
                  </a:cubicBezTo>
                  <a:cubicBezTo>
                    <a:pt x="667" y="883"/>
                    <a:pt x="670" y="889"/>
                    <a:pt x="670" y="889"/>
                  </a:cubicBezTo>
                  <a:cubicBezTo>
                    <a:pt x="668" y="907"/>
                    <a:pt x="671" y="890"/>
                    <a:pt x="676" y="898"/>
                  </a:cubicBezTo>
                  <a:cubicBezTo>
                    <a:pt x="677" y="899"/>
                    <a:pt x="677" y="899"/>
                    <a:pt x="677" y="899"/>
                  </a:cubicBezTo>
                  <a:cubicBezTo>
                    <a:pt x="677" y="900"/>
                    <a:pt x="665" y="906"/>
                    <a:pt x="663" y="909"/>
                  </a:cubicBezTo>
                  <a:cubicBezTo>
                    <a:pt x="661" y="913"/>
                    <a:pt x="658" y="932"/>
                    <a:pt x="655" y="935"/>
                  </a:cubicBezTo>
                  <a:cubicBezTo>
                    <a:pt x="654" y="935"/>
                    <a:pt x="652" y="937"/>
                    <a:pt x="654" y="938"/>
                  </a:cubicBezTo>
                  <a:cubicBezTo>
                    <a:pt x="654" y="938"/>
                    <a:pt x="654" y="938"/>
                    <a:pt x="655" y="938"/>
                  </a:cubicBezTo>
                  <a:cubicBezTo>
                    <a:pt x="670" y="933"/>
                    <a:pt x="663" y="926"/>
                    <a:pt x="666" y="921"/>
                  </a:cubicBezTo>
                  <a:cubicBezTo>
                    <a:pt x="670" y="914"/>
                    <a:pt x="681" y="917"/>
                    <a:pt x="688" y="914"/>
                  </a:cubicBezTo>
                  <a:cubicBezTo>
                    <a:pt x="688" y="914"/>
                    <a:pt x="688" y="914"/>
                    <a:pt x="688" y="914"/>
                  </a:cubicBezTo>
                  <a:cubicBezTo>
                    <a:pt x="688" y="914"/>
                    <a:pt x="688" y="913"/>
                    <a:pt x="689" y="912"/>
                  </a:cubicBezTo>
                  <a:close/>
                  <a:moveTo>
                    <a:pt x="660" y="941"/>
                  </a:moveTo>
                  <a:cubicBezTo>
                    <a:pt x="659" y="941"/>
                    <a:pt x="658" y="941"/>
                    <a:pt x="657" y="942"/>
                  </a:cubicBezTo>
                  <a:cubicBezTo>
                    <a:pt x="655" y="944"/>
                    <a:pt x="661" y="948"/>
                    <a:pt x="659" y="951"/>
                  </a:cubicBezTo>
                  <a:cubicBezTo>
                    <a:pt x="657" y="954"/>
                    <a:pt x="647" y="955"/>
                    <a:pt x="646" y="958"/>
                  </a:cubicBezTo>
                  <a:cubicBezTo>
                    <a:pt x="645" y="964"/>
                    <a:pt x="672" y="958"/>
                    <a:pt x="675" y="956"/>
                  </a:cubicBezTo>
                  <a:cubicBezTo>
                    <a:pt x="676" y="955"/>
                    <a:pt x="676" y="955"/>
                    <a:pt x="676" y="955"/>
                  </a:cubicBezTo>
                  <a:cubicBezTo>
                    <a:pt x="678" y="950"/>
                    <a:pt x="670" y="953"/>
                    <a:pt x="668" y="952"/>
                  </a:cubicBezTo>
                  <a:cubicBezTo>
                    <a:pt x="667" y="952"/>
                    <a:pt x="672" y="947"/>
                    <a:pt x="672" y="947"/>
                  </a:cubicBezTo>
                  <a:cubicBezTo>
                    <a:pt x="673" y="939"/>
                    <a:pt x="663" y="939"/>
                    <a:pt x="660" y="941"/>
                  </a:cubicBezTo>
                  <a:close/>
                  <a:moveTo>
                    <a:pt x="648" y="864"/>
                  </a:moveTo>
                  <a:cubicBezTo>
                    <a:pt x="648" y="863"/>
                    <a:pt x="648" y="863"/>
                    <a:pt x="648" y="863"/>
                  </a:cubicBezTo>
                  <a:cubicBezTo>
                    <a:pt x="644" y="864"/>
                    <a:pt x="620" y="865"/>
                    <a:pt x="627" y="877"/>
                  </a:cubicBezTo>
                  <a:cubicBezTo>
                    <a:pt x="631" y="885"/>
                    <a:pt x="653" y="875"/>
                    <a:pt x="648" y="864"/>
                  </a:cubicBezTo>
                  <a:close/>
                  <a:moveTo>
                    <a:pt x="1884" y="83"/>
                  </a:moveTo>
                  <a:cubicBezTo>
                    <a:pt x="1885" y="83"/>
                    <a:pt x="1885" y="83"/>
                    <a:pt x="1885" y="83"/>
                  </a:cubicBezTo>
                  <a:cubicBezTo>
                    <a:pt x="1893" y="84"/>
                    <a:pt x="1891" y="75"/>
                    <a:pt x="1890" y="76"/>
                  </a:cubicBezTo>
                  <a:cubicBezTo>
                    <a:pt x="1887" y="76"/>
                    <a:pt x="1880" y="80"/>
                    <a:pt x="1884" y="83"/>
                  </a:cubicBezTo>
                  <a:close/>
                  <a:moveTo>
                    <a:pt x="715" y="558"/>
                  </a:moveTo>
                  <a:cubicBezTo>
                    <a:pt x="715" y="558"/>
                    <a:pt x="715" y="558"/>
                    <a:pt x="715" y="558"/>
                  </a:cubicBezTo>
                  <a:cubicBezTo>
                    <a:pt x="715" y="558"/>
                    <a:pt x="697" y="561"/>
                    <a:pt x="703" y="566"/>
                  </a:cubicBezTo>
                  <a:cubicBezTo>
                    <a:pt x="704" y="567"/>
                    <a:pt x="716" y="561"/>
                    <a:pt x="715" y="558"/>
                  </a:cubicBezTo>
                  <a:close/>
                  <a:moveTo>
                    <a:pt x="281" y="1249"/>
                  </a:moveTo>
                  <a:cubicBezTo>
                    <a:pt x="280" y="1248"/>
                    <a:pt x="280" y="1248"/>
                    <a:pt x="280" y="1248"/>
                  </a:cubicBezTo>
                  <a:cubicBezTo>
                    <a:pt x="265" y="1246"/>
                    <a:pt x="277" y="1260"/>
                    <a:pt x="281" y="1249"/>
                  </a:cubicBezTo>
                  <a:close/>
                  <a:moveTo>
                    <a:pt x="284" y="1257"/>
                  </a:moveTo>
                  <a:cubicBezTo>
                    <a:pt x="284" y="1257"/>
                    <a:pt x="284" y="1257"/>
                    <a:pt x="284" y="1257"/>
                  </a:cubicBezTo>
                  <a:cubicBezTo>
                    <a:pt x="280" y="1251"/>
                    <a:pt x="265" y="1257"/>
                    <a:pt x="263" y="1261"/>
                  </a:cubicBezTo>
                  <a:cubicBezTo>
                    <a:pt x="262" y="1263"/>
                    <a:pt x="282" y="1270"/>
                    <a:pt x="284" y="1257"/>
                  </a:cubicBezTo>
                  <a:close/>
                  <a:moveTo>
                    <a:pt x="308" y="1212"/>
                  </a:moveTo>
                  <a:cubicBezTo>
                    <a:pt x="308" y="1211"/>
                    <a:pt x="308" y="1211"/>
                    <a:pt x="308" y="1211"/>
                  </a:cubicBezTo>
                  <a:cubicBezTo>
                    <a:pt x="303" y="1190"/>
                    <a:pt x="287" y="1209"/>
                    <a:pt x="280" y="1205"/>
                  </a:cubicBezTo>
                  <a:cubicBezTo>
                    <a:pt x="279" y="1205"/>
                    <a:pt x="271" y="1208"/>
                    <a:pt x="272" y="1209"/>
                  </a:cubicBezTo>
                  <a:cubicBezTo>
                    <a:pt x="277" y="1218"/>
                    <a:pt x="299" y="1228"/>
                    <a:pt x="308" y="1212"/>
                  </a:cubicBezTo>
                  <a:close/>
                  <a:moveTo>
                    <a:pt x="298" y="1234"/>
                  </a:moveTo>
                  <a:cubicBezTo>
                    <a:pt x="280" y="1237"/>
                    <a:pt x="287" y="1252"/>
                    <a:pt x="305" y="1247"/>
                  </a:cubicBezTo>
                  <a:cubicBezTo>
                    <a:pt x="306" y="1247"/>
                    <a:pt x="306" y="1247"/>
                    <a:pt x="306" y="1247"/>
                  </a:cubicBezTo>
                  <a:cubicBezTo>
                    <a:pt x="310" y="1246"/>
                    <a:pt x="305" y="1233"/>
                    <a:pt x="298" y="1234"/>
                  </a:cubicBezTo>
                  <a:close/>
                  <a:moveTo>
                    <a:pt x="266" y="1269"/>
                  </a:moveTo>
                  <a:cubicBezTo>
                    <a:pt x="266" y="1268"/>
                    <a:pt x="266" y="1268"/>
                    <a:pt x="266" y="1268"/>
                  </a:cubicBezTo>
                  <a:cubicBezTo>
                    <a:pt x="263" y="1264"/>
                    <a:pt x="262" y="1254"/>
                    <a:pt x="260" y="1252"/>
                  </a:cubicBezTo>
                  <a:cubicBezTo>
                    <a:pt x="254" y="1247"/>
                    <a:pt x="256" y="1265"/>
                    <a:pt x="253" y="1266"/>
                  </a:cubicBezTo>
                  <a:cubicBezTo>
                    <a:pt x="250" y="1267"/>
                    <a:pt x="245" y="1259"/>
                    <a:pt x="243" y="1259"/>
                  </a:cubicBezTo>
                  <a:cubicBezTo>
                    <a:pt x="243" y="1260"/>
                    <a:pt x="235" y="1268"/>
                    <a:pt x="235" y="1270"/>
                  </a:cubicBezTo>
                  <a:cubicBezTo>
                    <a:pt x="237" y="1283"/>
                    <a:pt x="260" y="1273"/>
                    <a:pt x="266" y="1269"/>
                  </a:cubicBezTo>
                  <a:close/>
                  <a:moveTo>
                    <a:pt x="119" y="1331"/>
                  </a:moveTo>
                  <a:cubicBezTo>
                    <a:pt x="118" y="1332"/>
                    <a:pt x="113" y="1335"/>
                    <a:pt x="113" y="1337"/>
                  </a:cubicBezTo>
                  <a:cubicBezTo>
                    <a:pt x="114" y="1338"/>
                    <a:pt x="114" y="1338"/>
                    <a:pt x="114" y="1338"/>
                  </a:cubicBezTo>
                  <a:cubicBezTo>
                    <a:pt x="120" y="1345"/>
                    <a:pt x="125" y="1329"/>
                    <a:pt x="119" y="1331"/>
                  </a:cubicBezTo>
                  <a:close/>
                  <a:moveTo>
                    <a:pt x="308" y="1239"/>
                  </a:moveTo>
                  <a:cubicBezTo>
                    <a:pt x="311" y="1244"/>
                    <a:pt x="309" y="1247"/>
                    <a:pt x="318" y="1245"/>
                  </a:cubicBezTo>
                  <a:cubicBezTo>
                    <a:pt x="318" y="1245"/>
                    <a:pt x="318" y="1245"/>
                    <a:pt x="318" y="1245"/>
                  </a:cubicBezTo>
                  <a:cubicBezTo>
                    <a:pt x="325" y="1244"/>
                    <a:pt x="303" y="1229"/>
                    <a:pt x="308" y="1239"/>
                  </a:cubicBezTo>
                  <a:close/>
                  <a:moveTo>
                    <a:pt x="194" y="1314"/>
                  </a:moveTo>
                  <a:cubicBezTo>
                    <a:pt x="194" y="1314"/>
                    <a:pt x="194" y="1314"/>
                    <a:pt x="194" y="1314"/>
                  </a:cubicBezTo>
                  <a:cubicBezTo>
                    <a:pt x="199" y="1304"/>
                    <a:pt x="166" y="1306"/>
                    <a:pt x="171" y="1317"/>
                  </a:cubicBezTo>
                  <a:cubicBezTo>
                    <a:pt x="173" y="1322"/>
                    <a:pt x="189" y="1316"/>
                    <a:pt x="194" y="1314"/>
                  </a:cubicBezTo>
                  <a:close/>
                  <a:moveTo>
                    <a:pt x="197" y="1293"/>
                  </a:moveTo>
                  <a:cubicBezTo>
                    <a:pt x="194" y="1286"/>
                    <a:pt x="181" y="1295"/>
                    <a:pt x="181" y="1297"/>
                  </a:cubicBezTo>
                  <a:cubicBezTo>
                    <a:pt x="181" y="1308"/>
                    <a:pt x="197" y="1294"/>
                    <a:pt x="197" y="1293"/>
                  </a:cubicBezTo>
                  <a:close/>
                  <a:moveTo>
                    <a:pt x="197" y="1293"/>
                  </a:moveTo>
                  <a:cubicBezTo>
                    <a:pt x="197" y="1293"/>
                    <a:pt x="197" y="1293"/>
                    <a:pt x="197" y="1293"/>
                  </a:cubicBezTo>
                  <a:cubicBezTo>
                    <a:pt x="197" y="1293"/>
                    <a:pt x="197" y="1293"/>
                    <a:pt x="197" y="1293"/>
                  </a:cubicBezTo>
                  <a:close/>
                  <a:moveTo>
                    <a:pt x="342" y="1243"/>
                  </a:moveTo>
                  <a:cubicBezTo>
                    <a:pt x="342" y="1242"/>
                    <a:pt x="342" y="1242"/>
                    <a:pt x="342" y="1242"/>
                  </a:cubicBezTo>
                  <a:cubicBezTo>
                    <a:pt x="344" y="1241"/>
                    <a:pt x="342" y="1239"/>
                    <a:pt x="342" y="1238"/>
                  </a:cubicBezTo>
                  <a:cubicBezTo>
                    <a:pt x="340" y="1235"/>
                    <a:pt x="336" y="1236"/>
                    <a:pt x="334" y="1233"/>
                  </a:cubicBezTo>
                  <a:cubicBezTo>
                    <a:pt x="327" y="1218"/>
                    <a:pt x="330" y="1236"/>
                    <a:pt x="326" y="1236"/>
                  </a:cubicBezTo>
                  <a:cubicBezTo>
                    <a:pt x="325" y="1237"/>
                    <a:pt x="325" y="1230"/>
                    <a:pt x="324" y="1230"/>
                  </a:cubicBezTo>
                  <a:cubicBezTo>
                    <a:pt x="323" y="1230"/>
                    <a:pt x="316" y="1229"/>
                    <a:pt x="316" y="1229"/>
                  </a:cubicBezTo>
                  <a:cubicBezTo>
                    <a:pt x="308" y="1239"/>
                    <a:pt x="333" y="1248"/>
                    <a:pt x="342" y="1243"/>
                  </a:cubicBezTo>
                  <a:close/>
                  <a:moveTo>
                    <a:pt x="1039" y="428"/>
                  </a:moveTo>
                  <a:cubicBezTo>
                    <a:pt x="1021" y="415"/>
                    <a:pt x="1013" y="445"/>
                    <a:pt x="1015" y="448"/>
                  </a:cubicBezTo>
                  <a:cubicBezTo>
                    <a:pt x="1015" y="448"/>
                    <a:pt x="1015" y="448"/>
                    <a:pt x="1015" y="448"/>
                  </a:cubicBezTo>
                  <a:cubicBezTo>
                    <a:pt x="1021" y="452"/>
                    <a:pt x="1055" y="439"/>
                    <a:pt x="1039" y="428"/>
                  </a:cubicBezTo>
                  <a:close/>
                  <a:moveTo>
                    <a:pt x="1917" y="22"/>
                  </a:moveTo>
                  <a:cubicBezTo>
                    <a:pt x="1914" y="16"/>
                    <a:pt x="1895" y="38"/>
                    <a:pt x="1891" y="27"/>
                  </a:cubicBezTo>
                  <a:cubicBezTo>
                    <a:pt x="1891" y="26"/>
                    <a:pt x="1900" y="24"/>
                    <a:pt x="1890" y="22"/>
                  </a:cubicBezTo>
                  <a:cubicBezTo>
                    <a:pt x="1885" y="21"/>
                    <a:pt x="1905" y="18"/>
                    <a:pt x="1901" y="11"/>
                  </a:cubicBezTo>
                  <a:cubicBezTo>
                    <a:pt x="1899" y="7"/>
                    <a:pt x="1883" y="13"/>
                    <a:pt x="1880" y="13"/>
                  </a:cubicBezTo>
                  <a:cubicBezTo>
                    <a:pt x="1877" y="12"/>
                    <a:pt x="1879" y="10"/>
                    <a:pt x="1879" y="9"/>
                  </a:cubicBezTo>
                  <a:cubicBezTo>
                    <a:pt x="1885" y="0"/>
                    <a:pt x="1873" y="7"/>
                    <a:pt x="1870" y="6"/>
                  </a:cubicBezTo>
                  <a:cubicBezTo>
                    <a:pt x="1867" y="6"/>
                    <a:pt x="1869" y="1"/>
                    <a:pt x="1867" y="1"/>
                  </a:cubicBezTo>
                  <a:cubicBezTo>
                    <a:pt x="1843" y="10"/>
                    <a:pt x="1879" y="8"/>
                    <a:pt x="1873" y="20"/>
                  </a:cubicBezTo>
                  <a:cubicBezTo>
                    <a:pt x="1872" y="22"/>
                    <a:pt x="1870" y="18"/>
                    <a:pt x="1868" y="17"/>
                  </a:cubicBezTo>
                  <a:cubicBezTo>
                    <a:pt x="1859" y="12"/>
                    <a:pt x="1849" y="17"/>
                    <a:pt x="1847" y="16"/>
                  </a:cubicBezTo>
                  <a:cubicBezTo>
                    <a:pt x="1846" y="16"/>
                    <a:pt x="1837" y="13"/>
                    <a:pt x="1838" y="16"/>
                  </a:cubicBezTo>
                  <a:cubicBezTo>
                    <a:pt x="1838" y="17"/>
                    <a:pt x="1839" y="18"/>
                    <a:pt x="1839" y="18"/>
                  </a:cubicBezTo>
                  <a:cubicBezTo>
                    <a:pt x="1841" y="19"/>
                    <a:pt x="1836" y="20"/>
                    <a:pt x="1835" y="20"/>
                  </a:cubicBezTo>
                  <a:cubicBezTo>
                    <a:pt x="1825" y="27"/>
                    <a:pt x="1857" y="24"/>
                    <a:pt x="1858" y="26"/>
                  </a:cubicBezTo>
                  <a:cubicBezTo>
                    <a:pt x="1859" y="27"/>
                    <a:pt x="1858" y="27"/>
                    <a:pt x="1858" y="28"/>
                  </a:cubicBezTo>
                  <a:cubicBezTo>
                    <a:pt x="1856" y="28"/>
                    <a:pt x="1846" y="29"/>
                    <a:pt x="1846" y="31"/>
                  </a:cubicBezTo>
                  <a:cubicBezTo>
                    <a:pt x="1846" y="32"/>
                    <a:pt x="1851" y="34"/>
                    <a:pt x="1851" y="35"/>
                  </a:cubicBezTo>
                  <a:cubicBezTo>
                    <a:pt x="1853" y="37"/>
                    <a:pt x="1855" y="40"/>
                    <a:pt x="1858" y="41"/>
                  </a:cubicBezTo>
                  <a:cubicBezTo>
                    <a:pt x="1859" y="41"/>
                    <a:pt x="1859" y="41"/>
                    <a:pt x="1859" y="41"/>
                  </a:cubicBezTo>
                  <a:cubicBezTo>
                    <a:pt x="1877" y="42"/>
                    <a:pt x="1870" y="32"/>
                    <a:pt x="1889" y="34"/>
                  </a:cubicBezTo>
                  <a:cubicBezTo>
                    <a:pt x="1891" y="35"/>
                    <a:pt x="1922" y="30"/>
                    <a:pt x="1917" y="22"/>
                  </a:cubicBezTo>
                  <a:close/>
                  <a:moveTo>
                    <a:pt x="330" y="1220"/>
                  </a:moveTo>
                  <a:cubicBezTo>
                    <a:pt x="331" y="1222"/>
                    <a:pt x="350" y="1222"/>
                    <a:pt x="352" y="1218"/>
                  </a:cubicBezTo>
                  <a:cubicBezTo>
                    <a:pt x="352" y="1218"/>
                    <a:pt x="352" y="1218"/>
                    <a:pt x="352" y="1218"/>
                  </a:cubicBezTo>
                  <a:cubicBezTo>
                    <a:pt x="354" y="1210"/>
                    <a:pt x="327" y="1211"/>
                    <a:pt x="330" y="1220"/>
                  </a:cubicBezTo>
                  <a:close/>
                  <a:moveTo>
                    <a:pt x="331" y="1167"/>
                  </a:moveTo>
                  <a:cubicBezTo>
                    <a:pt x="344" y="1168"/>
                    <a:pt x="361" y="1170"/>
                    <a:pt x="365" y="1162"/>
                  </a:cubicBezTo>
                  <a:cubicBezTo>
                    <a:pt x="365" y="1162"/>
                    <a:pt x="365" y="1162"/>
                    <a:pt x="365" y="1162"/>
                  </a:cubicBezTo>
                  <a:cubicBezTo>
                    <a:pt x="366" y="1157"/>
                    <a:pt x="367" y="1148"/>
                    <a:pt x="363" y="1148"/>
                  </a:cubicBezTo>
                  <a:cubicBezTo>
                    <a:pt x="357" y="1148"/>
                    <a:pt x="358" y="1155"/>
                    <a:pt x="355" y="1156"/>
                  </a:cubicBezTo>
                  <a:cubicBezTo>
                    <a:pt x="350" y="1157"/>
                    <a:pt x="316" y="1167"/>
                    <a:pt x="316" y="1168"/>
                  </a:cubicBezTo>
                  <a:cubicBezTo>
                    <a:pt x="316" y="1174"/>
                    <a:pt x="329" y="1167"/>
                    <a:pt x="331" y="1167"/>
                  </a:cubicBezTo>
                  <a:close/>
                  <a:moveTo>
                    <a:pt x="869" y="394"/>
                  </a:moveTo>
                  <a:cubicBezTo>
                    <a:pt x="864" y="394"/>
                    <a:pt x="857" y="400"/>
                    <a:pt x="861" y="405"/>
                  </a:cubicBezTo>
                  <a:cubicBezTo>
                    <a:pt x="862" y="407"/>
                    <a:pt x="877" y="421"/>
                    <a:pt x="886" y="403"/>
                  </a:cubicBezTo>
                  <a:cubicBezTo>
                    <a:pt x="887" y="401"/>
                    <a:pt x="885" y="395"/>
                    <a:pt x="887" y="397"/>
                  </a:cubicBezTo>
                  <a:cubicBezTo>
                    <a:pt x="895" y="402"/>
                    <a:pt x="912" y="403"/>
                    <a:pt x="920" y="393"/>
                  </a:cubicBezTo>
                  <a:cubicBezTo>
                    <a:pt x="924" y="389"/>
                    <a:pt x="911" y="387"/>
                    <a:pt x="919" y="388"/>
                  </a:cubicBezTo>
                  <a:cubicBezTo>
                    <a:pt x="925" y="389"/>
                    <a:pt x="932" y="391"/>
                    <a:pt x="930" y="398"/>
                  </a:cubicBezTo>
                  <a:cubicBezTo>
                    <a:pt x="929" y="405"/>
                    <a:pt x="899" y="402"/>
                    <a:pt x="899" y="411"/>
                  </a:cubicBezTo>
                  <a:cubicBezTo>
                    <a:pt x="898" y="411"/>
                    <a:pt x="898" y="411"/>
                    <a:pt x="898" y="411"/>
                  </a:cubicBezTo>
                  <a:cubicBezTo>
                    <a:pt x="899" y="424"/>
                    <a:pt x="947" y="414"/>
                    <a:pt x="950" y="401"/>
                  </a:cubicBezTo>
                  <a:cubicBezTo>
                    <a:pt x="952" y="391"/>
                    <a:pt x="940" y="391"/>
                    <a:pt x="940" y="389"/>
                  </a:cubicBezTo>
                  <a:cubicBezTo>
                    <a:pt x="940" y="382"/>
                    <a:pt x="951" y="383"/>
                    <a:pt x="950" y="375"/>
                  </a:cubicBezTo>
                  <a:cubicBezTo>
                    <a:pt x="949" y="371"/>
                    <a:pt x="937" y="378"/>
                    <a:pt x="937" y="378"/>
                  </a:cubicBezTo>
                  <a:cubicBezTo>
                    <a:pt x="936" y="375"/>
                    <a:pt x="943" y="369"/>
                    <a:pt x="942" y="364"/>
                  </a:cubicBezTo>
                  <a:cubicBezTo>
                    <a:pt x="941" y="361"/>
                    <a:pt x="931" y="369"/>
                    <a:pt x="933" y="367"/>
                  </a:cubicBezTo>
                  <a:cubicBezTo>
                    <a:pt x="934" y="366"/>
                    <a:pt x="933" y="353"/>
                    <a:pt x="928" y="349"/>
                  </a:cubicBezTo>
                  <a:cubicBezTo>
                    <a:pt x="924" y="346"/>
                    <a:pt x="915" y="353"/>
                    <a:pt x="916" y="358"/>
                  </a:cubicBezTo>
                  <a:cubicBezTo>
                    <a:pt x="917" y="363"/>
                    <a:pt x="931" y="375"/>
                    <a:pt x="929" y="379"/>
                  </a:cubicBezTo>
                  <a:cubicBezTo>
                    <a:pt x="928" y="382"/>
                    <a:pt x="923" y="374"/>
                    <a:pt x="920" y="374"/>
                  </a:cubicBezTo>
                  <a:cubicBezTo>
                    <a:pt x="919" y="374"/>
                    <a:pt x="916" y="388"/>
                    <a:pt x="915" y="380"/>
                  </a:cubicBezTo>
                  <a:cubicBezTo>
                    <a:pt x="915" y="378"/>
                    <a:pt x="915" y="372"/>
                    <a:pt x="911" y="372"/>
                  </a:cubicBezTo>
                  <a:cubicBezTo>
                    <a:pt x="904" y="372"/>
                    <a:pt x="916" y="386"/>
                    <a:pt x="907" y="389"/>
                  </a:cubicBezTo>
                  <a:cubicBezTo>
                    <a:pt x="903" y="390"/>
                    <a:pt x="907" y="383"/>
                    <a:pt x="900" y="384"/>
                  </a:cubicBezTo>
                  <a:cubicBezTo>
                    <a:pt x="897" y="384"/>
                    <a:pt x="889" y="391"/>
                    <a:pt x="887" y="389"/>
                  </a:cubicBezTo>
                  <a:cubicBezTo>
                    <a:pt x="885" y="388"/>
                    <a:pt x="892" y="375"/>
                    <a:pt x="883" y="378"/>
                  </a:cubicBezTo>
                  <a:cubicBezTo>
                    <a:pt x="878" y="380"/>
                    <a:pt x="886" y="393"/>
                    <a:pt x="881" y="393"/>
                  </a:cubicBezTo>
                  <a:cubicBezTo>
                    <a:pt x="875" y="393"/>
                    <a:pt x="876" y="386"/>
                    <a:pt x="876" y="383"/>
                  </a:cubicBezTo>
                  <a:cubicBezTo>
                    <a:pt x="875" y="379"/>
                    <a:pt x="872" y="383"/>
                    <a:pt x="870" y="384"/>
                  </a:cubicBezTo>
                  <a:cubicBezTo>
                    <a:pt x="859" y="390"/>
                    <a:pt x="870" y="389"/>
                    <a:pt x="872" y="392"/>
                  </a:cubicBezTo>
                  <a:cubicBezTo>
                    <a:pt x="873" y="394"/>
                    <a:pt x="869" y="394"/>
                    <a:pt x="869" y="394"/>
                  </a:cubicBezTo>
                  <a:close/>
                  <a:moveTo>
                    <a:pt x="1737" y="40"/>
                  </a:moveTo>
                  <a:cubicBezTo>
                    <a:pt x="1740" y="40"/>
                    <a:pt x="1747" y="36"/>
                    <a:pt x="1745" y="35"/>
                  </a:cubicBezTo>
                  <a:cubicBezTo>
                    <a:pt x="1738" y="30"/>
                    <a:pt x="1734" y="37"/>
                    <a:pt x="1731" y="32"/>
                  </a:cubicBezTo>
                  <a:cubicBezTo>
                    <a:pt x="1731" y="32"/>
                    <a:pt x="1730" y="31"/>
                    <a:pt x="1730" y="31"/>
                  </a:cubicBezTo>
                  <a:cubicBezTo>
                    <a:pt x="1730" y="30"/>
                    <a:pt x="1744" y="29"/>
                    <a:pt x="1743" y="28"/>
                  </a:cubicBezTo>
                  <a:cubicBezTo>
                    <a:pt x="1741" y="27"/>
                    <a:pt x="1737" y="28"/>
                    <a:pt x="1735" y="28"/>
                  </a:cubicBezTo>
                  <a:cubicBezTo>
                    <a:pt x="1724" y="27"/>
                    <a:pt x="1723" y="24"/>
                    <a:pt x="1714" y="28"/>
                  </a:cubicBezTo>
                  <a:cubicBezTo>
                    <a:pt x="1713" y="28"/>
                    <a:pt x="1712" y="29"/>
                    <a:pt x="1713" y="30"/>
                  </a:cubicBezTo>
                  <a:cubicBezTo>
                    <a:pt x="1716" y="34"/>
                    <a:pt x="1723" y="29"/>
                    <a:pt x="1727" y="32"/>
                  </a:cubicBezTo>
                  <a:cubicBezTo>
                    <a:pt x="1728" y="32"/>
                    <a:pt x="1722" y="33"/>
                    <a:pt x="1721" y="33"/>
                  </a:cubicBezTo>
                  <a:cubicBezTo>
                    <a:pt x="1711" y="34"/>
                    <a:pt x="1719" y="36"/>
                    <a:pt x="1723" y="38"/>
                  </a:cubicBezTo>
                  <a:cubicBezTo>
                    <a:pt x="1724" y="39"/>
                    <a:pt x="1724" y="39"/>
                    <a:pt x="1724" y="39"/>
                  </a:cubicBezTo>
                  <a:cubicBezTo>
                    <a:pt x="1727" y="46"/>
                    <a:pt x="1734" y="39"/>
                    <a:pt x="1737" y="40"/>
                  </a:cubicBezTo>
                  <a:close/>
                  <a:moveTo>
                    <a:pt x="1529" y="131"/>
                  </a:moveTo>
                  <a:cubicBezTo>
                    <a:pt x="1517" y="127"/>
                    <a:pt x="1513" y="132"/>
                    <a:pt x="1520" y="146"/>
                  </a:cubicBezTo>
                  <a:cubicBezTo>
                    <a:pt x="1520" y="146"/>
                    <a:pt x="1520" y="146"/>
                    <a:pt x="1520" y="146"/>
                  </a:cubicBezTo>
                  <a:cubicBezTo>
                    <a:pt x="1525" y="151"/>
                    <a:pt x="1534" y="133"/>
                    <a:pt x="1529" y="131"/>
                  </a:cubicBezTo>
                  <a:close/>
                  <a:moveTo>
                    <a:pt x="1427" y="206"/>
                  </a:moveTo>
                  <a:cubicBezTo>
                    <a:pt x="1422" y="198"/>
                    <a:pt x="1408" y="214"/>
                    <a:pt x="1412" y="223"/>
                  </a:cubicBezTo>
                  <a:cubicBezTo>
                    <a:pt x="1412" y="223"/>
                    <a:pt x="1412" y="223"/>
                    <a:pt x="1412" y="223"/>
                  </a:cubicBezTo>
                  <a:cubicBezTo>
                    <a:pt x="1422" y="225"/>
                    <a:pt x="1432" y="213"/>
                    <a:pt x="1427" y="206"/>
                  </a:cubicBezTo>
                  <a:close/>
                  <a:moveTo>
                    <a:pt x="1430" y="172"/>
                  </a:moveTo>
                  <a:cubicBezTo>
                    <a:pt x="1430" y="165"/>
                    <a:pt x="1442" y="156"/>
                    <a:pt x="1428" y="153"/>
                  </a:cubicBezTo>
                  <a:cubicBezTo>
                    <a:pt x="1410" y="149"/>
                    <a:pt x="1380" y="176"/>
                    <a:pt x="1403" y="181"/>
                  </a:cubicBezTo>
                  <a:cubicBezTo>
                    <a:pt x="1404" y="182"/>
                    <a:pt x="1404" y="182"/>
                    <a:pt x="1404" y="182"/>
                  </a:cubicBezTo>
                  <a:cubicBezTo>
                    <a:pt x="1409" y="182"/>
                    <a:pt x="1411" y="174"/>
                    <a:pt x="1413" y="174"/>
                  </a:cubicBezTo>
                  <a:cubicBezTo>
                    <a:pt x="1415" y="174"/>
                    <a:pt x="1410" y="186"/>
                    <a:pt x="1431" y="182"/>
                  </a:cubicBezTo>
                  <a:cubicBezTo>
                    <a:pt x="1434" y="181"/>
                    <a:pt x="1430" y="174"/>
                    <a:pt x="1430" y="172"/>
                  </a:cubicBezTo>
                  <a:close/>
                  <a:moveTo>
                    <a:pt x="1703" y="79"/>
                  </a:moveTo>
                  <a:cubicBezTo>
                    <a:pt x="1702" y="79"/>
                    <a:pt x="1704" y="68"/>
                    <a:pt x="1692" y="71"/>
                  </a:cubicBezTo>
                  <a:cubicBezTo>
                    <a:pt x="1682" y="73"/>
                    <a:pt x="1690" y="100"/>
                    <a:pt x="1696" y="107"/>
                  </a:cubicBezTo>
                  <a:cubicBezTo>
                    <a:pt x="1696" y="107"/>
                    <a:pt x="1696" y="107"/>
                    <a:pt x="1696" y="107"/>
                  </a:cubicBezTo>
                  <a:cubicBezTo>
                    <a:pt x="1716" y="115"/>
                    <a:pt x="1733" y="96"/>
                    <a:pt x="1721" y="81"/>
                  </a:cubicBezTo>
                  <a:cubicBezTo>
                    <a:pt x="1716" y="74"/>
                    <a:pt x="1708" y="80"/>
                    <a:pt x="1703" y="79"/>
                  </a:cubicBezTo>
                  <a:close/>
                  <a:moveTo>
                    <a:pt x="1254" y="243"/>
                  </a:moveTo>
                  <a:cubicBezTo>
                    <a:pt x="1260" y="238"/>
                    <a:pt x="1289" y="231"/>
                    <a:pt x="1273" y="220"/>
                  </a:cubicBezTo>
                  <a:cubicBezTo>
                    <a:pt x="1272" y="219"/>
                    <a:pt x="1272" y="219"/>
                    <a:pt x="1272" y="219"/>
                  </a:cubicBezTo>
                  <a:cubicBezTo>
                    <a:pt x="1267" y="217"/>
                    <a:pt x="1257" y="217"/>
                    <a:pt x="1259" y="214"/>
                  </a:cubicBezTo>
                  <a:cubicBezTo>
                    <a:pt x="1261" y="211"/>
                    <a:pt x="1242" y="209"/>
                    <a:pt x="1242" y="212"/>
                  </a:cubicBezTo>
                  <a:cubicBezTo>
                    <a:pt x="1242" y="214"/>
                    <a:pt x="1260" y="241"/>
                    <a:pt x="1249" y="242"/>
                  </a:cubicBezTo>
                  <a:cubicBezTo>
                    <a:pt x="1247" y="242"/>
                    <a:pt x="1244" y="239"/>
                    <a:pt x="1242" y="238"/>
                  </a:cubicBezTo>
                  <a:cubicBezTo>
                    <a:pt x="1238" y="234"/>
                    <a:pt x="1243" y="225"/>
                    <a:pt x="1241" y="223"/>
                  </a:cubicBezTo>
                  <a:cubicBezTo>
                    <a:pt x="1235" y="215"/>
                    <a:pt x="1230" y="232"/>
                    <a:pt x="1228" y="232"/>
                  </a:cubicBezTo>
                  <a:cubicBezTo>
                    <a:pt x="1227" y="232"/>
                    <a:pt x="1217" y="218"/>
                    <a:pt x="1212" y="227"/>
                  </a:cubicBezTo>
                  <a:cubicBezTo>
                    <a:pt x="1206" y="239"/>
                    <a:pt x="1238" y="237"/>
                    <a:pt x="1236" y="240"/>
                  </a:cubicBezTo>
                  <a:cubicBezTo>
                    <a:pt x="1234" y="245"/>
                    <a:pt x="1202" y="235"/>
                    <a:pt x="1200" y="238"/>
                  </a:cubicBezTo>
                  <a:cubicBezTo>
                    <a:pt x="1199" y="239"/>
                    <a:pt x="1202" y="241"/>
                    <a:pt x="1202" y="242"/>
                  </a:cubicBezTo>
                  <a:cubicBezTo>
                    <a:pt x="1205" y="244"/>
                    <a:pt x="1207" y="249"/>
                    <a:pt x="1211" y="249"/>
                  </a:cubicBezTo>
                  <a:cubicBezTo>
                    <a:pt x="1212" y="250"/>
                    <a:pt x="1218" y="247"/>
                    <a:pt x="1219" y="249"/>
                  </a:cubicBezTo>
                  <a:cubicBezTo>
                    <a:pt x="1219" y="249"/>
                    <a:pt x="1217" y="251"/>
                    <a:pt x="1217" y="251"/>
                  </a:cubicBezTo>
                  <a:cubicBezTo>
                    <a:pt x="1210" y="256"/>
                    <a:pt x="1186" y="247"/>
                    <a:pt x="1186" y="252"/>
                  </a:cubicBezTo>
                  <a:cubicBezTo>
                    <a:pt x="1186" y="253"/>
                    <a:pt x="1181" y="256"/>
                    <a:pt x="1183" y="258"/>
                  </a:cubicBezTo>
                  <a:cubicBezTo>
                    <a:pt x="1190" y="267"/>
                    <a:pt x="1246" y="263"/>
                    <a:pt x="1253" y="258"/>
                  </a:cubicBezTo>
                  <a:cubicBezTo>
                    <a:pt x="1266" y="249"/>
                    <a:pt x="1245" y="251"/>
                    <a:pt x="1254" y="243"/>
                  </a:cubicBezTo>
                  <a:close/>
                  <a:moveTo>
                    <a:pt x="1570" y="112"/>
                  </a:moveTo>
                  <a:cubicBezTo>
                    <a:pt x="1577" y="111"/>
                    <a:pt x="1596" y="110"/>
                    <a:pt x="1596" y="103"/>
                  </a:cubicBezTo>
                  <a:cubicBezTo>
                    <a:pt x="1596" y="102"/>
                    <a:pt x="1595" y="100"/>
                    <a:pt x="1597" y="100"/>
                  </a:cubicBezTo>
                  <a:cubicBezTo>
                    <a:pt x="1606" y="99"/>
                    <a:pt x="1606" y="106"/>
                    <a:pt x="1608" y="107"/>
                  </a:cubicBezTo>
                  <a:cubicBezTo>
                    <a:pt x="1612" y="109"/>
                    <a:pt x="1618" y="106"/>
                    <a:pt x="1622" y="104"/>
                  </a:cubicBezTo>
                  <a:cubicBezTo>
                    <a:pt x="1626" y="101"/>
                    <a:pt x="1615" y="99"/>
                    <a:pt x="1619" y="98"/>
                  </a:cubicBezTo>
                  <a:cubicBezTo>
                    <a:pt x="1635" y="95"/>
                    <a:pt x="1636" y="98"/>
                    <a:pt x="1637" y="97"/>
                  </a:cubicBezTo>
                  <a:cubicBezTo>
                    <a:pt x="1637" y="97"/>
                    <a:pt x="1640" y="86"/>
                    <a:pt x="1641" y="84"/>
                  </a:cubicBezTo>
                  <a:cubicBezTo>
                    <a:pt x="1643" y="77"/>
                    <a:pt x="1652" y="84"/>
                    <a:pt x="1653" y="82"/>
                  </a:cubicBezTo>
                  <a:cubicBezTo>
                    <a:pt x="1655" y="74"/>
                    <a:pt x="1660" y="75"/>
                    <a:pt x="1664" y="72"/>
                  </a:cubicBezTo>
                  <a:cubicBezTo>
                    <a:pt x="1670" y="68"/>
                    <a:pt x="1664" y="64"/>
                    <a:pt x="1666" y="64"/>
                  </a:cubicBezTo>
                  <a:cubicBezTo>
                    <a:pt x="1666" y="64"/>
                    <a:pt x="1672" y="65"/>
                    <a:pt x="1672" y="63"/>
                  </a:cubicBezTo>
                  <a:cubicBezTo>
                    <a:pt x="1670" y="60"/>
                    <a:pt x="1664" y="58"/>
                    <a:pt x="1663" y="56"/>
                  </a:cubicBezTo>
                  <a:cubicBezTo>
                    <a:pt x="1659" y="43"/>
                    <a:pt x="1657" y="67"/>
                    <a:pt x="1655" y="67"/>
                  </a:cubicBezTo>
                  <a:cubicBezTo>
                    <a:pt x="1651" y="67"/>
                    <a:pt x="1649" y="61"/>
                    <a:pt x="1646" y="59"/>
                  </a:cubicBezTo>
                  <a:cubicBezTo>
                    <a:pt x="1643" y="57"/>
                    <a:pt x="1650" y="67"/>
                    <a:pt x="1642" y="63"/>
                  </a:cubicBezTo>
                  <a:cubicBezTo>
                    <a:pt x="1641" y="63"/>
                    <a:pt x="1636" y="59"/>
                    <a:pt x="1635" y="61"/>
                  </a:cubicBezTo>
                  <a:cubicBezTo>
                    <a:pt x="1634" y="63"/>
                    <a:pt x="1629" y="65"/>
                    <a:pt x="1639" y="69"/>
                  </a:cubicBezTo>
                  <a:cubicBezTo>
                    <a:pt x="1642" y="69"/>
                    <a:pt x="1647" y="73"/>
                    <a:pt x="1644" y="74"/>
                  </a:cubicBezTo>
                  <a:cubicBezTo>
                    <a:pt x="1641" y="75"/>
                    <a:pt x="1633" y="74"/>
                    <a:pt x="1631" y="76"/>
                  </a:cubicBezTo>
                  <a:cubicBezTo>
                    <a:pt x="1618" y="92"/>
                    <a:pt x="1628" y="72"/>
                    <a:pt x="1612" y="72"/>
                  </a:cubicBezTo>
                  <a:cubicBezTo>
                    <a:pt x="1608" y="72"/>
                    <a:pt x="1613" y="67"/>
                    <a:pt x="1610" y="69"/>
                  </a:cubicBezTo>
                  <a:cubicBezTo>
                    <a:pt x="1595" y="75"/>
                    <a:pt x="1616" y="79"/>
                    <a:pt x="1613" y="87"/>
                  </a:cubicBezTo>
                  <a:cubicBezTo>
                    <a:pt x="1613" y="90"/>
                    <a:pt x="1607" y="84"/>
                    <a:pt x="1607" y="88"/>
                  </a:cubicBezTo>
                  <a:cubicBezTo>
                    <a:pt x="1605" y="101"/>
                    <a:pt x="1604" y="86"/>
                    <a:pt x="1601" y="86"/>
                  </a:cubicBezTo>
                  <a:cubicBezTo>
                    <a:pt x="1598" y="85"/>
                    <a:pt x="1600" y="88"/>
                    <a:pt x="1598" y="88"/>
                  </a:cubicBezTo>
                  <a:cubicBezTo>
                    <a:pt x="1596" y="89"/>
                    <a:pt x="1597" y="84"/>
                    <a:pt x="1598" y="82"/>
                  </a:cubicBezTo>
                  <a:cubicBezTo>
                    <a:pt x="1598" y="81"/>
                    <a:pt x="1596" y="80"/>
                    <a:pt x="1596" y="80"/>
                  </a:cubicBezTo>
                  <a:cubicBezTo>
                    <a:pt x="1584" y="75"/>
                    <a:pt x="1585" y="83"/>
                    <a:pt x="1583" y="83"/>
                  </a:cubicBezTo>
                  <a:cubicBezTo>
                    <a:pt x="1574" y="81"/>
                    <a:pt x="1571" y="73"/>
                    <a:pt x="1576" y="88"/>
                  </a:cubicBezTo>
                  <a:cubicBezTo>
                    <a:pt x="1576" y="89"/>
                    <a:pt x="1577" y="90"/>
                    <a:pt x="1576" y="90"/>
                  </a:cubicBezTo>
                  <a:cubicBezTo>
                    <a:pt x="1567" y="90"/>
                    <a:pt x="1562" y="76"/>
                    <a:pt x="1562" y="87"/>
                  </a:cubicBezTo>
                  <a:cubicBezTo>
                    <a:pt x="1562" y="88"/>
                    <a:pt x="1562" y="88"/>
                    <a:pt x="1561" y="89"/>
                  </a:cubicBezTo>
                  <a:cubicBezTo>
                    <a:pt x="1560" y="90"/>
                    <a:pt x="1525" y="85"/>
                    <a:pt x="1540" y="89"/>
                  </a:cubicBezTo>
                  <a:cubicBezTo>
                    <a:pt x="1540" y="89"/>
                    <a:pt x="1540" y="89"/>
                    <a:pt x="1540" y="89"/>
                  </a:cubicBezTo>
                  <a:cubicBezTo>
                    <a:pt x="1550" y="91"/>
                    <a:pt x="1532" y="95"/>
                    <a:pt x="1544" y="97"/>
                  </a:cubicBezTo>
                  <a:cubicBezTo>
                    <a:pt x="1547" y="98"/>
                    <a:pt x="1563" y="93"/>
                    <a:pt x="1568" y="93"/>
                  </a:cubicBezTo>
                  <a:cubicBezTo>
                    <a:pt x="1568" y="93"/>
                    <a:pt x="1569" y="92"/>
                    <a:pt x="1569" y="93"/>
                  </a:cubicBezTo>
                  <a:cubicBezTo>
                    <a:pt x="1570" y="94"/>
                    <a:pt x="1564" y="96"/>
                    <a:pt x="1564" y="97"/>
                  </a:cubicBezTo>
                  <a:cubicBezTo>
                    <a:pt x="1557" y="99"/>
                    <a:pt x="1551" y="116"/>
                    <a:pt x="1553" y="116"/>
                  </a:cubicBezTo>
                  <a:cubicBezTo>
                    <a:pt x="1562" y="119"/>
                    <a:pt x="1561" y="105"/>
                    <a:pt x="1566" y="105"/>
                  </a:cubicBezTo>
                  <a:cubicBezTo>
                    <a:pt x="1570" y="104"/>
                    <a:pt x="1562" y="113"/>
                    <a:pt x="1570" y="112"/>
                  </a:cubicBezTo>
                  <a:close/>
                  <a:moveTo>
                    <a:pt x="1738" y="16"/>
                  </a:moveTo>
                  <a:cubicBezTo>
                    <a:pt x="1737" y="16"/>
                    <a:pt x="1727" y="15"/>
                    <a:pt x="1725" y="14"/>
                  </a:cubicBezTo>
                  <a:cubicBezTo>
                    <a:pt x="1719" y="12"/>
                    <a:pt x="1727" y="17"/>
                    <a:pt x="1729" y="19"/>
                  </a:cubicBezTo>
                  <a:cubicBezTo>
                    <a:pt x="1734" y="20"/>
                    <a:pt x="1741" y="21"/>
                    <a:pt x="1738" y="16"/>
                  </a:cubicBezTo>
                  <a:close/>
                  <a:moveTo>
                    <a:pt x="1723" y="18"/>
                  </a:moveTo>
                  <a:cubicBezTo>
                    <a:pt x="1724" y="18"/>
                    <a:pt x="1724" y="18"/>
                    <a:pt x="1724" y="18"/>
                  </a:cubicBezTo>
                  <a:cubicBezTo>
                    <a:pt x="1729" y="20"/>
                    <a:pt x="1729" y="20"/>
                    <a:pt x="1729" y="19"/>
                  </a:cubicBezTo>
                  <a:cubicBezTo>
                    <a:pt x="1723" y="17"/>
                    <a:pt x="1719" y="16"/>
                    <a:pt x="1723" y="18"/>
                  </a:cubicBezTo>
                  <a:close/>
                  <a:moveTo>
                    <a:pt x="1685" y="122"/>
                  </a:moveTo>
                  <a:cubicBezTo>
                    <a:pt x="1690" y="116"/>
                    <a:pt x="1683" y="93"/>
                    <a:pt x="1679" y="92"/>
                  </a:cubicBezTo>
                  <a:cubicBezTo>
                    <a:pt x="1671" y="89"/>
                    <a:pt x="1662" y="94"/>
                    <a:pt x="1666" y="93"/>
                  </a:cubicBezTo>
                  <a:cubicBezTo>
                    <a:pt x="1658" y="96"/>
                    <a:pt x="1676" y="99"/>
                    <a:pt x="1670" y="98"/>
                  </a:cubicBezTo>
                  <a:cubicBezTo>
                    <a:pt x="1680" y="100"/>
                    <a:pt x="1675" y="102"/>
                    <a:pt x="1667" y="102"/>
                  </a:cubicBezTo>
                  <a:cubicBezTo>
                    <a:pt x="1663" y="102"/>
                    <a:pt x="1665" y="110"/>
                    <a:pt x="1662" y="105"/>
                  </a:cubicBezTo>
                  <a:cubicBezTo>
                    <a:pt x="1661" y="104"/>
                    <a:pt x="1656" y="102"/>
                    <a:pt x="1655" y="105"/>
                  </a:cubicBezTo>
                  <a:cubicBezTo>
                    <a:pt x="1654" y="113"/>
                    <a:pt x="1659" y="115"/>
                    <a:pt x="1653" y="115"/>
                  </a:cubicBezTo>
                  <a:cubicBezTo>
                    <a:pt x="1651" y="116"/>
                    <a:pt x="1653" y="107"/>
                    <a:pt x="1652" y="105"/>
                  </a:cubicBezTo>
                  <a:cubicBezTo>
                    <a:pt x="1651" y="103"/>
                    <a:pt x="1643" y="101"/>
                    <a:pt x="1644" y="105"/>
                  </a:cubicBezTo>
                  <a:cubicBezTo>
                    <a:pt x="1645" y="107"/>
                    <a:pt x="1646" y="106"/>
                    <a:pt x="1647" y="107"/>
                  </a:cubicBezTo>
                  <a:cubicBezTo>
                    <a:pt x="1649" y="110"/>
                    <a:pt x="1642" y="108"/>
                    <a:pt x="1639" y="108"/>
                  </a:cubicBezTo>
                  <a:cubicBezTo>
                    <a:pt x="1624" y="109"/>
                    <a:pt x="1611" y="131"/>
                    <a:pt x="1627" y="134"/>
                  </a:cubicBezTo>
                  <a:cubicBezTo>
                    <a:pt x="1629" y="135"/>
                    <a:pt x="1629" y="135"/>
                    <a:pt x="1629" y="135"/>
                  </a:cubicBezTo>
                  <a:cubicBezTo>
                    <a:pt x="1633" y="143"/>
                    <a:pt x="1639" y="125"/>
                    <a:pt x="1641" y="125"/>
                  </a:cubicBezTo>
                  <a:cubicBezTo>
                    <a:pt x="1642" y="125"/>
                    <a:pt x="1634" y="143"/>
                    <a:pt x="1636" y="145"/>
                  </a:cubicBezTo>
                  <a:cubicBezTo>
                    <a:pt x="1640" y="148"/>
                    <a:pt x="1663" y="144"/>
                    <a:pt x="1663" y="140"/>
                  </a:cubicBezTo>
                  <a:cubicBezTo>
                    <a:pt x="1663" y="138"/>
                    <a:pt x="1656" y="139"/>
                    <a:pt x="1655" y="138"/>
                  </a:cubicBezTo>
                  <a:cubicBezTo>
                    <a:pt x="1654" y="136"/>
                    <a:pt x="1666" y="135"/>
                    <a:pt x="1667" y="135"/>
                  </a:cubicBezTo>
                  <a:cubicBezTo>
                    <a:pt x="1673" y="132"/>
                    <a:pt x="1680" y="127"/>
                    <a:pt x="1685" y="122"/>
                  </a:cubicBezTo>
                  <a:close/>
                  <a:moveTo>
                    <a:pt x="1585" y="145"/>
                  </a:moveTo>
                  <a:cubicBezTo>
                    <a:pt x="1599" y="148"/>
                    <a:pt x="1612" y="151"/>
                    <a:pt x="1627" y="151"/>
                  </a:cubicBezTo>
                  <a:cubicBezTo>
                    <a:pt x="1628" y="151"/>
                    <a:pt x="1628" y="151"/>
                    <a:pt x="1628" y="151"/>
                  </a:cubicBezTo>
                  <a:cubicBezTo>
                    <a:pt x="1641" y="149"/>
                    <a:pt x="1609" y="128"/>
                    <a:pt x="1607" y="129"/>
                  </a:cubicBezTo>
                  <a:cubicBezTo>
                    <a:pt x="1606" y="129"/>
                    <a:pt x="1605" y="130"/>
                    <a:pt x="1605" y="131"/>
                  </a:cubicBezTo>
                  <a:cubicBezTo>
                    <a:pt x="1608" y="147"/>
                    <a:pt x="1599" y="128"/>
                    <a:pt x="1599" y="128"/>
                  </a:cubicBezTo>
                  <a:cubicBezTo>
                    <a:pt x="1589" y="130"/>
                    <a:pt x="1583" y="131"/>
                    <a:pt x="1583" y="132"/>
                  </a:cubicBezTo>
                  <a:cubicBezTo>
                    <a:pt x="1583" y="134"/>
                    <a:pt x="1587" y="138"/>
                    <a:pt x="1584" y="139"/>
                  </a:cubicBezTo>
                  <a:cubicBezTo>
                    <a:pt x="1581" y="140"/>
                    <a:pt x="1580" y="132"/>
                    <a:pt x="1574" y="135"/>
                  </a:cubicBezTo>
                  <a:cubicBezTo>
                    <a:pt x="1573" y="135"/>
                    <a:pt x="1573" y="135"/>
                    <a:pt x="1573" y="136"/>
                  </a:cubicBezTo>
                  <a:cubicBezTo>
                    <a:pt x="1571" y="141"/>
                    <a:pt x="1582" y="145"/>
                    <a:pt x="1585" y="145"/>
                  </a:cubicBezTo>
                  <a:close/>
                  <a:moveTo>
                    <a:pt x="1255" y="178"/>
                  </a:moveTo>
                  <a:cubicBezTo>
                    <a:pt x="1251" y="178"/>
                    <a:pt x="1247" y="159"/>
                    <a:pt x="1246" y="175"/>
                  </a:cubicBezTo>
                  <a:cubicBezTo>
                    <a:pt x="1245" y="175"/>
                    <a:pt x="1238" y="183"/>
                    <a:pt x="1241" y="183"/>
                  </a:cubicBezTo>
                  <a:cubicBezTo>
                    <a:pt x="1249" y="184"/>
                    <a:pt x="1240" y="184"/>
                    <a:pt x="1243" y="190"/>
                  </a:cubicBezTo>
                  <a:cubicBezTo>
                    <a:pt x="1243" y="190"/>
                    <a:pt x="1243" y="190"/>
                    <a:pt x="1243" y="190"/>
                  </a:cubicBezTo>
                  <a:cubicBezTo>
                    <a:pt x="1247" y="194"/>
                    <a:pt x="1274" y="178"/>
                    <a:pt x="1271" y="175"/>
                  </a:cubicBezTo>
                  <a:cubicBezTo>
                    <a:pt x="1260" y="166"/>
                    <a:pt x="1265" y="179"/>
                    <a:pt x="1255" y="178"/>
                  </a:cubicBezTo>
                  <a:close/>
                  <a:moveTo>
                    <a:pt x="1280" y="222"/>
                  </a:moveTo>
                  <a:cubicBezTo>
                    <a:pt x="1282" y="226"/>
                    <a:pt x="1288" y="224"/>
                    <a:pt x="1291" y="224"/>
                  </a:cubicBezTo>
                  <a:cubicBezTo>
                    <a:pt x="1311" y="220"/>
                    <a:pt x="1316" y="204"/>
                    <a:pt x="1332" y="195"/>
                  </a:cubicBezTo>
                  <a:cubicBezTo>
                    <a:pt x="1333" y="195"/>
                    <a:pt x="1334" y="192"/>
                    <a:pt x="1334" y="191"/>
                  </a:cubicBezTo>
                  <a:cubicBezTo>
                    <a:pt x="1329" y="183"/>
                    <a:pt x="1326" y="195"/>
                    <a:pt x="1323" y="192"/>
                  </a:cubicBezTo>
                  <a:cubicBezTo>
                    <a:pt x="1319" y="188"/>
                    <a:pt x="1324" y="177"/>
                    <a:pt x="1311" y="187"/>
                  </a:cubicBezTo>
                  <a:cubicBezTo>
                    <a:pt x="1310" y="188"/>
                    <a:pt x="1309" y="189"/>
                    <a:pt x="1309" y="190"/>
                  </a:cubicBezTo>
                  <a:cubicBezTo>
                    <a:pt x="1309" y="191"/>
                    <a:pt x="1311" y="194"/>
                    <a:pt x="1309" y="193"/>
                  </a:cubicBezTo>
                  <a:cubicBezTo>
                    <a:pt x="1294" y="191"/>
                    <a:pt x="1304" y="174"/>
                    <a:pt x="1294" y="180"/>
                  </a:cubicBezTo>
                  <a:cubicBezTo>
                    <a:pt x="1290" y="183"/>
                    <a:pt x="1295" y="171"/>
                    <a:pt x="1289" y="177"/>
                  </a:cubicBezTo>
                  <a:cubicBezTo>
                    <a:pt x="1287" y="180"/>
                    <a:pt x="1277" y="180"/>
                    <a:pt x="1278" y="182"/>
                  </a:cubicBezTo>
                  <a:cubicBezTo>
                    <a:pt x="1280" y="185"/>
                    <a:pt x="1286" y="186"/>
                    <a:pt x="1280" y="189"/>
                  </a:cubicBezTo>
                  <a:cubicBezTo>
                    <a:pt x="1279" y="189"/>
                    <a:pt x="1259" y="182"/>
                    <a:pt x="1258" y="191"/>
                  </a:cubicBezTo>
                  <a:cubicBezTo>
                    <a:pt x="1257" y="194"/>
                    <a:pt x="1269" y="194"/>
                    <a:pt x="1266" y="197"/>
                  </a:cubicBezTo>
                  <a:cubicBezTo>
                    <a:pt x="1263" y="199"/>
                    <a:pt x="1248" y="198"/>
                    <a:pt x="1249" y="201"/>
                  </a:cubicBezTo>
                  <a:cubicBezTo>
                    <a:pt x="1251" y="210"/>
                    <a:pt x="1275" y="212"/>
                    <a:pt x="1280" y="222"/>
                  </a:cubicBezTo>
                  <a:close/>
                  <a:moveTo>
                    <a:pt x="1313" y="164"/>
                  </a:moveTo>
                  <a:cubicBezTo>
                    <a:pt x="1310" y="161"/>
                    <a:pt x="1291" y="169"/>
                    <a:pt x="1320" y="175"/>
                  </a:cubicBezTo>
                  <a:cubicBezTo>
                    <a:pt x="1320" y="175"/>
                    <a:pt x="1320" y="175"/>
                    <a:pt x="1320" y="175"/>
                  </a:cubicBezTo>
                  <a:cubicBezTo>
                    <a:pt x="1337" y="174"/>
                    <a:pt x="1317" y="168"/>
                    <a:pt x="1313" y="164"/>
                  </a:cubicBezTo>
                  <a:close/>
                  <a:moveTo>
                    <a:pt x="1285" y="164"/>
                  </a:moveTo>
                  <a:cubicBezTo>
                    <a:pt x="1285" y="164"/>
                    <a:pt x="1275" y="159"/>
                    <a:pt x="1275" y="165"/>
                  </a:cubicBezTo>
                  <a:cubicBezTo>
                    <a:pt x="1275" y="166"/>
                    <a:pt x="1282" y="169"/>
                    <a:pt x="1283" y="171"/>
                  </a:cubicBezTo>
                  <a:cubicBezTo>
                    <a:pt x="1283" y="171"/>
                    <a:pt x="1283" y="171"/>
                    <a:pt x="1283" y="171"/>
                  </a:cubicBezTo>
                  <a:cubicBezTo>
                    <a:pt x="1287" y="179"/>
                    <a:pt x="1302" y="155"/>
                    <a:pt x="1293" y="150"/>
                  </a:cubicBezTo>
                  <a:cubicBezTo>
                    <a:pt x="1283" y="144"/>
                    <a:pt x="1286" y="161"/>
                    <a:pt x="1285" y="164"/>
                  </a:cubicBezTo>
                  <a:close/>
                  <a:moveTo>
                    <a:pt x="1191" y="293"/>
                  </a:moveTo>
                  <a:cubicBezTo>
                    <a:pt x="1194" y="276"/>
                    <a:pt x="1182" y="286"/>
                    <a:pt x="1179" y="284"/>
                  </a:cubicBezTo>
                  <a:cubicBezTo>
                    <a:pt x="1174" y="280"/>
                    <a:pt x="1193" y="275"/>
                    <a:pt x="1183" y="270"/>
                  </a:cubicBezTo>
                  <a:cubicBezTo>
                    <a:pt x="1182" y="269"/>
                    <a:pt x="1182" y="269"/>
                    <a:pt x="1182" y="269"/>
                  </a:cubicBezTo>
                  <a:cubicBezTo>
                    <a:pt x="1175" y="262"/>
                    <a:pt x="1172" y="281"/>
                    <a:pt x="1168" y="279"/>
                  </a:cubicBezTo>
                  <a:cubicBezTo>
                    <a:pt x="1165" y="278"/>
                    <a:pt x="1175" y="264"/>
                    <a:pt x="1171" y="258"/>
                  </a:cubicBezTo>
                  <a:cubicBezTo>
                    <a:pt x="1167" y="253"/>
                    <a:pt x="1163" y="265"/>
                    <a:pt x="1162" y="265"/>
                  </a:cubicBezTo>
                  <a:cubicBezTo>
                    <a:pt x="1160" y="265"/>
                    <a:pt x="1155" y="251"/>
                    <a:pt x="1152" y="256"/>
                  </a:cubicBezTo>
                  <a:cubicBezTo>
                    <a:pt x="1147" y="264"/>
                    <a:pt x="1161" y="264"/>
                    <a:pt x="1152" y="270"/>
                  </a:cubicBezTo>
                  <a:cubicBezTo>
                    <a:pt x="1150" y="271"/>
                    <a:pt x="1142" y="251"/>
                    <a:pt x="1136" y="255"/>
                  </a:cubicBezTo>
                  <a:cubicBezTo>
                    <a:pt x="1128" y="261"/>
                    <a:pt x="1154" y="275"/>
                    <a:pt x="1151" y="277"/>
                  </a:cubicBezTo>
                  <a:cubicBezTo>
                    <a:pt x="1146" y="283"/>
                    <a:pt x="1131" y="262"/>
                    <a:pt x="1122" y="266"/>
                  </a:cubicBezTo>
                  <a:cubicBezTo>
                    <a:pt x="1119" y="267"/>
                    <a:pt x="1123" y="269"/>
                    <a:pt x="1124" y="270"/>
                  </a:cubicBezTo>
                  <a:cubicBezTo>
                    <a:pt x="1128" y="276"/>
                    <a:pt x="1126" y="274"/>
                    <a:pt x="1122" y="276"/>
                  </a:cubicBezTo>
                  <a:cubicBezTo>
                    <a:pt x="1119" y="277"/>
                    <a:pt x="1113" y="267"/>
                    <a:pt x="1110" y="271"/>
                  </a:cubicBezTo>
                  <a:cubicBezTo>
                    <a:pt x="1105" y="280"/>
                    <a:pt x="1137" y="282"/>
                    <a:pt x="1138" y="283"/>
                  </a:cubicBezTo>
                  <a:cubicBezTo>
                    <a:pt x="1139" y="284"/>
                    <a:pt x="1122" y="285"/>
                    <a:pt x="1121" y="285"/>
                  </a:cubicBezTo>
                  <a:cubicBezTo>
                    <a:pt x="1117" y="286"/>
                    <a:pt x="1132" y="290"/>
                    <a:pt x="1129" y="293"/>
                  </a:cubicBezTo>
                  <a:cubicBezTo>
                    <a:pt x="1128" y="294"/>
                    <a:pt x="1126" y="292"/>
                    <a:pt x="1125" y="292"/>
                  </a:cubicBezTo>
                  <a:cubicBezTo>
                    <a:pt x="1113" y="284"/>
                    <a:pt x="1090" y="286"/>
                    <a:pt x="1083" y="293"/>
                  </a:cubicBezTo>
                  <a:cubicBezTo>
                    <a:pt x="1081" y="295"/>
                    <a:pt x="1097" y="293"/>
                    <a:pt x="1097" y="293"/>
                  </a:cubicBezTo>
                  <a:cubicBezTo>
                    <a:pt x="1103" y="294"/>
                    <a:pt x="1101" y="295"/>
                    <a:pt x="1106" y="301"/>
                  </a:cubicBezTo>
                  <a:cubicBezTo>
                    <a:pt x="1107" y="303"/>
                    <a:pt x="1100" y="300"/>
                    <a:pt x="1100" y="300"/>
                  </a:cubicBezTo>
                  <a:cubicBezTo>
                    <a:pt x="1097" y="300"/>
                    <a:pt x="1085" y="300"/>
                    <a:pt x="1085" y="302"/>
                  </a:cubicBezTo>
                  <a:cubicBezTo>
                    <a:pt x="1084" y="305"/>
                    <a:pt x="1089" y="304"/>
                    <a:pt x="1090" y="304"/>
                  </a:cubicBezTo>
                  <a:cubicBezTo>
                    <a:pt x="1091" y="303"/>
                    <a:pt x="1103" y="308"/>
                    <a:pt x="1103" y="311"/>
                  </a:cubicBezTo>
                  <a:cubicBezTo>
                    <a:pt x="1103" y="313"/>
                    <a:pt x="1106" y="310"/>
                    <a:pt x="1107" y="311"/>
                  </a:cubicBezTo>
                  <a:cubicBezTo>
                    <a:pt x="1109" y="318"/>
                    <a:pt x="1083" y="311"/>
                    <a:pt x="1083" y="315"/>
                  </a:cubicBezTo>
                  <a:cubicBezTo>
                    <a:pt x="1083" y="319"/>
                    <a:pt x="1097" y="325"/>
                    <a:pt x="1105" y="321"/>
                  </a:cubicBezTo>
                  <a:cubicBezTo>
                    <a:pt x="1105" y="321"/>
                    <a:pt x="1109" y="318"/>
                    <a:pt x="1109" y="319"/>
                  </a:cubicBezTo>
                  <a:cubicBezTo>
                    <a:pt x="1110" y="323"/>
                    <a:pt x="1089" y="334"/>
                    <a:pt x="1079" y="332"/>
                  </a:cubicBezTo>
                  <a:cubicBezTo>
                    <a:pt x="1076" y="331"/>
                    <a:pt x="1075" y="333"/>
                    <a:pt x="1074" y="334"/>
                  </a:cubicBezTo>
                  <a:cubicBezTo>
                    <a:pt x="1073" y="335"/>
                    <a:pt x="1073" y="340"/>
                    <a:pt x="1074" y="340"/>
                  </a:cubicBezTo>
                  <a:cubicBezTo>
                    <a:pt x="1078" y="342"/>
                    <a:pt x="1104" y="335"/>
                    <a:pt x="1106" y="338"/>
                  </a:cubicBezTo>
                  <a:cubicBezTo>
                    <a:pt x="1106" y="339"/>
                    <a:pt x="1094" y="349"/>
                    <a:pt x="1098" y="350"/>
                  </a:cubicBezTo>
                  <a:cubicBezTo>
                    <a:pt x="1110" y="354"/>
                    <a:pt x="1116" y="325"/>
                    <a:pt x="1136" y="319"/>
                  </a:cubicBezTo>
                  <a:cubicBezTo>
                    <a:pt x="1142" y="316"/>
                    <a:pt x="1139" y="321"/>
                    <a:pt x="1138" y="324"/>
                  </a:cubicBezTo>
                  <a:cubicBezTo>
                    <a:pt x="1138" y="324"/>
                    <a:pt x="1178" y="329"/>
                    <a:pt x="1183" y="320"/>
                  </a:cubicBezTo>
                  <a:cubicBezTo>
                    <a:pt x="1184" y="319"/>
                    <a:pt x="1173" y="315"/>
                    <a:pt x="1172" y="312"/>
                  </a:cubicBezTo>
                  <a:cubicBezTo>
                    <a:pt x="1172" y="311"/>
                    <a:pt x="1175" y="312"/>
                    <a:pt x="1175" y="312"/>
                  </a:cubicBezTo>
                  <a:cubicBezTo>
                    <a:pt x="1183" y="312"/>
                    <a:pt x="1178" y="306"/>
                    <a:pt x="1176" y="302"/>
                  </a:cubicBezTo>
                  <a:cubicBezTo>
                    <a:pt x="1176" y="301"/>
                    <a:pt x="1174" y="301"/>
                    <a:pt x="1175" y="299"/>
                  </a:cubicBezTo>
                  <a:cubicBezTo>
                    <a:pt x="1178" y="296"/>
                    <a:pt x="1191" y="296"/>
                    <a:pt x="1191" y="293"/>
                  </a:cubicBezTo>
                  <a:close/>
                  <a:moveTo>
                    <a:pt x="1324" y="215"/>
                  </a:moveTo>
                  <a:cubicBezTo>
                    <a:pt x="1353" y="212"/>
                    <a:pt x="1367" y="172"/>
                    <a:pt x="1314" y="215"/>
                  </a:cubicBezTo>
                  <a:cubicBezTo>
                    <a:pt x="1314" y="216"/>
                    <a:pt x="1314" y="216"/>
                    <a:pt x="1314" y="216"/>
                  </a:cubicBezTo>
                  <a:cubicBezTo>
                    <a:pt x="1318" y="218"/>
                    <a:pt x="1320" y="215"/>
                    <a:pt x="1324" y="215"/>
                  </a:cubicBezTo>
                  <a:close/>
                  <a:moveTo>
                    <a:pt x="1098" y="379"/>
                  </a:moveTo>
                  <a:cubicBezTo>
                    <a:pt x="1093" y="366"/>
                    <a:pt x="1081" y="388"/>
                    <a:pt x="1077" y="393"/>
                  </a:cubicBezTo>
                  <a:cubicBezTo>
                    <a:pt x="1077" y="394"/>
                    <a:pt x="1077" y="394"/>
                    <a:pt x="1077" y="394"/>
                  </a:cubicBezTo>
                  <a:cubicBezTo>
                    <a:pt x="1080" y="396"/>
                    <a:pt x="1106" y="390"/>
                    <a:pt x="1107" y="387"/>
                  </a:cubicBezTo>
                  <a:cubicBezTo>
                    <a:pt x="1108" y="385"/>
                    <a:pt x="1099" y="381"/>
                    <a:pt x="1098" y="379"/>
                  </a:cubicBezTo>
                  <a:close/>
                  <a:moveTo>
                    <a:pt x="1110" y="381"/>
                  </a:moveTo>
                  <a:cubicBezTo>
                    <a:pt x="1114" y="384"/>
                    <a:pt x="1134" y="373"/>
                    <a:pt x="1132" y="369"/>
                  </a:cubicBezTo>
                  <a:cubicBezTo>
                    <a:pt x="1129" y="364"/>
                    <a:pt x="1108" y="358"/>
                    <a:pt x="1111" y="366"/>
                  </a:cubicBezTo>
                  <a:cubicBezTo>
                    <a:pt x="1112" y="368"/>
                    <a:pt x="1123" y="378"/>
                    <a:pt x="1113" y="371"/>
                  </a:cubicBezTo>
                  <a:cubicBezTo>
                    <a:pt x="1096" y="360"/>
                    <a:pt x="1102" y="367"/>
                    <a:pt x="1110" y="381"/>
                  </a:cubicBezTo>
                  <a:close/>
                  <a:moveTo>
                    <a:pt x="1134" y="350"/>
                  </a:moveTo>
                  <a:cubicBezTo>
                    <a:pt x="1156" y="339"/>
                    <a:pt x="1147" y="320"/>
                    <a:pt x="1131" y="349"/>
                  </a:cubicBezTo>
                  <a:cubicBezTo>
                    <a:pt x="1131" y="349"/>
                    <a:pt x="1131" y="349"/>
                    <a:pt x="1131" y="349"/>
                  </a:cubicBezTo>
                  <a:cubicBezTo>
                    <a:pt x="1132" y="351"/>
                    <a:pt x="1133" y="351"/>
                    <a:pt x="1134" y="350"/>
                  </a:cubicBezTo>
                  <a:close/>
                  <a:moveTo>
                    <a:pt x="913" y="361"/>
                  </a:moveTo>
                  <a:cubicBezTo>
                    <a:pt x="906" y="358"/>
                    <a:pt x="905" y="368"/>
                    <a:pt x="913" y="369"/>
                  </a:cubicBezTo>
                  <a:cubicBezTo>
                    <a:pt x="913" y="369"/>
                    <a:pt x="913" y="369"/>
                    <a:pt x="913" y="369"/>
                  </a:cubicBezTo>
                  <a:cubicBezTo>
                    <a:pt x="924" y="369"/>
                    <a:pt x="918" y="362"/>
                    <a:pt x="913" y="361"/>
                  </a:cubicBezTo>
                  <a:close/>
                  <a:moveTo>
                    <a:pt x="142" y="1357"/>
                  </a:moveTo>
                  <a:cubicBezTo>
                    <a:pt x="142" y="1357"/>
                    <a:pt x="142" y="1357"/>
                    <a:pt x="142" y="1357"/>
                  </a:cubicBezTo>
                  <a:cubicBezTo>
                    <a:pt x="144" y="1355"/>
                    <a:pt x="120" y="1348"/>
                    <a:pt x="115" y="1352"/>
                  </a:cubicBezTo>
                  <a:cubicBezTo>
                    <a:pt x="112" y="1354"/>
                    <a:pt x="136" y="1359"/>
                    <a:pt x="142" y="1357"/>
                  </a:cubicBezTo>
                  <a:close/>
                  <a:moveTo>
                    <a:pt x="834" y="653"/>
                  </a:moveTo>
                  <a:cubicBezTo>
                    <a:pt x="838" y="656"/>
                    <a:pt x="840" y="664"/>
                    <a:pt x="844" y="664"/>
                  </a:cubicBezTo>
                  <a:cubicBezTo>
                    <a:pt x="844" y="663"/>
                    <a:pt x="844" y="663"/>
                    <a:pt x="844" y="663"/>
                  </a:cubicBezTo>
                  <a:cubicBezTo>
                    <a:pt x="846" y="662"/>
                    <a:pt x="848" y="646"/>
                    <a:pt x="850" y="641"/>
                  </a:cubicBezTo>
                  <a:cubicBezTo>
                    <a:pt x="852" y="634"/>
                    <a:pt x="847" y="640"/>
                    <a:pt x="844" y="643"/>
                  </a:cubicBezTo>
                  <a:cubicBezTo>
                    <a:pt x="839" y="651"/>
                    <a:pt x="828" y="639"/>
                    <a:pt x="826" y="651"/>
                  </a:cubicBezTo>
                  <a:cubicBezTo>
                    <a:pt x="825" y="654"/>
                    <a:pt x="833" y="652"/>
                    <a:pt x="834" y="653"/>
                  </a:cubicBezTo>
                  <a:close/>
                  <a:moveTo>
                    <a:pt x="706" y="802"/>
                  </a:move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ubicBezTo>
                    <a:pt x="706" y="802"/>
                    <a:pt x="706" y="802"/>
                    <a:pt x="706" y="802"/>
                  </a:cubicBezTo>
                  <a:close/>
                  <a:moveTo>
                    <a:pt x="856" y="606"/>
                  </a:moveTo>
                  <a:cubicBezTo>
                    <a:pt x="875" y="600"/>
                    <a:pt x="840" y="596"/>
                    <a:pt x="846" y="608"/>
                  </a:cubicBezTo>
                  <a:cubicBezTo>
                    <a:pt x="846" y="609"/>
                    <a:pt x="855" y="606"/>
                    <a:pt x="856" y="606"/>
                  </a:cubicBezTo>
                  <a:close/>
                  <a:moveTo>
                    <a:pt x="849" y="466"/>
                  </a:moveTo>
                  <a:cubicBezTo>
                    <a:pt x="856" y="456"/>
                    <a:pt x="824" y="455"/>
                    <a:pt x="833" y="462"/>
                  </a:cubicBezTo>
                  <a:cubicBezTo>
                    <a:pt x="835" y="464"/>
                    <a:pt x="840" y="467"/>
                    <a:pt x="843" y="469"/>
                  </a:cubicBezTo>
                  <a:cubicBezTo>
                    <a:pt x="843" y="469"/>
                    <a:pt x="843" y="469"/>
                    <a:pt x="843" y="469"/>
                  </a:cubicBezTo>
                  <a:cubicBezTo>
                    <a:pt x="846" y="469"/>
                    <a:pt x="847" y="469"/>
                    <a:pt x="849" y="466"/>
                  </a:cubicBezTo>
                  <a:close/>
                  <a:moveTo>
                    <a:pt x="726" y="818"/>
                  </a:moveTo>
                  <a:cubicBezTo>
                    <a:pt x="727" y="817"/>
                    <a:pt x="727" y="817"/>
                    <a:pt x="727" y="817"/>
                  </a:cubicBezTo>
                  <a:cubicBezTo>
                    <a:pt x="729" y="816"/>
                    <a:pt x="729" y="815"/>
                    <a:pt x="727" y="814"/>
                  </a:cubicBezTo>
                  <a:cubicBezTo>
                    <a:pt x="718" y="812"/>
                    <a:pt x="711" y="823"/>
                    <a:pt x="703" y="822"/>
                  </a:cubicBezTo>
                  <a:cubicBezTo>
                    <a:pt x="699" y="822"/>
                    <a:pt x="709" y="815"/>
                    <a:pt x="705" y="815"/>
                  </a:cubicBezTo>
                  <a:cubicBezTo>
                    <a:pt x="696" y="814"/>
                    <a:pt x="691" y="821"/>
                    <a:pt x="688" y="827"/>
                  </a:cubicBezTo>
                  <a:cubicBezTo>
                    <a:pt x="687" y="829"/>
                    <a:pt x="680" y="831"/>
                    <a:pt x="681" y="835"/>
                  </a:cubicBezTo>
                  <a:cubicBezTo>
                    <a:pt x="681" y="835"/>
                    <a:pt x="692" y="832"/>
                    <a:pt x="691" y="835"/>
                  </a:cubicBezTo>
                  <a:cubicBezTo>
                    <a:pt x="689" y="840"/>
                    <a:pt x="711" y="822"/>
                    <a:pt x="726" y="818"/>
                  </a:cubicBezTo>
                  <a:close/>
                  <a:moveTo>
                    <a:pt x="1057" y="363"/>
                  </a:moveTo>
                  <a:cubicBezTo>
                    <a:pt x="1062" y="355"/>
                    <a:pt x="1043" y="357"/>
                    <a:pt x="1037" y="353"/>
                  </a:cubicBezTo>
                  <a:cubicBezTo>
                    <a:pt x="1024" y="344"/>
                    <a:pt x="1033" y="366"/>
                    <a:pt x="1050" y="369"/>
                  </a:cubicBezTo>
                  <a:cubicBezTo>
                    <a:pt x="1050" y="369"/>
                    <a:pt x="1050" y="369"/>
                    <a:pt x="1050" y="369"/>
                  </a:cubicBezTo>
                  <a:cubicBezTo>
                    <a:pt x="1058" y="370"/>
                    <a:pt x="1055" y="367"/>
                    <a:pt x="1057" y="363"/>
                  </a:cubicBezTo>
                  <a:close/>
                  <a:moveTo>
                    <a:pt x="737" y="514"/>
                  </a:moveTo>
                  <a:cubicBezTo>
                    <a:pt x="739" y="513"/>
                    <a:pt x="739" y="519"/>
                    <a:pt x="742" y="519"/>
                  </a:cubicBezTo>
                  <a:cubicBezTo>
                    <a:pt x="746" y="519"/>
                    <a:pt x="752" y="515"/>
                    <a:pt x="748" y="508"/>
                  </a:cubicBezTo>
                  <a:cubicBezTo>
                    <a:pt x="748" y="508"/>
                    <a:pt x="748" y="508"/>
                    <a:pt x="748" y="508"/>
                  </a:cubicBezTo>
                  <a:cubicBezTo>
                    <a:pt x="747" y="500"/>
                    <a:pt x="744" y="510"/>
                    <a:pt x="743" y="504"/>
                  </a:cubicBezTo>
                  <a:cubicBezTo>
                    <a:pt x="743" y="501"/>
                    <a:pt x="747" y="500"/>
                    <a:pt x="749" y="497"/>
                  </a:cubicBezTo>
                  <a:cubicBezTo>
                    <a:pt x="750" y="496"/>
                    <a:pt x="743" y="487"/>
                    <a:pt x="742" y="495"/>
                  </a:cubicBezTo>
                  <a:cubicBezTo>
                    <a:pt x="742" y="496"/>
                    <a:pt x="742" y="496"/>
                    <a:pt x="742" y="496"/>
                  </a:cubicBezTo>
                  <a:cubicBezTo>
                    <a:pt x="742" y="496"/>
                    <a:pt x="741" y="498"/>
                    <a:pt x="741" y="498"/>
                  </a:cubicBezTo>
                  <a:cubicBezTo>
                    <a:pt x="734" y="506"/>
                    <a:pt x="716" y="536"/>
                    <a:pt x="718" y="538"/>
                  </a:cubicBezTo>
                  <a:cubicBezTo>
                    <a:pt x="722" y="543"/>
                    <a:pt x="726" y="532"/>
                    <a:pt x="728" y="531"/>
                  </a:cubicBezTo>
                  <a:cubicBezTo>
                    <a:pt x="750" y="523"/>
                    <a:pt x="730" y="519"/>
                    <a:pt x="737" y="514"/>
                  </a:cubicBezTo>
                  <a:close/>
                  <a:moveTo>
                    <a:pt x="762" y="508"/>
                  </a:moveTo>
                  <a:cubicBezTo>
                    <a:pt x="763" y="508"/>
                    <a:pt x="763" y="508"/>
                    <a:pt x="763" y="508"/>
                  </a:cubicBezTo>
                  <a:cubicBezTo>
                    <a:pt x="789" y="481"/>
                    <a:pt x="763" y="481"/>
                    <a:pt x="762" y="488"/>
                  </a:cubicBezTo>
                  <a:cubicBezTo>
                    <a:pt x="762" y="491"/>
                    <a:pt x="768" y="492"/>
                    <a:pt x="766" y="496"/>
                  </a:cubicBezTo>
                  <a:cubicBezTo>
                    <a:pt x="764" y="499"/>
                    <a:pt x="754" y="490"/>
                    <a:pt x="752" y="504"/>
                  </a:cubicBezTo>
                  <a:cubicBezTo>
                    <a:pt x="751" y="512"/>
                    <a:pt x="756" y="502"/>
                    <a:pt x="756" y="502"/>
                  </a:cubicBezTo>
                  <a:cubicBezTo>
                    <a:pt x="760" y="504"/>
                    <a:pt x="754" y="514"/>
                    <a:pt x="762" y="508"/>
                  </a:cubicBezTo>
                  <a:close/>
                  <a:moveTo>
                    <a:pt x="993" y="343"/>
                  </a:moveTo>
                  <a:cubicBezTo>
                    <a:pt x="993" y="335"/>
                    <a:pt x="1032" y="313"/>
                    <a:pt x="1016" y="301"/>
                  </a:cubicBezTo>
                  <a:cubicBezTo>
                    <a:pt x="1015" y="300"/>
                    <a:pt x="1014" y="301"/>
                    <a:pt x="1013" y="302"/>
                  </a:cubicBezTo>
                  <a:cubicBezTo>
                    <a:pt x="1009" y="304"/>
                    <a:pt x="966" y="335"/>
                    <a:pt x="966" y="335"/>
                  </a:cubicBezTo>
                  <a:cubicBezTo>
                    <a:pt x="961" y="345"/>
                    <a:pt x="957" y="356"/>
                    <a:pt x="953" y="364"/>
                  </a:cubicBezTo>
                  <a:cubicBezTo>
                    <a:pt x="953" y="365"/>
                    <a:pt x="953" y="365"/>
                    <a:pt x="953" y="365"/>
                  </a:cubicBezTo>
                  <a:cubicBezTo>
                    <a:pt x="950" y="374"/>
                    <a:pt x="962" y="366"/>
                    <a:pt x="964" y="361"/>
                  </a:cubicBezTo>
                  <a:cubicBezTo>
                    <a:pt x="966" y="357"/>
                    <a:pt x="965" y="351"/>
                    <a:pt x="965" y="351"/>
                  </a:cubicBezTo>
                  <a:cubicBezTo>
                    <a:pt x="965" y="351"/>
                    <a:pt x="993" y="356"/>
                    <a:pt x="993" y="343"/>
                  </a:cubicBezTo>
                  <a:close/>
                  <a:moveTo>
                    <a:pt x="916" y="464"/>
                  </a:moveTo>
                  <a:cubicBezTo>
                    <a:pt x="913" y="458"/>
                    <a:pt x="902" y="466"/>
                    <a:pt x="905" y="471"/>
                  </a:cubicBezTo>
                  <a:cubicBezTo>
                    <a:pt x="908" y="476"/>
                    <a:pt x="912" y="471"/>
                    <a:pt x="914" y="467"/>
                  </a:cubicBezTo>
                  <a:cubicBezTo>
                    <a:pt x="914" y="467"/>
                    <a:pt x="914" y="467"/>
                    <a:pt x="914" y="467"/>
                  </a:cubicBezTo>
                  <a:cubicBezTo>
                    <a:pt x="915" y="466"/>
                    <a:pt x="915" y="465"/>
                    <a:pt x="916" y="464"/>
                  </a:cubicBezTo>
                  <a:close/>
                  <a:moveTo>
                    <a:pt x="916" y="465"/>
                  </a:moveTo>
                  <a:cubicBezTo>
                    <a:pt x="916" y="464"/>
                    <a:pt x="916" y="464"/>
                    <a:pt x="916" y="464"/>
                  </a:cubicBezTo>
                  <a:cubicBezTo>
                    <a:pt x="915" y="465"/>
                    <a:pt x="915" y="466"/>
                    <a:pt x="914" y="467"/>
                  </a:cubicBezTo>
                  <a:cubicBezTo>
                    <a:pt x="914" y="467"/>
                    <a:pt x="914" y="467"/>
                    <a:pt x="914" y="467"/>
                  </a:cubicBezTo>
                  <a:cubicBezTo>
                    <a:pt x="915" y="466"/>
                    <a:pt x="916" y="465"/>
                    <a:pt x="916" y="465"/>
                  </a:cubicBezTo>
                  <a:close/>
                  <a:moveTo>
                    <a:pt x="1812" y="28"/>
                  </a:moveTo>
                  <a:cubicBezTo>
                    <a:pt x="1813" y="28"/>
                    <a:pt x="1813" y="28"/>
                    <a:pt x="1813" y="28"/>
                  </a:cubicBezTo>
                  <a:cubicBezTo>
                    <a:pt x="1829" y="21"/>
                    <a:pt x="1799" y="18"/>
                    <a:pt x="1812" y="28"/>
                  </a:cubicBezTo>
                  <a:close/>
                  <a:moveTo>
                    <a:pt x="1775" y="26"/>
                  </a:moveTo>
                  <a:cubicBezTo>
                    <a:pt x="1774" y="30"/>
                    <a:pt x="1786" y="30"/>
                    <a:pt x="1788" y="30"/>
                  </a:cubicBezTo>
                  <a:cubicBezTo>
                    <a:pt x="1789" y="30"/>
                    <a:pt x="1789" y="30"/>
                    <a:pt x="1789" y="30"/>
                  </a:cubicBezTo>
                  <a:cubicBezTo>
                    <a:pt x="1797" y="29"/>
                    <a:pt x="1775" y="24"/>
                    <a:pt x="1775" y="26"/>
                  </a:cubicBezTo>
                  <a:close/>
                  <a:moveTo>
                    <a:pt x="1792" y="24"/>
                  </a:moveTo>
                  <a:cubicBezTo>
                    <a:pt x="1805" y="23"/>
                    <a:pt x="1796" y="4"/>
                    <a:pt x="1788" y="11"/>
                  </a:cubicBezTo>
                  <a:cubicBezTo>
                    <a:pt x="1786" y="14"/>
                    <a:pt x="1795" y="15"/>
                    <a:pt x="1792" y="17"/>
                  </a:cubicBezTo>
                  <a:cubicBezTo>
                    <a:pt x="1789" y="19"/>
                    <a:pt x="1770" y="17"/>
                    <a:pt x="1792" y="24"/>
                  </a:cubicBezTo>
                  <a:close/>
                  <a:moveTo>
                    <a:pt x="838" y="469"/>
                  </a:moveTo>
                  <a:cubicBezTo>
                    <a:pt x="830" y="463"/>
                    <a:pt x="830" y="471"/>
                    <a:pt x="824" y="471"/>
                  </a:cubicBezTo>
                  <a:cubicBezTo>
                    <a:pt x="816" y="469"/>
                    <a:pt x="787" y="455"/>
                    <a:pt x="783" y="471"/>
                  </a:cubicBezTo>
                  <a:cubicBezTo>
                    <a:pt x="783" y="472"/>
                    <a:pt x="791" y="472"/>
                    <a:pt x="792" y="473"/>
                  </a:cubicBezTo>
                  <a:cubicBezTo>
                    <a:pt x="794" y="478"/>
                    <a:pt x="775" y="472"/>
                    <a:pt x="782" y="483"/>
                  </a:cubicBezTo>
                  <a:cubicBezTo>
                    <a:pt x="783" y="484"/>
                    <a:pt x="781" y="486"/>
                    <a:pt x="781" y="487"/>
                  </a:cubicBezTo>
                  <a:cubicBezTo>
                    <a:pt x="781" y="487"/>
                    <a:pt x="781" y="487"/>
                    <a:pt x="781" y="487"/>
                  </a:cubicBezTo>
                  <a:cubicBezTo>
                    <a:pt x="785" y="488"/>
                    <a:pt x="782" y="484"/>
                    <a:pt x="785" y="486"/>
                  </a:cubicBezTo>
                  <a:cubicBezTo>
                    <a:pt x="788" y="488"/>
                    <a:pt x="772" y="493"/>
                    <a:pt x="781" y="501"/>
                  </a:cubicBezTo>
                  <a:cubicBezTo>
                    <a:pt x="782" y="502"/>
                    <a:pt x="782" y="502"/>
                    <a:pt x="782" y="502"/>
                  </a:cubicBezTo>
                  <a:cubicBezTo>
                    <a:pt x="791" y="502"/>
                    <a:pt x="783" y="488"/>
                    <a:pt x="791" y="490"/>
                  </a:cubicBezTo>
                  <a:cubicBezTo>
                    <a:pt x="791" y="490"/>
                    <a:pt x="794" y="493"/>
                    <a:pt x="794" y="493"/>
                  </a:cubicBezTo>
                  <a:cubicBezTo>
                    <a:pt x="793" y="496"/>
                    <a:pt x="797" y="500"/>
                    <a:pt x="800" y="497"/>
                  </a:cubicBezTo>
                  <a:cubicBezTo>
                    <a:pt x="802" y="496"/>
                    <a:pt x="798" y="489"/>
                    <a:pt x="802" y="489"/>
                  </a:cubicBezTo>
                  <a:cubicBezTo>
                    <a:pt x="803" y="488"/>
                    <a:pt x="813" y="498"/>
                    <a:pt x="813" y="489"/>
                  </a:cubicBezTo>
                  <a:cubicBezTo>
                    <a:pt x="813" y="486"/>
                    <a:pt x="806" y="484"/>
                    <a:pt x="806" y="484"/>
                  </a:cubicBezTo>
                  <a:cubicBezTo>
                    <a:pt x="807" y="484"/>
                    <a:pt x="846" y="475"/>
                    <a:pt x="838" y="469"/>
                  </a:cubicBezTo>
                  <a:close/>
                  <a:moveTo>
                    <a:pt x="891" y="468"/>
                  </a:moveTo>
                  <a:cubicBezTo>
                    <a:pt x="891" y="469"/>
                    <a:pt x="908" y="462"/>
                    <a:pt x="917" y="452"/>
                  </a:cubicBezTo>
                  <a:cubicBezTo>
                    <a:pt x="918" y="450"/>
                    <a:pt x="929" y="439"/>
                    <a:pt x="929" y="438"/>
                  </a:cubicBezTo>
                  <a:cubicBezTo>
                    <a:pt x="928" y="437"/>
                    <a:pt x="920" y="439"/>
                    <a:pt x="919" y="439"/>
                  </a:cubicBezTo>
                  <a:cubicBezTo>
                    <a:pt x="916" y="442"/>
                    <a:pt x="910" y="438"/>
                    <a:pt x="906" y="441"/>
                  </a:cubicBezTo>
                  <a:cubicBezTo>
                    <a:pt x="903" y="443"/>
                    <a:pt x="907" y="449"/>
                    <a:pt x="903" y="449"/>
                  </a:cubicBezTo>
                  <a:cubicBezTo>
                    <a:pt x="902" y="450"/>
                    <a:pt x="900" y="451"/>
                    <a:pt x="899" y="452"/>
                  </a:cubicBezTo>
                  <a:cubicBezTo>
                    <a:pt x="897" y="452"/>
                    <a:pt x="896" y="453"/>
                    <a:pt x="895" y="452"/>
                  </a:cubicBezTo>
                  <a:cubicBezTo>
                    <a:pt x="894" y="452"/>
                    <a:pt x="905" y="446"/>
                    <a:pt x="896" y="441"/>
                  </a:cubicBezTo>
                  <a:cubicBezTo>
                    <a:pt x="887" y="436"/>
                    <a:pt x="892" y="447"/>
                    <a:pt x="890" y="449"/>
                  </a:cubicBezTo>
                  <a:cubicBezTo>
                    <a:pt x="887" y="451"/>
                    <a:pt x="886" y="443"/>
                    <a:pt x="886" y="442"/>
                  </a:cubicBezTo>
                  <a:cubicBezTo>
                    <a:pt x="883" y="440"/>
                    <a:pt x="879" y="443"/>
                    <a:pt x="877" y="444"/>
                  </a:cubicBezTo>
                  <a:cubicBezTo>
                    <a:pt x="875" y="445"/>
                    <a:pt x="875" y="450"/>
                    <a:pt x="874" y="449"/>
                  </a:cubicBezTo>
                  <a:cubicBezTo>
                    <a:pt x="873" y="447"/>
                    <a:pt x="861" y="449"/>
                    <a:pt x="861" y="450"/>
                  </a:cubicBezTo>
                  <a:cubicBezTo>
                    <a:pt x="860" y="452"/>
                    <a:pt x="870" y="456"/>
                    <a:pt x="871" y="459"/>
                  </a:cubicBezTo>
                  <a:cubicBezTo>
                    <a:pt x="872" y="461"/>
                    <a:pt x="867" y="457"/>
                    <a:pt x="866" y="458"/>
                  </a:cubicBezTo>
                  <a:cubicBezTo>
                    <a:pt x="858" y="468"/>
                    <a:pt x="859" y="454"/>
                    <a:pt x="855" y="458"/>
                  </a:cubicBezTo>
                  <a:cubicBezTo>
                    <a:pt x="850" y="463"/>
                    <a:pt x="855" y="464"/>
                    <a:pt x="856" y="467"/>
                  </a:cubicBezTo>
                  <a:cubicBezTo>
                    <a:pt x="856" y="469"/>
                    <a:pt x="851" y="470"/>
                    <a:pt x="853" y="470"/>
                  </a:cubicBezTo>
                  <a:cubicBezTo>
                    <a:pt x="854" y="470"/>
                    <a:pt x="858" y="470"/>
                    <a:pt x="858" y="471"/>
                  </a:cubicBezTo>
                  <a:cubicBezTo>
                    <a:pt x="858" y="471"/>
                    <a:pt x="853" y="473"/>
                    <a:pt x="852" y="473"/>
                  </a:cubicBezTo>
                  <a:cubicBezTo>
                    <a:pt x="842" y="473"/>
                    <a:pt x="848" y="478"/>
                    <a:pt x="845" y="482"/>
                  </a:cubicBezTo>
                  <a:cubicBezTo>
                    <a:pt x="844" y="484"/>
                    <a:pt x="844" y="484"/>
                    <a:pt x="844" y="484"/>
                  </a:cubicBezTo>
                  <a:cubicBezTo>
                    <a:pt x="845" y="485"/>
                    <a:pt x="887" y="473"/>
                    <a:pt x="886" y="469"/>
                  </a:cubicBezTo>
                  <a:cubicBezTo>
                    <a:pt x="885" y="464"/>
                    <a:pt x="885" y="457"/>
                    <a:pt x="890" y="456"/>
                  </a:cubicBezTo>
                  <a:cubicBezTo>
                    <a:pt x="898" y="454"/>
                    <a:pt x="889" y="467"/>
                    <a:pt x="891" y="468"/>
                  </a:cubicBezTo>
                  <a:close/>
                  <a:moveTo>
                    <a:pt x="1055" y="405"/>
                  </a:moveTo>
                  <a:cubicBezTo>
                    <a:pt x="1056" y="397"/>
                    <a:pt x="1052" y="391"/>
                    <a:pt x="1049" y="386"/>
                  </a:cubicBezTo>
                  <a:cubicBezTo>
                    <a:pt x="1048" y="384"/>
                    <a:pt x="1055" y="380"/>
                    <a:pt x="1054" y="379"/>
                  </a:cubicBezTo>
                  <a:cubicBezTo>
                    <a:pt x="1054" y="377"/>
                    <a:pt x="1047" y="381"/>
                    <a:pt x="1044" y="380"/>
                  </a:cubicBezTo>
                  <a:cubicBezTo>
                    <a:pt x="1044" y="379"/>
                    <a:pt x="1031" y="366"/>
                    <a:pt x="1027" y="366"/>
                  </a:cubicBezTo>
                  <a:cubicBezTo>
                    <a:pt x="1024" y="366"/>
                    <a:pt x="1035" y="380"/>
                    <a:pt x="1029" y="376"/>
                  </a:cubicBezTo>
                  <a:cubicBezTo>
                    <a:pt x="1026" y="375"/>
                    <a:pt x="1026" y="373"/>
                    <a:pt x="1023" y="373"/>
                  </a:cubicBezTo>
                  <a:cubicBezTo>
                    <a:pt x="1001" y="375"/>
                    <a:pt x="1023" y="386"/>
                    <a:pt x="1023" y="389"/>
                  </a:cubicBezTo>
                  <a:cubicBezTo>
                    <a:pt x="1025" y="399"/>
                    <a:pt x="1008" y="387"/>
                    <a:pt x="1008" y="398"/>
                  </a:cubicBezTo>
                  <a:cubicBezTo>
                    <a:pt x="1008" y="401"/>
                    <a:pt x="1012" y="410"/>
                    <a:pt x="1009" y="408"/>
                  </a:cubicBezTo>
                  <a:cubicBezTo>
                    <a:pt x="1007" y="407"/>
                    <a:pt x="1008" y="404"/>
                    <a:pt x="1005" y="404"/>
                  </a:cubicBezTo>
                  <a:cubicBezTo>
                    <a:pt x="998" y="402"/>
                    <a:pt x="990" y="415"/>
                    <a:pt x="988" y="420"/>
                  </a:cubicBezTo>
                  <a:cubicBezTo>
                    <a:pt x="988" y="421"/>
                    <a:pt x="982" y="426"/>
                    <a:pt x="981" y="425"/>
                  </a:cubicBezTo>
                  <a:cubicBezTo>
                    <a:pt x="976" y="418"/>
                    <a:pt x="1002" y="400"/>
                    <a:pt x="1004" y="390"/>
                  </a:cubicBezTo>
                  <a:cubicBezTo>
                    <a:pt x="1005" y="383"/>
                    <a:pt x="981" y="399"/>
                    <a:pt x="984" y="393"/>
                  </a:cubicBezTo>
                  <a:cubicBezTo>
                    <a:pt x="986" y="384"/>
                    <a:pt x="1007" y="369"/>
                    <a:pt x="997" y="357"/>
                  </a:cubicBezTo>
                  <a:cubicBezTo>
                    <a:pt x="996" y="357"/>
                    <a:pt x="995" y="356"/>
                    <a:pt x="995" y="356"/>
                  </a:cubicBezTo>
                  <a:cubicBezTo>
                    <a:pt x="982" y="353"/>
                    <a:pt x="961" y="367"/>
                    <a:pt x="965" y="375"/>
                  </a:cubicBezTo>
                  <a:cubicBezTo>
                    <a:pt x="966" y="377"/>
                    <a:pt x="973" y="379"/>
                    <a:pt x="972" y="379"/>
                  </a:cubicBezTo>
                  <a:cubicBezTo>
                    <a:pt x="968" y="383"/>
                    <a:pt x="957" y="376"/>
                    <a:pt x="956" y="384"/>
                  </a:cubicBezTo>
                  <a:cubicBezTo>
                    <a:pt x="956" y="385"/>
                    <a:pt x="956" y="387"/>
                    <a:pt x="956" y="388"/>
                  </a:cubicBezTo>
                  <a:cubicBezTo>
                    <a:pt x="956" y="389"/>
                    <a:pt x="982" y="396"/>
                    <a:pt x="979" y="398"/>
                  </a:cubicBezTo>
                  <a:cubicBezTo>
                    <a:pt x="977" y="399"/>
                    <a:pt x="961" y="391"/>
                    <a:pt x="957" y="394"/>
                  </a:cubicBezTo>
                  <a:cubicBezTo>
                    <a:pt x="946" y="403"/>
                    <a:pt x="967" y="408"/>
                    <a:pt x="968" y="410"/>
                  </a:cubicBezTo>
                  <a:cubicBezTo>
                    <a:pt x="969" y="411"/>
                    <a:pt x="973" y="411"/>
                    <a:pt x="972" y="413"/>
                  </a:cubicBezTo>
                  <a:cubicBezTo>
                    <a:pt x="972" y="413"/>
                    <a:pt x="971" y="413"/>
                    <a:pt x="971" y="413"/>
                  </a:cubicBezTo>
                  <a:cubicBezTo>
                    <a:pt x="970" y="413"/>
                    <a:pt x="970" y="413"/>
                    <a:pt x="969" y="413"/>
                  </a:cubicBezTo>
                  <a:cubicBezTo>
                    <a:pt x="960" y="413"/>
                    <a:pt x="950" y="409"/>
                    <a:pt x="953" y="416"/>
                  </a:cubicBezTo>
                  <a:cubicBezTo>
                    <a:pt x="954" y="417"/>
                    <a:pt x="956" y="421"/>
                    <a:pt x="956" y="421"/>
                  </a:cubicBezTo>
                  <a:cubicBezTo>
                    <a:pt x="950" y="422"/>
                    <a:pt x="940" y="413"/>
                    <a:pt x="935" y="420"/>
                  </a:cubicBezTo>
                  <a:cubicBezTo>
                    <a:pt x="930" y="427"/>
                    <a:pt x="949" y="430"/>
                    <a:pt x="940" y="432"/>
                  </a:cubicBezTo>
                  <a:cubicBezTo>
                    <a:pt x="933" y="433"/>
                    <a:pt x="941" y="435"/>
                    <a:pt x="945" y="435"/>
                  </a:cubicBezTo>
                  <a:cubicBezTo>
                    <a:pt x="946" y="435"/>
                    <a:pt x="948" y="435"/>
                    <a:pt x="948" y="436"/>
                  </a:cubicBezTo>
                  <a:cubicBezTo>
                    <a:pt x="947" y="437"/>
                    <a:pt x="940" y="438"/>
                    <a:pt x="939" y="438"/>
                  </a:cubicBezTo>
                  <a:cubicBezTo>
                    <a:pt x="928" y="438"/>
                    <a:pt x="921" y="456"/>
                    <a:pt x="916" y="464"/>
                  </a:cubicBezTo>
                  <a:cubicBezTo>
                    <a:pt x="916" y="464"/>
                    <a:pt x="916" y="464"/>
                    <a:pt x="916" y="465"/>
                  </a:cubicBezTo>
                  <a:cubicBezTo>
                    <a:pt x="916" y="465"/>
                    <a:pt x="916" y="465"/>
                    <a:pt x="916" y="465"/>
                  </a:cubicBezTo>
                  <a:cubicBezTo>
                    <a:pt x="916" y="465"/>
                    <a:pt x="915" y="466"/>
                    <a:pt x="914" y="467"/>
                  </a:cubicBezTo>
                  <a:cubicBezTo>
                    <a:pt x="914" y="468"/>
                    <a:pt x="914" y="468"/>
                    <a:pt x="914" y="468"/>
                  </a:cubicBezTo>
                  <a:cubicBezTo>
                    <a:pt x="914" y="470"/>
                    <a:pt x="935" y="458"/>
                    <a:pt x="936" y="455"/>
                  </a:cubicBezTo>
                  <a:cubicBezTo>
                    <a:pt x="940" y="449"/>
                    <a:pt x="946" y="447"/>
                    <a:pt x="959" y="439"/>
                  </a:cubicBezTo>
                  <a:cubicBezTo>
                    <a:pt x="962" y="437"/>
                    <a:pt x="962" y="427"/>
                    <a:pt x="965" y="428"/>
                  </a:cubicBezTo>
                  <a:cubicBezTo>
                    <a:pt x="980" y="434"/>
                    <a:pt x="942" y="451"/>
                    <a:pt x="945" y="456"/>
                  </a:cubicBezTo>
                  <a:cubicBezTo>
                    <a:pt x="946" y="457"/>
                    <a:pt x="958" y="457"/>
                    <a:pt x="960" y="456"/>
                  </a:cubicBezTo>
                  <a:cubicBezTo>
                    <a:pt x="965" y="453"/>
                    <a:pt x="970" y="465"/>
                    <a:pt x="972" y="461"/>
                  </a:cubicBezTo>
                  <a:cubicBezTo>
                    <a:pt x="974" y="458"/>
                    <a:pt x="980" y="441"/>
                    <a:pt x="983" y="441"/>
                  </a:cubicBezTo>
                  <a:cubicBezTo>
                    <a:pt x="985" y="442"/>
                    <a:pt x="983" y="447"/>
                    <a:pt x="987" y="447"/>
                  </a:cubicBezTo>
                  <a:cubicBezTo>
                    <a:pt x="988" y="447"/>
                    <a:pt x="989" y="427"/>
                    <a:pt x="994" y="438"/>
                  </a:cubicBezTo>
                  <a:cubicBezTo>
                    <a:pt x="996" y="441"/>
                    <a:pt x="991" y="448"/>
                    <a:pt x="993" y="451"/>
                  </a:cubicBezTo>
                  <a:cubicBezTo>
                    <a:pt x="999" y="459"/>
                    <a:pt x="1012" y="425"/>
                    <a:pt x="1014" y="424"/>
                  </a:cubicBezTo>
                  <a:cubicBezTo>
                    <a:pt x="1026" y="417"/>
                    <a:pt x="1053" y="430"/>
                    <a:pt x="1055" y="405"/>
                  </a:cubicBezTo>
                  <a:close/>
                  <a:moveTo>
                    <a:pt x="922" y="511"/>
                  </a:moveTo>
                  <a:cubicBezTo>
                    <a:pt x="920" y="509"/>
                    <a:pt x="919" y="511"/>
                    <a:pt x="918" y="512"/>
                  </a:cubicBezTo>
                  <a:cubicBezTo>
                    <a:pt x="905" y="524"/>
                    <a:pt x="915" y="523"/>
                    <a:pt x="935" y="521"/>
                  </a:cubicBezTo>
                  <a:cubicBezTo>
                    <a:pt x="936" y="520"/>
                    <a:pt x="936" y="520"/>
                    <a:pt x="936" y="520"/>
                  </a:cubicBezTo>
                  <a:cubicBezTo>
                    <a:pt x="947" y="517"/>
                    <a:pt x="926" y="518"/>
                    <a:pt x="922" y="511"/>
                  </a:cubicBezTo>
                  <a:close/>
                  <a:moveTo>
                    <a:pt x="934" y="513"/>
                  </a:moveTo>
                  <a:cubicBezTo>
                    <a:pt x="936" y="513"/>
                    <a:pt x="937" y="513"/>
                    <a:pt x="938" y="513"/>
                  </a:cubicBezTo>
                  <a:cubicBezTo>
                    <a:pt x="940" y="513"/>
                    <a:pt x="940" y="513"/>
                    <a:pt x="940" y="513"/>
                  </a:cubicBezTo>
                  <a:cubicBezTo>
                    <a:pt x="952" y="504"/>
                    <a:pt x="912" y="511"/>
                    <a:pt x="934" y="513"/>
                  </a:cubicBezTo>
                  <a:close/>
                  <a:moveTo>
                    <a:pt x="562" y="1026"/>
                  </a:moveTo>
                  <a:cubicBezTo>
                    <a:pt x="561" y="1036"/>
                    <a:pt x="572" y="1029"/>
                    <a:pt x="577" y="1032"/>
                  </a:cubicBezTo>
                  <a:cubicBezTo>
                    <a:pt x="584" y="1037"/>
                    <a:pt x="570" y="1032"/>
                    <a:pt x="570" y="1037"/>
                  </a:cubicBezTo>
                  <a:cubicBezTo>
                    <a:pt x="570" y="1043"/>
                    <a:pt x="588" y="1048"/>
                    <a:pt x="592" y="1048"/>
                  </a:cubicBezTo>
                  <a:cubicBezTo>
                    <a:pt x="594" y="1048"/>
                    <a:pt x="595" y="1050"/>
                    <a:pt x="596" y="1049"/>
                  </a:cubicBezTo>
                  <a:cubicBezTo>
                    <a:pt x="597" y="1048"/>
                    <a:pt x="598" y="1045"/>
                    <a:pt x="599" y="1043"/>
                  </a:cubicBezTo>
                  <a:cubicBezTo>
                    <a:pt x="599" y="1043"/>
                    <a:pt x="599" y="1043"/>
                    <a:pt x="599" y="1043"/>
                  </a:cubicBezTo>
                  <a:cubicBezTo>
                    <a:pt x="603" y="1038"/>
                    <a:pt x="585" y="1040"/>
                    <a:pt x="585" y="1039"/>
                  </a:cubicBezTo>
                  <a:cubicBezTo>
                    <a:pt x="584" y="1039"/>
                    <a:pt x="564" y="1013"/>
                    <a:pt x="562" y="1026"/>
                  </a:cubicBezTo>
                  <a:close/>
                  <a:moveTo>
                    <a:pt x="95" y="1822"/>
                  </a:moveTo>
                  <a:cubicBezTo>
                    <a:pt x="90" y="1820"/>
                    <a:pt x="87" y="1835"/>
                    <a:pt x="98" y="1825"/>
                  </a:cubicBezTo>
                  <a:cubicBezTo>
                    <a:pt x="100" y="1823"/>
                    <a:pt x="94" y="1824"/>
                    <a:pt x="95" y="1822"/>
                  </a:cubicBezTo>
                  <a:close/>
                  <a:moveTo>
                    <a:pt x="594" y="1029"/>
                  </a:moveTo>
                  <a:cubicBezTo>
                    <a:pt x="593" y="1029"/>
                    <a:pt x="590" y="1037"/>
                    <a:pt x="600" y="1038"/>
                  </a:cubicBezTo>
                  <a:cubicBezTo>
                    <a:pt x="600" y="1038"/>
                    <a:pt x="600" y="1038"/>
                    <a:pt x="600" y="1038"/>
                  </a:cubicBezTo>
                  <a:cubicBezTo>
                    <a:pt x="606" y="1039"/>
                    <a:pt x="594" y="1029"/>
                    <a:pt x="594" y="1029"/>
                  </a:cubicBezTo>
                  <a:close/>
                  <a:moveTo>
                    <a:pt x="560" y="1158"/>
                  </a:moveTo>
                  <a:cubicBezTo>
                    <a:pt x="563" y="1163"/>
                    <a:pt x="573" y="1152"/>
                    <a:pt x="579" y="1150"/>
                  </a:cubicBezTo>
                  <a:cubicBezTo>
                    <a:pt x="579" y="1150"/>
                    <a:pt x="579" y="1150"/>
                    <a:pt x="579" y="1150"/>
                  </a:cubicBezTo>
                  <a:cubicBezTo>
                    <a:pt x="581" y="1147"/>
                    <a:pt x="556" y="1149"/>
                    <a:pt x="560" y="1158"/>
                  </a:cubicBezTo>
                  <a:close/>
                  <a:moveTo>
                    <a:pt x="21" y="1510"/>
                  </a:moveTo>
                  <a:cubicBezTo>
                    <a:pt x="21" y="1510"/>
                    <a:pt x="21" y="1510"/>
                    <a:pt x="21" y="1510"/>
                  </a:cubicBezTo>
                  <a:cubicBezTo>
                    <a:pt x="19" y="1507"/>
                    <a:pt x="14" y="1506"/>
                    <a:pt x="13" y="1508"/>
                  </a:cubicBezTo>
                  <a:cubicBezTo>
                    <a:pt x="8" y="1515"/>
                    <a:pt x="21" y="1521"/>
                    <a:pt x="21" y="1510"/>
                  </a:cubicBezTo>
                  <a:close/>
                  <a:moveTo>
                    <a:pt x="85" y="1609"/>
                  </a:moveTo>
                  <a:cubicBezTo>
                    <a:pt x="85" y="1609"/>
                    <a:pt x="85" y="1609"/>
                    <a:pt x="85" y="1609"/>
                  </a:cubicBezTo>
                  <a:cubicBezTo>
                    <a:pt x="82" y="1605"/>
                    <a:pt x="74" y="1615"/>
                    <a:pt x="70" y="1621"/>
                  </a:cubicBezTo>
                  <a:cubicBezTo>
                    <a:pt x="67" y="1624"/>
                    <a:pt x="53" y="1625"/>
                    <a:pt x="55" y="1628"/>
                  </a:cubicBezTo>
                  <a:cubicBezTo>
                    <a:pt x="61" y="1642"/>
                    <a:pt x="89" y="1657"/>
                    <a:pt x="85" y="1609"/>
                  </a:cubicBezTo>
                  <a:close/>
                  <a:moveTo>
                    <a:pt x="104" y="1827"/>
                  </a:moveTo>
                  <a:cubicBezTo>
                    <a:pt x="104" y="1827"/>
                    <a:pt x="104" y="1827"/>
                    <a:pt x="104" y="1827"/>
                  </a:cubicBezTo>
                  <a:cubicBezTo>
                    <a:pt x="104" y="1826"/>
                    <a:pt x="103" y="1827"/>
                    <a:pt x="103" y="1827"/>
                  </a:cubicBezTo>
                  <a:cubicBezTo>
                    <a:pt x="94" y="1833"/>
                    <a:pt x="108" y="1835"/>
                    <a:pt x="104" y="1827"/>
                  </a:cubicBezTo>
                  <a:close/>
                  <a:moveTo>
                    <a:pt x="105" y="1816"/>
                  </a:moveTo>
                  <a:cubicBezTo>
                    <a:pt x="109" y="1819"/>
                    <a:pt x="124" y="1813"/>
                    <a:pt x="116" y="1808"/>
                  </a:cubicBezTo>
                  <a:cubicBezTo>
                    <a:pt x="116" y="1808"/>
                    <a:pt x="116" y="1808"/>
                    <a:pt x="116" y="1808"/>
                  </a:cubicBezTo>
                  <a:cubicBezTo>
                    <a:pt x="111" y="1806"/>
                    <a:pt x="99" y="1813"/>
                    <a:pt x="105" y="1816"/>
                  </a:cubicBezTo>
                  <a:close/>
                  <a:moveTo>
                    <a:pt x="111" y="1683"/>
                  </a:moveTo>
                  <a:cubicBezTo>
                    <a:pt x="110" y="1683"/>
                    <a:pt x="110" y="1683"/>
                    <a:pt x="110" y="1683"/>
                  </a:cubicBezTo>
                  <a:cubicBezTo>
                    <a:pt x="106" y="1684"/>
                    <a:pt x="104" y="1688"/>
                    <a:pt x="106" y="1691"/>
                  </a:cubicBezTo>
                  <a:cubicBezTo>
                    <a:pt x="111" y="1701"/>
                    <a:pt x="119" y="1683"/>
                    <a:pt x="111" y="1683"/>
                  </a:cubicBezTo>
                  <a:close/>
                  <a:moveTo>
                    <a:pt x="578" y="1019"/>
                  </a:moveTo>
                  <a:cubicBezTo>
                    <a:pt x="568" y="1022"/>
                    <a:pt x="596" y="1037"/>
                    <a:pt x="590" y="1022"/>
                  </a:cubicBezTo>
                  <a:cubicBezTo>
                    <a:pt x="590" y="1021"/>
                    <a:pt x="590" y="1021"/>
                    <a:pt x="590" y="1021"/>
                  </a:cubicBezTo>
                  <a:cubicBezTo>
                    <a:pt x="587" y="1017"/>
                    <a:pt x="582" y="1017"/>
                    <a:pt x="578" y="1019"/>
                  </a:cubicBezTo>
                  <a:close/>
                  <a:moveTo>
                    <a:pt x="1836" y="147"/>
                  </a:moveTo>
                  <a:cubicBezTo>
                    <a:pt x="1836" y="148"/>
                    <a:pt x="1836" y="148"/>
                    <a:pt x="1836" y="148"/>
                  </a:cubicBezTo>
                  <a:cubicBezTo>
                    <a:pt x="1843" y="157"/>
                    <a:pt x="1841" y="130"/>
                    <a:pt x="1836" y="147"/>
                  </a:cubicBezTo>
                  <a:close/>
                  <a:moveTo>
                    <a:pt x="11" y="1553"/>
                  </a:moveTo>
                  <a:cubicBezTo>
                    <a:pt x="11" y="1553"/>
                    <a:pt x="11" y="1553"/>
                    <a:pt x="11" y="1553"/>
                  </a:cubicBez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1" y="1552"/>
                    <a:pt x="11" y="1553"/>
                  </a:cubicBezTo>
                  <a:close/>
                  <a:moveTo>
                    <a:pt x="8" y="1552"/>
                  </a:moveTo>
                  <a:cubicBezTo>
                    <a:pt x="8" y="1550"/>
                    <a:pt x="10" y="1553"/>
                    <a:pt x="12" y="1554"/>
                  </a:cubicBezTo>
                  <a:cubicBezTo>
                    <a:pt x="12" y="1554"/>
                    <a:pt x="12" y="1554"/>
                    <a:pt x="11" y="1553"/>
                  </a:cubicBezTo>
                  <a:cubicBezTo>
                    <a:pt x="11" y="1553"/>
                    <a:pt x="11" y="1553"/>
                    <a:pt x="11" y="1553"/>
                  </a:cubicBezTo>
                  <a:cubicBezTo>
                    <a:pt x="11" y="1552"/>
                    <a:pt x="12" y="1554"/>
                    <a:pt x="12" y="1554"/>
                  </a:cubicBezTo>
                  <a:cubicBezTo>
                    <a:pt x="14" y="1555"/>
                    <a:pt x="15" y="1555"/>
                    <a:pt x="15" y="1555"/>
                  </a:cubicBezTo>
                  <a:cubicBezTo>
                    <a:pt x="22" y="1548"/>
                    <a:pt x="23" y="1546"/>
                    <a:pt x="20" y="1536"/>
                  </a:cubicBezTo>
                  <a:cubicBezTo>
                    <a:pt x="20" y="1536"/>
                    <a:pt x="20" y="1536"/>
                    <a:pt x="20" y="1536"/>
                  </a:cubicBezTo>
                  <a:cubicBezTo>
                    <a:pt x="18" y="1535"/>
                    <a:pt x="16" y="1536"/>
                    <a:pt x="15" y="1538"/>
                  </a:cubicBezTo>
                  <a:cubicBezTo>
                    <a:pt x="15" y="1539"/>
                    <a:pt x="16" y="1541"/>
                    <a:pt x="15" y="1542"/>
                  </a:cubicBezTo>
                  <a:cubicBezTo>
                    <a:pt x="15" y="1542"/>
                    <a:pt x="16" y="1542"/>
                    <a:pt x="15" y="1543"/>
                  </a:cubicBezTo>
                  <a:cubicBezTo>
                    <a:pt x="14" y="1543"/>
                    <a:pt x="13" y="1536"/>
                    <a:pt x="13" y="1535"/>
                  </a:cubicBezTo>
                  <a:cubicBezTo>
                    <a:pt x="13" y="1531"/>
                    <a:pt x="11" y="1536"/>
                    <a:pt x="13" y="1541"/>
                  </a:cubicBezTo>
                  <a:cubicBezTo>
                    <a:pt x="14" y="1545"/>
                    <a:pt x="12" y="1545"/>
                    <a:pt x="10" y="1542"/>
                  </a:cubicBezTo>
                  <a:cubicBezTo>
                    <a:pt x="3" y="1529"/>
                    <a:pt x="6" y="1561"/>
                    <a:pt x="8" y="1552"/>
                  </a:cubicBezTo>
                  <a:close/>
                  <a:moveTo>
                    <a:pt x="113" y="1370"/>
                  </a:moveTo>
                  <a:cubicBezTo>
                    <a:pt x="113" y="1370"/>
                    <a:pt x="113" y="1370"/>
                    <a:pt x="113" y="1370"/>
                  </a:cubicBezTo>
                  <a:cubicBezTo>
                    <a:pt x="121" y="1364"/>
                    <a:pt x="108" y="1349"/>
                    <a:pt x="100" y="1356"/>
                  </a:cubicBezTo>
                  <a:cubicBezTo>
                    <a:pt x="95" y="1360"/>
                    <a:pt x="90" y="1394"/>
                    <a:pt x="113" y="1370"/>
                  </a:cubicBezTo>
                  <a:close/>
                  <a:moveTo>
                    <a:pt x="994" y="511"/>
                  </a:moveTo>
                  <a:cubicBezTo>
                    <a:pt x="995" y="510"/>
                    <a:pt x="995" y="510"/>
                    <a:pt x="995" y="510"/>
                  </a:cubicBezTo>
                  <a:cubicBezTo>
                    <a:pt x="998" y="509"/>
                    <a:pt x="960" y="500"/>
                    <a:pt x="960" y="512"/>
                  </a:cubicBezTo>
                  <a:cubicBezTo>
                    <a:pt x="960" y="513"/>
                    <a:pt x="969" y="513"/>
                    <a:pt x="970" y="513"/>
                  </a:cubicBezTo>
                  <a:cubicBezTo>
                    <a:pt x="978" y="514"/>
                    <a:pt x="985" y="512"/>
                    <a:pt x="994" y="511"/>
                  </a:cubicBezTo>
                  <a:close/>
                  <a:moveTo>
                    <a:pt x="2256" y="222"/>
                  </a:moveTo>
                  <a:cubicBezTo>
                    <a:pt x="2258" y="221"/>
                    <a:pt x="2268" y="219"/>
                    <a:pt x="2268" y="217"/>
                  </a:cubicBezTo>
                  <a:cubicBezTo>
                    <a:pt x="2269" y="212"/>
                    <a:pt x="2257" y="211"/>
                    <a:pt x="2259" y="207"/>
                  </a:cubicBezTo>
                  <a:cubicBezTo>
                    <a:pt x="2258" y="207"/>
                    <a:pt x="2258" y="207"/>
                    <a:pt x="2258" y="207"/>
                  </a:cubicBezTo>
                  <a:cubicBezTo>
                    <a:pt x="2237" y="197"/>
                    <a:pt x="2247" y="214"/>
                    <a:pt x="2237" y="222"/>
                  </a:cubicBezTo>
                  <a:cubicBezTo>
                    <a:pt x="2234" y="224"/>
                    <a:pt x="2231" y="227"/>
                    <a:pt x="2236" y="228"/>
                  </a:cubicBezTo>
                  <a:cubicBezTo>
                    <a:pt x="2238" y="228"/>
                    <a:pt x="2245" y="229"/>
                    <a:pt x="2245" y="226"/>
                  </a:cubicBezTo>
                  <a:cubicBezTo>
                    <a:pt x="2244" y="220"/>
                    <a:pt x="2248" y="226"/>
                    <a:pt x="2256" y="222"/>
                  </a:cubicBezTo>
                  <a:close/>
                  <a:moveTo>
                    <a:pt x="743" y="757"/>
                  </a:moveTo>
                  <a:cubicBezTo>
                    <a:pt x="743" y="758"/>
                    <a:pt x="743" y="758"/>
                    <a:pt x="743" y="758"/>
                  </a:cubicBezTo>
                  <a:cubicBezTo>
                    <a:pt x="758" y="762"/>
                    <a:pt x="747" y="737"/>
                    <a:pt x="743" y="757"/>
                  </a:cubicBezTo>
                  <a:close/>
                  <a:moveTo>
                    <a:pt x="12" y="1554"/>
                  </a:moveTo>
                  <a:cubicBezTo>
                    <a:pt x="12" y="1554"/>
                    <a:pt x="12" y="1554"/>
                    <a:pt x="12" y="1554"/>
                  </a:cubicBezTo>
                  <a:cubicBezTo>
                    <a:pt x="12" y="1554"/>
                    <a:pt x="12" y="1554"/>
                    <a:pt x="12" y="1554"/>
                  </a:cubicBezTo>
                  <a:close/>
                  <a:moveTo>
                    <a:pt x="1354" y="182"/>
                  </a:moveTo>
                  <a:cubicBezTo>
                    <a:pt x="1364" y="185"/>
                    <a:pt x="1362" y="176"/>
                    <a:pt x="1368" y="175"/>
                  </a:cubicBezTo>
                  <a:cubicBezTo>
                    <a:pt x="1384" y="172"/>
                    <a:pt x="1363" y="171"/>
                    <a:pt x="1357" y="167"/>
                  </a:cubicBezTo>
                  <a:cubicBezTo>
                    <a:pt x="1356" y="166"/>
                    <a:pt x="1354" y="153"/>
                    <a:pt x="1350" y="157"/>
                  </a:cubicBezTo>
                  <a:cubicBezTo>
                    <a:pt x="1348" y="159"/>
                    <a:pt x="1349" y="166"/>
                    <a:pt x="1344" y="164"/>
                  </a:cubicBezTo>
                  <a:cubicBezTo>
                    <a:pt x="1341" y="162"/>
                    <a:pt x="1344" y="156"/>
                    <a:pt x="1338" y="154"/>
                  </a:cubicBezTo>
                  <a:cubicBezTo>
                    <a:pt x="1335" y="153"/>
                    <a:pt x="1335" y="145"/>
                    <a:pt x="1332" y="145"/>
                  </a:cubicBezTo>
                  <a:cubicBezTo>
                    <a:pt x="1311" y="145"/>
                    <a:pt x="1340" y="179"/>
                    <a:pt x="1353" y="182"/>
                  </a:cubicBezTo>
                  <a:lnTo>
                    <a:pt x="1354" y="182"/>
                  </a:lnTo>
                  <a:close/>
                  <a:moveTo>
                    <a:pt x="14" y="1441"/>
                  </a:moveTo>
                  <a:cubicBezTo>
                    <a:pt x="17" y="1442"/>
                    <a:pt x="10" y="1453"/>
                    <a:pt x="24" y="1447"/>
                  </a:cubicBezTo>
                  <a:cubicBezTo>
                    <a:pt x="26" y="1447"/>
                    <a:pt x="40" y="1436"/>
                    <a:pt x="36" y="1441"/>
                  </a:cubicBezTo>
                  <a:cubicBezTo>
                    <a:pt x="33" y="1444"/>
                    <a:pt x="44" y="1441"/>
                    <a:pt x="44" y="1439"/>
                  </a:cubicBezTo>
                  <a:cubicBezTo>
                    <a:pt x="43" y="1438"/>
                    <a:pt x="43" y="1438"/>
                    <a:pt x="43" y="1438"/>
                  </a:cubicBezTo>
                  <a:cubicBezTo>
                    <a:pt x="34" y="1431"/>
                    <a:pt x="18" y="1432"/>
                    <a:pt x="11" y="1436"/>
                  </a:cubicBezTo>
                  <a:cubicBezTo>
                    <a:pt x="10" y="1436"/>
                    <a:pt x="5" y="1439"/>
                    <a:pt x="7" y="1440"/>
                  </a:cubicBezTo>
                  <a:cubicBezTo>
                    <a:pt x="8" y="1441"/>
                    <a:pt x="12" y="1440"/>
                    <a:pt x="14" y="1441"/>
                  </a:cubicBezTo>
                  <a:close/>
                  <a:moveTo>
                    <a:pt x="27" y="1421"/>
                  </a:moveTo>
                  <a:cubicBezTo>
                    <a:pt x="29" y="1423"/>
                    <a:pt x="23" y="1432"/>
                    <a:pt x="34" y="1419"/>
                  </a:cubicBezTo>
                  <a:cubicBezTo>
                    <a:pt x="34" y="1418"/>
                    <a:pt x="34" y="1418"/>
                    <a:pt x="34" y="1418"/>
                  </a:cubicBezTo>
                  <a:cubicBezTo>
                    <a:pt x="36" y="1416"/>
                    <a:pt x="24" y="1410"/>
                    <a:pt x="20" y="1411"/>
                  </a:cubicBezTo>
                  <a:cubicBezTo>
                    <a:pt x="17" y="1413"/>
                    <a:pt x="25" y="1418"/>
                    <a:pt x="27" y="1421"/>
                  </a:cubicBezTo>
                  <a:close/>
                  <a:moveTo>
                    <a:pt x="96" y="1377"/>
                  </a:moveTo>
                  <a:cubicBezTo>
                    <a:pt x="96" y="1377"/>
                    <a:pt x="96" y="1377"/>
                    <a:pt x="96" y="1377"/>
                  </a:cubicBezTo>
                  <a:cubicBezTo>
                    <a:pt x="96" y="1377"/>
                    <a:pt x="86" y="1373"/>
                    <a:pt x="84" y="1373"/>
                  </a:cubicBezTo>
                  <a:cubicBezTo>
                    <a:pt x="80" y="1375"/>
                    <a:pt x="67" y="1376"/>
                    <a:pt x="70" y="1381"/>
                  </a:cubicBezTo>
                  <a:cubicBezTo>
                    <a:pt x="71" y="1382"/>
                    <a:pt x="78" y="1382"/>
                    <a:pt x="78" y="1384"/>
                  </a:cubicBezTo>
                  <a:cubicBezTo>
                    <a:pt x="78" y="1386"/>
                    <a:pt x="68" y="1382"/>
                    <a:pt x="69" y="1384"/>
                  </a:cubicBezTo>
                  <a:cubicBezTo>
                    <a:pt x="77" y="1401"/>
                    <a:pt x="93" y="1380"/>
                    <a:pt x="96" y="1377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inland"/>
            <p:cNvSpPr>
              <a:spLocks noEditPoints="1"/>
            </p:cNvSpPr>
            <p:nvPr/>
          </p:nvSpPr>
          <p:spPr bwMode="auto">
            <a:xfrm>
              <a:off x="3671" y="749"/>
              <a:ext cx="563" cy="835"/>
            </a:xfrm>
            <a:custGeom>
              <a:avLst/>
              <a:gdLst>
                <a:gd name="T0" fmla="*/ 195 w 1081"/>
                <a:gd name="T1" fmla="*/ 1493 h 1604"/>
                <a:gd name="T2" fmla="*/ 261 w 1081"/>
                <a:gd name="T3" fmla="*/ 1595 h 1604"/>
                <a:gd name="T4" fmla="*/ 320 w 1081"/>
                <a:gd name="T5" fmla="*/ 1535 h 1604"/>
                <a:gd name="T6" fmla="*/ 244 w 1081"/>
                <a:gd name="T7" fmla="*/ 1490 h 1604"/>
                <a:gd name="T8" fmla="*/ 214 w 1081"/>
                <a:gd name="T9" fmla="*/ 1502 h 1604"/>
                <a:gd name="T10" fmla="*/ 309 w 1081"/>
                <a:gd name="T11" fmla="*/ 1490 h 1604"/>
                <a:gd name="T12" fmla="*/ 50 w 1081"/>
                <a:gd name="T13" fmla="*/ 1489 h 1604"/>
                <a:gd name="T14" fmla="*/ 39 w 1081"/>
                <a:gd name="T15" fmla="*/ 1469 h 1604"/>
                <a:gd name="T16" fmla="*/ 53 w 1081"/>
                <a:gd name="T17" fmla="*/ 1522 h 1604"/>
                <a:gd name="T18" fmla="*/ 73 w 1081"/>
                <a:gd name="T19" fmla="*/ 1507 h 1604"/>
                <a:gd name="T20" fmla="*/ 875 w 1081"/>
                <a:gd name="T21" fmla="*/ 1228 h 1604"/>
                <a:gd name="T22" fmla="*/ 691 w 1081"/>
                <a:gd name="T23" fmla="*/ 1446 h 1604"/>
                <a:gd name="T24" fmla="*/ 538 w 1081"/>
                <a:gd name="T25" fmla="*/ 1495 h 1604"/>
                <a:gd name="T26" fmla="*/ 304 w 1081"/>
                <a:gd name="T27" fmla="*/ 1509 h 1604"/>
                <a:gd name="T28" fmla="*/ 179 w 1081"/>
                <a:gd name="T29" fmla="*/ 1378 h 1604"/>
                <a:gd name="T30" fmla="*/ 176 w 1081"/>
                <a:gd name="T31" fmla="*/ 1087 h 1604"/>
                <a:gd name="T32" fmla="*/ 463 w 1081"/>
                <a:gd name="T33" fmla="*/ 826 h 1604"/>
                <a:gd name="T34" fmla="*/ 335 w 1081"/>
                <a:gd name="T35" fmla="*/ 310 h 1604"/>
                <a:gd name="T36" fmla="*/ 755 w 1081"/>
                <a:gd name="T37" fmla="*/ 4 h 1604"/>
                <a:gd name="T38" fmla="*/ 1046 w 1081"/>
                <a:gd name="T39" fmla="*/ 1058 h 1604"/>
                <a:gd name="T40" fmla="*/ 986 w 1081"/>
                <a:gd name="T41" fmla="*/ 1122 h 1604"/>
                <a:gd name="T42" fmla="*/ 476 w 1081"/>
                <a:gd name="T43" fmla="*/ 539 h 1604"/>
                <a:gd name="T44" fmla="*/ 942 w 1081"/>
                <a:gd name="T45" fmla="*/ 1052 h 1604"/>
                <a:gd name="T46" fmla="*/ 853 w 1081"/>
                <a:gd name="T47" fmla="*/ 1164 h 1604"/>
                <a:gd name="T48" fmla="*/ 742 w 1081"/>
                <a:gd name="T49" fmla="*/ 1031 h 1604"/>
                <a:gd name="T50" fmla="*/ 667 w 1081"/>
                <a:gd name="T51" fmla="*/ 910 h 1604"/>
                <a:gd name="T52" fmla="*/ 661 w 1081"/>
                <a:gd name="T53" fmla="*/ 620 h 1604"/>
                <a:gd name="T54" fmla="*/ 748 w 1081"/>
                <a:gd name="T55" fmla="*/ 590 h 1604"/>
                <a:gd name="T56" fmla="*/ 784 w 1081"/>
                <a:gd name="T57" fmla="*/ 924 h 1604"/>
                <a:gd name="T58" fmla="*/ 850 w 1081"/>
                <a:gd name="T59" fmla="*/ 707 h 1604"/>
                <a:gd name="T60" fmla="*/ 868 w 1081"/>
                <a:gd name="T61" fmla="*/ 651 h 1604"/>
                <a:gd name="T62" fmla="*/ 844 w 1081"/>
                <a:gd name="T63" fmla="*/ 599 h 1604"/>
                <a:gd name="T64" fmla="*/ 757 w 1081"/>
                <a:gd name="T65" fmla="*/ 205 h 1604"/>
                <a:gd name="T66" fmla="*/ 764 w 1081"/>
                <a:gd name="T67" fmla="*/ 129 h 1604"/>
                <a:gd name="T68" fmla="*/ 716 w 1081"/>
                <a:gd name="T69" fmla="*/ 333 h 1604"/>
                <a:gd name="T70" fmla="*/ 557 w 1081"/>
                <a:gd name="T71" fmla="*/ 1055 h 1604"/>
                <a:gd name="T72" fmla="*/ 495 w 1081"/>
                <a:gd name="T73" fmla="*/ 1140 h 1604"/>
                <a:gd name="T74" fmla="*/ 404 w 1081"/>
                <a:gd name="T75" fmla="*/ 1122 h 1604"/>
                <a:gd name="T76" fmla="*/ 346 w 1081"/>
                <a:gd name="T77" fmla="*/ 1319 h 1604"/>
                <a:gd name="T78" fmla="*/ 457 w 1081"/>
                <a:gd name="T79" fmla="*/ 1231 h 1604"/>
                <a:gd name="T80" fmla="*/ 364 w 1081"/>
                <a:gd name="T81" fmla="*/ 1292 h 1604"/>
                <a:gd name="T82" fmla="*/ 442 w 1081"/>
                <a:gd name="T83" fmla="*/ 1302 h 1604"/>
                <a:gd name="T84" fmla="*/ 463 w 1081"/>
                <a:gd name="T85" fmla="*/ 1344 h 1604"/>
                <a:gd name="T86" fmla="*/ 599 w 1081"/>
                <a:gd name="T87" fmla="*/ 1342 h 1604"/>
                <a:gd name="T88" fmla="*/ 564 w 1081"/>
                <a:gd name="T89" fmla="*/ 1238 h 1604"/>
                <a:gd name="T90" fmla="*/ 666 w 1081"/>
                <a:gd name="T91" fmla="*/ 1169 h 1604"/>
                <a:gd name="T92" fmla="*/ 652 w 1081"/>
                <a:gd name="T93" fmla="*/ 1125 h 1604"/>
                <a:gd name="T94" fmla="*/ 567 w 1081"/>
                <a:gd name="T95" fmla="*/ 1071 h 1604"/>
                <a:gd name="T96" fmla="*/ 557 w 1081"/>
                <a:gd name="T97" fmla="*/ 1220 h 1604"/>
                <a:gd name="T98" fmla="*/ 553 w 1081"/>
                <a:gd name="T99" fmla="*/ 1360 h 1604"/>
                <a:gd name="T100" fmla="*/ 597 w 1081"/>
                <a:gd name="T101" fmla="*/ 1292 h 1604"/>
                <a:gd name="T102" fmla="*/ 635 w 1081"/>
                <a:gd name="T103" fmla="*/ 1329 h 1604"/>
                <a:gd name="T104" fmla="*/ 627 w 1081"/>
                <a:gd name="T105" fmla="*/ 1251 h 1604"/>
                <a:gd name="T106" fmla="*/ 660 w 1081"/>
                <a:gd name="T107" fmla="*/ 1219 h 1604"/>
                <a:gd name="T108" fmla="*/ 835 w 1081"/>
                <a:gd name="T109" fmla="*/ 1302 h 1604"/>
                <a:gd name="T110" fmla="*/ 933 w 1081"/>
                <a:gd name="T111" fmla="*/ 1227 h 1604"/>
                <a:gd name="T112" fmla="*/ 830 w 1081"/>
                <a:gd name="T113" fmla="*/ 1223 h 1604"/>
                <a:gd name="T114" fmla="*/ 723 w 1081"/>
                <a:gd name="T115" fmla="*/ 1089 h 1604"/>
                <a:gd name="T116" fmla="*/ 730 w 1081"/>
                <a:gd name="T117" fmla="*/ 1119 h 1604"/>
                <a:gd name="T118" fmla="*/ 759 w 1081"/>
                <a:gd name="T119" fmla="*/ 1216 h 1604"/>
                <a:gd name="T120" fmla="*/ 743 w 1081"/>
                <a:gd name="T121" fmla="*/ 1286 h 1604"/>
                <a:gd name="T122" fmla="*/ 171 w 1081"/>
                <a:gd name="T123" fmla="*/ 1048 h 1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81" h="1604">
                  <a:moveTo>
                    <a:pt x="165" y="1457"/>
                  </a:moveTo>
                  <a:cubicBezTo>
                    <a:pt x="163" y="1455"/>
                    <a:pt x="161" y="1447"/>
                    <a:pt x="164" y="1448"/>
                  </a:cubicBezTo>
                  <a:cubicBezTo>
                    <a:pt x="164" y="1448"/>
                    <a:pt x="164" y="1448"/>
                    <a:pt x="164" y="1448"/>
                  </a:cubicBezTo>
                  <a:cubicBezTo>
                    <a:pt x="170" y="1454"/>
                    <a:pt x="170" y="1465"/>
                    <a:pt x="165" y="1457"/>
                  </a:cubicBezTo>
                  <a:close/>
                  <a:moveTo>
                    <a:pt x="176" y="1448"/>
                  </a:moveTo>
                  <a:cubicBezTo>
                    <a:pt x="173" y="1450"/>
                    <a:pt x="169" y="1457"/>
                    <a:pt x="179" y="1460"/>
                  </a:cubicBezTo>
                  <a:cubicBezTo>
                    <a:pt x="182" y="1461"/>
                    <a:pt x="186" y="1455"/>
                    <a:pt x="185" y="1452"/>
                  </a:cubicBezTo>
                  <a:cubicBezTo>
                    <a:pt x="183" y="1449"/>
                    <a:pt x="178" y="1452"/>
                    <a:pt x="177" y="1448"/>
                  </a:cubicBezTo>
                  <a:cubicBezTo>
                    <a:pt x="177" y="1448"/>
                    <a:pt x="176" y="1448"/>
                    <a:pt x="176" y="1448"/>
                  </a:cubicBezTo>
                  <a:close/>
                  <a:moveTo>
                    <a:pt x="168" y="1500"/>
                  </a:moveTo>
                  <a:cubicBezTo>
                    <a:pt x="168" y="1500"/>
                    <a:pt x="168" y="1500"/>
                    <a:pt x="168" y="1500"/>
                  </a:cubicBezTo>
                  <a:cubicBezTo>
                    <a:pt x="167" y="1500"/>
                    <a:pt x="161" y="1500"/>
                    <a:pt x="161" y="1503"/>
                  </a:cubicBezTo>
                  <a:cubicBezTo>
                    <a:pt x="161" y="1504"/>
                    <a:pt x="164" y="1503"/>
                    <a:pt x="164" y="1503"/>
                  </a:cubicBezTo>
                  <a:cubicBezTo>
                    <a:pt x="166" y="1505"/>
                    <a:pt x="166" y="1505"/>
                    <a:pt x="169" y="1505"/>
                  </a:cubicBezTo>
                  <a:cubicBezTo>
                    <a:pt x="170" y="1505"/>
                    <a:pt x="171" y="1508"/>
                    <a:pt x="171" y="1507"/>
                  </a:cubicBezTo>
                  <a:cubicBezTo>
                    <a:pt x="172" y="1506"/>
                    <a:pt x="171" y="1505"/>
                    <a:pt x="172" y="1504"/>
                  </a:cubicBezTo>
                  <a:cubicBezTo>
                    <a:pt x="173" y="1504"/>
                    <a:pt x="177" y="1504"/>
                    <a:pt x="177" y="1504"/>
                  </a:cubicBezTo>
                  <a:cubicBezTo>
                    <a:pt x="177" y="1503"/>
                    <a:pt x="177" y="1503"/>
                    <a:pt x="176" y="1503"/>
                  </a:cubicBezTo>
                  <a:cubicBezTo>
                    <a:pt x="173" y="1503"/>
                    <a:pt x="170" y="1503"/>
                    <a:pt x="168" y="1500"/>
                  </a:cubicBezTo>
                  <a:close/>
                  <a:moveTo>
                    <a:pt x="182" y="1510"/>
                  </a:moveTo>
                  <a:cubicBezTo>
                    <a:pt x="180" y="1511"/>
                    <a:pt x="189" y="1511"/>
                    <a:pt x="187" y="1512"/>
                  </a:cubicBezTo>
                  <a:cubicBezTo>
                    <a:pt x="186" y="1513"/>
                    <a:pt x="179" y="1512"/>
                    <a:pt x="180" y="1514"/>
                  </a:cubicBezTo>
                  <a:cubicBezTo>
                    <a:pt x="181" y="1516"/>
                    <a:pt x="191" y="1517"/>
                    <a:pt x="194" y="1515"/>
                  </a:cubicBezTo>
                  <a:cubicBezTo>
                    <a:pt x="196" y="1513"/>
                    <a:pt x="192" y="1512"/>
                    <a:pt x="192" y="1512"/>
                  </a:cubicBezTo>
                  <a:cubicBezTo>
                    <a:pt x="191" y="1511"/>
                    <a:pt x="196" y="1511"/>
                    <a:pt x="196" y="1507"/>
                  </a:cubicBezTo>
                  <a:cubicBezTo>
                    <a:pt x="191" y="1504"/>
                    <a:pt x="185" y="1506"/>
                    <a:pt x="182" y="1510"/>
                  </a:cubicBezTo>
                  <a:close/>
                  <a:moveTo>
                    <a:pt x="192" y="1494"/>
                  </a:moveTo>
                  <a:cubicBezTo>
                    <a:pt x="192" y="1495"/>
                    <a:pt x="190" y="1500"/>
                    <a:pt x="192" y="1499"/>
                  </a:cubicBezTo>
                  <a:cubicBezTo>
                    <a:pt x="198" y="1499"/>
                    <a:pt x="193" y="1495"/>
                    <a:pt x="195" y="1493"/>
                  </a:cubicBezTo>
                  <a:cubicBezTo>
                    <a:pt x="195" y="1493"/>
                    <a:pt x="195" y="1493"/>
                    <a:pt x="195" y="1493"/>
                  </a:cubicBezTo>
                  <a:cubicBezTo>
                    <a:pt x="196" y="1490"/>
                    <a:pt x="193" y="1492"/>
                    <a:pt x="192" y="1494"/>
                  </a:cubicBezTo>
                  <a:close/>
                  <a:moveTo>
                    <a:pt x="196" y="1507"/>
                  </a:moveTo>
                  <a:cubicBezTo>
                    <a:pt x="196" y="1507"/>
                    <a:pt x="196" y="1507"/>
                    <a:pt x="196" y="1507"/>
                  </a:cubicBezTo>
                  <a:cubicBezTo>
                    <a:pt x="196" y="1507"/>
                    <a:pt x="196" y="1507"/>
                    <a:pt x="196" y="1507"/>
                  </a:cubicBezTo>
                  <a:close/>
                  <a:moveTo>
                    <a:pt x="248" y="1554"/>
                  </a:moveTo>
                  <a:cubicBezTo>
                    <a:pt x="249" y="1553"/>
                    <a:pt x="249" y="1553"/>
                    <a:pt x="249" y="1553"/>
                  </a:cubicBezTo>
                  <a:cubicBezTo>
                    <a:pt x="253" y="1542"/>
                    <a:pt x="244" y="1543"/>
                    <a:pt x="243" y="1543"/>
                  </a:cubicBezTo>
                  <a:cubicBezTo>
                    <a:pt x="238" y="1537"/>
                    <a:pt x="248" y="1566"/>
                    <a:pt x="248" y="1554"/>
                  </a:cubicBezTo>
                  <a:close/>
                  <a:moveTo>
                    <a:pt x="250" y="1495"/>
                  </a:moveTo>
                  <a:cubicBezTo>
                    <a:pt x="234" y="1501"/>
                    <a:pt x="256" y="1509"/>
                    <a:pt x="252" y="1495"/>
                  </a:cubicBezTo>
                  <a:cubicBezTo>
                    <a:pt x="252" y="1495"/>
                    <a:pt x="252" y="1495"/>
                    <a:pt x="252" y="1495"/>
                  </a:cubicBezTo>
                  <a:cubicBezTo>
                    <a:pt x="252" y="1494"/>
                    <a:pt x="251" y="1494"/>
                    <a:pt x="250" y="1495"/>
                  </a:cubicBezTo>
                  <a:close/>
                  <a:moveTo>
                    <a:pt x="249" y="1575"/>
                  </a:moveTo>
                  <a:cubicBezTo>
                    <a:pt x="246" y="1574"/>
                    <a:pt x="252" y="1568"/>
                    <a:pt x="249" y="1569"/>
                  </a:cubicBezTo>
                  <a:cubicBezTo>
                    <a:pt x="246" y="1570"/>
                    <a:pt x="245" y="1579"/>
                    <a:pt x="245" y="1580"/>
                  </a:cubicBezTo>
                  <a:cubicBezTo>
                    <a:pt x="246" y="1580"/>
                    <a:pt x="246" y="1580"/>
                    <a:pt x="246" y="1580"/>
                  </a:cubicBezTo>
                  <a:cubicBezTo>
                    <a:pt x="246" y="1580"/>
                    <a:pt x="246" y="1580"/>
                    <a:pt x="246" y="1580"/>
                  </a:cubicBezTo>
                  <a:cubicBezTo>
                    <a:pt x="247" y="1580"/>
                    <a:pt x="247" y="1580"/>
                    <a:pt x="247" y="1580"/>
                  </a:cubicBezTo>
                  <a:cubicBezTo>
                    <a:pt x="251" y="1580"/>
                    <a:pt x="257" y="1580"/>
                    <a:pt x="261" y="1581"/>
                  </a:cubicBezTo>
                  <a:cubicBezTo>
                    <a:pt x="261" y="1581"/>
                    <a:pt x="262" y="1581"/>
                    <a:pt x="261" y="1582"/>
                  </a:cubicBezTo>
                  <a:cubicBezTo>
                    <a:pt x="261" y="1582"/>
                    <a:pt x="261" y="1582"/>
                    <a:pt x="261" y="1582"/>
                  </a:cubicBezTo>
                  <a:cubicBezTo>
                    <a:pt x="261" y="1582"/>
                    <a:pt x="261" y="1582"/>
                    <a:pt x="260" y="1582"/>
                  </a:cubicBezTo>
                  <a:cubicBezTo>
                    <a:pt x="259" y="1582"/>
                    <a:pt x="246" y="1582"/>
                    <a:pt x="246" y="1585"/>
                  </a:cubicBezTo>
                  <a:cubicBezTo>
                    <a:pt x="246" y="1587"/>
                    <a:pt x="250" y="1587"/>
                    <a:pt x="250" y="1589"/>
                  </a:cubicBezTo>
                  <a:cubicBezTo>
                    <a:pt x="251" y="1592"/>
                    <a:pt x="249" y="1597"/>
                    <a:pt x="250" y="1600"/>
                  </a:cubicBezTo>
                  <a:cubicBezTo>
                    <a:pt x="250" y="1600"/>
                    <a:pt x="250" y="1601"/>
                    <a:pt x="250" y="1601"/>
                  </a:cubicBezTo>
                  <a:cubicBezTo>
                    <a:pt x="253" y="1601"/>
                    <a:pt x="256" y="1599"/>
                    <a:pt x="259" y="1597"/>
                  </a:cubicBezTo>
                  <a:cubicBezTo>
                    <a:pt x="259" y="1597"/>
                    <a:pt x="260" y="1595"/>
                    <a:pt x="261" y="1595"/>
                  </a:cubicBezTo>
                  <a:cubicBezTo>
                    <a:pt x="262" y="1595"/>
                    <a:pt x="261" y="1596"/>
                    <a:pt x="261" y="1596"/>
                  </a:cubicBezTo>
                  <a:cubicBezTo>
                    <a:pt x="260" y="1597"/>
                    <a:pt x="259" y="1599"/>
                    <a:pt x="259" y="1600"/>
                  </a:cubicBezTo>
                  <a:cubicBezTo>
                    <a:pt x="259" y="1601"/>
                    <a:pt x="261" y="1599"/>
                    <a:pt x="261" y="1600"/>
                  </a:cubicBezTo>
                  <a:cubicBezTo>
                    <a:pt x="262" y="1601"/>
                    <a:pt x="261" y="1603"/>
                    <a:pt x="262" y="1603"/>
                  </a:cubicBezTo>
                  <a:cubicBezTo>
                    <a:pt x="262" y="1604"/>
                    <a:pt x="262" y="1603"/>
                    <a:pt x="262" y="1602"/>
                  </a:cubicBezTo>
                  <a:cubicBezTo>
                    <a:pt x="262" y="1599"/>
                    <a:pt x="264" y="1601"/>
                    <a:pt x="265" y="1600"/>
                  </a:cubicBezTo>
                  <a:cubicBezTo>
                    <a:pt x="265" y="1599"/>
                    <a:pt x="265" y="1597"/>
                    <a:pt x="266" y="1597"/>
                  </a:cubicBezTo>
                  <a:cubicBezTo>
                    <a:pt x="268" y="1598"/>
                    <a:pt x="267" y="1601"/>
                    <a:pt x="270" y="1601"/>
                  </a:cubicBezTo>
                  <a:cubicBezTo>
                    <a:pt x="270" y="1600"/>
                    <a:pt x="270" y="1600"/>
                    <a:pt x="270" y="1600"/>
                  </a:cubicBezTo>
                  <a:cubicBezTo>
                    <a:pt x="271" y="1600"/>
                    <a:pt x="271" y="1600"/>
                    <a:pt x="272" y="1600"/>
                  </a:cubicBezTo>
                  <a:cubicBezTo>
                    <a:pt x="273" y="1600"/>
                    <a:pt x="276" y="1598"/>
                    <a:pt x="276" y="1596"/>
                  </a:cubicBezTo>
                  <a:cubicBezTo>
                    <a:pt x="275" y="1595"/>
                    <a:pt x="272" y="1596"/>
                    <a:pt x="273" y="1595"/>
                  </a:cubicBezTo>
                  <a:cubicBezTo>
                    <a:pt x="277" y="1590"/>
                    <a:pt x="283" y="1591"/>
                    <a:pt x="284" y="1583"/>
                  </a:cubicBezTo>
                  <a:cubicBezTo>
                    <a:pt x="284" y="1581"/>
                    <a:pt x="281" y="1578"/>
                    <a:pt x="281" y="1578"/>
                  </a:cubicBezTo>
                  <a:cubicBezTo>
                    <a:pt x="281" y="1577"/>
                    <a:pt x="283" y="1577"/>
                    <a:pt x="283" y="1576"/>
                  </a:cubicBezTo>
                  <a:cubicBezTo>
                    <a:pt x="283" y="1575"/>
                    <a:pt x="282" y="1574"/>
                    <a:pt x="283" y="1573"/>
                  </a:cubicBezTo>
                  <a:cubicBezTo>
                    <a:pt x="283" y="1571"/>
                    <a:pt x="285" y="1572"/>
                    <a:pt x="285" y="1571"/>
                  </a:cubicBezTo>
                  <a:cubicBezTo>
                    <a:pt x="286" y="1570"/>
                    <a:pt x="294" y="1560"/>
                    <a:pt x="293" y="1559"/>
                  </a:cubicBezTo>
                  <a:cubicBezTo>
                    <a:pt x="290" y="1554"/>
                    <a:pt x="283" y="1568"/>
                    <a:pt x="278" y="1569"/>
                  </a:cubicBezTo>
                  <a:cubicBezTo>
                    <a:pt x="272" y="1570"/>
                    <a:pt x="267" y="1570"/>
                    <a:pt x="261" y="1571"/>
                  </a:cubicBezTo>
                  <a:cubicBezTo>
                    <a:pt x="257" y="1572"/>
                    <a:pt x="256" y="1576"/>
                    <a:pt x="249" y="1575"/>
                  </a:cubicBezTo>
                  <a:close/>
                  <a:moveTo>
                    <a:pt x="308" y="1544"/>
                  </a:moveTo>
                  <a:cubicBezTo>
                    <a:pt x="312" y="1543"/>
                    <a:pt x="307" y="1539"/>
                    <a:pt x="311" y="1538"/>
                  </a:cubicBezTo>
                  <a:cubicBezTo>
                    <a:pt x="311" y="1538"/>
                    <a:pt x="312" y="1540"/>
                    <a:pt x="313" y="1540"/>
                  </a:cubicBezTo>
                  <a:cubicBezTo>
                    <a:pt x="313" y="1541"/>
                    <a:pt x="315" y="1540"/>
                    <a:pt x="315" y="1540"/>
                  </a:cubicBezTo>
                  <a:cubicBezTo>
                    <a:pt x="316" y="1541"/>
                    <a:pt x="315" y="1544"/>
                    <a:pt x="318" y="1544"/>
                  </a:cubicBezTo>
                  <a:cubicBezTo>
                    <a:pt x="321" y="1544"/>
                    <a:pt x="318" y="1541"/>
                    <a:pt x="319" y="1540"/>
                  </a:cubicBezTo>
                  <a:cubicBezTo>
                    <a:pt x="319" y="1538"/>
                    <a:pt x="322" y="1538"/>
                    <a:pt x="321" y="1536"/>
                  </a:cubicBezTo>
                  <a:cubicBezTo>
                    <a:pt x="320" y="1535"/>
                    <a:pt x="320" y="1535"/>
                    <a:pt x="320" y="1535"/>
                  </a:cubicBezTo>
                  <a:cubicBezTo>
                    <a:pt x="317" y="1536"/>
                    <a:pt x="306" y="1534"/>
                    <a:pt x="306" y="1534"/>
                  </a:cubicBezTo>
                  <a:cubicBezTo>
                    <a:pt x="305" y="1535"/>
                    <a:pt x="303" y="1536"/>
                    <a:pt x="301" y="1536"/>
                  </a:cubicBezTo>
                  <a:cubicBezTo>
                    <a:pt x="299" y="1536"/>
                    <a:pt x="301" y="1533"/>
                    <a:pt x="299" y="1533"/>
                  </a:cubicBezTo>
                  <a:cubicBezTo>
                    <a:pt x="298" y="1533"/>
                    <a:pt x="297" y="1535"/>
                    <a:pt x="297" y="1536"/>
                  </a:cubicBezTo>
                  <a:cubicBezTo>
                    <a:pt x="297" y="1539"/>
                    <a:pt x="301" y="1536"/>
                    <a:pt x="301" y="1538"/>
                  </a:cubicBezTo>
                  <a:cubicBezTo>
                    <a:pt x="302" y="1541"/>
                    <a:pt x="304" y="1545"/>
                    <a:pt x="308" y="1544"/>
                  </a:cubicBezTo>
                  <a:close/>
                  <a:moveTo>
                    <a:pt x="225" y="1487"/>
                  </a:moveTo>
                  <a:cubicBezTo>
                    <a:pt x="224" y="1486"/>
                    <a:pt x="224" y="1486"/>
                    <a:pt x="224" y="1486"/>
                  </a:cubicBezTo>
                  <a:cubicBezTo>
                    <a:pt x="218" y="1483"/>
                    <a:pt x="221" y="1497"/>
                    <a:pt x="225" y="1487"/>
                  </a:cubicBezTo>
                  <a:close/>
                  <a:moveTo>
                    <a:pt x="222" y="1510"/>
                  </a:moveTo>
                  <a:cubicBezTo>
                    <a:pt x="222" y="1510"/>
                    <a:pt x="222" y="1510"/>
                    <a:pt x="223" y="1510"/>
                  </a:cubicBezTo>
                  <a:cubicBezTo>
                    <a:pt x="223" y="1511"/>
                    <a:pt x="223" y="1511"/>
                    <a:pt x="223" y="1511"/>
                  </a:cubicBezTo>
                  <a:cubicBezTo>
                    <a:pt x="223" y="1511"/>
                    <a:pt x="224" y="1509"/>
                    <a:pt x="224" y="1509"/>
                  </a:cubicBezTo>
                  <a:cubicBezTo>
                    <a:pt x="225" y="1510"/>
                    <a:pt x="225" y="1511"/>
                    <a:pt x="226" y="1511"/>
                  </a:cubicBezTo>
                  <a:cubicBezTo>
                    <a:pt x="226" y="1511"/>
                    <a:pt x="226" y="1511"/>
                    <a:pt x="226" y="1511"/>
                  </a:cubicBezTo>
                  <a:cubicBezTo>
                    <a:pt x="227" y="1510"/>
                    <a:pt x="229" y="1510"/>
                    <a:pt x="229" y="1509"/>
                  </a:cubicBezTo>
                  <a:cubicBezTo>
                    <a:pt x="230" y="1506"/>
                    <a:pt x="228" y="1507"/>
                    <a:pt x="228" y="1506"/>
                  </a:cubicBezTo>
                  <a:cubicBezTo>
                    <a:pt x="227" y="1504"/>
                    <a:pt x="234" y="1504"/>
                    <a:pt x="233" y="1502"/>
                  </a:cubicBezTo>
                  <a:cubicBezTo>
                    <a:pt x="232" y="1500"/>
                    <a:pt x="217" y="1504"/>
                    <a:pt x="222" y="1510"/>
                  </a:cubicBezTo>
                  <a:close/>
                  <a:moveTo>
                    <a:pt x="321" y="1528"/>
                  </a:moveTo>
                  <a:cubicBezTo>
                    <a:pt x="317" y="1532"/>
                    <a:pt x="330" y="1534"/>
                    <a:pt x="327" y="1529"/>
                  </a:cubicBezTo>
                  <a:cubicBezTo>
                    <a:pt x="327" y="1528"/>
                    <a:pt x="327" y="1528"/>
                    <a:pt x="327" y="1528"/>
                  </a:cubicBezTo>
                  <a:cubicBezTo>
                    <a:pt x="328" y="1526"/>
                    <a:pt x="322" y="1527"/>
                    <a:pt x="321" y="1528"/>
                  </a:cubicBezTo>
                  <a:close/>
                  <a:moveTo>
                    <a:pt x="254" y="1487"/>
                  </a:moveTo>
                  <a:cubicBezTo>
                    <a:pt x="249" y="1485"/>
                    <a:pt x="229" y="1481"/>
                    <a:pt x="231" y="1490"/>
                  </a:cubicBezTo>
                  <a:cubicBezTo>
                    <a:pt x="231" y="1491"/>
                    <a:pt x="244" y="1494"/>
                    <a:pt x="241" y="1490"/>
                  </a:cubicBezTo>
                  <a:cubicBezTo>
                    <a:pt x="241" y="1489"/>
                    <a:pt x="238" y="1490"/>
                    <a:pt x="238" y="1489"/>
                  </a:cubicBezTo>
                  <a:cubicBezTo>
                    <a:pt x="237" y="1489"/>
                    <a:pt x="241" y="1489"/>
                    <a:pt x="242" y="1490"/>
                  </a:cubicBezTo>
                  <a:cubicBezTo>
                    <a:pt x="243" y="1490"/>
                    <a:pt x="243" y="1490"/>
                    <a:pt x="244" y="1490"/>
                  </a:cubicBezTo>
                  <a:cubicBezTo>
                    <a:pt x="244" y="1490"/>
                    <a:pt x="245" y="1490"/>
                    <a:pt x="245" y="1490"/>
                  </a:cubicBezTo>
                  <a:cubicBezTo>
                    <a:pt x="245" y="1491"/>
                    <a:pt x="242" y="1493"/>
                    <a:pt x="243" y="1494"/>
                  </a:cubicBezTo>
                  <a:cubicBezTo>
                    <a:pt x="244" y="1495"/>
                    <a:pt x="249" y="1492"/>
                    <a:pt x="250" y="1491"/>
                  </a:cubicBezTo>
                  <a:cubicBezTo>
                    <a:pt x="252" y="1490"/>
                    <a:pt x="254" y="1493"/>
                    <a:pt x="255" y="1490"/>
                  </a:cubicBezTo>
                  <a:cubicBezTo>
                    <a:pt x="255" y="1489"/>
                    <a:pt x="255" y="1489"/>
                    <a:pt x="255" y="1489"/>
                  </a:cubicBezTo>
                  <a:cubicBezTo>
                    <a:pt x="255" y="1489"/>
                    <a:pt x="255" y="1489"/>
                    <a:pt x="255" y="1489"/>
                  </a:cubicBezTo>
                  <a:cubicBezTo>
                    <a:pt x="256" y="1487"/>
                    <a:pt x="255" y="1487"/>
                    <a:pt x="254" y="1487"/>
                  </a:cubicBezTo>
                  <a:close/>
                  <a:moveTo>
                    <a:pt x="158" y="1404"/>
                  </a:moveTo>
                  <a:cubicBezTo>
                    <a:pt x="157" y="1405"/>
                    <a:pt x="162" y="1406"/>
                    <a:pt x="163" y="1405"/>
                  </a:cubicBezTo>
                  <a:cubicBezTo>
                    <a:pt x="164" y="1404"/>
                    <a:pt x="164" y="1404"/>
                    <a:pt x="164" y="1404"/>
                  </a:cubicBezTo>
                  <a:cubicBezTo>
                    <a:pt x="167" y="1405"/>
                    <a:pt x="160" y="1401"/>
                    <a:pt x="158" y="1404"/>
                  </a:cubicBezTo>
                  <a:close/>
                  <a:moveTo>
                    <a:pt x="224" y="1483"/>
                  </a:moveTo>
                  <a:cubicBezTo>
                    <a:pt x="228" y="1482"/>
                    <a:pt x="224" y="1482"/>
                    <a:pt x="223" y="1482"/>
                  </a:cubicBezTo>
                  <a:cubicBezTo>
                    <a:pt x="217" y="1480"/>
                    <a:pt x="224" y="1471"/>
                    <a:pt x="210" y="1463"/>
                  </a:cubicBezTo>
                  <a:cubicBezTo>
                    <a:pt x="210" y="1463"/>
                    <a:pt x="210" y="1463"/>
                    <a:pt x="210" y="1463"/>
                  </a:cubicBezTo>
                  <a:cubicBezTo>
                    <a:pt x="210" y="1462"/>
                    <a:pt x="206" y="1492"/>
                    <a:pt x="224" y="1483"/>
                  </a:cubicBezTo>
                  <a:close/>
                  <a:moveTo>
                    <a:pt x="199" y="1513"/>
                  </a:moveTo>
                  <a:cubicBezTo>
                    <a:pt x="199" y="1513"/>
                    <a:pt x="201" y="1514"/>
                    <a:pt x="201" y="1514"/>
                  </a:cubicBezTo>
                  <a:cubicBezTo>
                    <a:pt x="203" y="1514"/>
                    <a:pt x="207" y="1513"/>
                    <a:pt x="208" y="1512"/>
                  </a:cubicBezTo>
                  <a:cubicBezTo>
                    <a:pt x="210" y="1510"/>
                    <a:pt x="206" y="1510"/>
                    <a:pt x="208" y="1510"/>
                  </a:cubicBezTo>
                  <a:cubicBezTo>
                    <a:pt x="208" y="1510"/>
                    <a:pt x="209" y="1510"/>
                    <a:pt x="209" y="1510"/>
                  </a:cubicBezTo>
                  <a:cubicBezTo>
                    <a:pt x="209" y="1510"/>
                    <a:pt x="209" y="1510"/>
                    <a:pt x="209" y="1509"/>
                  </a:cubicBezTo>
                  <a:cubicBezTo>
                    <a:pt x="209" y="1509"/>
                    <a:pt x="211" y="1509"/>
                    <a:pt x="211" y="1509"/>
                  </a:cubicBezTo>
                  <a:cubicBezTo>
                    <a:pt x="211" y="1508"/>
                    <a:pt x="207" y="1509"/>
                    <a:pt x="208" y="1508"/>
                  </a:cubicBezTo>
                  <a:cubicBezTo>
                    <a:pt x="208" y="1508"/>
                    <a:pt x="209" y="1508"/>
                    <a:pt x="209" y="1508"/>
                  </a:cubicBezTo>
                  <a:cubicBezTo>
                    <a:pt x="210" y="1508"/>
                    <a:pt x="214" y="1508"/>
                    <a:pt x="214" y="1507"/>
                  </a:cubicBezTo>
                  <a:cubicBezTo>
                    <a:pt x="214" y="1506"/>
                    <a:pt x="212" y="1506"/>
                    <a:pt x="213" y="1505"/>
                  </a:cubicBezTo>
                  <a:cubicBezTo>
                    <a:pt x="214" y="1504"/>
                    <a:pt x="215" y="1506"/>
                    <a:pt x="216" y="1505"/>
                  </a:cubicBezTo>
                  <a:cubicBezTo>
                    <a:pt x="217" y="1504"/>
                    <a:pt x="214" y="1502"/>
                    <a:pt x="214" y="1502"/>
                  </a:cubicBezTo>
                  <a:cubicBezTo>
                    <a:pt x="214" y="1502"/>
                    <a:pt x="214" y="1502"/>
                    <a:pt x="214" y="1502"/>
                  </a:cubicBezTo>
                  <a:cubicBezTo>
                    <a:pt x="210" y="1503"/>
                    <a:pt x="205" y="1502"/>
                    <a:pt x="202" y="1503"/>
                  </a:cubicBezTo>
                  <a:cubicBezTo>
                    <a:pt x="198" y="1504"/>
                    <a:pt x="202" y="1508"/>
                    <a:pt x="202" y="1509"/>
                  </a:cubicBezTo>
                  <a:cubicBezTo>
                    <a:pt x="201" y="1511"/>
                    <a:pt x="200" y="1508"/>
                    <a:pt x="201" y="1511"/>
                  </a:cubicBezTo>
                  <a:cubicBezTo>
                    <a:pt x="201" y="1513"/>
                    <a:pt x="199" y="1512"/>
                    <a:pt x="199" y="1513"/>
                  </a:cubicBezTo>
                  <a:close/>
                  <a:moveTo>
                    <a:pt x="166" y="1435"/>
                  </a:moveTo>
                  <a:cubicBezTo>
                    <a:pt x="151" y="1436"/>
                    <a:pt x="180" y="1456"/>
                    <a:pt x="166" y="1436"/>
                  </a:cubicBezTo>
                  <a:lnTo>
                    <a:pt x="166" y="1435"/>
                  </a:lnTo>
                  <a:close/>
                  <a:moveTo>
                    <a:pt x="261" y="1522"/>
                  </a:moveTo>
                  <a:cubicBezTo>
                    <a:pt x="259" y="1523"/>
                    <a:pt x="262" y="1516"/>
                    <a:pt x="258" y="1518"/>
                  </a:cubicBezTo>
                  <a:cubicBezTo>
                    <a:pt x="255" y="1520"/>
                    <a:pt x="260" y="1531"/>
                    <a:pt x="260" y="1531"/>
                  </a:cubicBezTo>
                  <a:cubicBezTo>
                    <a:pt x="261" y="1531"/>
                    <a:pt x="260" y="1529"/>
                    <a:pt x="261" y="1529"/>
                  </a:cubicBezTo>
                  <a:cubicBezTo>
                    <a:pt x="262" y="1528"/>
                    <a:pt x="262" y="1529"/>
                    <a:pt x="263" y="1528"/>
                  </a:cubicBezTo>
                  <a:cubicBezTo>
                    <a:pt x="264" y="1526"/>
                    <a:pt x="265" y="1531"/>
                    <a:pt x="265" y="1529"/>
                  </a:cubicBezTo>
                  <a:cubicBezTo>
                    <a:pt x="266" y="1529"/>
                    <a:pt x="266" y="1529"/>
                    <a:pt x="266" y="1529"/>
                  </a:cubicBezTo>
                  <a:cubicBezTo>
                    <a:pt x="266" y="1527"/>
                    <a:pt x="267" y="1519"/>
                    <a:pt x="265" y="1518"/>
                  </a:cubicBezTo>
                  <a:cubicBezTo>
                    <a:pt x="259" y="1514"/>
                    <a:pt x="264" y="1521"/>
                    <a:pt x="261" y="1522"/>
                  </a:cubicBezTo>
                  <a:close/>
                  <a:moveTo>
                    <a:pt x="267" y="1499"/>
                  </a:moveTo>
                  <a:cubicBezTo>
                    <a:pt x="254" y="1503"/>
                    <a:pt x="272" y="1509"/>
                    <a:pt x="274" y="1510"/>
                  </a:cubicBezTo>
                  <a:cubicBezTo>
                    <a:pt x="275" y="1510"/>
                    <a:pt x="279" y="1511"/>
                    <a:pt x="279" y="1511"/>
                  </a:cubicBezTo>
                  <a:cubicBezTo>
                    <a:pt x="278" y="1512"/>
                    <a:pt x="270" y="1511"/>
                    <a:pt x="268" y="1513"/>
                  </a:cubicBezTo>
                  <a:cubicBezTo>
                    <a:pt x="262" y="1516"/>
                    <a:pt x="270" y="1517"/>
                    <a:pt x="268" y="1524"/>
                  </a:cubicBezTo>
                  <a:cubicBezTo>
                    <a:pt x="266" y="1532"/>
                    <a:pt x="273" y="1528"/>
                    <a:pt x="277" y="1525"/>
                  </a:cubicBezTo>
                  <a:cubicBezTo>
                    <a:pt x="279" y="1524"/>
                    <a:pt x="278" y="1533"/>
                    <a:pt x="280" y="1531"/>
                  </a:cubicBezTo>
                  <a:cubicBezTo>
                    <a:pt x="280" y="1531"/>
                    <a:pt x="283" y="1525"/>
                    <a:pt x="284" y="1526"/>
                  </a:cubicBezTo>
                  <a:cubicBezTo>
                    <a:pt x="285" y="1527"/>
                    <a:pt x="285" y="1530"/>
                    <a:pt x="287" y="1529"/>
                  </a:cubicBezTo>
                  <a:cubicBezTo>
                    <a:pt x="288" y="1529"/>
                    <a:pt x="288" y="1529"/>
                    <a:pt x="288" y="1529"/>
                  </a:cubicBezTo>
                  <a:cubicBezTo>
                    <a:pt x="289" y="1528"/>
                    <a:pt x="293" y="1528"/>
                    <a:pt x="293" y="1525"/>
                  </a:cubicBezTo>
                  <a:cubicBezTo>
                    <a:pt x="291" y="1516"/>
                    <a:pt x="310" y="1491"/>
                    <a:pt x="309" y="1490"/>
                  </a:cubicBezTo>
                  <a:cubicBezTo>
                    <a:pt x="306" y="1486"/>
                    <a:pt x="298" y="1499"/>
                    <a:pt x="293" y="1499"/>
                  </a:cubicBezTo>
                  <a:cubicBezTo>
                    <a:pt x="284" y="1498"/>
                    <a:pt x="275" y="1506"/>
                    <a:pt x="267" y="1504"/>
                  </a:cubicBezTo>
                  <a:cubicBezTo>
                    <a:pt x="265" y="1504"/>
                    <a:pt x="271" y="1498"/>
                    <a:pt x="267" y="1499"/>
                  </a:cubicBezTo>
                  <a:close/>
                  <a:moveTo>
                    <a:pt x="240" y="1049"/>
                  </a:moveTo>
                  <a:cubicBezTo>
                    <a:pt x="265" y="1049"/>
                    <a:pt x="234" y="1040"/>
                    <a:pt x="237" y="1048"/>
                  </a:cubicBezTo>
                  <a:cubicBezTo>
                    <a:pt x="237" y="1048"/>
                    <a:pt x="237" y="1048"/>
                    <a:pt x="237" y="1048"/>
                  </a:cubicBezTo>
                  <a:cubicBezTo>
                    <a:pt x="238" y="1049"/>
                    <a:pt x="238" y="1049"/>
                    <a:pt x="240" y="1049"/>
                  </a:cubicBezTo>
                  <a:close/>
                  <a:moveTo>
                    <a:pt x="20" y="1492"/>
                  </a:moveTo>
                  <a:cubicBezTo>
                    <a:pt x="20" y="1493"/>
                    <a:pt x="20" y="1486"/>
                    <a:pt x="16" y="1489"/>
                  </a:cubicBezTo>
                  <a:cubicBezTo>
                    <a:pt x="16" y="1489"/>
                    <a:pt x="17" y="1490"/>
                    <a:pt x="17" y="1490"/>
                  </a:cubicBezTo>
                  <a:cubicBezTo>
                    <a:pt x="19" y="1494"/>
                    <a:pt x="19" y="1499"/>
                    <a:pt x="21" y="1503"/>
                  </a:cubicBezTo>
                  <a:cubicBezTo>
                    <a:pt x="22" y="1507"/>
                    <a:pt x="24" y="1509"/>
                    <a:pt x="25" y="1513"/>
                  </a:cubicBezTo>
                  <a:cubicBezTo>
                    <a:pt x="26" y="1513"/>
                    <a:pt x="26" y="1516"/>
                    <a:pt x="26" y="1516"/>
                  </a:cubicBezTo>
                  <a:cubicBezTo>
                    <a:pt x="28" y="1517"/>
                    <a:pt x="28" y="1514"/>
                    <a:pt x="29" y="1513"/>
                  </a:cubicBezTo>
                  <a:cubicBezTo>
                    <a:pt x="32" y="1512"/>
                    <a:pt x="31" y="1516"/>
                    <a:pt x="35" y="1516"/>
                  </a:cubicBezTo>
                  <a:cubicBezTo>
                    <a:pt x="37" y="1515"/>
                    <a:pt x="35" y="1512"/>
                    <a:pt x="38" y="1513"/>
                  </a:cubicBezTo>
                  <a:cubicBezTo>
                    <a:pt x="44" y="1513"/>
                    <a:pt x="40" y="1519"/>
                    <a:pt x="42" y="1520"/>
                  </a:cubicBezTo>
                  <a:cubicBezTo>
                    <a:pt x="42" y="1521"/>
                    <a:pt x="43" y="1520"/>
                    <a:pt x="43" y="1520"/>
                  </a:cubicBezTo>
                  <a:cubicBezTo>
                    <a:pt x="46" y="1520"/>
                    <a:pt x="41" y="1515"/>
                    <a:pt x="44" y="1514"/>
                  </a:cubicBezTo>
                  <a:cubicBezTo>
                    <a:pt x="46" y="1513"/>
                    <a:pt x="49" y="1515"/>
                    <a:pt x="52" y="1514"/>
                  </a:cubicBezTo>
                  <a:cubicBezTo>
                    <a:pt x="55" y="1513"/>
                    <a:pt x="50" y="1510"/>
                    <a:pt x="50" y="1509"/>
                  </a:cubicBezTo>
                  <a:cubicBezTo>
                    <a:pt x="50" y="1507"/>
                    <a:pt x="52" y="1504"/>
                    <a:pt x="52" y="1502"/>
                  </a:cubicBezTo>
                  <a:cubicBezTo>
                    <a:pt x="52" y="1501"/>
                    <a:pt x="49" y="1505"/>
                    <a:pt x="49" y="1505"/>
                  </a:cubicBezTo>
                  <a:cubicBezTo>
                    <a:pt x="47" y="1504"/>
                    <a:pt x="39" y="1498"/>
                    <a:pt x="40" y="1495"/>
                  </a:cubicBezTo>
                  <a:cubicBezTo>
                    <a:pt x="40" y="1495"/>
                    <a:pt x="41" y="1495"/>
                    <a:pt x="41" y="1495"/>
                  </a:cubicBezTo>
                  <a:cubicBezTo>
                    <a:pt x="47" y="1497"/>
                    <a:pt x="40" y="1499"/>
                    <a:pt x="46" y="1499"/>
                  </a:cubicBezTo>
                  <a:cubicBezTo>
                    <a:pt x="47" y="1499"/>
                    <a:pt x="49" y="1501"/>
                    <a:pt x="49" y="1500"/>
                  </a:cubicBezTo>
                  <a:cubicBezTo>
                    <a:pt x="52" y="1495"/>
                    <a:pt x="45" y="1490"/>
                    <a:pt x="45" y="1488"/>
                  </a:cubicBezTo>
                  <a:cubicBezTo>
                    <a:pt x="46" y="1486"/>
                    <a:pt x="48" y="1490"/>
                    <a:pt x="50" y="1489"/>
                  </a:cubicBezTo>
                  <a:cubicBezTo>
                    <a:pt x="52" y="1487"/>
                    <a:pt x="49" y="1483"/>
                    <a:pt x="50" y="1482"/>
                  </a:cubicBezTo>
                  <a:cubicBezTo>
                    <a:pt x="51" y="1481"/>
                    <a:pt x="54" y="1483"/>
                    <a:pt x="54" y="1484"/>
                  </a:cubicBezTo>
                  <a:cubicBezTo>
                    <a:pt x="54" y="1486"/>
                    <a:pt x="50" y="1489"/>
                    <a:pt x="50" y="1491"/>
                  </a:cubicBezTo>
                  <a:cubicBezTo>
                    <a:pt x="50" y="1494"/>
                    <a:pt x="53" y="1494"/>
                    <a:pt x="53" y="1496"/>
                  </a:cubicBezTo>
                  <a:cubicBezTo>
                    <a:pt x="54" y="1496"/>
                    <a:pt x="52" y="1499"/>
                    <a:pt x="53" y="1499"/>
                  </a:cubicBezTo>
                  <a:cubicBezTo>
                    <a:pt x="54" y="1500"/>
                    <a:pt x="55" y="1495"/>
                    <a:pt x="56" y="1494"/>
                  </a:cubicBezTo>
                  <a:cubicBezTo>
                    <a:pt x="57" y="1492"/>
                    <a:pt x="63" y="1490"/>
                    <a:pt x="64" y="1492"/>
                  </a:cubicBezTo>
                  <a:cubicBezTo>
                    <a:pt x="66" y="1494"/>
                    <a:pt x="58" y="1494"/>
                    <a:pt x="57" y="1495"/>
                  </a:cubicBezTo>
                  <a:cubicBezTo>
                    <a:pt x="56" y="1496"/>
                    <a:pt x="55" y="1502"/>
                    <a:pt x="56" y="1502"/>
                  </a:cubicBezTo>
                  <a:cubicBezTo>
                    <a:pt x="57" y="1502"/>
                    <a:pt x="58" y="1500"/>
                    <a:pt x="59" y="1501"/>
                  </a:cubicBezTo>
                  <a:cubicBezTo>
                    <a:pt x="60" y="1501"/>
                    <a:pt x="60" y="1502"/>
                    <a:pt x="61" y="1503"/>
                  </a:cubicBezTo>
                  <a:cubicBezTo>
                    <a:pt x="65" y="1505"/>
                    <a:pt x="63" y="1499"/>
                    <a:pt x="66" y="1498"/>
                  </a:cubicBezTo>
                  <a:cubicBezTo>
                    <a:pt x="66" y="1498"/>
                    <a:pt x="68" y="1499"/>
                    <a:pt x="68" y="1498"/>
                  </a:cubicBezTo>
                  <a:cubicBezTo>
                    <a:pt x="68" y="1497"/>
                    <a:pt x="65" y="1495"/>
                    <a:pt x="67" y="1494"/>
                  </a:cubicBezTo>
                  <a:cubicBezTo>
                    <a:pt x="67" y="1493"/>
                    <a:pt x="69" y="1494"/>
                    <a:pt x="69" y="1494"/>
                  </a:cubicBezTo>
                  <a:cubicBezTo>
                    <a:pt x="70" y="1494"/>
                    <a:pt x="69" y="1492"/>
                    <a:pt x="70" y="1491"/>
                  </a:cubicBezTo>
                  <a:cubicBezTo>
                    <a:pt x="70" y="1490"/>
                    <a:pt x="73" y="1488"/>
                    <a:pt x="73" y="1487"/>
                  </a:cubicBezTo>
                  <a:cubicBezTo>
                    <a:pt x="72" y="1485"/>
                    <a:pt x="65" y="1486"/>
                    <a:pt x="64" y="1486"/>
                  </a:cubicBezTo>
                  <a:cubicBezTo>
                    <a:pt x="64" y="1486"/>
                    <a:pt x="66" y="1481"/>
                    <a:pt x="65" y="1480"/>
                  </a:cubicBezTo>
                  <a:cubicBezTo>
                    <a:pt x="65" y="1480"/>
                    <a:pt x="63" y="1481"/>
                    <a:pt x="63" y="1481"/>
                  </a:cubicBezTo>
                  <a:cubicBezTo>
                    <a:pt x="62" y="1481"/>
                    <a:pt x="62" y="1480"/>
                    <a:pt x="61" y="1479"/>
                  </a:cubicBezTo>
                  <a:cubicBezTo>
                    <a:pt x="60" y="1478"/>
                    <a:pt x="58" y="1479"/>
                    <a:pt x="57" y="1478"/>
                  </a:cubicBezTo>
                  <a:cubicBezTo>
                    <a:pt x="57" y="1477"/>
                    <a:pt x="58" y="1476"/>
                    <a:pt x="57" y="1476"/>
                  </a:cubicBezTo>
                  <a:cubicBezTo>
                    <a:pt x="56" y="1475"/>
                    <a:pt x="55" y="1477"/>
                    <a:pt x="54" y="1477"/>
                  </a:cubicBezTo>
                  <a:cubicBezTo>
                    <a:pt x="54" y="1477"/>
                    <a:pt x="50" y="1473"/>
                    <a:pt x="50" y="1476"/>
                  </a:cubicBezTo>
                  <a:cubicBezTo>
                    <a:pt x="50" y="1476"/>
                    <a:pt x="52" y="1478"/>
                    <a:pt x="51" y="1479"/>
                  </a:cubicBezTo>
                  <a:cubicBezTo>
                    <a:pt x="50" y="1479"/>
                    <a:pt x="47" y="1476"/>
                    <a:pt x="46" y="1475"/>
                  </a:cubicBezTo>
                  <a:cubicBezTo>
                    <a:pt x="45" y="1475"/>
                    <a:pt x="42" y="1477"/>
                    <a:pt x="41" y="1476"/>
                  </a:cubicBezTo>
                  <a:cubicBezTo>
                    <a:pt x="40" y="1475"/>
                    <a:pt x="40" y="1470"/>
                    <a:pt x="39" y="1469"/>
                  </a:cubicBezTo>
                  <a:cubicBezTo>
                    <a:pt x="38" y="1469"/>
                    <a:pt x="38" y="1469"/>
                    <a:pt x="38" y="1469"/>
                  </a:cubicBezTo>
                  <a:cubicBezTo>
                    <a:pt x="33" y="1468"/>
                    <a:pt x="33" y="1471"/>
                    <a:pt x="30" y="1475"/>
                  </a:cubicBezTo>
                  <a:cubicBezTo>
                    <a:pt x="30" y="1475"/>
                    <a:pt x="28" y="1475"/>
                    <a:pt x="28" y="1476"/>
                  </a:cubicBezTo>
                  <a:cubicBezTo>
                    <a:pt x="28" y="1478"/>
                    <a:pt x="31" y="1477"/>
                    <a:pt x="32" y="1478"/>
                  </a:cubicBezTo>
                  <a:cubicBezTo>
                    <a:pt x="33" y="1478"/>
                    <a:pt x="33" y="1483"/>
                    <a:pt x="35" y="1482"/>
                  </a:cubicBezTo>
                  <a:cubicBezTo>
                    <a:pt x="37" y="1481"/>
                    <a:pt x="37" y="1476"/>
                    <a:pt x="38" y="1477"/>
                  </a:cubicBezTo>
                  <a:cubicBezTo>
                    <a:pt x="40" y="1478"/>
                    <a:pt x="45" y="1490"/>
                    <a:pt x="40" y="1488"/>
                  </a:cubicBezTo>
                  <a:cubicBezTo>
                    <a:pt x="38" y="1488"/>
                    <a:pt x="39" y="1483"/>
                    <a:pt x="38" y="1483"/>
                  </a:cubicBezTo>
                  <a:cubicBezTo>
                    <a:pt x="37" y="1483"/>
                    <a:pt x="38" y="1488"/>
                    <a:pt x="38" y="1489"/>
                  </a:cubicBezTo>
                  <a:cubicBezTo>
                    <a:pt x="37" y="1491"/>
                    <a:pt x="35" y="1491"/>
                    <a:pt x="35" y="1494"/>
                  </a:cubicBezTo>
                  <a:cubicBezTo>
                    <a:pt x="35" y="1497"/>
                    <a:pt x="33" y="1494"/>
                    <a:pt x="32" y="1494"/>
                  </a:cubicBezTo>
                  <a:cubicBezTo>
                    <a:pt x="31" y="1494"/>
                    <a:pt x="33" y="1500"/>
                    <a:pt x="31" y="1500"/>
                  </a:cubicBezTo>
                  <a:cubicBezTo>
                    <a:pt x="30" y="1500"/>
                    <a:pt x="27" y="1493"/>
                    <a:pt x="26" y="1492"/>
                  </a:cubicBezTo>
                  <a:cubicBezTo>
                    <a:pt x="26" y="1491"/>
                    <a:pt x="29" y="1486"/>
                    <a:pt x="29" y="1484"/>
                  </a:cubicBezTo>
                  <a:cubicBezTo>
                    <a:pt x="29" y="1484"/>
                    <a:pt x="29" y="1484"/>
                    <a:pt x="29" y="1484"/>
                  </a:cubicBezTo>
                  <a:cubicBezTo>
                    <a:pt x="29" y="1484"/>
                    <a:pt x="30" y="1484"/>
                    <a:pt x="30" y="1483"/>
                  </a:cubicBezTo>
                  <a:cubicBezTo>
                    <a:pt x="29" y="1483"/>
                    <a:pt x="29" y="1483"/>
                    <a:pt x="29" y="1483"/>
                  </a:cubicBezTo>
                  <a:cubicBezTo>
                    <a:pt x="29" y="1483"/>
                    <a:pt x="29" y="1483"/>
                    <a:pt x="29" y="1483"/>
                  </a:cubicBezTo>
                  <a:cubicBezTo>
                    <a:pt x="28" y="1483"/>
                    <a:pt x="28" y="1484"/>
                    <a:pt x="27" y="1483"/>
                  </a:cubicBezTo>
                  <a:cubicBezTo>
                    <a:pt x="23" y="1481"/>
                    <a:pt x="27" y="1486"/>
                    <a:pt x="27" y="1486"/>
                  </a:cubicBezTo>
                  <a:cubicBezTo>
                    <a:pt x="26" y="1487"/>
                    <a:pt x="22" y="1488"/>
                    <a:pt x="22" y="1488"/>
                  </a:cubicBezTo>
                  <a:cubicBezTo>
                    <a:pt x="20" y="1489"/>
                    <a:pt x="21" y="1491"/>
                    <a:pt x="20" y="1492"/>
                  </a:cubicBezTo>
                  <a:close/>
                  <a:moveTo>
                    <a:pt x="67" y="1518"/>
                  </a:moveTo>
                  <a:cubicBezTo>
                    <a:pt x="66" y="1517"/>
                    <a:pt x="61" y="1516"/>
                    <a:pt x="60" y="1515"/>
                  </a:cubicBezTo>
                  <a:cubicBezTo>
                    <a:pt x="58" y="1515"/>
                    <a:pt x="57" y="1512"/>
                    <a:pt x="56" y="1513"/>
                  </a:cubicBezTo>
                  <a:cubicBezTo>
                    <a:pt x="55" y="1514"/>
                    <a:pt x="56" y="1517"/>
                    <a:pt x="55" y="1518"/>
                  </a:cubicBezTo>
                  <a:cubicBezTo>
                    <a:pt x="54" y="1518"/>
                    <a:pt x="47" y="1515"/>
                    <a:pt x="48" y="1519"/>
                  </a:cubicBezTo>
                  <a:cubicBezTo>
                    <a:pt x="48" y="1520"/>
                    <a:pt x="50" y="1519"/>
                    <a:pt x="51" y="1520"/>
                  </a:cubicBezTo>
                  <a:cubicBezTo>
                    <a:pt x="52" y="1520"/>
                    <a:pt x="52" y="1522"/>
                    <a:pt x="53" y="1522"/>
                  </a:cubicBezTo>
                  <a:cubicBezTo>
                    <a:pt x="54" y="1523"/>
                    <a:pt x="55" y="1521"/>
                    <a:pt x="56" y="1522"/>
                  </a:cubicBezTo>
                  <a:cubicBezTo>
                    <a:pt x="58" y="1522"/>
                    <a:pt x="58" y="1527"/>
                    <a:pt x="60" y="1528"/>
                  </a:cubicBezTo>
                  <a:cubicBezTo>
                    <a:pt x="62" y="1529"/>
                    <a:pt x="64" y="1524"/>
                    <a:pt x="65" y="1526"/>
                  </a:cubicBezTo>
                  <a:cubicBezTo>
                    <a:pt x="67" y="1528"/>
                    <a:pt x="65" y="1532"/>
                    <a:pt x="68" y="1527"/>
                  </a:cubicBezTo>
                  <a:cubicBezTo>
                    <a:pt x="68" y="1526"/>
                    <a:pt x="68" y="1526"/>
                    <a:pt x="68" y="1526"/>
                  </a:cubicBezTo>
                  <a:cubicBezTo>
                    <a:pt x="65" y="1523"/>
                    <a:pt x="68" y="1521"/>
                    <a:pt x="67" y="1518"/>
                  </a:cubicBezTo>
                  <a:close/>
                  <a:moveTo>
                    <a:pt x="14" y="1491"/>
                  </a:moveTo>
                  <a:cubicBezTo>
                    <a:pt x="9" y="1484"/>
                    <a:pt x="0" y="1505"/>
                    <a:pt x="8" y="1509"/>
                  </a:cubicBezTo>
                  <a:cubicBezTo>
                    <a:pt x="10" y="1510"/>
                    <a:pt x="12" y="1506"/>
                    <a:pt x="13" y="1504"/>
                  </a:cubicBezTo>
                  <a:cubicBezTo>
                    <a:pt x="13" y="1503"/>
                    <a:pt x="11" y="1498"/>
                    <a:pt x="11" y="1498"/>
                  </a:cubicBezTo>
                  <a:cubicBezTo>
                    <a:pt x="13" y="1498"/>
                    <a:pt x="16" y="1507"/>
                    <a:pt x="18" y="1505"/>
                  </a:cubicBezTo>
                  <a:cubicBezTo>
                    <a:pt x="20" y="1504"/>
                    <a:pt x="15" y="1492"/>
                    <a:pt x="14" y="1491"/>
                  </a:cubicBezTo>
                  <a:close/>
                  <a:moveTo>
                    <a:pt x="79" y="1491"/>
                  </a:moveTo>
                  <a:cubicBezTo>
                    <a:pt x="77" y="1495"/>
                    <a:pt x="83" y="1492"/>
                    <a:pt x="83" y="1494"/>
                  </a:cubicBezTo>
                  <a:cubicBezTo>
                    <a:pt x="83" y="1495"/>
                    <a:pt x="82" y="1496"/>
                    <a:pt x="82" y="1497"/>
                  </a:cubicBezTo>
                  <a:cubicBezTo>
                    <a:pt x="81" y="1500"/>
                    <a:pt x="84" y="1499"/>
                    <a:pt x="84" y="1497"/>
                  </a:cubicBezTo>
                  <a:cubicBezTo>
                    <a:pt x="85" y="1494"/>
                    <a:pt x="86" y="1494"/>
                    <a:pt x="87" y="1492"/>
                  </a:cubicBezTo>
                  <a:cubicBezTo>
                    <a:pt x="88" y="1489"/>
                    <a:pt x="81" y="1486"/>
                    <a:pt x="79" y="1491"/>
                  </a:cubicBezTo>
                  <a:close/>
                  <a:moveTo>
                    <a:pt x="87" y="1492"/>
                  </a:moveTo>
                  <a:cubicBezTo>
                    <a:pt x="87" y="1492"/>
                    <a:pt x="87" y="1492"/>
                    <a:pt x="87" y="1492"/>
                  </a:cubicBezTo>
                  <a:cubicBezTo>
                    <a:pt x="87" y="1492"/>
                    <a:pt x="87" y="1492"/>
                    <a:pt x="87" y="1492"/>
                  </a:cubicBezTo>
                  <a:close/>
                  <a:moveTo>
                    <a:pt x="73" y="1507"/>
                  </a:moveTo>
                  <a:cubicBezTo>
                    <a:pt x="72" y="1506"/>
                    <a:pt x="72" y="1506"/>
                    <a:pt x="72" y="1506"/>
                  </a:cubicBezTo>
                  <a:cubicBezTo>
                    <a:pt x="68" y="1506"/>
                    <a:pt x="73" y="1510"/>
                    <a:pt x="71" y="1511"/>
                  </a:cubicBezTo>
                  <a:cubicBezTo>
                    <a:pt x="69" y="1513"/>
                    <a:pt x="69" y="1506"/>
                    <a:pt x="68" y="1506"/>
                  </a:cubicBezTo>
                  <a:cubicBezTo>
                    <a:pt x="67" y="1506"/>
                    <a:pt x="65" y="1514"/>
                    <a:pt x="66" y="1515"/>
                  </a:cubicBezTo>
                  <a:cubicBezTo>
                    <a:pt x="67" y="1516"/>
                    <a:pt x="69" y="1516"/>
                    <a:pt x="70" y="1517"/>
                  </a:cubicBezTo>
                  <a:cubicBezTo>
                    <a:pt x="72" y="1522"/>
                    <a:pt x="71" y="1516"/>
                    <a:pt x="72" y="1515"/>
                  </a:cubicBezTo>
                  <a:cubicBezTo>
                    <a:pt x="73" y="1511"/>
                    <a:pt x="76" y="1512"/>
                    <a:pt x="73" y="1507"/>
                  </a:cubicBezTo>
                  <a:close/>
                  <a:moveTo>
                    <a:pt x="801" y="1166"/>
                  </a:moveTo>
                  <a:cubicBezTo>
                    <a:pt x="805" y="1163"/>
                    <a:pt x="818" y="1172"/>
                    <a:pt x="819" y="1171"/>
                  </a:cubicBezTo>
                  <a:cubicBezTo>
                    <a:pt x="819" y="1166"/>
                    <a:pt x="796" y="1151"/>
                    <a:pt x="792" y="1152"/>
                  </a:cubicBezTo>
                  <a:cubicBezTo>
                    <a:pt x="770" y="1159"/>
                    <a:pt x="789" y="1180"/>
                    <a:pt x="767" y="1176"/>
                  </a:cubicBezTo>
                  <a:cubicBezTo>
                    <a:pt x="765" y="1176"/>
                    <a:pt x="771" y="1170"/>
                    <a:pt x="773" y="1167"/>
                  </a:cubicBezTo>
                  <a:cubicBezTo>
                    <a:pt x="778" y="1156"/>
                    <a:pt x="766" y="1152"/>
                    <a:pt x="763" y="1143"/>
                  </a:cubicBezTo>
                  <a:cubicBezTo>
                    <a:pt x="762" y="1139"/>
                    <a:pt x="772" y="1144"/>
                    <a:pt x="772" y="1143"/>
                  </a:cubicBezTo>
                  <a:cubicBezTo>
                    <a:pt x="773" y="1128"/>
                    <a:pt x="748" y="1129"/>
                    <a:pt x="740" y="1137"/>
                  </a:cubicBezTo>
                  <a:cubicBezTo>
                    <a:pt x="739" y="1139"/>
                    <a:pt x="743" y="1139"/>
                    <a:pt x="741" y="1140"/>
                  </a:cubicBezTo>
                  <a:cubicBezTo>
                    <a:pt x="728" y="1148"/>
                    <a:pt x="748" y="1148"/>
                    <a:pt x="748" y="1148"/>
                  </a:cubicBezTo>
                  <a:cubicBezTo>
                    <a:pt x="747" y="1152"/>
                    <a:pt x="740" y="1152"/>
                    <a:pt x="738" y="1150"/>
                  </a:cubicBezTo>
                  <a:cubicBezTo>
                    <a:pt x="733" y="1146"/>
                    <a:pt x="743" y="1157"/>
                    <a:pt x="744" y="1160"/>
                  </a:cubicBezTo>
                  <a:cubicBezTo>
                    <a:pt x="747" y="1167"/>
                    <a:pt x="750" y="1180"/>
                    <a:pt x="761" y="1182"/>
                  </a:cubicBezTo>
                  <a:cubicBezTo>
                    <a:pt x="764" y="1183"/>
                    <a:pt x="762" y="1176"/>
                    <a:pt x="765" y="1178"/>
                  </a:cubicBezTo>
                  <a:cubicBezTo>
                    <a:pt x="772" y="1181"/>
                    <a:pt x="737" y="1210"/>
                    <a:pt x="767" y="1207"/>
                  </a:cubicBezTo>
                  <a:cubicBezTo>
                    <a:pt x="771" y="1206"/>
                    <a:pt x="772" y="1200"/>
                    <a:pt x="775" y="1201"/>
                  </a:cubicBezTo>
                  <a:cubicBezTo>
                    <a:pt x="779" y="1201"/>
                    <a:pt x="782" y="1207"/>
                    <a:pt x="787" y="1205"/>
                  </a:cubicBezTo>
                  <a:cubicBezTo>
                    <a:pt x="789" y="1204"/>
                    <a:pt x="786" y="1203"/>
                    <a:pt x="785" y="1202"/>
                  </a:cubicBezTo>
                  <a:cubicBezTo>
                    <a:pt x="779" y="1200"/>
                    <a:pt x="784" y="1198"/>
                    <a:pt x="788" y="1197"/>
                  </a:cubicBezTo>
                  <a:cubicBezTo>
                    <a:pt x="790" y="1196"/>
                    <a:pt x="801" y="1215"/>
                    <a:pt x="810" y="1210"/>
                  </a:cubicBezTo>
                  <a:cubicBezTo>
                    <a:pt x="814" y="1208"/>
                    <a:pt x="809" y="1202"/>
                    <a:pt x="815" y="1201"/>
                  </a:cubicBezTo>
                  <a:cubicBezTo>
                    <a:pt x="816" y="1201"/>
                    <a:pt x="815" y="1192"/>
                    <a:pt x="817" y="1195"/>
                  </a:cubicBezTo>
                  <a:cubicBezTo>
                    <a:pt x="819" y="1199"/>
                    <a:pt x="828" y="1196"/>
                    <a:pt x="820" y="1188"/>
                  </a:cubicBezTo>
                  <a:cubicBezTo>
                    <a:pt x="813" y="1182"/>
                    <a:pt x="830" y="1192"/>
                    <a:pt x="823" y="1186"/>
                  </a:cubicBezTo>
                  <a:cubicBezTo>
                    <a:pt x="823" y="1186"/>
                    <a:pt x="816" y="1183"/>
                    <a:pt x="818" y="1182"/>
                  </a:cubicBezTo>
                  <a:cubicBezTo>
                    <a:pt x="819" y="1181"/>
                    <a:pt x="821" y="1181"/>
                    <a:pt x="822" y="1181"/>
                  </a:cubicBezTo>
                  <a:cubicBezTo>
                    <a:pt x="817" y="1178"/>
                    <a:pt x="813" y="1176"/>
                    <a:pt x="812" y="1175"/>
                  </a:cubicBezTo>
                  <a:cubicBezTo>
                    <a:pt x="807" y="1174"/>
                    <a:pt x="798" y="1169"/>
                    <a:pt x="801" y="1166"/>
                  </a:cubicBezTo>
                  <a:close/>
                  <a:moveTo>
                    <a:pt x="875" y="1228"/>
                  </a:moveTo>
                  <a:cubicBezTo>
                    <a:pt x="876" y="1231"/>
                    <a:pt x="872" y="1234"/>
                    <a:pt x="872" y="1234"/>
                  </a:cubicBezTo>
                  <a:cubicBezTo>
                    <a:pt x="873" y="1235"/>
                    <a:pt x="879" y="1243"/>
                    <a:pt x="875" y="1243"/>
                  </a:cubicBezTo>
                  <a:cubicBezTo>
                    <a:pt x="871" y="1243"/>
                    <a:pt x="866" y="1233"/>
                    <a:pt x="864" y="1230"/>
                  </a:cubicBezTo>
                  <a:cubicBezTo>
                    <a:pt x="862" y="1226"/>
                    <a:pt x="874" y="1234"/>
                    <a:pt x="872" y="1227"/>
                  </a:cubicBezTo>
                  <a:cubicBezTo>
                    <a:pt x="871" y="1226"/>
                    <a:pt x="871" y="1222"/>
                    <a:pt x="870" y="1221"/>
                  </a:cubicBezTo>
                  <a:cubicBezTo>
                    <a:pt x="868" y="1218"/>
                    <a:pt x="823" y="1228"/>
                    <a:pt x="820" y="1232"/>
                  </a:cubicBezTo>
                  <a:cubicBezTo>
                    <a:pt x="819" y="1234"/>
                    <a:pt x="824" y="1240"/>
                    <a:pt x="825" y="1241"/>
                  </a:cubicBezTo>
                  <a:cubicBezTo>
                    <a:pt x="835" y="1248"/>
                    <a:pt x="851" y="1279"/>
                    <a:pt x="866" y="1277"/>
                  </a:cubicBezTo>
                  <a:cubicBezTo>
                    <a:pt x="875" y="1276"/>
                    <a:pt x="867" y="1270"/>
                    <a:pt x="867" y="1269"/>
                  </a:cubicBezTo>
                  <a:cubicBezTo>
                    <a:pt x="867" y="1269"/>
                    <a:pt x="879" y="1265"/>
                    <a:pt x="879" y="1263"/>
                  </a:cubicBezTo>
                  <a:cubicBezTo>
                    <a:pt x="878" y="1258"/>
                    <a:pt x="876" y="1246"/>
                    <a:pt x="881" y="1243"/>
                  </a:cubicBezTo>
                  <a:cubicBezTo>
                    <a:pt x="884" y="1241"/>
                    <a:pt x="893" y="1255"/>
                    <a:pt x="896" y="1250"/>
                  </a:cubicBezTo>
                  <a:cubicBezTo>
                    <a:pt x="897" y="1247"/>
                    <a:pt x="892" y="1245"/>
                    <a:pt x="890" y="1242"/>
                  </a:cubicBezTo>
                  <a:cubicBezTo>
                    <a:pt x="891" y="1242"/>
                    <a:pt x="891" y="1242"/>
                    <a:pt x="891" y="1242"/>
                  </a:cubicBezTo>
                  <a:cubicBezTo>
                    <a:pt x="886" y="1233"/>
                    <a:pt x="871" y="1209"/>
                    <a:pt x="875" y="1228"/>
                  </a:cubicBezTo>
                  <a:close/>
                  <a:moveTo>
                    <a:pt x="153" y="1093"/>
                  </a:moveTo>
                  <a:cubicBezTo>
                    <a:pt x="149" y="1092"/>
                    <a:pt x="154" y="1108"/>
                    <a:pt x="159" y="1100"/>
                  </a:cubicBezTo>
                  <a:cubicBezTo>
                    <a:pt x="161" y="1097"/>
                    <a:pt x="154" y="1094"/>
                    <a:pt x="153" y="1093"/>
                  </a:cubicBezTo>
                  <a:close/>
                  <a:moveTo>
                    <a:pt x="743" y="1451"/>
                  </a:moveTo>
                  <a:cubicBezTo>
                    <a:pt x="742" y="1449"/>
                    <a:pt x="741" y="1447"/>
                    <a:pt x="738" y="1447"/>
                  </a:cubicBezTo>
                  <a:cubicBezTo>
                    <a:pt x="735" y="1448"/>
                    <a:pt x="741" y="1462"/>
                    <a:pt x="735" y="1461"/>
                  </a:cubicBezTo>
                  <a:cubicBezTo>
                    <a:pt x="734" y="1461"/>
                    <a:pt x="727" y="1458"/>
                    <a:pt x="732" y="1458"/>
                  </a:cubicBezTo>
                  <a:cubicBezTo>
                    <a:pt x="732" y="1458"/>
                    <a:pt x="734" y="1457"/>
                    <a:pt x="733" y="1456"/>
                  </a:cubicBezTo>
                  <a:cubicBezTo>
                    <a:pt x="733" y="1455"/>
                    <a:pt x="725" y="1462"/>
                    <a:pt x="720" y="1459"/>
                  </a:cubicBezTo>
                  <a:cubicBezTo>
                    <a:pt x="719" y="1458"/>
                    <a:pt x="712" y="1457"/>
                    <a:pt x="714" y="1458"/>
                  </a:cubicBezTo>
                  <a:cubicBezTo>
                    <a:pt x="716" y="1459"/>
                    <a:pt x="719" y="1464"/>
                    <a:pt x="716" y="1465"/>
                  </a:cubicBezTo>
                  <a:cubicBezTo>
                    <a:pt x="710" y="1465"/>
                    <a:pt x="699" y="1458"/>
                    <a:pt x="692" y="1457"/>
                  </a:cubicBezTo>
                  <a:cubicBezTo>
                    <a:pt x="690" y="1457"/>
                    <a:pt x="705" y="1455"/>
                    <a:pt x="694" y="1452"/>
                  </a:cubicBezTo>
                  <a:cubicBezTo>
                    <a:pt x="690" y="1450"/>
                    <a:pt x="691" y="1446"/>
                    <a:pt x="691" y="1446"/>
                  </a:cubicBezTo>
                  <a:cubicBezTo>
                    <a:pt x="684" y="1446"/>
                    <a:pt x="692" y="1454"/>
                    <a:pt x="688" y="1456"/>
                  </a:cubicBezTo>
                  <a:cubicBezTo>
                    <a:pt x="687" y="1457"/>
                    <a:pt x="688" y="1454"/>
                    <a:pt x="686" y="1454"/>
                  </a:cubicBezTo>
                  <a:cubicBezTo>
                    <a:pt x="673" y="1454"/>
                    <a:pt x="675" y="1460"/>
                    <a:pt x="668" y="1461"/>
                  </a:cubicBezTo>
                  <a:cubicBezTo>
                    <a:pt x="662" y="1461"/>
                    <a:pt x="670" y="1467"/>
                    <a:pt x="668" y="1466"/>
                  </a:cubicBezTo>
                  <a:cubicBezTo>
                    <a:pt x="663" y="1466"/>
                    <a:pt x="658" y="1460"/>
                    <a:pt x="653" y="1460"/>
                  </a:cubicBezTo>
                  <a:cubicBezTo>
                    <a:pt x="646" y="1461"/>
                    <a:pt x="639" y="1474"/>
                    <a:pt x="627" y="1466"/>
                  </a:cubicBezTo>
                  <a:cubicBezTo>
                    <a:pt x="623" y="1464"/>
                    <a:pt x="625" y="1459"/>
                    <a:pt x="628" y="1457"/>
                  </a:cubicBezTo>
                  <a:cubicBezTo>
                    <a:pt x="635" y="1453"/>
                    <a:pt x="632" y="1436"/>
                    <a:pt x="645" y="1446"/>
                  </a:cubicBezTo>
                  <a:cubicBezTo>
                    <a:pt x="645" y="1446"/>
                    <a:pt x="649" y="1448"/>
                    <a:pt x="649" y="1448"/>
                  </a:cubicBezTo>
                  <a:cubicBezTo>
                    <a:pt x="650" y="1448"/>
                    <a:pt x="645" y="1438"/>
                    <a:pt x="644" y="1437"/>
                  </a:cubicBezTo>
                  <a:cubicBezTo>
                    <a:pt x="630" y="1433"/>
                    <a:pt x="622" y="1476"/>
                    <a:pt x="612" y="1477"/>
                  </a:cubicBezTo>
                  <a:cubicBezTo>
                    <a:pt x="611" y="1477"/>
                    <a:pt x="606" y="1467"/>
                    <a:pt x="604" y="1465"/>
                  </a:cubicBezTo>
                  <a:cubicBezTo>
                    <a:pt x="604" y="1465"/>
                    <a:pt x="607" y="1480"/>
                    <a:pt x="601" y="1472"/>
                  </a:cubicBezTo>
                  <a:cubicBezTo>
                    <a:pt x="600" y="1472"/>
                    <a:pt x="586" y="1467"/>
                    <a:pt x="582" y="1464"/>
                  </a:cubicBezTo>
                  <a:cubicBezTo>
                    <a:pt x="581" y="1463"/>
                    <a:pt x="576" y="1459"/>
                    <a:pt x="575" y="1461"/>
                  </a:cubicBezTo>
                  <a:cubicBezTo>
                    <a:pt x="574" y="1461"/>
                    <a:pt x="575" y="1462"/>
                    <a:pt x="575" y="1462"/>
                  </a:cubicBezTo>
                  <a:cubicBezTo>
                    <a:pt x="581" y="1466"/>
                    <a:pt x="595" y="1483"/>
                    <a:pt x="590" y="1488"/>
                  </a:cubicBezTo>
                  <a:cubicBezTo>
                    <a:pt x="587" y="1490"/>
                    <a:pt x="575" y="1468"/>
                    <a:pt x="568" y="1472"/>
                  </a:cubicBezTo>
                  <a:cubicBezTo>
                    <a:pt x="566" y="1474"/>
                    <a:pt x="571" y="1476"/>
                    <a:pt x="573" y="1478"/>
                  </a:cubicBezTo>
                  <a:cubicBezTo>
                    <a:pt x="578" y="1481"/>
                    <a:pt x="571" y="1484"/>
                    <a:pt x="571" y="1485"/>
                  </a:cubicBezTo>
                  <a:cubicBezTo>
                    <a:pt x="572" y="1487"/>
                    <a:pt x="577" y="1493"/>
                    <a:pt x="576" y="1495"/>
                  </a:cubicBezTo>
                  <a:cubicBezTo>
                    <a:pt x="574" y="1498"/>
                    <a:pt x="564" y="1483"/>
                    <a:pt x="559" y="1485"/>
                  </a:cubicBezTo>
                  <a:cubicBezTo>
                    <a:pt x="558" y="1485"/>
                    <a:pt x="562" y="1488"/>
                    <a:pt x="562" y="1489"/>
                  </a:cubicBezTo>
                  <a:cubicBezTo>
                    <a:pt x="563" y="1492"/>
                    <a:pt x="569" y="1490"/>
                    <a:pt x="568" y="1492"/>
                  </a:cubicBezTo>
                  <a:cubicBezTo>
                    <a:pt x="567" y="1499"/>
                    <a:pt x="551" y="1494"/>
                    <a:pt x="551" y="1487"/>
                  </a:cubicBezTo>
                  <a:cubicBezTo>
                    <a:pt x="551" y="1483"/>
                    <a:pt x="555" y="1484"/>
                    <a:pt x="552" y="1483"/>
                  </a:cubicBezTo>
                  <a:cubicBezTo>
                    <a:pt x="552" y="1483"/>
                    <a:pt x="551" y="1483"/>
                    <a:pt x="551" y="1482"/>
                  </a:cubicBezTo>
                  <a:cubicBezTo>
                    <a:pt x="550" y="1481"/>
                    <a:pt x="555" y="1478"/>
                    <a:pt x="553" y="1478"/>
                  </a:cubicBezTo>
                  <a:cubicBezTo>
                    <a:pt x="539" y="1476"/>
                    <a:pt x="545" y="1493"/>
                    <a:pt x="538" y="1495"/>
                  </a:cubicBezTo>
                  <a:cubicBezTo>
                    <a:pt x="535" y="1496"/>
                    <a:pt x="500" y="1495"/>
                    <a:pt x="510" y="1500"/>
                  </a:cubicBezTo>
                  <a:cubicBezTo>
                    <a:pt x="513" y="1501"/>
                    <a:pt x="500" y="1508"/>
                    <a:pt x="501" y="1505"/>
                  </a:cubicBezTo>
                  <a:cubicBezTo>
                    <a:pt x="502" y="1504"/>
                    <a:pt x="503" y="1502"/>
                    <a:pt x="502" y="1503"/>
                  </a:cubicBezTo>
                  <a:cubicBezTo>
                    <a:pt x="497" y="1505"/>
                    <a:pt x="499" y="1509"/>
                    <a:pt x="498" y="1509"/>
                  </a:cubicBezTo>
                  <a:cubicBezTo>
                    <a:pt x="488" y="1511"/>
                    <a:pt x="499" y="1500"/>
                    <a:pt x="494" y="1501"/>
                  </a:cubicBezTo>
                  <a:cubicBezTo>
                    <a:pt x="489" y="1501"/>
                    <a:pt x="493" y="1508"/>
                    <a:pt x="489" y="1510"/>
                  </a:cubicBezTo>
                  <a:cubicBezTo>
                    <a:pt x="488" y="1511"/>
                    <a:pt x="486" y="1510"/>
                    <a:pt x="485" y="1510"/>
                  </a:cubicBezTo>
                  <a:cubicBezTo>
                    <a:pt x="473" y="1507"/>
                    <a:pt x="487" y="1507"/>
                    <a:pt x="481" y="1504"/>
                  </a:cubicBezTo>
                  <a:cubicBezTo>
                    <a:pt x="477" y="1502"/>
                    <a:pt x="469" y="1515"/>
                    <a:pt x="463" y="1516"/>
                  </a:cubicBezTo>
                  <a:cubicBezTo>
                    <a:pt x="462" y="1516"/>
                    <a:pt x="457" y="1508"/>
                    <a:pt x="453" y="1508"/>
                  </a:cubicBezTo>
                  <a:cubicBezTo>
                    <a:pt x="453" y="1508"/>
                    <a:pt x="452" y="1509"/>
                    <a:pt x="452" y="1509"/>
                  </a:cubicBezTo>
                  <a:cubicBezTo>
                    <a:pt x="453" y="1516"/>
                    <a:pt x="457" y="1515"/>
                    <a:pt x="458" y="1516"/>
                  </a:cubicBezTo>
                  <a:cubicBezTo>
                    <a:pt x="459" y="1518"/>
                    <a:pt x="447" y="1533"/>
                    <a:pt x="441" y="1532"/>
                  </a:cubicBezTo>
                  <a:cubicBezTo>
                    <a:pt x="440" y="1531"/>
                    <a:pt x="446" y="1525"/>
                    <a:pt x="445" y="1523"/>
                  </a:cubicBezTo>
                  <a:cubicBezTo>
                    <a:pt x="442" y="1519"/>
                    <a:pt x="438" y="1530"/>
                    <a:pt x="433" y="1531"/>
                  </a:cubicBezTo>
                  <a:cubicBezTo>
                    <a:pt x="432" y="1531"/>
                    <a:pt x="438" y="1521"/>
                    <a:pt x="436" y="1520"/>
                  </a:cubicBezTo>
                  <a:cubicBezTo>
                    <a:pt x="422" y="1517"/>
                    <a:pt x="382" y="1545"/>
                    <a:pt x="354" y="1537"/>
                  </a:cubicBezTo>
                  <a:cubicBezTo>
                    <a:pt x="353" y="1537"/>
                    <a:pt x="366" y="1520"/>
                    <a:pt x="363" y="1520"/>
                  </a:cubicBezTo>
                  <a:cubicBezTo>
                    <a:pt x="355" y="1520"/>
                    <a:pt x="332" y="1572"/>
                    <a:pt x="305" y="1558"/>
                  </a:cubicBezTo>
                  <a:cubicBezTo>
                    <a:pt x="304" y="1557"/>
                    <a:pt x="317" y="1550"/>
                    <a:pt x="319" y="1550"/>
                  </a:cubicBezTo>
                  <a:cubicBezTo>
                    <a:pt x="329" y="1547"/>
                    <a:pt x="342" y="1540"/>
                    <a:pt x="345" y="1527"/>
                  </a:cubicBezTo>
                  <a:cubicBezTo>
                    <a:pt x="346" y="1524"/>
                    <a:pt x="337" y="1538"/>
                    <a:pt x="336" y="1540"/>
                  </a:cubicBezTo>
                  <a:cubicBezTo>
                    <a:pt x="335" y="1541"/>
                    <a:pt x="326" y="1537"/>
                    <a:pt x="326" y="1539"/>
                  </a:cubicBezTo>
                  <a:cubicBezTo>
                    <a:pt x="325" y="1539"/>
                    <a:pt x="325" y="1543"/>
                    <a:pt x="324" y="1541"/>
                  </a:cubicBezTo>
                  <a:cubicBezTo>
                    <a:pt x="319" y="1533"/>
                    <a:pt x="338" y="1531"/>
                    <a:pt x="338" y="1525"/>
                  </a:cubicBezTo>
                  <a:cubicBezTo>
                    <a:pt x="338" y="1523"/>
                    <a:pt x="330" y="1523"/>
                    <a:pt x="329" y="1523"/>
                  </a:cubicBezTo>
                  <a:cubicBezTo>
                    <a:pt x="308" y="1524"/>
                    <a:pt x="323" y="1518"/>
                    <a:pt x="317" y="1512"/>
                  </a:cubicBezTo>
                  <a:cubicBezTo>
                    <a:pt x="317" y="1511"/>
                    <a:pt x="316" y="1513"/>
                    <a:pt x="315" y="1514"/>
                  </a:cubicBezTo>
                  <a:cubicBezTo>
                    <a:pt x="314" y="1517"/>
                    <a:pt x="305" y="1513"/>
                    <a:pt x="304" y="1509"/>
                  </a:cubicBezTo>
                  <a:cubicBezTo>
                    <a:pt x="300" y="1500"/>
                    <a:pt x="325" y="1485"/>
                    <a:pt x="323" y="1480"/>
                  </a:cubicBezTo>
                  <a:cubicBezTo>
                    <a:pt x="322" y="1478"/>
                    <a:pt x="290" y="1497"/>
                    <a:pt x="284" y="1498"/>
                  </a:cubicBezTo>
                  <a:cubicBezTo>
                    <a:pt x="280" y="1499"/>
                    <a:pt x="273" y="1505"/>
                    <a:pt x="272" y="1501"/>
                  </a:cubicBezTo>
                  <a:cubicBezTo>
                    <a:pt x="272" y="1496"/>
                    <a:pt x="288" y="1493"/>
                    <a:pt x="283" y="1490"/>
                  </a:cubicBezTo>
                  <a:cubicBezTo>
                    <a:pt x="282" y="1489"/>
                    <a:pt x="265" y="1498"/>
                    <a:pt x="266" y="1495"/>
                  </a:cubicBezTo>
                  <a:cubicBezTo>
                    <a:pt x="266" y="1492"/>
                    <a:pt x="283" y="1475"/>
                    <a:pt x="282" y="1474"/>
                  </a:cubicBezTo>
                  <a:cubicBezTo>
                    <a:pt x="281" y="1472"/>
                    <a:pt x="257" y="1477"/>
                    <a:pt x="251" y="1477"/>
                  </a:cubicBezTo>
                  <a:cubicBezTo>
                    <a:pt x="238" y="1475"/>
                    <a:pt x="226" y="1456"/>
                    <a:pt x="220" y="1455"/>
                  </a:cubicBezTo>
                  <a:cubicBezTo>
                    <a:pt x="205" y="1453"/>
                    <a:pt x="220" y="1464"/>
                    <a:pt x="207" y="1461"/>
                  </a:cubicBezTo>
                  <a:cubicBezTo>
                    <a:pt x="199" y="1460"/>
                    <a:pt x="213" y="1447"/>
                    <a:pt x="211" y="1440"/>
                  </a:cubicBezTo>
                  <a:cubicBezTo>
                    <a:pt x="211" y="1440"/>
                    <a:pt x="201" y="1447"/>
                    <a:pt x="201" y="1447"/>
                  </a:cubicBezTo>
                  <a:cubicBezTo>
                    <a:pt x="193" y="1449"/>
                    <a:pt x="199" y="1460"/>
                    <a:pt x="188" y="1461"/>
                  </a:cubicBezTo>
                  <a:cubicBezTo>
                    <a:pt x="184" y="1461"/>
                    <a:pt x="189" y="1458"/>
                    <a:pt x="189" y="1456"/>
                  </a:cubicBezTo>
                  <a:cubicBezTo>
                    <a:pt x="187" y="1451"/>
                    <a:pt x="188" y="1450"/>
                    <a:pt x="188" y="1449"/>
                  </a:cubicBezTo>
                  <a:cubicBezTo>
                    <a:pt x="185" y="1446"/>
                    <a:pt x="181" y="1448"/>
                    <a:pt x="177" y="1448"/>
                  </a:cubicBezTo>
                  <a:cubicBezTo>
                    <a:pt x="177" y="1448"/>
                    <a:pt x="177" y="1448"/>
                    <a:pt x="177" y="1448"/>
                  </a:cubicBezTo>
                  <a:cubicBezTo>
                    <a:pt x="177" y="1448"/>
                    <a:pt x="177" y="1448"/>
                    <a:pt x="177" y="1448"/>
                  </a:cubicBezTo>
                  <a:cubicBezTo>
                    <a:pt x="177" y="1448"/>
                    <a:pt x="177" y="1448"/>
                    <a:pt x="176" y="1448"/>
                  </a:cubicBezTo>
                  <a:cubicBezTo>
                    <a:pt x="175" y="1448"/>
                    <a:pt x="174" y="1448"/>
                    <a:pt x="173" y="1447"/>
                  </a:cubicBezTo>
                  <a:cubicBezTo>
                    <a:pt x="170" y="1444"/>
                    <a:pt x="177" y="1444"/>
                    <a:pt x="177" y="1444"/>
                  </a:cubicBezTo>
                  <a:cubicBezTo>
                    <a:pt x="179" y="1442"/>
                    <a:pt x="169" y="1438"/>
                    <a:pt x="168" y="1436"/>
                  </a:cubicBezTo>
                  <a:cubicBezTo>
                    <a:pt x="167" y="1433"/>
                    <a:pt x="181" y="1427"/>
                    <a:pt x="179" y="1425"/>
                  </a:cubicBezTo>
                  <a:cubicBezTo>
                    <a:pt x="177" y="1423"/>
                    <a:pt x="161" y="1411"/>
                    <a:pt x="165" y="1406"/>
                  </a:cubicBezTo>
                  <a:cubicBezTo>
                    <a:pt x="166" y="1404"/>
                    <a:pt x="174" y="1408"/>
                    <a:pt x="175" y="1405"/>
                  </a:cubicBezTo>
                  <a:cubicBezTo>
                    <a:pt x="175" y="1403"/>
                    <a:pt x="170" y="1404"/>
                    <a:pt x="169" y="1403"/>
                  </a:cubicBezTo>
                  <a:cubicBezTo>
                    <a:pt x="165" y="1398"/>
                    <a:pt x="180" y="1400"/>
                    <a:pt x="173" y="1396"/>
                  </a:cubicBezTo>
                  <a:cubicBezTo>
                    <a:pt x="170" y="1394"/>
                    <a:pt x="162" y="1379"/>
                    <a:pt x="163" y="1377"/>
                  </a:cubicBezTo>
                  <a:cubicBezTo>
                    <a:pt x="164" y="1377"/>
                    <a:pt x="169" y="1380"/>
                    <a:pt x="170" y="1380"/>
                  </a:cubicBezTo>
                  <a:cubicBezTo>
                    <a:pt x="173" y="1381"/>
                    <a:pt x="177" y="1381"/>
                    <a:pt x="179" y="1378"/>
                  </a:cubicBezTo>
                  <a:cubicBezTo>
                    <a:pt x="185" y="1370"/>
                    <a:pt x="164" y="1370"/>
                    <a:pt x="186" y="1357"/>
                  </a:cubicBezTo>
                  <a:cubicBezTo>
                    <a:pt x="188" y="1356"/>
                    <a:pt x="184" y="1352"/>
                    <a:pt x="183" y="1352"/>
                  </a:cubicBezTo>
                  <a:cubicBezTo>
                    <a:pt x="175" y="1351"/>
                    <a:pt x="186" y="1345"/>
                    <a:pt x="186" y="1341"/>
                  </a:cubicBezTo>
                  <a:cubicBezTo>
                    <a:pt x="186" y="1334"/>
                    <a:pt x="178" y="1332"/>
                    <a:pt x="176" y="1327"/>
                  </a:cubicBezTo>
                  <a:cubicBezTo>
                    <a:pt x="175" y="1325"/>
                    <a:pt x="185" y="1328"/>
                    <a:pt x="187" y="1327"/>
                  </a:cubicBezTo>
                  <a:cubicBezTo>
                    <a:pt x="191" y="1323"/>
                    <a:pt x="174" y="1316"/>
                    <a:pt x="174" y="1316"/>
                  </a:cubicBezTo>
                  <a:cubicBezTo>
                    <a:pt x="174" y="1315"/>
                    <a:pt x="189" y="1319"/>
                    <a:pt x="189" y="1316"/>
                  </a:cubicBezTo>
                  <a:cubicBezTo>
                    <a:pt x="190" y="1312"/>
                    <a:pt x="175" y="1308"/>
                    <a:pt x="177" y="1305"/>
                  </a:cubicBezTo>
                  <a:cubicBezTo>
                    <a:pt x="181" y="1298"/>
                    <a:pt x="201" y="1318"/>
                    <a:pt x="200" y="1310"/>
                  </a:cubicBezTo>
                  <a:cubicBezTo>
                    <a:pt x="200" y="1309"/>
                    <a:pt x="197" y="1307"/>
                    <a:pt x="197" y="1307"/>
                  </a:cubicBezTo>
                  <a:cubicBezTo>
                    <a:pt x="180" y="1294"/>
                    <a:pt x="188" y="1284"/>
                    <a:pt x="182" y="1280"/>
                  </a:cubicBezTo>
                  <a:cubicBezTo>
                    <a:pt x="181" y="1279"/>
                    <a:pt x="179" y="1278"/>
                    <a:pt x="179" y="1277"/>
                  </a:cubicBezTo>
                  <a:cubicBezTo>
                    <a:pt x="176" y="1273"/>
                    <a:pt x="176" y="1252"/>
                    <a:pt x="170" y="1250"/>
                  </a:cubicBezTo>
                  <a:cubicBezTo>
                    <a:pt x="166" y="1248"/>
                    <a:pt x="159" y="1246"/>
                    <a:pt x="158" y="1243"/>
                  </a:cubicBezTo>
                  <a:cubicBezTo>
                    <a:pt x="153" y="1225"/>
                    <a:pt x="170" y="1218"/>
                    <a:pt x="170" y="1202"/>
                  </a:cubicBezTo>
                  <a:cubicBezTo>
                    <a:pt x="170" y="1200"/>
                    <a:pt x="167" y="1205"/>
                    <a:pt x="165" y="1206"/>
                  </a:cubicBezTo>
                  <a:cubicBezTo>
                    <a:pt x="164" y="1207"/>
                    <a:pt x="166" y="1199"/>
                    <a:pt x="166" y="1197"/>
                  </a:cubicBezTo>
                  <a:cubicBezTo>
                    <a:pt x="168" y="1187"/>
                    <a:pt x="163" y="1191"/>
                    <a:pt x="160" y="1187"/>
                  </a:cubicBezTo>
                  <a:cubicBezTo>
                    <a:pt x="159" y="1186"/>
                    <a:pt x="163" y="1181"/>
                    <a:pt x="160" y="1180"/>
                  </a:cubicBezTo>
                  <a:cubicBezTo>
                    <a:pt x="158" y="1180"/>
                    <a:pt x="155" y="1190"/>
                    <a:pt x="156" y="1191"/>
                  </a:cubicBezTo>
                  <a:cubicBezTo>
                    <a:pt x="156" y="1194"/>
                    <a:pt x="153" y="1187"/>
                    <a:pt x="154" y="1185"/>
                  </a:cubicBezTo>
                  <a:cubicBezTo>
                    <a:pt x="157" y="1177"/>
                    <a:pt x="151" y="1182"/>
                    <a:pt x="148" y="1181"/>
                  </a:cubicBezTo>
                  <a:cubicBezTo>
                    <a:pt x="147" y="1181"/>
                    <a:pt x="150" y="1175"/>
                    <a:pt x="150" y="1174"/>
                  </a:cubicBezTo>
                  <a:cubicBezTo>
                    <a:pt x="151" y="1169"/>
                    <a:pt x="147" y="1164"/>
                    <a:pt x="148" y="1160"/>
                  </a:cubicBezTo>
                  <a:cubicBezTo>
                    <a:pt x="148" y="1157"/>
                    <a:pt x="155" y="1155"/>
                    <a:pt x="155" y="1154"/>
                  </a:cubicBezTo>
                  <a:cubicBezTo>
                    <a:pt x="155" y="1150"/>
                    <a:pt x="142" y="1157"/>
                    <a:pt x="142" y="1152"/>
                  </a:cubicBezTo>
                  <a:cubicBezTo>
                    <a:pt x="142" y="1143"/>
                    <a:pt x="153" y="1116"/>
                    <a:pt x="158" y="1112"/>
                  </a:cubicBezTo>
                  <a:cubicBezTo>
                    <a:pt x="161" y="1110"/>
                    <a:pt x="167" y="1118"/>
                    <a:pt x="170" y="1113"/>
                  </a:cubicBezTo>
                  <a:cubicBezTo>
                    <a:pt x="177" y="1103"/>
                    <a:pt x="171" y="1094"/>
                    <a:pt x="176" y="1087"/>
                  </a:cubicBezTo>
                  <a:cubicBezTo>
                    <a:pt x="178" y="1082"/>
                    <a:pt x="197" y="1091"/>
                    <a:pt x="198" y="1089"/>
                  </a:cubicBezTo>
                  <a:cubicBezTo>
                    <a:pt x="198" y="1087"/>
                    <a:pt x="177" y="1069"/>
                    <a:pt x="181" y="1062"/>
                  </a:cubicBezTo>
                  <a:cubicBezTo>
                    <a:pt x="184" y="1055"/>
                    <a:pt x="199" y="1069"/>
                    <a:pt x="204" y="1063"/>
                  </a:cubicBezTo>
                  <a:cubicBezTo>
                    <a:pt x="205" y="1062"/>
                    <a:pt x="200" y="1062"/>
                    <a:pt x="200" y="1061"/>
                  </a:cubicBezTo>
                  <a:cubicBezTo>
                    <a:pt x="197" y="1059"/>
                    <a:pt x="208" y="1057"/>
                    <a:pt x="210" y="1057"/>
                  </a:cubicBezTo>
                  <a:cubicBezTo>
                    <a:pt x="220" y="1053"/>
                    <a:pt x="212" y="1069"/>
                    <a:pt x="223" y="1072"/>
                  </a:cubicBezTo>
                  <a:cubicBezTo>
                    <a:pt x="228" y="1074"/>
                    <a:pt x="223" y="1060"/>
                    <a:pt x="228" y="1058"/>
                  </a:cubicBezTo>
                  <a:cubicBezTo>
                    <a:pt x="230" y="1057"/>
                    <a:pt x="254" y="1055"/>
                    <a:pt x="256" y="1052"/>
                  </a:cubicBezTo>
                  <a:cubicBezTo>
                    <a:pt x="268" y="1040"/>
                    <a:pt x="236" y="1032"/>
                    <a:pt x="242" y="1024"/>
                  </a:cubicBezTo>
                  <a:cubicBezTo>
                    <a:pt x="244" y="1022"/>
                    <a:pt x="259" y="1031"/>
                    <a:pt x="261" y="1031"/>
                  </a:cubicBezTo>
                  <a:cubicBezTo>
                    <a:pt x="263" y="1032"/>
                    <a:pt x="258" y="1029"/>
                    <a:pt x="257" y="1027"/>
                  </a:cubicBezTo>
                  <a:cubicBezTo>
                    <a:pt x="253" y="1024"/>
                    <a:pt x="246" y="1020"/>
                    <a:pt x="251" y="1015"/>
                  </a:cubicBezTo>
                  <a:cubicBezTo>
                    <a:pt x="254" y="1012"/>
                    <a:pt x="262" y="1026"/>
                    <a:pt x="262" y="1026"/>
                  </a:cubicBezTo>
                  <a:cubicBezTo>
                    <a:pt x="269" y="1023"/>
                    <a:pt x="273" y="993"/>
                    <a:pt x="278" y="988"/>
                  </a:cubicBezTo>
                  <a:cubicBezTo>
                    <a:pt x="283" y="983"/>
                    <a:pt x="291" y="1001"/>
                    <a:pt x="293" y="1001"/>
                  </a:cubicBezTo>
                  <a:cubicBezTo>
                    <a:pt x="309" y="996"/>
                    <a:pt x="303" y="978"/>
                    <a:pt x="306" y="974"/>
                  </a:cubicBezTo>
                  <a:cubicBezTo>
                    <a:pt x="311" y="970"/>
                    <a:pt x="312" y="983"/>
                    <a:pt x="315" y="980"/>
                  </a:cubicBezTo>
                  <a:cubicBezTo>
                    <a:pt x="317" y="979"/>
                    <a:pt x="314" y="970"/>
                    <a:pt x="321" y="966"/>
                  </a:cubicBezTo>
                  <a:cubicBezTo>
                    <a:pt x="326" y="963"/>
                    <a:pt x="345" y="964"/>
                    <a:pt x="352" y="957"/>
                  </a:cubicBezTo>
                  <a:cubicBezTo>
                    <a:pt x="356" y="952"/>
                    <a:pt x="344" y="941"/>
                    <a:pt x="349" y="937"/>
                  </a:cubicBezTo>
                  <a:cubicBezTo>
                    <a:pt x="353" y="934"/>
                    <a:pt x="364" y="944"/>
                    <a:pt x="369" y="940"/>
                  </a:cubicBezTo>
                  <a:cubicBezTo>
                    <a:pt x="373" y="938"/>
                    <a:pt x="367" y="934"/>
                    <a:pt x="367" y="932"/>
                  </a:cubicBezTo>
                  <a:cubicBezTo>
                    <a:pt x="365" y="929"/>
                    <a:pt x="387" y="909"/>
                    <a:pt x="391" y="905"/>
                  </a:cubicBezTo>
                  <a:cubicBezTo>
                    <a:pt x="393" y="903"/>
                    <a:pt x="397" y="909"/>
                    <a:pt x="399" y="907"/>
                  </a:cubicBezTo>
                  <a:cubicBezTo>
                    <a:pt x="399" y="907"/>
                    <a:pt x="398" y="905"/>
                    <a:pt x="398" y="904"/>
                  </a:cubicBezTo>
                  <a:cubicBezTo>
                    <a:pt x="391" y="886"/>
                    <a:pt x="428" y="874"/>
                    <a:pt x="435" y="865"/>
                  </a:cubicBezTo>
                  <a:cubicBezTo>
                    <a:pt x="439" y="859"/>
                    <a:pt x="446" y="839"/>
                    <a:pt x="456" y="828"/>
                  </a:cubicBezTo>
                  <a:cubicBezTo>
                    <a:pt x="457" y="826"/>
                    <a:pt x="450" y="826"/>
                    <a:pt x="452" y="823"/>
                  </a:cubicBezTo>
                  <a:cubicBezTo>
                    <a:pt x="456" y="820"/>
                    <a:pt x="460" y="826"/>
                    <a:pt x="463" y="826"/>
                  </a:cubicBezTo>
                  <a:cubicBezTo>
                    <a:pt x="467" y="826"/>
                    <a:pt x="465" y="817"/>
                    <a:pt x="469" y="816"/>
                  </a:cubicBezTo>
                  <a:cubicBezTo>
                    <a:pt x="475" y="814"/>
                    <a:pt x="497" y="806"/>
                    <a:pt x="502" y="807"/>
                  </a:cubicBezTo>
                  <a:cubicBezTo>
                    <a:pt x="513" y="809"/>
                    <a:pt x="509" y="827"/>
                    <a:pt x="523" y="820"/>
                  </a:cubicBezTo>
                  <a:cubicBezTo>
                    <a:pt x="539" y="814"/>
                    <a:pt x="509" y="804"/>
                    <a:pt x="510" y="799"/>
                  </a:cubicBezTo>
                  <a:cubicBezTo>
                    <a:pt x="513" y="788"/>
                    <a:pt x="528" y="805"/>
                    <a:pt x="532" y="801"/>
                  </a:cubicBezTo>
                  <a:cubicBezTo>
                    <a:pt x="543" y="792"/>
                    <a:pt x="514" y="777"/>
                    <a:pt x="512" y="776"/>
                  </a:cubicBezTo>
                  <a:cubicBezTo>
                    <a:pt x="509" y="772"/>
                    <a:pt x="516" y="769"/>
                    <a:pt x="517" y="768"/>
                  </a:cubicBezTo>
                  <a:cubicBezTo>
                    <a:pt x="524" y="761"/>
                    <a:pt x="521" y="746"/>
                    <a:pt x="518" y="738"/>
                  </a:cubicBezTo>
                  <a:cubicBezTo>
                    <a:pt x="518" y="738"/>
                    <a:pt x="517" y="737"/>
                    <a:pt x="517" y="736"/>
                  </a:cubicBezTo>
                  <a:cubicBezTo>
                    <a:pt x="520" y="732"/>
                    <a:pt x="528" y="731"/>
                    <a:pt x="525" y="721"/>
                  </a:cubicBezTo>
                  <a:cubicBezTo>
                    <a:pt x="522" y="712"/>
                    <a:pt x="486" y="696"/>
                    <a:pt x="476" y="694"/>
                  </a:cubicBezTo>
                  <a:cubicBezTo>
                    <a:pt x="472" y="693"/>
                    <a:pt x="466" y="701"/>
                    <a:pt x="464" y="697"/>
                  </a:cubicBezTo>
                  <a:cubicBezTo>
                    <a:pt x="461" y="694"/>
                    <a:pt x="451" y="681"/>
                    <a:pt x="454" y="674"/>
                  </a:cubicBezTo>
                  <a:cubicBezTo>
                    <a:pt x="455" y="670"/>
                    <a:pt x="467" y="657"/>
                    <a:pt x="467" y="656"/>
                  </a:cubicBezTo>
                  <a:cubicBezTo>
                    <a:pt x="467" y="656"/>
                    <a:pt x="467" y="655"/>
                    <a:pt x="466" y="655"/>
                  </a:cubicBezTo>
                  <a:cubicBezTo>
                    <a:pt x="461" y="658"/>
                    <a:pt x="456" y="672"/>
                    <a:pt x="451" y="673"/>
                  </a:cubicBezTo>
                  <a:cubicBezTo>
                    <a:pt x="442" y="676"/>
                    <a:pt x="420" y="674"/>
                    <a:pt x="419" y="671"/>
                  </a:cubicBezTo>
                  <a:cubicBezTo>
                    <a:pt x="409" y="636"/>
                    <a:pt x="373" y="619"/>
                    <a:pt x="373" y="580"/>
                  </a:cubicBezTo>
                  <a:cubicBezTo>
                    <a:pt x="373" y="562"/>
                    <a:pt x="388" y="567"/>
                    <a:pt x="394" y="554"/>
                  </a:cubicBezTo>
                  <a:cubicBezTo>
                    <a:pt x="397" y="547"/>
                    <a:pt x="391" y="534"/>
                    <a:pt x="395" y="526"/>
                  </a:cubicBezTo>
                  <a:cubicBezTo>
                    <a:pt x="395" y="526"/>
                    <a:pt x="404" y="518"/>
                    <a:pt x="404" y="518"/>
                  </a:cubicBezTo>
                  <a:cubicBezTo>
                    <a:pt x="407" y="498"/>
                    <a:pt x="364" y="482"/>
                    <a:pt x="365" y="462"/>
                  </a:cubicBezTo>
                  <a:cubicBezTo>
                    <a:pt x="366" y="453"/>
                    <a:pt x="394" y="432"/>
                    <a:pt x="383" y="423"/>
                  </a:cubicBezTo>
                  <a:cubicBezTo>
                    <a:pt x="374" y="415"/>
                    <a:pt x="359" y="424"/>
                    <a:pt x="353" y="415"/>
                  </a:cubicBezTo>
                  <a:cubicBezTo>
                    <a:pt x="349" y="408"/>
                    <a:pt x="362" y="402"/>
                    <a:pt x="364" y="397"/>
                  </a:cubicBezTo>
                  <a:cubicBezTo>
                    <a:pt x="368" y="383"/>
                    <a:pt x="350" y="365"/>
                    <a:pt x="359" y="350"/>
                  </a:cubicBezTo>
                  <a:cubicBezTo>
                    <a:pt x="362" y="345"/>
                    <a:pt x="370" y="346"/>
                    <a:pt x="374" y="342"/>
                  </a:cubicBezTo>
                  <a:cubicBezTo>
                    <a:pt x="381" y="335"/>
                    <a:pt x="359" y="329"/>
                    <a:pt x="353" y="321"/>
                  </a:cubicBezTo>
                  <a:cubicBezTo>
                    <a:pt x="346" y="314"/>
                    <a:pt x="345" y="308"/>
                    <a:pt x="335" y="310"/>
                  </a:cubicBezTo>
                  <a:cubicBezTo>
                    <a:pt x="333" y="310"/>
                    <a:pt x="330" y="313"/>
                    <a:pt x="328" y="311"/>
                  </a:cubicBezTo>
                  <a:cubicBezTo>
                    <a:pt x="327" y="309"/>
                    <a:pt x="329" y="297"/>
                    <a:pt x="325" y="293"/>
                  </a:cubicBezTo>
                  <a:cubicBezTo>
                    <a:pt x="299" y="262"/>
                    <a:pt x="260" y="273"/>
                    <a:pt x="230" y="256"/>
                  </a:cubicBezTo>
                  <a:cubicBezTo>
                    <a:pt x="218" y="249"/>
                    <a:pt x="134" y="197"/>
                    <a:pt x="128" y="190"/>
                  </a:cubicBezTo>
                  <a:cubicBezTo>
                    <a:pt x="118" y="180"/>
                    <a:pt x="131" y="188"/>
                    <a:pt x="131" y="182"/>
                  </a:cubicBezTo>
                  <a:cubicBezTo>
                    <a:pt x="129" y="175"/>
                    <a:pt x="111" y="170"/>
                    <a:pt x="103" y="166"/>
                  </a:cubicBezTo>
                  <a:cubicBezTo>
                    <a:pt x="101" y="165"/>
                    <a:pt x="99" y="165"/>
                    <a:pt x="99" y="164"/>
                  </a:cubicBezTo>
                  <a:cubicBezTo>
                    <a:pt x="100" y="149"/>
                    <a:pt x="138" y="170"/>
                    <a:pt x="142" y="169"/>
                  </a:cubicBezTo>
                  <a:cubicBezTo>
                    <a:pt x="153" y="166"/>
                    <a:pt x="140" y="149"/>
                    <a:pt x="139" y="145"/>
                  </a:cubicBezTo>
                  <a:cubicBezTo>
                    <a:pt x="139" y="137"/>
                    <a:pt x="157" y="123"/>
                    <a:pt x="165" y="121"/>
                  </a:cubicBezTo>
                  <a:cubicBezTo>
                    <a:pt x="189" y="118"/>
                    <a:pt x="248" y="175"/>
                    <a:pt x="257" y="198"/>
                  </a:cubicBezTo>
                  <a:cubicBezTo>
                    <a:pt x="260" y="205"/>
                    <a:pt x="257" y="214"/>
                    <a:pt x="261" y="219"/>
                  </a:cubicBezTo>
                  <a:cubicBezTo>
                    <a:pt x="263" y="221"/>
                    <a:pt x="266" y="219"/>
                    <a:pt x="269" y="220"/>
                  </a:cubicBezTo>
                  <a:cubicBezTo>
                    <a:pt x="283" y="220"/>
                    <a:pt x="308" y="216"/>
                    <a:pt x="321" y="222"/>
                  </a:cubicBezTo>
                  <a:cubicBezTo>
                    <a:pt x="321" y="222"/>
                    <a:pt x="333" y="232"/>
                    <a:pt x="333" y="232"/>
                  </a:cubicBezTo>
                  <a:cubicBezTo>
                    <a:pt x="338" y="234"/>
                    <a:pt x="372" y="223"/>
                    <a:pt x="377" y="219"/>
                  </a:cubicBezTo>
                  <a:cubicBezTo>
                    <a:pt x="382" y="216"/>
                    <a:pt x="385" y="202"/>
                    <a:pt x="391" y="201"/>
                  </a:cubicBezTo>
                  <a:cubicBezTo>
                    <a:pt x="396" y="199"/>
                    <a:pt x="456" y="220"/>
                    <a:pt x="465" y="224"/>
                  </a:cubicBezTo>
                  <a:cubicBezTo>
                    <a:pt x="468" y="226"/>
                    <a:pt x="485" y="244"/>
                    <a:pt x="486" y="243"/>
                  </a:cubicBezTo>
                  <a:cubicBezTo>
                    <a:pt x="491" y="237"/>
                    <a:pt x="496" y="238"/>
                    <a:pt x="502" y="232"/>
                  </a:cubicBezTo>
                  <a:cubicBezTo>
                    <a:pt x="513" y="222"/>
                    <a:pt x="505" y="199"/>
                    <a:pt x="527" y="193"/>
                  </a:cubicBezTo>
                  <a:cubicBezTo>
                    <a:pt x="540" y="190"/>
                    <a:pt x="562" y="192"/>
                    <a:pt x="566" y="172"/>
                  </a:cubicBezTo>
                  <a:cubicBezTo>
                    <a:pt x="567" y="163"/>
                    <a:pt x="557" y="151"/>
                    <a:pt x="557" y="143"/>
                  </a:cubicBezTo>
                  <a:cubicBezTo>
                    <a:pt x="556" y="129"/>
                    <a:pt x="563" y="124"/>
                    <a:pt x="567" y="113"/>
                  </a:cubicBezTo>
                  <a:cubicBezTo>
                    <a:pt x="570" y="107"/>
                    <a:pt x="565" y="92"/>
                    <a:pt x="569" y="87"/>
                  </a:cubicBezTo>
                  <a:cubicBezTo>
                    <a:pt x="575" y="79"/>
                    <a:pt x="578" y="65"/>
                    <a:pt x="581" y="63"/>
                  </a:cubicBezTo>
                  <a:cubicBezTo>
                    <a:pt x="585" y="58"/>
                    <a:pt x="620" y="28"/>
                    <a:pt x="624" y="26"/>
                  </a:cubicBezTo>
                  <a:cubicBezTo>
                    <a:pt x="643" y="14"/>
                    <a:pt x="667" y="33"/>
                    <a:pt x="686" y="27"/>
                  </a:cubicBezTo>
                  <a:cubicBezTo>
                    <a:pt x="714" y="18"/>
                    <a:pt x="723" y="0"/>
                    <a:pt x="755" y="4"/>
                  </a:cubicBezTo>
                  <a:cubicBezTo>
                    <a:pt x="788" y="57"/>
                    <a:pt x="865" y="46"/>
                    <a:pt x="876" y="95"/>
                  </a:cubicBezTo>
                  <a:cubicBezTo>
                    <a:pt x="880" y="110"/>
                    <a:pt x="794" y="148"/>
                    <a:pt x="845" y="167"/>
                  </a:cubicBezTo>
                  <a:cubicBezTo>
                    <a:pt x="826" y="176"/>
                    <a:pt x="797" y="190"/>
                    <a:pt x="799" y="193"/>
                  </a:cubicBezTo>
                  <a:cubicBezTo>
                    <a:pt x="808" y="201"/>
                    <a:pt x="829" y="182"/>
                    <a:pt x="832" y="203"/>
                  </a:cubicBezTo>
                  <a:cubicBezTo>
                    <a:pt x="836" y="233"/>
                    <a:pt x="792" y="222"/>
                    <a:pt x="813" y="274"/>
                  </a:cubicBezTo>
                  <a:cubicBezTo>
                    <a:pt x="815" y="281"/>
                    <a:pt x="818" y="296"/>
                    <a:pt x="823" y="301"/>
                  </a:cubicBezTo>
                  <a:cubicBezTo>
                    <a:pt x="837" y="313"/>
                    <a:pt x="866" y="308"/>
                    <a:pt x="881" y="319"/>
                  </a:cubicBezTo>
                  <a:cubicBezTo>
                    <a:pt x="894" y="328"/>
                    <a:pt x="900" y="350"/>
                    <a:pt x="912" y="361"/>
                  </a:cubicBezTo>
                  <a:cubicBezTo>
                    <a:pt x="918" y="366"/>
                    <a:pt x="938" y="371"/>
                    <a:pt x="942" y="379"/>
                  </a:cubicBezTo>
                  <a:cubicBezTo>
                    <a:pt x="956" y="408"/>
                    <a:pt x="845" y="470"/>
                    <a:pt x="856" y="506"/>
                  </a:cubicBezTo>
                  <a:cubicBezTo>
                    <a:pt x="859" y="518"/>
                    <a:pt x="875" y="526"/>
                    <a:pt x="881" y="536"/>
                  </a:cubicBezTo>
                  <a:cubicBezTo>
                    <a:pt x="896" y="563"/>
                    <a:pt x="930" y="619"/>
                    <a:pt x="938" y="647"/>
                  </a:cubicBezTo>
                  <a:cubicBezTo>
                    <a:pt x="940" y="652"/>
                    <a:pt x="956" y="689"/>
                    <a:pt x="949" y="692"/>
                  </a:cubicBezTo>
                  <a:cubicBezTo>
                    <a:pt x="944" y="695"/>
                    <a:pt x="921" y="687"/>
                    <a:pt x="915" y="695"/>
                  </a:cubicBezTo>
                  <a:cubicBezTo>
                    <a:pt x="912" y="699"/>
                    <a:pt x="922" y="701"/>
                    <a:pt x="925" y="705"/>
                  </a:cubicBezTo>
                  <a:cubicBezTo>
                    <a:pt x="930" y="711"/>
                    <a:pt x="917" y="715"/>
                    <a:pt x="917" y="715"/>
                  </a:cubicBezTo>
                  <a:cubicBezTo>
                    <a:pt x="915" y="717"/>
                    <a:pt x="917" y="719"/>
                    <a:pt x="917" y="722"/>
                  </a:cubicBezTo>
                  <a:cubicBezTo>
                    <a:pt x="917" y="726"/>
                    <a:pt x="917" y="730"/>
                    <a:pt x="917" y="734"/>
                  </a:cubicBezTo>
                  <a:cubicBezTo>
                    <a:pt x="917" y="740"/>
                    <a:pt x="899" y="755"/>
                    <a:pt x="905" y="758"/>
                  </a:cubicBezTo>
                  <a:cubicBezTo>
                    <a:pt x="917" y="765"/>
                    <a:pt x="930" y="751"/>
                    <a:pt x="927" y="773"/>
                  </a:cubicBezTo>
                  <a:cubicBezTo>
                    <a:pt x="925" y="784"/>
                    <a:pt x="890" y="772"/>
                    <a:pt x="908" y="806"/>
                  </a:cubicBezTo>
                  <a:cubicBezTo>
                    <a:pt x="921" y="831"/>
                    <a:pt x="949" y="818"/>
                    <a:pt x="958" y="844"/>
                  </a:cubicBezTo>
                  <a:cubicBezTo>
                    <a:pt x="961" y="852"/>
                    <a:pt x="939" y="853"/>
                    <a:pt x="937" y="856"/>
                  </a:cubicBezTo>
                  <a:cubicBezTo>
                    <a:pt x="931" y="868"/>
                    <a:pt x="943" y="866"/>
                    <a:pt x="946" y="872"/>
                  </a:cubicBezTo>
                  <a:cubicBezTo>
                    <a:pt x="946" y="872"/>
                    <a:pt x="943" y="884"/>
                    <a:pt x="943" y="884"/>
                  </a:cubicBezTo>
                  <a:cubicBezTo>
                    <a:pt x="949" y="902"/>
                    <a:pt x="991" y="889"/>
                    <a:pt x="994" y="932"/>
                  </a:cubicBezTo>
                  <a:cubicBezTo>
                    <a:pt x="995" y="951"/>
                    <a:pt x="941" y="976"/>
                    <a:pt x="939" y="981"/>
                  </a:cubicBezTo>
                  <a:cubicBezTo>
                    <a:pt x="937" y="987"/>
                    <a:pt x="972" y="1013"/>
                    <a:pt x="977" y="1017"/>
                  </a:cubicBezTo>
                  <a:cubicBezTo>
                    <a:pt x="997" y="1034"/>
                    <a:pt x="1025" y="1041"/>
                    <a:pt x="1046" y="1058"/>
                  </a:cubicBezTo>
                  <a:cubicBezTo>
                    <a:pt x="1054" y="1065"/>
                    <a:pt x="1051" y="1075"/>
                    <a:pt x="1059" y="1083"/>
                  </a:cubicBezTo>
                  <a:cubicBezTo>
                    <a:pt x="1063" y="1088"/>
                    <a:pt x="1078" y="1099"/>
                    <a:pt x="1080" y="1105"/>
                  </a:cubicBezTo>
                  <a:cubicBezTo>
                    <a:pt x="1081" y="1109"/>
                    <a:pt x="1068" y="1124"/>
                    <a:pt x="1067" y="1127"/>
                  </a:cubicBezTo>
                  <a:cubicBezTo>
                    <a:pt x="1048" y="1167"/>
                    <a:pt x="1035" y="1180"/>
                    <a:pt x="1004" y="1210"/>
                  </a:cubicBezTo>
                  <a:cubicBezTo>
                    <a:pt x="986" y="1227"/>
                    <a:pt x="969" y="1245"/>
                    <a:pt x="952" y="1263"/>
                  </a:cubicBezTo>
                  <a:cubicBezTo>
                    <a:pt x="950" y="1260"/>
                    <a:pt x="948" y="1258"/>
                    <a:pt x="946" y="1257"/>
                  </a:cubicBezTo>
                  <a:cubicBezTo>
                    <a:pt x="946" y="1257"/>
                    <a:pt x="940" y="1246"/>
                    <a:pt x="939" y="1244"/>
                  </a:cubicBezTo>
                  <a:cubicBezTo>
                    <a:pt x="939" y="1243"/>
                    <a:pt x="939" y="1243"/>
                    <a:pt x="939" y="1243"/>
                  </a:cubicBezTo>
                  <a:cubicBezTo>
                    <a:pt x="937" y="1239"/>
                    <a:pt x="911" y="1220"/>
                    <a:pt x="910" y="1226"/>
                  </a:cubicBezTo>
                  <a:cubicBezTo>
                    <a:pt x="909" y="1231"/>
                    <a:pt x="940" y="1245"/>
                    <a:pt x="941" y="1254"/>
                  </a:cubicBezTo>
                  <a:cubicBezTo>
                    <a:pt x="942" y="1256"/>
                    <a:pt x="935" y="1253"/>
                    <a:pt x="934" y="1254"/>
                  </a:cubicBezTo>
                  <a:cubicBezTo>
                    <a:pt x="930" y="1254"/>
                    <a:pt x="925" y="1274"/>
                    <a:pt x="926" y="1275"/>
                  </a:cubicBezTo>
                  <a:cubicBezTo>
                    <a:pt x="934" y="1286"/>
                    <a:pt x="936" y="1269"/>
                    <a:pt x="940" y="1269"/>
                  </a:cubicBezTo>
                  <a:cubicBezTo>
                    <a:pt x="942" y="1269"/>
                    <a:pt x="943" y="1271"/>
                    <a:pt x="942" y="1273"/>
                  </a:cubicBezTo>
                  <a:cubicBezTo>
                    <a:pt x="902" y="1314"/>
                    <a:pt x="862" y="1356"/>
                    <a:pt x="817" y="1391"/>
                  </a:cubicBezTo>
                  <a:cubicBezTo>
                    <a:pt x="793" y="1409"/>
                    <a:pt x="761" y="1427"/>
                    <a:pt x="743" y="1451"/>
                  </a:cubicBezTo>
                  <a:close/>
                  <a:moveTo>
                    <a:pt x="995" y="1122"/>
                  </a:moveTo>
                  <a:cubicBezTo>
                    <a:pt x="995" y="1122"/>
                    <a:pt x="996" y="1123"/>
                    <a:pt x="997" y="1124"/>
                  </a:cubicBezTo>
                  <a:cubicBezTo>
                    <a:pt x="997" y="1125"/>
                    <a:pt x="997" y="1125"/>
                    <a:pt x="998" y="1125"/>
                  </a:cubicBezTo>
                  <a:cubicBezTo>
                    <a:pt x="998" y="1126"/>
                    <a:pt x="998" y="1125"/>
                    <a:pt x="997" y="1124"/>
                  </a:cubicBezTo>
                  <a:cubicBezTo>
                    <a:pt x="996" y="1122"/>
                    <a:pt x="996" y="1120"/>
                    <a:pt x="995" y="1119"/>
                  </a:cubicBezTo>
                  <a:cubicBezTo>
                    <a:pt x="995" y="1119"/>
                    <a:pt x="994" y="1118"/>
                    <a:pt x="995" y="1118"/>
                  </a:cubicBezTo>
                  <a:cubicBezTo>
                    <a:pt x="996" y="1116"/>
                    <a:pt x="999" y="1116"/>
                    <a:pt x="1001" y="1115"/>
                  </a:cubicBezTo>
                  <a:cubicBezTo>
                    <a:pt x="1006" y="1114"/>
                    <a:pt x="1026" y="1091"/>
                    <a:pt x="1016" y="1085"/>
                  </a:cubicBezTo>
                  <a:cubicBezTo>
                    <a:pt x="1000" y="1074"/>
                    <a:pt x="1003" y="1097"/>
                    <a:pt x="1000" y="1099"/>
                  </a:cubicBezTo>
                  <a:cubicBezTo>
                    <a:pt x="1000" y="1099"/>
                    <a:pt x="985" y="1095"/>
                    <a:pt x="985" y="1101"/>
                  </a:cubicBezTo>
                  <a:cubicBezTo>
                    <a:pt x="985" y="1106"/>
                    <a:pt x="1001" y="1110"/>
                    <a:pt x="995" y="1113"/>
                  </a:cubicBezTo>
                  <a:cubicBezTo>
                    <a:pt x="992" y="1114"/>
                    <a:pt x="986" y="1118"/>
                    <a:pt x="984" y="1121"/>
                  </a:cubicBezTo>
                  <a:cubicBezTo>
                    <a:pt x="986" y="1122"/>
                    <a:pt x="986" y="1122"/>
                    <a:pt x="986" y="1122"/>
                  </a:cubicBezTo>
                  <a:cubicBezTo>
                    <a:pt x="970" y="1137"/>
                    <a:pt x="989" y="1120"/>
                    <a:pt x="995" y="1122"/>
                  </a:cubicBezTo>
                  <a:close/>
                  <a:moveTo>
                    <a:pt x="412" y="371"/>
                  </a:moveTo>
                  <a:cubicBezTo>
                    <a:pt x="412" y="371"/>
                    <a:pt x="412" y="371"/>
                    <a:pt x="412" y="371"/>
                  </a:cubicBezTo>
                  <a:cubicBezTo>
                    <a:pt x="413" y="371"/>
                    <a:pt x="413" y="375"/>
                    <a:pt x="413" y="375"/>
                  </a:cubicBezTo>
                  <a:cubicBezTo>
                    <a:pt x="413" y="375"/>
                    <a:pt x="415" y="373"/>
                    <a:pt x="415" y="373"/>
                  </a:cubicBezTo>
                  <a:cubicBezTo>
                    <a:pt x="425" y="357"/>
                    <a:pt x="410" y="350"/>
                    <a:pt x="412" y="371"/>
                  </a:cubicBezTo>
                  <a:close/>
                  <a:moveTo>
                    <a:pt x="420" y="349"/>
                  </a:moveTo>
                  <a:cubicBezTo>
                    <a:pt x="419" y="347"/>
                    <a:pt x="403" y="340"/>
                    <a:pt x="403" y="344"/>
                  </a:cubicBezTo>
                  <a:cubicBezTo>
                    <a:pt x="403" y="346"/>
                    <a:pt x="409" y="348"/>
                    <a:pt x="410" y="351"/>
                  </a:cubicBezTo>
                  <a:cubicBezTo>
                    <a:pt x="411" y="351"/>
                    <a:pt x="411" y="351"/>
                    <a:pt x="411" y="351"/>
                  </a:cubicBezTo>
                  <a:cubicBezTo>
                    <a:pt x="412" y="353"/>
                    <a:pt x="421" y="353"/>
                    <a:pt x="423" y="351"/>
                  </a:cubicBezTo>
                  <a:cubicBezTo>
                    <a:pt x="423" y="350"/>
                    <a:pt x="421" y="349"/>
                    <a:pt x="420" y="349"/>
                  </a:cubicBezTo>
                  <a:close/>
                  <a:moveTo>
                    <a:pt x="476" y="539"/>
                  </a:moveTo>
                  <a:cubicBezTo>
                    <a:pt x="474" y="536"/>
                    <a:pt x="465" y="529"/>
                    <a:pt x="465" y="531"/>
                  </a:cubicBezTo>
                  <a:cubicBezTo>
                    <a:pt x="464" y="534"/>
                    <a:pt x="460" y="529"/>
                    <a:pt x="459" y="532"/>
                  </a:cubicBezTo>
                  <a:cubicBezTo>
                    <a:pt x="459" y="534"/>
                    <a:pt x="466" y="537"/>
                    <a:pt x="465" y="541"/>
                  </a:cubicBezTo>
                  <a:cubicBezTo>
                    <a:pt x="465" y="542"/>
                    <a:pt x="464" y="543"/>
                    <a:pt x="463" y="544"/>
                  </a:cubicBezTo>
                  <a:cubicBezTo>
                    <a:pt x="461" y="545"/>
                    <a:pt x="459" y="544"/>
                    <a:pt x="458" y="543"/>
                  </a:cubicBezTo>
                  <a:cubicBezTo>
                    <a:pt x="458" y="543"/>
                    <a:pt x="447" y="546"/>
                    <a:pt x="444" y="542"/>
                  </a:cubicBezTo>
                  <a:cubicBezTo>
                    <a:pt x="440" y="539"/>
                    <a:pt x="444" y="527"/>
                    <a:pt x="439" y="527"/>
                  </a:cubicBezTo>
                  <a:cubicBezTo>
                    <a:pt x="435" y="527"/>
                    <a:pt x="441" y="539"/>
                    <a:pt x="437" y="538"/>
                  </a:cubicBezTo>
                  <a:cubicBezTo>
                    <a:pt x="433" y="537"/>
                    <a:pt x="435" y="540"/>
                    <a:pt x="434" y="542"/>
                  </a:cubicBezTo>
                  <a:cubicBezTo>
                    <a:pt x="430" y="549"/>
                    <a:pt x="435" y="559"/>
                    <a:pt x="437" y="562"/>
                  </a:cubicBezTo>
                  <a:cubicBezTo>
                    <a:pt x="437" y="562"/>
                    <a:pt x="437" y="562"/>
                    <a:pt x="437" y="562"/>
                  </a:cubicBezTo>
                  <a:cubicBezTo>
                    <a:pt x="446" y="570"/>
                    <a:pt x="442" y="546"/>
                    <a:pt x="442" y="545"/>
                  </a:cubicBezTo>
                  <a:cubicBezTo>
                    <a:pt x="443" y="544"/>
                    <a:pt x="446" y="546"/>
                    <a:pt x="447" y="546"/>
                  </a:cubicBezTo>
                  <a:cubicBezTo>
                    <a:pt x="452" y="547"/>
                    <a:pt x="464" y="556"/>
                    <a:pt x="467" y="549"/>
                  </a:cubicBezTo>
                  <a:cubicBezTo>
                    <a:pt x="468" y="546"/>
                    <a:pt x="465" y="544"/>
                    <a:pt x="467" y="541"/>
                  </a:cubicBezTo>
                  <a:cubicBezTo>
                    <a:pt x="467" y="540"/>
                    <a:pt x="479" y="544"/>
                    <a:pt x="476" y="539"/>
                  </a:cubicBezTo>
                  <a:close/>
                  <a:moveTo>
                    <a:pt x="207" y="1278"/>
                  </a:moveTo>
                  <a:cubicBezTo>
                    <a:pt x="205" y="1276"/>
                    <a:pt x="203" y="1273"/>
                    <a:pt x="202" y="1270"/>
                  </a:cubicBezTo>
                  <a:cubicBezTo>
                    <a:pt x="202" y="1270"/>
                    <a:pt x="202" y="1270"/>
                    <a:pt x="202" y="1270"/>
                  </a:cubicBezTo>
                  <a:cubicBezTo>
                    <a:pt x="200" y="1267"/>
                    <a:pt x="197" y="1275"/>
                    <a:pt x="201" y="1281"/>
                  </a:cubicBezTo>
                  <a:cubicBezTo>
                    <a:pt x="202" y="1282"/>
                    <a:pt x="228" y="1298"/>
                    <a:pt x="207" y="1278"/>
                  </a:cubicBezTo>
                  <a:close/>
                  <a:moveTo>
                    <a:pt x="257" y="1386"/>
                  </a:moveTo>
                  <a:cubicBezTo>
                    <a:pt x="256" y="1385"/>
                    <a:pt x="256" y="1385"/>
                    <a:pt x="256" y="1385"/>
                  </a:cubicBezTo>
                  <a:cubicBezTo>
                    <a:pt x="254" y="1382"/>
                    <a:pt x="251" y="1380"/>
                    <a:pt x="248" y="1378"/>
                  </a:cubicBezTo>
                  <a:cubicBezTo>
                    <a:pt x="222" y="1363"/>
                    <a:pt x="263" y="1432"/>
                    <a:pt x="257" y="1386"/>
                  </a:cubicBezTo>
                  <a:close/>
                  <a:moveTo>
                    <a:pt x="905" y="1046"/>
                  </a:moveTo>
                  <a:cubicBezTo>
                    <a:pt x="902" y="1046"/>
                    <a:pt x="860" y="1008"/>
                    <a:pt x="856" y="1005"/>
                  </a:cubicBezTo>
                  <a:cubicBezTo>
                    <a:pt x="856" y="1005"/>
                    <a:pt x="855" y="1004"/>
                    <a:pt x="854" y="1004"/>
                  </a:cubicBezTo>
                  <a:cubicBezTo>
                    <a:pt x="847" y="1003"/>
                    <a:pt x="869" y="1019"/>
                    <a:pt x="864" y="1025"/>
                  </a:cubicBezTo>
                  <a:cubicBezTo>
                    <a:pt x="862" y="1029"/>
                    <a:pt x="846" y="1014"/>
                    <a:pt x="845" y="1016"/>
                  </a:cubicBezTo>
                  <a:cubicBezTo>
                    <a:pt x="844" y="1017"/>
                    <a:pt x="849" y="1021"/>
                    <a:pt x="850" y="1021"/>
                  </a:cubicBezTo>
                  <a:cubicBezTo>
                    <a:pt x="857" y="1027"/>
                    <a:pt x="879" y="1053"/>
                    <a:pt x="879" y="1055"/>
                  </a:cubicBezTo>
                  <a:cubicBezTo>
                    <a:pt x="875" y="1075"/>
                    <a:pt x="897" y="1062"/>
                    <a:pt x="902" y="1064"/>
                  </a:cubicBezTo>
                  <a:cubicBezTo>
                    <a:pt x="903" y="1064"/>
                    <a:pt x="903" y="1084"/>
                    <a:pt x="910" y="1074"/>
                  </a:cubicBezTo>
                  <a:cubicBezTo>
                    <a:pt x="911" y="1073"/>
                    <a:pt x="921" y="1066"/>
                    <a:pt x="921" y="1066"/>
                  </a:cubicBezTo>
                  <a:cubicBezTo>
                    <a:pt x="925" y="1072"/>
                    <a:pt x="919" y="1076"/>
                    <a:pt x="920" y="1078"/>
                  </a:cubicBezTo>
                  <a:cubicBezTo>
                    <a:pt x="922" y="1082"/>
                    <a:pt x="946" y="1107"/>
                    <a:pt x="953" y="1109"/>
                  </a:cubicBezTo>
                  <a:cubicBezTo>
                    <a:pt x="954" y="1110"/>
                    <a:pt x="954" y="1110"/>
                    <a:pt x="954" y="1110"/>
                  </a:cubicBezTo>
                  <a:cubicBezTo>
                    <a:pt x="964" y="1110"/>
                    <a:pt x="944" y="1136"/>
                    <a:pt x="944" y="1135"/>
                  </a:cubicBezTo>
                  <a:cubicBezTo>
                    <a:pt x="948" y="1141"/>
                    <a:pt x="959" y="1118"/>
                    <a:pt x="960" y="1117"/>
                  </a:cubicBezTo>
                  <a:cubicBezTo>
                    <a:pt x="962" y="1116"/>
                    <a:pt x="972" y="1131"/>
                    <a:pt x="975" y="1125"/>
                  </a:cubicBezTo>
                  <a:cubicBezTo>
                    <a:pt x="976" y="1123"/>
                    <a:pt x="968" y="1118"/>
                    <a:pt x="967" y="1118"/>
                  </a:cubicBezTo>
                  <a:cubicBezTo>
                    <a:pt x="962" y="1117"/>
                    <a:pt x="937" y="1082"/>
                    <a:pt x="936" y="1069"/>
                  </a:cubicBezTo>
                  <a:cubicBezTo>
                    <a:pt x="935" y="1065"/>
                    <a:pt x="935" y="1050"/>
                    <a:pt x="936" y="1052"/>
                  </a:cubicBezTo>
                  <a:cubicBezTo>
                    <a:pt x="937" y="1055"/>
                    <a:pt x="950" y="1062"/>
                    <a:pt x="942" y="1052"/>
                  </a:cubicBezTo>
                  <a:cubicBezTo>
                    <a:pt x="940" y="1050"/>
                    <a:pt x="938" y="1048"/>
                    <a:pt x="935" y="1047"/>
                  </a:cubicBezTo>
                  <a:cubicBezTo>
                    <a:pt x="924" y="1042"/>
                    <a:pt x="932" y="1047"/>
                    <a:pt x="929" y="1050"/>
                  </a:cubicBezTo>
                  <a:cubicBezTo>
                    <a:pt x="924" y="1053"/>
                    <a:pt x="920" y="1046"/>
                    <a:pt x="905" y="1046"/>
                  </a:cubicBezTo>
                  <a:close/>
                  <a:moveTo>
                    <a:pt x="908" y="1139"/>
                  </a:moveTo>
                  <a:cubicBezTo>
                    <a:pt x="908" y="1140"/>
                    <a:pt x="908" y="1140"/>
                    <a:pt x="908" y="1140"/>
                  </a:cubicBezTo>
                  <a:cubicBezTo>
                    <a:pt x="909" y="1144"/>
                    <a:pt x="916" y="1138"/>
                    <a:pt x="919" y="1137"/>
                  </a:cubicBezTo>
                  <a:cubicBezTo>
                    <a:pt x="936" y="1132"/>
                    <a:pt x="904" y="1087"/>
                    <a:pt x="895" y="1086"/>
                  </a:cubicBezTo>
                  <a:cubicBezTo>
                    <a:pt x="887" y="1085"/>
                    <a:pt x="898" y="1098"/>
                    <a:pt x="900" y="1100"/>
                  </a:cubicBezTo>
                  <a:cubicBezTo>
                    <a:pt x="903" y="1102"/>
                    <a:pt x="906" y="1116"/>
                    <a:pt x="906" y="1118"/>
                  </a:cubicBezTo>
                  <a:cubicBezTo>
                    <a:pt x="905" y="1119"/>
                    <a:pt x="897" y="1115"/>
                    <a:pt x="897" y="1115"/>
                  </a:cubicBezTo>
                  <a:cubicBezTo>
                    <a:pt x="897" y="1117"/>
                    <a:pt x="900" y="1117"/>
                    <a:pt x="901" y="1118"/>
                  </a:cubicBezTo>
                  <a:cubicBezTo>
                    <a:pt x="904" y="1126"/>
                    <a:pt x="894" y="1116"/>
                    <a:pt x="892" y="1114"/>
                  </a:cubicBezTo>
                  <a:cubicBezTo>
                    <a:pt x="891" y="1113"/>
                    <a:pt x="890" y="1106"/>
                    <a:pt x="889" y="1107"/>
                  </a:cubicBezTo>
                  <a:cubicBezTo>
                    <a:pt x="876" y="1115"/>
                    <a:pt x="903" y="1123"/>
                    <a:pt x="904" y="1132"/>
                  </a:cubicBezTo>
                  <a:cubicBezTo>
                    <a:pt x="905" y="1134"/>
                    <a:pt x="907" y="1137"/>
                    <a:pt x="908" y="1139"/>
                  </a:cubicBezTo>
                  <a:close/>
                  <a:moveTo>
                    <a:pt x="900" y="1142"/>
                  </a:moveTo>
                  <a:cubicBezTo>
                    <a:pt x="899" y="1137"/>
                    <a:pt x="894" y="1131"/>
                    <a:pt x="889" y="1133"/>
                  </a:cubicBezTo>
                  <a:cubicBezTo>
                    <a:pt x="886" y="1134"/>
                    <a:pt x="885" y="1143"/>
                    <a:pt x="883" y="1142"/>
                  </a:cubicBezTo>
                  <a:cubicBezTo>
                    <a:pt x="880" y="1140"/>
                    <a:pt x="880" y="1127"/>
                    <a:pt x="879" y="1125"/>
                  </a:cubicBezTo>
                  <a:cubicBezTo>
                    <a:pt x="879" y="1125"/>
                    <a:pt x="879" y="1125"/>
                    <a:pt x="879" y="1125"/>
                  </a:cubicBezTo>
                  <a:cubicBezTo>
                    <a:pt x="876" y="1122"/>
                    <a:pt x="878" y="1121"/>
                    <a:pt x="873" y="1123"/>
                  </a:cubicBezTo>
                  <a:cubicBezTo>
                    <a:pt x="864" y="1129"/>
                    <a:pt x="868" y="1133"/>
                    <a:pt x="873" y="1139"/>
                  </a:cubicBezTo>
                  <a:cubicBezTo>
                    <a:pt x="873" y="1140"/>
                    <a:pt x="861" y="1136"/>
                    <a:pt x="863" y="1140"/>
                  </a:cubicBezTo>
                  <a:cubicBezTo>
                    <a:pt x="865" y="1144"/>
                    <a:pt x="870" y="1146"/>
                    <a:pt x="875" y="1145"/>
                  </a:cubicBezTo>
                  <a:cubicBezTo>
                    <a:pt x="880" y="1144"/>
                    <a:pt x="893" y="1150"/>
                    <a:pt x="892" y="1140"/>
                  </a:cubicBezTo>
                  <a:cubicBezTo>
                    <a:pt x="892" y="1134"/>
                    <a:pt x="901" y="1146"/>
                    <a:pt x="900" y="1142"/>
                  </a:cubicBezTo>
                  <a:close/>
                  <a:moveTo>
                    <a:pt x="818" y="1143"/>
                  </a:moveTo>
                  <a:cubicBezTo>
                    <a:pt x="817" y="1145"/>
                    <a:pt x="810" y="1144"/>
                    <a:pt x="810" y="1144"/>
                  </a:cubicBezTo>
                  <a:cubicBezTo>
                    <a:pt x="810" y="1152"/>
                    <a:pt x="851" y="1166"/>
                    <a:pt x="853" y="1164"/>
                  </a:cubicBezTo>
                  <a:cubicBezTo>
                    <a:pt x="858" y="1162"/>
                    <a:pt x="824" y="1139"/>
                    <a:pt x="824" y="1138"/>
                  </a:cubicBezTo>
                  <a:cubicBezTo>
                    <a:pt x="824" y="1137"/>
                    <a:pt x="820" y="1136"/>
                    <a:pt x="821" y="1135"/>
                  </a:cubicBezTo>
                  <a:cubicBezTo>
                    <a:pt x="821" y="1135"/>
                    <a:pt x="821" y="1132"/>
                    <a:pt x="822" y="1132"/>
                  </a:cubicBezTo>
                  <a:cubicBezTo>
                    <a:pt x="824" y="1130"/>
                    <a:pt x="825" y="1133"/>
                    <a:pt x="827" y="1130"/>
                  </a:cubicBezTo>
                  <a:cubicBezTo>
                    <a:pt x="829" y="1127"/>
                    <a:pt x="831" y="1127"/>
                    <a:pt x="832" y="1126"/>
                  </a:cubicBezTo>
                  <a:cubicBezTo>
                    <a:pt x="837" y="1120"/>
                    <a:pt x="828" y="1120"/>
                    <a:pt x="829" y="1112"/>
                  </a:cubicBezTo>
                  <a:cubicBezTo>
                    <a:pt x="830" y="1110"/>
                    <a:pt x="839" y="1117"/>
                    <a:pt x="840" y="1113"/>
                  </a:cubicBezTo>
                  <a:cubicBezTo>
                    <a:pt x="842" y="1105"/>
                    <a:pt x="830" y="1110"/>
                    <a:pt x="827" y="1109"/>
                  </a:cubicBezTo>
                  <a:cubicBezTo>
                    <a:pt x="826" y="1109"/>
                    <a:pt x="821" y="1105"/>
                    <a:pt x="822" y="1108"/>
                  </a:cubicBezTo>
                  <a:cubicBezTo>
                    <a:pt x="825" y="1122"/>
                    <a:pt x="816" y="1109"/>
                    <a:pt x="820" y="1105"/>
                  </a:cubicBezTo>
                  <a:cubicBezTo>
                    <a:pt x="823" y="1101"/>
                    <a:pt x="813" y="1102"/>
                    <a:pt x="818" y="1098"/>
                  </a:cubicBezTo>
                  <a:cubicBezTo>
                    <a:pt x="819" y="1096"/>
                    <a:pt x="823" y="1102"/>
                    <a:pt x="825" y="1097"/>
                  </a:cubicBezTo>
                  <a:cubicBezTo>
                    <a:pt x="826" y="1097"/>
                    <a:pt x="826" y="1097"/>
                    <a:pt x="826" y="1097"/>
                  </a:cubicBezTo>
                  <a:cubicBezTo>
                    <a:pt x="826" y="1095"/>
                    <a:pt x="822" y="1094"/>
                    <a:pt x="820" y="1095"/>
                  </a:cubicBezTo>
                  <a:cubicBezTo>
                    <a:pt x="805" y="1095"/>
                    <a:pt x="818" y="1107"/>
                    <a:pt x="813" y="1107"/>
                  </a:cubicBezTo>
                  <a:cubicBezTo>
                    <a:pt x="808" y="1107"/>
                    <a:pt x="798" y="1097"/>
                    <a:pt x="800" y="1102"/>
                  </a:cubicBezTo>
                  <a:cubicBezTo>
                    <a:pt x="802" y="1107"/>
                    <a:pt x="825" y="1117"/>
                    <a:pt x="825" y="1127"/>
                  </a:cubicBezTo>
                  <a:cubicBezTo>
                    <a:pt x="825" y="1128"/>
                    <a:pt x="819" y="1130"/>
                    <a:pt x="817" y="1130"/>
                  </a:cubicBezTo>
                  <a:cubicBezTo>
                    <a:pt x="804" y="1129"/>
                    <a:pt x="805" y="1117"/>
                    <a:pt x="796" y="1124"/>
                  </a:cubicBezTo>
                  <a:cubicBezTo>
                    <a:pt x="793" y="1127"/>
                    <a:pt x="804" y="1128"/>
                    <a:pt x="801" y="1133"/>
                  </a:cubicBezTo>
                  <a:cubicBezTo>
                    <a:pt x="799" y="1135"/>
                    <a:pt x="805" y="1139"/>
                    <a:pt x="808" y="1140"/>
                  </a:cubicBezTo>
                  <a:cubicBezTo>
                    <a:pt x="809" y="1141"/>
                    <a:pt x="819" y="1137"/>
                    <a:pt x="818" y="1143"/>
                  </a:cubicBezTo>
                  <a:close/>
                  <a:moveTo>
                    <a:pt x="778" y="1081"/>
                  </a:moveTo>
                  <a:cubicBezTo>
                    <a:pt x="786" y="1086"/>
                    <a:pt x="800" y="1080"/>
                    <a:pt x="799" y="1071"/>
                  </a:cubicBezTo>
                  <a:cubicBezTo>
                    <a:pt x="799" y="1071"/>
                    <a:pt x="792" y="1068"/>
                    <a:pt x="795" y="1067"/>
                  </a:cubicBezTo>
                  <a:cubicBezTo>
                    <a:pt x="796" y="1066"/>
                    <a:pt x="799" y="1065"/>
                    <a:pt x="795" y="1065"/>
                  </a:cubicBezTo>
                  <a:cubicBezTo>
                    <a:pt x="778" y="1062"/>
                    <a:pt x="798" y="1068"/>
                    <a:pt x="790" y="1070"/>
                  </a:cubicBezTo>
                  <a:cubicBezTo>
                    <a:pt x="787" y="1071"/>
                    <a:pt x="778" y="1060"/>
                    <a:pt x="771" y="1056"/>
                  </a:cubicBezTo>
                  <a:cubicBezTo>
                    <a:pt x="767" y="1054"/>
                    <a:pt x="745" y="1029"/>
                    <a:pt x="742" y="1031"/>
                  </a:cubicBezTo>
                  <a:cubicBezTo>
                    <a:pt x="741" y="1032"/>
                    <a:pt x="748" y="1038"/>
                    <a:pt x="749" y="1039"/>
                  </a:cubicBezTo>
                  <a:cubicBezTo>
                    <a:pt x="758" y="1045"/>
                    <a:pt x="757" y="1054"/>
                    <a:pt x="763" y="1061"/>
                  </a:cubicBezTo>
                  <a:cubicBezTo>
                    <a:pt x="764" y="1062"/>
                    <a:pt x="764" y="1062"/>
                    <a:pt x="764" y="1062"/>
                  </a:cubicBezTo>
                  <a:cubicBezTo>
                    <a:pt x="763" y="1064"/>
                    <a:pt x="771" y="1064"/>
                    <a:pt x="774" y="1063"/>
                  </a:cubicBezTo>
                  <a:cubicBezTo>
                    <a:pt x="778" y="1063"/>
                    <a:pt x="784" y="1071"/>
                    <a:pt x="787" y="1074"/>
                  </a:cubicBezTo>
                  <a:cubicBezTo>
                    <a:pt x="790" y="1076"/>
                    <a:pt x="775" y="1079"/>
                    <a:pt x="778" y="1081"/>
                  </a:cubicBezTo>
                  <a:close/>
                  <a:moveTo>
                    <a:pt x="737" y="919"/>
                  </a:moveTo>
                  <a:cubicBezTo>
                    <a:pt x="742" y="921"/>
                    <a:pt x="761" y="928"/>
                    <a:pt x="766" y="929"/>
                  </a:cubicBezTo>
                  <a:cubicBezTo>
                    <a:pt x="768" y="929"/>
                    <a:pt x="779" y="926"/>
                    <a:pt x="779" y="926"/>
                  </a:cubicBezTo>
                  <a:cubicBezTo>
                    <a:pt x="772" y="919"/>
                    <a:pt x="763" y="922"/>
                    <a:pt x="752" y="916"/>
                  </a:cubicBezTo>
                  <a:cubicBezTo>
                    <a:pt x="749" y="914"/>
                    <a:pt x="751" y="905"/>
                    <a:pt x="749" y="905"/>
                  </a:cubicBezTo>
                  <a:cubicBezTo>
                    <a:pt x="741" y="904"/>
                    <a:pt x="736" y="917"/>
                    <a:pt x="728" y="903"/>
                  </a:cubicBezTo>
                  <a:cubicBezTo>
                    <a:pt x="727" y="901"/>
                    <a:pt x="733" y="900"/>
                    <a:pt x="735" y="899"/>
                  </a:cubicBezTo>
                  <a:cubicBezTo>
                    <a:pt x="742" y="896"/>
                    <a:pt x="756" y="902"/>
                    <a:pt x="759" y="899"/>
                  </a:cubicBezTo>
                  <a:cubicBezTo>
                    <a:pt x="763" y="895"/>
                    <a:pt x="744" y="897"/>
                    <a:pt x="746" y="891"/>
                  </a:cubicBezTo>
                  <a:cubicBezTo>
                    <a:pt x="747" y="886"/>
                    <a:pt x="762" y="893"/>
                    <a:pt x="762" y="890"/>
                  </a:cubicBezTo>
                  <a:cubicBezTo>
                    <a:pt x="761" y="882"/>
                    <a:pt x="735" y="887"/>
                    <a:pt x="733" y="887"/>
                  </a:cubicBezTo>
                  <a:cubicBezTo>
                    <a:pt x="730" y="887"/>
                    <a:pt x="728" y="881"/>
                    <a:pt x="723" y="883"/>
                  </a:cubicBezTo>
                  <a:cubicBezTo>
                    <a:pt x="719" y="885"/>
                    <a:pt x="725" y="891"/>
                    <a:pt x="712" y="894"/>
                  </a:cubicBezTo>
                  <a:cubicBezTo>
                    <a:pt x="709" y="894"/>
                    <a:pt x="709" y="901"/>
                    <a:pt x="705" y="899"/>
                  </a:cubicBezTo>
                  <a:cubicBezTo>
                    <a:pt x="704" y="899"/>
                    <a:pt x="688" y="887"/>
                    <a:pt x="686" y="883"/>
                  </a:cubicBezTo>
                  <a:cubicBezTo>
                    <a:pt x="683" y="876"/>
                    <a:pt x="698" y="883"/>
                    <a:pt x="688" y="873"/>
                  </a:cubicBezTo>
                  <a:cubicBezTo>
                    <a:pt x="686" y="870"/>
                    <a:pt x="696" y="867"/>
                    <a:pt x="693" y="866"/>
                  </a:cubicBezTo>
                  <a:cubicBezTo>
                    <a:pt x="685" y="861"/>
                    <a:pt x="673" y="870"/>
                    <a:pt x="671" y="870"/>
                  </a:cubicBezTo>
                  <a:cubicBezTo>
                    <a:pt x="671" y="870"/>
                    <a:pt x="640" y="857"/>
                    <a:pt x="656" y="868"/>
                  </a:cubicBezTo>
                  <a:cubicBezTo>
                    <a:pt x="661" y="871"/>
                    <a:pt x="646" y="875"/>
                    <a:pt x="659" y="881"/>
                  </a:cubicBezTo>
                  <a:cubicBezTo>
                    <a:pt x="671" y="886"/>
                    <a:pt x="648" y="879"/>
                    <a:pt x="648" y="882"/>
                  </a:cubicBezTo>
                  <a:cubicBezTo>
                    <a:pt x="647" y="891"/>
                    <a:pt x="657" y="891"/>
                    <a:pt x="662" y="894"/>
                  </a:cubicBezTo>
                  <a:cubicBezTo>
                    <a:pt x="667" y="897"/>
                    <a:pt x="666" y="907"/>
                    <a:pt x="667" y="910"/>
                  </a:cubicBezTo>
                  <a:cubicBezTo>
                    <a:pt x="667" y="910"/>
                    <a:pt x="667" y="910"/>
                    <a:pt x="667" y="910"/>
                  </a:cubicBezTo>
                  <a:cubicBezTo>
                    <a:pt x="672" y="924"/>
                    <a:pt x="683" y="911"/>
                    <a:pt x="689" y="913"/>
                  </a:cubicBezTo>
                  <a:cubicBezTo>
                    <a:pt x="692" y="914"/>
                    <a:pt x="685" y="918"/>
                    <a:pt x="685" y="921"/>
                  </a:cubicBezTo>
                  <a:cubicBezTo>
                    <a:pt x="686" y="923"/>
                    <a:pt x="693" y="926"/>
                    <a:pt x="695" y="927"/>
                  </a:cubicBezTo>
                  <a:cubicBezTo>
                    <a:pt x="696" y="927"/>
                    <a:pt x="695" y="929"/>
                    <a:pt x="697" y="929"/>
                  </a:cubicBezTo>
                  <a:cubicBezTo>
                    <a:pt x="702" y="927"/>
                    <a:pt x="697" y="925"/>
                    <a:pt x="696" y="922"/>
                  </a:cubicBezTo>
                  <a:cubicBezTo>
                    <a:pt x="691" y="906"/>
                    <a:pt x="717" y="917"/>
                    <a:pt x="712" y="904"/>
                  </a:cubicBezTo>
                  <a:cubicBezTo>
                    <a:pt x="712" y="903"/>
                    <a:pt x="720" y="901"/>
                    <a:pt x="720" y="901"/>
                  </a:cubicBezTo>
                  <a:cubicBezTo>
                    <a:pt x="722" y="901"/>
                    <a:pt x="731" y="916"/>
                    <a:pt x="743" y="914"/>
                  </a:cubicBezTo>
                  <a:cubicBezTo>
                    <a:pt x="753" y="912"/>
                    <a:pt x="737" y="919"/>
                    <a:pt x="737" y="919"/>
                  </a:cubicBezTo>
                  <a:close/>
                  <a:moveTo>
                    <a:pt x="640" y="1069"/>
                  </a:moveTo>
                  <a:cubicBezTo>
                    <a:pt x="641" y="1064"/>
                    <a:pt x="649" y="1066"/>
                    <a:pt x="651" y="1064"/>
                  </a:cubicBezTo>
                  <a:cubicBezTo>
                    <a:pt x="651" y="1064"/>
                    <a:pt x="645" y="1056"/>
                    <a:pt x="648" y="1055"/>
                  </a:cubicBezTo>
                  <a:cubicBezTo>
                    <a:pt x="653" y="1052"/>
                    <a:pt x="643" y="1054"/>
                    <a:pt x="642" y="1053"/>
                  </a:cubicBezTo>
                  <a:cubicBezTo>
                    <a:pt x="634" y="1048"/>
                    <a:pt x="656" y="1046"/>
                    <a:pt x="636" y="1046"/>
                  </a:cubicBezTo>
                  <a:cubicBezTo>
                    <a:pt x="631" y="1046"/>
                    <a:pt x="630" y="1036"/>
                    <a:pt x="626" y="1037"/>
                  </a:cubicBezTo>
                  <a:cubicBezTo>
                    <a:pt x="606" y="1041"/>
                    <a:pt x="631" y="1054"/>
                    <a:pt x="636" y="1060"/>
                  </a:cubicBezTo>
                  <a:cubicBezTo>
                    <a:pt x="638" y="1062"/>
                    <a:pt x="639" y="1064"/>
                    <a:pt x="637" y="1065"/>
                  </a:cubicBezTo>
                  <a:cubicBezTo>
                    <a:pt x="637" y="1066"/>
                    <a:pt x="619" y="1069"/>
                    <a:pt x="612" y="1064"/>
                  </a:cubicBezTo>
                  <a:cubicBezTo>
                    <a:pt x="611" y="1063"/>
                    <a:pt x="606" y="1047"/>
                    <a:pt x="600" y="1053"/>
                  </a:cubicBezTo>
                  <a:cubicBezTo>
                    <a:pt x="596" y="1056"/>
                    <a:pt x="619" y="1072"/>
                    <a:pt x="620" y="1074"/>
                  </a:cubicBezTo>
                  <a:cubicBezTo>
                    <a:pt x="631" y="1086"/>
                    <a:pt x="616" y="1090"/>
                    <a:pt x="634" y="1099"/>
                  </a:cubicBezTo>
                  <a:cubicBezTo>
                    <a:pt x="635" y="1100"/>
                    <a:pt x="635" y="1100"/>
                    <a:pt x="635" y="1100"/>
                  </a:cubicBezTo>
                  <a:cubicBezTo>
                    <a:pt x="653" y="1103"/>
                    <a:pt x="628" y="1086"/>
                    <a:pt x="630" y="1081"/>
                  </a:cubicBezTo>
                  <a:cubicBezTo>
                    <a:pt x="631" y="1078"/>
                    <a:pt x="636" y="1082"/>
                    <a:pt x="639" y="1079"/>
                  </a:cubicBezTo>
                  <a:cubicBezTo>
                    <a:pt x="640" y="1078"/>
                    <a:pt x="639" y="1071"/>
                    <a:pt x="640" y="1069"/>
                  </a:cubicBezTo>
                  <a:close/>
                  <a:moveTo>
                    <a:pt x="663" y="613"/>
                  </a:moveTo>
                  <a:cubicBezTo>
                    <a:pt x="664" y="612"/>
                    <a:pt x="659" y="609"/>
                    <a:pt x="658" y="610"/>
                  </a:cubicBezTo>
                  <a:cubicBezTo>
                    <a:pt x="648" y="613"/>
                    <a:pt x="660" y="618"/>
                    <a:pt x="661" y="620"/>
                  </a:cubicBezTo>
                  <a:cubicBezTo>
                    <a:pt x="670" y="631"/>
                    <a:pt x="657" y="625"/>
                    <a:pt x="660" y="634"/>
                  </a:cubicBezTo>
                  <a:cubicBezTo>
                    <a:pt x="661" y="636"/>
                    <a:pt x="670" y="631"/>
                    <a:pt x="668" y="629"/>
                  </a:cubicBezTo>
                  <a:cubicBezTo>
                    <a:pt x="667" y="629"/>
                    <a:pt x="667" y="628"/>
                    <a:pt x="668" y="627"/>
                  </a:cubicBezTo>
                  <a:cubicBezTo>
                    <a:pt x="685" y="620"/>
                    <a:pt x="680" y="643"/>
                    <a:pt x="681" y="645"/>
                  </a:cubicBezTo>
                  <a:cubicBezTo>
                    <a:pt x="681" y="646"/>
                    <a:pt x="681" y="646"/>
                    <a:pt x="681" y="646"/>
                  </a:cubicBezTo>
                  <a:cubicBezTo>
                    <a:pt x="687" y="647"/>
                    <a:pt x="695" y="650"/>
                    <a:pt x="690" y="644"/>
                  </a:cubicBezTo>
                  <a:cubicBezTo>
                    <a:pt x="688" y="640"/>
                    <a:pt x="699" y="632"/>
                    <a:pt x="691" y="627"/>
                  </a:cubicBezTo>
                  <a:cubicBezTo>
                    <a:pt x="689" y="626"/>
                    <a:pt x="658" y="620"/>
                    <a:pt x="663" y="613"/>
                  </a:cubicBezTo>
                  <a:close/>
                  <a:moveTo>
                    <a:pt x="700" y="562"/>
                  </a:moveTo>
                  <a:cubicBezTo>
                    <a:pt x="700" y="562"/>
                    <a:pt x="682" y="557"/>
                    <a:pt x="691" y="562"/>
                  </a:cubicBezTo>
                  <a:cubicBezTo>
                    <a:pt x="692" y="563"/>
                    <a:pt x="694" y="563"/>
                    <a:pt x="695" y="564"/>
                  </a:cubicBezTo>
                  <a:cubicBezTo>
                    <a:pt x="695" y="564"/>
                    <a:pt x="695" y="564"/>
                    <a:pt x="695" y="564"/>
                  </a:cubicBezTo>
                  <a:cubicBezTo>
                    <a:pt x="716" y="574"/>
                    <a:pt x="701" y="556"/>
                    <a:pt x="717" y="549"/>
                  </a:cubicBezTo>
                  <a:cubicBezTo>
                    <a:pt x="725" y="546"/>
                    <a:pt x="738" y="560"/>
                    <a:pt x="746" y="561"/>
                  </a:cubicBezTo>
                  <a:cubicBezTo>
                    <a:pt x="748" y="561"/>
                    <a:pt x="743" y="553"/>
                    <a:pt x="752" y="552"/>
                  </a:cubicBezTo>
                  <a:cubicBezTo>
                    <a:pt x="757" y="552"/>
                    <a:pt x="759" y="548"/>
                    <a:pt x="758" y="543"/>
                  </a:cubicBezTo>
                  <a:cubicBezTo>
                    <a:pt x="757" y="540"/>
                    <a:pt x="751" y="551"/>
                    <a:pt x="751" y="551"/>
                  </a:cubicBezTo>
                  <a:cubicBezTo>
                    <a:pt x="742" y="552"/>
                    <a:pt x="737" y="555"/>
                    <a:pt x="726" y="547"/>
                  </a:cubicBezTo>
                  <a:cubicBezTo>
                    <a:pt x="723" y="545"/>
                    <a:pt x="735" y="543"/>
                    <a:pt x="733" y="540"/>
                  </a:cubicBezTo>
                  <a:cubicBezTo>
                    <a:pt x="730" y="536"/>
                    <a:pt x="713" y="530"/>
                    <a:pt x="713" y="530"/>
                  </a:cubicBezTo>
                  <a:cubicBezTo>
                    <a:pt x="710" y="532"/>
                    <a:pt x="708" y="522"/>
                    <a:pt x="705" y="524"/>
                  </a:cubicBezTo>
                  <a:cubicBezTo>
                    <a:pt x="699" y="529"/>
                    <a:pt x="718" y="537"/>
                    <a:pt x="718" y="538"/>
                  </a:cubicBezTo>
                  <a:cubicBezTo>
                    <a:pt x="719" y="540"/>
                    <a:pt x="719" y="546"/>
                    <a:pt x="717" y="547"/>
                  </a:cubicBezTo>
                  <a:cubicBezTo>
                    <a:pt x="713" y="548"/>
                    <a:pt x="713" y="544"/>
                    <a:pt x="712" y="542"/>
                  </a:cubicBezTo>
                  <a:cubicBezTo>
                    <a:pt x="712" y="540"/>
                    <a:pt x="702" y="547"/>
                    <a:pt x="700" y="554"/>
                  </a:cubicBezTo>
                  <a:cubicBezTo>
                    <a:pt x="699" y="557"/>
                    <a:pt x="703" y="561"/>
                    <a:pt x="700" y="562"/>
                  </a:cubicBezTo>
                  <a:close/>
                  <a:moveTo>
                    <a:pt x="765" y="592"/>
                  </a:moveTo>
                  <a:cubicBezTo>
                    <a:pt x="760" y="596"/>
                    <a:pt x="740" y="575"/>
                    <a:pt x="737" y="585"/>
                  </a:cubicBezTo>
                  <a:cubicBezTo>
                    <a:pt x="736" y="589"/>
                    <a:pt x="745" y="591"/>
                    <a:pt x="748" y="590"/>
                  </a:cubicBezTo>
                  <a:cubicBezTo>
                    <a:pt x="751" y="590"/>
                    <a:pt x="755" y="593"/>
                    <a:pt x="759" y="594"/>
                  </a:cubicBezTo>
                  <a:cubicBezTo>
                    <a:pt x="773" y="596"/>
                    <a:pt x="754" y="599"/>
                    <a:pt x="751" y="601"/>
                  </a:cubicBezTo>
                  <a:cubicBezTo>
                    <a:pt x="750" y="601"/>
                    <a:pt x="750" y="602"/>
                    <a:pt x="749" y="602"/>
                  </a:cubicBezTo>
                  <a:cubicBezTo>
                    <a:pt x="748" y="603"/>
                    <a:pt x="748" y="603"/>
                    <a:pt x="748" y="603"/>
                  </a:cubicBezTo>
                  <a:cubicBezTo>
                    <a:pt x="747" y="604"/>
                    <a:pt x="748" y="604"/>
                    <a:pt x="750" y="604"/>
                  </a:cubicBezTo>
                  <a:cubicBezTo>
                    <a:pt x="751" y="605"/>
                    <a:pt x="771" y="613"/>
                    <a:pt x="773" y="611"/>
                  </a:cubicBezTo>
                  <a:cubicBezTo>
                    <a:pt x="787" y="605"/>
                    <a:pt x="764" y="605"/>
                    <a:pt x="766" y="602"/>
                  </a:cubicBezTo>
                  <a:cubicBezTo>
                    <a:pt x="767" y="600"/>
                    <a:pt x="779" y="600"/>
                    <a:pt x="771" y="597"/>
                  </a:cubicBezTo>
                  <a:cubicBezTo>
                    <a:pt x="770" y="597"/>
                    <a:pt x="766" y="597"/>
                    <a:pt x="766" y="596"/>
                  </a:cubicBezTo>
                  <a:cubicBezTo>
                    <a:pt x="766" y="591"/>
                    <a:pt x="784" y="596"/>
                    <a:pt x="780" y="594"/>
                  </a:cubicBezTo>
                  <a:cubicBezTo>
                    <a:pt x="779" y="593"/>
                    <a:pt x="777" y="591"/>
                    <a:pt x="776" y="590"/>
                  </a:cubicBezTo>
                  <a:cubicBezTo>
                    <a:pt x="775" y="587"/>
                    <a:pt x="769" y="577"/>
                    <a:pt x="767" y="583"/>
                  </a:cubicBezTo>
                  <a:cubicBezTo>
                    <a:pt x="766" y="586"/>
                    <a:pt x="759" y="582"/>
                    <a:pt x="759" y="584"/>
                  </a:cubicBezTo>
                  <a:cubicBezTo>
                    <a:pt x="758" y="585"/>
                    <a:pt x="768" y="590"/>
                    <a:pt x="765" y="592"/>
                  </a:cubicBezTo>
                  <a:close/>
                  <a:moveTo>
                    <a:pt x="741" y="759"/>
                  </a:moveTo>
                  <a:cubicBezTo>
                    <a:pt x="741" y="759"/>
                    <a:pt x="741" y="759"/>
                    <a:pt x="741" y="759"/>
                  </a:cubicBezTo>
                  <a:cubicBezTo>
                    <a:pt x="741" y="759"/>
                    <a:pt x="741" y="759"/>
                    <a:pt x="741" y="759"/>
                  </a:cubicBezTo>
                  <a:cubicBezTo>
                    <a:pt x="741" y="759"/>
                    <a:pt x="741" y="759"/>
                    <a:pt x="741" y="759"/>
                  </a:cubicBezTo>
                  <a:cubicBezTo>
                    <a:pt x="742" y="760"/>
                    <a:pt x="759" y="749"/>
                    <a:pt x="759" y="746"/>
                  </a:cubicBezTo>
                  <a:cubicBezTo>
                    <a:pt x="760" y="745"/>
                    <a:pt x="753" y="745"/>
                    <a:pt x="752" y="745"/>
                  </a:cubicBezTo>
                  <a:cubicBezTo>
                    <a:pt x="744" y="749"/>
                    <a:pt x="745" y="752"/>
                    <a:pt x="741" y="759"/>
                  </a:cubicBezTo>
                  <a:close/>
                  <a:moveTo>
                    <a:pt x="696" y="760"/>
                  </a:moveTo>
                  <a:cubicBezTo>
                    <a:pt x="696" y="760"/>
                    <a:pt x="696" y="760"/>
                    <a:pt x="696" y="760"/>
                  </a:cubicBezTo>
                  <a:cubicBezTo>
                    <a:pt x="697" y="757"/>
                    <a:pt x="702" y="740"/>
                    <a:pt x="689" y="744"/>
                  </a:cubicBezTo>
                  <a:cubicBezTo>
                    <a:pt x="688" y="744"/>
                    <a:pt x="693" y="755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ubicBezTo>
                    <a:pt x="696" y="760"/>
                    <a:pt x="696" y="760"/>
                    <a:pt x="696" y="760"/>
                  </a:cubicBezTo>
                  <a:close/>
                  <a:moveTo>
                    <a:pt x="784" y="924"/>
                  </a:moveTo>
                  <a:cubicBezTo>
                    <a:pt x="785" y="926"/>
                    <a:pt x="792" y="943"/>
                    <a:pt x="793" y="945"/>
                  </a:cubicBezTo>
                  <a:cubicBezTo>
                    <a:pt x="793" y="945"/>
                    <a:pt x="793" y="945"/>
                    <a:pt x="793" y="945"/>
                  </a:cubicBezTo>
                  <a:cubicBezTo>
                    <a:pt x="795" y="949"/>
                    <a:pt x="792" y="935"/>
                    <a:pt x="796" y="933"/>
                  </a:cubicBezTo>
                  <a:cubicBezTo>
                    <a:pt x="797" y="932"/>
                    <a:pt x="798" y="933"/>
                    <a:pt x="799" y="933"/>
                  </a:cubicBezTo>
                  <a:cubicBezTo>
                    <a:pt x="808" y="942"/>
                    <a:pt x="805" y="931"/>
                    <a:pt x="796" y="930"/>
                  </a:cubicBezTo>
                  <a:cubicBezTo>
                    <a:pt x="791" y="929"/>
                    <a:pt x="794" y="926"/>
                    <a:pt x="796" y="924"/>
                  </a:cubicBezTo>
                  <a:cubicBezTo>
                    <a:pt x="796" y="923"/>
                    <a:pt x="795" y="921"/>
                    <a:pt x="796" y="921"/>
                  </a:cubicBezTo>
                  <a:cubicBezTo>
                    <a:pt x="797" y="920"/>
                    <a:pt x="802" y="925"/>
                    <a:pt x="803" y="926"/>
                  </a:cubicBezTo>
                  <a:cubicBezTo>
                    <a:pt x="804" y="926"/>
                    <a:pt x="808" y="927"/>
                    <a:pt x="809" y="929"/>
                  </a:cubicBezTo>
                  <a:cubicBezTo>
                    <a:pt x="810" y="931"/>
                    <a:pt x="804" y="930"/>
                    <a:pt x="805" y="932"/>
                  </a:cubicBezTo>
                  <a:cubicBezTo>
                    <a:pt x="814" y="941"/>
                    <a:pt x="843" y="932"/>
                    <a:pt x="852" y="931"/>
                  </a:cubicBezTo>
                  <a:cubicBezTo>
                    <a:pt x="857" y="931"/>
                    <a:pt x="856" y="940"/>
                    <a:pt x="864" y="940"/>
                  </a:cubicBezTo>
                  <a:cubicBezTo>
                    <a:pt x="865" y="940"/>
                    <a:pt x="865" y="940"/>
                    <a:pt x="865" y="940"/>
                  </a:cubicBezTo>
                  <a:cubicBezTo>
                    <a:pt x="869" y="938"/>
                    <a:pt x="857" y="935"/>
                    <a:pt x="860" y="934"/>
                  </a:cubicBezTo>
                  <a:cubicBezTo>
                    <a:pt x="866" y="930"/>
                    <a:pt x="875" y="928"/>
                    <a:pt x="881" y="929"/>
                  </a:cubicBezTo>
                  <a:cubicBezTo>
                    <a:pt x="882" y="929"/>
                    <a:pt x="889" y="933"/>
                    <a:pt x="889" y="932"/>
                  </a:cubicBezTo>
                  <a:cubicBezTo>
                    <a:pt x="888" y="928"/>
                    <a:pt x="865" y="918"/>
                    <a:pt x="862" y="918"/>
                  </a:cubicBezTo>
                  <a:cubicBezTo>
                    <a:pt x="855" y="919"/>
                    <a:pt x="830" y="942"/>
                    <a:pt x="817" y="929"/>
                  </a:cubicBezTo>
                  <a:cubicBezTo>
                    <a:pt x="815" y="928"/>
                    <a:pt x="808" y="925"/>
                    <a:pt x="811" y="925"/>
                  </a:cubicBezTo>
                  <a:cubicBezTo>
                    <a:pt x="821" y="923"/>
                    <a:pt x="780" y="916"/>
                    <a:pt x="791" y="924"/>
                  </a:cubicBezTo>
                  <a:cubicBezTo>
                    <a:pt x="795" y="927"/>
                    <a:pt x="783" y="923"/>
                    <a:pt x="784" y="924"/>
                  </a:cubicBezTo>
                  <a:close/>
                  <a:moveTo>
                    <a:pt x="795" y="677"/>
                  </a:moveTo>
                  <a:cubicBezTo>
                    <a:pt x="796" y="678"/>
                    <a:pt x="808" y="681"/>
                    <a:pt x="808" y="680"/>
                  </a:cubicBezTo>
                  <a:cubicBezTo>
                    <a:pt x="807" y="670"/>
                    <a:pt x="795" y="656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ubicBezTo>
                    <a:pt x="795" y="677"/>
                    <a:pt x="795" y="677"/>
                    <a:pt x="795" y="677"/>
                  </a:cubicBezTo>
                  <a:close/>
                  <a:moveTo>
                    <a:pt x="873" y="689"/>
                  </a:moveTo>
                  <a:cubicBezTo>
                    <a:pt x="863" y="680"/>
                    <a:pt x="857" y="702"/>
                    <a:pt x="850" y="707"/>
                  </a:cubicBezTo>
                  <a:cubicBezTo>
                    <a:pt x="849" y="707"/>
                    <a:pt x="849" y="707"/>
                    <a:pt x="849" y="707"/>
                  </a:cubicBezTo>
                  <a:cubicBezTo>
                    <a:pt x="824" y="711"/>
                    <a:pt x="870" y="709"/>
                    <a:pt x="871" y="702"/>
                  </a:cubicBezTo>
                  <a:cubicBezTo>
                    <a:pt x="872" y="702"/>
                    <a:pt x="864" y="698"/>
                    <a:pt x="864" y="697"/>
                  </a:cubicBezTo>
                  <a:cubicBezTo>
                    <a:pt x="861" y="691"/>
                    <a:pt x="878" y="693"/>
                    <a:pt x="873" y="689"/>
                  </a:cubicBezTo>
                  <a:close/>
                  <a:moveTo>
                    <a:pt x="837" y="810"/>
                  </a:moveTo>
                  <a:cubicBezTo>
                    <a:pt x="838" y="811"/>
                    <a:pt x="838" y="811"/>
                    <a:pt x="838" y="811"/>
                  </a:cubicBezTo>
                  <a:cubicBezTo>
                    <a:pt x="848" y="811"/>
                    <a:pt x="887" y="829"/>
                    <a:pt x="858" y="816"/>
                  </a:cubicBezTo>
                  <a:cubicBezTo>
                    <a:pt x="856" y="815"/>
                    <a:pt x="854" y="813"/>
                    <a:pt x="855" y="810"/>
                  </a:cubicBezTo>
                  <a:cubicBezTo>
                    <a:pt x="857" y="804"/>
                    <a:pt x="859" y="812"/>
                    <a:pt x="862" y="808"/>
                  </a:cubicBezTo>
                  <a:cubicBezTo>
                    <a:pt x="864" y="807"/>
                    <a:pt x="859" y="807"/>
                    <a:pt x="859" y="807"/>
                  </a:cubicBezTo>
                  <a:cubicBezTo>
                    <a:pt x="858" y="806"/>
                    <a:pt x="858" y="802"/>
                    <a:pt x="861" y="792"/>
                  </a:cubicBezTo>
                  <a:cubicBezTo>
                    <a:pt x="861" y="791"/>
                    <a:pt x="863" y="791"/>
                    <a:pt x="864" y="791"/>
                  </a:cubicBezTo>
                  <a:cubicBezTo>
                    <a:pt x="865" y="791"/>
                    <a:pt x="872" y="792"/>
                    <a:pt x="871" y="791"/>
                  </a:cubicBezTo>
                  <a:cubicBezTo>
                    <a:pt x="871" y="790"/>
                    <a:pt x="866" y="790"/>
                    <a:pt x="867" y="788"/>
                  </a:cubicBezTo>
                  <a:cubicBezTo>
                    <a:pt x="868" y="784"/>
                    <a:pt x="878" y="786"/>
                    <a:pt x="881" y="784"/>
                  </a:cubicBezTo>
                  <a:cubicBezTo>
                    <a:pt x="885" y="782"/>
                    <a:pt x="880" y="774"/>
                    <a:pt x="886" y="769"/>
                  </a:cubicBezTo>
                  <a:cubicBezTo>
                    <a:pt x="888" y="767"/>
                    <a:pt x="899" y="764"/>
                    <a:pt x="898" y="764"/>
                  </a:cubicBezTo>
                  <a:cubicBezTo>
                    <a:pt x="880" y="755"/>
                    <a:pt x="883" y="782"/>
                    <a:pt x="873" y="783"/>
                  </a:cubicBezTo>
                  <a:cubicBezTo>
                    <a:pt x="854" y="786"/>
                    <a:pt x="866" y="763"/>
                    <a:pt x="865" y="763"/>
                  </a:cubicBezTo>
                  <a:cubicBezTo>
                    <a:pt x="848" y="763"/>
                    <a:pt x="861" y="798"/>
                    <a:pt x="854" y="804"/>
                  </a:cubicBezTo>
                  <a:cubicBezTo>
                    <a:pt x="843" y="814"/>
                    <a:pt x="834" y="800"/>
                    <a:pt x="837" y="810"/>
                  </a:cubicBezTo>
                  <a:close/>
                  <a:moveTo>
                    <a:pt x="877" y="828"/>
                  </a:moveTo>
                  <a:cubicBezTo>
                    <a:pt x="877" y="828"/>
                    <a:pt x="865" y="825"/>
                    <a:pt x="865" y="828"/>
                  </a:cubicBezTo>
                  <a:cubicBezTo>
                    <a:pt x="866" y="830"/>
                    <a:pt x="898" y="842"/>
                    <a:pt x="903" y="846"/>
                  </a:cubicBezTo>
                  <a:cubicBezTo>
                    <a:pt x="903" y="846"/>
                    <a:pt x="903" y="846"/>
                    <a:pt x="903" y="846"/>
                  </a:cubicBezTo>
                  <a:cubicBezTo>
                    <a:pt x="916" y="843"/>
                    <a:pt x="888" y="830"/>
                    <a:pt x="877" y="828"/>
                  </a:cubicBezTo>
                  <a:close/>
                  <a:moveTo>
                    <a:pt x="867" y="645"/>
                  </a:moveTo>
                  <a:cubicBezTo>
                    <a:pt x="865" y="645"/>
                    <a:pt x="865" y="645"/>
                    <a:pt x="865" y="645"/>
                  </a:cubicBezTo>
                  <a:cubicBezTo>
                    <a:pt x="860" y="645"/>
                    <a:pt x="871" y="650"/>
                    <a:pt x="868" y="651"/>
                  </a:cubicBezTo>
                  <a:cubicBezTo>
                    <a:pt x="856" y="654"/>
                    <a:pt x="894" y="663"/>
                    <a:pt x="904" y="659"/>
                  </a:cubicBezTo>
                  <a:cubicBezTo>
                    <a:pt x="909" y="657"/>
                    <a:pt x="888" y="653"/>
                    <a:pt x="899" y="654"/>
                  </a:cubicBezTo>
                  <a:cubicBezTo>
                    <a:pt x="906" y="655"/>
                    <a:pt x="919" y="653"/>
                    <a:pt x="924" y="657"/>
                  </a:cubicBezTo>
                  <a:cubicBezTo>
                    <a:pt x="928" y="659"/>
                    <a:pt x="941" y="662"/>
                    <a:pt x="938" y="659"/>
                  </a:cubicBezTo>
                  <a:cubicBezTo>
                    <a:pt x="932" y="655"/>
                    <a:pt x="920" y="652"/>
                    <a:pt x="914" y="650"/>
                  </a:cubicBezTo>
                  <a:cubicBezTo>
                    <a:pt x="911" y="649"/>
                    <a:pt x="906" y="648"/>
                    <a:pt x="904" y="646"/>
                  </a:cubicBezTo>
                  <a:cubicBezTo>
                    <a:pt x="904" y="645"/>
                    <a:pt x="912" y="647"/>
                    <a:pt x="913" y="647"/>
                  </a:cubicBezTo>
                  <a:cubicBezTo>
                    <a:pt x="920" y="648"/>
                    <a:pt x="900" y="642"/>
                    <a:pt x="917" y="644"/>
                  </a:cubicBezTo>
                  <a:cubicBezTo>
                    <a:pt x="918" y="644"/>
                    <a:pt x="922" y="645"/>
                    <a:pt x="922" y="643"/>
                  </a:cubicBezTo>
                  <a:cubicBezTo>
                    <a:pt x="914" y="624"/>
                    <a:pt x="890" y="656"/>
                    <a:pt x="889" y="656"/>
                  </a:cubicBezTo>
                  <a:cubicBezTo>
                    <a:pt x="883" y="657"/>
                    <a:pt x="876" y="649"/>
                    <a:pt x="867" y="645"/>
                  </a:cubicBezTo>
                  <a:close/>
                  <a:moveTo>
                    <a:pt x="776" y="633"/>
                  </a:moveTo>
                  <a:cubicBezTo>
                    <a:pt x="775" y="633"/>
                    <a:pt x="774" y="633"/>
                    <a:pt x="773" y="633"/>
                  </a:cubicBezTo>
                  <a:cubicBezTo>
                    <a:pt x="768" y="631"/>
                    <a:pt x="775" y="624"/>
                    <a:pt x="771" y="620"/>
                  </a:cubicBezTo>
                  <a:cubicBezTo>
                    <a:pt x="766" y="615"/>
                    <a:pt x="759" y="619"/>
                    <a:pt x="754" y="615"/>
                  </a:cubicBezTo>
                  <a:cubicBezTo>
                    <a:pt x="750" y="611"/>
                    <a:pt x="745" y="615"/>
                    <a:pt x="753" y="619"/>
                  </a:cubicBezTo>
                  <a:cubicBezTo>
                    <a:pt x="755" y="619"/>
                    <a:pt x="755" y="619"/>
                    <a:pt x="755" y="619"/>
                  </a:cubicBezTo>
                  <a:cubicBezTo>
                    <a:pt x="771" y="626"/>
                    <a:pt x="757" y="638"/>
                    <a:pt x="773" y="638"/>
                  </a:cubicBezTo>
                  <a:cubicBezTo>
                    <a:pt x="790" y="638"/>
                    <a:pt x="804" y="637"/>
                    <a:pt x="818" y="633"/>
                  </a:cubicBezTo>
                  <a:cubicBezTo>
                    <a:pt x="819" y="632"/>
                    <a:pt x="824" y="628"/>
                    <a:pt x="824" y="628"/>
                  </a:cubicBezTo>
                  <a:cubicBezTo>
                    <a:pt x="821" y="626"/>
                    <a:pt x="796" y="634"/>
                    <a:pt x="799" y="631"/>
                  </a:cubicBezTo>
                  <a:cubicBezTo>
                    <a:pt x="809" y="623"/>
                    <a:pt x="819" y="629"/>
                    <a:pt x="823" y="625"/>
                  </a:cubicBezTo>
                  <a:cubicBezTo>
                    <a:pt x="828" y="621"/>
                    <a:pt x="842" y="607"/>
                    <a:pt x="844" y="605"/>
                  </a:cubicBezTo>
                  <a:cubicBezTo>
                    <a:pt x="848" y="603"/>
                    <a:pt x="854" y="609"/>
                    <a:pt x="858" y="605"/>
                  </a:cubicBezTo>
                  <a:cubicBezTo>
                    <a:pt x="859" y="604"/>
                    <a:pt x="842" y="603"/>
                    <a:pt x="848" y="599"/>
                  </a:cubicBezTo>
                  <a:cubicBezTo>
                    <a:pt x="849" y="598"/>
                    <a:pt x="857" y="597"/>
                    <a:pt x="857" y="597"/>
                  </a:cubicBezTo>
                  <a:cubicBezTo>
                    <a:pt x="860" y="598"/>
                    <a:pt x="867" y="598"/>
                    <a:pt x="865" y="596"/>
                  </a:cubicBezTo>
                  <a:cubicBezTo>
                    <a:pt x="864" y="595"/>
                    <a:pt x="846" y="592"/>
                    <a:pt x="844" y="593"/>
                  </a:cubicBezTo>
                  <a:cubicBezTo>
                    <a:pt x="842" y="593"/>
                    <a:pt x="851" y="600"/>
                    <a:pt x="844" y="599"/>
                  </a:cubicBezTo>
                  <a:cubicBezTo>
                    <a:pt x="841" y="598"/>
                    <a:pt x="835" y="587"/>
                    <a:pt x="831" y="590"/>
                  </a:cubicBezTo>
                  <a:cubicBezTo>
                    <a:pt x="829" y="591"/>
                    <a:pt x="826" y="589"/>
                    <a:pt x="824" y="590"/>
                  </a:cubicBezTo>
                  <a:cubicBezTo>
                    <a:pt x="822" y="592"/>
                    <a:pt x="828" y="595"/>
                    <a:pt x="829" y="595"/>
                  </a:cubicBezTo>
                  <a:cubicBezTo>
                    <a:pt x="836" y="600"/>
                    <a:pt x="834" y="600"/>
                    <a:pt x="835" y="605"/>
                  </a:cubicBezTo>
                  <a:cubicBezTo>
                    <a:pt x="836" y="609"/>
                    <a:pt x="828" y="611"/>
                    <a:pt x="824" y="610"/>
                  </a:cubicBezTo>
                  <a:cubicBezTo>
                    <a:pt x="819" y="609"/>
                    <a:pt x="804" y="614"/>
                    <a:pt x="809" y="615"/>
                  </a:cubicBezTo>
                  <a:cubicBezTo>
                    <a:pt x="811" y="616"/>
                    <a:pt x="816" y="617"/>
                    <a:pt x="815" y="619"/>
                  </a:cubicBezTo>
                  <a:cubicBezTo>
                    <a:pt x="815" y="620"/>
                    <a:pt x="779" y="633"/>
                    <a:pt x="776" y="633"/>
                  </a:cubicBezTo>
                  <a:close/>
                  <a:moveTo>
                    <a:pt x="697" y="196"/>
                  </a:moveTo>
                  <a:cubicBezTo>
                    <a:pt x="698" y="191"/>
                    <a:pt x="688" y="183"/>
                    <a:pt x="704" y="195"/>
                  </a:cubicBezTo>
                  <a:cubicBezTo>
                    <a:pt x="705" y="196"/>
                    <a:pt x="707" y="198"/>
                    <a:pt x="709" y="199"/>
                  </a:cubicBezTo>
                  <a:cubicBezTo>
                    <a:pt x="708" y="201"/>
                    <a:pt x="712" y="204"/>
                    <a:pt x="713" y="205"/>
                  </a:cubicBezTo>
                  <a:cubicBezTo>
                    <a:pt x="716" y="206"/>
                    <a:pt x="713" y="202"/>
                    <a:pt x="709" y="199"/>
                  </a:cubicBezTo>
                  <a:cubicBezTo>
                    <a:pt x="709" y="199"/>
                    <a:pt x="709" y="199"/>
                    <a:pt x="709" y="198"/>
                  </a:cubicBezTo>
                  <a:cubicBezTo>
                    <a:pt x="710" y="198"/>
                    <a:pt x="713" y="195"/>
                    <a:pt x="714" y="197"/>
                  </a:cubicBezTo>
                  <a:cubicBezTo>
                    <a:pt x="717" y="200"/>
                    <a:pt x="723" y="203"/>
                    <a:pt x="722" y="207"/>
                  </a:cubicBezTo>
                  <a:cubicBezTo>
                    <a:pt x="721" y="210"/>
                    <a:pt x="694" y="209"/>
                    <a:pt x="690" y="218"/>
                  </a:cubicBezTo>
                  <a:cubicBezTo>
                    <a:pt x="689" y="219"/>
                    <a:pt x="695" y="219"/>
                    <a:pt x="696" y="220"/>
                  </a:cubicBezTo>
                  <a:cubicBezTo>
                    <a:pt x="707" y="224"/>
                    <a:pt x="694" y="216"/>
                    <a:pt x="701" y="214"/>
                  </a:cubicBezTo>
                  <a:cubicBezTo>
                    <a:pt x="702" y="214"/>
                    <a:pt x="710" y="216"/>
                    <a:pt x="710" y="215"/>
                  </a:cubicBezTo>
                  <a:cubicBezTo>
                    <a:pt x="711" y="212"/>
                    <a:pt x="730" y="214"/>
                    <a:pt x="731" y="216"/>
                  </a:cubicBezTo>
                  <a:cubicBezTo>
                    <a:pt x="733" y="218"/>
                    <a:pt x="727" y="221"/>
                    <a:pt x="727" y="222"/>
                  </a:cubicBezTo>
                  <a:cubicBezTo>
                    <a:pt x="729" y="225"/>
                    <a:pt x="735" y="219"/>
                    <a:pt x="734" y="216"/>
                  </a:cubicBezTo>
                  <a:cubicBezTo>
                    <a:pt x="730" y="205"/>
                    <a:pt x="745" y="197"/>
                    <a:pt x="752" y="207"/>
                  </a:cubicBezTo>
                  <a:cubicBezTo>
                    <a:pt x="755" y="211"/>
                    <a:pt x="738" y="217"/>
                    <a:pt x="738" y="219"/>
                  </a:cubicBezTo>
                  <a:cubicBezTo>
                    <a:pt x="738" y="220"/>
                    <a:pt x="769" y="208"/>
                    <a:pt x="770" y="204"/>
                  </a:cubicBezTo>
                  <a:cubicBezTo>
                    <a:pt x="771" y="202"/>
                    <a:pt x="763" y="198"/>
                    <a:pt x="761" y="199"/>
                  </a:cubicBezTo>
                  <a:cubicBezTo>
                    <a:pt x="760" y="200"/>
                    <a:pt x="763" y="201"/>
                    <a:pt x="763" y="201"/>
                  </a:cubicBezTo>
                  <a:cubicBezTo>
                    <a:pt x="768" y="204"/>
                    <a:pt x="761" y="207"/>
                    <a:pt x="757" y="205"/>
                  </a:cubicBezTo>
                  <a:cubicBezTo>
                    <a:pt x="752" y="202"/>
                    <a:pt x="747" y="194"/>
                    <a:pt x="749" y="192"/>
                  </a:cubicBezTo>
                  <a:cubicBezTo>
                    <a:pt x="758" y="186"/>
                    <a:pt x="787" y="209"/>
                    <a:pt x="795" y="197"/>
                  </a:cubicBezTo>
                  <a:cubicBezTo>
                    <a:pt x="796" y="195"/>
                    <a:pt x="792" y="196"/>
                    <a:pt x="791" y="196"/>
                  </a:cubicBezTo>
                  <a:cubicBezTo>
                    <a:pt x="785" y="196"/>
                    <a:pt x="795" y="194"/>
                    <a:pt x="797" y="193"/>
                  </a:cubicBezTo>
                  <a:cubicBezTo>
                    <a:pt x="799" y="191"/>
                    <a:pt x="777" y="198"/>
                    <a:pt x="788" y="190"/>
                  </a:cubicBezTo>
                  <a:cubicBezTo>
                    <a:pt x="792" y="188"/>
                    <a:pt x="790" y="185"/>
                    <a:pt x="786" y="185"/>
                  </a:cubicBezTo>
                  <a:cubicBezTo>
                    <a:pt x="783" y="185"/>
                    <a:pt x="766" y="181"/>
                    <a:pt x="767" y="177"/>
                  </a:cubicBezTo>
                  <a:cubicBezTo>
                    <a:pt x="771" y="163"/>
                    <a:pt x="774" y="172"/>
                    <a:pt x="782" y="170"/>
                  </a:cubicBezTo>
                  <a:cubicBezTo>
                    <a:pt x="783" y="170"/>
                    <a:pt x="781" y="159"/>
                    <a:pt x="785" y="159"/>
                  </a:cubicBezTo>
                  <a:cubicBezTo>
                    <a:pt x="788" y="159"/>
                    <a:pt x="799" y="170"/>
                    <a:pt x="802" y="168"/>
                  </a:cubicBezTo>
                  <a:cubicBezTo>
                    <a:pt x="806" y="165"/>
                    <a:pt x="807" y="154"/>
                    <a:pt x="803" y="155"/>
                  </a:cubicBezTo>
                  <a:cubicBezTo>
                    <a:pt x="802" y="156"/>
                    <a:pt x="797" y="161"/>
                    <a:pt x="796" y="159"/>
                  </a:cubicBezTo>
                  <a:cubicBezTo>
                    <a:pt x="789" y="149"/>
                    <a:pt x="809" y="147"/>
                    <a:pt x="812" y="144"/>
                  </a:cubicBezTo>
                  <a:cubicBezTo>
                    <a:pt x="814" y="141"/>
                    <a:pt x="822" y="136"/>
                    <a:pt x="818" y="137"/>
                  </a:cubicBezTo>
                  <a:cubicBezTo>
                    <a:pt x="815" y="137"/>
                    <a:pt x="795" y="143"/>
                    <a:pt x="796" y="138"/>
                  </a:cubicBezTo>
                  <a:cubicBezTo>
                    <a:pt x="796" y="141"/>
                    <a:pt x="830" y="109"/>
                    <a:pt x="832" y="108"/>
                  </a:cubicBezTo>
                  <a:cubicBezTo>
                    <a:pt x="833" y="107"/>
                    <a:pt x="836" y="107"/>
                    <a:pt x="835" y="105"/>
                  </a:cubicBezTo>
                  <a:cubicBezTo>
                    <a:pt x="827" y="93"/>
                    <a:pt x="817" y="128"/>
                    <a:pt x="792" y="133"/>
                  </a:cubicBezTo>
                  <a:cubicBezTo>
                    <a:pt x="783" y="134"/>
                    <a:pt x="820" y="121"/>
                    <a:pt x="813" y="116"/>
                  </a:cubicBezTo>
                  <a:cubicBezTo>
                    <a:pt x="809" y="112"/>
                    <a:pt x="802" y="120"/>
                    <a:pt x="799" y="121"/>
                  </a:cubicBezTo>
                  <a:cubicBezTo>
                    <a:pt x="782" y="126"/>
                    <a:pt x="776" y="114"/>
                    <a:pt x="774" y="133"/>
                  </a:cubicBezTo>
                  <a:cubicBezTo>
                    <a:pt x="774" y="135"/>
                    <a:pt x="779" y="128"/>
                    <a:pt x="780" y="127"/>
                  </a:cubicBezTo>
                  <a:cubicBezTo>
                    <a:pt x="787" y="121"/>
                    <a:pt x="777" y="133"/>
                    <a:pt x="786" y="126"/>
                  </a:cubicBezTo>
                  <a:cubicBezTo>
                    <a:pt x="787" y="125"/>
                    <a:pt x="790" y="125"/>
                    <a:pt x="790" y="126"/>
                  </a:cubicBezTo>
                  <a:cubicBezTo>
                    <a:pt x="792" y="129"/>
                    <a:pt x="779" y="142"/>
                    <a:pt x="775" y="138"/>
                  </a:cubicBezTo>
                  <a:cubicBezTo>
                    <a:pt x="773" y="136"/>
                    <a:pt x="772" y="144"/>
                    <a:pt x="769" y="141"/>
                  </a:cubicBezTo>
                  <a:cubicBezTo>
                    <a:pt x="767" y="139"/>
                    <a:pt x="772" y="134"/>
                    <a:pt x="771" y="132"/>
                  </a:cubicBezTo>
                  <a:cubicBezTo>
                    <a:pt x="770" y="131"/>
                    <a:pt x="770" y="131"/>
                    <a:pt x="771" y="129"/>
                  </a:cubicBezTo>
                  <a:cubicBezTo>
                    <a:pt x="777" y="120"/>
                    <a:pt x="769" y="128"/>
                    <a:pt x="764" y="129"/>
                  </a:cubicBezTo>
                  <a:cubicBezTo>
                    <a:pt x="763" y="130"/>
                    <a:pt x="759" y="130"/>
                    <a:pt x="759" y="132"/>
                  </a:cubicBezTo>
                  <a:cubicBezTo>
                    <a:pt x="757" y="139"/>
                    <a:pt x="766" y="152"/>
                    <a:pt x="776" y="142"/>
                  </a:cubicBezTo>
                  <a:cubicBezTo>
                    <a:pt x="779" y="139"/>
                    <a:pt x="787" y="140"/>
                    <a:pt x="786" y="143"/>
                  </a:cubicBezTo>
                  <a:cubicBezTo>
                    <a:pt x="784" y="151"/>
                    <a:pt x="771" y="151"/>
                    <a:pt x="756" y="146"/>
                  </a:cubicBezTo>
                  <a:cubicBezTo>
                    <a:pt x="754" y="145"/>
                    <a:pt x="751" y="146"/>
                    <a:pt x="748" y="147"/>
                  </a:cubicBezTo>
                  <a:cubicBezTo>
                    <a:pt x="719" y="162"/>
                    <a:pt x="715" y="185"/>
                    <a:pt x="677" y="188"/>
                  </a:cubicBezTo>
                  <a:cubicBezTo>
                    <a:pt x="677" y="189"/>
                    <a:pt x="677" y="189"/>
                    <a:pt x="677" y="189"/>
                  </a:cubicBezTo>
                  <a:cubicBezTo>
                    <a:pt x="670" y="191"/>
                    <a:pt x="695" y="203"/>
                    <a:pt x="697" y="196"/>
                  </a:cubicBezTo>
                  <a:close/>
                  <a:moveTo>
                    <a:pt x="593" y="321"/>
                  </a:moveTo>
                  <a:cubicBezTo>
                    <a:pt x="594" y="325"/>
                    <a:pt x="601" y="320"/>
                    <a:pt x="603" y="320"/>
                  </a:cubicBezTo>
                  <a:cubicBezTo>
                    <a:pt x="611" y="318"/>
                    <a:pt x="615" y="315"/>
                    <a:pt x="620" y="315"/>
                  </a:cubicBezTo>
                  <a:cubicBezTo>
                    <a:pt x="640" y="317"/>
                    <a:pt x="649" y="346"/>
                    <a:pt x="669" y="337"/>
                  </a:cubicBezTo>
                  <a:cubicBezTo>
                    <a:pt x="674" y="334"/>
                    <a:pt x="653" y="326"/>
                    <a:pt x="657" y="323"/>
                  </a:cubicBezTo>
                  <a:cubicBezTo>
                    <a:pt x="667" y="315"/>
                    <a:pt x="699" y="320"/>
                    <a:pt x="702" y="331"/>
                  </a:cubicBezTo>
                  <a:cubicBezTo>
                    <a:pt x="704" y="335"/>
                    <a:pt x="700" y="338"/>
                    <a:pt x="702" y="342"/>
                  </a:cubicBezTo>
                  <a:cubicBezTo>
                    <a:pt x="704" y="345"/>
                    <a:pt x="689" y="348"/>
                    <a:pt x="691" y="349"/>
                  </a:cubicBezTo>
                  <a:cubicBezTo>
                    <a:pt x="700" y="353"/>
                    <a:pt x="733" y="367"/>
                    <a:pt x="742" y="358"/>
                  </a:cubicBezTo>
                  <a:cubicBezTo>
                    <a:pt x="743" y="358"/>
                    <a:pt x="737" y="356"/>
                    <a:pt x="737" y="353"/>
                  </a:cubicBezTo>
                  <a:cubicBezTo>
                    <a:pt x="738" y="348"/>
                    <a:pt x="748" y="338"/>
                    <a:pt x="751" y="335"/>
                  </a:cubicBezTo>
                  <a:cubicBezTo>
                    <a:pt x="752" y="333"/>
                    <a:pt x="789" y="339"/>
                    <a:pt x="766" y="332"/>
                  </a:cubicBezTo>
                  <a:cubicBezTo>
                    <a:pt x="766" y="332"/>
                    <a:pt x="766" y="332"/>
                    <a:pt x="766" y="332"/>
                  </a:cubicBezTo>
                  <a:cubicBezTo>
                    <a:pt x="776" y="324"/>
                    <a:pt x="763" y="316"/>
                    <a:pt x="759" y="320"/>
                  </a:cubicBezTo>
                  <a:cubicBezTo>
                    <a:pt x="758" y="321"/>
                    <a:pt x="769" y="323"/>
                    <a:pt x="768" y="327"/>
                  </a:cubicBezTo>
                  <a:cubicBezTo>
                    <a:pt x="766" y="330"/>
                    <a:pt x="741" y="335"/>
                    <a:pt x="741" y="330"/>
                  </a:cubicBezTo>
                  <a:cubicBezTo>
                    <a:pt x="740" y="325"/>
                    <a:pt x="747" y="323"/>
                    <a:pt x="747" y="319"/>
                  </a:cubicBezTo>
                  <a:cubicBezTo>
                    <a:pt x="746" y="311"/>
                    <a:pt x="740" y="323"/>
                    <a:pt x="739" y="323"/>
                  </a:cubicBezTo>
                  <a:cubicBezTo>
                    <a:pt x="733" y="324"/>
                    <a:pt x="734" y="318"/>
                    <a:pt x="725" y="321"/>
                  </a:cubicBezTo>
                  <a:cubicBezTo>
                    <a:pt x="721" y="323"/>
                    <a:pt x="737" y="330"/>
                    <a:pt x="737" y="331"/>
                  </a:cubicBezTo>
                  <a:cubicBezTo>
                    <a:pt x="737" y="338"/>
                    <a:pt x="723" y="331"/>
                    <a:pt x="716" y="333"/>
                  </a:cubicBezTo>
                  <a:cubicBezTo>
                    <a:pt x="703" y="336"/>
                    <a:pt x="721" y="293"/>
                    <a:pt x="708" y="315"/>
                  </a:cubicBezTo>
                  <a:cubicBezTo>
                    <a:pt x="705" y="320"/>
                    <a:pt x="703" y="319"/>
                    <a:pt x="698" y="321"/>
                  </a:cubicBezTo>
                  <a:cubicBezTo>
                    <a:pt x="690" y="325"/>
                    <a:pt x="679" y="308"/>
                    <a:pt x="672" y="307"/>
                  </a:cubicBezTo>
                  <a:cubicBezTo>
                    <a:pt x="669" y="306"/>
                    <a:pt x="672" y="310"/>
                    <a:pt x="672" y="311"/>
                  </a:cubicBezTo>
                  <a:cubicBezTo>
                    <a:pt x="677" y="315"/>
                    <a:pt x="659" y="321"/>
                    <a:pt x="656" y="320"/>
                  </a:cubicBezTo>
                  <a:cubicBezTo>
                    <a:pt x="652" y="320"/>
                    <a:pt x="652" y="313"/>
                    <a:pt x="649" y="310"/>
                  </a:cubicBezTo>
                  <a:cubicBezTo>
                    <a:pt x="648" y="309"/>
                    <a:pt x="643" y="314"/>
                    <a:pt x="641" y="313"/>
                  </a:cubicBezTo>
                  <a:cubicBezTo>
                    <a:pt x="633" y="311"/>
                    <a:pt x="624" y="301"/>
                    <a:pt x="610" y="306"/>
                  </a:cubicBezTo>
                  <a:cubicBezTo>
                    <a:pt x="605" y="307"/>
                    <a:pt x="617" y="308"/>
                    <a:pt x="614" y="310"/>
                  </a:cubicBezTo>
                  <a:cubicBezTo>
                    <a:pt x="609" y="312"/>
                    <a:pt x="600" y="303"/>
                    <a:pt x="599" y="308"/>
                  </a:cubicBezTo>
                  <a:cubicBezTo>
                    <a:pt x="599" y="313"/>
                    <a:pt x="609" y="313"/>
                    <a:pt x="609" y="313"/>
                  </a:cubicBezTo>
                  <a:cubicBezTo>
                    <a:pt x="606" y="321"/>
                    <a:pt x="592" y="308"/>
                    <a:pt x="593" y="321"/>
                  </a:cubicBezTo>
                  <a:close/>
                  <a:moveTo>
                    <a:pt x="561" y="1014"/>
                  </a:moveTo>
                  <a:cubicBezTo>
                    <a:pt x="563" y="1019"/>
                    <a:pt x="583" y="1020"/>
                    <a:pt x="582" y="1013"/>
                  </a:cubicBezTo>
                  <a:cubicBezTo>
                    <a:pt x="580" y="1000"/>
                    <a:pt x="584" y="1012"/>
                    <a:pt x="582" y="996"/>
                  </a:cubicBezTo>
                  <a:cubicBezTo>
                    <a:pt x="582" y="995"/>
                    <a:pt x="582" y="995"/>
                    <a:pt x="582" y="995"/>
                  </a:cubicBezTo>
                  <a:cubicBezTo>
                    <a:pt x="580" y="993"/>
                    <a:pt x="576" y="986"/>
                    <a:pt x="576" y="989"/>
                  </a:cubicBezTo>
                  <a:cubicBezTo>
                    <a:pt x="576" y="991"/>
                    <a:pt x="578" y="991"/>
                    <a:pt x="577" y="994"/>
                  </a:cubicBezTo>
                  <a:cubicBezTo>
                    <a:pt x="573" y="1011"/>
                    <a:pt x="570" y="990"/>
                    <a:pt x="562" y="1001"/>
                  </a:cubicBezTo>
                  <a:cubicBezTo>
                    <a:pt x="560" y="1004"/>
                    <a:pt x="570" y="1015"/>
                    <a:pt x="567" y="1012"/>
                  </a:cubicBezTo>
                  <a:cubicBezTo>
                    <a:pt x="565" y="1010"/>
                    <a:pt x="559" y="1010"/>
                    <a:pt x="561" y="1014"/>
                  </a:cubicBezTo>
                  <a:close/>
                  <a:moveTo>
                    <a:pt x="557" y="1055"/>
                  </a:moveTo>
                  <a:cubicBezTo>
                    <a:pt x="560" y="1055"/>
                    <a:pt x="569" y="1064"/>
                    <a:pt x="570" y="1063"/>
                  </a:cubicBezTo>
                  <a:cubicBezTo>
                    <a:pt x="574" y="1060"/>
                    <a:pt x="558" y="1055"/>
                    <a:pt x="562" y="1052"/>
                  </a:cubicBezTo>
                  <a:cubicBezTo>
                    <a:pt x="565" y="1050"/>
                    <a:pt x="587" y="1077"/>
                    <a:pt x="583" y="1062"/>
                  </a:cubicBezTo>
                  <a:cubicBezTo>
                    <a:pt x="582" y="1062"/>
                    <a:pt x="582" y="1062"/>
                    <a:pt x="582" y="1062"/>
                  </a:cubicBezTo>
                  <a:cubicBezTo>
                    <a:pt x="572" y="1055"/>
                    <a:pt x="562" y="1047"/>
                    <a:pt x="557" y="1039"/>
                  </a:cubicBezTo>
                  <a:cubicBezTo>
                    <a:pt x="556" y="1038"/>
                    <a:pt x="552" y="1042"/>
                    <a:pt x="551" y="1042"/>
                  </a:cubicBezTo>
                  <a:cubicBezTo>
                    <a:pt x="540" y="1043"/>
                    <a:pt x="547" y="1054"/>
                    <a:pt x="557" y="1055"/>
                  </a:cubicBezTo>
                  <a:close/>
                  <a:moveTo>
                    <a:pt x="515" y="1015"/>
                  </a:moveTo>
                  <a:cubicBezTo>
                    <a:pt x="519" y="1018"/>
                    <a:pt x="518" y="1019"/>
                    <a:pt x="520" y="1023"/>
                  </a:cubicBezTo>
                  <a:cubicBezTo>
                    <a:pt x="520" y="1024"/>
                    <a:pt x="521" y="1025"/>
                    <a:pt x="521" y="1026"/>
                  </a:cubicBezTo>
                  <a:cubicBezTo>
                    <a:pt x="522" y="1034"/>
                    <a:pt x="530" y="1039"/>
                    <a:pt x="534" y="1045"/>
                  </a:cubicBezTo>
                  <a:cubicBezTo>
                    <a:pt x="535" y="1046"/>
                    <a:pt x="535" y="1046"/>
                    <a:pt x="535" y="1046"/>
                  </a:cubicBezTo>
                  <a:cubicBezTo>
                    <a:pt x="553" y="1053"/>
                    <a:pt x="522" y="1026"/>
                    <a:pt x="523" y="1023"/>
                  </a:cubicBezTo>
                  <a:cubicBezTo>
                    <a:pt x="525" y="1014"/>
                    <a:pt x="512" y="1012"/>
                    <a:pt x="515" y="1015"/>
                  </a:cubicBezTo>
                  <a:close/>
                  <a:moveTo>
                    <a:pt x="500" y="1048"/>
                  </a:moveTo>
                  <a:cubicBezTo>
                    <a:pt x="501" y="1051"/>
                    <a:pt x="505" y="1074"/>
                    <a:pt x="504" y="1076"/>
                  </a:cubicBezTo>
                  <a:cubicBezTo>
                    <a:pt x="502" y="1082"/>
                    <a:pt x="495" y="1068"/>
                    <a:pt x="494" y="1070"/>
                  </a:cubicBezTo>
                  <a:cubicBezTo>
                    <a:pt x="493" y="1074"/>
                    <a:pt x="511" y="1094"/>
                    <a:pt x="512" y="1101"/>
                  </a:cubicBezTo>
                  <a:cubicBezTo>
                    <a:pt x="514" y="1110"/>
                    <a:pt x="493" y="1097"/>
                    <a:pt x="506" y="1111"/>
                  </a:cubicBezTo>
                  <a:cubicBezTo>
                    <a:pt x="507" y="1111"/>
                    <a:pt x="507" y="1111"/>
                    <a:pt x="507" y="1111"/>
                  </a:cubicBezTo>
                  <a:cubicBezTo>
                    <a:pt x="507" y="1112"/>
                    <a:pt x="515" y="1115"/>
                    <a:pt x="514" y="1107"/>
                  </a:cubicBezTo>
                  <a:cubicBezTo>
                    <a:pt x="513" y="1103"/>
                    <a:pt x="525" y="1099"/>
                    <a:pt x="524" y="1098"/>
                  </a:cubicBezTo>
                  <a:cubicBezTo>
                    <a:pt x="519" y="1094"/>
                    <a:pt x="518" y="1099"/>
                    <a:pt x="512" y="1094"/>
                  </a:cubicBezTo>
                  <a:cubicBezTo>
                    <a:pt x="511" y="1093"/>
                    <a:pt x="508" y="1093"/>
                    <a:pt x="511" y="1091"/>
                  </a:cubicBezTo>
                  <a:cubicBezTo>
                    <a:pt x="514" y="1089"/>
                    <a:pt x="508" y="1085"/>
                    <a:pt x="511" y="1085"/>
                  </a:cubicBezTo>
                  <a:cubicBezTo>
                    <a:pt x="532" y="1083"/>
                    <a:pt x="506" y="1081"/>
                    <a:pt x="511" y="1077"/>
                  </a:cubicBezTo>
                  <a:cubicBezTo>
                    <a:pt x="511" y="1076"/>
                    <a:pt x="515" y="1078"/>
                    <a:pt x="515" y="1077"/>
                  </a:cubicBezTo>
                  <a:cubicBezTo>
                    <a:pt x="515" y="1076"/>
                    <a:pt x="513" y="1074"/>
                    <a:pt x="513" y="1073"/>
                  </a:cubicBezTo>
                  <a:cubicBezTo>
                    <a:pt x="512" y="1072"/>
                    <a:pt x="507" y="1039"/>
                    <a:pt x="495" y="1039"/>
                  </a:cubicBezTo>
                  <a:cubicBezTo>
                    <a:pt x="491" y="1039"/>
                    <a:pt x="500" y="1048"/>
                    <a:pt x="500" y="1048"/>
                  </a:cubicBezTo>
                  <a:close/>
                  <a:moveTo>
                    <a:pt x="539" y="1131"/>
                  </a:moveTo>
                  <a:cubicBezTo>
                    <a:pt x="539" y="1131"/>
                    <a:pt x="539" y="1131"/>
                    <a:pt x="539" y="1131"/>
                  </a:cubicBezTo>
                  <a:cubicBezTo>
                    <a:pt x="540" y="1129"/>
                    <a:pt x="529" y="1123"/>
                    <a:pt x="528" y="1124"/>
                  </a:cubicBezTo>
                  <a:cubicBezTo>
                    <a:pt x="528" y="1124"/>
                    <a:pt x="528" y="1124"/>
                    <a:pt x="528" y="1125"/>
                  </a:cubicBezTo>
                  <a:cubicBezTo>
                    <a:pt x="527" y="1143"/>
                    <a:pt x="513" y="1129"/>
                    <a:pt x="501" y="1140"/>
                  </a:cubicBezTo>
                  <a:cubicBezTo>
                    <a:pt x="499" y="1142"/>
                    <a:pt x="494" y="1134"/>
                    <a:pt x="495" y="1140"/>
                  </a:cubicBezTo>
                  <a:cubicBezTo>
                    <a:pt x="497" y="1152"/>
                    <a:pt x="530" y="1126"/>
                    <a:pt x="537" y="1142"/>
                  </a:cubicBezTo>
                  <a:cubicBezTo>
                    <a:pt x="543" y="1156"/>
                    <a:pt x="520" y="1137"/>
                    <a:pt x="518" y="1142"/>
                  </a:cubicBezTo>
                  <a:cubicBezTo>
                    <a:pt x="513" y="1149"/>
                    <a:pt x="540" y="1153"/>
                    <a:pt x="541" y="1153"/>
                  </a:cubicBezTo>
                  <a:cubicBezTo>
                    <a:pt x="543" y="1153"/>
                    <a:pt x="538" y="1132"/>
                    <a:pt x="539" y="1131"/>
                  </a:cubicBezTo>
                  <a:close/>
                  <a:moveTo>
                    <a:pt x="486" y="1240"/>
                  </a:moveTo>
                  <a:cubicBezTo>
                    <a:pt x="490" y="1243"/>
                    <a:pt x="495" y="1237"/>
                    <a:pt x="502" y="1243"/>
                  </a:cubicBezTo>
                  <a:cubicBezTo>
                    <a:pt x="503" y="1245"/>
                    <a:pt x="501" y="1255"/>
                    <a:pt x="505" y="1254"/>
                  </a:cubicBezTo>
                  <a:cubicBezTo>
                    <a:pt x="506" y="1254"/>
                    <a:pt x="506" y="1248"/>
                    <a:pt x="506" y="1247"/>
                  </a:cubicBezTo>
                  <a:cubicBezTo>
                    <a:pt x="510" y="1244"/>
                    <a:pt x="503" y="1242"/>
                    <a:pt x="501" y="1240"/>
                  </a:cubicBezTo>
                  <a:cubicBezTo>
                    <a:pt x="500" y="1240"/>
                    <a:pt x="500" y="1240"/>
                    <a:pt x="500" y="1240"/>
                  </a:cubicBezTo>
                  <a:cubicBezTo>
                    <a:pt x="487" y="1235"/>
                    <a:pt x="503" y="1228"/>
                    <a:pt x="505" y="1231"/>
                  </a:cubicBezTo>
                  <a:cubicBezTo>
                    <a:pt x="505" y="1231"/>
                    <a:pt x="504" y="1235"/>
                    <a:pt x="506" y="1233"/>
                  </a:cubicBezTo>
                  <a:cubicBezTo>
                    <a:pt x="511" y="1230"/>
                    <a:pt x="509" y="1220"/>
                    <a:pt x="510" y="1215"/>
                  </a:cubicBezTo>
                  <a:cubicBezTo>
                    <a:pt x="511" y="1213"/>
                    <a:pt x="515" y="1211"/>
                    <a:pt x="514" y="1209"/>
                  </a:cubicBezTo>
                  <a:cubicBezTo>
                    <a:pt x="513" y="1209"/>
                    <a:pt x="513" y="1208"/>
                    <a:pt x="513" y="1207"/>
                  </a:cubicBezTo>
                  <a:cubicBezTo>
                    <a:pt x="512" y="1207"/>
                    <a:pt x="510" y="1207"/>
                    <a:pt x="510" y="1207"/>
                  </a:cubicBezTo>
                  <a:cubicBezTo>
                    <a:pt x="507" y="1207"/>
                    <a:pt x="507" y="1200"/>
                    <a:pt x="503" y="1201"/>
                  </a:cubicBezTo>
                  <a:cubicBezTo>
                    <a:pt x="502" y="1201"/>
                    <a:pt x="505" y="1209"/>
                    <a:pt x="506" y="1209"/>
                  </a:cubicBezTo>
                  <a:cubicBezTo>
                    <a:pt x="508" y="1210"/>
                    <a:pt x="508" y="1218"/>
                    <a:pt x="506" y="1224"/>
                  </a:cubicBezTo>
                  <a:cubicBezTo>
                    <a:pt x="504" y="1229"/>
                    <a:pt x="492" y="1227"/>
                    <a:pt x="491" y="1234"/>
                  </a:cubicBezTo>
                  <a:cubicBezTo>
                    <a:pt x="491" y="1235"/>
                    <a:pt x="486" y="1240"/>
                    <a:pt x="486" y="1240"/>
                  </a:cubicBezTo>
                  <a:close/>
                  <a:moveTo>
                    <a:pt x="475" y="1124"/>
                  </a:moveTo>
                  <a:cubicBezTo>
                    <a:pt x="477" y="1128"/>
                    <a:pt x="467" y="1145"/>
                    <a:pt x="475" y="1142"/>
                  </a:cubicBezTo>
                  <a:cubicBezTo>
                    <a:pt x="486" y="1138"/>
                    <a:pt x="472" y="1118"/>
                    <a:pt x="471" y="1113"/>
                  </a:cubicBezTo>
                  <a:cubicBezTo>
                    <a:pt x="471" y="1112"/>
                    <a:pt x="471" y="1112"/>
                    <a:pt x="471" y="1112"/>
                  </a:cubicBezTo>
                  <a:cubicBezTo>
                    <a:pt x="467" y="1109"/>
                    <a:pt x="463" y="1107"/>
                    <a:pt x="460" y="1110"/>
                  </a:cubicBezTo>
                  <a:cubicBezTo>
                    <a:pt x="457" y="1113"/>
                    <a:pt x="474" y="1122"/>
                    <a:pt x="475" y="1124"/>
                  </a:cubicBezTo>
                  <a:close/>
                  <a:moveTo>
                    <a:pt x="404" y="1122"/>
                  </a:moveTo>
                  <a:cubicBezTo>
                    <a:pt x="404" y="1122"/>
                    <a:pt x="404" y="1122"/>
                    <a:pt x="404" y="1122"/>
                  </a:cubicBezTo>
                  <a:cubicBezTo>
                    <a:pt x="404" y="1122"/>
                    <a:pt x="404" y="1122"/>
                    <a:pt x="404" y="1122"/>
                  </a:cubicBezTo>
                  <a:close/>
                  <a:moveTo>
                    <a:pt x="391" y="1183"/>
                  </a:moveTo>
                  <a:cubicBezTo>
                    <a:pt x="402" y="1187"/>
                    <a:pt x="402" y="1171"/>
                    <a:pt x="405" y="1167"/>
                  </a:cubicBezTo>
                  <a:cubicBezTo>
                    <a:pt x="408" y="1164"/>
                    <a:pt x="419" y="1171"/>
                    <a:pt x="422" y="1167"/>
                  </a:cubicBezTo>
                  <a:cubicBezTo>
                    <a:pt x="423" y="1166"/>
                    <a:pt x="403" y="1135"/>
                    <a:pt x="404" y="1126"/>
                  </a:cubicBezTo>
                  <a:cubicBezTo>
                    <a:pt x="404" y="1125"/>
                    <a:pt x="404" y="1125"/>
                    <a:pt x="404" y="1125"/>
                  </a:cubicBezTo>
                  <a:cubicBezTo>
                    <a:pt x="405" y="1121"/>
                    <a:pt x="402" y="1119"/>
                    <a:pt x="401" y="1124"/>
                  </a:cubicBezTo>
                  <a:cubicBezTo>
                    <a:pt x="399" y="1142"/>
                    <a:pt x="417" y="1155"/>
                    <a:pt x="414" y="1163"/>
                  </a:cubicBezTo>
                  <a:cubicBezTo>
                    <a:pt x="412" y="1167"/>
                    <a:pt x="407" y="1162"/>
                    <a:pt x="406" y="1161"/>
                  </a:cubicBezTo>
                  <a:cubicBezTo>
                    <a:pt x="402" y="1159"/>
                    <a:pt x="406" y="1164"/>
                    <a:pt x="404" y="1165"/>
                  </a:cubicBezTo>
                  <a:cubicBezTo>
                    <a:pt x="402" y="1167"/>
                    <a:pt x="401" y="1169"/>
                    <a:pt x="400" y="1170"/>
                  </a:cubicBezTo>
                  <a:cubicBezTo>
                    <a:pt x="397" y="1172"/>
                    <a:pt x="392" y="1163"/>
                    <a:pt x="392" y="1168"/>
                  </a:cubicBezTo>
                  <a:cubicBezTo>
                    <a:pt x="391" y="1171"/>
                    <a:pt x="397" y="1171"/>
                    <a:pt x="398" y="1173"/>
                  </a:cubicBezTo>
                  <a:cubicBezTo>
                    <a:pt x="399" y="1177"/>
                    <a:pt x="390" y="1183"/>
                    <a:pt x="391" y="1183"/>
                  </a:cubicBezTo>
                  <a:close/>
                  <a:moveTo>
                    <a:pt x="369" y="1088"/>
                  </a:moveTo>
                  <a:cubicBezTo>
                    <a:pt x="370" y="1089"/>
                    <a:pt x="374" y="1090"/>
                    <a:pt x="374" y="1087"/>
                  </a:cubicBezTo>
                  <a:cubicBezTo>
                    <a:pt x="375" y="1078"/>
                    <a:pt x="383" y="1080"/>
                    <a:pt x="382" y="1068"/>
                  </a:cubicBezTo>
                  <a:cubicBezTo>
                    <a:pt x="381" y="1062"/>
                    <a:pt x="374" y="1062"/>
                    <a:pt x="371" y="1058"/>
                  </a:cubicBezTo>
                  <a:cubicBezTo>
                    <a:pt x="371" y="1058"/>
                    <a:pt x="371" y="1058"/>
                    <a:pt x="371" y="1058"/>
                  </a:cubicBezTo>
                  <a:cubicBezTo>
                    <a:pt x="370" y="1057"/>
                    <a:pt x="360" y="1075"/>
                    <a:pt x="369" y="1088"/>
                  </a:cubicBezTo>
                  <a:close/>
                  <a:moveTo>
                    <a:pt x="329" y="1285"/>
                  </a:moveTo>
                  <a:cubicBezTo>
                    <a:pt x="329" y="1288"/>
                    <a:pt x="343" y="1283"/>
                    <a:pt x="339" y="1282"/>
                  </a:cubicBezTo>
                  <a:cubicBezTo>
                    <a:pt x="333" y="1279"/>
                    <a:pt x="327" y="1274"/>
                    <a:pt x="316" y="1268"/>
                  </a:cubicBezTo>
                  <a:cubicBezTo>
                    <a:pt x="314" y="1267"/>
                    <a:pt x="314" y="1267"/>
                    <a:pt x="314" y="1267"/>
                  </a:cubicBezTo>
                  <a:cubicBezTo>
                    <a:pt x="299" y="1263"/>
                    <a:pt x="330" y="1277"/>
                    <a:pt x="329" y="1285"/>
                  </a:cubicBezTo>
                  <a:close/>
                  <a:moveTo>
                    <a:pt x="344" y="1320"/>
                  </a:moveTo>
                  <a:cubicBezTo>
                    <a:pt x="344" y="1320"/>
                    <a:pt x="344" y="1320"/>
                    <a:pt x="344" y="1320"/>
                  </a:cubicBezTo>
                  <a:cubicBezTo>
                    <a:pt x="345" y="1320"/>
                    <a:pt x="349" y="1321"/>
                    <a:pt x="349" y="1320"/>
                  </a:cubicBezTo>
                  <a:cubicBezTo>
                    <a:pt x="350" y="1318"/>
                    <a:pt x="347" y="1319"/>
                    <a:pt x="346" y="1319"/>
                  </a:cubicBezTo>
                  <a:cubicBezTo>
                    <a:pt x="319" y="1323"/>
                    <a:pt x="312" y="1329"/>
                    <a:pt x="287" y="1344"/>
                  </a:cubicBezTo>
                  <a:cubicBezTo>
                    <a:pt x="282" y="1347"/>
                    <a:pt x="278" y="1351"/>
                    <a:pt x="277" y="1356"/>
                  </a:cubicBezTo>
                  <a:cubicBezTo>
                    <a:pt x="277" y="1356"/>
                    <a:pt x="280" y="1357"/>
                    <a:pt x="280" y="1357"/>
                  </a:cubicBezTo>
                  <a:cubicBezTo>
                    <a:pt x="286" y="1360"/>
                    <a:pt x="282" y="1353"/>
                    <a:pt x="283" y="1351"/>
                  </a:cubicBezTo>
                  <a:cubicBezTo>
                    <a:pt x="289" y="1345"/>
                    <a:pt x="294" y="1340"/>
                    <a:pt x="302" y="1339"/>
                  </a:cubicBezTo>
                  <a:cubicBezTo>
                    <a:pt x="321" y="1334"/>
                    <a:pt x="317" y="1323"/>
                    <a:pt x="337" y="1328"/>
                  </a:cubicBezTo>
                  <a:cubicBezTo>
                    <a:pt x="337" y="1328"/>
                    <a:pt x="338" y="1328"/>
                    <a:pt x="338" y="1328"/>
                  </a:cubicBezTo>
                  <a:cubicBezTo>
                    <a:pt x="341" y="1326"/>
                    <a:pt x="330" y="1321"/>
                    <a:pt x="344" y="1320"/>
                  </a:cubicBezTo>
                  <a:close/>
                  <a:moveTo>
                    <a:pt x="380" y="1349"/>
                  </a:moveTo>
                  <a:cubicBezTo>
                    <a:pt x="388" y="1334"/>
                    <a:pt x="354" y="1342"/>
                    <a:pt x="359" y="1326"/>
                  </a:cubicBezTo>
                  <a:cubicBezTo>
                    <a:pt x="362" y="1318"/>
                    <a:pt x="392" y="1320"/>
                    <a:pt x="388" y="1298"/>
                  </a:cubicBezTo>
                  <a:cubicBezTo>
                    <a:pt x="388" y="1296"/>
                    <a:pt x="382" y="1303"/>
                    <a:pt x="382" y="1296"/>
                  </a:cubicBezTo>
                  <a:cubicBezTo>
                    <a:pt x="382" y="1295"/>
                    <a:pt x="399" y="1293"/>
                    <a:pt x="398" y="1291"/>
                  </a:cubicBezTo>
                  <a:cubicBezTo>
                    <a:pt x="396" y="1288"/>
                    <a:pt x="383" y="1296"/>
                    <a:pt x="379" y="1291"/>
                  </a:cubicBezTo>
                  <a:cubicBezTo>
                    <a:pt x="377" y="1287"/>
                    <a:pt x="387" y="1285"/>
                    <a:pt x="388" y="1281"/>
                  </a:cubicBezTo>
                  <a:cubicBezTo>
                    <a:pt x="389" y="1277"/>
                    <a:pt x="382" y="1276"/>
                    <a:pt x="380" y="1274"/>
                  </a:cubicBezTo>
                  <a:cubicBezTo>
                    <a:pt x="378" y="1271"/>
                    <a:pt x="400" y="1261"/>
                    <a:pt x="401" y="1260"/>
                  </a:cubicBezTo>
                  <a:cubicBezTo>
                    <a:pt x="416" y="1244"/>
                    <a:pt x="403" y="1259"/>
                    <a:pt x="421" y="1248"/>
                  </a:cubicBezTo>
                  <a:cubicBezTo>
                    <a:pt x="423" y="1247"/>
                    <a:pt x="408" y="1241"/>
                    <a:pt x="410" y="1235"/>
                  </a:cubicBezTo>
                  <a:cubicBezTo>
                    <a:pt x="410" y="1234"/>
                    <a:pt x="428" y="1242"/>
                    <a:pt x="429" y="1242"/>
                  </a:cubicBezTo>
                  <a:cubicBezTo>
                    <a:pt x="446" y="1244"/>
                    <a:pt x="448" y="1235"/>
                    <a:pt x="463" y="1251"/>
                  </a:cubicBezTo>
                  <a:cubicBezTo>
                    <a:pt x="465" y="1252"/>
                    <a:pt x="468" y="1257"/>
                    <a:pt x="470" y="1257"/>
                  </a:cubicBezTo>
                  <a:cubicBezTo>
                    <a:pt x="470" y="1257"/>
                    <a:pt x="462" y="1241"/>
                    <a:pt x="456" y="1240"/>
                  </a:cubicBezTo>
                  <a:cubicBezTo>
                    <a:pt x="456" y="1240"/>
                    <a:pt x="456" y="1240"/>
                    <a:pt x="456" y="1240"/>
                  </a:cubicBezTo>
                  <a:cubicBezTo>
                    <a:pt x="465" y="1232"/>
                    <a:pt x="466" y="1225"/>
                    <a:pt x="466" y="1218"/>
                  </a:cubicBezTo>
                  <a:cubicBezTo>
                    <a:pt x="466" y="1217"/>
                    <a:pt x="477" y="1206"/>
                    <a:pt x="470" y="1208"/>
                  </a:cubicBezTo>
                  <a:cubicBezTo>
                    <a:pt x="468" y="1209"/>
                    <a:pt x="467" y="1215"/>
                    <a:pt x="465" y="1214"/>
                  </a:cubicBezTo>
                  <a:cubicBezTo>
                    <a:pt x="459" y="1212"/>
                    <a:pt x="469" y="1200"/>
                    <a:pt x="466" y="1199"/>
                  </a:cubicBezTo>
                  <a:cubicBezTo>
                    <a:pt x="447" y="1197"/>
                    <a:pt x="465" y="1226"/>
                    <a:pt x="457" y="1231"/>
                  </a:cubicBezTo>
                  <a:cubicBezTo>
                    <a:pt x="456" y="1231"/>
                    <a:pt x="451" y="1223"/>
                    <a:pt x="450" y="1222"/>
                  </a:cubicBezTo>
                  <a:cubicBezTo>
                    <a:pt x="447" y="1219"/>
                    <a:pt x="439" y="1218"/>
                    <a:pt x="436" y="1216"/>
                  </a:cubicBezTo>
                  <a:cubicBezTo>
                    <a:pt x="435" y="1216"/>
                    <a:pt x="429" y="1213"/>
                    <a:pt x="429" y="1215"/>
                  </a:cubicBezTo>
                  <a:cubicBezTo>
                    <a:pt x="430" y="1228"/>
                    <a:pt x="446" y="1219"/>
                    <a:pt x="453" y="1232"/>
                  </a:cubicBezTo>
                  <a:cubicBezTo>
                    <a:pt x="453" y="1233"/>
                    <a:pt x="457" y="1237"/>
                    <a:pt x="456" y="1238"/>
                  </a:cubicBezTo>
                  <a:cubicBezTo>
                    <a:pt x="456" y="1238"/>
                    <a:pt x="454" y="1238"/>
                    <a:pt x="453" y="1238"/>
                  </a:cubicBezTo>
                  <a:cubicBezTo>
                    <a:pt x="440" y="1236"/>
                    <a:pt x="431" y="1240"/>
                    <a:pt x="432" y="1229"/>
                  </a:cubicBezTo>
                  <a:cubicBezTo>
                    <a:pt x="432" y="1227"/>
                    <a:pt x="438" y="1226"/>
                    <a:pt x="435" y="1225"/>
                  </a:cubicBezTo>
                  <a:cubicBezTo>
                    <a:pt x="433" y="1224"/>
                    <a:pt x="430" y="1221"/>
                    <a:pt x="428" y="1222"/>
                  </a:cubicBezTo>
                  <a:cubicBezTo>
                    <a:pt x="424" y="1226"/>
                    <a:pt x="419" y="1243"/>
                    <a:pt x="412" y="1231"/>
                  </a:cubicBezTo>
                  <a:cubicBezTo>
                    <a:pt x="411" y="1229"/>
                    <a:pt x="420" y="1223"/>
                    <a:pt x="418" y="1222"/>
                  </a:cubicBezTo>
                  <a:cubicBezTo>
                    <a:pt x="415" y="1222"/>
                    <a:pt x="406" y="1222"/>
                    <a:pt x="415" y="1221"/>
                  </a:cubicBezTo>
                  <a:cubicBezTo>
                    <a:pt x="416" y="1220"/>
                    <a:pt x="425" y="1217"/>
                    <a:pt x="421" y="1215"/>
                  </a:cubicBezTo>
                  <a:cubicBezTo>
                    <a:pt x="421" y="1214"/>
                    <a:pt x="402" y="1220"/>
                    <a:pt x="401" y="1219"/>
                  </a:cubicBezTo>
                  <a:cubicBezTo>
                    <a:pt x="395" y="1212"/>
                    <a:pt x="413" y="1208"/>
                    <a:pt x="402" y="1205"/>
                  </a:cubicBezTo>
                  <a:cubicBezTo>
                    <a:pt x="392" y="1202"/>
                    <a:pt x="400" y="1220"/>
                    <a:pt x="394" y="1221"/>
                  </a:cubicBezTo>
                  <a:cubicBezTo>
                    <a:pt x="380" y="1225"/>
                    <a:pt x="375" y="1200"/>
                    <a:pt x="370" y="1210"/>
                  </a:cubicBezTo>
                  <a:cubicBezTo>
                    <a:pt x="369" y="1212"/>
                    <a:pt x="374" y="1215"/>
                    <a:pt x="374" y="1217"/>
                  </a:cubicBezTo>
                  <a:cubicBezTo>
                    <a:pt x="372" y="1242"/>
                    <a:pt x="398" y="1207"/>
                    <a:pt x="404" y="1242"/>
                  </a:cubicBezTo>
                  <a:cubicBezTo>
                    <a:pt x="404" y="1243"/>
                    <a:pt x="410" y="1243"/>
                    <a:pt x="410" y="1245"/>
                  </a:cubicBezTo>
                  <a:cubicBezTo>
                    <a:pt x="410" y="1246"/>
                    <a:pt x="407" y="1246"/>
                    <a:pt x="406" y="1246"/>
                  </a:cubicBezTo>
                  <a:cubicBezTo>
                    <a:pt x="389" y="1248"/>
                    <a:pt x="394" y="1260"/>
                    <a:pt x="389" y="1262"/>
                  </a:cubicBezTo>
                  <a:cubicBezTo>
                    <a:pt x="385" y="1264"/>
                    <a:pt x="376" y="1252"/>
                    <a:pt x="372" y="1255"/>
                  </a:cubicBezTo>
                  <a:cubicBezTo>
                    <a:pt x="370" y="1256"/>
                    <a:pt x="385" y="1263"/>
                    <a:pt x="383" y="1265"/>
                  </a:cubicBezTo>
                  <a:cubicBezTo>
                    <a:pt x="374" y="1269"/>
                    <a:pt x="375" y="1270"/>
                    <a:pt x="376" y="1280"/>
                  </a:cubicBezTo>
                  <a:cubicBezTo>
                    <a:pt x="377" y="1285"/>
                    <a:pt x="372" y="1285"/>
                    <a:pt x="367" y="1283"/>
                  </a:cubicBezTo>
                  <a:cubicBezTo>
                    <a:pt x="365" y="1282"/>
                    <a:pt x="361" y="1284"/>
                    <a:pt x="366" y="1285"/>
                  </a:cubicBezTo>
                  <a:cubicBezTo>
                    <a:pt x="371" y="1286"/>
                    <a:pt x="374" y="1292"/>
                    <a:pt x="373" y="1293"/>
                  </a:cubicBezTo>
                  <a:cubicBezTo>
                    <a:pt x="372" y="1296"/>
                    <a:pt x="365" y="1289"/>
                    <a:pt x="364" y="1292"/>
                  </a:cubicBezTo>
                  <a:cubicBezTo>
                    <a:pt x="363" y="1295"/>
                    <a:pt x="379" y="1307"/>
                    <a:pt x="379" y="1312"/>
                  </a:cubicBezTo>
                  <a:cubicBezTo>
                    <a:pt x="379" y="1315"/>
                    <a:pt x="343" y="1326"/>
                    <a:pt x="344" y="1332"/>
                  </a:cubicBezTo>
                  <a:cubicBezTo>
                    <a:pt x="344" y="1334"/>
                    <a:pt x="355" y="1330"/>
                    <a:pt x="357" y="1333"/>
                  </a:cubicBezTo>
                  <a:cubicBezTo>
                    <a:pt x="358" y="1334"/>
                    <a:pt x="358" y="1342"/>
                    <a:pt x="360" y="1344"/>
                  </a:cubicBezTo>
                  <a:cubicBezTo>
                    <a:pt x="364" y="1346"/>
                    <a:pt x="383" y="1337"/>
                    <a:pt x="376" y="1348"/>
                  </a:cubicBezTo>
                  <a:cubicBezTo>
                    <a:pt x="375" y="1350"/>
                    <a:pt x="378" y="1352"/>
                    <a:pt x="380" y="1349"/>
                  </a:cubicBezTo>
                  <a:close/>
                  <a:moveTo>
                    <a:pt x="405" y="1484"/>
                  </a:moveTo>
                  <a:cubicBezTo>
                    <a:pt x="404" y="1485"/>
                    <a:pt x="399" y="1487"/>
                    <a:pt x="402" y="1488"/>
                  </a:cubicBezTo>
                  <a:cubicBezTo>
                    <a:pt x="412" y="1493"/>
                    <a:pt x="396" y="1489"/>
                    <a:pt x="390" y="1490"/>
                  </a:cubicBezTo>
                  <a:cubicBezTo>
                    <a:pt x="388" y="1491"/>
                    <a:pt x="380" y="1495"/>
                    <a:pt x="380" y="1498"/>
                  </a:cubicBezTo>
                  <a:cubicBezTo>
                    <a:pt x="379" y="1503"/>
                    <a:pt x="397" y="1510"/>
                    <a:pt x="394" y="1505"/>
                  </a:cubicBezTo>
                  <a:cubicBezTo>
                    <a:pt x="393" y="1503"/>
                    <a:pt x="398" y="1501"/>
                    <a:pt x="404" y="1499"/>
                  </a:cubicBezTo>
                  <a:cubicBezTo>
                    <a:pt x="404" y="1498"/>
                    <a:pt x="404" y="1498"/>
                    <a:pt x="404" y="1498"/>
                  </a:cubicBezTo>
                  <a:cubicBezTo>
                    <a:pt x="407" y="1496"/>
                    <a:pt x="414" y="1482"/>
                    <a:pt x="405" y="1484"/>
                  </a:cubicBezTo>
                  <a:close/>
                  <a:moveTo>
                    <a:pt x="442" y="1380"/>
                  </a:moveTo>
                  <a:cubicBezTo>
                    <a:pt x="439" y="1377"/>
                    <a:pt x="433" y="1368"/>
                    <a:pt x="434" y="1366"/>
                  </a:cubicBezTo>
                  <a:cubicBezTo>
                    <a:pt x="434" y="1363"/>
                    <a:pt x="437" y="1369"/>
                    <a:pt x="439" y="1368"/>
                  </a:cubicBezTo>
                  <a:cubicBezTo>
                    <a:pt x="440" y="1367"/>
                    <a:pt x="436" y="1362"/>
                    <a:pt x="435" y="1362"/>
                  </a:cubicBezTo>
                  <a:cubicBezTo>
                    <a:pt x="421" y="1355"/>
                    <a:pt x="422" y="1366"/>
                    <a:pt x="408" y="1358"/>
                  </a:cubicBezTo>
                  <a:cubicBezTo>
                    <a:pt x="407" y="1357"/>
                    <a:pt x="406" y="1357"/>
                    <a:pt x="405" y="1356"/>
                  </a:cubicBezTo>
                  <a:cubicBezTo>
                    <a:pt x="404" y="1355"/>
                    <a:pt x="403" y="1354"/>
                    <a:pt x="403" y="1353"/>
                  </a:cubicBezTo>
                  <a:cubicBezTo>
                    <a:pt x="403" y="1348"/>
                    <a:pt x="425" y="1343"/>
                    <a:pt x="428" y="1346"/>
                  </a:cubicBezTo>
                  <a:cubicBezTo>
                    <a:pt x="429" y="1347"/>
                    <a:pt x="431" y="1350"/>
                    <a:pt x="433" y="1347"/>
                  </a:cubicBezTo>
                  <a:cubicBezTo>
                    <a:pt x="434" y="1347"/>
                    <a:pt x="432" y="1346"/>
                    <a:pt x="432" y="1346"/>
                  </a:cubicBezTo>
                  <a:cubicBezTo>
                    <a:pt x="427" y="1341"/>
                    <a:pt x="412" y="1338"/>
                    <a:pt x="412" y="1338"/>
                  </a:cubicBezTo>
                  <a:cubicBezTo>
                    <a:pt x="412" y="1336"/>
                    <a:pt x="417" y="1338"/>
                    <a:pt x="418" y="1336"/>
                  </a:cubicBezTo>
                  <a:cubicBezTo>
                    <a:pt x="420" y="1334"/>
                    <a:pt x="427" y="1298"/>
                    <a:pt x="450" y="1310"/>
                  </a:cubicBezTo>
                  <a:cubicBezTo>
                    <a:pt x="451" y="1311"/>
                    <a:pt x="457" y="1312"/>
                    <a:pt x="458" y="1312"/>
                  </a:cubicBezTo>
                  <a:cubicBezTo>
                    <a:pt x="460" y="1308"/>
                    <a:pt x="442" y="1305"/>
                    <a:pt x="442" y="1302"/>
                  </a:cubicBezTo>
                  <a:cubicBezTo>
                    <a:pt x="442" y="1301"/>
                    <a:pt x="444" y="1300"/>
                    <a:pt x="444" y="1299"/>
                  </a:cubicBezTo>
                  <a:cubicBezTo>
                    <a:pt x="450" y="1290"/>
                    <a:pt x="466" y="1293"/>
                    <a:pt x="466" y="1293"/>
                  </a:cubicBezTo>
                  <a:cubicBezTo>
                    <a:pt x="469" y="1291"/>
                    <a:pt x="462" y="1286"/>
                    <a:pt x="464" y="1284"/>
                  </a:cubicBezTo>
                  <a:cubicBezTo>
                    <a:pt x="466" y="1282"/>
                    <a:pt x="476" y="1281"/>
                    <a:pt x="472" y="1279"/>
                  </a:cubicBezTo>
                  <a:cubicBezTo>
                    <a:pt x="471" y="1279"/>
                    <a:pt x="471" y="1279"/>
                    <a:pt x="471" y="1279"/>
                  </a:cubicBezTo>
                  <a:cubicBezTo>
                    <a:pt x="469" y="1278"/>
                    <a:pt x="467" y="1280"/>
                    <a:pt x="464" y="1280"/>
                  </a:cubicBezTo>
                  <a:cubicBezTo>
                    <a:pt x="458" y="1281"/>
                    <a:pt x="455" y="1287"/>
                    <a:pt x="448" y="1289"/>
                  </a:cubicBezTo>
                  <a:cubicBezTo>
                    <a:pt x="445" y="1291"/>
                    <a:pt x="449" y="1294"/>
                    <a:pt x="447" y="1295"/>
                  </a:cubicBezTo>
                  <a:cubicBezTo>
                    <a:pt x="437" y="1299"/>
                    <a:pt x="436" y="1287"/>
                    <a:pt x="430" y="1296"/>
                  </a:cubicBezTo>
                  <a:cubicBezTo>
                    <a:pt x="427" y="1299"/>
                    <a:pt x="440" y="1297"/>
                    <a:pt x="436" y="1303"/>
                  </a:cubicBezTo>
                  <a:cubicBezTo>
                    <a:pt x="433" y="1307"/>
                    <a:pt x="414" y="1324"/>
                    <a:pt x="411" y="1326"/>
                  </a:cubicBezTo>
                  <a:cubicBezTo>
                    <a:pt x="408" y="1327"/>
                    <a:pt x="406" y="1320"/>
                    <a:pt x="402" y="1323"/>
                  </a:cubicBezTo>
                  <a:cubicBezTo>
                    <a:pt x="402" y="1324"/>
                    <a:pt x="402" y="1324"/>
                    <a:pt x="402" y="1324"/>
                  </a:cubicBezTo>
                  <a:cubicBezTo>
                    <a:pt x="399" y="1330"/>
                    <a:pt x="407" y="1331"/>
                    <a:pt x="408" y="1334"/>
                  </a:cubicBezTo>
                  <a:cubicBezTo>
                    <a:pt x="412" y="1345"/>
                    <a:pt x="404" y="1345"/>
                    <a:pt x="399" y="1350"/>
                  </a:cubicBezTo>
                  <a:cubicBezTo>
                    <a:pt x="397" y="1352"/>
                    <a:pt x="402" y="1358"/>
                    <a:pt x="401" y="1358"/>
                  </a:cubicBezTo>
                  <a:cubicBezTo>
                    <a:pt x="396" y="1362"/>
                    <a:pt x="387" y="1351"/>
                    <a:pt x="386" y="1345"/>
                  </a:cubicBezTo>
                  <a:cubicBezTo>
                    <a:pt x="386" y="1344"/>
                    <a:pt x="384" y="1337"/>
                    <a:pt x="384" y="1338"/>
                  </a:cubicBezTo>
                  <a:cubicBezTo>
                    <a:pt x="375" y="1358"/>
                    <a:pt x="413" y="1368"/>
                    <a:pt x="426" y="1376"/>
                  </a:cubicBezTo>
                  <a:cubicBezTo>
                    <a:pt x="430" y="1379"/>
                    <a:pt x="426" y="1366"/>
                    <a:pt x="431" y="1369"/>
                  </a:cubicBezTo>
                  <a:cubicBezTo>
                    <a:pt x="434" y="1371"/>
                    <a:pt x="437" y="1388"/>
                    <a:pt x="446" y="1384"/>
                  </a:cubicBezTo>
                  <a:cubicBezTo>
                    <a:pt x="448" y="1383"/>
                    <a:pt x="444" y="1381"/>
                    <a:pt x="442" y="1380"/>
                  </a:cubicBezTo>
                  <a:close/>
                  <a:moveTo>
                    <a:pt x="473" y="1340"/>
                  </a:moveTo>
                  <a:cubicBezTo>
                    <a:pt x="472" y="1339"/>
                    <a:pt x="473" y="1337"/>
                    <a:pt x="475" y="1336"/>
                  </a:cubicBezTo>
                  <a:cubicBezTo>
                    <a:pt x="478" y="1333"/>
                    <a:pt x="471" y="1327"/>
                    <a:pt x="467" y="1327"/>
                  </a:cubicBezTo>
                  <a:cubicBezTo>
                    <a:pt x="467" y="1327"/>
                    <a:pt x="467" y="1327"/>
                    <a:pt x="467" y="1327"/>
                  </a:cubicBezTo>
                  <a:cubicBezTo>
                    <a:pt x="464" y="1327"/>
                    <a:pt x="468" y="1333"/>
                    <a:pt x="466" y="1335"/>
                  </a:cubicBezTo>
                  <a:cubicBezTo>
                    <a:pt x="465" y="1335"/>
                    <a:pt x="446" y="1335"/>
                    <a:pt x="462" y="1340"/>
                  </a:cubicBezTo>
                  <a:cubicBezTo>
                    <a:pt x="462" y="1340"/>
                    <a:pt x="464" y="1344"/>
                    <a:pt x="463" y="1344"/>
                  </a:cubicBezTo>
                  <a:cubicBezTo>
                    <a:pt x="462" y="1346"/>
                    <a:pt x="458" y="1348"/>
                    <a:pt x="456" y="1346"/>
                  </a:cubicBezTo>
                  <a:cubicBezTo>
                    <a:pt x="450" y="1339"/>
                    <a:pt x="457" y="1359"/>
                    <a:pt x="446" y="1357"/>
                  </a:cubicBezTo>
                  <a:cubicBezTo>
                    <a:pt x="442" y="1356"/>
                    <a:pt x="439" y="1345"/>
                    <a:pt x="435" y="1349"/>
                  </a:cubicBezTo>
                  <a:cubicBezTo>
                    <a:pt x="434" y="1350"/>
                    <a:pt x="447" y="1368"/>
                    <a:pt x="451" y="1369"/>
                  </a:cubicBezTo>
                  <a:cubicBezTo>
                    <a:pt x="452" y="1369"/>
                    <a:pt x="454" y="1361"/>
                    <a:pt x="454" y="1360"/>
                  </a:cubicBezTo>
                  <a:cubicBezTo>
                    <a:pt x="454" y="1359"/>
                    <a:pt x="470" y="1366"/>
                    <a:pt x="470" y="1364"/>
                  </a:cubicBezTo>
                  <a:cubicBezTo>
                    <a:pt x="470" y="1362"/>
                    <a:pt x="468" y="1361"/>
                    <a:pt x="467" y="1360"/>
                  </a:cubicBezTo>
                  <a:cubicBezTo>
                    <a:pt x="466" y="1360"/>
                    <a:pt x="448" y="1355"/>
                    <a:pt x="460" y="1349"/>
                  </a:cubicBezTo>
                  <a:cubicBezTo>
                    <a:pt x="460" y="1349"/>
                    <a:pt x="466" y="1348"/>
                    <a:pt x="467" y="1346"/>
                  </a:cubicBezTo>
                  <a:cubicBezTo>
                    <a:pt x="467" y="1345"/>
                    <a:pt x="468" y="1339"/>
                    <a:pt x="470" y="1340"/>
                  </a:cubicBezTo>
                  <a:cubicBezTo>
                    <a:pt x="476" y="1345"/>
                    <a:pt x="477" y="1367"/>
                    <a:pt x="485" y="1362"/>
                  </a:cubicBezTo>
                  <a:cubicBezTo>
                    <a:pt x="492" y="1358"/>
                    <a:pt x="476" y="1344"/>
                    <a:pt x="473" y="1340"/>
                  </a:cubicBezTo>
                  <a:close/>
                  <a:moveTo>
                    <a:pt x="508" y="1330"/>
                  </a:moveTo>
                  <a:cubicBezTo>
                    <a:pt x="508" y="1330"/>
                    <a:pt x="507" y="1330"/>
                    <a:pt x="507" y="1330"/>
                  </a:cubicBezTo>
                  <a:cubicBezTo>
                    <a:pt x="499" y="1326"/>
                    <a:pt x="491" y="1331"/>
                    <a:pt x="484" y="1322"/>
                  </a:cubicBezTo>
                  <a:cubicBezTo>
                    <a:pt x="484" y="1322"/>
                    <a:pt x="480" y="1319"/>
                    <a:pt x="481" y="1318"/>
                  </a:cubicBezTo>
                  <a:cubicBezTo>
                    <a:pt x="485" y="1313"/>
                    <a:pt x="508" y="1324"/>
                    <a:pt x="499" y="1313"/>
                  </a:cubicBezTo>
                  <a:cubicBezTo>
                    <a:pt x="498" y="1313"/>
                    <a:pt x="498" y="1313"/>
                    <a:pt x="498" y="1313"/>
                  </a:cubicBezTo>
                  <a:cubicBezTo>
                    <a:pt x="493" y="1311"/>
                    <a:pt x="489" y="1315"/>
                    <a:pt x="483" y="1314"/>
                  </a:cubicBezTo>
                  <a:cubicBezTo>
                    <a:pt x="463" y="1311"/>
                    <a:pt x="494" y="1343"/>
                    <a:pt x="508" y="1331"/>
                  </a:cubicBezTo>
                  <a:cubicBezTo>
                    <a:pt x="508" y="1331"/>
                    <a:pt x="508" y="1331"/>
                    <a:pt x="508" y="1330"/>
                  </a:cubicBezTo>
                  <a:close/>
                  <a:moveTo>
                    <a:pt x="606" y="1373"/>
                  </a:moveTo>
                  <a:cubicBezTo>
                    <a:pt x="593" y="1364"/>
                    <a:pt x="604" y="1367"/>
                    <a:pt x="599" y="1358"/>
                  </a:cubicBezTo>
                  <a:cubicBezTo>
                    <a:pt x="598" y="1355"/>
                    <a:pt x="592" y="1354"/>
                    <a:pt x="592" y="1350"/>
                  </a:cubicBezTo>
                  <a:cubicBezTo>
                    <a:pt x="592" y="1347"/>
                    <a:pt x="599" y="1349"/>
                    <a:pt x="600" y="1347"/>
                  </a:cubicBezTo>
                  <a:cubicBezTo>
                    <a:pt x="603" y="1342"/>
                    <a:pt x="601" y="1352"/>
                    <a:pt x="603" y="1353"/>
                  </a:cubicBezTo>
                  <a:cubicBezTo>
                    <a:pt x="606" y="1355"/>
                    <a:pt x="607" y="1350"/>
                    <a:pt x="606" y="1348"/>
                  </a:cubicBezTo>
                  <a:cubicBezTo>
                    <a:pt x="605" y="1346"/>
                    <a:pt x="608" y="1343"/>
                    <a:pt x="608" y="1343"/>
                  </a:cubicBezTo>
                  <a:cubicBezTo>
                    <a:pt x="606" y="1341"/>
                    <a:pt x="599" y="1343"/>
                    <a:pt x="599" y="1342"/>
                  </a:cubicBezTo>
                  <a:cubicBezTo>
                    <a:pt x="599" y="1340"/>
                    <a:pt x="617" y="1326"/>
                    <a:pt x="614" y="1324"/>
                  </a:cubicBezTo>
                  <a:cubicBezTo>
                    <a:pt x="611" y="1321"/>
                    <a:pt x="605" y="1330"/>
                    <a:pt x="605" y="1332"/>
                  </a:cubicBezTo>
                  <a:cubicBezTo>
                    <a:pt x="604" y="1334"/>
                    <a:pt x="592" y="1344"/>
                    <a:pt x="589" y="1348"/>
                  </a:cubicBezTo>
                  <a:cubicBezTo>
                    <a:pt x="587" y="1354"/>
                    <a:pt x="602" y="1355"/>
                    <a:pt x="592" y="1360"/>
                  </a:cubicBezTo>
                  <a:cubicBezTo>
                    <a:pt x="587" y="1362"/>
                    <a:pt x="578" y="1347"/>
                    <a:pt x="570" y="1345"/>
                  </a:cubicBezTo>
                  <a:cubicBezTo>
                    <a:pt x="566" y="1344"/>
                    <a:pt x="570" y="1350"/>
                    <a:pt x="568" y="1350"/>
                  </a:cubicBezTo>
                  <a:cubicBezTo>
                    <a:pt x="563" y="1350"/>
                    <a:pt x="557" y="1345"/>
                    <a:pt x="552" y="1343"/>
                  </a:cubicBezTo>
                  <a:cubicBezTo>
                    <a:pt x="548" y="1342"/>
                    <a:pt x="546" y="1346"/>
                    <a:pt x="544" y="1344"/>
                  </a:cubicBezTo>
                  <a:cubicBezTo>
                    <a:pt x="543" y="1343"/>
                    <a:pt x="544" y="1338"/>
                    <a:pt x="543" y="1339"/>
                  </a:cubicBezTo>
                  <a:cubicBezTo>
                    <a:pt x="542" y="1340"/>
                    <a:pt x="541" y="1346"/>
                    <a:pt x="540" y="1344"/>
                  </a:cubicBezTo>
                  <a:cubicBezTo>
                    <a:pt x="537" y="1338"/>
                    <a:pt x="546" y="1332"/>
                    <a:pt x="546" y="1329"/>
                  </a:cubicBezTo>
                  <a:cubicBezTo>
                    <a:pt x="547" y="1326"/>
                    <a:pt x="535" y="1322"/>
                    <a:pt x="538" y="1320"/>
                  </a:cubicBezTo>
                  <a:cubicBezTo>
                    <a:pt x="542" y="1319"/>
                    <a:pt x="546" y="1318"/>
                    <a:pt x="549" y="1320"/>
                  </a:cubicBezTo>
                  <a:cubicBezTo>
                    <a:pt x="550" y="1321"/>
                    <a:pt x="558" y="1324"/>
                    <a:pt x="558" y="1322"/>
                  </a:cubicBezTo>
                  <a:cubicBezTo>
                    <a:pt x="556" y="1312"/>
                    <a:pt x="550" y="1319"/>
                    <a:pt x="541" y="1315"/>
                  </a:cubicBezTo>
                  <a:cubicBezTo>
                    <a:pt x="540" y="1315"/>
                    <a:pt x="555" y="1298"/>
                    <a:pt x="545" y="1302"/>
                  </a:cubicBezTo>
                  <a:cubicBezTo>
                    <a:pt x="543" y="1302"/>
                    <a:pt x="542" y="1300"/>
                    <a:pt x="542" y="1299"/>
                  </a:cubicBezTo>
                  <a:cubicBezTo>
                    <a:pt x="546" y="1293"/>
                    <a:pt x="566" y="1308"/>
                    <a:pt x="563" y="1302"/>
                  </a:cubicBezTo>
                  <a:cubicBezTo>
                    <a:pt x="562" y="1297"/>
                    <a:pt x="549" y="1290"/>
                    <a:pt x="549" y="1289"/>
                  </a:cubicBezTo>
                  <a:cubicBezTo>
                    <a:pt x="549" y="1289"/>
                    <a:pt x="565" y="1270"/>
                    <a:pt x="559" y="1266"/>
                  </a:cubicBezTo>
                  <a:cubicBezTo>
                    <a:pt x="558" y="1265"/>
                    <a:pt x="544" y="1281"/>
                    <a:pt x="544" y="1276"/>
                  </a:cubicBezTo>
                  <a:cubicBezTo>
                    <a:pt x="544" y="1266"/>
                    <a:pt x="546" y="1262"/>
                    <a:pt x="554" y="1261"/>
                  </a:cubicBezTo>
                  <a:cubicBezTo>
                    <a:pt x="557" y="1260"/>
                    <a:pt x="561" y="1257"/>
                    <a:pt x="560" y="1256"/>
                  </a:cubicBezTo>
                  <a:cubicBezTo>
                    <a:pt x="556" y="1252"/>
                    <a:pt x="553" y="1260"/>
                    <a:pt x="548" y="1255"/>
                  </a:cubicBezTo>
                  <a:cubicBezTo>
                    <a:pt x="543" y="1250"/>
                    <a:pt x="555" y="1253"/>
                    <a:pt x="553" y="1251"/>
                  </a:cubicBezTo>
                  <a:cubicBezTo>
                    <a:pt x="552" y="1250"/>
                    <a:pt x="546" y="1245"/>
                    <a:pt x="549" y="1243"/>
                  </a:cubicBezTo>
                  <a:cubicBezTo>
                    <a:pt x="553" y="1240"/>
                    <a:pt x="553" y="1248"/>
                    <a:pt x="554" y="1247"/>
                  </a:cubicBezTo>
                  <a:cubicBezTo>
                    <a:pt x="559" y="1245"/>
                    <a:pt x="562" y="1243"/>
                    <a:pt x="562" y="1244"/>
                  </a:cubicBezTo>
                  <a:cubicBezTo>
                    <a:pt x="566" y="1246"/>
                    <a:pt x="563" y="1238"/>
                    <a:pt x="564" y="1238"/>
                  </a:cubicBezTo>
                  <a:cubicBezTo>
                    <a:pt x="567" y="1238"/>
                    <a:pt x="575" y="1244"/>
                    <a:pt x="576" y="1243"/>
                  </a:cubicBezTo>
                  <a:cubicBezTo>
                    <a:pt x="580" y="1238"/>
                    <a:pt x="564" y="1234"/>
                    <a:pt x="563" y="1232"/>
                  </a:cubicBezTo>
                  <a:cubicBezTo>
                    <a:pt x="561" y="1228"/>
                    <a:pt x="567" y="1218"/>
                    <a:pt x="568" y="1215"/>
                  </a:cubicBezTo>
                  <a:cubicBezTo>
                    <a:pt x="568" y="1214"/>
                    <a:pt x="570" y="1207"/>
                    <a:pt x="572" y="1207"/>
                  </a:cubicBezTo>
                  <a:cubicBezTo>
                    <a:pt x="574" y="1208"/>
                    <a:pt x="571" y="1225"/>
                    <a:pt x="582" y="1227"/>
                  </a:cubicBezTo>
                  <a:cubicBezTo>
                    <a:pt x="582" y="1227"/>
                    <a:pt x="575" y="1219"/>
                    <a:pt x="576" y="1217"/>
                  </a:cubicBezTo>
                  <a:cubicBezTo>
                    <a:pt x="577" y="1215"/>
                    <a:pt x="577" y="1200"/>
                    <a:pt x="578" y="1199"/>
                  </a:cubicBezTo>
                  <a:cubicBezTo>
                    <a:pt x="579" y="1199"/>
                    <a:pt x="586" y="1203"/>
                    <a:pt x="587" y="1203"/>
                  </a:cubicBezTo>
                  <a:cubicBezTo>
                    <a:pt x="593" y="1201"/>
                    <a:pt x="577" y="1194"/>
                    <a:pt x="579" y="1188"/>
                  </a:cubicBezTo>
                  <a:cubicBezTo>
                    <a:pt x="579" y="1186"/>
                    <a:pt x="580" y="1180"/>
                    <a:pt x="580" y="1183"/>
                  </a:cubicBezTo>
                  <a:cubicBezTo>
                    <a:pt x="581" y="1189"/>
                    <a:pt x="595" y="1205"/>
                    <a:pt x="601" y="1201"/>
                  </a:cubicBezTo>
                  <a:cubicBezTo>
                    <a:pt x="606" y="1196"/>
                    <a:pt x="580" y="1186"/>
                    <a:pt x="587" y="1183"/>
                  </a:cubicBezTo>
                  <a:cubicBezTo>
                    <a:pt x="592" y="1180"/>
                    <a:pt x="608" y="1197"/>
                    <a:pt x="610" y="1196"/>
                  </a:cubicBezTo>
                  <a:cubicBezTo>
                    <a:pt x="615" y="1193"/>
                    <a:pt x="591" y="1155"/>
                    <a:pt x="613" y="1152"/>
                  </a:cubicBezTo>
                  <a:cubicBezTo>
                    <a:pt x="641" y="1149"/>
                    <a:pt x="630" y="1179"/>
                    <a:pt x="626" y="1172"/>
                  </a:cubicBezTo>
                  <a:cubicBezTo>
                    <a:pt x="626" y="1172"/>
                    <a:pt x="626" y="1172"/>
                    <a:pt x="626" y="1172"/>
                  </a:cubicBezTo>
                  <a:cubicBezTo>
                    <a:pt x="625" y="1171"/>
                    <a:pt x="625" y="1171"/>
                    <a:pt x="626" y="1172"/>
                  </a:cubicBezTo>
                  <a:cubicBezTo>
                    <a:pt x="626" y="1173"/>
                    <a:pt x="629" y="1178"/>
                    <a:pt x="627" y="1178"/>
                  </a:cubicBezTo>
                  <a:cubicBezTo>
                    <a:pt x="624" y="1179"/>
                    <a:pt x="622" y="1176"/>
                    <a:pt x="617" y="1176"/>
                  </a:cubicBezTo>
                  <a:cubicBezTo>
                    <a:pt x="613" y="1176"/>
                    <a:pt x="626" y="1183"/>
                    <a:pt x="617" y="1182"/>
                  </a:cubicBezTo>
                  <a:cubicBezTo>
                    <a:pt x="613" y="1182"/>
                    <a:pt x="614" y="1197"/>
                    <a:pt x="622" y="1197"/>
                  </a:cubicBezTo>
                  <a:cubicBezTo>
                    <a:pt x="624" y="1196"/>
                    <a:pt x="619" y="1193"/>
                    <a:pt x="619" y="1191"/>
                  </a:cubicBezTo>
                  <a:cubicBezTo>
                    <a:pt x="622" y="1179"/>
                    <a:pt x="630" y="1185"/>
                    <a:pt x="638" y="1177"/>
                  </a:cubicBezTo>
                  <a:cubicBezTo>
                    <a:pt x="641" y="1174"/>
                    <a:pt x="640" y="1151"/>
                    <a:pt x="642" y="1151"/>
                  </a:cubicBezTo>
                  <a:cubicBezTo>
                    <a:pt x="643" y="1150"/>
                    <a:pt x="643" y="1151"/>
                    <a:pt x="643" y="1152"/>
                  </a:cubicBezTo>
                  <a:cubicBezTo>
                    <a:pt x="658" y="1163"/>
                    <a:pt x="640" y="1172"/>
                    <a:pt x="644" y="1175"/>
                  </a:cubicBezTo>
                  <a:cubicBezTo>
                    <a:pt x="647" y="1177"/>
                    <a:pt x="653" y="1161"/>
                    <a:pt x="654" y="1170"/>
                  </a:cubicBezTo>
                  <a:cubicBezTo>
                    <a:pt x="654" y="1171"/>
                    <a:pt x="666" y="1177"/>
                    <a:pt x="666" y="1177"/>
                  </a:cubicBezTo>
                  <a:cubicBezTo>
                    <a:pt x="668" y="1177"/>
                    <a:pt x="666" y="1169"/>
                    <a:pt x="666" y="1169"/>
                  </a:cubicBezTo>
                  <a:cubicBezTo>
                    <a:pt x="667" y="1160"/>
                    <a:pt x="659" y="1170"/>
                    <a:pt x="658" y="1170"/>
                  </a:cubicBezTo>
                  <a:cubicBezTo>
                    <a:pt x="656" y="1170"/>
                    <a:pt x="657" y="1167"/>
                    <a:pt x="658" y="1166"/>
                  </a:cubicBezTo>
                  <a:cubicBezTo>
                    <a:pt x="664" y="1163"/>
                    <a:pt x="656" y="1164"/>
                    <a:pt x="654" y="1164"/>
                  </a:cubicBezTo>
                  <a:cubicBezTo>
                    <a:pt x="653" y="1164"/>
                    <a:pt x="653" y="1161"/>
                    <a:pt x="653" y="1160"/>
                  </a:cubicBezTo>
                  <a:cubicBezTo>
                    <a:pt x="654" y="1153"/>
                    <a:pt x="659" y="1156"/>
                    <a:pt x="661" y="1152"/>
                  </a:cubicBezTo>
                  <a:cubicBezTo>
                    <a:pt x="662" y="1152"/>
                    <a:pt x="658" y="1151"/>
                    <a:pt x="660" y="1147"/>
                  </a:cubicBezTo>
                  <a:cubicBezTo>
                    <a:pt x="662" y="1144"/>
                    <a:pt x="672" y="1157"/>
                    <a:pt x="676" y="1155"/>
                  </a:cubicBezTo>
                  <a:cubicBezTo>
                    <a:pt x="680" y="1153"/>
                    <a:pt x="667" y="1149"/>
                    <a:pt x="667" y="1147"/>
                  </a:cubicBezTo>
                  <a:cubicBezTo>
                    <a:pt x="669" y="1135"/>
                    <a:pt x="670" y="1151"/>
                    <a:pt x="676" y="1144"/>
                  </a:cubicBezTo>
                  <a:cubicBezTo>
                    <a:pt x="677" y="1143"/>
                    <a:pt x="672" y="1141"/>
                    <a:pt x="671" y="1140"/>
                  </a:cubicBezTo>
                  <a:cubicBezTo>
                    <a:pt x="665" y="1135"/>
                    <a:pt x="662" y="1132"/>
                    <a:pt x="660" y="1124"/>
                  </a:cubicBezTo>
                  <a:cubicBezTo>
                    <a:pt x="659" y="1124"/>
                    <a:pt x="656" y="1119"/>
                    <a:pt x="657" y="1119"/>
                  </a:cubicBezTo>
                  <a:cubicBezTo>
                    <a:pt x="660" y="1118"/>
                    <a:pt x="668" y="1127"/>
                    <a:pt x="672" y="1127"/>
                  </a:cubicBezTo>
                  <a:cubicBezTo>
                    <a:pt x="676" y="1127"/>
                    <a:pt x="667" y="1117"/>
                    <a:pt x="671" y="1115"/>
                  </a:cubicBezTo>
                  <a:cubicBezTo>
                    <a:pt x="674" y="1113"/>
                    <a:pt x="680" y="1124"/>
                    <a:pt x="688" y="1120"/>
                  </a:cubicBezTo>
                  <a:cubicBezTo>
                    <a:pt x="688" y="1120"/>
                    <a:pt x="675" y="1113"/>
                    <a:pt x="674" y="1113"/>
                  </a:cubicBezTo>
                  <a:cubicBezTo>
                    <a:pt x="665" y="1109"/>
                    <a:pt x="663" y="1123"/>
                    <a:pt x="658" y="1107"/>
                  </a:cubicBezTo>
                  <a:cubicBezTo>
                    <a:pt x="658" y="1106"/>
                    <a:pt x="661" y="1104"/>
                    <a:pt x="662" y="1103"/>
                  </a:cubicBezTo>
                  <a:cubicBezTo>
                    <a:pt x="662" y="1103"/>
                    <a:pt x="665" y="1110"/>
                    <a:pt x="668" y="1108"/>
                  </a:cubicBezTo>
                  <a:cubicBezTo>
                    <a:pt x="671" y="1106"/>
                    <a:pt x="663" y="1102"/>
                    <a:pt x="665" y="1099"/>
                  </a:cubicBezTo>
                  <a:cubicBezTo>
                    <a:pt x="666" y="1098"/>
                    <a:pt x="662" y="1095"/>
                    <a:pt x="667" y="1098"/>
                  </a:cubicBezTo>
                  <a:cubicBezTo>
                    <a:pt x="677" y="1105"/>
                    <a:pt x="680" y="1103"/>
                    <a:pt x="669" y="1096"/>
                  </a:cubicBezTo>
                  <a:cubicBezTo>
                    <a:pt x="661" y="1091"/>
                    <a:pt x="679" y="1092"/>
                    <a:pt x="674" y="1089"/>
                  </a:cubicBezTo>
                  <a:cubicBezTo>
                    <a:pt x="665" y="1083"/>
                    <a:pt x="665" y="1094"/>
                    <a:pt x="662" y="1095"/>
                  </a:cubicBezTo>
                  <a:cubicBezTo>
                    <a:pt x="656" y="1098"/>
                    <a:pt x="645" y="1086"/>
                    <a:pt x="644" y="1092"/>
                  </a:cubicBezTo>
                  <a:cubicBezTo>
                    <a:pt x="643" y="1097"/>
                    <a:pt x="659" y="1099"/>
                    <a:pt x="657" y="1105"/>
                  </a:cubicBezTo>
                  <a:cubicBezTo>
                    <a:pt x="656" y="1109"/>
                    <a:pt x="643" y="1095"/>
                    <a:pt x="642" y="1095"/>
                  </a:cubicBezTo>
                  <a:cubicBezTo>
                    <a:pt x="641" y="1095"/>
                    <a:pt x="647" y="1102"/>
                    <a:pt x="647" y="1103"/>
                  </a:cubicBezTo>
                  <a:cubicBezTo>
                    <a:pt x="646" y="1110"/>
                    <a:pt x="658" y="1121"/>
                    <a:pt x="652" y="1125"/>
                  </a:cubicBezTo>
                  <a:cubicBezTo>
                    <a:pt x="651" y="1125"/>
                    <a:pt x="632" y="1106"/>
                    <a:pt x="631" y="1104"/>
                  </a:cubicBezTo>
                  <a:cubicBezTo>
                    <a:pt x="630" y="1102"/>
                    <a:pt x="622" y="1097"/>
                    <a:pt x="622" y="1100"/>
                  </a:cubicBezTo>
                  <a:cubicBezTo>
                    <a:pt x="622" y="1105"/>
                    <a:pt x="670" y="1139"/>
                    <a:pt x="655" y="1152"/>
                  </a:cubicBezTo>
                  <a:cubicBezTo>
                    <a:pt x="647" y="1159"/>
                    <a:pt x="618" y="1120"/>
                    <a:pt x="616" y="1114"/>
                  </a:cubicBezTo>
                  <a:cubicBezTo>
                    <a:pt x="616" y="1113"/>
                    <a:pt x="612" y="1109"/>
                    <a:pt x="610" y="1109"/>
                  </a:cubicBezTo>
                  <a:cubicBezTo>
                    <a:pt x="603" y="1113"/>
                    <a:pt x="636" y="1145"/>
                    <a:pt x="632" y="1151"/>
                  </a:cubicBezTo>
                  <a:cubicBezTo>
                    <a:pt x="629" y="1154"/>
                    <a:pt x="619" y="1144"/>
                    <a:pt x="617" y="1144"/>
                  </a:cubicBezTo>
                  <a:cubicBezTo>
                    <a:pt x="609" y="1142"/>
                    <a:pt x="615" y="1150"/>
                    <a:pt x="615" y="1150"/>
                  </a:cubicBezTo>
                  <a:cubicBezTo>
                    <a:pt x="603" y="1154"/>
                    <a:pt x="603" y="1151"/>
                    <a:pt x="599" y="1155"/>
                  </a:cubicBezTo>
                  <a:cubicBezTo>
                    <a:pt x="597" y="1158"/>
                    <a:pt x="600" y="1184"/>
                    <a:pt x="600" y="1184"/>
                  </a:cubicBezTo>
                  <a:cubicBezTo>
                    <a:pt x="581" y="1179"/>
                    <a:pt x="594" y="1169"/>
                    <a:pt x="593" y="1167"/>
                  </a:cubicBezTo>
                  <a:cubicBezTo>
                    <a:pt x="593" y="1165"/>
                    <a:pt x="593" y="1159"/>
                    <a:pt x="590" y="1160"/>
                  </a:cubicBezTo>
                  <a:cubicBezTo>
                    <a:pt x="586" y="1161"/>
                    <a:pt x="588" y="1170"/>
                    <a:pt x="584" y="1172"/>
                  </a:cubicBezTo>
                  <a:cubicBezTo>
                    <a:pt x="581" y="1173"/>
                    <a:pt x="584" y="1186"/>
                    <a:pt x="583" y="1182"/>
                  </a:cubicBezTo>
                  <a:cubicBezTo>
                    <a:pt x="581" y="1174"/>
                    <a:pt x="559" y="1164"/>
                    <a:pt x="559" y="1155"/>
                  </a:cubicBezTo>
                  <a:cubicBezTo>
                    <a:pt x="559" y="1152"/>
                    <a:pt x="575" y="1167"/>
                    <a:pt x="565" y="1153"/>
                  </a:cubicBezTo>
                  <a:cubicBezTo>
                    <a:pt x="562" y="1148"/>
                    <a:pt x="570" y="1144"/>
                    <a:pt x="573" y="1142"/>
                  </a:cubicBezTo>
                  <a:cubicBezTo>
                    <a:pt x="577" y="1139"/>
                    <a:pt x="587" y="1154"/>
                    <a:pt x="592" y="1150"/>
                  </a:cubicBezTo>
                  <a:cubicBezTo>
                    <a:pt x="597" y="1145"/>
                    <a:pt x="580" y="1141"/>
                    <a:pt x="579" y="1134"/>
                  </a:cubicBezTo>
                  <a:cubicBezTo>
                    <a:pt x="578" y="1132"/>
                    <a:pt x="584" y="1140"/>
                    <a:pt x="584" y="1138"/>
                  </a:cubicBezTo>
                  <a:cubicBezTo>
                    <a:pt x="584" y="1132"/>
                    <a:pt x="580" y="1118"/>
                    <a:pt x="585" y="1121"/>
                  </a:cubicBezTo>
                  <a:cubicBezTo>
                    <a:pt x="586" y="1121"/>
                    <a:pt x="591" y="1126"/>
                    <a:pt x="590" y="1123"/>
                  </a:cubicBezTo>
                  <a:cubicBezTo>
                    <a:pt x="590" y="1121"/>
                    <a:pt x="584" y="1116"/>
                    <a:pt x="586" y="1114"/>
                  </a:cubicBezTo>
                  <a:cubicBezTo>
                    <a:pt x="593" y="1108"/>
                    <a:pt x="612" y="1146"/>
                    <a:pt x="612" y="1134"/>
                  </a:cubicBezTo>
                  <a:cubicBezTo>
                    <a:pt x="613" y="1129"/>
                    <a:pt x="619" y="1138"/>
                    <a:pt x="619" y="1136"/>
                  </a:cubicBezTo>
                  <a:cubicBezTo>
                    <a:pt x="618" y="1117"/>
                    <a:pt x="582" y="1109"/>
                    <a:pt x="579" y="1094"/>
                  </a:cubicBezTo>
                  <a:cubicBezTo>
                    <a:pt x="578" y="1085"/>
                    <a:pt x="592" y="1103"/>
                    <a:pt x="595" y="1098"/>
                  </a:cubicBezTo>
                  <a:cubicBezTo>
                    <a:pt x="596" y="1097"/>
                    <a:pt x="580" y="1087"/>
                    <a:pt x="578" y="1086"/>
                  </a:cubicBezTo>
                  <a:cubicBezTo>
                    <a:pt x="576" y="1084"/>
                    <a:pt x="573" y="1068"/>
                    <a:pt x="567" y="1071"/>
                  </a:cubicBezTo>
                  <a:cubicBezTo>
                    <a:pt x="560" y="1074"/>
                    <a:pt x="570" y="1083"/>
                    <a:pt x="568" y="1083"/>
                  </a:cubicBezTo>
                  <a:cubicBezTo>
                    <a:pt x="563" y="1083"/>
                    <a:pt x="544" y="1068"/>
                    <a:pt x="549" y="1063"/>
                  </a:cubicBezTo>
                  <a:cubicBezTo>
                    <a:pt x="549" y="1063"/>
                    <a:pt x="550" y="1057"/>
                    <a:pt x="549" y="1056"/>
                  </a:cubicBezTo>
                  <a:cubicBezTo>
                    <a:pt x="546" y="1054"/>
                    <a:pt x="544" y="1064"/>
                    <a:pt x="540" y="1064"/>
                  </a:cubicBezTo>
                  <a:cubicBezTo>
                    <a:pt x="540" y="1064"/>
                    <a:pt x="542" y="1076"/>
                    <a:pt x="538" y="1076"/>
                  </a:cubicBezTo>
                  <a:cubicBezTo>
                    <a:pt x="535" y="1075"/>
                    <a:pt x="537" y="1072"/>
                    <a:pt x="535" y="1071"/>
                  </a:cubicBezTo>
                  <a:cubicBezTo>
                    <a:pt x="525" y="1068"/>
                    <a:pt x="540" y="1084"/>
                    <a:pt x="538" y="1090"/>
                  </a:cubicBezTo>
                  <a:cubicBezTo>
                    <a:pt x="535" y="1096"/>
                    <a:pt x="523" y="1080"/>
                    <a:pt x="524" y="1090"/>
                  </a:cubicBezTo>
                  <a:cubicBezTo>
                    <a:pt x="525" y="1091"/>
                    <a:pt x="522" y="1092"/>
                    <a:pt x="523" y="1094"/>
                  </a:cubicBezTo>
                  <a:cubicBezTo>
                    <a:pt x="536" y="1106"/>
                    <a:pt x="541" y="1098"/>
                    <a:pt x="543" y="1085"/>
                  </a:cubicBezTo>
                  <a:cubicBezTo>
                    <a:pt x="544" y="1084"/>
                    <a:pt x="541" y="1079"/>
                    <a:pt x="541" y="1078"/>
                  </a:cubicBezTo>
                  <a:cubicBezTo>
                    <a:pt x="542" y="1078"/>
                    <a:pt x="568" y="1091"/>
                    <a:pt x="576" y="1101"/>
                  </a:cubicBezTo>
                  <a:cubicBezTo>
                    <a:pt x="578" y="1104"/>
                    <a:pt x="584" y="1107"/>
                    <a:pt x="582" y="1109"/>
                  </a:cubicBezTo>
                  <a:cubicBezTo>
                    <a:pt x="581" y="1110"/>
                    <a:pt x="578" y="1106"/>
                    <a:pt x="577" y="1107"/>
                  </a:cubicBezTo>
                  <a:cubicBezTo>
                    <a:pt x="573" y="1108"/>
                    <a:pt x="562" y="1106"/>
                    <a:pt x="565" y="1108"/>
                  </a:cubicBezTo>
                  <a:cubicBezTo>
                    <a:pt x="567" y="1109"/>
                    <a:pt x="575" y="1113"/>
                    <a:pt x="575" y="1115"/>
                  </a:cubicBezTo>
                  <a:cubicBezTo>
                    <a:pt x="574" y="1117"/>
                    <a:pt x="566" y="1122"/>
                    <a:pt x="564" y="1124"/>
                  </a:cubicBezTo>
                  <a:cubicBezTo>
                    <a:pt x="562" y="1125"/>
                    <a:pt x="581" y="1126"/>
                    <a:pt x="574" y="1138"/>
                  </a:cubicBezTo>
                  <a:cubicBezTo>
                    <a:pt x="571" y="1141"/>
                    <a:pt x="567" y="1129"/>
                    <a:pt x="563" y="1130"/>
                  </a:cubicBezTo>
                  <a:cubicBezTo>
                    <a:pt x="561" y="1131"/>
                    <a:pt x="570" y="1156"/>
                    <a:pt x="554" y="1147"/>
                  </a:cubicBezTo>
                  <a:cubicBezTo>
                    <a:pt x="553" y="1146"/>
                    <a:pt x="546" y="1147"/>
                    <a:pt x="545" y="1148"/>
                  </a:cubicBezTo>
                  <a:cubicBezTo>
                    <a:pt x="543" y="1157"/>
                    <a:pt x="558" y="1163"/>
                    <a:pt x="561" y="1165"/>
                  </a:cubicBezTo>
                  <a:cubicBezTo>
                    <a:pt x="570" y="1170"/>
                    <a:pt x="564" y="1176"/>
                    <a:pt x="564" y="1176"/>
                  </a:cubicBezTo>
                  <a:cubicBezTo>
                    <a:pt x="574" y="1181"/>
                    <a:pt x="569" y="1171"/>
                    <a:pt x="573" y="1175"/>
                  </a:cubicBezTo>
                  <a:cubicBezTo>
                    <a:pt x="576" y="1177"/>
                    <a:pt x="577" y="1193"/>
                    <a:pt x="576" y="1193"/>
                  </a:cubicBezTo>
                  <a:cubicBezTo>
                    <a:pt x="576" y="1194"/>
                    <a:pt x="574" y="1193"/>
                    <a:pt x="573" y="1193"/>
                  </a:cubicBezTo>
                  <a:cubicBezTo>
                    <a:pt x="566" y="1190"/>
                    <a:pt x="575" y="1198"/>
                    <a:pt x="570" y="1204"/>
                  </a:cubicBezTo>
                  <a:cubicBezTo>
                    <a:pt x="562" y="1213"/>
                    <a:pt x="558" y="1204"/>
                    <a:pt x="554" y="1211"/>
                  </a:cubicBezTo>
                  <a:cubicBezTo>
                    <a:pt x="552" y="1215"/>
                    <a:pt x="562" y="1216"/>
                    <a:pt x="557" y="1220"/>
                  </a:cubicBezTo>
                  <a:cubicBezTo>
                    <a:pt x="549" y="1227"/>
                    <a:pt x="532" y="1215"/>
                    <a:pt x="532" y="1216"/>
                  </a:cubicBezTo>
                  <a:cubicBezTo>
                    <a:pt x="527" y="1233"/>
                    <a:pt x="551" y="1221"/>
                    <a:pt x="553" y="1227"/>
                  </a:cubicBezTo>
                  <a:cubicBezTo>
                    <a:pt x="554" y="1228"/>
                    <a:pt x="548" y="1226"/>
                    <a:pt x="549" y="1231"/>
                  </a:cubicBezTo>
                  <a:cubicBezTo>
                    <a:pt x="550" y="1235"/>
                    <a:pt x="560" y="1233"/>
                    <a:pt x="558" y="1237"/>
                  </a:cubicBezTo>
                  <a:cubicBezTo>
                    <a:pt x="555" y="1245"/>
                    <a:pt x="544" y="1237"/>
                    <a:pt x="540" y="1239"/>
                  </a:cubicBezTo>
                  <a:cubicBezTo>
                    <a:pt x="538" y="1239"/>
                    <a:pt x="541" y="1240"/>
                    <a:pt x="541" y="1240"/>
                  </a:cubicBezTo>
                  <a:cubicBezTo>
                    <a:pt x="545" y="1243"/>
                    <a:pt x="542" y="1251"/>
                    <a:pt x="538" y="1252"/>
                  </a:cubicBezTo>
                  <a:cubicBezTo>
                    <a:pt x="536" y="1252"/>
                    <a:pt x="536" y="1255"/>
                    <a:pt x="536" y="1255"/>
                  </a:cubicBezTo>
                  <a:cubicBezTo>
                    <a:pt x="524" y="1254"/>
                    <a:pt x="516" y="1249"/>
                    <a:pt x="512" y="1260"/>
                  </a:cubicBezTo>
                  <a:cubicBezTo>
                    <a:pt x="512" y="1261"/>
                    <a:pt x="534" y="1256"/>
                    <a:pt x="535" y="1259"/>
                  </a:cubicBezTo>
                  <a:cubicBezTo>
                    <a:pt x="537" y="1274"/>
                    <a:pt x="522" y="1275"/>
                    <a:pt x="517" y="1271"/>
                  </a:cubicBezTo>
                  <a:cubicBezTo>
                    <a:pt x="515" y="1270"/>
                    <a:pt x="508" y="1269"/>
                    <a:pt x="508" y="1269"/>
                  </a:cubicBezTo>
                  <a:cubicBezTo>
                    <a:pt x="513" y="1288"/>
                    <a:pt x="538" y="1283"/>
                    <a:pt x="534" y="1293"/>
                  </a:cubicBezTo>
                  <a:cubicBezTo>
                    <a:pt x="533" y="1299"/>
                    <a:pt x="514" y="1309"/>
                    <a:pt x="514" y="1309"/>
                  </a:cubicBezTo>
                  <a:cubicBezTo>
                    <a:pt x="512" y="1308"/>
                    <a:pt x="507" y="1305"/>
                    <a:pt x="506" y="1307"/>
                  </a:cubicBezTo>
                  <a:cubicBezTo>
                    <a:pt x="506" y="1309"/>
                    <a:pt x="507" y="1310"/>
                    <a:pt x="508" y="1310"/>
                  </a:cubicBezTo>
                  <a:cubicBezTo>
                    <a:pt x="517" y="1315"/>
                    <a:pt x="509" y="1316"/>
                    <a:pt x="507" y="1319"/>
                  </a:cubicBezTo>
                  <a:cubicBezTo>
                    <a:pt x="506" y="1319"/>
                    <a:pt x="520" y="1326"/>
                    <a:pt x="521" y="1328"/>
                  </a:cubicBezTo>
                  <a:cubicBezTo>
                    <a:pt x="522" y="1331"/>
                    <a:pt x="513" y="1332"/>
                    <a:pt x="515" y="1334"/>
                  </a:cubicBezTo>
                  <a:cubicBezTo>
                    <a:pt x="516" y="1337"/>
                    <a:pt x="521" y="1334"/>
                    <a:pt x="522" y="1338"/>
                  </a:cubicBezTo>
                  <a:cubicBezTo>
                    <a:pt x="522" y="1339"/>
                    <a:pt x="523" y="1342"/>
                    <a:pt x="524" y="1341"/>
                  </a:cubicBezTo>
                  <a:cubicBezTo>
                    <a:pt x="528" y="1333"/>
                    <a:pt x="534" y="1361"/>
                    <a:pt x="531" y="1347"/>
                  </a:cubicBezTo>
                  <a:cubicBezTo>
                    <a:pt x="530" y="1341"/>
                    <a:pt x="539" y="1347"/>
                    <a:pt x="540" y="1349"/>
                  </a:cubicBezTo>
                  <a:cubicBezTo>
                    <a:pt x="544" y="1359"/>
                    <a:pt x="520" y="1372"/>
                    <a:pt x="520" y="1376"/>
                  </a:cubicBezTo>
                  <a:cubicBezTo>
                    <a:pt x="522" y="1384"/>
                    <a:pt x="538" y="1374"/>
                    <a:pt x="538" y="1374"/>
                  </a:cubicBezTo>
                  <a:cubicBezTo>
                    <a:pt x="544" y="1380"/>
                    <a:pt x="536" y="1382"/>
                    <a:pt x="544" y="1385"/>
                  </a:cubicBezTo>
                  <a:cubicBezTo>
                    <a:pt x="545" y="1386"/>
                    <a:pt x="545" y="1386"/>
                    <a:pt x="545" y="1386"/>
                  </a:cubicBezTo>
                  <a:cubicBezTo>
                    <a:pt x="546" y="1393"/>
                    <a:pt x="552" y="1377"/>
                    <a:pt x="547" y="1373"/>
                  </a:cubicBezTo>
                  <a:cubicBezTo>
                    <a:pt x="545" y="1372"/>
                    <a:pt x="524" y="1369"/>
                    <a:pt x="553" y="1360"/>
                  </a:cubicBezTo>
                  <a:cubicBezTo>
                    <a:pt x="555" y="1359"/>
                    <a:pt x="557" y="1357"/>
                    <a:pt x="558" y="1355"/>
                  </a:cubicBezTo>
                  <a:cubicBezTo>
                    <a:pt x="558" y="1355"/>
                    <a:pt x="551" y="1354"/>
                    <a:pt x="550" y="1354"/>
                  </a:cubicBezTo>
                  <a:cubicBezTo>
                    <a:pt x="547" y="1352"/>
                    <a:pt x="544" y="1347"/>
                    <a:pt x="549" y="1346"/>
                  </a:cubicBezTo>
                  <a:cubicBezTo>
                    <a:pt x="549" y="1346"/>
                    <a:pt x="551" y="1346"/>
                    <a:pt x="551" y="1346"/>
                  </a:cubicBezTo>
                  <a:cubicBezTo>
                    <a:pt x="553" y="1346"/>
                    <a:pt x="554" y="1346"/>
                    <a:pt x="555" y="1347"/>
                  </a:cubicBezTo>
                  <a:cubicBezTo>
                    <a:pt x="561" y="1350"/>
                    <a:pt x="571" y="1360"/>
                    <a:pt x="570" y="1361"/>
                  </a:cubicBezTo>
                  <a:cubicBezTo>
                    <a:pt x="570" y="1362"/>
                    <a:pt x="566" y="1366"/>
                    <a:pt x="568" y="1367"/>
                  </a:cubicBezTo>
                  <a:cubicBezTo>
                    <a:pt x="571" y="1368"/>
                    <a:pt x="574" y="1357"/>
                    <a:pt x="575" y="1356"/>
                  </a:cubicBezTo>
                  <a:cubicBezTo>
                    <a:pt x="576" y="1354"/>
                    <a:pt x="578" y="1361"/>
                    <a:pt x="578" y="1362"/>
                  </a:cubicBezTo>
                  <a:cubicBezTo>
                    <a:pt x="580" y="1362"/>
                    <a:pt x="580" y="1357"/>
                    <a:pt x="582" y="1357"/>
                  </a:cubicBezTo>
                  <a:cubicBezTo>
                    <a:pt x="588" y="1360"/>
                    <a:pt x="588" y="1368"/>
                    <a:pt x="592" y="1371"/>
                  </a:cubicBezTo>
                  <a:cubicBezTo>
                    <a:pt x="593" y="1371"/>
                    <a:pt x="597" y="1371"/>
                    <a:pt x="597" y="1372"/>
                  </a:cubicBezTo>
                  <a:cubicBezTo>
                    <a:pt x="599" y="1383"/>
                    <a:pt x="584" y="1386"/>
                    <a:pt x="584" y="1392"/>
                  </a:cubicBezTo>
                  <a:cubicBezTo>
                    <a:pt x="583" y="1400"/>
                    <a:pt x="589" y="1382"/>
                    <a:pt x="589" y="1392"/>
                  </a:cubicBezTo>
                  <a:cubicBezTo>
                    <a:pt x="589" y="1393"/>
                    <a:pt x="588" y="1396"/>
                    <a:pt x="590" y="1396"/>
                  </a:cubicBezTo>
                  <a:cubicBezTo>
                    <a:pt x="591" y="1396"/>
                    <a:pt x="594" y="1386"/>
                    <a:pt x="595" y="1385"/>
                  </a:cubicBezTo>
                  <a:cubicBezTo>
                    <a:pt x="600" y="1378"/>
                    <a:pt x="597" y="1379"/>
                    <a:pt x="599" y="1378"/>
                  </a:cubicBezTo>
                  <a:cubicBezTo>
                    <a:pt x="601" y="1376"/>
                    <a:pt x="612" y="1377"/>
                    <a:pt x="606" y="1373"/>
                  </a:cubicBezTo>
                  <a:close/>
                  <a:moveTo>
                    <a:pt x="614" y="1287"/>
                  </a:moveTo>
                  <a:cubicBezTo>
                    <a:pt x="605" y="1283"/>
                    <a:pt x="608" y="1262"/>
                    <a:pt x="602" y="1262"/>
                  </a:cubicBezTo>
                  <a:cubicBezTo>
                    <a:pt x="596" y="1261"/>
                    <a:pt x="599" y="1277"/>
                    <a:pt x="596" y="1279"/>
                  </a:cubicBezTo>
                  <a:cubicBezTo>
                    <a:pt x="592" y="1281"/>
                    <a:pt x="577" y="1267"/>
                    <a:pt x="576" y="1269"/>
                  </a:cubicBezTo>
                  <a:cubicBezTo>
                    <a:pt x="573" y="1274"/>
                    <a:pt x="582" y="1274"/>
                    <a:pt x="581" y="1277"/>
                  </a:cubicBezTo>
                  <a:cubicBezTo>
                    <a:pt x="573" y="1291"/>
                    <a:pt x="567" y="1287"/>
                    <a:pt x="576" y="1297"/>
                  </a:cubicBezTo>
                  <a:cubicBezTo>
                    <a:pt x="578" y="1298"/>
                    <a:pt x="585" y="1295"/>
                    <a:pt x="583" y="1303"/>
                  </a:cubicBezTo>
                  <a:cubicBezTo>
                    <a:pt x="584" y="1304"/>
                    <a:pt x="584" y="1304"/>
                    <a:pt x="584" y="1304"/>
                  </a:cubicBezTo>
                  <a:cubicBezTo>
                    <a:pt x="583" y="1305"/>
                    <a:pt x="587" y="1308"/>
                    <a:pt x="588" y="1308"/>
                  </a:cubicBezTo>
                  <a:cubicBezTo>
                    <a:pt x="597" y="1309"/>
                    <a:pt x="598" y="1306"/>
                    <a:pt x="600" y="1295"/>
                  </a:cubicBezTo>
                  <a:cubicBezTo>
                    <a:pt x="600" y="1294"/>
                    <a:pt x="597" y="1294"/>
                    <a:pt x="597" y="1292"/>
                  </a:cubicBezTo>
                  <a:cubicBezTo>
                    <a:pt x="600" y="1280"/>
                    <a:pt x="582" y="1299"/>
                    <a:pt x="589" y="1286"/>
                  </a:cubicBezTo>
                  <a:cubicBezTo>
                    <a:pt x="590" y="1284"/>
                    <a:pt x="587" y="1281"/>
                    <a:pt x="589" y="1280"/>
                  </a:cubicBezTo>
                  <a:cubicBezTo>
                    <a:pt x="590" y="1279"/>
                    <a:pt x="595" y="1282"/>
                    <a:pt x="595" y="1282"/>
                  </a:cubicBezTo>
                  <a:cubicBezTo>
                    <a:pt x="603" y="1288"/>
                    <a:pt x="596" y="1278"/>
                    <a:pt x="602" y="1278"/>
                  </a:cubicBezTo>
                  <a:cubicBezTo>
                    <a:pt x="605" y="1278"/>
                    <a:pt x="613" y="1296"/>
                    <a:pt x="620" y="1297"/>
                  </a:cubicBezTo>
                  <a:cubicBezTo>
                    <a:pt x="621" y="1297"/>
                    <a:pt x="639" y="1299"/>
                    <a:pt x="632" y="1295"/>
                  </a:cubicBezTo>
                  <a:cubicBezTo>
                    <a:pt x="629" y="1293"/>
                    <a:pt x="636" y="1291"/>
                    <a:pt x="633" y="1288"/>
                  </a:cubicBezTo>
                  <a:cubicBezTo>
                    <a:pt x="629" y="1284"/>
                    <a:pt x="630" y="1281"/>
                    <a:pt x="624" y="1277"/>
                  </a:cubicBezTo>
                  <a:cubicBezTo>
                    <a:pt x="622" y="1276"/>
                    <a:pt x="624" y="1282"/>
                    <a:pt x="624" y="1284"/>
                  </a:cubicBezTo>
                  <a:cubicBezTo>
                    <a:pt x="623" y="1289"/>
                    <a:pt x="614" y="1276"/>
                    <a:pt x="613" y="1280"/>
                  </a:cubicBezTo>
                  <a:cubicBezTo>
                    <a:pt x="612" y="1282"/>
                    <a:pt x="617" y="1289"/>
                    <a:pt x="614" y="1287"/>
                  </a:cubicBezTo>
                  <a:close/>
                  <a:moveTo>
                    <a:pt x="635" y="1386"/>
                  </a:moveTo>
                  <a:cubicBezTo>
                    <a:pt x="634" y="1386"/>
                    <a:pt x="634" y="1386"/>
                    <a:pt x="634" y="1386"/>
                  </a:cubicBezTo>
                  <a:cubicBezTo>
                    <a:pt x="634" y="1381"/>
                    <a:pt x="611" y="1381"/>
                    <a:pt x="611" y="1381"/>
                  </a:cubicBezTo>
                  <a:cubicBezTo>
                    <a:pt x="611" y="1381"/>
                    <a:pt x="628" y="1399"/>
                    <a:pt x="612" y="1395"/>
                  </a:cubicBezTo>
                  <a:cubicBezTo>
                    <a:pt x="610" y="1395"/>
                    <a:pt x="605" y="1394"/>
                    <a:pt x="606" y="1398"/>
                  </a:cubicBezTo>
                  <a:cubicBezTo>
                    <a:pt x="608" y="1402"/>
                    <a:pt x="613" y="1400"/>
                    <a:pt x="615" y="1399"/>
                  </a:cubicBezTo>
                  <a:cubicBezTo>
                    <a:pt x="620" y="1395"/>
                    <a:pt x="618" y="1402"/>
                    <a:pt x="619" y="1402"/>
                  </a:cubicBezTo>
                  <a:cubicBezTo>
                    <a:pt x="633" y="1404"/>
                    <a:pt x="611" y="1387"/>
                    <a:pt x="632" y="1389"/>
                  </a:cubicBezTo>
                  <a:cubicBezTo>
                    <a:pt x="633" y="1389"/>
                    <a:pt x="634" y="1392"/>
                    <a:pt x="635" y="1391"/>
                  </a:cubicBezTo>
                  <a:cubicBezTo>
                    <a:pt x="636" y="1390"/>
                    <a:pt x="635" y="1387"/>
                    <a:pt x="635" y="1386"/>
                  </a:cubicBezTo>
                  <a:close/>
                  <a:moveTo>
                    <a:pt x="662" y="1325"/>
                  </a:moveTo>
                  <a:cubicBezTo>
                    <a:pt x="659" y="1324"/>
                    <a:pt x="657" y="1325"/>
                    <a:pt x="654" y="1323"/>
                  </a:cubicBezTo>
                  <a:cubicBezTo>
                    <a:pt x="648" y="1320"/>
                    <a:pt x="649" y="1325"/>
                    <a:pt x="644" y="1324"/>
                  </a:cubicBezTo>
                  <a:cubicBezTo>
                    <a:pt x="640" y="1323"/>
                    <a:pt x="647" y="1314"/>
                    <a:pt x="647" y="1313"/>
                  </a:cubicBezTo>
                  <a:cubicBezTo>
                    <a:pt x="649" y="1301"/>
                    <a:pt x="644" y="1294"/>
                    <a:pt x="641" y="1291"/>
                  </a:cubicBezTo>
                  <a:cubicBezTo>
                    <a:pt x="641" y="1291"/>
                    <a:pt x="638" y="1285"/>
                    <a:pt x="637" y="1285"/>
                  </a:cubicBezTo>
                  <a:cubicBezTo>
                    <a:pt x="636" y="1285"/>
                    <a:pt x="647" y="1310"/>
                    <a:pt x="643" y="1315"/>
                  </a:cubicBezTo>
                  <a:cubicBezTo>
                    <a:pt x="640" y="1320"/>
                    <a:pt x="635" y="1324"/>
                    <a:pt x="635" y="1329"/>
                  </a:cubicBezTo>
                  <a:cubicBezTo>
                    <a:pt x="635" y="1336"/>
                    <a:pt x="651" y="1337"/>
                    <a:pt x="652" y="1341"/>
                  </a:cubicBezTo>
                  <a:cubicBezTo>
                    <a:pt x="652" y="1341"/>
                    <a:pt x="652" y="1343"/>
                    <a:pt x="652" y="1343"/>
                  </a:cubicBezTo>
                  <a:cubicBezTo>
                    <a:pt x="649" y="1354"/>
                    <a:pt x="643" y="1347"/>
                    <a:pt x="640" y="1351"/>
                  </a:cubicBezTo>
                  <a:cubicBezTo>
                    <a:pt x="639" y="1353"/>
                    <a:pt x="633" y="1348"/>
                    <a:pt x="633" y="1350"/>
                  </a:cubicBezTo>
                  <a:cubicBezTo>
                    <a:pt x="635" y="1363"/>
                    <a:pt x="648" y="1359"/>
                    <a:pt x="646" y="1372"/>
                  </a:cubicBezTo>
                  <a:cubicBezTo>
                    <a:pt x="645" y="1373"/>
                    <a:pt x="645" y="1373"/>
                    <a:pt x="645" y="1373"/>
                  </a:cubicBezTo>
                  <a:cubicBezTo>
                    <a:pt x="646" y="1376"/>
                    <a:pt x="648" y="1372"/>
                    <a:pt x="649" y="1373"/>
                  </a:cubicBezTo>
                  <a:cubicBezTo>
                    <a:pt x="660" y="1375"/>
                    <a:pt x="647" y="1364"/>
                    <a:pt x="651" y="1360"/>
                  </a:cubicBezTo>
                  <a:cubicBezTo>
                    <a:pt x="655" y="1357"/>
                    <a:pt x="658" y="1369"/>
                    <a:pt x="663" y="1368"/>
                  </a:cubicBezTo>
                  <a:cubicBezTo>
                    <a:pt x="664" y="1368"/>
                    <a:pt x="669" y="1369"/>
                    <a:pt x="668" y="1367"/>
                  </a:cubicBezTo>
                  <a:cubicBezTo>
                    <a:pt x="668" y="1367"/>
                    <a:pt x="668" y="1367"/>
                    <a:pt x="667" y="1366"/>
                  </a:cubicBezTo>
                  <a:cubicBezTo>
                    <a:pt x="664" y="1362"/>
                    <a:pt x="659" y="1365"/>
                    <a:pt x="656" y="1359"/>
                  </a:cubicBezTo>
                  <a:cubicBezTo>
                    <a:pt x="656" y="1359"/>
                    <a:pt x="657" y="1349"/>
                    <a:pt x="654" y="1352"/>
                  </a:cubicBezTo>
                  <a:cubicBezTo>
                    <a:pt x="653" y="1353"/>
                    <a:pt x="652" y="1357"/>
                    <a:pt x="651" y="1356"/>
                  </a:cubicBezTo>
                  <a:cubicBezTo>
                    <a:pt x="648" y="1353"/>
                    <a:pt x="656" y="1346"/>
                    <a:pt x="656" y="1342"/>
                  </a:cubicBezTo>
                  <a:cubicBezTo>
                    <a:pt x="655" y="1334"/>
                    <a:pt x="639" y="1332"/>
                    <a:pt x="640" y="1329"/>
                  </a:cubicBezTo>
                  <a:cubicBezTo>
                    <a:pt x="645" y="1321"/>
                    <a:pt x="685" y="1339"/>
                    <a:pt x="662" y="1325"/>
                  </a:cubicBezTo>
                  <a:close/>
                  <a:moveTo>
                    <a:pt x="672" y="1282"/>
                  </a:moveTo>
                  <a:cubicBezTo>
                    <a:pt x="671" y="1282"/>
                    <a:pt x="671" y="1282"/>
                    <a:pt x="671" y="1282"/>
                  </a:cubicBezTo>
                  <a:cubicBezTo>
                    <a:pt x="667" y="1281"/>
                    <a:pt x="662" y="1283"/>
                    <a:pt x="661" y="1277"/>
                  </a:cubicBezTo>
                  <a:cubicBezTo>
                    <a:pt x="660" y="1273"/>
                    <a:pt x="664" y="1268"/>
                    <a:pt x="663" y="1264"/>
                  </a:cubicBezTo>
                  <a:cubicBezTo>
                    <a:pt x="663" y="1262"/>
                    <a:pt x="657" y="1261"/>
                    <a:pt x="658" y="1259"/>
                  </a:cubicBezTo>
                  <a:cubicBezTo>
                    <a:pt x="659" y="1256"/>
                    <a:pt x="665" y="1263"/>
                    <a:pt x="663" y="1260"/>
                  </a:cubicBezTo>
                  <a:cubicBezTo>
                    <a:pt x="654" y="1243"/>
                    <a:pt x="640" y="1247"/>
                    <a:pt x="638" y="1236"/>
                  </a:cubicBezTo>
                  <a:cubicBezTo>
                    <a:pt x="638" y="1234"/>
                    <a:pt x="634" y="1232"/>
                    <a:pt x="632" y="1233"/>
                  </a:cubicBezTo>
                  <a:cubicBezTo>
                    <a:pt x="632" y="1233"/>
                    <a:pt x="633" y="1237"/>
                    <a:pt x="634" y="1238"/>
                  </a:cubicBezTo>
                  <a:cubicBezTo>
                    <a:pt x="639" y="1251"/>
                    <a:pt x="666" y="1258"/>
                    <a:pt x="652" y="1263"/>
                  </a:cubicBezTo>
                  <a:cubicBezTo>
                    <a:pt x="646" y="1265"/>
                    <a:pt x="635" y="1247"/>
                    <a:pt x="631" y="1247"/>
                  </a:cubicBezTo>
                  <a:cubicBezTo>
                    <a:pt x="630" y="1246"/>
                    <a:pt x="625" y="1250"/>
                    <a:pt x="627" y="1251"/>
                  </a:cubicBezTo>
                  <a:cubicBezTo>
                    <a:pt x="638" y="1252"/>
                    <a:pt x="621" y="1263"/>
                    <a:pt x="619" y="1263"/>
                  </a:cubicBezTo>
                  <a:cubicBezTo>
                    <a:pt x="612" y="1261"/>
                    <a:pt x="617" y="1260"/>
                    <a:pt x="616" y="1255"/>
                  </a:cubicBezTo>
                  <a:cubicBezTo>
                    <a:pt x="615" y="1247"/>
                    <a:pt x="628" y="1247"/>
                    <a:pt x="621" y="1242"/>
                  </a:cubicBezTo>
                  <a:cubicBezTo>
                    <a:pt x="614" y="1236"/>
                    <a:pt x="614" y="1254"/>
                    <a:pt x="613" y="1256"/>
                  </a:cubicBezTo>
                  <a:cubicBezTo>
                    <a:pt x="611" y="1261"/>
                    <a:pt x="607" y="1258"/>
                    <a:pt x="606" y="1259"/>
                  </a:cubicBezTo>
                  <a:cubicBezTo>
                    <a:pt x="604" y="1261"/>
                    <a:pt x="608" y="1262"/>
                    <a:pt x="609" y="1264"/>
                  </a:cubicBezTo>
                  <a:cubicBezTo>
                    <a:pt x="610" y="1269"/>
                    <a:pt x="630" y="1270"/>
                    <a:pt x="632" y="1273"/>
                  </a:cubicBezTo>
                  <a:cubicBezTo>
                    <a:pt x="635" y="1277"/>
                    <a:pt x="652" y="1295"/>
                    <a:pt x="651" y="1302"/>
                  </a:cubicBezTo>
                  <a:cubicBezTo>
                    <a:pt x="650" y="1303"/>
                    <a:pt x="652" y="1308"/>
                    <a:pt x="655" y="1306"/>
                  </a:cubicBezTo>
                  <a:cubicBezTo>
                    <a:pt x="656" y="1305"/>
                    <a:pt x="652" y="1300"/>
                    <a:pt x="654" y="1299"/>
                  </a:cubicBezTo>
                  <a:cubicBezTo>
                    <a:pt x="657" y="1299"/>
                    <a:pt x="655" y="1306"/>
                    <a:pt x="659" y="1306"/>
                  </a:cubicBezTo>
                  <a:cubicBezTo>
                    <a:pt x="665" y="1306"/>
                    <a:pt x="660" y="1298"/>
                    <a:pt x="661" y="1297"/>
                  </a:cubicBezTo>
                  <a:cubicBezTo>
                    <a:pt x="661" y="1297"/>
                    <a:pt x="661" y="1290"/>
                    <a:pt x="659" y="1289"/>
                  </a:cubicBezTo>
                  <a:cubicBezTo>
                    <a:pt x="655" y="1284"/>
                    <a:pt x="658" y="1295"/>
                    <a:pt x="656" y="1295"/>
                  </a:cubicBezTo>
                  <a:cubicBezTo>
                    <a:pt x="654" y="1293"/>
                    <a:pt x="641" y="1286"/>
                    <a:pt x="643" y="1282"/>
                  </a:cubicBezTo>
                  <a:cubicBezTo>
                    <a:pt x="643" y="1281"/>
                    <a:pt x="646" y="1283"/>
                    <a:pt x="648" y="1284"/>
                  </a:cubicBezTo>
                  <a:cubicBezTo>
                    <a:pt x="658" y="1290"/>
                    <a:pt x="650" y="1280"/>
                    <a:pt x="659" y="1286"/>
                  </a:cubicBezTo>
                  <a:cubicBezTo>
                    <a:pt x="661" y="1287"/>
                    <a:pt x="667" y="1292"/>
                    <a:pt x="670" y="1290"/>
                  </a:cubicBezTo>
                  <a:cubicBezTo>
                    <a:pt x="671" y="1288"/>
                    <a:pt x="671" y="1283"/>
                    <a:pt x="672" y="1285"/>
                  </a:cubicBezTo>
                  <a:cubicBezTo>
                    <a:pt x="683" y="1296"/>
                    <a:pt x="673" y="1282"/>
                    <a:pt x="672" y="1282"/>
                  </a:cubicBezTo>
                  <a:close/>
                  <a:moveTo>
                    <a:pt x="693" y="1262"/>
                  </a:moveTo>
                  <a:cubicBezTo>
                    <a:pt x="700" y="1259"/>
                    <a:pt x="683" y="1246"/>
                    <a:pt x="688" y="1240"/>
                  </a:cubicBezTo>
                  <a:cubicBezTo>
                    <a:pt x="688" y="1239"/>
                    <a:pt x="688" y="1239"/>
                    <a:pt x="688" y="1239"/>
                  </a:cubicBezTo>
                  <a:cubicBezTo>
                    <a:pt x="691" y="1231"/>
                    <a:pt x="682" y="1227"/>
                    <a:pt x="677" y="1222"/>
                  </a:cubicBezTo>
                  <a:cubicBezTo>
                    <a:pt x="677" y="1222"/>
                    <a:pt x="676" y="1221"/>
                    <a:pt x="676" y="1222"/>
                  </a:cubicBezTo>
                  <a:cubicBezTo>
                    <a:pt x="676" y="1223"/>
                    <a:pt x="682" y="1241"/>
                    <a:pt x="681" y="1240"/>
                  </a:cubicBezTo>
                  <a:cubicBezTo>
                    <a:pt x="674" y="1238"/>
                    <a:pt x="674" y="1217"/>
                    <a:pt x="670" y="1223"/>
                  </a:cubicBezTo>
                  <a:cubicBezTo>
                    <a:pt x="670" y="1223"/>
                    <a:pt x="669" y="1231"/>
                    <a:pt x="667" y="1228"/>
                  </a:cubicBezTo>
                  <a:cubicBezTo>
                    <a:pt x="665" y="1225"/>
                    <a:pt x="660" y="1216"/>
                    <a:pt x="660" y="1219"/>
                  </a:cubicBezTo>
                  <a:cubicBezTo>
                    <a:pt x="659" y="1227"/>
                    <a:pt x="677" y="1239"/>
                    <a:pt x="676" y="1242"/>
                  </a:cubicBezTo>
                  <a:cubicBezTo>
                    <a:pt x="673" y="1249"/>
                    <a:pt x="662" y="1239"/>
                    <a:pt x="665" y="1248"/>
                  </a:cubicBezTo>
                  <a:cubicBezTo>
                    <a:pt x="668" y="1254"/>
                    <a:pt x="680" y="1252"/>
                    <a:pt x="681" y="1252"/>
                  </a:cubicBezTo>
                  <a:cubicBezTo>
                    <a:pt x="686" y="1254"/>
                    <a:pt x="689" y="1264"/>
                    <a:pt x="693" y="1262"/>
                  </a:cubicBezTo>
                  <a:close/>
                  <a:moveTo>
                    <a:pt x="701" y="1337"/>
                  </a:moveTo>
                  <a:cubicBezTo>
                    <a:pt x="709" y="1345"/>
                    <a:pt x="718" y="1341"/>
                    <a:pt x="708" y="1346"/>
                  </a:cubicBezTo>
                  <a:cubicBezTo>
                    <a:pt x="707" y="1346"/>
                    <a:pt x="705" y="1349"/>
                    <a:pt x="705" y="1350"/>
                  </a:cubicBezTo>
                  <a:cubicBezTo>
                    <a:pt x="706" y="1352"/>
                    <a:pt x="710" y="1345"/>
                    <a:pt x="711" y="1350"/>
                  </a:cubicBezTo>
                  <a:cubicBezTo>
                    <a:pt x="714" y="1361"/>
                    <a:pt x="745" y="1349"/>
                    <a:pt x="762" y="1346"/>
                  </a:cubicBezTo>
                  <a:cubicBezTo>
                    <a:pt x="765" y="1345"/>
                    <a:pt x="771" y="1357"/>
                    <a:pt x="775" y="1358"/>
                  </a:cubicBezTo>
                  <a:cubicBezTo>
                    <a:pt x="777" y="1359"/>
                    <a:pt x="780" y="1357"/>
                    <a:pt x="780" y="1361"/>
                  </a:cubicBezTo>
                  <a:cubicBezTo>
                    <a:pt x="780" y="1371"/>
                    <a:pt x="765" y="1351"/>
                    <a:pt x="757" y="1356"/>
                  </a:cubicBezTo>
                  <a:cubicBezTo>
                    <a:pt x="747" y="1362"/>
                    <a:pt x="746" y="1362"/>
                    <a:pt x="749" y="1366"/>
                  </a:cubicBezTo>
                  <a:cubicBezTo>
                    <a:pt x="751" y="1368"/>
                    <a:pt x="750" y="1371"/>
                    <a:pt x="752" y="1370"/>
                  </a:cubicBezTo>
                  <a:cubicBezTo>
                    <a:pt x="757" y="1368"/>
                    <a:pt x="752" y="1375"/>
                    <a:pt x="753" y="1376"/>
                  </a:cubicBezTo>
                  <a:cubicBezTo>
                    <a:pt x="755" y="1378"/>
                    <a:pt x="759" y="1377"/>
                    <a:pt x="761" y="1375"/>
                  </a:cubicBezTo>
                  <a:cubicBezTo>
                    <a:pt x="763" y="1374"/>
                    <a:pt x="787" y="1373"/>
                    <a:pt x="797" y="1369"/>
                  </a:cubicBezTo>
                  <a:cubicBezTo>
                    <a:pt x="804" y="1366"/>
                    <a:pt x="841" y="1360"/>
                    <a:pt x="839" y="1349"/>
                  </a:cubicBezTo>
                  <a:cubicBezTo>
                    <a:pt x="837" y="1326"/>
                    <a:pt x="801" y="1341"/>
                    <a:pt x="798" y="1339"/>
                  </a:cubicBezTo>
                  <a:cubicBezTo>
                    <a:pt x="796" y="1338"/>
                    <a:pt x="786" y="1340"/>
                    <a:pt x="787" y="1334"/>
                  </a:cubicBezTo>
                  <a:cubicBezTo>
                    <a:pt x="787" y="1331"/>
                    <a:pt x="794" y="1332"/>
                    <a:pt x="798" y="1332"/>
                  </a:cubicBezTo>
                  <a:cubicBezTo>
                    <a:pt x="798" y="1332"/>
                    <a:pt x="799" y="1333"/>
                    <a:pt x="800" y="1333"/>
                  </a:cubicBezTo>
                  <a:cubicBezTo>
                    <a:pt x="801" y="1333"/>
                    <a:pt x="800" y="1332"/>
                    <a:pt x="798" y="1332"/>
                  </a:cubicBezTo>
                  <a:cubicBezTo>
                    <a:pt x="797" y="1331"/>
                    <a:pt x="811" y="1328"/>
                    <a:pt x="812" y="1326"/>
                  </a:cubicBezTo>
                  <a:cubicBezTo>
                    <a:pt x="817" y="1321"/>
                    <a:pt x="801" y="1307"/>
                    <a:pt x="816" y="1317"/>
                  </a:cubicBezTo>
                  <a:cubicBezTo>
                    <a:pt x="818" y="1319"/>
                    <a:pt x="822" y="1318"/>
                    <a:pt x="824" y="1317"/>
                  </a:cubicBezTo>
                  <a:cubicBezTo>
                    <a:pt x="825" y="1315"/>
                    <a:pt x="818" y="1305"/>
                    <a:pt x="820" y="1302"/>
                  </a:cubicBezTo>
                  <a:cubicBezTo>
                    <a:pt x="826" y="1295"/>
                    <a:pt x="830" y="1304"/>
                    <a:pt x="835" y="1304"/>
                  </a:cubicBezTo>
                  <a:cubicBezTo>
                    <a:pt x="837" y="1304"/>
                    <a:pt x="836" y="1303"/>
                    <a:pt x="835" y="1302"/>
                  </a:cubicBezTo>
                  <a:cubicBezTo>
                    <a:pt x="834" y="1301"/>
                    <a:pt x="832" y="1299"/>
                    <a:pt x="835" y="1299"/>
                  </a:cubicBezTo>
                  <a:cubicBezTo>
                    <a:pt x="836" y="1300"/>
                    <a:pt x="840" y="1301"/>
                    <a:pt x="841" y="1300"/>
                  </a:cubicBezTo>
                  <a:cubicBezTo>
                    <a:pt x="845" y="1295"/>
                    <a:pt x="811" y="1299"/>
                    <a:pt x="814" y="1293"/>
                  </a:cubicBezTo>
                  <a:cubicBezTo>
                    <a:pt x="816" y="1288"/>
                    <a:pt x="822" y="1293"/>
                    <a:pt x="823" y="1294"/>
                  </a:cubicBezTo>
                  <a:cubicBezTo>
                    <a:pt x="826" y="1294"/>
                    <a:pt x="823" y="1287"/>
                    <a:pt x="824" y="1286"/>
                  </a:cubicBezTo>
                  <a:cubicBezTo>
                    <a:pt x="825" y="1285"/>
                    <a:pt x="833" y="1286"/>
                    <a:pt x="834" y="1287"/>
                  </a:cubicBezTo>
                  <a:cubicBezTo>
                    <a:pt x="841" y="1290"/>
                    <a:pt x="854" y="1308"/>
                    <a:pt x="860" y="1305"/>
                  </a:cubicBezTo>
                  <a:cubicBezTo>
                    <a:pt x="862" y="1304"/>
                    <a:pt x="853" y="1297"/>
                    <a:pt x="854" y="1297"/>
                  </a:cubicBezTo>
                  <a:cubicBezTo>
                    <a:pt x="858" y="1297"/>
                    <a:pt x="872" y="1300"/>
                    <a:pt x="872" y="1300"/>
                  </a:cubicBezTo>
                  <a:cubicBezTo>
                    <a:pt x="878" y="1296"/>
                    <a:pt x="867" y="1296"/>
                    <a:pt x="873" y="1294"/>
                  </a:cubicBezTo>
                  <a:cubicBezTo>
                    <a:pt x="878" y="1292"/>
                    <a:pt x="885" y="1283"/>
                    <a:pt x="884" y="1281"/>
                  </a:cubicBezTo>
                  <a:cubicBezTo>
                    <a:pt x="883" y="1281"/>
                    <a:pt x="886" y="1278"/>
                    <a:pt x="886" y="1277"/>
                  </a:cubicBezTo>
                  <a:cubicBezTo>
                    <a:pt x="889" y="1277"/>
                    <a:pt x="886" y="1283"/>
                    <a:pt x="890" y="1282"/>
                  </a:cubicBezTo>
                  <a:cubicBezTo>
                    <a:pt x="891" y="1281"/>
                    <a:pt x="891" y="1279"/>
                    <a:pt x="891" y="1278"/>
                  </a:cubicBezTo>
                  <a:cubicBezTo>
                    <a:pt x="893" y="1275"/>
                    <a:pt x="895" y="1281"/>
                    <a:pt x="897" y="1278"/>
                  </a:cubicBezTo>
                  <a:cubicBezTo>
                    <a:pt x="899" y="1275"/>
                    <a:pt x="892" y="1273"/>
                    <a:pt x="893" y="1272"/>
                  </a:cubicBezTo>
                  <a:cubicBezTo>
                    <a:pt x="895" y="1269"/>
                    <a:pt x="908" y="1271"/>
                    <a:pt x="908" y="1268"/>
                  </a:cubicBezTo>
                  <a:cubicBezTo>
                    <a:pt x="908" y="1266"/>
                    <a:pt x="904" y="1262"/>
                    <a:pt x="907" y="1262"/>
                  </a:cubicBezTo>
                  <a:cubicBezTo>
                    <a:pt x="911" y="1261"/>
                    <a:pt x="911" y="1267"/>
                    <a:pt x="913" y="1267"/>
                  </a:cubicBezTo>
                  <a:cubicBezTo>
                    <a:pt x="922" y="1267"/>
                    <a:pt x="907" y="1254"/>
                    <a:pt x="915" y="1259"/>
                  </a:cubicBezTo>
                  <a:cubicBezTo>
                    <a:pt x="918" y="1260"/>
                    <a:pt x="923" y="1254"/>
                    <a:pt x="921" y="1251"/>
                  </a:cubicBezTo>
                  <a:cubicBezTo>
                    <a:pt x="918" y="1247"/>
                    <a:pt x="914" y="1242"/>
                    <a:pt x="911" y="1237"/>
                  </a:cubicBezTo>
                  <a:cubicBezTo>
                    <a:pt x="903" y="1224"/>
                    <a:pt x="916" y="1255"/>
                    <a:pt x="899" y="1241"/>
                  </a:cubicBezTo>
                  <a:cubicBezTo>
                    <a:pt x="896" y="1237"/>
                    <a:pt x="887" y="1225"/>
                    <a:pt x="888" y="1225"/>
                  </a:cubicBezTo>
                  <a:cubicBezTo>
                    <a:pt x="889" y="1226"/>
                    <a:pt x="896" y="1232"/>
                    <a:pt x="896" y="1229"/>
                  </a:cubicBezTo>
                  <a:cubicBezTo>
                    <a:pt x="896" y="1226"/>
                    <a:pt x="899" y="1219"/>
                    <a:pt x="896" y="1216"/>
                  </a:cubicBezTo>
                  <a:cubicBezTo>
                    <a:pt x="895" y="1215"/>
                    <a:pt x="895" y="1215"/>
                    <a:pt x="895" y="1215"/>
                  </a:cubicBezTo>
                  <a:cubicBezTo>
                    <a:pt x="902" y="1216"/>
                    <a:pt x="920" y="1219"/>
                    <a:pt x="928" y="1225"/>
                  </a:cubicBezTo>
                  <a:cubicBezTo>
                    <a:pt x="930" y="1226"/>
                    <a:pt x="931" y="1230"/>
                    <a:pt x="933" y="1227"/>
                  </a:cubicBezTo>
                  <a:cubicBezTo>
                    <a:pt x="934" y="1226"/>
                    <a:pt x="933" y="1225"/>
                    <a:pt x="934" y="1225"/>
                  </a:cubicBezTo>
                  <a:cubicBezTo>
                    <a:pt x="935" y="1222"/>
                    <a:pt x="939" y="1225"/>
                    <a:pt x="941" y="1221"/>
                  </a:cubicBezTo>
                  <a:cubicBezTo>
                    <a:pt x="941" y="1220"/>
                    <a:pt x="937" y="1216"/>
                    <a:pt x="936" y="1215"/>
                  </a:cubicBezTo>
                  <a:cubicBezTo>
                    <a:pt x="920" y="1212"/>
                    <a:pt x="907" y="1214"/>
                    <a:pt x="898" y="1197"/>
                  </a:cubicBezTo>
                  <a:cubicBezTo>
                    <a:pt x="897" y="1194"/>
                    <a:pt x="904" y="1200"/>
                    <a:pt x="908" y="1199"/>
                  </a:cubicBezTo>
                  <a:cubicBezTo>
                    <a:pt x="911" y="1199"/>
                    <a:pt x="902" y="1193"/>
                    <a:pt x="907" y="1192"/>
                  </a:cubicBezTo>
                  <a:cubicBezTo>
                    <a:pt x="912" y="1192"/>
                    <a:pt x="914" y="1201"/>
                    <a:pt x="916" y="1195"/>
                  </a:cubicBezTo>
                  <a:cubicBezTo>
                    <a:pt x="917" y="1191"/>
                    <a:pt x="927" y="1198"/>
                    <a:pt x="926" y="1195"/>
                  </a:cubicBezTo>
                  <a:cubicBezTo>
                    <a:pt x="925" y="1188"/>
                    <a:pt x="914" y="1192"/>
                    <a:pt x="915" y="1189"/>
                  </a:cubicBezTo>
                  <a:cubicBezTo>
                    <a:pt x="917" y="1185"/>
                    <a:pt x="940" y="1180"/>
                    <a:pt x="930" y="1176"/>
                  </a:cubicBezTo>
                  <a:cubicBezTo>
                    <a:pt x="921" y="1174"/>
                    <a:pt x="923" y="1146"/>
                    <a:pt x="911" y="1148"/>
                  </a:cubicBezTo>
                  <a:cubicBezTo>
                    <a:pt x="897" y="1150"/>
                    <a:pt x="908" y="1154"/>
                    <a:pt x="908" y="1159"/>
                  </a:cubicBezTo>
                  <a:cubicBezTo>
                    <a:pt x="907" y="1167"/>
                    <a:pt x="899" y="1158"/>
                    <a:pt x="906" y="1170"/>
                  </a:cubicBezTo>
                  <a:cubicBezTo>
                    <a:pt x="908" y="1175"/>
                    <a:pt x="898" y="1169"/>
                    <a:pt x="901" y="1173"/>
                  </a:cubicBezTo>
                  <a:cubicBezTo>
                    <a:pt x="906" y="1178"/>
                    <a:pt x="908" y="1178"/>
                    <a:pt x="910" y="1181"/>
                  </a:cubicBezTo>
                  <a:cubicBezTo>
                    <a:pt x="910" y="1182"/>
                    <a:pt x="913" y="1185"/>
                    <a:pt x="910" y="1185"/>
                  </a:cubicBezTo>
                  <a:cubicBezTo>
                    <a:pt x="900" y="1185"/>
                    <a:pt x="891" y="1162"/>
                    <a:pt x="888" y="1160"/>
                  </a:cubicBezTo>
                  <a:cubicBezTo>
                    <a:pt x="883" y="1157"/>
                    <a:pt x="887" y="1172"/>
                    <a:pt x="882" y="1164"/>
                  </a:cubicBezTo>
                  <a:cubicBezTo>
                    <a:pt x="880" y="1161"/>
                    <a:pt x="885" y="1156"/>
                    <a:pt x="883" y="1154"/>
                  </a:cubicBezTo>
                  <a:cubicBezTo>
                    <a:pt x="881" y="1152"/>
                    <a:pt x="877" y="1149"/>
                    <a:pt x="875" y="1151"/>
                  </a:cubicBezTo>
                  <a:cubicBezTo>
                    <a:pt x="872" y="1153"/>
                    <a:pt x="865" y="1157"/>
                    <a:pt x="868" y="1159"/>
                  </a:cubicBezTo>
                  <a:cubicBezTo>
                    <a:pt x="874" y="1165"/>
                    <a:pt x="876" y="1168"/>
                    <a:pt x="879" y="1177"/>
                  </a:cubicBezTo>
                  <a:cubicBezTo>
                    <a:pt x="881" y="1181"/>
                    <a:pt x="869" y="1180"/>
                    <a:pt x="869" y="1181"/>
                  </a:cubicBezTo>
                  <a:cubicBezTo>
                    <a:pt x="876" y="1193"/>
                    <a:pt x="877" y="1196"/>
                    <a:pt x="874" y="1204"/>
                  </a:cubicBezTo>
                  <a:cubicBezTo>
                    <a:pt x="874" y="1206"/>
                    <a:pt x="887" y="1208"/>
                    <a:pt x="886" y="1208"/>
                  </a:cubicBezTo>
                  <a:cubicBezTo>
                    <a:pt x="863" y="1224"/>
                    <a:pt x="877" y="1204"/>
                    <a:pt x="856" y="1210"/>
                  </a:cubicBezTo>
                  <a:cubicBezTo>
                    <a:pt x="853" y="1212"/>
                    <a:pt x="870" y="1214"/>
                    <a:pt x="870" y="1217"/>
                  </a:cubicBezTo>
                  <a:cubicBezTo>
                    <a:pt x="870" y="1220"/>
                    <a:pt x="856" y="1217"/>
                    <a:pt x="854" y="1217"/>
                  </a:cubicBezTo>
                  <a:cubicBezTo>
                    <a:pt x="849" y="1215"/>
                    <a:pt x="837" y="1227"/>
                    <a:pt x="830" y="1223"/>
                  </a:cubicBezTo>
                  <a:cubicBezTo>
                    <a:pt x="830" y="1223"/>
                    <a:pt x="827" y="1222"/>
                    <a:pt x="829" y="1221"/>
                  </a:cubicBezTo>
                  <a:cubicBezTo>
                    <a:pt x="831" y="1220"/>
                    <a:pt x="834" y="1222"/>
                    <a:pt x="836" y="1221"/>
                  </a:cubicBezTo>
                  <a:cubicBezTo>
                    <a:pt x="839" y="1219"/>
                    <a:pt x="822" y="1213"/>
                    <a:pt x="821" y="1212"/>
                  </a:cubicBezTo>
                  <a:cubicBezTo>
                    <a:pt x="820" y="1209"/>
                    <a:pt x="842" y="1219"/>
                    <a:pt x="843" y="1218"/>
                  </a:cubicBezTo>
                  <a:cubicBezTo>
                    <a:pt x="849" y="1216"/>
                    <a:pt x="825" y="1205"/>
                    <a:pt x="831" y="1205"/>
                  </a:cubicBezTo>
                  <a:cubicBezTo>
                    <a:pt x="832" y="1205"/>
                    <a:pt x="846" y="1215"/>
                    <a:pt x="846" y="1213"/>
                  </a:cubicBezTo>
                  <a:cubicBezTo>
                    <a:pt x="848" y="1207"/>
                    <a:pt x="836" y="1204"/>
                    <a:pt x="834" y="1201"/>
                  </a:cubicBezTo>
                  <a:cubicBezTo>
                    <a:pt x="833" y="1200"/>
                    <a:pt x="830" y="1188"/>
                    <a:pt x="826" y="1183"/>
                  </a:cubicBezTo>
                  <a:cubicBezTo>
                    <a:pt x="831" y="1186"/>
                    <a:pt x="837" y="1189"/>
                    <a:pt x="840" y="1189"/>
                  </a:cubicBezTo>
                  <a:cubicBezTo>
                    <a:pt x="841" y="1189"/>
                    <a:pt x="829" y="1179"/>
                    <a:pt x="840" y="1182"/>
                  </a:cubicBezTo>
                  <a:cubicBezTo>
                    <a:pt x="842" y="1183"/>
                    <a:pt x="846" y="1186"/>
                    <a:pt x="847" y="1184"/>
                  </a:cubicBezTo>
                  <a:cubicBezTo>
                    <a:pt x="849" y="1181"/>
                    <a:pt x="823" y="1171"/>
                    <a:pt x="820" y="1167"/>
                  </a:cubicBezTo>
                  <a:cubicBezTo>
                    <a:pt x="805" y="1144"/>
                    <a:pt x="785" y="1157"/>
                    <a:pt x="772" y="1122"/>
                  </a:cubicBezTo>
                  <a:cubicBezTo>
                    <a:pt x="772" y="1122"/>
                    <a:pt x="775" y="1121"/>
                    <a:pt x="775" y="1120"/>
                  </a:cubicBezTo>
                  <a:cubicBezTo>
                    <a:pt x="776" y="1117"/>
                    <a:pt x="780" y="1120"/>
                    <a:pt x="783" y="1115"/>
                  </a:cubicBezTo>
                  <a:cubicBezTo>
                    <a:pt x="783" y="1114"/>
                    <a:pt x="775" y="1110"/>
                    <a:pt x="774" y="1110"/>
                  </a:cubicBezTo>
                  <a:cubicBezTo>
                    <a:pt x="769" y="1110"/>
                    <a:pt x="779" y="1097"/>
                    <a:pt x="781" y="1095"/>
                  </a:cubicBezTo>
                  <a:cubicBezTo>
                    <a:pt x="782" y="1094"/>
                    <a:pt x="801" y="1095"/>
                    <a:pt x="786" y="1091"/>
                  </a:cubicBezTo>
                  <a:cubicBezTo>
                    <a:pt x="782" y="1091"/>
                    <a:pt x="795" y="1093"/>
                    <a:pt x="795" y="1090"/>
                  </a:cubicBezTo>
                  <a:cubicBezTo>
                    <a:pt x="795" y="1085"/>
                    <a:pt x="792" y="1087"/>
                    <a:pt x="790" y="1087"/>
                  </a:cubicBezTo>
                  <a:cubicBezTo>
                    <a:pt x="780" y="1087"/>
                    <a:pt x="783" y="1094"/>
                    <a:pt x="774" y="1095"/>
                  </a:cubicBezTo>
                  <a:cubicBezTo>
                    <a:pt x="768" y="1096"/>
                    <a:pt x="765" y="1087"/>
                    <a:pt x="762" y="1087"/>
                  </a:cubicBezTo>
                  <a:cubicBezTo>
                    <a:pt x="753" y="1085"/>
                    <a:pt x="754" y="1097"/>
                    <a:pt x="745" y="1091"/>
                  </a:cubicBezTo>
                  <a:cubicBezTo>
                    <a:pt x="741" y="1088"/>
                    <a:pt x="753" y="1080"/>
                    <a:pt x="747" y="1076"/>
                  </a:cubicBezTo>
                  <a:cubicBezTo>
                    <a:pt x="746" y="1075"/>
                    <a:pt x="744" y="1077"/>
                    <a:pt x="743" y="1078"/>
                  </a:cubicBezTo>
                  <a:cubicBezTo>
                    <a:pt x="730" y="1082"/>
                    <a:pt x="744" y="1085"/>
                    <a:pt x="738" y="1093"/>
                  </a:cubicBezTo>
                  <a:cubicBezTo>
                    <a:pt x="734" y="1098"/>
                    <a:pt x="749" y="1095"/>
                    <a:pt x="743" y="1100"/>
                  </a:cubicBezTo>
                  <a:cubicBezTo>
                    <a:pt x="738" y="1103"/>
                    <a:pt x="732" y="1103"/>
                    <a:pt x="729" y="1093"/>
                  </a:cubicBezTo>
                  <a:cubicBezTo>
                    <a:pt x="729" y="1092"/>
                    <a:pt x="723" y="1088"/>
                    <a:pt x="723" y="1089"/>
                  </a:cubicBezTo>
                  <a:cubicBezTo>
                    <a:pt x="722" y="1092"/>
                    <a:pt x="727" y="1093"/>
                    <a:pt x="728" y="1095"/>
                  </a:cubicBezTo>
                  <a:cubicBezTo>
                    <a:pt x="729" y="1099"/>
                    <a:pt x="720" y="1097"/>
                    <a:pt x="719" y="1097"/>
                  </a:cubicBezTo>
                  <a:cubicBezTo>
                    <a:pt x="717" y="1097"/>
                    <a:pt x="712" y="1095"/>
                    <a:pt x="711" y="1095"/>
                  </a:cubicBezTo>
                  <a:cubicBezTo>
                    <a:pt x="703" y="1090"/>
                    <a:pt x="697" y="1076"/>
                    <a:pt x="691" y="1068"/>
                  </a:cubicBezTo>
                  <a:cubicBezTo>
                    <a:pt x="691" y="1068"/>
                    <a:pt x="691" y="1067"/>
                    <a:pt x="691" y="1067"/>
                  </a:cubicBezTo>
                  <a:cubicBezTo>
                    <a:pt x="692" y="1062"/>
                    <a:pt x="698" y="1071"/>
                    <a:pt x="700" y="1071"/>
                  </a:cubicBezTo>
                  <a:cubicBezTo>
                    <a:pt x="707" y="1071"/>
                    <a:pt x="700" y="1061"/>
                    <a:pt x="701" y="1055"/>
                  </a:cubicBezTo>
                  <a:cubicBezTo>
                    <a:pt x="701" y="1052"/>
                    <a:pt x="707" y="1048"/>
                    <a:pt x="706" y="1047"/>
                  </a:cubicBezTo>
                  <a:cubicBezTo>
                    <a:pt x="705" y="1046"/>
                    <a:pt x="702" y="1042"/>
                    <a:pt x="704" y="1041"/>
                  </a:cubicBezTo>
                  <a:cubicBezTo>
                    <a:pt x="706" y="1040"/>
                    <a:pt x="699" y="1044"/>
                    <a:pt x="697" y="1043"/>
                  </a:cubicBezTo>
                  <a:cubicBezTo>
                    <a:pt x="696" y="1042"/>
                    <a:pt x="696" y="1041"/>
                    <a:pt x="696" y="1040"/>
                  </a:cubicBezTo>
                  <a:cubicBezTo>
                    <a:pt x="697" y="1035"/>
                    <a:pt x="687" y="1024"/>
                    <a:pt x="691" y="1027"/>
                  </a:cubicBezTo>
                  <a:cubicBezTo>
                    <a:pt x="693" y="1029"/>
                    <a:pt x="696" y="1037"/>
                    <a:pt x="698" y="1034"/>
                  </a:cubicBezTo>
                  <a:cubicBezTo>
                    <a:pt x="706" y="1025"/>
                    <a:pt x="665" y="1000"/>
                    <a:pt x="661" y="1006"/>
                  </a:cubicBezTo>
                  <a:cubicBezTo>
                    <a:pt x="660" y="1007"/>
                    <a:pt x="673" y="1021"/>
                    <a:pt x="673" y="1021"/>
                  </a:cubicBezTo>
                  <a:cubicBezTo>
                    <a:pt x="678" y="1018"/>
                    <a:pt x="669" y="1015"/>
                    <a:pt x="673" y="1013"/>
                  </a:cubicBezTo>
                  <a:cubicBezTo>
                    <a:pt x="681" y="1011"/>
                    <a:pt x="687" y="1026"/>
                    <a:pt x="692" y="1040"/>
                  </a:cubicBezTo>
                  <a:cubicBezTo>
                    <a:pt x="698" y="1054"/>
                    <a:pt x="678" y="1045"/>
                    <a:pt x="693" y="1061"/>
                  </a:cubicBezTo>
                  <a:cubicBezTo>
                    <a:pt x="695" y="1064"/>
                    <a:pt x="680" y="1063"/>
                    <a:pt x="683" y="1066"/>
                  </a:cubicBezTo>
                  <a:cubicBezTo>
                    <a:pt x="701" y="1080"/>
                    <a:pt x="684" y="1078"/>
                    <a:pt x="686" y="1083"/>
                  </a:cubicBezTo>
                  <a:cubicBezTo>
                    <a:pt x="687" y="1086"/>
                    <a:pt x="690" y="1084"/>
                    <a:pt x="691" y="1083"/>
                  </a:cubicBezTo>
                  <a:cubicBezTo>
                    <a:pt x="692" y="1082"/>
                    <a:pt x="693" y="1083"/>
                    <a:pt x="693" y="1088"/>
                  </a:cubicBezTo>
                  <a:cubicBezTo>
                    <a:pt x="693" y="1088"/>
                    <a:pt x="698" y="1092"/>
                    <a:pt x="699" y="1092"/>
                  </a:cubicBezTo>
                  <a:cubicBezTo>
                    <a:pt x="702" y="1094"/>
                    <a:pt x="717" y="1121"/>
                    <a:pt x="722" y="1117"/>
                  </a:cubicBezTo>
                  <a:cubicBezTo>
                    <a:pt x="724" y="1116"/>
                    <a:pt x="719" y="1110"/>
                    <a:pt x="722" y="1107"/>
                  </a:cubicBezTo>
                  <a:cubicBezTo>
                    <a:pt x="723" y="1107"/>
                    <a:pt x="725" y="1112"/>
                    <a:pt x="726" y="1108"/>
                  </a:cubicBezTo>
                  <a:cubicBezTo>
                    <a:pt x="727" y="1104"/>
                    <a:pt x="732" y="1102"/>
                    <a:pt x="734" y="1107"/>
                  </a:cubicBezTo>
                  <a:cubicBezTo>
                    <a:pt x="735" y="1114"/>
                    <a:pt x="725" y="1110"/>
                    <a:pt x="729" y="1118"/>
                  </a:cubicBezTo>
                  <a:cubicBezTo>
                    <a:pt x="729" y="1118"/>
                    <a:pt x="729" y="1119"/>
                    <a:pt x="730" y="1119"/>
                  </a:cubicBezTo>
                  <a:cubicBezTo>
                    <a:pt x="727" y="1120"/>
                    <a:pt x="725" y="1122"/>
                    <a:pt x="725" y="1124"/>
                  </a:cubicBezTo>
                  <a:cubicBezTo>
                    <a:pt x="725" y="1127"/>
                    <a:pt x="733" y="1127"/>
                    <a:pt x="732" y="1130"/>
                  </a:cubicBezTo>
                  <a:cubicBezTo>
                    <a:pt x="732" y="1136"/>
                    <a:pt x="726" y="1131"/>
                    <a:pt x="726" y="1131"/>
                  </a:cubicBezTo>
                  <a:cubicBezTo>
                    <a:pt x="726" y="1137"/>
                    <a:pt x="725" y="1142"/>
                    <a:pt x="725" y="1146"/>
                  </a:cubicBezTo>
                  <a:cubicBezTo>
                    <a:pt x="724" y="1149"/>
                    <a:pt x="732" y="1157"/>
                    <a:pt x="729" y="1156"/>
                  </a:cubicBezTo>
                  <a:cubicBezTo>
                    <a:pt x="724" y="1154"/>
                    <a:pt x="718" y="1146"/>
                    <a:pt x="716" y="1150"/>
                  </a:cubicBezTo>
                  <a:cubicBezTo>
                    <a:pt x="714" y="1157"/>
                    <a:pt x="735" y="1160"/>
                    <a:pt x="737" y="1166"/>
                  </a:cubicBezTo>
                  <a:cubicBezTo>
                    <a:pt x="740" y="1174"/>
                    <a:pt x="725" y="1160"/>
                    <a:pt x="724" y="1163"/>
                  </a:cubicBezTo>
                  <a:cubicBezTo>
                    <a:pt x="724" y="1165"/>
                    <a:pt x="732" y="1172"/>
                    <a:pt x="734" y="1175"/>
                  </a:cubicBezTo>
                  <a:cubicBezTo>
                    <a:pt x="735" y="1176"/>
                    <a:pt x="737" y="1178"/>
                    <a:pt x="735" y="1178"/>
                  </a:cubicBezTo>
                  <a:cubicBezTo>
                    <a:pt x="732" y="1177"/>
                    <a:pt x="719" y="1167"/>
                    <a:pt x="720" y="1163"/>
                  </a:cubicBezTo>
                  <a:cubicBezTo>
                    <a:pt x="721" y="1162"/>
                    <a:pt x="721" y="1158"/>
                    <a:pt x="720" y="1159"/>
                  </a:cubicBezTo>
                  <a:cubicBezTo>
                    <a:pt x="718" y="1159"/>
                    <a:pt x="714" y="1167"/>
                    <a:pt x="711" y="1165"/>
                  </a:cubicBezTo>
                  <a:cubicBezTo>
                    <a:pt x="708" y="1164"/>
                    <a:pt x="712" y="1156"/>
                    <a:pt x="708" y="1155"/>
                  </a:cubicBezTo>
                  <a:cubicBezTo>
                    <a:pt x="704" y="1153"/>
                    <a:pt x="707" y="1163"/>
                    <a:pt x="705" y="1158"/>
                  </a:cubicBezTo>
                  <a:cubicBezTo>
                    <a:pt x="701" y="1150"/>
                    <a:pt x="702" y="1168"/>
                    <a:pt x="701" y="1168"/>
                  </a:cubicBezTo>
                  <a:cubicBezTo>
                    <a:pt x="696" y="1169"/>
                    <a:pt x="678" y="1142"/>
                    <a:pt x="682" y="1153"/>
                  </a:cubicBezTo>
                  <a:cubicBezTo>
                    <a:pt x="685" y="1161"/>
                    <a:pt x="703" y="1182"/>
                    <a:pt x="709" y="1171"/>
                  </a:cubicBezTo>
                  <a:cubicBezTo>
                    <a:pt x="709" y="1170"/>
                    <a:pt x="705" y="1168"/>
                    <a:pt x="705" y="1168"/>
                  </a:cubicBezTo>
                  <a:cubicBezTo>
                    <a:pt x="703" y="1166"/>
                    <a:pt x="710" y="1169"/>
                    <a:pt x="712" y="1169"/>
                  </a:cubicBezTo>
                  <a:cubicBezTo>
                    <a:pt x="715" y="1168"/>
                    <a:pt x="712" y="1175"/>
                    <a:pt x="718" y="1181"/>
                  </a:cubicBezTo>
                  <a:cubicBezTo>
                    <a:pt x="719" y="1182"/>
                    <a:pt x="723" y="1184"/>
                    <a:pt x="724" y="1184"/>
                  </a:cubicBezTo>
                  <a:cubicBezTo>
                    <a:pt x="732" y="1181"/>
                    <a:pt x="720" y="1173"/>
                    <a:pt x="723" y="1173"/>
                  </a:cubicBezTo>
                  <a:cubicBezTo>
                    <a:pt x="724" y="1172"/>
                    <a:pt x="748" y="1194"/>
                    <a:pt x="739" y="1177"/>
                  </a:cubicBezTo>
                  <a:cubicBezTo>
                    <a:pt x="739" y="1176"/>
                    <a:pt x="735" y="1168"/>
                    <a:pt x="740" y="1171"/>
                  </a:cubicBezTo>
                  <a:cubicBezTo>
                    <a:pt x="741" y="1172"/>
                    <a:pt x="744" y="1177"/>
                    <a:pt x="744" y="1178"/>
                  </a:cubicBezTo>
                  <a:cubicBezTo>
                    <a:pt x="747" y="1198"/>
                    <a:pt x="750" y="1182"/>
                    <a:pt x="754" y="1191"/>
                  </a:cubicBezTo>
                  <a:cubicBezTo>
                    <a:pt x="757" y="1197"/>
                    <a:pt x="745" y="1190"/>
                    <a:pt x="744" y="1193"/>
                  </a:cubicBezTo>
                  <a:cubicBezTo>
                    <a:pt x="744" y="1198"/>
                    <a:pt x="757" y="1210"/>
                    <a:pt x="759" y="1216"/>
                  </a:cubicBezTo>
                  <a:cubicBezTo>
                    <a:pt x="761" y="1219"/>
                    <a:pt x="746" y="1216"/>
                    <a:pt x="749" y="1218"/>
                  </a:cubicBezTo>
                  <a:cubicBezTo>
                    <a:pt x="755" y="1223"/>
                    <a:pt x="783" y="1230"/>
                    <a:pt x="786" y="1229"/>
                  </a:cubicBezTo>
                  <a:cubicBezTo>
                    <a:pt x="786" y="1229"/>
                    <a:pt x="774" y="1226"/>
                    <a:pt x="783" y="1224"/>
                  </a:cubicBezTo>
                  <a:cubicBezTo>
                    <a:pt x="791" y="1222"/>
                    <a:pt x="804" y="1235"/>
                    <a:pt x="801" y="1235"/>
                  </a:cubicBezTo>
                  <a:cubicBezTo>
                    <a:pt x="799" y="1234"/>
                    <a:pt x="789" y="1228"/>
                    <a:pt x="788" y="1230"/>
                  </a:cubicBezTo>
                  <a:cubicBezTo>
                    <a:pt x="786" y="1233"/>
                    <a:pt x="820" y="1245"/>
                    <a:pt x="822" y="1248"/>
                  </a:cubicBezTo>
                  <a:cubicBezTo>
                    <a:pt x="822" y="1249"/>
                    <a:pt x="830" y="1250"/>
                    <a:pt x="829" y="1252"/>
                  </a:cubicBezTo>
                  <a:cubicBezTo>
                    <a:pt x="829" y="1252"/>
                    <a:pt x="816" y="1252"/>
                    <a:pt x="815" y="1252"/>
                  </a:cubicBezTo>
                  <a:cubicBezTo>
                    <a:pt x="815" y="1252"/>
                    <a:pt x="814" y="1252"/>
                    <a:pt x="814" y="1252"/>
                  </a:cubicBezTo>
                  <a:cubicBezTo>
                    <a:pt x="814" y="1253"/>
                    <a:pt x="818" y="1255"/>
                    <a:pt x="819" y="1255"/>
                  </a:cubicBezTo>
                  <a:cubicBezTo>
                    <a:pt x="832" y="1259"/>
                    <a:pt x="836" y="1257"/>
                    <a:pt x="838" y="1266"/>
                  </a:cubicBezTo>
                  <a:cubicBezTo>
                    <a:pt x="840" y="1273"/>
                    <a:pt x="803" y="1261"/>
                    <a:pt x="803" y="1262"/>
                  </a:cubicBezTo>
                  <a:cubicBezTo>
                    <a:pt x="801" y="1264"/>
                    <a:pt x="808" y="1263"/>
                    <a:pt x="808" y="1264"/>
                  </a:cubicBezTo>
                  <a:cubicBezTo>
                    <a:pt x="812" y="1268"/>
                    <a:pt x="799" y="1267"/>
                    <a:pt x="807" y="1272"/>
                  </a:cubicBezTo>
                  <a:cubicBezTo>
                    <a:pt x="807" y="1273"/>
                    <a:pt x="809" y="1276"/>
                    <a:pt x="808" y="1277"/>
                  </a:cubicBezTo>
                  <a:cubicBezTo>
                    <a:pt x="805" y="1278"/>
                    <a:pt x="801" y="1271"/>
                    <a:pt x="801" y="1271"/>
                  </a:cubicBezTo>
                  <a:cubicBezTo>
                    <a:pt x="798" y="1272"/>
                    <a:pt x="801" y="1278"/>
                    <a:pt x="801" y="1279"/>
                  </a:cubicBezTo>
                  <a:cubicBezTo>
                    <a:pt x="800" y="1279"/>
                    <a:pt x="798" y="1274"/>
                    <a:pt x="795" y="1274"/>
                  </a:cubicBezTo>
                  <a:cubicBezTo>
                    <a:pt x="789" y="1272"/>
                    <a:pt x="802" y="1282"/>
                    <a:pt x="793" y="1279"/>
                  </a:cubicBezTo>
                  <a:cubicBezTo>
                    <a:pt x="788" y="1278"/>
                    <a:pt x="789" y="1271"/>
                    <a:pt x="783" y="1277"/>
                  </a:cubicBezTo>
                  <a:cubicBezTo>
                    <a:pt x="782" y="1278"/>
                    <a:pt x="782" y="1278"/>
                    <a:pt x="781" y="1279"/>
                  </a:cubicBezTo>
                  <a:cubicBezTo>
                    <a:pt x="778" y="1284"/>
                    <a:pt x="784" y="1309"/>
                    <a:pt x="767" y="1316"/>
                  </a:cubicBezTo>
                  <a:cubicBezTo>
                    <a:pt x="764" y="1318"/>
                    <a:pt x="764" y="1313"/>
                    <a:pt x="763" y="1311"/>
                  </a:cubicBezTo>
                  <a:cubicBezTo>
                    <a:pt x="762" y="1305"/>
                    <a:pt x="760" y="1296"/>
                    <a:pt x="755" y="1296"/>
                  </a:cubicBezTo>
                  <a:cubicBezTo>
                    <a:pt x="747" y="1296"/>
                    <a:pt x="758" y="1294"/>
                    <a:pt x="756" y="1292"/>
                  </a:cubicBezTo>
                  <a:cubicBezTo>
                    <a:pt x="750" y="1284"/>
                    <a:pt x="749" y="1284"/>
                    <a:pt x="745" y="1276"/>
                  </a:cubicBezTo>
                  <a:cubicBezTo>
                    <a:pt x="744" y="1275"/>
                    <a:pt x="734" y="1281"/>
                    <a:pt x="734" y="1277"/>
                  </a:cubicBezTo>
                  <a:cubicBezTo>
                    <a:pt x="735" y="1274"/>
                    <a:pt x="728" y="1266"/>
                    <a:pt x="726" y="1268"/>
                  </a:cubicBezTo>
                  <a:cubicBezTo>
                    <a:pt x="719" y="1277"/>
                    <a:pt x="744" y="1282"/>
                    <a:pt x="743" y="1286"/>
                  </a:cubicBezTo>
                  <a:cubicBezTo>
                    <a:pt x="741" y="1291"/>
                    <a:pt x="738" y="1292"/>
                    <a:pt x="733" y="1292"/>
                  </a:cubicBezTo>
                  <a:cubicBezTo>
                    <a:pt x="722" y="1293"/>
                    <a:pt x="725" y="1296"/>
                    <a:pt x="734" y="1296"/>
                  </a:cubicBezTo>
                  <a:cubicBezTo>
                    <a:pt x="734" y="1296"/>
                    <a:pt x="736" y="1295"/>
                    <a:pt x="736" y="1296"/>
                  </a:cubicBezTo>
                  <a:cubicBezTo>
                    <a:pt x="737" y="1298"/>
                    <a:pt x="733" y="1300"/>
                    <a:pt x="731" y="1301"/>
                  </a:cubicBezTo>
                  <a:cubicBezTo>
                    <a:pt x="724" y="1301"/>
                    <a:pt x="721" y="1305"/>
                    <a:pt x="719" y="1302"/>
                  </a:cubicBezTo>
                  <a:cubicBezTo>
                    <a:pt x="717" y="1301"/>
                    <a:pt x="718" y="1290"/>
                    <a:pt x="713" y="1292"/>
                  </a:cubicBezTo>
                  <a:cubicBezTo>
                    <a:pt x="711" y="1293"/>
                    <a:pt x="714" y="1300"/>
                    <a:pt x="714" y="1301"/>
                  </a:cubicBezTo>
                  <a:cubicBezTo>
                    <a:pt x="714" y="1308"/>
                    <a:pt x="724" y="1316"/>
                    <a:pt x="702" y="1308"/>
                  </a:cubicBezTo>
                  <a:cubicBezTo>
                    <a:pt x="701" y="1308"/>
                    <a:pt x="703" y="1300"/>
                    <a:pt x="704" y="1300"/>
                  </a:cubicBezTo>
                  <a:cubicBezTo>
                    <a:pt x="706" y="1299"/>
                    <a:pt x="706" y="1297"/>
                    <a:pt x="705" y="1295"/>
                  </a:cubicBezTo>
                  <a:cubicBezTo>
                    <a:pt x="702" y="1292"/>
                    <a:pt x="702" y="1301"/>
                    <a:pt x="700" y="1299"/>
                  </a:cubicBezTo>
                  <a:cubicBezTo>
                    <a:pt x="699" y="1297"/>
                    <a:pt x="706" y="1278"/>
                    <a:pt x="696" y="1289"/>
                  </a:cubicBezTo>
                  <a:cubicBezTo>
                    <a:pt x="691" y="1294"/>
                    <a:pt x="697" y="1311"/>
                    <a:pt x="705" y="1313"/>
                  </a:cubicBezTo>
                  <a:cubicBezTo>
                    <a:pt x="707" y="1314"/>
                    <a:pt x="715" y="1319"/>
                    <a:pt x="715" y="1319"/>
                  </a:cubicBezTo>
                  <a:cubicBezTo>
                    <a:pt x="704" y="1319"/>
                    <a:pt x="688" y="1309"/>
                    <a:pt x="695" y="1322"/>
                  </a:cubicBezTo>
                  <a:cubicBezTo>
                    <a:pt x="698" y="1327"/>
                    <a:pt x="699" y="1318"/>
                    <a:pt x="703" y="1321"/>
                  </a:cubicBezTo>
                  <a:cubicBezTo>
                    <a:pt x="704" y="1322"/>
                    <a:pt x="701" y="1327"/>
                    <a:pt x="700" y="1327"/>
                  </a:cubicBezTo>
                  <a:cubicBezTo>
                    <a:pt x="691" y="1332"/>
                    <a:pt x="697" y="1332"/>
                    <a:pt x="693" y="1340"/>
                  </a:cubicBezTo>
                  <a:cubicBezTo>
                    <a:pt x="692" y="1342"/>
                    <a:pt x="699" y="1335"/>
                    <a:pt x="701" y="1337"/>
                  </a:cubicBezTo>
                  <a:close/>
                  <a:moveTo>
                    <a:pt x="729" y="1375"/>
                  </a:moveTo>
                  <a:cubicBezTo>
                    <a:pt x="729" y="1376"/>
                    <a:pt x="733" y="1380"/>
                    <a:pt x="734" y="1379"/>
                  </a:cubicBezTo>
                  <a:cubicBezTo>
                    <a:pt x="738" y="1379"/>
                    <a:pt x="737" y="1384"/>
                    <a:pt x="732" y="1389"/>
                  </a:cubicBezTo>
                  <a:cubicBezTo>
                    <a:pt x="730" y="1392"/>
                    <a:pt x="730" y="1380"/>
                    <a:pt x="727" y="1384"/>
                  </a:cubicBezTo>
                  <a:cubicBezTo>
                    <a:pt x="717" y="1401"/>
                    <a:pt x="707" y="1371"/>
                    <a:pt x="699" y="1387"/>
                  </a:cubicBezTo>
                  <a:cubicBezTo>
                    <a:pt x="699" y="1388"/>
                    <a:pt x="699" y="1388"/>
                    <a:pt x="699" y="1388"/>
                  </a:cubicBezTo>
                  <a:cubicBezTo>
                    <a:pt x="699" y="1388"/>
                    <a:pt x="699" y="1392"/>
                    <a:pt x="701" y="1390"/>
                  </a:cubicBezTo>
                  <a:cubicBezTo>
                    <a:pt x="703" y="1387"/>
                    <a:pt x="741" y="1403"/>
                    <a:pt x="749" y="1388"/>
                  </a:cubicBezTo>
                  <a:cubicBezTo>
                    <a:pt x="751" y="1385"/>
                    <a:pt x="732" y="1369"/>
                    <a:pt x="729" y="1375"/>
                  </a:cubicBezTo>
                  <a:close/>
                  <a:moveTo>
                    <a:pt x="171" y="1048"/>
                  </a:moveTo>
                  <a:cubicBezTo>
                    <a:pt x="186" y="1038"/>
                    <a:pt x="165" y="1042"/>
                    <a:pt x="165" y="1041"/>
                  </a:cubicBezTo>
                  <a:cubicBezTo>
                    <a:pt x="165" y="1041"/>
                    <a:pt x="165" y="1041"/>
                    <a:pt x="165" y="1041"/>
                  </a:cubicBezTo>
                  <a:cubicBezTo>
                    <a:pt x="162" y="1042"/>
                    <a:pt x="168" y="1050"/>
                    <a:pt x="171" y="1048"/>
                  </a:cubicBezTo>
                  <a:close/>
                  <a:moveTo>
                    <a:pt x="154" y="1052"/>
                  </a:moveTo>
                  <a:cubicBezTo>
                    <a:pt x="138" y="1053"/>
                    <a:pt x="174" y="1083"/>
                    <a:pt x="179" y="1055"/>
                  </a:cubicBezTo>
                  <a:cubicBezTo>
                    <a:pt x="179" y="1054"/>
                    <a:pt x="179" y="1054"/>
                    <a:pt x="179" y="1054"/>
                  </a:cubicBezTo>
                  <a:cubicBezTo>
                    <a:pt x="176" y="1049"/>
                    <a:pt x="165" y="1059"/>
                    <a:pt x="161" y="1059"/>
                  </a:cubicBezTo>
                  <a:cubicBezTo>
                    <a:pt x="156" y="1058"/>
                    <a:pt x="170" y="1051"/>
                    <a:pt x="154" y="1052"/>
                  </a:cubicBezTo>
                  <a:close/>
                  <a:moveTo>
                    <a:pt x="94" y="1525"/>
                  </a:moveTo>
                  <a:cubicBezTo>
                    <a:pt x="95" y="1526"/>
                    <a:pt x="106" y="1526"/>
                    <a:pt x="104" y="1522"/>
                  </a:cubicBezTo>
                  <a:cubicBezTo>
                    <a:pt x="103" y="1520"/>
                    <a:pt x="102" y="1522"/>
                    <a:pt x="101" y="1519"/>
                  </a:cubicBezTo>
                  <a:cubicBezTo>
                    <a:pt x="100" y="1519"/>
                    <a:pt x="100" y="1519"/>
                    <a:pt x="100" y="1519"/>
                  </a:cubicBezTo>
                  <a:cubicBezTo>
                    <a:pt x="98" y="1519"/>
                    <a:pt x="92" y="1524"/>
                    <a:pt x="94" y="1525"/>
                  </a:cubicBezTo>
                  <a:close/>
                  <a:moveTo>
                    <a:pt x="86" y="1521"/>
                  </a:moveTo>
                  <a:cubicBezTo>
                    <a:pt x="83" y="1530"/>
                    <a:pt x="87" y="1523"/>
                    <a:pt x="89" y="1520"/>
                  </a:cubicBezTo>
                  <a:cubicBezTo>
                    <a:pt x="90" y="1519"/>
                    <a:pt x="90" y="1519"/>
                    <a:pt x="90" y="1519"/>
                  </a:cubicBezTo>
                  <a:cubicBezTo>
                    <a:pt x="91" y="1517"/>
                    <a:pt x="87" y="1518"/>
                    <a:pt x="86" y="1521"/>
                  </a:cubicBezTo>
                  <a:close/>
                  <a:moveTo>
                    <a:pt x="75" y="1530"/>
                  </a:moveTo>
                  <a:cubicBezTo>
                    <a:pt x="76" y="1531"/>
                    <a:pt x="79" y="1529"/>
                    <a:pt x="80" y="1529"/>
                  </a:cubicBezTo>
                  <a:cubicBezTo>
                    <a:pt x="80" y="1529"/>
                    <a:pt x="84" y="1531"/>
                    <a:pt x="85" y="1530"/>
                  </a:cubicBezTo>
                  <a:cubicBezTo>
                    <a:pt x="85" y="1529"/>
                    <a:pt x="84" y="1528"/>
                    <a:pt x="83" y="1527"/>
                  </a:cubicBezTo>
                  <a:cubicBezTo>
                    <a:pt x="82" y="1527"/>
                    <a:pt x="82" y="1527"/>
                    <a:pt x="82" y="1527"/>
                  </a:cubicBezTo>
                  <a:cubicBezTo>
                    <a:pt x="82" y="1527"/>
                    <a:pt x="80" y="1526"/>
                    <a:pt x="79" y="1526"/>
                  </a:cubicBezTo>
                  <a:cubicBezTo>
                    <a:pt x="79" y="1526"/>
                    <a:pt x="75" y="1530"/>
                    <a:pt x="75" y="1530"/>
                  </a:cubicBez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12" name="Denmark"/>
            <p:cNvSpPr>
              <a:spLocks noEditPoints="1"/>
            </p:cNvSpPr>
            <p:nvPr/>
          </p:nvSpPr>
          <p:spPr bwMode="auto">
            <a:xfrm>
              <a:off x="3141" y="1709"/>
              <a:ext cx="337" cy="232"/>
            </a:xfrm>
            <a:custGeom>
              <a:avLst/>
              <a:gdLst>
                <a:gd name="T0" fmla="*/ 138 w 647"/>
                <a:gd name="T1" fmla="*/ 401 h 446"/>
                <a:gd name="T2" fmla="*/ 52 w 647"/>
                <a:gd name="T3" fmla="*/ 371 h 446"/>
                <a:gd name="T4" fmla="*/ 55 w 647"/>
                <a:gd name="T5" fmla="*/ 368 h 446"/>
                <a:gd name="T6" fmla="*/ 14 w 647"/>
                <a:gd name="T7" fmla="*/ 316 h 446"/>
                <a:gd name="T8" fmla="*/ 12 w 647"/>
                <a:gd name="T9" fmla="*/ 275 h 446"/>
                <a:gd name="T10" fmla="*/ 13 w 647"/>
                <a:gd name="T11" fmla="*/ 161 h 446"/>
                <a:gd name="T12" fmla="*/ 55 w 647"/>
                <a:gd name="T13" fmla="*/ 163 h 446"/>
                <a:gd name="T14" fmla="*/ 88 w 647"/>
                <a:gd name="T15" fmla="*/ 166 h 446"/>
                <a:gd name="T16" fmla="*/ 117 w 647"/>
                <a:gd name="T17" fmla="*/ 170 h 446"/>
                <a:gd name="T18" fmla="*/ 138 w 647"/>
                <a:gd name="T19" fmla="*/ 114 h 446"/>
                <a:gd name="T20" fmla="*/ 38 w 647"/>
                <a:gd name="T21" fmla="*/ 140 h 446"/>
                <a:gd name="T22" fmla="*/ 47 w 647"/>
                <a:gd name="T23" fmla="*/ 156 h 446"/>
                <a:gd name="T24" fmla="*/ 48 w 647"/>
                <a:gd name="T25" fmla="*/ 94 h 446"/>
                <a:gd name="T26" fmla="*/ 223 w 647"/>
                <a:gd name="T27" fmla="*/ 11 h 446"/>
                <a:gd name="T28" fmla="*/ 203 w 647"/>
                <a:gd name="T29" fmla="*/ 111 h 446"/>
                <a:gd name="T30" fmla="*/ 200 w 647"/>
                <a:gd name="T31" fmla="*/ 112 h 446"/>
                <a:gd name="T32" fmla="*/ 177 w 647"/>
                <a:gd name="T33" fmla="*/ 154 h 446"/>
                <a:gd name="T34" fmla="*/ 203 w 647"/>
                <a:gd name="T35" fmla="*/ 153 h 446"/>
                <a:gd name="T36" fmla="*/ 259 w 647"/>
                <a:gd name="T37" fmla="*/ 188 h 446"/>
                <a:gd name="T38" fmla="*/ 204 w 647"/>
                <a:gd name="T39" fmla="*/ 222 h 446"/>
                <a:gd name="T40" fmla="*/ 161 w 647"/>
                <a:gd name="T41" fmla="*/ 270 h 446"/>
                <a:gd name="T42" fmla="*/ 133 w 647"/>
                <a:gd name="T43" fmla="*/ 289 h 446"/>
                <a:gd name="T44" fmla="*/ 138 w 647"/>
                <a:gd name="T45" fmla="*/ 319 h 446"/>
                <a:gd name="T46" fmla="*/ 133 w 647"/>
                <a:gd name="T47" fmla="*/ 376 h 446"/>
                <a:gd name="T48" fmla="*/ 366 w 647"/>
                <a:gd name="T49" fmla="*/ 408 h 446"/>
                <a:gd name="T50" fmla="*/ 351 w 647"/>
                <a:gd name="T51" fmla="*/ 390 h 446"/>
                <a:gd name="T52" fmla="*/ 392 w 647"/>
                <a:gd name="T53" fmla="*/ 347 h 446"/>
                <a:gd name="T54" fmla="*/ 378 w 647"/>
                <a:gd name="T55" fmla="*/ 231 h 446"/>
                <a:gd name="T56" fmla="*/ 344 w 647"/>
                <a:gd name="T57" fmla="*/ 297 h 446"/>
                <a:gd name="T58" fmla="*/ 327 w 647"/>
                <a:gd name="T59" fmla="*/ 287 h 446"/>
                <a:gd name="T60" fmla="*/ 326 w 647"/>
                <a:gd name="T61" fmla="*/ 263 h 446"/>
                <a:gd name="T62" fmla="*/ 293 w 647"/>
                <a:gd name="T63" fmla="*/ 255 h 446"/>
                <a:gd name="T64" fmla="*/ 258 w 647"/>
                <a:gd name="T65" fmla="*/ 285 h 446"/>
                <a:gd name="T66" fmla="*/ 275 w 647"/>
                <a:gd name="T67" fmla="*/ 307 h 446"/>
                <a:gd name="T68" fmla="*/ 279 w 647"/>
                <a:gd name="T69" fmla="*/ 341 h 446"/>
                <a:gd name="T70" fmla="*/ 327 w 647"/>
                <a:gd name="T71" fmla="*/ 358 h 446"/>
                <a:gd name="T72" fmla="*/ 333 w 647"/>
                <a:gd name="T73" fmla="*/ 384 h 446"/>
                <a:gd name="T74" fmla="*/ 366 w 647"/>
                <a:gd name="T75" fmla="*/ 408 h 446"/>
                <a:gd name="T76" fmla="*/ 262 w 647"/>
                <a:gd name="T77" fmla="*/ 416 h 446"/>
                <a:gd name="T78" fmla="*/ 396 w 647"/>
                <a:gd name="T79" fmla="*/ 384 h 446"/>
                <a:gd name="T80" fmla="*/ 200 w 647"/>
                <a:gd name="T81" fmla="*/ 112 h 446"/>
                <a:gd name="T82" fmla="*/ 177 w 647"/>
                <a:gd name="T83" fmla="*/ 154 h 446"/>
                <a:gd name="T84" fmla="*/ 245 w 647"/>
                <a:gd name="T85" fmla="*/ 389 h 446"/>
                <a:gd name="T86" fmla="*/ 233 w 647"/>
                <a:gd name="T87" fmla="*/ 418 h 446"/>
                <a:gd name="T88" fmla="*/ 261 w 647"/>
                <a:gd name="T89" fmla="*/ 79 h 446"/>
                <a:gd name="T90" fmla="*/ 179 w 647"/>
                <a:gd name="T91" fmla="*/ 375 h 446"/>
                <a:gd name="T92" fmla="*/ 238 w 647"/>
                <a:gd name="T93" fmla="*/ 321 h 446"/>
                <a:gd name="T94" fmla="*/ 219 w 647"/>
                <a:gd name="T95" fmla="*/ 313 h 446"/>
                <a:gd name="T96" fmla="*/ 147 w 647"/>
                <a:gd name="T97" fmla="*/ 323 h 446"/>
                <a:gd name="T98" fmla="*/ 159 w 647"/>
                <a:gd name="T99" fmla="*/ 332 h 446"/>
                <a:gd name="T100" fmla="*/ 179 w 647"/>
                <a:gd name="T101" fmla="*/ 374 h 446"/>
                <a:gd name="T102" fmla="*/ 77 w 647"/>
                <a:gd name="T103" fmla="*/ 114 h 446"/>
                <a:gd name="T104" fmla="*/ 147 w 647"/>
                <a:gd name="T105" fmla="*/ 323 h 446"/>
                <a:gd name="T106" fmla="*/ 158 w 647"/>
                <a:gd name="T107" fmla="*/ 390 h 446"/>
                <a:gd name="T108" fmla="*/ 164 w 647"/>
                <a:gd name="T109" fmla="*/ 404 h 446"/>
                <a:gd name="T110" fmla="*/ 222 w 647"/>
                <a:gd name="T111" fmla="*/ 390 h 446"/>
                <a:gd name="T112" fmla="*/ 223 w 647"/>
                <a:gd name="T113" fmla="*/ 253 h 446"/>
                <a:gd name="T114" fmla="*/ 210 w 647"/>
                <a:gd name="T115" fmla="*/ 410 h 446"/>
                <a:gd name="T116" fmla="*/ 232 w 647"/>
                <a:gd name="T117" fmla="*/ 265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47" h="446">
                  <a:moveTo>
                    <a:pt x="152" y="397"/>
                  </a:moveTo>
                  <a:cubicBezTo>
                    <a:pt x="153" y="399"/>
                    <a:pt x="153" y="400"/>
                    <a:pt x="152" y="401"/>
                  </a:cubicBezTo>
                  <a:cubicBezTo>
                    <a:pt x="151" y="403"/>
                    <a:pt x="148" y="400"/>
                    <a:pt x="146" y="401"/>
                  </a:cubicBezTo>
                  <a:cubicBezTo>
                    <a:pt x="144" y="404"/>
                    <a:pt x="156" y="411"/>
                    <a:pt x="140" y="406"/>
                  </a:cubicBezTo>
                  <a:cubicBezTo>
                    <a:pt x="138" y="406"/>
                    <a:pt x="139" y="402"/>
                    <a:pt x="138" y="401"/>
                  </a:cubicBezTo>
                  <a:cubicBezTo>
                    <a:pt x="137" y="400"/>
                    <a:pt x="145" y="399"/>
                    <a:pt x="140" y="396"/>
                  </a:cubicBezTo>
                  <a:cubicBezTo>
                    <a:pt x="139" y="396"/>
                    <a:pt x="126" y="406"/>
                    <a:pt x="123" y="411"/>
                  </a:cubicBezTo>
                  <a:cubicBezTo>
                    <a:pt x="106" y="412"/>
                    <a:pt x="85" y="399"/>
                    <a:pt x="67" y="401"/>
                  </a:cubicBezTo>
                  <a:cubicBezTo>
                    <a:pt x="65" y="401"/>
                    <a:pt x="58" y="401"/>
                    <a:pt x="52" y="400"/>
                  </a:cubicBezTo>
                  <a:cubicBezTo>
                    <a:pt x="53" y="387"/>
                    <a:pt x="56" y="371"/>
                    <a:pt x="52" y="371"/>
                  </a:cubicBezTo>
                  <a:cubicBezTo>
                    <a:pt x="48" y="370"/>
                    <a:pt x="46" y="367"/>
                    <a:pt x="44" y="368"/>
                  </a:cubicBezTo>
                  <a:cubicBezTo>
                    <a:pt x="43" y="370"/>
                    <a:pt x="46" y="373"/>
                    <a:pt x="44" y="375"/>
                  </a:cubicBezTo>
                  <a:cubicBezTo>
                    <a:pt x="41" y="377"/>
                    <a:pt x="37" y="380"/>
                    <a:pt x="36" y="374"/>
                  </a:cubicBezTo>
                  <a:cubicBezTo>
                    <a:pt x="36" y="371"/>
                    <a:pt x="35" y="370"/>
                    <a:pt x="36" y="367"/>
                  </a:cubicBezTo>
                  <a:cubicBezTo>
                    <a:pt x="44" y="345"/>
                    <a:pt x="42" y="372"/>
                    <a:pt x="55" y="368"/>
                  </a:cubicBezTo>
                  <a:cubicBezTo>
                    <a:pt x="57" y="368"/>
                    <a:pt x="52" y="331"/>
                    <a:pt x="50" y="328"/>
                  </a:cubicBezTo>
                  <a:cubicBezTo>
                    <a:pt x="47" y="322"/>
                    <a:pt x="35" y="325"/>
                    <a:pt x="30" y="319"/>
                  </a:cubicBezTo>
                  <a:cubicBezTo>
                    <a:pt x="24" y="313"/>
                    <a:pt x="23" y="303"/>
                    <a:pt x="16" y="309"/>
                  </a:cubicBezTo>
                  <a:cubicBezTo>
                    <a:pt x="11" y="313"/>
                    <a:pt x="25" y="318"/>
                    <a:pt x="24" y="322"/>
                  </a:cubicBezTo>
                  <a:cubicBezTo>
                    <a:pt x="23" y="325"/>
                    <a:pt x="15" y="317"/>
                    <a:pt x="14" y="316"/>
                  </a:cubicBezTo>
                  <a:cubicBezTo>
                    <a:pt x="12" y="314"/>
                    <a:pt x="3" y="314"/>
                    <a:pt x="2" y="311"/>
                  </a:cubicBezTo>
                  <a:cubicBezTo>
                    <a:pt x="0" y="304"/>
                    <a:pt x="12" y="290"/>
                    <a:pt x="11" y="281"/>
                  </a:cubicBezTo>
                  <a:cubicBezTo>
                    <a:pt x="10" y="274"/>
                    <a:pt x="8" y="267"/>
                    <a:pt x="8" y="260"/>
                  </a:cubicBezTo>
                  <a:cubicBezTo>
                    <a:pt x="8" y="259"/>
                    <a:pt x="5" y="251"/>
                    <a:pt x="6" y="251"/>
                  </a:cubicBezTo>
                  <a:cubicBezTo>
                    <a:pt x="10" y="250"/>
                    <a:pt x="11" y="275"/>
                    <a:pt x="12" y="275"/>
                  </a:cubicBezTo>
                  <a:cubicBezTo>
                    <a:pt x="38" y="275"/>
                    <a:pt x="27" y="232"/>
                    <a:pt x="7" y="233"/>
                  </a:cubicBezTo>
                  <a:cubicBezTo>
                    <a:pt x="7" y="233"/>
                    <a:pt x="9" y="251"/>
                    <a:pt x="5" y="249"/>
                  </a:cubicBezTo>
                  <a:cubicBezTo>
                    <a:pt x="4" y="249"/>
                    <a:pt x="4" y="246"/>
                    <a:pt x="4" y="245"/>
                  </a:cubicBezTo>
                  <a:cubicBezTo>
                    <a:pt x="2" y="227"/>
                    <a:pt x="2" y="166"/>
                    <a:pt x="13" y="151"/>
                  </a:cubicBezTo>
                  <a:cubicBezTo>
                    <a:pt x="15" y="148"/>
                    <a:pt x="10" y="160"/>
                    <a:pt x="13" y="161"/>
                  </a:cubicBezTo>
                  <a:cubicBezTo>
                    <a:pt x="22" y="164"/>
                    <a:pt x="18" y="169"/>
                    <a:pt x="21" y="172"/>
                  </a:cubicBezTo>
                  <a:cubicBezTo>
                    <a:pt x="22" y="174"/>
                    <a:pt x="25" y="169"/>
                    <a:pt x="27" y="169"/>
                  </a:cubicBezTo>
                  <a:cubicBezTo>
                    <a:pt x="32" y="167"/>
                    <a:pt x="42" y="170"/>
                    <a:pt x="45" y="169"/>
                  </a:cubicBezTo>
                  <a:cubicBezTo>
                    <a:pt x="49" y="169"/>
                    <a:pt x="46" y="184"/>
                    <a:pt x="53" y="183"/>
                  </a:cubicBezTo>
                  <a:cubicBezTo>
                    <a:pt x="73" y="182"/>
                    <a:pt x="54" y="167"/>
                    <a:pt x="55" y="163"/>
                  </a:cubicBezTo>
                  <a:cubicBezTo>
                    <a:pt x="58" y="157"/>
                    <a:pt x="72" y="155"/>
                    <a:pt x="76" y="152"/>
                  </a:cubicBezTo>
                  <a:cubicBezTo>
                    <a:pt x="79" y="151"/>
                    <a:pt x="69" y="150"/>
                    <a:pt x="69" y="150"/>
                  </a:cubicBezTo>
                  <a:cubicBezTo>
                    <a:pt x="70" y="145"/>
                    <a:pt x="76" y="139"/>
                    <a:pt x="79" y="137"/>
                  </a:cubicBezTo>
                  <a:cubicBezTo>
                    <a:pt x="82" y="136"/>
                    <a:pt x="85" y="136"/>
                    <a:pt x="88" y="137"/>
                  </a:cubicBezTo>
                  <a:cubicBezTo>
                    <a:pt x="110" y="147"/>
                    <a:pt x="85" y="154"/>
                    <a:pt x="88" y="166"/>
                  </a:cubicBezTo>
                  <a:cubicBezTo>
                    <a:pt x="88" y="167"/>
                    <a:pt x="88" y="170"/>
                    <a:pt x="89" y="171"/>
                  </a:cubicBezTo>
                  <a:cubicBezTo>
                    <a:pt x="94" y="174"/>
                    <a:pt x="92" y="159"/>
                    <a:pt x="97" y="158"/>
                  </a:cubicBezTo>
                  <a:cubicBezTo>
                    <a:pt x="110" y="156"/>
                    <a:pt x="105" y="176"/>
                    <a:pt x="112" y="176"/>
                  </a:cubicBezTo>
                  <a:cubicBezTo>
                    <a:pt x="113" y="176"/>
                    <a:pt x="113" y="174"/>
                    <a:pt x="114" y="173"/>
                  </a:cubicBezTo>
                  <a:cubicBezTo>
                    <a:pt x="115" y="173"/>
                    <a:pt x="120" y="172"/>
                    <a:pt x="117" y="170"/>
                  </a:cubicBezTo>
                  <a:cubicBezTo>
                    <a:pt x="99" y="160"/>
                    <a:pt x="122" y="163"/>
                    <a:pt x="111" y="152"/>
                  </a:cubicBezTo>
                  <a:cubicBezTo>
                    <a:pt x="108" y="149"/>
                    <a:pt x="100" y="158"/>
                    <a:pt x="99" y="155"/>
                  </a:cubicBezTo>
                  <a:cubicBezTo>
                    <a:pt x="97" y="153"/>
                    <a:pt x="106" y="149"/>
                    <a:pt x="105" y="146"/>
                  </a:cubicBezTo>
                  <a:cubicBezTo>
                    <a:pt x="105" y="142"/>
                    <a:pt x="98" y="130"/>
                    <a:pt x="98" y="125"/>
                  </a:cubicBezTo>
                  <a:cubicBezTo>
                    <a:pt x="103" y="98"/>
                    <a:pt x="132" y="115"/>
                    <a:pt x="138" y="114"/>
                  </a:cubicBezTo>
                  <a:cubicBezTo>
                    <a:pt x="142" y="114"/>
                    <a:pt x="143" y="106"/>
                    <a:pt x="145" y="105"/>
                  </a:cubicBezTo>
                  <a:cubicBezTo>
                    <a:pt x="151" y="101"/>
                    <a:pt x="170" y="107"/>
                    <a:pt x="165" y="102"/>
                  </a:cubicBezTo>
                  <a:cubicBezTo>
                    <a:pt x="154" y="90"/>
                    <a:pt x="123" y="107"/>
                    <a:pt x="107" y="111"/>
                  </a:cubicBezTo>
                  <a:cubicBezTo>
                    <a:pt x="103" y="112"/>
                    <a:pt x="98" y="105"/>
                    <a:pt x="94" y="103"/>
                  </a:cubicBezTo>
                  <a:cubicBezTo>
                    <a:pt x="90" y="101"/>
                    <a:pt x="45" y="125"/>
                    <a:pt x="38" y="140"/>
                  </a:cubicBezTo>
                  <a:cubicBezTo>
                    <a:pt x="35" y="145"/>
                    <a:pt x="42" y="152"/>
                    <a:pt x="41" y="153"/>
                  </a:cubicBezTo>
                  <a:cubicBezTo>
                    <a:pt x="41" y="153"/>
                    <a:pt x="30" y="154"/>
                    <a:pt x="31" y="154"/>
                  </a:cubicBezTo>
                  <a:cubicBezTo>
                    <a:pt x="33" y="158"/>
                    <a:pt x="36" y="152"/>
                    <a:pt x="38" y="156"/>
                  </a:cubicBezTo>
                  <a:cubicBezTo>
                    <a:pt x="39" y="157"/>
                    <a:pt x="42" y="156"/>
                    <a:pt x="43" y="155"/>
                  </a:cubicBezTo>
                  <a:cubicBezTo>
                    <a:pt x="45" y="153"/>
                    <a:pt x="49" y="152"/>
                    <a:pt x="47" y="156"/>
                  </a:cubicBezTo>
                  <a:cubicBezTo>
                    <a:pt x="46" y="159"/>
                    <a:pt x="49" y="159"/>
                    <a:pt x="49" y="162"/>
                  </a:cubicBezTo>
                  <a:cubicBezTo>
                    <a:pt x="49" y="164"/>
                    <a:pt x="46" y="168"/>
                    <a:pt x="43" y="168"/>
                  </a:cubicBezTo>
                  <a:cubicBezTo>
                    <a:pt x="36" y="168"/>
                    <a:pt x="22" y="140"/>
                    <a:pt x="17" y="141"/>
                  </a:cubicBezTo>
                  <a:cubicBezTo>
                    <a:pt x="15" y="142"/>
                    <a:pt x="20" y="153"/>
                    <a:pt x="17" y="152"/>
                  </a:cubicBezTo>
                  <a:cubicBezTo>
                    <a:pt x="4" y="148"/>
                    <a:pt x="39" y="101"/>
                    <a:pt x="48" y="94"/>
                  </a:cubicBezTo>
                  <a:cubicBezTo>
                    <a:pt x="56" y="88"/>
                    <a:pt x="105" y="95"/>
                    <a:pt x="118" y="89"/>
                  </a:cubicBezTo>
                  <a:cubicBezTo>
                    <a:pt x="143" y="78"/>
                    <a:pt x="151" y="47"/>
                    <a:pt x="168" y="29"/>
                  </a:cubicBezTo>
                  <a:cubicBezTo>
                    <a:pt x="173" y="24"/>
                    <a:pt x="191" y="28"/>
                    <a:pt x="199" y="23"/>
                  </a:cubicBezTo>
                  <a:cubicBezTo>
                    <a:pt x="205" y="19"/>
                    <a:pt x="222" y="0"/>
                    <a:pt x="230" y="7"/>
                  </a:cubicBezTo>
                  <a:cubicBezTo>
                    <a:pt x="230" y="7"/>
                    <a:pt x="224" y="11"/>
                    <a:pt x="223" y="11"/>
                  </a:cubicBezTo>
                  <a:cubicBezTo>
                    <a:pt x="218" y="15"/>
                    <a:pt x="210" y="24"/>
                    <a:pt x="211" y="31"/>
                  </a:cubicBezTo>
                  <a:cubicBezTo>
                    <a:pt x="212" y="38"/>
                    <a:pt x="222" y="43"/>
                    <a:pt x="221" y="50"/>
                  </a:cubicBezTo>
                  <a:cubicBezTo>
                    <a:pt x="221" y="56"/>
                    <a:pt x="223" y="72"/>
                    <a:pt x="221" y="78"/>
                  </a:cubicBezTo>
                  <a:cubicBezTo>
                    <a:pt x="220" y="82"/>
                    <a:pt x="212" y="85"/>
                    <a:pt x="210" y="90"/>
                  </a:cubicBezTo>
                  <a:cubicBezTo>
                    <a:pt x="209" y="94"/>
                    <a:pt x="206" y="110"/>
                    <a:pt x="203" y="111"/>
                  </a:cubicBezTo>
                  <a:cubicBezTo>
                    <a:pt x="202" y="112"/>
                    <a:pt x="201" y="112"/>
                    <a:pt x="200" y="112"/>
                  </a:cubicBezTo>
                  <a:cubicBezTo>
                    <a:pt x="198" y="111"/>
                    <a:pt x="193" y="109"/>
                    <a:pt x="186" y="106"/>
                  </a:cubicBezTo>
                  <a:cubicBezTo>
                    <a:pt x="182" y="102"/>
                    <a:pt x="178" y="98"/>
                    <a:pt x="173" y="98"/>
                  </a:cubicBezTo>
                  <a:cubicBezTo>
                    <a:pt x="160" y="97"/>
                    <a:pt x="174" y="102"/>
                    <a:pt x="186" y="106"/>
                  </a:cubicBezTo>
                  <a:cubicBezTo>
                    <a:pt x="190" y="110"/>
                    <a:pt x="194" y="113"/>
                    <a:pt x="200" y="112"/>
                  </a:cubicBezTo>
                  <a:cubicBezTo>
                    <a:pt x="200" y="112"/>
                    <a:pt x="200" y="112"/>
                    <a:pt x="200" y="112"/>
                  </a:cubicBezTo>
                  <a:cubicBezTo>
                    <a:pt x="204" y="116"/>
                    <a:pt x="197" y="124"/>
                    <a:pt x="197" y="129"/>
                  </a:cubicBezTo>
                  <a:cubicBezTo>
                    <a:pt x="198" y="136"/>
                    <a:pt x="207" y="144"/>
                    <a:pt x="203" y="150"/>
                  </a:cubicBezTo>
                  <a:cubicBezTo>
                    <a:pt x="203" y="150"/>
                    <a:pt x="201" y="151"/>
                    <a:pt x="198" y="151"/>
                  </a:cubicBezTo>
                  <a:cubicBezTo>
                    <a:pt x="191" y="151"/>
                    <a:pt x="183" y="152"/>
                    <a:pt x="177" y="154"/>
                  </a:cubicBezTo>
                  <a:cubicBezTo>
                    <a:pt x="167" y="156"/>
                    <a:pt x="156" y="158"/>
                    <a:pt x="156" y="160"/>
                  </a:cubicBezTo>
                  <a:cubicBezTo>
                    <a:pt x="155" y="160"/>
                    <a:pt x="171" y="160"/>
                    <a:pt x="174" y="157"/>
                  </a:cubicBezTo>
                  <a:cubicBezTo>
                    <a:pt x="174" y="156"/>
                    <a:pt x="176" y="155"/>
                    <a:pt x="177" y="154"/>
                  </a:cubicBezTo>
                  <a:cubicBezTo>
                    <a:pt x="185" y="153"/>
                    <a:pt x="193" y="152"/>
                    <a:pt x="198" y="151"/>
                  </a:cubicBezTo>
                  <a:cubicBezTo>
                    <a:pt x="200" y="152"/>
                    <a:pt x="202" y="152"/>
                    <a:pt x="203" y="153"/>
                  </a:cubicBezTo>
                  <a:cubicBezTo>
                    <a:pt x="215" y="158"/>
                    <a:pt x="181" y="178"/>
                    <a:pt x="189" y="185"/>
                  </a:cubicBezTo>
                  <a:cubicBezTo>
                    <a:pt x="192" y="187"/>
                    <a:pt x="194" y="166"/>
                    <a:pt x="202" y="166"/>
                  </a:cubicBezTo>
                  <a:cubicBezTo>
                    <a:pt x="202" y="166"/>
                    <a:pt x="204" y="166"/>
                    <a:pt x="204" y="167"/>
                  </a:cubicBezTo>
                  <a:cubicBezTo>
                    <a:pt x="217" y="187"/>
                    <a:pt x="239" y="169"/>
                    <a:pt x="256" y="185"/>
                  </a:cubicBezTo>
                  <a:cubicBezTo>
                    <a:pt x="257" y="186"/>
                    <a:pt x="259" y="187"/>
                    <a:pt x="259" y="188"/>
                  </a:cubicBezTo>
                  <a:cubicBezTo>
                    <a:pt x="257" y="201"/>
                    <a:pt x="232" y="240"/>
                    <a:pt x="235" y="220"/>
                  </a:cubicBezTo>
                  <a:cubicBezTo>
                    <a:pt x="235" y="218"/>
                    <a:pt x="232" y="217"/>
                    <a:pt x="230" y="217"/>
                  </a:cubicBezTo>
                  <a:cubicBezTo>
                    <a:pt x="218" y="218"/>
                    <a:pt x="227" y="237"/>
                    <a:pt x="220" y="235"/>
                  </a:cubicBezTo>
                  <a:cubicBezTo>
                    <a:pt x="217" y="235"/>
                    <a:pt x="217" y="230"/>
                    <a:pt x="219" y="229"/>
                  </a:cubicBezTo>
                  <a:cubicBezTo>
                    <a:pt x="222" y="227"/>
                    <a:pt x="204" y="226"/>
                    <a:pt x="204" y="222"/>
                  </a:cubicBezTo>
                  <a:cubicBezTo>
                    <a:pt x="204" y="218"/>
                    <a:pt x="215" y="224"/>
                    <a:pt x="216" y="220"/>
                  </a:cubicBezTo>
                  <a:cubicBezTo>
                    <a:pt x="217" y="218"/>
                    <a:pt x="218" y="205"/>
                    <a:pt x="209" y="209"/>
                  </a:cubicBezTo>
                  <a:cubicBezTo>
                    <a:pt x="182" y="217"/>
                    <a:pt x="202" y="257"/>
                    <a:pt x="190" y="273"/>
                  </a:cubicBezTo>
                  <a:cubicBezTo>
                    <a:pt x="189" y="273"/>
                    <a:pt x="189" y="273"/>
                    <a:pt x="188" y="273"/>
                  </a:cubicBezTo>
                  <a:cubicBezTo>
                    <a:pt x="185" y="271"/>
                    <a:pt x="164" y="259"/>
                    <a:pt x="161" y="270"/>
                  </a:cubicBezTo>
                  <a:cubicBezTo>
                    <a:pt x="160" y="272"/>
                    <a:pt x="167" y="273"/>
                    <a:pt x="168" y="273"/>
                  </a:cubicBezTo>
                  <a:cubicBezTo>
                    <a:pt x="181" y="275"/>
                    <a:pt x="175" y="282"/>
                    <a:pt x="173" y="287"/>
                  </a:cubicBezTo>
                  <a:cubicBezTo>
                    <a:pt x="172" y="288"/>
                    <a:pt x="175" y="289"/>
                    <a:pt x="174" y="290"/>
                  </a:cubicBezTo>
                  <a:cubicBezTo>
                    <a:pt x="164" y="299"/>
                    <a:pt x="148" y="287"/>
                    <a:pt x="139" y="289"/>
                  </a:cubicBezTo>
                  <a:cubicBezTo>
                    <a:pt x="138" y="289"/>
                    <a:pt x="133" y="289"/>
                    <a:pt x="133" y="289"/>
                  </a:cubicBezTo>
                  <a:cubicBezTo>
                    <a:pt x="132" y="292"/>
                    <a:pt x="140" y="291"/>
                    <a:pt x="141" y="291"/>
                  </a:cubicBezTo>
                  <a:cubicBezTo>
                    <a:pt x="145" y="293"/>
                    <a:pt x="147" y="300"/>
                    <a:pt x="150" y="301"/>
                  </a:cubicBezTo>
                  <a:cubicBezTo>
                    <a:pt x="152" y="302"/>
                    <a:pt x="159" y="299"/>
                    <a:pt x="160" y="301"/>
                  </a:cubicBezTo>
                  <a:cubicBezTo>
                    <a:pt x="162" y="309"/>
                    <a:pt x="128" y="317"/>
                    <a:pt x="128" y="320"/>
                  </a:cubicBezTo>
                  <a:cubicBezTo>
                    <a:pt x="128" y="321"/>
                    <a:pt x="137" y="319"/>
                    <a:pt x="138" y="319"/>
                  </a:cubicBezTo>
                  <a:cubicBezTo>
                    <a:pt x="147" y="320"/>
                    <a:pt x="135" y="331"/>
                    <a:pt x="137" y="336"/>
                  </a:cubicBezTo>
                  <a:cubicBezTo>
                    <a:pt x="138" y="340"/>
                    <a:pt x="148" y="349"/>
                    <a:pt x="147" y="353"/>
                  </a:cubicBezTo>
                  <a:cubicBezTo>
                    <a:pt x="147" y="354"/>
                    <a:pt x="146" y="354"/>
                    <a:pt x="145" y="355"/>
                  </a:cubicBezTo>
                  <a:cubicBezTo>
                    <a:pt x="143" y="359"/>
                    <a:pt x="121" y="370"/>
                    <a:pt x="126" y="370"/>
                  </a:cubicBezTo>
                  <a:cubicBezTo>
                    <a:pt x="127" y="371"/>
                    <a:pt x="135" y="373"/>
                    <a:pt x="133" y="376"/>
                  </a:cubicBezTo>
                  <a:cubicBezTo>
                    <a:pt x="131" y="378"/>
                    <a:pt x="122" y="380"/>
                    <a:pt x="122" y="382"/>
                  </a:cubicBezTo>
                  <a:cubicBezTo>
                    <a:pt x="123" y="385"/>
                    <a:pt x="135" y="380"/>
                    <a:pt x="136" y="380"/>
                  </a:cubicBezTo>
                  <a:cubicBezTo>
                    <a:pt x="141" y="380"/>
                    <a:pt x="147" y="387"/>
                    <a:pt x="151" y="393"/>
                  </a:cubicBezTo>
                  <a:cubicBezTo>
                    <a:pt x="150" y="393"/>
                    <a:pt x="150" y="395"/>
                    <a:pt x="152" y="397"/>
                  </a:cubicBezTo>
                  <a:close/>
                  <a:moveTo>
                    <a:pt x="366" y="408"/>
                  </a:moveTo>
                  <a:cubicBezTo>
                    <a:pt x="366" y="407"/>
                    <a:pt x="364" y="406"/>
                    <a:pt x="364" y="405"/>
                  </a:cubicBezTo>
                  <a:cubicBezTo>
                    <a:pt x="358" y="398"/>
                    <a:pt x="338" y="396"/>
                    <a:pt x="341" y="392"/>
                  </a:cubicBezTo>
                  <a:cubicBezTo>
                    <a:pt x="343" y="390"/>
                    <a:pt x="341" y="389"/>
                    <a:pt x="342" y="387"/>
                  </a:cubicBezTo>
                  <a:cubicBezTo>
                    <a:pt x="345" y="383"/>
                    <a:pt x="347" y="389"/>
                    <a:pt x="351" y="390"/>
                  </a:cubicBezTo>
                  <a:cubicBezTo>
                    <a:pt x="351" y="390"/>
                    <a:pt x="351" y="390"/>
                    <a:pt x="351" y="390"/>
                  </a:cubicBezTo>
                  <a:cubicBezTo>
                    <a:pt x="364" y="393"/>
                    <a:pt x="368" y="374"/>
                    <a:pt x="367" y="370"/>
                  </a:cubicBezTo>
                  <a:cubicBezTo>
                    <a:pt x="367" y="368"/>
                    <a:pt x="350" y="368"/>
                    <a:pt x="352" y="364"/>
                  </a:cubicBezTo>
                  <a:cubicBezTo>
                    <a:pt x="357" y="357"/>
                    <a:pt x="361" y="365"/>
                    <a:pt x="361" y="365"/>
                  </a:cubicBezTo>
                  <a:cubicBezTo>
                    <a:pt x="364" y="364"/>
                    <a:pt x="363" y="357"/>
                    <a:pt x="369" y="355"/>
                  </a:cubicBezTo>
                  <a:cubicBezTo>
                    <a:pt x="374" y="353"/>
                    <a:pt x="391" y="355"/>
                    <a:pt x="392" y="347"/>
                  </a:cubicBezTo>
                  <a:cubicBezTo>
                    <a:pt x="394" y="329"/>
                    <a:pt x="367" y="335"/>
                    <a:pt x="368" y="321"/>
                  </a:cubicBezTo>
                  <a:cubicBezTo>
                    <a:pt x="369" y="304"/>
                    <a:pt x="392" y="308"/>
                    <a:pt x="395" y="303"/>
                  </a:cubicBezTo>
                  <a:cubicBezTo>
                    <a:pt x="410" y="282"/>
                    <a:pt x="393" y="266"/>
                    <a:pt x="405" y="246"/>
                  </a:cubicBezTo>
                  <a:cubicBezTo>
                    <a:pt x="405" y="245"/>
                    <a:pt x="407" y="244"/>
                    <a:pt x="406" y="243"/>
                  </a:cubicBezTo>
                  <a:cubicBezTo>
                    <a:pt x="403" y="237"/>
                    <a:pt x="384" y="232"/>
                    <a:pt x="378" y="231"/>
                  </a:cubicBezTo>
                  <a:cubicBezTo>
                    <a:pt x="370" y="230"/>
                    <a:pt x="337" y="250"/>
                    <a:pt x="337" y="255"/>
                  </a:cubicBezTo>
                  <a:cubicBezTo>
                    <a:pt x="337" y="262"/>
                    <a:pt x="351" y="252"/>
                    <a:pt x="352" y="255"/>
                  </a:cubicBezTo>
                  <a:cubicBezTo>
                    <a:pt x="355" y="260"/>
                    <a:pt x="364" y="293"/>
                    <a:pt x="356" y="297"/>
                  </a:cubicBezTo>
                  <a:cubicBezTo>
                    <a:pt x="351" y="299"/>
                    <a:pt x="355" y="293"/>
                    <a:pt x="352" y="292"/>
                  </a:cubicBezTo>
                  <a:cubicBezTo>
                    <a:pt x="352" y="292"/>
                    <a:pt x="345" y="298"/>
                    <a:pt x="344" y="297"/>
                  </a:cubicBezTo>
                  <a:cubicBezTo>
                    <a:pt x="343" y="295"/>
                    <a:pt x="345" y="293"/>
                    <a:pt x="346" y="292"/>
                  </a:cubicBezTo>
                  <a:cubicBezTo>
                    <a:pt x="354" y="285"/>
                    <a:pt x="358" y="262"/>
                    <a:pt x="343" y="260"/>
                  </a:cubicBezTo>
                  <a:cubicBezTo>
                    <a:pt x="341" y="260"/>
                    <a:pt x="344" y="264"/>
                    <a:pt x="345" y="266"/>
                  </a:cubicBezTo>
                  <a:cubicBezTo>
                    <a:pt x="345" y="267"/>
                    <a:pt x="336" y="296"/>
                    <a:pt x="332" y="296"/>
                  </a:cubicBezTo>
                  <a:cubicBezTo>
                    <a:pt x="329" y="296"/>
                    <a:pt x="330" y="286"/>
                    <a:pt x="327" y="287"/>
                  </a:cubicBezTo>
                  <a:cubicBezTo>
                    <a:pt x="310" y="295"/>
                    <a:pt x="338" y="275"/>
                    <a:pt x="326" y="277"/>
                  </a:cubicBezTo>
                  <a:cubicBezTo>
                    <a:pt x="320" y="279"/>
                    <a:pt x="312" y="279"/>
                    <a:pt x="322" y="274"/>
                  </a:cubicBezTo>
                  <a:cubicBezTo>
                    <a:pt x="323" y="273"/>
                    <a:pt x="325" y="275"/>
                    <a:pt x="327" y="273"/>
                  </a:cubicBezTo>
                  <a:cubicBezTo>
                    <a:pt x="330" y="269"/>
                    <a:pt x="319" y="266"/>
                    <a:pt x="322" y="262"/>
                  </a:cubicBezTo>
                  <a:cubicBezTo>
                    <a:pt x="324" y="259"/>
                    <a:pt x="326" y="262"/>
                    <a:pt x="326" y="263"/>
                  </a:cubicBezTo>
                  <a:cubicBezTo>
                    <a:pt x="329" y="265"/>
                    <a:pt x="328" y="261"/>
                    <a:pt x="328" y="260"/>
                  </a:cubicBezTo>
                  <a:cubicBezTo>
                    <a:pt x="328" y="257"/>
                    <a:pt x="332" y="257"/>
                    <a:pt x="332" y="255"/>
                  </a:cubicBezTo>
                  <a:cubicBezTo>
                    <a:pt x="332" y="253"/>
                    <a:pt x="317" y="258"/>
                    <a:pt x="315" y="257"/>
                  </a:cubicBezTo>
                  <a:cubicBezTo>
                    <a:pt x="310" y="256"/>
                    <a:pt x="292" y="249"/>
                    <a:pt x="286" y="250"/>
                  </a:cubicBezTo>
                  <a:cubicBezTo>
                    <a:pt x="284" y="250"/>
                    <a:pt x="293" y="255"/>
                    <a:pt x="293" y="255"/>
                  </a:cubicBezTo>
                  <a:cubicBezTo>
                    <a:pt x="299" y="259"/>
                    <a:pt x="315" y="258"/>
                    <a:pt x="305" y="271"/>
                  </a:cubicBezTo>
                  <a:cubicBezTo>
                    <a:pt x="295" y="283"/>
                    <a:pt x="302" y="261"/>
                    <a:pt x="295" y="281"/>
                  </a:cubicBezTo>
                  <a:cubicBezTo>
                    <a:pt x="292" y="288"/>
                    <a:pt x="269" y="294"/>
                    <a:pt x="277" y="285"/>
                  </a:cubicBezTo>
                  <a:cubicBezTo>
                    <a:pt x="277" y="284"/>
                    <a:pt x="272" y="284"/>
                    <a:pt x="271" y="284"/>
                  </a:cubicBezTo>
                  <a:cubicBezTo>
                    <a:pt x="266" y="287"/>
                    <a:pt x="263" y="286"/>
                    <a:pt x="258" y="285"/>
                  </a:cubicBezTo>
                  <a:cubicBezTo>
                    <a:pt x="257" y="285"/>
                    <a:pt x="250" y="284"/>
                    <a:pt x="251" y="286"/>
                  </a:cubicBezTo>
                  <a:cubicBezTo>
                    <a:pt x="252" y="292"/>
                    <a:pt x="262" y="292"/>
                    <a:pt x="268" y="294"/>
                  </a:cubicBezTo>
                  <a:cubicBezTo>
                    <a:pt x="272" y="295"/>
                    <a:pt x="259" y="293"/>
                    <a:pt x="255" y="295"/>
                  </a:cubicBezTo>
                  <a:cubicBezTo>
                    <a:pt x="254" y="296"/>
                    <a:pt x="261" y="297"/>
                    <a:pt x="262" y="297"/>
                  </a:cubicBezTo>
                  <a:cubicBezTo>
                    <a:pt x="268" y="298"/>
                    <a:pt x="272" y="301"/>
                    <a:pt x="275" y="307"/>
                  </a:cubicBezTo>
                  <a:cubicBezTo>
                    <a:pt x="278" y="314"/>
                    <a:pt x="268" y="311"/>
                    <a:pt x="269" y="316"/>
                  </a:cubicBezTo>
                  <a:cubicBezTo>
                    <a:pt x="269" y="318"/>
                    <a:pt x="274" y="316"/>
                    <a:pt x="275" y="317"/>
                  </a:cubicBezTo>
                  <a:cubicBezTo>
                    <a:pt x="278" y="320"/>
                    <a:pt x="283" y="328"/>
                    <a:pt x="281" y="333"/>
                  </a:cubicBezTo>
                  <a:cubicBezTo>
                    <a:pt x="279" y="337"/>
                    <a:pt x="266" y="334"/>
                    <a:pt x="271" y="341"/>
                  </a:cubicBezTo>
                  <a:cubicBezTo>
                    <a:pt x="274" y="344"/>
                    <a:pt x="275" y="337"/>
                    <a:pt x="279" y="341"/>
                  </a:cubicBezTo>
                  <a:cubicBezTo>
                    <a:pt x="282" y="344"/>
                    <a:pt x="284" y="348"/>
                    <a:pt x="287" y="352"/>
                  </a:cubicBezTo>
                  <a:cubicBezTo>
                    <a:pt x="289" y="354"/>
                    <a:pt x="280" y="354"/>
                    <a:pt x="284" y="359"/>
                  </a:cubicBezTo>
                  <a:cubicBezTo>
                    <a:pt x="285" y="360"/>
                    <a:pt x="293" y="361"/>
                    <a:pt x="289" y="359"/>
                  </a:cubicBezTo>
                  <a:cubicBezTo>
                    <a:pt x="285" y="357"/>
                    <a:pt x="301" y="355"/>
                    <a:pt x="305" y="358"/>
                  </a:cubicBezTo>
                  <a:cubicBezTo>
                    <a:pt x="313" y="364"/>
                    <a:pt x="323" y="356"/>
                    <a:pt x="327" y="358"/>
                  </a:cubicBezTo>
                  <a:cubicBezTo>
                    <a:pt x="330" y="360"/>
                    <a:pt x="324" y="364"/>
                    <a:pt x="326" y="365"/>
                  </a:cubicBezTo>
                  <a:cubicBezTo>
                    <a:pt x="327" y="366"/>
                    <a:pt x="342" y="370"/>
                    <a:pt x="329" y="370"/>
                  </a:cubicBezTo>
                  <a:cubicBezTo>
                    <a:pt x="320" y="369"/>
                    <a:pt x="337" y="377"/>
                    <a:pt x="336" y="380"/>
                  </a:cubicBezTo>
                  <a:cubicBezTo>
                    <a:pt x="335" y="381"/>
                    <a:pt x="319" y="373"/>
                    <a:pt x="317" y="375"/>
                  </a:cubicBezTo>
                  <a:cubicBezTo>
                    <a:pt x="312" y="380"/>
                    <a:pt x="327" y="380"/>
                    <a:pt x="333" y="384"/>
                  </a:cubicBezTo>
                  <a:cubicBezTo>
                    <a:pt x="348" y="393"/>
                    <a:pt x="327" y="391"/>
                    <a:pt x="327" y="393"/>
                  </a:cubicBezTo>
                  <a:cubicBezTo>
                    <a:pt x="329" y="411"/>
                    <a:pt x="348" y="422"/>
                    <a:pt x="344" y="442"/>
                  </a:cubicBezTo>
                  <a:cubicBezTo>
                    <a:pt x="343" y="444"/>
                    <a:pt x="347" y="446"/>
                    <a:pt x="348" y="446"/>
                  </a:cubicBezTo>
                  <a:cubicBezTo>
                    <a:pt x="349" y="446"/>
                    <a:pt x="347" y="430"/>
                    <a:pt x="348" y="427"/>
                  </a:cubicBezTo>
                  <a:cubicBezTo>
                    <a:pt x="350" y="423"/>
                    <a:pt x="366" y="411"/>
                    <a:pt x="366" y="408"/>
                  </a:cubicBezTo>
                  <a:close/>
                  <a:moveTo>
                    <a:pt x="320" y="399"/>
                  </a:moveTo>
                  <a:cubicBezTo>
                    <a:pt x="315" y="398"/>
                    <a:pt x="319" y="415"/>
                    <a:pt x="314" y="412"/>
                  </a:cubicBezTo>
                  <a:cubicBezTo>
                    <a:pt x="302" y="407"/>
                    <a:pt x="278" y="381"/>
                    <a:pt x="266" y="397"/>
                  </a:cubicBezTo>
                  <a:cubicBezTo>
                    <a:pt x="262" y="402"/>
                    <a:pt x="265" y="403"/>
                    <a:pt x="267" y="407"/>
                  </a:cubicBezTo>
                  <a:cubicBezTo>
                    <a:pt x="272" y="415"/>
                    <a:pt x="260" y="414"/>
                    <a:pt x="262" y="416"/>
                  </a:cubicBezTo>
                  <a:cubicBezTo>
                    <a:pt x="262" y="416"/>
                    <a:pt x="262" y="416"/>
                    <a:pt x="262" y="416"/>
                  </a:cubicBezTo>
                  <a:cubicBezTo>
                    <a:pt x="273" y="430"/>
                    <a:pt x="335" y="445"/>
                    <a:pt x="338" y="429"/>
                  </a:cubicBezTo>
                  <a:cubicBezTo>
                    <a:pt x="339" y="426"/>
                    <a:pt x="327" y="400"/>
                    <a:pt x="320" y="399"/>
                  </a:cubicBezTo>
                  <a:close/>
                  <a:moveTo>
                    <a:pt x="399" y="386"/>
                  </a:moveTo>
                  <a:cubicBezTo>
                    <a:pt x="398" y="385"/>
                    <a:pt x="397" y="385"/>
                    <a:pt x="396" y="384"/>
                  </a:cubicBezTo>
                  <a:cubicBezTo>
                    <a:pt x="362" y="372"/>
                    <a:pt x="384" y="392"/>
                    <a:pt x="368" y="388"/>
                  </a:cubicBezTo>
                  <a:cubicBezTo>
                    <a:pt x="367" y="388"/>
                    <a:pt x="364" y="392"/>
                    <a:pt x="364" y="395"/>
                  </a:cubicBezTo>
                  <a:cubicBezTo>
                    <a:pt x="364" y="395"/>
                    <a:pt x="361" y="398"/>
                    <a:pt x="361" y="399"/>
                  </a:cubicBezTo>
                  <a:cubicBezTo>
                    <a:pt x="363" y="402"/>
                    <a:pt x="400" y="392"/>
                    <a:pt x="399" y="386"/>
                  </a:cubicBezTo>
                  <a:close/>
                  <a:moveTo>
                    <a:pt x="200" y="112"/>
                  </a:moveTo>
                  <a:cubicBezTo>
                    <a:pt x="198" y="111"/>
                    <a:pt x="193" y="109"/>
                    <a:pt x="186" y="106"/>
                  </a:cubicBezTo>
                  <a:cubicBezTo>
                    <a:pt x="190" y="110"/>
                    <a:pt x="194" y="113"/>
                    <a:pt x="200" y="112"/>
                  </a:cubicBezTo>
                  <a:close/>
                  <a:moveTo>
                    <a:pt x="177" y="154"/>
                  </a:moveTo>
                  <a:cubicBezTo>
                    <a:pt x="185" y="153"/>
                    <a:pt x="193" y="152"/>
                    <a:pt x="198" y="151"/>
                  </a:cubicBezTo>
                  <a:cubicBezTo>
                    <a:pt x="191" y="151"/>
                    <a:pt x="183" y="152"/>
                    <a:pt x="177" y="154"/>
                  </a:cubicBezTo>
                  <a:close/>
                  <a:moveTo>
                    <a:pt x="408" y="293"/>
                  </a:moveTo>
                  <a:cubicBezTo>
                    <a:pt x="408" y="290"/>
                    <a:pt x="391" y="308"/>
                    <a:pt x="404" y="311"/>
                  </a:cubicBezTo>
                  <a:cubicBezTo>
                    <a:pt x="415" y="313"/>
                    <a:pt x="413" y="298"/>
                    <a:pt x="408" y="293"/>
                  </a:cubicBezTo>
                  <a:close/>
                  <a:moveTo>
                    <a:pt x="233" y="418"/>
                  </a:moveTo>
                  <a:cubicBezTo>
                    <a:pt x="237" y="408"/>
                    <a:pt x="239" y="398"/>
                    <a:pt x="245" y="389"/>
                  </a:cubicBezTo>
                  <a:cubicBezTo>
                    <a:pt x="245" y="389"/>
                    <a:pt x="245" y="389"/>
                    <a:pt x="245" y="389"/>
                  </a:cubicBezTo>
                  <a:cubicBezTo>
                    <a:pt x="262" y="351"/>
                    <a:pt x="234" y="384"/>
                    <a:pt x="227" y="400"/>
                  </a:cubicBezTo>
                  <a:cubicBezTo>
                    <a:pt x="226" y="402"/>
                    <a:pt x="226" y="405"/>
                    <a:pt x="225" y="407"/>
                  </a:cubicBezTo>
                  <a:cubicBezTo>
                    <a:pt x="225" y="410"/>
                    <a:pt x="218" y="411"/>
                    <a:pt x="220" y="413"/>
                  </a:cubicBezTo>
                  <a:cubicBezTo>
                    <a:pt x="228" y="417"/>
                    <a:pt x="227" y="435"/>
                    <a:pt x="233" y="418"/>
                  </a:cubicBezTo>
                  <a:close/>
                  <a:moveTo>
                    <a:pt x="625" y="386"/>
                  </a:moveTo>
                  <a:cubicBezTo>
                    <a:pt x="625" y="386"/>
                    <a:pt x="625" y="386"/>
                    <a:pt x="625" y="386"/>
                  </a:cubicBezTo>
                  <a:cubicBezTo>
                    <a:pt x="647" y="377"/>
                    <a:pt x="604" y="343"/>
                    <a:pt x="598" y="344"/>
                  </a:cubicBezTo>
                  <a:cubicBezTo>
                    <a:pt x="578" y="348"/>
                    <a:pt x="600" y="397"/>
                    <a:pt x="625" y="386"/>
                  </a:cubicBezTo>
                  <a:close/>
                  <a:moveTo>
                    <a:pt x="261" y="79"/>
                  </a:moveTo>
                  <a:cubicBezTo>
                    <a:pt x="275" y="77"/>
                    <a:pt x="284" y="50"/>
                    <a:pt x="262" y="67"/>
                  </a:cubicBezTo>
                  <a:cubicBezTo>
                    <a:pt x="262" y="67"/>
                    <a:pt x="262" y="67"/>
                    <a:pt x="262" y="67"/>
                  </a:cubicBezTo>
                  <a:cubicBezTo>
                    <a:pt x="246" y="68"/>
                    <a:pt x="250" y="81"/>
                    <a:pt x="261" y="79"/>
                  </a:cubicBezTo>
                  <a:close/>
                  <a:moveTo>
                    <a:pt x="179" y="374"/>
                  </a:moveTo>
                  <a:cubicBezTo>
                    <a:pt x="179" y="374"/>
                    <a:pt x="179" y="374"/>
                    <a:pt x="179" y="375"/>
                  </a:cubicBezTo>
                  <a:cubicBezTo>
                    <a:pt x="180" y="376"/>
                    <a:pt x="183" y="374"/>
                    <a:pt x="185" y="374"/>
                  </a:cubicBezTo>
                  <a:cubicBezTo>
                    <a:pt x="189" y="375"/>
                    <a:pt x="229" y="390"/>
                    <a:pt x="239" y="377"/>
                  </a:cubicBezTo>
                  <a:cubicBezTo>
                    <a:pt x="252" y="360"/>
                    <a:pt x="245" y="340"/>
                    <a:pt x="236" y="328"/>
                  </a:cubicBezTo>
                  <a:cubicBezTo>
                    <a:pt x="231" y="321"/>
                    <a:pt x="225" y="328"/>
                    <a:pt x="224" y="328"/>
                  </a:cubicBezTo>
                  <a:cubicBezTo>
                    <a:pt x="218" y="327"/>
                    <a:pt x="237" y="322"/>
                    <a:pt x="238" y="321"/>
                  </a:cubicBezTo>
                  <a:cubicBezTo>
                    <a:pt x="243" y="319"/>
                    <a:pt x="227" y="301"/>
                    <a:pt x="227" y="302"/>
                  </a:cubicBezTo>
                  <a:cubicBezTo>
                    <a:pt x="227" y="302"/>
                    <a:pt x="227" y="302"/>
                    <a:pt x="227" y="302"/>
                  </a:cubicBezTo>
                  <a:cubicBezTo>
                    <a:pt x="222" y="307"/>
                    <a:pt x="231" y="318"/>
                    <a:pt x="223" y="321"/>
                  </a:cubicBezTo>
                  <a:cubicBezTo>
                    <a:pt x="205" y="326"/>
                    <a:pt x="212" y="318"/>
                    <a:pt x="221" y="315"/>
                  </a:cubicBezTo>
                  <a:cubicBezTo>
                    <a:pt x="222" y="314"/>
                    <a:pt x="220" y="314"/>
                    <a:pt x="219" y="313"/>
                  </a:cubicBezTo>
                  <a:cubicBezTo>
                    <a:pt x="217" y="312"/>
                    <a:pt x="200" y="300"/>
                    <a:pt x="199" y="302"/>
                  </a:cubicBezTo>
                  <a:cubicBezTo>
                    <a:pt x="196" y="306"/>
                    <a:pt x="170" y="317"/>
                    <a:pt x="163" y="317"/>
                  </a:cubicBezTo>
                  <a:cubicBezTo>
                    <a:pt x="161" y="317"/>
                    <a:pt x="154" y="308"/>
                    <a:pt x="150" y="314"/>
                  </a:cubicBezTo>
                  <a:cubicBezTo>
                    <a:pt x="148" y="316"/>
                    <a:pt x="144" y="316"/>
                    <a:pt x="144" y="318"/>
                  </a:cubicBezTo>
                  <a:cubicBezTo>
                    <a:pt x="144" y="320"/>
                    <a:pt x="145" y="321"/>
                    <a:pt x="147" y="323"/>
                  </a:cubicBezTo>
                  <a:cubicBezTo>
                    <a:pt x="148" y="323"/>
                    <a:pt x="149" y="324"/>
                    <a:pt x="150" y="324"/>
                  </a:cubicBezTo>
                  <a:cubicBezTo>
                    <a:pt x="152" y="325"/>
                    <a:pt x="150" y="324"/>
                    <a:pt x="147" y="323"/>
                  </a:cubicBezTo>
                  <a:cubicBezTo>
                    <a:pt x="147" y="322"/>
                    <a:pt x="147" y="322"/>
                    <a:pt x="146" y="323"/>
                  </a:cubicBezTo>
                  <a:cubicBezTo>
                    <a:pt x="144" y="323"/>
                    <a:pt x="153" y="328"/>
                    <a:pt x="154" y="328"/>
                  </a:cubicBezTo>
                  <a:cubicBezTo>
                    <a:pt x="155" y="328"/>
                    <a:pt x="158" y="330"/>
                    <a:pt x="159" y="332"/>
                  </a:cubicBezTo>
                  <a:cubicBezTo>
                    <a:pt x="160" y="335"/>
                    <a:pt x="153" y="333"/>
                    <a:pt x="153" y="335"/>
                  </a:cubicBezTo>
                  <a:cubicBezTo>
                    <a:pt x="154" y="340"/>
                    <a:pt x="162" y="337"/>
                    <a:pt x="163" y="339"/>
                  </a:cubicBezTo>
                  <a:cubicBezTo>
                    <a:pt x="167" y="349"/>
                    <a:pt x="168" y="361"/>
                    <a:pt x="171" y="369"/>
                  </a:cubicBezTo>
                  <a:cubicBezTo>
                    <a:pt x="172" y="370"/>
                    <a:pt x="173" y="355"/>
                    <a:pt x="182" y="361"/>
                  </a:cubicBezTo>
                  <a:cubicBezTo>
                    <a:pt x="193" y="367"/>
                    <a:pt x="179" y="371"/>
                    <a:pt x="179" y="374"/>
                  </a:cubicBezTo>
                  <a:close/>
                  <a:moveTo>
                    <a:pt x="40" y="147"/>
                  </a:moveTo>
                  <a:cubicBezTo>
                    <a:pt x="41" y="148"/>
                    <a:pt x="46" y="146"/>
                    <a:pt x="48" y="148"/>
                  </a:cubicBezTo>
                  <a:cubicBezTo>
                    <a:pt x="73" y="169"/>
                    <a:pt x="66" y="137"/>
                    <a:pt x="69" y="128"/>
                  </a:cubicBezTo>
                  <a:cubicBezTo>
                    <a:pt x="70" y="125"/>
                    <a:pt x="76" y="126"/>
                    <a:pt x="77" y="114"/>
                  </a:cubicBezTo>
                  <a:cubicBezTo>
                    <a:pt x="77" y="114"/>
                    <a:pt x="77" y="114"/>
                    <a:pt x="77" y="114"/>
                  </a:cubicBezTo>
                  <a:cubicBezTo>
                    <a:pt x="77" y="113"/>
                    <a:pt x="66" y="123"/>
                    <a:pt x="65" y="123"/>
                  </a:cubicBezTo>
                  <a:cubicBezTo>
                    <a:pt x="49" y="121"/>
                    <a:pt x="54" y="136"/>
                    <a:pt x="53" y="137"/>
                  </a:cubicBezTo>
                  <a:cubicBezTo>
                    <a:pt x="52" y="138"/>
                    <a:pt x="36" y="142"/>
                    <a:pt x="40" y="147"/>
                  </a:cubicBezTo>
                  <a:close/>
                  <a:moveTo>
                    <a:pt x="150" y="324"/>
                  </a:moveTo>
                  <a:cubicBezTo>
                    <a:pt x="149" y="324"/>
                    <a:pt x="148" y="323"/>
                    <a:pt x="147" y="323"/>
                  </a:cubicBezTo>
                  <a:cubicBezTo>
                    <a:pt x="150" y="324"/>
                    <a:pt x="152" y="325"/>
                    <a:pt x="150" y="324"/>
                  </a:cubicBezTo>
                  <a:close/>
                  <a:moveTo>
                    <a:pt x="171" y="387"/>
                  </a:moveTo>
                  <a:cubicBezTo>
                    <a:pt x="171" y="386"/>
                    <a:pt x="171" y="386"/>
                    <a:pt x="171" y="386"/>
                  </a:cubicBezTo>
                  <a:cubicBezTo>
                    <a:pt x="168" y="382"/>
                    <a:pt x="143" y="368"/>
                    <a:pt x="140" y="379"/>
                  </a:cubicBezTo>
                  <a:cubicBezTo>
                    <a:pt x="139" y="384"/>
                    <a:pt x="158" y="383"/>
                    <a:pt x="158" y="390"/>
                  </a:cubicBezTo>
                  <a:cubicBezTo>
                    <a:pt x="159" y="393"/>
                    <a:pt x="152" y="391"/>
                    <a:pt x="151" y="393"/>
                  </a:cubicBezTo>
                  <a:cubicBezTo>
                    <a:pt x="151" y="394"/>
                    <a:pt x="152" y="396"/>
                    <a:pt x="152" y="397"/>
                  </a:cubicBezTo>
                  <a:cubicBezTo>
                    <a:pt x="153" y="398"/>
                    <a:pt x="153" y="398"/>
                    <a:pt x="154" y="399"/>
                  </a:cubicBezTo>
                  <a:cubicBezTo>
                    <a:pt x="157" y="403"/>
                    <a:pt x="160" y="398"/>
                    <a:pt x="163" y="398"/>
                  </a:cubicBezTo>
                  <a:cubicBezTo>
                    <a:pt x="182" y="401"/>
                    <a:pt x="160" y="403"/>
                    <a:pt x="164" y="404"/>
                  </a:cubicBezTo>
                  <a:cubicBezTo>
                    <a:pt x="180" y="408"/>
                    <a:pt x="182" y="398"/>
                    <a:pt x="171" y="387"/>
                  </a:cubicBezTo>
                  <a:close/>
                  <a:moveTo>
                    <a:pt x="222" y="390"/>
                  </a:moveTo>
                  <a:cubicBezTo>
                    <a:pt x="222" y="389"/>
                    <a:pt x="222" y="389"/>
                    <a:pt x="222" y="389"/>
                  </a:cubicBezTo>
                  <a:cubicBezTo>
                    <a:pt x="225" y="381"/>
                    <a:pt x="218" y="385"/>
                    <a:pt x="214" y="387"/>
                  </a:cubicBezTo>
                  <a:cubicBezTo>
                    <a:pt x="201" y="393"/>
                    <a:pt x="226" y="403"/>
                    <a:pt x="222" y="390"/>
                  </a:cubicBezTo>
                  <a:close/>
                  <a:moveTo>
                    <a:pt x="226" y="282"/>
                  </a:moveTo>
                  <a:cubicBezTo>
                    <a:pt x="229" y="282"/>
                    <a:pt x="229" y="276"/>
                    <a:pt x="228" y="274"/>
                  </a:cubicBezTo>
                  <a:cubicBezTo>
                    <a:pt x="228" y="272"/>
                    <a:pt x="229" y="268"/>
                    <a:pt x="231" y="265"/>
                  </a:cubicBezTo>
                  <a:cubicBezTo>
                    <a:pt x="228" y="263"/>
                    <a:pt x="223" y="257"/>
                    <a:pt x="222" y="253"/>
                  </a:cubicBezTo>
                  <a:cubicBezTo>
                    <a:pt x="223" y="253"/>
                    <a:pt x="223" y="253"/>
                    <a:pt x="223" y="253"/>
                  </a:cubicBezTo>
                  <a:cubicBezTo>
                    <a:pt x="221" y="245"/>
                    <a:pt x="216" y="284"/>
                    <a:pt x="226" y="282"/>
                  </a:cubicBezTo>
                  <a:close/>
                  <a:moveTo>
                    <a:pt x="183" y="394"/>
                  </a:moveTo>
                  <a:cubicBezTo>
                    <a:pt x="183" y="394"/>
                    <a:pt x="183" y="394"/>
                    <a:pt x="183" y="394"/>
                  </a:cubicBezTo>
                  <a:cubicBezTo>
                    <a:pt x="181" y="390"/>
                    <a:pt x="182" y="395"/>
                    <a:pt x="183" y="396"/>
                  </a:cubicBezTo>
                  <a:cubicBezTo>
                    <a:pt x="194" y="408"/>
                    <a:pt x="197" y="411"/>
                    <a:pt x="210" y="410"/>
                  </a:cubicBezTo>
                  <a:cubicBezTo>
                    <a:pt x="210" y="410"/>
                    <a:pt x="212" y="410"/>
                    <a:pt x="211" y="410"/>
                  </a:cubicBezTo>
                  <a:cubicBezTo>
                    <a:pt x="202" y="400"/>
                    <a:pt x="199" y="410"/>
                    <a:pt x="183" y="394"/>
                  </a:cubicBezTo>
                  <a:close/>
                  <a:moveTo>
                    <a:pt x="232" y="265"/>
                  </a:moveTo>
                  <a:cubicBezTo>
                    <a:pt x="232" y="264"/>
                    <a:pt x="231" y="264"/>
                    <a:pt x="231" y="265"/>
                  </a:cubicBezTo>
                  <a:cubicBezTo>
                    <a:pt x="232" y="266"/>
                    <a:pt x="232" y="266"/>
                    <a:pt x="232" y="265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4" name="Iceland"/>
          <p:cNvSpPr>
            <a:spLocks noEditPoints="1"/>
          </p:cNvSpPr>
          <p:nvPr/>
        </p:nvSpPr>
        <p:spPr bwMode="auto">
          <a:xfrm>
            <a:off x="1565954" y="3938138"/>
            <a:ext cx="2076589" cy="1174206"/>
          </a:xfrm>
          <a:custGeom>
            <a:avLst/>
            <a:gdLst>
              <a:gd name="T0" fmla="*/ 1639 w 1826"/>
              <a:gd name="T1" fmla="*/ 595 h 882"/>
              <a:gd name="T2" fmla="*/ 1526 w 1826"/>
              <a:gd name="T3" fmla="*/ 630 h 882"/>
              <a:gd name="T4" fmla="*/ 1461 w 1826"/>
              <a:gd name="T5" fmla="*/ 664 h 882"/>
              <a:gd name="T6" fmla="*/ 1268 w 1826"/>
              <a:gd name="T7" fmla="*/ 756 h 882"/>
              <a:gd name="T8" fmla="*/ 1212 w 1826"/>
              <a:gd name="T9" fmla="*/ 767 h 882"/>
              <a:gd name="T10" fmla="*/ 1110 w 1826"/>
              <a:gd name="T11" fmla="*/ 803 h 882"/>
              <a:gd name="T12" fmla="*/ 1031 w 1826"/>
              <a:gd name="T13" fmla="*/ 840 h 882"/>
              <a:gd name="T14" fmla="*/ 704 w 1826"/>
              <a:gd name="T15" fmla="*/ 832 h 882"/>
              <a:gd name="T16" fmla="*/ 682 w 1826"/>
              <a:gd name="T17" fmla="*/ 767 h 882"/>
              <a:gd name="T18" fmla="*/ 589 w 1826"/>
              <a:gd name="T19" fmla="*/ 764 h 882"/>
              <a:gd name="T20" fmla="*/ 343 w 1826"/>
              <a:gd name="T21" fmla="*/ 762 h 882"/>
              <a:gd name="T22" fmla="*/ 360 w 1826"/>
              <a:gd name="T23" fmla="*/ 710 h 882"/>
              <a:gd name="T24" fmla="*/ 471 w 1826"/>
              <a:gd name="T25" fmla="*/ 664 h 882"/>
              <a:gd name="T26" fmla="*/ 462 w 1826"/>
              <a:gd name="T27" fmla="*/ 610 h 882"/>
              <a:gd name="T28" fmla="*/ 504 w 1826"/>
              <a:gd name="T29" fmla="*/ 556 h 882"/>
              <a:gd name="T30" fmla="*/ 415 w 1826"/>
              <a:gd name="T31" fmla="*/ 563 h 882"/>
              <a:gd name="T32" fmla="*/ 358 w 1826"/>
              <a:gd name="T33" fmla="*/ 541 h 882"/>
              <a:gd name="T34" fmla="*/ 332 w 1826"/>
              <a:gd name="T35" fmla="*/ 491 h 882"/>
              <a:gd name="T36" fmla="*/ 82 w 1826"/>
              <a:gd name="T37" fmla="*/ 478 h 882"/>
              <a:gd name="T38" fmla="*/ 230 w 1826"/>
              <a:gd name="T39" fmla="*/ 454 h 882"/>
              <a:gd name="T40" fmla="*/ 328 w 1826"/>
              <a:gd name="T41" fmla="*/ 423 h 882"/>
              <a:gd name="T42" fmla="*/ 386 w 1826"/>
              <a:gd name="T43" fmla="*/ 341 h 882"/>
              <a:gd name="T44" fmla="*/ 382 w 1826"/>
              <a:gd name="T45" fmla="*/ 313 h 882"/>
              <a:gd name="T46" fmla="*/ 339 w 1826"/>
              <a:gd name="T47" fmla="*/ 293 h 882"/>
              <a:gd name="T48" fmla="*/ 276 w 1826"/>
              <a:gd name="T49" fmla="*/ 280 h 882"/>
              <a:gd name="T50" fmla="*/ 108 w 1826"/>
              <a:gd name="T51" fmla="*/ 321 h 882"/>
              <a:gd name="T52" fmla="*/ 119 w 1826"/>
              <a:gd name="T53" fmla="*/ 289 h 882"/>
              <a:gd name="T54" fmla="*/ 152 w 1826"/>
              <a:gd name="T55" fmla="*/ 241 h 882"/>
              <a:gd name="T56" fmla="*/ 213 w 1826"/>
              <a:gd name="T57" fmla="*/ 219 h 882"/>
              <a:gd name="T58" fmla="*/ 128 w 1826"/>
              <a:gd name="T59" fmla="*/ 135 h 882"/>
              <a:gd name="T60" fmla="*/ 165 w 1826"/>
              <a:gd name="T61" fmla="*/ 102 h 882"/>
              <a:gd name="T62" fmla="*/ 293 w 1826"/>
              <a:gd name="T63" fmla="*/ 148 h 882"/>
              <a:gd name="T64" fmla="*/ 363 w 1826"/>
              <a:gd name="T65" fmla="*/ 174 h 882"/>
              <a:gd name="T66" fmla="*/ 339 w 1826"/>
              <a:gd name="T67" fmla="*/ 67 h 882"/>
              <a:gd name="T68" fmla="*/ 241 w 1826"/>
              <a:gd name="T69" fmla="*/ 37 h 882"/>
              <a:gd name="T70" fmla="*/ 348 w 1826"/>
              <a:gd name="T71" fmla="*/ 29 h 882"/>
              <a:gd name="T72" fmla="*/ 443 w 1826"/>
              <a:gd name="T73" fmla="*/ 94 h 882"/>
              <a:gd name="T74" fmla="*/ 532 w 1826"/>
              <a:gd name="T75" fmla="*/ 157 h 882"/>
              <a:gd name="T76" fmla="*/ 506 w 1826"/>
              <a:gd name="T77" fmla="*/ 220 h 882"/>
              <a:gd name="T78" fmla="*/ 506 w 1826"/>
              <a:gd name="T79" fmla="*/ 276 h 882"/>
              <a:gd name="T80" fmla="*/ 571 w 1826"/>
              <a:gd name="T81" fmla="*/ 389 h 882"/>
              <a:gd name="T82" fmla="*/ 640 w 1826"/>
              <a:gd name="T83" fmla="*/ 241 h 882"/>
              <a:gd name="T84" fmla="*/ 690 w 1826"/>
              <a:gd name="T85" fmla="*/ 283 h 882"/>
              <a:gd name="T86" fmla="*/ 810 w 1826"/>
              <a:gd name="T87" fmla="*/ 224 h 882"/>
              <a:gd name="T88" fmla="*/ 847 w 1826"/>
              <a:gd name="T89" fmla="*/ 152 h 882"/>
              <a:gd name="T90" fmla="*/ 944 w 1826"/>
              <a:gd name="T91" fmla="*/ 96 h 882"/>
              <a:gd name="T92" fmla="*/ 1042 w 1826"/>
              <a:gd name="T93" fmla="*/ 185 h 882"/>
              <a:gd name="T94" fmla="*/ 1070 w 1826"/>
              <a:gd name="T95" fmla="*/ 105 h 882"/>
              <a:gd name="T96" fmla="*/ 1205 w 1826"/>
              <a:gd name="T97" fmla="*/ 102 h 882"/>
              <a:gd name="T98" fmla="*/ 1335 w 1826"/>
              <a:gd name="T99" fmla="*/ 104 h 882"/>
              <a:gd name="T100" fmla="*/ 1448 w 1826"/>
              <a:gd name="T101" fmla="*/ 37 h 882"/>
              <a:gd name="T102" fmla="*/ 1594 w 1826"/>
              <a:gd name="T103" fmla="*/ 46 h 882"/>
              <a:gd name="T104" fmla="*/ 1633 w 1826"/>
              <a:gd name="T105" fmla="*/ 141 h 882"/>
              <a:gd name="T106" fmla="*/ 1678 w 1826"/>
              <a:gd name="T107" fmla="*/ 230 h 882"/>
              <a:gd name="T108" fmla="*/ 1717 w 1826"/>
              <a:gd name="T109" fmla="*/ 256 h 882"/>
              <a:gd name="T110" fmla="*/ 1742 w 1826"/>
              <a:gd name="T111" fmla="*/ 359 h 882"/>
              <a:gd name="T112" fmla="*/ 1804 w 1826"/>
              <a:gd name="T113" fmla="*/ 389 h 882"/>
              <a:gd name="T114" fmla="*/ 1744 w 1826"/>
              <a:gd name="T115" fmla="*/ 421 h 882"/>
              <a:gd name="T116" fmla="*/ 1781 w 1826"/>
              <a:gd name="T117" fmla="*/ 473 h 882"/>
              <a:gd name="T118" fmla="*/ 1679 w 1826"/>
              <a:gd name="T119" fmla="*/ 511 h 882"/>
              <a:gd name="T120" fmla="*/ 1685 w 1826"/>
              <a:gd name="T121" fmla="*/ 550 h 882"/>
              <a:gd name="T122" fmla="*/ 1385 w 1826"/>
              <a:gd name="T123" fmla="*/ 272 h 882"/>
              <a:gd name="T124" fmla="*/ 1678 w 1826"/>
              <a:gd name="T125" fmla="*/ 334 h 8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826" h="882">
                <a:moveTo>
                  <a:pt x="313" y="497"/>
                </a:move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lnTo>
                  <a:pt x="313" y="497"/>
                </a:lnTo>
                <a:close/>
                <a:moveTo>
                  <a:pt x="847" y="152"/>
                </a:move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close/>
                <a:moveTo>
                  <a:pt x="1142" y="790"/>
                </a:move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lnTo>
                  <a:pt x="1142" y="790"/>
                </a:lnTo>
                <a:close/>
                <a:moveTo>
                  <a:pt x="1670" y="567"/>
                </a:moveTo>
                <a:lnTo>
                  <a:pt x="1670" y="567"/>
                </a:lnTo>
                <a:lnTo>
                  <a:pt x="1665" y="578"/>
                </a:lnTo>
                <a:lnTo>
                  <a:pt x="1654" y="599"/>
                </a:lnTo>
                <a:lnTo>
                  <a:pt x="1646" y="608"/>
                </a:lnTo>
                <a:lnTo>
                  <a:pt x="1639" y="613"/>
                </a:lnTo>
                <a:lnTo>
                  <a:pt x="1635" y="613"/>
                </a:lnTo>
                <a:lnTo>
                  <a:pt x="1631" y="613"/>
                </a:lnTo>
                <a:lnTo>
                  <a:pt x="1628" y="612"/>
                </a:lnTo>
                <a:lnTo>
                  <a:pt x="1622" y="608"/>
                </a:lnTo>
                <a:lnTo>
                  <a:pt x="1622" y="608"/>
                </a:lnTo>
                <a:lnTo>
                  <a:pt x="1622" y="608"/>
                </a:lnTo>
                <a:lnTo>
                  <a:pt x="1624" y="606"/>
                </a:lnTo>
                <a:lnTo>
                  <a:pt x="1631" y="604"/>
                </a:lnTo>
                <a:lnTo>
                  <a:pt x="1639" y="602"/>
                </a:lnTo>
                <a:lnTo>
                  <a:pt x="1642" y="600"/>
                </a:lnTo>
                <a:lnTo>
                  <a:pt x="1644" y="599"/>
                </a:lnTo>
                <a:lnTo>
                  <a:pt x="1644" y="599"/>
                </a:lnTo>
                <a:lnTo>
                  <a:pt x="1642" y="597"/>
                </a:lnTo>
                <a:lnTo>
                  <a:pt x="1642" y="595"/>
                </a:lnTo>
                <a:lnTo>
                  <a:pt x="1639" y="595"/>
                </a:lnTo>
                <a:lnTo>
                  <a:pt x="1639" y="595"/>
                </a:lnTo>
                <a:lnTo>
                  <a:pt x="1628" y="597"/>
                </a:lnTo>
                <a:lnTo>
                  <a:pt x="1615" y="604"/>
                </a:lnTo>
                <a:lnTo>
                  <a:pt x="1602" y="613"/>
                </a:lnTo>
                <a:lnTo>
                  <a:pt x="1596" y="619"/>
                </a:lnTo>
                <a:lnTo>
                  <a:pt x="1592" y="625"/>
                </a:lnTo>
                <a:lnTo>
                  <a:pt x="1592" y="625"/>
                </a:lnTo>
                <a:lnTo>
                  <a:pt x="1590" y="630"/>
                </a:lnTo>
                <a:lnTo>
                  <a:pt x="1590" y="638"/>
                </a:lnTo>
                <a:lnTo>
                  <a:pt x="1589" y="641"/>
                </a:lnTo>
                <a:lnTo>
                  <a:pt x="1585" y="643"/>
                </a:lnTo>
                <a:lnTo>
                  <a:pt x="1585" y="643"/>
                </a:lnTo>
                <a:lnTo>
                  <a:pt x="1578" y="643"/>
                </a:lnTo>
                <a:lnTo>
                  <a:pt x="1574" y="639"/>
                </a:lnTo>
                <a:lnTo>
                  <a:pt x="1568" y="636"/>
                </a:lnTo>
                <a:lnTo>
                  <a:pt x="1563" y="632"/>
                </a:lnTo>
                <a:lnTo>
                  <a:pt x="1563" y="632"/>
                </a:lnTo>
                <a:lnTo>
                  <a:pt x="1557" y="632"/>
                </a:lnTo>
                <a:lnTo>
                  <a:pt x="1552" y="636"/>
                </a:lnTo>
                <a:lnTo>
                  <a:pt x="1544" y="641"/>
                </a:lnTo>
                <a:lnTo>
                  <a:pt x="1544" y="641"/>
                </a:lnTo>
                <a:lnTo>
                  <a:pt x="1542" y="641"/>
                </a:lnTo>
                <a:lnTo>
                  <a:pt x="1540" y="639"/>
                </a:lnTo>
                <a:lnTo>
                  <a:pt x="1540" y="634"/>
                </a:lnTo>
                <a:lnTo>
                  <a:pt x="1542" y="630"/>
                </a:lnTo>
                <a:lnTo>
                  <a:pt x="1542" y="630"/>
                </a:lnTo>
                <a:lnTo>
                  <a:pt x="1540" y="632"/>
                </a:lnTo>
                <a:lnTo>
                  <a:pt x="1540" y="632"/>
                </a:lnTo>
                <a:lnTo>
                  <a:pt x="1539" y="632"/>
                </a:lnTo>
                <a:lnTo>
                  <a:pt x="1537" y="630"/>
                </a:lnTo>
                <a:lnTo>
                  <a:pt x="1533" y="626"/>
                </a:lnTo>
                <a:lnTo>
                  <a:pt x="1529" y="623"/>
                </a:lnTo>
                <a:lnTo>
                  <a:pt x="1529" y="623"/>
                </a:lnTo>
                <a:lnTo>
                  <a:pt x="1527" y="623"/>
                </a:lnTo>
                <a:lnTo>
                  <a:pt x="1527" y="623"/>
                </a:lnTo>
                <a:lnTo>
                  <a:pt x="1526" y="630"/>
                </a:lnTo>
                <a:lnTo>
                  <a:pt x="1526" y="630"/>
                </a:lnTo>
                <a:lnTo>
                  <a:pt x="1524" y="626"/>
                </a:lnTo>
                <a:lnTo>
                  <a:pt x="1520" y="617"/>
                </a:lnTo>
                <a:lnTo>
                  <a:pt x="1516" y="613"/>
                </a:lnTo>
                <a:lnTo>
                  <a:pt x="1513" y="608"/>
                </a:lnTo>
                <a:lnTo>
                  <a:pt x="1513" y="608"/>
                </a:lnTo>
                <a:lnTo>
                  <a:pt x="1511" y="608"/>
                </a:lnTo>
                <a:lnTo>
                  <a:pt x="1513" y="610"/>
                </a:lnTo>
                <a:lnTo>
                  <a:pt x="1513" y="610"/>
                </a:lnTo>
                <a:lnTo>
                  <a:pt x="1514" y="615"/>
                </a:lnTo>
                <a:lnTo>
                  <a:pt x="1516" y="621"/>
                </a:lnTo>
                <a:lnTo>
                  <a:pt x="1516" y="626"/>
                </a:lnTo>
                <a:lnTo>
                  <a:pt x="1514" y="630"/>
                </a:lnTo>
                <a:lnTo>
                  <a:pt x="1514" y="630"/>
                </a:lnTo>
                <a:lnTo>
                  <a:pt x="1513" y="632"/>
                </a:lnTo>
                <a:lnTo>
                  <a:pt x="1511" y="634"/>
                </a:lnTo>
                <a:lnTo>
                  <a:pt x="1502" y="638"/>
                </a:lnTo>
                <a:lnTo>
                  <a:pt x="1496" y="639"/>
                </a:lnTo>
                <a:lnTo>
                  <a:pt x="1494" y="639"/>
                </a:lnTo>
                <a:lnTo>
                  <a:pt x="1496" y="641"/>
                </a:lnTo>
                <a:lnTo>
                  <a:pt x="1496" y="641"/>
                </a:lnTo>
                <a:lnTo>
                  <a:pt x="1502" y="641"/>
                </a:lnTo>
                <a:lnTo>
                  <a:pt x="1503" y="641"/>
                </a:lnTo>
                <a:lnTo>
                  <a:pt x="1505" y="643"/>
                </a:lnTo>
                <a:lnTo>
                  <a:pt x="1505" y="643"/>
                </a:lnTo>
                <a:lnTo>
                  <a:pt x="1507" y="645"/>
                </a:lnTo>
                <a:lnTo>
                  <a:pt x="1505" y="647"/>
                </a:lnTo>
                <a:lnTo>
                  <a:pt x="1498" y="649"/>
                </a:lnTo>
                <a:lnTo>
                  <a:pt x="1477" y="649"/>
                </a:lnTo>
                <a:lnTo>
                  <a:pt x="1477" y="649"/>
                </a:lnTo>
                <a:lnTo>
                  <a:pt x="1472" y="652"/>
                </a:lnTo>
                <a:lnTo>
                  <a:pt x="1468" y="652"/>
                </a:lnTo>
                <a:lnTo>
                  <a:pt x="1466" y="652"/>
                </a:lnTo>
                <a:lnTo>
                  <a:pt x="1466" y="652"/>
                </a:lnTo>
                <a:lnTo>
                  <a:pt x="1464" y="656"/>
                </a:lnTo>
                <a:lnTo>
                  <a:pt x="1463" y="660"/>
                </a:lnTo>
                <a:lnTo>
                  <a:pt x="1461" y="664"/>
                </a:lnTo>
                <a:lnTo>
                  <a:pt x="1461" y="664"/>
                </a:lnTo>
                <a:lnTo>
                  <a:pt x="1453" y="665"/>
                </a:lnTo>
                <a:lnTo>
                  <a:pt x="1446" y="667"/>
                </a:lnTo>
                <a:lnTo>
                  <a:pt x="1429" y="671"/>
                </a:lnTo>
                <a:lnTo>
                  <a:pt x="1416" y="673"/>
                </a:lnTo>
                <a:lnTo>
                  <a:pt x="1413" y="675"/>
                </a:lnTo>
                <a:lnTo>
                  <a:pt x="1414" y="678"/>
                </a:lnTo>
                <a:lnTo>
                  <a:pt x="1414" y="678"/>
                </a:lnTo>
                <a:lnTo>
                  <a:pt x="1416" y="680"/>
                </a:lnTo>
                <a:lnTo>
                  <a:pt x="1416" y="682"/>
                </a:lnTo>
                <a:lnTo>
                  <a:pt x="1411" y="686"/>
                </a:lnTo>
                <a:lnTo>
                  <a:pt x="1403" y="689"/>
                </a:lnTo>
                <a:lnTo>
                  <a:pt x="1398" y="691"/>
                </a:lnTo>
                <a:lnTo>
                  <a:pt x="1398" y="691"/>
                </a:lnTo>
                <a:lnTo>
                  <a:pt x="1375" y="702"/>
                </a:lnTo>
                <a:lnTo>
                  <a:pt x="1361" y="710"/>
                </a:lnTo>
                <a:lnTo>
                  <a:pt x="1355" y="714"/>
                </a:lnTo>
                <a:lnTo>
                  <a:pt x="1355" y="714"/>
                </a:lnTo>
                <a:lnTo>
                  <a:pt x="1353" y="717"/>
                </a:lnTo>
                <a:lnTo>
                  <a:pt x="1350" y="723"/>
                </a:lnTo>
                <a:lnTo>
                  <a:pt x="1342" y="734"/>
                </a:lnTo>
                <a:lnTo>
                  <a:pt x="1342" y="734"/>
                </a:lnTo>
                <a:lnTo>
                  <a:pt x="1340" y="738"/>
                </a:lnTo>
                <a:lnTo>
                  <a:pt x="1335" y="741"/>
                </a:lnTo>
                <a:lnTo>
                  <a:pt x="1322" y="745"/>
                </a:lnTo>
                <a:lnTo>
                  <a:pt x="1303" y="749"/>
                </a:lnTo>
                <a:lnTo>
                  <a:pt x="1283" y="753"/>
                </a:lnTo>
                <a:lnTo>
                  <a:pt x="1283" y="753"/>
                </a:lnTo>
                <a:lnTo>
                  <a:pt x="1281" y="754"/>
                </a:lnTo>
                <a:lnTo>
                  <a:pt x="1281" y="756"/>
                </a:lnTo>
                <a:lnTo>
                  <a:pt x="1283" y="762"/>
                </a:lnTo>
                <a:lnTo>
                  <a:pt x="1283" y="767"/>
                </a:lnTo>
                <a:lnTo>
                  <a:pt x="1283" y="769"/>
                </a:lnTo>
                <a:lnTo>
                  <a:pt x="1281" y="769"/>
                </a:lnTo>
                <a:lnTo>
                  <a:pt x="1281" y="769"/>
                </a:lnTo>
                <a:lnTo>
                  <a:pt x="1275" y="765"/>
                </a:lnTo>
                <a:lnTo>
                  <a:pt x="1272" y="760"/>
                </a:lnTo>
                <a:lnTo>
                  <a:pt x="1268" y="756"/>
                </a:lnTo>
                <a:lnTo>
                  <a:pt x="1268" y="756"/>
                </a:lnTo>
                <a:lnTo>
                  <a:pt x="1268" y="758"/>
                </a:lnTo>
                <a:lnTo>
                  <a:pt x="1268" y="758"/>
                </a:lnTo>
                <a:lnTo>
                  <a:pt x="1266" y="764"/>
                </a:lnTo>
                <a:lnTo>
                  <a:pt x="1264" y="769"/>
                </a:lnTo>
                <a:lnTo>
                  <a:pt x="1264" y="769"/>
                </a:lnTo>
                <a:lnTo>
                  <a:pt x="1259" y="775"/>
                </a:lnTo>
                <a:lnTo>
                  <a:pt x="1255" y="775"/>
                </a:lnTo>
                <a:lnTo>
                  <a:pt x="1253" y="773"/>
                </a:lnTo>
                <a:lnTo>
                  <a:pt x="1253" y="773"/>
                </a:lnTo>
                <a:lnTo>
                  <a:pt x="1251" y="771"/>
                </a:lnTo>
                <a:lnTo>
                  <a:pt x="1253" y="765"/>
                </a:lnTo>
                <a:lnTo>
                  <a:pt x="1257" y="754"/>
                </a:lnTo>
                <a:lnTo>
                  <a:pt x="1257" y="743"/>
                </a:lnTo>
                <a:lnTo>
                  <a:pt x="1257" y="740"/>
                </a:lnTo>
                <a:lnTo>
                  <a:pt x="1253" y="736"/>
                </a:lnTo>
                <a:lnTo>
                  <a:pt x="1253" y="736"/>
                </a:lnTo>
                <a:lnTo>
                  <a:pt x="1251" y="738"/>
                </a:lnTo>
                <a:lnTo>
                  <a:pt x="1249" y="741"/>
                </a:lnTo>
                <a:lnTo>
                  <a:pt x="1249" y="749"/>
                </a:lnTo>
                <a:lnTo>
                  <a:pt x="1249" y="749"/>
                </a:lnTo>
                <a:lnTo>
                  <a:pt x="1249" y="753"/>
                </a:lnTo>
                <a:lnTo>
                  <a:pt x="1248" y="753"/>
                </a:lnTo>
                <a:lnTo>
                  <a:pt x="1244" y="753"/>
                </a:lnTo>
                <a:lnTo>
                  <a:pt x="1242" y="753"/>
                </a:lnTo>
                <a:lnTo>
                  <a:pt x="1242" y="754"/>
                </a:lnTo>
                <a:lnTo>
                  <a:pt x="1242" y="754"/>
                </a:lnTo>
                <a:lnTo>
                  <a:pt x="1246" y="762"/>
                </a:lnTo>
                <a:lnTo>
                  <a:pt x="1248" y="769"/>
                </a:lnTo>
                <a:lnTo>
                  <a:pt x="1248" y="769"/>
                </a:lnTo>
                <a:lnTo>
                  <a:pt x="1244" y="773"/>
                </a:lnTo>
                <a:lnTo>
                  <a:pt x="1240" y="773"/>
                </a:lnTo>
                <a:lnTo>
                  <a:pt x="1231" y="769"/>
                </a:lnTo>
                <a:lnTo>
                  <a:pt x="1222" y="765"/>
                </a:lnTo>
                <a:lnTo>
                  <a:pt x="1216" y="765"/>
                </a:lnTo>
                <a:lnTo>
                  <a:pt x="1212" y="767"/>
                </a:lnTo>
                <a:lnTo>
                  <a:pt x="1212" y="767"/>
                </a:lnTo>
                <a:lnTo>
                  <a:pt x="1183" y="778"/>
                </a:lnTo>
                <a:lnTo>
                  <a:pt x="1166" y="784"/>
                </a:lnTo>
                <a:lnTo>
                  <a:pt x="1160" y="786"/>
                </a:lnTo>
                <a:lnTo>
                  <a:pt x="1159" y="784"/>
                </a:lnTo>
                <a:lnTo>
                  <a:pt x="1159" y="784"/>
                </a:lnTo>
                <a:lnTo>
                  <a:pt x="1159" y="778"/>
                </a:lnTo>
                <a:lnTo>
                  <a:pt x="1157" y="775"/>
                </a:lnTo>
                <a:lnTo>
                  <a:pt x="1157" y="775"/>
                </a:lnTo>
                <a:lnTo>
                  <a:pt x="1157" y="775"/>
                </a:lnTo>
                <a:lnTo>
                  <a:pt x="1151" y="778"/>
                </a:lnTo>
                <a:lnTo>
                  <a:pt x="1149" y="782"/>
                </a:lnTo>
                <a:lnTo>
                  <a:pt x="1147" y="786"/>
                </a:lnTo>
                <a:lnTo>
                  <a:pt x="1142" y="790"/>
                </a:lnTo>
                <a:lnTo>
                  <a:pt x="1142" y="790"/>
                </a:lnTo>
                <a:lnTo>
                  <a:pt x="1134" y="791"/>
                </a:lnTo>
                <a:lnTo>
                  <a:pt x="1131" y="791"/>
                </a:lnTo>
                <a:lnTo>
                  <a:pt x="1133" y="790"/>
                </a:lnTo>
                <a:lnTo>
                  <a:pt x="1134" y="786"/>
                </a:lnTo>
                <a:lnTo>
                  <a:pt x="1134" y="786"/>
                </a:lnTo>
                <a:lnTo>
                  <a:pt x="1136" y="784"/>
                </a:lnTo>
                <a:lnTo>
                  <a:pt x="1134" y="782"/>
                </a:lnTo>
                <a:lnTo>
                  <a:pt x="1134" y="782"/>
                </a:lnTo>
                <a:lnTo>
                  <a:pt x="1127" y="780"/>
                </a:lnTo>
                <a:lnTo>
                  <a:pt x="1125" y="780"/>
                </a:lnTo>
                <a:lnTo>
                  <a:pt x="1125" y="782"/>
                </a:lnTo>
                <a:lnTo>
                  <a:pt x="1123" y="784"/>
                </a:lnTo>
                <a:lnTo>
                  <a:pt x="1121" y="784"/>
                </a:lnTo>
                <a:lnTo>
                  <a:pt x="1118" y="784"/>
                </a:lnTo>
                <a:lnTo>
                  <a:pt x="1118" y="784"/>
                </a:lnTo>
                <a:lnTo>
                  <a:pt x="1103" y="791"/>
                </a:lnTo>
                <a:lnTo>
                  <a:pt x="1092" y="799"/>
                </a:lnTo>
                <a:lnTo>
                  <a:pt x="1086" y="804"/>
                </a:lnTo>
                <a:lnTo>
                  <a:pt x="1086" y="804"/>
                </a:lnTo>
                <a:lnTo>
                  <a:pt x="1086" y="808"/>
                </a:lnTo>
                <a:lnTo>
                  <a:pt x="1090" y="808"/>
                </a:lnTo>
                <a:lnTo>
                  <a:pt x="1099" y="804"/>
                </a:lnTo>
                <a:lnTo>
                  <a:pt x="1110" y="803"/>
                </a:lnTo>
                <a:lnTo>
                  <a:pt x="1114" y="803"/>
                </a:lnTo>
                <a:lnTo>
                  <a:pt x="1116" y="806"/>
                </a:lnTo>
                <a:lnTo>
                  <a:pt x="1116" y="806"/>
                </a:lnTo>
                <a:lnTo>
                  <a:pt x="1112" y="812"/>
                </a:lnTo>
                <a:lnTo>
                  <a:pt x="1109" y="816"/>
                </a:lnTo>
                <a:lnTo>
                  <a:pt x="1109" y="816"/>
                </a:lnTo>
                <a:lnTo>
                  <a:pt x="1105" y="817"/>
                </a:lnTo>
                <a:lnTo>
                  <a:pt x="1103" y="817"/>
                </a:lnTo>
                <a:lnTo>
                  <a:pt x="1101" y="816"/>
                </a:lnTo>
                <a:lnTo>
                  <a:pt x="1101" y="816"/>
                </a:lnTo>
                <a:lnTo>
                  <a:pt x="1097" y="814"/>
                </a:lnTo>
                <a:lnTo>
                  <a:pt x="1096" y="814"/>
                </a:lnTo>
                <a:lnTo>
                  <a:pt x="1096" y="819"/>
                </a:lnTo>
                <a:lnTo>
                  <a:pt x="1097" y="829"/>
                </a:lnTo>
                <a:lnTo>
                  <a:pt x="1099" y="832"/>
                </a:lnTo>
                <a:lnTo>
                  <a:pt x="1097" y="836"/>
                </a:lnTo>
                <a:lnTo>
                  <a:pt x="1097" y="836"/>
                </a:lnTo>
                <a:lnTo>
                  <a:pt x="1096" y="840"/>
                </a:lnTo>
                <a:lnTo>
                  <a:pt x="1094" y="843"/>
                </a:lnTo>
                <a:lnTo>
                  <a:pt x="1094" y="843"/>
                </a:lnTo>
                <a:lnTo>
                  <a:pt x="1086" y="847"/>
                </a:lnTo>
                <a:lnTo>
                  <a:pt x="1071" y="853"/>
                </a:lnTo>
                <a:lnTo>
                  <a:pt x="1057" y="856"/>
                </a:lnTo>
                <a:lnTo>
                  <a:pt x="1051" y="856"/>
                </a:lnTo>
                <a:lnTo>
                  <a:pt x="1049" y="856"/>
                </a:lnTo>
                <a:lnTo>
                  <a:pt x="1049" y="856"/>
                </a:lnTo>
                <a:lnTo>
                  <a:pt x="1047" y="853"/>
                </a:lnTo>
                <a:lnTo>
                  <a:pt x="1049" y="851"/>
                </a:lnTo>
                <a:lnTo>
                  <a:pt x="1057" y="845"/>
                </a:lnTo>
                <a:lnTo>
                  <a:pt x="1060" y="843"/>
                </a:lnTo>
                <a:lnTo>
                  <a:pt x="1055" y="845"/>
                </a:lnTo>
                <a:lnTo>
                  <a:pt x="1055" y="845"/>
                </a:lnTo>
                <a:lnTo>
                  <a:pt x="1051" y="843"/>
                </a:lnTo>
                <a:lnTo>
                  <a:pt x="1045" y="843"/>
                </a:lnTo>
                <a:lnTo>
                  <a:pt x="1045" y="843"/>
                </a:lnTo>
                <a:lnTo>
                  <a:pt x="1036" y="841"/>
                </a:lnTo>
                <a:lnTo>
                  <a:pt x="1031" y="840"/>
                </a:lnTo>
                <a:lnTo>
                  <a:pt x="1031" y="840"/>
                </a:lnTo>
                <a:lnTo>
                  <a:pt x="1031" y="843"/>
                </a:lnTo>
                <a:lnTo>
                  <a:pt x="1033" y="853"/>
                </a:lnTo>
                <a:lnTo>
                  <a:pt x="1036" y="860"/>
                </a:lnTo>
                <a:lnTo>
                  <a:pt x="1038" y="862"/>
                </a:lnTo>
                <a:lnTo>
                  <a:pt x="1040" y="862"/>
                </a:lnTo>
                <a:lnTo>
                  <a:pt x="1040" y="862"/>
                </a:lnTo>
                <a:lnTo>
                  <a:pt x="1047" y="864"/>
                </a:lnTo>
                <a:lnTo>
                  <a:pt x="1051" y="864"/>
                </a:lnTo>
                <a:lnTo>
                  <a:pt x="1051" y="866"/>
                </a:lnTo>
                <a:lnTo>
                  <a:pt x="1051" y="866"/>
                </a:lnTo>
                <a:lnTo>
                  <a:pt x="1051" y="866"/>
                </a:lnTo>
                <a:lnTo>
                  <a:pt x="1033" y="873"/>
                </a:lnTo>
                <a:lnTo>
                  <a:pt x="1010" y="879"/>
                </a:lnTo>
                <a:lnTo>
                  <a:pt x="986" y="880"/>
                </a:lnTo>
                <a:lnTo>
                  <a:pt x="962" y="882"/>
                </a:lnTo>
                <a:lnTo>
                  <a:pt x="938" y="880"/>
                </a:lnTo>
                <a:lnTo>
                  <a:pt x="918" y="879"/>
                </a:lnTo>
                <a:lnTo>
                  <a:pt x="884" y="873"/>
                </a:lnTo>
                <a:lnTo>
                  <a:pt x="884" y="873"/>
                </a:lnTo>
                <a:lnTo>
                  <a:pt x="855" y="864"/>
                </a:lnTo>
                <a:lnTo>
                  <a:pt x="823" y="853"/>
                </a:lnTo>
                <a:lnTo>
                  <a:pt x="823" y="853"/>
                </a:lnTo>
                <a:lnTo>
                  <a:pt x="814" y="851"/>
                </a:lnTo>
                <a:lnTo>
                  <a:pt x="801" y="847"/>
                </a:lnTo>
                <a:lnTo>
                  <a:pt x="793" y="845"/>
                </a:lnTo>
                <a:lnTo>
                  <a:pt x="792" y="845"/>
                </a:lnTo>
                <a:lnTo>
                  <a:pt x="793" y="843"/>
                </a:lnTo>
                <a:lnTo>
                  <a:pt x="793" y="843"/>
                </a:lnTo>
                <a:lnTo>
                  <a:pt x="801" y="841"/>
                </a:lnTo>
                <a:lnTo>
                  <a:pt x="795" y="841"/>
                </a:lnTo>
                <a:lnTo>
                  <a:pt x="777" y="841"/>
                </a:lnTo>
                <a:lnTo>
                  <a:pt x="777" y="841"/>
                </a:lnTo>
                <a:lnTo>
                  <a:pt x="753" y="841"/>
                </a:lnTo>
                <a:lnTo>
                  <a:pt x="727" y="840"/>
                </a:lnTo>
                <a:lnTo>
                  <a:pt x="716" y="836"/>
                </a:lnTo>
                <a:lnTo>
                  <a:pt x="704" y="832"/>
                </a:lnTo>
                <a:lnTo>
                  <a:pt x="697" y="829"/>
                </a:lnTo>
                <a:lnTo>
                  <a:pt x="693" y="823"/>
                </a:lnTo>
                <a:lnTo>
                  <a:pt x="693" y="823"/>
                </a:lnTo>
                <a:lnTo>
                  <a:pt x="690" y="816"/>
                </a:lnTo>
                <a:lnTo>
                  <a:pt x="690" y="816"/>
                </a:lnTo>
                <a:lnTo>
                  <a:pt x="690" y="814"/>
                </a:lnTo>
                <a:lnTo>
                  <a:pt x="690" y="814"/>
                </a:lnTo>
                <a:lnTo>
                  <a:pt x="684" y="810"/>
                </a:lnTo>
                <a:lnTo>
                  <a:pt x="680" y="804"/>
                </a:lnTo>
                <a:lnTo>
                  <a:pt x="678" y="799"/>
                </a:lnTo>
                <a:lnTo>
                  <a:pt x="678" y="799"/>
                </a:lnTo>
                <a:lnTo>
                  <a:pt x="677" y="801"/>
                </a:lnTo>
                <a:lnTo>
                  <a:pt x="677" y="801"/>
                </a:lnTo>
                <a:lnTo>
                  <a:pt x="677" y="804"/>
                </a:lnTo>
                <a:lnTo>
                  <a:pt x="678" y="806"/>
                </a:lnTo>
                <a:lnTo>
                  <a:pt x="682" y="814"/>
                </a:lnTo>
                <a:lnTo>
                  <a:pt x="682" y="814"/>
                </a:lnTo>
                <a:lnTo>
                  <a:pt x="680" y="812"/>
                </a:lnTo>
                <a:lnTo>
                  <a:pt x="673" y="810"/>
                </a:lnTo>
                <a:lnTo>
                  <a:pt x="667" y="804"/>
                </a:lnTo>
                <a:lnTo>
                  <a:pt x="664" y="801"/>
                </a:lnTo>
                <a:lnTo>
                  <a:pt x="664" y="797"/>
                </a:lnTo>
                <a:lnTo>
                  <a:pt x="664" y="797"/>
                </a:lnTo>
                <a:lnTo>
                  <a:pt x="665" y="788"/>
                </a:lnTo>
                <a:lnTo>
                  <a:pt x="667" y="784"/>
                </a:lnTo>
                <a:lnTo>
                  <a:pt x="673" y="782"/>
                </a:lnTo>
                <a:lnTo>
                  <a:pt x="678" y="784"/>
                </a:lnTo>
                <a:lnTo>
                  <a:pt x="691" y="788"/>
                </a:lnTo>
                <a:lnTo>
                  <a:pt x="695" y="790"/>
                </a:lnTo>
                <a:lnTo>
                  <a:pt x="701" y="788"/>
                </a:lnTo>
                <a:lnTo>
                  <a:pt x="701" y="788"/>
                </a:lnTo>
                <a:lnTo>
                  <a:pt x="701" y="786"/>
                </a:lnTo>
                <a:lnTo>
                  <a:pt x="699" y="784"/>
                </a:lnTo>
                <a:lnTo>
                  <a:pt x="691" y="778"/>
                </a:lnTo>
                <a:lnTo>
                  <a:pt x="684" y="773"/>
                </a:lnTo>
                <a:lnTo>
                  <a:pt x="682" y="771"/>
                </a:lnTo>
                <a:lnTo>
                  <a:pt x="682" y="767"/>
                </a:lnTo>
                <a:lnTo>
                  <a:pt x="682" y="767"/>
                </a:lnTo>
                <a:lnTo>
                  <a:pt x="684" y="764"/>
                </a:lnTo>
                <a:lnTo>
                  <a:pt x="684" y="760"/>
                </a:lnTo>
                <a:lnTo>
                  <a:pt x="682" y="758"/>
                </a:lnTo>
                <a:lnTo>
                  <a:pt x="682" y="758"/>
                </a:lnTo>
                <a:lnTo>
                  <a:pt x="677" y="758"/>
                </a:lnTo>
                <a:lnTo>
                  <a:pt x="671" y="762"/>
                </a:lnTo>
                <a:lnTo>
                  <a:pt x="667" y="767"/>
                </a:lnTo>
                <a:lnTo>
                  <a:pt x="664" y="775"/>
                </a:lnTo>
                <a:lnTo>
                  <a:pt x="658" y="788"/>
                </a:lnTo>
                <a:lnTo>
                  <a:pt x="656" y="791"/>
                </a:lnTo>
                <a:lnTo>
                  <a:pt x="654" y="793"/>
                </a:lnTo>
                <a:lnTo>
                  <a:pt x="654" y="793"/>
                </a:lnTo>
                <a:lnTo>
                  <a:pt x="647" y="791"/>
                </a:lnTo>
                <a:lnTo>
                  <a:pt x="643" y="788"/>
                </a:lnTo>
                <a:lnTo>
                  <a:pt x="638" y="784"/>
                </a:lnTo>
                <a:lnTo>
                  <a:pt x="634" y="780"/>
                </a:lnTo>
                <a:lnTo>
                  <a:pt x="634" y="780"/>
                </a:lnTo>
                <a:lnTo>
                  <a:pt x="628" y="778"/>
                </a:lnTo>
                <a:lnTo>
                  <a:pt x="630" y="777"/>
                </a:lnTo>
                <a:lnTo>
                  <a:pt x="641" y="777"/>
                </a:lnTo>
                <a:lnTo>
                  <a:pt x="651" y="777"/>
                </a:lnTo>
                <a:lnTo>
                  <a:pt x="638" y="773"/>
                </a:lnTo>
                <a:lnTo>
                  <a:pt x="638" y="773"/>
                </a:lnTo>
                <a:lnTo>
                  <a:pt x="638" y="771"/>
                </a:lnTo>
                <a:lnTo>
                  <a:pt x="640" y="767"/>
                </a:lnTo>
                <a:lnTo>
                  <a:pt x="638" y="758"/>
                </a:lnTo>
                <a:lnTo>
                  <a:pt x="638" y="751"/>
                </a:lnTo>
                <a:lnTo>
                  <a:pt x="638" y="756"/>
                </a:lnTo>
                <a:lnTo>
                  <a:pt x="638" y="756"/>
                </a:lnTo>
                <a:lnTo>
                  <a:pt x="638" y="762"/>
                </a:lnTo>
                <a:lnTo>
                  <a:pt x="636" y="765"/>
                </a:lnTo>
                <a:lnTo>
                  <a:pt x="632" y="767"/>
                </a:lnTo>
                <a:lnTo>
                  <a:pt x="628" y="769"/>
                </a:lnTo>
                <a:lnTo>
                  <a:pt x="615" y="769"/>
                </a:lnTo>
                <a:lnTo>
                  <a:pt x="602" y="767"/>
                </a:lnTo>
                <a:lnTo>
                  <a:pt x="589" y="764"/>
                </a:lnTo>
                <a:lnTo>
                  <a:pt x="575" y="760"/>
                </a:lnTo>
                <a:lnTo>
                  <a:pt x="564" y="754"/>
                </a:lnTo>
                <a:lnTo>
                  <a:pt x="556" y="747"/>
                </a:lnTo>
                <a:lnTo>
                  <a:pt x="556" y="747"/>
                </a:lnTo>
                <a:lnTo>
                  <a:pt x="554" y="745"/>
                </a:lnTo>
                <a:lnTo>
                  <a:pt x="554" y="743"/>
                </a:lnTo>
                <a:lnTo>
                  <a:pt x="558" y="738"/>
                </a:lnTo>
                <a:lnTo>
                  <a:pt x="569" y="730"/>
                </a:lnTo>
                <a:lnTo>
                  <a:pt x="573" y="727"/>
                </a:lnTo>
                <a:lnTo>
                  <a:pt x="573" y="725"/>
                </a:lnTo>
                <a:lnTo>
                  <a:pt x="573" y="725"/>
                </a:lnTo>
                <a:lnTo>
                  <a:pt x="567" y="725"/>
                </a:lnTo>
                <a:lnTo>
                  <a:pt x="554" y="727"/>
                </a:lnTo>
                <a:lnTo>
                  <a:pt x="554" y="727"/>
                </a:lnTo>
                <a:lnTo>
                  <a:pt x="545" y="728"/>
                </a:lnTo>
                <a:lnTo>
                  <a:pt x="541" y="732"/>
                </a:lnTo>
                <a:lnTo>
                  <a:pt x="541" y="736"/>
                </a:lnTo>
                <a:lnTo>
                  <a:pt x="543" y="740"/>
                </a:lnTo>
                <a:lnTo>
                  <a:pt x="543" y="743"/>
                </a:lnTo>
                <a:lnTo>
                  <a:pt x="543" y="749"/>
                </a:lnTo>
                <a:lnTo>
                  <a:pt x="538" y="753"/>
                </a:lnTo>
                <a:lnTo>
                  <a:pt x="525" y="756"/>
                </a:lnTo>
                <a:lnTo>
                  <a:pt x="525" y="756"/>
                </a:lnTo>
                <a:lnTo>
                  <a:pt x="513" y="758"/>
                </a:lnTo>
                <a:lnTo>
                  <a:pt x="504" y="758"/>
                </a:lnTo>
                <a:lnTo>
                  <a:pt x="488" y="756"/>
                </a:lnTo>
                <a:lnTo>
                  <a:pt x="473" y="751"/>
                </a:lnTo>
                <a:lnTo>
                  <a:pt x="454" y="749"/>
                </a:lnTo>
                <a:lnTo>
                  <a:pt x="454" y="749"/>
                </a:lnTo>
                <a:lnTo>
                  <a:pt x="452" y="749"/>
                </a:lnTo>
                <a:lnTo>
                  <a:pt x="450" y="753"/>
                </a:lnTo>
                <a:lnTo>
                  <a:pt x="450" y="753"/>
                </a:lnTo>
                <a:lnTo>
                  <a:pt x="447" y="754"/>
                </a:lnTo>
                <a:lnTo>
                  <a:pt x="441" y="756"/>
                </a:lnTo>
                <a:lnTo>
                  <a:pt x="426" y="758"/>
                </a:lnTo>
                <a:lnTo>
                  <a:pt x="386" y="760"/>
                </a:lnTo>
                <a:lnTo>
                  <a:pt x="343" y="762"/>
                </a:lnTo>
                <a:lnTo>
                  <a:pt x="326" y="762"/>
                </a:lnTo>
                <a:lnTo>
                  <a:pt x="315" y="764"/>
                </a:lnTo>
                <a:lnTo>
                  <a:pt x="315" y="764"/>
                </a:lnTo>
                <a:lnTo>
                  <a:pt x="311" y="765"/>
                </a:lnTo>
                <a:lnTo>
                  <a:pt x="308" y="767"/>
                </a:lnTo>
                <a:lnTo>
                  <a:pt x="308" y="767"/>
                </a:lnTo>
                <a:lnTo>
                  <a:pt x="306" y="767"/>
                </a:lnTo>
                <a:lnTo>
                  <a:pt x="304" y="765"/>
                </a:lnTo>
                <a:lnTo>
                  <a:pt x="304" y="760"/>
                </a:lnTo>
                <a:lnTo>
                  <a:pt x="306" y="751"/>
                </a:lnTo>
                <a:lnTo>
                  <a:pt x="306" y="751"/>
                </a:lnTo>
                <a:lnTo>
                  <a:pt x="306" y="749"/>
                </a:lnTo>
                <a:lnTo>
                  <a:pt x="304" y="749"/>
                </a:lnTo>
                <a:lnTo>
                  <a:pt x="302" y="747"/>
                </a:lnTo>
                <a:lnTo>
                  <a:pt x="300" y="745"/>
                </a:lnTo>
                <a:lnTo>
                  <a:pt x="300" y="745"/>
                </a:lnTo>
                <a:lnTo>
                  <a:pt x="302" y="743"/>
                </a:lnTo>
                <a:lnTo>
                  <a:pt x="304" y="740"/>
                </a:lnTo>
                <a:lnTo>
                  <a:pt x="304" y="740"/>
                </a:lnTo>
                <a:lnTo>
                  <a:pt x="306" y="736"/>
                </a:lnTo>
                <a:lnTo>
                  <a:pt x="308" y="730"/>
                </a:lnTo>
                <a:lnTo>
                  <a:pt x="308" y="730"/>
                </a:lnTo>
                <a:lnTo>
                  <a:pt x="308" y="728"/>
                </a:lnTo>
                <a:lnTo>
                  <a:pt x="306" y="723"/>
                </a:lnTo>
                <a:lnTo>
                  <a:pt x="302" y="712"/>
                </a:lnTo>
                <a:lnTo>
                  <a:pt x="300" y="704"/>
                </a:lnTo>
                <a:lnTo>
                  <a:pt x="298" y="699"/>
                </a:lnTo>
                <a:lnTo>
                  <a:pt x="300" y="693"/>
                </a:lnTo>
                <a:lnTo>
                  <a:pt x="306" y="691"/>
                </a:lnTo>
                <a:lnTo>
                  <a:pt x="306" y="691"/>
                </a:lnTo>
                <a:lnTo>
                  <a:pt x="311" y="689"/>
                </a:lnTo>
                <a:lnTo>
                  <a:pt x="315" y="693"/>
                </a:lnTo>
                <a:lnTo>
                  <a:pt x="323" y="704"/>
                </a:lnTo>
                <a:lnTo>
                  <a:pt x="328" y="710"/>
                </a:lnTo>
                <a:lnTo>
                  <a:pt x="336" y="714"/>
                </a:lnTo>
                <a:lnTo>
                  <a:pt x="347" y="714"/>
                </a:lnTo>
                <a:lnTo>
                  <a:pt x="360" y="710"/>
                </a:lnTo>
                <a:lnTo>
                  <a:pt x="360" y="710"/>
                </a:lnTo>
                <a:lnTo>
                  <a:pt x="374" y="708"/>
                </a:lnTo>
                <a:lnTo>
                  <a:pt x="397" y="706"/>
                </a:lnTo>
                <a:lnTo>
                  <a:pt x="408" y="704"/>
                </a:lnTo>
                <a:lnTo>
                  <a:pt x="415" y="701"/>
                </a:lnTo>
                <a:lnTo>
                  <a:pt x="423" y="697"/>
                </a:lnTo>
                <a:lnTo>
                  <a:pt x="426" y="693"/>
                </a:lnTo>
                <a:lnTo>
                  <a:pt x="426" y="693"/>
                </a:lnTo>
                <a:lnTo>
                  <a:pt x="426" y="691"/>
                </a:lnTo>
                <a:lnTo>
                  <a:pt x="423" y="689"/>
                </a:lnTo>
                <a:lnTo>
                  <a:pt x="417" y="686"/>
                </a:lnTo>
                <a:lnTo>
                  <a:pt x="415" y="686"/>
                </a:lnTo>
                <a:lnTo>
                  <a:pt x="415" y="684"/>
                </a:lnTo>
                <a:lnTo>
                  <a:pt x="425" y="682"/>
                </a:lnTo>
                <a:lnTo>
                  <a:pt x="425" y="682"/>
                </a:lnTo>
                <a:lnTo>
                  <a:pt x="428" y="682"/>
                </a:lnTo>
                <a:lnTo>
                  <a:pt x="432" y="682"/>
                </a:lnTo>
                <a:lnTo>
                  <a:pt x="432" y="682"/>
                </a:lnTo>
                <a:lnTo>
                  <a:pt x="434" y="680"/>
                </a:lnTo>
                <a:lnTo>
                  <a:pt x="432" y="678"/>
                </a:lnTo>
                <a:lnTo>
                  <a:pt x="425" y="676"/>
                </a:lnTo>
                <a:lnTo>
                  <a:pt x="417" y="675"/>
                </a:lnTo>
                <a:lnTo>
                  <a:pt x="415" y="673"/>
                </a:lnTo>
                <a:lnTo>
                  <a:pt x="413" y="671"/>
                </a:lnTo>
                <a:lnTo>
                  <a:pt x="413" y="671"/>
                </a:lnTo>
                <a:lnTo>
                  <a:pt x="415" y="669"/>
                </a:lnTo>
                <a:lnTo>
                  <a:pt x="417" y="669"/>
                </a:lnTo>
                <a:lnTo>
                  <a:pt x="423" y="669"/>
                </a:lnTo>
                <a:lnTo>
                  <a:pt x="434" y="671"/>
                </a:lnTo>
                <a:lnTo>
                  <a:pt x="434" y="671"/>
                </a:lnTo>
                <a:lnTo>
                  <a:pt x="437" y="673"/>
                </a:lnTo>
                <a:lnTo>
                  <a:pt x="441" y="673"/>
                </a:lnTo>
                <a:lnTo>
                  <a:pt x="454" y="671"/>
                </a:lnTo>
                <a:lnTo>
                  <a:pt x="465" y="667"/>
                </a:lnTo>
                <a:lnTo>
                  <a:pt x="471" y="664"/>
                </a:lnTo>
                <a:lnTo>
                  <a:pt x="471" y="664"/>
                </a:lnTo>
                <a:lnTo>
                  <a:pt x="471" y="664"/>
                </a:lnTo>
                <a:lnTo>
                  <a:pt x="469" y="662"/>
                </a:lnTo>
                <a:lnTo>
                  <a:pt x="465" y="664"/>
                </a:lnTo>
                <a:lnTo>
                  <a:pt x="465" y="664"/>
                </a:lnTo>
                <a:lnTo>
                  <a:pt x="460" y="660"/>
                </a:lnTo>
                <a:lnTo>
                  <a:pt x="449" y="654"/>
                </a:lnTo>
                <a:lnTo>
                  <a:pt x="439" y="647"/>
                </a:lnTo>
                <a:lnTo>
                  <a:pt x="437" y="643"/>
                </a:lnTo>
                <a:lnTo>
                  <a:pt x="439" y="639"/>
                </a:lnTo>
                <a:lnTo>
                  <a:pt x="439" y="639"/>
                </a:lnTo>
                <a:lnTo>
                  <a:pt x="445" y="634"/>
                </a:lnTo>
                <a:lnTo>
                  <a:pt x="452" y="628"/>
                </a:lnTo>
                <a:lnTo>
                  <a:pt x="463" y="623"/>
                </a:lnTo>
                <a:lnTo>
                  <a:pt x="478" y="619"/>
                </a:lnTo>
                <a:lnTo>
                  <a:pt x="489" y="617"/>
                </a:lnTo>
                <a:lnTo>
                  <a:pt x="512" y="615"/>
                </a:lnTo>
                <a:lnTo>
                  <a:pt x="521" y="612"/>
                </a:lnTo>
                <a:lnTo>
                  <a:pt x="523" y="610"/>
                </a:lnTo>
                <a:lnTo>
                  <a:pt x="526" y="606"/>
                </a:lnTo>
                <a:lnTo>
                  <a:pt x="526" y="606"/>
                </a:lnTo>
                <a:lnTo>
                  <a:pt x="526" y="606"/>
                </a:lnTo>
                <a:lnTo>
                  <a:pt x="525" y="606"/>
                </a:lnTo>
                <a:lnTo>
                  <a:pt x="521" y="606"/>
                </a:lnTo>
                <a:lnTo>
                  <a:pt x="513" y="608"/>
                </a:lnTo>
                <a:lnTo>
                  <a:pt x="513" y="608"/>
                </a:lnTo>
                <a:lnTo>
                  <a:pt x="508" y="610"/>
                </a:lnTo>
                <a:lnTo>
                  <a:pt x="506" y="608"/>
                </a:lnTo>
                <a:lnTo>
                  <a:pt x="508" y="606"/>
                </a:lnTo>
                <a:lnTo>
                  <a:pt x="508" y="606"/>
                </a:lnTo>
                <a:lnTo>
                  <a:pt x="512" y="604"/>
                </a:lnTo>
                <a:lnTo>
                  <a:pt x="512" y="604"/>
                </a:lnTo>
                <a:lnTo>
                  <a:pt x="506" y="602"/>
                </a:lnTo>
                <a:lnTo>
                  <a:pt x="491" y="602"/>
                </a:lnTo>
                <a:lnTo>
                  <a:pt x="491" y="602"/>
                </a:lnTo>
                <a:lnTo>
                  <a:pt x="482" y="602"/>
                </a:lnTo>
                <a:lnTo>
                  <a:pt x="475" y="602"/>
                </a:lnTo>
                <a:lnTo>
                  <a:pt x="467" y="606"/>
                </a:lnTo>
                <a:lnTo>
                  <a:pt x="462" y="610"/>
                </a:lnTo>
                <a:lnTo>
                  <a:pt x="447" y="617"/>
                </a:lnTo>
                <a:lnTo>
                  <a:pt x="434" y="628"/>
                </a:lnTo>
                <a:lnTo>
                  <a:pt x="434" y="628"/>
                </a:lnTo>
                <a:lnTo>
                  <a:pt x="428" y="628"/>
                </a:lnTo>
                <a:lnTo>
                  <a:pt x="417" y="630"/>
                </a:lnTo>
                <a:lnTo>
                  <a:pt x="408" y="628"/>
                </a:lnTo>
                <a:lnTo>
                  <a:pt x="404" y="628"/>
                </a:lnTo>
                <a:lnTo>
                  <a:pt x="404" y="626"/>
                </a:lnTo>
                <a:lnTo>
                  <a:pt x="404" y="626"/>
                </a:lnTo>
                <a:lnTo>
                  <a:pt x="406" y="621"/>
                </a:lnTo>
                <a:lnTo>
                  <a:pt x="410" y="619"/>
                </a:lnTo>
                <a:lnTo>
                  <a:pt x="423" y="613"/>
                </a:lnTo>
                <a:lnTo>
                  <a:pt x="436" y="612"/>
                </a:lnTo>
                <a:lnTo>
                  <a:pt x="441" y="610"/>
                </a:lnTo>
                <a:lnTo>
                  <a:pt x="443" y="606"/>
                </a:lnTo>
                <a:lnTo>
                  <a:pt x="443" y="606"/>
                </a:lnTo>
                <a:lnTo>
                  <a:pt x="443" y="604"/>
                </a:lnTo>
                <a:lnTo>
                  <a:pt x="441" y="602"/>
                </a:lnTo>
                <a:lnTo>
                  <a:pt x="432" y="604"/>
                </a:lnTo>
                <a:lnTo>
                  <a:pt x="421" y="606"/>
                </a:lnTo>
                <a:lnTo>
                  <a:pt x="417" y="606"/>
                </a:lnTo>
                <a:lnTo>
                  <a:pt x="413" y="604"/>
                </a:lnTo>
                <a:lnTo>
                  <a:pt x="413" y="604"/>
                </a:lnTo>
                <a:lnTo>
                  <a:pt x="413" y="600"/>
                </a:lnTo>
                <a:lnTo>
                  <a:pt x="415" y="597"/>
                </a:lnTo>
                <a:lnTo>
                  <a:pt x="421" y="586"/>
                </a:lnTo>
                <a:lnTo>
                  <a:pt x="432" y="576"/>
                </a:lnTo>
                <a:lnTo>
                  <a:pt x="445" y="565"/>
                </a:lnTo>
                <a:lnTo>
                  <a:pt x="458" y="558"/>
                </a:lnTo>
                <a:lnTo>
                  <a:pt x="471" y="550"/>
                </a:lnTo>
                <a:lnTo>
                  <a:pt x="480" y="550"/>
                </a:lnTo>
                <a:lnTo>
                  <a:pt x="484" y="550"/>
                </a:lnTo>
                <a:lnTo>
                  <a:pt x="486" y="552"/>
                </a:lnTo>
                <a:lnTo>
                  <a:pt x="486" y="552"/>
                </a:lnTo>
                <a:lnTo>
                  <a:pt x="489" y="556"/>
                </a:lnTo>
                <a:lnTo>
                  <a:pt x="495" y="556"/>
                </a:lnTo>
                <a:lnTo>
                  <a:pt x="504" y="556"/>
                </a:lnTo>
                <a:lnTo>
                  <a:pt x="504" y="556"/>
                </a:lnTo>
                <a:lnTo>
                  <a:pt x="504" y="556"/>
                </a:lnTo>
                <a:lnTo>
                  <a:pt x="504" y="556"/>
                </a:lnTo>
                <a:lnTo>
                  <a:pt x="501" y="554"/>
                </a:lnTo>
                <a:lnTo>
                  <a:pt x="497" y="552"/>
                </a:lnTo>
                <a:lnTo>
                  <a:pt x="493" y="550"/>
                </a:lnTo>
                <a:lnTo>
                  <a:pt x="493" y="550"/>
                </a:lnTo>
                <a:lnTo>
                  <a:pt x="488" y="547"/>
                </a:lnTo>
                <a:lnTo>
                  <a:pt x="482" y="545"/>
                </a:lnTo>
                <a:lnTo>
                  <a:pt x="478" y="545"/>
                </a:lnTo>
                <a:lnTo>
                  <a:pt x="476" y="543"/>
                </a:lnTo>
                <a:lnTo>
                  <a:pt x="476" y="543"/>
                </a:lnTo>
                <a:lnTo>
                  <a:pt x="476" y="541"/>
                </a:lnTo>
                <a:lnTo>
                  <a:pt x="478" y="539"/>
                </a:lnTo>
                <a:lnTo>
                  <a:pt x="488" y="539"/>
                </a:lnTo>
                <a:lnTo>
                  <a:pt x="499" y="537"/>
                </a:lnTo>
                <a:lnTo>
                  <a:pt x="502" y="537"/>
                </a:lnTo>
                <a:lnTo>
                  <a:pt x="502" y="534"/>
                </a:lnTo>
                <a:lnTo>
                  <a:pt x="502" y="534"/>
                </a:lnTo>
                <a:lnTo>
                  <a:pt x="501" y="532"/>
                </a:lnTo>
                <a:lnTo>
                  <a:pt x="497" y="530"/>
                </a:lnTo>
                <a:lnTo>
                  <a:pt x="486" y="532"/>
                </a:lnTo>
                <a:lnTo>
                  <a:pt x="471" y="536"/>
                </a:lnTo>
                <a:lnTo>
                  <a:pt x="471" y="536"/>
                </a:lnTo>
                <a:lnTo>
                  <a:pt x="471" y="532"/>
                </a:lnTo>
                <a:lnTo>
                  <a:pt x="469" y="530"/>
                </a:lnTo>
                <a:lnTo>
                  <a:pt x="469" y="532"/>
                </a:lnTo>
                <a:lnTo>
                  <a:pt x="463" y="539"/>
                </a:lnTo>
                <a:lnTo>
                  <a:pt x="463" y="539"/>
                </a:lnTo>
                <a:lnTo>
                  <a:pt x="454" y="549"/>
                </a:lnTo>
                <a:lnTo>
                  <a:pt x="443" y="558"/>
                </a:lnTo>
                <a:lnTo>
                  <a:pt x="430" y="565"/>
                </a:lnTo>
                <a:lnTo>
                  <a:pt x="417" y="569"/>
                </a:lnTo>
                <a:lnTo>
                  <a:pt x="417" y="569"/>
                </a:lnTo>
                <a:lnTo>
                  <a:pt x="415" y="569"/>
                </a:lnTo>
                <a:lnTo>
                  <a:pt x="415" y="567"/>
                </a:lnTo>
                <a:lnTo>
                  <a:pt x="415" y="563"/>
                </a:lnTo>
                <a:lnTo>
                  <a:pt x="417" y="558"/>
                </a:lnTo>
                <a:lnTo>
                  <a:pt x="417" y="556"/>
                </a:lnTo>
                <a:lnTo>
                  <a:pt x="415" y="556"/>
                </a:lnTo>
                <a:lnTo>
                  <a:pt x="415" y="556"/>
                </a:lnTo>
                <a:lnTo>
                  <a:pt x="412" y="558"/>
                </a:lnTo>
                <a:lnTo>
                  <a:pt x="408" y="563"/>
                </a:lnTo>
                <a:lnTo>
                  <a:pt x="400" y="576"/>
                </a:lnTo>
                <a:lnTo>
                  <a:pt x="397" y="588"/>
                </a:lnTo>
                <a:lnTo>
                  <a:pt x="393" y="589"/>
                </a:lnTo>
                <a:lnTo>
                  <a:pt x="391" y="588"/>
                </a:lnTo>
                <a:lnTo>
                  <a:pt x="391" y="588"/>
                </a:lnTo>
                <a:lnTo>
                  <a:pt x="389" y="584"/>
                </a:lnTo>
                <a:lnTo>
                  <a:pt x="384" y="584"/>
                </a:lnTo>
                <a:lnTo>
                  <a:pt x="380" y="582"/>
                </a:lnTo>
                <a:lnTo>
                  <a:pt x="378" y="578"/>
                </a:lnTo>
                <a:lnTo>
                  <a:pt x="378" y="578"/>
                </a:lnTo>
                <a:lnTo>
                  <a:pt x="380" y="571"/>
                </a:lnTo>
                <a:lnTo>
                  <a:pt x="382" y="563"/>
                </a:lnTo>
                <a:lnTo>
                  <a:pt x="384" y="558"/>
                </a:lnTo>
                <a:lnTo>
                  <a:pt x="382" y="556"/>
                </a:lnTo>
                <a:lnTo>
                  <a:pt x="380" y="554"/>
                </a:lnTo>
                <a:lnTo>
                  <a:pt x="380" y="554"/>
                </a:lnTo>
                <a:lnTo>
                  <a:pt x="376" y="554"/>
                </a:lnTo>
                <a:lnTo>
                  <a:pt x="373" y="554"/>
                </a:lnTo>
                <a:lnTo>
                  <a:pt x="367" y="558"/>
                </a:lnTo>
                <a:lnTo>
                  <a:pt x="365" y="558"/>
                </a:lnTo>
                <a:lnTo>
                  <a:pt x="363" y="558"/>
                </a:lnTo>
                <a:lnTo>
                  <a:pt x="361" y="554"/>
                </a:lnTo>
                <a:lnTo>
                  <a:pt x="361" y="549"/>
                </a:lnTo>
                <a:lnTo>
                  <a:pt x="361" y="549"/>
                </a:lnTo>
                <a:lnTo>
                  <a:pt x="363" y="545"/>
                </a:lnTo>
                <a:lnTo>
                  <a:pt x="363" y="543"/>
                </a:lnTo>
                <a:lnTo>
                  <a:pt x="363" y="543"/>
                </a:lnTo>
                <a:lnTo>
                  <a:pt x="363" y="543"/>
                </a:lnTo>
                <a:lnTo>
                  <a:pt x="361" y="541"/>
                </a:lnTo>
                <a:lnTo>
                  <a:pt x="358" y="541"/>
                </a:lnTo>
                <a:lnTo>
                  <a:pt x="358" y="541"/>
                </a:lnTo>
                <a:lnTo>
                  <a:pt x="352" y="536"/>
                </a:lnTo>
                <a:lnTo>
                  <a:pt x="348" y="530"/>
                </a:lnTo>
                <a:lnTo>
                  <a:pt x="348" y="530"/>
                </a:lnTo>
                <a:lnTo>
                  <a:pt x="348" y="528"/>
                </a:lnTo>
                <a:lnTo>
                  <a:pt x="350" y="528"/>
                </a:lnTo>
                <a:lnTo>
                  <a:pt x="354" y="530"/>
                </a:lnTo>
                <a:lnTo>
                  <a:pt x="358" y="532"/>
                </a:lnTo>
                <a:lnTo>
                  <a:pt x="363" y="534"/>
                </a:lnTo>
                <a:lnTo>
                  <a:pt x="363" y="534"/>
                </a:lnTo>
                <a:lnTo>
                  <a:pt x="367" y="530"/>
                </a:lnTo>
                <a:lnTo>
                  <a:pt x="369" y="528"/>
                </a:lnTo>
                <a:lnTo>
                  <a:pt x="371" y="524"/>
                </a:lnTo>
                <a:lnTo>
                  <a:pt x="374" y="521"/>
                </a:lnTo>
                <a:lnTo>
                  <a:pt x="374" y="521"/>
                </a:lnTo>
                <a:lnTo>
                  <a:pt x="384" y="515"/>
                </a:lnTo>
                <a:lnTo>
                  <a:pt x="389" y="511"/>
                </a:lnTo>
                <a:lnTo>
                  <a:pt x="389" y="510"/>
                </a:lnTo>
                <a:lnTo>
                  <a:pt x="389" y="510"/>
                </a:lnTo>
                <a:lnTo>
                  <a:pt x="389" y="510"/>
                </a:lnTo>
                <a:lnTo>
                  <a:pt x="386" y="510"/>
                </a:lnTo>
                <a:lnTo>
                  <a:pt x="382" y="510"/>
                </a:lnTo>
                <a:lnTo>
                  <a:pt x="373" y="515"/>
                </a:lnTo>
                <a:lnTo>
                  <a:pt x="363" y="521"/>
                </a:lnTo>
                <a:lnTo>
                  <a:pt x="360" y="523"/>
                </a:lnTo>
                <a:lnTo>
                  <a:pt x="358" y="523"/>
                </a:lnTo>
                <a:lnTo>
                  <a:pt x="358" y="523"/>
                </a:lnTo>
                <a:lnTo>
                  <a:pt x="358" y="521"/>
                </a:lnTo>
                <a:lnTo>
                  <a:pt x="358" y="519"/>
                </a:lnTo>
                <a:lnTo>
                  <a:pt x="361" y="513"/>
                </a:lnTo>
                <a:lnTo>
                  <a:pt x="367" y="508"/>
                </a:lnTo>
                <a:lnTo>
                  <a:pt x="367" y="506"/>
                </a:lnTo>
                <a:lnTo>
                  <a:pt x="367" y="502"/>
                </a:lnTo>
                <a:lnTo>
                  <a:pt x="367" y="502"/>
                </a:lnTo>
                <a:lnTo>
                  <a:pt x="361" y="499"/>
                </a:lnTo>
                <a:lnTo>
                  <a:pt x="350" y="493"/>
                </a:lnTo>
                <a:lnTo>
                  <a:pt x="339" y="491"/>
                </a:lnTo>
                <a:lnTo>
                  <a:pt x="332" y="491"/>
                </a:lnTo>
                <a:lnTo>
                  <a:pt x="328" y="493"/>
                </a:lnTo>
                <a:lnTo>
                  <a:pt x="328" y="493"/>
                </a:lnTo>
                <a:lnTo>
                  <a:pt x="319" y="495"/>
                </a:lnTo>
                <a:lnTo>
                  <a:pt x="313" y="497"/>
                </a:lnTo>
                <a:lnTo>
                  <a:pt x="313" y="497"/>
                </a:lnTo>
                <a:lnTo>
                  <a:pt x="308" y="495"/>
                </a:lnTo>
                <a:lnTo>
                  <a:pt x="304" y="489"/>
                </a:lnTo>
                <a:lnTo>
                  <a:pt x="298" y="487"/>
                </a:lnTo>
                <a:lnTo>
                  <a:pt x="297" y="487"/>
                </a:lnTo>
                <a:lnTo>
                  <a:pt x="295" y="491"/>
                </a:lnTo>
                <a:lnTo>
                  <a:pt x="295" y="491"/>
                </a:lnTo>
                <a:lnTo>
                  <a:pt x="297" y="493"/>
                </a:lnTo>
                <a:lnTo>
                  <a:pt x="298" y="495"/>
                </a:lnTo>
                <a:lnTo>
                  <a:pt x="300" y="497"/>
                </a:lnTo>
                <a:lnTo>
                  <a:pt x="300" y="499"/>
                </a:lnTo>
                <a:lnTo>
                  <a:pt x="300" y="499"/>
                </a:lnTo>
                <a:lnTo>
                  <a:pt x="297" y="499"/>
                </a:lnTo>
                <a:lnTo>
                  <a:pt x="287" y="497"/>
                </a:lnTo>
                <a:lnTo>
                  <a:pt x="260" y="491"/>
                </a:lnTo>
                <a:lnTo>
                  <a:pt x="228" y="486"/>
                </a:lnTo>
                <a:lnTo>
                  <a:pt x="215" y="484"/>
                </a:lnTo>
                <a:lnTo>
                  <a:pt x="206" y="484"/>
                </a:lnTo>
                <a:lnTo>
                  <a:pt x="206" y="484"/>
                </a:lnTo>
                <a:lnTo>
                  <a:pt x="189" y="486"/>
                </a:lnTo>
                <a:lnTo>
                  <a:pt x="178" y="489"/>
                </a:lnTo>
                <a:lnTo>
                  <a:pt x="169" y="493"/>
                </a:lnTo>
                <a:lnTo>
                  <a:pt x="159" y="499"/>
                </a:lnTo>
                <a:lnTo>
                  <a:pt x="152" y="502"/>
                </a:lnTo>
                <a:lnTo>
                  <a:pt x="143" y="508"/>
                </a:lnTo>
                <a:lnTo>
                  <a:pt x="132" y="510"/>
                </a:lnTo>
                <a:lnTo>
                  <a:pt x="119" y="511"/>
                </a:lnTo>
                <a:lnTo>
                  <a:pt x="119" y="511"/>
                </a:lnTo>
                <a:lnTo>
                  <a:pt x="113" y="510"/>
                </a:lnTo>
                <a:lnTo>
                  <a:pt x="108" y="506"/>
                </a:lnTo>
                <a:lnTo>
                  <a:pt x="93" y="493"/>
                </a:lnTo>
                <a:lnTo>
                  <a:pt x="87" y="486"/>
                </a:lnTo>
                <a:lnTo>
                  <a:pt x="82" y="478"/>
                </a:lnTo>
                <a:lnTo>
                  <a:pt x="80" y="471"/>
                </a:lnTo>
                <a:lnTo>
                  <a:pt x="80" y="465"/>
                </a:lnTo>
                <a:lnTo>
                  <a:pt x="80" y="465"/>
                </a:lnTo>
                <a:lnTo>
                  <a:pt x="87" y="460"/>
                </a:lnTo>
                <a:lnTo>
                  <a:pt x="95" y="456"/>
                </a:lnTo>
                <a:lnTo>
                  <a:pt x="104" y="456"/>
                </a:lnTo>
                <a:lnTo>
                  <a:pt x="113" y="458"/>
                </a:lnTo>
                <a:lnTo>
                  <a:pt x="132" y="463"/>
                </a:lnTo>
                <a:lnTo>
                  <a:pt x="141" y="465"/>
                </a:lnTo>
                <a:lnTo>
                  <a:pt x="148" y="465"/>
                </a:lnTo>
                <a:lnTo>
                  <a:pt x="148" y="465"/>
                </a:lnTo>
                <a:lnTo>
                  <a:pt x="156" y="461"/>
                </a:lnTo>
                <a:lnTo>
                  <a:pt x="165" y="458"/>
                </a:lnTo>
                <a:lnTo>
                  <a:pt x="182" y="450"/>
                </a:lnTo>
                <a:lnTo>
                  <a:pt x="189" y="447"/>
                </a:lnTo>
                <a:lnTo>
                  <a:pt x="196" y="445"/>
                </a:lnTo>
                <a:lnTo>
                  <a:pt x="202" y="447"/>
                </a:lnTo>
                <a:lnTo>
                  <a:pt x="206" y="450"/>
                </a:lnTo>
                <a:lnTo>
                  <a:pt x="206" y="450"/>
                </a:lnTo>
                <a:lnTo>
                  <a:pt x="209" y="456"/>
                </a:lnTo>
                <a:lnTo>
                  <a:pt x="213" y="458"/>
                </a:lnTo>
                <a:lnTo>
                  <a:pt x="215" y="458"/>
                </a:lnTo>
                <a:lnTo>
                  <a:pt x="217" y="454"/>
                </a:lnTo>
                <a:lnTo>
                  <a:pt x="217" y="454"/>
                </a:lnTo>
                <a:lnTo>
                  <a:pt x="217" y="439"/>
                </a:lnTo>
                <a:lnTo>
                  <a:pt x="217" y="435"/>
                </a:lnTo>
                <a:lnTo>
                  <a:pt x="219" y="432"/>
                </a:lnTo>
                <a:lnTo>
                  <a:pt x="221" y="430"/>
                </a:lnTo>
                <a:lnTo>
                  <a:pt x="226" y="430"/>
                </a:lnTo>
                <a:lnTo>
                  <a:pt x="226" y="430"/>
                </a:lnTo>
                <a:lnTo>
                  <a:pt x="235" y="432"/>
                </a:lnTo>
                <a:lnTo>
                  <a:pt x="241" y="434"/>
                </a:lnTo>
                <a:lnTo>
                  <a:pt x="241" y="434"/>
                </a:lnTo>
                <a:lnTo>
                  <a:pt x="237" y="439"/>
                </a:lnTo>
                <a:lnTo>
                  <a:pt x="232" y="447"/>
                </a:lnTo>
                <a:lnTo>
                  <a:pt x="230" y="450"/>
                </a:lnTo>
                <a:lnTo>
                  <a:pt x="230" y="454"/>
                </a:lnTo>
                <a:lnTo>
                  <a:pt x="232" y="456"/>
                </a:lnTo>
                <a:lnTo>
                  <a:pt x="237" y="458"/>
                </a:lnTo>
                <a:lnTo>
                  <a:pt x="237" y="458"/>
                </a:lnTo>
                <a:lnTo>
                  <a:pt x="241" y="458"/>
                </a:lnTo>
                <a:lnTo>
                  <a:pt x="243" y="456"/>
                </a:lnTo>
                <a:lnTo>
                  <a:pt x="245" y="448"/>
                </a:lnTo>
                <a:lnTo>
                  <a:pt x="248" y="441"/>
                </a:lnTo>
                <a:lnTo>
                  <a:pt x="250" y="434"/>
                </a:lnTo>
                <a:lnTo>
                  <a:pt x="250" y="434"/>
                </a:lnTo>
                <a:lnTo>
                  <a:pt x="254" y="432"/>
                </a:lnTo>
                <a:lnTo>
                  <a:pt x="256" y="432"/>
                </a:lnTo>
                <a:lnTo>
                  <a:pt x="263" y="432"/>
                </a:lnTo>
                <a:lnTo>
                  <a:pt x="272" y="434"/>
                </a:lnTo>
                <a:lnTo>
                  <a:pt x="280" y="432"/>
                </a:lnTo>
                <a:lnTo>
                  <a:pt x="280" y="432"/>
                </a:lnTo>
                <a:lnTo>
                  <a:pt x="282" y="432"/>
                </a:lnTo>
                <a:lnTo>
                  <a:pt x="282" y="428"/>
                </a:lnTo>
                <a:lnTo>
                  <a:pt x="284" y="421"/>
                </a:lnTo>
                <a:lnTo>
                  <a:pt x="285" y="417"/>
                </a:lnTo>
                <a:lnTo>
                  <a:pt x="289" y="415"/>
                </a:lnTo>
                <a:lnTo>
                  <a:pt x="293" y="413"/>
                </a:lnTo>
                <a:lnTo>
                  <a:pt x="300" y="413"/>
                </a:lnTo>
                <a:lnTo>
                  <a:pt x="300" y="413"/>
                </a:lnTo>
                <a:lnTo>
                  <a:pt x="302" y="419"/>
                </a:lnTo>
                <a:lnTo>
                  <a:pt x="304" y="428"/>
                </a:lnTo>
                <a:lnTo>
                  <a:pt x="306" y="434"/>
                </a:lnTo>
                <a:lnTo>
                  <a:pt x="310" y="437"/>
                </a:lnTo>
                <a:lnTo>
                  <a:pt x="315" y="441"/>
                </a:lnTo>
                <a:lnTo>
                  <a:pt x="324" y="441"/>
                </a:lnTo>
                <a:lnTo>
                  <a:pt x="324" y="441"/>
                </a:lnTo>
                <a:lnTo>
                  <a:pt x="326" y="441"/>
                </a:lnTo>
                <a:lnTo>
                  <a:pt x="326" y="439"/>
                </a:lnTo>
                <a:lnTo>
                  <a:pt x="326" y="434"/>
                </a:lnTo>
                <a:lnTo>
                  <a:pt x="324" y="426"/>
                </a:lnTo>
                <a:lnTo>
                  <a:pt x="326" y="424"/>
                </a:lnTo>
                <a:lnTo>
                  <a:pt x="328" y="423"/>
                </a:lnTo>
                <a:lnTo>
                  <a:pt x="328" y="423"/>
                </a:lnTo>
                <a:lnTo>
                  <a:pt x="339" y="421"/>
                </a:lnTo>
                <a:lnTo>
                  <a:pt x="356" y="421"/>
                </a:lnTo>
                <a:lnTo>
                  <a:pt x="397" y="424"/>
                </a:lnTo>
                <a:lnTo>
                  <a:pt x="436" y="426"/>
                </a:lnTo>
                <a:lnTo>
                  <a:pt x="449" y="426"/>
                </a:lnTo>
                <a:lnTo>
                  <a:pt x="452" y="426"/>
                </a:lnTo>
                <a:lnTo>
                  <a:pt x="454" y="424"/>
                </a:lnTo>
                <a:lnTo>
                  <a:pt x="454" y="424"/>
                </a:lnTo>
                <a:lnTo>
                  <a:pt x="454" y="417"/>
                </a:lnTo>
                <a:lnTo>
                  <a:pt x="456" y="406"/>
                </a:lnTo>
                <a:lnTo>
                  <a:pt x="456" y="406"/>
                </a:lnTo>
                <a:lnTo>
                  <a:pt x="460" y="391"/>
                </a:lnTo>
                <a:lnTo>
                  <a:pt x="460" y="384"/>
                </a:lnTo>
                <a:lnTo>
                  <a:pt x="458" y="382"/>
                </a:lnTo>
                <a:lnTo>
                  <a:pt x="456" y="382"/>
                </a:lnTo>
                <a:lnTo>
                  <a:pt x="450" y="384"/>
                </a:lnTo>
                <a:lnTo>
                  <a:pt x="432" y="395"/>
                </a:lnTo>
                <a:lnTo>
                  <a:pt x="421" y="400"/>
                </a:lnTo>
                <a:lnTo>
                  <a:pt x="410" y="406"/>
                </a:lnTo>
                <a:lnTo>
                  <a:pt x="410" y="406"/>
                </a:lnTo>
                <a:lnTo>
                  <a:pt x="402" y="406"/>
                </a:lnTo>
                <a:lnTo>
                  <a:pt x="393" y="406"/>
                </a:lnTo>
                <a:lnTo>
                  <a:pt x="373" y="400"/>
                </a:lnTo>
                <a:lnTo>
                  <a:pt x="354" y="395"/>
                </a:lnTo>
                <a:lnTo>
                  <a:pt x="339" y="391"/>
                </a:lnTo>
                <a:lnTo>
                  <a:pt x="339" y="391"/>
                </a:lnTo>
                <a:lnTo>
                  <a:pt x="332" y="391"/>
                </a:lnTo>
                <a:lnTo>
                  <a:pt x="328" y="389"/>
                </a:lnTo>
                <a:lnTo>
                  <a:pt x="328" y="387"/>
                </a:lnTo>
                <a:lnTo>
                  <a:pt x="328" y="387"/>
                </a:lnTo>
                <a:lnTo>
                  <a:pt x="328" y="387"/>
                </a:lnTo>
                <a:lnTo>
                  <a:pt x="330" y="382"/>
                </a:lnTo>
                <a:lnTo>
                  <a:pt x="330" y="382"/>
                </a:lnTo>
                <a:lnTo>
                  <a:pt x="339" y="371"/>
                </a:lnTo>
                <a:lnTo>
                  <a:pt x="354" y="361"/>
                </a:lnTo>
                <a:lnTo>
                  <a:pt x="369" y="350"/>
                </a:lnTo>
                <a:lnTo>
                  <a:pt x="386" y="341"/>
                </a:lnTo>
                <a:lnTo>
                  <a:pt x="421" y="326"/>
                </a:lnTo>
                <a:lnTo>
                  <a:pt x="436" y="321"/>
                </a:lnTo>
                <a:lnTo>
                  <a:pt x="449" y="319"/>
                </a:lnTo>
                <a:lnTo>
                  <a:pt x="449" y="319"/>
                </a:lnTo>
                <a:lnTo>
                  <a:pt x="460" y="315"/>
                </a:lnTo>
                <a:lnTo>
                  <a:pt x="467" y="311"/>
                </a:lnTo>
                <a:lnTo>
                  <a:pt x="471" y="308"/>
                </a:lnTo>
                <a:lnTo>
                  <a:pt x="471" y="308"/>
                </a:lnTo>
                <a:lnTo>
                  <a:pt x="469" y="308"/>
                </a:lnTo>
                <a:lnTo>
                  <a:pt x="465" y="309"/>
                </a:lnTo>
                <a:lnTo>
                  <a:pt x="460" y="311"/>
                </a:lnTo>
                <a:lnTo>
                  <a:pt x="460" y="311"/>
                </a:lnTo>
                <a:lnTo>
                  <a:pt x="452" y="311"/>
                </a:lnTo>
                <a:lnTo>
                  <a:pt x="443" y="313"/>
                </a:lnTo>
                <a:lnTo>
                  <a:pt x="425" y="311"/>
                </a:lnTo>
                <a:lnTo>
                  <a:pt x="425" y="311"/>
                </a:lnTo>
                <a:lnTo>
                  <a:pt x="425" y="311"/>
                </a:lnTo>
                <a:lnTo>
                  <a:pt x="425" y="311"/>
                </a:lnTo>
                <a:lnTo>
                  <a:pt x="426" y="308"/>
                </a:lnTo>
                <a:lnTo>
                  <a:pt x="428" y="304"/>
                </a:lnTo>
                <a:lnTo>
                  <a:pt x="428" y="302"/>
                </a:lnTo>
                <a:lnTo>
                  <a:pt x="428" y="302"/>
                </a:lnTo>
                <a:lnTo>
                  <a:pt x="425" y="302"/>
                </a:lnTo>
                <a:lnTo>
                  <a:pt x="419" y="302"/>
                </a:lnTo>
                <a:lnTo>
                  <a:pt x="413" y="302"/>
                </a:lnTo>
                <a:lnTo>
                  <a:pt x="410" y="302"/>
                </a:lnTo>
                <a:lnTo>
                  <a:pt x="410" y="300"/>
                </a:lnTo>
                <a:lnTo>
                  <a:pt x="410" y="300"/>
                </a:lnTo>
                <a:lnTo>
                  <a:pt x="406" y="293"/>
                </a:lnTo>
                <a:lnTo>
                  <a:pt x="404" y="289"/>
                </a:lnTo>
                <a:lnTo>
                  <a:pt x="402" y="287"/>
                </a:lnTo>
                <a:lnTo>
                  <a:pt x="402" y="287"/>
                </a:lnTo>
                <a:lnTo>
                  <a:pt x="400" y="289"/>
                </a:lnTo>
                <a:lnTo>
                  <a:pt x="399" y="295"/>
                </a:lnTo>
                <a:lnTo>
                  <a:pt x="393" y="300"/>
                </a:lnTo>
                <a:lnTo>
                  <a:pt x="387" y="308"/>
                </a:lnTo>
                <a:lnTo>
                  <a:pt x="382" y="313"/>
                </a:lnTo>
                <a:lnTo>
                  <a:pt x="378" y="313"/>
                </a:lnTo>
                <a:lnTo>
                  <a:pt x="374" y="315"/>
                </a:lnTo>
                <a:lnTo>
                  <a:pt x="371" y="313"/>
                </a:lnTo>
                <a:lnTo>
                  <a:pt x="367" y="311"/>
                </a:lnTo>
                <a:lnTo>
                  <a:pt x="361" y="306"/>
                </a:lnTo>
                <a:lnTo>
                  <a:pt x="358" y="300"/>
                </a:lnTo>
                <a:lnTo>
                  <a:pt x="358" y="300"/>
                </a:lnTo>
                <a:lnTo>
                  <a:pt x="358" y="300"/>
                </a:lnTo>
                <a:lnTo>
                  <a:pt x="358" y="298"/>
                </a:lnTo>
                <a:lnTo>
                  <a:pt x="365" y="295"/>
                </a:lnTo>
                <a:lnTo>
                  <a:pt x="384" y="285"/>
                </a:lnTo>
                <a:lnTo>
                  <a:pt x="400" y="276"/>
                </a:lnTo>
                <a:lnTo>
                  <a:pt x="404" y="270"/>
                </a:lnTo>
                <a:lnTo>
                  <a:pt x="404" y="269"/>
                </a:lnTo>
                <a:lnTo>
                  <a:pt x="402" y="267"/>
                </a:lnTo>
                <a:lnTo>
                  <a:pt x="402" y="267"/>
                </a:lnTo>
                <a:lnTo>
                  <a:pt x="399" y="267"/>
                </a:lnTo>
                <a:lnTo>
                  <a:pt x="395" y="269"/>
                </a:lnTo>
                <a:lnTo>
                  <a:pt x="389" y="276"/>
                </a:lnTo>
                <a:lnTo>
                  <a:pt x="389" y="276"/>
                </a:lnTo>
                <a:lnTo>
                  <a:pt x="384" y="282"/>
                </a:lnTo>
                <a:lnTo>
                  <a:pt x="378" y="283"/>
                </a:lnTo>
                <a:lnTo>
                  <a:pt x="378" y="283"/>
                </a:lnTo>
                <a:lnTo>
                  <a:pt x="373" y="285"/>
                </a:lnTo>
                <a:lnTo>
                  <a:pt x="369" y="285"/>
                </a:lnTo>
                <a:lnTo>
                  <a:pt x="369" y="283"/>
                </a:lnTo>
                <a:lnTo>
                  <a:pt x="367" y="282"/>
                </a:lnTo>
                <a:lnTo>
                  <a:pt x="367" y="280"/>
                </a:lnTo>
                <a:lnTo>
                  <a:pt x="363" y="278"/>
                </a:lnTo>
                <a:lnTo>
                  <a:pt x="360" y="278"/>
                </a:lnTo>
                <a:lnTo>
                  <a:pt x="352" y="282"/>
                </a:lnTo>
                <a:lnTo>
                  <a:pt x="352" y="282"/>
                </a:lnTo>
                <a:lnTo>
                  <a:pt x="350" y="289"/>
                </a:lnTo>
                <a:lnTo>
                  <a:pt x="347" y="293"/>
                </a:lnTo>
                <a:lnTo>
                  <a:pt x="343" y="295"/>
                </a:lnTo>
                <a:lnTo>
                  <a:pt x="339" y="293"/>
                </a:lnTo>
                <a:lnTo>
                  <a:pt x="339" y="293"/>
                </a:lnTo>
                <a:lnTo>
                  <a:pt x="337" y="287"/>
                </a:lnTo>
                <a:lnTo>
                  <a:pt x="337" y="274"/>
                </a:lnTo>
                <a:lnTo>
                  <a:pt x="334" y="261"/>
                </a:lnTo>
                <a:lnTo>
                  <a:pt x="332" y="258"/>
                </a:lnTo>
                <a:lnTo>
                  <a:pt x="328" y="258"/>
                </a:lnTo>
                <a:lnTo>
                  <a:pt x="328" y="258"/>
                </a:lnTo>
                <a:lnTo>
                  <a:pt x="328" y="261"/>
                </a:lnTo>
                <a:lnTo>
                  <a:pt x="328" y="269"/>
                </a:lnTo>
                <a:lnTo>
                  <a:pt x="328" y="269"/>
                </a:lnTo>
                <a:lnTo>
                  <a:pt x="330" y="272"/>
                </a:lnTo>
                <a:lnTo>
                  <a:pt x="328" y="276"/>
                </a:lnTo>
                <a:lnTo>
                  <a:pt x="324" y="282"/>
                </a:lnTo>
                <a:lnTo>
                  <a:pt x="321" y="283"/>
                </a:lnTo>
                <a:lnTo>
                  <a:pt x="315" y="285"/>
                </a:lnTo>
                <a:lnTo>
                  <a:pt x="315" y="285"/>
                </a:lnTo>
                <a:lnTo>
                  <a:pt x="310" y="285"/>
                </a:lnTo>
                <a:lnTo>
                  <a:pt x="308" y="280"/>
                </a:lnTo>
                <a:lnTo>
                  <a:pt x="306" y="274"/>
                </a:lnTo>
                <a:lnTo>
                  <a:pt x="306" y="267"/>
                </a:lnTo>
                <a:lnTo>
                  <a:pt x="306" y="261"/>
                </a:lnTo>
                <a:lnTo>
                  <a:pt x="304" y="258"/>
                </a:lnTo>
                <a:lnTo>
                  <a:pt x="304" y="256"/>
                </a:lnTo>
                <a:lnTo>
                  <a:pt x="300" y="256"/>
                </a:lnTo>
                <a:lnTo>
                  <a:pt x="295" y="259"/>
                </a:lnTo>
                <a:lnTo>
                  <a:pt x="295" y="259"/>
                </a:lnTo>
                <a:lnTo>
                  <a:pt x="295" y="261"/>
                </a:lnTo>
                <a:lnTo>
                  <a:pt x="295" y="265"/>
                </a:lnTo>
                <a:lnTo>
                  <a:pt x="298" y="276"/>
                </a:lnTo>
                <a:lnTo>
                  <a:pt x="302" y="289"/>
                </a:lnTo>
                <a:lnTo>
                  <a:pt x="302" y="293"/>
                </a:lnTo>
                <a:lnTo>
                  <a:pt x="300" y="295"/>
                </a:lnTo>
                <a:lnTo>
                  <a:pt x="300" y="295"/>
                </a:lnTo>
                <a:lnTo>
                  <a:pt x="295" y="293"/>
                </a:lnTo>
                <a:lnTo>
                  <a:pt x="287" y="289"/>
                </a:lnTo>
                <a:lnTo>
                  <a:pt x="274" y="283"/>
                </a:lnTo>
                <a:lnTo>
                  <a:pt x="274" y="283"/>
                </a:lnTo>
                <a:lnTo>
                  <a:pt x="276" y="280"/>
                </a:lnTo>
                <a:lnTo>
                  <a:pt x="282" y="276"/>
                </a:lnTo>
                <a:lnTo>
                  <a:pt x="287" y="270"/>
                </a:lnTo>
                <a:lnTo>
                  <a:pt x="289" y="269"/>
                </a:lnTo>
                <a:lnTo>
                  <a:pt x="289" y="267"/>
                </a:lnTo>
                <a:lnTo>
                  <a:pt x="289" y="267"/>
                </a:lnTo>
                <a:lnTo>
                  <a:pt x="285" y="263"/>
                </a:lnTo>
                <a:lnTo>
                  <a:pt x="280" y="263"/>
                </a:lnTo>
                <a:lnTo>
                  <a:pt x="274" y="267"/>
                </a:lnTo>
                <a:lnTo>
                  <a:pt x="271" y="269"/>
                </a:lnTo>
                <a:lnTo>
                  <a:pt x="261" y="278"/>
                </a:lnTo>
                <a:lnTo>
                  <a:pt x="252" y="283"/>
                </a:lnTo>
                <a:lnTo>
                  <a:pt x="252" y="283"/>
                </a:lnTo>
                <a:lnTo>
                  <a:pt x="248" y="283"/>
                </a:lnTo>
                <a:lnTo>
                  <a:pt x="247" y="282"/>
                </a:lnTo>
                <a:lnTo>
                  <a:pt x="239" y="276"/>
                </a:lnTo>
                <a:lnTo>
                  <a:pt x="232" y="272"/>
                </a:lnTo>
                <a:lnTo>
                  <a:pt x="230" y="270"/>
                </a:lnTo>
                <a:lnTo>
                  <a:pt x="226" y="272"/>
                </a:lnTo>
                <a:lnTo>
                  <a:pt x="226" y="272"/>
                </a:lnTo>
                <a:lnTo>
                  <a:pt x="224" y="274"/>
                </a:lnTo>
                <a:lnTo>
                  <a:pt x="222" y="278"/>
                </a:lnTo>
                <a:lnTo>
                  <a:pt x="222" y="282"/>
                </a:lnTo>
                <a:lnTo>
                  <a:pt x="224" y="287"/>
                </a:lnTo>
                <a:lnTo>
                  <a:pt x="224" y="291"/>
                </a:lnTo>
                <a:lnTo>
                  <a:pt x="224" y="291"/>
                </a:lnTo>
                <a:lnTo>
                  <a:pt x="221" y="296"/>
                </a:lnTo>
                <a:lnTo>
                  <a:pt x="217" y="298"/>
                </a:lnTo>
                <a:lnTo>
                  <a:pt x="209" y="298"/>
                </a:lnTo>
                <a:lnTo>
                  <a:pt x="204" y="296"/>
                </a:lnTo>
                <a:lnTo>
                  <a:pt x="193" y="291"/>
                </a:lnTo>
                <a:lnTo>
                  <a:pt x="189" y="289"/>
                </a:lnTo>
                <a:lnTo>
                  <a:pt x="189" y="289"/>
                </a:lnTo>
                <a:lnTo>
                  <a:pt x="174" y="298"/>
                </a:lnTo>
                <a:lnTo>
                  <a:pt x="152" y="309"/>
                </a:lnTo>
                <a:lnTo>
                  <a:pt x="128" y="319"/>
                </a:lnTo>
                <a:lnTo>
                  <a:pt x="117" y="321"/>
                </a:lnTo>
                <a:lnTo>
                  <a:pt x="108" y="321"/>
                </a:lnTo>
                <a:lnTo>
                  <a:pt x="108" y="321"/>
                </a:lnTo>
                <a:lnTo>
                  <a:pt x="102" y="321"/>
                </a:lnTo>
                <a:lnTo>
                  <a:pt x="96" y="319"/>
                </a:lnTo>
                <a:lnTo>
                  <a:pt x="91" y="313"/>
                </a:lnTo>
                <a:lnTo>
                  <a:pt x="89" y="308"/>
                </a:lnTo>
                <a:lnTo>
                  <a:pt x="87" y="304"/>
                </a:lnTo>
                <a:lnTo>
                  <a:pt x="87" y="304"/>
                </a:lnTo>
                <a:lnTo>
                  <a:pt x="70" y="298"/>
                </a:lnTo>
                <a:lnTo>
                  <a:pt x="70" y="298"/>
                </a:lnTo>
                <a:lnTo>
                  <a:pt x="56" y="298"/>
                </a:lnTo>
                <a:lnTo>
                  <a:pt x="33" y="298"/>
                </a:lnTo>
                <a:lnTo>
                  <a:pt x="11" y="296"/>
                </a:lnTo>
                <a:lnTo>
                  <a:pt x="4" y="296"/>
                </a:lnTo>
                <a:lnTo>
                  <a:pt x="0" y="295"/>
                </a:lnTo>
                <a:lnTo>
                  <a:pt x="0" y="295"/>
                </a:lnTo>
                <a:lnTo>
                  <a:pt x="2" y="293"/>
                </a:lnTo>
                <a:lnTo>
                  <a:pt x="4" y="291"/>
                </a:lnTo>
                <a:lnTo>
                  <a:pt x="13" y="285"/>
                </a:lnTo>
                <a:lnTo>
                  <a:pt x="28" y="278"/>
                </a:lnTo>
                <a:lnTo>
                  <a:pt x="28" y="278"/>
                </a:lnTo>
                <a:lnTo>
                  <a:pt x="30" y="276"/>
                </a:lnTo>
                <a:lnTo>
                  <a:pt x="30" y="274"/>
                </a:lnTo>
                <a:lnTo>
                  <a:pt x="30" y="267"/>
                </a:lnTo>
                <a:lnTo>
                  <a:pt x="32" y="261"/>
                </a:lnTo>
                <a:lnTo>
                  <a:pt x="33" y="258"/>
                </a:lnTo>
                <a:lnTo>
                  <a:pt x="37" y="256"/>
                </a:lnTo>
                <a:lnTo>
                  <a:pt x="37" y="256"/>
                </a:lnTo>
                <a:lnTo>
                  <a:pt x="41" y="254"/>
                </a:lnTo>
                <a:lnTo>
                  <a:pt x="44" y="254"/>
                </a:lnTo>
                <a:lnTo>
                  <a:pt x="56" y="258"/>
                </a:lnTo>
                <a:lnTo>
                  <a:pt x="67" y="265"/>
                </a:lnTo>
                <a:lnTo>
                  <a:pt x="80" y="274"/>
                </a:lnTo>
                <a:lnTo>
                  <a:pt x="93" y="282"/>
                </a:lnTo>
                <a:lnTo>
                  <a:pt x="106" y="287"/>
                </a:lnTo>
                <a:lnTo>
                  <a:pt x="111" y="289"/>
                </a:lnTo>
                <a:lnTo>
                  <a:pt x="115" y="289"/>
                </a:lnTo>
                <a:lnTo>
                  <a:pt x="119" y="289"/>
                </a:lnTo>
                <a:lnTo>
                  <a:pt x="122" y="285"/>
                </a:lnTo>
                <a:lnTo>
                  <a:pt x="122" y="285"/>
                </a:lnTo>
                <a:lnTo>
                  <a:pt x="120" y="285"/>
                </a:lnTo>
                <a:lnTo>
                  <a:pt x="119" y="285"/>
                </a:lnTo>
                <a:lnTo>
                  <a:pt x="119" y="285"/>
                </a:lnTo>
                <a:lnTo>
                  <a:pt x="109" y="280"/>
                </a:lnTo>
                <a:lnTo>
                  <a:pt x="95" y="272"/>
                </a:lnTo>
                <a:lnTo>
                  <a:pt x="80" y="261"/>
                </a:lnTo>
                <a:lnTo>
                  <a:pt x="76" y="256"/>
                </a:lnTo>
                <a:lnTo>
                  <a:pt x="76" y="252"/>
                </a:lnTo>
                <a:lnTo>
                  <a:pt x="76" y="252"/>
                </a:lnTo>
                <a:lnTo>
                  <a:pt x="80" y="250"/>
                </a:lnTo>
                <a:lnTo>
                  <a:pt x="85" y="250"/>
                </a:lnTo>
                <a:lnTo>
                  <a:pt x="100" y="256"/>
                </a:lnTo>
                <a:lnTo>
                  <a:pt x="113" y="263"/>
                </a:lnTo>
                <a:lnTo>
                  <a:pt x="119" y="263"/>
                </a:lnTo>
                <a:lnTo>
                  <a:pt x="122" y="263"/>
                </a:lnTo>
                <a:lnTo>
                  <a:pt x="122" y="263"/>
                </a:lnTo>
                <a:lnTo>
                  <a:pt x="117" y="258"/>
                </a:lnTo>
                <a:lnTo>
                  <a:pt x="108" y="252"/>
                </a:lnTo>
                <a:lnTo>
                  <a:pt x="108" y="252"/>
                </a:lnTo>
                <a:lnTo>
                  <a:pt x="95" y="246"/>
                </a:lnTo>
                <a:lnTo>
                  <a:pt x="78" y="235"/>
                </a:lnTo>
                <a:lnTo>
                  <a:pt x="70" y="228"/>
                </a:lnTo>
                <a:lnTo>
                  <a:pt x="67" y="220"/>
                </a:lnTo>
                <a:lnTo>
                  <a:pt x="67" y="219"/>
                </a:lnTo>
                <a:lnTo>
                  <a:pt x="67" y="215"/>
                </a:lnTo>
                <a:lnTo>
                  <a:pt x="69" y="211"/>
                </a:lnTo>
                <a:lnTo>
                  <a:pt x="72" y="207"/>
                </a:lnTo>
                <a:lnTo>
                  <a:pt x="72" y="207"/>
                </a:lnTo>
                <a:lnTo>
                  <a:pt x="76" y="207"/>
                </a:lnTo>
                <a:lnTo>
                  <a:pt x="80" y="207"/>
                </a:lnTo>
                <a:lnTo>
                  <a:pt x="91" y="209"/>
                </a:lnTo>
                <a:lnTo>
                  <a:pt x="106" y="217"/>
                </a:lnTo>
                <a:lnTo>
                  <a:pt x="122" y="224"/>
                </a:lnTo>
                <a:lnTo>
                  <a:pt x="139" y="232"/>
                </a:lnTo>
                <a:lnTo>
                  <a:pt x="152" y="241"/>
                </a:lnTo>
                <a:lnTo>
                  <a:pt x="161" y="248"/>
                </a:lnTo>
                <a:lnTo>
                  <a:pt x="163" y="252"/>
                </a:lnTo>
                <a:lnTo>
                  <a:pt x="163" y="254"/>
                </a:lnTo>
                <a:lnTo>
                  <a:pt x="163" y="254"/>
                </a:lnTo>
                <a:lnTo>
                  <a:pt x="165" y="259"/>
                </a:lnTo>
                <a:lnTo>
                  <a:pt x="167" y="261"/>
                </a:lnTo>
                <a:lnTo>
                  <a:pt x="171" y="261"/>
                </a:lnTo>
                <a:lnTo>
                  <a:pt x="178" y="259"/>
                </a:lnTo>
                <a:lnTo>
                  <a:pt x="189" y="252"/>
                </a:lnTo>
                <a:lnTo>
                  <a:pt x="202" y="248"/>
                </a:lnTo>
                <a:lnTo>
                  <a:pt x="202" y="248"/>
                </a:lnTo>
                <a:lnTo>
                  <a:pt x="206" y="246"/>
                </a:lnTo>
                <a:lnTo>
                  <a:pt x="208" y="246"/>
                </a:lnTo>
                <a:lnTo>
                  <a:pt x="209" y="245"/>
                </a:lnTo>
                <a:lnTo>
                  <a:pt x="209" y="245"/>
                </a:lnTo>
                <a:lnTo>
                  <a:pt x="206" y="243"/>
                </a:lnTo>
                <a:lnTo>
                  <a:pt x="200" y="243"/>
                </a:lnTo>
                <a:lnTo>
                  <a:pt x="185" y="245"/>
                </a:lnTo>
                <a:lnTo>
                  <a:pt x="178" y="245"/>
                </a:lnTo>
                <a:lnTo>
                  <a:pt x="172" y="243"/>
                </a:lnTo>
                <a:lnTo>
                  <a:pt x="169" y="239"/>
                </a:lnTo>
                <a:lnTo>
                  <a:pt x="167" y="233"/>
                </a:lnTo>
                <a:lnTo>
                  <a:pt x="167" y="233"/>
                </a:lnTo>
                <a:lnTo>
                  <a:pt x="167" y="232"/>
                </a:lnTo>
                <a:lnTo>
                  <a:pt x="169" y="230"/>
                </a:lnTo>
                <a:lnTo>
                  <a:pt x="176" y="228"/>
                </a:lnTo>
                <a:lnTo>
                  <a:pt x="198" y="228"/>
                </a:lnTo>
                <a:lnTo>
                  <a:pt x="208" y="226"/>
                </a:lnTo>
                <a:lnTo>
                  <a:pt x="217" y="224"/>
                </a:lnTo>
                <a:lnTo>
                  <a:pt x="222" y="222"/>
                </a:lnTo>
                <a:lnTo>
                  <a:pt x="224" y="219"/>
                </a:lnTo>
                <a:lnTo>
                  <a:pt x="224" y="217"/>
                </a:lnTo>
                <a:lnTo>
                  <a:pt x="224" y="217"/>
                </a:lnTo>
                <a:lnTo>
                  <a:pt x="222" y="215"/>
                </a:lnTo>
                <a:lnTo>
                  <a:pt x="219" y="217"/>
                </a:lnTo>
                <a:lnTo>
                  <a:pt x="213" y="219"/>
                </a:lnTo>
                <a:lnTo>
                  <a:pt x="213" y="219"/>
                </a:lnTo>
                <a:lnTo>
                  <a:pt x="202" y="222"/>
                </a:lnTo>
                <a:lnTo>
                  <a:pt x="189" y="222"/>
                </a:lnTo>
                <a:lnTo>
                  <a:pt x="165" y="222"/>
                </a:lnTo>
                <a:lnTo>
                  <a:pt x="165" y="222"/>
                </a:lnTo>
                <a:lnTo>
                  <a:pt x="146" y="219"/>
                </a:lnTo>
                <a:lnTo>
                  <a:pt x="135" y="213"/>
                </a:lnTo>
                <a:lnTo>
                  <a:pt x="124" y="207"/>
                </a:lnTo>
                <a:lnTo>
                  <a:pt x="117" y="200"/>
                </a:lnTo>
                <a:lnTo>
                  <a:pt x="111" y="193"/>
                </a:lnTo>
                <a:lnTo>
                  <a:pt x="109" y="189"/>
                </a:lnTo>
                <a:lnTo>
                  <a:pt x="111" y="185"/>
                </a:lnTo>
                <a:lnTo>
                  <a:pt x="113" y="181"/>
                </a:lnTo>
                <a:lnTo>
                  <a:pt x="117" y="176"/>
                </a:lnTo>
                <a:lnTo>
                  <a:pt x="117" y="176"/>
                </a:lnTo>
                <a:lnTo>
                  <a:pt x="124" y="176"/>
                </a:lnTo>
                <a:lnTo>
                  <a:pt x="135" y="178"/>
                </a:lnTo>
                <a:lnTo>
                  <a:pt x="169" y="187"/>
                </a:lnTo>
                <a:lnTo>
                  <a:pt x="202" y="196"/>
                </a:lnTo>
                <a:lnTo>
                  <a:pt x="215" y="198"/>
                </a:lnTo>
                <a:lnTo>
                  <a:pt x="221" y="198"/>
                </a:lnTo>
                <a:lnTo>
                  <a:pt x="221" y="198"/>
                </a:lnTo>
                <a:lnTo>
                  <a:pt x="221" y="196"/>
                </a:lnTo>
                <a:lnTo>
                  <a:pt x="221" y="194"/>
                </a:lnTo>
                <a:lnTo>
                  <a:pt x="211" y="193"/>
                </a:lnTo>
                <a:lnTo>
                  <a:pt x="189" y="189"/>
                </a:lnTo>
                <a:lnTo>
                  <a:pt x="189" y="189"/>
                </a:lnTo>
                <a:lnTo>
                  <a:pt x="174" y="185"/>
                </a:lnTo>
                <a:lnTo>
                  <a:pt x="152" y="176"/>
                </a:lnTo>
                <a:lnTo>
                  <a:pt x="141" y="169"/>
                </a:lnTo>
                <a:lnTo>
                  <a:pt x="130" y="163"/>
                </a:lnTo>
                <a:lnTo>
                  <a:pt x="124" y="156"/>
                </a:lnTo>
                <a:lnTo>
                  <a:pt x="120" y="148"/>
                </a:lnTo>
                <a:lnTo>
                  <a:pt x="120" y="148"/>
                </a:lnTo>
                <a:lnTo>
                  <a:pt x="120" y="144"/>
                </a:lnTo>
                <a:lnTo>
                  <a:pt x="120" y="141"/>
                </a:lnTo>
                <a:lnTo>
                  <a:pt x="124" y="137"/>
                </a:lnTo>
                <a:lnTo>
                  <a:pt x="128" y="135"/>
                </a:lnTo>
                <a:lnTo>
                  <a:pt x="137" y="135"/>
                </a:lnTo>
                <a:lnTo>
                  <a:pt x="150" y="137"/>
                </a:lnTo>
                <a:lnTo>
                  <a:pt x="161" y="141"/>
                </a:lnTo>
                <a:lnTo>
                  <a:pt x="174" y="144"/>
                </a:lnTo>
                <a:lnTo>
                  <a:pt x="182" y="150"/>
                </a:lnTo>
                <a:lnTo>
                  <a:pt x="187" y="154"/>
                </a:lnTo>
                <a:lnTo>
                  <a:pt x="187" y="154"/>
                </a:lnTo>
                <a:lnTo>
                  <a:pt x="191" y="156"/>
                </a:lnTo>
                <a:lnTo>
                  <a:pt x="193" y="157"/>
                </a:lnTo>
                <a:lnTo>
                  <a:pt x="195" y="156"/>
                </a:lnTo>
                <a:lnTo>
                  <a:pt x="195" y="156"/>
                </a:lnTo>
                <a:lnTo>
                  <a:pt x="195" y="154"/>
                </a:lnTo>
                <a:lnTo>
                  <a:pt x="193" y="152"/>
                </a:lnTo>
                <a:lnTo>
                  <a:pt x="189" y="146"/>
                </a:lnTo>
                <a:lnTo>
                  <a:pt x="172" y="137"/>
                </a:lnTo>
                <a:lnTo>
                  <a:pt x="156" y="130"/>
                </a:lnTo>
                <a:lnTo>
                  <a:pt x="148" y="126"/>
                </a:lnTo>
                <a:lnTo>
                  <a:pt x="145" y="120"/>
                </a:lnTo>
                <a:lnTo>
                  <a:pt x="145" y="120"/>
                </a:lnTo>
                <a:lnTo>
                  <a:pt x="145" y="120"/>
                </a:lnTo>
                <a:lnTo>
                  <a:pt x="146" y="118"/>
                </a:lnTo>
                <a:lnTo>
                  <a:pt x="150" y="117"/>
                </a:lnTo>
                <a:lnTo>
                  <a:pt x="165" y="118"/>
                </a:lnTo>
                <a:lnTo>
                  <a:pt x="191" y="126"/>
                </a:lnTo>
                <a:lnTo>
                  <a:pt x="191" y="126"/>
                </a:lnTo>
                <a:lnTo>
                  <a:pt x="191" y="126"/>
                </a:lnTo>
                <a:lnTo>
                  <a:pt x="189" y="124"/>
                </a:lnTo>
                <a:lnTo>
                  <a:pt x="182" y="117"/>
                </a:lnTo>
                <a:lnTo>
                  <a:pt x="182" y="117"/>
                </a:lnTo>
                <a:lnTo>
                  <a:pt x="178" y="115"/>
                </a:lnTo>
                <a:lnTo>
                  <a:pt x="174" y="115"/>
                </a:lnTo>
                <a:lnTo>
                  <a:pt x="165" y="115"/>
                </a:lnTo>
                <a:lnTo>
                  <a:pt x="158" y="113"/>
                </a:lnTo>
                <a:lnTo>
                  <a:pt x="158" y="111"/>
                </a:lnTo>
                <a:lnTo>
                  <a:pt x="159" y="107"/>
                </a:lnTo>
                <a:lnTo>
                  <a:pt x="159" y="107"/>
                </a:lnTo>
                <a:lnTo>
                  <a:pt x="165" y="102"/>
                </a:lnTo>
                <a:lnTo>
                  <a:pt x="171" y="100"/>
                </a:lnTo>
                <a:lnTo>
                  <a:pt x="178" y="98"/>
                </a:lnTo>
                <a:lnTo>
                  <a:pt x="187" y="98"/>
                </a:lnTo>
                <a:lnTo>
                  <a:pt x="204" y="102"/>
                </a:lnTo>
                <a:lnTo>
                  <a:pt x="221" y="109"/>
                </a:lnTo>
                <a:lnTo>
                  <a:pt x="237" y="118"/>
                </a:lnTo>
                <a:lnTo>
                  <a:pt x="248" y="130"/>
                </a:lnTo>
                <a:lnTo>
                  <a:pt x="258" y="139"/>
                </a:lnTo>
                <a:lnTo>
                  <a:pt x="260" y="143"/>
                </a:lnTo>
                <a:lnTo>
                  <a:pt x="260" y="146"/>
                </a:lnTo>
                <a:lnTo>
                  <a:pt x="260" y="146"/>
                </a:lnTo>
                <a:lnTo>
                  <a:pt x="254" y="159"/>
                </a:lnTo>
                <a:lnTo>
                  <a:pt x="254" y="161"/>
                </a:lnTo>
                <a:lnTo>
                  <a:pt x="256" y="161"/>
                </a:lnTo>
                <a:lnTo>
                  <a:pt x="260" y="156"/>
                </a:lnTo>
                <a:lnTo>
                  <a:pt x="265" y="143"/>
                </a:lnTo>
                <a:lnTo>
                  <a:pt x="265" y="143"/>
                </a:lnTo>
                <a:lnTo>
                  <a:pt x="267" y="141"/>
                </a:lnTo>
                <a:lnTo>
                  <a:pt x="269" y="141"/>
                </a:lnTo>
                <a:lnTo>
                  <a:pt x="271" y="146"/>
                </a:lnTo>
                <a:lnTo>
                  <a:pt x="271" y="146"/>
                </a:lnTo>
                <a:lnTo>
                  <a:pt x="274" y="150"/>
                </a:lnTo>
                <a:lnTo>
                  <a:pt x="278" y="154"/>
                </a:lnTo>
                <a:lnTo>
                  <a:pt x="278" y="156"/>
                </a:lnTo>
                <a:lnTo>
                  <a:pt x="276" y="157"/>
                </a:lnTo>
                <a:lnTo>
                  <a:pt x="267" y="169"/>
                </a:lnTo>
                <a:lnTo>
                  <a:pt x="267" y="169"/>
                </a:lnTo>
                <a:lnTo>
                  <a:pt x="274" y="163"/>
                </a:lnTo>
                <a:lnTo>
                  <a:pt x="284" y="159"/>
                </a:lnTo>
                <a:lnTo>
                  <a:pt x="284" y="159"/>
                </a:lnTo>
                <a:lnTo>
                  <a:pt x="284" y="170"/>
                </a:lnTo>
                <a:lnTo>
                  <a:pt x="284" y="178"/>
                </a:lnTo>
                <a:lnTo>
                  <a:pt x="284" y="178"/>
                </a:lnTo>
                <a:lnTo>
                  <a:pt x="287" y="176"/>
                </a:lnTo>
                <a:lnTo>
                  <a:pt x="287" y="172"/>
                </a:lnTo>
                <a:lnTo>
                  <a:pt x="291" y="157"/>
                </a:lnTo>
                <a:lnTo>
                  <a:pt x="293" y="148"/>
                </a:lnTo>
                <a:lnTo>
                  <a:pt x="297" y="143"/>
                </a:lnTo>
                <a:lnTo>
                  <a:pt x="300" y="137"/>
                </a:lnTo>
                <a:lnTo>
                  <a:pt x="304" y="137"/>
                </a:lnTo>
                <a:lnTo>
                  <a:pt x="308" y="137"/>
                </a:lnTo>
                <a:lnTo>
                  <a:pt x="308" y="137"/>
                </a:lnTo>
                <a:lnTo>
                  <a:pt x="315" y="139"/>
                </a:lnTo>
                <a:lnTo>
                  <a:pt x="319" y="141"/>
                </a:lnTo>
                <a:lnTo>
                  <a:pt x="321" y="144"/>
                </a:lnTo>
                <a:lnTo>
                  <a:pt x="323" y="148"/>
                </a:lnTo>
                <a:lnTo>
                  <a:pt x="324" y="157"/>
                </a:lnTo>
                <a:lnTo>
                  <a:pt x="321" y="169"/>
                </a:lnTo>
                <a:lnTo>
                  <a:pt x="313" y="189"/>
                </a:lnTo>
                <a:lnTo>
                  <a:pt x="311" y="196"/>
                </a:lnTo>
                <a:lnTo>
                  <a:pt x="311" y="200"/>
                </a:lnTo>
                <a:lnTo>
                  <a:pt x="313" y="202"/>
                </a:lnTo>
                <a:lnTo>
                  <a:pt x="313" y="202"/>
                </a:lnTo>
                <a:lnTo>
                  <a:pt x="317" y="196"/>
                </a:lnTo>
                <a:lnTo>
                  <a:pt x="324" y="181"/>
                </a:lnTo>
                <a:lnTo>
                  <a:pt x="334" y="159"/>
                </a:lnTo>
                <a:lnTo>
                  <a:pt x="334" y="159"/>
                </a:lnTo>
                <a:lnTo>
                  <a:pt x="337" y="163"/>
                </a:lnTo>
                <a:lnTo>
                  <a:pt x="341" y="167"/>
                </a:lnTo>
                <a:lnTo>
                  <a:pt x="345" y="176"/>
                </a:lnTo>
                <a:lnTo>
                  <a:pt x="345" y="176"/>
                </a:lnTo>
                <a:lnTo>
                  <a:pt x="347" y="176"/>
                </a:lnTo>
                <a:lnTo>
                  <a:pt x="350" y="178"/>
                </a:lnTo>
                <a:lnTo>
                  <a:pt x="352" y="180"/>
                </a:lnTo>
                <a:lnTo>
                  <a:pt x="352" y="183"/>
                </a:lnTo>
                <a:lnTo>
                  <a:pt x="350" y="187"/>
                </a:lnTo>
                <a:lnTo>
                  <a:pt x="348" y="191"/>
                </a:lnTo>
                <a:lnTo>
                  <a:pt x="348" y="191"/>
                </a:lnTo>
                <a:lnTo>
                  <a:pt x="343" y="196"/>
                </a:lnTo>
                <a:lnTo>
                  <a:pt x="347" y="193"/>
                </a:lnTo>
                <a:lnTo>
                  <a:pt x="361" y="178"/>
                </a:lnTo>
                <a:lnTo>
                  <a:pt x="361" y="178"/>
                </a:lnTo>
                <a:lnTo>
                  <a:pt x="363" y="176"/>
                </a:lnTo>
                <a:lnTo>
                  <a:pt x="363" y="174"/>
                </a:lnTo>
                <a:lnTo>
                  <a:pt x="360" y="165"/>
                </a:lnTo>
                <a:lnTo>
                  <a:pt x="347" y="150"/>
                </a:lnTo>
                <a:lnTo>
                  <a:pt x="347" y="150"/>
                </a:lnTo>
                <a:lnTo>
                  <a:pt x="343" y="144"/>
                </a:lnTo>
                <a:lnTo>
                  <a:pt x="343" y="139"/>
                </a:lnTo>
                <a:lnTo>
                  <a:pt x="345" y="137"/>
                </a:lnTo>
                <a:lnTo>
                  <a:pt x="347" y="135"/>
                </a:lnTo>
                <a:lnTo>
                  <a:pt x="354" y="133"/>
                </a:lnTo>
                <a:lnTo>
                  <a:pt x="358" y="131"/>
                </a:lnTo>
                <a:lnTo>
                  <a:pt x="358" y="128"/>
                </a:lnTo>
                <a:lnTo>
                  <a:pt x="358" y="128"/>
                </a:lnTo>
                <a:lnTo>
                  <a:pt x="356" y="126"/>
                </a:lnTo>
                <a:lnTo>
                  <a:pt x="352" y="128"/>
                </a:lnTo>
                <a:lnTo>
                  <a:pt x="343" y="131"/>
                </a:lnTo>
                <a:lnTo>
                  <a:pt x="343" y="131"/>
                </a:lnTo>
                <a:lnTo>
                  <a:pt x="336" y="131"/>
                </a:lnTo>
                <a:lnTo>
                  <a:pt x="328" y="130"/>
                </a:lnTo>
                <a:lnTo>
                  <a:pt x="304" y="117"/>
                </a:lnTo>
                <a:lnTo>
                  <a:pt x="304" y="117"/>
                </a:lnTo>
                <a:lnTo>
                  <a:pt x="272" y="102"/>
                </a:lnTo>
                <a:lnTo>
                  <a:pt x="260" y="93"/>
                </a:lnTo>
                <a:lnTo>
                  <a:pt x="256" y="91"/>
                </a:lnTo>
                <a:lnTo>
                  <a:pt x="256" y="89"/>
                </a:lnTo>
                <a:lnTo>
                  <a:pt x="258" y="89"/>
                </a:lnTo>
                <a:lnTo>
                  <a:pt x="258" y="89"/>
                </a:lnTo>
                <a:lnTo>
                  <a:pt x="291" y="85"/>
                </a:lnTo>
                <a:lnTo>
                  <a:pt x="332" y="83"/>
                </a:lnTo>
                <a:lnTo>
                  <a:pt x="356" y="80"/>
                </a:lnTo>
                <a:lnTo>
                  <a:pt x="356" y="80"/>
                </a:lnTo>
                <a:lnTo>
                  <a:pt x="352" y="80"/>
                </a:lnTo>
                <a:lnTo>
                  <a:pt x="336" y="78"/>
                </a:lnTo>
                <a:lnTo>
                  <a:pt x="336" y="78"/>
                </a:lnTo>
                <a:lnTo>
                  <a:pt x="330" y="76"/>
                </a:lnTo>
                <a:lnTo>
                  <a:pt x="328" y="74"/>
                </a:lnTo>
                <a:lnTo>
                  <a:pt x="328" y="72"/>
                </a:lnTo>
                <a:lnTo>
                  <a:pt x="332" y="70"/>
                </a:lnTo>
                <a:lnTo>
                  <a:pt x="339" y="67"/>
                </a:lnTo>
                <a:lnTo>
                  <a:pt x="343" y="63"/>
                </a:lnTo>
                <a:lnTo>
                  <a:pt x="343" y="63"/>
                </a:lnTo>
                <a:lnTo>
                  <a:pt x="339" y="63"/>
                </a:lnTo>
                <a:lnTo>
                  <a:pt x="336" y="65"/>
                </a:lnTo>
                <a:lnTo>
                  <a:pt x="328" y="68"/>
                </a:lnTo>
                <a:lnTo>
                  <a:pt x="319" y="70"/>
                </a:lnTo>
                <a:lnTo>
                  <a:pt x="313" y="72"/>
                </a:lnTo>
                <a:lnTo>
                  <a:pt x="308" y="70"/>
                </a:lnTo>
                <a:lnTo>
                  <a:pt x="308" y="70"/>
                </a:lnTo>
                <a:lnTo>
                  <a:pt x="304" y="68"/>
                </a:lnTo>
                <a:lnTo>
                  <a:pt x="304" y="67"/>
                </a:lnTo>
                <a:lnTo>
                  <a:pt x="308" y="61"/>
                </a:lnTo>
                <a:lnTo>
                  <a:pt x="308" y="61"/>
                </a:lnTo>
                <a:lnTo>
                  <a:pt x="313" y="54"/>
                </a:lnTo>
                <a:lnTo>
                  <a:pt x="313" y="52"/>
                </a:lnTo>
                <a:lnTo>
                  <a:pt x="313" y="52"/>
                </a:lnTo>
                <a:lnTo>
                  <a:pt x="308" y="52"/>
                </a:lnTo>
                <a:lnTo>
                  <a:pt x="300" y="54"/>
                </a:lnTo>
                <a:lnTo>
                  <a:pt x="280" y="61"/>
                </a:lnTo>
                <a:lnTo>
                  <a:pt x="265" y="68"/>
                </a:lnTo>
                <a:lnTo>
                  <a:pt x="265" y="68"/>
                </a:lnTo>
                <a:lnTo>
                  <a:pt x="261" y="68"/>
                </a:lnTo>
                <a:lnTo>
                  <a:pt x="256" y="68"/>
                </a:lnTo>
                <a:lnTo>
                  <a:pt x="243" y="65"/>
                </a:lnTo>
                <a:lnTo>
                  <a:pt x="230" y="59"/>
                </a:lnTo>
                <a:lnTo>
                  <a:pt x="226" y="55"/>
                </a:lnTo>
                <a:lnTo>
                  <a:pt x="224" y="52"/>
                </a:lnTo>
                <a:lnTo>
                  <a:pt x="224" y="52"/>
                </a:lnTo>
                <a:lnTo>
                  <a:pt x="228" y="52"/>
                </a:lnTo>
                <a:lnTo>
                  <a:pt x="237" y="52"/>
                </a:lnTo>
                <a:lnTo>
                  <a:pt x="247" y="50"/>
                </a:lnTo>
                <a:lnTo>
                  <a:pt x="250" y="46"/>
                </a:lnTo>
                <a:lnTo>
                  <a:pt x="252" y="42"/>
                </a:lnTo>
                <a:lnTo>
                  <a:pt x="252" y="42"/>
                </a:lnTo>
                <a:lnTo>
                  <a:pt x="250" y="41"/>
                </a:lnTo>
                <a:lnTo>
                  <a:pt x="248" y="39"/>
                </a:lnTo>
                <a:lnTo>
                  <a:pt x="241" y="37"/>
                </a:lnTo>
                <a:lnTo>
                  <a:pt x="235" y="33"/>
                </a:lnTo>
                <a:lnTo>
                  <a:pt x="234" y="31"/>
                </a:lnTo>
                <a:lnTo>
                  <a:pt x="234" y="29"/>
                </a:lnTo>
                <a:lnTo>
                  <a:pt x="234" y="29"/>
                </a:lnTo>
                <a:lnTo>
                  <a:pt x="235" y="28"/>
                </a:lnTo>
                <a:lnTo>
                  <a:pt x="239" y="28"/>
                </a:lnTo>
                <a:lnTo>
                  <a:pt x="245" y="29"/>
                </a:lnTo>
                <a:lnTo>
                  <a:pt x="254" y="35"/>
                </a:lnTo>
                <a:lnTo>
                  <a:pt x="254" y="35"/>
                </a:lnTo>
                <a:lnTo>
                  <a:pt x="254" y="29"/>
                </a:lnTo>
                <a:lnTo>
                  <a:pt x="258" y="28"/>
                </a:lnTo>
                <a:lnTo>
                  <a:pt x="261" y="28"/>
                </a:lnTo>
                <a:lnTo>
                  <a:pt x="265" y="28"/>
                </a:lnTo>
                <a:lnTo>
                  <a:pt x="280" y="31"/>
                </a:lnTo>
                <a:lnTo>
                  <a:pt x="280" y="31"/>
                </a:lnTo>
                <a:lnTo>
                  <a:pt x="276" y="28"/>
                </a:lnTo>
                <a:lnTo>
                  <a:pt x="271" y="26"/>
                </a:lnTo>
                <a:lnTo>
                  <a:pt x="265" y="20"/>
                </a:lnTo>
                <a:lnTo>
                  <a:pt x="265" y="20"/>
                </a:lnTo>
                <a:lnTo>
                  <a:pt x="267" y="18"/>
                </a:lnTo>
                <a:lnTo>
                  <a:pt x="272" y="18"/>
                </a:lnTo>
                <a:lnTo>
                  <a:pt x="284" y="24"/>
                </a:lnTo>
                <a:lnTo>
                  <a:pt x="304" y="33"/>
                </a:lnTo>
                <a:lnTo>
                  <a:pt x="304" y="33"/>
                </a:lnTo>
                <a:lnTo>
                  <a:pt x="310" y="33"/>
                </a:lnTo>
                <a:lnTo>
                  <a:pt x="313" y="33"/>
                </a:lnTo>
                <a:lnTo>
                  <a:pt x="319" y="28"/>
                </a:lnTo>
                <a:lnTo>
                  <a:pt x="323" y="26"/>
                </a:lnTo>
                <a:lnTo>
                  <a:pt x="326" y="26"/>
                </a:lnTo>
                <a:lnTo>
                  <a:pt x="332" y="26"/>
                </a:lnTo>
                <a:lnTo>
                  <a:pt x="339" y="28"/>
                </a:lnTo>
                <a:lnTo>
                  <a:pt x="339" y="28"/>
                </a:lnTo>
                <a:lnTo>
                  <a:pt x="343" y="31"/>
                </a:lnTo>
                <a:lnTo>
                  <a:pt x="345" y="33"/>
                </a:lnTo>
                <a:lnTo>
                  <a:pt x="347" y="31"/>
                </a:lnTo>
                <a:lnTo>
                  <a:pt x="347" y="31"/>
                </a:lnTo>
                <a:lnTo>
                  <a:pt x="348" y="29"/>
                </a:lnTo>
                <a:lnTo>
                  <a:pt x="348" y="28"/>
                </a:lnTo>
                <a:lnTo>
                  <a:pt x="348" y="26"/>
                </a:lnTo>
                <a:lnTo>
                  <a:pt x="345" y="22"/>
                </a:lnTo>
                <a:lnTo>
                  <a:pt x="345" y="20"/>
                </a:lnTo>
                <a:lnTo>
                  <a:pt x="345" y="20"/>
                </a:lnTo>
                <a:lnTo>
                  <a:pt x="345" y="20"/>
                </a:lnTo>
                <a:lnTo>
                  <a:pt x="350" y="18"/>
                </a:lnTo>
                <a:lnTo>
                  <a:pt x="354" y="20"/>
                </a:lnTo>
                <a:lnTo>
                  <a:pt x="358" y="22"/>
                </a:lnTo>
                <a:lnTo>
                  <a:pt x="360" y="26"/>
                </a:lnTo>
                <a:lnTo>
                  <a:pt x="369" y="41"/>
                </a:lnTo>
                <a:lnTo>
                  <a:pt x="376" y="48"/>
                </a:lnTo>
                <a:lnTo>
                  <a:pt x="387" y="57"/>
                </a:lnTo>
                <a:lnTo>
                  <a:pt x="387" y="57"/>
                </a:lnTo>
                <a:lnTo>
                  <a:pt x="387" y="59"/>
                </a:lnTo>
                <a:lnTo>
                  <a:pt x="387" y="61"/>
                </a:lnTo>
                <a:lnTo>
                  <a:pt x="386" y="67"/>
                </a:lnTo>
                <a:lnTo>
                  <a:pt x="382" y="72"/>
                </a:lnTo>
                <a:lnTo>
                  <a:pt x="382" y="74"/>
                </a:lnTo>
                <a:lnTo>
                  <a:pt x="382" y="76"/>
                </a:lnTo>
                <a:lnTo>
                  <a:pt x="382" y="76"/>
                </a:lnTo>
                <a:lnTo>
                  <a:pt x="384" y="78"/>
                </a:lnTo>
                <a:lnTo>
                  <a:pt x="387" y="78"/>
                </a:lnTo>
                <a:lnTo>
                  <a:pt x="395" y="76"/>
                </a:lnTo>
                <a:lnTo>
                  <a:pt x="406" y="70"/>
                </a:lnTo>
                <a:lnTo>
                  <a:pt x="406" y="70"/>
                </a:lnTo>
                <a:lnTo>
                  <a:pt x="415" y="74"/>
                </a:lnTo>
                <a:lnTo>
                  <a:pt x="425" y="80"/>
                </a:lnTo>
                <a:lnTo>
                  <a:pt x="430" y="85"/>
                </a:lnTo>
                <a:lnTo>
                  <a:pt x="430" y="87"/>
                </a:lnTo>
                <a:lnTo>
                  <a:pt x="428" y="91"/>
                </a:lnTo>
                <a:lnTo>
                  <a:pt x="428" y="91"/>
                </a:lnTo>
                <a:lnTo>
                  <a:pt x="425" y="93"/>
                </a:lnTo>
                <a:lnTo>
                  <a:pt x="423" y="94"/>
                </a:lnTo>
                <a:lnTo>
                  <a:pt x="423" y="94"/>
                </a:lnTo>
                <a:lnTo>
                  <a:pt x="423" y="94"/>
                </a:lnTo>
                <a:lnTo>
                  <a:pt x="443" y="94"/>
                </a:lnTo>
                <a:lnTo>
                  <a:pt x="454" y="96"/>
                </a:lnTo>
                <a:lnTo>
                  <a:pt x="458" y="98"/>
                </a:lnTo>
                <a:lnTo>
                  <a:pt x="462" y="100"/>
                </a:lnTo>
                <a:lnTo>
                  <a:pt x="462" y="100"/>
                </a:lnTo>
                <a:lnTo>
                  <a:pt x="465" y="105"/>
                </a:lnTo>
                <a:lnTo>
                  <a:pt x="467" y="111"/>
                </a:lnTo>
                <a:lnTo>
                  <a:pt x="471" y="126"/>
                </a:lnTo>
                <a:lnTo>
                  <a:pt x="473" y="139"/>
                </a:lnTo>
                <a:lnTo>
                  <a:pt x="475" y="144"/>
                </a:lnTo>
                <a:lnTo>
                  <a:pt x="475" y="146"/>
                </a:lnTo>
                <a:lnTo>
                  <a:pt x="475" y="146"/>
                </a:lnTo>
                <a:lnTo>
                  <a:pt x="478" y="148"/>
                </a:lnTo>
                <a:lnTo>
                  <a:pt x="480" y="146"/>
                </a:lnTo>
                <a:lnTo>
                  <a:pt x="484" y="143"/>
                </a:lnTo>
                <a:lnTo>
                  <a:pt x="484" y="143"/>
                </a:lnTo>
                <a:lnTo>
                  <a:pt x="484" y="139"/>
                </a:lnTo>
                <a:lnTo>
                  <a:pt x="482" y="135"/>
                </a:lnTo>
                <a:lnTo>
                  <a:pt x="480" y="130"/>
                </a:lnTo>
                <a:lnTo>
                  <a:pt x="480" y="130"/>
                </a:lnTo>
                <a:lnTo>
                  <a:pt x="488" y="124"/>
                </a:lnTo>
                <a:lnTo>
                  <a:pt x="493" y="124"/>
                </a:lnTo>
                <a:lnTo>
                  <a:pt x="495" y="128"/>
                </a:lnTo>
                <a:lnTo>
                  <a:pt x="497" y="131"/>
                </a:lnTo>
                <a:lnTo>
                  <a:pt x="499" y="141"/>
                </a:lnTo>
                <a:lnTo>
                  <a:pt x="499" y="146"/>
                </a:lnTo>
                <a:lnTo>
                  <a:pt x="499" y="146"/>
                </a:lnTo>
                <a:lnTo>
                  <a:pt x="502" y="148"/>
                </a:lnTo>
                <a:lnTo>
                  <a:pt x="508" y="148"/>
                </a:lnTo>
                <a:lnTo>
                  <a:pt x="517" y="146"/>
                </a:lnTo>
                <a:lnTo>
                  <a:pt x="521" y="146"/>
                </a:lnTo>
                <a:lnTo>
                  <a:pt x="525" y="146"/>
                </a:lnTo>
                <a:lnTo>
                  <a:pt x="528" y="148"/>
                </a:lnTo>
                <a:lnTo>
                  <a:pt x="532" y="154"/>
                </a:lnTo>
                <a:lnTo>
                  <a:pt x="532" y="154"/>
                </a:lnTo>
                <a:lnTo>
                  <a:pt x="532" y="154"/>
                </a:lnTo>
                <a:lnTo>
                  <a:pt x="532" y="156"/>
                </a:lnTo>
                <a:lnTo>
                  <a:pt x="532" y="157"/>
                </a:lnTo>
                <a:lnTo>
                  <a:pt x="528" y="157"/>
                </a:lnTo>
                <a:lnTo>
                  <a:pt x="517" y="157"/>
                </a:lnTo>
                <a:lnTo>
                  <a:pt x="517" y="157"/>
                </a:lnTo>
                <a:lnTo>
                  <a:pt x="510" y="159"/>
                </a:lnTo>
                <a:lnTo>
                  <a:pt x="502" y="161"/>
                </a:lnTo>
                <a:lnTo>
                  <a:pt x="502" y="161"/>
                </a:lnTo>
                <a:lnTo>
                  <a:pt x="499" y="161"/>
                </a:lnTo>
                <a:lnTo>
                  <a:pt x="504" y="161"/>
                </a:lnTo>
                <a:lnTo>
                  <a:pt x="513" y="163"/>
                </a:lnTo>
                <a:lnTo>
                  <a:pt x="523" y="165"/>
                </a:lnTo>
                <a:lnTo>
                  <a:pt x="523" y="165"/>
                </a:lnTo>
                <a:lnTo>
                  <a:pt x="523" y="165"/>
                </a:lnTo>
                <a:lnTo>
                  <a:pt x="517" y="169"/>
                </a:lnTo>
                <a:lnTo>
                  <a:pt x="513" y="172"/>
                </a:lnTo>
                <a:lnTo>
                  <a:pt x="513" y="172"/>
                </a:lnTo>
                <a:lnTo>
                  <a:pt x="517" y="172"/>
                </a:lnTo>
                <a:lnTo>
                  <a:pt x="523" y="172"/>
                </a:lnTo>
                <a:lnTo>
                  <a:pt x="534" y="170"/>
                </a:lnTo>
                <a:lnTo>
                  <a:pt x="534" y="170"/>
                </a:lnTo>
                <a:lnTo>
                  <a:pt x="536" y="172"/>
                </a:lnTo>
                <a:lnTo>
                  <a:pt x="536" y="174"/>
                </a:lnTo>
                <a:lnTo>
                  <a:pt x="534" y="180"/>
                </a:lnTo>
                <a:lnTo>
                  <a:pt x="534" y="185"/>
                </a:lnTo>
                <a:lnTo>
                  <a:pt x="534" y="189"/>
                </a:lnTo>
                <a:lnTo>
                  <a:pt x="534" y="189"/>
                </a:lnTo>
                <a:lnTo>
                  <a:pt x="534" y="189"/>
                </a:lnTo>
                <a:lnTo>
                  <a:pt x="538" y="191"/>
                </a:lnTo>
                <a:lnTo>
                  <a:pt x="539" y="193"/>
                </a:lnTo>
                <a:lnTo>
                  <a:pt x="539" y="193"/>
                </a:lnTo>
                <a:lnTo>
                  <a:pt x="539" y="193"/>
                </a:lnTo>
                <a:lnTo>
                  <a:pt x="538" y="198"/>
                </a:lnTo>
                <a:lnTo>
                  <a:pt x="532" y="202"/>
                </a:lnTo>
                <a:lnTo>
                  <a:pt x="521" y="206"/>
                </a:lnTo>
                <a:lnTo>
                  <a:pt x="512" y="211"/>
                </a:lnTo>
                <a:lnTo>
                  <a:pt x="508" y="215"/>
                </a:lnTo>
                <a:lnTo>
                  <a:pt x="506" y="220"/>
                </a:lnTo>
                <a:lnTo>
                  <a:pt x="506" y="220"/>
                </a:lnTo>
                <a:lnTo>
                  <a:pt x="508" y="222"/>
                </a:lnTo>
                <a:lnTo>
                  <a:pt x="512" y="224"/>
                </a:lnTo>
                <a:lnTo>
                  <a:pt x="521" y="224"/>
                </a:lnTo>
                <a:lnTo>
                  <a:pt x="528" y="226"/>
                </a:lnTo>
                <a:lnTo>
                  <a:pt x="530" y="226"/>
                </a:lnTo>
                <a:lnTo>
                  <a:pt x="530" y="228"/>
                </a:lnTo>
                <a:lnTo>
                  <a:pt x="530" y="228"/>
                </a:lnTo>
                <a:lnTo>
                  <a:pt x="525" y="235"/>
                </a:lnTo>
                <a:lnTo>
                  <a:pt x="519" y="239"/>
                </a:lnTo>
                <a:lnTo>
                  <a:pt x="512" y="243"/>
                </a:lnTo>
                <a:lnTo>
                  <a:pt x="508" y="243"/>
                </a:lnTo>
                <a:lnTo>
                  <a:pt x="502" y="241"/>
                </a:lnTo>
                <a:lnTo>
                  <a:pt x="497" y="239"/>
                </a:lnTo>
                <a:lnTo>
                  <a:pt x="488" y="232"/>
                </a:lnTo>
                <a:lnTo>
                  <a:pt x="478" y="224"/>
                </a:lnTo>
                <a:lnTo>
                  <a:pt x="471" y="217"/>
                </a:lnTo>
                <a:lnTo>
                  <a:pt x="467" y="215"/>
                </a:lnTo>
                <a:lnTo>
                  <a:pt x="463" y="215"/>
                </a:lnTo>
                <a:lnTo>
                  <a:pt x="460" y="217"/>
                </a:lnTo>
                <a:lnTo>
                  <a:pt x="458" y="219"/>
                </a:lnTo>
                <a:lnTo>
                  <a:pt x="458" y="219"/>
                </a:lnTo>
                <a:lnTo>
                  <a:pt x="463" y="222"/>
                </a:lnTo>
                <a:lnTo>
                  <a:pt x="471" y="226"/>
                </a:lnTo>
                <a:lnTo>
                  <a:pt x="471" y="226"/>
                </a:lnTo>
                <a:lnTo>
                  <a:pt x="478" y="239"/>
                </a:lnTo>
                <a:lnTo>
                  <a:pt x="484" y="246"/>
                </a:lnTo>
                <a:lnTo>
                  <a:pt x="491" y="250"/>
                </a:lnTo>
                <a:lnTo>
                  <a:pt x="499" y="252"/>
                </a:lnTo>
                <a:lnTo>
                  <a:pt x="510" y="252"/>
                </a:lnTo>
                <a:lnTo>
                  <a:pt x="515" y="254"/>
                </a:lnTo>
                <a:lnTo>
                  <a:pt x="519" y="258"/>
                </a:lnTo>
                <a:lnTo>
                  <a:pt x="519" y="258"/>
                </a:lnTo>
                <a:lnTo>
                  <a:pt x="521" y="259"/>
                </a:lnTo>
                <a:lnTo>
                  <a:pt x="519" y="263"/>
                </a:lnTo>
                <a:lnTo>
                  <a:pt x="513" y="269"/>
                </a:lnTo>
                <a:lnTo>
                  <a:pt x="508" y="274"/>
                </a:lnTo>
                <a:lnTo>
                  <a:pt x="506" y="276"/>
                </a:lnTo>
                <a:lnTo>
                  <a:pt x="506" y="278"/>
                </a:lnTo>
                <a:lnTo>
                  <a:pt x="506" y="278"/>
                </a:lnTo>
                <a:lnTo>
                  <a:pt x="510" y="278"/>
                </a:lnTo>
                <a:lnTo>
                  <a:pt x="513" y="276"/>
                </a:lnTo>
                <a:lnTo>
                  <a:pt x="525" y="269"/>
                </a:lnTo>
                <a:lnTo>
                  <a:pt x="528" y="267"/>
                </a:lnTo>
                <a:lnTo>
                  <a:pt x="534" y="267"/>
                </a:lnTo>
                <a:lnTo>
                  <a:pt x="536" y="270"/>
                </a:lnTo>
                <a:lnTo>
                  <a:pt x="538" y="280"/>
                </a:lnTo>
                <a:lnTo>
                  <a:pt x="538" y="280"/>
                </a:lnTo>
                <a:lnTo>
                  <a:pt x="536" y="287"/>
                </a:lnTo>
                <a:lnTo>
                  <a:pt x="530" y="293"/>
                </a:lnTo>
                <a:lnTo>
                  <a:pt x="517" y="304"/>
                </a:lnTo>
                <a:lnTo>
                  <a:pt x="517" y="304"/>
                </a:lnTo>
                <a:lnTo>
                  <a:pt x="508" y="311"/>
                </a:lnTo>
                <a:lnTo>
                  <a:pt x="508" y="311"/>
                </a:lnTo>
                <a:lnTo>
                  <a:pt x="510" y="311"/>
                </a:lnTo>
                <a:lnTo>
                  <a:pt x="513" y="311"/>
                </a:lnTo>
                <a:lnTo>
                  <a:pt x="523" y="306"/>
                </a:lnTo>
                <a:lnTo>
                  <a:pt x="532" y="300"/>
                </a:lnTo>
                <a:lnTo>
                  <a:pt x="536" y="300"/>
                </a:lnTo>
                <a:lnTo>
                  <a:pt x="539" y="300"/>
                </a:lnTo>
                <a:lnTo>
                  <a:pt x="539" y="300"/>
                </a:lnTo>
                <a:lnTo>
                  <a:pt x="547" y="306"/>
                </a:lnTo>
                <a:lnTo>
                  <a:pt x="551" y="313"/>
                </a:lnTo>
                <a:lnTo>
                  <a:pt x="554" y="322"/>
                </a:lnTo>
                <a:lnTo>
                  <a:pt x="556" y="334"/>
                </a:lnTo>
                <a:lnTo>
                  <a:pt x="558" y="354"/>
                </a:lnTo>
                <a:lnTo>
                  <a:pt x="560" y="363"/>
                </a:lnTo>
                <a:lnTo>
                  <a:pt x="565" y="372"/>
                </a:lnTo>
                <a:lnTo>
                  <a:pt x="565" y="372"/>
                </a:lnTo>
                <a:lnTo>
                  <a:pt x="567" y="376"/>
                </a:lnTo>
                <a:lnTo>
                  <a:pt x="569" y="382"/>
                </a:lnTo>
                <a:lnTo>
                  <a:pt x="569" y="385"/>
                </a:lnTo>
                <a:lnTo>
                  <a:pt x="569" y="389"/>
                </a:lnTo>
                <a:lnTo>
                  <a:pt x="569" y="389"/>
                </a:lnTo>
                <a:lnTo>
                  <a:pt x="571" y="389"/>
                </a:lnTo>
                <a:lnTo>
                  <a:pt x="573" y="389"/>
                </a:lnTo>
                <a:lnTo>
                  <a:pt x="575" y="382"/>
                </a:lnTo>
                <a:lnTo>
                  <a:pt x="573" y="372"/>
                </a:lnTo>
                <a:lnTo>
                  <a:pt x="573" y="367"/>
                </a:lnTo>
                <a:lnTo>
                  <a:pt x="573" y="367"/>
                </a:lnTo>
                <a:lnTo>
                  <a:pt x="569" y="363"/>
                </a:lnTo>
                <a:lnTo>
                  <a:pt x="569" y="359"/>
                </a:lnTo>
                <a:lnTo>
                  <a:pt x="571" y="354"/>
                </a:lnTo>
                <a:lnTo>
                  <a:pt x="573" y="346"/>
                </a:lnTo>
                <a:lnTo>
                  <a:pt x="575" y="339"/>
                </a:lnTo>
                <a:lnTo>
                  <a:pt x="575" y="339"/>
                </a:lnTo>
                <a:lnTo>
                  <a:pt x="571" y="322"/>
                </a:lnTo>
                <a:lnTo>
                  <a:pt x="569" y="313"/>
                </a:lnTo>
                <a:lnTo>
                  <a:pt x="569" y="309"/>
                </a:lnTo>
                <a:lnTo>
                  <a:pt x="571" y="308"/>
                </a:lnTo>
                <a:lnTo>
                  <a:pt x="571" y="308"/>
                </a:lnTo>
                <a:lnTo>
                  <a:pt x="575" y="308"/>
                </a:lnTo>
                <a:lnTo>
                  <a:pt x="578" y="311"/>
                </a:lnTo>
                <a:lnTo>
                  <a:pt x="586" y="324"/>
                </a:lnTo>
                <a:lnTo>
                  <a:pt x="595" y="337"/>
                </a:lnTo>
                <a:lnTo>
                  <a:pt x="599" y="339"/>
                </a:lnTo>
                <a:lnTo>
                  <a:pt x="601" y="339"/>
                </a:lnTo>
                <a:lnTo>
                  <a:pt x="601" y="339"/>
                </a:lnTo>
                <a:lnTo>
                  <a:pt x="601" y="339"/>
                </a:lnTo>
                <a:lnTo>
                  <a:pt x="601" y="335"/>
                </a:lnTo>
                <a:lnTo>
                  <a:pt x="601" y="335"/>
                </a:lnTo>
                <a:lnTo>
                  <a:pt x="597" y="330"/>
                </a:lnTo>
                <a:lnTo>
                  <a:pt x="595" y="322"/>
                </a:lnTo>
                <a:lnTo>
                  <a:pt x="591" y="308"/>
                </a:lnTo>
                <a:lnTo>
                  <a:pt x="593" y="291"/>
                </a:lnTo>
                <a:lnTo>
                  <a:pt x="597" y="274"/>
                </a:lnTo>
                <a:lnTo>
                  <a:pt x="604" y="261"/>
                </a:lnTo>
                <a:lnTo>
                  <a:pt x="614" y="248"/>
                </a:lnTo>
                <a:lnTo>
                  <a:pt x="619" y="245"/>
                </a:lnTo>
                <a:lnTo>
                  <a:pt x="627" y="243"/>
                </a:lnTo>
                <a:lnTo>
                  <a:pt x="632" y="241"/>
                </a:lnTo>
                <a:lnTo>
                  <a:pt x="640" y="241"/>
                </a:lnTo>
                <a:lnTo>
                  <a:pt x="640" y="241"/>
                </a:lnTo>
                <a:lnTo>
                  <a:pt x="645" y="243"/>
                </a:lnTo>
                <a:lnTo>
                  <a:pt x="647" y="246"/>
                </a:lnTo>
                <a:lnTo>
                  <a:pt x="647" y="254"/>
                </a:lnTo>
                <a:lnTo>
                  <a:pt x="647" y="261"/>
                </a:lnTo>
                <a:lnTo>
                  <a:pt x="643" y="274"/>
                </a:lnTo>
                <a:lnTo>
                  <a:pt x="643" y="280"/>
                </a:lnTo>
                <a:lnTo>
                  <a:pt x="645" y="283"/>
                </a:lnTo>
                <a:lnTo>
                  <a:pt x="645" y="283"/>
                </a:lnTo>
                <a:lnTo>
                  <a:pt x="649" y="282"/>
                </a:lnTo>
                <a:lnTo>
                  <a:pt x="653" y="278"/>
                </a:lnTo>
                <a:lnTo>
                  <a:pt x="656" y="276"/>
                </a:lnTo>
                <a:lnTo>
                  <a:pt x="656" y="276"/>
                </a:lnTo>
                <a:lnTo>
                  <a:pt x="656" y="276"/>
                </a:lnTo>
                <a:lnTo>
                  <a:pt x="656" y="276"/>
                </a:lnTo>
                <a:lnTo>
                  <a:pt x="658" y="283"/>
                </a:lnTo>
                <a:lnTo>
                  <a:pt x="662" y="293"/>
                </a:lnTo>
                <a:lnTo>
                  <a:pt x="665" y="296"/>
                </a:lnTo>
                <a:lnTo>
                  <a:pt x="669" y="298"/>
                </a:lnTo>
                <a:lnTo>
                  <a:pt x="673" y="298"/>
                </a:lnTo>
                <a:lnTo>
                  <a:pt x="677" y="296"/>
                </a:lnTo>
                <a:lnTo>
                  <a:pt x="677" y="296"/>
                </a:lnTo>
                <a:lnTo>
                  <a:pt x="680" y="291"/>
                </a:lnTo>
                <a:lnTo>
                  <a:pt x="680" y="287"/>
                </a:lnTo>
                <a:lnTo>
                  <a:pt x="677" y="283"/>
                </a:lnTo>
                <a:lnTo>
                  <a:pt x="673" y="280"/>
                </a:lnTo>
                <a:lnTo>
                  <a:pt x="669" y="278"/>
                </a:lnTo>
                <a:lnTo>
                  <a:pt x="669" y="274"/>
                </a:lnTo>
                <a:lnTo>
                  <a:pt x="673" y="270"/>
                </a:lnTo>
                <a:lnTo>
                  <a:pt x="682" y="269"/>
                </a:lnTo>
                <a:lnTo>
                  <a:pt x="682" y="269"/>
                </a:lnTo>
                <a:lnTo>
                  <a:pt x="684" y="269"/>
                </a:lnTo>
                <a:lnTo>
                  <a:pt x="684" y="270"/>
                </a:lnTo>
                <a:lnTo>
                  <a:pt x="686" y="276"/>
                </a:lnTo>
                <a:lnTo>
                  <a:pt x="688" y="283"/>
                </a:lnTo>
                <a:lnTo>
                  <a:pt x="690" y="283"/>
                </a:lnTo>
                <a:lnTo>
                  <a:pt x="690" y="283"/>
                </a:lnTo>
                <a:lnTo>
                  <a:pt x="690" y="283"/>
                </a:lnTo>
                <a:lnTo>
                  <a:pt x="697" y="272"/>
                </a:lnTo>
                <a:lnTo>
                  <a:pt x="701" y="261"/>
                </a:lnTo>
                <a:lnTo>
                  <a:pt x="704" y="250"/>
                </a:lnTo>
                <a:lnTo>
                  <a:pt x="704" y="241"/>
                </a:lnTo>
                <a:lnTo>
                  <a:pt x="704" y="232"/>
                </a:lnTo>
                <a:lnTo>
                  <a:pt x="704" y="222"/>
                </a:lnTo>
                <a:lnTo>
                  <a:pt x="699" y="206"/>
                </a:lnTo>
                <a:lnTo>
                  <a:pt x="691" y="187"/>
                </a:lnTo>
                <a:lnTo>
                  <a:pt x="684" y="170"/>
                </a:lnTo>
                <a:lnTo>
                  <a:pt x="680" y="150"/>
                </a:lnTo>
                <a:lnTo>
                  <a:pt x="680" y="141"/>
                </a:lnTo>
                <a:lnTo>
                  <a:pt x="680" y="130"/>
                </a:lnTo>
                <a:lnTo>
                  <a:pt x="680" y="130"/>
                </a:lnTo>
                <a:lnTo>
                  <a:pt x="684" y="126"/>
                </a:lnTo>
                <a:lnTo>
                  <a:pt x="688" y="124"/>
                </a:lnTo>
                <a:lnTo>
                  <a:pt x="704" y="122"/>
                </a:lnTo>
                <a:lnTo>
                  <a:pt x="721" y="120"/>
                </a:lnTo>
                <a:lnTo>
                  <a:pt x="734" y="117"/>
                </a:lnTo>
                <a:lnTo>
                  <a:pt x="734" y="117"/>
                </a:lnTo>
                <a:lnTo>
                  <a:pt x="738" y="118"/>
                </a:lnTo>
                <a:lnTo>
                  <a:pt x="741" y="122"/>
                </a:lnTo>
                <a:lnTo>
                  <a:pt x="751" y="143"/>
                </a:lnTo>
                <a:lnTo>
                  <a:pt x="751" y="143"/>
                </a:lnTo>
                <a:lnTo>
                  <a:pt x="751" y="143"/>
                </a:lnTo>
                <a:lnTo>
                  <a:pt x="758" y="156"/>
                </a:lnTo>
                <a:lnTo>
                  <a:pt x="764" y="165"/>
                </a:lnTo>
                <a:lnTo>
                  <a:pt x="771" y="172"/>
                </a:lnTo>
                <a:lnTo>
                  <a:pt x="779" y="178"/>
                </a:lnTo>
                <a:lnTo>
                  <a:pt x="792" y="183"/>
                </a:lnTo>
                <a:lnTo>
                  <a:pt x="797" y="187"/>
                </a:lnTo>
                <a:lnTo>
                  <a:pt x="801" y="193"/>
                </a:lnTo>
                <a:lnTo>
                  <a:pt x="801" y="193"/>
                </a:lnTo>
                <a:lnTo>
                  <a:pt x="805" y="200"/>
                </a:lnTo>
                <a:lnTo>
                  <a:pt x="806" y="207"/>
                </a:lnTo>
                <a:lnTo>
                  <a:pt x="806" y="217"/>
                </a:lnTo>
                <a:lnTo>
                  <a:pt x="810" y="224"/>
                </a:lnTo>
                <a:lnTo>
                  <a:pt x="810" y="224"/>
                </a:lnTo>
                <a:lnTo>
                  <a:pt x="812" y="224"/>
                </a:lnTo>
                <a:lnTo>
                  <a:pt x="812" y="224"/>
                </a:lnTo>
                <a:lnTo>
                  <a:pt x="816" y="226"/>
                </a:lnTo>
                <a:lnTo>
                  <a:pt x="819" y="226"/>
                </a:lnTo>
                <a:lnTo>
                  <a:pt x="821" y="226"/>
                </a:lnTo>
                <a:lnTo>
                  <a:pt x="823" y="224"/>
                </a:lnTo>
                <a:lnTo>
                  <a:pt x="825" y="220"/>
                </a:lnTo>
                <a:lnTo>
                  <a:pt x="827" y="220"/>
                </a:lnTo>
                <a:lnTo>
                  <a:pt x="829" y="220"/>
                </a:lnTo>
                <a:lnTo>
                  <a:pt x="829" y="220"/>
                </a:lnTo>
                <a:lnTo>
                  <a:pt x="834" y="220"/>
                </a:lnTo>
                <a:lnTo>
                  <a:pt x="836" y="222"/>
                </a:lnTo>
                <a:lnTo>
                  <a:pt x="840" y="226"/>
                </a:lnTo>
                <a:lnTo>
                  <a:pt x="842" y="230"/>
                </a:lnTo>
                <a:lnTo>
                  <a:pt x="845" y="228"/>
                </a:lnTo>
                <a:lnTo>
                  <a:pt x="845" y="228"/>
                </a:lnTo>
                <a:lnTo>
                  <a:pt x="851" y="226"/>
                </a:lnTo>
                <a:lnTo>
                  <a:pt x="853" y="222"/>
                </a:lnTo>
                <a:lnTo>
                  <a:pt x="855" y="217"/>
                </a:lnTo>
                <a:lnTo>
                  <a:pt x="855" y="213"/>
                </a:lnTo>
                <a:lnTo>
                  <a:pt x="853" y="204"/>
                </a:lnTo>
                <a:lnTo>
                  <a:pt x="849" y="194"/>
                </a:lnTo>
                <a:lnTo>
                  <a:pt x="838" y="176"/>
                </a:lnTo>
                <a:lnTo>
                  <a:pt x="832" y="169"/>
                </a:lnTo>
                <a:lnTo>
                  <a:pt x="832" y="165"/>
                </a:lnTo>
                <a:lnTo>
                  <a:pt x="832" y="165"/>
                </a:lnTo>
                <a:lnTo>
                  <a:pt x="832" y="163"/>
                </a:lnTo>
                <a:lnTo>
                  <a:pt x="834" y="161"/>
                </a:lnTo>
                <a:lnTo>
                  <a:pt x="840" y="157"/>
                </a:lnTo>
                <a:lnTo>
                  <a:pt x="845" y="156"/>
                </a:lnTo>
                <a:lnTo>
                  <a:pt x="847" y="154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52"/>
                </a:lnTo>
                <a:lnTo>
                  <a:pt x="847" y="144"/>
                </a:lnTo>
                <a:lnTo>
                  <a:pt x="847" y="137"/>
                </a:lnTo>
                <a:lnTo>
                  <a:pt x="851" y="133"/>
                </a:lnTo>
                <a:lnTo>
                  <a:pt x="853" y="130"/>
                </a:lnTo>
                <a:lnTo>
                  <a:pt x="858" y="128"/>
                </a:lnTo>
                <a:lnTo>
                  <a:pt x="862" y="126"/>
                </a:lnTo>
                <a:lnTo>
                  <a:pt x="873" y="126"/>
                </a:lnTo>
                <a:lnTo>
                  <a:pt x="884" y="128"/>
                </a:lnTo>
                <a:lnTo>
                  <a:pt x="895" y="131"/>
                </a:lnTo>
                <a:lnTo>
                  <a:pt x="903" y="133"/>
                </a:lnTo>
                <a:lnTo>
                  <a:pt x="906" y="133"/>
                </a:lnTo>
                <a:lnTo>
                  <a:pt x="906" y="133"/>
                </a:lnTo>
                <a:lnTo>
                  <a:pt x="908" y="131"/>
                </a:lnTo>
                <a:lnTo>
                  <a:pt x="910" y="130"/>
                </a:lnTo>
                <a:lnTo>
                  <a:pt x="906" y="122"/>
                </a:lnTo>
                <a:lnTo>
                  <a:pt x="903" y="117"/>
                </a:lnTo>
                <a:lnTo>
                  <a:pt x="903" y="113"/>
                </a:lnTo>
                <a:lnTo>
                  <a:pt x="903" y="109"/>
                </a:lnTo>
                <a:lnTo>
                  <a:pt x="903" y="109"/>
                </a:lnTo>
                <a:lnTo>
                  <a:pt x="905" y="107"/>
                </a:lnTo>
                <a:lnTo>
                  <a:pt x="908" y="104"/>
                </a:lnTo>
                <a:lnTo>
                  <a:pt x="918" y="102"/>
                </a:lnTo>
                <a:lnTo>
                  <a:pt x="918" y="102"/>
                </a:lnTo>
                <a:lnTo>
                  <a:pt x="918" y="102"/>
                </a:lnTo>
                <a:lnTo>
                  <a:pt x="919" y="100"/>
                </a:lnTo>
                <a:lnTo>
                  <a:pt x="921" y="102"/>
                </a:lnTo>
                <a:lnTo>
                  <a:pt x="925" y="105"/>
                </a:lnTo>
                <a:lnTo>
                  <a:pt x="929" y="111"/>
                </a:lnTo>
                <a:lnTo>
                  <a:pt x="931" y="111"/>
                </a:lnTo>
                <a:lnTo>
                  <a:pt x="932" y="111"/>
                </a:lnTo>
                <a:lnTo>
                  <a:pt x="932" y="111"/>
                </a:lnTo>
                <a:lnTo>
                  <a:pt x="936" y="109"/>
                </a:lnTo>
                <a:lnTo>
                  <a:pt x="938" y="105"/>
                </a:lnTo>
                <a:lnTo>
                  <a:pt x="938" y="100"/>
                </a:lnTo>
                <a:lnTo>
                  <a:pt x="940" y="98"/>
                </a:lnTo>
                <a:lnTo>
                  <a:pt x="940" y="96"/>
                </a:lnTo>
                <a:lnTo>
                  <a:pt x="944" y="96"/>
                </a:lnTo>
                <a:lnTo>
                  <a:pt x="949" y="98"/>
                </a:lnTo>
                <a:lnTo>
                  <a:pt x="949" y="98"/>
                </a:lnTo>
                <a:lnTo>
                  <a:pt x="953" y="100"/>
                </a:lnTo>
                <a:lnTo>
                  <a:pt x="953" y="102"/>
                </a:lnTo>
                <a:lnTo>
                  <a:pt x="953" y="102"/>
                </a:lnTo>
                <a:lnTo>
                  <a:pt x="949" y="107"/>
                </a:lnTo>
                <a:lnTo>
                  <a:pt x="949" y="111"/>
                </a:lnTo>
                <a:lnTo>
                  <a:pt x="949" y="113"/>
                </a:lnTo>
                <a:lnTo>
                  <a:pt x="951" y="113"/>
                </a:lnTo>
                <a:lnTo>
                  <a:pt x="957" y="109"/>
                </a:lnTo>
                <a:lnTo>
                  <a:pt x="957" y="109"/>
                </a:lnTo>
                <a:lnTo>
                  <a:pt x="960" y="105"/>
                </a:lnTo>
                <a:lnTo>
                  <a:pt x="964" y="105"/>
                </a:lnTo>
                <a:lnTo>
                  <a:pt x="964" y="105"/>
                </a:lnTo>
                <a:lnTo>
                  <a:pt x="971" y="105"/>
                </a:lnTo>
                <a:lnTo>
                  <a:pt x="975" y="107"/>
                </a:lnTo>
                <a:lnTo>
                  <a:pt x="977" y="111"/>
                </a:lnTo>
                <a:lnTo>
                  <a:pt x="977" y="117"/>
                </a:lnTo>
                <a:lnTo>
                  <a:pt x="973" y="124"/>
                </a:lnTo>
                <a:lnTo>
                  <a:pt x="973" y="128"/>
                </a:lnTo>
                <a:lnTo>
                  <a:pt x="973" y="128"/>
                </a:lnTo>
                <a:lnTo>
                  <a:pt x="975" y="131"/>
                </a:lnTo>
                <a:lnTo>
                  <a:pt x="981" y="131"/>
                </a:lnTo>
                <a:lnTo>
                  <a:pt x="988" y="133"/>
                </a:lnTo>
                <a:lnTo>
                  <a:pt x="992" y="135"/>
                </a:lnTo>
                <a:lnTo>
                  <a:pt x="994" y="139"/>
                </a:lnTo>
                <a:lnTo>
                  <a:pt x="994" y="146"/>
                </a:lnTo>
                <a:lnTo>
                  <a:pt x="994" y="156"/>
                </a:lnTo>
                <a:lnTo>
                  <a:pt x="994" y="156"/>
                </a:lnTo>
                <a:lnTo>
                  <a:pt x="992" y="159"/>
                </a:lnTo>
                <a:lnTo>
                  <a:pt x="994" y="161"/>
                </a:lnTo>
                <a:lnTo>
                  <a:pt x="994" y="161"/>
                </a:lnTo>
                <a:lnTo>
                  <a:pt x="1001" y="167"/>
                </a:lnTo>
                <a:lnTo>
                  <a:pt x="1007" y="170"/>
                </a:lnTo>
                <a:lnTo>
                  <a:pt x="1021" y="176"/>
                </a:lnTo>
                <a:lnTo>
                  <a:pt x="1034" y="181"/>
                </a:lnTo>
                <a:lnTo>
                  <a:pt x="1042" y="185"/>
                </a:lnTo>
                <a:lnTo>
                  <a:pt x="1047" y="193"/>
                </a:lnTo>
                <a:lnTo>
                  <a:pt x="1047" y="193"/>
                </a:lnTo>
                <a:lnTo>
                  <a:pt x="1051" y="198"/>
                </a:lnTo>
                <a:lnTo>
                  <a:pt x="1053" y="206"/>
                </a:lnTo>
                <a:lnTo>
                  <a:pt x="1055" y="226"/>
                </a:lnTo>
                <a:lnTo>
                  <a:pt x="1057" y="235"/>
                </a:lnTo>
                <a:lnTo>
                  <a:pt x="1060" y="243"/>
                </a:lnTo>
                <a:lnTo>
                  <a:pt x="1064" y="250"/>
                </a:lnTo>
                <a:lnTo>
                  <a:pt x="1070" y="254"/>
                </a:lnTo>
                <a:lnTo>
                  <a:pt x="1070" y="254"/>
                </a:lnTo>
                <a:lnTo>
                  <a:pt x="1071" y="254"/>
                </a:lnTo>
                <a:lnTo>
                  <a:pt x="1073" y="252"/>
                </a:lnTo>
                <a:lnTo>
                  <a:pt x="1073" y="246"/>
                </a:lnTo>
                <a:lnTo>
                  <a:pt x="1070" y="235"/>
                </a:lnTo>
                <a:lnTo>
                  <a:pt x="1070" y="235"/>
                </a:lnTo>
                <a:lnTo>
                  <a:pt x="1066" y="228"/>
                </a:lnTo>
                <a:lnTo>
                  <a:pt x="1064" y="219"/>
                </a:lnTo>
                <a:lnTo>
                  <a:pt x="1062" y="202"/>
                </a:lnTo>
                <a:lnTo>
                  <a:pt x="1062" y="194"/>
                </a:lnTo>
                <a:lnTo>
                  <a:pt x="1060" y="185"/>
                </a:lnTo>
                <a:lnTo>
                  <a:pt x="1055" y="176"/>
                </a:lnTo>
                <a:lnTo>
                  <a:pt x="1045" y="163"/>
                </a:lnTo>
                <a:lnTo>
                  <a:pt x="1045" y="163"/>
                </a:lnTo>
                <a:lnTo>
                  <a:pt x="1040" y="157"/>
                </a:lnTo>
                <a:lnTo>
                  <a:pt x="1034" y="152"/>
                </a:lnTo>
                <a:lnTo>
                  <a:pt x="1034" y="152"/>
                </a:lnTo>
                <a:lnTo>
                  <a:pt x="1034" y="152"/>
                </a:lnTo>
                <a:lnTo>
                  <a:pt x="1029" y="143"/>
                </a:lnTo>
                <a:lnTo>
                  <a:pt x="1025" y="135"/>
                </a:lnTo>
                <a:lnTo>
                  <a:pt x="1023" y="128"/>
                </a:lnTo>
                <a:lnTo>
                  <a:pt x="1023" y="122"/>
                </a:lnTo>
                <a:lnTo>
                  <a:pt x="1027" y="117"/>
                </a:lnTo>
                <a:lnTo>
                  <a:pt x="1029" y="113"/>
                </a:lnTo>
                <a:lnTo>
                  <a:pt x="1034" y="109"/>
                </a:lnTo>
                <a:lnTo>
                  <a:pt x="1040" y="107"/>
                </a:lnTo>
                <a:lnTo>
                  <a:pt x="1053" y="105"/>
                </a:lnTo>
                <a:lnTo>
                  <a:pt x="1070" y="105"/>
                </a:lnTo>
                <a:lnTo>
                  <a:pt x="1084" y="107"/>
                </a:lnTo>
                <a:lnTo>
                  <a:pt x="1096" y="111"/>
                </a:lnTo>
                <a:lnTo>
                  <a:pt x="1096" y="111"/>
                </a:lnTo>
                <a:lnTo>
                  <a:pt x="1103" y="115"/>
                </a:lnTo>
                <a:lnTo>
                  <a:pt x="1109" y="118"/>
                </a:lnTo>
                <a:lnTo>
                  <a:pt x="1121" y="131"/>
                </a:lnTo>
                <a:lnTo>
                  <a:pt x="1142" y="156"/>
                </a:lnTo>
                <a:lnTo>
                  <a:pt x="1142" y="156"/>
                </a:lnTo>
                <a:lnTo>
                  <a:pt x="1151" y="169"/>
                </a:lnTo>
                <a:lnTo>
                  <a:pt x="1157" y="178"/>
                </a:lnTo>
                <a:lnTo>
                  <a:pt x="1157" y="178"/>
                </a:lnTo>
                <a:lnTo>
                  <a:pt x="1159" y="167"/>
                </a:lnTo>
                <a:lnTo>
                  <a:pt x="1157" y="161"/>
                </a:lnTo>
                <a:lnTo>
                  <a:pt x="1157" y="159"/>
                </a:lnTo>
                <a:lnTo>
                  <a:pt x="1155" y="157"/>
                </a:lnTo>
                <a:lnTo>
                  <a:pt x="1155" y="157"/>
                </a:lnTo>
                <a:lnTo>
                  <a:pt x="1151" y="157"/>
                </a:lnTo>
                <a:lnTo>
                  <a:pt x="1149" y="156"/>
                </a:lnTo>
                <a:lnTo>
                  <a:pt x="1149" y="154"/>
                </a:lnTo>
                <a:lnTo>
                  <a:pt x="1149" y="154"/>
                </a:lnTo>
                <a:lnTo>
                  <a:pt x="1151" y="152"/>
                </a:lnTo>
                <a:lnTo>
                  <a:pt x="1155" y="152"/>
                </a:lnTo>
                <a:lnTo>
                  <a:pt x="1155" y="152"/>
                </a:lnTo>
                <a:lnTo>
                  <a:pt x="1162" y="152"/>
                </a:lnTo>
                <a:lnTo>
                  <a:pt x="1168" y="152"/>
                </a:lnTo>
                <a:lnTo>
                  <a:pt x="1173" y="156"/>
                </a:lnTo>
                <a:lnTo>
                  <a:pt x="1177" y="161"/>
                </a:lnTo>
                <a:lnTo>
                  <a:pt x="1177" y="161"/>
                </a:lnTo>
                <a:lnTo>
                  <a:pt x="1177" y="163"/>
                </a:lnTo>
                <a:lnTo>
                  <a:pt x="1177" y="165"/>
                </a:lnTo>
                <a:lnTo>
                  <a:pt x="1179" y="165"/>
                </a:lnTo>
                <a:lnTo>
                  <a:pt x="1179" y="165"/>
                </a:lnTo>
                <a:lnTo>
                  <a:pt x="1185" y="157"/>
                </a:lnTo>
                <a:lnTo>
                  <a:pt x="1188" y="146"/>
                </a:lnTo>
                <a:lnTo>
                  <a:pt x="1196" y="122"/>
                </a:lnTo>
                <a:lnTo>
                  <a:pt x="1199" y="111"/>
                </a:lnTo>
                <a:lnTo>
                  <a:pt x="1205" y="102"/>
                </a:lnTo>
                <a:lnTo>
                  <a:pt x="1212" y="94"/>
                </a:lnTo>
                <a:lnTo>
                  <a:pt x="1218" y="93"/>
                </a:lnTo>
                <a:lnTo>
                  <a:pt x="1223" y="93"/>
                </a:lnTo>
                <a:lnTo>
                  <a:pt x="1223" y="93"/>
                </a:lnTo>
                <a:lnTo>
                  <a:pt x="1236" y="93"/>
                </a:lnTo>
                <a:lnTo>
                  <a:pt x="1242" y="93"/>
                </a:lnTo>
                <a:lnTo>
                  <a:pt x="1246" y="96"/>
                </a:lnTo>
                <a:lnTo>
                  <a:pt x="1249" y="100"/>
                </a:lnTo>
                <a:lnTo>
                  <a:pt x="1251" y="107"/>
                </a:lnTo>
                <a:lnTo>
                  <a:pt x="1255" y="113"/>
                </a:lnTo>
                <a:lnTo>
                  <a:pt x="1257" y="115"/>
                </a:lnTo>
                <a:lnTo>
                  <a:pt x="1261" y="117"/>
                </a:lnTo>
                <a:lnTo>
                  <a:pt x="1274" y="117"/>
                </a:lnTo>
                <a:lnTo>
                  <a:pt x="1292" y="115"/>
                </a:lnTo>
                <a:lnTo>
                  <a:pt x="1292" y="115"/>
                </a:lnTo>
                <a:lnTo>
                  <a:pt x="1296" y="117"/>
                </a:lnTo>
                <a:lnTo>
                  <a:pt x="1303" y="122"/>
                </a:lnTo>
                <a:lnTo>
                  <a:pt x="1309" y="126"/>
                </a:lnTo>
                <a:lnTo>
                  <a:pt x="1312" y="128"/>
                </a:lnTo>
                <a:lnTo>
                  <a:pt x="1314" y="126"/>
                </a:lnTo>
                <a:lnTo>
                  <a:pt x="1314" y="126"/>
                </a:lnTo>
                <a:lnTo>
                  <a:pt x="1312" y="122"/>
                </a:lnTo>
                <a:lnTo>
                  <a:pt x="1311" y="118"/>
                </a:lnTo>
                <a:lnTo>
                  <a:pt x="1311" y="118"/>
                </a:lnTo>
                <a:lnTo>
                  <a:pt x="1305" y="113"/>
                </a:lnTo>
                <a:lnTo>
                  <a:pt x="1303" y="111"/>
                </a:lnTo>
                <a:lnTo>
                  <a:pt x="1305" y="109"/>
                </a:lnTo>
                <a:lnTo>
                  <a:pt x="1309" y="104"/>
                </a:lnTo>
                <a:lnTo>
                  <a:pt x="1318" y="100"/>
                </a:lnTo>
                <a:lnTo>
                  <a:pt x="1318" y="100"/>
                </a:lnTo>
                <a:lnTo>
                  <a:pt x="1322" y="98"/>
                </a:lnTo>
                <a:lnTo>
                  <a:pt x="1327" y="100"/>
                </a:lnTo>
                <a:lnTo>
                  <a:pt x="1331" y="104"/>
                </a:lnTo>
                <a:lnTo>
                  <a:pt x="1335" y="109"/>
                </a:lnTo>
                <a:lnTo>
                  <a:pt x="1335" y="109"/>
                </a:lnTo>
                <a:lnTo>
                  <a:pt x="1337" y="109"/>
                </a:lnTo>
                <a:lnTo>
                  <a:pt x="1335" y="104"/>
                </a:lnTo>
                <a:lnTo>
                  <a:pt x="1335" y="96"/>
                </a:lnTo>
                <a:lnTo>
                  <a:pt x="1337" y="91"/>
                </a:lnTo>
                <a:lnTo>
                  <a:pt x="1340" y="87"/>
                </a:lnTo>
                <a:lnTo>
                  <a:pt x="1340" y="87"/>
                </a:lnTo>
                <a:lnTo>
                  <a:pt x="1342" y="81"/>
                </a:lnTo>
                <a:lnTo>
                  <a:pt x="1344" y="74"/>
                </a:lnTo>
                <a:lnTo>
                  <a:pt x="1344" y="74"/>
                </a:lnTo>
                <a:lnTo>
                  <a:pt x="1342" y="67"/>
                </a:lnTo>
                <a:lnTo>
                  <a:pt x="1338" y="59"/>
                </a:lnTo>
                <a:lnTo>
                  <a:pt x="1329" y="44"/>
                </a:lnTo>
                <a:lnTo>
                  <a:pt x="1320" y="29"/>
                </a:lnTo>
                <a:lnTo>
                  <a:pt x="1316" y="22"/>
                </a:lnTo>
                <a:lnTo>
                  <a:pt x="1316" y="16"/>
                </a:lnTo>
                <a:lnTo>
                  <a:pt x="1316" y="16"/>
                </a:lnTo>
                <a:lnTo>
                  <a:pt x="1320" y="11"/>
                </a:lnTo>
                <a:lnTo>
                  <a:pt x="1325" y="9"/>
                </a:lnTo>
                <a:lnTo>
                  <a:pt x="1333" y="7"/>
                </a:lnTo>
                <a:lnTo>
                  <a:pt x="1340" y="9"/>
                </a:lnTo>
                <a:lnTo>
                  <a:pt x="1355" y="15"/>
                </a:lnTo>
                <a:lnTo>
                  <a:pt x="1362" y="16"/>
                </a:lnTo>
                <a:lnTo>
                  <a:pt x="1362" y="16"/>
                </a:lnTo>
                <a:lnTo>
                  <a:pt x="1374" y="11"/>
                </a:lnTo>
                <a:lnTo>
                  <a:pt x="1392" y="4"/>
                </a:lnTo>
                <a:lnTo>
                  <a:pt x="1403" y="0"/>
                </a:lnTo>
                <a:lnTo>
                  <a:pt x="1414" y="0"/>
                </a:lnTo>
                <a:lnTo>
                  <a:pt x="1418" y="2"/>
                </a:lnTo>
                <a:lnTo>
                  <a:pt x="1424" y="5"/>
                </a:lnTo>
                <a:lnTo>
                  <a:pt x="1427" y="9"/>
                </a:lnTo>
                <a:lnTo>
                  <a:pt x="1429" y="15"/>
                </a:lnTo>
                <a:lnTo>
                  <a:pt x="1429" y="15"/>
                </a:lnTo>
                <a:lnTo>
                  <a:pt x="1431" y="18"/>
                </a:lnTo>
                <a:lnTo>
                  <a:pt x="1431" y="22"/>
                </a:lnTo>
                <a:lnTo>
                  <a:pt x="1429" y="29"/>
                </a:lnTo>
                <a:lnTo>
                  <a:pt x="1429" y="31"/>
                </a:lnTo>
                <a:lnTo>
                  <a:pt x="1431" y="35"/>
                </a:lnTo>
                <a:lnTo>
                  <a:pt x="1437" y="37"/>
                </a:lnTo>
                <a:lnTo>
                  <a:pt x="1448" y="37"/>
                </a:lnTo>
                <a:lnTo>
                  <a:pt x="1448" y="37"/>
                </a:lnTo>
                <a:lnTo>
                  <a:pt x="1459" y="39"/>
                </a:lnTo>
                <a:lnTo>
                  <a:pt x="1463" y="41"/>
                </a:lnTo>
                <a:lnTo>
                  <a:pt x="1463" y="44"/>
                </a:lnTo>
                <a:lnTo>
                  <a:pt x="1463" y="44"/>
                </a:lnTo>
                <a:lnTo>
                  <a:pt x="1461" y="59"/>
                </a:lnTo>
                <a:lnTo>
                  <a:pt x="1457" y="70"/>
                </a:lnTo>
                <a:lnTo>
                  <a:pt x="1455" y="76"/>
                </a:lnTo>
                <a:lnTo>
                  <a:pt x="1455" y="81"/>
                </a:lnTo>
                <a:lnTo>
                  <a:pt x="1459" y="85"/>
                </a:lnTo>
                <a:lnTo>
                  <a:pt x="1463" y="89"/>
                </a:lnTo>
                <a:lnTo>
                  <a:pt x="1463" y="89"/>
                </a:lnTo>
                <a:lnTo>
                  <a:pt x="1468" y="89"/>
                </a:lnTo>
                <a:lnTo>
                  <a:pt x="1474" y="89"/>
                </a:lnTo>
                <a:lnTo>
                  <a:pt x="1479" y="87"/>
                </a:lnTo>
                <a:lnTo>
                  <a:pt x="1483" y="87"/>
                </a:lnTo>
                <a:lnTo>
                  <a:pt x="1483" y="87"/>
                </a:lnTo>
                <a:lnTo>
                  <a:pt x="1489" y="91"/>
                </a:lnTo>
                <a:lnTo>
                  <a:pt x="1494" y="96"/>
                </a:lnTo>
                <a:lnTo>
                  <a:pt x="1502" y="102"/>
                </a:lnTo>
                <a:lnTo>
                  <a:pt x="1509" y="107"/>
                </a:lnTo>
                <a:lnTo>
                  <a:pt x="1509" y="107"/>
                </a:lnTo>
                <a:lnTo>
                  <a:pt x="1516" y="109"/>
                </a:lnTo>
                <a:lnTo>
                  <a:pt x="1520" y="109"/>
                </a:lnTo>
                <a:lnTo>
                  <a:pt x="1522" y="104"/>
                </a:lnTo>
                <a:lnTo>
                  <a:pt x="1520" y="98"/>
                </a:lnTo>
                <a:lnTo>
                  <a:pt x="1520" y="87"/>
                </a:lnTo>
                <a:lnTo>
                  <a:pt x="1520" y="81"/>
                </a:lnTo>
                <a:lnTo>
                  <a:pt x="1524" y="78"/>
                </a:lnTo>
                <a:lnTo>
                  <a:pt x="1524" y="78"/>
                </a:lnTo>
                <a:lnTo>
                  <a:pt x="1542" y="72"/>
                </a:lnTo>
                <a:lnTo>
                  <a:pt x="1555" y="68"/>
                </a:lnTo>
                <a:lnTo>
                  <a:pt x="1566" y="63"/>
                </a:lnTo>
                <a:lnTo>
                  <a:pt x="1581" y="50"/>
                </a:lnTo>
                <a:lnTo>
                  <a:pt x="1581" y="50"/>
                </a:lnTo>
                <a:lnTo>
                  <a:pt x="1585" y="48"/>
                </a:lnTo>
                <a:lnTo>
                  <a:pt x="1594" y="46"/>
                </a:lnTo>
                <a:lnTo>
                  <a:pt x="1616" y="44"/>
                </a:lnTo>
                <a:lnTo>
                  <a:pt x="1639" y="42"/>
                </a:lnTo>
                <a:lnTo>
                  <a:pt x="1646" y="42"/>
                </a:lnTo>
                <a:lnTo>
                  <a:pt x="1650" y="44"/>
                </a:lnTo>
                <a:lnTo>
                  <a:pt x="1650" y="44"/>
                </a:lnTo>
                <a:lnTo>
                  <a:pt x="1644" y="46"/>
                </a:lnTo>
                <a:lnTo>
                  <a:pt x="1631" y="52"/>
                </a:lnTo>
                <a:lnTo>
                  <a:pt x="1609" y="61"/>
                </a:lnTo>
                <a:lnTo>
                  <a:pt x="1609" y="61"/>
                </a:lnTo>
                <a:lnTo>
                  <a:pt x="1590" y="68"/>
                </a:lnTo>
                <a:lnTo>
                  <a:pt x="1579" y="72"/>
                </a:lnTo>
                <a:lnTo>
                  <a:pt x="1576" y="76"/>
                </a:lnTo>
                <a:lnTo>
                  <a:pt x="1576" y="76"/>
                </a:lnTo>
                <a:lnTo>
                  <a:pt x="1576" y="76"/>
                </a:lnTo>
                <a:lnTo>
                  <a:pt x="1579" y="80"/>
                </a:lnTo>
                <a:lnTo>
                  <a:pt x="1583" y="83"/>
                </a:lnTo>
                <a:lnTo>
                  <a:pt x="1587" y="87"/>
                </a:lnTo>
                <a:lnTo>
                  <a:pt x="1589" y="91"/>
                </a:lnTo>
                <a:lnTo>
                  <a:pt x="1589" y="91"/>
                </a:lnTo>
                <a:lnTo>
                  <a:pt x="1589" y="96"/>
                </a:lnTo>
                <a:lnTo>
                  <a:pt x="1585" y="100"/>
                </a:lnTo>
                <a:lnTo>
                  <a:pt x="1585" y="100"/>
                </a:lnTo>
                <a:lnTo>
                  <a:pt x="1578" y="105"/>
                </a:lnTo>
                <a:lnTo>
                  <a:pt x="1565" y="111"/>
                </a:lnTo>
                <a:lnTo>
                  <a:pt x="1552" y="117"/>
                </a:lnTo>
                <a:lnTo>
                  <a:pt x="1550" y="120"/>
                </a:lnTo>
                <a:lnTo>
                  <a:pt x="1548" y="122"/>
                </a:lnTo>
                <a:lnTo>
                  <a:pt x="1548" y="122"/>
                </a:lnTo>
                <a:lnTo>
                  <a:pt x="1553" y="128"/>
                </a:lnTo>
                <a:lnTo>
                  <a:pt x="1557" y="131"/>
                </a:lnTo>
                <a:lnTo>
                  <a:pt x="1570" y="137"/>
                </a:lnTo>
                <a:lnTo>
                  <a:pt x="1583" y="139"/>
                </a:lnTo>
                <a:lnTo>
                  <a:pt x="1596" y="139"/>
                </a:lnTo>
                <a:lnTo>
                  <a:pt x="1620" y="137"/>
                </a:lnTo>
                <a:lnTo>
                  <a:pt x="1628" y="137"/>
                </a:lnTo>
                <a:lnTo>
                  <a:pt x="1633" y="141"/>
                </a:lnTo>
                <a:lnTo>
                  <a:pt x="1633" y="141"/>
                </a:lnTo>
                <a:lnTo>
                  <a:pt x="1639" y="148"/>
                </a:lnTo>
                <a:lnTo>
                  <a:pt x="1641" y="154"/>
                </a:lnTo>
                <a:lnTo>
                  <a:pt x="1642" y="161"/>
                </a:lnTo>
                <a:lnTo>
                  <a:pt x="1642" y="167"/>
                </a:lnTo>
                <a:lnTo>
                  <a:pt x="1641" y="170"/>
                </a:lnTo>
                <a:lnTo>
                  <a:pt x="1639" y="176"/>
                </a:lnTo>
                <a:lnTo>
                  <a:pt x="1633" y="183"/>
                </a:lnTo>
                <a:lnTo>
                  <a:pt x="1615" y="198"/>
                </a:lnTo>
                <a:lnTo>
                  <a:pt x="1607" y="206"/>
                </a:lnTo>
                <a:lnTo>
                  <a:pt x="1600" y="215"/>
                </a:lnTo>
                <a:lnTo>
                  <a:pt x="1600" y="215"/>
                </a:lnTo>
                <a:lnTo>
                  <a:pt x="1600" y="217"/>
                </a:lnTo>
                <a:lnTo>
                  <a:pt x="1602" y="217"/>
                </a:lnTo>
                <a:lnTo>
                  <a:pt x="1605" y="215"/>
                </a:lnTo>
                <a:lnTo>
                  <a:pt x="1611" y="213"/>
                </a:lnTo>
                <a:lnTo>
                  <a:pt x="1613" y="213"/>
                </a:lnTo>
                <a:lnTo>
                  <a:pt x="1613" y="215"/>
                </a:lnTo>
                <a:lnTo>
                  <a:pt x="1613" y="215"/>
                </a:lnTo>
                <a:lnTo>
                  <a:pt x="1613" y="219"/>
                </a:lnTo>
                <a:lnTo>
                  <a:pt x="1609" y="220"/>
                </a:lnTo>
                <a:lnTo>
                  <a:pt x="1607" y="224"/>
                </a:lnTo>
                <a:lnTo>
                  <a:pt x="1607" y="228"/>
                </a:lnTo>
                <a:lnTo>
                  <a:pt x="1607" y="228"/>
                </a:lnTo>
                <a:lnTo>
                  <a:pt x="1609" y="230"/>
                </a:lnTo>
                <a:lnTo>
                  <a:pt x="1611" y="230"/>
                </a:lnTo>
                <a:lnTo>
                  <a:pt x="1620" y="230"/>
                </a:lnTo>
                <a:lnTo>
                  <a:pt x="1646" y="220"/>
                </a:lnTo>
                <a:lnTo>
                  <a:pt x="1672" y="213"/>
                </a:lnTo>
                <a:lnTo>
                  <a:pt x="1681" y="211"/>
                </a:lnTo>
                <a:lnTo>
                  <a:pt x="1685" y="211"/>
                </a:lnTo>
                <a:lnTo>
                  <a:pt x="1687" y="213"/>
                </a:lnTo>
                <a:lnTo>
                  <a:pt x="1687" y="213"/>
                </a:lnTo>
                <a:lnTo>
                  <a:pt x="1687" y="215"/>
                </a:lnTo>
                <a:lnTo>
                  <a:pt x="1687" y="219"/>
                </a:lnTo>
                <a:lnTo>
                  <a:pt x="1683" y="222"/>
                </a:lnTo>
                <a:lnTo>
                  <a:pt x="1679" y="228"/>
                </a:lnTo>
                <a:lnTo>
                  <a:pt x="1678" y="230"/>
                </a:lnTo>
                <a:lnTo>
                  <a:pt x="1678" y="233"/>
                </a:lnTo>
                <a:lnTo>
                  <a:pt x="1678" y="233"/>
                </a:lnTo>
                <a:lnTo>
                  <a:pt x="1678" y="235"/>
                </a:lnTo>
                <a:lnTo>
                  <a:pt x="1681" y="237"/>
                </a:lnTo>
                <a:lnTo>
                  <a:pt x="1689" y="241"/>
                </a:lnTo>
                <a:lnTo>
                  <a:pt x="1694" y="243"/>
                </a:lnTo>
                <a:lnTo>
                  <a:pt x="1694" y="243"/>
                </a:lnTo>
                <a:lnTo>
                  <a:pt x="1694" y="245"/>
                </a:lnTo>
                <a:lnTo>
                  <a:pt x="1694" y="245"/>
                </a:lnTo>
                <a:lnTo>
                  <a:pt x="1685" y="250"/>
                </a:lnTo>
                <a:lnTo>
                  <a:pt x="1676" y="258"/>
                </a:lnTo>
                <a:lnTo>
                  <a:pt x="1676" y="258"/>
                </a:lnTo>
                <a:lnTo>
                  <a:pt x="1666" y="270"/>
                </a:lnTo>
                <a:lnTo>
                  <a:pt x="1655" y="282"/>
                </a:lnTo>
                <a:lnTo>
                  <a:pt x="1655" y="282"/>
                </a:lnTo>
                <a:lnTo>
                  <a:pt x="1650" y="291"/>
                </a:lnTo>
                <a:lnTo>
                  <a:pt x="1648" y="295"/>
                </a:lnTo>
                <a:lnTo>
                  <a:pt x="1648" y="295"/>
                </a:lnTo>
                <a:lnTo>
                  <a:pt x="1650" y="295"/>
                </a:lnTo>
                <a:lnTo>
                  <a:pt x="1650" y="295"/>
                </a:lnTo>
                <a:lnTo>
                  <a:pt x="1655" y="293"/>
                </a:lnTo>
                <a:lnTo>
                  <a:pt x="1661" y="289"/>
                </a:lnTo>
                <a:lnTo>
                  <a:pt x="1672" y="278"/>
                </a:lnTo>
                <a:lnTo>
                  <a:pt x="1685" y="265"/>
                </a:lnTo>
                <a:lnTo>
                  <a:pt x="1694" y="256"/>
                </a:lnTo>
                <a:lnTo>
                  <a:pt x="1694" y="256"/>
                </a:lnTo>
                <a:lnTo>
                  <a:pt x="1698" y="254"/>
                </a:lnTo>
                <a:lnTo>
                  <a:pt x="1700" y="254"/>
                </a:lnTo>
                <a:lnTo>
                  <a:pt x="1704" y="256"/>
                </a:lnTo>
                <a:lnTo>
                  <a:pt x="1704" y="256"/>
                </a:lnTo>
                <a:lnTo>
                  <a:pt x="1707" y="258"/>
                </a:lnTo>
                <a:lnTo>
                  <a:pt x="1707" y="256"/>
                </a:lnTo>
                <a:lnTo>
                  <a:pt x="1705" y="252"/>
                </a:lnTo>
                <a:lnTo>
                  <a:pt x="1705" y="252"/>
                </a:lnTo>
                <a:lnTo>
                  <a:pt x="1707" y="250"/>
                </a:lnTo>
                <a:lnTo>
                  <a:pt x="1709" y="252"/>
                </a:lnTo>
                <a:lnTo>
                  <a:pt x="1717" y="256"/>
                </a:lnTo>
                <a:lnTo>
                  <a:pt x="1717" y="256"/>
                </a:lnTo>
                <a:lnTo>
                  <a:pt x="1730" y="263"/>
                </a:lnTo>
                <a:lnTo>
                  <a:pt x="1737" y="265"/>
                </a:lnTo>
                <a:lnTo>
                  <a:pt x="1744" y="267"/>
                </a:lnTo>
                <a:lnTo>
                  <a:pt x="1744" y="267"/>
                </a:lnTo>
                <a:lnTo>
                  <a:pt x="1755" y="265"/>
                </a:lnTo>
                <a:lnTo>
                  <a:pt x="1761" y="267"/>
                </a:lnTo>
                <a:lnTo>
                  <a:pt x="1765" y="269"/>
                </a:lnTo>
                <a:lnTo>
                  <a:pt x="1767" y="272"/>
                </a:lnTo>
                <a:lnTo>
                  <a:pt x="1768" y="282"/>
                </a:lnTo>
                <a:lnTo>
                  <a:pt x="1770" y="285"/>
                </a:lnTo>
                <a:lnTo>
                  <a:pt x="1776" y="287"/>
                </a:lnTo>
                <a:lnTo>
                  <a:pt x="1776" y="287"/>
                </a:lnTo>
                <a:lnTo>
                  <a:pt x="1783" y="285"/>
                </a:lnTo>
                <a:lnTo>
                  <a:pt x="1793" y="283"/>
                </a:lnTo>
                <a:lnTo>
                  <a:pt x="1798" y="282"/>
                </a:lnTo>
                <a:lnTo>
                  <a:pt x="1804" y="283"/>
                </a:lnTo>
                <a:lnTo>
                  <a:pt x="1806" y="287"/>
                </a:lnTo>
                <a:lnTo>
                  <a:pt x="1807" y="293"/>
                </a:lnTo>
                <a:lnTo>
                  <a:pt x="1807" y="293"/>
                </a:lnTo>
                <a:lnTo>
                  <a:pt x="1806" y="304"/>
                </a:lnTo>
                <a:lnTo>
                  <a:pt x="1802" y="311"/>
                </a:lnTo>
                <a:lnTo>
                  <a:pt x="1796" y="319"/>
                </a:lnTo>
                <a:lnTo>
                  <a:pt x="1791" y="324"/>
                </a:lnTo>
                <a:lnTo>
                  <a:pt x="1780" y="332"/>
                </a:lnTo>
                <a:lnTo>
                  <a:pt x="1778" y="334"/>
                </a:lnTo>
                <a:lnTo>
                  <a:pt x="1778" y="334"/>
                </a:lnTo>
                <a:lnTo>
                  <a:pt x="1778" y="334"/>
                </a:lnTo>
                <a:lnTo>
                  <a:pt x="1785" y="337"/>
                </a:lnTo>
                <a:lnTo>
                  <a:pt x="1787" y="339"/>
                </a:lnTo>
                <a:lnTo>
                  <a:pt x="1785" y="343"/>
                </a:lnTo>
                <a:lnTo>
                  <a:pt x="1785" y="343"/>
                </a:lnTo>
                <a:lnTo>
                  <a:pt x="1776" y="345"/>
                </a:lnTo>
                <a:lnTo>
                  <a:pt x="1761" y="348"/>
                </a:lnTo>
                <a:lnTo>
                  <a:pt x="1748" y="354"/>
                </a:lnTo>
                <a:lnTo>
                  <a:pt x="1742" y="356"/>
                </a:lnTo>
                <a:lnTo>
                  <a:pt x="1742" y="359"/>
                </a:lnTo>
                <a:lnTo>
                  <a:pt x="1742" y="359"/>
                </a:lnTo>
                <a:lnTo>
                  <a:pt x="1744" y="359"/>
                </a:lnTo>
                <a:lnTo>
                  <a:pt x="1748" y="358"/>
                </a:lnTo>
                <a:lnTo>
                  <a:pt x="1754" y="356"/>
                </a:lnTo>
                <a:lnTo>
                  <a:pt x="1754" y="356"/>
                </a:lnTo>
                <a:lnTo>
                  <a:pt x="1767" y="354"/>
                </a:lnTo>
                <a:lnTo>
                  <a:pt x="1780" y="352"/>
                </a:lnTo>
                <a:lnTo>
                  <a:pt x="1793" y="350"/>
                </a:lnTo>
                <a:lnTo>
                  <a:pt x="1798" y="352"/>
                </a:lnTo>
                <a:lnTo>
                  <a:pt x="1804" y="354"/>
                </a:lnTo>
                <a:lnTo>
                  <a:pt x="1804" y="354"/>
                </a:lnTo>
                <a:lnTo>
                  <a:pt x="1811" y="356"/>
                </a:lnTo>
                <a:lnTo>
                  <a:pt x="1813" y="359"/>
                </a:lnTo>
                <a:lnTo>
                  <a:pt x="1815" y="361"/>
                </a:lnTo>
                <a:lnTo>
                  <a:pt x="1815" y="361"/>
                </a:lnTo>
                <a:lnTo>
                  <a:pt x="1813" y="365"/>
                </a:lnTo>
                <a:lnTo>
                  <a:pt x="1809" y="369"/>
                </a:lnTo>
                <a:lnTo>
                  <a:pt x="1806" y="372"/>
                </a:lnTo>
                <a:lnTo>
                  <a:pt x="1802" y="374"/>
                </a:lnTo>
                <a:lnTo>
                  <a:pt x="1791" y="374"/>
                </a:lnTo>
                <a:lnTo>
                  <a:pt x="1778" y="374"/>
                </a:lnTo>
                <a:lnTo>
                  <a:pt x="1754" y="374"/>
                </a:lnTo>
                <a:lnTo>
                  <a:pt x="1742" y="376"/>
                </a:lnTo>
                <a:lnTo>
                  <a:pt x="1739" y="378"/>
                </a:lnTo>
                <a:lnTo>
                  <a:pt x="1737" y="380"/>
                </a:lnTo>
                <a:lnTo>
                  <a:pt x="1737" y="380"/>
                </a:lnTo>
                <a:lnTo>
                  <a:pt x="1737" y="382"/>
                </a:lnTo>
                <a:lnTo>
                  <a:pt x="1739" y="382"/>
                </a:lnTo>
                <a:lnTo>
                  <a:pt x="1744" y="382"/>
                </a:lnTo>
                <a:lnTo>
                  <a:pt x="1754" y="382"/>
                </a:lnTo>
                <a:lnTo>
                  <a:pt x="1754" y="382"/>
                </a:lnTo>
                <a:lnTo>
                  <a:pt x="1781" y="382"/>
                </a:lnTo>
                <a:lnTo>
                  <a:pt x="1798" y="382"/>
                </a:lnTo>
                <a:lnTo>
                  <a:pt x="1806" y="384"/>
                </a:lnTo>
                <a:lnTo>
                  <a:pt x="1806" y="384"/>
                </a:lnTo>
                <a:lnTo>
                  <a:pt x="1806" y="387"/>
                </a:lnTo>
                <a:lnTo>
                  <a:pt x="1804" y="389"/>
                </a:lnTo>
                <a:lnTo>
                  <a:pt x="1794" y="391"/>
                </a:lnTo>
                <a:lnTo>
                  <a:pt x="1787" y="393"/>
                </a:lnTo>
                <a:lnTo>
                  <a:pt x="1785" y="395"/>
                </a:lnTo>
                <a:lnTo>
                  <a:pt x="1785" y="397"/>
                </a:lnTo>
                <a:lnTo>
                  <a:pt x="1785" y="397"/>
                </a:lnTo>
                <a:lnTo>
                  <a:pt x="1789" y="398"/>
                </a:lnTo>
                <a:lnTo>
                  <a:pt x="1793" y="400"/>
                </a:lnTo>
                <a:lnTo>
                  <a:pt x="1800" y="400"/>
                </a:lnTo>
                <a:lnTo>
                  <a:pt x="1807" y="398"/>
                </a:lnTo>
                <a:lnTo>
                  <a:pt x="1815" y="397"/>
                </a:lnTo>
                <a:lnTo>
                  <a:pt x="1820" y="395"/>
                </a:lnTo>
                <a:lnTo>
                  <a:pt x="1824" y="397"/>
                </a:lnTo>
                <a:lnTo>
                  <a:pt x="1826" y="402"/>
                </a:lnTo>
                <a:lnTo>
                  <a:pt x="1826" y="413"/>
                </a:lnTo>
                <a:lnTo>
                  <a:pt x="1826" y="413"/>
                </a:lnTo>
                <a:lnTo>
                  <a:pt x="1824" y="419"/>
                </a:lnTo>
                <a:lnTo>
                  <a:pt x="1818" y="423"/>
                </a:lnTo>
                <a:lnTo>
                  <a:pt x="1809" y="424"/>
                </a:lnTo>
                <a:lnTo>
                  <a:pt x="1809" y="424"/>
                </a:lnTo>
                <a:lnTo>
                  <a:pt x="1806" y="428"/>
                </a:lnTo>
                <a:lnTo>
                  <a:pt x="1806" y="432"/>
                </a:lnTo>
                <a:lnTo>
                  <a:pt x="1806" y="435"/>
                </a:lnTo>
                <a:lnTo>
                  <a:pt x="1804" y="437"/>
                </a:lnTo>
                <a:lnTo>
                  <a:pt x="1804" y="437"/>
                </a:lnTo>
                <a:lnTo>
                  <a:pt x="1794" y="441"/>
                </a:lnTo>
                <a:lnTo>
                  <a:pt x="1785" y="439"/>
                </a:lnTo>
                <a:lnTo>
                  <a:pt x="1778" y="435"/>
                </a:lnTo>
                <a:lnTo>
                  <a:pt x="1770" y="430"/>
                </a:lnTo>
                <a:lnTo>
                  <a:pt x="1755" y="419"/>
                </a:lnTo>
                <a:lnTo>
                  <a:pt x="1746" y="415"/>
                </a:lnTo>
                <a:lnTo>
                  <a:pt x="1739" y="413"/>
                </a:lnTo>
                <a:lnTo>
                  <a:pt x="1739" y="413"/>
                </a:lnTo>
                <a:lnTo>
                  <a:pt x="1737" y="413"/>
                </a:lnTo>
                <a:lnTo>
                  <a:pt x="1737" y="415"/>
                </a:lnTo>
                <a:lnTo>
                  <a:pt x="1741" y="417"/>
                </a:lnTo>
                <a:lnTo>
                  <a:pt x="1741" y="417"/>
                </a:lnTo>
                <a:lnTo>
                  <a:pt x="1744" y="421"/>
                </a:lnTo>
                <a:lnTo>
                  <a:pt x="1742" y="423"/>
                </a:lnTo>
                <a:lnTo>
                  <a:pt x="1733" y="423"/>
                </a:lnTo>
                <a:lnTo>
                  <a:pt x="1733" y="423"/>
                </a:lnTo>
                <a:lnTo>
                  <a:pt x="1717" y="423"/>
                </a:lnTo>
                <a:lnTo>
                  <a:pt x="1717" y="423"/>
                </a:lnTo>
                <a:lnTo>
                  <a:pt x="1709" y="424"/>
                </a:lnTo>
                <a:lnTo>
                  <a:pt x="1705" y="426"/>
                </a:lnTo>
                <a:lnTo>
                  <a:pt x="1704" y="426"/>
                </a:lnTo>
                <a:lnTo>
                  <a:pt x="1704" y="426"/>
                </a:lnTo>
                <a:lnTo>
                  <a:pt x="1705" y="428"/>
                </a:lnTo>
                <a:lnTo>
                  <a:pt x="1711" y="430"/>
                </a:lnTo>
                <a:lnTo>
                  <a:pt x="1718" y="430"/>
                </a:lnTo>
                <a:lnTo>
                  <a:pt x="1718" y="430"/>
                </a:lnTo>
                <a:lnTo>
                  <a:pt x="1735" y="432"/>
                </a:lnTo>
                <a:lnTo>
                  <a:pt x="1759" y="437"/>
                </a:lnTo>
                <a:lnTo>
                  <a:pt x="1772" y="441"/>
                </a:lnTo>
                <a:lnTo>
                  <a:pt x="1781" y="445"/>
                </a:lnTo>
                <a:lnTo>
                  <a:pt x="1789" y="450"/>
                </a:lnTo>
                <a:lnTo>
                  <a:pt x="1791" y="454"/>
                </a:lnTo>
                <a:lnTo>
                  <a:pt x="1793" y="456"/>
                </a:lnTo>
                <a:lnTo>
                  <a:pt x="1793" y="456"/>
                </a:lnTo>
                <a:lnTo>
                  <a:pt x="1793" y="458"/>
                </a:lnTo>
                <a:lnTo>
                  <a:pt x="1791" y="458"/>
                </a:lnTo>
                <a:lnTo>
                  <a:pt x="1785" y="460"/>
                </a:lnTo>
                <a:lnTo>
                  <a:pt x="1765" y="458"/>
                </a:lnTo>
                <a:lnTo>
                  <a:pt x="1746" y="454"/>
                </a:lnTo>
                <a:lnTo>
                  <a:pt x="1735" y="454"/>
                </a:lnTo>
                <a:lnTo>
                  <a:pt x="1735" y="454"/>
                </a:lnTo>
                <a:lnTo>
                  <a:pt x="1733" y="454"/>
                </a:lnTo>
                <a:lnTo>
                  <a:pt x="1735" y="456"/>
                </a:lnTo>
                <a:lnTo>
                  <a:pt x="1739" y="458"/>
                </a:lnTo>
                <a:lnTo>
                  <a:pt x="1746" y="461"/>
                </a:lnTo>
                <a:lnTo>
                  <a:pt x="1746" y="461"/>
                </a:lnTo>
                <a:lnTo>
                  <a:pt x="1765" y="463"/>
                </a:lnTo>
                <a:lnTo>
                  <a:pt x="1774" y="465"/>
                </a:lnTo>
                <a:lnTo>
                  <a:pt x="1778" y="469"/>
                </a:lnTo>
                <a:lnTo>
                  <a:pt x="1781" y="473"/>
                </a:lnTo>
                <a:lnTo>
                  <a:pt x="1781" y="473"/>
                </a:lnTo>
                <a:lnTo>
                  <a:pt x="1781" y="478"/>
                </a:lnTo>
                <a:lnTo>
                  <a:pt x="1780" y="480"/>
                </a:lnTo>
                <a:lnTo>
                  <a:pt x="1774" y="482"/>
                </a:lnTo>
                <a:lnTo>
                  <a:pt x="1768" y="482"/>
                </a:lnTo>
                <a:lnTo>
                  <a:pt x="1755" y="480"/>
                </a:lnTo>
                <a:lnTo>
                  <a:pt x="1750" y="480"/>
                </a:lnTo>
                <a:lnTo>
                  <a:pt x="1750" y="480"/>
                </a:lnTo>
                <a:lnTo>
                  <a:pt x="1750" y="482"/>
                </a:lnTo>
                <a:lnTo>
                  <a:pt x="1752" y="482"/>
                </a:lnTo>
                <a:lnTo>
                  <a:pt x="1759" y="486"/>
                </a:lnTo>
                <a:lnTo>
                  <a:pt x="1767" y="487"/>
                </a:lnTo>
                <a:lnTo>
                  <a:pt x="1770" y="489"/>
                </a:lnTo>
                <a:lnTo>
                  <a:pt x="1770" y="491"/>
                </a:lnTo>
                <a:lnTo>
                  <a:pt x="1770" y="491"/>
                </a:lnTo>
                <a:lnTo>
                  <a:pt x="1767" y="493"/>
                </a:lnTo>
                <a:lnTo>
                  <a:pt x="1767" y="493"/>
                </a:lnTo>
                <a:lnTo>
                  <a:pt x="1761" y="491"/>
                </a:lnTo>
                <a:lnTo>
                  <a:pt x="1755" y="493"/>
                </a:lnTo>
                <a:lnTo>
                  <a:pt x="1742" y="500"/>
                </a:lnTo>
                <a:lnTo>
                  <a:pt x="1728" y="510"/>
                </a:lnTo>
                <a:lnTo>
                  <a:pt x="1718" y="515"/>
                </a:lnTo>
                <a:lnTo>
                  <a:pt x="1707" y="521"/>
                </a:lnTo>
                <a:lnTo>
                  <a:pt x="1707" y="521"/>
                </a:lnTo>
                <a:lnTo>
                  <a:pt x="1704" y="521"/>
                </a:lnTo>
                <a:lnTo>
                  <a:pt x="1704" y="521"/>
                </a:lnTo>
                <a:lnTo>
                  <a:pt x="1694" y="517"/>
                </a:lnTo>
                <a:lnTo>
                  <a:pt x="1689" y="511"/>
                </a:lnTo>
                <a:lnTo>
                  <a:pt x="1678" y="499"/>
                </a:lnTo>
                <a:lnTo>
                  <a:pt x="1678" y="499"/>
                </a:lnTo>
                <a:lnTo>
                  <a:pt x="1674" y="495"/>
                </a:lnTo>
                <a:lnTo>
                  <a:pt x="1665" y="491"/>
                </a:lnTo>
                <a:lnTo>
                  <a:pt x="1659" y="491"/>
                </a:lnTo>
                <a:lnTo>
                  <a:pt x="1657" y="491"/>
                </a:lnTo>
                <a:lnTo>
                  <a:pt x="1657" y="491"/>
                </a:lnTo>
                <a:lnTo>
                  <a:pt x="1657" y="491"/>
                </a:lnTo>
                <a:lnTo>
                  <a:pt x="1679" y="511"/>
                </a:lnTo>
                <a:lnTo>
                  <a:pt x="1692" y="524"/>
                </a:lnTo>
                <a:lnTo>
                  <a:pt x="1696" y="530"/>
                </a:lnTo>
                <a:lnTo>
                  <a:pt x="1698" y="534"/>
                </a:lnTo>
                <a:lnTo>
                  <a:pt x="1698" y="534"/>
                </a:lnTo>
                <a:lnTo>
                  <a:pt x="1696" y="536"/>
                </a:lnTo>
                <a:lnTo>
                  <a:pt x="1692" y="536"/>
                </a:lnTo>
                <a:lnTo>
                  <a:pt x="1683" y="534"/>
                </a:lnTo>
                <a:lnTo>
                  <a:pt x="1672" y="530"/>
                </a:lnTo>
                <a:lnTo>
                  <a:pt x="1666" y="528"/>
                </a:lnTo>
                <a:lnTo>
                  <a:pt x="1663" y="530"/>
                </a:lnTo>
                <a:lnTo>
                  <a:pt x="1663" y="530"/>
                </a:lnTo>
                <a:lnTo>
                  <a:pt x="1663" y="532"/>
                </a:lnTo>
                <a:lnTo>
                  <a:pt x="1663" y="534"/>
                </a:lnTo>
                <a:lnTo>
                  <a:pt x="1663" y="534"/>
                </a:lnTo>
                <a:lnTo>
                  <a:pt x="1672" y="543"/>
                </a:lnTo>
                <a:lnTo>
                  <a:pt x="1672" y="547"/>
                </a:lnTo>
                <a:lnTo>
                  <a:pt x="1672" y="549"/>
                </a:lnTo>
                <a:lnTo>
                  <a:pt x="1670" y="549"/>
                </a:lnTo>
                <a:lnTo>
                  <a:pt x="1665" y="547"/>
                </a:lnTo>
                <a:lnTo>
                  <a:pt x="1665" y="547"/>
                </a:lnTo>
                <a:lnTo>
                  <a:pt x="1659" y="547"/>
                </a:lnTo>
                <a:lnTo>
                  <a:pt x="1652" y="549"/>
                </a:lnTo>
                <a:lnTo>
                  <a:pt x="1648" y="549"/>
                </a:lnTo>
                <a:lnTo>
                  <a:pt x="1646" y="550"/>
                </a:lnTo>
                <a:lnTo>
                  <a:pt x="1646" y="554"/>
                </a:lnTo>
                <a:lnTo>
                  <a:pt x="1648" y="556"/>
                </a:lnTo>
                <a:lnTo>
                  <a:pt x="1648" y="556"/>
                </a:lnTo>
                <a:lnTo>
                  <a:pt x="1657" y="562"/>
                </a:lnTo>
                <a:lnTo>
                  <a:pt x="1661" y="562"/>
                </a:lnTo>
                <a:lnTo>
                  <a:pt x="1665" y="562"/>
                </a:lnTo>
                <a:lnTo>
                  <a:pt x="1672" y="556"/>
                </a:lnTo>
                <a:lnTo>
                  <a:pt x="1681" y="550"/>
                </a:lnTo>
                <a:lnTo>
                  <a:pt x="1681" y="550"/>
                </a:lnTo>
                <a:lnTo>
                  <a:pt x="1683" y="550"/>
                </a:lnTo>
                <a:lnTo>
                  <a:pt x="1685" y="550"/>
                </a:lnTo>
                <a:lnTo>
                  <a:pt x="1685" y="550"/>
                </a:lnTo>
                <a:lnTo>
                  <a:pt x="1685" y="550"/>
                </a:lnTo>
                <a:lnTo>
                  <a:pt x="1683" y="554"/>
                </a:lnTo>
                <a:lnTo>
                  <a:pt x="1679" y="560"/>
                </a:lnTo>
                <a:lnTo>
                  <a:pt x="1670" y="567"/>
                </a:lnTo>
                <a:lnTo>
                  <a:pt x="1670" y="567"/>
                </a:lnTo>
                <a:close/>
                <a:moveTo>
                  <a:pt x="1390" y="287"/>
                </a:moveTo>
                <a:lnTo>
                  <a:pt x="1390" y="287"/>
                </a:lnTo>
                <a:lnTo>
                  <a:pt x="1392" y="282"/>
                </a:lnTo>
                <a:lnTo>
                  <a:pt x="1392" y="276"/>
                </a:lnTo>
                <a:lnTo>
                  <a:pt x="1390" y="270"/>
                </a:lnTo>
                <a:lnTo>
                  <a:pt x="1388" y="265"/>
                </a:lnTo>
                <a:lnTo>
                  <a:pt x="1381" y="256"/>
                </a:lnTo>
                <a:lnTo>
                  <a:pt x="1372" y="248"/>
                </a:lnTo>
                <a:lnTo>
                  <a:pt x="1372" y="248"/>
                </a:lnTo>
                <a:lnTo>
                  <a:pt x="1372" y="248"/>
                </a:lnTo>
                <a:lnTo>
                  <a:pt x="1366" y="243"/>
                </a:lnTo>
                <a:lnTo>
                  <a:pt x="1362" y="237"/>
                </a:lnTo>
                <a:lnTo>
                  <a:pt x="1359" y="224"/>
                </a:lnTo>
                <a:lnTo>
                  <a:pt x="1355" y="213"/>
                </a:lnTo>
                <a:lnTo>
                  <a:pt x="1353" y="209"/>
                </a:lnTo>
                <a:lnTo>
                  <a:pt x="1350" y="206"/>
                </a:lnTo>
                <a:lnTo>
                  <a:pt x="1350" y="206"/>
                </a:lnTo>
                <a:lnTo>
                  <a:pt x="1348" y="206"/>
                </a:lnTo>
                <a:lnTo>
                  <a:pt x="1348" y="207"/>
                </a:lnTo>
                <a:lnTo>
                  <a:pt x="1348" y="213"/>
                </a:lnTo>
                <a:lnTo>
                  <a:pt x="1350" y="220"/>
                </a:lnTo>
                <a:lnTo>
                  <a:pt x="1350" y="220"/>
                </a:lnTo>
                <a:lnTo>
                  <a:pt x="1348" y="230"/>
                </a:lnTo>
                <a:lnTo>
                  <a:pt x="1346" y="235"/>
                </a:lnTo>
                <a:lnTo>
                  <a:pt x="1348" y="239"/>
                </a:lnTo>
                <a:lnTo>
                  <a:pt x="1348" y="239"/>
                </a:lnTo>
                <a:lnTo>
                  <a:pt x="1350" y="245"/>
                </a:lnTo>
                <a:lnTo>
                  <a:pt x="1355" y="248"/>
                </a:lnTo>
                <a:lnTo>
                  <a:pt x="1366" y="256"/>
                </a:lnTo>
                <a:lnTo>
                  <a:pt x="1377" y="263"/>
                </a:lnTo>
                <a:lnTo>
                  <a:pt x="1385" y="269"/>
                </a:lnTo>
                <a:lnTo>
                  <a:pt x="1385" y="269"/>
                </a:lnTo>
                <a:lnTo>
                  <a:pt x="1385" y="272"/>
                </a:lnTo>
                <a:lnTo>
                  <a:pt x="1385" y="280"/>
                </a:lnTo>
                <a:lnTo>
                  <a:pt x="1385" y="287"/>
                </a:lnTo>
                <a:lnTo>
                  <a:pt x="1387" y="291"/>
                </a:lnTo>
                <a:lnTo>
                  <a:pt x="1388" y="293"/>
                </a:lnTo>
                <a:lnTo>
                  <a:pt x="1388" y="293"/>
                </a:lnTo>
                <a:lnTo>
                  <a:pt x="1390" y="293"/>
                </a:lnTo>
                <a:lnTo>
                  <a:pt x="1390" y="293"/>
                </a:lnTo>
                <a:lnTo>
                  <a:pt x="1390" y="287"/>
                </a:lnTo>
                <a:lnTo>
                  <a:pt x="1390" y="287"/>
                </a:lnTo>
                <a:close/>
                <a:moveTo>
                  <a:pt x="1678" y="334"/>
                </a:moveTo>
                <a:lnTo>
                  <a:pt x="1678" y="334"/>
                </a:lnTo>
                <a:lnTo>
                  <a:pt x="1678" y="334"/>
                </a:lnTo>
                <a:lnTo>
                  <a:pt x="1676" y="335"/>
                </a:lnTo>
                <a:lnTo>
                  <a:pt x="1676" y="337"/>
                </a:lnTo>
                <a:lnTo>
                  <a:pt x="1674" y="346"/>
                </a:lnTo>
                <a:lnTo>
                  <a:pt x="1672" y="354"/>
                </a:lnTo>
                <a:lnTo>
                  <a:pt x="1670" y="358"/>
                </a:lnTo>
                <a:lnTo>
                  <a:pt x="1668" y="361"/>
                </a:lnTo>
                <a:lnTo>
                  <a:pt x="1668" y="361"/>
                </a:lnTo>
                <a:lnTo>
                  <a:pt x="1661" y="365"/>
                </a:lnTo>
                <a:lnTo>
                  <a:pt x="1654" y="371"/>
                </a:lnTo>
                <a:lnTo>
                  <a:pt x="1642" y="382"/>
                </a:lnTo>
                <a:lnTo>
                  <a:pt x="1642" y="382"/>
                </a:lnTo>
                <a:lnTo>
                  <a:pt x="1618" y="397"/>
                </a:lnTo>
                <a:lnTo>
                  <a:pt x="1618" y="397"/>
                </a:lnTo>
                <a:lnTo>
                  <a:pt x="1611" y="404"/>
                </a:lnTo>
                <a:lnTo>
                  <a:pt x="1611" y="406"/>
                </a:lnTo>
                <a:lnTo>
                  <a:pt x="1613" y="404"/>
                </a:lnTo>
                <a:lnTo>
                  <a:pt x="1624" y="400"/>
                </a:lnTo>
                <a:lnTo>
                  <a:pt x="1639" y="391"/>
                </a:lnTo>
                <a:lnTo>
                  <a:pt x="1655" y="378"/>
                </a:lnTo>
                <a:lnTo>
                  <a:pt x="1670" y="363"/>
                </a:lnTo>
                <a:lnTo>
                  <a:pt x="1674" y="356"/>
                </a:lnTo>
                <a:lnTo>
                  <a:pt x="1678" y="348"/>
                </a:lnTo>
                <a:lnTo>
                  <a:pt x="1679" y="341"/>
                </a:lnTo>
                <a:lnTo>
                  <a:pt x="1678" y="334"/>
                </a:lnTo>
                <a:lnTo>
                  <a:pt x="1678" y="334"/>
                </a:lnTo>
                <a:close/>
              </a:path>
            </a:pathLst>
          </a:custGeom>
          <a:solidFill>
            <a:schemeClr val="accent3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Denmark Text"/>
          <p:cNvSpPr txBox="1">
            <a:spLocks/>
          </p:cNvSpPr>
          <p:nvPr/>
        </p:nvSpPr>
        <p:spPr>
          <a:xfrm>
            <a:off x="6951757" y="6300514"/>
            <a:ext cx="50210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chemeClr val="accent1"/>
                </a:solidFill>
              </a:rPr>
              <a:t>Denmark</a:t>
            </a:r>
          </a:p>
        </p:txBody>
      </p:sp>
      <p:sp>
        <p:nvSpPr>
          <p:cNvPr id="17" name="Finland Text"/>
          <p:cNvSpPr txBox="1">
            <a:spLocks/>
          </p:cNvSpPr>
          <p:nvPr/>
        </p:nvSpPr>
        <p:spPr>
          <a:xfrm>
            <a:off x="9395451" y="1490970"/>
            <a:ext cx="40413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chemeClr val="accent1"/>
                </a:solidFill>
              </a:rPr>
              <a:t>Finland</a:t>
            </a:r>
          </a:p>
        </p:txBody>
      </p:sp>
      <p:sp>
        <p:nvSpPr>
          <p:cNvPr id="18" name="Sweden Text"/>
          <p:cNvSpPr txBox="1">
            <a:spLocks/>
          </p:cNvSpPr>
          <p:nvPr/>
        </p:nvSpPr>
        <p:spPr>
          <a:xfrm>
            <a:off x="7923002" y="4135144"/>
            <a:ext cx="437377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chemeClr val="accent1"/>
                </a:solidFill>
              </a:rPr>
              <a:t>Sweden</a:t>
            </a:r>
          </a:p>
        </p:txBody>
      </p:sp>
      <p:sp>
        <p:nvSpPr>
          <p:cNvPr id="19" name="Norway Text"/>
          <p:cNvSpPr txBox="1">
            <a:spLocks/>
          </p:cNvSpPr>
          <p:nvPr/>
        </p:nvSpPr>
        <p:spPr>
          <a:xfrm>
            <a:off x="6835114" y="4395685"/>
            <a:ext cx="42863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chemeClr val="accent1"/>
                </a:solidFill>
              </a:rPr>
              <a:t>Norway</a:t>
            </a:r>
          </a:p>
        </p:txBody>
      </p:sp>
      <p:sp>
        <p:nvSpPr>
          <p:cNvPr id="20" name="Iceland Text"/>
          <p:cNvSpPr txBox="1">
            <a:spLocks/>
          </p:cNvSpPr>
          <p:nvPr/>
        </p:nvSpPr>
        <p:spPr>
          <a:xfrm>
            <a:off x="2541418" y="4563309"/>
            <a:ext cx="39189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900" b="1" dirty="0">
                <a:solidFill>
                  <a:schemeClr val="accent1"/>
                </a:solidFill>
              </a:rPr>
              <a:t>Iceland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9137721" y="6964656"/>
            <a:ext cx="2355779" cy="1767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>
          <a:xfrm>
            <a:off x="3395663" y="6356350"/>
            <a:ext cx="5400675" cy="22250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950" kern="1200">
                <a:solidFill>
                  <a:srgbClr val="385988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>
              <a:noFill/>
            </a:endParaRPr>
          </a:p>
        </p:txBody>
      </p:sp>
      <p:grpSp>
        <p:nvGrpSpPr>
          <p:cNvPr id="23" name="Greenland"/>
          <p:cNvGrpSpPr>
            <a:grpSpLocks/>
          </p:cNvGrpSpPr>
          <p:nvPr/>
        </p:nvGrpSpPr>
        <p:grpSpPr>
          <a:xfrm>
            <a:off x="-585190" y="-350005"/>
            <a:ext cx="3236080" cy="4498713"/>
            <a:chOff x="-585190" y="-350005"/>
            <a:chExt cx="3236080" cy="4498713"/>
          </a:xfrm>
        </p:grpSpPr>
        <p:sp>
          <p:nvSpPr>
            <p:cNvPr id="190" name="Freeform 10"/>
            <p:cNvSpPr>
              <a:spLocks/>
            </p:cNvSpPr>
            <p:nvPr/>
          </p:nvSpPr>
          <p:spPr bwMode="auto">
            <a:xfrm rot="1181657">
              <a:off x="1599678" y="2376697"/>
              <a:ext cx="289129" cy="250343"/>
            </a:xfrm>
            <a:custGeom>
              <a:avLst/>
              <a:gdLst>
                <a:gd name="T0" fmla="*/ 72 w 82"/>
                <a:gd name="T1" fmla="*/ 10 h 71"/>
                <a:gd name="T2" fmla="*/ 82 w 82"/>
                <a:gd name="T3" fmla="*/ 35 h 71"/>
                <a:gd name="T4" fmla="*/ 67 w 82"/>
                <a:gd name="T5" fmla="*/ 45 h 71"/>
                <a:gd name="T6" fmla="*/ 62 w 82"/>
                <a:gd name="T7" fmla="*/ 61 h 71"/>
                <a:gd name="T8" fmla="*/ 46 w 82"/>
                <a:gd name="T9" fmla="*/ 50 h 71"/>
                <a:gd name="T10" fmla="*/ 16 w 82"/>
                <a:gd name="T11" fmla="*/ 71 h 71"/>
                <a:gd name="T12" fmla="*/ 0 w 82"/>
                <a:gd name="T13" fmla="*/ 71 h 71"/>
                <a:gd name="T14" fmla="*/ 5 w 82"/>
                <a:gd name="T15" fmla="*/ 25 h 71"/>
                <a:gd name="T16" fmla="*/ 16 w 82"/>
                <a:gd name="T17" fmla="*/ 30 h 71"/>
                <a:gd name="T18" fmla="*/ 36 w 82"/>
                <a:gd name="T19" fmla="*/ 25 h 71"/>
                <a:gd name="T20" fmla="*/ 57 w 82"/>
                <a:gd name="T21" fmla="*/ 0 h 71"/>
                <a:gd name="T22" fmla="*/ 72 w 82"/>
                <a:gd name="T23" fmla="*/ 1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2" h="71">
                  <a:moveTo>
                    <a:pt x="72" y="10"/>
                  </a:moveTo>
                  <a:lnTo>
                    <a:pt x="82" y="35"/>
                  </a:lnTo>
                  <a:lnTo>
                    <a:pt x="67" y="45"/>
                  </a:lnTo>
                  <a:lnTo>
                    <a:pt x="62" y="61"/>
                  </a:lnTo>
                  <a:lnTo>
                    <a:pt x="46" y="50"/>
                  </a:lnTo>
                  <a:lnTo>
                    <a:pt x="16" y="71"/>
                  </a:lnTo>
                  <a:lnTo>
                    <a:pt x="0" y="71"/>
                  </a:lnTo>
                  <a:lnTo>
                    <a:pt x="5" y="25"/>
                  </a:lnTo>
                  <a:lnTo>
                    <a:pt x="16" y="30"/>
                  </a:lnTo>
                  <a:lnTo>
                    <a:pt x="36" y="25"/>
                  </a:lnTo>
                  <a:lnTo>
                    <a:pt x="57" y="0"/>
                  </a:lnTo>
                  <a:lnTo>
                    <a:pt x="72" y="10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3" name="Freeform 13"/>
            <p:cNvSpPr>
              <a:spLocks/>
            </p:cNvSpPr>
            <p:nvPr/>
          </p:nvSpPr>
          <p:spPr bwMode="auto">
            <a:xfrm rot="1181657">
              <a:off x="2488696" y="844945"/>
              <a:ext cx="162194" cy="141039"/>
            </a:xfrm>
            <a:custGeom>
              <a:avLst/>
              <a:gdLst>
                <a:gd name="T0" fmla="*/ 15 w 46"/>
                <a:gd name="T1" fmla="*/ 0 h 40"/>
                <a:gd name="T2" fmla="*/ 30 w 46"/>
                <a:gd name="T3" fmla="*/ 20 h 40"/>
                <a:gd name="T4" fmla="*/ 46 w 46"/>
                <a:gd name="T5" fmla="*/ 25 h 40"/>
                <a:gd name="T6" fmla="*/ 41 w 46"/>
                <a:gd name="T7" fmla="*/ 35 h 40"/>
                <a:gd name="T8" fmla="*/ 10 w 46"/>
                <a:gd name="T9" fmla="*/ 40 h 40"/>
                <a:gd name="T10" fmla="*/ 0 w 46"/>
                <a:gd name="T11" fmla="*/ 15 h 40"/>
                <a:gd name="T12" fmla="*/ 15 w 46"/>
                <a:gd name="T13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6" h="40">
                  <a:moveTo>
                    <a:pt x="15" y="0"/>
                  </a:moveTo>
                  <a:lnTo>
                    <a:pt x="30" y="20"/>
                  </a:lnTo>
                  <a:lnTo>
                    <a:pt x="46" y="25"/>
                  </a:lnTo>
                  <a:lnTo>
                    <a:pt x="41" y="35"/>
                  </a:lnTo>
                  <a:lnTo>
                    <a:pt x="10" y="40"/>
                  </a:lnTo>
                  <a:lnTo>
                    <a:pt x="0" y="15"/>
                  </a:lnTo>
                  <a:lnTo>
                    <a:pt x="15" y="0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solidFill>
                <a:schemeClr val="bg1"/>
              </a:solidFill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4" name="Freeform 14"/>
            <p:cNvSpPr>
              <a:spLocks/>
            </p:cNvSpPr>
            <p:nvPr/>
          </p:nvSpPr>
          <p:spPr bwMode="auto">
            <a:xfrm rot="1181657">
              <a:off x="2389766" y="439986"/>
              <a:ext cx="126935" cy="197454"/>
            </a:xfrm>
            <a:custGeom>
              <a:avLst/>
              <a:gdLst>
                <a:gd name="T0" fmla="*/ 36 w 36"/>
                <a:gd name="T1" fmla="*/ 56 h 56"/>
                <a:gd name="T2" fmla="*/ 0 w 36"/>
                <a:gd name="T3" fmla="*/ 0 h 56"/>
                <a:gd name="T4" fmla="*/ 11 w 36"/>
                <a:gd name="T5" fmla="*/ 5 h 56"/>
                <a:gd name="T6" fmla="*/ 36 w 36"/>
                <a:gd name="T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56">
                  <a:moveTo>
                    <a:pt x="36" y="56"/>
                  </a:moveTo>
                  <a:lnTo>
                    <a:pt x="0" y="0"/>
                  </a:lnTo>
                  <a:lnTo>
                    <a:pt x="11" y="5"/>
                  </a:lnTo>
                  <a:lnTo>
                    <a:pt x="36" y="56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noFill/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6" name="Freeform 16"/>
            <p:cNvSpPr>
              <a:spLocks/>
            </p:cNvSpPr>
            <p:nvPr/>
          </p:nvSpPr>
          <p:spPr bwMode="auto">
            <a:xfrm rot="1181657">
              <a:off x="2483496" y="854"/>
              <a:ext cx="35260" cy="88149"/>
            </a:xfrm>
            <a:custGeom>
              <a:avLst/>
              <a:gdLst>
                <a:gd name="T0" fmla="*/ 5 w 10"/>
                <a:gd name="T1" fmla="*/ 25 h 25"/>
                <a:gd name="T2" fmla="*/ 0 w 10"/>
                <a:gd name="T3" fmla="*/ 0 h 25"/>
                <a:gd name="T4" fmla="*/ 10 w 10"/>
                <a:gd name="T5" fmla="*/ 15 h 25"/>
                <a:gd name="T6" fmla="*/ 5 w 10"/>
                <a:gd name="T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5">
                  <a:moveTo>
                    <a:pt x="5" y="25"/>
                  </a:moveTo>
                  <a:lnTo>
                    <a:pt x="0" y="0"/>
                  </a:lnTo>
                  <a:lnTo>
                    <a:pt x="10" y="15"/>
                  </a:lnTo>
                  <a:lnTo>
                    <a:pt x="5" y="25"/>
                  </a:lnTo>
                  <a:close/>
                </a:path>
              </a:pathLst>
            </a:custGeom>
            <a:solidFill>
              <a:schemeClr val="accent3"/>
            </a:solidFill>
            <a:ln w="6350" cap="flat">
              <a:noFill/>
              <a:prstDash val="solid"/>
              <a:bevel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auto">
            <a:xfrm rot="1181657">
              <a:off x="-585190" y="-350005"/>
              <a:ext cx="3047209" cy="4498713"/>
            </a:xfrm>
            <a:custGeom>
              <a:avLst/>
              <a:gdLst>
                <a:gd name="connsiteX0" fmla="*/ 0 w 3047209"/>
                <a:gd name="connsiteY0" fmla="*/ 777356 h 4498713"/>
                <a:gd name="connsiteX1" fmla="*/ 2171754 w 3047209"/>
                <a:gd name="connsiteY1" fmla="*/ 0 h 4498713"/>
                <a:gd name="connsiteX2" fmla="*/ 2186636 w 3047209"/>
                <a:gd name="connsiteY2" fmla="*/ 122046 h 4498713"/>
                <a:gd name="connsiteX3" fmla="*/ 2225117 w 3047209"/>
                <a:gd name="connsiteY3" fmla="*/ 157031 h 4498713"/>
                <a:gd name="connsiteX4" fmla="*/ 2242608 w 3047209"/>
                <a:gd name="connsiteY4" fmla="*/ 48577 h 4498713"/>
                <a:gd name="connsiteX5" fmla="*/ 2330065 w 3047209"/>
                <a:gd name="connsiteY5" fmla="*/ 66069 h 4498713"/>
                <a:gd name="connsiteX6" fmla="*/ 2386037 w 3047209"/>
                <a:gd name="connsiteY6" fmla="*/ 122046 h 4498713"/>
                <a:gd name="connsiteX7" fmla="*/ 2312574 w 3047209"/>
                <a:gd name="connsiteY7" fmla="*/ 101055 h 4498713"/>
                <a:gd name="connsiteX8" fmla="*/ 2277591 w 3047209"/>
                <a:gd name="connsiteY8" fmla="*/ 139539 h 4498713"/>
                <a:gd name="connsiteX9" fmla="*/ 2312574 w 3047209"/>
                <a:gd name="connsiteY9" fmla="*/ 192017 h 4498713"/>
                <a:gd name="connsiteX10" fmla="*/ 2421020 w 3047209"/>
                <a:gd name="connsiteY10" fmla="*/ 227002 h 4498713"/>
                <a:gd name="connsiteX11" fmla="*/ 2473494 w 3047209"/>
                <a:gd name="connsiteY11" fmla="*/ 192016 h 4498713"/>
                <a:gd name="connsiteX12" fmla="*/ 2529466 w 3047209"/>
                <a:gd name="connsiteY12" fmla="*/ 261987 h 4498713"/>
                <a:gd name="connsiteX13" fmla="*/ 2546957 w 3047209"/>
                <a:gd name="connsiteY13" fmla="*/ 352949 h 4498713"/>
                <a:gd name="connsiteX14" fmla="*/ 2386037 w 3047209"/>
                <a:gd name="connsiteY14" fmla="*/ 352949 h 4498713"/>
                <a:gd name="connsiteX15" fmla="*/ 2330065 w 3047209"/>
                <a:gd name="connsiteY15" fmla="*/ 457905 h 4498713"/>
                <a:gd name="connsiteX16" fmla="*/ 2260100 w 3047209"/>
                <a:gd name="connsiteY16" fmla="*/ 440413 h 4498713"/>
                <a:gd name="connsiteX17" fmla="*/ 2242608 w 3047209"/>
                <a:gd name="connsiteY17" fmla="*/ 475398 h 4498713"/>
                <a:gd name="connsiteX18" fmla="*/ 2312574 w 3047209"/>
                <a:gd name="connsiteY18" fmla="*/ 510383 h 4498713"/>
                <a:gd name="connsiteX19" fmla="*/ 2386037 w 3047209"/>
                <a:gd name="connsiteY19" fmla="*/ 601345 h 4498713"/>
                <a:gd name="connsiteX20" fmla="*/ 2421020 w 3047209"/>
                <a:gd name="connsiteY20" fmla="*/ 566360 h 4498713"/>
                <a:gd name="connsiteX21" fmla="*/ 2456002 w 3047209"/>
                <a:gd name="connsiteY21" fmla="*/ 583852 h 4498713"/>
                <a:gd name="connsiteX22" fmla="*/ 2490985 w 3047209"/>
                <a:gd name="connsiteY22" fmla="*/ 566360 h 4498713"/>
                <a:gd name="connsiteX23" fmla="*/ 2529466 w 3047209"/>
                <a:gd name="connsiteY23" fmla="*/ 636331 h 4498713"/>
                <a:gd name="connsiteX24" fmla="*/ 2599431 w 3047209"/>
                <a:gd name="connsiteY24" fmla="*/ 688809 h 4498713"/>
                <a:gd name="connsiteX25" fmla="*/ 2669397 w 3047209"/>
                <a:gd name="connsiteY25" fmla="*/ 832248 h 4498713"/>
                <a:gd name="connsiteX26" fmla="*/ 2669397 w 3047209"/>
                <a:gd name="connsiteY26" fmla="*/ 902219 h 4498713"/>
                <a:gd name="connsiteX27" fmla="*/ 2581940 w 3047209"/>
                <a:gd name="connsiteY27" fmla="*/ 867234 h 4498713"/>
                <a:gd name="connsiteX28" fmla="*/ 2564449 w 3047209"/>
                <a:gd name="connsiteY28" fmla="*/ 937205 h 4498713"/>
                <a:gd name="connsiteX29" fmla="*/ 2508476 w 3047209"/>
                <a:gd name="connsiteY29" fmla="*/ 993181 h 4498713"/>
                <a:gd name="connsiteX30" fmla="*/ 2456002 w 3047209"/>
                <a:gd name="connsiteY30" fmla="*/ 993181 h 4498713"/>
                <a:gd name="connsiteX31" fmla="*/ 2529466 w 3047209"/>
                <a:gd name="connsiteY31" fmla="*/ 1010674 h 4498713"/>
                <a:gd name="connsiteX32" fmla="*/ 2564449 w 3047209"/>
                <a:gd name="connsiteY32" fmla="*/ 958196 h 4498713"/>
                <a:gd name="connsiteX33" fmla="*/ 2634414 w 3047209"/>
                <a:gd name="connsiteY33" fmla="*/ 1098137 h 4498713"/>
                <a:gd name="connsiteX34" fmla="*/ 2616923 w 3047209"/>
                <a:gd name="connsiteY34" fmla="*/ 975689 h 4498713"/>
                <a:gd name="connsiteX35" fmla="*/ 2651905 w 3047209"/>
                <a:gd name="connsiteY35" fmla="*/ 958196 h 4498713"/>
                <a:gd name="connsiteX36" fmla="*/ 2795334 w 3047209"/>
                <a:gd name="connsiteY36" fmla="*/ 1098137 h 4498713"/>
                <a:gd name="connsiteX37" fmla="*/ 2795334 w 3047209"/>
                <a:gd name="connsiteY37" fmla="*/ 1171606 h 4498713"/>
                <a:gd name="connsiteX38" fmla="*/ 2725369 w 3047209"/>
                <a:gd name="connsiteY38" fmla="*/ 1189099 h 4498713"/>
                <a:gd name="connsiteX39" fmla="*/ 2742860 w 3047209"/>
                <a:gd name="connsiteY39" fmla="*/ 1224084 h 4498713"/>
                <a:gd name="connsiteX40" fmla="*/ 2669397 w 3047209"/>
                <a:gd name="connsiteY40" fmla="*/ 1276562 h 4498713"/>
                <a:gd name="connsiteX41" fmla="*/ 2581940 w 3047209"/>
                <a:gd name="connsiteY41" fmla="*/ 1259070 h 4498713"/>
                <a:gd name="connsiteX42" fmla="*/ 2546957 w 3047209"/>
                <a:gd name="connsiteY42" fmla="*/ 1154114 h 4498713"/>
                <a:gd name="connsiteX43" fmla="*/ 2564449 w 3047209"/>
                <a:gd name="connsiteY43" fmla="*/ 1329040 h 4498713"/>
                <a:gd name="connsiteX44" fmla="*/ 2599431 w 3047209"/>
                <a:gd name="connsiteY44" fmla="*/ 1346533 h 4498713"/>
                <a:gd name="connsiteX45" fmla="*/ 2760351 w 3047209"/>
                <a:gd name="connsiteY45" fmla="*/ 1329040 h 4498713"/>
                <a:gd name="connsiteX46" fmla="*/ 2795334 w 3047209"/>
                <a:gd name="connsiteY46" fmla="*/ 1472480 h 4498713"/>
                <a:gd name="connsiteX47" fmla="*/ 2725369 w 3047209"/>
                <a:gd name="connsiteY47" fmla="*/ 1489973 h 4498713"/>
                <a:gd name="connsiteX48" fmla="*/ 2669397 w 3047209"/>
                <a:gd name="connsiteY48" fmla="*/ 1580935 h 4498713"/>
                <a:gd name="connsiteX49" fmla="*/ 2490985 w 3047209"/>
                <a:gd name="connsiteY49" fmla="*/ 1542451 h 4498713"/>
                <a:gd name="connsiteX50" fmla="*/ 2438511 w 3047209"/>
                <a:gd name="connsiteY50" fmla="*/ 1472480 h 4498713"/>
                <a:gd name="connsiteX51" fmla="*/ 2421020 w 3047209"/>
                <a:gd name="connsiteY51" fmla="*/ 1542451 h 4498713"/>
                <a:gd name="connsiteX52" fmla="*/ 2295082 w 3047209"/>
                <a:gd name="connsiteY52" fmla="*/ 1489973 h 4498713"/>
                <a:gd name="connsiteX53" fmla="*/ 2403528 w 3047209"/>
                <a:gd name="connsiteY53" fmla="*/ 1580935 h 4498713"/>
                <a:gd name="connsiteX54" fmla="*/ 2312574 w 3047209"/>
                <a:gd name="connsiteY54" fmla="*/ 1703384 h 4498713"/>
                <a:gd name="connsiteX55" fmla="*/ 2169145 w 3047209"/>
                <a:gd name="connsiteY55" fmla="*/ 1668398 h 4498713"/>
                <a:gd name="connsiteX56" fmla="*/ 2260100 w 3047209"/>
                <a:gd name="connsiteY56" fmla="*/ 1703384 h 4498713"/>
                <a:gd name="connsiteX57" fmla="*/ 2260100 w 3047209"/>
                <a:gd name="connsiteY57" fmla="*/ 1738369 h 4498713"/>
                <a:gd name="connsiteX58" fmla="*/ 2260098 w 3047209"/>
                <a:gd name="connsiteY58" fmla="*/ 1738370 h 4498713"/>
                <a:gd name="connsiteX59" fmla="*/ 2207626 w 3047209"/>
                <a:gd name="connsiteY59" fmla="*/ 1755862 h 4498713"/>
                <a:gd name="connsiteX60" fmla="*/ 2207626 w 3047209"/>
                <a:gd name="connsiteY60" fmla="*/ 1760571 h 4498713"/>
                <a:gd name="connsiteX61" fmla="*/ 2169145 w 3047209"/>
                <a:gd name="connsiteY61" fmla="*/ 1776853 h 4498713"/>
                <a:gd name="connsiteX62" fmla="*/ 2207626 w 3047209"/>
                <a:gd name="connsiteY62" fmla="*/ 1794345 h 4498713"/>
                <a:gd name="connsiteX63" fmla="*/ 2207626 w 3047209"/>
                <a:gd name="connsiteY63" fmla="*/ 1760571 h 4498713"/>
                <a:gd name="connsiteX64" fmla="*/ 2260098 w 3047209"/>
                <a:gd name="connsiteY64" fmla="*/ 1738370 h 4498713"/>
                <a:gd name="connsiteX65" fmla="*/ 2312574 w 3047209"/>
                <a:gd name="connsiteY65" fmla="*/ 1720876 h 4498713"/>
                <a:gd name="connsiteX66" fmla="*/ 2368546 w 3047209"/>
                <a:gd name="connsiteY66" fmla="*/ 1668398 h 4498713"/>
                <a:gd name="connsiteX67" fmla="*/ 2368546 w 3047209"/>
                <a:gd name="connsiteY67" fmla="*/ 1633413 h 4498713"/>
                <a:gd name="connsiteX68" fmla="*/ 2438511 w 3047209"/>
                <a:gd name="connsiteY68" fmla="*/ 1598428 h 4498713"/>
                <a:gd name="connsiteX69" fmla="*/ 2725369 w 3047209"/>
                <a:gd name="connsiteY69" fmla="*/ 1685891 h 4498713"/>
                <a:gd name="connsiteX70" fmla="*/ 2795334 w 3047209"/>
                <a:gd name="connsiteY70" fmla="*/ 1951780 h 4498713"/>
                <a:gd name="connsiteX71" fmla="*/ 2616923 w 3047209"/>
                <a:gd name="connsiteY71" fmla="*/ 1916794 h 4498713"/>
                <a:gd name="connsiteX72" fmla="*/ 2456002 w 3047209"/>
                <a:gd name="connsiteY72" fmla="*/ 1720876 h 4498713"/>
                <a:gd name="connsiteX73" fmla="*/ 2295082 w 3047209"/>
                <a:gd name="connsiteY73" fmla="*/ 1881809 h 4498713"/>
                <a:gd name="connsiteX74" fmla="*/ 2330065 w 3047209"/>
                <a:gd name="connsiteY74" fmla="*/ 1899302 h 4498713"/>
                <a:gd name="connsiteX75" fmla="*/ 2456002 w 3047209"/>
                <a:gd name="connsiteY75" fmla="*/ 1776853 h 4498713"/>
                <a:gd name="connsiteX76" fmla="*/ 2508476 w 3047209"/>
                <a:gd name="connsiteY76" fmla="*/ 1881809 h 4498713"/>
                <a:gd name="connsiteX77" fmla="*/ 2473494 w 3047209"/>
                <a:gd name="connsiteY77" fmla="*/ 1951780 h 4498713"/>
                <a:gd name="connsiteX78" fmla="*/ 2490985 w 3047209"/>
                <a:gd name="connsiteY78" fmla="*/ 1969272 h 4498713"/>
                <a:gd name="connsiteX79" fmla="*/ 2529466 w 3047209"/>
                <a:gd name="connsiteY79" fmla="*/ 1916794 h 4498713"/>
                <a:gd name="connsiteX80" fmla="*/ 2546957 w 3047209"/>
                <a:gd name="connsiteY80" fmla="*/ 1951780 h 4498713"/>
                <a:gd name="connsiteX81" fmla="*/ 2795334 w 3047209"/>
                <a:gd name="connsiteY81" fmla="*/ 2025249 h 4498713"/>
                <a:gd name="connsiteX82" fmla="*/ 2812826 w 3047209"/>
                <a:gd name="connsiteY82" fmla="*/ 2077727 h 4498713"/>
                <a:gd name="connsiteX83" fmla="*/ 2868798 w 3047209"/>
                <a:gd name="connsiteY83" fmla="*/ 2060234 h 4498713"/>
                <a:gd name="connsiteX84" fmla="*/ 2830317 w 3047209"/>
                <a:gd name="connsiteY84" fmla="*/ 2165190 h 4498713"/>
                <a:gd name="connsiteX85" fmla="*/ 2868798 w 3047209"/>
                <a:gd name="connsiteY85" fmla="*/ 2238659 h 4498713"/>
                <a:gd name="connsiteX86" fmla="*/ 2868798 w 3047209"/>
                <a:gd name="connsiteY86" fmla="*/ 2165190 h 4498713"/>
                <a:gd name="connsiteX87" fmla="*/ 2921272 w 3047209"/>
                <a:gd name="connsiteY87" fmla="*/ 2147698 h 4498713"/>
                <a:gd name="connsiteX88" fmla="*/ 3047209 w 3047209"/>
                <a:gd name="connsiteY88" fmla="*/ 2469563 h 4498713"/>
                <a:gd name="connsiteX89" fmla="*/ 2956254 w 3047209"/>
                <a:gd name="connsiteY89" fmla="*/ 2487055 h 4498713"/>
                <a:gd name="connsiteX90" fmla="*/ 2903780 w 3047209"/>
                <a:gd name="connsiteY90" fmla="*/ 2361108 h 4498713"/>
                <a:gd name="connsiteX91" fmla="*/ 2938763 w 3047209"/>
                <a:gd name="connsiteY91" fmla="*/ 2504548 h 4498713"/>
                <a:gd name="connsiteX92" fmla="*/ 2903780 w 3047209"/>
                <a:gd name="connsiteY92" fmla="*/ 2522041 h 4498713"/>
                <a:gd name="connsiteX93" fmla="*/ 2795334 w 3047209"/>
                <a:gd name="connsiteY93" fmla="*/ 2504548 h 4498713"/>
                <a:gd name="connsiteX94" fmla="*/ 2707877 w 3047209"/>
                <a:gd name="connsiteY94" fmla="*/ 2417085 h 4498713"/>
                <a:gd name="connsiteX95" fmla="*/ 2707877 w 3047209"/>
                <a:gd name="connsiteY95" fmla="*/ 2361108 h 4498713"/>
                <a:gd name="connsiteX96" fmla="*/ 2651905 w 3047209"/>
                <a:gd name="connsiteY96" fmla="*/ 2326123 h 4498713"/>
                <a:gd name="connsiteX97" fmla="*/ 2473494 w 3047209"/>
                <a:gd name="connsiteY97" fmla="*/ 2238659 h 4498713"/>
                <a:gd name="connsiteX98" fmla="*/ 2347556 w 3047209"/>
                <a:gd name="connsiteY98" fmla="*/ 2256152 h 4498713"/>
                <a:gd name="connsiteX99" fmla="*/ 2347556 w 3047209"/>
                <a:gd name="connsiteY99" fmla="*/ 2291137 h 4498713"/>
                <a:gd name="connsiteX100" fmla="*/ 2490985 w 3047209"/>
                <a:gd name="connsiteY100" fmla="*/ 2273645 h 4498713"/>
                <a:gd name="connsiteX101" fmla="*/ 2529466 w 3047209"/>
                <a:gd name="connsiteY101" fmla="*/ 2361108 h 4498713"/>
                <a:gd name="connsiteX102" fmla="*/ 2456002 w 3047209"/>
                <a:gd name="connsiteY102" fmla="*/ 2469563 h 4498713"/>
                <a:gd name="connsiteX103" fmla="*/ 2260100 w 3047209"/>
                <a:gd name="connsiteY103" fmla="*/ 2504548 h 4498713"/>
                <a:gd name="connsiteX104" fmla="*/ 2312574 w 3047209"/>
                <a:gd name="connsiteY104" fmla="*/ 2522041 h 4498713"/>
                <a:gd name="connsiteX105" fmla="*/ 2312574 w 3047209"/>
                <a:gd name="connsiteY105" fmla="*/ 2613003 h 4498713"/>
                <a:gd name="connsiteX106" fmla="*/ 2225117 w 3047209"/>
                <a:gd name="connsiteY106" fmla="*/ 2700466 h 4498713"/>
                <a:gd name="connsiteX107" fmla="*/ 2403528 w 3047209"/>
                <a:gd name="connsiteY107" fmla="*/ 2682974 h 4498713"/>
                <a:gd name="connsiteX108" fmla="*/ 2490985 w 3047209"/>
                <a:gd name="connsiteY108" fmla="*/ 2630495 h 4498713"/>
                <a:gd name="connsiteX109" fmla="*/ 2508476 w 3047209"/>
                <a:gd name="connsiteY109" fmla="*/ 2665481 h 4498713"/>
                <a:gd name="connsiteX110" fmla="*/ 2456002 w 3047209"/>
                <a:gd name="connsiteY110" fmla="*/ 2700466 h 4498713"/>
                <a:gd name="connsiteX111" fmla="*/ 2421020 w 3047209"/>
                <a:gd name="connsiteY111" fmla="*/ 2805422 h 4498713"/>
                <a:gd name="connsiteX112" fmla="*/ 2456002 w 3047209"/>
                <a:gd name="connsiteY112" fmla="*/ 2805422 h 4498713"/>
                <a:gd name="connsiteX113" fmla="*/ 2473494 w 3047209"/>
                <a:gd name="connsiteY113" fmla="*/ 2735452 h 4498713"/>
                <a:gd name="connsiteX114" fmla="*/ 2634414 w 3047209"/>
                <a:gd name="connsiteY114" fmla="*/ 2630495 h 4498713"/>
                <a:gd name="connsiteX115" fmla="*/ 2851306 w 3047209"/>
                <a:gd name="connsiteY115" fmla="*/ 2647988 h 4498713"/>
                <a:gd name="connsiteX116" fmla="*/ 3012227 w 3047209"/>
                <a:gd name="connsiteY116" fmla="*/ 2592012 h 4498713"/>
                <a:gd name="connsiteX117" fmla="*/ 3029718 w 3047209"/>
                <a:gd name="connsiteY117" fmla="*/ 2613003 h 4498713"/>
                <a:gd name="connsiteX118" fmla="*/ 2938763 w 3047209"/>
                <a:gd name="connsiteY118" fmla="*/ 2700466 h 4498713"/>
                <a:gd name="connsiteX119" fmla="*/ 2956254 w 3047209"/>
                <a:gd name="connsiteY119" fmla="*/ 2735452 h 4498713"/>
                <a:gd name="connsiteX120" fmla="*/ 2868798 w 3047209"/>
                <a:gd name="connsiteY120" fmla="*/ 2787930 h 4498713"/>
                <a:gd name="connsiteX121" fmla="*/ 2903780 w 3047209"/>
                <a:gd name="connsiteY121" fmla="*/ 2826413 h 4498713"/>
                <a:gd name="connsiteX122" fmla="*/ 2830317 w 3047209"/>
                <a:gd name="connsiteY122" fmla="*/ 2843906 h 4498713"/>
                <a:gd name="connsiteX123" fmla="*/ 2868798 w 3047209"/>
                <a:gd name="connsiteY123" fmla="*/ 2878891 h 4498713"/>
                <a:gd name="connsiteX124" fmla="*/ 2760351 w 3047209"/>
                <a:gd name="connsiteY124" fmla="*/ 2983848 h 4498713"/>
                <a:gd name="connsiteX125" fmla="*/ 2795334 w 3047209"/>
                <a:gd name="connsiteY125" fmla="*/ 3018833 h 4498713"/>
                <a:gd name="connsiteX126" fmla="*/ 2669397 w 3047209"/>
                <a:gd name="connsiteY126" fmla="*/ 3214751 h 4498713"/>
                <a:gd name="connsiteX127" fmla="*/ 2368546 w 3047209"/>
                <a:gd name="connsiteY127" fmla="*/ 3428161 h 4498713"/>
                <a:gd name="connsiteX128" fmla="*/ 2277591 w 3047209"/>
                <a:gd name="connsiteY128" fmla="*/ 3428161 h 4498713"/>
                <a:gd name="connsiteX129" fmla="*/ 2242608 w 3047209"/>
                <a:gd name="connsiteY129" fmla="*/ 3484138 h 4498713"/>
                <a:gd name="connsiteX130" fmla="*/ 2186636 w 3047209"/>
                <a:gd name="connsiteY130" fmla="*/ 3484138 h 4498713"/>
                <a:gd name="connsiteX131" fmla="*/ 2207626 w 3047209"/>
                <a:gd name="connsiteY131" fmla="*/ 3519123 h 4498713"/>
                <a:gd name="connsiteX132" fmla="*/ 2151654 w 3047209"/>
                <a:gd name="connsiteY132" fmla="*/ 3554109 h 4498713"/>
                <a:gd name="connsiteX133" fmla="*/ 1973242 w 3047209"/>
                <a:gd name="connsiteY133" fmla="*/ 3449153 h 4498713"/>
                <a:gd name="connsiteX134" fmla="*/ 2008225 w 3047209"/>
                <a:gd name="connsiteY134" fmla="*/ 3624079 h 4498713"/>
                <a:gd name="connsiteX135" fmla="*/ 1903277 w 3047209"/>
                <a:gd name="connsiteY135" fmla="*/ 3732534 h 4498713"/>
                <a:gd name="connsiteX136" fmla="*/ 1812322 w 3047209"/>
                <a:gd name="connsiteY136" fmla="*/ 4106877 h 4498713"/>
                <a:gd name="connsiteX137" fmla="*/ 1794830 w 3047209"/>
                <a:gd name="connsiteY137" fmla="*/ 4089385 h 4498713"/>
                <a:gd name="connsiteX138" fmla="*/ 1777339 w 3047209"/>
                <a:gd name="connsiteY138" fmla="*/ 4106877 h 4498713"/>
                <a:gd name="connsiteX139" fmla="*/ 1777339 w 3047209"/>
                <a:gd name="connsiteY139" fmla="*/ 4159355 h 4498713"/>
                <a:gd name="connsiteX140" fmla="*/ 1686384 w 3047209"/>
                <a:gd name="connsiteY140" fmla="*/ 4246819 h 4498713"/>
                <a:gd name="connsiteX141" fmla="*/ 1598928 w 3047209"/>
                <a:gd name="connsiteY141" fmla="*/ 4176848 h 4498713"/>
                <a:gd name="connsiteX142" fmla="*/ 1633910 w 3047209"/>
                <a:gd name="connsiteY142" fmla="*/ 4302795 h 4498713"/>
                <a:gd name="connsiteX143" fmla="*/ 1581436 w 3047209"/>
                <a:gd name="connsiteY143" fmla="*/ 4337781 h 4498713"/>
                <a:gd name="connsiteX144" fmla="*/ 1563945 w 3047209"/>
                <a:gd name="connsiteY144" fmla="*/ 4390259 h 4498713"/>
                <a:gd name="connsiteX145" fmla="*/ 1525464 w 3047209"/>
                <a:gd name="connsiteY145" fmla="*/ 4337781 h 4498713"/>
                <a:gd name="connsiteX146" fmla="*/ 1490481 w 3047209"/>
                <a:gd name="connsiteY146" fmla="*/ 4425244 h 4498713"/>
                <a:gd name="connsiteX147" fmla="*/ 1455499 w 3047209"/>
                <a:gd name="connsiteY147" fmla="*/ 4390259 h 4498713"/>
                <a:gd name="connsiteX148" fmla="*/ 1403025 w 3047209"/>
                <a:gd name="connsiteY148" fmla="*/ 4481221 h 4498713"/>
                <a:gd name="connsiteX149" fmla="*/ 1364544 w 3047209"/>
                <a:gd name="connsiteY149" fmla="*/ 4498713 h 4498713"/>
                <a:gd name="connsiteX150" fmla="*/ 1329561 w 3047209"/>
                <a:gd name="connsiteY150" fmla="*/ 4481221 h 4498713"/>
                <a:gd name="connsiteX151" fmla="*/ 1403025 w 3047209"/>
                <a:gd name="connsiteY151" fmla="*/ 4246819 h 4498713"/>
                <a:gd name="connsiteX152" fmla="*/ 1277087 w 3047209"/>
                <a:gd name="connsiteY152" fmla="*/ 4229326 h 4498713"/>
                <a:gd name="connsiteX153" fmla="*/ 1347052 w 3047209"/>
                <a:gd name="connsiteY153" fmla="*/ 4264311 h 4498713"/>
                <a:gd name="connsiteX154" fmla="*/ 1294578 w 3047209"/>
                <a:gd name="connsiteY154" fmla="*/ 4390259 h 4498713"/>
                <a:gd name="connsiteX155" fmla="*/ 1292768 w 3047209"/>
                <a:gd name="connsiteY155" fmla="*/ 4389052 h 44987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</a:cxnLst>
              <a:rect l="l" t="t" r="r" b="b"/>
              <a:pathLst>
                <a:path w="3047209" h="4498713">
                  <a:moveTo>
                    <a:pt x="0" y="777356"/>
                  </a:moveTo>
                  <a:lnTo>
                    <a:pt x="2171754" y="0"/>
                  </a:lnTo>
                  <a:lnTo>
                    <a:pt x="2186636" y="122046"/>
                  </a:lnTo>
                  <a:lnTo>
                    <a:pt x="2225117" y="157031"/>
                  </a:lnTo>
                  <a:lnTo>
                    <a:pt x="2242608" y="48577"/>
                  </a:lnTo>
                  <a:lnTo>
                    <a:pt x="2330065" y="66069"/>
                  </a:lnTo>
                  <a:lnTo>
                    <a:pt x="2386037" y="122046"/>
                  </a:lnTo>
                  <a:lnTo>
                    <a:pt x="2312574" y="101055"/>
                  </a:lnTo>
                  <a:lnTo>
                    <a:pt x="2277591" y="139539"/>
                  </a:lnTo>
                  <a:lnTo>
                    <a:pt x="2312574" y="192017"/>
                  </a:lnTo>
                  <a:lnTo>
                    <a:pt x="2421020" y="227002"/>
                  </a:lnTo>
                  <a:lnTo>
                    <a:pt x="2473494" y="192016"/>
                  </a:lnTo>
                  <a:lnTo>
                    <a:pt x="2529466" y="261987"/>
                  </a:lnTo>
                  <a:lnTo>
                    <a:pt x="2546957" y="352949"/>
                  </a:lnTo>
                  <a:lnTo>
                    <a:pt x="2386037" y="352949"/>
                  </a:lnTo>
                  <a:lnTo>
                    <a:pt x="2330065" y="457905"/>
                  </a:lnTo>
                  <a:lnTo>
                    <a:pt x="2260100" y="440413"/>
                  </a:lnTo>
                  <a:lnTo>
                    <a:pt x="2242608" y="475398"/>
                  </a:lnTo>
                  <a:lnTo>
                    <a:pt x="2312574" y="510383"/>
                  </a:lnTo>
                  <a:lnTo>
                    <a:pt x="2386037" y="601345"/>
                  </a:lnTo>
                  <a:lnTo>
                    <a:pt x="2421020" y="566360"/>
                  </a:lnTo>
                  <a:lnTo>
                    <a:pt x="2456002" y="583852"/>
                  </a:lnTo>
                  <a:lnTo>
                    <a:pt x="2490985" y="566360"/>
                  </a:lnTo>
                  <a:lnTo>
                    <a:pt x="2529466" y="636331"/>
                  </a:lnTo>
                  <a:lnTo>
                    <a:pt x="2599431" y="688809"/>
                  </a:lnTo>
                  <a:lnTo>
                    <a:pt x="2669397" y="832248"/>
                  </a:lnTo>
                  <a:lnTo>
                    <a:pt x="2669397" y="902219"/>
                  </a:lnTo>
                  <a:lnTo>
                    <a:pt x="2581940" y="867234"/>
                  </a:lnTo>
                  <a:lnTo>
                    <a:pt x="2564449" y="937205"/>
                  </a:lnTo>
                  <a:lnTo>
                    <a:pt x="2508476" y="993181"/>
                  </a:lnTo>
                  <a:lnTo>
                    <a:pt x="2456002" y="993181"/>
                  </a:lnTo>
                  <a:lnTo>
                    <a:pt x="2529466" y="1010674"/>
                  </a:lnTo>
                  <a:lnTo>
                    <a:pt x="2564449" y="958196"/>
                  </a:lnTo>
                  <a:lnTo>
                    <a:pt x="2634414" y="1098137"/>
                  </a:lnTo>
                  <a:lnTo>
                    <a:pt x="2616923" y="975689"/>
                  </a:lnTo>
                  <a:lnTo>
                    <a:pt x="2651905" y="958196"/>
                  </a:lnTo>
                  <a:lnTo>
                    <a:pt x="2795334" y="1098137"/>
                  </a:lnTo>
                  <a:lnTo>
                    <a:pt x="2795334" y="1171606"/>
                  </a:lnTo>
                  <a:lnTo>
                    <a:pt x="2725369" y="1189099"/>
                  </a:lnTo>
                  <a:lnTo>
                    <a:pt x="2742860" y="1224084"/>
                  </a:lnTo>
                  <a:lnTo>
                    <a:pt x="2669397" y="1276562"/>
                  </a:lnTo>
                  <a:lnTo>
                    <a:pt x="2581940" y="1259070"/>
                  </a:lnTo>
                  <a:lnTo>
                    <a:pt x="2546957" y="1154114"/>
                  </a:lnTo>
                  <a:lnTo>
                    <a:pt x="2564449" y="1329040"/>
                  </a:lnTo>
                  <a:lnTo>
                    <a:pt x="2599431" y="1346533"/>
                  </a:lnTo>
                  <a:lnTo>
                    <a:pt x="2760351" y="1329040"/>
                  </a:lnTo>
                  <a:lnTo>
                    <a:pt x="2795334" y="1472480"/>
                  </a:lnTo>
                  <a:lnTo>
                    <a:pt x="2725369" y="1489973"/>
                  </a:lnTo>
                  <a:lnTo>
                    <a:pt x="2669397" y="1580935"/>
                  </a:lnTo>
                  <a:lnTo>
                    <a:pt x="2490985" y="1542451"/>
                  </a:lnTo>
                  <a:lnTo>
                    <a:pt x="2438511" y="1472480"/>
                  </a:lnTo>
                  <a:lnTo>
                    <a:pt x="2421020" y="1542451"/>
                  </a:lnTo>
                  <a:lnTo>
                    <a:pt x="2295082" y="1489973"/>
                  </a:lnTo>
                  <a:lnTo>
                    <a:pt x="2403528" y="1580935"/>
                  </a:lnTo>
                  <a:lnTo>
                    <a:pt x="2312574" y="1703384"/>
                  </a:lnTo>
                  <a:lnTo>
                    <a:pt x="2169145" y="1668398"/>
                  </a:lnTo>
                  <a:lnTo>
                    <a:pt x="2260100" y="1703384"/>
                  </a:lnTo>
                  <a:lnTo>
                    <a:pt x="2260100" y="1738369"/>
                  </a:lnTo>
                  <a:lnTo>
                    <a:pt x="2260098" y="1738370"/>
                  </a:lnTo>
                  <a:lnTo>
                    <a:pt x="2207626" y="1755862"/>
                  </a:lnTo>
                  <a:lnTo>
                    <a:pt x="2207626" y="1760571"/>
                  </a:lnTo>
                  <a:lnTo>
                    <a:pt x="2169145" y="1776853"/>
                  </a:lnTo>
                  <a:lnTo>
                    <a:pt x="2207626" y="1794345"/>
                  </a:lnTo>
                  <a:lnTo>
                    <a:pt x="2207626" y="1760571"/>
                  </a:lnTo>
                  <a:lnTo>
                    <a:pt x="2260098" y="1738370"/>
                  </a:lnTo>
                  <a:lnTo>
                    <a:pt x="2312574" y="1720876"/>
                  </a:lnTo>
                  <a:lnTo>
                    <a:pt x="2368546" y="1668398"/>
                  </a:lnTo>
                  <a:lnTo>
                    <a:pt x="2368546" y="1633413"/>
                  </a:lnTo>
                  <a:lnTo>
                    <a:pt x="2438511" y="1598428"/>
                  </a:lnTo>
                  <a:lnTo>
                    <a:pt x="2725369" y="1685891"/>
                  </a:lnTo>
                  <a:lnTo>
                    <a:pt x="2795334" y="1951780"/>
                  </a:lnTo>
                  <a:lnTo>
                    <a:pt x="2616923" y="1916794"/>
                  </a:lnTo>
                  <a:lnTo>
                    <a:pt x="2456002" y="1720876"/>
                  </a:lnTo>
                  <a:lnTo>
                    <a:pt x="2295082" y="1881809"/>
                  </a:lnTo>
                  <a:lnTo>
                    <a:pt x="2330065" y="1899302"/>
                  </a:lnTo>
                  <a:lnTo>
                    <a:pt x="2456002" y="1776853"/>
                  </a:lnTo>
                  <a:lnTo>
                    <a:pt x="2508476" y="1881809"/>
                  </a:lnTo>
                  <a:lnTo>
                    <a:pt x="2473494" y="1951780"/>
                  </a:lnTo>
                  <a:lnTo>
                    <a:pt x="2490985" y="1969272"/>
                  </a:lnTo>
                  <a:lnTo>
                    <a:pt x="2529466" y="1916794"/>
                  </a:lnTo>
                  <a:lnTo>
                    <a:pt x="2546957" y="1951780"/>
                  </a:lnTo>
                  <a:lnTo>
                    <a:pt x="2795334" y="2025249"/>
                  </a:lnTo>
                  <a:lnTo>
                    <a:pt x="2812826" y="2077727"/>
                  </a:lnTo>
                  <a:lnTo>
                    <a:pt x="2868798" y="2060234"/>
                  </a:lnTo>
                  <a:lnTo>
                    <a:pt x="2830317" y="2165190"/>
                  </a:lnTo>
                  <a:lnTo>
                    <a:pt x="2868798" y="2238659"/>
                  </a:lnTo>
                  <a:lnTo>
                    <a:pt x="2868798" y="2165190"/>
                  </a:lnTo>
                  <a:lnTo>
                    <a:pt x="2921272" y="2147698"/>
                  </a:lnTo>
                  <a:lnTo>
                    <a:pt x="3047209" y="2469563"/>
                  </a:lnTo>
                  <a:lnTo>
                    <a:pt x="2956254" y="2487055"/>
                  </a:lnTo>
                  <a:lnTo>
                    <a:pt x="2903780" y="2361108"/>
                  </a:lnTo>
                  <a:lnTo>
                    <a:pt x="2938763" y="2504548"/>
                  </a:lnTo>
                  <a:lnTo>
                    <a:pt x="2903780" y="2522041"/>
                  </a:lnTo>
                  <a:lnTo>
                    <a:pt x="2795334" y="2504548"/>
                  </a:lnTo>
                  <a:lnTo>
                    <a:pt x="2707877" y="2417085"/>
                  </a:lnTo>
                  <a:lnTo>
                    <a:pt x="2707877" y="2361108"/>
                  </a:lnTo>
                  <a:lnTo>
                    <a:pt x="2651905" y="2326123"/>
                  </a:lnTo>
                  <a:lnTo>
                    <a:pt x="2473494" y="2238659"/>
                  </a:lnTo>
                  <a:lnTo>
                    <a:pt x="2347556" y="2256152"/>
                  </a:lnTo>
                  <a:lnTo>
                    <a:pt x="2347556" y="2291137"/>
                  </a:lnTo>
                  <a:lnTo>
                    <a:pt x="2490985" y="2273645"/>
                  </a:lnTo>
                  <a:lnTo>
                    <a:pt x="2529466" y="2361108"/>
                  </a:lnTo>
                  <a:lnTo>
                    <a:pt x="2456002" y="2469563"/>
                  </a:lnTo>
                  <a:lnTo>
                    <a:pt x="2260100" y="2504548"/>
                  </a:lnTo>
                  <a:lnTo>
                    <a:pt x="2312574" y="2522041"/>
                  </a:lnTo>
                  <a:lnTo>
                    <a:pt x="2312574" y="2613003"/>
                  </a:lnTo>
                  <a:lnTo>
                    <a:pt x="2225117" y="2700466"/>
                  </a:lnTo>
                  <a:lnTo>
                    <a:pt x="2403528" y="2682974"/>
                  </a:lnTo>
                  <a:lnTo>
                    <a:pt x="2490985" y="2630495"/>
                  </a:lnTo>
                  <a:lnTo>
                    <a:pt x="2508476" y="2665481"/>
                  </a:lnTo>
                  <a:lnTo>
                    <a:pt x="2456002" y="2700466"/>
                  </a:lnTo>
                  <a:lnTo>
                    <a:pt x="2421020" y="2805422"/>
                  </a:lnTo>
                  <a:lnTo>
                    <a:pt x="2456002" y="2805422"/>
                  </a:lnTo>
                  <a:lnTo>
                    <a:pt x="2473494" y="2735452"/>
                  </a:lnTo>
                  <a:lnTo>
                    <a:pt x="2634414" y="2630495"/>
                  </a:lnTo>
                  <a:lnTo>
                    <a:pt x="2851306" y="2647988"/>
                  </a:lnTo>
                  <a:lnTo>
                    <a:pt x="3012227" y="2592012"/>
                  </a:lnTo>
                  <a:lnTo>
                    <a:pt x="3029718" y="2613003"/>
                  </a:lnTo>
                  <a:lnTo>
                    <a:pt x="2938763" y="2700466"/>
                  </a:lnTo>
                  <a:lnTo>
                    <a:pt x="2956254" y="2735452"/>
                  </a:lnTo>
                  <a:lnTo>
                    <a:pt x="2868798" y="2787930"/>
                  </a:lnTo>
                  <a:lnTo>
                    <a:pt x="2903780" y="2826413"/>
                  </a:lnTo>
                  <a:lnTo>
                    <a:pt x="2830317" y="2843906"/>
                  </a:lnTo>
                  <a:lnTo>
                    <a:pt x="2868798" y="2878891"/>
                  </a:lnTo>
                  <a:lnTo>
                    <a:pt x="2760351" y="2983848"/>
                  </a:lnTo>
                  <a:lnTo>
                    <a:pt x="2795334" y="3018833"/>
                  </a:lnTo>
                  <a:lnTo>
                    <a:pt x="2669397" y="3214751"/>
                  </a:lnTo>
                  <a:lnTo>
                    <a:pt x="2368546" y="3428161"/>
                  </a:lnTo>
                  <a:lnTo>
                    <a:pt x="2277591" y="3428161"/>
                  </a:lnTo>
                  <a:lnTo>
                    <a:pt x="2242608" y="3484138"/>
                  </a:lnTo>
                  <a:lnTo>
                    <a:pt x="2186636" y="3484138"/>
                  </a:lnTo>
                  <a:lnTo>
                    <a:pt x="2207626" y="3519123"/>
                  </a:lnTo>
                  <a:lnTo>
                    <a:pt x="2151654" y="3554109"/>
                  </a:lnTo>
                  <a:lnTo>
                    <a:pt x="1973242" y="3449153"/>
                  </a:lnTo>
                  <a:lnTo>
                    <a:pt x="2008225" y="3624079"/>
                  </a:lnTo>
                  <a:lnTo>
                    <a:pt x="1903277" y="3732534"/>
                  </a:lnTo>
                  <a:lnTo>
                    <a:pt x="1812322" y="4106877"/>
                  </a:lnTo>
                  <a:lnTo>
                    <a:pt x="1794830" y="4089385"/>
                  </a:lnTo>
                  <a:lnTo>
                    <a:pt x="1777339" y="4106877"/>
                  </a:lnTo>
                  <a:lnTo>
                    <a:pt x="1777339" y="4159355"/>
                  </a:lnTo>
                  <a:lnTo>
                    <a:pt x="1686384" y="4246819"/>
                  </a:lnTo>
                  <a:lnTo>
                    <a:pt x="1598928" y="4176848"/>
                  </a:lnTo>
                  <a:lnTo>
                    <a:pt x="1633910" y="4302795"/>
                  </a:lnTo>
                  <a:lnTo>
                    <a:pt x="1581436" y="4337781"/>
                  </a:lnTo>
                  <a:lnTo>
                    <a:pt x="1563945" y="4390259"/>
                  </a:lnTo>
                  <a:lnTo>
                    <a:pt x="1525464" y="4337781"/>
                  </a:lnTo>
                  <a:lnTo>
                    <a:pt x="1490481" y="4425244"/>
                  </a:lnTo>
                  <a:lnTo>
                    <a:pt x="1455499" y="4390259"/>
                  </a:lnTo>
                  <a:lnTo>
                    <a:pt x="1403025" y="4481221"/>
                  </a:lnTo>
                  <a:lnTo>
                    <a:pt x="1364544" y="4498713"/>
                  </a:lnTo>
                  <a:lnTo>
                    <a:pt x="1329561" y="4481221"/>
                  </a:lnTo>
                  <a:lnTo>
                    <a:pt x="1403025" y="4246819"/>
                  </a:lnTo>
                  <a:lnTo>
                    <a:pt x="1277087" y="4229326"/>
                  </a:lnTo>
                  <a:lnTo>
                    <a:pt x="1347052" y="4264311"/>
                  </a:lnTo>
                  <a:lnTo>
                    <a:pt x="1294578" y="4390259"/>
                  </a:lnTo>
                  <a:lnTo>
                    <a:pt x="1292768" y="4389052"/>
                  </a:lnTo>
                  <a:close/>
                </a:path>
              </a:pathLst>
            </a:custGeom>
            <a:solidFill>
              <a:schemeClr val="accent3"/>
            </a:solidFill>
            <a:ln w="6350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/>
            </a:p>
          </p:txBody>
        </p:sp>
      </p:grpSp>
      <p:sp>
        <p:nvSpPr>
          <p:cNvPr id="203" name="Greenland Text"/>
          <p:cNvSpPr txBox="1">
            <a:spLocks/>
          </p:cNvSpPr>
          <p:nvPr/>
        </p:nvSpPr>
        <p:spPr>
          <a:xfrm>
            <a:off x="983302" y="2023002"/>
            <a:ext cx="58264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chemeClr val="accent1"/>
                </a:solidFill>
              </a:rPr>
              <a:t>Greenland</a:t>
            </a:r>
          </a:p>
        </p:txBody>
      </p:sp>
      <p:grpSp>
        <p:nvGrpSpPr>
          <p:cNvPr id="205" name="Faeroe Island"/>
          <p:cNvGrpSpPr>
            <a:grpSpLocks noChangeAspect="1"/>
          </p:cNvGrpSpPr>
          <p:nvPr/>
        </p:nvGrpSpPr>
        <p:grpSpPr bwMode="auto">
          <a:xfrm>
            <a:off x="4222342" y="5112343"/>
            <a:ext cx="453102" cy="666518"/>
            <a:chOff x="4167" y="3001"/>
            <a:chExt cx="138" cy="203"/>
          </a:xfrm>
          <a:solidFill>
            <a:schemeClr val="accent3"/>
          </a:solidFill>
        </p:grpSpPr>
        <p:sp>
          <p:nvSpPr>
            <p:cNvPr id="207" name="Freeform 5"/>
            <p:cNvSpPr>
              <a:spLocks/>
            </p:cNvSpPr>
            <p:nvPr/>
          </p:nvSpPr>
          <p:spPr bwMode="auto">
            <a:xfrm>
              <a:off x="4217" y="3156"/>
              <a:ext cx="28" cy="48"/>
            </a:xfrm>
            <a:custGeom>
              <a:avLst/>
              <a:gdLst>
                <a:gd name="T0" fmla="*/ 25 w 28"/>
                <a:gd name="T1" fmla="*/ 41 h 48"/>
                <a:gd name="T2" fmla="*/ 28 w 28"/>
                <a:gd name="T3" fmla="*/ 48 h 48"/>
                <a:gd name="T4" fmla="*/ 23 w 28"/>
                <a:gd name="T5" fmla="*/ 46 h 48"/>
                <a:gd name="T6" fmla="*/ 15 w 28"/>
                <a:gd name="T7" fmla="*/ 39 h 48"/>
                <a:gd name="T8" fmla="*/ 3 w 28"/>
                <a:gd name="T9" fmla="*/ 22 h 48"/>
                <a:gd name="T10" fmla="*/ 0 w 28"/>
                <a:gd name="T11" fmla="*/ 7 h 48"/>
                <a:gd name="T12" fmla="*/ 0 w 28"/>
                <a:gd name="T13" fmla="*/ 0 h 48"/>
                <a:gd name="T14" fmla="*/ 3 w 28"/>
                <a:gd name="T15" fmla="*/ 0 h 48"/>
                <a:gd name="T16" fmla="*/ 5 w 28"/>
                <a:gd name="T17" fmla="*/ 7 h 48"/>
                <a:gd name="T18" fmla="*/ 20 w 28"/>
                <a:gd name="T19" fmla="*/ 12 h 48"/>
                <a:gd name="T20" fmla="*/ 23 w 28"/>
                <a:gd name="T21" fmla="*/ 14 h 48"/>
                <a:gd name="T22" fmla="*/ 23 w 28"/>
                <a:gd name="T23" fmla="*/ 22 h 48"/>
                <a:gd name="T24" fmla="*/ 25 w 28"/>
                <a:gd name="T25" fmla="*/ 29 h 48"/>
                <a:gd name="T26" fmla="*/ 25 w 28"/>
                <a:gd name="T27" fmla="*/ 4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48">
                  <a:moveTo>
                    <a:pt x="25" y="41"/>
                  </a:moveTo>
                  <a:lnTo>
                    <a:pt x="28" y="48"/>
                  </a:lnTo>
                  <a:lnTo>
                    <a:pt x="23" y="46"/>
                  </a:lnTo>
                  <a:lnTo>
                    <a:pt x="15" y="39"/>
                  </a:lnTo>
                  <a:lnTo>
                    <a:pt x="3" y="22"/>
                  </a:lnTo>
                  <a:lnTo>
                    <a:pt x="0" y="7"/>
                  </a:lnTo>
                  <a:lnTo>
                    <a:pt x="0" y="0"/>
                  </a:lnTo>
                  <a:lnTo>
                    <a:pt x="3" y="0"/>
                  </a:lnTo>
                  <a:lnTo>
                    <a:pt x="5" y="7"/>
                  </a:lnTo>
                  <a:lnTo>
                    <a:pt x="20" y="12"/>
                  </a:lnTo>
                  <a:lnTo>
                    <a:pt x="23" y="14"/>
                  </a:lnTo>
                  <a:lnTo>
                    <a:pt x="23" y="22"/>
                  </a:lnTo>
                  <a:lnTo>
                    <a:pt x="25" y="29"/>
                  </a:lnTo>
                  <a:lnTo>
                    <a:pt x="25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8" name="Freeform 6"/>
            <p:cNvSpPr>
              <a:spLocks/>
            </p:cNvSpPr>
            <p:nvPr/>
          </p:nvSpPr>
          <p:spPr bwMode="auto">
            <a:xfrm>
              <a:off x="4230" y="3097"/>
              <a:ext cx="35" cy="32"/>
            </a:xfrm>
            <a:custGeom>
              <a:avLst/>
              <a:gdLst>
                <a:gd name="T0" fmla="*/ 32 w 35"/>
                <a:gd name="T1" fmla="*/ 22 h 32"/>
                <a:gd name="T2" fmla="*/ 30 w 35"/>
                <a:gd name="T3" fmla="*/ 32 h 32"/>
                <a:gd name="T4" fmla="*/ 25 w 35"/>
                <a:gd name="T5" fmla="*/ 32 h 32"/>
                <a:gd name="T6" fmla="*/ 15 w 35"/>
                <a:gd name="T7" fmla="*/ 19 h 32"/>
                <a:gd name="T8" fmla="*/ 5 w 35"/>
                <a:gd name="T9" fmla="*/ 15 h 32"/>
                <a:gd name="T10" fmla="*/ 2 w 35"/>
                <a:gd name="T11" fmla="*/ 10 h 32"/>
                <a:gd name="T12" fmla="*/ 0 w 35"/>
                <a:gd name="T13" fmla="*/ 2 h 32"/>
                <a:gd name="T14" fmla="*/ 7 w 35"/>
                <a:gd name="T15" fmla="*/ 0 h 32"/>
                <a:gd name="T16" fmla="*/ 12 w 35"/>
                <a:gd name="T17" fmla="*/ 2 h 32"/>
                <a:gd name="T18" fmla="*/ 30 w 35"/>
                <a:gd name="T19" fmla="*/ 12 h 32"/>
                <a:gd name="T20" fmla="*/ 35 w 35"/>
                <a:gd name="T21" fmla="*/ 17 h 32"/>
                <a:gd name="T22" fmla="*/ 32 w 35"/>
                <a:gd name="T23" fmla="*/ 2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32">
                  <a:moveTo>
                    <a:pt x="32" y="22"/>
                  </a:moveTo>
                  <a:lnTo>
                    <a:pt x="30" y="32"/>
                  </a:lnTo>
                  <a:lnTo>
                    <a:pt x="25" y="32"/>
                  </a:lnTo>
                  <a:lnTo>
                    <a:pt x="15" y="19"/>
                  </a:lnTo>
                  <a:lnTo>
                    <a:pt x="5" y="15"/>
                  </a:lnTo>
                  <a:lnTo>
                    <a:pt x="2" y="10"/>
                  </a:lnTo>
                  <a:lnTo>
                    <a:pt x="0" y="2"/>
                  </a:lnTo>
                  <a:lnTo>
                    <a:pt x="7" y="0"/>
                  </a:lnTo>
                  <a:lnTo>
                    <a:pt x="12" y="2"/>
                  </a:lnTo>
                  <a:lnTo>
                    <a:pt x="30" y="12"/>
                  </a:lnTo>
                  <a:lnTo>
                    <a:pt x="35" y="17"/>
                  </a:lnTo>
                  <a:lnTo>
                    <a:pt x="32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9" name="Freeform 7"/>
            <p:cNvSpPr>
              <a:spLocks/>
            </p:cNvSpPr>
            <p:nvPr/>
          </p:nvSpPr>
          <p:spPr bwMode="auto">
            <a:xfrm>
              <a:off x="4167" y="3045"/>
              <a:ext cx="45" cy="22"/>
            </a:xfrm>
            <a:custGeom>
              <a:avLst/>
              <a:gdLst>
                <a:gd name="T0" fmla="*/ 33 w 45"/>
                <a:gd name="T1" fmla="*/ 3 h 22"/>
                <a:gd name="T2" fmla="*/ 43 w 45"/>
                <a:gd name="T3" fmla="*/ 10 h 22"/>
                <a:gd name="T4" fmla="*/ 45 w 45"/>
                <a:gd name="T5" fmla="*/ 18 h 22"/>
                <a:gd name="T6" fmla="*/ 38 w 45"/>
                <a:gd name="T7" fmla="*/ 22 h 22"/>
                <a:gd name="T8" fmla="*/ 30 w 45"/>
                <a:gd name="T9" fmla="*/ 22 h 22"/>
                <a:gd name="T10" fmla="*/ 20 w 45"/>
                <a:gd name="T11" fmla="*/ 22 h 22"/>
                <a:gd name="T12" fmla="*/ 3 w 45"/>
                <a:gd name="T13" fmla="*/ 15 h 22"/>
                <a:gd name="T14" fmla="*/ 0 w 45"/>
                <a:gd name="T15" fmla="*/ 0 h 22"/>
                <a:gd name="T16" fmla="*/ 10 w 45"/>
                <a:gd name="T17" fmla="*/ 3 h 22"/>
                <a:gd name="T18" fmla="*/ 25 w 45"/>
                <a:gd name="T19" fmla="*/ 0 h 22"/>
                <a:gd name="T20" fmla="*/ 33 w 45"/>
                <a:gd name="T21" fmla="*/ 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5" h="22">
                  <a:moveTo>
                    <a:pt x="33" y="3"/>
                  </a:moveTo>
                  <a:lnTo>
                    <a:pt x="43" y="10"/>
                  </a:lnTo>
                  <a:lnTo>
                    <a:pt x="45" y="18"/>
                  </a:lnTo>
                  <a:lnTo>
                    <a:pt x="38" y="22"/>
                  </a:lnTo>
                  <a:lnTo>
                    <a:pt x="30" y="22"/>
                  </a:lnTo>
                  <a:lnTo>
                    <a:pt x="20" y="22"/>
                  </a:lnTo>
                  <a:lnTo>
                    <a:pt x="3" y="15"/>
                  </a:lnTo>
                  <a:lnTo>
                    <a:pt x="0" y="0"/>
                  </a:lnTo>
                  <a:lnTo>
                    <a:pt x="10" y="3"/>
                  </a:lnTo>
                  <a:lnTo>
                    <a:pt x="25" y="0"/>
                  </a:lnTo>
                  <a:lnTo>
                    <a:pt x="33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0" name="Freeform 8"/>
            <p:cNvSpPr>
              <a:spLocks/>
            </p:cNvSpPr>
            <p:nvPr/>
          </p:nvSpPr>
          <p:spPr bwMode="auto">
            <a:xfrm>
              <a:off x="4205" y="3009"/>
              <a:ext cx="70" cy="78"/>
            </a:xfrm>
            <a:custGeom>
              <a:avLst/>
              <a:gdLst>
                <a:gd name="T0" fmla="*/ 70 w 70"/>
                <a:gd name="T1" fmla="*/ 19 h 78"/>
                <a:gd name="T2" fmla="*/ 62 w 70"/>
                <a:gd name="T3" fmla="*/ 49 h 78"/>
                <a:gd name="T4" fmla="*/ 57 w 70"/>
                <a:gd name="T5" fmla="*/ 49 h 78"/>
                <a:gd name="T6" fmla="*/ 47 w 70"/>
                <a:gd name="T7" fmla="*/ 41 h 78"/>
                <a:gd name="T8" fmla="*/ 42 w 70"/>
                <a:gd name="T9" fmla="*/ 39 h 78"/>
                <a:gd name="T10" fmla="*/ 40 w 70"/>
                <a:gd name="T11" fmla="*/ 44 h 78"/>
                <a:gd name="T12" fmla="*/ 37 w 70"/>
                <a:gd name="T13" fmla="*/ 49 h 78"/>
                <a:gd name="T14" fmla="*/ 42 w 70"/>
                <a:gd name="T15" fmla="*/ 51 h 78"/>
                <a:gd name="T16" fmla="*/ 50 w 70"/>
                <a:gd name="T17" fmla="*/ 71 h 78"/>
                <a:gd name="T18" fmla="*/ 50 w 70"/>
                <a:gd name="T19" fmla="*/ 76 h 78"/>
                <a:gd name="T20" fmla="*/ 50 w 70"/>
                <a:gd name="T21" fmla="*/ 78 h 78"/>
                <a:gd name="T22" fmla="*/ 37 w 70"/>
                <a:gd name="T23" fmla="*/ 73 h 78"/>
                <a:gd name="T24" fmla="*/ 15 w 70"/>
                <a:gd name="T25" fmla="*/ 49 h 78"/>
                <a:gd name="T26" fmla="*/ 0 w 70"/>
                <a:gd name="T27" fmla="*/ 7 h 78"/>
                <a:gd name="T28" fmla="*/ 30 w 70"/>
                <a:gd name="T29" fmla="*/ 0 h 78"/>
                <a:gd name="T30" fmla="*/ 47 w 70"/>
                <a:gd name="T31" fmla="*/ 12 h 78"/>
                <a:gd name="T32" fmla="*/ 70 w 70"/>
                <a:gd name="T33" fmla="*/ 1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0" h="78">
                  <a:moveTo>
                    <a:pt x="70" y="19"/>
                  </a:moveTo>
                  <a:lnTo>
                    <a:pt x="62" y="49"/>
                  </a:lnTo>
                  <a:lnTo>
                    <a:pt x="57" y="49"/>
                  </a:lnTo>
                  <a:lnTo>
                    <a:pt x="47" y="41"/>
                  </a:lnTo>
                  <a:lnTo>
                    <a:pt x="42" y="39"/>
                  </a:lnTo>
                  <a:lnTo>
                    <a:pt x="40" y="44"/>
                  </a:lnTo>
                  <a:lnTo>
                    <a:pt x="37" y="49"/>
                  </a:lnTo>
                  <a:lnTo>
                    <a:pt x="42" y="51"/>
                  </a:lnTo>
                  <a:lnTo>
                    <a:pt x="50" y="71"/>
                  </a:lnTo>
                  <a:lnTo>
                    <a:pt x="50" y="76"/>
                  </a:lnTo>
                  <a:lnTo>
                    <a:pt x="50" y="78"/>
                  </a:lnTo>
                  <a:lnTo>
                    <a:pt x="37" y="73"/>
                  </a:lnTo>
                  <a:lnTo>
                    <a:pt x="15" y="49"/>
                  </a:lnTo>
                  <a:lnTo>
                    <a:pt x="0" y="7"/>
                  </a:lnTo>
                  <a:lnTo>
                    <a:pt x="30" y="0"/>
                  </a:lnTo>
                  <a:lnTo>
                    <a:pt x="47" y="12"/>
                  </a:lnTo>
                  <a:lnTo>
                    <a:pt x="70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1" name="Freeform 9"/>
            <p:cNvSpPr>
              <a:spLocks/>
            </p:cNvSpPr>
            <p:nvPr/>
          </p:nvSpPr>
          <p:spPr bwMode="auto">
            <a:xfrm>
              <a:off x="4285" y="3001"/>
              <a:ext cx="20" cy="37"/>
            </a:xfrm>
            <a:custGeom>
              <a:avLst/>
              <a:gdLst>
                <a:gd name="T0" fmla="*/ 20 w 20"/>
                <a:gd name="T1" fmla="*/ 22 h 37"/>
                <a:gd name="T2" fmla="*/ 12 w 20"/>
                <a:gd name="T3" fmla="*/ 37 h 37"/>
                <a:gd name="T4" fmla="*/ 2 w 20"/>
                <a:gd name="T5" fmla="*/ 35 h 37"/>
                <a:gd name="T6" fmla="*/ 0 w 20"/>
                <a:gd name="T7" fmla="*/ 32 h 37"/>
                <a:gd name="T8" fmla="*/ 0 w 20"/>
                <a:gd name="T9" fmla="*/ 30 h 37"/>
                <a:gd name="T10" fmla="*/ 2 w 20"/>
                <a:gd name="T11" fmla="*/ 18 h 37"/>
                <a:gd name="T12" fmla="*/ 2 w 20"/>
                <a:gd name="T13" fmla="*/ 0 h 37"/>
                <a:gd name="T14" fmla="*/ 12 w 20"/>
                <a:gd name="T15" fmla="*/ 15 h 37"/>
                <a:gd name="T16" fmla="*/ 20 w 20"/>
                <a:gd name="T17" fmla="*/ 2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37">
                  <a:moveTo>
                    <a:pt x="20" y="22"/>
                  </a:moveTo>
                  <a:lnTo>
                    <a:pt x="12" y="37"/>
                  </a:lnTo>
                  <a:lnTo>
                    <a:pt x="2" y="35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2" y="18"/>
                  </a:lnTo>
                  <a:lnTo>
                    <a:pt x="2" y="0"/>
                  </a:lnTo>
                  <a:lnTo>
                    <a:pt x="12" y="15"/>
                  </a:lnTo>
                  <a:lnTo>
                    <a:pt x="20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12" name="Faroe Island Text"/>
          <p:cNvSpPr txBox="1">
            <a:spLocks/>
          </p:cNvSpPr>
          <p:nvPr/>
        </p:nvSpPr>
        <p:spPr>
          <a:xfrm>
            <a:off x="4501296" y="5273137"/>
            <a:ext cx="558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900" b="1" dirty="0">
                <a:solidFill>
                  <a:schemeClr val="accent1"/>
                </a:solidFill>
              </a:rPr>
              <a:t>Faroe </a:t>
            </a:r>
            <a:br>
              <a:rPr lang="en-GB" sz="900" b="1" dirty="0">
                <a:solidFill>
                  <a:schemeClr val="accent1"/>
                </a:solidFill>
              </a:rPr>
            </a:br>
            <a:r>
              <a:rPr lang="en-GB" sz="900" b="1" dirty="0">
                <a:solidFill>
                  <a:schemeClr val="accent1"/>
                </a:solidFill>
              </a:rPr>
              <a:t>Islands</a:t>
            </a:r>
          </a:p>
        </p:txBody>
      </p:sp>
      <p:sp>
        <p:nvSpPr>
          <p:cNvPr id="48" name="Åland Islands Text"/>
          <p:cNvSpPr txBox="1">
            <a:spLocks/>
          </p:cNvSpPr>
          <p:nvPr/>
        </p:nvSpPr>
        <p:spPr>
          <a:xfrm>
            <a:off x="8775837" y="3882597"/>
            <a:ext cx="5580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900" b="1" noProof="1">
                <a:solidFill>
                  <a:schemeClr val="accent1"/>
                </a:solidFill>
              </a:rPr>
              <a:t>Åland Islands</a:t>
            </a:r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31653452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eece"/>
          <p:cNvGrpSpPr>
            <a:grpSpLocks/>
          </p:cNvGrpSpPr>
          <p:nvPr/>
        </p:nvGrpSpPr>
        <p:grpSpPr>
          <a:xfrm>
            <a:off x="10557401" y="5599113"/>
            <a:ext cx="1063625" cy="1130300"/>
            <a:chOff x="10578421" y="5599113"/>
            <a:chExt cx="1063625" cy="1130300"/>
          </a:xfrm>
          <a:solidFill>
            <a:schemeClr val="accent3"/>
          </a:solidFill>
        </p:grpSpPr>
        <p:sp>
          <p:nvSpPr>
            <p:cNvPr id="8" name="Freeform 54"/>
            <p:cNvSpPr>
              <a:spLocks/>
            </p:cNvSpPr>
            <p:nvPr/>
          </p:nvSpPr>
          <p:spPr bwMode="auto">
            <a:xfrm>
              <a:off x="10578421" y="5599113"/>
              <a:ext cx="1063625" cy="863600"/>
            </a:xfrm>
            <a:custGeom>
              <a:avLst/>
              <a:gdLst>
                <a:gd name="T0" fmla="*/ 348 w 371"/>
                <a:gd name="T1" fmla="*/ 82 h 301"/>
                <a:gd name="T2" fmla="*/ 328 w 371"/>
                <a:gd name="T3" fmla="*/ 66 h 301"/>
                <a:gd name="T4" fmla="*/ 287 w 371"/>
                <a:gd name="T5" fmla="*/ 66 h 301"/>
                <a:gd name="T6" fmla="*/ 246 w 371"/>
                <a:gd name="T7" fmla="*/ 74 h 301"/>
                <a:gd name="T8" fmla="*/ 214 w 371"/>
                <a:gd name="T9" fmla="*/ 94 h 301"/>
                <a:gd name="T10" fmla="*/ 221 w 371"/>
                <a:gd name="T11" fmla="*/ 122 h 301"/>
                <a:gd name="T12" fmla="*/ 209 w 371"/>
                <a:gd name="T13" fmla="*/ 133 h 301"/>
                <a:gd name="T14" fmla="*/ 188 w 371"/>
                <a:gd name="T15" fmla="*/ 138 h 301"/>
                <a:gd name="T16" fmla="*/ 158 w 371"/>
                <a:gd name="T17" fmla="*/ 122 h 301"/>
                <a:gd name="T18" fmla="*/ 146 w 371"/>
                <a:gd name="T19" fmla="*/ 122 h 301"/>
                <a:gd name="T20" fmla="*/ 146 w 371"/>
                <a:gd name="T21" fmla="*/ 149 h 301"/>
                <a:gd name="T22" fmla="*/ 178 w 371"/>
                <a:gd name="T23" fmla="*/ 193 h 301"/>
                <a:gd name="T24" fmla="*/ 225 w 371"/>
                <a:gd name="T25" fmla="*/ 214 h 301"/>
                <a:gd name="T26" fmla="*/ 259 w 371"/>
                <a:gd name="T27" fmla="*/ 224 h 301"/>
                <a:gd name="T28" fmla="*/ 271 w 371"/>
                <a:gd name="T29" fmla="*/ 245 h 301"/>
                <a:gd name="T30" fmla="*/ 295 w 371"/>
                <a:gd name="T31" fmla="*/ 261 h 301"/>
                <a:gd name="T32" fmla="*/ 263 w 371"/>
                <a:gd name="T33" fmla="*/ 249 h 301"/>
                <a:gd name="T34" fmla="*/ 234 w 371"/>
                <a:gd name="T35" fmla="*/ 243 h 301"/>
                <a:gd name="T36" fmla="*/ 197 w 371"/>
                <a:gd name="T37" fmla="*/ 219 h 301"/>
                <a:gd name="T38" fmla="*/ 187 w 371"/>
                <a:gd name="T39" fmla="*/ 239 h 301"/>
                <a:gd name="T40" fmla="*/ 209 w 371"/>
                <a:gd name="T41" fmla="*/ 238 h 301"/>
                <a:gd name="T42" fmla="*/ 226 w 371"/>
                <a:gd name="T43" fmla="*/ 249 h 301"/>
                <a:gd name="T44" fmla="*/ 256 w 371"/>
                <a:gd name="T45" fmla="*/ 258 h 301"/>
                <a:gd name="T46" fmla="*/ 267 w 371"/>
                <a:gd name="T47" fmla="*/ 291 h 301"/>
                <a:gd name="T48" fmla="*/ 237 w 371"/>
                <a:gd name="T49" fmla="*/ 283 h 301"/>
                <a:gd name="T50" fmla="*/ 209 w 371"/>
                <a:gd name="T51" fmla="*/ 289 h 301"/>
                <a:gd name="T52" fmla="*/ 201 w 371"/>
                <a:gd name="T53" fmla="*/ 294 h 301"/>
                <a:gd name="T54" fmla="*/ 208 w 371"/>
                <a:gd name="T55" fmla="*/ 278 h 301"/>
                <a:gd name="T56" fmla="*/ 184 w 371"/>
                <a:gd name="T57" fmla="*/ 271 h 301"/>
                <a:gd name="T58" fmla="*/ 160 w 371"/>
                <a:gd name="T59" fmla="*/ 269 h 301"/>
                <a:gd name="T60" fmla="*/ 115 w 371"/>
                <a:gd name="T61" fmla="*/ 275 h 301"/>
                <a:gd name="T62" fmla="*/ 83 w 371"/>
                <a:gd name="T63" fmla="*/ 280 h 301"/>
                <a:gd name="T64" fmla="*/ 63 w 371"/>
                <a:gd name="T65" fmla="*/ 252 h 301"/>
                <a:gd name="T66" fmla="*/ 55 w 371"/>
                <a:gd name="T67" fmla="*/ 237 h 301"/>
                <a:gd name="T68" fmla="*/ 18 w 371"/>
                <a:gd name="T69" fmla="*/ 201 h 301"/>
                <a:gd name="T70" fmla="*/ 6 w 371"/>
                <a:gd name="T71" fmla="*/ 195 h 301"/>
                <a:gd name="T72" fmla="*/ 14 w 371"/>
                <a:gd name="T73" fmla="*/ 171 h 301"/>
                <a:gd name="T74" fmla="*/ 35 w 371"/>
                <a:gd name="T75" fmla="*/ 122 h 301"/>
                <a:gd name="T76" fmla="*/ 56 w 371"/>
                <a:gd name="T77" fmla="*/ 105 h 301"/>
                <a:gd name="T78" fmla="*/ 92 w 371"/>
                <a:gd name="T79" fmla="*/ 81 h 301"/>
                <a:gd name="T80" fmla="*/ 119 w 371"/>
                <a:gd name="T81" fmla="*/ 66 h 301"/>
                <a:gd name="T82" fmla="*/ 241 w 371"/>
                <a:gd name="T83" fmla="*/ 32 h 301"/>
                <a:gd name="T84" fmla="*/ 269 w 371"/>
                <a:gd name="T85" fmla="*/ 37 h 301"/>
                <a:gd name="T86" fmla="*/ 333 w 371"/>
                <a:gd name="T87" fmla="*/ 32 h 301"/>
                <a:gd name="T88" fmla="*/ 339 w 371"/>
                <a:gd name="T89" fmla="*/ 0 h 301"/>
                <a:gd name="T90" fmla="*/ 350 w 371"/>
                <a:gd name="T91" fmla="*/ 32 h 301"/>
                <a:gd name="T92" fmla="*/ 366 w 371"/>
                <a:gd name="T93" fmla="*/ 76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71" h="301">
                  <a:moveTo>
                    <a:pt x="366" y="76"/>
                  </a:moveTo>
                  <a:cubicBezTo>
                    <a:pt x="348" y="82"/>
                    <a:pt x="348" y="82"/>
                    <a:pt x="348" y="82"/>
                  </a:cubicBezTo>
                  <a:cubicBezTo>
                    <a:pt x="339" y="72"/>
                    <a:pt x="339" y="72"/>
                    <a:pt x="339" y="72"/>
                  </a:cubicBezTo>
                  <a:cubicBezTo>
                    <a:pt x="328" y="66"/>
                    <a:pt x="328" y="66"/>
                    <a:pt x="328" y="66"/>
                  </a:cubicBezTo>
                  <a:cubicBezTo>
                    <a:pt x="309" y="72"/>
                    <a:pt x="309" y="72"/>
                    <a:pt x="309" y="72"/>
                  </a:cubicBezTo>
                  <a:cubicBezTo>
                    <a:pt x="287" y="66"/>
                    <a:pt x="287" y="66"/>
                    <a:pt x="287" y="66"/>
                  </a:cubicBezTo>
                  <a:cubicBezTo>
                    <a:pt x="263" y="82"/>
                    <a:pt x="263" y="82"/>
                    <a:pt x="263" y="82"/>
                  </a:cubicBezTo>
                  <a:cubicBezTo>
                    <a:pt x="246" y="74"/>
                    <a:pt x="246" y="74"/>
                    <a:pt x="246" y="74"/>
                  </a:cubicBezTo>
                  <a:cubicBezTo>
                    <a:pt x="232" y="91"/>
                    <a:pt x="232" y="91"/>
                    <a:pt x="232" y="91"/>
                  </a:cubicBezTo>
                  <a:cubicBezTo>
                    <a:pt x="214" y="94"/>
                    <a:pt x="214" y="94"/>
                    <a:pt x="214" y="94"/>
                  </a:cubicBezTo>
                  <a:cubicBezTo>
                    <a:pt x="214" y="109"/>
                    <a:pt x="214" y="109"/>
                    <a:pt x="214" y="109"/>
                  </a:cubicBezTo>
                  <a:cubicBezTo>
                    <a:pt x="221" y="122"/>
                    <a:pt x="221" y="122"/>
                    <a:pt x="221" y="122"/>
                  </a:cubicBezTo>
                  <a:cubicBezTo>
                    <a:pt x="212" y="122"/>
                    <a:pt x="212" y="122"/>
                    <a:pt x="212" y="122"/>
                  </a:cubicBezTo>
                  <a:cubicBezTo>
                    <a:pt x="209" y="133"/>
                    <a:pt x="209" y="133"/>
                    <a:pt x="209" y="133"/>
                  </a:cubicBezTo>
                  <a:cubicBezTo>
                    <a:pt x="199" y="133"/>
                    <a:pt x="199" y="133"/>
                    <a:pt x="199" y="133"/>
                  </a:cubicBezTo>
                  <a:cubicBezTo>
                    <a:pt x="188" y="138"/>
                    <a:pt x="188" y="138"/>
                    <a:pt x="188" y="138"/>
                  </a:cubicBezTo>
                  <a:cubicBezTo>
                    <a:pt x="167" y="128"/>
                    <a:pt x="167" y="128"/>
                    <a:pt x="167" y="128"/>
                  </a:cubicBezTo>
                  <a:cubicBezTo>
                    <a:pt x="158" y="122"/>
                    <a:pt x="158" y="122"/>
                    <a:pt x="158" y="122"/>
                  </a:cubicBezTo>
                  <a:cubicBezTo>
                    <a:pt x="162" y="112"/>
                    <a:pt x="162" y="112"/>
                    <a:pt x="162" y="112"/>
                  </a:cubicBezTo>
                  <a:cubicBezTo>
                    <a:pt x="146" y="122"/>
                    <a:pt x="146" y="122"/>
                    <a:pt x="146" y="122"/>
                  </a:cubicBezTo>
                  <a:cubicBezTo>
                    <a:pt x="152" y="140"/>
                    <a:pt x="152" y="140"/>
                    <a:pt x="152" y="140"/>
                  </a:cubicBezTo>
                  <a:cubicBezTo>
                    <a:pt x="146" y="149"/>
                    <a:pt x="146" y="149"/>
                    <a:pt x="146" y="149"/>
                  </a:cubicBezTo>
                  <a:cubicBezTo>
                    <a:pt x="173" y="176"/>
                    <a:pt x="173" y="176"/>
                    <a:pt x="173" y="176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201" y="204"/>
                    <a:pt x="201" y="204"/>
                    <a:pt x="201" y="204"/>
                  </a:cubicBezTo>
                  <a:cubicBezTo>
                    <a:pt x="225" y="214"/>
                    <a:pt x="225" y="214"/>
                    <a:pt x="225" y="214"/>
                  </a:cubicBezTo>
                  <a:cubicBezTo>
                    <a:pt x="242" y="224"/>
                    <a:pt x="242" y="224"/>
                    <a:pt x="242" y="224"/>
                  </a:cubicBezTo>
                  <a:cubicBezTo>
                    <a:pt x="259" y="224"/>
                    <a:pt x="259" y="224"/>
                    <a:pt x="259" y="224"/>
                  </a:cubicBezTo>
                  <a:cubicBezTo>
                    <a:pt x="269" y="226"/>
                    <a:pt x="269" y="226"/>
                    <a:pt x="269" y="226"/>
                  </a:cubicBezTo>
                  <a:cubicBezTo>
                    <a:pt x="271" y="245"/>
                    <a:pt x="271" y="245"/>
                    <a:pt x="271" y="245"/>
                  </a:cubicBezTo>
                  <a:cubicBezTo>
                    <a:pt x="294" y="250"/>
                    <a:pt x="294" y="250"/>
                    <a:pt x="294" y="250"/>
                  </a:cubicBezTo>
                  <a:cubicBezTo>
                    <a:pt x="295" y="261"/>
                    <a:pt x="295" y="261"/>
                    <a:pt x="295" y="261"/>
                  </a:cubicBezTo>
                  <a:cubicBezTo>
                    <a:pt x="278" y="266"/>
                    <a:pt x="278" y="266"/>
                    <a:pt x="278" y="266"/>
                  </a:cubicBezTo>
                  <a:cubicBezTo>
                    <a:pt x="263" y="249"/>
                    <a:pt x="263" y="249"/>
                    <a:pt x="263" y="249"/>
                  </a:cubicBezTo>
                  <a:cubicBezTo>
                    <a:pt x="259" y="240"/>
                    <a:pt x="259" y="240"/>
                    <a:pt x="259" y="240"/>
                  </a:cubicBezTo>
                  <a:cubicBezTo>
                    <a:pt x="234" y="243"/>
                    <a:pt x="234" y="243"/>
                    <a:pt x="234" y="243"/>
                  </a:cubicBezTo>
                  <a:cubicBezTo>
                    <a:pt x="225" y="231"/>
                    <a:pt x="225" y="231"/>
                    <a:pt x="225" y="231"/>
                  </a:cubicBezTo>
                  <a:cubicBezTo>
                    <a:pt x="197" y="219"/>
                    <a:pt x="197" y="219"/>
                    <a:pt x="197" y="219"/>
                  </a:cubicBezTo>
                  <a:cubicBezTo>
                    <a:pt x="171" y="230"/>
                    <a:pt x="171" y="230"/>
                    <a:pt x="171" y="230"/>
                  </a:cubicBezTo>
                  <a:cubicBezTo>
                    <a:pt x="187" y="239"/>
                    <a:pt x="187" y="239"/>
                    <a:pt x="187" y="239"/>
                  </a:cubicBezTo>
                  <a:cubicBezTo>
                    <a:pt x="203" y="245"/>
                    <a:pt x="203" y="245"/>
                    <a:pt x="203" y="245"/>
                  </a:cubicBezTo>
                  <a:cubicBezTo>
                    <a:pt x="203" y="245"/>
                    <a:pt x="208" y="237"/>
                    <a:pt x="209" y="238"/>
                  </a:cubicBezTo>
                  <a:cubicBezTo>
                    <a:pt x="210" y="240"/>
                    <a:pt x="217" y="247"/>
                    <a:pt x="217" y="247"/>
                  </a:cubicBezTo>
                  <a:cubicBezTo>
                    <a:pt x="226" y="249"/>
                    <a:pt x="226" y="249"/>
                    <a:pt x="226" y="249"/>
                  </a:cubicBezTo>
                  <a:cubicBezTo>
                    <a:pt x="229" y="256"/>
                    <a:pt x="229" y="256"/>
                    <a:pt x="229" y="256"/>
                  </a:cubicBezTo>
                  <a:cubicBezTo>
                    <a:pt x="256" y="258"/>
                    <a:pt x="256" y="258"/>
                    <a:pt x="256" y="258"/>
                  </a:cubicBezTo>
                  <a:cubicBezTo>
                    <a:pt x="256" y="271"/>
                    <a:pt x="256" y="271"/>
                    <a:pt x="256" y="271"/>
                  </a:cubicBezTo>
                  <a:cubicBezTo>
                    <a:pt x="267" y="291"/>
                    <a:pt x="267" y="291"/>
                    <a:pt x="267" y="291"/>
                  </a:cubicBezTo>
                  <a:cubicBezTo>
                    <a:pt x="260" y="301"/>
                    <a:pt x="260" y="301"/>
                    <a:pt x="260" y="301"/>
                  </a:cubicBezTo>
                  <a:cubicBezTo>
                    <a:pt x="237" y="283"/>
                    <a:pt x="237" y="283"/>
                    <a:pt x="237" y="283"/>
                  </a:cubicBezTo>
                  <a:cubicBezTo>
                    <a:pt x="227" y="278"/>
                    <a:pt x="227" y="278"/>
                    <a:pt x="227" y="278"/>
                  </a:cubicBezTo>
                  <a:cubicBezTo>
                    <a:pt x="209" y="289"/>
                    <a:pt x="209" y="289"/>
                    <a:pt x="209" y="289"/>
                  </a:cubicBezTo>
                  <a:cubicBezTo>
                    <a:pt x="201" y="288"/>
                    <a:pt x="201" y="288"/>
                    <a:pt x="201" y="288"/>
                  </a:cubicBezTo>
                  <a:cubicBezTo>
                    <a:pt x="201" y="294"/>
                    <a:pt x="201" y="294"/>
                    <a:pt x="201" y="294"/>
                  </a:cubicBezTo>
                  <a:cubicBezTo>
                    <a:pt x="194" y="279"/>
                    <a:pt x="194" y="279"/>
                    <a:pt x="194" y="279"/>
                  </a:cubicBezTo>
                  <a:cubicBezTo>
                    <a:pt x="208" y="278"/>
                    <a:pt x="208" y="278"/>
                    <a:pt x="208" y="278"/>
                  </a:cubicBezTo>
                  <a:cubicBezTo>
                    <a:pt x="209" y="269"/>
                    <a:pt x="209" y="269"/>
                    <a:pt x="209" y="269"/>
                  </a:cubicBezTo>
                  <a:cubicBezTo>
                    <a:pt x="184" y="271"/>
                    <a:pt x="184" y="271"/>
                    <a:pt x="184" y="271"/>
                  </a:cubicBezTo>
                  <a:cubicBezTo>
                    <a:pt x="173" y="260"/>
                    <a:pt x="173" y="260"/>
                    <a:pt x="173" y="260"/>
                  </a:cubicBezTo>
                  <a:cubicBezTo>
                    <a:pt x="160" y="269"/>
                    <a:pt x="160" y="269"/>
                    <a:pt x="160" y="269"/>
                  </a:cubicBezTo>
                  <a:cubicBezTo>
                    <a:pt x="128" y="266"/>
                    <a:pt x="128" y="266"/>
                    <a:pt x="128" y="266"/>
                  </a:cubicBezTo>
                  <a:cubicBezTo>
                    <a:pt x="115" y="275"/>
                    <a:pt x="115" y="275"/>
                    <a:pt x="115" y="275"/>
                  </a:cubicBezTo>
                  <a:cubicBezTo>
                    <a:pt x="94" y="273"/>
                    <a:pt x="94" y="273"/>
                    <a:pt x="94" y="273"/>
                  </a:cubicBezTo>
                  <a:cubicBezTo>
                    <a:pt x="83" y="280"/>
                    <a:pt x="83" y="280"/>
                    <a:pt x="83" y="280"/>
                  </a:cubicBezTo>
                  <a:cubicBezTo>
                    <a:pt x="76" y="264"/>
                    <a:pt x="76" y="264"/>
                    <a:pt x="76" y="264"/>
                  </a:cubicBezTo>
                  <a:cubicBezTo>
                    <a:pt x="63" y="252"/>
                    <a:pt x="63" y="252"/>
                    <a:pt x="63" y="252"/>
                  </a:cubicBezTo>
                  <a:cubicBezTo>
                    <a:pt x="55" y="247"/>
                    <a:pt x="55" y="247"/>
                    <a:pt x="55" y="247"/>
                  </a:cubicBezTo>
                  <a:cubicBezTo>
                    <a:pt x="55" y="237"/>
                    <a:pt x="55" y="237"/>
                    <a:pt x="55" y="237"/>
                  </a:cubicBezTo>
                  <a:cubicBezTo>
                    <a:pt x="18" y="212"/>
                    <a:pt x="18" y="212"/>
                    <a:pt x="18" y="212"/>
                  </a:cubicBezTo>
                  <a:cubicBezTo>
                    <a:pt x="18" y="201"/>
                    <a:pt x="18" y="201"/>
                    <a:pt x="18" y="201"/>
                  </a:cubicBezTo>
                  <a:cubicBezTo>
                    <a:pt x="0" y="203"/>
                    <a:pt x="0" y="203"/>
                    <a:pt x="0" y="203"/>
                  </a:cubicBezTo>
                  <a:cubicBezTo>
                    <a:pt x="6" y="195"/>
                    <a:pt x="6" y="195"/>
                    <a:pt x="6" y="195"/>
                  </a:cubicBezTo>
                  <a:cubicBezTo>
                    <a:pt x="21" y="187"/>
                    <a:pt x="21" y="187"/>
                    <a:pt x="21" y="187"/>
                  </a:cubicBezTo>
                  <a:cubicBezTo>
                    <a:pt x="14" y="171"/>
                    <a:pt x="14" y="171"/>
                    <a:pt x="14" y="171"/>
                  </a:cubicBezTo>
                  <a:cubicBezTo>
                    <a:pt x="37" y="163"/>
                    <a:pt x="37" y="163"/>
                    <a:pt x="37" y="163"/>
                  </a:cubicBezTo>
                  <a:cubicBezTo>
                    <a:pt x="35" y="122"/>
                    <a:pt x="35" y="122"/>
                    <a:pt x="35" y="122"/>
                  </a:cubicBezTo>
                  <a:cubicBezTo>
                    <a:pt x="45" y="112"/>
                    <a:pt x="45" y="112"/>
                    <a:pt x="45" y="112"/>
                  </a:cubicBezTo>
                  <a:cubicBezTo>
                    <a:pt x="56" y="105"/>
                    <a:pt x="56" y="105"/>
                    <a:pt x="56" y="105"/>
                  </a:cubicBezTo>
                  <a:cubicBezTo>
                    <a:pt x="92" y="90"/>
                    <a:pt x="92" y="90"/>
                    <a:pt x="92" y="90"/>
                  </a:cubicBezTo>
                  <a:cubicBezTo>
                    <a:pt x="92" y="81"/>
                    <a:pt x="92" y="81"/>
                    <a:pt x="92" y="81"/>
                  </a:cubicBezTo>
                  <a:cubicBezTo>
                    <a:pt x="108" y="77"/>
                    <a:pt x="108" y="77"/>
                    <a:pt x="108" y="77"/>
                  </a:cubicBezTo>
                  <a:cubicBezTo>
                    <a:pt x="119" y="66"/>
                    <a:pt x="119" y="66"/>
                    <a:pt x="119" y="66"/>
                  </a:cubicBezTo>
                  <a:cubicBezTo>
                    <a:pt x="143" y="66"/>
                    <a:pt x="143" y="66"/>
                    <a:pt x="143" y="66"/>
                  </a:cubicBezTo>
                  <a:cubicBezTo>
                    <a:pt x="241" y="32"/>
                    <a:pt x="241" y="32"/>
                    <a:pt x="241" y="32"/>
                  </a:cubicBezTo>
                  <a:cubicBezTo>
                    <a:pt x="251" y="42"/>
                    <a:pt x="251" y="42"/>
                    <a:pt x="251" y="42"/>
                  </a:cubicBezTo>
                  <a:cubicBezTo>
                    <a:pt x="269" y="37"/>
                    <a:pt x="269" y="37"/>
                    <a:pt x="269" y="37"/>
                  </a:cubicBezTo>
                  <a:cubicBezTo>
                    <a:pt x="287" y="47"/>
                    <a:pt x="287" y="47"/>
                    <a:pt x="287" y="47"/>
                  </a:cubicBezTo>
                  <a:cubicBezTo>
                    <a:pt x="333" y="32"/>
                    <a:pt x="333" y="32"/>
                    <a:pt x="333" y="32"/>
                  </a:cubicBezTo>
                  <a:cubicBezTo>
                    <a:pt x="327" y="10"/>
                    <a:pt x="327" y="10"/>
                    <a:pt x="327" y="10"/>
                  </a:cubicBezTo>
                  <a:cubicBezTo>
                    <a:pt x="339" y="0"/>
                    <a:pt x="339" y="0"/>
                    <a:pt x="339" y="0"/>
                  </a:cubicBezTo>
                  <a:cubicBezTo>
                    <a:pt x="371" y="16"/>
                    <a:pt x="371" y="16"/>
                    <a:pt x="371" y="16"/>
                  </a:cubicBezTo>
                  <a:cubicBezTo>
                    <a:pt x="350" y="32"/>
                    <a:pt x="350" y="32"/>
                    <a:pt x="350" y="32"/>
                  </a:cubicBezTo>
                  <a:cubicBezTo>
                    <a:pt x="342" y="66"/>
                    <a:pt x="342" y="66"/>
                    <a:pt x="342" y="66"/>
                  </a:cubicBezTo>
                  <a:lnTo>
                    <a:pt x="366" y="76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55"/>
            <p:cNvSpPr>
              <a:spLocks/>
            </p:cNvSpPr>
            <p:nvPr/>
          </p:nvSpPr>
          <p:spPr bwMode="auto">
            <a:xfrm>
              <a:off x="10837183" y="6388100"/>
              <a:ext cx="409575" cy="341313"/>
            </a:xfrm>
            <a:custGeom>
              <a:avLst/>
              <a:gdLst>
                <a:gd name="T0" fmla="*/ 103 w 143"/>
                <a:gd name="T1" fmla="*/ 21 h 119"/>
                <a:gd name="T2" fmla="*/ 113 w 143"/>
                <a:gd name="T3" fmla="*/ 21 h 119"/>
                <a:gd name="T4" fmla="*/ 120 w 143"/>
                <a:gd name="T5" fmla="*/ 21 h 119"/>
                <a:gd name="T6" fmla="*/ 126 w 143"/>
                <a:gd name="T7" fmla="*/ 36 h 119"/>
                <a:gd name="T8" fmla="*/ 143 w 143"/>
                <a:gd name="T9" fmla="*/ 36 h 119"/>
                <a:gd name="T10" fmla="*/ 143 w 143"/>
                <a:gd name="T11" fmla="*/ 52 h 119"/>
                <a:gd name="T12" fmla="*/ 123 w 143"/>
                <a:gd name="T13" fmla="*/ 48 h 119"/>
                <a:gd name="T14" fmla="*/ 109 w 143"/>
                <a:gd name="T15" fmla="*/ 42 h 119"/>
                <a:gd name="T16" fmla="*/ 95 w 143"/>
                <a:gd name="T17" fmla="*/ 43 h 119"/>
                <a:gd name="T18" fmla="*/ 104 w 143"/>
                <a:gd name="T19" fmla="*/ 55 h 119"/>
                <a:gd name="T20" fmla="*/ 127 w 143"/>
                <a:gd name="T21" fmla="*/ 80 h 119"/>
                <a:gd name="T22" fmla="*/ 131 w 143"/>
                <a:gd name="T23" fmla="*/ 102 h 119"/>
                <a:gd name="T24" fmla="*/ 116 w 143"/>
                <a:gd name="T25" fmla="*/ 99 h 119"/>
                <a:gd name="T26" fmla="*/ 101 w 143"/>
                <a:gd name="T27" fmla="*/ 93 h 119"/>
                <a:gd name="T28" fmla="*/ 99 w 143"/>
                <a:gd name="T29" fmla="*/ 106 h 119"/>
                <a:gd name="T30" fmla="*/ 100 w 143"/>
                <a:gd name="T31" fmla="*/ 119 h 119"/>
                <a:gd name="T32" fmla="*/ 86 w 143"/>
                <a:gd name="T33" fmla="*/ 119 h 119"/>
                <a:gd name="T34" fmla="*/ 86 w 143"/>
                <a:gd name="T35" fmla="*/ 103 h 119"/>
                <a:gd name="T36" fmla="*/ 73 w 143"/>
                <a:gd name="T37" fmla="*/ 83 h 119"/>
                <a:gd name="T38" fmla="*/ 62 w 143"/>
                <a:gd name="T39" fmla="*/ 84 h 119"/>
                <a:gd name="T40" fmla="*/ 62 w 143"/>
                <a:gd name="T41" fmla="*/ 106 h 119"/>
                <a:gd name="T42" fmla="*/ 48 w 143"/>
                <a:gd name="T43" fmla="*/ 109 h 119"/>
                <a:gd name="T44" fmla="*/ 41 w 143"/>
                <a:gd name="T45" fmla="*/ 93 h 119"/>
                <a:gd name="T46" fmla="*/ 29 w 143"/>
                <a:gd name="T47" fmla="*/ 80 h 119"/>
                <a:gd name="T48" fmla="*/ 38 w 143"/>
                <a:gd name="T49" fmla="*/ 67 h 119"/>
                <a:gd name="T50" fmla="*/ 19 w 143"/>
                <a:gd name="T51" fmla="*/ 46 h 119"/>
                <a:gd name="T52" fmla="*/ 0 w 143"/>
                <a:gd name="T53" fmla="*/ 33 h 119"/>
                <a:gd name="T54" fmla="*/ 12 w 143"/>
                <a:gd name="T55" fmla="*/ 15 h 119"/>
                <a:gd name="T56" fmla="*/ 29 w 143"/>
                <a:gd name="T57" fmla="*/ 8 h 119"/>
                <a:gd name="T58" fmla="*/ 39 w 143"/>
                <a:gd name="T59" fmla="*/ 0 h 119"/>
                <a:gd name="T60" fmla="*/ 74 w 143"/>
                <a:gd name="T61" fmla="*/ 5 h 119"/>
                <a:gd name="T62" fmla="*/ 89 w 143"/>
                <a:gd name="T63" fmla="*/ 6 h 119"/>
                <a:gd name="T64" fmla="*/ 101 w 143"/>
                <a:gd name="T65" fmla="*/ 16 h 119"/>
                <a:gd name="T66" fmla="*/ 103 w 143"/>
                <a:gd name="T67" fmla="*/ 21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3" h="119">
                  <a:moveTo>
                    <a:pt x="103" y="21"/>
                  </a:moveTo>
                  <a:cubicBezTo>
                    <a:pt x="113" y="21"/>
                    <a:pt x="113" y="21"/>
                    <a:pt x="113" y="21"/>
                  </a:cubicBezTo>
                  <a:cubicBezTo>
                    <a:pt x="120" y="21"/>
                    <a:pt x="120" y="21"/>
                    <a:pt x="120" y="21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43" y="36"/>
                    <a:pt x="143" y="36"/>
                    <a:pt x="143" y="36"/>
                  </a:cubicBezTo>
                  <a:cubicBezTo>
                    <a:pt x="143" y="52"/>
                    <a:pt x="143" y="52"/>
                    <a:pt x="143" y="52"/>
                  </a:cubicBezTo>
                  <a:cubicBezTo>
                    <a:pt x="123" y="48"/>
                    <a:pt x="123" y="48"/>
                    <a:pt x="123" y="48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95" y="43"/>
                    <a:pt x="95" y="43"/>
                    <a:pt x="95" y="43"/>
                  </a:cubicBezTo>
                  <a:cubicBezTo>
                    <a:pt x="104" y="55"/>
                    <a:pt x="104" y="55"/>
                    <a:pt x="104" y="55"/>
                  </a:cubicBezTo>
                  <a:cubicBezTo>
                    <a:pt x="127" y="80"/>
                    <a:pt x="127" y="80"/>
                    <a:pt x="127" y="80"/>
                  </a:cubicBezTo>
                  <a:cubicBezTo>
                    <a:pt x="131" y="102"/>
                    <a:pt x="131" y="102"/>
                    <a:pt x="131" y="102"/>
                  </a:cubicBezTo>
                  <a:cubicBezTo>
                    <a:pt x="116" y="99"/>
                    <a:pt x="116" y="99"/>
                    <a:pt x="116" y="99"/>
                  </a:cubicBezTo>
                  <a:cubicBezTo>
                    <a:pt x="101" y="93"/>
                    <a:pt x="101" y="93"/>
                    <a:pt x="101" y="93"/>
                  </a:cubicBezTo>
                  <a:cubicBezTo>
                    <a:pt x="99" y="106"/>
                    <a:pt x="99" y="106"/>
                    <a:pt x="99" y="106"/>
                  </a:cubicBezTo>
                  <a:cubicBezTo>
                    <a:pt x="99" y="106"/>
                    <a:pt x="102" y="119"/>
                    <a:pt x="100" y="119"/>
                  </a:cubicBezTo>
                  <a:cubicBezTo>
                    <a:pt x="98" y="119"/>
                    <a:pt x="86" y="119"/>
                    <a:pt x="86" y="119"/>
                  </a:cubicBezTo>
                  <a:cubicBezTo>
                    <a:pt x="86" y="103"/>
                    <a:pt x="86" y="103"/>
                    <a:pt x="86" y="103"/>
                  </a:cubicBezTo>
                  <a:cubicBezTo>
                    <a:pt x="73" y="83"/>
                    <a:pt x="73" y="83"/>
                    <a:pt x="73" y="83"/>
                  </a:cubicBezTo>
                  <a:cubicBezTo>
                    <a:pt x="62" y="84"/>
                    <a:pt x="62" y="84"/>
                    <a:pt x="62" y="84"/>
                  </a:cubicBezTo>
                  <a:cubicBezTo>
                    <a:pt x="62" y="106"/>
                    <a:pt x="62" y="106"/>
                    <a:pt x="62" y="106"/>
                  </a:cubicBezTo>
                  <a:cubicBezTo>
                    <a:pt x="62" y="106"/>
                    <a:pt x="49" y="112"/>
                    <a:pt x="48" y="109"/>
                  </a:cubicBezTo>
                  <a:cubicBezTo>
                    <a:pt x="47" y="106"/>
                    <a:pt x="41" y="93"/>
                    <a:pt x="41" y="93"/>
                  </a:cubicBezTo>
                  <a:cubicBezTo>
                    <a:pt x="29" y="80"/>
                    <a:pt x="29" y="80"/>
                    <a:pt x="29" y="80"/>
                  </a:cubicBezTo>
                  <a:cubicBezTo>
                    <a:pt x="29" y="80"/>
                    <a:pt x="38" y="68"/>
                    <a:pt x="38" y="67"/>
                  </a:cubicBezTo>
                  <a:cubicBezTo>
                    <a:pt x="37" y="65"/>
                    <a:pt x="19" y="46"/>
                    <a:pt x="19" y="46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9" y="8"/>
                    <a:pt x="29" y="8"/>
                    <a:pt x="29" y="8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74" y="5"/>
                    <a:pt x="74" y="5"/>
                    <a:pt x="74" y="5"/>
                  </a:cubicBezTo>
                  <a:cubicBezTo>
                    <a:pt x="89" y="6"/>
                    <a:pt x="89" y="6"/>
                    <a:pt x="89" y="6"/>
                  </a:cubicBezTo>
                  <a:cubicBezTo>
                    <a:pt x="101" y="16"/>
                    <a:pt x="101" y="16"/>
                    <a:pt x="101" y="16"/>
                  </a:cubicBezTo>
                  <a:lnTo>
                    <a:pt x="103" y="21"/>
                  </a:lnTo>
                  <a:close/>
                </a:path>
              </a:pathLst>
            </a:custGeom>
            <a:grpFill/>
            <a:ln w="317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0" name="Bulgaria"/>
          <p:cNvSpPr>
            <a:spLocks/>
          </p:cNvSpPr>
          <p:nvPr/>
        </p:nvSpPr>
        <p:spPr bwMode="auto">
          <a:xfrm>
            <a:off x="10827276" y="5108575"/>
            <a:ext cx="971550" cy="679450"/>
          </a:xfrm>
          <a:custGeom>
            <a:avLst/>
            <a:gdLst>
              <a:gd name="T0" fmla="*/ 612 w 612"/>
              <a:gd name="T1" fmla="*/ 72 h 428"/>
              <a:gd name="T2" fmla="*/ 572 w 612"/>
              <a:gd name="T3" fmla="*/ 72 h 428"/>
              <a:gd name="T4" fmla="*/ 560 w 612"/>
              <a:gd name="T5" fmla="*/ 101 h 428"/>
              <a:gd name="T6" fmla="*/ 576 w 612"/>
              <a:gd name="T7" fmla="*/ 157 h 428"/>
              <a:gd name="T8" fmla="*/ 535 w 612"/>
              <a:gd name="T9" fmla="*/ 197 h 428"/>
              <a:gd name="T10" fmla="*/ 565 w 612"/>
              <a:gd name="T11" fmla="*/ 215 h 428"/>
              <a:gd name="T12" fmla="*/ 600 w 612"/>
              <a:gd name="T13" fmla="*/ 238 h 428"/>
              <a:gd name="T14" fmla="*/ 565 w 612"/>
              <a:gd name="T15" fmla="*/ 262 h 428"/>
              <a:gd name="T16" fmla="*/ 535 w 612"/>
              <a:gd name="T17" fmla="*/ 247 h 428"/>
              <a:gd name="T18" fmla="*/ 462 w 612"/>
              <a:gd name="T19" fmla="*/ 276 h 428"/>
              <a:gd name="T20" fmla="*/ 442 w 612"/>
              <a:gd name="T21" fmla="*/ 309 h 428"/>
              <a:gd name="T22" fmla="*/ 421 w 612"/>
              <a:gd name="T23" fmla="*/ 327 h 428"/>
              <a:gd name="T24" fmla="*/ 432 w 612"/>
              <a:gd name="T25" fmla="*/ 367 h 428"/>
              <a:gd name="T26" fmla="*/ 374 w 612"/>
              <a:gd name="T27" fmla="*/ 385 h 428"/>
              <a:gd name="T28" fmla="*/ 348 w 612"/>
              <a:gd name="T29" fmla="*/ 394 h 428"/>
              <a:gd name="T30" fmla="*/ 316 w 612"/>
              <a:gd name="T31" fmla="*/ 376 h 428"/>
              <a:gd name="T32" fmla="*/ 283 w 612"/>
              <a:gd name="T33" fmla="*/ 385 h 428"/>
              <a:gd name="T34" fmla="*/ 265 w 612"/>
              <a:gd name="T35" fmla="*/ 367 h 428"/>
              <a:gd name="T36" fmla="*/ 164 w 612"/>
              <a:gd name="T37" fmla="*/ 406 h 428"/>
              <a:gd name="T38" fmla="*/ 88 w 612"/>
              <a:gd name="T39" fmla="*/ 428 h 428"/>
              <a:gd name="T40" fmla="*/ 105 w 612"/>
              <a:gd name="T41" fmla="*/ 383 h 428"/>
              <a:gd name="T42" fmla="*/ 88 w 612"/>
              <a:gd name="T43" fmla="*/ 339 h 428"/>
              <a:gd name="T44" fmla="*/ 23 w 612"/>
              <a:gd name="T45" fmla="*/ 316 h 428"/>
              <a:gd name="T46" fmla="*/ 41 w 612"/>
              <a:gd name="T47" fmla="*/ 287 h 428"/>
              <a:gd name="T48" fmla="*/ 23 w 612"/>
              <a:gd name="T49" fmla="*/ 251 h 428"/>
              <a:gd name="T50" fmla="*/ 74 w 612"/>
              <a:gd name="T51" fmla="*/ 195 h 428"/>
              <a:gd name="T52" fmla="*/ 0 w 612"/>
              <a:gd name="T53" fmla="*/ 153 h 428"/>
              <a:gd name="T54" fmla="*/ 0 w 612"/>
              <a:gd name="T55" fmla="*/ 106 h 428"/>
              <a:gd name="T56" fmla="*/ 36 w 612"/>
              <a:gd name="T57" fmla="*/ 85 h 428"/>
              <a:gd name="T58" fmla="*/ 40 w 612"/>
              <a:gd name="T59" fmla="*/ 112 h 428"/>
              <a:gd name="T60" fmla="*/ 72 w 612"/>
              <a:gd name="T61" fmla="*/ 123 h 428"/>
              <a:gd name="T62" fmla="*/ 108 w 612"/>
              <a:gd name="T63" fmla="*/ 103 h 428"/>
              <a:gd name="T64" fmla="*/ 188 w 612"/>
              <a:gd name="T65" fmla="*/ 115 h 428"/>
              <a:gd name="T66" fmla="*/ 206 w 612"/>
              <a:gd name="T67" fmla="*/ 99 h 428"/>
              <a:gd name="T68" fmla="*/ 309 w 612"/>
              <a:gd name="T69" fmla="*/ 99 h 428"/>
              <a:gd name="T70" fmla="*/ 354 w 612"/>
              <a:gd name="T71" fmla="*/ 41 h 428"/>
              <a:gd name="T72" fmla="*/ 451 w 612"/>
              <a:gd name="T73" fmla="*/ 0 h 428"/>
              <a:gd name="T74" fmla="*/ 489 w 612"/>
              <a:gd name="T75" fmla="*/ 5 h 428"/>
              <a:gd name="T76" fmla="*/ 520 w 612"/>
              <a:gd name="T77" fmla="*/ 14 h 428"/>
              <a:gd name="T78" fmla="*/ 531 w 612"/>
              <a:gd name="T79" fmla="*/ 5 h 428"/>
              <a:gd name="T80" fmla="*/ 556 w 612"/>
              <a:gd name="T81" fmla="*/ 20 h 428"/>
              <a:gd name="T82" fmla="*/ 607 w 612"/>
              <a:gd name="T83" fmla="*/ 20 h 428"/>
              <a:gd name="T84" fmla="*/ 612 w 612"/>
              <a:gd name="T85" fmla="*/ 72 h 4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612" h="428">
                <a:moveTo>
                  <a:pt x="612" y="72"/>
                </a:moveTo>
                <a:lnTo>
                  <a:pt x="572" y="72"/>
                </a:lnTo>
                <a:lnTo>
                  <a:pt x="560" y="101"/>
                </a:lnTo>
                <a:lnTo>
                  <a:pt x="576" y="157"/>
                </a:lnTo>
                <a:lnTo>
                  <a:pt x="535" y="197"/>
                </a:lnTo>
                <a:lnTo>
                  <a:pt x="565" y="215"/>
                </a:lnTo>
                <a:lnTo>
                  <a:pt x="600" y="238"/>
                </a:lnTo>
                <a:lnTo>
                  <a:pt x="565" y="262"/>
                </a:lnTo>
                <a:lnTo>
                  <a:pt x="535" y="247"/>
                </a:lnTo>
                <a:lnTo>
                  <a:pt x="462" y="276"/>
                </a:lnTo>
                <a:lnTo>
                  <a:pt x="442" y="309"/>
                </a:lnTo>
                <a:lnTo>
                  <a:pt x="421" y="327"/>
                </a:lnTo>
                <a:lnTo>
                  <a:pt x="432" y="367"/>
                </a:lnTo>
                <a:lnTo>
                  <a:pt x="374" y="385"/>
                </a:lnTo>
                <a:lnTo>
                  <a:pt x="348" y="394"/>
                </a:lnTo>
                <a:lnTo>
                  <a:pt x="316" y="376"/>
                </a:lnTo>
                <a:lnTo>
                  <a:pt x="283" y="385"/>
                </a:lnTo>
                <a:lnTo>
                  <a:pt x="265" y="367"/>
                </a:lnTo>
                <a:lnTo>
                  <a:pt x="164" y="406"/>
                </a:lnTo>
                <a:lnTo>
                  <a:pt x="88" y="428"/>
                </a:lnTo>
                <a:lnTo>
                  <a:pt x="105" y="383"/>
                </a:lnTo>
                <a:lnTo>
                  <a:pt x="88" y="339"/>
                </a:lnTo>
                <a:lnTo>
                  <a:pt x="23" y="316"/>
                </a:lnTo>
                <a:lnTo>
                  <a:pt x="41" y="287"/>
                </a:lnTo>
                <a:lnTo>
                  <a:pt x="23" y="251"/>
                </a:lnTo>
                <a:lnTo>
                  <a:pt x="74" y="195"/>
                </a:lnTo>
                <a:lnTo>
                  <a:pt x="0" y="153"/>
                </a:lnTo>
                <a:lnTo>
                  <a:pt x="0" y="106"/>
                </a:lnTo>
                <a:lnTo>
                  <a:pt x="36" y="85"/>
                </a:lnTo>
                <a:lnTo>
                  <a:pt x="40" y="112"/>
                </a:lnTo>
                <a:lnTo>
                  <a:pt x="72" y="123"/>
                </a:lnTo>
                <a:lnTo>
                  <a:pt x="108" y="103"/>
                </a:lnTo>
                <a:lnTo>
                  <a:pt x="188" y="115"/>
                </a:lnTo>
                <a:lnTo>
                  <a:pt x="206" y="99"/>
                </a:lnTo>
                <a:lnTo>
                  <a:pt x="309" y="99"/>
                </a:lnTo>
                <a:lnTo>
                  <a:pt x="354" y="41"/>
                </a:lnTo>
                <a:lnTo>
                  <a:pt x="451" y="0"/>
                </a:lnTo>
                <a:lnTo>
                  <a:pt x="489" y="5"/>
                </a:lnTo>
                <a:lnTo>
                  <a:pt x="520" y="14"/>
                </a:lnTo>
                <a:lnTo>
                  <a:pt x="531" y="5"/>
                </a:lnTo>
                <a:lnTo>
                  <a:pt x="556" y="20"/>
                </a:lnTo>
                <a:lnTo>
                  <a:pt x="607" y="20"/>
                </a:lnTo>
                <a:lnTo>
                  <a:pt x="612" y="72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1" name="Macedonia"/>
          <p:cNvSpPr>
            <a:spLocks/>
          </p:cNvSpPr>
          <p:nvPr/>
        </p:nvSpPr>
        <p:spPr bwMode="auto">
          <a:xfrm>
            <a:off x="10574863" y="5589588"/>
            <a:ext cx="419100" cy="330200"/>
          </a:xfrm>
          <a:custGeom>
            <a:avLst/>
            <a:gdLst>
              <a:gd name="T0" fmla="*/ 159 w 264"/>
              <a:gd name="T1" fmla="*/ 0 h 208"/>
              <a:gd name="T2" fmla="*/ 182 w 264"/>
              <a:gd name="T3" fmla="*/ 13 h 208"/>
              <a:gd name="T4" fmla="*/ 247 w 264"/>
              <a:gd name="T5" fmla="*/ 36 h 208"/>
              <a:gd name="T6" fmla="*/ 264 w 264"/>
              <a:gd name="T7" fmla="*/ 80 h 208"/>
              <a:gd name="T8" fmla="*/ 247 w 264"/>
              <a:gd name="T9" fmla="*/ 125 h 208"/>
              <a:gd name="T10" fmla="*/ 204 w 264"/>
              <a:gd name="T11" fmla="*/ 125 h 208"/>
              <a:gd name="T12" fmla="*/ 184 w 264"/>
              <a:gd name="T13" fmla="*/ 145 h 208"/>
              <a:gd name="T14" fmla="*/ 155 w 264"/>
              <a:gd name="T15" fmla="*/ 152 h 208"/>
              <a:gd name="T16" fmla="*/ 155 w 264"/>
              <a:gd name="T17" fmla="*/ 172 h 208"/>
              <a:gd name="T18" fmla="*/ 90 w 264"/>
              <a:gd name="T19" fmla="*/ 195 h 208"/>
              <a:gd name="T20" fmla="*/ 70 w 264"/>
              <a:gd name="T21" fmla="*/ 208 h 208"/>
              <a:gd name="T22" fmla="*/ 63 w 264"/>
              <a:gd name="T23" fmla="*/ 192 h 208"/>
              <a:gd name="T24" fmla="*/ 43 w 264"/>
              <a:gd name="T25" fmla="*/ 195 h 208"/>
              <a:gd name="T26" fmla="*/ 12 w 264"/>
              <a:gd name="T27" fmla="*/ 154 h 208"/>
              <a:gd name="T28" fmla="*/ 12 w 264"/>
              <a:gd name="T29" fmla="*/ 129 h 208"/>
              <a:gd name="T30" fmla="*/ 0 w 264"/>
              <a:gd name="T31" fmla="*/ 96 h 208"/>
              <a:gd name="T32" fmla="*/ 0 w 264"/>
              <a:gd name="T33" fmla="*/ 36 h 208"/>
              <a:gd name="T34" fmla="*/ 63 w 264"/>
              <a:gd name="T35" fmla="*/ 42 h 208"/>
              <a:gd name="T36" fmla="*/ 97 w 264"/>
              <a:gd name="T37" fmla="*/ 20 h 208"/>
              <a:gd name="T38" fmla="*/ 132 w 264"/>
              <a:gd name="T39" fmla="*/ 17 h 208"/>
              <a:gd name="T40" fmla="*/ 159 w 264"/>
              <a:gd name="T41" fmla="*/ 0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64" h="208">
                <a:moveTo>
                  <a:pt x="159" y="0"/>
                </a:moveTo>
                <a:lnTo>
                  <a:pt x="182" y="13"/>
                </a:lnTo>
                <a:lnTo>
                  <a:pt x="247" y="36"/>
                </a:lnTo>
                <a:lnTo>
                  <a:pt x="264" y="80"/>
                </a:lnTo>
                <a:lnTo>
                  <a:pt x="247" y="125"/>
                </a:lnTo>
                <a:lnTo>
                  <a:pt x="204" y="125"/>
                </a:lnTo>
                <a:lnTo>
                  <a:pt x="184" y="145"/>
                </a:lnTo>
                <a:lnTo>
                  <a:pt x="155" y="152"/>
                </a:lnTo>
                <a:lnTo>
                  <a:pt x="155" y="172"/>
                </a:lnTo>
                <a:lnTo>
                  <a:pt x="90" y="195"/>
                </a:lnTo>
                <a:lnTo>
                  <a:pt x="70" y="208"/>
                </a:lnTo>
                <a:lnTo>
                  <a:pt x="63" y="192"/>
                </a:lnTo>
                <a:lnTo>
                  <a:pt x="43" y="195"/>
                </a:lnTo>
                <a:lnTo>
                  <a:pt x="12" y="154"/>
                </a:lnTo>
                <a:lnTo>
                  <a:pt x="12" y="129"/>
                </a:lnTo>
                <a:lnTo>
                  <a:pt x="0" y="96"/>
                </a:lnTo>
                <a:lnTo>
                  <a:pt x="0" y="36"/>
                </a:lnTo>
                <a:lnTo>
                  <a:pt x="63" y="42"/>
                </a:lnTo>
                <a:lnTo>
                  <a:pt x="97" y="20"/>
                </a:lnTo>
                <a:lnTo>
                  <a:pt x="132" y="17"/>
                </a:lnTo>
                <a:lnTo>
                  <a:pt x="159" y="0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Albania"/>
          <p:cNvSpPr>
            <a:spLocks/>
          </p:cNvSpPr>
          <p:nvPr/>
        </p:nvSpPr>
        <p:spPr bwMode="auto">
          <a:xfrm>
            <a:off x="10376426" y="5602288"/>
            <a:ext cx="309563" cy="561975"/>
          </a:xfrm>
          <a:custGeom>
            <a:avLst/>
            <a:gdLst>
              <a:gd name="T0" fmla="*/ 2 w 195"/>
              <a:gd name="T1" fmla="*/ 85 h 354"/>
              <a:gd name="T2" fmla="*/ 11 w 195"/>
              <a:gd name="T3" fmla="*/ 85 h 354"/>
              <a:gd name="T4" fmla="*/ 29 w 195"/>
              <a:gd name="T5" fmla="*/ 59 h 354"/>
              <a:gd name="T6" fmla="*/ 33 w 195"/>
              <a:gd name="T7" fmla="*/ 25 h 354"/>
              <a:gd name="T8" fmla="*/ 47 w 195"/>
              <a:gd name="T9" fmla="*/ 0 h 354"/>
              <a:gd name="T10" fmla="*/ 65 w 195"/>
              <a:gd name="T11" fmla="*/ 14 h 354"/>
              <a:gd name="T12" fmla="*/ 78 w 195"/>
              <a:gd name="T13" fmla="*/ 1 h 354"/>
              <a:gd name="T14" fmla="*/ 114 w 195"/>
              <a:gd name="T15" fmla="*/ 27 h 354"/>
              <a:gd name="T16" fmla="*/ 125 w 195"/>
              <a:gd name="T17" fmla="*/ 28 h 354"/>
              <a:gd name="T18" fmla="*/ 125 w 195"/>
              <a:gd name="T19" fmla="*/ 88 h 354"/>
              <a:gd name="T20" fmla="*/ 137 w 195"/>
              <a:gd name="T21" fmla="*/ 121 h 354"/>
              <a:gd name="T22" fmla="*/ 137 w 195"/>
              <a:gd name="T23" fmla="*/ 146 h 354"/>
              <a:gd name="T24" fmla="*/ 168 w 195"/>
              <a:gd name="T25" fmla="*/ 187 h 354"/>
              <a:gd name="T26" fmla="*/ 188 w 195"/>
              <a:gd name="T27" fmla="*/ 184 h 354"/>
              <a:gd name="T28" fmla="*/ 195 w 195"/>
              <a:gd name="T29" fmla="*/ 200 h 354"/>
              <a:gd name="T30" fmla="*/ 177 w 195"/>
              <a:gd name="T31" fmla="*/ 218 h 354"/>
              <a:gd name="T32" fmla="*/ 181 w 195"/>
              <a:gd name="T33" fmla="*/ 292 h 354"/>
              <a:gd name="T34" fmla="*/ 139 w 195"/>
              <a:gd name="T35" fmla="*/ 307 h 354"/>
              <a:gd name="T36" fmla="*/ 152 w 195"/>
              <a:gd name="T37" fmla="*/ 336 h 354"/>
              <a:gd name="T38" fmla="*/ 121 w 195"/>
              <a:gd name="T39" fmla="*/ 354 h 354"/>
              <a:gd name="T40" fmla="*/ 105 w 195"/>
              <a:gd name="T41" fmla="*/ 325 h 354"/>
              <a:gd name="T42" fmla="*/ 89 w 195"/>
              <a:gd name="T43" fmla="*/ 301 h 354"/>
              <a:gd name="T44" fmla="*/ 29 w 195"/>
              <a:gd name="T45" fmla="*/ 283 h 354"/>
              <a:gd name="T46" fmla="*/ 36 w 195"/>
              <a:gd name="T47" fmla="*/ 249 h 354"/>
              <a:gd name="T48" fmla="*/ 42 w 195"/>
              <a:gd name="T49" fmla="*/ 200 h 354"/>
              <a:gd name="T50" fmla="*/ 33 w 195"/>
              <a:gd name="T51" fmla="*/ 177 h 354"/>
              <a:gd name="T52" fmla="*/ 40 w 195"/>
              <a:gd name="T53" fmla="*/ 171 h 354"/>
              <a:gd name="T54" fmla="*/ 22 w 195"/>
              <a:gd name="T55" fmla="*/ 144 h 354"/>
              <a:gd name="T56" fmla="*/ 42 w 195"/>
              <a:gd name="T57" fmla="*/ 117 h 354"/>
              <a:gd name="T58" fmla="*/ 34 w 195"/>
              <a:gd name="T59" fmla="*/ 95 h 354"/>
              <a:gd name="T60" fmla="*/ 18 w 195"/>
              <a:gd name="T61" fmla="*/ 95 h 354"/>
              <a:gd name="T62" fmla="*/ 0 w 195"/>
              <a:gd name="T63" fmla="*/ 95 h 354"/>
              <a:gd name="T64" fmla="*/ 2 w 195"/>
              <a:gd name="T65" fmla="*/ 85 h 3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95" h="354">
                <a:moveTo>
                  <a:pt x="2" y="85"/>
                </a:moveTo>
                <a:lnTo>
                  <a:pt x="11" y="85"/>
                </a:lnTo>
                <a:lnTo>
                  <a:pt x="29" y="59"/>
                </a:lnTo>
                <a:lnTo>
                  <a:pt x="33" y="25"/>
                </a:lnTo>
                <a:lnTo>
                  <a:pt x="47" y="0"/>
                </a:lnTo>
                <a:lnTo>
                  <a:pt x="65" y="14"/>
                </a:lnTo>
                <a:lnTo>
                  <a:pt x="78" y="1"/>
                </a:lnTo>
                <a:lnTo>
                  <a:pt x="114" y="27"/>
                </a:lnTo>
                <a:lnTo>
                  <a:pt x="125" y="28"/>
                </a:lnTo>
                <a:lnTo>
                  <a:pt x="125" y="88"/>
                </a:lnTo>
                <a:lnTo>
                  <a:pt x="137" y="121"/>
                </a:lnTo>
                <a:lnTo>
                  <a:pt x="137" y="146"/>
                </a:lnTo>
                <a:lnTo>
                  <a:pt x="168" y="187"/>
                </a:lnTo>
                <a:lnTo>
                  <a:pt x="188" y="184"/>
                </a:lnTo>
                <a:lnTo>
                  <a:pt x="195" y="200"/>
                </a:lnTo>
                <a:lnTo>
                  <a:pt x="177" y="218"/>
                </a:lnTo>
                <a:lnTo>
                  <a:pt x="181" y="292"/>
                </a:lnTo>
                <a:lnTo>
                  <a:pt x="139" y="307"/>
                </a:lnTo>
                <a:lnTo>
                  <a:pt x="152" y="336"/>
                </a:lnTo>
                <a:lnTo>
                  <a:pt x="121" y="354"/>
                </a:lnTo>
                <a:lnTo>
                  <a:pt x="105" y="325"/>
                </a:lnTo>
                <a:lnTo>
                  <a:pt x="89" y="301"/>
                </a:lnTo>
                <a:lnTo>
                  <a:pt x="29" y="283"/>
                </a:lnTo>
                <a:lnTo>
                  <a:pt x="36" y="249"/>
                </a:lnTo>
                <a:lnTo>
                  <a:pt x="42" y="200"/>
                </a:lnTo>
                <a:lnTo>
                  <a:pt x="33" y="177"/>
                </a:lnTo>
                <a:lnTo>
                  <a:pt x="40" y="171"/>
                </a:lnTo>
                <a:lnTo>
                  <a:pt x="22" y="144"/>
                </a:lnTo>
                <a:lnTo>
                  <a:pt x="42" y="117"/>
                </a:lnTo>
                <a:lnTo>
                  <a:pt x="34" y="95"/>
                </a:lnTo>
                <a:lnTo>
                  <a:pt x="18" y="95"/>
                </a:lnTo>
                <a:lnTo>
                  <a:pt x="0" y="95"/>
                </a:lnTo>
                <a:lnTo>
                  <a:pt x="2" y="85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3" name="Romania"/>
          <p:cNvSpPr>
            <a:spLocks/>
          </p:cNvSpPr>
          <p:nvPr/>
        </p:nvSpPr>
        <p:spPr bwMode="auto">
          <a:xfrm>
            <a:off x="10428813" y="4348163"/>
            <a:ext cx="1450975" cy="955675"/>
          </a:xfrm>
          <a:custGeom>
            <a:avLst/>
            <a:gdLst>
              <a:gd name="T0" fmla="*/ 335 w 506"/>
              <a:gd name="T1" fmla="*/ 34 h 333"/>
              <a:gd name="T2" fmla="*/ 404 w 506"/>
              <a:gd name="T3" fmla="*/ 136 h 333"/>
              <a:gd name="T4" fmla="*/ 440 w 506"/>
              <a:gd name="T5" fmla="*/ 170 h 333"/>
              <a:gd name="T6" fmla="*/ 473 w 506"/>
              <a:gd name="T7" fmla="*/ 156 h 333"/>
              <a:gd name="T8" fmla="*/ 506 w 506"/>
              <a:gd name="T9" fmla="*/ 163 h 333"/>
              <a:gd name="T10" fmla="*/ 482 w 506"/>
              <a:gd name="T11" fmla="*/ 204 h 333"/>
              <a:gd name="T12" fmla="*/ 467 w 506"/>
              <a:gd name="T13" fmla="*/ 200 h 333"/>
              <a:gd name="T14" fmla="*/ 473 w 506"/>
              <a:gd name="T15" fmla="*/ 220 h 333"/>
              <a:gd name="T16" fmla="*/ 471 w 506"/>
              <a:gd name="T17" fmla="*/ 264 h 333"/>
              <a:gd name="T18" fmla="*/ 447 w 506"/>
              <a:gd name="T19" fmla="*/ 276 h 333"/>
              <a:gd name="T20" fmla="*/ 427 w 506"/>
              <a:gd name="T21" fmla="*/ 273 h 333"/>
              <a:gd name="T22" fmla="*/ 389 w 506"/>
              <a:gd name="T23" fmla="*/ 265 h 333"/>
              <a:gd name="T24" fmla="*/ 310 w 506"/>
              <a:gd name="T25" fmla="*/ 320 h 333"/>
              <a:gd name="T26" fmla="*/ 243 w 506"/>
              <a:gd name="T27" fmla="*/ 329 h 333"/>
              <a:gd name="T28" fmla="*/ 179 w 506"/>
              <a:gd name="T29" fmla="*/ 333 h 333"/>
              <a:gd name="T30" fmla="*/ 157 w 506"/>
              <a:gd name="T31" fmla="*/ 300 h 333"/>
              <a:gd name="T32" fmla="*/ 153 w 506"/>
              <a:gd name="T33" fmla="*/ 284 h 333"/>
              <a:gd name="T34" fmla="*/ 139 w 506"/>
              <a:gd name="T35" fmla="*/ 288 h 333"/>
              <a:gd name="T36" fmla="*/ 105 w 506"/>
              <a:gd name="T37" fmla="*/ 283 h 333"/>
              <a:gd name="T38" fmla="*/ 75 w 506"/>
              <a:gd name="T39" fmla="*/ 254 h 333"/>
              <a:gd name="T40" fmla="*/ 37 w 506"/>
              <a:gd name="T41" fmla="*/ 220 h 333"/>
              <a:gd name="T42" fmla="*/ 18 w 506"/>
              <a:gd name="T43" fmla="*/ 187 h 333"/>
              <a:gd name="T44" fmla="*/ 52 w 506"/>
              <a:gd name="T45" fmla="*/ 152 h 333"/>
              <a:gd name="T46" fmla="*/ 67 w 506"/>
              <a:gd name="T47" fmla="*/ 111 h 333"/>
              <a:gd name="T48" fmla="*/ 83 w 506"/>
              <a:gd name="T49" fmla="*/ 76 h 333"/>
              <a:gd name="T50" fmla="*/ 108 w 506"/>
              <a:gd name="T51" fmla="*/ 62 h 333"/>
              <a:gd name="T52" fmla="*/ 108 w 506"/>
              <a:gd name="T53" fmla="*/ 48 h 333"/>
              <a:gd name="T54" fmla="*/ 129 w 506"/>
              <a:gd name="T55" fmla="*/ 43 h 333"/>
              <a:gd name="T56" fmla="*/ 205 w 506"/>
              <a:gd name="T57" fmla="*/ 40 h 333"/>
              <a:gd name="T58" fmla="*/ 234 w 506"/>
              <a:gd name="T59" fmla="*/ 36 h 333"/>
              <a:gd name="T60" fmla="*/ 281 w 506"/>
              <a:gd name="T61" fmla="*/ 13 h 333"/>
              <a:gd name="T62" fmla="*/ 312 w 506"/>
              <a:gd name="T63" fmla="*/ 1 h 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06" h="333">
                <a:moveTo>
                  <a:pt x="315" y="0"/>
                </a:moveTo>
                <a:cubicBezTo>
                  <a:pt x="335" y="34"/>
                  <a:pt x="335" y="34"/>
                  <a:pt x="335" y="34"/>
                </a:cubicBezTo>
                <a:cubicBezTo>
                  <a:pt x="406" y="93"/>
                  <a:pt x="406" y="93"/>
                  <a:pt x="406" y="93"/>
                </a:cubicBezTo>
                <a:cubicBezTo>
                  <a:pt x="404" y="136"/>
                  <a:pt x="404" y="136"/>
                  <a:pt x="404" y="136"/>
                </a:cubicBezTo>
                <a:cubicBezTo>
                  <a:pt x="425" y="163"/>
                  <a:pt x="425" y="163"/>
                  <a:pt x="425" y="163"/>
                </a:cubicBezTo>
                <a:cubicBezTo>
                  <a:pt x="440" y="170"/>
                  <a:pt x="440" y="170"/>
                  <a:pt x="440" y="170"/>
                </a:cubicBezTo>
                <a:cubicBezTo>
                  <a:pt x="458" y="165"/>
                  <a:pt x="458" y="165"/>
                  <a:pt x="458" y="165"/>
                </a:cubicBezTo>
                <a:cubicBezTo>
                  <a:pt x="473" y="156"/>
                  <a:pt x="473" y="156"/>
                  <a:pt x="473" y="156"/>
                </a:cubicBezTo>
                <a:cubicBezTo>
                  <a:pt x="485" y="152"/>
                  <a:pt x="485" y="152"/>
                  <a:pt x="485" y="152"/>
                </a:cubicBezTo>
                <a:cubicBezTo>
                  <a:pt x="506" y="163"/>
                  <a:pt x="506" y="163"/>
                  <a:pt x="506" y="163"/>
                </a:cubicBezTo>
                <a:cubicBezTo>
                  <a:pt x="506" y="187"/>
                  <a:pt x="506" y="187"/>
                  <a:pt x="506" y="187"/>
                </a:cubicBezTo>
                <a:cubicBezTo>
                  <a:pt x="482" y="204"/>
                  <a:pt x="482" y="204"/>
                  <a:pt x="482" y="204"/>
                </a:cubicBezTo>
                <a:cubicBezTo>
                  <a:pt x="475" y="192"/>
                  <a:pt x="475" y="192"/>
                  <a:pt x="475" y="192"/>
                </a:cubicBezTo>
                <a:cubicBezTo>
                  <a:pt x="467" y="200"/>
                  <a:pt x="467" y="200"/>
                  <a:pt x="467" y="200"/>
                </a:cubicBezTo>
                <a:cubicBezTo>
                  <a:pt x="471" y="204"/>
                  <a:pt x="471" y="204"/>
                  <a:pt x="471" y="204"/>
                </a:cubicBezTo>
                <a:cubicBezTo>
                  <a:pt x="473" y="220"/>
                  <a:pt x="473" y="220"/>
                  <a:pt x="473" y="220"/>
                </a:cubicBezTo>
                <a:cubicBezTo>
                  <a:pt x="464" y="236"/>
                  <a:pt x="464" y="236"/>
                  <a:pt x="464" y="236"/>
                </a:cubicBezTo>
                <a:cubicBezTo>
                  <a:pt x="471" y="264"/>
                  <a:pt x="471" y="264"/>
                  <a:pt x="471" y="264"/>
                </a:cubicBezTo>
                <a:cubicBezTo>
                  <a:pt x="475" y="276"/>
                  <a:pt x="475" y="276"/>
                  <a:pt x="475" y="276"/>
                </a:cubicBezTo>
                <a:cubicBezTo>
                  <a:pt x="447" y="276"/>
                  <a:pt x="447" y="276"/>
                  <a:pt x="447" y="276"/>
                </a:cubicBezTo>
                <a:cubicBezTo>
                  <a:pt x="433" y="268"/>
                  <a:pt x="433" y="268"/>
                  <a:pt x="433" y="268"/>
                </a:cubicBezTo>
                <a:cubicBezTo>
                  <a:pt x="427" y="273"/>
                  <a:pt x="427" y="273"/>
                  <a:pt x="427" y="273"/>
                </a:cubicBezTo>
                <a:cubicBezTo>
                  <a:pt x="410" y="268"/>
                  <a:pt x="410" y="268"/>
                  <a:pt x="410" y="268"/>
                </a:cubicBezTo>
                <a:cubicBezTo>
                  <a:pt x="389" y="265"/>
                  <a:pt x="389" y="265"/>
                  <a:pt x="389" y="265"/>
                </a:cubicBezTo>
                <a:cubicBezTo>
                  <a:pt x="335" y="288"/>
                  <a:pt x="335" y="288"/>
                  <a:pt x="335" y="288"/>
                </a:cubicBezTo>
                <a:cubicBezTo>
                  <a:pt x="310" y="320"/>
                  <a:pt x="310" y="320"/>
                  <a:pt x="310" y="320"/>
                </a:cubicBezTo>
                <a:cubicBezTo>
                  <a:pt x="253" y="320"/>
                  <a:pt x="253" y="320"/>
                  <a:pt x="253" y="320"/>
                </a:cubicBezTo>
                <a:cubicBezTo>
                  <a:pt x="243" y="329"/>
                  <a:pt x="243" y="329"/>
                  <a:pt x="243" y="329"/>
                </a:cubicBezTo>
                <a:cubicBezTo>
                  <a:pt x="199" y="322"/>
                  <a:pt x="199" y="322"/>
                  <a:pt x="199" y="322"/>
                </a:cubicBezTo>
                <a:cubicBezTo>
                  <a:pt x="179" y="333"/>
                  <a:pt x="179" y="333"/>
                  <a:pt x="179" y="333"/>
                </a:cubicBezTo>
                <a:cubicBezTo>
                  <a:pt x="179" y="333"/>
                  <a:pt x="161" y="330"/>
                  <a:pt x="161" y="327"/>
                </a:cubicBezTo>
                <a:cubicBezTo>
                  <a:pt x="162" y="324"/>
                  <a:pt x="157" y="300"/>
                  <a:pt x="157" y="300"/>
                </a:cubicBezTo>
                <a:cubicBezTo>
                  <a:pt x="149" y="294"/>
                  <a:pt x="149" y="294"/>
                  <a:pt x="149" y="294"/>
                </a:cubicBezTo>
                <a:cubicBezTo>
                  <a:pt x="153" y="284"/>
                  <a:pt x="153" y="284"/>
                  <a:pt x="153" y="284"/>
                </a:cubicBezTo>
                <a:cubicBezTo>
                  <a:pt x="139" y="275"/>
                  <a:pt x="139" y="275"/>
                  <a:pt x="139" y="275"/>
                </a:cubicBezTo>
                <a:cubicBezTo>
                  <a:pt x="139" y="288"/>
                  <a:pt x="139" y="288"/>
                  <a:pt x="139" y="288"/>
                </a:cubicBezTo>
                <a:cubicBezTo>
                  <a:pt x="127" y="298"/>
                  <a:pt x="127" y="298"/>
                  <a:pt x="127" y="298"/>
                </a:cubicBezTo>
                <a:cubicBezTo>
                  <a:pt x="105" y="283"/>
                  <a:pt x="105" y="283"/>
                  <a:pt x="105" y="283"/>
                </a:cubicBezTo>
                <a:cubicBezTo>
                  <a:pt x="87" y="281"/>
                  <a:pt x="87" y="281"/>
                  <a:pt x="87" y="281"/>
                </a:cubicBezTo>
                <a:cubicBezTo>
                  <a:pt x="75" y="254"/>
                  <a:pt x="75" y="254"/>
                  <a:pt x="75" y="254"/>
                </a:cubicBezTo>
                <a:cubicBezTo>
                  <a:pt x="37" y="244"/>
                  <a:pt x="37" y="244"/>
                  <a:pt x="37" y="244"/>
                </a:cubicBezTo>
                <a:cubicBezTo>
                  <a:pt x="37" y="220"/>
                  <a:pt x="37" y="220"/>
                  <a:pt x="37" y="220"/>
                </a:cubicBezTo>
                <a:cubicBezTo>
                  <a:pt x="0" y="199"/>
                  <a:pt x="0" y="199"/>
                  <a:pt x="0" y="199"/>
                </a:cubicBezTo>
                <a:cubicBezTo>
                  <a:pt x="18" y="187"/>
                  <a:pt x="18" y="187"/>
                  <a:pt x="18" y="187"/>
                </a:cubicBezTo>
                <a:cubicBezTo>
                  <a:pt x="38" y="182"/>
                  <a:pt x="38" y="182"/>
                  <a:pt x="38" y="182"/>
                </a:cubicBezTo>
                <a:cubicBezTo>
                  <a:pt x="52" y="152"/>
                  <a:pt x="52" y="152"/>
                  <a:pt x="52" y="152"/>
                </a:cubicBezTo>
                <a:cubicBezTo>
                  <a:pt x="54" y="135"/>
                  <a:pt x="54" y="135"/>
                  <a:pt x="54" y="135"/>
                </a:cubicBezTo>
                <a:cubicBezTo>
                  <a:pt x="67" y="111"/>
                  <a:pt x="67" y="111"/>
                  <a:pt x="67" y="111"/>
                </a:cubicBezTo>
                <a:cubicBezTo>
                  <a:pt x="69" y="92"/>
                  <a:pt x="69" y="92"/>
                  <a:pt x="69" y="92"/>
                </a:cubicBezTo>
                <a:cubicBezTo>
                  <a:pt x="83" y="76"/>
                  <a:pt x="83" y="76"/>
                  <a:pt x="83" y="76"/>
                </a:cubicBezTo>
                <a:cubicBezTo>
                  <a:pt x="103" y="74"/>
                  <a:pt x="103" y="74"/>
                  <a:pt x="103" y="74"/>
                </a:cubicBezTo>
                <a:cubicBezTo>
                  <a:pt x="108" y="62"/>
                  <a:pt x="108" y="62"/>
                  <a:pt x="108" y="62"/>
                </a:cubicBezTo>
                <a:cubicBezTo>
                  <a:pt x="105" y="54"/>
                  <a:pt x="105" y="54"/>
                  <a:pt x="105" y="54"/>
                </a:cubicBezTo>
                <a:cubicBezTo>
                  <a:pt x="108" y="48"/>
                  <a:pt x="108" y="48"/>
                  <a:pt x="108" y="48"/>
                </a:cubicBezTo>
                <a:cubicBezTo>
                  <a:pt x="115" y="56"/>
                  <a:pt x="115" y="56"/>
                  <a:pt x="115" y="56"/>
                </a:cubicBezTo>
                <a:cubicBezTo>
                  <a:pt x="129" y="43"/>
                  <a:pt x="129" y="43"/>
                  <a:pt x="129" y="43"/>
                </a:cubicBezTo>
                <a:cubicBezTo>
                  <a:pt x="175" y="46"/>
                  <a:pt x="175" y="46"/>
                  <a:pt x="175" y="46"/>
                </a:cubicBezTo>
                <a:cubicBezTo>
                  <a:pt x="205" y="40"/>
                  <a:pt x="205" y="40"/>
                  <a:pt x="205" y="40"/>
                </a:cubicBezTo>
                <a:cubicBezTo>
                  <a:pt x="225" y="54"/>
                  <a:pt x="225" y="54"/>
                  <a:pt x="225" y="54"/>
                </a:cubicBezTo>
                <a:cubicBezTo>
                  <a:pt x="234" y="36"/>
                  <a:pt x="234" y="36"/>
                  <a:pt x="234" y="36"/>
                </a:cubicBezTo>
                <a:cubicBezTo>
                  <a:pt x="273" y="27"/>
                  <a:pt x="273" y="27"/>
                  <a:pt x="273" y="27"/>
                </a:cubicBezTo>
                <a:cubicBezTo>
                  <a:pt x="281" y="13"/>
                  <a:pt x="281" y="13"/>
                  <a:pt x="281" y="13"/>
                </a:cubicBezTo>
                <a:cubicBezTo>
                  <a:pt x="286" y="7"/>
                  <a:pt x="286" y="7"/>
                  <a:pt x="286" y="7"/>
                </a:cubicBezTo>
                <a:cubicBezTo>
                  <a:pt x="312" y="1"/>
                  <a:pt x="312" y="1"/>
                  <a:pt x="312" y="1"/>
                </a:cubicBezTo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4" name="Serbia"/>
          <p:cNvSpPr>
            <a:spLocks/>
          </p:cNvSpPr>
          <p:nvPr/>
        </p:nvSpPr>
        <p:spPr bwMode="auto">
          <a:xfrm>
            <a:off x="10208151" y="4919663"/>
            <a:ext cx="736600" cy="739775"/>
          </a:xfrm>
          <a:custGeom>
            <a:avLst/>
            <a:gdLst>
              <a:gd name="T0" fmla="*/ 413 w 464"/>
              <a:gd name="T1" fmla="*/ 435 h 466"/>
              <a:gd name="T2" fmla="*/ 390 w 464"/>
              <a:gd name="T3" fmla="*/ 422 h 466"/>
              <a:gd name="T4" fmla="*/ 359 w 464"/>
              <a:gd name="T5" fmla="*/ 440 h 466"/>
              <a:gd name="T6" fmla="*/ 328 w 464"/>
              <a:gd name="T7" fmla="*/ 440 h 466"/>
              <a:gd name="T8" fmla="*/ 294 w 464"/>
              <a:gd name="T9" fmla="*/ 466 h 466"/>
              <a:gd name="T10" fmla="*/ 222 w 464"/>
              <a:gd name="T11" fmla="*/ 457 h 466"/>
              <a:gd name="T12" fmla="*/ 184 w 464"/>
              <a:gd name="T13" fmla="*/ 430 h 466"/>
              <a:gd name="T14" fmla="*/ 184 w 464"/>
              <a:gd name="T15" fmla="*/ 406 h 466"/>
              <a:gd name="T16" fmla="*/ 200 w 464"/>
              <a:gd name="T17" fmla="*/ 393 h 466"/>
              <a:gd name="T18" fmla="*/ 191 w 464"/>
              <a:gd name="T19" fmla="*/ 366 h 466"/>
              <a:gd name="T20" fmla="*/ 162 w 464"/>
              <a:gd name="T21" fmla="*/ 357 h 466"/>
              <a:gd name="T22" fmla="*/ 150 w 464"/>
              <a:gd name="T23" fmla="*/ 325 h 466"/>
              <a:gd name="T24" fmla="*/ 106 w 464"/>
              <a:gd name="T25" fmla="*/ 312 h 466"/>
              <a:gd name="T26" fmla="*/ 77 w 464"/>
              <a:gd name="T27" fmla="*/ 271 h 466"/>
              <a:gd name="T28" fmla="*/ 108 w 464"/>
              <a:gd name="T29" fmla="*/ 271 h 466"/>
              <a:gd name="T30" fmla="*/ 94 w 464"/>
              <a:gd name="T31" fmla="*/ 245 h 466"/>
              <a:gd name="T32" fmla="*/ 57 w 464"/>
              <a:gd name="T33" fmla="*/ 231 h 466"/>
              <a:gd name="T34" fmla="*/ 74 w 464"/>
              <a:gd name="T35" fmla="*/ 162 h 466"/>
              <a:gd name="T36" fmla="*/ 66 w 464"/>
              <a:gd name="T37" fmla="*/ 150 h 466"/>
              <a:gd name="T38" fmla="*/ 25 w 464"/>
              <a:gd name="T39" fmla="*/ 166 h 466"/>
              <a:gd name="T40" fmla="*/ 10 w 464"/>
              <a:gd name="T41" fmla="*/ 159 h 466"/>
              <a:gd name="T42" fmla="*/ 45 w 464"/>
              <a:gd name="T43" fmla="*/ 141 h 466"/>
              <a:gd name="T44" fmla="*/ 45 w 464"/>
              <a:gd name="T45" fmla="*/ 99 h 466"/>
              <a:gd name="T46" fmla="*/ 12 w 464"/>
              <a:gd name="T47" fmla="*/ 75 h 466"/>
              <a:gd name="T48" fmla="*/ 12 w 464"/>
              <a:gd name="T49" fmla="*/ 52 h 466"/>
              <a:gd name="T50" fmla="*/ 0 w 464"/>
              <a:gd name="T51" fmla="*/ 41 h 466"/>
              <a:gd name="T52" fmla="*/ 28 w 464"/>
              <a:gd name="T53" fmla="*/ 36 h 466"/>
              <a:gd name="T54" fmla="*/ 75 w 464"/>
              <a:gd name="T55" fmla="*/ 0 h 466"/>
              <a:gd name="T56" fmla="*/ 139 w 464"/>
              <a:gd name="T57" fmla="*/ 0 h 466"/>
              <a:gd name="T58" fmla="*/ 206 w 464"/>
              <a:gd name="T59" fmla="*/ 38 h 466"/>
              <a:gd name="T60" fmla="*/ 206 w 464"/>
              <a:gd name="T61" fmla="*/ 81 h 466"/>
              <a:gd name="T62" fmla="*/ 274 w 464"/>
              <a:gd name="T63" fmla="*/ 99 h 466"/>
              <a:gd name="T64" fmla="*/ 296 w 464"/>
              <a:gd name="T65" fmla="*/ 148 h 466"/>
              <a:gd name="T66" fmla="*/ 328 w 464"/>
              <a:gd name="T67" fmla="*/ 151 h 466"/>
              <a:gd name="T68" fmla="*/ 368 w 464"/>
              <a:gd name="T69" fmla="*/ 177 h 466"/>
              <a:gd name="T70" fmla="*/ 390 w 464"/>
              <a:gd name="T71" fmla="*/ 160 h 466"/>
              <a:gd name="T72" fmla="*/ 390 w 464"/>
              <a:gd name="T73" fmla="*/ 137 h 466"/>
              <a:gd name="T74" fmla="*/ 415 w 464"/>
              <a:gd name="T75" fmla="*/ 153 h 466"/>
              <a:gd name="T76" fmla="*/ 408 w 464"/>
              <a:gd name="T77" fmla="*/ 169 h 466"/>
              <a:gd name="T78" fmla="*/ 422 w 464"/>
              <a:gd name="T79" fmla="*/ 180 h 466"/>
              <a:gd name="T80" fmla="*/ 426 w 464"/>
              <a:gd name="T81" fmla="*/ 202 h 466"/>
              <a:gd name="T82" fmla="*/ 390 w 464"/>
              <a:gd name="T83" fmla="*/ 225 h 466"/>
              <a:gd name="T84" fmla="*/ 390 w 464"/>
              <a:gd name="T85" fmla="*/ 272 h 466"/>
              <a:gd name="T86" fmla="*/ 464 w 464"/>
              <a:gd name="T87" fmla="*/ 314 h 466"/>
              <a:gd name="T88" fmla="*/ 413 w 464"/>
              <a:gd name="T89" fmla="*/ 368 h 466"/>
              <a:gd name="T90" fmla="*/ 431 w 464"/>
              <a:gd name="T91" fmla="*/ 406 h 466"/>
              <a:gd name="T92" fmla="*/ 413 w 464"/>
              <a:gd name="T93" fmla="*/ 435 h 4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64" h="466">
                <a:moveTo>
                  <a:pt x="413" y="435"/>
                </a:moveTo>
                <a:lnTo>
                  <a:pt x="390" y="422"/>
                </a:lnTo>
                <a:lnTo>
                  <a:pt x="359" y="440"/>
                </a:lnTo>
                <a:lnTo>
                  <a:pt x="328" y="440"/>
                </a:lnTo>
                <a:lnTo>
                  <a:pt x="294" y="466"/>
                </a:lnTo>
                <a:lnTo>
                  <a:pt x="222" y="457"/>
                </a:lnTo>
                <a:lnTo>
                  <a:pt x="184" y="430"/>
                </a:lnTo>
                <a:lnTo>
                  <a:pt x="184" y="406"/>
                </a:lnTo>
                <a:lnTo>
                  <a:pt x="200" y="393"/>
                </a:lnTo>
                <a:lnTo>
                  <a:pt x="191" y="366"/>
                </a:lnTo>
                <a:lnTo>
                  <a:pt x="162" y="357"/>
                </a:lnTo>
                <a:lnTo>
                  <a:pt x="150" y="325"/>
                </a:lnTo>
                <a:lnTo>
                  <a:pt x="106" y="312"/>
                </a:lnTo>
                <a:lnTo>
                  <a:pt x="77" y="271"/>
                </a:lnTo>
                <a:lnTo>
                  <a:pt x="108" y="271"/>
                </a:lnTo>
                <a:lnTo>
                  <a:pt x="94" y="245"/>
                </a:lnTo>
                <a:lnTo>
                  <a:pt x="57" y="231"/>
                </a:lnTo>
                <a:lnTo>
                  <a:pt x="74" y="162"/>
                </a:lnTo>
                <a:lnTo>
                  <a:pt x="66" y="150"/>
                </a:lnTo>
                <a:lnTo>
                  <a:pt x="25" y="166"/>
                </a:lnTo>
                <a:lnTo>
                  <a:pt x="10" y="159"/>
                </a:lnTo>
                <a:lnTo>
                  <a:pt x="45" y="141"/>
                </a:lnTo>
                <a:lnTo>
                  <a:pt x="45" y="99"/>
                </a:lnTo>
                <a:lnTo>
                  <a:pt x="12" y="75"/>
                </a:lnTo>
                <a:lnTo>
                  <a:pt x="12" y="52"/>
                </a:lnTo>
                <a:lnTo>
                  <a:pt x="0" y="41"/>
                </a:lnTo>
                <a:lnTo>
                  <a:pt x="28" y="36"/>
                </a:lnTo>
                <a:lnTo>
                  <a:pt x="75" y="0"/>
                </a:lnTo>
                <a:lnTo>
                  <a:pt x="139" y="0"/>
                </a:lnTo>
                <a:lnTo>
                  <a:pt x="206" y="38"/>
                </a:lnTo>
                <a:lnTo>
                  <a:pt x="206" y="81"/>
                </a:lnTo>
                <a:lnTo>
                  <a:pt x="274" y="99"/>
                </a:lnTo>
                <a:lnTo>
                  <a:pt x="296" y="148"/>
                </a:lnTo>
                <a:lnTo>
                  <a:pt x="328" y="151"/>
                </a:lnTo>
                <a:lnTo>
                  <a:pt x="368" y="177"/>
                </a:lnTo>
                <a:lnTo>
                  <a:pt x="390" y="160"/>
                </a:lnTo>
                <a:lnTo>
                  <a:pt x="390" y="137"/>
                </a:lnTo>
                <a:lnTo>
                  <a:pt x="415" y="153"/>
                </a:lnTo>
                <a:lnTo>
                  <a:pt x="408" y="169"/>
                </a:lnTo>
                <a:lnTo>
                  <a:pt x="422" y="180"/>
                </a:lnTo>
                <a:lnTo>
                  <a:pt x="426" y="202"/>
                </a:lnTo>
                <a:lnTo>
                  <a:pt x="390" y="225"/>
                </a:lnTo>
                <a:lnTo>
                  <a:pt x="390" y="272"/>
                </a:lnTo>
                <a:lnTo>
                  <a:pt x="464" y="314"/>
                </a:lnTo>
                <a:lnTo>
                  <a:pt x="413" y="368"/>
                </a:lnTo>
                <a:lnTo>
                  <a:pt x="431" y="406"/>
                </a:lnTo>
                <a:lnTo>
                  <a:pt x="413" y="435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5" name="Bosnia &amp; Herzegovina"/>
          <p:cNvSpPr>
            <a:spLocks/>
          </p:cNvSpPr>
          <p:nvPr/>
        </p:nvSpPr>
        <p:spPr bwMode="auto">
          <a:xfrm>
            <a:off x="9754126" y="5127625"/>
            <a:ext cx="628650" cy="519113"/>
          </a:xfrm>
          <a:custGeom>
            <a:avLst/>
            <a:gdLst>
              <a:gd name="T0" fmla="*/ 396 w 396"/>
              <a:gd name="T1" fmla="*/ 140 h 327"/>
              <a:gd name="T2" fmla="*/ 381 w 396"/>
              <a:gd name="T3" fmla="*/ 116 h 327"/>
              <a:gd name="T4" fmla="*/ 345 w 396"/>
              <a:gd name="T5" fmla="*/ 100 h 327"/>
              <a:gd name="T6" fmla="*/ 361 w 396"/>
              <a:gd name="T7" fmla="*/ 31 h 327"/>
              <a:gd name="T8" fmla="*/ 352 w 396"/>
              <a:gd name="T9" fmla="*/ 20 h 327"/>
              <a:gd name="T10" fmla="*/ 313 w 396"/>
              <a:gd name="T11" fmla="*/ 35 h 327"/>
              <a:gd name="T12" fmla="*/ 298 w 396"/>
              <a:gd name="T13" fmla="*/ 28 h 327"/>
              <a:gd name="T14" fmla="*/ 282 w 396"/>
              <a:gd name="T15" fmla="*/ 10 h 327"/>
              <a:gd name="T16" fmla="*/ 248 w 396"/>
              <a:gd name="T17" fmla="*/ 0 h 327"/>
              <a:gd name="T18" fmla="*/ 224 w 396"/>
              <a:gd name="T19" fmla="*/ 10 h 327"/>
              <a:gd name="T20" fmla="*/ 202 w 396"/>
              <a:gd name="T21" fmla="*/ 29 h 327"/>
              <a:gd name="T22" fmla="*/ 179 w 396"/>
              <a:gd name="T23" fmla="*/ 10 h 327"/>
              <a:gd name="T24" fmla="*/ 161 w 396"/>
              <a:gd name="T25" fmla="*/ 10 h 327"/>
              <a:gd name="T26" fmla="*/ 145 w 396"/>
              <a:gd name="T27" fmla="*/ 19 h 327"/>
              <a:gd name="T28" fmla="*/ 118 w 396"/>
              <a:gd name="T29" fmla="*/ 0 h 327"/>
              <a:gd name="T30" fmla="*/ 109 w 396"/>
              <a:gd name="T31" fmla="*/ 17 h 327"/>
              <a:gd name="T32" fmla="*/ 81 w 396"/>
              <a:gd name="T33" fmla="*/ 10 h 327"/>
              <a:gd name="T34" fmla="*/ 51 w 396"/>
              <a:gd name="T35" fmla="*/ 40 h 327"/>
              <a:gd name="T36" fmla="*/ 24 w 396"/>
              <a:gd name="T37" fmla="*/ 20 h 327"/>
              <a:gd name="T38" fmla="*/ 11 w 396"/>
              <a:gd name="T39" fmla="*/ 33 h 327"/>
              <a:gd name="T40" fmla="*/ 13 w 396"/>
              <a:gd name="T41" fmla="*/ 66 h 327"/>
              <a:gd name="T42" fmla="*/ 11 w 396"/>
              <a:gd name="T43" fmla="*/ 75 h 327"/>
              <a:gd name="T44" fmla="*/ 11 w 396"/>
              <a:gd name="T45" fmla="*/ 75 h 327"/>
              <a:gd name="T46" fmla="*/ 11 w 396"/>
              <a:gd name="T47" fmla="*/ 75 h 327"/>
              <a:gd name="T48" fmla="*/ 0 w 396"/>
              <a:gd name="T49" fmla="*/ 141 h 327"/>
              <a:gd name="T50" fmla="*/ 0 w 396"/>
              <a:gd name="T51" fmla="*/ 143 h 327"/>
              <a:gd name="T52" fmla="*/ 49 w 396"/>
              <a:gd name="T53" fmla="*/ 167 h 327"/>
              <a:gd name="T54" fmla="*/ 213 w 396"/>
              <a:gd name="T55" fmla="*/ 266 h 327"/>
              <a:gd name="T56" fmla="*/ 215 w 396"/>
              <a:gd name="T57" fmla="*/ 268 h 327"/>
              <a:gd name="T58" fmla="*/ 224 w 396"/>
              <a:gd name="T59" fmla="*/ 288 h 327"/>
              <a:gd name="T60" fmla="*/ 255 w 396"/>
              <a:gd name="T61" fmla="*/ 297 h 327"/>
              <a:gd name="T62" fmla="*/ 302 w 396"/>
              <a:gd name="T63" fmla="*/ 327 h 327"/>
              <a:gd name="T64" fmla="*/ 307 w 396"/>
              <a:gd name="T65" fmla="*/ 304 h 327"/>
              <a:gd name="T66" fmla="*/ 300 w 396"/>
              <a:gd name="T67" fmla="*/ 281 h 327"/>
              <a:gd name="T68" fmla="*/ 322 w 396"/>
              <a:gd name="T69" fmla="*/ 262 h 327"/>
              <a:gd name="T70" fmla="*/ 316 w 396"/>
              <a:gd name="T71" fmla="*/ 239 h 327"/>
              <a:gd name="T72" fmla="*/ 333 w 396"/>
              <a:gd name="T73" fmla="*/ 215 h 327"/>
              <a:gd name="T74" fmla="*/ 385 w 396"/>
              <a:gd name="T75" fmla="*/ 212 h 327"/>
              <a:gd name="T76" fmla="*/ 394 w 396"/>
              <a:gd name="T77" fmla="*/ 181 h 327"/>
              <a:gd name="T78" fmla="*/ 365 w 396"/>
              <a:gd name="T79" fmla="*/ 140 h 327"/>
              <a:gd name="T80" fmla="*/ 396 w 396"/>
              <a:gd name="T81" fmla="*/ 140 h 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96" h="327">
                <a:moveTo>
                  <a:pt x="396" y="140"/>
                </a:moveTo>
                <a:lnTo>
                  <a:pt x="381" y="116"/>
                </a:lnTo>
                <a:lnTo>
                  <a:pt x="345" y="100"/>
                </a:lnTo>
                <a:lnTo>
                  <a:pt x="361" y="31"/>
                </a:lnTo>
                <a:lnTo>
                  <a:pt x="352" y="20"/>
                </a:lnTo>
                <a:lnTo>
                  <a:pt x="313" y="35"/>
                </a:lnTo>
                <a:lnTo>
                  <a:pt x="298" y="28"/>
                </a:lnTo>
                <a:lnTo>
                  <a:pt x="282" y="10"/>
                </a:lnTo>
                <a:lnTo>
                  <a:pt x="248" y="0"/>
                </a:lnTo>
                <a:lnTo>
                  <a:pt x="224" y="10"/>
                </a:lnTo>
                <a:lnTo>
                  <a:pt x="202" y="29"/>
                </a:lnTo>
                <a:lnTo>
                  <a:pt x="179" y="10"/>
                </a:lnTo>
                <a:lnTo>
                  <a:pt x="161" y="10"/>
                </a:lnTo>
                <a:lnTo>
                  <a:pt x="145" y="19"/>
                </a:lnTo>
                <a:lnTo>
                  <a:pt x="118" y="0"/>
                </a:lnTo>
                <a:lnTo>
                  <a:pt x="109" y="17"/>
                </a:lnTo>
                <a:lnTo>
                  <a:pt x="81" y="10"/>
                </a:lnTo>
                <a:lnTo>
                  <a:pt x="51" y="40"/>
                </a:lnTo>
                <a:lnTo>
                  <a:pt x="24" y="20"/>
                </a:lnTo>
                <a:lnTo>
                  <a:pt x="11" y="33"/>
                </a:lnTo>
                <a:lnTo>
                  <a:pt x="13" y="66"/>
                </a:lnTo>
                <a:lnTo>
                  <a:pt x="11" y="75"/>
                </a:lnTo>
                <a:lnTo>
                  <a:pt x="11" y="75"/>
                </a:lnTo>
                <a:lnTo>
                  <a:pt x="11" y="75"/>
                </a:lnTo>
                <a:lnTo>
                  <a:pt x="0" y="141"/>
                </a:lnTo>
                <a:lnTo>
                  <a:pt x="0" y="143"/>
                </a:lnTo>
                <a:lnTo>
                  <a:pt x="49" y="167"/>
                </a:lnTo>
                <a:lnTo>
                  <a:pt x="213" y="266"/>
                </a:lnTo>
                <a:lnTo>
                  <a:pt x="215" y="268"/>
                </a:lnTo>
                <a:lnTo>
                  <a:pt x="224" y="288"/>
                </a:lnTo>
                <a:lnTo>
                  <a:pt x="255" y="297"/>
                </a:lnTo>
                <a:lnTo>
                  <a:pt x="302" y="327"/>
                </a:lnTo>
                <a:lnTo>
                  <a:pt x="307" y="304"/>
                </a:lnTo>
                <a:lnTo>
                  <a:pt x="300" y="281"/>
                </a:lnTo>
                <a:lnTo>
                  <a:pt x="322" y="262"/>
                </a:lnTo>
                <a:lnTo>
                  <a:pt x="316" y="239"/>
                </a:lnTo>
                <a:lnTo>
                  <a:pt x="333" y="215"/>
                </a:lnTo>
                <a:lnTo>
                  <a:pt x="385" y="212"/>
                </a:lnTo>
                <a:lnTo>
                  <a:pt x="394" y="181"/>
                </a:lnTo>
                <a:lnTo>
                  <a:pt x="365" y="140"/>
                </a:lnTo>
                <a:lnTo>
                  <a:pt x="396" y="140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Turkey"/>
          <p:cNvSpPr>
            <a:spLocks/>
          </p:cNvSpPr>
          <p:nvPr/>
        </p:nvSpPr>
        <p:spPr bwMode="auto">
          <a:xfrm>
            <a:off x="11528951" y="5486400"/>
            <a:ext cx="671513" cy="923925"/>
          </a:xfrm>
          <a:custGeom>
            <a:avLst/>
            <a:gdLst>
              <a:gd name="T0" fmla="*/ 234 w 234"/>
              <a:gd name="T1" fmla="*/ 3 h 322"/>
              <a:gd name="T2" fmla="*/ 234 w 234"/>
              <a:gd name="T3" fmla="*/ 311 h 322"/>
              <a:gd name="T4" fmla="*/ 223 w 234"/>
              <a:gd name="T5" fmla="*/ 311 h 322"/>
              <a:gd name="T6" fmla="*/ 209 w 234"/>
              <a:gd name="T7" fmla="*/ 322 h 322"/>
              <a:gd name="T8" fmla="*/ 201 w 234"/>
              <a:gd name="T9" fmla="*/ 307 h 322"/>
              <a:gd name="T10" fmla="*/ 189 w 234"/>
              <a:gd name="T11" fmla="*/ 322 h 322"/>
              <a:gd name="T12" fmla="*/ 173 w 234"/>
              <a:gd name="T13" fmla="*/ 322 h 322"/>
              <a:gd name="T14" fmla="*/ 181 w 234"/>
              <a:gd name="T15" fmla="*/ 298 h 322"/>
              <a:gd name="T16" fmla="*/ 133 w 234"/>
              <a:gd name="T17" fmla="*/ 317 h 322"/>
              <a:gd name="T18" fmla="*/ 122 w 234"/>
              <a:gd name="T19" fmla="*/ 310 h 322"/>
              <a:gd name="T20" fmla="*/ 141 w 234"/>
              <a:gd name="T21" fmla="*/ 303 h 322"/>
              <a:gd name="T22" fmla="*/ 130 w 234"/>
              <a:gd name="T23" fmla="*/ 288 h 322"/>
              <a:gd name="T24" fmla="*/ 115 w 234"/>
              <a:gd name="T25" fmla="*/ 293 h 322"/>
              <a:gd name="T26" fmla="*/ 108 w 234"/>
              <a:gd name="T27" fmla="*/ 253 h 322"/>
              <a:gd name="T28" fmla="*/ 87 w 234"/>
              <a:gd name="T29" fmla="*/ 251 h 322"/>
              <a:gd name="T30" fmla="*/ 49 w 234"/>
              <a:gd name="T31" fmla="*/ 250 h 322"/>
              <a:gd name="T32" fmla="*/ 43 w 234"/>
              <a:gd name="T33" fmla="*/ 218 h 322"/>
              <a:gd name="T34" fmla="*/ 65 w 234"/>
              <a:gd name="T35" fmla="*/ 240 h 322"/>
              <a:gd name="T36" fmla="*/ 87 w 234"/>
              <a:gd name="T37" fmla="*/ 223 h 322"/>
              <a:gd name="T38" fmla="*/ 68 w 234"/>
              <a:gd name="T39" fmla="*/ 212 h 322"/>
              <a:gd name="T40" fmla="*/ 87 w 234"/>
              <a:gd name="T41" fmla="*/ 197 h 322"/>
              <a:gd name="T42" fmla="*/ 54 w 234"/>
              <a:gd name="T43" fmla="*/ 176 h 322"/>
              <a:gd name="T44" fmla="*/ 66 w 234"/>
              <a:gd name="T45" fmla="*/ 156 h 322"/>
              <a:gd name="T46" fmla="*/ 22 w 234"/>
              <a:gd name="T47" fmla="*/ 174 h 322"/>
              <a:gd name="T48" fmla="*/ 22 w 234"/>
              <a:gd name="T49" fmla="*/ 138 h 322"/>
              <a:gd name="T50" fmla="*/ 32 w 234"/>
              <a:gd name="T51" fmla="*/ 117 h 322"/>
              <a:gd name="T52" fmla="*/ 3 w 234"/>
              <a:gd name="T53" fmla="*/ 105 h 322"/>
              <a:gd name="T54" fmla="*/ 11 w 234"/>
              <a:gd name="T55" fmla="*/ 71 h 322"/>
              <a:gd name="T56" fmla="*/ 32 w 234"/>
              <a:gd name="T57" fmla="*/ 55 h 322"/>
              <a:gd name="T58" fmla="*/ 0 w 234"/>
              <a:gd name="T59" fmla="*/ 39 h 322"/>
              <a:gd name="T60" fmla="*/ 11 w 234"/>
              <a:gd name="T61" fmla="*/ 21 h 322"/>
              <a:gd name="T62" fmla="*/ 51 w 234"/>
              <a:gd name="T63" fmla="*/ 5 h 322"/>
              <a:gd name="T64" fmla="*/ 68 w 234"/>
              <a:gd name="T65" fmla="*/ 13 h 322"/>
              <a:gd name="T66" fmla="*/ 87 w 234"/>
              <a:gd name="T67" fmla="*/ 0 h 322"/>
              <a:gd name="T68" fmla="*/ 102 w 234"/>
              <a:gd name="T69" fmla="*/ 17 h 322"/>
              <a:gd name="T70" fmla="*/ 94 w 234"/>
              <a:gd name="T71" fmla="*/ 30 h 322"/>
              <a:gd name="T72" fmla="*/ 150 w 234"/>
              <a:gd name="T73" fmla="*/ 40 h 322"/>
              <a:gd name="T74" fmla="*/ 160 w 234"/>
              <a:gd name="T75" fmla="*/ 50 h 322"/>
              <a:gd name="T76" fmla="*/ 151 w 234"/>
              <a:gd name="T77" fmla="*/ 62 h 322"/>
              <a:gd name="T78" fmla="*/ 136 w 234"/>
              <a:gd name="T79" fmla="*/ 61 h 322"/>
              <a:gd name="T80" fmla="*/ 111 w 234"/>
              <a:gd name="T81" fmla="*/ 71 h 322"/>
              <a:gd name="T82" fmla="*/ 87 w 234"/>
              <a:gd name="T83" fmla="*/ 71 h 322"/>
              <a:gd name="T84" fmla="*/ 78 w 234"/>
              <a:gd name="T85" fmla="*/ 90 h 322"/>
              <a:gd name="T86" fmla="*/ 82 w 234"/>
              <a:gd name="T87" fmla="*/ 105 h 322"/>
              <a:gd name="T88" fmla="*/ 94 w 234"/>
              <a:gd name="T89" fmla="*/ 96 h 322"/>
              <a:gd name="T90" fmla="*/ 106 w 234"/>
              <a:gd name="T91" fmla="*/ 90 h 322"/>
              <a:gd name="T92" fmla="*/ 117 w 234"/>
              <a:gd name="T93" fmla="*/ 90 h 322"/>
              <a:gd name="T94" fmla="*/ 156 w 234"/>
              <a:gd name="T95" fmla="*/ 80 h 322"/>
              <a:gd name="T96" fmla="*/ 185 w 234"/>
              <a:gd name="T97" fmla="*/ 77 h 322"/>
              <a:gd name="T98" fmla="*/ 171 w 234"/>
              <a:gd name="T99" fmla="*/ 71 h 322"/>
              <a:gd name="T100" fmla="*/ 156 w 234"/>
              <a:gd name="T101" fmla="*/ 71 h 322"/>
              <a:gd name="T102" fmla="*/ 172 w 234"/>
              <a:gd name="T103" fmla="*/ 54 h 322"/>
              <a:gd name="T104" fmla="*/ 196 w 234"/>
              <a:gd name="T105" fmla="*/ 46 h 322"/>
              <a:gd name="T106" fmla="*/ 184 w 234"/>
              <a:gd name="T107" fmla="*/ 40 h 322"/>
              <a:gd name="T108" fmla="*/ 161 w 234"/>
              <a:gd name="T109" fmla="*/ 33 h 322"/>
              <a:gd name="T110" fmla="*/ 169 w 234"/>
              <a:gd name="T111" fmla="*/ 17 h 322"/>
              <a:gd name="T112" fmla="*/ 212 w 234"/>
              <a:gd name="T113" fmla="*/ 10 h 322"/>
              <a:gd name="T114" fmla="*/ 234 w 234"/>
              <a:gd name="T115" fmla="*/ 3 h 3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34" h="322">
                <a:moveTo>
                  <a:pt x="234" y="3"/>
                </a:moveTo>
                <a:cubicBezTo>
                  <a:pt x="234" y="311"/>
                  <a:pt x="234" y="311"/>
                  <a:pt x="234" y="311"/>
                </a:cubicBezTo>
                <a:cubicBezTo>
                  <a:pt x="223" y="311"/>
                  <a:pt x="223" y="311"/>
                  <a:pt x="223" y="311"/>
                </a:cubicBezTo>
                <a:cubicBezTo>
                  <a:pt x="209" y="322"/>
                  <a:pt x="209" y="322"/>
                  <a:pt x="209" y="322"/>
                </a:cubicBezTo>
                <a:cubicBezTo>
                  <a:pt x="201" y="307"/>
                  <a:pt x="201" y="307"/>
                  <a:pt x="201" y="307"/>
                </a:cubicBezTo>
                <a:cubicBezTo>
                  <a:pt x="189" y="322"/>
                  <a:pt x="189" y="322"/>
                  <a:pt x="189" y="322"/>
                </a:cubicBezTo>
                <a:cubicBezTo>
                  <a:pt x="173" y="322"/>
                  <a:pt x="173" y="322"/>
                  <a:pt x="173" y="322"/>
                </a:cubicBezTo>
                <a:cubicBezTo>
                  <a:pt x="181" y="298"/>
                  <a:pt x="181" y="298"/>
                  <a:pt x="181" y="298"/>
                </a:cubicBezTo>
                <a:cubicBezTo>
                  <a:pt x="133" y="317"/>
                  <a:pt x="133" y="317"/>
                  <a:pt x="133" y="317"/>
                </a:cubicBezTo>
                <a:cubicBezTo>
                  <a:pt x="122" y="310"/>
                  <a:pt x="122" y="310"/>
                  <a:pt x="122" y="310"/>
                </a:cubicBezTo>
                <a:cubicBezTo>
                  <a:pt x="141" y="303"/>
                  <a:pt x="141" y="303"/>
                  <a:pt x="141" y="303"/>
                </a:cubicBezTo>
                <a:cubicBezTo>
                  <a:pt x="130" y="288"/>
                  <a:pt x="130" y="288"/>
                  <a:pt x="130" y="288"/>
                </a:cubicBezTo>
                <a:cubicBezTo>
                  <a:pt x="115" y="293"/>
                  <a:pt x="115" y="293"/>
                  <a:pt x="115" y="293"/>
                </a:cubicBezTo>
                <a:cubicBezTo>
                  <a:pt x="108" y="253"/>
                  <a:pt x="108" y="253"/>
                  <a:pt x="108" y="253"/>
                </a:cubicBezTo>
                <a:cubicBezTo>
                  <a:pt x="87" y="251"/>
                  <a:pt x="87" y="251"/>
                  <a:pt x="87" y="251"/>
                </a:cubicBezTo>
                <a:cubicBezTo>
                  <a:pt x="49" y="250"/>
                  <a:pt x="49" y="250"/>
                  <a:pt x="49" y="250"/>
                </a:cubicBezTo>
                <a:cubicBezTo>
                  <a:pt x="43" y="218"/>
                  <a:pt x="43" y="218"/>
                  <a:pt x="43" y="218"/>
                </a:cubicBezTo>
                <a:cubicBezTo>
                  <a:pt x="65" y="240"/>
                  <a:pt x="65" y="240"/>
                  <a:pt x="65" y="240"/>
                </a:cubicBezTo>
                <a:cubicBezTo>
                  <a:pt x="87" y="223"/>
                  <a:pt x="87" y="223"/>
                  <a:pt x="87" y="223"/>
                </a:cubicBezTo>
                <a:cubicBezTo>
                  <a:pt x="87" y="223"/>
                  <a:pt x="67" y="217"/>
                  <a:pt x="68" y="212"/>
                </a:cubicBezTo>
                <a:cubicBezTo>
                  <a:pt x="69" y="207"/>
                  <a:pt x="90" y="201"/>
                  <a:pt x="87" y="197"/>
                </a:cubicBezTo>
                <a:cubicBezTo>
                  <a:pt x="84" y="193"/>
                  <a:pt x="54" y="180"/>
                  <a:pt x="54" y="176"/>
                </a:cubicBezTo>
                <a:cubicBezTo>
                  <a:pt x="54" y="172"/>
                  <a:pt x="66" y="156"/>
                  <a:pt x="66" y="156"/>
                </a:cubicBezTo>
                <a:cubicBezTo>
                  <a:pt x="22" y="174"/>
                  <a:pt x="22" y="174"/>
                  <a:pt x="22" y="174"/>
                </a:cubicBezTo>
                <a:cubicBezTo>
                  <a:pt x="22" y="138"/>
                  <a:pt x="22" y="138"/>
                  <a:pt x="22" y="138"/>
                </a:cubicBezTo>
                <a:cubicBezTo>
                  <a:pt x="32" y="117"/>
                  <a:pt x="32" y="117"/>
                  <a:pt x="32" y="117"/>
                </a:cubicBezTo>
                <a:cubicBezTo>
                  <a:pt x="3" y="105"/>
                  <a:pt x="3" y="105"/>
                  <a:pt x="3" y="105"/>
                </a:cubicBezTo>
                <a:cubicBezTo>
                  <a:pt x="11" y="71"/>
                  <a:pt x="11" y="71"/>
                  <a:pt x="11" y="71"/>
                </a:cubicBezTo>
                <a:cubicBezTo>
                  <a:pt x="32" y="55"/>
                  <a:pt x="32" y="55"/>
                  <a:pt x="32" y="55"/>
                </a:cubicBezTo>
                <a:cubicBezTo>
                  <a:pt x="0" y="39"/>
                  <a:pt x="0" y="39"/>
                  <a:pt x="0" y="39"/>
                </a:cubicBezTo>
                <a:cubicBezTo>
                  <a:pt x="11" y="21"/>
                  <a:pt x="11" y="21"/>
                  <a:pt x="11" y="21"/>
                </a:cubicBezTo>
                <a:cubicBezTo>
                  <a:pt x="51" y="5"/>
                  <a:pt x="51" y="5"/>
                  <a:pt x="51" y="5"/>
                </a:cubicBezTo>
                <a:cubicBezTo>
                  <a:pt x="68" y="13"/>
                  <a:pt x="68" y="13"/>
                  <a:pt x="68" y="13"/>
                </a:cubicBezTo>
                <a:cubicBezTo>
                  <a:pt x="87" y="0"/>
                  <a:pt x="87" y="0"/>
                  <a:pt x="87" y="0"/>
                </a:cubicBezTo>
                <a:cubicBezTo>
                  <a:pt x="102" y="17"/>
                  <a:pt x="102" y="17"/>
                  <a:pt x="102" y="17"/>
                </a:cubicBezTo>
                <a:cubicBezTo>
                  <a:pt x="94" y="30"/>
                  <a:pt x="94" y="30"/>
                  <a:pt x="94" y="30"/>
                </a:cubicBezTo>
                <a:cubicBezTo>
                  <a:pt x="150" y="40"/>
                  <a:pt x="150" y="40"/>
                  <a:pt x="150" y="40"/>
                </a:cubicBezTo>
                <a:cubicBezTo>
                  <a:pt x="160" y="50"/>
                  <a:pt x="160" y="50"/>
                  <a:pt x="160" y="50"/>
                </a:cubicBezTo>
                <a:cubicBezTo>
                  <a:pt x="151" y="62"/>
                  <a:pt x="151" y="62"/>
                  <a:pt x="151" y="62"/>
                </a:cubicBezTo>
                <a:cubicBezTo>
                  <a:pt x="136" y="61"/>
                  <a:pt x="136" y="61"/>
                  <a:pt x="136" y="61"/>
                </a:cubicBezTo>
                <a:cubicBezTo>
                  <a:pt x="111" y="71"/>
                  <a:pt x="111" y="71"/>
                  <a:pt x="111" y="71"/>
                </a:cubicBezTo>
                <a:cubicBezTo>
                  <a:pt x="87" y="71"/>
                  <a:pt x="87" y="71"/>
                  <a:pt x="87" y="71"/>
                </a:cubicBezTo>
                <a:cubicBezTo>
                  <a:pt x="78" y="90"/>
                  <a:pt x="78" y="90"/>
                  <a:pt x="78" y="90"/>
                </a:cubicBezTo>
                <a:cubicBezTo>
                  <a:pt x="82" y="105"/>
                  <a:pt x="82" y="105"/>
                  <a:pt x="82" y="105"/>
                </a:cubicBezTo>
                <a:cubicBezTo>
                  <a:pt x="94" y="96"/>
                  <a:pt x="94" y="96"/>
                  <a:pt x="94" y="96"/>
                </a:cubicBezTo>
                <a:cubicBezTo>
                  <a:pt x="106" y="90"/>
                  <a:pt x="106" y="90"/>
                  <a:pt x="106" y="90"/>
                </a:cubicBezTo>
                <a:cubicBezTo>
                  <a:pt x="117" y="90"/>
                  <a:pt x="117" y="90"/>
                  <a:pt x="117" y="90"/>
                </a:cubicBezTo>
                <a:cubicBezTo>
                  <a:pt x="156" y="80"/>
                  <a:pt x="156" y="80"/>
                  <a:pt x="156" y="80"/>
                </a:cubicBezTo>
                <a:cubicBezTo>
                  <a:pt x="185" y="77"/>
                  <a:pt x="185" y="77"/>
                  <a:pt x="185" y="77"/>
                </a:cubicBezTo>
                <a:cubicBezTo>
                  <a:pt x="171" y="71"/>
                  <a:pt x="171" y="71"/>
                  <a:pt x="171" y="71"/>
                </a:cubicBezTo>
                <a:cubicBezTo>
                  <a:pt x="156" y="71"/>
                  <a:pt x="156" y="71"/>
                  <a:pt x="156" y="71"/>
                </a:cubicBezTo>
                <a:cubicBezTo>
                  <a:pt x="172" y="54"/>
                  <a:pt x="172" y="54"/>
                  <a:pt x="172" y="54"/>
                </a:cubicBezTo>
                <a:cubicBezTo>
                  <a:pt x="196" y="46"/>
                  <a:pt x="196" y="46"/>
                  <a:pt x="196" y="46"/>
                </a:cubicBezTo>
                <a:cubicBezTo>
                  <a:pt x="184" y="40"/>
                  <a:pt x="184" y="40"/>
                  <a:pt x="184" y="40"/>
                </a:cubicBezTo>
                <a:cubicBezTo>
                  <a:pt x="161" y="33"/>
                  <a:pt x="161" y="33"/>
                  <a:pt x="161" y="33"/>
                </a:cubicBezTo>
                <a:cubicBezTo>
                  <a:pt x="169" y="17"/>
                  <a:pt x="169" y="17"/>
                  <a:pt x="169" y="17"/>
                </a:cubicBezTo>
                <a:cubicBezTo>
                  <a:pt x="212" y="10"/>
                  <a:pt x="212" y="10"/>
                  <a:pt x="212" y="10"/>
                </a:cubicBezTo>
                <a:lnTo>
                  <a:pt x="234" y="3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Czech Republic"/>
          <p:cNvSpPr>
            <a:spLocks/>
          </p:cNvSpPr>
          <p:nvPr/>
        </p:nvSpPr>
        <p:spPr bwMode="auto">
          <a:xfrm>
            <a:off x="9171513" y="4046538"/>
            <a:ext cx="963613" cy="479425"/>
          </a:xfrm>
          <a:custGeom>
            <a:avLst/>
            <a:gdLst>
              <a:gd name="T0" fmla="*/ 190 w 607"/>
              <a:gd name="T1" fmla="*/ 6 h 302"/>
              <a:gd name="T2" fmla="*/ 208 w 607"/>
              <a:gd name="T3" fmla="*/ 0 h 302"/>
              <a:gd name="T4" fmla="*/ 230 w 607"/>
              <a:gd name="T5" fmla="*/ 24 h 302"/>
              <a:gd name="T6" fmla="*/ 255 w 607"/>
              <a:gd name="T7" fmla="*/ 24 h 302"/>
              <a:gd name="T8" fmla="*/ 255 w 607"/>
              <a:gd name="T9" fmla="*/ 6 h 302"/>
              <a:gd name="T10" fmla="*/ 284 w 607"/>
              <a:gd name="T11" fmla="*/ 22 h 302"/>
              <a:gd name="T12" fmla="*/ 317 w 607"/>
              <a:gd name="T13" fmla="*/ 33 h 302"/>
              <a:gd name="T14" fmla="*/ 344 w 607"/>
              <a:gd name="T15" fmla="*/ 42 h 302"/>
              <a:gd name="T16" fmla="*/ 380 w 607"/>
              <a:gd name="T17" fmla="*/ 49 h 302"/>
              <a:gd name="T18" fmla="*/ 358 w 607"/>
              <a:gd name="T19" fmla="*/ 64 h 302"/>
              <a:gd name="T20" fmla="*/ 383 w 607"/>
              <a:gd name="T21" fmla="*/ 78 h 302"/>
              <a:gd name="T22" fmla="*/ 400 w 607"/>
              <a:gd name="T23" fmla="*/ 103 h 302"/>
              <a:gd name="T24" fmla="*/ 412 w 607"/>
              <a:gd name="T25" fmla="*/ 102 h 302"/>
              <a:gd name="T26" fmla="*/ 432 w 607"/>
              <a:gd name="T27" fmla="*/ 80 h 302"/>
              <a:gd name="T28" fmla="*/ 418 w 607"/>
              <a:gd name="T29" fmla="*/ 60 h 302"/>
              <a:gd name="T30" fmla="*/ 461 w 607"/>
              <a:gd name="T31" fmla="*/ 71 h 302"/>
              <a:gd name="T32" fmla="*/ 501 w 607"/>
              <a:gd name="T33" fmla="*/ 71 h 302"/>
              <a:gd name="T34" fmla="*/ 490 w 607"/>
              <a:gd name="T35" fmla="*/ 89 h 302"/>
              <a:gd name="T36" fmla="*/ 510 w 607"/>
              <a:gd name="T37" fmla="*/ 109 h 302"/>
              <a:gd name="T38" fmla="*/ 579 w 607"/>
              <a:gd name="T39" fmla="*/ 109 h 302"/>
              <a:gd name="T40" fmla="*/ 580 w 607"/>
              <a:gd name="T41" fmla="*/ 134 h 302"/>
              <a:gd name="T42" fmla="*/ 606 w 607"/>
              <a:gd name="T43" fmla="*/ 136 h 302"/>
              <a:gd name="T44" fmla="*/ 607 w 607"/>
              <a:gd name="T45" fmla="*/ 156 h 302"/>
              <a:gd name="T46" fmla="*/ 571 w 607"/>
              <a:gd name="T47" fmla="*/ 174 h 302"/>
              <a:gd name="T48" fmla="*/ 533 w 607"/>
              <a:gd name="T49" fmla="*/ 226 h 302"/>
              <a:gd name="T50" fmla="*/ 499 w 607"/>
              <a:gd name="T51" fmla="*/ 253 h 302"/>
              <a:gd name="T52" fmla="*/ 445 w 607"/>
              <a:gd name="T53" fmla="*/ 270 h 302"/>
              <a:gd name="T54" fmla="*/ 420 w 607"/>
              <a:gd name="T55" fmla="*/ 257 h 302"/>
              <a:gd name="T56" fmla="*/ 362 w 607"/>
              <a:gd name="T57" fmla="*/ 270 h 302"/>
              <a:gd name="T58" fmla="*/ 315 w 607"/>
              <a:gd name="T59" fmla="*/ 251 h 302"/>
              <a:gd name="T60" fmla="*/ 293 w 607"/>
              <a:gd name="T61" fmla="*/ 255 h 302"/>
              <a:gd name="T62" fmla="*/ 275 w 607"/>
              <a:gd name="T63" fmla="*/ 239 h 302"/>
              <a:gd name="T64" fmla="*/ 246 w 607"/>
              <a:gd name="T65" fmla="*/ 302 h 302"/>
              <a:gd name="T66" fmla="*/ 241 w 607"/>
              <a:gd name="T67" fmla="*/ 302 h 302"/>
              <a:gd name="T68" fmla="*/ 188 w 607"/>
              <a:gd name="T69" fmla="*/ 302 h 302"/>
              <a:gd name="T70" fmla="*/ 167 w 607"/>
              <a:gd name="T71" fmla="*/ 284 h 302"/>
              <a:gd name="T72" fmla="*/ 140 w 607"/>
              <a:gd name="T73" fmla="*/ 257 h 302"/>
              <a:gd name="T74" fmla="*/ 100 w 607"/>
              <a:gd name="T75" fmla="*/ 244 h 302"/>
              <a:gd name="T76" fmla="*/ 87 w 607"/>
              <a:gd name="T77" fmla="*/ 223 h 302"/>
              <a:gd name="T78" fmla="*/ 58 w 607"/>
              <a:gd name="T79" fmla="*/ 212 h 302"/>
              <a:gd name="T80" fmla="*/ 31 w 607"/>
              <a:gd name="T81" fmla="*/ 168 h 302"/>
              <a:gd name="T82" fmla="*/ 38 w 607"/>
              <a:gd name="T83" fmla="*/ 147 h 302"/>
              <a:gd name="T84" fmla="*/ 0 w 607"/>
              <a:gd name="T85" fmla="*/ 105 h 302"/>
              <a:gd name="T86" fmla="*/ 22 w 607"/>
              <a:gd name="T87" fmla="*/ 114 h 302"/>
              <a:gd name="T88" fmla="*/ 53 w 607"/>
              <a:gd name="T89" fmla="*/ 87 h 302"/>
              <a:gd name="T90" fmla="*/ 69 w 607"/>
              <a:gd name="T91" fmla="*/ 87 h 302"/>
              <a:gd name="T92" fmla="*/ 76 w 607"/>
              <a:gd name="T93" fmla="*/ 71 h 302"/>
              <a:gd name="T94" fmla="*/ 109 w 607"/>
              <a:gd name="T95" fmla="*/ 71 h 302"/>
              <a:gd name="T96" fmla="*/ 192 w 607"/>
              <a:gd name="T97" fmla="*/ 24 h 302"/>
              <a:gd name="T98" fmla="*/ 190 w 607"/>
              <a:gd name="T99" fmla="*/ 6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607" h="302">
                <a:moveTo>
                  <a:pt x="190" y="6"/>
                </a:moveTo>
                <a:lnTo>
                  <a:pt x="208" y="0"/>
                </a:lnTo>
                <a:lnTo>
                  <a:pt x="230" y="24"/>
                </a:lnTo>
                <a:lnTo>
                  <a:pt x="255" y="24"/>
                </a:lnTo>
                <a:lnTo>
                  <a:pt x="255" y="6"/>
                </a:lnTo>
                <a:lnTo>
                  <a:pt x="284" y="22"/>
                </a:lnTo>
                <a:lnTo>
                  <a:pt x="317" y="33"/>
                </a:lnTo>
                <a:lnTo>
                  <a:pt x="344" y="42"/>
                </a:lnTo>
                <a:lnTo>
                  <a:pt x="380" y="49"/>
                </a:lnTo>
                <a:lnTo>
                  <a:pt x="358" y="64"/>
                </a:lnTo>
                <a:lnTo>
                  <a:pt x="383" y="78"/>
                </a:lnTo>
                <a:lnTo>
                  <a:pt x="400" y="103"/>
                </a:lnTo>
                <a:lnTo>
                  <a:pt x="412" y="102"/>
                </a:lnTo>
                <a:lnTo>
                  <a:pt x="432" y="80"/>
                </a:lnTo>
                <a:lnTo>
                  <a:pt x="418" y="60"/>
                </a:lnTo>
                <a:lnTo>
                  <a:pt x="461" y="71"/>
                </a:lnTo>
                <a:lnTo>
                  <a:pt x="501" y="71"/>
                </a:lnTo>
                <a:lnTo>
                  <a:pt x="490" y="89"/>
                </a:lnTo>
                <a:lnTo>
                  <a:pt x="510" y="109"/>
                </a:lnTo>
                <a:lnTo>
                  <a:pt x="579" y="109"/>
                </a:lnTo>
                <a:lnTo>
                  <a:pt x="580" y="134"/>
                </a:lnTo>
                <a:lnTo>
                  <a:pt x="606" y="136"/>
                </a:lnTo>
                <a:lnTo>
                  <a:pt x="607" y="156"/>
                </a:lnTo>
                <a:lnTo>
                  <a:pt x="571" y="174"/>
                </a:lnTo>
                <a:lnTo>
                  <a:pt x="533" y="226"/>
                </a:lnTo>
                <a:lnTo>
                  <a:pt x="499" y="253"/>
                </a:lnTo>
                <a:lnTo>
                  <a:pt x="445" y="270"/>
                </a:lnTo>
                <a:lnTo>
                  <a:pt x="420" y="257"/>
                </a:lnTo>
                <a:lnTo>
                  <a:pt x="362" y="270"/>
                </a:lnTo>
                <a:lnTo>
                  <a:pt x="315" y="251"/>
                </a:lnTo>
                <a:lnTo>
                  <a:pt x="293" y="255"/>
                </a:lnTo>
                <a:lnTo>
                  <a:pt x="275" y="239"/>
                </a:lnTo>
                <a:lnTo>
                  <a:pt x="246" y="302"/>
                </a:lnTo>
                <a:lnTo>
                  <a:pt x="241" y="302"/>
                </a:lnTo>
                <a:lnTo>
                  <a:pt x="188" y="302"/>
                </a:lnTo>
                <a:lnTo>
                  <a:pt x="167" y="284"/>
                </a:lnTo>
                <a:lnTo>
                  <a:pt x="140" y="257"/>
                </a:lnTo>
                <a:lnTo>
                  <a:pt x="100" y="244"/>
                </a:lnTo>
                <a:lnTo>
                  <a:pt x="87" y="223"/>
                </a:lnTo>
                <a:lnTo>
                  <a:pt x="58" y="212"/>
                </a:lnTo>
                <a:lnTo>
                  <a:pt x="31" y="168"/>
                </a:lnTo>
                <a:lnTo>
                  <a:pt x="38" y="147"/>
                </a:lnTo>
                <a:lnTo>
                  <a:pt x="0" y="105"/>
                </a:lnTo>
                <a:lnTo>
                  <a:pt x="22" y="114"/>
                </a:lnTo>
                <a:lnTo>
                  <a:pt x="53" y="87"/>
                </a:lnTo>
                <a:lnTo>
                  <a:pt x="69" y="87"/>
                </a:lnTo>
                <a:lnTo>
                  <a:pt x="76" y="71"/>
                </a:lnTo>
                <a:lnTo>
                  <a:pt x="109" y="71"/>
                </a:lnTo>
                <a:lnTo>
                  <a:pt x="192" y="24"/>
                </a:lnTo>
                <a:lnTo>
                  <a:pt x="190" y="6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8" name="Slovakia"/>
          <p:cNvSpPr>
            <a:spLocks/>
          </p:cNvSpPr>
          <p:nvPr/>
        </p:nvSpPr>
        <p:spPr bwMode="auto">
          <a:xfrm>
            <a:off x="9868426" y="4256088"/>
            <a:ext cx="860425" cy="398463"/>
          </a:xfrm>
          <a:custGeom>
            <a:avLst/>
            <a:gdLst>
              <a:gd name="T0" fmla="*/ 168 w 542"/>
              <a:gd name="T1" fmla="*/ 24 h 251"/>
              <a:gd name="T2" fmla="*/ 192 w 542"/>
              <a:gd name="T3" fmla="*/ 45 h 251"/>
              <a:gd name="T4" fmla="*/ 217 w 542"/>
              <a:gd name="T5" fmla="*/ 7 h 251"/>
              <a:gd name="T6" fmla="*/ 252 w 542"/>
              <a:gd name="T7" fmla="*/ 29 h 251"/>
              <a:gd name="T8" fmla="*/ 255 w 542"/>
              <a:gd name="T9" fmla="*/ 51 h 251"/>
              <a:gd name="T10" fmla="*/ 280 w 542"/>
              <a:gd name="T11" fmla="*/ 51 h 251"/>
              <a:gd name="T12" fmla="*/ 298 w 542"/>
              <a:gd name="T13" fmla="*/ 18 h 251"/>
              <a:gd name="T14" fmla="*/ 335 w 542"/>
              <a:gd name="T15" fmla="*/ 15 h 251"/>
              <a:gd name="T16" fmla="*/ 356 w 542"/>
              <a:gd name="T17" fmla="*/ 38 h 251"/>
              <a:gd name="T18" fmla="*/ 365 w 542"/>
              <a:gd name="T19" fmla="*/ 7 h 251"/>
              <a:gd name="T20" fmla="*/ 398 w 542"/>
              <a:gd name="T21" fmla="*/ 0 h 251"/>
              <a:gd name="T22" fmla="*/ 450 w 542"/>
              <a:gd name="T23" fmla="*/ 9 h 251"/>
              <a:gd name="T24" fmla="*/ 454 w 542"/>
              <a:gd name="T25" fmla="*/ 26 h 251"/>
              <a:gd name="T26" fmla="*/ 497 w 542"/>
              <a:gd name="T27" fmla="*/ 38 h 251"/>
              <a:gd name="T28" fmla="*/ 499 w 542"/>
              <a:gd name="T29" fmla="*/ 71 h 251"/>
              <a:gd name="T30" fmla="*/ 488 w 542"/>
              <a:gd name="T31" fmla="*/ 107 h 251"/>
              <a:gd name="T32" fmla="*/ 542 w 542"/>
              <a:gd name="T33" fmla="*/ 138 h 251"/>
              <a:gd name="T34" fmla="*/ 530 w 542"/>
              <a:gd name="T35" fmla="*/ 152 h 251"/>
              <a:gd name="T36" fmla="*/ 506 w 542"/>
              <a:gd name="T37" fmla="*/ 148 h 251"/>
              <a:gd name="T38" fmla="*/ 485 w 542"/>
              <a:gd name="T39" fmla="*/ 139 h 251"/>
              <a:gd name="T40" fmla="*/ 472 w 542"/>
              <a:gd name="T41" fmla="*/ 121 h 251"/>
              <a:gd name="T42" fmla="*/ 434 w 542"/>
              <a:gd name="T43" fmla="*/ 141 h 251"/>
              <a:gd name="T44" fmla="*/ 356 w 542"/>
              <a:gd name="T45" fmla="*/ 125 h 251"/>
              <a:gd name="T46" fmla="*/ 318 w 542"/>
              <a:gd name="T47" fmla="*/ 152 h 251"/>
              <a:gd name="T48" fmla="*/ 302 w 542"/>
              <a:gd name="T49" fmla="*/ 170 h 251"/>
              <a:gd name="T50" fmla="*/ 282 w 542"/>
              <a:gd name="T51" fmla="*/ 186 h 251"/>
              <a:gd name="T52" fmla="*/ 242 w 542"/>
              <a:gd name="T53" fmla="*/ 170 h 251"/>
              <a:gd name="T54" fmla="*/ 230 w 542"/>
              <a:gd name="T55" fmla="*/ 197 h 251"/>
              <a:gd name="T56" fmla="*/ 183 w 542"/>
              <a:gd name="T57" fmla="*/ 199 h 251"/>
              <a:gd name="T58" fmla="*/ 172 w 542"/>
              <a:gd name="T59" fmla="*/ 221 h 251"/>
              <a:gd name="T60" fmla="*/ 185 w 542"/>
              <a:gd name="T61" fmla="*/ 235 h 251"/>
              <a:gd name="T62" fmla="*/ 129 w 542"/>
              <a:gd name="T63" fmla="*/ 248 h 251"/>
              <a:gd name="T64" fmla="*/ 82 w 542"/>
              <a:gd name="T65" fmla="*/ 251 h 251"/>
              <a:gd name="T66" fmla="*/ 49 w 542"/>
              <a:gd name="T67" fmla="*/ 213 h 251"/>
              <a:gd name="T68" fmla="*/ 29 w 542"/>
              <a:gd name="T69" fmla="*/ 208 h 251"/>
              <a:gd name="T70" fmla="*/ 0 w 542"/>
              <a:gd name="T71" fmla="*/ 185 h 251"/>
              <a:gd name="T72" fmla="*/ 6 w 542"/>
              <a:gd name="T73" fmla="*/ 138 h 251"/>
              <a:gd name="T74" fmla="*/ 60 w 542"/>
              <a:gd name="T75" fmla="*/ 121 h 251"/>
              <a:gd name="T76" fmla="*/ 94 w 542"/>
              <a:gd name="T77" fmla="*/ 94 h 251"/>
              <a:gd name="T78" fmla="*/ 132 w 542"/>
              <a:gd name="T79" fmla="*/ 42 h 251"/>
              <a:gd name="T80" fmla="*/ 168 w 542"/>
              <a:gd name="T81" fmla="*/ 24 h 2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42" h="251">
                <a:moveTo>
                  <a:pt x="168" y="24"/>
                </a:moveTo>
                <a:lnTo>
                  <a:pt x="192" y="45"/>
                </a:lnTo>
                <a:lnTo>
                  <a:pt x="217" y="7"/>
                </a:lnTo>
                <a:lnTo>
                  <a:pt x="252" y="29"/>
                </a:lnTo>
                <a:lnTo>
                  <a:pt x="255" y="51"/>
                </a:lnTo>
                <a:lnTo>
                  <a:pt x="280" y="51"/>
                </a:lnTo>
                <a:lnTo>
                  <a:pt x="298" y="18"/>
                </a:lnTo>
                <a:lnTo>
                  <a:pt x="335" y="15"/>
                </a:lnTo>
                <a:lnTo>
                  <a:pt x="356" y="38"/>
                </a:lnTo>
                <a:lnTo>
                  <a:pt x="365" y="7"/>
                </a:lnTo>
                <a:lnTo>
                  <a:pt x="398" y="0"/>
                </a:lnTo>
                <a:lnTo>
                  <a:pt x="450" y="9"/>
                </a:lnTo>
                <a:lnTo>
                  <a:pt x="454" y="26"/>
                </a:lnTo>
                <a:lnTo>
                  <a:pt x="497" y="38"/>
                </a:lnTo>
                <a:lnTo>
                  <a:pt x="499" y="71"/>
                </a:lnTo>
                <a:lnTo>
                  <a:pt x="488" y="107"/>
                </a:lnTo>
                <a:lnTo>
                  <a:pt x="542" y="138"/>
                </a:lnTo>
                <a:lnTo>
                  <a:pt x="530" y="152"/>
                </a:lnTo>
                <a:lnTo>
                  <a:pt x="506" y="148"/>
                </a:lnTo>
                <a:lnTo>
                  <a:pt x="485" y="139"/>
                </a:lnTo>
                <a:lnTo>
                  <a:pt x="472" y="121"/>
                </a:lnTo>
                <a:lnTo>
                  <a:pt x="434" y="141"/>
                </a:lnTo>
                <a:lnTo>
                  <a:pt x="356" y="125"/>
                </a:lnTo>
                <a:lnTo>
                  <a:pt x="318" y="152"/>
                </a:lnTo>
                <a:lnTo>
                  <a:pt x="302" y="170"/>
                </a:lnTo>
                <a:lnTo>
                  <a:pt x="282" y="186"/>
                </a:lnTo>
                <a:lnTo>
                  <a:pt x="242" y="170"/>
                </a:lnTo>
                <a:lnTo>
                  <a:pt x="230" y="197"/>
                </a:lnTo>
                <a:lnTo>
                  <a:pt x="183" y="199"/>
                </a:lnTo>
                <a:lnTo>
                  <a:pt x="172" y="221"/>
                </a:lnTo>
                <a:lnTo>
                  <a:pt x="185" y="235"/>
                </a:lnTo>
                <a:lnTo>
                  <a:pt x="129" y="248"/>
                </a:lnTo>
                <a:lnTo>
                  <a:pt x="82" y="251"/>
                </a:lnTo>
                <a:lnTo>
                  <a:pt x="49" y="213"/>
                </a:lnTo>
                <a:lnTo>
                  <a:pt x="29" y="208"/>
                </a:lnTo>
                <a:lnTo>
                  <a:pt x="0" y="185"/>
                </a:lnTo>
                <a:lnTo>
                  <a:pt x="6" y="138"/>
                </a:lnTo>
                <a:lnTo>
                  <a:pt x="60" y="121"/>
                </a:lnTo>
                <a:lnTo>
                  <a:pt x="94" y="94"/>
                </a:lnTo>
                <a:lnTo>
                  <a:pt x="132" y="42"/>
                </a:lnTo>
                <a:lnTo>
                  <a:pt x="168" y="24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9" name="Hungary"/>
          <p:cNvSpPr>
            <a:spLocks/>
          </p:cNvSpPr>
          <p:nvPr/>
        </p:nvSpPr>
        <p:spPr bwMode="auto">
          <a:xfrm>
            <a:off x="9782701" y="4437063"/>
            <a:ext cx="955675" cy="587375"/>
          </a:xfrm>
          <a:custGeom>
            <a:avLst/>
            <a:gdLst>
              <a:gd name="T0" fmla="*/ 83 w 602"/>
              <a:gd name="T1" fmla="*/ 94 h 370"/>
              <a:gd name="T2" fmla="*/ 103 w 602"/>
              <a:gd name="T3" fmla="*/ 99 h 370"/>
              <a:gd name="T4" fmla="*/ 136 w 602"/>
              <a:gd name="T5" fmla="*/ 137 h 370"/>
              <a:gd name="T6" fmla="*/ 183 w 602"/>
              <a:gd name="T7" fmla="*/ 134 h 370"/>
              <a:gd name="T8" fmla="*/ 239 w 602"/>
              <a:gd name="T9" fmla="*/ 121 h 370"/>
              <a:gd name="T10" fmla="*/ 226 w 602"/>
              <a:gd name="T11" fmla="*/ 107 h 370"/>
              <a:gd name="T12" fmla="*/ 237 w 602"/>
              <a:gd name="T13" fmla="*/ 85 h 370"/>
              <a:gd name="T14" fmla="*/ 284 w 602"/>
              <a:gd name="T15" fmla="*/ 83 h 370"/>
              <a:gd name="T16" fmla="*/ 296 w 602"/>
              <a:gd name="T17" fmla="*/ 56 h 370"/>
              <a:gd name="T18" fmla="*/ 336 w 602"/>
              <a:gd name="T19" fmla="*/ 72 h 370"/>
              <a:gd name="T20" fmla="*/ 356 w 602"/>
              <a:gd name="T21" fmla="*/ 56 h 370"/>
              <a:gd name="T22" fmla="*/ 372 w 602"/>
              <a:gd name="T23" fmla="*/ 38 h 370"/>
              <a:gd name="T24" fmla="*/ 410 w 602"/>
              <a:gd name="T25" fmla="*/ 11 h 370"/>
              <a:gd name="T26" fmla="*/ 488 w 602"/>
              <a:gd name="T27" fmla="*/ 27 h 370"/>
              <a:gd name="T28" fmla="*/ 526 w 602"/>
              <a:gd name="T29" fmla="*/ 7 h 370"/>
              <a:gd name="T30" fmla="*/ 539 w 602"/>
              <a:gd name="T31" fmla="*/ 25 h 370"/>
              <a:gd name="T32" fmla="*/ 555 w 602"/>
              <a:gd name="T33" fmla="*/ 0 h 370"/>
              <a:gd name="T34" fmla="*/ 577 w 602"/>
              <a:gd name="T35" fmla="*/ 13 h 370"/>
              <a:gd name="T36" fmla="*/ 596 w 602"/>
              <a:gd name="T37" fmla="*/ 24 h 370"/>
              <a:gd name="T38" fmla="*/ 602 w 602"/>
              <a:gd name="T39" fmla="*/ 31 h 370"/>
              <a:gd name="T40" fmla="*/ 596 w 602"/>
              <a:gd name="T41" fmla="*/ 42 h 370"/>
              <a:gd name="T42" fmla="*/ 602 w 602"/>
              <a:gd name="T43" fmla="*/ 60 h 370"/>
              <a:gd name="T44" fmla="*/ 593 w 602"/>
              <a:gd name="T45" fmla="*/ 78 h 370"/>
              <a:gd name="T46" fmla="*/ 557 w 602"/>
              <a:gd name="T47" fmla="*/ 81 h 370"/>
              <a:gd name="T48" fmla="*/ 531 w 602"/>
              <a:gd name="T49" fmla="*/ 110 h 370"/>
              <a:gd name="T50" fmla="*/ 528 w 602"/>
              <a:gd name="T51" fmla="*/ 145 h 370"/>
              <a:gd name="T52" fmla="*/ 504 w 602"/>
              <a:gd name="T53" fmla="*/ 188 h 370"/>
              <a:gd name="T54" fmla="*/ 501 w 602"/>
              <a:gd name="T55" fmla="*/ 226 h 370"/>
              <a:gd name="T56" fmla="*/ 475 w 602"/>
              <a:gd name="T57" fmla="*/ 273 h 370"/>
              <a:gd name="T58" fmla="*/ 439 w 602"/>
              <a:gd name="T59" fmla="*/ 282 h 370"/>
              <a:gd name="T60" fmla="*/ 407 w 602"/>
              <a:gd name="T61" fmla="*/ 304 h 370"/>
              <a:gd name="T62" fmla="*/ 342 w 602"/>
              <a:gd name="T63" fmla="*/ 304 h 370"/>
              <a:gd name="T64" fmla="*/ 302 w 602"/>
              <a:gd name="T65" fmla="*/ 340 h 370"/>
              <a:gd name="T66" fmla="*/ 268 w 602"/>
              <a:gd name="T67" fmla="*/ 347 h 370"/>
              <a:gd name="T68" fmla="*/ 233 w 602"/>
              <a:gd name="T69" fmla="*/ 370 h 370"/>
              <a:gd name="T70" fmla="*/ 172 w 602"/>
              <a:gd name="T71" fmla="*/ 367 h 370"/>
              <a:gd name="T72" fmla="*/ 148 w 602"/>
              <a:gd name="T73" fmla="*/ 354 h 370"/>
              <a:gd name="T74" fmla="*/ 119 w 602"/>
              <a:gd name="T75" fmla="*/ 363 h 370"/>
              <a:gd name="T76" fmla="*/ 0 w 602"/>
              <a:gd name="T77" fmla="*/ 269 h 370"/>
              <a:gd name="T78" fmla="*/ 38 w 602"/>
              <a:gd name="T79" fmla="*/ 226 h 370"/>
              <a:gd name="T80" fmla="*/ 18 w 602"/>
              <a:gd name="T81" fmla="*/ 206 h 370"/>
              <a:gd name="T82" fmla="*/ 31 w 602"/>
              <a:gd name="T83" fmla="*/ 177 h 370"/>
              <a:gd name="T84" fmla="*/ 16 w 602"/>
              <a:gd name="T85" fmla="*/ 152 h 370"/>
              <a:gd name="T86" fmla="*/ 83 w 602"/>
              <a:gd name="T87" fmla="*/ 148 h 370"/>
              <a:gd name="T88" fmla="*/ 83 w 602"/>
              <a:gd name="T89" fmla="*/ 94 h 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602" h="370">
                <a:moveTo>
                  <a:pt x="83" y="94"/>
                </a:moveTo>
                <a:lnTo>
                  <a:pt x="103" y="99"/>
                </a:lnTo>
                <a:lnTo>
                  <a:pt x="136" y="137"/>
                </a:lnTo>
                <a:lnTo>
                  <a:pt x="183" y="134"/>
                </a:lnTo>
                <a:lnTo>
                  <a:pt x="239" y="121"/>
                </a:lnTo>
                <a:lnTo>
                  <a:pt x="226" y="107"/>
                </a:lnTo>
                <a:lnTo>
                  <a:pt x="237" y="85"/>
                </a:lnTo>
                <a:lnTo>
                  <a:pt x="284" y="83"/>
                </a:lnTo>
                <a:lnTo>
                  <a:pt x="296" y="56"/>
                </a:lnTo>
                <a:lnTo>
                  <a:pt x="336" y="72"/>
                </a:lnTo>
                <a:lnTo>
                  <a:pt x="356" y="56"/>
                </a:lnTo>
                <a:lnTo>
                  <a:pt x="372" y="38"/>
                </a:lnTo>
                <a:lnTo>
                  <a:pt x="410" y="11"/>
                </a:lnTo>
                <a:lnTo>
                  <a:pt x="488" y="27"/>
                </a:lnTo>
                <a:lnTo>
                  <a:pt x="526" y="7"/>
                </a:lnTo>
                <a:lnTo>
                  <a:pt x="539" y="25"/>
                </a:lnTo>
                <a:lnTo>
                  <a:pt x="555" y="0"/>
                </a:lnTo>
                <a:lnTo>
                  <a:pt x="577" y="13"/>
                </a:lnTo>
                <a:lnTo>
                  <a:pt x="596" y="24"/>
                </a:lnTo>
                <a:lnTo>
                  <a:pt x="602" y="31"/>
                </a:lnTo>
                <a:lnTo>
                  <a:pt x="596" y="42"/>
                </a:lnTo>
                <a:lnTo>
                  <a:pt x="602" y="60"/>
                </a:lnTo>
                <a:lnTo>
                  <a:pt x="593" y="78"/>
                </a:lnTo>
                <a:lnTo>
                  <a:pt x="557" y="81"/>
                </a:lnTo>
                <a:lnTo>
                  <a:pt x="531" y="110"/>
                </a:lnTo>
                <a:lnTo>
                  <a:pt x="528" y="145"/>
                </a:lnTo>
                <a:lnTo>
                  <a:pt x="504" y="188"/>
                </a:lnTo>
                <a:lnTo>
                  <a:pt x="501" y="226"/>
                </a:lnTo>
                <a:lnTo>
                  <a:pt x="475" y="273"/>
                </a:lnTo>
                <a:lnTo>
                  <a:pt x="439" y="282"/>
                </a:lnTo>
                <a:lnTo>
                  <a:pt x="407" y="304"/>
                </a:lnTo>
                <a:lnTo>
                  <a:pt x="342" y="304"/>
                </a:lnTo>
                <a:lnTo>
                  <a:pt x="302" y="340"/>
                </a:lnTo>
                <a:lnTo>
                  <a:pt x="268" y="347"/>
                </a:lnTo>
                <a:lnTo>
                  <a:pt x="233" y="370"/>
                </a:lnTo>
                <a:lnTo>
                  <a:pt x="172" y="367"/>
                </a:lnTo>
                <a:lnTo>
                  <a:pt x="148" y="354"/>
                </a:lnTo>
                <a:lnTo>
                  <a:pt x="119" y="363"/>
                </a:lnTo>
                <a:lnTo>
                  <a:pt x="0" y="269"/>
                </a:lnTo>
                <a:lnTo>
                  <a:pt x="38" y="226"/>
                </a:lnTo>
                <a:lnTo>
                  <a:pt x="18" y="206"/>
                </a:lnTo>
                <a:lnTo>
                  <a:pt x="31" y="177"/>
                </a:lnTo>
                <a:lnTo>
                  <a:pt x="16" y="152"/>
                </a:lnTo>
                <a:lnTo>
                  <a:pt x="83" y="148"/>
                </a:lnTo>
                <a:lnTo>
                  <a:pt x="83" y="94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0" name="Belarus"/>
          <p:cNvSpPr>
            <a:spLocks/>
          </p:cNvSpPr>
          <p:nvPr/>
        </p:nvSpPr>
        <p:spPr bwMode="auto">
          <a:xfrm>
            <a:off x="10609788" y="2808288"/>
            <a:ext cx="1169988" cy="984250"/>
          </a:xfrm>
          <a:custGeom>
            <a:avLst/>
            <a:gdLst>
              <a:gd name="T0" fmla="*/ 379 w 408"/>
              <a:gd name="T1" fmla="*/ 226 h 343"/>
              <a:gd name="T2" fmla="*/ 361 w 408"/>
              <a:gd name="T3" fmla="*/ 230 h 343"/>
              <a:gd name="T4" fmla="*/ 352 w 408"/>
              <a:gd name="T5" fmla="*/ 274 h 343"/>
              <a:gd name="T6" fmla="*/ 362 w 408"/>
              <a:gd name="T7" fmla="*/ 296 h 343"/>
              <a:gd name="T8" fmla="*/ 342 w 408"/>
              <a:gd name="T9" fmla="*/ 282 h 343"/>
              <a:gd name="T10" fmla="*/ 324 w 408"/>
              <a:gd name="T11" fmla="*/ 291 h 343"/>
              <a:gd name="T12" fmla="*/ 287 w 408"/>
              <a:gd name="T13" fmla="*/ 288 h 343"/>
              <a:gd name="T14" fmla="*/ 265 w 408"/>
              <a:gd name="T15" fmla="*/ 294 h 343"/>
              <a:gd name="T16" fmla="*/ 208 w 408"/>
              <a:gd name="T17" fmla="*/ 309 h 343"/>
              <a:gd name="T18" fmla="*/ 151 w 408"/>
              <a:gd name="T19" fmla="*/ 303 h 343"/>
              <a:gd name="T20" fmla="*/ 119 w 408"/>
              <a:gd name="T21" fmla="*/ 304 h 343"/>
              <a:gd name="T22" fmla="*/ 82 w 408"/>
              <a:gd name="T23" fmla="*/ 315 h 343"/>
              <a:gd name="T24" fmla="*/ 55 w 408"/>
              <a:gd name="T25" fmla="*/ 338 h 343"/>
              <a:gd name="T26" fmla="*/ 33 w 408"/>
              <a:gd name="T27" fmla="*/ 318 h 343"/>
              <a:gd name="T28" fmla="*/ 6 w 408"/>
              <a:gd name="T29" fmla="*/ 312 h 343"/>
              <a:gd name="T30" fmla="*/ 12 w 408"/>
              <a:gd name="T31" fmla="*/ 260 h 343"/>
              <a:gd name="T32" fmla="*/ 1 w 408"/>
              <a:gd name="T33" fmla="*/ 209 h 343"/>
              <a:gd name="T34" fmla="*/ 24 w 408"/>
              <a:gd name="T35" fmla="*/ 186 h 343"/>
              <a:gd name="T36" fmla="*/ 54 w 408"/>
              <a:gd name="T37" fmla="*/ 174 h 343"/>
              <a:gd name="T38" fmla="*/ 71 w 408"/>
              <a:gd name="T39" fmla="*/ 157 h 343"/>
              <a:gd name="T40" fmla="*/ 92 w 408"/>
              <a:gd name="T41" fmla="*/ 164 h 343"/>
              <a:gd name="T42" fmla="*/ 86 w 408"/>
              <a:gd name="T43" fmla="*/ 107 h 343"/>
              <a:gd name="T44" fmla="*/ 96 w 408"/>
              <a:gd name="T45" fmla="*/ 89 h 343"/>
              <a:gd name="T46" fmla="*/ 115 w 408"/>
              <a:gd name="T47" fmla="*/ 74 h 343"/>
              <a:gd name="T48" fmla="*/ 103 w 408"/>
              <a:gd name="T49" fmla="*/ 52 h 343"/>
              <a:gd name="T50" fmla="*/ 127 w 408"/>
              <a:gd name="T51" fmla="*/ 40 h 343"/>
              <a:gd name="T52" fmla="*/ 143 w 408"/>
              <a:gd name="T53" fmla="*/ 19 h 343"/>
              <a:gd name="T54" fmla="*/ 177 w 408"/>
              <a:gd name="T55" fmla="*/ 0 h 343"/>
              <a:gd name="T56" fmla="*/ 218 w 408"/>
              <a:gd name="T57" fmla="*/ 24 h 343"/>
              <a:gd name="T58" fmla="*/ 282 w 408"/>
              <a:gd name="T59" fmla="*/ 13 h 343"/>
              <a:gd name="T60" fmla="*/ 290 w 408"/>
              <a:gd name="T61" fmla="*/ 61 h 343"/>
              <a:gd name="T62" fmla="*/ 314 w 408"/>
              <a:gd name="T63" fmla="*/ 76 h 343"/>
              <a:gd name="T64" fmla="*/ 358 w 408"/>
              <a:gd name="T65" fmla="*/ 97 h 343"/>
              <a:gd name="T66" fmla="*/ 387 w 408"/>
              <a:gd name="T67" fmla="*/ 109 h 343"/>
              <a:gd name="T68" fmla="*/ 401 w 408"/>
              <a:gd name="T69" fmla="*/ 161 h 343"/>
              <a:gd name="T70" fmla="*/ 353 w 408"/>
              <a:gd name="T71" fmla="*/ 169 h 343"/>
              <a:gd name="T72" fmla="*/ 375 w 408"/>
              <a:gd name="T73" fmla="*/ 200 h 343"/>
              <a:gd name="T74" fmla="*/ 393 w 408"/>
              <a:gd name="T75" fmla="*/ 226 h 3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08" h="343">
                <a:moveTo>
                  <a:pt x="393" y="226"/>
                </a:moveTo>
                <a:cubicBezTo>
                  <a:pt x="379" y="226"/>
                  <a:pt x="379" y="226"/>
                  <a:pt x="379" y="226"/>
                </a:cubicBezTo>
                <a:cubicBezTo>
                  <a:pt x="374" y="234"/>
                  <a:pt x="374" y="234"/>
                  <a:pt x="374" y="234"/>
                </a:cubicBezTo>
                <a:cubicBezTo>
                  <a:pt x="361" y="230"/>
                  <a:pt x="361" y="230"/>
                  <a:pt x="361" y="230"/>
                </a:cubicBezTo>
                <a:cubicBezTo>
                  <a:pt x="356" y="250"/>
                  <a:pt x="356" y="250"/>
                  <a:pt x="356" y="250"/>
                </a:cubicBezTo>
                <a:cubicBezTo>
                  <a:pt x="352" y="274"/>
                  <a:pt x="352" y="274"/>
                  <a:pt x="352" y="274"/>
                </a:cubicBezTo>
                <a:cubicBezTo>
                  <a:pt x="365" y="287"/>
                  <a:pt x="365" y="287"/>
                  <a:pt x="365" y="287"/>
                </a:cubicBezTo>
                <a:cubicBezTo>
                  <a:pt x="362" y="296"/>
                  <a:pt x="362" y="296"/>
                  <a:pt x="362" y="296"/>
                </a:cubicBezTo>
                <a:cubicBezTo>
                  <a:pt x="352" y="296"/>
                  <a:pt x="352" y="296"/>
                  <a:pt x="352" y="296"/>
                </a:cubicBezTo>
                <a:cubicBezTo>
                  <a:pt x="342" y="282"/>
                  <a:pt x="342" y="282"/>
                  <a:pt x="342" y="282"/>
                </a:cubicBezTo>
                <a:cubicBezTo>
                  <a:pt x="328" y="281"/>
                  <a:pt x="328" y="281"/>
                  <a:pt x="328" y="281"/>
                </a:cubicBezTo>
                <a:cubicBezTo>
                  <a:pt x="324" y="291"/>
                  <a:pt x="324" y="291"/>
                  <a:pt x="324" y="291"/>
                </a:cubicBezTo>
                <a:cubicBezTo>
                  <a:pt x="305" y="300"/>
                  <a:pt x="305" y="300"/>
                  <a:pt x="305" y="300"/>
                </a:cubicBezTo>
                <a:cubicBezTo>
                  <a:pt x="287" y="288"/>
                  <a:pt x="287" y="288"/>
                  <a:pt x="287" y="288"/>
                </a:cubicBezTo>
                <a:cubicBezTo>
                  <a:pt x="278" y="303"/>
                  <a:pt x="278" y="303"/>
                  <a:pt x="278" y="303"/>
                </a:cubicBezTo>
                <a:cubicBezTo>
                  <a:pt x="265" y="294"/>
                  <a:pt x="265" y="294"/>
                  <a:pt x="265" y="294"/>
                </a:cubicBezTo>
                <a:cubicBezTo>
                  <a:pt x="250" y="303"/>
                  <a:pt x="250" y="303"/>
                  <a:pt x="250" y="303"/>
                </a:cubicBezTo>
                <a:cubicBezTo>
                  <a:pt x="208" y="309"/>
                  <a:pt x="208" y="309"/>
                  <a:pt x="208" y="309"/>
                </a:cubicBezTo>
                <a:cubicBezTo>
                  <a:pt x="208" y="309"/>
                  <a:pt x="204" y="296"/>
                  <a:pt x="195" y="296"/>
                </a:cubicBezTo>
                <a:cubicBezTo>
                  <a:pt x="187" y="297"/>
                  <a:pt x="151" y="303"/>
                  <a:pt x="151" y="303"/>
                </a:cubicBezTo>
                <a:cubicBezTo>
                  <a:pt x="144" y="292"/>
                  <a:pt x="144" y="292"/>
                  <a:pt x="144" y="292"/>
                </a:cubicBezTo>
                <a:cubicBezTo>
                  <a:pt x="119" y="304"/>
                  <a:pt x="119" y="304"/>
                  <a:pt x="119" y="304"/>
                </a:cubicBezTo>
                <a:cubicBezTo>
                  <a:pt x="95" y="303"/>
                  <a:pt x="95" y="303"/>
                  <a:pt x="95" y="303"/>
                </a:cubicBezTo>
                <a:cubicBezTo>
                  <a:pt x="82" y="315"/>
                  <a:pt x="82" y="315"/>
                  <a:pt x="82" y="315"/>
                </a:cubicBezTo>
                <a:cubicBezTo>
                  <a:pt x="70" y="315"/>
                  <a:pt x="70" y="315"/>
                  <a:pt x="70" y="315"/>
                </a:cubicBezTo>
                <a:cubicBezTo>
                  <a:pt x="55" y="338"/>
                  <a:pt x="55" y="338"/>
                  <a:pt x="55" y="338"/>
                </a:cubicBezTo>
                <a:cubicBezTo>
                  <a:pt x="28" y="343"/>
                  <a:pt x="28" y="343"/>
                  <a:pt x="28" y="343"/>
                </a:cubicBezTo>
                <a:cubicBezTo>
                  <a:pt x="33" y="318"/>
                  <a:pt x="33" y="318"/>
                  <a:pt x="33" y="318"/>
                </a:cubicBezTo>
                <a:cubicBezTo>
                  <a:pt x="19" y="307"/>
                  <a:pt x="19" y="307"/>
                  <a:pt x="19" y="307"/>
                </a:cubicBezTo>
                <a:cubicBezTo>
                  <a:pt x="6" y="312"/>
                  <a:pt x="6" y="312"/>
                  <a:pt x="6" y="312"/>
                </a:cubicBezTo>
                <a:cubicBezTo>
                  <a:pt x="1" y="303"/>
                  <a:pt x="1" y="303"/>
                  <a:pt x="1" y="303"/>
                </a:cubicBezTo>
                <a:cubicBezTo>
                  <a:pt x="12" y="260"/>
                  <a:pt x="12" y="260"/>
                  <a:pt x="12" y="260"/>
                </a:cubicBezTo>
                <a:cubicBezTo>
                  <a:pt x="18" y="238"/>
                  <a:pt x="18" y="238"/>
                  <a:pt x="18" y="238"/>
                </a:cubicBezTo>
                <a:cubicBezTo>
                  <a:pt x="1" y="209"/>
                  <a:pt x="1" y="209"/>
                  <a:pt x="1" y="209"/>
                </a:cubicBezTo>
                <a:cubicBezTo>
                  <a:pt x="0" y="200"/>
                  <a:pt x="0" y="200"/>
                  <a:pt x="0" y="200"/>
                </a:cubicBezTo>
                <a:cubicBezTo>
                  <a:pt x="24" y="186"/>
                  <a:pt x="24" y="186"/>
                  <a:pt x="24" y="186"/>
                </a:cubicBezTo>
                <a:cubicBezTo>
                  <a:pt x="38" y="194"/>
                  <a:pt x="38" y="194"/>
                  <a:pt x="38" y="194"/>
                </a:cubicBezTo>
                <a:cubicBezTo>
                  <a:pt x="54" y="174"/>
                  <a:pt x="54" y="174"/>
                  <a:pt x="54" y="174"/>
                </a:cubicBezTo>
                <a:cubicBezTo>
                  <a:pt x="71" y="164"/>
                  <a:pt x="71" y="164"/>
                  <a:pt x="71" y="164"/>
                </a:cubicBezTo>
                <a:cubicBezTo>
                  <a:pt x="71" y="157"/>
                  <a:pt x="71" y="157"/>
                  <a:pt x="71" y="157"/>
                </a:cubicBezTo>
                <a:cubicBezTo>
                  <a:pt x="83" y="157"/>
                  <a:pt x="83" y="157"/>
                  <a:pt x="83" y="157"/>
                </a:cubicBezTo>
                <a:cubicBezTo>
                  <a:pt x="92" y="164"/>
                  <a:pt x="92" y="164"/>
                  <a:pt x="92" y="164"/>
                </a:cubicBezTo>
                <a:cubicBezTo>
                  <a:pt x="76" y="119"/>
                  <a:pt x="76" y="119"/>
                  <a:pt x="76" y="119"/>
                </a:cubicBezTo>
                <a:cubicBezTo>
                  <a:pt x="86" y="107"/>
                  <a:pt x="86" y="107"/>
                  <a:pt x="86" y="107"/>
                </a:cubicBezTo>
                <a:cubicBezTo>
                  <a:pt x="96" y="107"/>
                  <a:pt x="96" y="107"/>
                  <a:pt x="96" y="107"/>
                </a:cubicBezTo>
                <a:cubicBezTo>
                  <a:pt x="96" y="89"/>
                  <a:pt x="96" y="89"/>
                  <a:pt x="96" y="89"/>
                </a:cubicBezTo>
                <a:cubicBezTo>
                  <a:pt x="119" y="89"/>
                  <a:pt x="119" y="89"/>
                  <a:pt x="119" y="89"/>
                </a:cubicBezTo>
                <a:cubicBezTo>
                  <a:pt x="115" y="74"/>
                  <a:pt x="115" y="74"/>
                  <a:pt x="115" y="74"/>
                </a:cubicBezTo>
                <a:cubicBezTo>
                  <a:pt x="103" y="68"/>
                  <a:pt x="103" y="68"/>
                  <a:pt x="103" y="68"/>
                </a:cubicBezTo>
                <a:cubicBezTo>
                  <a:pt x="103" y="52"/>
                  <a:pt x="103" y="52"/>
                  <a:pt x="103" y="52"/>
                </a:cubicBezTo>
                <a:cubicBezTo>
                  <a:pt x="113" y="45"/>
                  <a:pt x="113" y="45"/>
                  <a:pt x="113" y="45"/>
                </a:cubicBezTo>
                <a:cubicBezTo>
                  <a:pt x="127" y="40"/>
                  <a:pt x="127" y="40"/>
                  <a:pt x="127" y="40"/>
                </a:cubicBezTo>
                <a:cubicBezTo>
                  <a:pt x="139" y="40"/>
                  <a:pt x="139" y="40"/>
                  <a:pt x="139" y="40"/>
                </a:cubicBezTo>
                <a:cubicBezTo>
                  <a:pt x="143" y="19"/>
                  <a:pt x="143" y="19"/>
                  <a:pt x="143" y="19"/>
                </a:cubicBezTo>
                <a:cubicBezTo>
                  <a:pt x="159" y="3"/>
                  <a:pt x="159" y="3"/>
                  <a:pt x="159" y="3"/>
                </a:cubicBezTo>
                <a:cubicBezTo>
                  <a:pt x="177" y="0"/>
                  <a:pt x="177" y="0"/>
                  <a:pt x="177" y="0"/>
                </a:cubicBezTo>
                <a:cubicBezTo>
                  <a:pt x="209" y="0"/>
                  <a:pt x="209" y="0"/>
                  <a:pt x="209" y="0"/>
                </a:cubicBezTo>
                <a:cubicBezTo>
                  <a:pt x="218" y="24"/>
                  <a:pt x="218" y="24"/>
                  <a:pt x="218" y="24"/>
                </a:cubicBezTo>
                <a:cubicBezTo>
                  <a:pt x="245" y="0"/>
                  <a:pt x="245" y="0"/>
                  <a:pt x="245" y="0"/>
                </a:cubicBezTo>
                <a:cubicBezTo>
                  <a:pt x="282" y="13"/>
                  <a:pt x="282" y="13"/>
                  <a:pt x="282" y="13"/>
                </a:cubicBezTo>
                <a:cubicBezTo>
                  <a:pt x="290" y="39"/>
                  <a:pt x="290" y="39"/>
                  <a:pt x="290" y="39"/>
                </a:cubicBezTo>
                <a:cubicBezTo>
                  <a:pt x="290" y="61"/>
                  <a:pt x="290" y="61"/>
                  <a:pt x="290" y="61"/>
                </a:cubicBezTo>
                <a:cubicBezTo>
                  <a:pt x="307" y="63"/>
                  <a:pt x="307" y="63"/>
                  <a:pt x="307" y="63"/>
                </a:cubicBezTo>
                <a:cubicBezTo>
                  <a:pt x="314" y="76"/>
                  <a:pt x="314" y="76"/>
                  <a:pt x="314" y="76"/>
                </a:cubicBezTo>
                <a:cubicBezTo>
                  <a:pt x="334" y="92"/>
                  <a:pt x="334" y="92"/>
                  <a:pt x="334" y="92"/>
                </a:cubicBezTo>
                <a:cubicBezTo>
                  <a:pt x="358" y="97"/>
                  <a:pt x="358" y="97"/>
                  <a:pt x="358" y="97"/>
                </a:cubicBezTo>
                <a:cubicBezTo>
                  <a:pt x="359" y="113"/>
                  <a:pt x="359" y="113"/>
                  <a:pt x="359" y="113"/>
                </a:cubicBezTo>
                <a:cubicBezTo>
                  <a:pt x="387" y="109"/>
                  <a:pt x="387" y="109"/>
                  <a:pt x="387" y="109"/>
                </a:cubicBezTo>
                <a:cubicBezTo>
                  <a:pt x="408" y="130"/>
                  <a:pt x="408" y="130"/>
                  <a:pt x="408" y="130"/>
                </a:cubicBezTo>
                <a:cubicBezTo>
                  <a:pt x="401" y="161"/>
                  <a:pt x="401" y="161"/>
                  <a:pt x="401" y="161"/>
                </a:cubicBezTo>
                <a:cubicBezTo>
                  <a:pt x="358" y="159"/>
                  <a:pt x="358" y="159"/>
                  <a:pt x="358" y="159"/>
                </a:cubicBezTo>
                <a:cubicBezTo>
                  <a:pt x="353" y="169"/>
                  <a:pt x="353" y="169"/>
                  <a:pt x="353" y="169"/>
                </a:cubicBezTo>
                <a:cubicBezTo>
                  <a:pt x="372" y="180"/>
                  <a:pt x="372" y="180"/>
                  <a:pt x="372" y="180"/>
                </a:cubicBezTo>
                <a:cubicBezTo>
                  <a:pt x="375" y="200"/>
                  <a:pt x="375" y="200"/>
                  <a:pt x="375" y="200"/>
                </a:cubicBezTo>
                <a:cubicBezTo>
                  <a:pt x="393" y="226"/>
                  <a:pt x="393" y="226"/>
                  <a:pt x="393" y="226"/>
                </a:cubicBezTo>
                <a:cubicBezTo>
                  <a:pt x="393" y="226"/>
                  <a:pt x="393" y="226"/>
                  <a:pt x="393" y="226"/>
                </a:cubicBezTo>
                <a:cubicBezTo>
                  <a:pt x="393" y="226"/>
                  <a:pt x="393" y="226"/>
                  <a:pt x="393" y="226"/>
                </a:cubicBezTo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1" name="Poland"/>
          <p:cNvSpPr>
            <a:spLocks/>
          </p:cNvSpPr>
          <p:nvPr/>
        </p:nvSpPr>
        <p:spPr bwMode="auto">
          <a:xfrm>
            <a:off x="9419163" y="3278188"/>
            <a:ext cx="1408113" cy="1058863"/>
          </a:xfrm>
          <a:custGeom>
            <a:avLst/>
            <a:gdLst>
              <a:gd name="T0" fmla="*/ 1 w 491"/>
              <a:gd name="T1" fmla="*/ 76 h 369"/>
              <a:gd name="T2" fmla="*/ 39 w 491"/>
              <a:gd name="T3" fmla="*/ 62 h 369"/>
              <a:gd name="T4" fmla="*/ 48 w 491"/>
              <a:gd name="T5" fmla="*/ 59 h 369"/>
              <a:gd name="T6" fmla="*/ 97 w 491"/>
              <a:gd name="T7" fmla="*/ 31 h 369"/>
              <a:gd name="T8" fmla="*/ 111 w 491"/>
              <a:gd name="T9" fmla="*/ 27 h 369"/>
              <a:gd name="T10" fmla="*/ 180 w 491"/>
              <a:gd name="T11" fmla="*/ 0 h 369"/>
              <a:gd name="T12" fmla="*/ 185 w 491"/>
              <a:gd name="T13" fmla="*/ 24 h 369"/>
              <a:gd name="T14" fmla="*/ 234 w 491"/>
              <a:gd name="T15" fmla="*/ 16 h 369"/>
              <a:gd name="T16" fmla="*/ 355 w 491"/>
              <a:gd name="T17" fmla="*/ 16 h 369"/>
              <a:gd name="T18" fmla="*/ 396 w 491"/>
              <a:gd name="T19" fmla="*/ 16 h 369"/>
              <a:gd name="T20" fmla="*/ 416 w 491"/>
              <a:gd name="T21" fmla="*/ 45 h 369"/>
              <a:gd name="T22" fmla="*/ 427 w 491"/>
              <a:gd name="T23" fmla="*/ 96 h 369"/>
              <a:gd name="T24" fmla="*/ 416 w 491"/>
              <a:gd name="T25" fmla="*/ 139 h 369"/>
              <a:gd name="T26" fmla="*/ 434 w 491"/>
              <a:gd name="T27" fmla="*/ 143 h 369"/>
              <a:gd name="T28" fmla="*/ 443 w 491"/>
              <a:gd name="T29" fmla="*/ 179 h 369"/>
              <a:gd name="T30" fmla="*/ 456 w 491"/>
              <a:gd name="T31" fmla="*/ 209 h 369"/>
              <a:gd name="T32" fmla="*/ 477 w 491"/>
              <a:gd name="T33" fmla="*/ 233 h 369"/>
              <a:gd name="T34" fmla="*/ 489 w 491"/>
              <a:gd name="T35" fmla="*/ 254 h 369"/>
              <a:gd name="T36" fmla="*/ 438 w 491"/>
              <a:gd name="T37" fmla="*/ 317 h 369"/>
              <a:gd name="T38" fmla="*/ 445 w 491"/>
              <a:gd name="T39" fmla="*/ 351 h 369"/>
              <a:gd name="T40" fmla="*/ 432 w 491"/>
              <a:gd name="T41" fmla="*/ 362 h 369"/>
              <a:gd name="T42" fmla="*/ 406 w 491"/>
              <a:gd name="T43" fmla="*/ 346 h 369"/>
              <a:gd name="T44" fmla="*/ 359 w 491"/>
              <a:gd name="T45" fmla="*/ 345 h 369"/>
              <a:gd name="T46" fmla="*/ 342 w 491"/>
              <a:gd name="T47" fmla="*/ 349 h 369"/>
              <a:gd name="T48" fmla="*/ 312 w 491"/>
              <a:gd name="T49" fmla="*/ 369 h 369"/>
              <a:gd name="T50" fmla="*/ 296 w 491"/>
              <a:gd name="T51" fmla="*/ 357 h 369"/>
              <a:gd name="T52" fmla="*/ 263 w 491"/>
              <a:gd name="T53" fmla="*/ 366 h 369"/>
              <a:gd name="T54" fmla="*/ 249 w 491"/>
              <a:gd name="T55" fmla="*/ 343 h 369"/>
              <a:gd name="T56" fmla="*/ 234 w 491"/>
              <a:gd name="T57" fmla="*/ 328 h 369"/>
              <a:gd name="T58" fmla="*/ 190 w 491"/>
              <a:gd name="T59" fmla="*/ 322 h 369"/>
              <a:gd name="T60" fmla="*/ 191 w 491"/>
              <a:gd name="T61" fmla="*/ 307 h 369"/>
              <a:gd name="T62" fmla="*/ 145 w 491"/>
              <a:gd name="T63" fmla="*/ 301 h 369"/>
              <a:gd name="T64" fmla="*/ 146 w 491"/>
              <a:gd name="T65" fmla="*/ 320 h 369"/>
              <a:gd name="T66" fmla="*/ 135 w 491"/>
              <a:gd name="T67" fmla="*/ 325 h 369"/>
              <a:gd name="T68" fmla="*/ 112 w 491"/>
              <a:gd name="T69" fmla="*/ 303 h 369"/>
              <a:gd name="T70" fmla="*/ 104 w 491"/>
              <a:gd name="T71" fmla="*/ 291 h 369"/>
              <a:gd name="T72" fmla="*/ 55 w 491"/>
              <a:gd name="T73" fmla="*/ 271 h 369"/>
              <a:gd name="T74" fmla="*/ 34 w 491"/>
              <a:gd name="T75" fmla="*/ 233 h 369"/>
              <a:gd name="T76" fmla="*/ 32 w 491"/>
              <a:gd name="T77" fmla="*/ 202 h 369"/>
              <a:gd name="T78" fmla="*/ 21 w 491"/>
              <a:gd name="T79" fmla="*/ 162 h 369"/>
              <a:gd name="T80" fmla="*/ 17 w 491"/>
              <a:gd name="T81" fmla="*/ 125 h 3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491" h="369">
                <a:moveTo>
                  <a:pt x="1" y="92"/>
                </a:moveTo>
                <a:cubicBezTo>
                  <a:pt x="1" y="76"/>
                  <a:pt x="1" y="76"/>
                  <a:pt x="1" y="76"/>
                </a:cubicBezTo>
                <a:cubicBezTo>
                  <a:pt x="10" y="76"/>
                  <a:pt x="10" y="76"/>
                  <a:pt x="10" y="76"/>
                </a:cubicBezTo>
                <a:cubicBezTo>
                  <a:pt x="39" y="62"/>
                  <a:pt x="39" y="62"/>
                  <a:pt x="39" y="62"/>
                </a:cubicBezTo>
                <a:cubicBezTo>
                  <a:pt x="44" y="66"/>
                  <a:pt x="44" y="66"/>
                  <a:pt x="44" y="66"/>
                </a:cubicBezTo>
                <a:cubicBezTo>
                  <a:pt x="48" y="59"/>
                  <a:pt x="48" y="59"/>
                  <a:pt x="48" y="59"/>
                </a:cubicBezTo>
                <a:cubicBezTo>
                  <a:pt x="86" y="49"/>
                  <a:pt x="86" y="49"/>
                  <a:pt x="86" y="49"/>
                </a:cubicBezTo>
                <a:cubicBezTo>
                  <a:pt x="97" y="31"/>
                  <a:pt x="97" y="31"/>
                  <a:pt x="97" y="31"/>
                </a:cubicBezTo>
                <a:cubicBezTo>
                  <a:pt x="106" y="22"/>
                  <a:pt x="106" y="22"/>
                  <a:pt x="106" y="22"/>
                </a:cubicBezTo>
                <a:cubicBezTo>
                  <a:pt x="111" y="27"/>
                  <a:pt x="111" y="27"/>
                  <a:pt x="111" y="27"/>
                </a:cubicBezTo>
                <a:cubicBezTo>
                  <a:pt x="155" y="0"/>
                  <a:pt x="155" y="0"/>
                  <a:pt x="155" y="0"/>
                </a:cubicBezTo>
                <a:cubicBezTo>
                  <a:pt x="180" y="0"/>
                  <a:pt x="180" y="0"/>
                  <a:pt x="180" y="0"/>
                </a:cubicBezTo>
                <a:cubicBezTo>
                  <a:pt x="185" y="12"/>
                  <a:pt x="185" y="12"/>
                  <a:pt x="185" y="12"/>
                </a:cubicBezTo>
                <a:cubicBezTo>
                  <a:pt x="185" y="24"/>
                  <a:pt x="185" y="24"/>
                  <a:pt x="185" y="24"/>
                </a:cubicBezTo>
                <a:cubicBezTo>
                  <a:pt x="206" y="33"/>
                  <a:pt x="206" y="33"/>
                  <a:pt x="206" y="33"/>
                </a:cubicBezTo>
                <a:cubicBezTo>
                  <a:pt x="234" y="16"/>
                  <a:pt x="234" y="16"/>
                  <a:pt x="234" y="16"/>
                </a:cubicBezTo>
                <a:cubicBezTo>
                  <a:pt x="300" y="19"/>
                  <a:pt x="300" y="19"/>
                  <a:pt x="300" y="19"/>
                </a:cubicBezTo>
                <a:cubicBezTo>
                  <a:pt x="355" y="16"/>
                  <a:pt x="355" y="16"/>
                  <a:pt x="355" y="16"/>
                </a:cubicBezTo>
                <a:cubicBezTo>
                  <a:pt x="374" y="4"/>
                  <a:pt x="374" y="4"/>
                  <a:pt x="374" y="4"/>
                </a:cubicBezTo>
                <a:cubicBezTo>
                  <a:pt x="396" y="16"/>
                  <a:pt x="396" y="16"/>
                  <a:pt x="396" y="16"/>
                </a:cubicBezTo>
                <a:cubicBezTo>
                  <a:pt x="413" y="21"/>
                  <a:pt x="413" y="21"/>
                  <a:pt x="413" y="21"/>
                </a:cubicBezTo>
                <a:cubicBezTo>
                  <a:pt x="416" y="45"/>
                  <a:pt x="416" y="45"/>
                  <a:pt x="416" y="45"/>
                </a:cubicBezTo>
                <a:cubicBezTo>
                  <a:pt x="437" y="81"/>
                  <a:pt x="437" y="81"/>
                  <a:pt x="437" y="81"/>
                </a:cubicBezTo>
                <a:cubicBezTo>
                  <a:pt x="427" y="96"/>
                  <a:pt x="427" y="96"/>
                  <a:pt x="427" y="96"/>
                </a:cubicBezTo>
                <a:cubicBezTo>
                  <a:pt x="427" y="97"/>
                  <a:pt x="427" y="97"/>
                  <a:pt x="427" y="97"/>
                </a:cubicBezTo>
                <a:cubicBezTo>
                  <a:pt x="416" y="139"/>
                  <a:pt x="416" y="139"/>
                  <a:pt x="416" y="139"/>
                </a:cubicBezTo>
                <a:cubicBezTo>
                  <a:pt x="421" y="148"/>
                  <a:pt x="421" y="148"/>
                  <a:pt x="421" y="148"/>
                </a:cubicBezTo>
                <a:cubicBezTo>
                  <a:pt x="434" y="143"/>
                  <a:pt x="434" y="143"/>
                  <a:pt x="434" y="143"/>
                </a:cubicBezTo>
                <a:cubicBezTo>
                  <a:pt x="448" y="154"/>
                  <a:pt x="448" y="154"/>
                  <a:pt x="448" y="154"/>
                </a:cubicBezTo>
                <a:cubicBezTo>
                  <a:pt x="443" y="179"/>
                  <a:pt x="443" y="179"/>
                  <a:pt x="443" y="179"/>
                </a:cubicBezTo>
                <a:cubicBezTo>
                  <a:pt x="456" y="195"/>
                  <a:pt x="456" y="195"/>
                  <a:pt x="456" y="195"/>
                </a:cubicBezTo>
                <a:cubicBezTo>
                  <a:pt x="456" y="209"/>
                  <a:pt x="456" y="209"/>
                  <a:pt x="456" y="209"/>
                </a:cubicBezTo>
                <a:cubicBezTo>
                  <a:pt x="486" y="223"/>
                  <a:pt x="486" y="223"/>
                  <a:pt x="486" y="223"/>
                </a:cubicBezTo>
                <a:cubicBezTo>
                  <a:pt x="477" y="233"/>
                  <a:pt x="477" y="233"/>
                  <a:pt x="477" y="233"/>
                </a:cubicBezTo>
                <a:cubicBezTo>
                  <a:pt x="491" y="247"/>
                  <a:pt x="491" y="247"/>
                  <a:pt x="491" y="247"/>
                </a:cubicBezTo>
                <a:cubicBezTo>
                  <a:pt x="489" y="254"/>
                  <a:pt x="489" y="254"/>
                  <a:pt x="489" y="254"/>
                </a:cubicBezTo>
                <a:cubicBezTo>
                  <a:pt x="474" y="264"/>
                  <a:pt x="474" y="264"/>
                  <a:pt x="474" y="264"/>
                </a:cubicBezTo>
                <a:cubicBezTo>
                  <a:pt x="438" y="317"/>
                  <a:pt x="438" y="317"/>
                  <a:pt x="438" y="317"/>
                </a:cubicBezTo>
                <a:cubicBezTo>
                  <a:pt x="434" y="332"/>
                  <a:pt x="434" y="332"/>
                  <a:pt x="434" y="332"/>
                </a:cubicBezTo>
                <a:cubicBezTo>
                  <a:pt x="445" y="351"/>
                  <a:pt x="445" y="351"/>
                  <a:pt x="445" y="351"/>
                </a:cubicBezTo>
                <a:cubicBezTo>
                  <a:pt x="451" y="357"/>
                  <a:pt x="451" y="357"/>
                  <a:pt x="451" y="357"/>
                </a:cubicBezTo>
                <a:cubicBezTo>
                  <a:pt x="432" y="362"/>
                  <a:pt x="432" y="362"/>
                  <a:pt x="432" y="362"/>
                </a:cubicBezTo>
                <a:cubicBezTo>
                  <a:pt x="408" y="355"/>
                  <a:pt x="408" y="355"/>
                  <a:pt x="408" y="355"/>
                </a:cubicBezTo>
                <a:cubicBezTo>
                  <a:pt x="406" y="346"/>
                  <a:pt x="406" y="346"/>
                  <a:pt x="406" y="346"/>
                </a:cubicBezTo>
                <a:cubicBezTo>
                  <a:pt x="377" y="341"/>
                  <a:pt x="377" y="341"/>
                  <a:pt x="377" y="341"/>
                </a:cubicBezTo>
                <a:cubicBezTo>
                  <a:pt x="359" y="345"/>
                  <a:pt x="359" y="345"/>
                  <a:pt x="359" y="345"/>
                </a:cubicBezTo>
                <a:cubicBezTo>
                  <a:pt x="354" y="362"/>
                  <a:pt x="354" y="362"/>
                  <a:pt x="354" y="362"/>
                </a:cubicBezTo>
                <a:cubicBezTo>
                  <a:pt x="342" y="349"/>
                  <a:pt x="342" y="349"/>
                  <a:pt x="342" y="349"/>
                </a:cubicBezTo>
                <a:cubicBezTo>
                  <a:pt x="322" y="351"/>
                  <a:pt x="322" y="351"/>
                  <a:pt x="322" y="351"/>
                </a:cubicBezTo>
                <a:cubicBezTo>
                  <a:pt x="312" y="369"/>
                  <a:pt x="312" y="369"/>
                  <a:pt x="312" y="369"/>
                </a:cubicBezTo>
                <a:cubicBezTo>
                  <a:pt x="298" y="369"/>
                  <a:pt x="298" y="369"/>
                  <a:pt x="298" y="369"/>
                </a:cubicBezTo>
                <a:cubicBezTo>
                  <a:pt x="296" y="357"/>
                  <a:pt x="296" y="357"/>
                  <a:pt x="296" y="357"/>
                </a:cubicBezTo>
                <a:cubicBezTo>
                  <a:pt x="277" y="345"/>
                  <a:pt x="277" y="345"/>
                  <a:pt x="277" y="345"/>
                </a:cubicBezTo>
                <a:cubicBezTo>
                  <a:pt x="263" y="366"/>
                  <a:pt x="263" y="366"/>
                  <a:pt x="263" y="366"/>
                </a:cubicBezTo>
                <a:cubicBezTo>
                  <a:pt x="250" y="354"/>
                  <a:pt x="250" y="354"/>
                  <a:pt x="250" y="354"/>
                </a:cubicBezTo>
                <a:cubicBezTo>
                  <a:pt x="249" y="343"/>
                  <a:pt x="249" y="343"/>
                  <a:pt x="249" y="343"/>
                </a:cubicBezTo>
                <a:cubicBezTo>
                  <a:pt x="235" y="342"/>
                  <a:pt x="235" y="342"/>
                  <a:pt x="235" y="342"/>
                </a:cubicBezTo>
                <a:cubicBezTo>
                  <a:pt x="234" y="328"/>
                  <a:pt x="234" y="328"/>
                  <a:pt x="234" y="328"/>
                </a:cubicBezTo>
                <a:cubicBezTo>
                  <a:pt x="196" y="328"/>
                  <a:pt x="196" y="328"/>
                  <a:pt x="196" y="328"/>
                </a:cubicBezTo>
                <a:cubicBezTo>
                  <a:pt x="190" y="322"/>
                  <a:pt x="190" y="322"/>
                  <a:pt x="190" y="322"/>
                </a:cubicBezTo>
                <a:cubicBezTo>
                  <a:pt x="185" y="317"/>
                  <a:pt x="185" y="317"/>
                  <a:pt x="185" y="317"/>
                </a:cubicBezTo>
                <a:cubicBezTo>
                  <a:pt x="191" y="307"/>
                  <a:pt x="191" y="307"/>
                  <a:pt x="191" y="307"/>
                </a:cubicBezTo>
                <a:cubicBezTo>
                  <a:pt x="169" y="307"/>
                  <a:pt x="169" y="307"/>
                  <a:pt x="169" y="307"/>
                </a:cubicBezTo>
                <a:cubicBezTo>
                  <a:pt x="145" y="301"/>
                  <a:pt x="145" y="301"/>
                  <a:pt x="145" y="301"/>
                </a:cubicBezTo>
                <a:cubicBezTo>
                  <a:pt x="153" y="312"/>
                  <a:pt x="153" y="312"/>
                  <a:pt x="153" y="312"/>
                </a:cubicBezTo>
                <a:cubicBezTo>
                  <a:pt x="146" y="320"/>
                  <a:pt x="146" y="320"/>
                  <a:pt x="146" y="320"/>
                </a:cubicBezTo>
                <a:cubicBezTo>
                  <a:pt x="141" y="324"/>
                  <a:pt x="141" y="324"/>
                  <a:pt x="141" y="324"/>
                </a:cubicBezTo>
                <a:cubicBezTo>
                  <a:pt x="135" y="325"/>
                  <a:pt x="135" y="325"/>
                  <a:pt x="135" y="325"/>
                </a:cubicBezTo>
                <a:cubicBezTo>
                  <a:pt x="126" y="311"/>
                  <a:pt x="126" y="311"/>
                  <a:pt x="126" y="311"/>
                </a:cubicBezTo>
                <a:cubicBezTo>
                  <a:pt x="112" y="303"/>
                  <a:pt x="112" y="303"/>
                  <a:pt x="112" y="303"/>
                </a:cubicBezTo>
                <a:cubicBezTo>
                  <a:pt x="124" y="295"/>
                  <a:pt x="124" y="295"/>
                  <a:pt x="124" y="295"/>
                </a:cubicBezTo>
                <a:cubicBezTo>
                  <a:pt x="104" y="291"/>
                  <a:pt x="104" y="291"/>
                  <a:pt x="104" y="291"/>
                </a:cubicBezTo>
                <a:cubicBezTo>
                  <a:pt x="71" y="280"/>
                  <a:pt x="71" y="280"/>
                  <a:pt x="71" y="280"/>
                </a:cubicBezTo>
                <a:cubicBezTo>
                  <a:pt x="55" y="271"/>
                  <a:pt x="55" y="271"/>
                  <a:pt x="55" y="271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34" y="233"/>
                  <a:pt x="34" y="233"/>
                  <a:pt x="34" y="233"/>
                </a:cubicBezTo>
                <a:cubicBezTo>
                  <a:pt x="28" y="221"/>
                  <a:pt x="28" y="221"/>
                  <a:pt x="28" y="221"/>
                </a:cubicBezTo>
                <a:cubicBezTo>
                  <a:pt x="32" y="202"/>
                  <a:pt x="32" y="202"/>
                  <a:pt x="32" y="202"/>
                </a:cubicBezTo>
                <a:cubicBezTo>
                  <a:pt x="17" y="180"/>
                  <a:pt x="17" y="180"/>
                  <a:pt x="17" y="180"/>
                </a:cubicBezTo>
                <a:cubicBezTo>
                  <a:pt x="21" y="162"/>
                  <a:pt x="21" y="162"/>
                  <a:pt x="21" y="162"/>
                </a:cubicBezTo>
                <a:cubicBezTo>
                  <a:pt x="0" y="145"/>
                  <a:pt x="0" y="145"/>
                  <a:pt x="0" y="145"/>
                </a:cubicBezTo>
                <a:cubicBezTo>
                  <a:pt x="17" y="125"/>
                  <a:pt x="17" y="125"/>
                  <a:pt x="17" y="125"/>
                </a:cubicBezTo>
                <a:lnTo>
                  <a:pt x="1" y="92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2" name="Ukraine"/>
          <p:cNvSpPr>
            <a:spLocks/>
          </p:cNvSpPr>
          <p:nvPr/>
        </p:nvSpPr>
        <p:spPr bwMode="auto">
          <a:xfrm>
            <a:off x="10643126" y="3352800"/>
            <a:ext cx="1557338" cy="1489075"/>
          </a:xfrm>
          <a:custGeom>
            <a:avLst/>
            <a:gdLst>
              <a:gd name="T0" fmla="*/ 60 w 981"/>
              <a:gd name="T1" fmla="*/ 237 h 938"/>
              <a:gd name="T2" fmla="*/ 128 w 981"/>
              <a:gd name="T3" fmla="*/ 175 h 938"/>
              <a:gd name="T4" fmla="*/ 193 w 981"/>
              <a:gd name="T5" fmla="*/ 177 h 938"/>
              <a:gd name="T6" fmla="*/ 278 w 981"/>
              <a:gd name="T7" fmla="*/ 166 h 938"/>
              <a:gd name="T8" fmla="*/ 347 w 981"/>
              <a:gd name="T9" fmla="*/ 172 h 938"/>
              <a:gd name="T10" fmla="*/ 430 w 981"/>
              <a:gd name="T11" fmla="*/ 204 h 938"/>
              <a:gd name="T12" fmla="*/ 481 w 981"/>
              <a:gd name="T13" fmla="*/ 204 h 938"/>
              <a:gd name="T14" fmla="*/ 530 w 981"/>
              <a:gd name="T15" fmla="*/ 199 h 938"/>
              <a:gd name="T16" fmla="*/ 571 w 981"/>
              <a:gd name="T17" fmla="*/ 165 h 938"/>
              <a:gd name="T18" fmla="*/ 614 w 981"/>
              <a:gd name="T19" fmla="*/ 192 h 938"/>
              <a:gd name="T20" fmla="*/ 638 w 981"/>
              <a:gd name="T21" fmla="*/ 175 h 938"/>
              <a:gd name="T22" fmla="*/ 622 w 981"/>
              <a:gd name="T23" fmla="*/ 109 h 938"/>
              <a:gd name="T24" fmla="*/ 654 w 981"/>
              <a:gd name="T25" fmla="*/ 80 h 938"/>
              <a:gd name="T26" fmla="*/ 705 w 981"/>
              <a:gd name="T27" fmla="*/ 65 h 938"/>
              <a:gd name="T28" fmla="*/ 734 w 981"/>
              <a:gd name="T29" fmla="*/ 34 h 938"/>
              <a:gd name="T30" fmla="*/ 853 w 981"/>
              <a:gd name="T31" fmla="*/ 0 h 938"/>
              <a:gd name="T32" fmla="*/ 929 w 981"/>
              <a:gd name="T33" fmla="*/ 38 h 938"/>
              <a:gd name="T34" fmla="*/ 938 w 981"/>
              <a:gd name="T35" fmla="*/ 109 h 938"/>
              <a:gd name="T36" fmla="*/ 981 w 981"/>
              <a:gd name="T37" fmla="*/ 743 h 938"/>
              <a:gd name="T38" fmla="*/ 947 w 981"/>
              <a:gd name="T39" fmla="*/ 717 h 938"/>
              <a:gd name="T40" fmla="*/ 871 w 981"/>
              <a:gd name="T41" fmla="*/ 716 h 938"/>
              <a:gd name="T42" fmla="*/ 826 w 981"/>
              <a:gd name="T43" fmla="*/ 800 h 938"/>
              <a:gd name="T44" fmla="*/ 773 w 981"/>
              <a:gd name="T45" fmla="*/ 887 h 938"/>
              <a:gd name="T46" fmla="*/ 741 w 981"/>
              <a:gd name="T47" fmla="*/ 902 h 938"/>
              <a:gd name="T48" fmla="*/ 660 w 981"/>
              <a:gd name="T49" fmla="*/ 938 h 938"/>
              <a:gd name="T50" fmla="*/ 661 w 981"/>
              <a:gd name="T51" fmla="*/ 878 h 938"/>
              <a:gd name="T52" fmla="*/ 665 w 981"/>
              <a:gd name="T53" fmla="*/ 795 h 938"/>
              <a:gd name="T54" fmla="*/ 775 w 981"/>
              <a:gd name="T55" fmla="*/ 779 h 938"/>
              <a:gd name="T56" fmla="*/ 723 w 981"/>
              <a:gd name="T57" fmla="*/ 707 h 938"/>
              <a:gd name="T58" fmla="*/ 665 w 981"/>
              <a:gd name="T59" fmla="*/ 676 h 938"/>
              <a:gd name="T60" fmla="*/ 640 w 981"/>
              <a:gd name="T61" fmla="*/ 611 h 938"/>
              <a:gd name="T62" fmla="*/ 522 w 981"/>
              <a:gd name="T63" fmla="*/ 593 h 938"/>
              <a:gd name="T64" fmla="*/ 454 w 981"/>
              <a:gd name="T65" fmla="*/ 602 h 938"/>
              <a:gd name="T66" fmla="*/ 374 w 981"/>
              <a:gd name="T67" fmla="*/ 649 h 938"/>
              <a:gd name="T68" fmla="*/ 287 w 981"/>
              <a:gd name="T69" fmla="*/ 692 h 938"/>
              <a:gd name="T70" fmla="*/ 235 w 981"/>
              <a:gd name="T71" fmla="*/ 699 h 938"/>
              <a:gd name="T72" fmla="*/ 98 w 981"/>
              <a:gd name="T73" fmla="*/ 705 h 938"/>
              <a:gd name="T74" fmla="*/ 54 w 981"/>
              <a:gd name="T75" fmla="*/ 707 h 938"/>
              <a:gd name="T76" fmla="*/ 11 w 981"/>
              <a:gd name="T77" fmla="*/ 640 h 938"/>
              <a:gd name="T78" fmla="*/ 44 w 981"/>
              <a:gd name="T79" fmla="*/ 598 h 938"/>
              <a:gd name="T80" fmla="*/ 13 w 981"/>
              <a:gd name="T81" fmla="*/ 553 h 938"/>
              <a:gd name="T82" fmla="*/ 85 w 981"/>
              <a:gd name="T83" fmla="*/ 430 h 938"/>
              <a:gd name="T84" fmla="*/ 116 w 981"/>
              <a:gd name="T85" fmla="*/ 399 h 938"/>
              <a:gd name="T86" fmla="*/ 107 w 981"/>
              <a:gd name="T87" fmla="*/ 356 h 938"/>
              <a:gd name="T88" fmla="*/ 53 w 981"/>
              <a:gd name="T89" fmla="*/ 305 h 9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981" h="938">
                <a:moveTo>
                  <a:pt x="29" y="277"/>
                </a:moveTo>
                <a:lnTo>
                  <a:pt x="60" y="237"/>
                </a:lnTo>
                <a:lnTo>
                  <a:pt x="109" y="190"/>
                </a:lnTo>
                <a:lnTo>
                  <a:pt x="128" y="175"/>
                </a:lnTo>
                <a:lnTo>
                  <a:pt x="150" y="175"/>
                </a:lnTo>
                <a:lnTo>
                  <a:pt x="193" y="177"/>
                </a:lnTo>
                <a:lnTo>
                  <a:pt x="239" y="155"/>
                </a:lnTo>
                <a:lnTo>
                  <a:pt x="278" y="166"/>
                </a:lnTo>
                <a:lnTo>
                  <a:pt x="334" y="177"/>
                </a:lnTo>
                <a:lnTo>
                  <a:pt x="347" y="172"/>
                </a:lnTo>
                <a:lnTo>
                  <a:pt x="354" y="186"/>
                </a:lnTo>
                <a:lnTo>
                  <a:pt x="430" y="204"/>
                </a:lnTo>
                <a:lnTo>
                  <a:pt x="457" y="188"/>
                </a:lnTo>
                <a:lnTo>
                  <a:pt x="481" y="204"/>
                </a:lnTo>
                <a:lnTo>
                  <a:pt x="497" y="177"/>
                </a:lnTo>
                <a:lnTo>
                  <a:pt x="530" y="199"/>
                </a:lnTo>
                <a:lnTo>
                  <a:pt x="564" y="183"/>
                </a:lnTo>
                <a:lnTo>
                  <a:pt x="571" y="165"/>
                </a:lnTo>
                <a:lnTo>
                  <a:pt x="596" y="166"/>
                </a:lnTo>
                <a:lnTo>
                  <a:pt x="614" y="192"/>
                </a:lnTo>
                <a:lnTo>
                  <a:pt x="632" y="192"/>
                </a:lnTo>
                <a:lnTo>
                  <a:pt x="638" y="175"/>
                </a:lnTo>
                <a:lnTo>
                  <a:pt x="614" y="152"/>
                </a:lnTo>
                <a:lnTo>
                  <a:pt x="622" y="109"/>
                </a:lnTo>
                <a:lnTo>
                  <a:pt x="631" y="72"/>
                </a:lnTo>
                <a:lnTo>
                  <a:pt x="654" y="80"/>
                </a:lnTo>
                <a:lnTo>
                  <a:pt x="663" y="65"/>
                </a:lnTo>
                <a:lnTo>
                  <a:pt x="705" y="65"/>
                </a:lnTo>
                <a:lnTo>
                  <a:pt x="732" y="67"/>
                </a:lnTo>
                <a:lnTo>
                  <a:pt x="734" y="34"/>
                </a:lnTo>
                <a:lnTo>
                  <a:pt x="804" y="4"/>
                </a:lnTo>
                <a:lnTo>
                  <a:pt x="853" y="0"/>
                </a:lnTo>
                <a:lnTo>
                  <a:pt x="866" y="0"/>
                </a:lnTo>
                <a:lnTo>
                  <a:pt x="929" y="38"/>
                </a:lnTo>
                <a:lnTo>
                  <a:pt x="898" y="67"/>
                </a:lnTo>
                <a:lnTo>
                  <a:pt x="938" y="109"/>
                </a:lnTo>
                <a:lnTo>
                  <a:pt x="981" y="98"/>
                </a:lnTo>
                <a:lnTo>
                  <a:pt x="981" y="743"/>
                </a:lnTo>
                <a:lnTo>
                  <a:pt x="943" y="743"/>
                </a:lnTo>
                <a:lnTo>
                  <a:pt x="947" y="717"/>
                </a:lnTo>
                <a:lnTo>
                  <a:pt x="905" y="703"/>
                </a:lnTo>
                <a:lnTo>
                  <a:pt x="871" y="716"/>
                </a:lnTo>
                <a:lnTo>
                  <a:pt x="833" y="732"/>
                </a:lnTo>
                <a:lnTo>
                  <a:pt x="826" y="800"/>
                </a:lnTo>
                <a:lnTo>
                  <a:pt x="779" y="858"/>
                </a:lnTo>
                <a:lnTo>
                  <a:pt x="773" y="887"/>
                </a:lnTo>
                <a:lnTo>
                  <a:pt x="779" y="922"/>
                </a:lnTo>
                <a:lnTo>
                  <a:pt x="741" y="902"/>
                </a:lnTo>
                <a:lnTo>
                  <a:pt x="705" y="922"/>
                </a:lnTo>
                <a:lnTo>
                  <a:pt x="660" y="938"/>
                </a:lnTo>
                <a:lnTo>
                  <a:pt x="658" y="909"/>
                </a:lnTo>
                <a:lnTo>
                  <a:pt x="661" y="878"/>
                </a:lnTo>
                <a:lnTo>
                  <a:pt x="688" y="822"/>
                </a:lnTo>
                <a:lnTo>
                  <a:pt x="665" y="795"/>
                </a:lnTo>
                <a:lnTo>
                  <a:pt x="725" y="788"/>
                </a:lnTo>
                <a:lnTo>
                  <a:pt x="775" y="779"/>
                </a:lnTo>
                <a:lnTo>
                  <a:pt x="764" y="748"/>
                </a:lnTo>
                <a:lnTo>
                  <a:pt x="723" y="707"/>
                </a:lnTo>
                <a:lnTo>
                  <a:pt x="690" y="667"/>
                </a:lnTo>
                <a:lnTo>
                  <a:pt x="665" y="676"/>
                </a:lnTo>
                <a:lnTo>
                  <a:pt x="647" y="660"/>
                </a:lnTo>
                <a:lnTo>
                  <a:pt x="640" y="611"/>
                </a:lnTo>
                <a:lnTo>
                  <a:pt x="573" y="595"/>
                </a:lnTo>
                <a:lnTo>
                  <a:pt x="522" y="593"/>
                </a:lnTo>
                <a:lnTo>
                  <a:pt x="483" y="576"/>
                </a:lnTo>
                <a:lnTo>
                  <a:pt x="454" y="602"/>
                </a:lnTo>
                <a:lnTo>
                  <a:pt x="405" y="613"/>
                </a:lnTo>
                <a:lnTo>
                  <a:pt x="374" y="649"/>
                </a:lnTo>
                <a:lnTo>
                  <a:pt x="358" y="676"/>
                </a:lnTo>
                <a:lnTo>
                  <a:pt x="287" y="692"/>
                </a:lnTo>
                <a:lnTo>
                  <a:pt x="271" y="725"/>
                </a:lnTo>
                <a:lnTo>
                  <a:pt x="235" y="699"/>
                </a:lnTo>
                <a:lnTo>
                  <a:pt x="181" y="710"/>
                </a:lnTo>
                <a:lnTo>
                  <a:pt x="98" y="705"/>
                </a:lnTo>
                <a:lnTo>
                  <a:pt x="72" y="728"/>
                </a:lnTo>
                <a:lnTo>
                  <a:pt x="54" y="707"/>
                </a:lnTo>
                <a:lnTo>
                  <a:pt x="0" y="676"/>
                </a:lnTo>
                <a:lnTo>
                  <a:pt x="11" y="640"/>
                </a:lnTo>
                <a:lnTo>
                  <a:pt x="9" y="607"/>
                </a:lnTo>
                <a:lnTo>
                  <a:pt x="44" y="598"/>
                </a:lnTo>
                <a:lnTo>
                  <a:pt x="33" y="587"/>
                </a:lnTo>
                <a:lnTo>
                  <a:pt x="13" y="553"/>
                </a:lnTo>
                <a:lnTo>
                  <a:pt x="20" y="526"/>
                </a:lnTo>
                <a:lnTo>
                  <a:pt x="85" y="430"/>
                </a:lnTo>
                <a:lnTo>
                  <a:pt x="112" y="412"/>
                </a:lnTo>
                <a:lnTo>
                  <a:pt x="116" y="399"/>
                </a:lnTo>
                <a:lnTo>
                  <a:pt x="91" y="374"/>
                </a:lnTo>
                <a:lnTo>
                  <a:pt x="107" y="356"/>
                </a:lnTo>
                <a:lnTo>
                  <a:pt x="53" y="331"/>
                </a:lnTo>
                <a:lnTo>
                  <a:pt x="53" y="305"/>
                </a:lnTo>
                <a:lnTo>
                  <a:pt x="29" y="277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3" name="Moldova"/>
          <p:cNvSpPr>
            <a:spLocks/>
          </p:cNvSpPr>
          <p:nvPr/>
        </p:nvSpPr>
        <p:spPr bwMode="auto">
          <a:xfrm>
            <a:off x="11247963" y="4267200"/>
            <a:ext cx="625475" cy="568325"/>
          </a:xfrm>
          <a:custGeom>
            <a:avLst/>
            <a:gdLst>
              <a:gd name="T0" fmla="*/ 13 w 218"/>
              <a:gd name="T1" fmla="*/ 20 h 198"/>
              <a:gd name="T2" fmla="*/ 40 w 218"/>
              <a:gd name="T3" fmla="*/ 14 h 198"/>
              <a:gd name="T4" fmla="*/ 56 w 218"/>
              <a:gd name="T5" fmla="*/ 0 h 198"/>
              <a:gd name="T6" fmla="*/ 78 w 218"/>
              <a:gd name="T7" fmla="*/ 9 h 198"/>
              <a:gd name="T8" fmla="*/ 106 w 218"/>
              <a:gd name="T9" fmla="*/ 10 h 198"/>
              <a:gd name="T10" fmla="*/ 143 w 218"/>
              <a:gd name="T11" fmla="*/ 19 h 198"/>
              <a:gd name="T12" fmla="*/ 150 w 218"/>
              <a:gd name="T13" fmla="*/ 48 h 198"/>
              <a:gd name="T14" fmla="*/ 152 w 218"/>
              <a:gd name="T15" fmla="*/ 50 h 198"/>
              <a:gd name="T16" fmla="*/ 171 w 218"/>
              <a:gd name="T17" fmla="*/ 50 h 198"/>
              <a:gd name="T18" fmla="*/ 207 w 218"/>
              <a:gd name="T19" fmla="*/ 90 h 198"/>
              <a:gd name="T20" fmla="*/ 212 w 218"/>
              <a:gd name="T21" fmla="*/ 95 h 198"/>
              <a:gd name="T22" fmla="*/ 218 w 218"/>
              <a:gd name="T23" fmla="*/ 112 h 198"/>
              <a:gd name="T24" fmla="*/ 187 w 218"/>
              <a:gd name="T25" fmla="*/ 123 h 198"/>
              <a:gd name="T26" fmla="*/ 157 w 218"/>
              <a:gd name="T27" fmla="*/ 121 h 198"/>
              <a:gd name="T28" fmla="*/ 170 w 218"/>
              <a:gd name="T29" fmla="*/ 136 h 198"/>
              <a:gd name="T30" fmla="*/ 155 w 218"/>
              <a:gd name="T31" fmla="*/ 167 h 198"/>
              <a:gd name="T32" fmla="*/ 153 w 218"/>
              <a:gd name="T33" fmla="*/ 184 h 198"/>
              <a:gd name="T34" fmla="*/ 154 w 218"/>
              <a:gd name="T35" fmla="*/ 198 h 198"/>
              <a:gd name="T36" fmla="*/ 139 w 218"/>
              <a:gd name="T37" fmla="*/ 191 h 198"/>
              <a:gd name="T38" fmla="*/ 118 w 218"/>
              <a:gd name="T39" fmla="*/ 164 h 198"/>
              <a:gd name="T40" fmla="*/ 120 w 218"/>
              <a:gd name="T41" fmla="*/ 121 h 198"/>
              <a:gd name="T42" fmla="*/ 76 w 218"/>
              <a:gd name="T43" fmla="*/ 85 h 198"/>
              <a:gd name="T44" fmla="*/ 49 w 218"/>
              <a:gd name="T45" fmla="*/ 63 h 198"/>
              <a:gd name="T46" fmla="*/ 29 w 218"/>
              <a:gd name="T47" fmla="*/ 28 h 198"/>
              <a:gd name="T48" fmla="*/ 0 w 218"/>
              <a:gd name="T49" fmla="*/ 35 h 198"/>
              <a:gd name="T50" fmla="*/ 13 w 218"/>
              <a:gd name="T51" fmla="*/ 20 h 1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218" h="198">
                <a:moveTo>
                  <a:pt x="13" y="20"/>
                </a:moveTo>
                <a:cubicBezTo>
                  <a:pt x="40" y="14"/>
                  <a:pt x="40" y="14"/>
                  <a:pt x="40" y="14"/>
                </a:cubicBezTo>
                <a:cubicBezTo>
                  <a:pt x="56" y="0"/>
                  <a:pt x="56" y="0"/>
                  <a:pt x="56" y="0"/>
                </a:cubicBezTo>
                <a:cubicBezTo>
                  <a:pt x="78" y="9"/>
                  <a:pt x="78" y="9"/>
                  <a:pt x="78" y="9"/>
                </a:cubicBezTo>
                <a:cubicBezTo>
                  <a:pt x="106" y="10"/>
                  <a:pt x="106" y="10"/>
                  <a:pt x="106" y="10"/>
                </a:cubicBezTo>
                <a:cubicBezTo>
                  <a:pt x="143" y="19"/>
                  <a:pt x="143" y="19"/>
                  <a:pt x="143" y="19"/>
                </a:cubicBezTo>
                <a:cubicBezTo>
                  <a:pt x="150" y="48"/>
                  <a:pt x="150" y="48"/>
                  <a:pt x="150" y="48"/>
                </a:cubicBezTo>
                <a:cubicBezTo>
                  <a:pt x="152" y="50"/>
                  <a:pt x="152" y="50"/>
                  <a:pt x="152" y="50"/>
                </a:cubicBezTo>
                <a:cubicBezTo>
                  <a:pt x="171" y="50"/>
                  <a:pt x="171" y="50"/>
                  <a:pt x="171" y="50"/>
                </a:cubicBezTo>
                <a:cubicBezTo>
                  <a:pt x="207" y="90"/>
                  <a:pt x="207" y="90"/>
                  <a:pt x="207" y="90"/>
                </a:cubicBezTo>
                <a:cubicBezTo>
                  <a:pt x="212" y="95"/>
                  <a:pt x="212" y="95"/>
                  <a:pt x="212" y="95"/>
                </a:cubicBezTo>
                <a:cubicBezTo>
                  <a:pt x="218" y="112"/>
                  <a:pt x="218" y="112"/>
                  <a:pt x="218" y="112"/>
                </a:cubicBezTo>
                <a:cubicBezTo>
                  <a:pt x="187" y="123"/>
                  <a:pt x="187" y="123"/>
                  <a:pt x="187" y="123"/>
                </a:cubicBezTo>
                <a:cubicBezTo>
                  <a:pt x="157" y="121"/>
                  <a:pt x="157" y="121"/>
                  <a:pt x="157" y="121"/>
                </a:cubicBezTo>
                <a:cubicBezTo>
                  <a:pt x="170" y="136"/>
                  <a:pt x="170" y="136"/>
                  <a:pt x="170" y="136"/>
                </a:cubicBezTo>
                <a:cubicBezTo>
                  <a:pt x="155" y="167"/>
                  <a:pt x="155" y="167"/>
                  <a:pt x="155" y="167"/>
                </a:cubicBezTo>
                <a:cubicBezTo>
                  <a:pt x="153" y="184"/>
                  <a:pt x="153" y="184"/>
                  <a:pt x="153" y="184"/>
                </a:cubicBezTo>
                <a:cubicBezTo>
                  <a:pt x="154" y="198"/>
                  <a:pt x="154" y="198"/>
                  <a:pt x="154" y="198"/>
                </a:cubicBezTo>
                <a:cubicBezTo>
                  <a:pt x="139" y="191"/>
                  <a:pt x="139" y="191"/>
                  <a:pt x="139" y="191"/>
                </a:cubicBezTo>
                <a:cubicBezTo>
                  <a:pt x="118" y="164"/>
                  <a:pt x="118" y="164"/>
                  <a:pt x="118" y="164"/>
                </a:cubicBezTo>
                <a:cubicBezTo>
                  <a:pt x="120" y="121"/>
                  <a:pt x="120" y="121"/>
                  <a:pt x="120" y="121"/>
                </a:cubicBezTo>
                <a:cubicBezTo>
                  <a:pt x="76" y="85"/>
                  <a:pt x="76" y="85"/>
                  <a:pt x="76" y="85"/>
                </a:cubicBezTo>
                <a:cubicBezTo>
                  <a:pt x="76" y="85"/>
                  <a:pt x="49" y="67"/>
                  <a:pt x="49" y="63"/>
                </a:cubicBezTo>
                <a:cubicBezTo>
                  <a:pt x="48" y="59"/>
                  <a:pt x="29" y="28"/>
                  <a:pt x="29" y="28"/>
                </a:cubicBezTo>
                <a:cubicBezTo>
                  <a:pt x="0" y="35"/>
                  <a:pt x="0" y="35"/>
                  <a:pt x="0" y="35"/>
                </a:cubicBezTo>
                <a:lnTo>
                  <a:pt x="13" y="20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4" name="Austria"/>
          <p:cNvSpPr>
            <a:spLocks/>
          </p:cNvSpPr>
          <p:nvPr/>
        </p:nvSpPr>
        <p:spPr bwMode="auto">
          <a:xfrm>
            <a:off x="8801626" y="4425950"/>
            <a:ext cx="1112838" cy="508000"/>
          </a:xfrm>
          <a:custGeom>
            <a:avLst/>
            <a:gdLst>
              <a:gd name="T0" fmla="*/ 400 w 701"/>
              <a:gd name="T1" fmla="*/ 45 h 320"/>
              <a:gd name="T2" fmla="*/ 421 w 701"/>
              <a:gd name="T3" fmla="*/ 63 h 320"/>
              <a:gd name="T4" fmla="*/ 447 w 701"/>
              <a:gd name="T5" fmla="*/ 63 h 320"/>
              <a:gd name="T6" fmla="*/ 479 w 701"/>
              <a:gd name="T7" fmla="*/ 63 h 320"/>
              <a:gd name="T8" fmla="*/ 508 w 701"/>
              <a:gd name="T9" fmla="*/ 0 h 320"/>
              <a:gd name="T10" fmla="*/ 526 w 701"/>
              <a:gd name="T11" fmla="*/ 16 h 320"/>
              <a:gd name="T12" fmla="*/ 548 w 701"/>
              <a:gd name="T13" fmla="*/ 12 h 320"/>
              <a:gd name="T14" fmla="*/ 595 w 701"/>
              <a:gd name="T15" fmla="*/ 31 h 320"/>
              <a:gd name="T16" fmla="*/ 653 w 701"/>
              <a:gd name="T17" fmla="*/ 18 h 320"/>
              <a:gd name="T18" fmla="*/ 678 w 701"/>
              <a:gd name="T19" fmla="*/ 31 h 320"/>
              <a:gd name="T20" fmla="*/ 672 w 701"/>
              <a:gd name="T21" fmla="*/ 78 h 320"/>
              <a:gd name="T22" fmla="*/ 701 w 701"/>
              <a:gd name="T23" fmla="*/ 101 h 320"/>
              <a:gd name="T24" fmla="*/ 701 w 701"/>
              <a:gd name="T25" fmla="*/ 155 h 320"/>
              <a:gd name="T26" fmla="*/ 634 w 701"/>
              <a:gd name="T27" fmla="*/ 159 h 320"/>
              <a:gd name="T28" fmla="*/ 649 w 701"/>
              <a:gd name="T29" fmla="*/ 184 h 320"/>
              <a:gd name="T30" fmla="*/ 636 w 701"/>
              <a:gd name="T31" fmla="*/ 213 h 320"/>
              <a:gd name="T32" fmla="*/ 654 w 701"/>
              <a:gd name="T33" fmla="*/ 233 h 320"/>
              <a:gd name="T34" fmla="*/ 618 w 701"/>
              <a:gd name="T35" fmla="*/ 278 h 320"/>
              <a:gd name="T36" fmla="*/ 564 w 701"/>
              <a:gd name="T37" fmla="*/ 296 h 320"/>
              <a:gd name="T38" fmla="*/ 517 w 701"/>
              <a:gd name="T39" fmla="*/ 282 h 320"/>
              <a:gd name="T40" fmla="*/ 488 w 701"/>
              <a:gd name="T41" fmla="*/ 320 h 320"/>
              <a:gd name="T42" fmla="*/ 410 w 701"/>
              <a:gd name="T43" fmla="*/ 314 h 320"/>
              <a:gd name="T44" fmla="*/ 326 w 701"/>
              <a:gd name="T45" fmla="*/ 302 h 320"/>
              <a:gd name="T46" fmla="*/ 264 w 701"/>
              <a:gd name="T47" fmla="*/ 289 h 320"/>
              <a:gd name="T48" fmla="*/ 259 w 701"/>
              <a:gd name="T49" fmla="*/ 246 h 320"/>
              <a:gd name="T50" fmla="*/ 235 w 701"/>
              <a:gd name="T51" fmla="*/ 262 h 320"/>
              <a:gd name="T52" fmla="*/ 159 w 701"/>
              <a:gd name="T53" fmla="*/ 264 h 320"/>
              <a:gd name="T54" fmla="*/ 150 w 701"/>
              <a:gd name="T55" fmla="*/ 291 h 320"/>
              <a:gd name="T56" fmla="*/ 125 w 701"/>
              <a:gd name="T57" fmla="*/ 282 h 320"/>
              <a:gd name="T58" fmla="*/ 112 w 701"/>
              <a:gd name="T59" fmla="*/ 260 h 320"/>
              <a:gd name="T60" fmla="*/ 94 w 701"/>
              <a:gd name="T61" fmla="*/ 283 h 320"/>
              <a:gd name="T62" fmla="*/ 47 w 701"/>
              <a:gd name="T63" fmla="*/ 282 h 320"/>
              <a:gd name="T64" fmla="*/ 24 w 701"/>
              <a:gd name="T65" fmla="*/ 269 h 320"/>
              <a:gd name="T66" fmla="*/ 0 w 701"/>
              <a:gd name="T67" fmla="*/ 247 h 320"/>
              <a:gd name="T68" fmla="*/ 20 w 701"/>
              <a:gd name="T69" fmla="*/ 222 h 320"/>
              <a:gd name="T70" fmla="*/ 11 w 701"/>
              <a:gd name="T71" fmla="*/ 202 h 320"/>
              <a:gd name="T72" fmla="*/ 51 w 701"/>
              <a:gd name="T73" fmla="*/ 199 h 320"/>
              <a:gd name="T74" fmla="*/ 73 w 701"/>
              <a:gd name="T75" fmla="*/ 233 h 320"/>
              <a:gd name="T76" fmla="*/ 102 w 701"/>
              <a:gd name="T77" fmla="*/ 195 h 320"/>
              <a:gd name="T78" fmla="*/ 129 w 701"/>
              <a:gd name="T79" fmla="*/ 199 h 320"/>
              <a:gd name="T80" fmla="*/ 152 w 701"/>
              <a:gd name="T81" fmla="*/ 220 h 320"/>
              <a:gd name="T82" fmla="*/ 217 w 701"/>
              <a:gd name="T83" fmla="*/ 186 h 320"/>
              <a:gd name="T84" fmla="*/ 259 w 701"/>
              <a:gd name="T85" fmla="*/ 168 h 320"/>
              <a:gd name="T86" fmla="*/ 317 w 701"/>
              <a:gd name="T87" fmla="*/ 202 h 320"/>
              <a:gd name="T88" fmla="*/ 318 w 701"/>
              <a:gd name="T89" fmla="*/ 181 h 320"/>
              <a:gd name="T90" fmla="*/ 329 w 701"/>
              <a:gd name="T91" fmla="*/ 153 h 320"/>
              <a:gd name="T92" fmla="*/ 307 w 701"/>
              <a:gd name="T93" fmla="*/ 128 h 320"/>
              <a:gd name="T94" fmla="*/ 356 w 701"/>
              <a:gd name="T95" fmla="*/ 97 h 320"/>
              <a:gd name="T96" fmla="*/ 360 w 701"/>
              <a:gd name="T97" fmla="*/ 81 h 320"/>
              <a:gd name="T98" fmla="*/ 400 w 701"/>
              <a:gd name="T99" fmla="*/ 70 h 320"/>
              <a:gd name="T100" fmla="*/ 400 w 701"/>
              <a:gd name="T101" fmla="*/ 45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701" h="320">
                <a:moveTo>
                  <a:pt x="400" y="45"/>
                </a:moveTo>
                <a:lnTo>
                  <a:pt x="421" y="63"/>
                </a:lnTo>
                <a:lnTo>
                  <a:pt x="447" y="63"/>
                </a:lnTo>
                <a:lnTo>
                  <a:pt x="479" y="63"/>
                </a:lnTo>
                <a:lnTo>
                  <a:pt x="508" y="0"/>
                </a:lnTo>
                <a:lnTo>
                  <a:pt x="526" y="16"/>
                </a:lnTo>
                <a:lnTo>
                  <a:pt x="548" y="12"/>
                </a:lnTo>
                <a:lnTo>
                  <a:pt x="595" y="31"/>
                </a:lnTo>
                <a:lnTo>
                  <a:pt x="653" y="18"/>
                </a:lnTo>
                <a:lnTo>
                  <a:pt x="678" y="31"/>
                </a:lnTo>
                <a:lnTo>
                  <a:pt x="672" y="78"/>
                </a:lnTo>
                <a:lnTo>
                  <a:pt x="701" y="101"/>
                </a:lnTo>
                <a:lnTo>
                  <a:pt x="701" y="155"/>
                </a:lnTo>
                <a:lnTo>
                  <a:pt x="634" y="159"/>
                </a:lnTo>
                <a:lnTo>
                  <a:pt x="649" y="184"/>
                </a:lnTo>
                <a:lnTo>
                  <a:pt x="636" y="213"/>
                </a:lnTo>
                <a:lnTo>
                  <a:pt x="654" y="233"/>
                </a:lnTo>
                <a:lnTo>
                  <a:pt x="618" y="278"/>
                </a:lnTo>
                <a:lnTo>
                  <a:pt x="564" y="296"/>
                </a:lnTo>
                <a:lnTo>
                  <a:pt x="517" y="282"/>
                </a:lnTo>
                <a:lnTo>
                  <a:pt x="488" y="320"/>
                </a:lnTo>
                <a:lnTo>
                  <a:pt x="410" y="314"/>
                </a:lnTo>
                <a:lnTo>
                  <a:pt x="326" y="302"/>
                </a:lnTo>
                <a:lnTo>
                  <a:pt x="264" y="289"/>
                </a:lnTo>
                <a:lnTo>
                  <a:pt x="259" y="246"/>
                </a:lnTo>
                <a:lnTo>
                  <a:pt x="235" y="262"/>
                </a:lnTo>
                <a:lnTo>
                  <a:pt x="159" y="264"/>
                </a:lnTo>
                <a:lnTo>
                  <a:pt x="150" y="291"/>
                </a:lnTo>
                <a:lnTo>
                  <a:pt x="125" y="282"/>
                </a:lnTo>
                <a:lnTo>
                  <a:pt x="112" y="260"/>
                </a:lnTo>
                <a:lnTo>
                  <a:pt x="94" y="283"/>
                </a:lnTo>
                <a:lnTo>
                  <a:pt x="47" y="282"/>
                </a:lnTo>
                <a:lnTo>
                  <a:pt x="24" y="269"/>
                </a:lnTo>
                <a:lnTo>
                  <a:pt x="0" y="247"/>
                </a:lnTo>
                <a:lnTo>
                  <a:pt x="20" y="222"/>
                </a:lnTo>
                <a:lnTo>
                  <a:pt x="11" y="202"/>
                </a:lnTo>
                <a:lnTo>
                  <a:pt x="51" y="199"/>
                </a:lnTo>
                <a:lnTo>
                  <a:pt x="73" y="233"/>
                </a:lnTo>
                <a:lnTo>
                  <a:pt x="102" y="195"/>
                </a:lnTo>
                <a:lnTo>
                  <a:pt x="129" y="199"/>
                </a:lnTo>
                <a:lnTo>
                  <a:pt x="152" y="220"/>
                </a:lnTo>
                <a:lnTo>
                  <a:pt x="217" y="186"/>
                </a:lnTo>
                <a:lnTo>
                  <a:pt x="259" y="168"/>
                </a:lnTo>
                <a:lnTo>
                  <a:pt x="317" y="202"/>
                </a:lnTo>
                <a:lnTo>
                  <a:pt x="318" y="181"/>
                </a:lnTo>
                <a:lnTo>
                  <a:pt x="329" y="153"/>
                </a:lnTo>
                <a:lnTo>
                  <a:pt x="307" y="128"/>
                </a:lnTo>
                <a:lnTo>
                  <a:pt x="356" y="97"/>
                </a:lnTo>
                <a:lnTo>
                  <a:pt x="360" y="81"/>
                </a:lnTo>
                <a:lnTo>
                  <a:pt x="400" y="70"/>
                </a:lnTo>
                <a:lnTo>
                  <a:pt x="400" y="45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25" name="Italy"/>
          <p:cNvGrpSpPr>
            <a:grpSpLocks/>
          </p:cNvGrpSpPr>
          <p:nvPr/>
        </p:nvGrpSpPr>
        <p:grpSpPr>
          <a:xfrm>
            <a:off x="8377763" y="4816475"/>
            <a:ext cx="1935163" cy="2041526"/>
            <a:chOff x="8398783" y="4816475"/>
            <a:chExt cx="1935163" cy="2041526"/>
          </a:xfrm>
          <a:solidFill>
            <a:schemeClr val="accent3"/>
          </a:solidFill>
        </p:grpSpPr>
        <p:sp>
          <p:nvSpPr>
            <p:cNvPr id="26" name="Italy"/>
            <p:cNvSpPr>
              <a:spLocks/>
            </p:cNvSpPr>
            <p:nvPr/>
          </p:nvSpPr>
          <p:spPr bwMode="auto">
            <a:xfrm>
              <a:off x="8398783" y="4816475"/>
              <a:ext cx="1935163" cy="1749425"/>
            </a:xfrm>
            <a:custGeom>
              <a:avLst/>
              <a:gdLst>
                <a:gd name="T0" fmla="*/ 121 w 1219"/>
                <a:gd name="T1" fmla="*/ 410 h 1102"/>
                <a:gd name="T2" fmla="*/ 94 w 1219"/>
                <a:gd name="T3" fmla="*/ 348 h 1102"/>
                <a:gd name="T4" fmla="*/ 25 w 1219"/>
                <a:gd name="T5" fmla="*/ 278 h 1102"/>
                <a:gd name="T6" fmla="*/ 42 w 1219"/>
                <a:gd name="T7" fmla="*/ 196 h 1102"/>
                <a:gd name="T8" fmla="*/ 25 w 1219"/>
                <a:gd name="T9" fmla="*/ 151 h 1102"/>
                <a:gd name="T10" fmla="*/ 163 w 1219"/>
                <a:gd name="T11" fmla="*/ 92 h 1102"/>
                <a:gd name="T12" fmla="*/ 208 w 1219"/>
                <a:gd name="T13" fmla="*/ 122 h 1102"/>
                <a:gd name="T14" fmla="*/ 229 w 1219"/>
                <a:gd name="T15" fmla="*/ 164 h 1102"/>
                <a:gd name="T16" fmla="*/ 224 w 1219"/>
                <a:gd name="T17" fmla="*/ 137 h 1102"/>
                <a:gd name="T18" fmla="*/ 253 w 1219"/>
                <a:gd name="T19" fmla="*/ 83 h 1102"/>
                <a:gd name="T20" fmla="*/ 280 w 1219"/>
                <a:gd name="T21" fmla="*/ 108 h 1102"/>
                <a:gd name="T22" fmla="*/ 331 w 1219"/>
                <a:gd name="T23" fmla="*/ 124 h 1102"/>
                <a:gd name="T24" fmla="*/ 325 w 1219"/>
                <a:gd name="T25" fmla="*/ 74 h 1102"/>
                <a:gd name="T26" fmla="*/ 369 w 1219"/>
                <a:gd name="T27" fmla="*/ 83 h 1102"/>
                <a:gd name="T28" fmla="*/ 392 w 1219"/>
                <a:gd name="T29" fmla="*/ 36 h 1102"/>
                <a:gd name="T30" fmla="*/ 426 w 1219"/>
                <a:gd name="T31" fmla="*/ 18 h 1102"/>
                <a:gd name="T32" fmla="*/ 526 w 1219"/>
                <a:gd name="T33" fmla="*/ 0 h 1102"/>
                <a:gd name="T34" fmla="*/ 593 w 1219"/>
                <a:gd name="T35" fmla="*/ 56 h 1102"/>
                <a:gd name="T36" fmla="*/ 638 w 1219"/>
                <a:gd name="T37" fmla="*/ 92 h 1102"/>
                <a:gd name="T38" fmla="*/ 656 w 1219"/>
                <a:gd name="T39" fmla="*/ 133 h 1102"/>
                <a:gd name="T40" fmla="*/ 679 w 1219"/>
                <a:gd name="T41" fmla="*/ 195 h 1102"/>
                <a:gd name="T42" fmla="*/ 650 w 1219"/>
                <a:gd name="T43" fmla="*/ 171 h 1102"/>
                <a:gd name="T44" fmla="*/ 612 w 1219"/>
                <a:gd name="T45" fmla="*/ 186 h 1102"/>
                <a:gd name="T46" fmla="*/ 535 w 1219"/>
                <a:gd name="T47" fmla="*/ 206 h 1102"/>
                <a:gd name="T48" fmla="*/ 565 w 1219"/>
                <a:gd name="T49" fmla="*/ 290 h 1102"/>
                <a:gd name="T50" fmla="*/ 556 w 1219"/>
                <a:gd name="T51" fmla="*/ 355 h 1102"/>
                <a:gd name="T52" fmla="*/ 679 w 1219"/>
                <a:gd name="T53" fmla="*/ 421 h 1102"/>
                <a:gd name="T54" fmla="*/ 784 w 1219"/>
                <a:gd name="T55" fmla="*/ 589 h 1102"/>
                <a:gd name="T56" fmla="*/ 822 w 1219"/>
                <a:gd name="T57" fmla="*/ 617 h 1102"/>
                <a:gd name="T58" fmla="*/ 927 w 1219"/>
                <a:gd name="T59" fmla="*/ 617 h 1102"/>
                <a:gd name="T60" fmla="*/ 952 w 1219"/>
                <a:gd name="T61" fmla="*/ 612 h 1102"/>
                <a:gd name="T62" fmla="*/ 927 w 1219"/>
                <a:gd name="T63" fmla="*/ 661 h 1102"/>
                <a:gd name="T64" fmla="*/ 1004 w 1219"/>
                <a:gd name="T65" fmla="*/ 697 h 1102"/>
                <a:gd name="T66" fmla="*/ 1073 w 1219"/>
                <a:gd name="T67" fmla="*/ 711 h 1102"/>
                <a:gd name="T68" fmla="*/ 1158 w 1219"/>
                <a:gd name="T69" fmla="*/ 746 h 1102"/>
                <a:gd name="T70" fmla="*/ 1207 w 1219"/>
                <a:gd name="T71" fmla="*/ 784 h 1102"/>
                <a:gd name="T72" fmla="*/ 1203 w 1219"/>
                <a:gd name="T73" fmla="*/ 851 h 1102"/>
                <a:gd name="T74" fmla="*/ 1162 w 1219"/>
                <a:gd name="T75" fmla="*/ 800 h 1102"/>
                <a:gd name="T76" fmla="*/ 1089 w 1219"/>
                <a:gd name="T77" fmla="*/ 791 h 1102"/>
                <a:gd name="T78" fmla="*/ 1019 w 1219"/>
                <a:gd name="T79" fmla="*/ 831 h 1102"/>
                <a:gd name="T80" fmla="*/ 1008 w 1219"/>
                <a:gd name="T81" fmla="*/ 869 h 1102"/>
                <a:gd name="T82" fmla="*/ 1039 w 1219"/>
                <a:gd name="T83" fmla="*/ 879 h 1102"/>
                <a:gd name="T84" fmla="*/ 1084 w 1219"/>
                <a:gd name="T85" fmla="*/ 930 h 1102"/>
                <a:gd name="T86" fmla="*/ 1089 w 1219"/>
                <a:gd name="T87" fmla="*/ 963 h 1102"/>
                <a:gd name="T88" fmla="*/ 1028 w 1219"/>
                <a:gd name="T89" fmla="*/ 1024 h 1102"/>
                <a:gd name="T90" fmla="*/ 981 w 1219"/>
                <a:gd name="T91" fmla="*/ 1102 h 1102"/>
                <a:gd name="T92" fmla="*/ 925 w 1219"/>
                <a:gd name="T93" fmla="*/ 1062 h 1102"/>
                <a:gd name="T94" fmla="*/ 950 w 1219"/>
                <a:gd name="T95" fmla="*/ 999 h 1102"/>
                <a:gd name="T96" fmla="*/ 968 w 1219"/>
                <a:gd name="T97" fmla="*/ 950 h 1102"/>
                <a:gd name="T98" fmla="*/ 927 w 1219"/>
                <a:gd name="T99" fmla="*/ 845 h 1102"/>
                <a:gd name="T100" fmla="*/ 844 w 1219"/>
                <a:gd name="T101" fmla="*/ 822 h 1102"/>
                <a:gd name="T102" fmla="*/ 780 w 1219"/>
                <a:gd name="T103" fmla="*/ 787 h 1102"/>
                <a:gd name="T104" fmla="*/ 739 w 1219"/>
                <a:gd name="T105" fmla="*/ 766 h 1102"/>
                <a:gd name="T106" fmla="*/ 676 w 1219"/>
                <a:gd name="T107" fmla="*/ 711 h 1102"/>
                <a:gd name="T108" fmla="*/ 618 w 1219"/>
                <a:gd name="T109" fmla="*/ 693 h 1102"/>
                <a:gd name="T110" fmla="*/ 538 w 1219"/>
                <a:gd name="T111" fmla="*/ 646 h 1102"/>
                <a:gd name="T112" fmla="*/ 495 w 1219"/>
                <a:gd name="T113" fmla="*/ 607 h 1102"/>
                <a:gd name="T114" fmla="*/ 430 w 1219"/>
                <a:gd name="T115" fmla="*/ 581 h 1102"/>
                <a:gd name="T116" fmla="*/ 361 w 1219"/>
                <a:gd name="T117" fmla="*/ 505 h 1102"/>
                <a:gd name="T118" fmla="*/ 349 w 1219"/>
                <a:gd name="T119" fmla="*/ 430 h 1102"/>
                <a:gd name="T120" fmla="*/ 298 w 1219"/>
                <a:gd name="T121" fmla="*/ 383 h 1102"/>
                <a:gd name="T122" fmla="*/ 240 w 1219"/>
                <a:gd name="T123" fmla="*/ 352 h 1102"/>
                <a:gd name="T124" fmla="*/ 159 w 1219"/>
                <a:gd name="T125" fmla="*/ 352 h 1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19" h="1102">
                  <a:moveTo>
                    <a:pt x="141" y="377"/>
                  </a:moveTo>
                  <a:lnTo>
                    <a:pt x="121" y="410"/>
                  </a:lnTo>
                  <a:lnTo>
                    <a:pt x="70" y="410"/>
                  </a:lnTo>
                  <a:lnTo>
                    <a:pt x="94" y="348"/>
                  </a:lnTo>
                  <a:lnTo>
                    <a:pt x="14" y="336"/>
                  </a:lnTo>
                  <a:lnTo>
                    <a:pt x="25" y="278"/>
                  </a:lnTo>
                  <a:lnTo>
                    <a:pt x="0" y="242"/>
                  </a:lnTo>
                  <a:lnTo>
                    <a:pt x="42" y="196"/>
                  </a:lnTo>
                  <a:lnTo>
                    <a:pt x="2" y="162"/>
                  </a:lnTo>
                  <a:lnTo>
                    <a:pt x="25" y="151"/>
                  </a:lnTo>
                  <a:lnTo>
                    <a:pt x="126" y="148"/>
                  </a:lnTo>
                  <a:lnTo>
                    <a:pt x="163" y="92"/>
                  </a:lnTo>
                  <a:lnTo>
                    <a:pt x="181" y="117"/>
                  </a:lnTo>
                  <a:lnTo>
                    <a:pt x="208" y="122"/>
                  </a:lnTo>
                  <a:lnTo>
                    <a:pt x="208" y="153"/>
                  </a:lnTo>
                  <a:lnTo>
                    <a:pt x="229" y="164"/>
                  </a:lnTo>
                  <a:lnTo>
                    <a:pt x="244" y="153"/>
                  </a:lnTo>
                  <a:lnTo>
                    <a:pt x="224" y="137"/>
                  </a:lnTo>
                  <a:lnTo>
                    <a:pt x="253" y="110"/>
                  </a:lnTo>
                  <a:lnTo>
                    <a:pt x="253" y="83"/>
                  </a:lnTo>
                  <a:lnTo>
                    <a:pt x="262" y="74"/>
                  </a:lnTo>
                  <a:lnTo>
                    <a:pt x="280" y="108"/>
                  </a:lnTo>
                  <a:lnTo>
                    <a:pt x="311" y="95"/>
                  </a:lnTo>
                  <a:lnTo>
                    <a:pt x="331" y="124"/>
                  </a:lnTo>
                  <a:lnTo>
                    <a:pt x="343" y="108"/>
                  </a:lnTo>
                  <a:lnTo>
                    <a:pt x="325" y="74"/>
                  </a:lnTo>
                  <a:lnTo>
                    <a:pt x="343" y="63"/>
                  </a:lnTo>
                  <a:lnTo>
                    <a:pt x="369" y="83"/>
                  </a:lnTo>
                  <a:lnTo>
                    <a:pt x="372" y="50"/>
                  </a:lnTo>
                  <a:lnTo>
                    <a:pt x="392" y="36"/>
                  </a:lnTo>
                  <a:lnTo>
                    <a:pt x="417" y="45"/>
                  </a:lnTo>
                  <a:lnTo>
                    <a:pt x="426" y="18"/>
                  </a:lnTo>
                  <a:lnTo>
                    <a:pt x="502" y="16"/>
                  </a:lnTo>
                  <a:lnTo>
                    <a:pt x="526" y="0"/>
                  </a:lnTo>
                  <a:lnTo>
                    <a:pt x="531" y="43"/>
                  </a:lnTo>
                  <a:lnTo>
                    <a:pt x="593" y="56"/>
                  </a:lnTo>
                  <a:lnTo>
                    <a:pt x="685" y="68"/>
                  </a:lnTo>
                  <a:lnTo>
                    <a:pt x="638" y="92"/>
                  </a:lnTo>
                  <a:lnTo>
                    <a:pt x="672" y="110"/>
                  </a:lnTo>
                  <a:lnTo>
                    <a:pt x="656" y="133"/>
                  </a:lnTo>
                  <a:lnTo>
                    <a:pt x="699" y="171"/>
                  </a:lnTo>
                  <a:lnTo>
                    <a:pt x="679" y="195"/>
                  </a:lnTo>
                  <a:lnTo>
                    <a:pt x="668" y="159"/>
                  </a:lnTo>
                  <a:lnTo>
                    <a:pt x="650" y="171"/>
                  </a:lnTo>
                  <a:lnTo>
                    <a:pt x="618" y="160"/>
                  </a:lnTo>
                  <a:lnTo>
                    <a:pt x="612" y="186"/>
                  </a:lnTo>
                  <a:lnTo>
                    <a:pt x="567" y="213"/>
                  </a:lnTo>
                  <a:lnTo>
                    <a:pt x="535" y="206"/>
                  </a:lnTo>
                  <a:lnTo>
                    <a:pt x="564" y="269"/>
                  </a:lnTo>
                  <a:lnTo>
                    <a:pt x="565" y="290"/>
                  </a:lnTo>
                  <a:lnTo>
                    <a:pt x="540" y="305"/>
                  </a:lnTo>
                  <a:lnTo>
                    <a:pt x="556" y="355"/>
                  </a:lnTo>
                  <a:lnTo>
                    <a:pt x="656" y="421"/>
                  </a:lnTo>
                  <a:lnTo>
                    <a:pt x="679" y="421"/>
                  </a:lnTo>
                  <a:lnTo>
                    <a:pt x="735" y="542"/>
                  </a:lnTo>
                  <a:lnTo>
                    <a:pt x="784" y="589"/>
                  </a:lnTo>
                  <a:lnTo>
                    <a:pt x="797" y="589"/>
                  </a:lnTo>
                  <a:lnTo>
                    <a:pt x="822" y="617"/>
                  </a:lnTo>
                  <a:lnTo>
                    <a:pt x="896" y="617"/>
                  </a:lnTo>
                  <a:lnTo>
                    <a:pt x="927" y="617"/>
                  </a:lnTo>
                  <a:lnTo>
                    <a:pt x="934" y="607"/>
                  </a:lnTo>
                  <a:lnTo>
                    <a:pt x="952" y="612"/>
                  </a:lnTo>
                  <a:lnTo>
                    <a:pt x="952" y="630"/>
                  </a:lnTo>
                  <a:lnTo>
                    <a:pt x="927" y="661"/>
                  </a:lnTo>
                  <a:lnTo>
                    <a:pt x="952" y="679"/>
                  </a:lnTo>
                  <a:lnTo>
                    <a:pt x="1004" y="697"/>
                  </a:lnTo>
                  <a:lnTo>
                    <a:pt x="1039" y="704"/>
                  </a:lnTo>
                  <a:lnTo>
                    <a:pt x="1073" y="711"/>
                  </a:lnTo>
                  <a:lnTo>
                    <a:pt x="1100" y="733"/>
                  </a:lnTo>
                  <a:lnTo>
                    <a:pt x="1158" y="746"/>
                  </a:lnTo>
                  <a:lnTo>
                    <a:pt x="1167" y="767"/>
                  </a:lnTo>
                  <a:lnTo>
                    <a:pt x="1207" y="784"/>
                  </a:lnTo>
                  <a:lnTo>
                    <a:pt x="1219" y="809"/>
                  </a:lnTo>
                  <a:lnTo>
                    <a:pt x="1203" y="851"/>
                  </a:lnTo>
                  <a:lnTo>
                    <a:pt x="1169" y="834"/>
                  </a:lnTo>
                  <a:lnTo>
                    <a:pt x="1162" y="800"/>
                  </a:lnTo>
                  <a:lnTo>
                    <a:pt x="1144" y="787"/>
                  </a:lnTo>
                  <a:lnTo>
                    <a:pt x="1089" y="791"/>
                  </a:lnTo>
                  <a:lnTo>
                    <a:pt x="1059" y="773"/>
                  </a:lnTo>
                  <a:lnTo>
                    <a:pt x="1019" y="831"/>
                  </a:lnTo>
                  <a:lnTo>
                    <a:pt x="1023" y="851"/>
                  </a:lnTo>
                  <a:lnTo>
                    <a:pt x="1008" y="869"/>
                  </a:lnTo>
                  <a:lnTo>
                    <a:pt x="1010" y="879"/>
                  </a:lnTo>
                  <a:lnTo>
                    <a:pt x="1039" y="879"/>
                  </a:lnTo>
                  <a:lnTo>
                    <a:pt x="1084" y="903"/>
                  </a:lnTo>
                  <a:lnTo>
                    <a:pt x="1084" y="930"/>
                  </a:lnTo>
                  <a:lnTo>
                    <a:pt x="1098" y="939"/>
                  </a:lnTo>
                  <a:lnTo>
                    <a:pt x="1089" y="963"/>
                  </a:lnTo>
                  <a:lnTo>
                    <a:pt x="1026" y="990"/>
                  </a:lnTo>
                  <a:lnTo>
                    <a:pt x="1028" y="1024"/>
                  </a:lnTo>
                  <a:lnTo>
                    <a:pt x="1004" y="1055"/>
                  </a:lnTo>
                  <a:lnTo>
                    <a:pt x="981" y="1102"/>
                  </a:lnTo>
                  <a:lnTo>
                    <a:pt x="950" y="1102"/>
                  </a:lnTo>
                  <a:lnTo>
                    <a:pt x="925" y="1062"/>
                  </a:lnTo>
                  <a:lnTo>
                    <a:pt x="954" y="1038"/>
                  </a:lnTo>
                  <a:lnTo>
                    <a:pt x="950" y="999"/>
                  </a:lnTo>
                  <a:lnTo>
                    <a:pt x="997" y="984"/>
                  </a:lnTo>
                  <a:lnTo>
                    <a:pt x="968" y="950"/>
                  </a:lnTo>
                  <a:lnTo>
                    <a:pt x="939" y="883"/>
                  </a:lnTo>
                  <a:lnTo>
                    <a:pt x="927" y="845"/>
                  </a:lnTo>
                  <a:lnTo>
                    <a:pt x="874" y="849"/>
                  </a:lnTo>
                  <a:lnTo>
                    <a:pt x="844" y="822"/>
                  </a:lnTo>
                  <a:lnTo>
                    <a:pt x="826" y="776"/>
                  </a:lnTo>
                  <a:lnTo>
                    <a:pt x="780" y="787"/>
                  </a:lnTo>
                  <a:lnTo>
                    <a:pt x="780" y="760"/>
                  </a:lnTo>
                  <a:lnTo>
                    <a:pt x="739" y="766"/>
                  </a:lnTo>
                  <a:lnTo>
                    <a:pt x="706" y="706"/>
                  </a:lnTo>
                  <a:lnTo>
                    <a:pt x="676" y="711"/>
                  </a:lnTo>
                  <a:lnTo>
                    <a:pt x="634" y="715"/>
                  </a:lnTo>
                  <a:lnTo>
                    <a:pt x="618" y="693"/>
                  </a:lnTo>
                  <a:lnTo>
                    <a:pt x="593" y="693"/>
                  </a:lnTo>
                  <a:lnTo>
                    <a:pt x="538" y="646"/>
                  </a:lnTo>
                  <a:lnTo>
                    <a:pt x="515" y="610"/>
                  </a:lnTo>
                  <a:lnTo>
                    <a:pt x="495" y="607"/>
                  </a:lnTo>
                  <a:lnTo>
                    <a:pt x="470" y="583"/>
                  </a:lnTo>
                  <a:lnTo>
                    <a:pt x="430" y="581"/>
                  </a:lnTo>
                  <a:lnTo>
                    <a:pt x="435" y="560"/>
                  </a:lnTo>
                  <a:lnTo>
                    <a:pt x="361" y="505"/>
                  </a:lnTo>
                  <a:lnTo>
                    <a:pt x="370" y="473"/>
                  </a:lnTo>
                  <a:lnTo>
                    <a:pt x="349" y="430"/>
                  </a:lnTo>
                  <a:lnTo>
                    <a:pt x="349" y="390"/>
                  </a:lnTo>
                  <a:lnTo>
                    <a:pt x="298" y="383"/>
                  </a:lnTo>
                  <a:lnTo>
                    <a:pt x="255" y="346"/>
                  </a:lnTo>
                  <a:lnTo>
                    <a:pt x="240" y="352"/>
                  </a:lnTo>
                  <a:lnTo>
                    <a:pt x="210" y="332"/>
                  </a:lnTo>
                  <a:lnTo>
                    <a:pt x="159" y="352"/>
                  </a:lnTo>
                  <a:lnTo>
                    <a:pt x="141" y="37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Italy"/>
            <p:cNvSpPr>
              <a:spLocks/>
            </p:cNvSpPr>
            <p:nvPr/>
          </p:nvSpPr>
          <p:spPr bwMode="auto">
            <a:xfrm>
              <a:off x="8740096" y="5691188"/>
              <a:ext cx="157163" cy="355600"/>
            </a:xfrm>
            <a:custGeom>
              <a:avLst/>
              <a:gdLst>
                <a:gd name="T0" fmla="*/ 42 w 99"/>
                <a:gd name="T1" fmla="*/ 50 h 224"/>
                <a:gd name="T2" fmla="*/ 52 w 99"/>
                <a:gd name="T3" fmla="*/ 18 h 224"/>
                <a:gd name="T4" fmla="*/ 63 w 99"/>
                <a:gd name="T5" fmla="*/ 0 h 224"/>
                <a:gd name="T6" fmla="*/ 63 w 99"/>
                <a:gd name="T7" fmla="*/ 50 h 224"/>
                <a:gd name="T8" fmla="*/ 99 w 99"/>
                <a:gd name="T9" fmla="*/ 103 h 224"/>
                <a:gd name="T10" fmla="*/ 85 w 99"/>
                <a:gd name="T11" fmla="*/ 144 h 224"/>
                <a:gd name="T12" fmla="*/ 99 w 99"/>
                <a:gd name="T13" fmla="*/ 164 h 224"/>
                <a:gd name="T14" fmla="*/ 85 w 99"/>
                <a:gd name="T15" fmla="*/ 224 h 224"/>
                <a:gd name="T16" fmla="*/ 52 w 99"/>
                <a:gd name="T17" fmla="*/ 193 h 224"/>
                <a:gd name="T18" fmla="*/ 42 w 99"/>
                <a:gd name="T19" fmla="*/ 169 h 224"/>
                <a:gd name="T20" fmla="*/ 14 w 99"/>
                <a:gd name="T21" fmla="*/ 162 h 224"/>
                <a:gd name="T22" fmla="*/ 14 w 99"/>
                <a:gd name="T23" fmla="*/ 121 h 224"/>
                <a:gd name="T24" fmla="*/ 0 w 99"/>
                <a:gd name="T25" fmla="*/ 95 h 224"/>
                <a:gd name="T26" fmla="*/ 23 w 99"/>
                <a:gd name="T27" fmla="*/ 61 h 224"/>
                <a:gd name="T28" fmla="*/ 42 w 99"/>
                <a:gd name="T29" fmla="*/ 5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224">
                  <a:moveTo>
                    <a:pt x="42" y="50"/>
                  </a:moveTo>
                  <a:lnTo>
                    <a:pt x="52" y="18"/>
                  </a:lnTo>
                  <a:lnTo>
                    <a:pt x="63" y="0"/>
                  </a:lnTo>
                  <a:lnTo>
                    <a:pt x="63" y="50"/>
                  </a:lnTo>
                  <a:lnTo>
                    <a:pt x="99" y="103"/>
                  </a:lnTo>
                  <a:lnTo>
                    <a:pt x="85" y="144"/>
                  </a:lnTo>
                  <a:lnTo>
                    <a:pt x="99" y="164"/>
                  </a:lnTo>
                  <a:lnTo>
                    <a:pt x="85" y="224"/>
                  </a:lnTo>
                  <a:lnTo>
                    <a:pt x="52" y="193"/>
                  </a:lnTo>
                  <a:lnTo>
                    <a:pt x="42" y="169"/>
                  </a:lnTo>
                  <a:lnTo>
                    <a:pt x="14" y="162"/>
                  </a:lnTo>
                  <a:lnTo>
                    <a:pt x="14" y="121"/>
                  </a:lnTo>
                  <a:lnTo>
                    <a:pt x="0" y="95"/>
                  </a:lnTo>
                  <a:lnTo>
                    <a:pt x="23" y="61"/>
                  </a:lnTo>
                  <a:lnTo>
                    <a:pt x="42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Italy"/>
            <p:cNvSpPr>
              <a:spLocks/>
            </p:cNvSpPr>
            <p:nvPr/>
          </p:nvSpPr>
          <p:spPr bwMode="auto">
            <a:xfrm>
              <a:off x="8757558" y="6069013"/>
              <a:ext cx="295275" cy="533400"/>
            </a:xfrm>
            <a:custGeom>
              <a:avLst/>
              <a:gdLst>
                <a:gd name="T0" fmla="*/ 0 w 186"/>
                <a:gd name="T1" fmla="*/ 60 h 336"/>
                <a:gd name="T2" fmla="*/ 31 w 186"/>
                <a:gd name="T3" fmla="*/ 69 h 336"/>
                <a:gd name="T4" fmla="*/ 63 w 186"/>
                <a:gd name="T5" fmla="*/ 36 h 336"/>
                <a:gd name="T6" fmla="*/ 78 w 186"/>
                <a:gd name="T7" fmla="*/ 9 h 336"/>
                <a:gd name="T8" fmla="*/ 105 w 186"/>
                <a:gd name="T9" fmla="*/ 0 h 336"/>
                <a:gd name="T10" fmla="*/ 115 w 186"/>
                <a:gd name="T11" fmla="*/ 34 h 336"/>
                <a:gd name="T12" fmla="*/ 159 w 186"/>
                <a:gd name="T13" fmla="*/ 98 h 336"/>
                <a:gd name="T14" fmla="*/ 144 w 186"/>
                <a:gd name="T15" fmla="*/ 123 h 336"/>
                <a:gd name="T16" fmla="*/ 159 w 186"/>
                <a:gd name="T17" fmla="*/ 145 h 336"/>
                <a:gd name="T18" fmla="*/ 186 w 186"/>
                <a:gd name="T19" fmla="*/ 248 h 336"/>
                <a:gd name="T20" fmla="*/ 186 w 186"/>
                <a:gd name="T21" fmla="*/ 282 h 336"/>
                <a:gd name="T22" fmla="*/ 152 w 186"/>
                <a:gd name="T23" fmla="*/ 282 h 336"/>
                <a:gd name="T24" fmla="*/ 132 w 186"/>
                <a:gd name="T25" fmla="*/ 282 h 336"/>
                <a:gd name="T26" fmla="*/ 137 w 186"/>
                <a:gd name="T27" fmla="*/ 313 h 336"/>
                <a:gd name="T28" fmla="*/ 115 w 186"/>
                <a:gd name="T29" fmla="*/ 336 h 336"/>
                <a:gd name="T30" fmla="*/ 78 w 186"/>
                <a:gd name="T31" fmla="*/ 295 h 336"/>
                <a:gd name="T32" fmla="*/ 78 w 186"/>
                <a:gd name="T33" fmla="*/ 201 h 336"/>
                <a:gd name="T34" fmla="*/ 49 w 186"/>
                <a:gd name="T35" fmla="*/ 168 h 336"/>
                <a:gd name="T36" fmla="*/ 41 w 186"/>
                <a:gd name="T37" fmla="*/ 132 h 336"/>
                <a:gd name="T38" fmla="*/ 14 w 186"/>
                <a:gd name="T39" fmla="*/ 110 h 336"/>
                <a:gd name="T40" fmla="*/ 0 w 186"/>
                <a:gd name="T41" fmla="*/ 6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6" h="336">
                  <a:moveTo>
                    <a:pt x="0" y="60"/>
                  </a:moveTo>
                  <a:lnTo>
                    <a:pt x="31" y="69"/>
                  </a:lnTo>
                  <a:lnTo>
                    <a:pt x="63" y="36"/>
                  </a:lnTo>
                  <a:lnTo>
                    <a:pt x="78" y="9"/>
                  </a:lnTo>
                  <a:lnTo>
                    <a:pt x="105" y="0"/>
                  </a:lnTo>
                  <a:lnTo>
                    <a:pt x="115" y="34"/>
                  </a:lnTo>
                  <a:lnTo>
                    <a:pt x="159" y="98"/>
                  </a:lnTo>
                  <a:lnTo>
                    <a:pt x="144" y="123"/>
                  </a:lnTo>
                  <a:lnTo>
                    <a:pt x="159" y="145"/>
                  </a:lnTo>
                  <a:lnTo>
                    <a:pt x="186" y="248"/>
                  </a:lnTo>
                  <a:lnTo>
                    <a:pt x="186" y="282"/>
                  </a:lnTo>
                  <a:lnTo>
                    <a:pt x="152" y="282"/>
                  </a:lnTo>
                  <a:lnTo>
                    <a:pt x="132" y="282"/>
                  </a:lnTo>
                  <a:lnTo>
                    <a:pt x="137" y="313"/>
                  </a:lnTo>
                  <a:lnTo>
                    <a:pt x="115" y="336"/>
                  </a:lnTo>
                  <a:lnTo>
                    <a:pt x="78" y="295"/>
                  </a:lnTo>
                  <a:lnTo>
                    <a:pt x="78" y="201"/>
                  </a:lnTo>
                  <a:lnTo>
                    <a:pt x="49" y="168"/>
                  </a:lnTo>
                  <a:lnTo>
                    <a:pt x="41" y="132"/>
                  </a:lnTo>
                  <a:lnTo>
                    <a:pt x="14" y="110"/>
                  </a:lnTo>
                  <a:lnTo>
                    <a:pt x="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Italy"/>
            <p:cNvSpPr>
              <a:spLocks/>
            </p:cNvSpPr>
            <p:nvPr/>
          </p:nvSpPr>
          <p:spPr bwMode="auto">
            <a:xfrm>
              <a:off x="9462408" y="6516688"/>
              <a:ext cx="439738" cy="341313"/>
            </a:xfrm>
            <a:custGeom>
              <a:avLst/>
              <a:gdLst>
                <a:gd name="T0" fmla="*/ 215 w 277"/>
                <a:gd name="T1" fmla="*/ 36 h 215"/>
                <a:gd name="T2" fmla="*/ 248 w 277"/>
                <a:gd name="T3" fmla="*/ 0 h 215"/>
                <a:gd name="T4" fmla="*/ 253 w 277"/>
                <a:gd name="T5" fmla="*/ 31 h 215"/>
                <a:gd name="T6" fmla="*/ 235 w 277"/>
                <a:gd name="T7" fmla="*/ 74 h 215"/>
                <a:gd name="T8" fmla="*/ 248 w 277"/>
                <a:gd name="T9" fmla="*/ 123 h 215"/>
                <a:gd name="T10" fmla="*/ 277 w 277"/>
                <a:gd name="T11" fmla="*/ 159 h 215"/>
                <a:gd name="T12" fmla="*/ 266 w 277"/>
                <a:gd name="T13" fmla="*/ 191 h 215"/>
                <a:gd name="T14" fmla="*/ 277 w 277"/>
                <a:gd name="T15" fmla="*/ 215 h 215"/>
                <a:gd name="T16" fmla="*/ 246 w 277"/>
                <a:gd name="T17" fmla="*/ 215 h 215"/>
                <a:gd name="T18" fmla="*/ 221 w 277"/>
                <a:gd name="T19" fmla="*/ 215 h 215"/>
                <a:gd name="T20" fmla="*/ 179 w 277"/>
                <a:gd name="T21" fmla="*/ 182 h 215"/>
                <a:gd name="T22" fmla="*/ 159 w 277"/>
                <a:gd name="T23" fmla="*/ 199 h 215"/>
                <a:gd name="T24" fmla="*/ 103 w 277"/>
                <a:gd name="T25" fmla="*/ 182 h 215"/>
                <a:gd name="T26" fmla="*/ 63 w 277"/>
                <a:gd name="T27" fmla="*/ 157 h 215"/>
                <a:gd name="T28" fmla="*/ 31 w 277"/>
                <a:gd name="T29" fmla="*/ 166 h 215"/>
                <a:gd name="T30" fmla="*/ 0 w 277"/>
                <a:gd name="T31" fmla="*/ 134 h 215"/>
                <a:gd name="T32" fmla="*/ 0 w 277"/>
                <a:gd name="T33" fmla="*/ 96 h 215"/>
                <a:gd name="T34" fmla="*/ 6 w 277"/>
                <a:gd name="T35" fmla="*/ 85 h 215"/>
                <a:gd name="T36" fmla="*/ 29 w 277"/>
                <a:gd name="T37" fmla="*/ 97 h 215"/>
                <a:gd name="T38" fmla="*/ 45 w 277"/>
                <a:gd name="T39" fmla="*/ 87 h 215"/>
                <a:gd name="T40" fmla="*/ 38 w 277"/>
                <a:gd name="T41" fmla="*/ 67 h 215"/>
                <a:gd name="T42" fmla="*/ 47 w 277"/>
                <a:gd name="T43" fmla="*/ 63 h 215"/>
                <a:gd name="T44" fmla="*/ 103 w 277"/>
                <a:gd name="T45" fmla="*/ 85 h 215"/>
                <a:gd name="T46" fmla="*/ 121 w 277"/>
                <a:gd name="T47" fmla="*/ 63 h 215"/>
                <a:gd name="T48" fmla="*/ 148 w 277"/>
                <a:gd name="T49" fmla="*/ 67 h 215"/>
                <a:gd name="T50" fmla="*/ 177 w 277"/>
                <a:gd name="T51" fmla="*/ 47 h 215"/>
                <a:gd name="T52" fmla="*/ 192 w 277"/>
                <a:gd name="T53" fmla="*/ 25 h 215"/>
                <a:gd name="T54" fmla="*/ 215 w 277"/>
                <a:gd name="T55" fmla="*/ 36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77" h="215">
                  <a:moveTo>
                    <a:pt x="215" y="36"/>
                  </a:moveTo>
                  <a:lnTo>
                    <a:pt x="248" y="0"/>
                  </a:lnTo>
                  <a:lnTo>
                    <a:pt x="253" y="31"/>
                  </a:lnTo>
                  <a:lnTo>
                    <a:pt x="235" y="74"/>
                  </a:lnTo>
                  <a:lnTo>
                    <a:pt x="248" y="123"/>
                  </a:lnTo>
                  <a:lnTo>
                    <a:pt x="277" y="159"/>
                  </a:lnTo>
                  <a:lnTo>
                    <a:pt x="266" y="191"/>
                  </a:lnTo>
                  <a:lnTo>
                    <a:pt x="277" y="215"/>
                  </a:lnTo>
                  <a:lnTo>
                    <a:pt x="246" y="215"/>
                  </a:lnTo>
                  <a:lnTo>
                    <a:pt x="221" y="215"/>
                  </a:lnTo>
                  <a:lnTo>
                    <a:pt x="179" y="182"/>
                  </a:lnTo>
                  <a:lnTo>
                    <a:pt x="159" y="199"/>
                  </a:lnTo>
                  <a:lnTo>
                    <a:pt x="103" y="182"/>
                  </a:lnTo>
                  <a:lnTo>
                    <a:pt x="63" y="157"/>
                  </a:lnTo>
                  <a:lnTo>
                    <a:pt x="31" y="166"/>
                  </a:lnTo>
                  <a:lnTo>
                    <a:pt x="0" y="134"/>
                  </a:lnTo>
                  <a:lnTo>
                    <a:pt x="0" y="96"/>
                  </a:lnTo>
                  <a:lnTo>
                    <a:pt x="6" y="85"/>
                  </a:lnTo>
                  <a:lnTo>
                    <a:pt x="29" y="97"/>
                  </a:lnTo>
                  <a:lnTo>
                    <a:pt x="45" y="87"/>
                  </a:lnTo>
                  <a:lnTo>
                    <a:pt x="38" y="67"/>
                  </a:lnTo>
                  <a:lnTo>
                    <a:pt x="47" y="63"/>
                  </a:lnTo>
                  <a:lnTo>
                    <a:pt x="103" y="85"/>
                  </a:lnTo>
                  <a:lnTo>
                    <a:pt x="121" y="63"/>
                  </a:lnTo>
                  <a:lnTo>
                    <a:pt x="148" y="67"/>
                  </a:lnTo>
                  <a:lnTo>
                    <a:pt x="177" y="47"/>
                  </a:lnTo>
                  <a:lnTo>
                    <a:pt x="192" y="25"/>
                  </a:lnTo>
                  <a:lnTo>
                    <a:pt x="215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0" name="Lithuania"/>
          <p:cNvSpPr>
            <a:spLocks/>
          </p:cNvSpPr>
          <p:nvPr/>
        </p:nvSpPr>
        <p:spPr bwMode="auto">
          <a:xfrm>
            <a:off x="10219263" y="2862263"/>
            <a:ext cx="730250" cy="519113"/>
          </a:xfrm>
          <a:custGeom>
            <a:avLst/>
            <a:gdLst>
              <a:gd name="T0" fmla="*/ 137 w 460"/>
              <a:gd name="T1" fmla="*/ 197 h 327"/>
              <a:gd name="T2" fmla="*/ 170 w 460"/>
              <a:gd name="T3" fmla="*/ 213 h 327"/>
              <a:gd name="T4" fmla="*/ 162 w 460"/>
              <a:gd name="T5" fmla="*/ 235 h 327"/>
              <a:gd name="T6" fmla="*/ 171 w 460"/>
              <a:gd name="T7" fmla="*/ 269 h 327"/>
              <a:gd name="T8" fmla="*/ 211 w 460"/>
              <a:gd name="T9" fmla="*/ 291 h 327"/>
              <a:gd name="T10" fmla="*/ 242 w 460"/>
              <a:gd name="T11" fmla="*/ 300 h 327"/>
              <a:gd name="T12" fmla="*/ 246 w 460"/>
              <a:gd name="T13" fmla="*/ 327 h 327"/>
              <a:gd name="T14" fmla="*/ 289 w 460"/>
              <a:gd name="T15" fmla="*/ 302 h 327"/>
              <a:gd name="T16" fmla="*/ 314 w 460"/>
              <a:gd name="T17" fmla="*/ 316 h 327"/>
              <a:gd name="T18" fmla="*/ 343 w 460"/>
              <a:gd name="T19" fmla="*/ 280 h 327"/>
              <a:gd name="T20" fmla="*/ 374 w 460"/>
              <a:gd name="T21" fmla="*/ 262 h 327"/>
              <a:gd name="T22" fmla="*/ 374 w 460"/>
              <a:gd name="T23" fmla="*/ 249 h 327"/>
              <a:gd name="T24" fmla="*/ 395 w 460"/>
              <a:gd name="T25" fmla="*/ 249 h 327"/>
              <a:gd name="T26" fmla="*/ 412 w 460"/>
              <a:gd name="T27" fmla="*/ 262 h 327"/>
              <a:gd name="T28" fmla="*/ 383 w 460"/>
              <a:gd name="T29" fmla="*/ 181 h 327"/>
              <a:gd name="T30" fmla="*/ 401 w 460"/>
              <a:gd name="T31" fmla="*/ 159 h 327"/>
              <a:gd name="T32" fmla="*/ 419 w 460"/>
              <a:gd name="T33" fmla="*/ 159 h 327"/>
              <a:gd name="T34" fmla="*/ 419 w 460"/>
              <a:gd name="T35" fmla="*/ 127 h 327"/>
              <a:gd name="T36" fmla="*/ 460 w 460"/>
              <a:gd name="T37" fmla="*/ 127 h 327"/>
              <a:gd name="T38" fmla="*/ 453 w 460"/>
              <a:gd name="T39" fmla="*/ 100 h 327"/>
              <a:gd name="T40" fmla="*/ 432 w 460"/>
              <a:gd name="T41" fmla="*/ 89 h 327"/>
              <a:gd name="T42" fmla="*/ 432 w 460"/>
              <a:gd name="T43" fmla="*/ 60 h 327"/>
              <a:gd name="T44" fmla="*/ 417 w 460"/>
              <a:gd name="T45" fmla="*/ 60 h 327"/>
              <a:gd name="T46" fmla="*/ 352 w 460"/>
              <a:gd name="T47" fmla="*/ 27 h 327"/>
              <a:gd name="T48" fmla="*/ 300 w 460"/>
              <a:gd name="T49" fmla="*/ 27 h 327"/>
              <a:gd name="T50" fmla="*/ 285 w 460"/>
              <a:gd name="T51" fmla="*/ 0 h 327"/>
              <a:gd name="T52" fmla="*/ 255 w 460"/>
              <a:gd name="T53" fmla="*/ 31 h 327"/>
              <a:gd name="T54" fmla="*/ 184 w 460"/>
              <a:gd name="T55" fmla="*/ 31 h 327"/>
              <a:gd name="T56" fmla="*/ 159 w 460"/>
              <a:gd name="T57" fmla="*/ 22 h 327"/>
              <a:gd name="T58" fmla="*/ 155 w 460"/>
              <a:gd name="T59" fmla="*/ 49 h 327"/>
              <a:gd name="T60" fmla="*/ 137 w 460"/>
              <a:gd name="T61" fmla="*/ 33 h 327"/>
              <a:gd name="T62" fmla="*/ 123 w 460"/>
              <a:gd name="T63" fmla="*/ 45 h 327"/>
              <a:gd name="T64" fmla="*/ 67 w 460"/>
              <a:gd name="T65" fmla="*/ 34 h 327"/>
              <a:gd name="T66" fmla="*/ 14 w 460"/>
              <a:gd name="T67" fmla="*/ 69 h 327"/>
              <a:gd name="T68" fmla="*/ 0 w 460"/>
              <a:gd name="T69" fmla="*/ 96 h 327"/>
              <a:gd name="T70" fmla="*/ 0 w 460"/>
              <a:gd name="T71" fmla="*/ 119 h 327"/>
              <a:gd name="T72" fmla="*/ 18 w 460"/>
              <a:gd name="T73" fmla="*/ 141 h 327"/>
              <a:gd name="T74" fmla="*/ 23 w 460"/>
              <a:gd name="T75" fmla="*/ 181 h 327"/>
              <a:gd name="T76" fmla="*/ 58 w 460"/>
              <a:gd name="T77" fmla="*/ 193 h 327"/>
              <a:gd name="T78" fmla="*/ 108 w 460"/>
              <a:gd name="T79" fmla="*/ 206 h 327"/>
              <a:gd name="T80" fmla="*/ 137 w 460"/>
              <a:gd name="T81" fmla="*/ 197 h 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460" h="327">
                <a:moveTo>
                  <a:pt x="137" y="197"/>
                </a:moveTo>
                <a:lnTo>
                  <a:pt x="170" y="213"/>
                </a:lnTo>
                <a:lnTo>
                  <a:pt x="162" y="235"/>
                </a:lnTo>
                <a:lnTo>
                  <a:pt x="171" y="269"/>
                </a:lnTo>
                <a:lnTo>
                  <a:pt x="211" y="291"/>
                </a:lnTo>
                <a:lnTo>
                  <a:pt x="242" y="300"/>
                </a:lnTo>
                <a:lnTo>
                  <a:pt x="246" y="327"/>
                </a:lnTo>
                <a:lnTo>
                  <a:pt x="289" y="302"/>
                </a:lnTo>
                <a:lnTo>
                  <a:pt x="314" y="316"/>
                </a:lnTo>
                <a:lnTo>
                  <a:pt x="343" y="280"/>
                </a:lnTo>
                <a:lnTo>
                  <a:pt x="374" y="262"/>
                </a:lnTo>
                <a:lnTo>
                  <a:pt x="374" y="249"/>
                </a:lnTo>
                <a:lnTo>
                  <a:pt x="395" y="249"/>
                </a:lnTo>
                <a:lnTo>
                  <a:pt x="412" y="262"/>
                </a:lnTo>
                <a:lnTo>
                  <a:pt x="383" y="181"/>
                </a:lnTo>
                <a:lnTo>
                  <a:pt x="401" y="159"/>
                </a:lnTo>
                <a:lnTo>
                  <a:pt x="419" y="159"/>
                </a:lnTo>
                <a:lnTo>
                  <a:pt x="419" y="127"/>
                </a:lnTo>
                <a:lnTo>
                  <a:pt x="460" y="127"/>
                </a:lnTo>
                <a:lnTo>
                  <a:pt x="453" y="100"/>
                </a:lnTo>
                <a:lnTo>
                  <a:pt x="432" y="89"/>
                </a:lnTo>
                <a:lnTo>
                  <a:pt x="432" y="60"/>
                </a:lnTo>
                <a:lnTo>
                  <a:pt x="417" y="60"/>
                </a:lnTo>
                <a:lnTo>
                  <a:pt x="352" y="27"/>
                </a:lnTo>
                <a:lnTo>
                  <a:pt x="300" y="27"/>
                </a:lnTo>
                <a:lnTo>
                  <a:pt x="285" y="0"/>
                </a:lnTo>
                <a:lnTo>
                  <a:pt x="255" y="31"/>
                </a:lnTo>
                <a:lnTo>
                  <a:pt x="184" y="31"/>
                </a:lnTo>
                <a:lnTo>
                  <a:pt x="159" y="22"/>
                </a:lnTo>
                <a:lnTo>
                  <a:pt x="155" y="49"/>
                </a:lnTo>
                <a:lnTo>
                  <a:pt x="137" y="33"/>
                </a:lnTo>
                <a:lnTo>
                  <a:pt x="123" y="45"/>
                </a:lnTo>
                <a:lnTo>
                  <a:pt x="67" y="34"/>
                </a:lnTo>
                <a:lnTo>
                  <a:pt x="14" y="69"/>
                </a:lnTo>
                <a:lnTo>
                  <a:pt x="0" y="96"/>
                </a:lnTo>
                <a:lnTo>
                  <a:pt x="0" y="119"/>
                </a:lnTo>
                <a:lnTo>
                  <a:pt x="18" y="141"/>
                </a:lnTo>
                <a:lnTo>
                  <a:pt x="23" y="181"/>
                </a:lnTo>
                <a:lnTo>
                  <a:pt x="58" y="193"/>
                </a:lnTo>
                <a:lnTo>
                  <a:pt x="108" y="206"/>
                </a:lnTo>
                <a:lnTo>
                  <a:pt x="137" y="197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1" name="Latvia"/>
          <p:cNvSpPr>
            <a:spLocks/>
          </p:cNvSpPr>
          <p:nvPr/>
        </p:nvSpPr>
        <p:spPr bwMode="auto">
          <a:xfrm>
            <a:off x="10193863" y="2546350"/>
            <a:ext cx="871538" cy="479425"/>
          </a:xfrm>
          <a:custGeom>
            <a:avLst/>
            <a:gdLst>
              <a:gd name="T0" fmla="*/ 213 w 549"/>
              <a:gd name="T1" fmla="*/ 42 h 302"/>
              <a:gd name="T2" fmla="*/ 272 w 549"/>
              <a:gd name="T3" fmla="*/ 0 h 302"/>
              <a:gd name="T4" fmla="*/ 319 w 549"/>
              <a:gd name="T5" fmla="*/ 20 h 302"/>
              <a:gd name="T6" fmla="*/ 354 w 549"/>
              <a:gd name="T7" fmla="*/ 42 h 302"/>
              <a:gd name="T8" fmla="*/ 379 w 549"/>
              <a:gd name="T9" fmla="*/ 55 h 302"/>
              <a:gd name="T10" fmla="*/ 399 w 549"/>
              <a:gd name="T11" fmla="*/ 28 h 302"/>
              <a:gd name="T12" fmla="*/ 431 w 549"/>
              <a:gd name="T13" fmla="*/ 28 h 302"/>
              <a:gd name="T14" fmla="*/ 495 w 549"/>
              <a:gd name="T15" fmla="*/ 58 h 302"/>
              <a:gd name="T16" fmla="*/ 476 w 549"/>
              <a:gd name="T17" fmla="*/ 82 h 302"/>
              <a:gd name="T18" fmla="*/ 491 w 549"/>
              <a:gd name="T19" fmla="*/ 112 h 302"/>
              <a:gd name="T20" fmla="*/ 504 w 549"/>
              <a:gd name="T21" fmla="*/ 112 h 302"/>
              <a:gd name="T22" fmla="*/ 516 w 549"/>
              <a:gd name="T23" fmla="*/ 129 h 302"/>
              <a:gd name="T24" fmla="*/ 549 w 549"/>
              <a:gd name="T25" fmla="*/ 152 h 302"/>
              <a:gd name="T26" fmla="*/ 549 w 549"/>
              <a:gd name="T27" fmla="*/ 174 h 302"/>
              <a:gd name="T28" fmla="*/ 520 w 549"/>
              <a:gd name="T29" fmla="*/ 199 h 302"/>
              <a:gd name="T30" fmla="*/ 513 w 549"/>
              <a:gd name="T31" fmla="*/ 237 h 302"/>
              <a:gd name="T32" fmla="*/ 491 w 549"/>
              <a:gd name="T33" fmla="*/ 237 h 302"/>
              <a:gd name="T34" fmla="*/ 462 w 549"/>
              <a:gd name="T35" fmla="*/ 252 h 302"/>
              <a:gd name="T36" fmla="*/ 448 w 549"/>
              <a:gd name="T37" fmla="*/ 259 h 302"/>
              <a:gd name="T38" fmla="*/ 433 w 549"/>
              <a:gd name="T39" fmla="*/ 259 h 302"/>
              <a:gd name="T40" fmla="*/ 368 w 549"/>
              <a:gd name="T41" fmla="*/ 226 h 302"/>
              <a:gd name="T42" fmla="*/ 316 w 549"/>
              <a:gd name="T43" fmla="*/ 226 h 302"/>
              <a:gd name="T44" fmla="*/ 301 w 549"/>
              <a:gd name="T45" fmla="*/ 199 h 302"/>
              <a:gd name="T46" fmla="*/ 271 w 549"/>
              <a:gd name="T47" fmla="*/ 230 h 302"/>
              <a:gd name="T48" fmla="*/ 200 w 549"/>
              <a:gd name="T49" fmla="*/ 230 h 302"/>
              <a:gd name="T50" fmla="*/ 175 w 549"/>
              <a:gd name="T51" fmla="*/ 221 h 302"/>
              <a:gd name="T52" fmla="*/ 171 w 549"/>
              <a:gd name="T53" fmla="*/ 248 h 302"/>
              <a:gd name="T54" fmla="*/ 153 w 549"/>
              <a:gd name="T55" fmla="*/ 232 h 302"/>
              <a:gd name="T56" fmla="*/ 139 w 549"/>
              <a:gd name="T57" fmla="*/ 244 h 302"/>
              <a:gd name="T58" fmla="*/ 83 w 549"/>
              <a:gd name="T59" fmla="*/ 233 h 302"/>
              <a:gd name="T60" fmla="*/ 30 w 549"/>
              <a:gd name="T61" fmla="*/ 268 h 302"/>
              <a:gd name="T62" fmla="*/ 16 w 549"/>
              <a:gd name="T63" fmla="*/ 302 h 302"/>
              <a:gd name="T64" fmla="*/ 9 w 549"/>
              <a:gd name="T65" fmla="*/ 261 h 302"/>
              <a:gd name="T66" fmla="*/ 0 w 549"/>
              <a:gd name="T67" fmla="*/ 192 h 302"/>
              <a:gd name="T68" fmla="*/ 16 w 549"/>
              <a:gd name="T69" fmla="*/ 174 h 302"/>
              <a:gd name="T70" fmla="*/ 16 w 549"/>
              <a:gd name="T71" fmla="*/ 131 h 302"/>
              <a:gd name="T72" fmla="*/ 36 w 549"/>
              <a:gd name="T73" fmla="*/ 102 h 302"/>
              <a:gd name="T74" fmla="*/ 68 w 549"/>
              <a:gd name="T75" fmla="*/ 87 h 302"/>
              <a:gd name="T76" fmla="*/ 101 w 549"/>
              <a:gd name="T77" fmla="*/ 69 h 302"/>
              <a:gd name="T78" fmla="*/ 103 w 549"/>
              <a:gd name="T79" fmla="*/ 96 h 302"/>
              <a:gd name="T80" fmla="*/ 139 w 549"/>
              <a:gd name="T81" fmla="*/ 114 h 302"/>
              <a:gd name="T82" fmla="*/ 160 w 549"/>
              <a:gd name="T83" fmla="*/ 152 h 302"/>
              <a:gd name="T84" fmla="*/ 206 w 549"/>
              <a:gd name="T85" fmla="*/ 152 h 302"/>
              <a:gd name="T86" fmla="*/ 238 w 549"/>
              <a:gd name="T87" fmla="*/ 131 h 302"/>
              <a:gd name="T88" fmla="*/ 231 w 549"/>
              <a:gd name="T89" fmla="*/ 102 h 302"/>
              <a:gd name="T90" fmla="*/ 215 w 549"/>
              <a:gd name="T91" fmla="*/ 67 h 302"/>
              <a:gd name="T92" fmla="*/ 213 w 549"/>
              <a:gd name="T93" fmla="*/ 42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49" h="302">
                <a:moveTo>
                  <a:pt x="213" y="42"/>
                </a:moveTo>
                <a:lnTo>
                  <a:pt x="272" y="0"/>
                </a:lnTo>
                <a:lnTo>
                  <a:pt x="319" y="20"/>
                </a:lnTo>
                <a:lnTo>
                  <a:pt x="354" y="42"/>
                </a:lnTo>
                <a:lnTo>
                  <a:pt x="379" y="55"/>
                </a:lnTo>
                <a:lnTo>
                  <a:pt x="399" y="28"/>
                </a:lnTo>
                <a:lnTo>
                  <a:pt x="431" y="28"/>
                </a:lnTo>
                <a:lnTo>
                  <a:pt x="495" y="58"/>
                </a:lnTo>
                <a:lnTo>
                  <a:pt x="476" y="82"/>
                </a:lnTo>
                <a:lnTo>
                  <a:pt x="491" y="112"/>
                </a:lnTo>
                <a:lnTo>
                  <a:pt x="504" y="112"/>
                </a:lnTo>
                <a:lnTo>
                  <a:pt x="516" y="129"/>
                </a:lnTo>
                <a:lnTo>
                  <a:pt x="549" y="152"/>
                </a:lnTo>
                <a:lnTo>
                  <a:pt x="549" y="174"/>
                </a:lnTo>
                <a:lnTo>
                  <a:pt x="520" y="199"/>
                </a:lnTo>
                <a:lnTo>
                  <a:pt x="513" y="237"/>
                </a:lnTo>
                <a:lnTo>
                  <a:pt x="491" y="237"/>
                </a:lnTo>
                <a:lnTo>
                  <a:pt x="462" y="252"/>
                </a:lnTo>
                <a:lnTo>
                  <a:pt x="448" y="259"/>
                </a:lnTo>
                <a:lnTo>
                  <a:pt x="433" y="259"/>
                </a:lnTo>
                <a:lnTo>
                  <a:pt x="368" y="226"/>
                </a:lnTo>
                <a:lnTo>
                  <a:pt x="316" y="226"/>
                </a:lnTo>
                <a:lnTo>
                  <a:pt x="301" y="199"/>
                </a:lnTo>
                <a:lnTo>
                  <a:pt x="271" y="230"/>
                </a:lnTo>
                <a:lnTo>
                  <a:pt x="200" y="230"/>
                </a:lnTo>
                <a:lnTo>
                  <a:pt x="175" y="221"/>
                </a:lnTo>
                <a:lnTo>
                  <a:pt x="171" y="248"/>
                </a:lnTo>
                <a:lnTo>
                  <a:pt x="153" y="232"/>
                </a:lnTo>
                <a:lnTo>
                  <a:pt x="139" y="244"/>
                </a:lnTo>
                <a:lnTo>
                  <a:pt x="83" y="233"/>
                </a:lnTo>
                <a:lnTo>
                  <a:pt x="30" y="268"/>
                </a:lnTo>
                <a:lnTo>
                  <a:pt x="16" y="302"/>
                </a:lnTo>
                <a:lnTo>
                  <a:pt x="9" y="261"/>
                </a:lnTo>
                <a:lnTo>
                  <a:pt x="0" y="192"/>
                </a:lnTo>
                <a:lnTo>
                  <a:pt x="16" y="174"/>
                </a:lnTo>
                <a:lnTo>
                  <a:pt x="16" y="131"/>
                </a:lnTo>
                <a:lnTo>
                  <a:pt x="36" y="102"/>
                </a:lnTo>
                <a:lnTo>
                  <a:pt x="68" y="87"/>
                </a:lnTo>
                <a:lnTo>
                  <a:pt x="101" y="69"/>
                </a:lnTo>
                <a:lnTo>
                  <a:pt x="103" y="96"/>
                </a:lnTo>
                <a:lnTo>
                  <a:pt x="139" y="114"/>
                </a:lnTo>
                <a:lnTo>
                  <a:pt x="160" y="152"/>
                </a:lnTo>
                <a:lnTo>
                  <a:pt x="206" y="152"/>
                </a:lnTo>
                <a:lnTo>
                  <a:pt x="238" y="131"/>
                </a:lnTo>
                <a:lnTo>
                  <a:pt x="231" y="102"/>
                </a:lnTo>
                <a:lnTo>
                  <a:pt x="215" y="67"/>
                </a:lnTo>
                <a:lnTo>
                  <a:pt x="213" y="42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32" name="Estonia"/>
          <p:cNvGrpSpPr>
            <a:grpSpLocks/>
          </p:cNvGrpSpPr>
          <p:nvPr/>
        </p:nvGrpSpPr>
        <p:grpSpPr>
          <a:xfrm>
            <a:off x="10233551" y="2214246"/>
            <a:ext cx="675007" cy="427038"/>
            <a:chOff x="10254571" y="2214246"/>
            <a:chExt cx="675007" cy="427038"/>
          </a:xfrm>
          <a:solidFill>
            <a:schemeClr val="accent3"/>
          </a:solidFill>
        </p:grpSpPr>
        <p:sp>
          <p:nvSpPr>
            <p:cNvPr id="33" name="Freeform 105"/>
            <p:cNvSpPr>
              <a:spLocks/>
            </p:cNvSpPr>
            <p:nvPr/>
          </p:nvSpPr>
          <p:spPr bwMode="auto">
            <a:xfrm>
              <a:off x="10254571" y="2406650"/>
              <a:ext cx="88900" cy="71438"/>
            </a:xfrm>
            <a:custGeom>
              <a:avLst/>
              <a:gdLst>
                <a:gd name="T0" fmla="*/ 32 w 56"/>
                <a:gd name="T1" fmla="*/ 45 h 45"/>
                <a:gd name="T2" fmla="*/ 20 w 56"/>
                <a:gd name="T3" fmla="*/ 34 h 45"/>
                <a:gd name="T4" fmla="*/ 0 w 56"/>
                <a:gd name="T5" fmla="*/ 23 h 45"/>
                <a:gd name="T6" fmla="*/ 32 w 56"/>
                <a:gd name="T7" fmla="*/ 14 h 45"/>
                <a:gd name="T8" fmla="*/ 32 w 56"/>
                <a:gd name="T9" fmla="*/ 0 h 45"/>
                <a:gd name="T10" fmla="*/ 56 w 56"/>
                <a:gd name="T11" fmla="*/ 9 h 45"/>
                <a:gd name="T12" fmla="*/ 56 w 56"/>
                <a:gd name="T13" fmla="*/ 27 h 45"/>
                <a:gd name="T14" fmla="*/ 56 w 56"/>
                <a:gd name="T15" fmla="*/ 45 h 45"/>
                <a:gd name="T16" fmla="*/ 32 w 56"/>
                <a:gd name="T17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45">
                  <a:moveTo>
                    <a:pt x="32" y="45"/>
                  </a:moveTo>
                  <a:lnTo>
                    <a:pt x="20" y="34"/>
                  </a:lnTo>
                  <a:lnTo>
                    <a:pt x="0" y="23"/>
                  </a:lnTo>
                  <a:lnTo>
                    <a:pt x="32" y="14"/>
                  </a:lnTo>
                  <a:lnTo>
                    <a:pt x="32" y="0"/>
                  </a:lnTo>
                  <a:lnTo>
                    <a:pt x="56" y="9"/>
                  </a:lnTo>
                  <a:lnTo>
                    <a:pt x="56" y="27"/>
                  </a:lnTo>
                  <a:lnTo>
                    <a:pt x="56" y="45"/>
                  </a:lnTo>
                  <a:lnTo>
                    <a:pt x="32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Freeform 106"/>
            <p:cNvSpPr>
              <a:spLocks/>
            </p:cNvSpPr>
            <p:nvPr/>
          </p:nvSpPr>
          <p:spPr bwMode="auto">
            <a:xfrm>
              <a:off x="10300608" y="2478088"/>
              <a:ext cx="92075" cy="138113"/>
            </a:xfrm>
            <a:custGeom>
              <a:avLst/>
              <a:gdLst>
                <a:gd name="T0" fmla="*/ 5 w 58"/>
                <a:gd name="T1" fmla="*/ 13 h 87"/>
                <a:gd name="T2" fmla="*/ 38 w 58"/>
                <a:gd name="T3" fmla="*/ 0 h 87"/>
                <a:gd name="T4" fmla="*/ 58 w 58"/>
                <a:gd name="T5" fmla="*/ 18 h 87"/>
                <a:gd name="T6" fmla="*/ 52 w 58"/>
                <a:gd name="T7" fmla="*/ 43 h 87"/>
                <a:gd name="T8" fmla="*/ 32 w 58"/>
                <a:gd name="T9" fmla="*/ 58 h 87"/>
                <a:gd name="T10" fmla="*/ 12 w 58"/>
                <a:gd name="T11" fmla="*/ 71 h 87"/>
                <a:gd name="T12" fmla="*/ 5 w 58"/>
                <a:gd name="T13" fmla="*/ 85 h 87"/>
                <a:gd name="T14" fmla="*/ 0 w 58"/>
                <a:gd name="T15" fmla="*/ 87 h 87"/>
                <a:gd name="T16" fmla="*/ 5 w 58"/>
                <a:gd name="T17" fmla="*/ 13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87">
                  <a:moveTo>
                    <a:pt x="5" y="13"/>
                  </a:moveTo>
                  <a:lnTo>
                    <a:pt x="38" y="0"/>
                  </a:lnTo>
                  <a:lnTo>
                    <a:pt x="58" y="18"/>
                  </a:lnTo>
                  <a:lnTo>
                    <a:pt x="52" y="43"/>
                  </a:lnTo>
                  <a:lnTo>
                    <a:pt x="32" y="58"/>
                  </a:lnTo>
                  <a:lnTo>
                    <a:pt x="12" y="71"/>
                  </a:lnTo>
                  <a:lnTo>
                    <a:pt x="5" y="85"/>
                  </a:lnTo>
                  <a:lnTo>
                    <a:pt x="0" y="87"/>
                  </a:lnTo>
                  <a:lnTo>
                    <a:pt x="5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43"/>
            <p:cNvSpPr>
              <a:spLocks/>
            </p:cNvSpPr>
            <p:nvPr/>
          </p:nvSpPr>
          <p:spPr bwMode="auto">
            <a:xfrm>
              <a:off x="10394590" y="2214246"/>
              <a:ext cx="534988" cy="427038"/>
            </a:xfrm>
            <a:custGeom>
              <a:avLst/>
              <a:gdLst>
                <a:gd name="T0" fmla="*/ 301 w 337"/>
                <a:gd name="T1" fmla="*/ 157 h 269"/>
                <a:gd name="T2" fmla="*/ 326 w 337"/>
                <a:gd name="T3" fmla="*/ 168 h 269"/>
                <a:gd name="T4" fmla="*/ 337 w 337"/>
                <a:gd name="T5" fmla="*/ 193 h 269"/>
                <a:gd name="T6" fmla="*/ 326 w 337"/>
                <a:gd name="T7" fmla="*/ 208 h 269"/>
                <a:gd name="T8" fmla="*/ 326 w 337"/>
                <a:gd name="T9" fmla="*/ 229 h 269"/>
                <a:gd name="T10" fmla="*/ 337 w 337"/>
                <a:gd name="T11" fmla="*/ 249 h 269"/>
                <a:gd name="T12" fmla="*/ 320 w 337"/>
                <a:gd name="T13" fmla="*/ 242 h 269"/>
                <a:gd name="T14" fmla="*/ 288 w 337"/>
                <a:gd name="T15" fmla="*/ 242 h 269"/>
                <a:gd name="T16" fmla="*/ 268 w 337"/>
                <a:gd name="T17" fmla="*/ 269 h 269"/>
                <a:gd name="T18" fmla="*/ 243 w 337"/>
                <a:gd name="T19" fmla="*/ 257 h 269"/>
                <a:gd name="T20" fmla="*/ 208 w 337"/>
                <a:gd name="T21" fmla="*/ 235 h 269"/>
                <a:gd name="T22" fmla="*/ 160 w 337"/>
                <a:gd name="T23" fmla="*/ 215 h 269"/>
                <a:gd name="T24" fmla="*/ 100 w 337"/>
                <a:gd name="T25" fmla="*/ 257 h 269"/>
                <a:gd name="T26" fmla="*/ 100 w 337"/>
                <a:gd name="T27" fmla="*/ 239 h 269"/>
                <a:gd name="T28" fmla="*/ 107 w 337"/>
                <a:gd name="T29" fmla="*/ 228 h 269"/>
                <a:gd name="T30" fmla="*/ 109 w 337"/>
                <a:gd name="T31" fmla="*/ 195 h 269"/>
                <a:gd name="T32" fmla="*/ 91 w 337"/>
                <a:gd name="T33" fmla="*/ 183 h 269"/>
                <a:gd name="T34" fmla="*/ 80 w 337"/>
                <a:gd name="T35" fmla="*/ 213 h 269"/>
                <a:gd name="T36" fmla="*/ 62 w 337"/>
                <a:gd name="T37" fmla="*/ 202 h 269"/>
                <a:gd name="T38" fmla="*/ 44 w 337"/>
                <a:gd name="T39" fmla="*/ 208 h 269"/>
                <a:gd name="T40" fmla="*/ 38 w 337"/>
                <a:gd name="T41" fmla="*/ 193 h 269"/>
                <a:gd name="T42" fmla="*/ 44 w 337"/>
                <a:gd name="T43" fmla="*/ 177 h 269"/>
                <a:gd name="T44" fmla="*/ 11 w 337"/>
                <a:gd name="T45" fmla="*/ 157 h 269"/>
                <a:gd name="T46" fmla="*/ 17 w 337"/>
                <a:gd name="T47" fmla="*/ 137 h 269"/>
                <a:gd name="T48" fmla="*/ 0 w 337"/>
                <a:gd name="T49" fmla="*/ 110 h 269"/>
                <a:gd name="T50" fmla="*/ 11 w 337"/>
                <a:gd name="T51" fmla="*/ 90 h 269"/>
                <a:gd name="T52" fmla="*/ 44 w 337"/>
                <a:gd name="T53" fmla="*/ 90 h 269"/>
                <a:gd name="T54" fmla="*/ 40 w 337"/>
                <a:gd name="T55" fmla="*/ 72 h 269"/>
                <a:gd name="T56" fmla="*/ 76 w 337"/>
                <a:gd name="T57" fmla="*/ 52 h 269"/>
                <a:gd name="T58" fmla="*/ 93 w 337"/>
                <a:gd name="T59" fmla="*/ 40 h 269"/>
                <a:gd name="T60" fmla="*/ 103 w 337"/>
                <a:gd name="T61" fmla="*/ 49 h 269"/>
                <a:gd name="T62" fmla="*/ 134 w 337"/>
                <a:gd name="T63" fmla="*/ 40 h 269"/>
                <a:gd name="T64" fmla="*/ 141 w 337"/>
                <a:gd name="T65" fmla="*/ 22 h 269"/>
                <a:gd name="T66" fmla="*/ 163 w 337"/>
                <a:gd name="T67" fmla="*/ 14 h 269"/>
                <a:gd name="T68" fmla="*/ 174 w 337"/>
                <a:gd name="T69" fmla="*/ 22 h 269"/>
                <a:gd name="T70" fmla="*/ 268 w 337"/>
                <a:gd name="T71" fmla="*/ 25 h 269"/>
                <a:gd name="T72" fmla="*/ 288 w 337"/>
                <a:gd name="T73" fmla="*/ 14 h 269"/>
                <a:gd name="T74" fmla="*/ 306 w 337"/>
                <a:gd name="T75" fmla="*/ 0 h 269"/>
                <a:gd name="T76" fmla="*/ 311 w 337"/>
                <a:gd name="T77" fmla="*/ 13 h 269"/>
                <a:gd name="T78" fmla="*/ 293 w 337"/>
                <a:gd name="T79" fmla="*/ 34 h 269"/>
                <a:gd name="T80" fmla="*/ 297 w 337"/>
                <a:gd name="T81" fmla="*/ 60 h 269"/>
                <a:gd name="T82" fmla="*/ 277 w 337"/>
                <a:gd name="T83" fmla="*/ 83 h 269"/>
                <a:gd name="T84" fmla="*/ 288 w 337"/>
                <a:gd name="T85" fmla="*/ 117 h 269"/>
                <a:gd name="T86" fmla="*/ 308 w 337"/>
                <a:gd name="T87" fmla="*/ 123 h 269"/>
                <a:gd name="T88" fmla="*/ 301 w 337"/>
                <a:gd name="T89" fmla="*/ 157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37" h="269">
                  <a:moveTo>
                    <a:pt x="301" y="157"/>
                  </a:moveTo>
                  <a:lnTo>
                    <a:pt x="326" y="168"/>
                  </a:lnTo>
                  <a:lnTo>
                    <a:pt x="337" y="193"/>
                  </a:lnTo>
                  <a:lnTo>
                    <a:pt x="326" y="208"/>
                  </a:lnTo>
                  <a:lnTo>
                    <a:pt x="326" y="229"/>
                  </a:lnTo>
                  <a:lnTo>
                    <a:pt x="337" y="249"/>
                  </a:lnTo>
                  <a:lnTo>
                    <a:pt x="320" y="242"/>
                  </a:lnTo>
                  <a:lnTo>
                    <a:pt x="288" y="242"/>
                  </a:lnTo>
                  <a:lnTo>
                    <a:pt x="268" y="269"/>
                  </a:lnTo>
                  <a:lnTo>
                    <a:pt x="243" y="257"/>
                  </a:lnTo>
                  <a:lnTo>
                    <a:pt x="208" y="235"/>
                  </a:lnTo>
                  <a:lnTo>
                    <a:pt x="160" y="215"/>
                  </a:lnTo>
                  <a:lnTo>
                    <a:pt x="100" y="257"/>
                  </a:lnTo>
                  <a:lnTo>
                    <a:pt x="100" y="239"/>
                  </a:lnTo>
                  <a:lnTo>
                    <a:pt x="107" y="228"/>
                  </a:lnTo>
                  <a:lnTo>
                    <a:pt x="109" y="195"/>
                  </a:lnTo>
                  <a:lnTo>
                    <a:pt x="91" y="183"/>
                  </a:lnTo>
                  <a:lnTo>
                    <a:pt x="80" y="213"/>
                  </a:lnTo>
                  <a:lnTo>
                    <a:pt x="62" y="202"/>
                  </a:lnTo>
                  <a:lnTo>
                    <a:pt x="44" y="208"/>
                  </a:lnTo>
                  <a:lnTo>
                    <a:pt x="38" y="193"/>
                  </a:lnTo>
                  <a:lnTo>
                    <a:pt x="44" y="177"/>
                  </a:lnTo>
                  <a:lnTo>
                    <a:pt x="11" y="157"/>
                  </a:lnTo>
                  <a:lnTo>
                    <a:pt x="17" y="137"/>
                  </a:lnTo>
                  <a:lnTo>
                    <a:pt x="0" y="110"/>
                  </a:lnTo>
                  <a:lnTo>
                    <a:pt x="11" y="90"/>
                  </a:lnTo>
                  <a:lnTo>
                    <a:pt x="44" y="90"/>
                  </a:lnTo>
                  <a:lnTo>
                    <a:pt x="40" y="72"/>
                  </a:lnTo>
                  <a:lnTo>
                    <a:pt x="76" y="52"/>
                  </a:lnTo>
                  <a:lnTo>
                    <a:pt x="93" y="40"/>
                  </a:lnTo>
                  <a:lnTo>
                    <a:pt x="103" y="49"/>
                  </a:lnTo>
                  <a:lnTo>
                    <a:pt x="134" y="40"/>
                  </a:lnTo>
                  <a:lnTo>
                    <a:pt x="141" y="22"/>
                  </a:lnTo>
                  <a:lnTo>
                    <a:pt x="163" y="14"/>
                  </a:lnTo>
                  <a:lnTo>
                    <a:pt x="174" y="22"/>
                  </a:lnTo>
                  <a:lnTo>
                    <a:pt x="268" y="25"/>
                  </a:lnTo>
                  <a:lnTo>
                    <a:pt x="288" y="14"/>
                  </a:lnTo>
                  <a:lnTo>
                    <a:pt x="306" y="0"/>
                  </a:lnTo>
                  <a:lnTo>
                    <a:pt x="311" y="13"/>
                  </a:lnTo>
                  <a:lnTo>
                    <a:pt x="293" y="34"/>
                  </a:lnTo>
                  <a:lnTo>
                    <a:pt x="297" y="60"/>
                  </a:lnTo>
                  <a:lnTo>
                    <a:pt x="277" y="83"/>
                  </a:lnTo>
                  <a:lnTo>
                    <a:pt x="288" y="117"/>
                  </a:lnTo>
                  <a:lnTo>
                    <a:pt x="308" y="123"/>
                  </a:lnTo>
                  <a:lnTo>
                    <a:pt x="301" y="15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6" name="Kosovo"/>
          <p:cNvGrpSpPr>
            <a:grpSpLocks/>
          </p:cNvGrpSpPr>
          <p:nvPr/>
        </p:nvGrpSpPr>
        <p:grpSpPr>
          <a:xfrm>
            <a:off x="10522476" y="5503863"/>
            <a:ext cx="169863" cy="155857"/>
            <a:chOff x="10543496" y="5503863"/>
            <a:chExt cx="169863" cy="155857"/>
          </a:xfrm>
          <a:solidFill>
            <a:schemeClr val="bg1"/>
          </a:solidFill>
        </p:grpSpPr>
        <p:sp>
          <p:nvSpPr>
            <p:cNvPr id="37" name="Freeform 110"/>
            <p:cNvSpPr>
              <a:spLocks/>
            </p:cNvSpPr>
            <p:nvPr/>
          </p:nvSpPr>
          <p:spPr bwMode="auto">
            <a:xfrm>
              <a:off x="10692721" y="5623720"/>
              <a:ext cx="14288" cy="36000"/>
            </a:xfrm>
            <a:custGeom>
              <a:avLst/>
              <a:gdLst>
                <a:gd name="T0" fmla="*/ 7 w 9"/>
                <a:gd name="T1" fmla="*/ 11 h 11"/>
                <a:gd name="T2" fmla="*/ 0 w 9"/>
                <a:gd name="T3" fmla="*/ 11 h 11"/>
                <a:gd name="T4" fmla="*/ 2 w 9"/>
                <a:gd name="T5" fmla="*/ 0 h 11"/>
                <a:gd name="T6" fmla="*/ 9 w 9"/>
                <a:gd name="T7" fmla="*/ 0 h 11"/>
                <a:gd name="T8" fmla="*/ 7 w 9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1">
                  <a:moveTo>
                    <a:pt x="7" y="11"/>
                  </a:moveTo>
                  <a:lnTo>
                    <a:pt x="0" y="11"/>
                  </a:lnTo>
                  <a:lnTo>
                    <a:pt x="2" y="0"/>
                  </a:lnTo>
                  <a:lnTo>
                    <a:pt x="9" y="0"/>
                  </a:lnTo>
                  <a:lnTo>
                    <a:pt x="7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Freeform 111"/>
            <p:cNvSpPr>
              <a:spLocks/>
            </p:cNvSpPr>
            <p:nvPr/>
          </p:nvSpPr>
          <p:spPr bwMode="auto">
            <a:xfrm>
              <a:off x="10689546" y="5573713"/>
              <a:ext cx="23813" cy="33338"/>
            </a:xfrm>
            <a:custGeom>
              <a:avLst/>
              <a:gdLst>
                <a:gd name="T0" fmla="*/ 13 w 15"/>
                <a:gd name="T1" fmla="*/ 21 h 21"/>
                <a:gd name="T2" fmla="*/ 6 w 15"/>
                <a:gd name="T3" fmla="*/ 21 h 21"/>
                <a:gd name="T4" fmla="*/ 8 w 15"/>
                <a:gd name="T5" fmla="*/ 12 h 21"/>
                <a:gd name="T6" fmla="*/ 0 w 15"/>
                <a:gd name="T7" fmla="*/ 5 h 21"/>
                <a:gd name="T8" fmla="*/ 6 w 15"/>
                <a:gd name="T9" fmla="*/ 0 h 21"/>
                <a:gd name="T10" fmla="*/ 15 w 15"/>
                <a:gd name="T11" fmla="*/ 9 h 21"/>
                <a:gd name="T12" fmla="*/ 13 w 15"/>
                <a:gd name="T13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" h="21">
                  <a:moveTo>
                    <a:pt x="13" y="21"/>
                  </a:moveTo>
                  <a:lnTo>
                    <a:pt x="6" y="21"/>
                  </a:lnTo>
                  <a:lnTo>
                    <a:pt x="8" y="12"/>
                  </a:lnTo>
                  <a:lnTo>
                    <a:pt x="0" y="5"/>
                  </a:lnTo>
                  <a:lnTo>
                    <a:pt x="6" y="0"/>
                  </a:lnTo>
                  <a:lnTo>
                    <a:pt x="15" y="9"/>
                  </a:lnTo>
                  <a:lnTo>
                    <a:pt x="13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112"/>
            <p:cNvSpPr>
              <a:spLocks/>
            </p:cNvSpPr>
            <p:nvPr/>
          </p:nvSpPr>
          <p:spPr bwMode="auto">
            <a:xfrm>
              <a:off x="10656208" y="5535613"/>
              <a:ext cx="25400" cy="28575"/>
            </a:xfrm>
            <a:custGeom>
              <a:avLst/>
              <a:gdLst>
                <a:gd name="T0" fmla="*/ 11 w 16"/>
                <a:gd name="T1" fmla="*/ 18 h 18"/>
                <a:gd name="T2" fmla="*/ 0 w 16"/>
                <a:gd name="T3" fmla="*/ 5 h 18"/>
                <a:gd name="T4" fmla="*/ 5 w 16"/>
                <a:gd name="T5" fmla="*/ 0 h 18"/>
                <a:gd name="T6" fmla="*/ 16 w 16"/>
                <a:gd name="T7" fmla="*/ 13 h 18"/>
                <a:gd name="T8" fmla="*/ 11 w 16"/>
                <a:gd name="T9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18">
                  <a:moveTo>
                    <a:pt x="11" y="18"/>
                  </a:moveTo>
                  <a:lnTo>
                    <a:pt x="0" y="5"/>
                  </a:lnTo>
                  <a:lnTo>
                    <a:pt x="5" y="0"/>
                  </a:lnTo>
                  <a:lnTo>
                    <a:pt x="16" y="13"/>
                  </a:lnTo>
                  <a:lnTo>
                    <a:pt x="1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113"/>
            <p:cNvSpPr>
              <a:spLocks/>
            </p:cNvSpPr>
            <p:nvPr/>
          </p:nvSpPr>
          <p:spPr bwMode="auto">
            <a:xfrm>
              <a:off x="10613346" y="5503863"/>
              <a:ext cx="33338" cy="23813"/>
            </a:xfrm>
            <a:custGeom>
              <a:avLst/>
              <a:gdLst>
                <a:gd name="T0" fmla="*/ 16 w 21"/>
                <a:gd name="T1" fmla="*/ 15 h 15"/>
                <a:gd name="T2" fmla="*/ 11 w 21"/>
                <a:gd name="T3" fmla="*/ 7 h 15"/>
                <a:gd name="T4" fmla="*/ 1 w 21"/>
                <a:gd name="T5" fmla="*/ 11 h 15"/>
                <a:gd name="T6" fmla="*/ 0 w 21"/>
                <a:gd name="T7" fmla="*/ 4 h 15"/>
                <a:gd name="T8" fmla="*/ 11 w 21"/>
                <a:gd name="T9" fmla="*/ 0 h 15"/>
                <a:gd name="T10" fmla="*/ 21 w 21"/>
                <a:gd name="T11" fmla="*/ 9 h 15"/>
                <a:gd name="T12" fmla="*/ 16 w 21"/>
                <a:gd name="T1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" h="15">
                  <a:moveTo>
                    <a:pt x="16" y="15"/>
                  </a:moveTo>
                  <a:lnTo>
                    <a:pt x="11" y="7"/>
                  </a:lnTo>
                  <a:lnTo>
                    <a:pt x="1" y="11"/>
                  </a:lnTo>
                  <a:lnTo>
                    <a:pt x="0" y="4"/>
                  </a:lnTo>
                  <a:lnTo>
                    <a:pt x="11" y="0"/>
                  </a:lnTo>
                  <a:lnTo>
                    <a:pt x="21" y="9"/>
                  </a:lnTo>
                  <a:lnTo>
                    <a:pt x="16" y="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114"/>
            <p:cNvSpPr>
              <a:spLocks/>
            </p:cNvSpPr>
            <p:nvPr/>
          </p:nvSpPr>
          <p:spPr bwMode="auto">
            <a:xfrm>
              <a:off x="10578421" y="5518150"/>
              <a:ext cx="20638" cy="17463"/>
            </a:xfrm>
            <a:custGeom>
              <a:avLst/>
              <a:gdLst>
                <a:gd name="T0" fmla="*/ 2 w 13"/>
                <a:gd name="T1" fmla="*/ 11 h 11"/>
                <a:gd name="T2" fmla="*/ 0 w 13"/>
                <a:gd name="T3" fmla="*/ 4 h 11"/>
                <a:gd name="T4" fmla="*/ 11 w 13"/>
                <a:gd name="T5" fmla="*/ 0 h 11"/>
                <a:gd name="T6" fmla="*/ 13 w 13"/>
                <a:gd name="T7" fmla="*/ 7 h 11"/>
                <a:gd name="T8" fmla="*/ 2 w 13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1">
                  <a:moveTo>
                    <a:pt x="2" y="11"/>
                  </a:moveTo>
                  <a:lnTo>
                    <a:pt x="0" y="4"/>
                  </a:lnTo>
                  <a:lnTo>
                    <a:pt x="11" y="0"/>
                  </a:lnTo>
                  <a:lnTo>
                    <a:pt x="13" y="7"/>
                  </a:lnTo>
                  <a:lnTo>
                    <a:pt x="2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Freeform 115"/>
            <p:cNvSpPr>
              <a:spLocks/>
            </p:cNvSpPr>
            <p:nvPr/>
          </p:nvSpPr>
          <p:spPr bwMode="auto">
            <a:xfrm>
              <a:off x="10543496" y="5532438"/>
              <a:ext cx="20638" cy="17463"/>
            </a:xfrm>
            <a:custGeom>
              <a:avLst/>
              <a:gdLst>
                <a:gd name="T0" fmla="*/ 4 w 13"/>
                <a:gd name="T1" fmla="*/ 11 h 11"/>
                <a:gd name="T2" fmla="*/ 0 w 13"/>
                <a:gd name="T3" fmla="*/ 4 h 11"/>
                <a:gd name="T4" fmla="*/ 11 w 13"/>
                <a:gd name="T5" fmla="*/ 0 h 11"/>
                <a:gd name="T6" fmla="*/ 13 w 13"/>
                <a:gd name="T7" fmla="*/ 7 h 11"/>
                <a:gd name="T8" fmla="*/ 4 w 13"/>
                <a:gd name="T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1">
                  <a:moveTo>
                    <a:pt x="4" y="11"/>
                  </a:moveTo>
                  <a:lnTo>
                    <a:pt x="0" y="4"/>
                  </a:lnTo>
                  <a:lnTo>
                    <a:pt x="11" y="0"/>
                  </a:lnTo>
                  <a:lnTo>
                    <a:pt x="13" y="7"/>
                  </a:lnTo>
                  <a:lnTo>
                    <a:pt x="4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3" name="Montenegro"/>
          <p:cNvSpPr>
            <a:spLocks/>
          </p:cNvSpPr>
          <p:nvPr/>
        </p:nvSpPr>
        <p:spPr bwMode="auto">
          <a:xfrm>
            <a:off x="10230376" y="5414963"/>
            <a:ext cx="295275" cy="322263"/>
          </a:xfrm>
          <a:custGeom>
            <a:avLst/>
            <a:gdLst>
              <a:gd name="T0" fmla="*/ 92 w 186"/>
              <a:gd name="T1" fmla="*/ 0 h 203"/>
              <a:gd name="T2" fmla="*/ 136 w 186"/>
              <a:gd name="T3" fmla="*/ 15 h 203"/>
              <a:gd name="T4" fmla="*/ 148 w 186"/>
              <a:gd name="T5" fmla="*/ 45 h 203"/>
              <a:gd name="T6" fmla="*/ 177 w 186"/>
              <a:gd name="T7" fmla="*/ 56 h 203"/>
              <a:gd name="T8" fmla="*/ 186 w 186"/>
              <a:gd name="T9" fmla="*/ 81 h 203"/>
              <a:gd name="T10" fmla="*/ 170 w 186"/>
              <a:gd name="T11" fmla="*/ 96 h 203"/>
              <a:gd name="T12" fmla="*/ 170 w 186"/>
              <a:gd name="T13" fmla="*/ 119 h 203"/>
              <a:gd name="T14" fmla="*/ 157 w 186"/>
              <a:gd name="T15" fmla="*/ 132 h 203"/>
              <a:gd name="T16" fmla="*/ 139 w 186"/>
              <a:gd name="T17" fmla="*/ 118 h 203"/>
              <a:gd name="T18" fmla="*/ 125 w 186"/>
              <a:gd name="T19" fmla="*/ 143 h 203"/>
              <a:gd name="T20" fmla="*/ 121 w 186"/>
              <a:gd name="T21" fmla="*/ 177 h 203"/>
              <a:gd name="T22" fmla="*/ 103 w 186"/>
              <a:gd name="T23" fmla="*/ 203 h 203"/>
              <a:gd name="T24" fmla="*/ 78 w 186"/>
              <a:gd name="T25" fmla="*/ 197 h 203"/>
              <a:gd name="T26" fmla="*/ 60 w 186"/>
              <a:gd name="T27" fmla="*/ 174 h 203"/>
              <a:gd name="T28" fmla="*/ 47 w 186"/>
              <a:gd name="T29" fmla="*/ 159 h 203"/>
              <a:gd name="T30" fmla="*/ 31 w 186"/>
              <a:gd name="T31" fmla="*/ 183 h 203"/>
              <a:gd name="T32" fmla="*/ 9 w 186"/>
              <a:gd name="T33" fmla="*/ 152 h 203"/>
              <a:gd name="T34" fmla="*/ 0 w 186"/>
              <a:gd name="T35" fmla="*/ 146 h 203"/>
              <a:gd name="T36" fmla="*/ 7 w 186"/>
              <a:gd name="T37" fmla="*/ 123 h 203"/>
              <a:gd name="T38" fmla="*/ 0 w 186"/>
              <a:gd name="T39" fmla="*/ 100 h 203"/>
              <a:gd name="T40" fmla="*/ 20 w 186"/>
              <a:gd name="T41" fmla="*/ 81 h 203"/>
              <a:gd name="T42" fmla="*/ 14 w 186"/>
              <a:gd name="T43" fmla="*/ 58 h 203"/>
              <a:gd name="T44" fmla="*/ 31 w 186"/>
              <a:gd name="T45" fmla="*/ 34 h 203"/>
              <a:gd name="T46" fmla="*/ 85 w 186"/>
              <a:gd name="T47" fmla="*/ 31 h 203"/>
              <a:gd name="T48" fmla="*/ 92 w 186"/>
              <a:gd name="T49" fmla="*/ 0 h 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86" h="203">
                <a:moveTo>
                  <a:pt x="92" y="0"/>
                </a:moveTo>
                <a:lnTo>
                  <a:pt x="136" y="15"/>
                </a:lnTo>
                <a:lnTo>
                  <a:pt x="148" y="45"/>
                </a:lnTo>
                <a:lnTo>
                  <a:pt x="177" y="56"/>
                </a:lnTo>
                <a:lnTo>
                  <a:pt x="186" y="81"/>
                </a:lnTo>
                <a:lnTo>
                  <a:pt x="170" y="96"/>
                </a:lnTo>
                <a:lnTo>
                  <a:pt x="170" y="119"/>
                </a:lnTo>
                <a:lnTo>
                  <a:pt x="157" y="132"/>
                </a:lnTo>
                <a:lnTo>
                  <a:pt x="139" y="118"/>
                </a:lnTo>
                <a:lnTo>
                  <a:pt x="125" y="143"/>
                </a:lnTo>
                <a:lnTo>
                  <a:pt x="121" y="177"/>
                </a:lnTo>
                <a:lnTo>
                  <a:pt x="103" y="203"/>
                </a:lnTo>
                <a:lnTo>
                  <a:pt x="78" y="197"/>
                </a:lnTo>
                <a:lnTo>
                  <a:pt x="60" y="174"/>
                </a:lnTo>
                <a:lnTo>
                  <a:pt x="47" y="159"/>
                </a:lnTo>
                <a:lnTo>
                  <a:pt x="31" y="183"/>
                </a:lnTo>
                <a:lnTo>
                  <a:pt x="9" y="152"/>
                </a:lnTo>
                <a:lnTo>
                  <a:pt x="0" y="146"/>
                </a:lnTo>
                <a:lnTo>
                  <a:pt x="7" y="123"/>
                </a:lnTo>
                <a:lnTo>
                  <a:pt x="0" y="100"/>
                </a:lnTo>
                <a:lnTo>
                  <a:pt x="20" y="81"/>
                </a:lnTo>
                <a:lnTo>
                  <a:pt x="14" y="58"/>
                </a:lnTo>
                <a:lnTo>
                  <a:pt x="31" y="34"/>
                </a:lnTo>
                <a:lnTo>
                  <a:pt x="85" y="31"/>
                </a:lnTo>
                <a:lnTo>
                  <a:pt x="92" y="0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4" name="Croatia"/>
          <p:cNvSpPr>
            <a:spLocks/>
          </p:cNvSpPr>
          <p:nvPr/>
        </p:nvSpPr>
        <p:spPr bwMode="auto">
          <a:xfrm>
            <a:off x="9408051" y="4910138"/>
            <a:ext cx="871538" cy="642938"/>
          </a:xfrm>
          <a:custGeom>
            <a:avLst/>
            <a:gdLst>
              <a:gd name="T0" fmla="*/ 286 w 304"/>
              <a:gd name="T1" fmla="*/ 30 h 224"/>
              <a:gd name="T2" fmla="*/ 257 w 304"/>
              <a:gd name="T3" fmla="*/ 40 h 224"/>
              <a:gd name="T4" fmla="*/ 213 w 304"/>
              <a:gd name="T5" fmla="*/ 31 h 224"/>
              <a:gd name="T6" fmla="*/ 152 w 304"/>
              <a:gd name="T7" fmla="*/ 0 h 224"/>
              <a:gd name="T8" fmla="*/ 134 w 304"/>
              <a:gd name="T9" fmla="*/ 31 h 224"/>
              <a:gd name="T10" fmla="*/ 109 w 304"/>
              <a:gd name="T11" fmla="*/ 58 h 224"/>
              <a:gd name="T12" fmla="*/ 100 w 304"/>
              <a:gd name="T13" fmla="*/ 59 h 224"/>
              <a:gd name="T14" fmla="*/ 42 w 304"/>
              <a:gd name="T15" fmla="*/ 69 h 224"/>
              <a:gd name="T16" fmla="*/ 19 w 304"/>
              <a:gd name="T17" fmla="*/ 75 h 224"/>
              <a:gd name="T18" fmla="*/ 0 w 304"/>
              <a:gd name="T19" fmla="*/ 83 h 224"/>
              <a:gd name="T20" fmla="*/ 7 w 304"/>
              <a:gd name="T21" fmla="*/ 109 h 224"/>
              <a:gd name="T22" fmla="*/ 31 w 304"/>
              <a:gd name="T23" fmla="*/ 112 h 224"/>
              <a:gd name="T24" fmla="*/ 44 w 304"/>
              <a:gd name="T25" fmla="*/ 95 h 224"/>
              <a:gd name="T26" fmla="*/ 54 w 304"/>
              <a:gd name="T27" fmla="*/ 86 h 224"/>
              <a:gd name="T28" fmla="*/ 77 w 304"/>
              <a:gd name="T29" fmla="*/ 104 h 224"/>
              <a:gd name="T30" fmla="*/ 84 w 304"/>
              <a:gd name="T31" fmla="*/ 145 h 224"/>
              <a:gd name="T32" fmla="*/ 98 w 304"/>
              <a:gd name="T33" fmla="*/ 161 h 224"/>
              <a:gd name="T34" fmla="*/ 143 w 304"/>
              <a:gd name="T35" fmla="*/ 188 h 224"/>
              <a:gd name="T36" fmla="*/ 167 w 304"/>
              <a:gd name="T37" fmla="*/ 191 h 224"/>
              <a:gd name="T38" fmla="*/ 191 w 304"/>
              <a:gd name="T39" fmla="*/ 199 h 224"/>
              <a:gd name="T40" fmla="*/ 199 w 304"/>
              <a:gd name="T41" fmla="*/ 212 h 224"/>
              <a:gd name="T42" fmla="*/ 239 w 304"/>
              <a:gd name="T43" fmla="*/ 223 h 224"/>
              <a:gd name="T44" fmla="*/ 239 w 304"/>
              <a:gd name="T45" fmla="*/ 223 h 224"/>
              <a:gd name="T46" fmla="*/ 143 w 304"/>
              <a:gd name="T47" fmla="*/ 160 h 224"/>
              <a:gd name="T48" fmla="*/ 130 w 304"/>
              <a:gd name="T49" fmla="*/ 147 h 224"/>
              <a:gd name="T50" fmla="*/ 133 w 304"/>
              <a:gd name="T51" fmla="*/ 125 h 224"/>
              <a:gd name="T52" fmla="*/ 126 w 304"/>
              <a:gd name="T53" fmla="*/ 94 h 224"/>
              <a:gd name="T54" fmla="*/ 149 w 304"/>
              <a:gd name="T55" fmla="*/ 98 h 224"/>
              <a:gd name="T56" fmla="*/ 180 w 304"/>
              <a:gd name="T57" fmla="*/ 85 h 224"/>
              <a:gd name="T58" fmla="*/ 200 w 304"/>
              <a:gd name="T59" fmla="*/ 86 h 224"/>
              <a:gd name="T60" fmla="*/ 219 w 304"/>
              <a:gd name="T61" fmla="*/ 81 h 224"/>
              <a:gd name="T62" fmla="*/ 245 w 304"/>
              <a:gd name="T63" fmla="*/ 81 h 224"/>
              <a:gd name="T64" fmla="*/ 276 w 304"/>
              <a:gd name="T65" fmla="*/ 81 h 224"/>
              <a:gd name="T66" fmla="*/ 304 w 304"/>
              <a:gd name="T67" fmla="*/ 81 h 224"/>
              <a:gd name="T68" fmla="*/ 286 w 304"/>
              <a:gd name="T69" fmla="*/ 46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04" h="224">
                <a:moveTo>
                  <a:pt x="286" y="46"/>
                </a:moveTo>
                <a:cubicBezTo>
                  <a:pt x="286" y="30"/>
                  <a:pt x="286" y="30"/>
                  <a:pt x="286" y="30"/>
                </a:cubicBezTo>
                <a:cubicBezTo>
                  <a:pt x="279" y="27"/>
                  <a:pt x="279" y="27"/>
                  <a:pt x="279" y="27"/>
                </a:cubicBezTo>
                <a:cubicBezTo>
                  <a:pt x="257" y="40"/>
                  <a:pt x="257" y="40"/>
                  <a:pt x="257" y="40"/>
                </a:cubicBezTo>
                <a:cubicBezTo>
                  <a:pt x="226" y="38"/>
                  <a:pt x="226" y="38"/>
                  <a:pt x="226" y="38"/>
                </a:cubicBezTo>
                <a:cubicBezTo>
                  <a:pt x="213" y="31"/>
                  <a:pt x="213" y="31"/>
                  <a:pt x="213" y="31"/>
                </a:cubicBezTo>
                <a:cubicBezTo>
                  <a:pt x="197" y="36"/>
                  <a:pt x="197" y="36"/>
                  <a:pt x="197" y="36"/>
                </a:cubicBezTo>
                <a:cubicBezTo>
                  <a:pt x="152" y="0"/>
                  <a:pt x="152" y="0"/>
                  <a:pt x="152" y="0"/>
                </a:cubicBezTo>
                <a:cubicBezTo>
                  <a:pt x="149" y="3"/>
                  <a:pt x="149" y="3"/>
                  <a:pt x="149" y="3"/>
                </a:cubicBezTo>
                <a:cubicBezTo>
                  <a:pt x="134" y="31"/>
                  <a:pt x="134" y="31"/>
                  <a:pt x="134" y="31"/>
                </a:cubicBezTo>
                <a:cubicBezTo>
                  <a:pt x="109" y="36"/>
                  <a:pt x="109" y="36"/>
                  <a:pt x="109" y="36"/>
                </a:cubicBezTo>
                <a:cubicBezTo>
                  <a:pt x="109" y="58"/>
                  <a:pt x="109" y="58"/>
                  <a:pt x="109" y="58"/>
                </a:cubicBezTo>
                <a:cubicBezTo>
                  <a:pt x="104" y="62"/>
                  <a:pt x="104" y="62"/>
                  <a:pt x="104" y="62"/>
                </a:cubicBezTo>
                <a:cubicBezTo>
                  <a:pt x="100" y="59"/>
                  <a:pt x="100" y="59"/>
                  <a:pt x="100" y="59"/>
                </a:cubicBezTo>
                <a:cubicBezTo>
                  <a:pt x="63" y="59"/>
                  <a:pt x="63" y="59"/>
                  <a:pt x="63" y="59"/>
                </a:cubicBezTo>
                <a:cubicBezTo>
                  <a:pt x="42" y="69"/>
                  <a:pt x="42" y="69"/>
                  <a:pt x="42" y="69"/>
                </a:cubicBezTo>
                <a:cubicBezTo>
                  <a:pt x="29" y="62"/>
                  <a:pt x="29" y="62"/>
                  <a:pt x="29" y="62"/>
                </a:cubicBezTo>
                <a:cubicBezTo>
                  <a:pt x="19" y="75"/>
                  <a:pt x="19" y="75"/>
                  <a:pt x="19" y="75"/>
                </a:cubicBezTo>
                <a:cubicBezTo>
                  <a:pt x="4" y="76"/>
                  <a:pt x="4" y="76"/>
                  <a:pt x="4" y="76"/>
                </a:cubicBezTo>
                <a:cubicBezTo>
                  <a:pt x="0" y="83"/>
                  <a:pt x="0" y="83"/>
                  <a:pt x="0" y="83"/>
                </a:cubicBezTo>
                <a:cubicBezTo>
                  <a:pt x="6" y="93"/>
                  <a:pt x="6" y="93"/>
                  <a:pt x="6" y="93"/>
                </a:cubicBezTo>
                <a:cubicBezTo>
                  <a:pt x="7" y="109"/>
                  <a:pt x="7" y="109"/>
                  <a:pt x="7" y="109"/>
                </a:cubicBezTo>
                <a:cubicBezTo>
                  <a:pt x="23" y="137"/>
                  <a:pt x="23" y="137"/>
                  <a:pt x="23" y="137"/>
                </a:cubicBezTo>
                <a:cubicBezTo>
                  <a:pt x="31" y="112"/>
                  <a:pt x="31" y="112"/>
                  <a:pt x="31" y="112"/>
                </a:cubicBezTo>
                <a:cubicBezTo>
                  <a:pt x="43" y="112"/>
                  <a:pt x="43" y="112"/>
                  <a:pt x="43" y="112"/>
                </a:cubicBezTo>
                <a:cubicBezTo>
                  <a:pt x="44" y="95"/>
                  <a:pt x="44" y="95"/>
                  <a:pt x="44" y="95"/>
                </a:cubicBezTo>
                <a:cubicBezTo>
                  <a:pt x="45" y="86"/>
                  <a:pt x="45" y="86"/>
                  <a:pt x="45" y="86"/>
                </a:cubicBezTo>
                <a:cubicBezTo>
                  <a:pt x="54" y="86"/>
                  <a:pt x="54" y="86"/>
                  <a:pt x="54" y="86"/>
                </a:cubicBezTo>
                <a:cubicBezTo>
                  <a:pt x="64" y="98"/>
                  <a:pt x="64" y="98"/>
                  <a:pt x="64" y="98"/>
                </a:cubicBezTo>
                <a:cubicBezTo>
                  <a:pt x="77" y="104"/>
                  <a:pt x="77" y="104"/>
                  <a:pt x="77" y="104"/>
                </a:cubicBezTo>
                <a:cubicBezTo>
                  <a:pt x="80" y="131"/>
                  <a:pt x="80" y="131"/>
                  <a:pt x="80" y="131"/>
                </a:cubicBezTo>
                <a:cubicBezTo>
                  <a:pt x="84" y="145"/>
                  <a:pt x="84" y="145"/>
                  <a:pt x="84" y="145"/>
                </a:cubicBezTo>
                <a:cubicBezTo>
                  <a:pt x="96" y="151"/>
                  <a:pt x="96" y="151"/>
                  <a:pt x="96" y="151"/>
                </a:cubicBezTo>
                <a:cubicBezTo>
                  <a:pt x="98" y="161"/>
                  <a:pt x="98" y="161"/>
                  <a:pt x="98" y="161"/>
                </a:cubicBezTo>
                <a:cubicBezTo>
                  <a:pt x="136" y="184"/>
                  <a:pt x="136" y="184"/>
                  <a:pt x="136" y="184"/>
                </a:cubicBezTo>
                <a:cubicBezTo>
                  <a:pt x="143" y="188"/>
                  <a:pt x="143" y="188"/>
                  <a:pt x="143" y="188"/>
                </a:cubicBezTo>
                <a:cubicBezTo>
                  <a:pt x="147" y="201"/>
                  <a:pt x="147" y="201"/>
                  <a:pt x="147" y="201"/>
                </a:cubicBezTo>
                <a:cubicBezTo>
                  <a:pt x="167" y="191"/>
                  <a:pt x="167" y="191"/>
                  <a:pt x="167" y="191"/>
                </a:cubicBezTo>
                <a:cubicBezTo>
                  <a:pt x="173" y="201"/>
                  <a:pt x="173" y="201"/>
                  <a:pt x="173" y="201"/>
                </a:cubicBezTo>
                <a:cubicBezTo>
                  <a:pt x="191" y="199"/>
                  <a:pt x="191" y="199"/>
                  <a:pt x="191" y="199"/>
                </a:cubicBezTo>
                <a:cubicBezTo>
                  <a:pt x="196" y="202"/>
                  <a:pt x="196" y="202"/>
                  <a:pt x="196" y="202"/>
                </a:cubicBezTo>
                <a:cubicBezTo>
                  <a:pt x="199" y="212"/>
                  <a:pt x="199" y="212"/>
                  <a:pt x="199" y="212"/>
                </a:cubicBezTo>
                <a:cubicBezTo>
                  <a:pt x="225" y="222"/>
                  <a:pt x="225" y="222"/>
                  <a:pt x="225" y="222"/>
                </a:cubicBezTo>
                <a:cubicBezTo>
                  <a:pt x="239" y="223"/>
                  <a:pt x="239" y="223"/>
                  <a:pt x="239" y="223"/>
                </a:cubicBezTo>
                <a:cubicBezTo>
                  <a:pt x="239" y="224"/>
                  <a:pt x="239" y="224"/>
                  <a:pt x="239" y="224"/>
                </a:cubicBezTo>
                <a:cubicBezTo>
                  <a:pt x="239" y="223"/>
                  <a:pt x="239" y="223"/>
                  <a:pt x="239" y="223"/>
                </a:cubicBezTo>
                <a:cubicBezTo>
                  <a:pt x="181" y="187"/>
                  <a:pt x="181" y="187"/>
                  <a:pt x="181" y="187"/>
                </a:cubicBezTo>
                <a:cubicBezTo>
                  <a:pt x="143" y="160"/>
                  <a:pt x="143" y="160"/>
                  <a:pt x="143" y="160"/>
                </a:cubicBezTo>
                <a:cubicBezTo>
                  <a:pt x="134" y="156"/>
                  <a:pt x="134" y="156"/>
                  <a:pt x="134" y="156"/>
                </a:cubicBezTo>
                <a:cubicBezTo>
                  <a:pt x="130" y="147"/>
                  <a:pt x="130" y="147"/>
                  <a:pt x="130" y="147"/>
                </a:cubicBezTo>
                <a:cubicBezTo>
                  <a:pt x="130" y="135"/>
                  <a:pt x="130" y="135"/>
                  <a:pt x="130" y="135"/>
                </a:cubicBezTo>
                <a:cubicBezTo>
                  <a:pt x="133" y="125"/>
                  <a:pt x="133" y="125"/>
                  <a:pt x="133" y="125"/>
                </a:cubicBezTo>
                <a:cubicBezTo>
                  <a:pt x="133" y="113"/>
                  <a:pt x="133" y="113"/>
                  <a:pt x="133" y="113"/>
                </a:cubicBezTo>
                <a:cubicBezTo>
                  <a:pt x="126" y="94"/>
                  <a:pt x="126" y="94"/>
                  <a:pt x="126" y="94"/>
                </a:cubicBezTo>
                <a:cubicBezTo>
                  <a:pt x="133" y="87"/>
                  <a:pt x="133" y="87"/>
                  <a:pt x="133" y="87"/>
                </a:cubicBezTo>
                <a:cubicBezTo>
                  <a:pt x="149" y="98"/>
                  <a:pt x="149" y="98"/>
                  <a:pt x="149" y="98"/>
                </a:cubicBezTo>
                <a:cubicBezTo>
                  <a:pt x="165" y="81"/>
                  <a:pt x="165" y="81"/>
                  <a:pt x="165" y="81"/>
                </a:cubicBezTo>
                <a:cubicBezTo>
                  <a:pt x="180" y="85"/>
                  <a:pt x="180" y="85"/>
                  <a:pt x="180" y="85"/>
                </a:cubicBezTo>
                <a:cubicBezTo>
                  <a:pt x="185" y="76"/>
                  <a:pt x="185" y="76"/>
                  <a:pt x="185" y="76"/>
                </a:cubicBezTo>
                <a:cubicBezTo>
                  <a:pt x="200" y="86"/>
                  <a:pt x="200" y="86"/>
                  <a:pt x="200" y="86"/>
                </a:cubicBezTo>
                <a:cubicBezTo>
                  <a:pt x="209" y="81"/>
                  <a:pt x="209" y="81"/>
                  <a:pt x="209" y="81"/>
                </a:cubicBezTo>
                <a:cubicBezTo>
                  <a:pt x="219" y="81"/>
                  <a:pt x="219" y="81"/>
                  <a:pt x="219" y="81"/>
                </a:cubicBezTo>
                <a:cubicBezTo>
                  <a:pt x="233" y="92"/>
                  <a:pt x="233" y="92"/>
                  <a:pt x="233" y="92"/>
                </a:cubicBezTo>
                <a:cubicBezTo>
                  <a:pt x="245" y="81"/>
                  <a:pt x="245" y="81"/>
                  <a:pt x="245" y="81"/>
                </a:cubicBezTo>
                <a:cubicBezTo>
                  <a:pt x="257" y="76"/>
                  <a:pt x="257" y="76"/>
                  <a:pt x="257" y="76"/>
                </a:cubicBezTo>
                <a:cubicBezTo>
                  <a:pt x="276" y="81"/>
                  <a:pt x="276" y="81"/>
                  <a:pt x="276" y="81"/>
                </a:cubicBezTo>
                <a:cubicBezTo>
                  <a:pt x="276" y="81"/>
                  <a:pt x="285" y="89"/>
                  <a:pt x="285" y="91"/>
                </a:cubicBezTo>
                <a:cubicBezTo>
                  <a:pt x="288" y="89"/>
                  <a:pt x="304" y="81"/>
                  <a:pt x="304" y="81"/>
                </a:cubicBezTo>
                <a:cubicBezTo>
                  <a:pt x="304" y="58"/>
                  <a:pt x="304" y="58"/>
                  <a:pt x="304" y="58"/>
                </a:cubicBezTo>
                <a:lnTo>
                  <a:pt x="286" y="46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5" name="Slovenia"/>
          <p:cNvSpPr>
            <a:spLocks/>
          </p:cNvSpPr>
          <p:nvPr/>
        </p:nvSpPr>
        <p:spPr bwMode="auto">
          <a:xfrm>
            <a:off x="9390588" y="4864100"/>
            <a:ext cx="452438" cy="252413"/>
          </a:xfrm>
          <a:custGeom>
            <a:avLst/>
            <a:gdLst>
              <a:gd name="T0" fmla="*/ 207 w 285"/>
              <a:gd name="T1" fmla="*/ 94 h 159"/>
              <a:gd name="T2" fmla="*/ 253 w 285"/>
              <a:gd name="T3" fmla="*/ 85 h 159"/>
              <a:gd name="T4" fmla="*/ 280 w 285"/>
              <a:gd name="T5" fmla="*/ 35 h 159"/>
              <a:gd name="T6" fmla="*/ 285 w 285"/>
              <a:gd name="T7" fmla="*/ 29 h 159"/>
              <a:gd name="T8" fmla="*/ 247 w 285"/>
              <a:gd name="T9" fmla="*/ 0 h 159"/>
              <a:gd name="T10" fmla="*/ 193 w 285"/>
              <a:gd name="T11" fmla="*/ 20 h 159"/>
              <a:gd name="T12" fmla="*/ 146 w 285"/>
              <a:gd name="T13" fmla="*/ 6 h 159"/>
              <a:gd name="T14" fmla="*/ 117 w 285"/>
              <a:gd name="T15" fmla="*/ 44 h 159"/>
              <a:gd name="T16" fmla="*/ 47 w 285"/>
              <a:gd name="T17" fmla="*/ 38 h 159"/>
              <a:gd name="T18" fmla="*/ 0 w 285"/>
              <a:gd name="T19" fmla="*/ 62 h 159"/>
              <a:gd name="T20" fmla="*/ 34 w 285"/>
              <a:gd name="T21" fmla="*/ 80 h 159"/>
              <a:gd name="T22" fmla="*/ 18 w 285"/>
              <a:gd name="T23" fmla="*/ 103 h 159"/>
              <a:gd name="T24" fmla="*/ 61 w 285"/>
              <a:gd name="T25" fmla="*/ 141 h 159"/>
              <a:gd name="T26" fmla="*/ 85 w 285"/>
              <a:gd name="T27" fmla="*/ 154 h 159"/>
              <a:gd name="T28" fmla="*/ 126 w 285"/>
              <a:gd name="T29" fmla="*/ 145 h 159"/>
              <a:gd name="T30" fmla="*/ 175 w 285"/>
              <a:gd name="T31" fmla="*/ 159 h 159"/>
              <a:gd name="T32" fmla="*/ 207 w 285"/>
              <a:gd name="T33" fmla="*/ 134 h 159"/>
              <a:gd name="T34" fmla="*/ 207 w 285"/>
              <a:gd name="T35" fmla="*/ 94 h 1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85" h="159">
                <a:moveTo>
                  <a:pt x="207" y="94"/>
                </a:moveTo>
                <a:lnTo>
                  <a:pt x="253" y="85"/>
                </a:lnTo>
                <a:lnTo>
                  <a:pt x="280" y="35"/>
                </a:lnTo>
                <a:lnTo>
                  <a:pt x="285" y="29"/>
                </a:lnTo>
                <a:lnTo>
                  <a:pt x="247" y="0"/>
                </a:lnTo>
                <a:lnTo>
                  <a:pt x="193" y="20"/>
                </a:lnTo>
                <a:lnTo>
                  <a:pt x="146" y="6"/>
                </a:lnTo>
                <a:lnTo>
                  <a:pt x="117" y="44"/>
                </a:lnTo>
                <a:lnTo>
                  <a:pt x="47" y="38"/>
                </a:lnTo>
                <a:lnTo>
                  <a:pt x="0" y="62"/>
                </a:lnTo>
                <a:lnTo>
                  <a:pt x="34" y="80"/>
                </a:lnTo>
                <a:lnTo>
                  <a:pt x="18" y="103"/>
                </a:lnTo>
                <a:lnTo>
                  <a:pt x="61" y="141"/>
                </a:lnTo>
                <a:lnTo>
                  <a:pt x="85" y="154"/>
                </a:lnTo>
                <a:lnTo>
                  <a:pt x="126" y="145"/>
                </a:lnTo>
                <a:lnTo>
                  <a:pt x="175" y="159"/>
                </a:lnTo>
                <a:lnTo>
                  <a:pt x="207" y="134"/>
                </a:lnTo>
                <a:lnTo>
                  <a:pt x="207" y="94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6" name="Switzerland"/>
          <p:cNvSpPr>
            <a:spLocks/>
          </p:cNvSpPr>
          <p:nvPr/>
        </p:nvSpPr>
        <p:spPr bwMode="auto">
          <a:xfrm>
            <a:off x="8285688" y="4695825"/>
            <a:ext cx="714375" cy="381000"/>
          </a:xfrm>
          <a:custGeom>
            <a:avLst/>
            <a:gdLst>
              <a:gd name="T0" fmla="*/ 137 w 249"/>
              <a:gd name="T1" fmla="*/ 0 h 133"/>
              <a:gd name="T2" fmla="*/ 151 w 249"/>
              <a:gd name="T3" fmla="*/ 9 h 133"/>
              <a:gd name="T4" fmla="*/ 171 w 249"/>
              <a:gd name="T5" fmla="*/ 8 h 133"/>
              <a:gd name="T6" fmla="*/ 186 w 249"/>
              <a:gd name="T7" fmla="*/ 18 h 133"/>
              <a:gd name="T8" fmla="*/ 191 w 249"/>
              <a:gd name="T9" fmla="*/ 29 h 133"/>
              <a:gd name="T10" fmla="*/ 180 w 249"/>
              <a:gd name="T11" fmla="*/ 43 h 133"/>
              <a:gd name="T12" fmla="*/ 193 w 249"/>
              <a:gd name="T13" fmla="*/ 55 h 133"/>
              <a:gd name="T14" fmla="*/ 206 w 249"/>
              <a:gd name="T15" fmla="*/ 62 h 133"/>
              <a:gd name="T16" fmla="*/ 232 w 249"/>
              <a:gd name="T17" fmla="*/ 63 h 133"/>
              <a:gd name="T18" fmla="*/ 242 w 249"/>
              <a:gd name="T19" fmla="*/ 50 h 133"/>
              <a:gd name="T20" fmla="*/ 249 w 249"/>
              <a:gd name="T21" fmla="*/ 62 h 133"/>
              <a:gd name="T22" fmla="*/ 238 w 249"/>
              <a:gd name="T23" fmla="*/ 70 h 133"/>
              <a:gd name="T24" fmla="*/ 236 w 249"/>
              <a:gd name="T25" fmla="*/ 88 h 133"/>
              <a:gd name="T26" fmla="*/ 222 w 249"/>
              <a:gd name="T27" fmla="*/ 77 h 133"/>
              <a:gd name="T28" fmla="*/ 212 w 249"/>
              <a:gd name="T29" fmla="*/ 83 h 133"/>
              <a:gd name="T30" fmla="*/ 222 w 249"/>
              <a:gd name="T31" fmla="*/ 102 h 133"/>
              <a:gd name="T32" fmla="*/ 215 w 249"/>
              <a:gd name="T33" fmla="*/ 111 h 133"/>
              <a:gd name="T34" fmla="*/ 204 w 249"/>
              <a:gd name="T35" fmla="*/ 95 h 133"/>
              <a:gd name="T36" fmla="*/ 187 w 249"/>
              <a:gd name="T37" fmla="*/ 102 h 133"/>
              <a:gd name="T38" fmla="*/ 177 w 249"/>
              <a:gd name="T39" fmla="*/ 83 h 133"/>
              <a:gd name="T40" fmla="*/ 172 w 249"/>
              <a:gd name="T41" fmla="*/ 88 h 133"/>
              <a:gd name="T42" fmla="*/ 172 w 249"/>
              <a:gd name="T43" fmla="*/ 103 h 133"/>
              <a:gd name="T44" fmla="*/ 156 w 249"/>
              <a:gd name="T45" fmla="*/ 118 h 133"/>
              <a:gd name="T46" fmla="*/ 167 w 249"/>
              <a:gd name="T47" fmla="*/ 127 h 133"/>
              <a:gd name="T48" fmla="*/ 159 w 249"/>
              <a:gd name="T49" fmla="*/ 133 h 133"/>
              <a:gd name="T50" fmla="*/ 147 w 249"/>
              <a:gd name="T51" fmla="*/ 127 h 133"/>
              <a:gd name="T52" fmla="*/ 147 w 249"/>
              <a:gd name="T53" fmla="*/ 110 h 133"/>
              <a:gd name="T54" fmla="*/ 132 w 249"/>
              <a:gd name="T55" fmla="*/ 107 h 133"/>
              <a:gd name="T56" fmla="*/ 122 w 249"/>
              <a:gd name="T57" fmla="*/ 93 h 133"/>
              <a:gd name="T58" fmla="*/ 102 w 249"/>
              <a:gd name="T59" fmla="*/ 124 h 133"/>
              <a:gd name="T60" fmla="*/ 46 w 249"/>
              <a:gd name="T61" fmla="*/ 126 h 133"/>
              <a:gd name="T62" fmla="*/ 39 w 249"/>
              <a:gd name="T63" fmla="*/ 85 h 133"/>
              <a:gd name="T64" fmla="*/ 11 w 249"/>
              <a:gd name="T65" fmla="*/ 89 h 133"/>
              <a:gd name="T66" fmla="*/ 0 w 249"/>
              <a:gd name="T67" fmla="*/ 102 h 133"/>
              <a:gd name="T68" fmla="*/ 2 w 249"/>
              <a:gd name="T69" fmla="*/ 81 h 133"/>
              <a:gd name="T70" fmla="*/ 28 w 249"/>
              <a:gd name="T71" fmla="*/ 50 h 133"/>
              <a:gd name="T72" fmla="*/ 86 w 249"/>
              <a:gd name="T73" fmla="*/ 13 h 133"/>
              <a:gd name="T74" fmla="*/ 106 w 249"/>
              <a:gd name="T75" fmla="*/ 14 h 133"/>
              <a:gd name="T76" fmla="*/ 133 w 249"/>
              <a:gd name="T77" fmla="*/ 17 h 133"/>
              <a:gd name="T78" fmla="*/ 137 w 249"/>
              <a:gd name="T79" fmla="*/ 0 h 1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49" h="133">
                <a:moveTo>
                  <a:pt x="137" y="0"/>
                </a:moveTo>
                <a:cubicBezTo>
                  <a:pt x="151" y="9"/>
                  <a:pt x="151" y="9"/>
                  <a:pt x="151" y="9"/>
                </a:cubicBezTo>
                <a:cubicBezTo>
                  <a:pt x="171" y="8"/>
                  <a:pt x="171" y="8"/>
                  <a:pt x="171" y="8"/>
                </a:cubicBezTo>
                <a:cubicBezTo>
                  <a:pt x="186" y="18"/>
                  <a:pt x="186" y="18"/>
                  <a:pt x="186" y="18"/>
                </a:cubicBezTo>
                <a:cubicBezTo>
                  <a:pt x="191" y="29"/>
                  <a:pt x="191" y="29"/>
                  <a:pt x="191" y="29"/>
                </a:cubicBezTo>
                <a:cubicBezTo>
                  <a:pt x="180" y="43"/>
                  <a:pt x="180" y="43"/>
                  <a:pt x="180" y="43"/>
                </a:cubicBezTo>
                <a:cubicBezTo>
                  <a:pt x="193" y="55"/>
                  <a:pt x="193" y="55"/>
                  <a:pt x="193" y="55"/>
                </a:cubicBezTo>
                <a:cubicBezTo>
                  <a:pt x="206" y="62"/>
                  <a:pt x="206" y="62"/>
                  <a:pt x="206" y="62"/>
                </a:cubicBezTo>
                <a:cubicBezTo>
                  <a:pt x="232" y="63"/>
                  <a:pt x="232" y="63"/>
                  <a:pt x="232" y="63"/>
                </a:cubicBezTo>
                <a:cubicBezTo>
                  <a:pt x="242" y="50"/>
                  <a:pt x="242" y="50"/>
                  <a:pt x="242" y="50"/>
                </a:cubicBezTo>
                <a:cubicBezTo>
                  <a:pt x="249" y="62"/>
                  <a:pt x="249" y="62"/>
                  <a:pt x="249" y="62"/>
                </a:cubicBezTo>
                <a:cubicBezTo>
                  <a:pt x="238" y="70"/>
                  <a:pt x="238" y="70"/>
                  <a:pt x="238" y="70"/>
                </a:cubicBezTo>
                <a:cubicBezTo>
                  <a:pt x="236" y="88"/>
                  <a:pt x="236" y="88"/>
                  <a:pt x="236" y="88"/>
                </a:cubicBezTo>
                <a:cubicBezTo>
                  <a:pt x="222" y="77"/>
                  <a:pt x="222" y="77"/>
                  <a:pt x="222" y="77"/>
                </a:cubicBezTo>
                <a:cubicBezTo>
                  <a:pt x="212" y="83"/>
                  <a:pt x="212" y="83"/>
                  <a:pt x="212" y="83"/>
                </a:cubicBezTo>
                <a:cubicBezTo>
                  <a:pt x="222" y="102"/>
                  <a:pt x="222" y="102"/>
                  <a:pt x="222" y="102"/>
                </a:cubicBezTo>
                <a:cubicBezTo>
                  <a:pt x="215" y="111"/>
                  <a:pt x="215" y="111"/>
                  <a:pt x="215" y="111"/>
                </a:cubicBezTo>
                <a:cubicBezTo>
                  <a:pt x="204" y="95"/>
                  <a:pt x="204" y="95"/>
                  <a:pt x="204" y="95"/>
                </a:cubicBezTo>
                <a:cubicBezTo>
                  <a:pt x="187" y="102"/>
                  <a:pt x="187" y="102"/>
                  <a:pt x="187" y="102"/>
                </a:cubicBezTo>
                <a:cubicBezTo>
                  <a:pt x="177" y="83"/>
                  <a:pt x="177" y="83"/>
                  <a:pt x="177" y="83"/>
                </a:cubicBezTo>
                <a:cubicBezTo>
                  <a:pt x="172" y="88"/>
                  <a:pt x="172" y="88"/>
                  <a:pt x="172" y="88"/>
                </a:cubicBezTo>
                <a:cubicBezTo>
                  <a:pt x="172" y="103"/>
                  <a:pt x="172" y="103"/>
                  <a:pt x="172" y="103"/>
                </a:cubicBezTo>
                <a:cubicBezTo>
                  <a:pt x="156" y="118"/>
                  <a:pt x="156" y="118"/>
                  <a:pt x="156" y="118"/>
                </a:cubicBezTo>
                <a:cubicBezTo>
                  <a:pt x="167" y="127"/>
                  <a:pt x="167" y="127"/>
                  <a:pt x="167" y="127"/>
                </a:cubicBezTo>
                <a:cubicBezTo>
                  <a:pt x="159" y="133"/>
                  <a:pt x="159" y="133"/>
                  <a:pt x="159" y="133"/>
                </a:cubicBezTo>
                <a:cubicBezTo>
                  <a:pt x="147" y="127"/>
                  <a:pt x="147" y="127"/>
                  <a:pt x="147" y="127"/>
                </a:cubicBezTo>
                <a:cubicBezTo>
                  <a:pt x="147" y="110"/>
                  <a:pt x="147" y="110"/>
                  <a:pt x="147" y="110"/>
                </a:cubicBezTo>
                <a:cubicBezTo>
                  <a:pt x="132" y="107"/>
                  <a:pt x="132" y="107"/>
                  <a:pt x="132" y="107"/>
                </a:cubicBezTo>
                <a:cubicBezTo>
                  <a:pt x="122" y="93"/>
                  <a:pt x="122" y="93"/>
                  <a:pt x="122" y="93"/>
                </a:cubicBezTo>
                <a:cubicBezTo>
                  <a:pt x="102" y="124"/>
                  <a:pt x="102" y="124"/>
                  <a:pt x="102" y="124"/>
                </a:cubicBezTo>
                <a:cubicBezTo>
                  <a:pt x="102" y="124"/>
                  <a:pt x="45" y="126"/>
                  <a:pt x="46" y="126"/>
                </a:cubicBezTo>
                <a:cubicBezTo>
                  <a:pt x="48" y="126"/>
                  <a:pt x="39" y="85"/>
                  <a:pt x="39" y="85"/>
                </a:cubicBezTo>
                <a:cubicBezTo>
                  <a:pt x="11" y="89"/>
                  <a:pt x="11" y="89"/>
                  <a:pt x="11" y="89"/>
                </a:cubicBezTo>
                <a:cubicBezTo>
                  <a:pt x="0" y="102"/>
                  <a:pt x="0" y="102"/>
                  <a:pt x="0" y="102"/>
                </a:cubicBezTo>
                <a:cubicBezTo>
                  <a:pt x="2" y="81"/>
                  <a:pt x="2" y="81"/>
                  <a:pt x="2" y="81"/>
                </a:cubicBezTo>
                <a:cubicBezTo>
                  <a:pt x="28" y="50"/>
                  <a:pt x="28" y="50"/>
                  <a:pt x="28" y="50"/>
                </a:cubicBezTo>
                <a:cubicBezTo>
                  <a:pt x="86" y="13"/>
                  <a:pt x="86" y="13"/>
                  <a:pt x="86" y="13"/>
                </a:cubicBezTo>
                <a:cubicBezTo>
                  <a:pt x="106" y="14"/>
                  <a:pt x="106" y="14"/>
                  <a:pt x="106" y="14"/>
                </a:cubicBezTo>
                <a:cubicBezTo>
                  <a:pt x="133" y="17"/>
                  <a:pt x="133" y="17"/>
                  <a:pt x="133" y="17"/>
                </a:cubicBezTo>
                <a:lnTo>
                  <a:pt x="137" y="0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7" name="ANDORRA"/>
          <p:cNvSpPr>
            <a:spLocks noChangeArrowheads="1"/>
          </p:cNvSpPr>
          <p:nvPr/>
        </p:nvSpPr>
        <p:spPr bwMode="auto">
          <a:xfrm>
            <a:off x="7425263" y="5492750"/>
            <a:ext cx="244475" cy="2460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8" name="Portugal"/>
          <p:cNvSpPr>
            <a:spLocks/>
          </p:cNvSpPr>
          <p:nvPr/>
        </p:nvSpPr>
        <p:spPr bwMode="auto">
          <a:xfrm>
            <a:off x="5561538" y="5446713"/>
            <a:ext cx="693738" cy="989013"/>
          </a:xfrm>
          <a:custGeom>
            <a:avLst/>
            <a:gdLst>
              <a:gd name="T0" fmla="*/ 159 w 437"/>
              <a:gd name="T1" fmla="*/ 107 h 623"/>
              <a:gd name="T2" fmla="*/ 159 w 437"/>
              <a:gd name="T3" fmla="*/ 61 h 623"/>
              <a:gd name="T4" fmla="*/ 148 w 437"/>
              <a:gd name="T5" fmla="*/ 34 h 623"/>
              <a:gd name="T6" fmla="*/ 179 w 437"/>
              <a:gd name="T7" fmla="*/ 0 h 623"/>
              <a:gd name="T8" fmla="*/ 229 w 437"/>
              <a:gd name="T9" fmla="*/ 0 h 623"/>
              <a:gd name="T10" fmla="*/ 260 w 437"/>
              <a:gd name="T11" fmla="*/ 14 h 623"/>
              <a:gd name="T12" fmla="*/ 242 w 437"/>
              <a:gd name="T13" fmla="*/ 40 h 623"/>
              <a:gd name="T14" fmla="*/ 280 w 437"/>
              <a:gd name="T15" fmla="*/ 38 h 623"/>
              <a:gd name="T16" fmla="*/ 331 w 437"/>
              <a:gd name="T17" fmla="*/ 58 h 623"/>
              <a:gd name="T18" fmla="*/ 341 w 437"/>
              <a:gd name="T19" fmla="*/ 43 h 623"/>
              <a:gd name="T20" fmla="*/ 401 w 437"/>
              <a:gd name="T21" fmla="*/ 51 h 623"/>
              <a:gd name="T22" fmla="*/ 396 w 437"/>
              <a:gd name="T23" fmla="*/ 96 h 623"/>
              <a:gd name="T24" fmla="*/ 437 w 437"/>
              <a:gd name="T25" fmla="*/ 94 h 623"/>
              <a:gd name="T26" fmla="*/ 437 w 437"/>
              <a:gd name="T27" fmla="*/ 126 h 623"/>
              <a:gd name="T28" fmla="*/ 340 w 437"/>
              <a:gd name="T29" fmla="*/ 154 h 623"/>
              <a:gd name="T30" fmla="*/ 347 w 437"/>
              <a:gd name="T31" fmla="*/ 179 h 623"/>
              <a:gd name="T32" fmla="*/ 332 w 437"/>
              <a:gd name="T33" fmla="*/ 246 h 623"/>
              <a:gd name="T34" fmla="*/ 314 w 437"/>
              <a:gd name="T35" fmla="*/ 239 h 623"/>
              <a:gd name="T36" fmla="*/ 311 w 437"/>
              <a:gd name="T37" fmla="*/ 273 h 623"/>
              <a:gd name="T38" fmla="*/ 294 w 437"/>
              <a:gd name="T39" fmla="*/ 318 h 623"/>
              <a:gd name="T40" fmla="*/ 238 w 437"/>
              <a:gd name="T41" fmla="*/ 314 h 623"/>
              <a:gd name="T42" fmla="*/ 278 w 437"/>
              <a:gd name="T43" fmla="*/ 378 h 623"/>
              <a:gd name="T44" fmla="*/ 276 w 437"/>
              <a:gd name="T45" fmla="*/ 405 h 623"/>
              <a:gd name="T46" fmla="*/ 226 w 437"/>
              <a:gd name="T47" fmla="*/ 454 h 623"/>
              <a:gd name="T48" fmla="*/ 273 w 437"/>
              <a:gd name="T49" fmla="*/ 506 h 623"/>
              <a:gd name="T50" fmla="*/ 219 w 437"/>
              <a:gd name="T51" fmla="*/ 506 h 623"/>
              <a:gd name="T52" fmla="*/ 179 w 437"/>
              <a:gd name="T53" fmla="*/ 556 h 623"/>
              <a:gd name="T54" fmla="*/ 188 w 437"/>
              <a:gd name="T55" fmla="*/ 600 h 623"/>
              <a:gd name="T56" fmla="*/ 121 w 437"/>
              <a:gd name="T57" fmla="*/ 623 h 623"/>
              <a:gd name="T58" fmla="*/ 58 w 437"/>
              <a:gd name="T59" fmla="*/ 584 h 623"/>
              <a:gd name="T60" fmla="*/ 0 w 437"/>
              <a:gd name="T61" fmla="*/ 593 h 623"/>
              <a:gd name="T62" fmla="*/ 29 w 437"/>
              <a:gd name="T63" fmla="*/ 544 h 623"/>
              <a:gd name="T64" fmla="*/ 47 w 437"/>
              <a:gd name="T65" fmla="*/ 504 h 623"/>
              <a:gd name="T66" fmla="*/ 34 w 437"/>
              <a:gd name="T67" fmla="*/ 470 h 623"/>
              <a:gd name="T68" fmla="*/ 60 w 437"/>
              <a:gd name="T69" fmla="*/ 450 h 623"/>
              <a:gd name="T70" fmla="*/ 56 w 437"/>
              <a:gd name="T71" fmla="*/ 417 h 623"/>
              <a:gd name="T72" fmla="*/ 16 w 437"/>
              <a:gd name="T73" fmla="*/ 419 h 623"/>
              <a:gd name="T74" fmla="*/ 0 w 437"/>
              <a:gd name="T75" fmla="*/ 369 h 623"/>
              <a:gd name="T76" fmla="*/ 25 w 437"/>
              <a:gd name="T77" fmla="*/ 329 h 623"/>
              <a:gd name="T78" fmla="*/ 27 w 437"/>
              <a:gd name="T79" fmla="*/ 296 h 623"/>
              <a:gd name="T80" fmla="*/ 60 w 437"/>
              <a:gd name="T81" fmla="*/ 296 h 623"/>
              <a:gd name="T82" fmla="*/ 101 w 437"/>
              <a:gd name="T83" fmla="*/ 248 h 623"/>
              <a:gd name="T84" fmla="*/ 110 w 437"/>
              <a:gd name="T85" fmla="*/ 199 h 623"/>
              <a:gd name="T86" fmla="*/ 166 w 437"/>
              <a:gd name="T87" fmla="*/ 143 h 623"/>
              <a:gd name="T88" fmla="*/ 159 w 437"/>
              <a:gd name="T89" fmla="*/ 107 h 6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437" h="623">
                <a:moveTo>
                  <a:pt x="159" y="107"/>
                </a:moveTo>
                <a:lnTo>
                  <a:pt x="159" y="61"/>
                </a:lnTo>
                <a:lnTo>
                  <a:pt x="148" y="34"/>
                </a:lnTo>
                <a:lnTo>
                  <a:pt x="179" y="0"/>
                </a:lnTo>
                <a:lnTo>
                  <a:pt x="229" y="0"/>
                </a:lnTo>
                <a:lnTo>
                  <a:pt x="260" y="14"/>
                </a:lnTo>
                <a:lnTo>
                  <a:pt x="242" y="40"/>
                </a:lnTo>
                <a:lnTo>
                  <a:pt x="280" y="38"/>
                </a:lnTo>
                <a:lnTo>
                  <a:pt x="331" y="58"/>
                </a:lnTo>
                <a:lnTo>
                  <a:pt x="341" y="43"/>
                </a:lnTo>
                <a:lnTo>
                  <a:pt x="401" y="51"/>
                </a:lnTo>
                <a:lnTo>
                  <a:pt x="396" y="96"/>
                </a:lnTo>
                <a:lnTo>
                  <a:pt x="437" y="94"/>
                </a:lnTo>
                <a:lnTo>
                  <a:pt x="437" y="126"/>
                </a:lnTo>
                <a:lnTo>
                  <a:pt x="340" y="154"/>
                </a:lnTo>
                <a:lnTo>
                  <a:pt x="347" y="179"/>
                </a:lnTo>
                <a:lnTo>
                  <a:pt x="332" y="246"/>
                </a:lnTo>
                <a:lnTo>
                  <a:pt x="314" y="239"/>
                </a:lnTo>
                <a:lnTo>
                  <a:pt x="311" y="273"/>
                </a:lnTo>
                <a:lnTo>
                  <a:pt x="294" y="318"/>
                </a:lnTo>
                <a:lnTo>
                  <a:pt x="238" y="314"/>
                </a:lnTo>
                <a:lnTo>
                  <a:pt x="278" y="378"/>
                </a:lnTo>
                <a:lnTo>
                  <a:pt x="276" y="405"/>
                </a:lnTo>
                <a:lnTo>
                  <a:pt x="226" y="454"/>
                </a:lnTo>
                <a:lnTo>
                  <a:pt x="273" y="506"/>
                </a:lnTo>
                <a:lnTo>
                  <a:pt x="219" y="506"/>
                </a:lnTo>
                <a:lnTo>
                  <a:pt x="179" y="556"/>
                </a:lnTo>
                <a:lnTo>
                  <a:pt x="188" y="600"/>
                </a:lnTo>
                <a:lnTo>
                  <a:pt x="121" y="623"/>
                </a:lnTo>
                <a:lnTo>
                  <a:pt x="58" y="584"/>
                </a:lnTo>
                <a:lnTo>
                  <a:pt x="0" y="593"/>
                </a:lnTo>
                <a:lnTo>
                  <a:pt x="29" y="544"/>
                </a:lnTo>
                <a:lnTo>
                  <a:pt x="47" y="504"/>
                </a:lnTo>
                <a:lnTo>
                  <a:pt x="34" y="470"/>
                </a:lnTo>
                <a:lnTo>
                  <a:pt x="60" y="450"/>
                </a:lnTo>
                <a:lnTo>
                  <a:pt x="56" y="417"/>
                </a:lnTo>
                <a:lnTo>
                  <a:pt x="16" y="419"/>
                </a:lnTo>
                <a:lnTo>
                  <a:pt x="0" y="369"/>
                </a:lnTo>
                <a:lnTo>
                  <a:pt x="25" y="329"/>
                </a:lnTo>
                <a:lnTo>
                  <a:pt x="27" y="296"/>
                </a:lnTo>
                <a:lnTo>
                  <a:pt x="60" y="296"/>
                </a:lnTo>
                <a:lnTo>
                  <a:pt x="101" y="248"/>
                </a:lnTo>
                <a:lnTo>
                  <a:pt x="110" y="199"/>
                </a:lnTo>
                <a:lnTo>
                  <a:pt x="166" y="143"/>
                </a:lnTo>
                <a:lnTo>
                  <a:pt x="159" y="107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9" name="Spain"/>
          <p:cNvSpPr>
            <a:spLocks/>
          </p:cNvSpPr>
          <p:nvPr/>
        </p:nvSpPr>
        <p:spPr bwMode="auto">
          <a:xfrm>
            <a:off x="5825063" y="5143500"/>
            <a:ext cx="1965325" cy="1547813"/>
          </a:xfrm>
          <a:custGeom>
            <a:avLst/>
            <a:gdLst>
              <a:gd name="T0" fmla="*/ 638 w 1238"/>
              <a:gd name="T1" fmla="*/ 133 h 975"/>
              <a:gd name="T2" fmla="*/ 710 w 1238"/>
              <a:gd name="T3" fmla="*/ 169 h 975"/>
              <a:gd name="T4" fmla="*/ 779 w 1238"/>
              <a:gd name="T5" fmla="*/ 178 h 975"/>
              <a:gd name="T6" fmla="*/ 842 w 1238"/>
              <a:gd name="T7" fmla="*/ 224 h 975"/>
              <a:gd name="T8" fmla="*/ 914 w 1238"/>
              <a:gd name="T9" fmla="*/ 269 h 975"/>
              <a:gd name="T10" fmla="*/ 999 w 1238"/>
              <a:gd name="T11" fmla="*/ 256 h 975"/>
              <a:gd name="T12" fmla="*/ 1061 w 1238"/>
              <a:gd name="T13" fmla="*/ 298 h 975"/>
              <a:gd name="T14" fmla="*/ 1095 w 1238"/>
              <a:gd name="T15" fmla="*/ 316 h 975"/>
              <a:gd name="T16" fmla="*/ 1173 w 1238"/>
              <a:gd name="T17" fmla="*/ 345 h 975"/>
              <a:gd name="T18" fmla="*/ 1227 w 1238"/>
              <a:gd name="T19" fmla="*/ 397 h 975"/>
              <a:gd name="T20" fmla="*/ 1100 w 1238"/>
              <a:gd name="T21" fmla="*/ 469 h 975"/>
              <a:gd name="T22" fmla="*/ 958 w 1238"/>
              <a:gd name="T23" fmla="*/ 500 h 975"/>
              <a:gd name="T24" fmla="*/ 934 w 1238"/>
              <a:gd name="T25" fmla="*/ 532 h 975"/>
              <a:gd name="T26" fmla="*/ 826 w 1238"/>
              <a:gd name="T27" fmla="*/ 713 h 975"/>
              <a:gd name="T28" fmla="*/ 860 w 1238"/>
              <a:gd name="T29" fmla="*/ 753 h 975"/>
              <a:gd name="T30" fmla="*/ 763 w 1238"/>
              <a:gd name="T31" fmla="*/ 829 h 975"/>
              <a:gd name="T32" fmla="*/ 748 w 1238"/>
              <a:gd name="T33" fmla="*/ 869 h 975"/>
              <a:gd name="T34" fmla="*/ 703 w 1238"/>
              <a:gd name="T35" fmla="*/ 860 h 975"/>
              <a:gd name="T36" fmla="*/ 593 w 1238"/>
              <a:gd name="T37" fmla="*/ 943 h 975"/>
              <a:gd name="T38" fmla="*/ 562 w 1238"/>
              <a:gd name="T39" fmla="*/ 934 h 975"/>
              <a:gd name="T40" fmla="*/ 481 w 1238"/>
              <a:gd name="T41" fmla="*/ 926 h 975"/>
              <a:gd name="T42" fmla="*/ 338 w 1238"/>
              <a:gd name="T43" fmla="*/ 908 h 975"/>
              <a:gd name="T44" fmla="*/ 239 w 1238"/>
              <a:gd name="T45" fmla="*/ 925 h 975"/>
              <a:gd name="T46" fmla="*/ 165 w 1238"/>
              <a:gd name="T47" fmla="*/ 975 h 975"/>
              <a:gd name="T48" fmla="*/ 116 w 1238"/>
              <a:gd name="T49" fmla="*/ 908 h 975"/>
              <a:gd name="T50" fmla="*/ 116 w 1238"/>
              <a:gd name="T51" fmla="*/ 838 h 975"/>
              <a:gd name="T52" fmla="*/ 22 w 1238"/>
              <a:gd name="T53" fmla="*/ 791 h 975"/>
              <a:gd name="T54" fmla="*/ 53 w 1238"/>
              <a:gd name="T55" fmla="*/ 697 h 975"/>
              <a:gd name="T56" fmla="*/ 60 w 1238"/>
              <a:gd name="T57" fmla="*/ 645 h 975"/>
              <a:gd name="T58" fmla="*/ 112 w 1238"/>
              <a:gd name="T59" fmla="*/ 569 h 975"/>
              <a:gd name="T60" fmla="*/ 128 w 1238"/>
              <a:gd name="T61" fmla="*/ 509 h 975"/>
              <a:gd name="T62" fmla="*/ 148 w 1238"/>
              <a:gd name="T63" fmla="*/ 430 h 975"/>
              <a:gd name="T64" fmla="*/ 181 w 1238"/>
              <a:gd name="T65" fmla="*/ 370 h 975"/>
              <a:gd name="T66" fmla="*/ 271 w 1238"/>
              <a:gd name="T67" fmla="*/ 317 h 975"/>
              <a:gd name="T68" fmla="*/ 230 w 1238"/>
              <a:gd name="T69" fmla="*/ 287 h 975"/>
              <a:gd name="T70" fmla="*/ 175 w 1238"/>
              <a:gd name="T71" fmla="*/ 234 h 975"/>
              <a:gd name="T72" fmla="*/ 114 w 1238"/>
              <a:gd name="T73" fmla="*/ 229 h 975"/>
              <a:gd name="T74" fmla="*/ 94 w 1238"/>
              <a:gd name="T75" fmla="*/ 205 h 975"/>
              <a:gd name="T76" fmla="*/ 13 w 1238"/>
              <a:gd name="T77" fmla="*/ 191 h 975"/>
              <a:gd name="T78" fmla="*/ 54 w 1238"/>
              <a:gd name="T79" fmla="*/ 108 h 975"/>
              <a:gd name="T80" fmla="*/ 13 w 1238"/>
              <a:gd name="T81" fmla="*/ 110 h 975"/>
              <a:gd name="T82" fmla="*/ 27 w 1238"/>
              <a:gd name="T83" fmla="*/ 45 h 975"/>
              <a:gd name="T84" fmla="*/ 157 w 1238"/>
              <a:gd name="T85" fmla="*/ 0 h 975"/>
              <a:gd name="T86" fmla="*/ 190 w 1238"/>
              <a:gd name="T87" fmla="*/ 10 h 975"/>
              <a:gd name="T88" fmla="*/ 268 w 1238"/>
              <a:gd name="T89" fmla="*/ 56 h 975"/>
              <a:gd name="T90" fmla="*/ 356 w 1238"/>
              <a:gd name="T91" fmla="*/ 57 h 975"/>
              <a:gd name="T92" fmla="*/ 477 w 1238"/>
              <a:gd name="T93" fmla="*/ 121 h 975"/>
              <a:gd name="T94" fmla="*/ 542 w 1238"/>
              <a:gd name="T95" fmla="*/ 113 h 975"/>
              <a:gd name="T96" fmla="*/ 609 w 1238"/>
              <a:gd name="T97" fmla="*/ 157 h 9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238" h="975">
                <a:moveTo>
                  <a:pt x="609" y="157"/>
                </a:moveTo>
                <a:lnTo>
                  <a:pt x="638" y="133"/>
                </a:lnTo>
                <a:lnTo>
                  <a:pt x="672" y="157"/>
                </a:lnTo>
                <a:lnTo>
                  <a:pt x="710" y="169"/>
                </a:lnTo>
                <a:lnTo>
                  <a:pt x="763" y="162"/>
                </a:lnTo>
                <a:lnTo>
                  <a:pt x="779" y="178"/>
                </a:lnTo>
                <a:lnTo>
                  <a:pt x="779" y="204"/>
                </a:lnTo>
                <a:lnTo>
                  <a:pt x="842" y="224"/>
                </a:lnTo>
                <a:lnTo>
                  <a:pt x="898" y="252"/>
                </a:lnTo>
                <a:lnTo>
                  <a:pt x="914" y="269"/>
                </a:lnTo>
                <a:lnTo>
                  <a:pt x="990" y="278"/>
                </a:lnTo>
                <a:lnTo>
                  <a:pt x="999" y="256"/>
                </a:lnTo>
                <a:lnTo>
                  <a:pt x="1046" y="281"/>
                </a:lnTo>
                <a:lnTo>
                  <a:pt x="1061" y="298"/>
                </a:lnTo>
                <a:lnTo>
                  <a:pt x="1061" y="316"/>
                </a:lnTo>
                <a:lnTo>
                  <a:pt x="1095" y="316"/>
                </a:lnTo>
                <a:lnTo>
                  <a:pt x="1109" y="327"/>
                </a:lnTo>
                <a:lnTo>
                  <a:pt x="1173" y="345"/>
                </a:lnTo>
                <a:lnTo>
                  <a:pt x="1238" y="345"/>
                </a:lnTo>
                <a:lnTo>
                  <a:pt x="1227" y="397"/>
                </a:lnTo>
                <a:lnTo>
                  <a:pt x="1129" y="444"/>
                </a:lnTo>
                <a:lnTo>
                  <a:pt x="1100" y="469"/>
                </a:lnTo>
                <a:lnTo>
                  <a:pt x="1001" y="478"/>
                </a:lnTo>
                <a:lnTo>
                  <a:pt x="958" y="500"/>
                </a:lnTo>
                <a:lnTo>
                  <a:pt x="967" y="523"/>
                </a:lnTo>
                <a:lnTo>
                  <a:pt x="934" y="532"/>
                </a:lnTo>
                <a:lnTo>
                  <a:pt x="837" y="637"/>
                </a:lnTo>
                <a:lnTo>
                  <a:pt x="826" y="713"/>
                </a:lnTo>
                <a:lnTo>
                  <a:pt x="867" y="735"/>
                </a:lnTo>
                <a:lnTo>
                  <a:pt x="860" y="753"/>
                </a:lnTo>
                <a:lnTo>
                  <a:pt x="786" y="782"/>
                </a:lnTo>
                <a:lnTo>
                  <a:pt x="763" y="829"/>
                </a:lnTo>
                <a:lnTo>
                  <a:pt x="739" y="840"/>
                </a:lnTo>
                <a:lnTo>
                  <a:pt x="748" y="869"/>
                </a:lnTo>
                <a:lnTo>
                  <a:pt x="732" y="878"/>
                </a:lnTo>
                <a:lnTo>
                  <a:pt x="703" y="860"/>
                </a:lnTo>
                <a:lnTo>
                  <a:pt x="631" y="896"/>
                </a:lnTo>
                <a:lnTo>
                  <a:pt x="593" y="943"/>
                </a:lnTo>
                <a:lnTo>
                  <a:pt x="584" y="964"/>
                </a:lnTo>
                <a:lnTo>
                  <a:pt x="562" y="934"/>
                </a:lnTo>
                <a:lnTo>
                  <a:pt x="517" y="944"/>
                </a:lnTo>
                <a:lnTo>
                  <a:pt x="481" y="926"/>
                </a:lnTo>
                <a:lnTo>
                  <a:pt x="448" y="934"/>
                </a:lnTo>
                <a:lnTo>
                  <a:pt x="338" y="908"/>
                </a:lnTo>
                <a:lnTo>
                  <a:pt x="295" y="941"/>
                </a:lnTo>
                <a:lnTo>
                  <a:pt x="239" y="925"/>
                </a:lnTo>
                <a:lnTo>
                  <a:pt x="202" y="964"/>
                </a:lnTo>
                <a:lnTo>
                  <a:pt x="165" y="975"/>
                </a:lnTo>
                <a:lnTo>
                  <a:pt x="143" y="941"/>
                </a:lnTo>
                <a:lnTo>
                  <a:pt x="116" y="908"/>
                </a:lnTo>
                <a:lnTo>
                  <a:pt x="116" y="869"/>
                </a:lnTo>
                <a:lnTo>
                  <a:pt x="116" y="838"/>
                </a:lnTo>
                <a:lnTo>
                  <a:pt x="76" y="814"/>
                </a:lnTo>
                <a:lnTo>
                  <a:pt x="22" y="791"/>
                </a:lnTo>
                <a:lnTo>
                  <a:pt x="13" y="747"/>
                </a:lnTo>
                <a:lnTo>
                  <a:pt x="53" y="697"/>
                </a:lnTo>
                <a:lnTo>
                  <a:pt x="107" y="697"/>
                </a:lnTo>
                <a:lnTo>
                  <a:pt x="60" y="645"/>
                </a:lnTo>
                <a:lnTo>
                  <a:pt x="110" y="596"/>
                </a:lnTo>
                <a:lnTo>
                  <a:pt x="112" y="569"/>
                </a:lnTo>
                <a:lnTo>
                  <a:pt x="72" y="505"/>
                </a:lnTo>
                <a:lnTo>
                  <a:pt x="128" y="509"/>
                </a:lnTo>
                <a:lnTo>
                  <a:pt x="145" y="464"/>
                </a:lnTo>
                <a:lnTo>
                  <a:pt x="148" y="430"/>
                </a:lnTo>
                <a:lnTo>
                  <a:pt x="166" y="437"/>
                </a:lnTo>
                <a:lnTo>
                  <a:pt x="181" y="370"/>
                </a:lnTo>
                <a:lnTo>
                  <a:pt x="174" y="345"/>
                </a:lnTo>
                <a:lnTo>
                  <a:pt x="271" y="317"/>
                </a:lnTo>
                <a:lnTo>
                  <a:pt x="271" y="285"/>
                </a:lnTo>
                <a:lnTo>
                  <a:pt x="230" y="287"/>
                </a:lnTo>
                <a:lnTo>
                  <a:pt x="235" y="242"/>
                </a:lnTo>
                <a:lnTo>
                  <a:pt x="175" y="234"/>
                </a:lnTo>
                <a:lnTo>
                  <a:pt x="165" y="249"/>
                </a:lnTo>
                <a:lnTo>
                  <a:pt x="114" y="229"/>
                </a:lnTo>
                <a:lnTo>
                  <a:pt x="76" y="231"/>
                </a:lnTo>
                <a:lnTo>
                  <a:pt x="94" y="205"/>
                </a:lnTo>
                <a:lnTo>
                  <a:pt x="63" y="191"/>
                </a:lnTo>
                <a:lnTo>
                  <a:pt x="13" y="191"/>
                </a:lnTo>
                <a:lnTo>
                  <a:pt x="29" y="140"/>
                </a:lnTo>
                <a:lnTo>
                  <a:pt x="54" y="108"/>
                </a:lnTo>
                <a:lnTo>
                  <a:pt x="53" y="88"/>
                </a:lnTo>
                <a:lnTo>
                  <a:pt x="13" y="110"/>
                </a:lnTo>
                <a:lnTo>
                  <a:pt x="0" y="63"/>
                </a:lnTo>
                <a:lnTo>
                  <a:pt x="27" y="45"/>
                </a:lnTo>
                <a:lnTo>
                  <a:pt x="103" y="32"/>
                </a:lnTo>
                <a:lnTo>
                  <a:pt x="157" y="0"/>
                </a:lnTo>
                <a:lnTo>
                  <a:pt x="170" y="21"/>
                </a:lnTo>
                <a:lnTo>
                  <a:pt x="190" y="10"/>
                </a:lnTo>
                <a:lnTo>
                  <a:pt x="224" y="43"/>
                </a:lnTo>
                <a:lnTo>
                  <a:pt x="268" y="56"/>
                </a:lnTo>
                <a:lnTo>
                  <a:pt x="325" y="63"/>
                </a:lnTo>
                <a:lnTo>
                  <a:pt x="356" y="57"/>
                </a:lnTo>
                <a:lnTo>
                  <a:pt x="381" y="81"/>
                </a:lnTo>
                <a:lnTo>
                  <a:pt x="477" y="121"/>
                </a:lnTo>
                <a:lnTo>
                  <a:pt x="537" y="128"/>
                </a:lnTo>
                <a:lnTo>
                  <a:pt x="542" y="113"/>
                </a:lnTo>
                <a:lnTo>
                  <a:pt x="584" y="119"/>
                </a:lnTo>
                <a:lnTo>
                  <a:pt x="609" y="157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0" name="France"/>
          <p:cNvSpPr>
            <a:spLocks/>
          </p:cNvSpPr>
          <p:nvPr/>
        </p:nvSpPr>
        <p:spPr bwMode="auto">
          <a:xfrm>
            <a:off x="6752163" y="4013200"/>
            <a:ext cx="1889125" cy="1677988"/>
          </a:xfrm>
          <a:custGeom>
            <a:avLst/>
            <a:gdLst>
              <a:gd name="T0" fmla="*/ 246 w 659"/>
              <a:gd name="T1" fmla="*/ 109 h 585"/>
              <a:gd name="T2" fmla="*/ 336 w 659"/>
              <a:gd name="T3" fmla="*/ 64 h 585"/>
              <a:gd name="T4" fmla="*/ 386 w 659"/>
              <a:gd name="T5" fmla="*/ 0 h 585"/>
              <a:gd name="T6" fmla="*/ 454 w 659"/>
              <a:gd name="T7" fmla="*/ 54 h 585"/>
              <a:gd name="T8" fmla="*/ 490 w 659"/>
              <a:gd name="T9" fmla="*/ 73 h 585"/>
              <a:gd name="T10" fmla="*/ 551 w 659"/>
              <a:gd name="T11" fmla="*/ 120 h 585"/>
              <a:gd name="T12" fmla="*/ 594 w 659"/>
              <a:gd name="T13" fmla="*/ 150 h 585"/>
              <a:gd name="T14" fmla="*/ 628 w 659"/>
              <a:gd name="T15" fmla="*/ 200 h 585"/>
              <a:gd name="T16" fmla="*/ 563 w 659"/>
              <a:gd name="T17" fmla="*/ 288 h 585"/>
              <a:gd name="T18" fmla="*/ 535 w 659"/>
              <a:gd name="T19" fmla="*/ 340 h 585"/>
              <a:gd name="T20" fmla="*/ 575 w 659"/>
              <a:gd name="T21" fmla="*/ 323 h 585"/>
              <a:gd name="T22" fmla="*/ 568 w 659"/>
              <a:gd name="T23" fmla="*/ 370 h 585"/>
              <a:gd name="T24" fmla="*/ 567 w 659"/>
              <a:gd name="T25" fmla="*/ 414 h 585"/>
              <a:gd name="T26" fmla="*/ 575 w 659"/>
              <a:gd name="T27" fmla="*/ 466 h 585"/>
              <a:gd name="T28" fmla="*/ 606 w 659"/>
              <a:gd name="T29" fmla="*/ 507 h 585"/>
              <a:gd name="T30" fmla="*/ 488 w 659"/>
              <a:gd name="T31" fmla="*/ 536 h 585"/>
              <a:gd name="T32" fmla="*/ 450 w 659"/>
              <a:gd name="T33" fmla="*/ 528 h 585"/>
              <a:gd name="T34" fmla="*/ 362 w 659"/>
              <a:gd name="T35" fmla="*/ 529 h 585"/>
              <a:gd name="T36" fmla="*/ 362 w 659"/>
              <a:gd name="T37" fmla="*/ 585 h 585"/>
              <a:gd name="T38" fmla="*/ 291 w 659"/>
              <a:gd name="T39" fmla="*/ 575 h 585"/>
              <a:gd name="T40" fmla="*/ 264 w 659"/>
              <a:gd name="T41" fmla="*/ 559 h 585"/>
              <a:gd name="T42" fmla="*/ 230 w 659"/>
              <a:gd name="T43" fmla="*/ 536 h 585"/>
              <a:gd name="T44" fmla="*/ 183 w 659"/>
              <a:gd name="T45" fmla="*/ 543 h 585"/>
              <a:gd name="T46" fmla="*/ 143 w 659"/>
              <a:gd name="T47" fmla="*/ 518 h 585"/>
              <a:gd name="T48" fmla="*/ 108 w 659"/>
              <a:gd name="T49" fmla="*/ 493 h 585"/>
              <a:gd name="T50" fmla="*/ 121 w 659"/>
              <a:gd name="T51" fmla="*/ 463 h 585"/>
              <a:gd name="T52" fmla="*/ 151 w 659"/>
              <a:gd name="T53" fmla="*/ 351 h 585"/>
              <a:gd name="T54" fmla="*/ 155 w 659"/>
              <a:gd name="T55" fmla="*/ 337 h 585"/>
              <a:gd name="T56" fmla="*/ 159 w 659"/>
              <a:gd name="T57" fmla="*/ 296 h 585"/>
              <a:gd name="T58" fmla="*/ 126 w 659"/>
              <a:gd name="T59" fmla="*/ 266 h 585"/>
              <a:gd name="T60" fmla="*/ 122 w 659"/>
              <a:gd name="T61" fmla="*/ 242 h 585"/>
              <a:gd name="T62" fmla="*/ 113 w 659"/>
              <a:gd name="T63" fmla="*/ 207 h 585"/>
              <a:gd name="T64" fmla="*/ 45 w 659"/>
              <a:gd name="T65" fmla="*/ 177 h 585"/>
              <a:gd name="T66" fmla="*/ 0 w 659"/>
              <a:gd name="T67" fmla="*/ 156 h 585"/>
              <a:gd name="T68" fmla="*/ 5 w 659"/>
              <a:gd name="T69" fmla="*/ 132 h 585"/>
              <a:gd name="T70" fmla="*/ 43 w 659"/>
              <a:gd name="T71" fmla="*/ 111 h 585"/>
              <a:gd name="T72" fmla="*/ 85 w 659"/>
              <a:gd name="T73" fmla="*/ 110 h 585"/>
              <a:gd name="T74" fmla="*/ 123 w 659"/>
              <a:gd name="T75" fmla="*/ 126 h 585"/>
              <a:gd name="T76" fmla="*/ 172 w 659"/>
              <a:gd name="T77" fmla="*/ 143 h 585"/>
              <a:gd name="T78" fmla="*/ 174 w 659"/>
              <a:gd name="T79" fmla="*/ 100 h 585"/>
              <a:gd name="T80" fmla="*/ 163 w 659"/>
              <a:gd name="T81" fmla="*/ 65 h 585"/>
              <a:gd name="T82" fmla="*/ 188 w 659"/>
              <a:gd name="T83" fmla="*/ 94 h 5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659" h="585">
                <a:moveTo>
                  <a:pt x="201" y="92"/>
                </a:moveTo>
                <a:cubicBezTo>
                  <a:pt x="246" y="109"/>
                  <a:pt x="246" y="109"/>
                  <a:pt x="246" y="109"/>
                </a:cubicBezTo>
                <a:cubicBezTo>
                  <a:pt x="262" y="80"/>
                  <a:pt x="262" y="80"/>
                  <a:pt x="262" y="80"/>
                </a:cubicBezTo>
                <a:cubicBezTo>
                  <a:pt x="336" y="64"/>
                  <a:pt x="336" y="64"/>
                  <a:pt x="336" y="64"/>
                </a:cubicBezTo>
                <a:cubicBezTo>
                  <a:pt x="339" y="6"/>
                  <a:pt x="339" y="6"/>
                  <a:pt x="339" y="6"/>
                </a:cubicBezTo>
                <a:cubicBezTo>
                  <a:pt x="386" y="0"/>
                  <a:pt x="386" y="0"/>
                  <a:pt x="386" y="0"/>
                </a:cubicBezTo>
                <a:cubicBezTo>
                  <a:pt x="408" y="29"/>
                  <a:pt x="408" y="29"/>
                  <a:pt x="408" y="29"/>
                </a:cubicBezTo>
                <a:cubicBezTo>
                  <a:pt x="454" y="54"/>
                  <a:pt x="454" y="54"/>
                  <a:pt x="454" y="54"/>
                </a:cubicBezTo>
                <a:cubicBezTo>
                  <a:pt x="464" y="82"/>
                  <a:pt x="464" y="82"/>
                  <a:pt x="464" y="82"/>
                </a:cubicBezTo>
                <a:cubicBezTo>
                  <a:pt x="490" y="73"/>
                  <a:pt x="490" y="73"/>
                  <a:pt x="490" y="73"/>
                </a:cubicBezTo>
                <a:cubicBezTo>
                  <a:pt x="522" y="120"/>
                  <a:pt x="522" y="120"/>
                  <a:pt x="522" y="120"/>
                </a:cubicBezTo>
                <a:cubicBezTo>
                  <a:pt x="551" y="120"/>
                  <a:pt x="551" y="120"/>
                  <a:pt x="551" y="120"/>
                </a:cubicBezTo>
                <a:cubicBezTo>
                  <a:pt x="571" y="122"/>
                  <a:pt x="571" y="122"/>
                  <a:pt x="571" y="122"/>
                </a:cubicBezTo>
                <a:cubicBezTo>
                  <a:pt x="594" y="150"/>
                  <a:pt x="594" y="150"/>
                  <a:pt x="594" y="150"/>
                </a:cubicBezTo>
                <a:cubicBezTo>
                  <a:pt x="659" y="153"/>
                  <a:pt x="659" y="153"/>
                  <a:pt x="659" y="153"/>
                </a:cubicBezTo>
                <a:cubicBezTo>
                  <a:pt x="628" y="200"/>
                  <a:pt x="628" y="200"/>
                  <a:pt x="628" y="200"/>
                </a:cubicBezTo>
                <a:cubicBezTo>
                  <a:pt x="621" y="251"/>
                  <a:pt x="621" y="251"/>
                  <a:pt x="621" y="251"/>
                </a:cubicBezTo>
                <a:cubicBezTo>
                  <a:pt x="563" y="288"/>
                  <a:pt x="563" y="288"/>
                  <a:pt x="563" y="288"/>
                </a:cubicBezTo>
                <a:cubicBezTo>
                  <a:pt x="537" y="319"/>
                  <a:pt x="537" y="319"/>
                  <a:pt x="537" y="319"/>
                </a:cubicBezTo>
                <a:cubicBezTo>
                  <a:pt x="535" y="340"/>
                  <a:pt x="535" y="340"/>
                  <a:pt x="535" y="340"/>
                </a:cubicBezTo>
                <a:cubicBezTo>
                  <a:pt x="549" y="324"/>
                  <a:pt x="549" y="324"/>
                  <a:pt x="549" y="324"/>
                </a:cubicBezTo>
                <a:cubicBezTo>
                  <a:pt x="575" y="323"/>
                  <a:pt x="575" y="323"/>
                  <a:pt x="575" y="323"/>
                </a:cubicBezTo>
                <a:cubicBezTo>
                  <a:pt x="583" y="364"/>
                  <a:pt x="583" y="364"/>
                  <a:pt x="583" y="364"/>
                </a:cubicBezTo>
                <a:cubicBezTo>
                  <a:pt x="568" y="370"/>
                  <a:pt x="568" y="370"/>
                  <a:pt x="568" y="370"/>
                </a:cubicBezTo>
                <a:cubicBezTo>
                  <a:pt x="590" y="389"/>
                  <a:pt x="590" y="389"/>
                  <a:pt x="590" y="389"/>
                </a:cubicBezTo>
                <a:cubicBezTo>
                  <a:pt x="567" y="414"/>
                  <a:pt x="567" y="414"/>
                  <a:pt x="567" y="414"/>
                </a:cubicBezTo>
                <a:cubicBezTo>
                  <a:pt x="581" y="434"/>
                  <a:pt x="581" y="434"/>
                  <a:pt x="581" y="434"/>
                </a:cubicBezTo>
                <a:cubicBezTo>
                  <a:pt x="575" y="466"/>
                  <a:pt x="575" y="466"/>
                  <a:pt x="575" y="466"/>
                </a:cubicBezTo>
                <a:cubicBezTo>
                  <a:pt x="619" y="473"/>
                  <a:pt x="619" y="473"/>
                  <a:pt x="619" y="473"/>
                </a:cubicBezTo>
                <a:cubicBezTo>
                  <a:pt x="606" y="507"/>
                  <a:pt x="606" y="507"/>
                  <a:pt x="606" y="507"/>
                </a:cubicBezTo>
                <a:cubicBezTo>
                  <a:pt x="540" y="547"/>
                  <a:pt x="540" y="547"/>
                  <a:pt x="540" y="547"/>
                </a:cubicBezTo>
                <a:cubicBezTo>
                  <a:pt x="488" y="536"/>
                  <a:pt x="488" y="536"/>
                  <a:pt x="488" y="536"/>
                </a:cubicBezTo>
                <a:cubicBezTo>
                  <a:pt x="472" y="511"/>
                  <a:pt x="472" y="511"/>
                  <a:pt x="472" y="511"/>
                </a:cubicBezTo>
                <a:cubicBezTo>
                  <a:pt x="472" y="511"/>
                  <a:pt x="454" y="528"/>
                  <a:pt x="450" y="528"/>
                </a:cubicBezTo>
                <a:cubicBezTo>
                  <a:pt x="445" y="528"/>
                  <a:pt x="411" y="509"/>
                  <a:pt x="411" y="509"/>
                </a:cubicBezTo>
                <a:cubicBezTo>
                  <a:pt x="362" y="529"/>
                  <a:pt x="362" y="529"/>
                  <a:pt x="362" y="529"/>
                </a:cubicBezTo>
                <a:cubicBezTo>
                  <a:pt x="356" y="556"/>
                  <a:pt x="356" y="556"/>
                  <a:pt x="356" y="556"/>
                </a:cubicBezTo>
                <a:cubicBezTo>
                  <a:pt x="362" y="585"/>
                  <a:pt x="362" y="585"/>
                  <a:pt x="362" y="585"/>
                </a:cubicBezTo>
                <a:cubicBezTo>
                  <a:pt x="326" y="585"/>
                  <a:pt x="326" y="585"/>
                  <a:pt x="326" y="585"/>
                </a:cubicBezTo>
                <a:cubicBezTo>
                  <a:pt x="291" y="575"/>
                  <a:pt x="291" y="575"/>
                  <a:pt x="291" y="575"/>
                </a:cubicBezTo>
                <a:cubicBezTo>
                  <a:pt x="278" y="556"/>
                  <a:pt x="278" y="556"/>
                  <a:pt x="278" y="556"/>
                </a:cubicBezTo>
                <a:cubicBezTo>
                  <a:pt x="264" y="559"/>
                  <a:pt x="264" y="559"/>
                  <a:pt x="264" y="559"/>
                </a:cubicBezTo>
                <a:cubicBezTo>
                  <a:pt x="256" y="550"/>
                  <a:pt x="256" y="550"/>
                  <a:pt x="256" y="550"/>
                </a:cubicBezTo>
                <a:cubicBezTo>
                  <a:pt x="230" y="536"/>
                  <a:pt x="230" y="536"/>
                  <a:pt x="230" y="536"/>
                </a:cubicBezTo>
                <a:cubicBezTo>
                  <a:pt x="225" y="548"/>
                  <a:pt x="225" y="548"/>
                  <a:pt x="225" y="548"/>
                </a:cubicBezTo>
                <a:cubicBezTo>
                  <a:pt x="183" y="543"/>
                  <a:pt x="183" y="543"/>
                  <a:pt x="183" y="543"/>
                </a:cubicBezTo>
                <a:cubicBezTo>
                  <a:pt x="174" y="534"/>
                  <a:pt x="174" y="534"/>
                  <a:pt x="174" y="534"/>
                </a:cubicBezTo>
                <a:cubicBezTo>
                  <a:pt x="143" y="518"/>
                  <a:pt x="143" y="518"/>
                  <a:pt x="143" y="518"/>
                </a:cubicBezTo>
                <a:cubicBezTo>
                  <a:pt x="108" y="507"/>
                  <a:pt x="108" y="507"/>
                  <a:pt x="108" y="507"/>
                </a:cubicBezTo>
                <a:cubicBezTo>
                  <a:pt x="108" y="493"/>
                  <a:pt x="108" y="493"/>
                  <a:pt x="108" y="493"/>
                </a:cubicBezTo>
                <a:cubicBezTo>
                  <a:pt x="99" y="484"/>
                  <a:pt x="99" y="484"/>
                  <a:pt x="99" y="484"/>
                </a:cubicBezTo>
                <a:cubicBezTo>
                  <a:pt x="121" y="463"/>
                  <a:pt x="121" y="463"/>
                  <a:pt x="121" y="463"/>
                </a:cubicBezTo>
                <a:cubicBezTo>
                  <a:pt x="131" y="397"/>
                  <a:pt x="131" y="397"/>
                  <a:pt x="131" y="397"/>
                </a:cubicBezTo>
                <a:cubicBezTo>
                  <a:pt x="151" y="351"/>
                  <a:pt x="151" y="351"/>
                  <a:pt x="151" y="351"/>
                </a:cubicBezTo>
                <a:cubicBezTo>
                  <a:pt x="171" y="371"/>
                  <a:pt x="171" y="371"/>
                  <a:pt x="171" y="371"/>
                </a:cubicBezTo>
                <a:cubicBezTo>
                  <a:pt x="155" y="337"/>
                  <a:pt x="155" y="337"/>
                  <a:pt x="155" y="337"/>
                </a:cubicBezTo>
                <a:cubicBezTo>
                  <a:pt x="159" y="318"/>
                  <a:pt x="159" y="318"/>
                  <a:pt x="159" y="318"/>
                </a:cubicBezTo>
                <a:cubicBezTo>
                  <a:pt x="159" y="296"/>
                  <a:pt x="159" y="296"/>
                  <a:pt x="159" y="296"/>
                </a:cubicBezTo>
                <a:cubicBezTo>
                  <a:pt x="128" y="285"/>
                  <a:pt x="128" y="285"/>
                  <a:pt x="128" y="285"/>
                </a:cubicBezTo>
                <a:cubicBezTo>
                  <a:pt x="126" y="266"/>
                  <a:pt x="126" y="266"/>
                  <a:pt x="126" y="266"/>
                </a:cubicBezTo>
                <a:cubicBezTo>
                  <a:pt x="117" y="254"/>
                  <a:pt x="117" y="254"/>
                  <a:pt x="117" y="254"/>
                </a:cubicBezTo>
                <a:cubicBezTo>
                  <a:pt x="122" y="242"/>
                  <a:pt x="122" y="242"/>
                  <a:pt x="122" y="242"/>
                </a:cubicBezTo>
                <a:cubicBezTo>
                  <a:pt x="103" y="225"/>
                  <a:pt x="103" y="225"/>
                  <a:pt x="103" y="225"/>
                </a:cubicBezTo>
                <a:cubicBezTo>
                  <a:pt x="113" y="207"/>
                  <a:pt x="113" y="207"/>
                  <a:pt x="113" y="207"/>
                </a:cubicBezTo>
                <a:cubicBezTo>
                  <a:pt x="72" y="192"/>
                  <a:pt x="72" y="192"/>
                  <a:pt x="72" y="192"/>
                </a:cubicBezTo>
                <a:cubicBezTo>
                  <a:pt x="45" y="177"/>
                  <a:pt x="45" y="177"/>
                  <a:pt x="45" y="177"/>
                </a:cubicBezTo>
                <a:cubicBezTo>
                  <a:pt x="13" y="175"/>
                  <a:pt x="13" y="175"/>
                  <a:pt x="13" y="175"/>
                </a:cubicBezTo>
                <a:cubicBezTo>
                  <a:pt x="0" y="156"/>
                  <a:pt x="0" y="156"/>
                  <a:pt x="0" y="156"/>
                </a:cubicBezTo>
                <a:cubicBezTo>
                  <a:pt x="26" y="138"/>
                  <a:pt x="26" y="138"/>
                  <a:pt x="26" y="138"/>
                </a:cubicBezTo>
                <a:cubicBezTo>
                  <a:pt x="5" y="132"/>
                  <a:pt x="5" y="132"/>
                  <a:pt x="5" y="132"/>
                </a:cubicBezTo>
                <a:cubicBezTo>
                  <a:pt x="12" y="115"/>
                  <a:pt x="12" y="115"/>
                  <a:pt x="12" y="115"/>
                </a:cubicBezTo>
                <a:cubicBezTo>
                  <a:pt x="43" y="111"/>
                  <a:pt x="43" y="111"/>
                  <a:pt x="43" y="111"/>
                </a:cubicBezTo>
                <a:cubicBezTo>
                  <a:pt x="65" y="122"/>
                  <a:pt x="65" y="122"/>
                  <a:pt x="65" y="122"/>
                </a:cubicBezTo>
                <a:cubicBezTo>
                  <a:pt x="85" y="110"/>
                  <a:pt x="85" y="110"/>
                  <a:pt x="85" y="110"/>
                </a:cubicBezTo>
                <a:cubicBezTo>
                  <a:pt x="108" y="132"/>
                  <a:pt x="108" y="132"/>
                  <a:pt x="108" y="132"/>
                </a:cubicBezTo>
                <a:cubicBezTo>
                  <a:pt x="123" y="126"/>
                  <a:pt x="123" y="126"/>
                  <a:pt x="123" y="126"/>
                </a:cubicBezTo>
                <a:cubicBezTo>
                  <a:pt x="140" y="143"/>
                  <a:pt x="140" y="143"/>
                  <a:pt x="140" y="143"/>
                </a:cubicBezTo>
                <a:cubicBezTo>
                  <a:pt x="172" y="143"/>
                  <a:pt x="172" y="143"/>
                  <a:pt x="172" y="143"/>
                </a:cubicBezTo>
                <a:cubicBezTo>
                  <a:pt x="159" y="128"/>
                  <a:pt x="159" y="128"/>
                  <a:pt x="159" y="128"/>
                </a:cubicBezTo>
                <a:cubicBezTo>
                  <a:pt x="174" y="100"/>
                  <a:pt x="174" y="100"/>
                  <a:pt x="174" y="100"/>
                </a:cubicBezTo>
                <a:cubicBezTo>
                  <a:pt x="159" y="79"/>
                  <a:pt x="159" y="79"/>
                  <a:pt x="159" y="79"/>
                </a:cubicBezTo>
                <a:cubicBezTo>
                  <a:pt x="163" y="65"/>
                  <a:pt x="163" y="65"/>
                  <a:pt x="163" y="65"/>
                </a:cubicBezTo>
                <a:cubicBezTo>
                  <a:pt x="191" y="71"/>
                  <a:pt x="191" y="71"/>
                  <a:pt x="191" y="71"/>
                </a:cubicBezTo>
                <a:cubicBezTo>
                  <a:pt x="188" y="94"/>
                  <a:pt x="188" y="94"/>
                  <a:pt x="188" y="94"/>
                </a:cubicBezTo>
                <a:lnTo>
                  <a:pt x="201" y="92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1" name="Belgium"/>
          <p:cNvSpPr>
            <a:spLocks/>
          </p:cNvSpPr>
          <p:nvPr/>
        </p:nvSpPr>
        <p:spPr bwMode="auto">
          <a:xfrm>
            <a:off x="7858651" y="3957638"/>
            <a:ext cx="533400" cy="398463"/>
          </a:xfrm>
          <a:custGeom>
            <a:avLst/>
            <a:gdLst>
              <a:gd name="T0" fmla="*/ 0 w 336"/>
              <a:gd name="T1" fmla="*/ 35 h 251"/>
              <a:gd name="T2" fmla="*/ 34 w 336"/>
              <a:gd name="T3" fmla="*/ 17 h 251"/>
              <a:gd name="T4" fmla="*/ 85 w 336"/>
              <a:gd name="T5" fmla="*/ 8 h 251"/>
              <a:gd name="T6" fmla="*/ 105 w 336"/>
              <a:gd name="T7" fmla="*/ 20 h 251"/>
              <a:gd name="T8" fmla="*/ 130 w 336"/>
              <a:gd name="T9" fmla="*/ 8 h 251"/>
              <a:gd name="T10" fmla="*/ 150 w 336"/>
              <a:gd name="T11" fmla="*/ 35 h 251"/>
              <a:gd name="T12" fmla="*/ 161 w 336"/>
              <a:gd name="T13" fmla="*/ 8 h 251"/>
              <a:gd name="T14" fmla="*/ 188 w 336"/>
              <a:gd name="T15" fmla="*/ 20 h 251"/>
              <a:gd name="T16" fmla="*/ 195 w 336"/>
              <a:gd name="T17" fmla="*/ 0 h 251"/>
              <a:gd name="T18" fmla="*/ 215 w 336"/>
              <a:gd name="T19" fmla="*/ 11 h 251"/>
              <a:gd name="T20" fmla="*/ 242 w 336"/>
              <a:gd name="T21" fmla="*/ 35 h 251"/>
              <a:gd name="T22" fmla="*/ 276 w 336"/>
              <a:gd name="T23" fmla="*/ 40 h 251"/>
              <a:gd name="T24" fmla="*/ 271 w 336"/>
              <a:gd name="T25" fmla="*/ 69 h 251"/>
              <a:gd name="T26" fmla="*/ 276 w 336"/>
              <a:gd name="T27" fmla="*/ 105 h 251"/>
              <a:gd name="T28" fmla="*/ 311 w 336"/>
              <a:gd name="T29" fmla="*/ 105 h 251"/>
              <a:gd name="T30" fmla="*/ 331 w 336"/>
              <a:gd name="T31" fmla="*/ 125 h 251"/>
              <a:gd name="T32" fmla="*/ 336 w 336"/>
              <a:gd name="T33" fmla="*/ 138 h 251"/>
              <a:gd name="T34" fmla="*/ 289 w 336"/>
              <a:gd name="T35" fmla="*/ 163 h 251"/>
              <a:gd name="T36" fmla="*/ 271 w 336"/>
              <a:gd name="T37" fmla="*/ 190 h 251"/>
              <a:gd name="T38" fmla="*/ 296 w 336"/>
              <a:gd name="T39" fmla="*/ 251 h 251"/>
              <a:gd name="T40" fmla="*/ 246 w 336"/>
              <a:gd name="T41" fmla="*/ 251 h 251"/>
              <a:gd name="T42" fmla="*/ 188 w 336"/>
              <a:gd name="T43" fmla="*/ 167 h 251"/>
              <a:gd name="T44" fmla="*/ 141 w 336"/>
              <a:gd name="T45" fmla="*/ 183 h 251"/>
              <a:gd name="T46" fmla="*/ 123 w 336"/>
              <a:gd name="T47" fmla="*/ 132 h 251"/>
              <a:gd name="T48" fmla="*/ 40 w 336"/>
              <a:gd name="T49" fmla="*/ 87 h 251"/>
              <a:gd name="T50" fmla="*/ 0 w 336"/>
              <a:gd name="T51" fmla="*/ 35 h 2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36" h="251">
                <a:moveTo>
                  <a:pt x="0" y="35"/>
                </a:moveTo>
                <a:lnTo>
                  <a:pt x="34" y="17"/>
                </a:lnTo>
                <a:lnTo>
                  <a:pt x="85" y="8"/>
                </a:lnTo>
                <a:lnTo>
                  <a:pt x="105" y="20"/>
                </a:lnTo>
                <a:lnTo>
                  <a:pt x="130" y="8"/>
                </a:lnTo>
                <a:lnTo>
                  <a:pt x="150" y="35"/>
                </a:lnTo>
                <a:lnTo>
                  <a:pt x="161" y="8"/>
                </a:lnTo>
                <a:lnTo>
                  <a:pt x="188" y="20"/>
                </a:lnTo>
                <a:lnTo>
                  <a:pt x="195" y="0"/>
                </a:lnTo>
                <a:lnTo>
                  <a:pt x="215" y="11"/>
                </a:lnTo>
                <a:lnTo>
                  <a:pt x="242" y="35"/>
                </a:lnTo>
                <a:lnTo>
                  <a:pt x="276" y="40"/>
                </a:lnTo>
                <a:lnTo>
                  <a:pt x="271" y="69"/>
                </a:lnTo>
                <a:lnTo>
                  <a:pt x="276" y="105"/>
                </a:lnTo>
                <a:lnTo>
                  <a:pt x="311" y="105"/>
                </a:lnTo>
                <a:lnTo>
                  <a:pt x="331" y="125"/>
                </a:lnTo>
                <a:lnTo>
                  <a:pt x="336" y="138"/>
                </a:lnTo>
                <a:lnTo>
                  <a:pt x="289" y="163"/>
                </a:lnTo>
                <a:lnTo>
                  <a:pt x="271" y="190"/>
                </a:lnTo>
                <a:lnTo>
                  <a:pt x="296" y="251"/>
                </a:lnTo>
                <a:lnTo>
                  <a:pt x="246" y="251"/>
                </a:lnTo>
                <a:lnTo>
                  <a:pt x="188" y="167"/>
                </a:lnTo>
                <a:lnTo>
                  <a:pt x="141" y="183"/>
                </a:lnTo>
                <a:lnTo>
                  <a:pt x="123" y="132"/>
                </a:lnTo>
                <a:lnTo>
                  <a:pt x="40" y="87"/>
                </a:lnTo>
                <a:lnTo>
                  <a:pt x="0" y="35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2" name="Netherlands"/>
          <p:cNvSpPr>
            <a:spLocks/>
          </p:cNvSpPr>
          <p:nvPr/>
        </p:nvSpPr>
        <p:spPr bwMode="auto">
          <a:xfrm>
            <a:off x="8022163" y="3593344"/>
            <a:ext cx="514800" cy="533400"/>
          </a:xfrm>
          <a:custGeom>
            <a:avLst/>
            <a:gdLst>
              <a:gd name="T0" fmla="*/ 43 w 325"/>
              <a:gd name="T1" fmla="*/ 262 h 336"/>
              <a:gd name="T2" fmla="*/ 45 w 325"/>
              <a:gd name="T3" fmla="*/ 231 h 336"/>
              <a:gd name="T4" fmla="*/ 0 w 325"/>
              <a:gd name="T5" fmla="*/ 195 h 336"/>
              <a:gd name="T6" fmla="*/ 33 w 325"/>
              <a:gd name="T7" fmla="*/ 188 h 336"/>
              <a:gd name="T8" fmla="*/ 36 w 325"/>
              <a:gd name="T9" fmla="*/ 163 h 336"/>
              <a:gd name="T10" fmla="*/ 51 w 325"/>
              <a:gd name="T11" fmla="*/ 163 h 336"/>
              <a:gd name="T12" fmla="*/ 58 w 325"/>
              <a:gd name="T13" fmla="*/ 148 h 336"/>
              <a:gd name="T14" fmla="*/ 74 w 325"/>
              <a:gd name="T15" fmla="*/ 148 h 336"/>
              <a:gd name="T16" fmla="*/ 99 w 325"/>
              <a:gd name="T17" fmla="*/ 101 h 336"/>
              <a:gd name="T18" fmla="*/ 94 w 325"/>
              <a:gd name="T19" fmla="*/ 63 h 336"/>
              <a:gd name="T20" fmla="*/ 105 w 325"/>
              <a:gd name="T21" fmla="*/ 49 h 336"/>
              <a:gd name="T22" fmla="*/ 132 w 325"/>
              <a:gd name="T23" fmla="*/ 58 h 336"/>
              <a:gd name="T24" fmla="*/ 155 w 325"/>
              <a:gd name="T25" fmla="*/ 78 h 336"/>
              <a:gd name="T26" fmla="*/ 132 w 325"/>
              <a:gd name="T27" fmla="*/ 121 h 336"/>
              <a:gd name="T28" fmla="*/ 190 w 325"/>
              <a:gd name="T29" fmla="*/ 105 h 336"/>
              <a:gd name="T30" fmla="*/ 190 w 325"/>
              <a:gd name="T31" fmla="*/ 65 h 336"/>
              <a:gd name="T32" fmla="*/ 170 w 325"/>
              <a:gd name="T33" fmla="*/ 63 h 336"/>
              <a:gd name="T34" fmla="*/ 163 w 325"/>
              <a:gd name="T35" fmla="*/ 34 h 336"/>
              <a:gd name="T36" fmla="*/ 220 w 325"/>
              <a:gd name="T37" fmla="*/ 0 h 336"/>
              <a:gd name="T38" fmla="*/ 285 w 325"/>
              <a:gd name="T39" fmla="*/ 0 h 336"/>
              <a:gd name="T40" fmla="*/ 311 w 325"/>
              <a:gd name="T41" fmla="*/ 29 h 336"/>
              <a:gd name="T42" fmla="*/ 325 w 325"/>
              <a:gd name="T43" fmla="*/ 29 h 336"/>
              <a:gd name="T44" fmla="*/ 294 w 325"/>
              <a:gd name="T45" fmla="*/ 99 h 336"/>
              <a:gd name="T46" fmla="*/ 275 w 325"/>
              <a:gd name="T47" fmla="*/ 107 h 336"/>
              <a:gd name="T48" fmla="*/ 293 w 325"/>
              <a:gd name="T49" fmla="*/ 134 h 336"/>
              <a:gd name="T50" fmla="*/ 285 w 325"/>
              <a:gd name="T51" fmla="*/ 166 h 336"/>
              <a:gd name="T52" fmla="*/ 269 w 325"/>
              <a:gd name="T53" fmla="*/ 164 h 336"/>
              <a:gd name="T54" fmla="*/ 278 w 325"/>
              <a:gd name="T55" fmla="*/ 192 h 336"/>
              <a:gd name="T56" fmla="*/ 206 w 325"/>
              <a:gd name="T57" fmla="*/ 193 h 336"/>
              <a:gd name="T58" fmla="*/ 224 w 325"/>
              <a:gd name="T59" fmla="*/ 244 h 336"/>
              <a:gd name="T60" fmla="*/ 213 w 325"/>
              <a:gd name="T61" fmla="*/ 275 h 336"/>
              <a:gd name="T62" fmla="*/ 217 w 325"/>
              <a:gd name="T63" fmla="*/ 293 h 336"/>
              <a:gd name="T64" fmla="*/ 199 w 325"/>
              <a:gd name="T65" fmla="*/ 304 h 336"/>
              <a:gd name="T66" fmla="*/ 208 w 325"/>
              <a:gd name="T67" fmla="*/ 336 h 336"/>
              <a:gd name="T68" fmla="*/ 173 w 325"/>
              <a:gd name="T69" fmla="*/ 336 h 336"/>
              <a:gd name="T70" fmla="*/ 168 w 325"/>
              <a:gd name="T71" fmla="*/ 300 h 336"/>
              <a:gd name="T72" fmla="*/ 173 w 325"/>
              <a:gd name="T73" fmla="*/ 271 h 336"/>
              <a:gd name="T74" fmla="*/ 139 w 325"/>
              <a:gd name="T75" fmla="*/ 266 h 336"/>
              <a:gd name="T76" fmla="*/ 114 w 325"/>
              <a:gd name="T77" fmla="*/ 242 h 336"/>
              <a:gd name="T78" fmla="*/ 92 w 325"/>
              <a:gd name="T79" fmla="*/ 231 h 336"/>
              <a:gd name="T80" fmla="*/ 85 w 325"/>
              <a:gd name="T81" fmla="*/ 251 h 336"/>
              <a:gd name="T82" fmla="*/ 60 w 325"/>
              <a:gd name="T83" fmla="*/ 240 h 336"/>
              <a:gd name="T84" fmla="*/ 47 w 325"/>
              <a:gd name="T85" fmla="*/ 266 h 336"/>
              <a:gd name="T86" fmla="*/ 43 w 325"/>
              <a:gd name="T87" fmla="*/ 262 h 3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325" h="336">
                <a:moveTo>
                  <a:pt x="43" y="262"/>
                </a:moveTo>
                <a:lnTo>
                  <a:pt x="45" y="231"/>
                </a:lnTo>
                <a:lnTo>
                  <a:pt x="0" y="195"/>
                </a:lnTo>
                <a:lnTo>
                  <a:pt x="33" y="188"/>
                </a:lnTo>
                <a:lnTo>
                  <a:pt x="36" y="163"/>
                </a:lnTo>
                <a:lnTo>
                  <a:pt x="51" y="163"/>
                </a:lnTo>
                <a:lnTo>
                  <a:pt x="58" y="148"/>
                </a:lnTo>
                <a:lnTo>
                  <a:pt x="74" y="148"/>
                </a:lnTo>
                <a:lnTo>
                  <a:pt x="99" y="101"/>
                </a:lnTo>
                <a:lnTo>
                  <a:pt x="94" y="63"/>
                </a:lnTo>
                <a:lnTo>
                  <a:pt x="105" y="49"/>
                </a:lnTo>
                <a:lnTo>
                  <a:pt x="132" y="58"/>
                </a:lnTo>
                <a:lnTo>
                  <a:pt x="155" y="78"/>
                </a:lnTo>
                <a:lnTo>
                  <a:pt x="132" y="121"/>
                </a:lnTo>
                <a:lnTo>
                  <a:pt x="190" y="105"/>
                </a:lnTo>
                <a:lnTo>
                  <a:pt x="190" y="65"/>
                </a:lnTo>
                <a:lnTo>
                  <a:pt x="170" y="63"/>
                </a:lnTo>
                <a:lnTo>
                  <a:pt x="163" y="34"/>
                </a:lnTo>
                <a:lnTo>
                  <a:pt x="220" y="0"/>
                </a:lnTo>
                <a:lnTo>
                  <a:pt x="285" y="0"/>
                </a:lnTo>
                <a:lnTo>
                  <a:pt x="311" y="29"/>
                </a:lnTo>
                <a:lnTo>
                  <a:pt x="325" y="29"/>
                </a:lnTo>
                <a:lnTo>
                  <a:pt x="294" y="99"/>
                </a:lnTo>
                <a:lnTo>
                  <a:pt x="275" y="107"/>
                </a:lnTo>
                <a:lnTo>
                  <a:pt x="293" y="134"/>
                </a:lnTo>
                <a:lnTo>
                  <a:pt x="285" y="166"/>
                </a:lnTo>
                <a:lnTo>
                  <a:pt x="269" y="164"/>
                </a:lnTo>
                <a:lnTo>
                  <a:pt x="278" y="192"/>
                </a:lnTo>
                <a:lnTo>
                  <a:pt x="206" y="193"/>
                </a:lnTo>
                <a:lnTo>
                  <a:pt x="224" y="244"/>
                </a:lnTo>
                <a:lnTo>
                  <a:pt x="213" y="275"/>
                </a:lnTo>
                <a:lnTo>
                  <a:pt x="217" y="293"/>
                </a:lnTo>
                <a:lnTo>
                  <a:pt x="199" y="304"/>
                </a:lnTo>
                <a:lnTo>
                  <a:pt x="208" y="336"/>
                </a:lnTo>
                <a:lnTo>
                  <a:pt x="173" y="336"/>
                </a:lnTo>
                <a:lnTo>
                  <a:pt x="168" y="300"/>
                </a:lnTo>
                <a:lnTo>
                  <a:pt x="173" y="271"/>
                </a:lnTo>
                <a:lnTo>
                  <a:pt x="139" y="266"/>
                </a:lnTo>
                <a:lnTo>
                  <a:pt x="114" y="242"/>
                </a:lnTo>
                <a:lnTo>
                  <a:pt x="92" y="231"/>
                </a:lnTo>
                <a:lnTo>
                  <a:pt x="85" y="251"/>
                </a:lnTo>
                <a:lnTo>
                  <a:pt x="60" y="240"/>
                </a:lnTo>
                <a:lnTo>
                  <a:pt x="47" y="266"/>
                </a:lnTo>
                <a:lnTo>
                  <a:pt x="43" y="262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3" name="Germany"/>
          <p:cNvSpPr>
            <a:spLocks/>
          </p:cNvSpPr>
          <p:nvPr/>
        </p:nvSpPr>
        <p:spPr bwMode="auto">
          <a:xfrm>
            <a:off x="8288863" y="3324225"/>
            <a:ext cx="1287463" cy="1471613"/>
          </a:xfrm>
          <a:custGeom>
            <a:avLst/>
            <a:gdLst>
              <a:gd name="T0" fmla="*/ 157 w 811"/>
              <a:gd name="T1" fmla="*/ 145 h 927"/>
              <a:gd name="T2" fmla="*/ 237 w 811"/>
              <a:gd name="T3" fmla="*/ 190 h 927"/>
              <a:gd name="T4" fmla="*/ 260 w 811"/>
              <a:gd name="T5" fmla="*/ 136 h 927"/>
              <a:gd name="T6" fmla="*/ 284 w 811"/>
              <a:gd name="T7" fmla="*/ 132 h 927"/>
              <a:gd name="T8" fmla="*/ 293 w 811"/>
              <a:gd name="T9" fmla="*/ 123 h 927"/>
              <a:gd name="T10" fmla="*/ 260 w 811"/>
              <a:gd name="T11" fmla="*/ 74 h 927"/>
              <a:gd name="T12" fmla="*/ 262 w 811"/>
              <a:gd name="T13" fmla="*/ 16 h 927"/>
              <a:gd name="T14" fmla="*/ 340 w 811"/>
              <a:gd name="T15" fmla="*/ 16 h 927"/>
              <a:gd name="T16" fmla="*/ 378 w 811"/>
              <a:gd name="T17" fmla="*/ 58 h 927"/>
              <a:gd name="T18" fmla="*/ 423 w 811"/>
              <a:gd name="T19" fmla="*/ 71 h 927"/>
              <a:gd name="T20" fmla="*/ 457 w 811"/>
              <a:gd name="T21" fmla="*/ 63 h 927"/>
              <a:gd name="T22" fmla="*/ 466 w 811"/>
              <a:gd name="T23" fmla="*/ 92 h 927"/>
              <a:gd name="T24" fmla="*/ 472 w 811"/>
              <a:gd name="T25" fmla="*/ 110 h 927"/>
              <a:gd name="T26" fmla="*/ 517 w 811"/>
              <a:gd name="T27" fmla="*/ 90 h 927"/>
              <a:gd name="T28" fmla="*/ 578 w 811"/>
              <a:gd name="T29" fmla="*/ 56 h 927"/>
              <a:gd name="T30" fmla="*/ 627 w 811"/>
              <a:gd name="T31" fmla="*/ 42 h 927"/>
              <a:gd name="T32" fmla="*/ 656 w 811"/>
              <a:gd name="T33" fmla="*/ 36 h 927"/>
              <a:gd name="T34" fmla="*/ 676 w 811"/>
              <a:gd name="T35" fmla="*/ 65 h 927"/>
              <a:gd name="T36" fmla="*/ 649 w 811"/>
              <a:gd name="T37" fmla="*/ 83 h 927"/>
              <a:gd name="T38" fmla="*/ 686 w 811"/>
              <a:gd name="T39" fmla="*/ 98 h 927"/>
              <a:gd name="T40" fmla="*/ 714 w 811"/>
              <a:gd name="T41" fmla="*/ 137 h 927"/>
              <a:gd name="T42" fmla="*/ 712 w 811"/>
              <a:gd name="T43" fmla="*/ 233 h 927"/>
              <a:gd name="T44" fmla="*/ 742 w 811"/>
              <a:gd name="T45" fmla="*/ 296 h 927"/>
              <a:gd name="T46" fmla="*/ 762 w 811"/>
              <a:gd name="T47" fmla="*/ 370 h 927"/>
              <a:gd name="T48" fmla="*/ 800 w 811"/>
              <a:gd name="T49" fmla="*/ 419 h 927"/>
              <a:gd name="T50" fmla="*/ 811 w 811"/>
              <a:gd name="T51" fmla="*/ 479 h 927"/>
              <a:gd name="T52" fmla="*/ 764 w 811"/>
              <a:gd name="T53" fmla="*/ 455 h 927"/>
              <a:gd name="T54" fmla="*/ 748 w 811"/>
              <a:gd name="T55" fmla="*/ 479 h 927"/>
              <a:gd name="T56" fmla="*/ 632 w 811"/>
              <a:gd name="T57" fmla="*/ 526 h 927"/>
              <a:gd name="T58" fmla="*/ 609 w 811"/>
              <a:gd name="T59" fmla="*/ 542 h 927"/>
              <a:gd name="T60" fmla="*/ 556 w 811"/>
              <a:gd name="T61" fmla="*/ 560 h 927"/>
              <a:gd name="T62" fmla="*/ 587 w 811"/>
              <a:gd name="T63" fmla="*/ 623 h 927"/>
              <a:gd name="T64" fmla="*/ 643 w 811"/>
              <a:gd name="T65" fmla="*/ 678 h 927"/>
              <a:gd name="T66" fmla="*/ 696 w 811"/>
              <a:gd name="T67" fmla="*/ 712 h 927"/>
              <a:gd name="T68" fmla="*/ 723 w 811"/>
              <a:gd name="T69" fmla="*/ 764 h 927"/>
              <a:gd name="T70" fmla="*/ 679 w 811"/>
              <a:gd name="T71" fmla="*/ 791 h 927"/>
              <a:gd name="T72" fmla="*/ 652 w 811"/>
              <a:gd name="T73" fmla="*/ 847 h 927"/>
              <a:gd name="T74" fmla="*/ 640 w 811"/>
              <a:gd name="T75" fmla="*/ 896 h 927"/>
              <a:gd name="T76" fmla="*/ 540 w 811"/>
              <a:gd name="T77" fmla="*/ 880 h 927"/>
              <a:gd name="T78" fmla="*/ 452 w 811"/>
              <a:gd name="T79" fmla="*/ 893 h 927"/>
              <a:gd name="T80" fmla="*/ 396 w 811"/>
              <a:gd name="T81" fmla="*/ 927 h 927"/>
              <a:gd name="T82" fmla="*/ 334 w 811"/>
              <a:gd name="T83" fmla="*/ 896 h 927"/>
              <a:gd name="T84" fmla="*/ 271 w 811"/>
              <a:gd name="T85" fmla="*/ 880 h 927"/>
              <a:gd name="T86" fmla="*/ 238 w 811"/>
              <a:gd name="T87" fmla="*/ 894 h 927"/>
              <a:gd name="T88" fmla="*/ 150 w 811"/>
              <a:gd name="T89" fmla="*/ 887 h 927"/>
              <a:gd name="T90" fmla="*/ 222 w 811"/>
              <a:gd name="T91" fmla="*/ 710 h 927"/>
              <a:gd name="T92" fmla="*/ 63 w 811"/>
              <a:gd name="T93" fmla="*/ 654 h 927"/>
              <a:gd name="T94" fmla="*/ 0 w 811"/>
              <a:gd name="T95" fmla="*/ 589 h 927"/>
              <a:gd name="T96" fmla="*/ 65 w 811"/>
              <a:gd name="T97" fmla="*/ 537 h 927"/>
              <a:gd name="T98" fmla="*/ 40 w 811"/>
              <a:gd name="T99" fmla="*/ 504 h 927"/>
              <a:gd name="T100" fmla="*/ 49 w 811"/>
              <a:gd name="T101" fmla="*/ 461 h 927"/>
              <a:gd name="T102" fmla="*/ 56 w 811"/>
              <a:gd name="T103" fmla="*/ 412 h 927"/>
              <a:gd name="T104" fmla="*/ 110 w 811"/>
              <a:gd name="T105" fmla="*/ 360 h 927"/>
              <a:gd name="T106" fmla="*/ 117 w 811"/>
              <a:gd name="T107" fmla="*/ 334 h 927"/>
              <a:gd name="T108" fmla="*/ 107 w 811"/>
              <a:gd name="T109" fmla="*/ 275 h 927"/>
              <a:gd name="T110" fmla="*/ 157 w 811"/>
              <a:gd name="T111" fmla="*/ 197 h 927"/>
              <a:gd name="T112" fmla="*/ 128 w 811"/>
              <a:gd name="T113" fmla="*/ 181 h 9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811" h="927">
                <a:moveTo>
                  <a:pt x="128" y="181"/>
                </a:moveTo>
                <a:lnTo>
                  <a:pt x="157" y="145"/>
                </a:lnTo>
                <a:lnTo>
                  <a:pt x="222" y="145"/>
                </a:lnTo>
                <a:lnTo>
                  <a:pt x="237" y="190"/>
                </a:lnTo>
                <a:lnTo>
                  <a:pt x="260" y="197"/>
                </a:lnTo>
                <a:lnTo>
                  <a:pt x="260" y="136"/>
                </a:lnTo>
                <a:lnTo>
                  <a:pt x="273" y="123"/>
                </a:lnTo>
                <a:lnTo>
                  <a:pt x="284" y="132"/>
                </a:lnTo>
                <a:lnTo>
                  <a:pt x="318" y="136"/>
                </a:lnTo>
                <a:lnTo>
                  <a:pt x="293" y="123"/>
                </a:lnTo>
                <a:lnTo>
                  <a:pt x="296" y="83"/>
                </a:lnTo>
                <a:lnTo>
                  <a:pt x="260" y="74"/>
                </a:lnTo>
                <a:lnTo>
                  <a:pt x="298" y="58"/>
                </a:lnTo>
                <a:lnTo>
                  <a:pt x="262" y="16"/>
                </a:lnTo>
                <a:lnTo>
                  <a:pt x="267" y="0"/>
                </a:lnTo>
                <a:lnTo>
                  <a:pt x="340" y="16"/>
                </a:lnTo>
                <a:lnTo>
                  <a:pt x="381" y="22"/>
                </a:lnTo>
                <a:lnTo>
                  <a:pt x="378" y="58"/>
                </a:lnTo>
                <a:lnTo>
                  <a:pt x="392" y="72"/>
                </a:lnTo>
                <a:lnTo>
                  <a:pt x="423" y="71"/>
                </a:lnTo>
                <a:lnTo>
                  <a:pt x="437" y="74"/>
                </a:lnTo>
                <a:lnTo>
                  <a:pt x="457" y="63"/>
                </a:lnTo>
                <a:lnTo>
                  <a:pt x="472" y="67"/>
                </a:lnTo>
                <a:lnTo>
                  <a:pt x="466" y="92"/>
                </a:lnTo>
                <a:lnTo>
                  <a:pt x="444" y="119"/>
                </a:lnTo>
                <a:lnTo>
                  <a:pt x="472" y="110"/>
                </a:lnTo>
                <a:lnTo>
                  <a:pt x="482" y="123"/>
                </a:lnTo>
                <a:lnTo>
                  <a:pt x="517" y="90"/>
                </a:lnTo>
                <a:lnTo>
                  <a:pt x="555" y="98"/>
                </a:lnTo>
                <a:lnTo>
                  <a:pt x="578" y="56"/>
                </a:lnTo>
                <a:lnTo>
                  <a:pt x="612" y="60"/>
                </a:lnTo>
                <a:lnTo>
                  <a:pt x="627" y="42"/>
                </a:lnTo>
                <a:lnTo>
                  <a:pt x="643" y="22"/>
                </a:lnTo>
                <a:lnTo>
                  <a:pt x="656" y="36"/>
                </a:lnTo>
                <a:lnTo>
                  <a:pt x="663" y="43"/>
                </a:lnTo>
                <a:lnTo>
                  <a:pt x="676" y="65"/>
                </a:lnTo>
                <a:lnTo>
                  <a:pt x="667" y="78"/>
                </a:lnTo>
                <a:lnTo>
                  <a:pt x="649" y="83"/>
                </a:lnTo>
                <a:lnTo>
                  <a:pt x="650" y="98"/>
                </a:lnTo>
                <a:lnTo>
                  <a:pt x="686" y="98"/>
                </a:lnTo>
                <a:lnTo>
                  <a:pt x="686" y="130"/>
                </a:lnTo>
                <a:lnTo>
                  <a:pt x="714" y="137"/>
                </a:lnTo>
                <a:lnTo>
                  <a:pt x="742" y="197"/>
                </a:lnTo>
                <a:lnTo>
                  <a:pt x="712" y="233"/>
                </a:lnTo>
                <a:lnTo>
                  <a:pt x="750" y="264"/>
                </a:lnTo>
                <a:lnTo>
                  <a:pt x="742" y="296"/>
                </a:lnTo>
                <a:lnTo>
                  <a:pt x="770" y="336"/>
                </a:lnTo>
                <a:lnTo>
                  <a:pt x="762" y="370"/>
                </a:lnTo>
                <a:lnTo>
                  <a:pt x="773" y="392"/>
                </a:lnTo>
                <a:lnTo>
                  <a:pt x="800" y="419"/>
                </a:lnTo>
                <a:lnTo>
                  <a:pt x="811" y="461"/>
                </a:lnTo>
                <a:lnTo>
                  <a:pt x="811" y="479"/>
                </a:lnTo>
                <a:lnTo>
                  <a:pt x="786" y="479"/>
                </a:lnTo>
                <a:lnTo>
                  <a:pt x="764" y="455"/>
                </a:lnTo>
                <a:lnTo>
                  <a:pt x="746" y="461"/>
                </a:lnTo>
                <a:lnTo>
                  <a:pt x="748" y="479"/>
                </a:lnTo>
                <a:lnTo>
                  <a:pt x="665" y="526"/>
                </a:lnTo>
                <a:lnTo>
                  <a:pt x="632" y="526"/>
                </a:lnTo>
                <a:lnTo>
                  <a:pt x="627" y="542"/>
                </a:lnTo>
                <a:lnTo>
                  <a:pt x="609" y="542"/>
                </a:lnTo>
                <a:lnTo>
                  <a:pt x="578" y="569"/>
                </a:lnTo>
                <a:lnTo>
                  <a:pt x="556" y="560"/>
                </a:lnTo>
                <a:lnTo>
                  <a:pt x="594" y="602"/>
                </a:lnTo>
                <a:lnTo>
                  <a:pt x="587" y="623"/>
                </a:lnTo>
                <a:lnTo>
                  <a:pt x="614" y="667"/>
                </a:lnTo>
                <a:lnTo>
                  <a:pt x="643" y="678"/>
                </a:lnTo>
                <a:lnTo>
                  <a:pt x="656" y="699"/>
                </a:lnTo>
                <a:lnTo>
                  <a:pt x="696" y="712"/>
                </a:lnTo>
                <a:lnTo>
                  <a:pt x="723" y="739"/>
                </a:lnTo>
                <a:lnTo>
                  <a:pt x="723" y="764"/>
                </a:lnTo>
                <a:lnTo>
                  <a:pt x="683" y="775"/>
                </a:lnTo>
                <a:lnTo>
                  <a:pt x="679" y="791"/>
                </a:lnTo>
                <a:lnTo>
                  <a:pt x="630" y="822"/>
                </a:lnTo>
                <a:lnTo>
                  <a:pt x="652" y="847"/>
                </a:lnTo>
                <a:lnTo>
                  <a:pt x="641" y="875"/>
                </a:lnTo>
                <a:lnTo>
                  <a:pt x="640" y="896"/>
                </a:lnTo>
                <a:lnTo>
                  <a:pt x="582" y="862"/>
                </a:lnTo>
                <a:lnTo>
                  <a:pt x="540" y="880"/>
                </a:lnTo>
                <a:lnTo>
                  <a:pt x="475" y="914"/>
                </a:lnTo>
                <a:lnTo>
                  <a:pt x="452" y="893"/>
                </a:lnTo>
                <a:lnTo>
                  <a:pt x="425" y="889"/>
                </a:lnTo>
                <a:lnTo>
                  <a:pt x="396" y="927"/>
                </a:lnTo>
                <a:lnTo>
                  <a:pt x="374" y="893"/>
                </a:lnTo>
                <a:lnTo>
                  <a:pt x="334" y="896"/>
                </a:lnTo>
                <a:lnTo>
                  <a:pt x="307" y="878"/>
                </a:lnTo>
                <a:lnTo>
                  <a:pt x="271" y="880"/>
                </a:lnTo>
                <a:lnTo>
                  <a:pt x="246" y="864"/>
                </a:lnTo>
                <a:lnTo>
                  <a:pt x="238" y="894"/>
                </a:lnTo>
                <a:lnTo>
                  <a:pt x="190" y="889"/>
                </a:lnTo>
                <a:lnTo>
                  <a:pt x="150" y="887"/>
                </a:lnTo>
                <a:lnTo>
                  <a:pt x="168" y="793"/>
                </a:lnTo>
                <a:lnTo>
                  <a:pt x="222" y="710"/>
                </a:lnTo>
                <a:lnTo>
                  <a:pt x="107" y="706"/>
                </a:lnTo>
                <a:lnTo>
                  <a:pt x="63" y="654"/>
                </a:lnTo>
                <a:lnTo>
                  <a:pt x="25" y="650"/>
                </a:lnTo>
                <a:lnTo>
                  <a:pt x="0" y="589"/>
                </a:lnTo>
                <a:lnTo>
                  <a:pt x="18" y="562"/>
                </a:lnTo>
                <a:lnTo>
                  <a:pt x="65" y="537"/>
                </a:lnTo>
                <a:lnTo>
                  <a:pt x="60" y="524"/>
                </a:lnTo>
                <a:lnTo>
                  <a:pt x="40" y="504"/>
                </a:lnTo>
                <a:lnTo>
                  <a:pt x="31" y="472"/>
                </a:lnTo>
                <a:lnTo>
                  <a:pt x="49" y="461"/>
                </a:lnTo>
                <a:lnTo>
                  <a:pt x="45" y="443"/>
                </a:lnTo>
                <a:lnTo>
                  <a:pt x="56" y="412"/>
                </a:lnTo>
                <a:lnTo>
                  <a:pt x="38" y="361"/>
                </a:lnTo>
                <a:lnTo>
                  <a:pt x="110" y="360"/>
                </a:lnTo>
                <a:lnTo>
                  <a:pt x="101" y="332"/>
                </a:lnTo>
                <a:lnTo>
                  <a:pt x="117" y="334"/>
                </a:lnTo>
                <a:lnTo>
                  <a:pt x="125" y="302"/>
                </a:lnTo>
                <a:lnTo>
                  <a:pt x="107" y="275"/>
                </a:lnTo>
                <a:lnTo>
                  <a:pt x="126" y="267"/>
                </a:lnTo>
                <a:lnTo>
                  <a:pt x="157" y="197"/>
                </a:lnTo>
                <a:lnTo>
                  <a:pt x="143" y="197"/>
                </a:lnTo>
                <a:lnTo>
                  <a:pt x="128" y="181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4" name="Luxembourg"/>
          <p:cNvSpPr>
            <a:spLocks/>
          </p:cNvSpPr>
          <p:nvPr/>
        </p:nvSpPr>
        <p:spPr bwMode="auto">
          <a:xfrm>
            <a:off x="8288863" y="4259263"/>
            <a:ext cx="100013" cy="103188"/>
          </a:xfrm>
          <a:custGeom>
            <a:avLst/>
            <a:gdLst>
              <a:gd name="T0" fmla="*/ 23 w 63"/>
              <a:gd name="T1" fmla="*/ 7 h 65"/>
              <a:gd name="T2" fmla="*/ 0 w 63"/>
              <a:gd name="T3" fmla="*/ 0 h 65"/>
              <a:gd name="T4" fmla="*/ 25 w 63"/>
              <a:gd name="T5" fmla="*/ 61 h 65"/>
              <a:gd name="T6" fmla="*/ 63 w 63"/>
              <a:gd name="T7" fmla="*/ 65 h 65"/>
              <a:gd name="T8" fmla="*/ 54 w 63"/>
              <a:gd name="T9" fmla="*/ 33 h 65"/>
              <a:gd name="T10" fmla="*/ 23 w 63"/>
              <a:gd name="T11" fmla="*/ 7 h 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63" h="65">
                <a:moveTo>
                  <a:pt x="23" y="7"/>
                </a:moveTo>
                <a:lnTo>
                  <a:pt x="0" y="0"/>
                </a:lnTo>
                <a:lnTo>
                  <a:pt x="25" y="61"/>
                </a:lnTo>
                <a:lnTo>
                  <a:pt x="63" y="65"/>
                </a:lnTo>
                <a:lnTo>
                  <a:pt x="54" y="33"/>
                </a:lnTo>
                <a:lnTo>
                  <a:pt x="23" y="7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55" name="Ireland"/>
          <p:cNvGrpSpPr>
            <a:grpSpLocks/>
          </p:cNvGrpSpPr>
          <p:nvPr/>
        </p:nvGrpSpPr>
        <p:grpSpPr>
          <a:xfrm>
            <a:off x="6183838" y="3011488"/>
            <a:ext cx="760413" cy="677863"/>
            <a:chOff x="6204858" y="3011488"/>
            <a:chExt cx="760413" cy="677863"/>
          </a:xfrm>
          <a:solidFill>
            <a:schemeClr val="accent3"/>
          </a:solidFill>
        </p:grpSpPr>
        <p:sp>
          <p:nvSpPr>
            <p:cNvPr id="56" name="Ireland"/>
            <p:cNvSpPr>
              <a:spLocks/>
            </p:cNvSpPr>
            <p:nvPr/>
          </p:nvSpPr>
          <p:spPr bwMode="auto">
            <a:xfrm>
              <a:off x="6204858" y="3011488"/>
              <a:ext cx="630238" cy="677863"/>
            </a:xfrm>
            <a:custGeom>
              <a:avLst/>
              <a:gdLst>
                <a:gd name="T0" fmla="*/ 347 w 397"/>
                <a:gd name="T1" fmla="*/ 155 h 427"/>
                <a:gd name="T2" fmla="*/ 322 w 397"/>
                <a:gd name="T3" fmla="*/ 174 h 427"/>
                <a:gd name="T4" fmla="*/ 276 w 397"/>
                <a:gd name="T5" fmla="*/ 145 h 427"/>
                <a:gd name="T6" fmla="*/ 287 w 397"/>
                <a:gd name="T7" fmla="*/ 101 h 427"/>
                <a:gd name="T8" fmla="*/ 329 w 397"/>
                <a:gd name="T9" fmla="*/ 85 h 427"/>
                <a:gd name="T10" fmla="*/ 338 w 397"/>
                <a:gd name="T11" fmla="*/ 78 h 427"/>
                <a:gd name="T12" fmla="*/ 354 w 397"/>
                <a:gd name="T13" fmla="*/ 33 h 427"/>
                <a:gd name="T14" fmla="*/ 341 w 397"/>
                <a:gd name="T15" fmla="*/ 18 h 427"/>
                <a:gd name="T16" fmla="*/ 303 w 397"/>
                <a:gd name="T17" fmla="*/ 0 h 427"/>
                <a:gd name="T18" fmla="*/ 262 w 397"/>
                <a:gd name="T19" fmla="*/ 18 h 427"/>
                <a:gd name="T20" fmla="*/ 262 w 397"/>
                <a:gd name="T21" fmla="*/ 45 h 427"/>
                <a:gd name="T22" fmla="*/ 229 w 397"/>
                <a:gd name="T23" fmla="*/ 45 h 427"/>
                <a:gd name="T24" fmla="*/ 231 w 397"/>
                <a:gd name="T25" fmla="*/ 62 h 427"/>
                <a:gd name="T26" fmla="*/ 262 w 397"/>
                <a:gd name="T27" fmla="*/ 80 h 427"/>
                <a:gd name="T28" fmla="*/ 224 w 397"/>
                <a:gd name="T29" fmla="*/ 101 h 427"/>
                <a:gd name="T30" fmla="*/ 199 w 397"/>
                <a:gd name="T31" fmla="*/ 103 h 427"/>
                <a:gd name="T32" fmla="*/ 163 w 397"/>
                <a:gd name="T33" fmla="*/ 76 h 427"/>
                <a:gd name="T34" fmla="*/ 107 w 397"/>
                <a:gd name="T35" fmla="*/ 87 h 427"/>
                <a:gd name="T36" fmla="*/ 137 w 397"/>
                <a:gd name="T37" fmla="*/ 134 h 427"/>
                <a:gd name="T38" fmla="*/ 79 w 397"/>
                <a:gd name="T39" fmla="*/ 155 h 427"/>
                <a:gd name="T40" fmla="*/ 72 w 397"/>
                <a:gd name="T41" fmla="*/ 172 h 427"/>
                <a:gd name="T42" fmla="*/ 116 w 397"/>
                <a:gd name="T43" fmla="*/ 181 h 427"/>
                <a:gd name="T44" fmla="*/ 117 w 397"/>
                <a:gd name="T45" fmla="*/ 208 h 427"/>
                <a:gd name="T46" fmla="*/ 168 w 397"/>
                <a:gd name="T47" fmla="*/ 213 h 427"/>
                <a:gd name="T48" fmla="*/ 137 w 397"/>
                <a:gd name="T49" fmla="*/ 228 h 427"/>
                <a:gd name="T50" fmla="*/ 117 w 397"/>
                <a:gd name="T51" fmla="*/ 242 h 427"/>
                <a:gd name="T52" fmla="*/ 99 w 397"/>
                <a:gd name="T53" fmla="*/ 266 h 427"/>
                <a:gd name="T54" fmla="*/ 94 w 397"/>
                <a:gd name="T55" fmla="*/ 293 h 427"/>
                <a:gd name="T56" fmla="*/ 54 w 397"/>
                <a:gd name="T57" fmla="*/ 298 h 427"/>
                <a:gd name="T58" fmla="*/ 51 w 397"/>
                <a:gd name="T59" fmla="*/ 309 h 427"/>
                <a:gd name="T60" fmla="*/ 16 w 397"/>
                <a:gd name="T61" fmla="*/ 318 h 427"/>
                <a:gd name="T62" fmla="*/ 36 w 397"/>
                <a:gd name="T63" fmla="*/ 342 h 427"/>
                <a:gd name="T64" fmla="*/ 0 w 397"/>
                <a:gd name="T65" fmla="*/ 354 h 427"/>
                <a:gd name="T66" fmla="*/ 23 w 397"/>
                <a:gd name="T67" fmla="*/ 380 h 427"/>
                <a:gd name="T68" fmla="*/ 38 w 397"/>
                <a:gd name="T69" fmla="*/ 396 h 427"/>
                <a:gd name="T70" fmla="*/ 32 w 397"/>
                <a:gd name="T71" fmla="*/ 427 h 427"/>
                <a:gd name="T72" fmla="*/ 78 w 397"/>
                <a:gd name="T73" fmla="*/ 417 h 427"/>
                <a:gd name="T74" fmla="*/ 145 w 397"/>
                <a:gd name="T75" fmla="*/ 417 h 427"/>
                <a:gd name="T76" fmla="*/ 168 w 397"/>
                <a:gd name="T77" fmla="*/ 396 h 427"/>
                <a:gd name="T78" fmla="*/ 179 w 397"/>
                <a:gd name="T79" fmla="*/ 410 h 427"/>
                <a:gd name="T80" fmla="*/ 226 w 397"/>
                <a:gd name="T81" fmla="*/ 392 h 427"/>
                <a:gd name="T82" fmla="*/ 258 w 397"/>
                <a:gd name="T83" fmla="*/ 385 h 427"/>
                <a:gd name="T84" fmla="*/ 305 w 397"/>
                <a:gd name="T85" fmla="*/ 385 h 427"/>
                <a:gd name="T86" fmla="*/ 336 w 397"/>
                <a:gd name="T87" fmla="*/ 385 h 427"/>
                <a:gd name="T88" fmla="*/ 354 w 397"/>
                <a:gd name="T89" fmla="*/ 347 h 427"/>
                <a:gd name="T90" fmla="*/ 392 w 397"/>
                <a:gd name="T91" fmla="*/ 298 h 427"/>
                <a:gd name="T92" fmla="*/ 383 w 397"/>
                <a:gd name="T93" fmla="*/ 271 h 427"/>
                <a:gd name="T94" fmla="*/ 394 w 397"/>
                <a:gd name="T95" fmla="*/ 190 h 427"/>
                <a:gd name="T96" fmla="*/ 397 w 397"/>
                <a:gd name="T97" fmla="*/ 186 h 427"/>
                <a:gd name="T98" fmla="*/ 387 w 397"/>
                <a:gd name="T99" fmla="*/ 161 h 427"/>
                <a:gd name="T100" fmla="*/ 347 w 397"/>
                <a:gd name="T101" fmla="*/ 155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97" h="427">
                  <a:moveTo>
                    <a:pt x="347" y="155"/>
                  </a:moveTo>
                  <a:lnTo>
                    <a:pt x="322" y="174"/>
                  </a:lnTo>
                  <a:lnTo>
                    <a:pt x="276" y="145"/>
                  </a:lnTo>
                  <a:lnTo>
                    <a:pt x="287" y="101"/>
                  </a:lnTo>
                  <a:lnTo>
                    <a:pt x="329" y="85"/>
                  </a:lnTo>
                  <a:lnTo>
                    <a:pt x="338" y="78"/>
                  </a:lnTo>
                  <a:lnTo>
                    <a:pt x="354" y="33"/>
                  </a:lnTo>
                  <a:lnTo>
                    <a:pt x="341" y="18"/>
                  </a:lnTo>
                  <a:lnTo>
                    <a:pt x="303" y="0"/>
                  </a:lnTo>
                  <a:lnTo>
                    <a:pt x="262" y="18"/>
                  </a:lnTo>
                  <a:lnTo>
                    <a:pt x="262" y="45"/>
                  </a:lnTo>
                  <a:lnTo>
                    <a:pt x="229" y="45"/>
                  </a:lnTo>
                  <a:lnTo>
                    <a:pt x="231" y="62"/>
                  </a:lnTo>
                  <a:lnTo>
                    <a:pt x="262" y="80"/>
                  </a:lnTo>
                  <a:lnTo>
                    <a:pt x="224" y="101"/>
                  </a:lnTo>
                  <a:lnTo>
                    <a:pt x="199" y="103"/>
                  </a:lnTo>
                  <a:lnTo>
                    <a:pt x="163" y="76"/>
                  </a:lnTo>
                  <a:lnTo>
                    <a:pt x="107" y="87"/>
                  </a:lnTo>
                  <a:lnTo>
                    <a:pt x="137" y="134"/>
                  </a:lnTo>
                  <a:lnTo>
                    <a:pt x="79" y="155"/>
                  </a:lnTo>
                  <a:lnTo>
                    <a:pt x="72" y="172"/>
                  </a:lnTo>
                  <a:lnTo>
                    <a:pt x="116" y="181"/>
                  </a:lnTo>
                  <a:lnTo>
                    <a:pt x="117" y="208"/>
                  </a:lnTo>
                  <a:lnTo>
                    <a:pt x="168" y="213"/>
                  </a:lnTo>
                  <a:lnTo>
                    <a:pt x="137" y="228"/>
                  </a:lnTo>
                  <a:lnTo>
                    <a:pt x="117" y="242"/>
                  </a:lnTo>
                  <a:lnTo>
                    <a:pt x="99" y="266"/>
                  </a:lnTo>
                  <a:lnTo>
                    <a:pt x="94" y="293"/>
                  </a:lnTo>
                  <a:lnTo>
                    <a:pt x="54" y="298"/>
                  </a:lnTo>
                  <a:lnTo>
                    <a:pt x="51" y="309"/>
                  </a:lnTo>
                  <a:lnTo>
                    <a:pt x="16" y="318"/>
                  </a:lnTo>
                  <a:lnTo>
                    <a:pt x="36" y="342"/>
                  </a:lnTo>
                  <a:lnTo>
                    <a:pt x="0" y="354"/>
                  </a:lnTo>
                  <a:lnTo>
                    <a:pt x="23" y="380"/>
                  </a:lnTo>
                  <a:lnTo>
                    <a:pt x="38" y="396"/>
                  </a:lnTo>
                  <a:lnTo>
                    <a:pt x="32" y="427"/>
                  </a:lnTo>
                  <a:lnTo>
                    <a:pt x="78" y="417"/>
                  </a:lnTo>
                  <a:lnTo>
                    <a:pt x="145" y="417"/>
                  </a:lnTo>
                  <a:lnTo>
                    <a:pt x="168" y="396"/>
                  </a:lnTo>
                  <a:lnTo>
                    <a:pt x="179" y="410"/>
                  </a:lnTo>
                  <a:lnTo>
                    <a:pt x="226" y="392"/>
                  </a:lnTo>
                  <a:lnTo>
                    <a:pt x="258" y="385"/>
                  </a:lnTo>
                  <a:lnTo>
                    <a:pt x="305" y="385"/>
                  </a:lnTo>
                  <a:lnTo>
                    <a:pt x="336" y="385"/>
                  </a:lnTo>
                  <a:lnTo>
                    <a:pt x="354" y="347"/>
                  </a:lnTo>
                  <a:lnTo>
                    <a:pt x="392" y="298"/>
                  </a:lnTo>
                  <a:lnTo>
                    <a:pt x="383" y="271"/>
                  </a:lnTo>
                  <a:lnTo>
                    <a:pt x="394" y="190"/>
                  </a:lnTo>
                  <a:lnTo>
                    <a:pt x="397" y="186"/>
                  </a:lnTo>
                  <a:lnTo>
                    <a:pt x="387" y="161"/>
                  </a:lnTo>
                  <a:lnTo>
                    <a:pt x="347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Ireland"/>
            <p:cNvSpPr>
              <a:spLocks/>
            </p:cNvSpPr>
            <p:nvPr/>
          </p:nvSpPr>
          <p:spPr bwMode="auto">
            <a:xfrm>
              <a:off x="6643008" y="3049588"/>
              <a:ext cx="322263" cy="257175"/>
            </a:xfrm>
            <a:custGeom>
              <a:avLst/>
              <a:gdLst>
                <a:gd name="T0" fmla="*/ 203 w 203"/>
                <a:gd name="T1" fmla="*/ 122 h 162"/>
                <a:gd name="T2" fmla="*/ 194 w 203"/>
                <a:gd name="T3" fmla="*/ 66 h 162"/>
                <a:gd name="T4" fmla="*/ 177 w 203"/>
                <a:gd name="T5" fmla="*/ 57 h 162"/>
                <a:gd name="T6" fmla="*/ 177 w 203"/>
                <a:gd name="T7" fmla="*/ 12 h 162"/>
                <a:gd name="T8" fmla="*/ 150 w 203"/>
                <a:gd name="T9" fmla="*/ 0 h 162"/>
                <a:gd name="T10" fmla="*/ 130 w 203"/>
                <a:gd name="T11" fmla="*/ 7 h 162"/>
                <a:gd name="T12" fmla="*/ 109 w 203"/>
                <a:gd name="T13" fmla="*/ 0 h 162"/>
                <a:gd name="T14" fmla="*/ 82 w 203"/>
                <a:gd name="T15" fmla="*/ 12 h 162"/>
                <a:gd name="T16" fmla="*/ 78 w 203"/>
                <a:gd name="T17" fmla="*/ 9 h 162"/>
                <a:gd name="T18" fmla="*/ 62 w 203"/>
                <a:gd name="T19" fmla="*/ 54 h 162"/>
                <a:gd name="T20" fmla="*/ 53 w 203"/>
                <a:gd name="T21" fmla="*/ 61 h 162"/>
                <a:gd name="T22" fmla="*/ 11 w 203"/>
                <a:gd name="T23" fmla="*/ 77 h 162"/>
                <a:gd name="T24" fmla="*/ 0 w 203"/>
                <a:gd name="T25" fmla="*/ 121 h 162"/>
                <a:gd name="T26" fmla="*/ 46 w 203"/>
                <a:gd name="T27" fmla="*/ 150 h 162"/>
                <a:gd name="T28" fmla="*/ 71 w 203"/>
                <a:gd name="T29" fmla="*/ 131 h 162"/>
                <a:gd name="T30" fmla="*/ 111 w 203"/>
                <a:gd name="T31" fmla="*/ 137 h 162"/>
                <a:gd name="T32" fmla="*/ 121 w 203"/>
                <a:gd name="T33" fmla="*/ 162 h 162"/>
                <a:gd name="T34" fmla="*/ 154 w 203"/>
                <a:gd name="T35" fmla="*/ 131 h 162"/>
                <a:gd name="T36" fmla="*/ 203 w 203"/>
                <a:gd name="T37" fmla="*/ 122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162">
                  <a:moveTo>
                    <a:pt x="203" y="122"/>
                  </a:moveTo>
                  <a:lnTo>
                    <a:pt x="194" y="66"/>
                  </a:lnTo>
                  <a:lnTo>
                    <a:pt x="177" y="57"/>
                  </a:lnTo>
                  <a:lnTo>
                    <a:pt x="177" y="12"/>
                  </a:lnTo>
                  <a:lnTo>
                    <a:pt x="150" y="0"/>
                  </a:lnTo>
                  <a:lnTo>
                    <a:pt x="130" y="7"/>
                  </a:lnTo>
                  <a:lnTo>
                    <a:pt x="109" y="0"/>
                  </a:lnTo>
                  <a:lnTo>
                    <a:pt x="82" y="12"/>
                  </a:lnTo>
                  <a:lnTo>
                    <a:pt x="78" y="9"/>
                  </a:lnTo>
                  <a:lnTo>
                    <a:pt x="62" y="54"/>
                  </a:lnTo>
                  <a:lnTo>
                    <a:pt x="53" y="61"/>
                  </a:lnTo>
                  <a:lnTo>
                    <a:pt x="11" y="77"/>
                  </a:lnTo>
                  <a:lnTo>
                    <a:pt x="0" y="121"/>
                  </a:lnTo>
                  <a:lnTo>
                    <a:pt x="46" y="150"/>
                  </a:lnTo>
                  <a:lnTo>
                    <a:pt x="71" y="131"/>
                  </a:lnTo>
                  <a:lnTo>
                    <a:pt x="111" y="137"/>
                  </a:lnTo>
                  <a:lnTo>
                    <a:pt x="121" y="162"/>
                  </a:lnTo>
                  <a:lnTo>
                    <a:pt x="154" y="131"/>
                  </a:lnTo>
                  <a:lnTo>
                    <a:pt x="203" y="12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8" name="UK"/>
          <p:cNvGrpSpPr>
            <a:grpSpLocks/>
          </p:cNvGrpSpPr>
          <p:nvPr/>
        </p:nvGrpSpPr>
        <p:grpSpPr>
          <a:xfrm>
            <a:off x="6717238" y="2435225"/>
            <a:ext cx="1087438" cy="1638301"/>
            <a:chOff x="6738258" y="2435225"/>
            <a:chExt cx="1087438" cy="1638301"/>
          </a:xfrm>
          <a:solidFill>
            <a:schemeClr val="accent3"/>
          </a:solidFill>
        </p:grpSpPr>
        <p:sp>
          <p:nvSpPr>
            <p:cNvPr id="59" name="UK"/>
            <p:cNvSpPr>
              <a:spLocks/>
            </p:cNvSpPr>
            <p:nvPr/>
          </p:nvSpPr>
          <p:spPr bwMode="auto">
            <a:xfrm>
              <a:off x="6933521" y="2435225"/>
              <a:ext cx="174625" cy="128588"/>
            </a:xfrm>
            <a:custGeom>
              <a:avLst/>
              <a:gdLst>
                <a:gd name="T0" fmla="*/ 41 w 110"/>
                <a:gd name="T1" fmla="*/ 29 h 81"/>
                <a:gd name="T2" fmla="*/ 58 w 110"/>
                <a:gd name="T3" fmla="*/ 5 h 81"/>
                <a:gd name="T4" fmla="*/ 110 w 110"/>
                <a:gd name="T5" fmla="*/ 0 h 81"/>
                <a:gd name="T6" fmla="*/ 76 w 110"/>
                <a:gd name="T7" fmla="*/ 67 h 81"/>
                <a:gd name="T8" fmla="*/ 49 w 110"/>
                <a:gd name="T9" fmla="*/ 58 h 81"/>
                <a:gd name="T10" fmla="*/ 14 w 110"/>
                <a:gd name="T11" fmla="*/ 81 h 81"/>
                <a:gd name="T12" fmla="*/ 0 w 110"/>
                <a:gd name="T13" fmla="*/ 69 h 81"/>
                <a:gd name="T14" fmla="*/ 9 w 110"/>
                <a:gd name="T15" fmla="*/ 40 h 81"/>
                <a:gd name="T16" fmla="*/ 20 w 110"/>
                <a:gd name="T17" fmla="*/ 23 h 81"/>
                <a:gd name="T18" fmla="*/ 41 w 110"/>
                <a:gd name="T19" fmla="*/ 29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0" h="81">
                  <a:moveTo>
                    <a:pt x="41" y="29"/>
                  </a:moveTo>
                  <a:lnTo>
                    <a:pt x="58" y="5"/>
                  </a:lnTo>
                  <a:lnTo>
                    <a:pt x="110" y="0"/>
                  </a:lnTo>
                  <a:lnTo>
                    <a:pt x="76" y="67"/>
                  </a:lnTo>
                  <a:lnTo>
                    <a:pt x="49" y="58"/>
                  </a:lnTo>
                  <a:lnTo>
                    <a:pt x="14" y="81"/>
                  </a:lnTo>
                  <a:lnTo>
                    <a:pt x="0" y="69"/>
                  </a:lnTo>
                  <a:lnTo>
                    <a:pt x="9" y="40"/>
                  </a:lnTo>
                  <a:lnTo>
                    <a:pt x="20" y="23"/>
                  </a:lnTo>
                  <a:lnTo>
                    <a:pt x="41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UK"/>
            <p:cNvSpPr>
              <a:spLocks/>
            </p:cNvSpPr>
            <p:nvPr/>
          </p:nvSpPr>
          <p:spPr bwMode="auto">
            <a:xfrm>
              <a:off x="6738258" y="2443163"/>
              <a:ext cx="1087438" cy="1630363"/>
            </a:xfrm>
            <a:custGeom>
              <a:avLst/>
              <a:gdLst>
                <a:gd name="T0" fmla="*/ 349 w 685"/>
                <a:gd name="T1" fmla="*/ 27 h 1027"/>
                <a:gd name="T2" fmla="*/ 417 w 685"/>
                <a:gd name="T3" fmla="*/ 73 h 1027"/>
                <a:gd name="T4" fmla="*/ 394 w 685"/>
                <a:gd name="T5" fmla="*/ 134 h 1027"/>
                <a:gd name="T6" fmla="*/ 502 w 685"/>
                <a:gd name="T7" fmla="*/ 161 h 1027"/>
                <a:gd name="T8" fmla="*/ 406 w 685"/>
                <a:gd name="T9" fmla="*/ 286 h 1027"/>
                <a:gd name="T10" fmla="*/ 406 w 685"/>
                <a:gd name="T11" fmla="*/ 309 h 1027"/>
                <a:gd name="T12" fmla="*/ 363 w 685"/>
                <a:gd name="T13" fmla="*/ 344 h 1027"/>
                <a:gd name="T14" fmla="*/ 448 w 685"/>
                <a:gd name="T15" fmla="*/ 367 h 1027"/>
                <a:gd name="T16" fmla="*/ 482 w 685"/>
                <a:gd name="T17" fmla="*/ 521 h 1027"/>
                <a:gd name="T18" fmla="*/ 546 w 685"/>
                <a:gd name="T19" fmla="*/ 622 h 1027"/>
                <a:gd name="T20" fmla="*/ 549 w 685"/>
                <a:gd name="T21" fmla="*/ 745 h 1027"/>
                <a:gd name="T22" fmla="*/ 593 w 685"/>
                <a:gd name="T23" fmla="*/ 745 h 1027"/>
                <a:gd name="T24" fmla="*/ 685 w 685"/>
                <a:gd name="T25" fmla="*/ 792 h 1027"/>
                <a:gd name="T26" fmla="*/ 567 w 685"/>
                <a:gd name="T27" fmla="*/ 920 h 1027"/>
                <a:gd name="T28" fmla="*/ 636 w 685"/>
                <a:gd name="T29" fmla="*/ 943 h 1027"/>
                <a:gd name="T30" fmla="*/ 486 w 685"/>
                <a:gd name="T31" fmla="*/ 992 h 1027"/>
                <a:gd name="T32" fmla="*/ 383 w 685"/>
                <a:gd name="T33" fmla="*/ 976 h 1027"/>
                <a:gd name="T34" fmla="*/ 233 w 685"/>
                <a:gd name="T35" fmla="*/ 969 h 1027"/>
                <a:gd name="T36" fmla="*/ 179 w 685"/>
                <a:gd name="T37" fmla="*/ 1027 h 1027"/>
                <a:gd name="T38" fmla="*/ 40 w 685"/>
                <a:gd name="T39" fmla="*/ 1027 h 1027"/>
                <a:gd name="T40" fmla="*/ 0 w 685"/>
                <a:gd name="T41" fmla="*/ 992 h 1027"/>
                <a:gd name="T42" fmla="*/ 170 w 685"/>
                <a:gd name="T43" fmla="*/ 898 h 1027"/>
                <a:gd name="T44" fmla="*/ 240 w 685"/>
                <a:gd name="T45" fmla="*/ 922 h 1027"/>
                <a:gd name="T46" fmla="*/ 318 w 685"/>
                <a:gd name="T47" fmla="*/ 862 h 1027"/>
                <a:gd name="T48" fmla="*/ 204 w 685"/>
                <a:gd name="T49" fmla="*/ 871 h 1027"/>
                <a:gd name="T50" fmla="*/ 168 w 685"/>
                <a:gd name="T51" fmla="*/ 855 h 1027"/>
                <a:gd name="T52" fmla="*/ 110 w 685"/>
                <a:gd name="T53" fmla="*/ 842 h 1027"/>
                <a:gd name="T54" fmla="*/ 161 w 685"/>
                <a:gd name="T55" fmla="*/ 781 h 1027"/>
                <a:gd name="T56" fmla="*/ 202 w 685"/>
                <a:gd name="T57" fmla="*/ 694 h 1027"/>
                <a:gd name="T58" fmla="*/ 168 w 685"/>
                <a:gd name="T59" fmla="*/ 683 h 1027"/>
                <a:gd name="T60" fmla="*/ 302 w 685"/>
                <a:gd name="T61" fmla="*/ 651 h 1027"/>
                <a:gd name="T62" fmla="*/ 320 w 685"/>
                <a:gd name="T63" fmla="*/ 568 h 1027"/>
                <a:gd name="T64" fmla="*/ 316 w 685"/>
                <a:gd name="T65" fmla="*/ 476 h 1027"/>
                <a:gd name="T66" fmla="*/ 302 w 685"/>
                <a:gd name="T67" fmla="*/ 467 h 1027"/>
                <a:gd name="T68" fmla="*/ 233 w 685"/>
                <a:gd name="T69" fmla="*/ 450 h 1027"/>
                <a:gd name="T70" fmla="*/ 190 w 685"/>
                <a:gd name="T71" fmla="*/ 443 h 1027"/>
                <a:gd name="T72" fmla="*/ 224 w 685"/>
                <a:gd name="T73" fmla="*/ 344 h 1027"/>
                <a:gd name="T74" fmla="*/ 195 w 685"/>
                <a:gd name="T75" fmla="*/ 302 h 1027"/>
                <a:gd name="T76" fmla="*/ 161 w 685"/>
                <a:gd name="T77" fmla="*/ 389 h 1027"/>
                <a:gd name="T78" fmla="*/ 181 w 685"/>
                <a:gd name="T79" fmla="*/ 313 h 1027"/>
                <a:gd name="T80" fmla="*/ 202 w 685"/>
                <a:gd name="T81" fmla="*/ 241 h 1027"/>
                <a:gd name="T82" fmla="*/ 145 w 685"/>
                <a:gd name="T83" fmla="*/ 264 h 1027"/>
                <a:gd name="T84" fmla="*/ 222 w 685"/>
                <a:gd name="T85" fmla="*/ 183 h 1027"/>
                <a:gd name="T86" fmla="*/ 217 w 685"/>
                <a:gd name="T87" fmla="*/ 85 h 1027"/>
                <a:gd name="T88" fmla="*/ 304 w 685"/>
                <a:gd name="T89" fmla="*/ 0 h 10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85" h="1027">
                  <a:moveTo>
                    <a:pt x="304" y="0"/>
                  </a:moveTo>
                  <a:lnTo>
                    <a:pt x="349" y="27"/>
                  </a:lnTo>
                  <a:lnTo>
                    <a:pt x="446" y="27"/>
                  </a:lnTo>
                  <a:lnTo>
                    <a:pt x="417" y="73"/>
                  </a:lnTo>
                  <a:lnTo>
                    <a:pt x="320" y="134"/>
                  </a:lnTo>
                  <a:lnTo>
                    <a:pt x="394" y="134"/>
                  </a:lnTo>
                  <a:lnTo>
                    <a:pt x="428" y="149"/>
                  </a:lnTo>
                  <a:lnTo>
                    <a:pt x="502" y="161"/>
                  </a:lnTo>
                  <a:lnTo>
                    <a:pt x="509" y="181"/>
                  </a:lnTo>
                  <a:lnTo>
                    <a:pt x="406" y="286"/>
                  </a:lnTo>
                  <a:lnTo>
                    <a:pt x="379" y="297"/>
                  </a:lnTo>
                  <a:lnTo>
                    <a:pt x="406" y="309"/>
                  </a:lnTo>
                  <a:lnTo>
                    <a:pt x="350" y="329"/>
                  </a:lnTo>
                  <a:lnTo>
                    <a:pt x="363" y="344"/>
                  </a:lnTo>
                  <a:lnTo>
                    <a:pt x="385" y="344"/>
                  </a:lnTo>
                  <a:lnTo>
                    <a:pt x="448" y="367"/>
                  </a:lnTo>
                  <a:lnTo>
                    <a:pt x="464" y="411"/>
                  </a:lnTo>
                  <a:lnTo>
                    <a:pt x="482" y="521"/>
                  </a:lnTo>
                  <a:lnTo>
                    <a:pt x="556" y="588"/>
                  </a:lnTo>
                  <a:lnTo>
                    <a:pt x="546" y="622"/>
                  </a:lnTo>
                  <a:lnTo>
                    <a:pt x="578" y="710"/>
                  </a:lnTo>
                  <a:lnTo>
                    <a:pt x="549" y="745"/>
                  </a:lnTo>
                  <a:lnTo>
                    <a:pt x="569" y="765"/>
                  </a:lnTo>
                  <a:lnTo>
                    <a:pt x="593" y="745"/>
                  </a:lnTo>
                  <a:lnTo>
                    <a:pt x="656" y="759"/>
                  </a:lnTo>
                  <a:lnTo>
                    <a:pt x="685" y="792"/>
                  </a:lnTo>
                  <a:lnTo>
                    <a:pt x="658" y="862"/>
                  </a:lnTo>
                  <a:lnTo>
                    <a:pt x="567" y="920"/>
                  </a:lnTo>
                  <a:lnTo>
                    <a:pt x="600" y="943"/>
                  </a:lnTo>
                  <a:lnTo>
                    <a:pt x="636" y="943"/>
                  </a:lnTo>
                  <a:lnTo>
                    <a:pt x="524" y="1014"/>
                  </a:lnTo>
                  <a:lnTo>
                    <a:pt x="486" y="992"/>
                  </a:lnTo>
                  <a:lnTo>
                    <a:pt x="423" y="992"/>
                  </a:lnTo>
                  <a:lnTo>
                    <a:pt x="383" y="976"/>
                  </a:lnTo>
                  <a:lnTo>
                    <a:pt x="291" y="1000"/>
                  </a:lnTo>
                  <a:lnTo>
                    <a:pt x="233" y="969"/>
                  </a:lnTo>
                  <a:lnTo>
                    <a:pt x="211" y="969"/>
                  </a:lnTo>
                  <a:lnTo>
                    <a:pt x="179" y="1027"/>
                  </a:lnTo>
                  <a:lnTo>
                    <a:pt x="92" y="992"/>
                  </a:lnTo>
                  <a:lnTo>
                    <a:pt x="40" y="1027"/>
                  </a:lnTo>
                  <a:lnTo>
                    <a:pt x="20" y="1007"/>
                  </a:lnTo>
                  <a:lnTo>
                    <a:pt x="0" y="992"/>
                  </a:lnTo>
                  <a:lnTo>
                    <a:pt x="49" y="987"/>
                  </a:lnTo>
                  <a:lnTo>
                    <a:pt x="170" y="898"/>
                  </a:lnTo>
                  <a:lnTo>
                    <a:pt x="202" y="906"/>
                  </a:lnTo>
                  <a:lnTo>
                    <a:pt x="240" y="922"/>
                  </a:lnTo>
                  <a:lnTo>
                    <a:pt x="267" y="895"/>
                  </a:lnTo>
                  <a:lnTo>
                    <a:pt x="318" y="862"/>
                  </a:lnTo>
                  <a:lnTo>
                    <a:pt x="233" y="893"/>
                  </a:lnTo>
                  <a:lnTo>
                    <a:pt x="204" y="871"/>
                  </a:lnTo>
                  <a:lnTo>
                    <a:pt x="201" y="853"/>
                  </a:lnTo>
                  <a:lnTo>
                    <a:pt x="168" y="855"/>
                  </a:lnTo>
                  <a:lnTo>
                    <a:pt x="157" y="828"/>
                  </a:lnTo>
                  <a:lnTo>
                    <a:pt x="110" y="842"/>
                  </a:lnTo>
                  <a:lnTo>
                    <a:pt x="79" y="792"/>
                  </a:lnTo>
                  <a:lnTo>
                    <a:pt x="161" y="781"/>
                  </a:lnTo>
                  <a:lnTo>
                    <a:pt x="213" y="743"/>
                  </a:lnTo>
                  <a:lnTo>
                    <a:pt x="202" y="694"/>
                  </a:lnTo>
                  <a:lnTo>
                    <a:pt x="168" y="709"/>
                  </a:lnTo>
                  <a:lnTo>
                    <a:pt x="168" y="683"/>
                  </a:lnTo>
                  <a:lnTo>
                    <a:pt x="226" y="645"/>
                  </a:lnTo>
                  <a:lnTo>
                    <a:pt x="302" y="651"/>
                  </a:lnTo>
                  <a:lnTo>
                    <a:pt x="341" y="579"/>
                  </a:lnTo>
                  <a:lnTo>
                    <a:pt x="320" y="568"/>
                  </a:lnTo>
                  <a:lnTo>
                    <a:pt x="293" y="513"/>
                  </a:lnTo>
                  <a:lnTo>
                    <a:pt x="316" y="476"/>
                  </a:lnTo>
                  <a:lnTo>
                    <a:pt x="352" y="467"/>
                  </a:lnTo>
                  <a:lnTo>
                    <a:pt x="302" y="467"/>
                  </a:lnTo>
                  <a:lnTo>
                    <a:pt x="258" y="474"/>
                  </a:lnTo>
                  <a:lnTo>
                    <a:pt x="233" y="450"/>
                  </a:lnTo>
                  <a:lnTo>
                    <a:pt x="233" y="479"/>
                  </a:lnTo>
                  <a:lnTo>
                    <a:pt x="190" y="443"/>
                  </a:lnTo>
                  <a:lnTo>
                    <a:pt x="238" y="373"/>
                  </a:lnTo>
                  <a:lnTo>
                    <a:pt x="224" y="344"/>
                  </a:lnTo>
                  <a:lnTo>
                    <a:pt x="247" y="297"/>
                  </a:lnTo>
                  <a:lnTo>
                    <a:pt x="195" y="302"/>
                  </a:lnTo>
                  <a:lnTo>
                    <a:pt x="199" y="336"/>
                  </a:lnTo>
                  <a:lnTo>
                    <a:pt x="161" y="389"/>
                  </a:lnTo>
                  <a:lnTo>
                    <a:pt x="146" y="376"/>
                  </a:lnTo>
                  <a:lnTo>
                    <a:pt x="181" y="313"/>
                  </a:lnTo>
                  <a:lnTo>
                    <a:pt x="195" y="264"/>
                  </a:lnTo>
                  <a:lnTo>
                    <a:pt x="202" y="241"/>
                  </a:lnTo>
                  <a:lnTo>
                    <a:pt x="172" y="268"/>
                  </a:lnTo>
                  <a:lnTo>
                    <a:pt x="145" y="264"/>
                  </a:lnTo>
                  <a:lnTo>
                    <a:pt x="191" y="185"/>
                  </a:lnTo>
                  <a:lnTo>
                    <a:pt x="222" y="183"/>
                  </a:lnTo>
                  <a:lnTo>
                    <a:pt x="233" y="134"/>
                  </a:lnTo>
                  <a:lnTo>
                    <a:pt x="217" y="85"/>
                  </a:lnTo>
                  <a:lnTo>
                    <a:pt x="280" y="55"/>
                  </a:lnTo>
                  <a:lnTo>
                    <a:pt x="30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61" name="Denmark"/>
          <p:cNvGrpSpPr>
            <a:grpSpLocks/>
          </p:cNvGrpSpPr>
          <p:nvPr/>
        </p:nvGrpSpPr>
        <p:grpSpPr>
          <a:xfrm>
            <a:off x="8684151" y="2782888"/>
            <a:ext cx="525463" cy="598488"/>
            <a:chOff x="8705171" y="2782888"/>
            <a:chExt cx="525463" cy="598488"/>
          </a:xfrm>
          <a:solidFill>
            <a:schemeClr val="accent1"/>
          </a:solidFill>
        </p:grpSpPr>
        <p:sp>
          <p:nvSpPr>
            <p:cNvPr id="62" name="Denmark"/>
            <p:cNvSpPr>
              <a:spLocks/>
            </p:cNvSpPr>
            <p:nvPr/>
          </p:nvSpPr>
          <p:spPr bwMode="auto">
            <a:xfrm>
              <a:off x="8705171" y="2782888"/>
              <a:ext cx="347663" cy="576263"/>
            </a:xfrm>
            <a:custGeom>
              <a:avLst/>
              <a:gdLst>
                <a:gd name="T0" fmla="*/ 42 w 219"/>
                <a:gd name="T1" fmla="*/ 312 h 363"/>
                <a:gd name="T2" fmla="*/ 42 w 219"/>
                <a:gd name="T3" fmla="*/ 287 h 363"/>
                <a:gd name="T4" fmla="*/ 0 w 219"/>
                <a:gd name="T5" fmla="*/ 272 h 363"/>
                <a:gd name="T6" fmla="*/ 6 w 219"/>
                <a:gd name="T7" fmla="*/ 238 h 363"/>
                <a:gd name="T8" fmla="*/ 20 w 219"/>
                <a:gd name="T9" fmla="*/ 234 h 363"/>
                <a:gd name="T10" fmla="*/ 20 w 219"/>
                <a:gd name="T11" fmla="*/ 209 h 363"/>
                <a:gd name="T12" fmla="*/ 8 w 219"/>
                <a:gd name="T13" fmla="*/ 202 h 363"/>
                <a:gd name="T14" fmla="*/ 8 w 219"/>
                <a:gd name="T15" fmla="*/ 137 h 363"/>
                <a:gd name="T16" fmla="*/ 20 w 219"/>
                <a:gd name="T17" fmla="*/ 122 h 363"/>
                <a:gd name="T18" fmla="*/ 27 w 219"/>
                <a:gd name="T19" fmla="*/ 122 h 363"/>
                <a:gd name="T20" fmla="*/ 20 w 219"/>
                <a:gd name="T21" fmla="*/ 95 h 363"/>
                <a:gd name="T22" fmla="*/ 53 w 219"/>
                <a:gd name="T23" fmla="*/ 72 h 363"/>
                <a:gd name="T24" fmla="*/ 92 w 219"/>
                <a:gd name="T25" fmla="*/ 72 h 363"/>
                <a:gd name="T26" fmla="*/ 118 w 219"/>
                <a:gd name="T27" fmla="*/ 59 h 363"/>
                <a:gd name="T28" fmla="*/ 136 w 219"/>
                <a:gd name="T29" fmla="*/ 25 h 363"/>
                <a:gd name="T30" fmla="*/ 170 w 219"/>
                <a:gd name="T31" fmla="*/ 16 h 363"/>
                <a:gd name="T32" fmla="*/ 186 w 219"/>
                <a:gd name="T33" fmla="*/ 0 h 363"/>
                <a:gd name="T34" fmla="*/ 194 w 219"/>
                <a:gd name="T35" fmla="*/ 3 h 363"/>
                <a:gd name="T36" fmla="*/ 190 w 219"/>
                <a:gd name="T37" fmla="*/ 16 h 363"/>
                <a:gd name="T38" fmla="*/ 177 w 219"/>
                <a:gd name="T39" fmla="*/ 21 h 363"/>
                <a:gd name="T40" fmla="*/ 190 w 219"/>
                <a:gd name="T41" fmla="*/ 39 h 363"/>
                <a:gd name="T42" fmla="*/ 194 w 219"/>
                <a:gd name="T43" fmla="*/ 63 h 363"/>
                <a:gd name="T44" fmla="*/ 183 w 219"/>
                <a:gd name="T45" fmla="*/ 77 h 363"/>
                <a:gd name="T46" fmla="*/ 168 w 219"/>
                <a:gd name="T47" fmla="*/ 94 h 363"/>
                <a:gd name="T48" fmla="*/ 163 w 219"/>
                <a:gd name="T49" fmla="*/ 113 h 363"/>
                <a:gd name="T50" fmla="*/ 168 w 219"/>
                <a:gd name="T51" fmla="*/ 124 h 363"/>
                <a:gd name="T52" fmla="*/ 168 w 219"/>
                <a:gd name="T53" fmla="*/ 139 h 363"/>
                <a:gd name="T54" fmla="*/ 177 w 219"/>
                <a:gd name="T55" fmla="*/ 148 h 363"/>
                <a:gd name="T56" fmla="*/ 199 w 219"/>
                <a:gd name="T57" fmla="*/ 148 h 363"/>
                <a:gd name="T58" fmla="*/ 213 w 219"/>
                <a:gd name="T59" fmla="*/ 148 h 363"/>
                <a:gd name="T60" fmla="*/ 219 w 219"/>
                <a:gd name="T61" fmla="*/ 173 h 363"/>
                <a:gd name="T62" fmla="*/ 197 w 219"/>
                <a:gd name="T63" fmla="*/ 198 h 363"/>
                <a:gd name="T64" fmla="*/ 177 w 219"/>
                <a:gd name="T65" fmla="*/ 204 h 363"/>
                <a:gd name="T66" fmla="*/ 177 w 219"/>
                <a:gd name="T67" fmla="*/ 187 h 363"/>
                <a:gd name="T68" fmla="*/ 161 w 219"/>
                <a:gd name="T69" fmla="*/ 189 h 363"/>
                <a:gd name="T70" fmla="*/ 163 w 219"/>
                <a:gd name="T71" fmla="*/ 220 h 363"/>
                <a:gd name="T72" fmla="*/ 159 w 219"/>
                <a:gd name="T73" fmla="*/ 240 h 363"/>
                <a:gd name="T74" fmla="*/ 141 w 219"/>
                <a:gd name="T75" fmla="*/ 249 h 363"/>
                <a:gd name="T76" fmla="*/ 127 w 219"/>
                <a:gd name="T77" fmla="*/ 247 h 363"/>
                <a:gd name="T78" fmla="*/ 129 w 219"/>
                <a:gd name="T79" fmla="*/ 265 h 363"/>
                <a:gd name="T80" fmla="*/ 111 w 219"/>
                <a:gd name="T81" fmla="*/ 276 h 363"/>
                <a:gd name="T82" fmla="*/ 118 w 219"/>
                <a:gd name="T83" fmla="*/ 299 h 363"/>
                <a:gd name="T84" fmla="*/ 121 w 219"/>
                <a:gd name="T85" fmla="*/ 321 h 363"/>
                <a:gd name="T86" fmla="*/ 103 w 219"/>
                <a:gd name="T87" fmla="*/ 325 h 363"/>
                <a:gd name="T88" fmla="*/ 123 w 219"/>
                <a:gd name="T89" fmla="*/ 341 h 363"/>
                <a:gd name="T90" fmla="*/ 132 w 219"/>
                <a:gd name="T91" fmla="*/ 363 h 363"/>
                <a:gd name="T92" fmla="*/ 96 w 219"/>
                <a:gd name="T93" fmla="*/ 359 h 363"/>
                <a:gd name="T94" fmla="*/ 27 w 219"/>
                <a:gd name="T95" fmla="*/ 343 h 363"/>
                <a:gd name="T96" fmla="*/ 40 w 219"/>
                <a:gd name="T97" fmla="*/ 328 h 363"/>
                <a:gd name="T98" fmla="*/ 42 w 219"/>
                <a:gd name="T99" fmla="*/ 312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19" h="363">
                  <a:moveTo>
                    <a:pt x="42" y="312"/>
                  </a:moveTo>
                  <a:lnTo>
                    <a:pt x="42" y="287"/>
                  </a:lnTo>
                  <a:lnTo>
                    <a:pt x="0" y="272"/>
                  </a:lnTo>
                  <a:lnTo>
                    <a:pt x="6" y="238"/>
                  </a:lnTo>
                  <a:lnTo>
                    <a:pt x="20" y="234"/>
                  </a:lnTo>
                  <a:lnTo>
                    <a:pt x="20" y="209"/>
                  </a:lnTo>
                  <a:lnTo>
                    <a:pt x="8" y="202"/>
                  </a:lnTo>
                  <a:lnTo>
                    <a:pt x="8" y="137"/>
                  </a:lnTo>
                  <a:lnTo>
                    <a:pt x="20" y="122"/>
                  </a:lnTo>
                  <a:lnTo>
                    <a:pt x="27" y="122"/>
                  </a:lnTo>
                  <a:lnTo>
                    <a:pt x="20" y="95"/>
                  </a:lnTo>
                  <a:lnTo>
                    <a:pt x="53" y="72"/>
                  </a:lnTo>
                  <a:lnTo>
                    <a:pt x="92" y="72"/>
                  </a:lnTo>
                  <a:lnTo>
                    <a:pt x="118" y="59"/>
                  </a:lnTo>
                  <a:lnTo>
                    <a:pt x="136" y="25"/>
                  </a:lnTo>
                  <a:lnTo>
                    <a:pt x="170" y="16"/>
                  </a:lnTo>
                  <a:lnTo>
                    <a:pt x="186" y="0"/>
                  </a:lnTo>
                  <a:lnTo>
                    <a:pt x="194" y="3"/>
                  </a:lnTo>
                  <a:lnTo>
                    <a:pt x="190" y="16"/>
                  </a:lnTo>
                  <a:lnTo>
                    <a:pt x="177" y="21"/>
                  </a:lnTo>
                  <a:lnTo>
                    <a:pt x="190" y="39"/>
                  </a:lnTo>
                  <a:lnTo>
                    <a:pt x="194" y="63"/>
                  </a:lnTo>
                  <a:lnTo>
                    <a:pt x="183" y="77"/>
                  </a:lnTo>
                  <a:lnTo>
                    <a:pt x="168" y="94"/>
                  </a:lnTo>
                  <a:lnTo>
                    <a:pt x="163" y="113"/>
                  </a:lnTo>
                  <a:lnTo>
                    <a:pt x="168" y="124"/>
                  </a:lnTo>
                  <a:lnTo>
                    <a:pt x="168" y="139"/>
                  </a:lnTo>
                  <a:lnTo>
                    <a:pt x="177" y="148"/>
                  </a:lnTo>
                  <a:lnTo>
                    <a:pt x="199" y="148"/>
                  </a:lnTo>
                  <a:lnTo>
                    <a:pt x="213" y="148"/>
                  </a:lnTo>
                  <a:lnTo>
                    <a:pt x="219" y="173"/>
                  </a:lnTo>
                  <a:lnTo>
                    <a:pt x="197" y="198"/>
                  </a:lnTo>
                  <a:lnTo>
                    <a:pt x="177" y="204"/>
                  </a:lnTo>
                  <a:lnTo>
                    <a:pt x="177" y="187"/>
                  </a:lnTo>
                  <a:lnTo>
                    <a:pt x="161" y="189"/>
                  </a:lnTo>
                  <a:lnTo>
                    <a:pt x="163" y="220"/>
                  </a:lnTo>
                  <a:lnTo>
                    <a:pt x="159" y="240"/>
                  </a:lnTo>
                  <a:lnTo>
                    <a:pt x="141" y="249"/>
                  </a:lnTo>
                  <a:lnTo>
                    <a:pt x="127" y="247"/>
                  </a:lnTo>
                  <a:lnTo>
                    <a:pt x="129" y="265"/>
                  </a:lnTo>
                  <a:lnTo>
                    <a:pt x="111" y="276"/>
                  </a:lnTo>
                  <a:lnTo>
                    <a:pt x="118" y="299"/>
                  </a:lnTo>
                  <a:lnTo>
                    <a:pt x="121" y="321"/>
                  </a:lnTo>
                  <a:lnTo>
                    <a:pt x="103" y="325"/>
                  </a:lnTo>
                  <a:lnTo>
                    <a:pt x="123" y="341"/>
                  </a:lnTo>
                  <a:lnTo>
                    <a:pt x="132" y="363"/>
                  </a:lnTo>
                  <a:lnTo>
                    <a:pt x="96" y="359"/>
                  </a:lnTo>
                  <a:lnTo>
                    <a:pt x="27" y="343"/>
                  </a:lnTo>
                  <a:lnTo>
                    <a:pt x="40" y="328"/>
                  </a:lnTo>
                  <a:lnTo>
                    <a:pt x="42" y="312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Denmark"/>
            <p:cNvSpPr>
              <a:spLocks/>
            </p:cNvSpPr>
            <p:nvPr/>
          </p:nvSpPr>
          <p:spPr bwMode="auto">
            <a:xfrm>
              <a:off x="8875033" y="3181350"/>
              <a:ext cx="134938" cy="131763"/>
            </a:xfrm>
            <a:custGeom>
              <a:avLst/>
              <a:gdLst>
                <a:gd name="T0" fmla="*/ 7 w 85"/>
                <a:gd name="T1" fmla="*/ 20 h 83"/>
                <a:gd name="T2" fmla="*/ 23 w 85"/>
                <a:gd name="T3" fmla="*/ 20 h 83"/>
                <a:gd name="T4" fmla="*/ 32 w 85"/>
                <a:gd name="T5" fmla="*/ 7 h 83"/>
                <a:gd name="T6" fmla="*/ 49 w 85"/>
                <a:gd name="T7" fmla="*/ 0 h 83"/>
                <a:gd name="T8" fmla="*/ 54 w 85"/>
                <a:gd name="T9" fmla="*/ 9 h 83"/>
                <a:gd name="T10" fmla="*/ 74 w 85"/>
                <a:gd name="T11" fmla="*/ 14 h 83"/>
                <a:gd name="T12" fmla="*/ 74 w 85"/>
                <a:gd name="T13" fmla="*/ 36 h 83"/>
                <a:gd name="T14" fmla="*/ 85 w 85"/>
                <a:gd name="T15" fmla="*/ 43 h 83"/>
                <a:gd name="T16" fmla="*/ 85 w 85"/>
                <a:gd name="T17" fmla="*/ 65 h 83"/>
                <a:gd name="T18" fmla="*/ 74 w 85"/>
                <a:gd name="T19" fmla="*/ 77 h 83"/>
                <a:gd name="T20" fmla="*/ 47 w 85"/>
                <a:gd name="T21" fmla="*/ 83 h 83"/>
                <a:gd name="T22" fmla="*/ 23 w 85"/>
                <a:gd name="T23" fmla="*/ 67 h 83"/>
                <a:gd name="T24" fmla="*/ 14 w 85"/>
                <a:gd name="T25" fmla="*/ 41 h 83"/>
                <a:gd name="T26" fmla="*/ 0 w 85"/>
                <a:gd name="T27" fmla="*/ 23 h 83"/>
                <a:gd name="T28" fmla="*/ 7 w 85"/>
                <a:gd name="T29" fmla="*/ 2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5" h="83">
                  <a:moveTo>
                    <a:pt x="7" y="20"/>
                  </a:moveTo>
                  <a:lnTo>
                    <a:pt x="23" y="20"/>
                  </a:lnTo>
                  <a:lnTo>
                    <a:pt x="32" y="7"/>
                  </a:lnTo>
                  <a:lnTo>
                    <a:pt x="49" y="0"/>
                  </a:lnTo>
                  <a:lnTo>
                    <a:pt x="54" y="9"/>
                  </a:lnTo>
                  <a:lnTo>
                    <a:pt x="74" y="14"/>
                  </a:lnTo>
                  <a:lnTo>
                    <a:pt x="74" y="36"/>
                  </a:lnTo>
                  <a:lnTo>
                    <a:pt x="85" y="43"/>
                  </a:lnTo>
                  <a:lnTo>
                    <a:pt x="85" y="65"/>
                  </a:lnTo>
                  <a:lnTo>
                    <a:pt x="74" y="77"/>
                  </a:lnTo>
                  <a:lnTo>
                    <a:pt x="47" y="83"/>
                  </a:lnTo>
                  <a:lnTo>
                    <a:pt x="23" y="67"/>
                  </a:lnTo>
                  <a:lnTo>
                    <a:pt x="14" y="41"/>
                  </a:lnTo>
                  <a:lnTo>
                    <a:pt x="0" y="23"/>
                  </a:lnTo>
                  <a:lnTo>
                    <a:pt x="7" y="2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Denmark"/>
            <p:cNvSpPr>
              <a:spLocks/>
            </p:cNvSpPr>
            <p:nvPr/>
          </p:nvSpPr>
          <p:spPr bwMode="auto">
            <a:xfrm>
              <a:off x="9009971" y="3068638"/>
              <a:ext cx="220663" cy="312738"/>
            </a:xfrm>
            <a:custGeom>
              <a:avLst/>
              <a:gdLst>
                <a:gd name="T0" fmla="*/ 0 w 139"/>
                <a:gd name="T1" fmla="*/ 58 h 197"/>
                <a:gd name="T2" fmla="*/ 43 w 139"/>
                <a:gd name="T3" fmla="*/ 51 h 197"/>
                <a:gd name="T4" fmla="*/ 50 w 139"/>
                <a:gd name="T5" fmla="*/ 40 h 197"/>
                <a:gd name="T6" fmla="*/ 79 w 139"/>
                <a:gd name="T7" fmla="*/ 33 h 197"/>
                <a:gd name="T8" fmla="*/ 83 w 139"/>
                <a:gd name="T9" fmla="*/ 0 h 197"/>
                <a:gd name="T10" fmla="*/ 112 w 139"/>
                <a:gd name="T11" fmla="*/ 7 h 197"/>
                <a:gd name="T12" fmla="*/ 126 w 139"/>
                <a:gd name="T13" fmla="*/ 24 h 197"/>
                <a:gd name="T14" fmla="*/ 126 w 139"/>
                <a:gd name="T15" fmla="*/ 45 h 197"/>
                <a:gd name="T16" fmla="*/ 139 w 139"/>
                <a:gd name="T17" fmla="*/ 54 h 197"/>
                <a:gd name="T18" fmla="*/ 139 w 139"/>
                <a:gd name="T19" fmla="*/ 71 h 197"/>
                <a:gd name="T20" fmla="*/ 119 w 139"/>
                <a:gd name="T21" fmla="*/ 80 h 197"/>
                <a:gd name="T22" fmla="*/ 112 w 139"/>
                <a:gd name="T23" fmla="*/ 96 h 197"/>
                <a:gd name="T24" fmla="*/ 126 w 139"/>
                <a:gd name="T25" fmla="*/ 107 h 197"/>
                <a:gd name="T26" fmla="*/ 126 w 139"/>
                <a:gd name="T27" fmla="*/ 119 h 197"/>
                <a:gd name="T28" fmla="*/ 99 w 139"/>
                <a:gd name="T29" fmla="*/ 119 h 197"/>
                <a:gd name="T30" fmla="*/ 108 w 139"/>
                <a:gd name="T31" fmla="*/ 141 h 197"/>
                <a:gd name="T32" fmla="*/ 81 w 139"/>
                <a:gd name="T33" fmla="*/ 141 h 197"/>
                <a:gd name="T34" fmla="*/ 87 w 139"/>
                <a:gd name="T35" fmla="*/ 154 h 197"/>
                <a:gd name="T36" fmla="*/ 105 w 139"/>
                <a:gd name="T37" fmla="*/ 154 h 197"/>
                <a:gd name="T38" fmla="*/ 97 w 139"/>
                <a:gd name="T39" fmla="*/ 166 h 197"/>
                <a:gd name="T40" fmla="*/ 88 w 139"/>
                <a:gd name="T41" fmla="*/ 186 h 197"/>
                <a:gd name="T42" fmla="*/ 70 w 139"/>
                <a:gd name="T43" fmla="*/ 186 h 197"/>
                <a:gd name="T44" fmla="*/ 52 w 139"/>
                <a:gd name="T45" fmla="*/ 197 h 197"/>
                <a:gd name="T46" fmla="*/ 36 w 139"/>
                <a:gd name="T47" fmla="*/ 181 h 197"/>
                <a:gd name="T48" fmla="*/ 18 w 139"/>
                <a:gd name="T49" fmla="*/ 161 h 197"/>
                <a:gd name="T50" fmla="*/ 29 w 139"/>
                <a:gd name="T51" fmla="*/ 148 h 197"/>
                <a:gd name="T52" fmla="*/ 50 w 139"/>
                <a:gd name="T53" fmla="*/ 154 h 197"/>
                <a:gd name="T54" fmla="*/ 61 w 139"/>
                <a:gd name="T55" fmla="*/ 166 h 197"/>
                <a:gd name="T56" fmla="*/ 70 w 139"/>
                <a:gd name="T57" fmla="*/ 154 h 197"/>
                <a:gd name="T58" fmla="*/ 77 w 139"/>
                <a:gd name="T59" fmla="*/ 132 h 197"/>
                <a:gd name="T60" fmla="*/ 76 w 139"/>
                <a:gd name="T61" fmla="*/ 119 h 197"/>
                <a:gd name="T62" fmla="*/ 38 w 139"/>
                <a:gd name="T63" fmla="*/ 125 h 197"/>
                <a:gd name="T64" fmla="*/ 25 w 139"/>
                <a:gd name="T65" fmla="*/ 107 h 197"/>
                <a:gd name="T66" fmla="*/ 34 w 139"/>
                <a:gd name="T67" fmla="*/ 91 h 197"/>
                <a:gd name="T68" fmla="*/ 36 w 139"/>
                <a:gd name="T69" fmla="*/ 74 h 197"/>
                <a:gd name="T70" fmla="*/ 0 w 139"/>
                <a:gd name="T71" fmla="*/ 58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39" h="197">
                  <a:moveTo>
                    <a:pt x="0" y="58"/>
                  </a:moveTo>
                  <a:lnTo>
                    <a:pt x="43" y="51"/>
                  </a:lnTo>
                  <a:lnTo>
                    <a:pt x="50" y="40"/>
                  </a:lnTo>
                  <a:lnTo>
                    <a:pt x="79" y="33"/>
                  </a:lnTo>
                  <a:lnTo>
                    <a:pt x="83" y="0"/>
                  </a:lnTo>
                  <a:lnTo>
                    <a:pt x="112" y="7"/>
                  </a:lnTo>
                  <a:lnTo>
                    <a:pt x="126" y="24"/>
                  </a:lnTo>
                  <a:lnTo>
                    <a:pt x="126" y="45"/>
                  </a:lnTo>
                  <a:lnTo>
                    <a:pt x="139" y="54"/>
                  </a:lnTo>
                  <a:lnTo>
                    <a:pt x="139" y="71"/>
                  </a:lnTo>
                  <a:lnTo>
                    <a:pt x="119" y="80"/>
                  </a:lnTo>
                  <a:lnTo>
                    <a:pt x="112" y="96"/>
                  </a:lnTo>
                  <a:lnTo>
                    <a:pt x="126" y="107"/>
                  </a:lnTo>
                  <a:lnTo>
                    <a:pt x="126" y="119"/>
                  </a:lnTo>
                  <a:lnTo>
                    <a:pt x="99" y="119"/>
                  </a:lnTo>
                  <a:lnTo>
                    <a:pt x="108" y="141"/>
                  </a:lnTo>
                  <a:lnTo>
                    <a:pt x="81" y="141"/>
                  </a:lnTo>
                  <a:lnTo>
                    <a:pt x="87" y="154"/>
                  </a:lnTo>
                  <a:lnTo>
                    <a:pt x="105" y="154"/>
                  </a:lnTo>
                  <a:lnTo>
                    <a:pt x="97" y="166"/>
                  </a:lnTo>
                  <a:lnTo>
                    <a:pt x="88" y="186"/>
                  </a:lnTo>
                  <a:lnTo>
                    <a:pt x="70" y="186"/>
                  </a:lnTo>
                  <a:lnTo>
                    <a:pt x="52" y="197"/>
                  </a:lnTo>
                  <a:lnTo>
                    <a:pt x="36" y="181"/>
                  </a:lnTo>
                  <a:lnTo>
                    <a:pt x="18" y="161"/>
                  </a:lnTo>
                  <a:lnTo>
                    <a:pt x="29" y="148"/>
                  </a:lnTo>
                  <a:lnTo>
                    <a:pt x="50" y="154"/>
                  </a:lnTo>
                  <a:lnTo>
                    <a:pt x="61" y="166"/>
                  </a:lnTo>
                  <a:lnTo>
                    <a:pt x="70" y="154"/>
                  </a:lnTo>
                  <a:lnTo>
                    <a:pt x="77" y="132"/>
                  </a:lnTo>
                  <a:lnTo>
                    <a:pt x="76" y="119"/>
                  </a:lnTo>
                  <a:lnTo>
                    <a:pt x="38" y="125"/>
                  </a:lnTo>
                  <a:lnTo>
                    <a:pt x="25" y="107"/>
                  </a:lnTo>
                  <a:lnTo>
                    <a:pt x="34" y="91"/>
                  </a:lnTo>
                  <a:lnTo>
                    <a:pt x="36" y="74"/>
                  </a:lnTo>
                  <a:lnTo>
                    <a:pt x="0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5" name="Norway"/>
          <p:cNvSpPr>
            <a:spLocks/>
          </p:cNvSpPr>
          <p:nvPr/>
        </p:nvSpPr>
        <p:spPr bwMode="auto">
          <a:xfrm>
            <a:off x="8349188" y="85725"/>
            <a:ext cx="2322513" cy="2652713"/>
          </a:xfrm>
          <a:custGeom>
            <a:avLst/>
            <a:gdLst>
              <a:gd name="T0" fmla="*/ 780 w 810"/>
              <a:gd name="T1" fmla="*/ 57 h 925"/>
              <a:gd name="T2" fmla="*/ 738 w 810"/>
              <a:gd name="T3" fmla="*/ 48 h 925"/>
              <a:gd name="T4" fmla="*/ 702 w 810"/>
              <a:gd name="T5" fmla="*/ 47 h 925"/>
              <a:gd name="T6" fmla="*/ 682 w 810"/>
              <a:gd name="T7" fmla="*/ 0 h 925"/>
              <a:gd name="T8" fmla="*/ 649 w 810"/>
              <a:gd name="T9" fmla="*/ 6 h 925"/>
              <a:gd name="T10" fmla="*/ 643 w 810"/>
              <a:gd name="T11" fmla="*/ 6 h 925"/>
              <a:gd name="T12" fmla="*/ 616 w 810"/>
              <a:gd name="T13" fmla="*/ 13 h 925"/>
              <a:gd name="T14" fmla="*/ 593 w 810"/>
              <a:gd name="T15" fmla="*/ 14 h 925"/>
              <a:gd name="T16" fmla="*/ 570 w 810"/>
              <a:gd name="T17" fmla="*/ 74 h 925"/>
              <a:gd name="T18" fmla="*/ 584 w 810"/>
              <a:gd name="T19" fmla="*/ 0 h 925"/>
              <a:gd name="T20" fmla="*/ 550 w 810"/>
              <a:gd name="T21" fmla="*/ 43 h 925"/>
              <a:gd name="T22" fmla="*/ 515 w 810"/>
              <a:gd name="T23" fmla="*/ 57 h 925"/>
              <a:gd name="T24" fmla="*/ 518 w 810"/>
              <a:gd name="T25" fmla="*/ 86 h 925"/>
              <a:gd name="T26" fmla="*/ 480 w 810"/>
              <a:gd name="T27" fmla="*/ 90 h 925"/>
              <a:gd name="T28" fmla="*/ 439 w 810"/>
              <a:gd name="T29" fmla="*/ 99 h 925"/>
              <a:gd name="T30" fmla="*/ 402 w 810"/>
              <a:gd name="T31" fmla="*/ 132 h 925"/>
              <a:gd name="T32" fmla="*/ 396 w 810"/>
              <a:gd name="T33" fmla="*/ 177 h 925"/>
              <a:gd name="T34" fmla="*/ 337 w 810"/>
              <a:gd name="T35" fmla="*/ 189 h 925"/>
              <a:gd name="T36" fmla="*/ 339 w 810"/>
              <a:gd name="T37" fmla="*/ 214 h 925"/>
              <a:gd name="T38" fmla="*/ 334 w 810"/>
              <a:gd name="T39" fmla="*/ 256 h 925"/>
              <a:gd name="T40" fmla="*/ 309 w 810"/>
              <a:gd name="T41" fmla="*/ 314 h 925"/>
              <a:gd name="T42" fmla="*/ 276 w 810"/>
              <a:gd name="T43" fmla="*/ 355 h 925"/>
              <a:gd name="T44" fmla="*/ 275 w 810"/>
              <a:gd name="T45" fmla="*/ 447 h 925"/>
              <a:gd name="T46" fmla="*/ 217 w 810"/>
              <a:gd name="T47" fmla="*/ 478 h 925"/>
              <a:gd name="T48" fmla="*/ 139 w 810"/>
              <a:gd name="T49" fmla="*/ 562 h 925"/>
              <a:gd name="T50" fmla="*/ 88 w 810"/>
              <a:gd name="T51" fmla="*/ 582 h 925"/>
              <a:gd name="T52" fmla="*/ 61 w 810"/>
              <a:gd name="T53" fmla="*/ 613 h 925"/>
              <a:gd name="T54" fmla="*/ 19 w 810"/>
              <a:gd name="T55" fmla="*/ 637 h 925"/>
              <a:gd name="T56" fmla="*/ 8 w 810"/>
              <a:gd name="T57" fmla="*/ 709 h 925"/>
              <a:gd name="T58" fmla="*/ 7 w 810"/>
              <a:gd name="T59" fmla="*/ 756 h 925"/>
              <a:gd name="T60" fmla="*/ 34 w 810"/>
              <a:gd name="T61" fmla="*/ 769 h 925"/>
              <a:gd name="T62" fmla="*/ 29 w 810"/>
              <a:gd name="T63" fmla="*/ 802 h 925"/>
              <a:gd name="T64" fmla="*/ 18 w 810"/>
              <a:gd name="T65" fmla="*/ 834 h 925"/>
              <a:gd name="T66" fmla="*/ 44 w 810"/>
              <a:gd name="T67" fmla="*/ 834 h 925"/>
              <a:gd name="T68" fmla="*/ 16 w 810"/>
              <a:gd name="T69" fmla="*/ 884 h 925"/>
              <a:gd name="T70" fmla="*/ 74 w 810"/>
              <a:gd name="T71" fmla="*/ 925 h 925"/>
              <a:gd name="T72" fmla="*/ 142 w 810"/>
              <a:gd name="T73" fmla="*/ 878 h 925"/>
              <a:gd name="T74" fmla="*/ 183 w 810"/>
              <a:gd name="T75" fmla="*/ 864 h 925"/>
              <a:gd name="T76" fmla="*/ 210 w 810"/>
              <a:gd name="T77" fmla="*/ 797 h 925"/>
              <a:gd name="T78" fmla="*/ 240 w 810"/>
              <a:gd name="T79" fmla="*/ 850 h 925"/>
              <a:gd name="T80" fmla="*/ 259 w 810"/>
              <a:gd name="T81" fmla="*/ 795 h 925"/>
              <a:gd name="T82" fmla="*/ 279 w 810"/>
              <a:gd name="T83" fmla="*/ 720 h 925"/>
              <a:gd name="T84" fmla="*/ 253 w 810"/>
              <a:gd name="T85" fmla="*/ 614 h 925"/>
              <a:gd name="T86" fmla="*/ 275 w 810"/>
              <a:gd name="T87" fmla="*/ 522 h 925"/>
              <a:gd name="T88" fmla="*/ 307 w 810"/>
              <a:gd name="T89" fmla="*/ 480 h 925"/>
              <a:gd name="T90" fmla="*/ 354 w 810"/>
              <a:gd name="T91" fmla="*/ 355 h 925"/>
              <a:gd name="T92" fmla="*/ 373 w 810"/>
              <a:gd name="T93" fmla="*/ 281 h 925"/>
              <a:gd name="T94" fmla="*/ 447 w 810"/>
              <a:gd name="T95" fmla="*/ 209 h 925"/>
              <a:gd name="T96" fmla="*/ 472 w 810"/>
              <a:gd name="T97" fmla="*/ 175 h 925"/>
              <a:gd name="T98" fmla="*/ 513 w 810"/>
              <a:gd name="T99" fmla="*/ 155 h 925"/>
              <a:gd name="T100" fmla="*/ 602 w 810"/>
              <a:gd name="T101" fmla="*/ 190 h 925"/>
              <a:gd name="T102" fmla="*/ 723 w 810"/>
              <a:gd name="T103" fmla="*/ 171 h 925"/>
              <a:gd name="T104" fmla="*/ 784 w 810"/>
              <a:gd name="T105" fmla="*/ 106 h 925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9055 w 10000"/>
              <a:gd name="connsiteY207" fmla="*/ 1767 h 10000"/>
              <a:gd name="connsiteX208" fmla="*/ 9444 w 10000"/>
              <a:gd name="connsiteY208" fmla="*/ 1492 h 10000"/>
              <a:gd name="connsiteX209" fmla="*/ 9284 w 10000"/>
              <a:gd name="connsiteY209" fmla="*/ 1362 h 10000"/>
              <a:gd name="connsiteX210" fmla="*/ 9346 w 10000"/>
              <a:gd name="connsiteY210" fmla="*/ 1351 h 10000"/>
              <a:gd name="connsiteX211" fmla="*/ 9679 w 10000"/>
              <a:gd name="connsiteY211" fmla="*/ 1146 h 10000"/>
              <a:gd name="connsiteX212" fmla="*/ 9938 w 10000"/>
              <a:gd name="connsiteY212" fmla="*/ 1178 h 10000"/>
              <a:gd name="connsiteX213" fmla="*/ 10000 w 10000"/>
              <a:gd name="connsiteY213" fmla="*/ 865 h 10000"/>
              <a:gd name="connsiteX214" fmla="*/ 9914 w 10000"/>
              <a:gd name="connsiteY214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9055 w 10000"/>
              <a:gd name="connsiteY207" fmla="*/ 1767 h 10000"/>
              <a:gd name="connsiteX208" fmla="*/ 9444 w 10000"/>
              <a:gd name="connsiteY208" fmla="*/ 1492 h 10000"/>
              <a:gd name="connsiteX209" fmla="*/ 9284 w 10000"/>
              <a:gd name="connsiteY209" fmla="*/ 1362 h 10000"/>
              <a:gd name="connsiteX210" fmla="*/ 9346 w 10000"/>
              <a:gd name="connsiteY210" fmla="*/ 1351 h 10000"/>
              <a:gd name="connsiteX211" fmla="*/ 9679 w 10000"/>
              <a:gd name="connsiteY211" fmla="*/ 1146 h 10000"/>
              <a:gd name="connsiteX212" fmla="*/ 9938 w 10000"/>
              <a:gd name="connsiteY212" fmla="*/ 1178 h 10000"/>
              <a:gd name="connsiteX213" fmla="*/ 10000 w 10000"/>
              <a:gd name="connsiteY213" fmla="*/ 865 h 10000"/>
              <a:gd name="connsiteX214" fmla="*/ 9914 w 10000"/>
              <a:gd name="connsiteY214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9172 w 10000"/>
              <a:gd name="connsiteY207" fmla="*/ 1685 h 10000"/>
              <a:gd name="connsiteX208" fmla="*/ 9444 w 10000"/>
              <a:gd name="connsiteY208" fmla="*/ 1492 h 10000"/>
              <a:gd name="connsiteX209" fmla="*/ 9284 w 10000"/>
              <a:gd name="connsiteY209" fmla="*/ 1362 h 10000"/>
              <a:gd name="connsiteX210" fmla="*/ 9346 w 10000"/>
              <a:gd name="connsiteY210" fmla="*/ 1351 h 10000"/>
              <a:gd name="connsiteX211" fmla="*/ 9679 w 10000"/>
              <a:gd name="connsiteY211" fmla="*/ 1146 h 10000"/>
              <a:gd name="connsiteX212" fmla="*/ 9938 w 10000"/>
              <a:gd name="connsiteY212" fmla="*/ 1178 h 10000"/>
              <a:gd name="connsiteX213" fmla="*/ 10000 w 10000"/>
              <a:gd name="connsiteY213" fmla="*/ 865 h 10000"/>
              <a:gd name="connsiteX214" fmla="*/ 9914 w 10000"/>
              <a:gd name="connsiteY214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8948 w 10000"/>
              <a:gd name="connsiteY207" fmla="*/ 1825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728 w 10000"/>
              <a:gd name="connsiteY206" fmla="*/ 1924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8580 w 10000"/>
              <a:gd name="connsiteY205" fmla="*/ 1730 h 10000"/>
              <a:gd name="connsiteX206" fmla="*/ 8997 w 10000"/>
              <a:gd name="connsiteY206" fmla="*/ 1965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9304 w 10000"/>
              <a:gd name="connsiteY205" fmla="*/ 2139 h 10000"/>
              <a:gd name="connsiteX206" fmla="*/ 8997 w 10000"/>
              <a:gd name="connsiteY206" fmla="*/ 1965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9304 w 10000"/>
              <a:gd name="connsiteY205" fmla="*/ 2139 h 10000"/>
              <a:gd name="connsiteX206" fmla="*/ 9102 w 10000"/>
              <a:gd name="connsiteY206" fmla="*/ 1975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  <a:gd name="connsiteX0" fmla="*/ 9914 w 10000"/>
              <a:gd name="connsiteY0" fmla="*/ 627 h 10000"/>
              <a:gd name="connsiteX1" fmla="*/ 9753 w 10000"/>
              <a:gd name="connsiteY1" fmla="*/ 692 h 10000"/>
              <a:gd name="connsiteX2" fmla="*/ 9704 w 10000"/>
              <a:gd name="connsiteY2" fmla="*/ 670 h 10000"/>
              <a:gd name="connsiteX3" fmla="*/ 9630 w 10000"/>
              <a:gd name="connsiteY3" fmla="*/ 616 h 10000"/>
              <a:gd name="connsiteX4" fmla="*/ 9543 w 10000"/>
              <a:gd name="connsiteY4" fmla="*/ 562 h 10000"/>
              <a:gd name="connsiteX5" fmla="*/ 9296 w 10000"/>
              <a:gd name="connsiteY5" fmla="*/ 616 h 10000"/>
              <a:gd name="connsiteX6" fmla="*/ 9173 w 10000"/>
              <a:gd name="connsiteY6" fmla="*/ 703 h 10000"/>
              <a:gd name="connsiteX7" fmla="*/ 9111 w 10000"/>
              <a:gd name="connsiteY7" fmla="*/ 519 h 10000"/>
              <a:gd name="connsiteX8" fmla="*/ 8728 w 10000"/>
              <a:gd name="connsiteY8" fmla="*/ 573 h 10000"/>
              <a:gd name="connsiteX9" fmla="*/ 8420 w 10000"/>
              <a:gd name="connsiteY9" fmla="*/ 616 h 10000"/>
              <a:gd name="connsiteX10" fmla="*/ 8235 w 10000"/>
              <a:gd name="connsiteY10" fmla="*/ 541 h 10000"/>
              <a:gd name="connsiteX11" fmla="*/ 8667 w 10000"/>
              <a:gd name="connsiteY11" fmla="*/ 508 h 10000"/>
              <a:gd name="connsiteX12" fmla="*/ 8765 w 10000"/>
              <a:gd name="connsiteY12" fmla="*/ 389 h 10000"/>
              <a:gd name="connsiteX13" fmla="*/ 8901 w 10000"/>
              <a:gd name="connsiteY13" fmla="*/ 259 h 10000"/>
              <a:gd name="connsiteX14" fmla="*/ 8704 w 10000"/>
              <a:gd name="connsiteY14" fmla="*/ 184 h 10000"/>
              <a:gd name="connsiteX15" fmla="*/ 8420 w 10000"/>
              <a:gd name="connsiteY15" fmla="*/ 0 h 10000"/>
              <a:gd name="connsiteX16" fmla="*/ 8494 w 10000"/>
              <a:gd name="connsiteY16" fmla="*/ 97 h 10000"/>
              <a:gd name="connsiteX17" fmla="*/ 8309 w 10000"/>
              <a:gd name="connsiteY17" fmla="*/ 205 h 10000"/>
              <a:gd name="connsiteX18" fmla="*/ 8210 w 10000"/>
              <a:gd name="connsiteY18" fmla="*/ 43 h 10000"/>
              <a:gd name="connsiteX19" fmla="*/ 8012 w 10000"/>
              <a:gd name="connsiteY19" fmla="*/ 65 h 10000"/>
              <a:gd name="connsiteX20" fmla="*/ 8012 w 10000"/>
              <a:gd name="connsiteY20" fmla="*/ 281 h 10000"/>
              <a:gd name="connsiteX21" fmla="*/ 7938 w 10000"/>
              <a:gd name="connsiteY21" fmla="*/ 357 h 10000"/>
              <a:gd name="connsiteX22" fmla="*/ 7877 w 10000"/>
              <a:gd name="connsiteY22" fmla="*/ 249 h 10000"/>
              <a:gd name="connsiteX23" fmla="*/ 7938 w 10000"/>
              <a:gd name="connsiteY23" fmla="*/ 65 h 10000"/>
              <a:gd name="connsiteX24" fmla="*/ 7827 w 10000"/>
              <a:gd name="connsiteY24" fmla="*/ 0 h 10000"/>
              <a:gd name="connsiteX25" fmla="*/ 7654 w 10000"/>
              <a:gd name="connsiteY25" fmla="*/ 0 h 10000"/>
              <a:gd name="connsiteX26" fmla="*/ 7556 w 10000"/>
              <a:gd name="connsiteY26" fmla="*/ 86 h 10000"/>
              <a:gd name="connsiteX27" fmla="*/ 7605 w 10000"/>
              <a:gd name="connsiteY27" fmla="*/ 141 h 10000"/>
              <a:gd name="connsiteX28" fmla="*/ 7605 w 10000"/>
              <a:gd name="connsiteY28" fmla="*/ 368 h 10000"/>
              <a:gd name="connsiteX29" fmla="*/ 7556 w 10000"/>
              <a:gd name="connsiteY29" fmla="*/ 497 h 10000"/>
              <a:gd name="connsiteX30" fmla="*/ 7420 w 10000"/>
              <a:gd name="connsiteY30" fmla="*/ 324 h 10000"/>
              <a:gd name="connsiteX31" fmla="*/ 7321 w 10000"/>
              <a:gd name="connsiteY31" fmla="*/ 151 h 10000"/>
              <a:gd name="connsiteX32" fmla="*/ 7210 w 10000"/>
              <a:gd name="connsiteY32" fmla="*/ 422 h 10000"/>
              <a:gd name="connsiteX33" fmla="*/ 7210 w 10000"/>
              <a:gd name="connsiteY33" fmla="*/ 627 h 10000"/>
              <a:gd name="connsiteX34" fmla="*/ 7210 w 10000"/>
              <a:gd name="connsiteY34" fmla="*/ 703 h 10000"/>
              <a:gd name="connsiteX35" fmla="*/ 7037 w 10000"/>
              <a:gd name="connsiteY35" fmla="*/ 800 h 10000"/>
              <a:gd name="connsiteX36" fmla="*/ 7049 w 10000"/>
              <a:gd name="connsiteY36" fmla="*/ 627 h 10000"/>
              <a:gd name="connsiteX37" fmla="*/ 7049 w 10000"/>
              <a:gd name="connsiteY37" fmla="*/ 551 h 10000"/>
              <a:gd name="connsiteX38" fmla="*/ 7160 w 10000"/>
              <a:gd name="connsiteY38" fmla="*/ 205 h 10000"/>
              <a:gd name="connsiteX39" fmla="*/ 7210 w 10000"/>
              <a:gd name="connsiteY39" fmla="*/ 0 h 10000"/>
              <a:gd name="connsiteX40" fmla="*/ 6975 w 10000"/>
              <a:gd name="connsiteY40" fmla="*/ 43 h 10000"/>
              <a:gd name="connsiteX41" fmla="*/ 6975 w 10000"/>
              <a:gd name="connsiteY41" fmla="*/ 184 h 10000"/>
              <a:gd name="connsiteX42" fmla="*/ 6790 w 10000"/>
              <a:gd name="connsiteY42" fmla="*/ 292 h 10000"/>
              <a:gd name="connsiteX43" fmla="*/ 6790 w 10000"/>
              <a:gd name="connsiteY43" fmla="*/ 465 h 10000"/>
              <a:gd name="connsiteX44" fmla="*/ 6654 w 10000"/>
              <a:gd name="connsiteY44" fmla="*/ 530 h 10000"/>
              <a:gd name="connsiteX45" fmla="*/ 6420 w 10000"/>
              <a:gd name="connsiteY45" fmla="*/ 465 h 10000"/>
              <a:gd name="connsiteX46" fmla="*/ 6160 w 10000"/>
              <a:gd name="connsiteY46" fmla="*/ 573 h 10000"/>
              <a:gd name="connsiteX47" fmla="*/ 6358 w 10000"/>
              <a:gd name="connsiteY47" fmla="*/ 616 h 10000"/>
              <a:gd name="connsiteX48" fmla="*/ 6395 w 10000"/>
              <a:gd name="connsiteY48" fmla="*/ 681 h 10000"/>
              <a:gd name="connsiteX49" fmla="*/ 6494 w 10000"/>
              <a:gd name="connsiteY49" fmla="*/ 832 h 10000"/>
              <a:gd name="connsiteX50" fmla="*/ 6494 w 10000"/>
              <a:gd name="connsiteY50" fmla="*/ 973 h 10000"/>
              <a:gd name="connsiteX51" fmla="*/ 6395 w 10000"/>
              <a:gd name="connsiteY51" fmla="*/ 930 h 10000"/>
              <a:gd name="connsiteX52" fmla="*/ 6296 w 10000"/>
              <a:gd name="connsiteY52" fmla="*/ 876 h 10000"/>
              <a:gd name="connsiteX53" fmla="*/ 6111 w 10000"/>
              <a:gd name="connsiteY53" fmla="*/ 800 h 10000"/>
              <a:gd name="connsiteX54" fmla="*/ 5926 w 10000"/>
              <a:gd name="connsiteY54" fmla="*/ 800 h 10000"/>
              <a:gd name="connsiteX55" fmla="*/ 5926 w 10000"/>
              <a:gd name="connsiteY55" fmla="*/ 973 h 10000"/>
              <a:gd name="connsiteX56" fmla="*/ 5827 w 10000"/>
              <a:gd name="connsiteY56" fmla="*/ 1135 h 10000"/>
              <a:gd name="connsiteX57" fmla="*/ 5617 w 10000"/>
              <a:gd name="connsiteY57" fmla="*/ 1200 h 10000"/>
              <a:gd name="connsiteX58" fmla="*/ 5481 w 10000"/>
              <a:gd name="connsiteY58" fmla="*/ 1222 h 10000"/>
              <a:gd name="connsiteX59" fmla="*/ 5420 w 10000"/>
              <a:gd name="connsiteY59" fmla="*/ 1070 h 10000"/>
              <a:gd name="connsiteX60" fmla="*/ 5235 w 10000"/>
              <a:gd name="connsiteY60" fmla="*/ 1232 h 10000"/>
              <a:gd name="connsiteX61" fmla="*/ 5272 w 10000"/>
              <a:gd name="connsiteY61" fmla="*/ 1395 h 10000"/>
              <a:gd name="connsiteX62" fmla="*/ 5074 w 10000"/>
              <a:gd name="connsiteY62" fmla="*/ 1589 h 10000"/>
              <a:gd name="connsiteX63" fmla="*/ 4963 w 10000"/>
              <a:gd name="connsiteY63" fmla="*/ 1427 h 10000"/>
              <a:gd name="connsiteX64" fmla="*/ 4617 w 10000"/>
              <a:gd name="connsiteY64" fmla="*/ 1784 h 10000"/>
              <a:gd name="connsiteX65" fmla="*/ 4716 w 10000"/>
              <a:gd name="connsiteY65" fmla="*/ 1914 h 10000"/>
              <a:gd name="connsiteX66" fmla="*/ 4889 w 10000"/>
              <a:gd name="connsiteY66" fmla="*/ 1751 h 10000"/>
              <a:gd name="connsiteX67" fmla="*/ 4889 w 10000"/>
              <a:gd name="connsiteY67" fmla="*/ 1914 h 10000"/>
              <a:gd name="connsiteX68" fmla="*/ 4765 w 10000"/>
              <a:gd name="connsiteY68" fmla="*/ 2173 h 10000"/>
              <a:gd name="connsiteX69" fmla="*/ 4506 w 10000"/>
              <a:gd name="connsiteY69" fmla="*/ 2000 h 10000"/>
              <a:gd name="connsiteX70" fmla="*/ 4296 w 10000"/>
              <a:gd name="connsiteY70" fmla="*/ 1914 h 10000"/>
              <a:gd name="connsiteX71" fmla="*/ 4160 w 10000"/>
              <a:gd name="connsiteY71" fmla="*/ 2043 h 10000"/>
              <a:gd name="connsiteX72" fmla="*/ 3901 w 10000"/>
              <a:gd name="connsiteY72" fmla="*/ 2205 h 10000"/>
              <a:gd name="connsiteX73" fmla="*/ 4037 w 10000"/>
              <a:gd name="connsiteY73" fmla="*/ 2205 h 10000"/>
              <a:gd name="connsiteX74" fmla="*/ 4062 w 10000"/>
              <a:gd name="connsiteY74" fmla="*/ 2432 h 10000"/>
              <a:gd name="connsiteX75" fmla="*/ 4185 w 10000"/>
              <a:gd name="connsiteY75" fmla="*/ 2314 h 10000"/>
              <a:gd name="connsiteX76" fmla="*/ 4469 w 10000"/>
              <a:gd name="connsiteY76" fmla="*/ 2314 h 10000"/>
              <a:gd name="connsiteX77" fmla="*/ 4395 w 10000"/>
              <a:gd name="connsiteY77" fmla="*/ 2508 h 10000"/>
              <a:gd name="connsiteX78" fmla="*/ 4395 w 10000"/>
              <a:gd name="connsiteY78" fmla="*/ 2670 h 10000"/>
              <a:gd name="connsiteX79" fmla="*/ 4123 w 10000"/>
              <a:gd name="connsiteY79" fmla="*/ 2768 h 10000"/>
              <a:gd name="connsiteX80" fmla="*/ 4025 w 10000"/>
              <a:gd name="connsiteY80" fmla="*/ 3005 h 10000"/>
              <a:gd name="connsiteX81" fmla="*/ 3926 w 10000"/>
              <a:gd name="connsiteY81" fmla="*/ 3254 h 10000"/>
              <a:gd name="connsiteX82" fmla="*/ 3975 w 10000"/>
              <a:gd name="connsiteY82" fmla="*/ 3395 h 10000"/>
              <a:gd name="connsiteX83" fmla="*/ 3815 w 10000"/>
              <a:gd name="connsiteY83" fmla="*/ 3395 h 10000"/>
              <a:gd name="connsiteX84" fmla="*/ 3654 w 10000"/>
              <a:gd name="connsiteY84" fmla="*/ 3449 h 10000"/>
              <a:gd name="connsiteX85" fmla="*/ 3704 w 10000"/>
              <a:gd name="connsiteY85" fmla="*/ 3643 h 10000"/>
              <a:gd name="connsiteX86" fmla="*/ 3543 w 10000"/>
              <a:gd name="connsiteY86" fmla="*/ 3643 h 10000"/>
              <a:gd name="connsiteX87" fmla="*/ 3407 w 10000"/>
              <a:gd name="connsiteY87" fmla="*/ 3838 h 10000"/>
              <a:gd name="connsiteX88" fmla="*/ 3494 w 10000"/>
              <a:gd name="connsiteY88" fmla="*/ 4195 h 10000"/>
              <a:gd name="connsiteX89" fmla="*/ 3272 w 10000"/>
              <a:gd name="connsiteY89" fmla="*/ 4400 h 10000"/>
              <a:gd name="connsiteX90" fmla="*/ 3111 w 10000"/>
              <a:gd name="connsiteY90" fmla="*/ 4714 h 10000"/>
              <a:gd name="connsiteX91" fmla="*/ 3395 w 10000"/>
              <a:gd name="connsiteY91" fmla="*/ 4832 h 10000"/>
              <a:gd name="connsiteX92" fmla="*/ 2914 w 10000"/>
              <a:gd name="connsiteY92" fmla="*/ 4897 h 10000"/>
              <a:gd name="connsiteX93" fmla="*/ 2852 w 10000"/>
              <a:gd name="connsiteY93" fmla="*/ 5114 h 10000"/>
              <a:gd name="connsiteX94" fmla="*/ 2901 w 10000"/>
              <a:gd name="connsiteY94" fmla="*/ 5341 h 10000"/>
              <a:gd name="connsiteX95" fmla="*/ 2679 w 10000"/>
              <a:gd name="connsiteY95" fmla="*/ 5168 h 10000"/>
              <a:gd name="connsiteX96" fmla="*/ 2593 w 10000"/>
              <a:gd name="connsiteY96" fmla="*/ 5351 h 10000"/>
              <a:gd name="connsiteX97" fmla="*/ 2185 w 10000"/>
              <a:gd name="connsiteY97" fmla="*/ 5741 h 10000"/>
              <a:gd name="connsiteX98" fmla="*/ 2012 w 10000"/>
              <a:gd name="connsiteY98" fmla="*/ 6032 h 10000"/>
              <a:gd name="connsiteX99" fmla="*/ 1716 w 10000"/>
              <a:gd name="connsiteY99" fmla="*/ 6076 h 10000"/>
              <a:gd name="connsiteX100" fmla="*/ 1815 w 10000"/>
              <a:gd name="connsiteY100" fmla="*/ 6227 h 10000"/>
              <a:gd name="connsiteX101" fmla="*/ 1654 w 10000"/>
              <a:gd name="connsiteY101" fmla="*/ 6292 h 10000"/>
              <a:gd name="connsiteX102" fmla="*/ 1247 w 10000"/>
              <a:gd name="connsiteY102" fmla="*/ 6368 h 10000"/>
              <a:gd name="connsiteX103" fmla="*/ 1086 w 10000"/>
              <a:gd name="connsiteY103" fmla="*/ 6292 h 10000"/>
              <a:gd name="connsiteX104" fmla="*/ 975 w 10000"/>
              <a:gd name="connsiteY104" fmla="*/ 6357 h 10000"/>
              <a:gd name="connsiteX105" fmla="*/ 1086 w 10000"/>
              <a:gd name="connsiteY105" fmla="*/ 6497 h 10000"/>
              <a:gd name="connsiteX106" fmla="*/ 901 w 10000"/>
              <a:gd name="connsiteY106" fmla="*/ 6573 h 10000"/>
              <a:gd name="connsiteX107" fmla="*/ 753 w 10000"/>
              <a:gd name="connsiteY107" fmla="*/ 6627 h 10000"/>
              <a:gd name="connsiteX108" fmla="*/ 926 w 10000"/>
              <a:gd name="connsiteY108" fmla="*/ 6768 h 10000"/>
              <a:gd name="connsiteX109" fmla="*/ 580 w 10000"/>
              <a:gd name="connsiteY109" fmla="*/ 6768 h 10000"/>
              <a:gd name="connsiteX110" fmla="*/ 420 w 10000"/>
              <a:gd name="connsiteY110" fmla="*/ 6886 h 10000"/>
              <a:gd name="connsiteX111" fmla="*/ 235 w 10000"/>
              <a:gd name="connsiteY111" fmla="*/ 6886 h 10000"/>
              <a:gd name="connsiteX112" fmla="*/ 49 w 10000"/>
              <a:gd name="connsiteY112" fmla="*/ 7211 h 10000"/>
              <a:gd name="connsiteX113" fmla="*/ 160 w 10000"/>
              <a:gd name="connsiteY113" fmla="*/ 7416 h 10000"/>
              <a:gd name="connsiteX114" fmla="*/ 0 w 10000"/>
              <a:gd name="connsiteY114" fmla="*/ 7416 h 10000"/>
              <a:gd name="connsiteX115" fmla="*/ 99 w 10000"/>
              <a:gd name="connsiteY115" fmla="*/ 7665 h 10000"/>
              <a:gd name="connsiteX116" fmla="*/ 0 w 10000"/>
              <a:gd name="connsiteY116" fmla="*/ 7859 h 10000"/>
              <a:gd name="connsiteX117" fmla="*/ 49 w 10000"/>
              <a:gd name="connsiteY117" fmla="*/ 8054 h 10000"/>
              <a:gd name="connsiteX118" fmla="*/ 333 w 10000"/>
              <a:gd name="connsiteY118" fmla="*/ 8173 h 10000"/>
              <a:gd name="connsiteX119" fmla="*/ 86 w 10000"/>
              <a:gd name="connsiteY119" fmla="*/ 8173 h 10000"/>
              <a:gd name="connsiteX120" fmla="*/ 86 w 10000"/>
              <a:gd name="connsiteY120" fmla="*/ 8314 h 10000"/>
              <a:gd name="connsiteX121" fmla="*/ 222 w 10000"/>
              <a:gd name="connsiteY121" fmla="*/ 8357 h 10000"/>
              <a:gd name="connsiteX122" fmla="*/ 284 w 10000"/>
              <a:gd name="connsiteY122" fmla="*/ 8432 h 10000"/>
              <a:gd name="connsiteX123" fmla="*/ 420 w 10000"/>
              <a:gd name="connsiteY123" fmla="*/ 8314 h 10000"/>
              <a:gd name="connsiteX124" fmla="*/ 506 w 10000"/>
              <a:gd name="connsiteY124" fmla="*/ 8389 h 10000"/>
              <a:gd name="connsiteX125" fmla="*/ 457 w 10000"/>
              <a:gd name="connsiteY125" fmla="*/ 8454 h 10000"/>
              <a:gd name="connsiteX126" fmla="*/ 272 w 10000"/>
              <a:gd name="connsiteY126" fmla="*/ 8616 h 10000"/>
              <a:gd name="connsiteX127" fmla="*/ 358 w 10000"/>
              <a:gd name="connsiteY127" fmla="*/ 8670 h 10000"/>
              <a:gd name="connsiteX128" fmla="*/ 173 w 10000"/>
              <a:gd name="connsiteY128" fmla="*/ 8735 h 10000"/>
              <a:gd name="connsiteX129" fmla="*/ 49 w 10000"/>
              <a:gd name="connsiteY129" fmla="*/ 8822 h 10000"/>
              <a:gd name="connsiteX130" fmla="*/ 136 w 10000"/>
              <a:gd name="connsiteY130" fmla="*/ 8930 h 10000"/>
              <a:gd name="connsiteX131" fmla="*/ 222 w 10000"/>
              <a:gd name="connsiteY131" fmla="*/ 9016 h 10000"/>
              <a:gd name="connsiteX132" fmla="*/ 333 w 10000"/>
              <a:gd name="connsiteY132" fmla="*/ 8832 h 10000"/>
              <a:gd name="connsiteX133" fmla="*/ 444 w 10000"/>
              <a:gd name="connsiteY133" fmla="*/ 8854 h 10000"/>
              <a:gd name="connsiteX134" fmla="*/ 395 w 10000"/>
              <a:gd name="connsiteY134" fmla="*/ 8951 h 10000"/>
              <a:gd name="connsiteX135" fmla="*/ 543 w 10000"/>
              <a:gd name="connsiteY135" fmla="*/ 9016 h 10000"/>
              <a:gd name="connsiteX136" fmla="*/ 469 w 10000"/>
              <a:gd name="connsiteY136" fmla="*/ 9016 h 10000"/>
              <a:gd name="connsiteX137" fmla="*/ 272 w 10000"/>
              <a:gd name="connsiteY137" fmla="*/ 9189 h 10000"/>
              <a:gd name="connsiteX138" fmla="*/ 86 w 10000"/>
              <a:gd name="connsiteY138" fmla="*/ 9308 h 10000"/>
              <a:gd name="connsiteX139" fmla="*/ 198 w 10000"/>
              <a:gd name="connsiteY139" fmla="*/ 9557 h 10000"/>
              <a:gd name="connsiteX140" fmla="*/ 519 w 10000"/>
              <a:gd name="connsiteY140" fmla="*/ 9805 h 10000"/>
              <a:gd name="connsiteX141" fmla="*/ 753 w 10000"/>
              <a:gd name="connsiteY141" fmla="*/ 9751 h 10000"/>
              <a:gd name="connsiteX142" fmla="*/ 630 w 10000"/>
              <a:gd name="connsiteY142" fmla="*/ 9892 h 10000"/>
              <a:gd name="connsiteX143" fmla="*/ 914 w 10000"/>
              <a:gd name="connsiteY143" fmla="*/ 10000 h 10000"/>
              <a:gd name="connsiteX144" fmla="*/ 1383 w 10000"/>
              <a:gd name="connsiteY144" fmla="*/ 9924 h 10000"/>
              <a:gd name="connsiteX145" fmla="*/ 1444 w 10000"/>
              <a:gd name="connsiteY145" fmla="*/ 9805 h 10000"/>
              <a:gd name="connsiteX146" fmla="*/ 1568 w 10000"/>
              <a:gd name="connsiteY146" fmla="*/ 9859 h 10000"/>
              <a:gd name="connsiteX147" fmla="*/ 1753 w 10000"/>
              <a:gd name="connsiteY147" fmla="*/ 9492 h 10000"/>
              <a:gd name="connsiteX148" fmla="*/ 1889 w 10000"/>
              <a:gd name="connsiteY148" fmla="*/ 9535 h 10000"/>
              <a:gd name="connsiteX149" fmla="*/ 2049 w 10000"/>
              <a:gd name="connsiteY149" fmla="*/ 9276 h 10000"/>
              <a:gd name="connsiteX150" fmla="*/ 2099 w 10000"/>
              <a:gd name="connsiteY150" fmla="*/ 9189 h 10000"/>
              <a:gd name="connsiteX151" fmla="*/ 2259 w 10000"/>
              <a:gd name="connsiteY151" fmla="*/ 9341 h 10000"/>
              <a:gd name="connsiteX152" fmla="*/ 2444 w 10000"/>
              <a:gd name="connsiteY152" fmla="*/ 9189 h 10000"/>
              <a:gd name="connsiteX153" fmla="*/ 2506 w 10000"/>
              <a:gd name="connsiteY153" fmla="*/ 8951 h 10000"/>
              <a:gd name="connsiteX154" fmla="*/ 2444 w 10000"/>
              <a:gd name="connsiteY154" fmla="*/ 8735 h 10000"/>
              <a:gd name="connsiteX155" fmla="*/ 2593 w 10000"/>
              <a:gd name="connsiteY155" fmla="*/ 8616 h 10000"/>
              <a:gd name="connsiteX156" fmla="*/ 2593 w 10000"/>
              <a:gd name="connsiteY156" fmla="*/ 8897 h 10000"/>
              <a:gd name="connsiteX157" fmla="*/ 2716 w 10000"/>
              <a:gd name="connsiteY157" fmla="*/ 9092 h 10000"/>
              <a:gd name="connsiteX158" fmla="*/ 2852 w 10000"/>
              <a:gd name="connsiteY158" fmla="*/ 9092 h 10000"/>
              <a:gd name="connsiteX159" fmla="*/ 2963 w 10000"/>
              <a:gd name="connsiteY159" fmla="*/ 9189 h 10000"/>
              <a:gd name="connsiteX160" fmla="*/ 2852 w 10000"/>
              <a:gd name="connsiteY160" fmla="*/ 9276 h 10000"/>
              <a:gd name="connsiteX161" fmla="*/ 3099 w 10000"/>
              <a:gd name="connsiteY161" fmla="*/ 9276 h 10000"/>
              <a:gd name="connsiteX162" fmla="*/ 3099 w 10000"/>
              <a:gd name="connsiteY162" fmla="*/ 8800 h 10000"/>
              <a:gd name="connsiteX163" fmla="*/ 3198 w 10000"/>
              <a:gd name="connsiteY163" fmla="*/ 8595 h 10000"/>
              <a:gd name="connsiteX164" fmla="*/ 3506 w 10000"/>
              <a:gd name="connsiteY164" fmla="*/ 8465 h 10000"/>
              <a:gd name="connsiteX165" fmla="*/ 3444 w 10000"/>
              <a:gd name="connsiteY165" fmla="*/ 8043 h 10000"/>
              <a:gd name="connsiteX166" fmla="*/ 3284 w 10000"/>
              <a:gd name="connsiteY166" fmla="*/ 7784 h 10000"/>
              <a:gd name="connsiteX167" fmla="*/ 3444 w 10000"/>
              <a:gd name="connsiteY167" fmla="*/ 7784 h 10000"/>
              <a:gd name="connsiteX168" fmla="*/ 3580 w 10000"/>
              <a:gd name="connsiteY168" fmla="*/ 7449 h 10000"/>
              <a:gd name="connsiteX169" fmla="*/ 3272 w 10000"/>
              <a:gd name="connsiteY169" fmla="*/ 7297 h 10000"/>
              <a:gd name="connsiteX170" fmla="*/ 3321 w 10000"/>
              <a:gd name="connsiteY170" fmla="*/ 6843 h 10000"/>
              <a:gd name="connsiteX171" fmla="*/ 3123 w 10000"/>
              <a:gd name="connsiteY171" fmla="*/ 6638 h 10000"/>
              <a:gd name="connsiteX172" fmla="*/ 3272 w 10000"/>
              <a:gd name="connsiteY172" fmla="*/ 6346 h 10000"/>
              <a:gd name="connsiteX173" fmla="*/ 3111 w 10000"/>
              <a:gd name="connsiteY173" fmla="*/ 6195 h 10000"/>
              <a:gd name="connsiteX174" fmla="*/ 3160 w 10000"/>
              <a:gd name="connsiteY174" fmla="*/ 5935 h 10000"/>
              <a:gd name="connsiteX175" fmla="*/ 3395 w 10000"/>
              <a:gd name="connsiteY175" fmla="*/ 5643 h 10000"/>
              <a:gd name="connsiteX176" fmla="*/ 3568 w 10000"/>
              <a:gd name="connsiteY176" fmla="*/ 5568 h 10000"/>
              <a:gd name="connsiteX177" fmla="*/ 3852 w 10000"/>
              <a:gd name="connsiteY177" fmla="*/ 5557 h 10000"/>
              <a:gd name="connsiteX178" fmla="*/ 4000 w 10000"/>
              <a:gd name="connsiteY178" fmla="*/ 5330 h 10000"/>
              <a:gd name="connsiteX179" fmla="*/ 3790 w 10000"/>
              <a:gd name="connsiteY179" fmla="*/ 5189 h 10000"/>
              <a:gd name="connsiteX180" fmla="*/ 4000 w 10000"/>
              <a:gd name="connsiteY180" fmla="*/ 4638 h 10000"/>
              <a:gd name="connsiteX181" fmla="*/ 4000 w 10000"/>
              <a:gd name="connsiteY181" fmla="*/ 4000 h 10000"/>
              <a:gd name="connsiteX182" fmla="*/ 4296 w 10000"/>
              <a:gd name="connsiteY182" fmla="*/ 4000 h 10000"/>
              <a:gd name="connsiteX183" fmla="*/ 4370 w 10000"/>
              <a:gd name="connsiteY183" fmla="*/ 3838 h 10000"/>
              <a:gd name="connsiteX184" fmla="*/ 4247 w 10000"/>
              <a:gd name="connsiteY184" fmla="*/ 3773 h 10000"/>
              <a:gd name="connsiteX185" fmla="*/ 4704 w 10000"/>
              <a:gd name="connsiteY185" fmla="*/ 3276 h 10000"/>
              <a:gd name="connsiteX186" fmla="*/ 4444 w 10000"/>
              <a:gd name="connsiteY186" fmla="*/ 3038 h 10000"/>
              <a:gd name="connsiteX187" fmla="*/ 4605 w 10000"/>
              <a:gd name="connsiteY187" fmla="*/ 3038 h 10000"/>
              <a:gd name="connsiteX188" fmla="*/ 4704 w 10000"/>
              <a:gd name="connsiteY188" fmla="*/ 2649 h 10000"/>
              <a:gd name="connsiteX189" fmla="*/ 5037 w 10000"/>
              <a:gd name="connsiteY189" fmla="*/ 2649 h 10000"/>
              <a:gd name="connsiteX190" fmla="*/ 5037 w 10000"/>
              <a:gd name="connsiteY190" fmla="*/ 2259 h 10000"/>
              <a:gd name="connsiteX191" fmla="*/ 5519 w 10000"/>
              <a:gd name="connsiteY191" fmla="*/ 2259 h 10000"/>
              <a:gd name="connsiteX192" fmla="*/ 5605 w 10000"/>
              <a:gd name="connsiteY192" fmla="*/ 2314 h 10000"/>
              <a:gd name="connsiteX193" fmla="*/ 5753 w 10000"/>
              <a:gd name="connsiteY193" fmla="*/ 2259 h 10000"/>
              <a:gd name="connsiteX194" fmla="*/ 5753 w 10000"/>
              <a:gd name="connsiteY194" fmla="*/ 2108 h 10000"/>
              <a:gd name="connsiteX195" fmla="*/ 5827 w 10000"/>
              <a:gd name="connsiteY195" fmla="*/ 1892 h 10000"/>
              <a:gd name="connsiteX196" fmla="*/ 5605 w 10000"/>
              <a:gd name="connsiteY196" fmla="*/ 1751 h 10000"/>
              <a:gd name="connsiteX197" fmla="*/ 6037 w 10000"/>
              <a:gd name="connsiteY197" fmla="*/ 1838 h 10000"/>
              <a:gd name="connsiteX198" fmla="*/ 6185 w 10000"/>
              <a:gd name="connsiteY198" fmla="*/ 1654 h 10000"/>
              <a:gd name="connsiteX199" fmla="*/ 6333 w 10000"/>
              <a:gd name="connsiteY199" fmla="*/ 1676 h 10000"/>
              <a:gd name="connsiteX200" fmla="*/ 6333 w 10000"/>
              <a:gd name="connsiteY200" fmla="*/ 1676 h 10000"/>
              <a:gd name="connsiteX201" fmla="*/ 6333 w 10000"/>
              <a:gd name="connsiteY201" fmla="*/ 1676 h 10000"/>
              <a:gd name="connsiteX202" fmla="*/ 7148 w 10000"/>
              <a:gd name="connsiteY202" fmla="*/ 2119 h 10000"/>
              <a:gd name="connsiteX203" fmla="*/ 7432 w 10000"/>
              <a:gd name="connsiteY203" fmla="*/ 2054 h 10000"/>
              <a:gd name="connsiteX204" fmla="*/ 7889 w 10000"/>
              <a:gd name="connsiteY204" fmla="*/ 2065 h 10000"/>
              <a:gd name="connsiteX205" fmla="*/ 9304 w 10000"/>
              <a:gd name="connsiteY205" fmla="*/ 2139 h 10000"/>
              <a:gd name="connsiteX206" fmla="*/ 9067 w 10000"/>
              <a:gd name="connsiteY206" fmla="*/ 1975 h 10000"/>
              <a:gd name="connsiteX207" fmla="*/ 9182 w 10000"/>
              <a:gd name="connsiteY207" fmla="*/ 1764 h 10000"/>
              <a:gd name="connsiteX208" fmla="*/ 9172 w 10000"/>
              <a:gd name="connsiteY208" fmla="*/ 1685 h 10000"/>
              <a:gd name="connsiteX209" fmla="*/ 9444 w 10000"/>
              <a:gd name="connsiteY209" fmla="*/ 1492 h 10000"/>
              <a:gd name="connsiteX210" fmla="*/ 9284 w 10000"/>
              <a:gd name="connsiteY210" fmla="*/ 1362 h 10000"/>
              <a:gd name="connsiteX211" fmla="*/ 9346 w 10000"/>
              <a:gd name="connsiteY211" fmla="*/ 1351 h 10000"/>
              <a:gd name="connsiteX212" fmla="*/ 9679 w 10000"/>
              <a:gd name="connsiteY212" fmla="*/ 1146 h 10000"/>
              <a:gd name="connsiteX213" fmla="*/ 9938 w 10000"/>
              <a:gd name="connsiteY213" fmla="*/ 1178 h 10000"/>
              <a:gd name="connsiteX214" fmla="*/ 10000 w 10000"/>
              <a:gd name="connsiteY214" fmla="*/ 865 h 10000"/>
              <a:gd name="connsiteX215" fmla="*/ 9914 w 10000"/>
              <a:gd name="connsiteY215" fmla="*/ 627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</a:cxnLst>
            <a:rect l="l" t="t" r="r" b="b"/>
            <a:pathLst>
              <a:path w="10000" h="10000">
                <a:moveTo>
                  <a:pt x="9914" y="627"/>
                </a:moveTo>
                <a:cubicBezTo>
                  <a:pt x="9914" y="573"/>
                  <a:pt x="9753" y="692"/>
                  <a:pt x="9753" y="692"/>
                </a:cubicBezTo>
                <a:cubicBezTo>
                  <a:pt x="9737" y="685"/>
                  <a:pt x="9720" y="677"/>
                  <a:pt x="9704" y="670"/>
                </a:cubicBezTo>
                <a:cubicBezTo>
                  <a:pt x="9704" y="670"/>
                  <a:pt x="9605" y="627"/>
                  <a:pt x="9630" y="616"/>
                </a:cubicBezTo>
                <a:cubicBezTo>
                  <a:pt x="9654" y="605"/>
                  <a:pt x="9543" y="562"/>
                  <a:pt x="9543" y="562"/>
                </a:cubicBezTo>
                <a:lnTo>
                  <a:pt x="9296" y="616"/>
                </a:lnTo>
                <a:lnTo>
                  <a:pt x="9173" y="703"/>
                </a:lnTo>
                <a:cubicBezTo>
                  <a:pt x="9152" y="642"/>
                  <a:pt x="9132" y="580"/>
                  <a:pt x="9111" y="519"/>
                </a:cubicBezTo>
                <a:lnTo>
                  <a:pt x="8728" y="573"/>
                </a:lnTo>
                <a:lnTo>
                  <a:pt x="8420" y="616"/>
                </a:lnTo>
                <a:lnTo>
                  <a:pt x="8235" y="541"/>
                </a:lnTo>
                <a:lnTo>
                  <a:pt x="8667" y="508"/>
                </a:lnTo>
                <a:lnTo>
                  <a:pt x="8765" y="389"/>
                </a:lnTo>
                <a:lnTo>
                  <a:pt x="8901" y="259"/>
                </a:lnTo>
                <a:lnTo>
                  <a:pt x="8704" y="184"/>
                </a:lnTo>
                <a:lnTo>
                  <a:pt x="8420" y="0"/>
                </a:lnTo>
                <a:cubicBezTo>
                  <a:pt x="8445" y="32"/>
                  <a:pt x="8469" y="65"/>
                  <a:pt x="8494" y="97"/>
                </a:cubicBezTo>
                <a:lnTo>
                  <a:pt x="8309" y="205"/>
                </a:lnTo>
                <a:lnTo>
                  <a:pt x="8210" y="43"/>
                </a:lnTo>
                <a:lnTo>
                  <a:pt x="8012" y="65"/>
                </a:lnTo>
                <a:lnTo>
                  <a:pt x="8012" y="281"/>
                </a:lnTo>
                <a:cubicBezTo>
                  <a:pt x="7987" y="306"/>
                  <a:pt x="7963" y="332"/>
                  <a:pt x="7938" y="357"/>
                </a:cubicBezTo>
                <a:cubicBezTo>
                  <a:pt x="7918" y="321"/>
                  <a:pt x="7897" y="285"/>
                  <a:pt x="7877" y="249"/>
                </a:cubicBezTo>
                <a:cubicBezTo>
                  <a:pt x="7897" y="188"/>
                  <a:pt x="7918" y="126"/>
                  <a:pt x="7938" y="65"/>
                </a:cubicBezTo>
                <a:lnTo>
                  <a:pt x="7827" y="0"/>
                </a:lnTo>
                <a:lnTo>
                  <a:pt x="7654" y="0"/>
                </a:lnTo>
                <a:lnTo>
                  <a:pt x="7556" y="86"/>
                </a:lnTo>
                <a:lnTo>
                  <a:pt x="7605" y="141"/>
                </a:lnTo>
                <a:lnTo>
                  <a:pt x="7605" y="368"/>
                </a:lnTo>
                <a:cubicBezTo>
                  <a:pt x="7589" y="411"/>
                  <a:pt x="7572" y="454"/>
                  <a:pt x="7556" y="497"/>
                </a:cubicBezTo>
                <a:cubicBezTo>
                  <a:pt x="7511" y="439"/>
                  <a:pt x="7465" y="382"/>
                  <a:pt x="7420" y="324"/>
                </a:cubicBezTo>
                <a:cubicBezTo>
                  <a:pt x="7387" y="266"/>
                  <a:pt x="7354" y="209"/>
                  <a:pt x="7321" y="151"/>
                </a:cubicBezTo>
                <a:lnTo>
                  <a:pt x="7210" y="422"/>
                </a:lnTo>
                <a:lnTo>
                  <a:pt x="7210" y="627"/>
                </a:lnTo>
                <a:lnTo>
                  <a:pt x="7210" y="703"/>
                </a:lnTo>
                <a:lnTo>
                  <a:pt x="7037" y="800"/>
                </a:lnTo>
                <a:cubicBezTo>
                  <a:pt x="7041" y="742"/>
                  <a:pt x="7045" y="685"/>
                  <a:pt x="7049" y="627"/>
                </a:cubicBezTo>
                <a:lnTo>
                  <a:pt x="7049" y="551"/>
                </a:lnTo>
                <a:lnTo>
                  <a:pt x="7160" y="205"/>
                </a:lnTo>
                <a:cubicBezTo>
                  <a:pt x="7177" y="137"/>
                  <a:pt x="7193" y="68"/>
                  <a:pt x="7210" y="0"/>
                </a:cubicBezTo>
                <a:lnTo>
                  <a:pt x="6975" y="43"/>
                </a:lnTo>
                <a:lnTo>
                  <a:pt x="6975" y="184"/>
                </a:lnTo>
                <a:lnTo>
                  <a:pt x="6790" y="292"/>
                </a:lnTo>
                <a:lnTo>
                  <a:pt x="6790" y="465"/>
                </a:lnTo>
                <a:cubicBezTo>
                  <a:pt x="6745" y="487"/>
                  <a:pt x="6699" y="508"/>
                  <a:pt x="6654" y="530"/>
                </a:cubicBezTo>
                <a:lnTo>
                  <a:pt x="6420" y="465"/>
                </a:lnTo>
                <a:lnTo>
                  <a:pt x="6160" y="573"/>
                </a:lnTo>
                <a:lnTo>
                  <a:pt x="6358" y="616"/>
                </a:lnTo>
                <a:cubicBezTo>
                  <a:pt x="6370" y="638"/>
                  <a:pt x="6383" y="659"/>
                  <a:pt x="6395" y="681"/>
                </a:cubicBezTo>
                <a:cubicBezTo>
                  <a:pt x="6428" y="731"/>
                  <a:pt x="6461" y="782"/>
                  <a:pt x="6494" y="832"/>
                </a:cubicBezTo>
                <a:lnTo>
                  <a:pt x="6494" y="973"/>
                </a:lnTo>
                <a:cubicBezTo>
                  <a:pt x="6461" y="959"/>
                  <a:pt x="6428" y="944"/>
                  <a:pt x="6395" y="930"/>
                </a:cubicBezTo>
                <a:lnTo>
                  <a:pt x="6296" y="876"/>
                </a:lnTo>
                <a:lnTo>
                  <a:pt x="6111" y="800"/>
                </a:lnTo>
                <a:lnTo>
                  <a:pt x="5926" y="800"/>
                </a:lnTo>
                <a:lnTo>
                  <a:pt x="5926" y="973"/>
                </a:lnTo>
                <a:lnTo>
                  <a:pt x="5827" y="1135"/>
                </a:lnTo>
                <a:lnTo>
                  <a:pt x="5617" y="1200"/>
                </a:lnTo>
                <a:lnTo>
                  <a:pt x="5481" y="1222"/>
                </a:lnTo>
                <a:cubicBezTo>
                  <a:pt x="5461" y="1171"/>
                  <a:pt x="5440" y="1121"/>
                  <a:pt x="5420" y="1070"/>
                </a:cubicBezTo>
                <a:lnTo>
                  <a:pt x="5235" y="1232"/>
                </a:lnTo>
                <a:cubicBezTo>
                  <a:pt x="5247" y="1286"/>
                  <a:pt x="5260" y="1341"/>
                  <a:pt x="5272" y="1395"/>
                </a:cubicBezTo>
                <a:lnTo>
                  <a:pt x="5074" y="1589"/>
                </a:lnTo>
                <a:lnTo>
                  <a:pt x="4963" y="1427"/>
                </a:lnTo>
                <a:lnTo>
                  <a:pt x="4617" y="1784"/>
                </a:lnTo>
                <a:cubicBezTo>
                  <a:pt x="4650" y="1827"/>
                  <a:pt x="4683" y="1871"/>
                  <a:pt x="4716" y="1914"/>
                </a:cubicBezTo>
                <a:cubicBezTo>
                  <a:pt x="4774" y="1860"/>
                  <a:pt x="4831" y="1805"/>
                  <a:pt x="4889" y="1751"/>
                </a:cubicBezTo>
                <a:lnTo>
                  <a:pt x="4889" y="1914"/>
                </a:lnTo>
                <a:lnTo>
                  <a:pt x="4765" y="2173"/>
                </a:lnTo>
                <a:lnTo>
                  <a:pt x="4506" y="2000"/>
                </a:lnTo>
                <a:lnTo>
                  <a:pt x="4296" y="1914"/>
                </a:lnTo>
                <a:lnTo>
                  <a:pt x="4160" y="2043"/>
                </a:lnTo>
                <a:lnTo>
                  <a:pt x="3901" y="2205"/>
                </a:lnTo>
                <a:lnTo>
                  <a:pt x="4037" y="2205"/>
                </a:lnTo>
                <a:cubicBezTo>
                  <a:pt x="4045" y="2281"/>
                  <a:pt x="4054" y="2356"/>
                  <a:pt x="4062" y="2432"/>
                </a:cubicBezTo>
                <a:lnTo>
                  <a:pt x="4185" y="2314"/>
                </a:lnTo>
                <a:lnTo>
                  <a:pt x="4469" y="2314"/>
                </a:lnTo>
                <a:cubicBezTo>
                  <a:pt x="4444" y="2379"/>
                  <a:pt x="4420" y="2443"/>
                  <a:pt x="4395" y="2508"/>
                </a:cubicBezTo>
                <a:lnTo>
                  <a:pt x="4395" y="2670"/>
                </a:lnTo>
                <a:lnTo>
                  <a:pt x="4123" y="2768"/>
                </a:lnTo>
                <a:cubicBezTo>
                  <a:pt x="4090" y="2847"/>
                  <a:pt x="4058" y="2926"/>
                  <a:pt x="4025" y="3005"/>
                </a:cubicBezTo>
                <a:lnTo>
                  <a:pt x="3926" y="3254"/>
                </a:lnTo>
                <a:cubicBezTo>
                  <a:pt x="3942" y="3301"/>
                  <a:pt x="3959" y="3348"/>
                  <a:pt x="3975" y="3395"/>
                </a:cubicBezTo>
                <a:lnTo>
                  <a:pt x="3815" y="3395"/>
                </a:lnTo>
                <a:lnTo>
                  <a:pt x="3654" y="3449"/>
                </a:lnTo>
                <a:cubicBezTo>
                  <a:pt x="3671" y="3514"/>
                  <a:pt x="3687" y="3578"/>
                  <a:pt x="3704" y="3643"/>
                </a:cubicBezTo>
                <a:lnTo>
                  <a:pt x="3543" y="3643"/>
                </a:lnTo>
                <a:cubicBezTo>
                  <a:pt x="3498" y="3708"/>
                  <a:pt x="3452" y="3773"/>
                  <a:pt x="3407" y="3838"/>
                </a:cubicBezTo>
                <a:lnTo>
                  <a:pt x="3494" y="4195"/>
                </a:lnTo>
                <a:lnTo>
                  <a:pt x="3272" y="4400"/>
                </a:lnTo>
                <a:lnTo>
                  <a:pt x="3111" y="4714"/>
                </a:lnTo>
                <a:lnTo>
                  <a:pt x="3395" y="4832"/>
                </a:lnTo>
                <a:lnTo>
                  <a:pt x="2914" y="4897"/>
                </a:lnTo>
                <a:cubicBezTo>
                  <a:pt x="2893" y="4969"/>
                  <a:pt x="2873" y="5042"/>
                  <a:pt x="2852" y="5114"/>
                </a:cubicBezTo>
                <a:cubicBezTo>
                  <a:pt x="2868" y="5190"/>
                  <a:pt x="2885" y="5265"/>
                  <a:pt x="2901" y="5341"/>
                </a:cubicBezTo>
                <a:lnTo>
                  <a:pt x="2679" y="5168"/>
                </a:lnTo>
                <a:cubicBezTo>
                  <a:pt x="2650" y="5229"/>
                  <a:pt x="2622" y="5290"/>
                  <a:pt x="2593" y="5351"/>
                </a:cubicBezTo>
                <a:lnTo>
                  <a:pt x="2185" y="5741"/>
                </a:lnTo>
                <a:lnTo>
                  <a:pt x="2012" y="6032"/>
                </a:lnTo>
                <a:lnTo>
                  <a:pt x="1716" y="6076"/>
                </a:lnTo>
                <a:cubicBezTo>
                  <a:pt x="1749" y="6126"/>
                  <a:pt x="1782" y="6177"/>
                  <a:pt x="1815" y="6227"/>
                </a:cubicBezTo>
                <a:lnTo>
                  <a:pt x="1654" y="6292"/>
                </a:lnTo>
                <a:lnTo>
                  <a:pt x="1247" y="6368"/>
                </a:lnTo>
                <a:lnTo>
                  <a:pt x="1086" y="6292"/>
                </a:lnTo>
                <a:lnTo>
                  <a:pt x="975" y="6357"/>
                </a:lnTo>
                <a:lnTo>
                  <a:pt x="1086" y="6497"/>
                </a:lnTo>
                <a:lnTo>
                  <a:pt x="901" y="6573"/>
                </a:lnTo>
                <a:lnTo>
                  <a:pt x="753" y="6627"/>
                </a:lnTo>
                <a:lnTo>
                  <a:pt x="926" y="6768"/>
                </a:lnTo>
                <a:lnTo>
                  <a:pt x="580" y="6768"/>
                </a:lnTo>
                <a:lnTo>
                  <a:pt x="420" y="6886"/>
                </a:lnTo>
                <a:lnTo>
                  <a:pt x="235" y="6886"/>
                </a:lnTo>
                <a:lnTo>
                  <a:pt x="49" y="7211"/>
                </a:lnTo>
                <a:lnTo>
                  <a:pt x="160" y="7416"/>
                </a:lnTo>
                <a:lnTo>
                  <a:pt x="0" y="7416"/>
                </a:lnTo>
                <a:lnTo>
                  <a:pt x="99" y="7665"/>
                </a:lnTo>
                <a:cubicBezTo>
                  <a:pt x="66" y="7730"/>
                  <a:pt x="33" y="7794"/>
                  <a:pt x="0" y="7859"/>
                </a:cubicBezTo>
                <a:cubicBezTo>
                  <a:pt x="16" y="7924"/>
                  <a:pt x="33" y="7989"/>
                  <a:pt x="49" y="8054"/>
                </a:cubicBezTo>
                <a:lnTo>
                  <a:pt x="333" y="8173"/>
                </a:lnTo>
                <a:lnTo>
                  <a:pt x="86" y="8173"/>
                </a:lnTo>
                <a:lnTo>
                  <a:pt x="86" y="8314"/>
                </a:lnTo>
                <a:lnTo>
                  <a:pt x="222" y="8357"/>
                </a:lnTo>
                <a:cubicBezTo>
                  <a:pt x="243" y="8382"/>
                  <a:pt x="263" y="8407"/>
                  <a:pt x="284" y="8432"/>
                </a:cubicBezTo>
                <a:lnTo>
                  <a:pt x="420" y="8314"/>
                </a:lnTo>
                <a:cubicBezTo>
                  <a:pt x="449" y="8339"/>
                  <a:pt x="477" y="8364"/>
                  <a:pt x="506" y="8389"/>
                </a:cubicBezTo>
                <a:cubicBezTo>
                  <a:pt x="490" y="8411"/>
                  <a:pt x="473" y="8432"/>
                  <a:pt x="457" y="8454"/>
                </a:cubicBezTo>
                <a:lnTo>
                  <a:pt x="272" y="8616"/>
                </a:lnTo>
                <a:lnTo>
                  <a:pt x="358" y="8670"/>
                </a:lnTo>
                <a:lnTo>
                  <a:pt x="173" y="8735"/>
                </a:lnTo>
                <a:lnTo>
                  <a:pt x="49" y="8822"/>
                </a:lnTo>
                <a:lnTo>
                  <a:pt x="136" y="8930"/>
                </a:lnTo>
                <a:lnTo>
                  <a:pt x="222" y="9016"/>
                </a:lnTo>
                <a:lnTo>
                  <a:pt x="333" y="8832"/>
                </a:lnTo>
                <a:lnTo>
                  <a:pt x="444" y="8854"/>
                </a:lnTo>
                <a:cubicBezTo>
                  <a:pt x="428" y="8886"/>
                  <a:pt x="411" y="8919"/>
                  <a:pt x="395" y="8951"/>
                </a:cubicBezTo>
                <a:lnTo>
                  <a:pt x="543" y="9016"/>
                </a:lnTo>
                <a:lnTo>
                  <a:pt x="469" y="9016"/>
                </a:lnTo>
                <a:lnTo>
                  <a:pt x="272" y="9189"/>
                </a:lnTo>
                <a:lnTo>
                  <a:pt x="86" y="9308"/>
                </a:lnTo>
                <a:cubicBezTo>
                  <a:pt x="123" y="9391"/>
                  <a:pt x="161" y="9474"/>
                  <a:pt x="198" y="9557"/>
                </a:cubicBezTo>
                <a:lnTo>
                  <a:pt x="519" y="9805"/>
                </a:lnTo>
                <a:lnTo>
                  <a:pt x="753" y="9751"/>
                </a:lnTo>
                <a:lnTo>
                  <a:pt x="630" y="9892"/>
                </a:lnTo>
                <a:lnTo>
                  <a:pt x="914" y="10000"/>
                </a:lnTo>
                <a:lnTo>
                  <a:pt x="1383" y="9924"/>
                </a:lnTo>
                <a:cubicBezTo>
                  <a:pt x="1403" y="9884"/>
                  <a:pt x="1424" y="9845"/>
                  <a:pt x="1444" y="9805"/>
                </a:cubicBezTo>
                <a:lnTo>
                  <a:pt x="1568" y="9859"/>
                </a:lnTo>
                <a:cubicBezTo>
                  <a:pt x="1630" y="9737"/>
                  <a:pt x="1691" y="9614"/>
                  <a:pt x="1753" y="9492"/>
                </a:cubicBezTo>
                <a:lnTo>
                  <a:pt x="1889" y="9535"/>
                </a:lnTo>
                <a:lnTo>
                  <a:pt x="2049" y="9276"/>
                </a:lnTo>
                <a:cubicBezTo>
                  <a:pt x="2066" y="9247"/>
                  <a:pt x="2082" y="9218"/>
                  <a:pt x="2099" y="9189"/>
                </a:cubicBezTo>
                <a:cubicBezTo>
                  <a:pt x="2152" y="9240"/>
                  <a:pt x="2206" y="9290"/>
                  <a:pt x="2259" y="9341"/>
                </a:cubicBezTo>
                <a:lnTo>
                  <a:pt x="2444" y="9189"/>
                </a:lnTo>
                <a:cubicBezTo>
                  <a:pt x="2465" y="9110"/>
                  <a:pt x="2485" y="9030"/>
                  <a:pt x="2506" y="8951"/>
                </a:cubicBezTo>
                <a:cubicBezTo>
                  <a:pt x="2485" y="8879"/>
                  <a:pt x="2465" y="8807"/>
                  <a:pt x="2444" y="8735"/>
                </a:cubicBezTo>
                <a:lnTo>
                  <a:pt x="2593" y="8616"/>
                </a:lnTo>
                <a:lnTo>
                  <a:pt x="2593" y="8897"/>
                </a:lnTo>
                <a:lnTo>
                  <a:pt x="2716" y="9092"/>
                </a:lnTo>
                <a:lnTo>
                  <a:pt x="2852" y="9092"/>
                </a:lnTo>
                <a:lnTo>
                  <a:pt x="2963" y="9189"/>
                </a:lnTo>
                <a:lnTo>
                  <a:pt x="2852" y="9276"/>
                </a:lnTo>
                <a:lnTo>
                  <a:pt x="3099" y="9276"/>
                </a:lnTo>
                <a:lnTo>
                  <a:pt x="3099" y="8800"/>
                </a:lnTo>
                <a:cubicBezTo>
                  <a:pt x="3132" y="8732"/>
                  <a:pt x="3165" y="8663"/>
                  <a:pt x="3198" y="8595"/>
                </a:cubicBezTo>
                <a:lnTo>
                  <a:pt x="3506" y="8465"/>
                </a:lnTo>
                <a:cubicBezTo>
                  <a:pt x="3485" y="8324"/>
                  <a:pt x="3465" y="8184"/>
                  <a:pt x="3444" y="8043"/>
                </a:cubicBezTo>
                <a:lnTo>
                  <a:pt x="3284" y="7784"/>
                </a:lnTo>
                <a:lnTo>
                  <a:pt x="3444" y="7784"/>
                </a:lnTo>
                <a:cubicBezTo>
                  <a:pt x="3489" y="7672"/>
                  <a:pt x="3535" y="7561"/>
                  <a:pt x="3580" y="7449"/>
                </a:cubicBezTo>
                <a:lnTo>
                  <a:pt x="3272" y="7297"/>
                </a:lnTo>
                <a:cubicBezTo>
                  <a:pt x="3288" y="7146"/>
                  <a:pt x="3305" y="6994"/>
                  <a:pt x="3321" y="6843"/>
                </a:cubicBezTo>
                <a:lnTo>
                  <a:pt x="3123" y="6638"/>
                </a:lnTo>
                <a:cubicBezTo>
                  <a:pt x="3173" y="6541"/>
                  <a:pt x="3222" y="6443"/>
                  <a:pt x="3272" y="6346"/>
                </a:cubicBezTo>
                <a:cubicBezTo>
                  <a:pt x="3218" y="6296"/>
                  <a:pt x="3165" y="6245"/>
                  <a:pt x="3111" y="6195"/>
                </a:cubicBezTo>
                <a:cubicBezTo>
                  <a:pt x="3127" y="6108"/>
                  <a:pt x="3144" y="6022"/>
                  <a:pt x="3160" y="5935"/>
                </a:cubicBezTo>
                <a:lnTo>
                  <a:pt x="3395" y="5643"/>
                </a:lnTo>
                <a:lnTo>
                  <a:pt x="3568" y="5568"/>
                </a:lnTo>
                <a:lnTo>
                  <a:pt x="3852" y="5557"/>
                </a:lnTo>
                <a:cubicBezTo>
                  <a:pt x="3901" y="5481"/>
                  <a:pt x="3951" y="5406"/>
                  <a:pt x="4000" y="5330"/>
                </a:cubicBezTo>
                <a:lnTo>
                  <a:pt x="3790" y="5189"/>
                </a:lnTo>
                <a:lnTo>
                  <a:pt x="4000" y="4638"/>
                </a:lnTo>
                <a:lnTo>
                  <a:pt x="4000" y="4000"/>
                </a:lnTo>
                <a:lnTo>
                  <a:pt x="4296" y="4000"/>
                </a:lnTo>
                <a:cubicBezTo>
                  <a:pt x="4321" y="3946"/>
                  <a:pt x="4345" y="3892"/>
                  <a:pt x="4370" y="3838"/>
                </a:cubicBezTo>
                <a:lnTo>
                  <a:pt x="4247" y="3773"/>
                </a:lnTo>
                <a:lnTo>
                  <a:pt x="4704" y="3276"/>
                </a:lnTo>
                <a:lnTo>
                  <a:pt x="4444" y="3038"/>
                </a:lnTo>
                <a:lnTo>
                  <a:pt x="4605" y="3038"/>
                </a:lnTo>
                <a:cubicBezTo>
                  <a:pt x="4638" y="2908"/>
                  <a:pt x="4671" y="2779"/>
                  <a:pt x="4704" y="2649"/>
                </a:cubicBezTo>
                <a:lnTo>
                  <a:pt x="5037" y="2649"/>
                </a:lnTo>
                <a:lnTo>
                  <a:pt x="5037" y="2259"/>
                </a:lnTo>
                <a:lnTo>
                  <a:pt x="5519" y="2259"/>
                </a:lnTo>
                <a:cubicBezTo>
                  <a:pt x="5548" y="2277"/>
                  <a:pt x="5576" y="2296"/>
                  <a:pt x="5605" y="2314"/>
                </a:cubicBezTo>
                <a:lnTo>
                  <a:pt x="5753" y="2259"/>
                </a:lnTo>
                <a:lnTo>
                  <a:pt x="5753" y="2108"/>
                </a:lnTo>
                <a:cubicBezTo>
                  <a:pt x="5778" y="2036"/>
                  <a:pt x="5802" y="1964"/>
                  <a:pt x="5827" y="1892"/>
                </a:cubicBezTo>
                <a:lnTo>
                  <a:pt x="5605" y="1751"/>
                </a:lnTo>
                <a:lnTo>
                  <a:pt x="6037" y="1838"/>
                </a:lnTo>
                <a:lnTo>
                  <a:pt x="6185" y="1654"/>
                </a:lnTo>
                <a:lnTo>
                  <a:pt x="6333" y="1676"/>
                </a:lnTo>
                <a:lnTo>
                  <a:pt x="6333" y="1676"/>
                </a:lnTo>
                <a:lnTo>
                  <a:pt x="6333" y="1676"/>
                </a:lnTo>
                <a:lnTo>
                  <a:pt x="7148" y="2119"/>
                </a:lnTo>
                <a:lnTo>
                  <a:pt x="7432" y="2054"/>
                </a:lnTo>
                <a:lnTo>
                  <a:pt x="7889" y="2065"/>
                </a:lnTo>
                <a:cubicBezTo>
                  <a:pt x="8201" y="2079"/>
                  <a:pt x="9108" y="2154"/>
                  <a:pt x="9304" y="2139"/>
                </a:cubicBezTo>
                <a:cubicBezTo>
                  <a:pt x="9500" y="2124"/>
                  <a:pt x="9087" y="2038"/>
                  <a:pt x="9067" y="1975"/>
                </a:cubicBezTo>
                <a:cubicBezTo>
                  <a:pt x="9047" y="1912"/>
                  <a:pt x="9108" y="1804"/>
                  <a:pt x="9182" y="1764"/>
                </a:cubicBezTo>
                <a:cubicBezTo>
                  <a:pt x="9256" y="1724"/>
                  <a:pt x="9128" y="1730"/>
                  <a:pt x="9172" y="1685"/>
                </a:cubicBezTo>
                <a:cubicBezTo>
                  <a:pt x="9216" y="1640"/>
                  <a:pt x="9425" y="1546"/>
                  <a:pt x="9444" y="1492"/>
                </a:cubicBezTo>
                <a:cubicBezTo>
                  <a:pt x="9463" y="1438"/>
                  <a:pt x="9284" y="1362"/>
                  <a:pt x="9284" y="1362"/>
                </a:cubicBezTo>
                <a:cubicBezTo>
                  <a:pt x="9305" y="1358"/>
                  <a:pt x="9325" y="1355"/>
                  <a:pt x="9346" y="1351"/>
                </a:cubicBezTo>
                <a:lnTo>
                  <a:pt x="9679" y="1146"/>
                </a:lnTo>
                <a:lnTo>
                  <a:pt x="9938" y="1178"/>
                </a:lnTo>
                <a:cubicBezTo>
                  <a:pt x="9959" y="1074"/>
                  <a:pt x="9979" y="969"/>
                  <a:pt x="10000" y="865"/>
                </a:cubicBezTo>
                <a:cubicBezTo>
                  <a:pt x="10000" y="865"/>
                  <a:pt x="9914" y="692"/>
                  <a:pt x="9914" y="627"/>
                </a:cubicBez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6" name="Finland"/>
          <p:cNvSpPr>
            <a:spLocks/>
          </p:cNvSpPr>
          <p:nvPr/>
        </p:nvSpPr>
        <p:spPr bwMode="auto">
          <a:xfrm>
            <a:off x="9746188" y="273050"/>
            <a:ext cx="1227138" cy="1990725"/>
          </a:xfrm>
          <a:custGeom>
            <a:avLst/>
            <a:gdLst>
              <a:gd name="T0" fmla="*/ 181 w 428"/>
              <a:gd name="T1" fmla="*/ 0 h 694"/>
              <a:gd name="T2" fmla="*/ 158 w 428"/>
              <a:gd name="T3" fmla="*/ 16 h 694"/>
              <a:gd name="T4" fmla="*/ 148 w 428"/>
              <a:gd name="T5" fmla="*/ 102 h 694"/>
              <a:gd name="T6" fmla="*/ 91 w 428"/>
              <a:gd name="T7" fmla="*/ 102 h 694"/>
              <a:gd name="T8" fmla="*/ 26 w 428"/>
              <a:gd name="T9" fmla="*/ 90 h 694"/>
              <a:gd name="T10" fmla="*/ 14 w 428"/>
              <a:gd name="T11" fmla="*/ 88 h 694"/>
              <a:gd name="T12" fmla="*/ 26 w 428"/>
              <a:gd name="T13" fmla="*/ 126 h 694"/>
              <a:gd name="T14" fmla="*/ 65 w 428"/>
              <a:gd name="T15" fmla="*/ 137 h 694"/>
              <a:gd name="T16" fmla="*/ 84 w 428"/>
              <a:gd name="T17" fmla="*/ 159 h 694"/>
              <a:gd name="T18" fmla="*/ 102 w 428"/>
              <a:gd name="T19" fmla="*/ 191 h 694"/>
              <a:gd name="T20" fmla="*/ 116 w 428"/>
              <a:gd name="T21" fmla="*/ 231 h 694"/>
              <a:gd name="T22" fmla="*/ 137 w 428"/>
              <a:gd name="T23" fmla="*/ 290 h 694"/>
              <a:gd name="T24" fmla="*/ 180 w 428"/>
              <a:gd name="T25" fmla="*/ 316 h 694"/>
              <a:gd name="T26" fmla="*/ 201 w 428"/>
              <a:gd name="T27" fmla="*/ 341 h 694"/>
              <a:gd name="T28" fmla="*/ 171 w 428"/>
              <a:gd name="T29" fmla="*/ 361 h 694"/>
              <a:gd name="T30" fmla="*/ 151 w 428"/>
              <a:gd name="T31" fmla="*/ 419 h 694"/>
              <a:gd name="T32" fmla="*/ 131 w 428"/>
              <a:gd name="T33" fmla="*/ 440 h 694"/>
              <a:gd name="T34" fmla="*/ 116 w 428"/>
              <a:gd name="T35" fmla="*/ 479 h 694"/>
              <a:gd name="T36" fmla="*/ 95 w 428"/>
              <a:gd name="T37" fmla="*/ 494 h 694"/>
              <a:gd name="T38" fmla="*/ 99 w 428"/>
              <a:gd name="T39" fmla="*/ 542 h 694"/>
              <a:gd name="T40" fmla="*/ 119 w 428"/>
              <a:gd name="T41" fmla="*/ 590 h 694"/>
              <a:gd name="T42" fmla="*/ 122 w 428"/>
              <a:gd name="T43" fmla="*/ 618 h 694"/>
              <a:gd name="T44" fmla="*/ 124 w 428"/>
              <a:gd name="T45" fmla="*/ 644 h 694"/>
              <a:gd name="T46" fmla="*/ 136 w 428"/>
              <a:gd name="T47" fmla="*/ 660 h 694"/>
              <a:gd name="T48" fmla="*/ 171 w 428"/>
              <a:gd name="T49" fmla="*/ 673 h 694"/>
              <a:gd name="T50" fmla="*/ 190 w 428"/>
              <a:gd name="T51" fmla="*/ 686 h 694"/>
              <a:gd name="T52" fmla="*/ 218 w 428"/>
              <a:gd name="T53" fmla="*/ 694 h 694"/>
              <a:gd name="T54" fmla="*/ 262 w 428"/>
              <a:gd name="T55" fmla="*/ 666 h 694"/>
              <a:gd name="T56" fmla="*/ 293 w 428"/>
              <a:gd name="T57" fmla="*/ 635 h 694"/>
              <a:gd name="T58" fmla="*/ 335 w 428"/>
              <a:gd name="T59" fmla="*/ 623 h 694"/>
              <a:gd name="T60" fmla="*/ 397 w 428"/>
              <a:gd name="T61" fmla="*/ 551 h 694"/>
              <a:gd name="T62" fmla="*/ 428 w 428"/>
              <a:gd name="T63" fmla="*/ 448 h 694"/>
              <a:gd name="T64" fmla="*/ 367 w 428"/>
              <a:gd name="T65" fmla="*/ 391 h 694"/>
              <a:gd name="T66" fmla="*/ 367 w 428"/>
              <a:gd name="T67" fmla="*/ 344 h 694"/>
              <a:gd name="T68" fmla="*/ 345 w 428"/>
              <a:gd name="T69" fmla="*/ 338 h 694"/>
              <a:gd name="T70" fmla="*/ 332 w 428"/>
              <a:gd name="T71" fmla="*/ 323 h 694"/>
              <a:gd name="T72" fmla="*/ 327 w 428"/>
              <a:gd name="T73" fmla="*/ 301 h 694"/>
              <a:gd name="T74" fmla="*/ 311 w 428"/>
              <a:gd name="T75" fmla="*/ 272 h 694"/>
              <a:gd name="T76" fmla="*/ 275 w 428"/>
              <a:gd name="T77" fmla="*/ 207 h 694"/>
              <a:gd name="T78" fmla="*/ 275 w 428"/>
              <a:gd name="T79" fmla="*/ 147 h 694"/>
              <a:gd name="T80" fmla="*/ 252 w 428"/>
              <a:gd name="T81" fmla="*/ 126 h 694"/>
              <a:gd name="T82" fmla="*/ 223 w 428"/>
              <a:gd name="T83" fmla="*/ 114 h 694"/>
              <a:gd name="T84" fmla="*/ 218 w 428"/>
              <a:gd name="T85" fmla="*/ 75 h 694"/>
              <a:gd name="T86" fmla="*/ 201 w 428"/>
              <a:gd name="T87" fmla="*/ 67 h 694"/>
              <a:gd name="T88" fmla="*/ 215 w 428"/>
              <a:gd name="T89" fmla="*/ 36 h 694"/>
              <a:gd name="T90" fmla="*/ 199 w 428"/>
              <a:gd name="T91" fmla="*/ 12 h 694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4696 w 10000"/>
              <a:gd name="connsiteY87" fmla="*/ 965 h 10000"/>
              <a:gd name="connsiteX88" fmla="*/ 5023 w 10000"/>
              <a:gd name="connsiteY88" fmla="*/ 850 h 10000"/>
              <a:gd name="connsiteX89" fmla="*/ 5023 w 10000"/>
              <a:gd name="connsiteY89" fmla="*/ 519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4696 w 10000"/>
              <a:gd name="connsiteY87" fmla="*/ 965 h 10000"/>
              <a:gd name="connsiteX88" fmla="*/ 5023 w 10000"/>
              <a:gd name="connsiteY88" fmla="*/ 850 h 10000"/>
              <a:gd name="connsiteX89" fmla="*/ 5279 w 10000"/>
              <a:gd name="connsiteY89" fmla="*/ 558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4696 w 10000"/>
              <a:gd name="connsiteY87" fmla="*/ 965 h 10000"/>
              <a:gd name="connsiteX88" fmla="*/ 5386 w 10000"/>
              <a:gd name="connsiteY88" fmla="*/ 811 h 10000"/>
              <a:gd name="connsiteX89" fmla="*/ 5279 w 10000"/>
              <a:gd name="connsiteY89" fmla="*/ 558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811 h 10000"/>
              <a:gd name="connsiteX89" fmla="*/ 5279 w 10000"/>
              <a:gd name="connsiteY89" fmla="*/ 558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745 h 10000"/>
              <a:gd name="connsiteX89" fmla="*/ 5279 w 10000"/>
              <a:gd name="connsiteY89" fmla="*/ 558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745 h 10000"/>
              <a:gd name="connsiteX89" fmla="*/ 5300 w 10000"/>
              <a:gd name="connsiteY89" fmla="*/ 519 h 10000"/>
              <a:gd name="connsiteX90" fmla="*/ 5257 w 10000"/>
              <a:gd name="connsiteY90" fmla="*/ 360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745 h 10000"/>
              <a:gd name="connsiteX89" fmla="*/ 5300 w 10000"/>
              <a:gd name="connsiteY89" fmla="*/ 519 h 10000"/>
              <a:gd name="connsiteX90" fmla="*/ 5193 w 10000"/>
              <a:gd name="connsiteY90" fmla="*/ 347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093 w 10000"/>
              <a:gd name="connsiteY85" fmla="*/ 1081 h 10000"/>
              <a:gd name="connsiteX86" fmla="*/ 4860 w 10000"/>
              <a:gd name="connsiteY86" fmla="*/ 1081 h 10000"/>
              <a:gd name="connsiteX87" fmla="*/ 5614 w 10000"/>
              <a:gd name="connsiteY87" fmla="*/ 820 h 10000"/>
              <a:gd name="connsiteX88" fmla="*/ 5386 w 10000"/>
              <a:gd name="connsiteY88" fmla="*/ 745 h 10000"/>
              <a:gd name="connsiteX89" fmla="*/ 5300 w 10000"/>
              <a:gd name="connsiteY89" fmla="*/ 519 h 10000"/>
              <a:gd name="connsiteX90" fmla="*/ 5193 w 10000"/>
              <a:gd name="connsiteY90" fmla="*/ 347 h 10000"/>
              <a:gd name="connsiteX91" fmla="*/ 4650 w 10000"/>
              <a:gd name="connsiteY91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4860 w 10000"/>
              <a:gd name="connsiteY85" fmla="*/ 1081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4883 w 10000"/>
              <a:gd name="connsiteY84" fmla="*/ 1369 h 10000"/>
              <a:gd name="connsiteX85" fmla="*/ 5479 w 10000"/>
              <a:gd name="connsiteY85" fmla="*/ 1213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5694 w 10000"/>
              <a:gd name="connsiteY84" fmla="*/ 1290 h 10000"/>
              <a:gd name="connsiteX85" fmla="*/ 5479 w 10000"/>
              <a:gd name="connsiteY85" fmla="*/ 1213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210 w 10000"/>
              <a:gd name="connsiteY83" fmla="*/ 1643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680 w 10000"/>
              <a:gd name="connsiteY83" fmla="*/ 1617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678 w 10000"/>
              <a:gd name="connsiteY82" fmla="*/ 1671 h 10000"/>
              <a:gd name="connsiteX83" fmla="*/ 5765 w 10000"/>
              <a:gd name="connsiteY83" fmla="*/ 1459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765 w 10000"/>
              <a:gd name="connsiteY83" fmla="*/ 1459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744 w 10000"/>
              <a:gd name="connsiteY83" fmla="*/ 1551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659 w 10000"/>
              <a:gd name="connsiteY83" fmla="*/ 1498 h 10000"/>
              <a:gd name="connsiteX84" fmla="*/ 5694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659 w 10000"/>
              <a:gd name="connsiteY83" fmla="*/ 1498 h 10000"/>
              <a:gd name="connsiteX84" fmla="*/ 5673 w 10000"/>
              <a:gd name="connsiteY84" fmla="*/ 1290 h 10000"/>
              <a:gd name="connsiteX85" fmla="*/ 5564 w 10000"/>
              <a:gd name="connsiteY85" fmla="*/ 1200 h 10000"/>
              <a:gd name="connsiteX86" fmla="*/ 5614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  <a:gd name="connsiteX0" fmla="*/ 4650 w 10000"/>
              <a:gd name="connsiteY0" fmla="*/ 173 h 10000"/>
              <a:gd name="connsiteX1" fmla="*/ 4229 w 10000"/>
              <a:gd name="connsiteY1" fmla="*/ 0 h 10000"/>
              <a:gd name="connsiteX2" fmla="*/ 4042 w 10000"/>
              <a:gd name="connsiteY2" fmla="*/ 173 h 10000"/>
              <a:gd name="connsiteX3" fmla="*/ 3692 w 10000"/>
              <a:gd name="connsiteY3" fmla="*/ 231 h 10000"/>
              <a:gd name="connsiteX4" fmla="*/ 3435 w 10000"/>
              <a:gd name="connsiteY4" fmla="*/ 720 h 10000"/>
              <a:gd name="connsiteX5" fmla="*/ 3458 w 10000"/>
              <a:gd name="connsiteY5" fmla="*/ 1470 h 10000"/>
              <a:gd name="connsiteX6" fmla="*/ 2687 w 10000"/>
              <a:gd name="connsiteY6" fmla="*/ 1801 h 10000"/>
              <a:gd name="connsiteX7" fmla="*/ 2126 w 10000"/>
              <a:gd name="connsiteY7" fmla="*/ 1470 h 10000"/>
              <a:gd name="connsiteX8" fmla="*/ 1636 w 10000"/>
              <a:gd name="connsiteY8" fmla="*/ 1657 h 10000"/>
              <a:gd name="connsiteX9" fmla="*/ 607 w 10000"/>
              <a:gd name="connsiteY9" fmla="*/ 1297 h 10000"/>
              <a:gd name="connsiteX10" fmla="*/ 607 w 10000"/>
              <a:gd name="connsiteY10" fmla="*/ 1297 h 10000"/>
              <a:gd name="connsiteX11" fmla="*/ 327 w 10000"/>
              <a:gd name="connsiteY11" fmla="*/ 1268 h 10000"/>
              <a:gd name="connsiteX12" fmla="*/ 0 w 10000"/>
              <a:gd name="connsiteY12" fmla="*/ 1542 h 10000"/>
              <a:gd name="connsiteX13" fmla="*/ 607 w 10000"/>
              <a:gd name="connsiteY13" fmla="*/ 1816 h 10000"/>
              <a:gd name="connsiteX14" fmla="*/ 724 w 10000"/>
              <a:gd name="connsiteY14" fmla="*/ 1830 h 10000"/>
              <a:gd name="connsiteX15" fmla="*/ 1519 w 10000"/>
              <a:gd name="connsiteY15" fmla="*/ 1974 h 10000"/>
              <a:gd name="connsiteX16" fmla="*/ 1636 w 10000"/>
              <a:gd name="connsiteY16" fmla="*/ 2046 h 10000"/>
              <a:gd name="connsiteX17" fmla="*/ 1963 w 10000"/>
              <a:gd name="connsiteY17" fmla="*/ 2291 h 10000"/>
              <a:gd name="connsiteX18" fmla="*/ 2126 w 10000"/>
              <a:gd name="connsiteY18" fmla="*/ 2752 h 10000"/>
              <a:gd name="connsiteX19" fmla="*/ 2383 w 10000"/>
              <a:gd name="connsiteY19" fmla="*/ 2752 h 10000"/>
              <a:gd name="connsiteX20" fmla="*/ 2383 w 10000"/>
              <a:gd name="connsiteY20" fmla="*/ 3012 h 10000"/>
              <a:gd name="connsiteX21" fmla="*/ 2710 w 10000"/>
              <a:gd name="connsiteY21" fmla="*/ 3329 h 10000"/>
              <a:gd name="connsiteX22" fmla="*/ 2617 w 10000"/>
              <a:gd name="connsiteY22" fmla="*/ 3689 h 10000"/>
              <a:gd name="connsiteX23" fmla="*/ 3201 w 10000"/>
              <a:gd name="connsiteY23" fmla="*/ 4179 h 10000"/>
              <a:gd name="connsiteX24" fmla="*/ 3645 w 10000"/>
              <a:gd name="connsiteY24" fmla="*/ 4395 h 10000"/>
              <a:gd name="connsiteX25" fmla="*/ 4206 w 10000"/>
              <a:gd name="connsiteY25" fmla="*/ 4553 h 10000"/>
              <a:gd name="connsiteX26" fmla="*/ 4346 w 10000"/>
              <a:gd name="connsiteY26" fmla="*/ 4841 h 10000"/>
              <a:gd name="connsiteX27" fmla="*/ 4696 w 10000"/>
              <a:gd name="connsiteY27" fmla="*/ 4914 h 10000"/>
              <a:gd name="connsiteX28" fmla="*/ 4346 w 10000"/>
              <a:gd name="connsiteY28" fmla="*/ 5029 h 10000"/>
              <a:gd name="connsiteX29" fmla="*/ 3995 w 10000"/>
              <a:gd name="connsiteY29" fmla="*/ 5202 h 10000"/>
              <a:gd name="connsiteX30" fmla="*/ 3645 w 10000"/>
              <a:gd name="connsiteY30" fmla="*/ 5692 h 10000"/>
              <a:gd name="connsiteX31" fmla="*/ 3528 w 10000"/>
              <a:gd name="connsiteY31" fmla="*/ 6037 h 10000"/>
              <a:gd name="connsiteX32" fmla="*/ 3178 w 10000"/>
              <a:gd name="connsiteY32" fmla="*/ 6182 h 10000"/>
              <a:gd name="connsiteX33" fmla="*/ 3061 w 10000"/>
              <a:gd name="connsiteY33" fmla="*/ 6340 h 10000"/>
              <a:gd name="connsiteX34" fmla="*/ 2687 w 10000"/>
              <a:gd name="connsiteY34" fmla="*/ 6427 h 10000"/>
              <a:gd name="connsiteX35" fmla="*/ 2710 w 10000"/>
              <a:gd name="connsiteY35" fmla="*/ 6902 h 10000"/>
              <a:gd name="connsiteX36" fmla="*/ 2173 w 10000"/>
              <a:gd name="connsiteY36" fmla="*/ 6902 h 10000"/>
              <a:gd name="connsiteX37" fmla="*/ 2220 w 10000"/>
              <a:gd name="connsiteY37" fmla="*/ 7118 h 10000"/>
              <a:gd name="connsiteX38" fmla="*/ 1963 w 10000"/>
              <a:gd name="connsiteY38" fmla="*/ 7507 h 10000"/>
              <a:gd name="connsiteX39" fmla="*/ 2313 w 10000"/>
              <a:gd name="connsiteY39" fmla="*/ 7810 h 10000"/>
              <a:gd name="connsiteX40" fmla="*/ 2313 w 10000"/>
              <a:gd name="connsiteY40" fmla="*/ 8141 h 10000"/>
              <a:gd name="connsiteX41" fmla="*/ 2780 w 10000"/>
              <a:gd name="connsiteY41" fmla="*/ 8501 h 10000"/>
              <a:gd name="connsiteX42" fmla="*/ 2570 w 10000"/>
              <a:gd name="connsiteY42" fmla="*/ 8602 h 10000"/>
              <a:gd name="connsiteX43" fmla="*/ 2850 w 10000"/>
              <a:gd name="connsiteY43" fmla="*/ 8905 h 10000"/>
              <a:gd name="connsiteX44" fmla="*/ 2570 w 10000"/>
              <a:gd name="connsiteY44" fmla="*/ 9063 h 10000"/>
              <a:gd name="connsiteX45" fmla="*/ 2897 w 10000"/>
              <a:gd name="connsiteY45" fmla="*/ 9280 h 10000"/>
              <a:gd name="connsiteX46" fmla="*/ 2897 w 10000"/>
              <a:gd name="connsiteY46" fmla="*/ 9582 h 10000"/>
              <a:gd name="connsiteX47" fmla="*/ 3178 w 10000"/>
              <a:gd name="connsiteY47" fmla="*/ 9510 h 10000"/>
              <a:gd name="connsiteX48" fmla="*/ 3645 w 10000"/>
              <a:gd name="connsiteY48" fmla="*/ 9553 h 10000"/>
              <a:gd name="connsiteX49" fmla="*/ 3995 w 10000"/>
              <a:gd name="connsiteY49" fmla="*/ 9697 h 10000"/>
              <a:gd name="connsiteX50" fmla="*/ 4346 w 10000"/>
              <a:gd name="connsiteY50" fmla="*/ 9669 h 10000"/>
              <a:gd name="connsiteX51" fmla="*/ 4439 w 10000"/>
              <a:gd name="connsiteY51" fmla="*/ 9885 h 10000"/>
              <a:gd name="connsiteX52" fmla="*/ 4720 w 10000"/>
              <a:gd name="connsiteY52" fmla="*/ 9914 h 10000"/>
              <a:gd name="connsiteX53" fmla="*/ 5093 w 10000"/>
              <a:gd name="connsiteY53" fmla="*/ 10000 h 10000"/>
              <a:gd name="connsiteX54" fmla="*/ 5444 w 10000"/>
              <a:gd name="connsiteY54" fmla="*/ 9755 h 10000"/>
              <a:gd name="connsiteX55" fmla="*/ 6121 w 10000"/>
              <a:gd name="connsiteY55" fmla="*/ 9597 h 10000"/>
              <a:gd name="connsiteX56" fmla="*/ 6846 w 10000"/>
              <a:gd name="connsiteY56" fmla="*/ 9337 h 10000"/>
              <a:gd name="connsiteX57" fmla="*/ 6846 w 10000"/>
              <a:gd name="connsiteY57" fmla="*/ 9150 h 10000"/>
              <a:gd name="connsiteX58" fmla="*/ 7407 w 10000"/>
              <a:gd name="connsiteY58" fmla="*/ 9207 h 10000"/>
              <a:gd name="connsiteX59" fmla="*/ 7827 w 10000"/>
              <a:gd name="connsiteY59" fmla="*/ 8977 h 10000"/>
              <a:gd name="connsiteX60" fmla="*/ 8248 w 10000"/>
              <a:gd name="connsiteY60" fmla="*/ 8977 h 10000"/>
              <a:gd name="connsiteX61" fmla="*/ 9276 w 10000"/>
              <a:gd name="connsiteY61" fmla="*/ 7939 h 10000"/>
              <a:gd name="connsiteX62" fmla="*/ 10000 w 10000"/>
              <a:gd name="connsiteY62" fmla="*/ 6787 h 10000"/>
              <a:gd name="connsiteX63" fmla="*/ 10000 w 10000"/>
              <a:gd name="connsiteY63" fmla="*/ 6455 h 10000"/>
              <a:gd name="connsiteX64" fmla="*/ 10000 w 10000"/>
              <a:gd name="connsiteY64" fmla="*/ 6066 h 10000"/>
              <a:gd name="connsiteX65" fmla="*/ 8575 w 10000"/>
              <a:gd name="connsiteY65" fmla="*/ 5634 h 10000"/>
              <a:gd name="connsiteX66" fmla="*/ 8785 w 10000"/>
              <a:gd name="connsiteY66" fmla="*/ 5216 h 10000"/>
              <a:gd name="connsiteX67" fmla="*/ 8575 w 10000"/>
              <a:gd name="connsiteY67" fmla="*/ 4957 h 10000"/>
              <a:gd name="connsiteX68" fmla="*/ 8271 w 10000"/>
              <a:gd name="connsiteY68" fmla="*/ 5029 h 10000"/>
              <a:gd name="connsiteX69" fmla="*/ 8061 w 10000"/>
              <a:gd name="connsiteY69" fmla="*/ 4870 h 10000"/>
              <a:gd name="connsiteX70" fmla="*/ 8037 w 10000"/>
              <a:gd name="connsiteY70" fmla="*/ 4611 h 10000"/>
              <a:gd name="connsiteX71" fmla="*/ 7757 w 10000"/>
              <a:gd name="connsiteY71" fmla="*/ 4654 h 10000"/>
              <a:gd name="connsiteX72" fmla="*/ 7523 w 10000"/>
              <a:gd name="connsiteY72" fmla="*/ 4539 h 10000"/>
              <a:gd name="connsiteX73" fmla="*/ 7640 w 10000"/>
              <a:gd name="connsiteY73" fmla="*/ 4337 h 10000"/>
              <a:gd name="connsiteX74" fmla="*/ 7266 w 10000"/>
              <a:gd name="connsiteY74" fmla="*/ 4251 h 10000"/>
              <a:gd name="connsiteX75" fmla="*/ 7266 w 10000"/>
              <a:gd name="connsiteY75" fmla="*/ 3919 h 10000"/>
              <a:gd name="connsiteX76" fmla="*/ 7593 w 10000"/>
              <a:gd name="connsiteY76" fmla="*/ 3732 h 10000"/>
              <a:gd name="connsiteX77" fmla="*/ 6425 w 10000"/>
              <a:gd name="connsiteY77" fmla="*/ 2983 h 10000"/>
              <a:gd name="connsiteX78" fmla="*/ 6145 w 10000"/>
              <a:gd name="connsiteY78" fmla="*/ 2839 h 10000"/>
              <a:gd name="connsiteX79" fmla="*/ 6425 w 10000"/>
              <a:gd name="connsiteY79" fmla="*/ 2118 h 10000"/>
              <a:gd name="connsiteX80" fmla="*/ 6285 w 10000"/>
              <a:gd name="connsiteY80" fmla="*/ 1873 h 10000"/>
              <a:gd name="connsiteX81" fmla="*/ 5888 w 10000"/>
              <a:gd name="connsiteY81" fmla="*/ 1816 h 10000"/>
              <a:gd name="connsiteX82" fmla="*/ 5400 w 10000"/>
              <a:gd name="connsiteY82" fmla="*/ 1697 h 10000"/>
              <a:gd name="connsiteX83" fmla="*/ 5659 w 10000"/>
              <a:gd name="connsiteY83" fmla="*/ 1498 h 10000"/>
              <a:gd name="connsiteX84" fmla="*/ 5673 w 10000"/>
              <a:gd name="connsiteY84" fmla="*/ 1290 h 10000"/>
              <a:gd name="connsiteX85" fmla="*/ 5564 w 10000"/>
              <a:gd name="connsiteY85" fmla="*/ 1200 h 10000"/>
              <a:gd name="connsiteX86" fmla="*/ 5507 w 10000"/>
              <a:gd name="connsiteY86" fmla="*/ 820 h 10000"/>
              <a:gd name="connsiteX87" fmla="*/ 5386 w 10000"/>
              <a:gd name="connsiteY87" fmla="*/ 745 h 10000"/>
              <a:gd name="connsiteX88" fmla="*/ 5300 w 10000"/>
              <a:gd name="connsiteY88" fmla="*/ 519 h 10000"/>
              <a:gd name="connsiteX89" fmla="*/ 5193 w 10000"/>
              <a:gd name="connsiteY89" fmla="*/ 347 h 10000"/>
              <a:gd name="connsiteX90" fmla="*/ 4650 w 10000"/>
              <a:gd name="connsiteY90" fmla="*/ 173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</a:cxnLst>
            <a:rect l="l" t="t" r="r" b="b"/>
            <a:pathLst>
              <a:path w="10000" h="10000">
                <a:moveTo>
                  <a:pt x="4650" y="173"/>
                </a:moveTo>
                <a:lnTo>
                  <a:pt x="4229" y="0"/>
                </a:lnTo>
                <a:cubicBezTo>
                  <a:pt x="4167" y="58"/>
                  <a:pt x="4104" y="115"/>
                  <a:pt x="4042" y="173"/>
                </a:cubicBezTo>
                <a:lnTo>
                  <a:pt x="3692" y="231"/>
                </a:lnTo>
                <a:lnTo>
                  <a:pt x="3435" y="720"/>
                </a:lnTo>
                <a:cubicBezTo>
                  <a:pt x="3443" y="970"/>
                  <a:pt x="3450" y="1220"/>
                  <a:pt x="3458" y="1470"/>
                </a:cubicBezTo>
                <a:lnTo>
                  <a:pt x="2687" y="1801"/>
                </a:lnTo>
                <a:lnTo>
                  <a:pt x="2126" y="1470"/>
                </a:lnTo>
                <a:lnTo>
                  <a:pt x="1636" y="1657"/>
                </a:lnTo>
                <a:lnTo>
                  <a:pt x="607" y="1297"/>
                </a:lnTo>
                <a:lnTo>
                  <a:pt x="607" y="1297"/>
                </a:lnTo>
                <a:lnTo>
                  <a:pt x="327" y="1268"/>
                </a:lnTo>
                <a:lnTo>
                  <a:pt x="0" y="1542"/>
                </a:lnTo>
                <a:lnTo>
                  <a:pt x="607" y="1816"/>
                </a:lnTo>
                <a:lnTo>
                  <a:pt x="724" y="1830"/>
                </a:lnTo>
                <a:lnTo>
                  <a:pt x="1519" y="1974"/>
                </a:lnTo>
                <a:lnTo>
                  <a:pt x="1636" y="2046"/>
                </a:lnTo>
                <a:lnTo>
                  <a:pt x="1963" y="2291"/>
                </a:lnTo>
                <a:cubicBezTo>
                  <a:pt x="2017" y="2445"/>
                  <a:pt x="2072" y="2598"/>
                  <a:pt x="2126" y="2752"/>
                </a:cubicBezTo>
                <a:lnTo>
                  <a:pt x="2383" y="2752"/>
                </a:lnTo>
                <a:lnTo>
                  <a:pt x="2383" y="3012"/>
                </a:lnTo>
                <a:lnTo>
                  <a:pt x="2710" y="3329"/>
                </a:lnTo>
                <a:lnTo>
                  <a:pt x="2617" y="3689"/>
                </a:lnTo>
                <a:lnTo>
                  <a:pt x="3201" y="4179"/>
                </a:lnTo>
                <a:lnTo>
                  <a:pt x="3645" y="4395"/>
                </a:lnTo>
                <a:lnTo>
                  <a:pt x="4206" y="4553"/>
                </a:lnTo>
                <a:cubicBezTo>
                  <a:pt x="4253" y="4649"/>
                  <a:pt x="4299" y="4745"/>
                  <a:pt x="4346" y="4841"/>
                </a:cubicBezTo>
                <a:lnTo>
                  <a:pt x="4696" y="4914"/>
                </a:lnTo>
                <a:lnTo>
                  <a:pt x="4346" y="5029"/>
                </a:lnTo>
                <a:lnTo>
                  <a:pt x="3995" y="5202"/>
                </a:lnTo>
                <a:lnTo>
                  <a:pt x="3645" y="5692"/>
                </a:lnTo>
                <a:lnTo>
                  <a:pt x="3528" y="6037"/>
                </a:lnTo>
                <a:lnTo>
                  <a:pt x="3178" y="6182"/>
                </a:lnTo>
                <a:lnTo>
                  <a:pt x="3061" y="6340"/>
                </a:lnTo>
                <a:lnTo>
                  <a:pt x="2687" y="6427"/>
                </a:lnTo>
                <a:cubicBezTo>
                  <a:pt x="2695" y="6585"/>
                  <a:pt x="2702" y="6744"/>
                  <a:pt x="2710" y="6902"/>
                </a:cubicBezTo>
                <a:lnTo>
                  <a:pt x="2173" y="6902"/>
                </a:lnTo>
                <a:cubicBezTo>
                  <a:pt x="2189" y="6974"/>
                  <a:pt x="2204" y="7046"/>
                  <a:pt x="2220" y="7118"/>
                </a:cubicBezTo>
                <a:lnTo>
                  <a:pt x="1963" y="7507"/>
                </a:lnTo>
                <a:lnTo>
                  <a:pt x="2313" y="7810"/>
                </a:lnTo>
                <a:lnTo>
                  <a:pt x="2313" y="8141"/>
                </a:lnTo>
                <a:lnTo>
                  <a:pt x="2780" y="8501"/>
                </a:lnTo>
                <a:lnTo>
                  <a:pt x="2570" y="8602"/>
                </a:lnTo>
                <a:lnTo>
                  <a:pt x="2850" y="8905"/>
                </a:lnTo>
                <a:lnTo>
                  <a:pt x="2570" y="9063"/>
                </a:lnTo>
                <a:lnTo>
                  <a:pt x="2897" y="9280"/>
                </a:lnTo>
                <a:lnTo>
                  <a:pt x="2897" y="9582"/>
                </a:lnTo>
                <a:lnTo>
                  <a:pt x="3178" y="9510"/>
                </a:lnTo>
                <a:lnTo>
                  <a:pt x="3645" y="9553"/>
                </a:lnTo>
                <a:lnTo>
                  <a:pt x="3995" y="9697"/>
                </a:lnTo>
                <a:lnTo>
                  <a:pt x="4346" y="9669"/>
                </a:lnTo>
                <a:lnTo>
                  <a:pt x="4439" y="9885"/>
                </a:lnTo>
                <a:lnTo>
                  <a:pt x="4720" y="9914"/>
                </a:lnTo>
                <a:lnTo>
                  <a:pt x="5093" y="10000"/>
                </a:lnTo>
                <a:lnTo>
                  <a:pt x="5444" y="9755"/>
                </a:lnTo>
                <a:lnTo>
                  <a:pt x="6121" y="9597"/>
                </a:lnTo>
                <a:lnTo>
                  <a:pt x="6846" y="9337"/>
                </a:lnTo>
                <a:lnTo>
                  <a:pt x="6846" y="9150"/>
                </a:lnTo>
                <a:lnTo>
                  <a:pt x="7407" y="9207"/>
                </a:lnTo>
                <a:lnTo>
                  <a:pt x="7827" y="8977"/>
                </a:lnTo>
                <a:lnTo>
                  <a:pt x="8248" y="8977"/>
                </a:lnTo>
                <a:lnTo>
                  <a:pt x="9276" y="7939"/>
                </a:lnTo>
                <a:lnTo>
                  <a:pt x="10000" y="6787"/>
                </a:lnTo>
                <a:lnTo>
                  <a:pt x="10000" y="6455"/>
                </a:lnTo>
                <a:lnTo>
                  <a:pt x="10000" y="6066"/>
                </a:lnTo>
                <a:lnTo>
                  <a:pt x="8575" y="5634"/>
                </a:lnTo>
                <a:lnTo>
                  <a:pt x="8785" y="5216"/>
                </a:lnTo>
                <a:lnTo>
                  <a:pt x="8575" y="4957"/>
                </a:lnTo>
                <a:lnTo>
                  <a:pt x="8271" y="5029"/>
                </a:lnTo>
                <a:lnTo>
                  <a:pt x="8061" y="4870"/>
                </a:lnTo>
                <a:cubicBezTo>
                  <a:pt x="8053" y="4784"/>
                  <a:pt x="8045" y="4697"/>
                  <a:pt x="8037" y="4611"/>
                </a:cubicBezTo>
                <a:lnTo>
                  <a:pt x="7757" y="4654"/>
                </a:lnTo>
                <a:lnTo>
                  <a:pt x="7523" y="4539"/>
                </a:lnTo>
                <a:lnTo>
                  <a:pt x="7640" y="4337"/>
                </a:lnTo>
                <a:lnTo>
                  <a:pt x="7266" y="4251"/>
                </a:lnTo>
                <a:lnTo>
                  <a:pt x="7266" y="3919"/>
                </a:lnTo>
                <a:lnTo>
                  <a:pt x="7593" y="3732"/>
                </a:lnTo>
                <a:lnTo>
                  <a:pt x="6425" y="2983"/>
                </a:lnTo>
                <a:lnTo>
                  <a:pt x="6145" y="2839"/>
                </a:lnTo>
                <a:lnTo>
                  <a:pt x="6425" y="2118"/>
                </a:lnTo>
                <a:lnTo>
                  <a:pt x="6285" y="1873"/>
                </a:lnTo>
                <a:cubicBezTo>
                  <a:pt x="6153" y="1854"/>
                  <a:pt x="6035" y="1845"/>
                  <a:pt x="5888" y="1816"/>
                </a:cubicBezTo>
                <a:cubicBezTo>
                  <a:pt x="5741" y="1787"/>
                  <a:pt x="5438" y="1750"/>
                  <a:pt x="5400" y="1697"/>
                </a:cubicBezTo>
                <a:cubicBezTo>
                  <a:pt x="5362" y="1644"/>
                  <a:pt x="5614" y="1566"/>
                  <a:pt x="5659" y="1498"/>
                </a:cubicBezTo>
                <a:cubicBezTo>
                  <a:pt x="5704" y="1430"/>
                  <a:pt x="5689" y="1340"/>
                  <a:pt x="5673" y="1290"/>
                </a:cubicBezTo>
                <a:cubicBezTo>
                  <a:pt x="5657" y="1240"/>
                  <a:pt x="5592" y="1278"/>
                  <a:pt x="5564" y="1200"/>
                </a:cubicBezTo>
                <a:cubicBezTo>
                  <a:pt x="5536" y="1122"/>
                  <a:pt x="5537" y="896"/>
                  <a:pt x="5507" y="820"/>
                </a:cubicBezTo>
                <a:cubicBezTo>
                  <a:pt x="5477" y="744"/>
                  <a:pt x="5420" y="795"/>
                  <a:pt x="5386" y="745"/>
                </a:cubicBezTo>
                <a:cubicBezTo>
                  <a:pt x="5352" y="695"/>
                  <a:pt x="5300" y="519"/>
                  <a:pt x="5300" y="519"/>
                </a:cubicBezTo>
                <a:cubicBezTo>
                  <a:pt x="5293" y="453"/>
                  <a:pt x="5200" y="413"/>
                  <a:pt x="5193" y="347"/>
                </a:cubicBezTo>
                <a:lnTo>
                  <a:pt x="4650" y="173"/>
                </a:lnTo>
                <a:close/>
              </a:path>
            </a:pathLst>
          </a:custGeom>
          <a:solidFill>
            <a:schemeClr val="accent3"/>
          </a:solidFill>
          <a:ln w="317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67" name="Sweden"/>
          <p:cNvGrpSpPr>
            <a:grpSpLocks/>
          </p:cNvGrpSpPr>
          <p:nvPr/>
        </p:nvGrpSpPr>
        <p:grpSpPr>
          <a:xfrm>
            <a:off x="9011176" y="550863"/>
            <a:ext cx="1127125" cy="2687638"/>
            <a:chOff x="9032196" y="550863"/>
            <a:chExt cx="1127125" cy="2687638"/>
          </a:xfrm>
          <a:solidFill>
            <a:schemeClr val="accent3"/>
          </a:solidFill>
        </p:grpSpPr>
        <p:sp>
          <p:nvSpPr>
            <p:cNvPr id="68" name="Sweden"/>
            <p:cNvSpPr>
              <a:spLocks/>
            </p:cNvSpPr>
            <p:nvPr/>
          </p:nvSpPr>
          <p:spPr bwMode="auto">
            <a:xfrm>
              <a:off x="9032196" y="550863"/>
              <a:ext cx="1127125" cy="2687638"/>
            </a:xfrm>
            <a:custGeom>
              <a:avLst/>
              <a:gdLst>
                <a:gd name="T0" fmla="*/ 36 w 710"/>
                <a:gd name="T1" fmla="*/ 1178 h 1693"/>
                <a:gd name="T2" fmla="*/ 87 w 710"/>
                <a:gd name="T3" fmla="*/ 1051 h 1693"/>
                <a:gd name="T4" fmla="*/ 107 w 710"/>
                <a:gd name="T5" fmla="*/ 952 h 1693"/>
                <a:gd name="T6" fmla="*/ 40 w 710"/>
                <a:gd name="T7" fmla="*/ 817 h 1693"/>
                <a:gd name="T8" fmla="*/ 45 w 710"/>
                <a:gd name="T9" fmla="*/ 699 h 1693"/>
                <a:gd name="T10" fmla="*/ 147 w 710"/>
                <a:gd name="T11" fmla="*/ 636 h 1693"/>
                <a:gd name="T12" fmla="*/ 168 w 710"/>
                <a:gd name="T13" fmla="*/ 482 h 1693"/>
                <a:gd name="T14" fmla="*/ 222 w 710"/>
                <a:gd name="T15" fmla="*/ 349 h 1693"/>
                <a:gd name="T16" fmla="*/ 233 w 710"/>
                <a:gd name="T17" fmla="*/ 215 h 1693"/>
                <a:gd name="T18" fmla="*/ 289 w 710"/>
                <a:gd name="T19" fmla="*/ 150 h 1693"/>
                <a:gd name="T20" fmla="*/ 390 w 710"/>
                <a:gd name="T21" fmla="*/ 85 h 1693"/>
                <a:gd name="T22" fmla="*/ 425 w 710"/>
                <a:gd name="T23" fmla="*/ 60 h 1693"/>
                <a:gd name="T24" fmla="*/ 466 w 710"/>
                <a:gd name="T25" fmla="*/ 14 h 1693"/>
                <a:gd name="T26" fmla="*/ 614 w 710"/>
                <a:gd name="T27" fmla="*/ 107 h 1693"/>
                <a:gd name="T28" fmla="*/ 647 w 710"/>
                <a:gd name="T29" fmla="*/ 197 h 1693"/>
                <a:gd name="T30" fmla="*/ 710 w 710"/>
                <a:gd name="T31" fmla="*/ 343 h 1693"/>
                <a:gd name="T32" fmla="*/ 652 w 710"/>
                <a:gd name="T33" fmla="*/ 388 h 1693"/>
                <a:gd name="T34" fmla="*/ 562 w 710"/>
                <a:gd name="T35" fmla="*/ 443 h 1693"/>
                <a:gd name="T36" fmla="*/ 604 w 710"/>
                <a:gd name="T37" fmla="*/ 537 h 1693"/>
                <a:gd name="T38" fmla="*/ 490 w 710"/>
                <a:gd name="T39" fmla="*/ 683 h 1693"/>
                <a:gd name="T40" fmla="*/ 441 w 710"/>
                <a:gd name="T41" fmla="*/ 744 h 1693"/>
                <a:gd name="T42" fmla="*/ 385 w 710"/>
                <a:gd name="T43" fmla="*/ 817 h 1693"/>
                <a:gd name="T44" fmla="*/ 376 w 710"/>
                <a:gd name="T45" fmla="*/ 903 h 1693"/>
                <a:gd name="T46" fmla="*/ 407 w 710"/>
                <a:gd name="T47" fmla="*/ 1012 h 1693"/>
                <a:gd name="T48" fmla="*/ 490 w 710"/>
                <a:gd name="T49" fmla="*/ 1060 h 1693"/>
                <a:gd name="T50" fmla="*/ 539 w 710"/>
                <a:gd name="T51" fmla="*/ 1107 h 1693"/>
                <a:gd name="T52" fmla="*/ 454 w 710"/>
                <a:gd name="T53" fmla="*/ 1156 h 1693"/>
                <a:gd name="T54" fmla="*/ 439 w 710"/>
                <a:gd name="T55" fmla="*/ 1169 h 1693"/>
                <a:gd name="T56" fmla="*/ 347 w 710"/>
                <a:gd name="T57" fmla="*/ 1187 h 1693"/>
                <a:gd name="T58" fmla="*/ 446 w 710"/>
                <a:gd name="T59" fmla="*/ 1241 h 1693"/>
                <a:gd name="T60" fmla="*/ 409 w 710"/>
                <a:gd name="T61" fmla="*/ 1312 h 1693"/>
                <a:gd name="T62" fmla="*/ 407 w 710"/>
                <a:gd name="T63" fmla="*/ 1398 h 1693"/>
                <a:gd name="T64" fmla="*/ 383 w 710"/>
                <a:gd name="T65" fmla="*/ 1523 h 1693"/>
                <a:gd name="T66" fmla="*/ 282 w 710"/>
                <a:gd name="T67" fmla="*/ 1583 h 1693"/>
                <a:gd name="T68" fmla="*/ 244 w 710"/>
                <a:gd name="T69" fmla="*/ 1626 h 1693"/>
                <a:gd name="T70" fmla="*/ 213 w 710"/>
                <a:gd name="T71" fmla="*/ 1680 h 1693"/>
                <a:gd name="T72" fmla="*/ 147 w 710"/>
                <a:gd name="T73" fmla="*/ 1659 h 1693"/>
                <a:gd name="T74" fmla="*/ 109 w 710"/>
                <a:gd name="T75" fmla="*/ 1588 h 1693"/>
                <a:gd name="T76" fmla="*/ 141 w 710"/>
                <a:gd name="T77" fmla="*/ 1537 h 1693"/>
                <a:gd name="T78" fmla="*/ 54 w 710"/>
                <a:gd name="T79" fmla="*/ 1456 h 1693"/>
                <a:gd name="T80" fmla="*/ 51 w 710"/>
                <a:gd name="T81" fmla="*/ 1348 h 1693"/>
                <a:gd name="T82" fmla="*/ 0 w 710"/>
                <a:gd name="T83" fmla="*/ 1330 h 16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10" h="1693">
                  <a:moveTo>
                    <a:pt x="0" y="1257"/>
                  </a:moveTo>
                  <a:lnTo>
                    <a:pt x="36" y="1257"/>
                  </a:lnTo>
                  <a:lnTo>
                    <a:pt x="36" y="1178"/>
                  </a:lnTo>
                  <a:lnTo>
                    <a:pt x="51" y="1144"/>
                  </a:lnTo>
                  <a:lnTo>
                    <a:pt x="96" y="1122"/>
                  </a:lnTo>
                  <a:lnTo>
                    <a:pt x="87" y="1051"/>
                  </a:lnTo>
                  <a:lnTo>
                    <a:pt x="63" y="1008"/>
                  </a:lnTo>
                  <a:lnTo>
                    <a:pt x="87" y="1008"/>
                  </a:lnTo>
                  <a:lnTo>
                    <a:pt x="107" y="952"/>
                  </a:lnTo>
                  <a:lnTo>
                    <a:pt x="62" y="927"/>
                  </a:lnTo>
                  <a:lnTo>
                    <a:pt x="69" y="851"/>
                  </a:lnTo>
                  <a:lnTo>
                    <a:pt x="40" y="817"/>
                  </a:lnTo>
                  <a:lnTo>
                    <a:pt x="62" y="768"/>
                  </a:lnTo>
                  <a:lnTo>
                    <a:pt x="38" y="743"/>
                  </a:lnTo>
                  <a:lnTo>
                    <a:pt x="45" y="699"/>
                  </a:lnTo>
                  <a:lnTo>
                    <a:pt x="74" y="654"/>
                  </a:lnTo>
                  <a:lnTo>
                    <a:pt x="107" y="636"/>
                  </a:lnTo>
                  <a:lnTo>
                    <a:pt x="147" y="636"/>
                  </a:lnTo>
                  <a:lnTo>
                    <a:pt x="168" y="598"/>
                  </a:lnTo>
                  <a:lnTo>
                    <a:pt x="138" y="574"/>
                  </a:lnTo>
                  <a:lnTo>
                    <a:pt x="168" y="482"/>
                  </a:lnTo>
                  <a:lnTo>
                    <a:pt x="168" y="376"/>
                  </a:lnTo>
                  <a:lnTo>
                    <a:pt x="212" y="376"/>
                  </a:lnTo>
                  <a:lnTo>
                    <a:pt x="222" y="349"/>
                  </a:lnTo>
                  <a:lnTo>
                    <a:pt x="204" y="338"/>
                  </a:lnTo>
                  <a:lnTo>
                    <a:pt x="271" y="255"/>
                  </a:lnTo>
                  <a:lnTo>
                    <a:pt x="233" y="215"/>
                  </a:lnTo>
                  <a:lnTo>
                    <a:pt x="257" y="215"/>
                  </a:lnTo>
                  <a:lnTo>
                    <a:pt x="271" y="150"/>
                  </a:lnTo>
                  <a:lnTo>
                    <a:pt x="289" y="150"/>
                  </a:lnTo>
                  <a:lnTo>
                    <a:pt x="320" y="150"/>
                  </a:lnTo>
                  <a:lnTo>
                    <a:pt x="320" y="85"/>
                  </a:lnTo>
                  <a:lnTo>
                    <a:pt x="390" y="85"/>
                  </a:lnTo>
                  <a:lnTo>
                    <a:pt x="403" y="94"/>
                  </a:lnTo>
                  <a:lnTo>
                    <a:pt x="425" y="85"/>
                  </a:lnTo>
                  <a:lnTo>
                    <a:pt x="425" y="60"/>
                  </a:lnTo>
                  <a:lnTo>
                    <a:pt x="436" y="23"/>
                  </a:lnTo>
                  <a:lnTo>
                    <a:pt x="403" y="0"/>
                  </a:lnTo>
                  <a:lnTo>
                    <a:pt x="466" y="14"/>
                  </a:lnTo>
                  <a:lnTo>
                    <a:pt x="510" y="47"/>
                  </a:lnTo>
                  <a:lnTo>
                    <a:pt x="580" y="67"/>
                  </a:lnTo>
                  <a:lnTo>
                    <a:pt x="614" y="107"/>
                  </a:lnTo>
                  <a:lnTo>
                    <a:pt x="627" y="164"/>
                  </a:lnTo>
                  <a:lnTo>
                    <a:pt x="647" y="164"/>
                  </a:lnTo>
                  <a:lnTo>
                    <a:pt x="647" y="197"/>
                  </a:lnTo>
                  <a:lnTo>
                    <a:pt x="674" y="237"/>
                  </a:lnTo>
                  <a:lnTo>
                    <a:pt x="667" y="285"/>
                  </a:lnTo>
                  <a:lnTo>
                    <a:pt x="710" y="343"/>
                  </a:lnTo>
                  <a:lnTo>
                    <a:pt x="710" y="363"/>
                  </a:lnTo>
                  <a:lnTo>
                    <a:pt x="656" y="370"/>
                  </a:lnTo>
                  <a:lnTo>
                    <a:pt x="652" y="388"/>
                  </a:lnTo>
                  <a:lnTo>
                    <a:pt x="620" y="372"/>
                  </a:lnTo>
                  <a:lnTo>
                    <a:pt x="589" y="426"/>
                  </a:lnTo>
                  <a:lnTo>
                    <a:pt x="562" y="443"/>
                  </a:lnTo>
                  <a:lnTo>
                    <a:pt x="580" y="462"/>
                  </a:lnTo>
                  <a:lnTo>
                    <a:pt x="564" y="508"/>
                  </a:lnTo>
                  <a:lnTo>
                    <a:pt x="604" y="537"/>
                  </a:lnTo>
                  <a:lnTo>
                    <a:pt x="564" y="602"/>
                  </a:lnTo>
                  <a:lnTo>
                    <a:pt x="562" y="638"/>
                  </a:lnTo>
                  <a:lnTo>
                    <a:pt x="490" y="683"/>
                  </a:lnTo>
                  <a:lnTo>
                    <a:pt x="477" y="712"/>
                  </a:lnTo>
                  <a:lnTo>
                    <a:pt x="454" y="714"/>
                  </a:lnTo>
                  <a:lnTo>
                    <a:pt x="441" y="744"/>
                  </a:lnTo>
                  <a:lnTo>
                    <a:pt x="414" y="773"/>
                  </a:lnTo>
                  <a:lnTo>
                    <a:pt x="416" y="791"/>
                  </a:lnTo>
                  <a:lnTo>
                    <a:pt x="385" y="817"/>
                  </a:lnTo>
                  <a:lnTo>
                    <a:pt x="400" y="851"/>
                  </a:lnTo>
                  <a:lnTo>
                    <a:pt x="412" y="902"/>
                  </a:lnTo>
                  <a:lnTo>
                    <a:pt x="376" y="903"/>
                  </a:lnTo>
                  <a:lnTo>
                    <a:pt x="387" y="932"/>
                  </a:lnTo>
                  <a:lnTo>
                    <a:pt x="381" y="970"/>
                  </a:lnTo>
                  <a:lnTo>
                    <a:pt x="407" y="1012"/>
                  </a:lnTo>
                  <a:lnTo>
                    <a:pt x="405" y="1032"/>
                  </a:lnTo>
                  <a:lnTo>
                    <a:pt x="450" y="1032"/>
                  </a:lnTo>
                  <a:lnTo>
                    <a:pt x="490" y="1060"/>
                  </a:lnTo>
                  <a:lnTo>
                    <a:pt x="497" y="1088"/>
                  </a:lnTo>
                  <a:lnTo>
                    <a:pt x="517" y="1082"/>
                  </a:lnTo>
                  <a:lnTo>
                    <a:pt x="539" y="1107"/>
                  </a:lnTo>
                  <a:lnTo>
                    <a:pt x="517" y="1135"/>
                  </a:lnTo>
                  <a:lnTo>
                    <a:pt x="484" y="1169"/>
                  </a:lnTo>
                  <a:lnTo>
                    <a:pt x="454" y="1156"/>
                  </a:lnTo>
                  <a:lnTo>
                    <a:pt x="456" y="1133"/>
                  </a:lnTo>
                  <a:lnTo>
                    <a:pt x="430" y="1129"/>
                  </a:lnTo>
                  <a:lnTo>
                    <a:pt x="439" y="1169"/>
                  </a:lnTo>
                  <a:lnTo>
                    <a:pt x="409" y="1162"/>
                  </a:lnTo>
                  <a:lnTo>
                    <a:pt x="356" y="1162"/>
                  </a:lnTo>
                  <a:lnTo>
                    <a:pt x="347" y="1187"/>
                  </a:lnTo>
                  <a:lnTo>
                    <a:pt x="418" y="1192"/>
                  </a:lnTo>
                  <a:lnTo>
                    <a:pt x="456" y="1192"/>
                  </a:lnTo>
                  <a:lnTo>
                    <a:pt x="446" y="1241"/>
                  </a:lnTo>
                  <a:lnTo>
                    <a:pt x="421" y="1263"/>
                  </a:lnTo>
                  <a:lnTo>
                    <a:pt x="394" y="1275"/>
                  </a:lnTo>
                  <a:lnTo>
                    <a:pt x="409" y="1312"/>
                  </a:lnTo>
                  <a:lnTo>
                    <a:pt x="409" y="1346"/>
                  </a:lnTo>
                  <a:lnTo>
                    <a:pt x="394" y="1368"/>
                  </a:lnTo>
                  <a:lnTo>
                    <a:pt x="407" y="1398"/>
                  </a:lnTo>
                  <a:lnTo>
                    <a:pt x="394" y="1434"/>
                  </a:lnTo>
                  <a:lnTo>
                    <a:pt x="400" y="1480"/>
                  </a:lnTo>
                  <a:lnTo>
                    <a:pt x="383" y="1523"/>
                  </a:lnTo>
                  <a:lnTo>
                    <a:pt x="372" y="1574"/>
                  </a:lnTo>
                  <a:lnTo>
                    <a:pt x="336" y="1574"/>
                  </a:lnTo>
                  <a:lnTo>
                    <a:pt x="282" y="1583"/>
                  </a:lnTo>
                  <a:lnTo>
                    <a:pt x="273" y="1603"/>
                  </a:lnTo>
                  <a:lnTo>
                    <a:pt x="242" y="1603"/>
                  </a:lnTo>
                  <a:lnTo>
                    <a:pt x="244" y="1626"/>
                  </a:lnTo>
                  <a:lnTo>
                    <a:pt x="257" y="1662"/>
                  </a:lnTo>
                  <a:lnTo>
                    <a:pt x="257" y="1680"/>
                  </a:lnTo>
                  <a:lnTo>
                    <a:pt x="213" y="1680"/>
                  </a:lnTo>
                  <a:lnTo>
                    <a:pt x="179" y="1693"/>
                  </a:lnTo>
                  <a:lnTo>
                    <a:pt x="147" y="1680"/>
                  </a:lnTo>
                  <a:lnTo>
                    <a:pt x="147" y="1659"/>
                  </a:lnTo>
                  <a:lnTo>
                    <a:pt x="148" y="1646"/>
                  </a:lnTo>
                  <a:lnTo>
                    <a:pt x="121" y="1612"/>
                  </a:lnTo>
                  <a:lnTo>
                    <a:pt x="109" y="1588"/>
                  </a:lnTo>
                  <a:lnTo>
                    <a:pt x="121" y="1574"/>
                  </a:lnTo>
                  <a:lnTo>
                    <a:pt x="119" y="1559"/>
                  </a:lnTo>
                  <a:lnTo>
                    <a:pt x="141" y="1537"/>
                  </a:lnTo>
                  <a:lnTo>
                    <a:pt x="94" y="1512"/>
                  </a:lnTo>
                  <a:lnTo>
                    <a:pt x="87" y="1481"/>
                  </a:lnTo>
                  <a:lnTo>
                    <a:pt x="54" y="1456"/>
                  </a:lnTo>
                  <a:lnTo>
                    <a:pt x="62" y="1409"/>
                  </a:lnTo>
                  <a:lnTo>
                    <a:pt x="44" y="1398"/>
                  </a:lnTo>
                  <a:lnTo>
                    <a:pt x="51" y="1348"/>
                  </a:lnTo>
                  <a:lnTo>
                    <a:pt x="42" y="1322"/>
                  </a:lnTo>
                  <a:lnTo>
                    <a:pt x="29" y="1351"/>
                  </a:lnTo>
                  <a:lnTo>
                    <a:pt x="0" y="1330"/>
                  </a:lnTo>
                  <a:lnTo>
                    <a:pt x="0" y="1299"/>
                  </a:lnTo>
                  <a:lnTo>
                    <a:pt x="0" y="1257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Sweden"/>
            <p:cNvSpPr>
              <a:spLocks/>
            </p:cNvSpPr>
            <p:nvPr/>
          </p:nvSpPr>
          <p:spPr bwMode="auto">
            <a:xfrm>
              <a:off x="9864046" y="2687638"/>
              <a:ext cx="103188" cy="188913"/>
            </a:xfrm>
            <a:custGeom>
              <a:avLst/>
              <a:gdLst>
                <a:gd name="T0" fmla="*/ 0 w 65"/>
                <a:gd name="T1" fmla="*/ 43 h 119"/>
                <a:gd name="T2" fmla="*/ 38 w 65"/>
                <a:gd name="T3" fmla="*/ 0 h 119"/>
                <a:gd name="T4" fmla="*/ 65 w 65"/>
                <a:gd name="T5" fmla="*/ 7 h 119"/>
                <a:gd name="T6" fmla="*/ 49 w 65"/>
                <a:gd name="T7" fmla="*/ 49 h 119"/>
                <a:gd name="T8" fmla="*/ 62 w 65"/>
                <a:gd name="T9" fmla="*/ 58 h 119"/>
                <a:gd name="T10" fmla="*/ 20 w 65"/>
                <a:gd name="T11" fmla="*/ 119 h 119"/>
                <a:gd name="T12" fmla="*/ 7 w 65"/>
                <a:gd name="T13" fmla="*/ 116 h 119"/>
                <a:gd name="T14" fmla="*/ 0 w 65"/>
                <a:gd name="T15" fmla="*/ 72 h 119"/>
                <a:gd name="T16" fmla="*/ 0 w 65"/>
                <a:gd name="T17" fmla="*/ 43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" h="119">
                  <a:moveTo>
                    <a:pt x="0" y="43"/>
                  </a:moveTo>
                  <a:lnTo>
                    <a:pt x="38" y="0"/>
                  </a:lnTo>
                  <a:lnTo>
                    <a:pt x="65" y="7"/>
                  </a:lnTo>
                  <a:lnTo>
                    <a:pt x="49" y="49"/>
                  </a:lnTo>
                  <a:lnTo>
                    <a:pt x="62" y="58"/>
                  </a:lnTo>
                  <a:lnTo>
                    <a:pt x="20" y="119"/>
                  </a:lnTo>
                  <a:lnTo>
                    <a:pt x="7" y="116"/>
                  </a:lnTo>
                  <a:lnTo>
                    <a:pt x="0" y="72"/>
                  </a:lnTo>
                  <a:lnTo>
                    <a:pt x="0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Sweden"/>
            <p:cNvSpPr>
              <a:spLocks/>
            </p:cNvSpPr>
            <p:nvPr/>
          </p:nvSpPr>
          <p:spPr bwMode="auto">
            <a:xfrm>
              <a:off x="9721171" y="2808288"/>
              <a:ext cx="28575" cy="74613"/>
            </a:xfrm>
            <a:custGeom>
              <a:avLst/>
              <a:gdLst>
                <a:gd name="T0" fmla="*/ 2 w 18"/>
                <a:gd name="T1" fmla="*/ 41 h 47"/>
                <a:gd name="T2" fmla="*/ 0 w 18"/>
                <a:gd name="T3" fmla="*/ 11 h 47"/>
                <a:gd name="T4" fmla="*/ 12 w 18"/>
                <a:gd name="T5" fmla="*/ 0 h 47"/>
                <a:gd name="T6" fmla="*/ 18 w 18"/>
                <a:gd name="T7" fmla="*/ 16 h 47"/>
                <a:gd name="T8" fmla="*/ 11 w 18"/>
                <a:gd name="T9" fmla="*/ 47 h 47"/>
                <a:gd name="T10" fmla="*/ 2 w 18"/>
                <a:gd name="T11" fmla="*/ 41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47">
                  <a:moveTo>
                    <a:pt x="2" y="41"/>
                  </a:moveTo>
                  <a:lnTo>
                    <a:pt x="0" y="11"/>
                  </a:lnTo>
                  <a:lnTo>
                    <a:pt x="12" y="0"/>
                  </a:lnTo>
                  <a:lnTo>
                    <a:pt x="18" y="16"/>
                  </a:lnTo>
                  <a:lnTo>
                    <a:pt x="11" y="47"/>
                  </a:lnTo>
                  <a:lnTo>
                    <a:pt x="2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Sweden"/>
            <p:cNvSpPr>
              <a:spLocks/>
            </p:cNvSpPr>
            <p:nvPr/>
          </p:nvSpPr>
          <p:spPr bwMode="auto">
            <a:xfrm>
              <a:off x="9675133" y="2882900"/>
              <a:ext cx="49213" cy="163513"/>
            </a:xfrm>
            <a:custGeom>
              <a:avLst/>
              <a:gdLst>
                <a:gd name="T0" fmla="*/ 22 w 31"/>
                <a:gd name="T1" fmla="*/ 9 h 103"/>
                <a:gd name="T2" fmla="*/ 22 w 31"/>
                <a:gd name="T3" fmla="*/ 0 h 103"/>
                <a:gd name="T4" fmla="*/ 31 w 31"/>
                <a:gd name="T5" fmla="*/ 11 h 103"/>
                <a:gd name="T6" fmla="*/ 22 w 31"/>
                <a:gd name="T7" fmla="*/ 32 h 103"/>
                <a:gd name="T8" fmla="*/ 20 w 31"/>
                <a:gd name="T9" fmla="*/ 47 h 103"/>
                <a:gd name="T10" fmla="*/ 22 w 31"/>
                <a:gd name="T11" fmla="*/ 83 h 103"/>
                <a:gd name="T12" fmla="*/ 9 w 31"/>
                <a:gd name="T13" fmla="*/ 103 h 103"/>
                <a:gd name="T14" fmla="*/ 0 w 31"/>
                <a:gd name="T15" fmla="*/ 81 h 103"/>
                <a:gd name="T16" fmla="*/ 0 w 31"/>
                <a:gd name="T17" fmla="*/ 50 h 103"/>
                <a:gd name="T18" fmla="*/ 7 w 31"/>
                <a:gd name="T19" fmla="*/ 29 h 103"/>
                <a:gd name="T20" fmla="*/ 22 w 31"/>
                <a:gd name="T21" fmla="*/ 9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103">
                  <a:moveTo>
                    <a:pt x="22" y="9"/>
                  </a:moveTo>
                  <a:lnTo>
                    <a:pt x="22" y="0"/>
                  </a:lnTo>
                  <a:lnTo>
                    <a:pt x="31" y="11"/>
                  </a:lnTo>
                  <a:lnTo>
                    <a:pt x="22" y="32"/>
                  </a:lnTo>
                  <a:lnTo>
                    <a:pt x="20" y="47"/>
                  </a:lnTo>
                  <a:lnTo>
                    <a:pt x="22" y="83"/>
                  </a:lnTo>
                  <a:lnTo>
                    <a:pt x="9" y="103"/>
                  </a:lnTo>
                  <a:lnTo>
                    <a:pt x="0" y="81"/>
                  </a:lnTo>
                  <a:lnTo>
                    <a:pt x="0" y="50"/>
                  </a:lnTo>
                  <a:lnTo>
                    <a:pt x="7" y="29"/>
                  </a:lnTo>
                  <a:lnTo>
                    <a:pt x="2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Sweden"/>
            <p:cNvSpPr>
              <a:spLocks/>
            </p:cNvSpPr>
            <p:nvPr/>
          </p:nvSpPr>
          <p:spPr bwMode="auto">
            <a:xfrm>
              <a:off x="9770383" y="2446338"/>
              <a:ext cx="57150" cy="84138"/>
            </a:xfrm>
            <a:custGeom>
              <a:avLst/>
              <a:gdLst>
                <a:gd name="T0" fmla="*/ 7 w 20"/>
                <a:gd name="T1" fmla="*/ 2 h 29"/>
                <a:gd name="T2" fmla="*/ 15 w 20"/>
                <a:gd name="T3" fmla="*/ 0 h 29"/>
                <a:gd name="T4" fmla="*/ 20 w 20"/>
                <a:gd name="T5" fmla="*/ 7 h 29"/>
                <a:gd name="T6" fmla="*/ 14 w 20"/>
                <a:gd name="T7" fmla="*/ 14 h 29"/>
                <a:gd name="T8" fmla="*/ 10 w 20"/>
                <a:gd name="T9" fmla="*/ 17 h 29"/>
                <a:gd name="T10" fmla="*/ 10 w 20"/>
                <a:gd name="T11" fmla="*/ 29 h 29"/>
                <a:gd name="T12" fmla="*/ 3 w 20"/>
                <a:gd name="T13" fmla="*/ 19 h 29"/>
                <a:gd name="T14" fmla="*/ 0 w 20"/>
                <a:gd name="T15" fmla="*/ 11 h 29"/>
                <a:gd name="T16" fmla="*/ 4 w 20"/>
                <a:gd name="T17" fmla="*/ 2 h 29"/>
                <a:gd name="T18" fmla="*/ 7 w 20"/>
                <a:gd name="T19" fmla="*/ 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29">
                  <a:moveTo>
                    <a:pt x="7" y="2"/>
                  </a:moveTo>
                  <a:cubicBezTo>
                    <a:pt x="7" y="2"/>
                    <a:pt x="14" y="0"/>
                    <a:pt x="15" y="0"/>
                  </a:cubicBezTo>
                  <a:cubicBezTo>
                    <a:pt x="15" y="1"/>
                    <a:pt x="20" y="7"/>
                    <a:pt x="20" y="7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4" y="14"/>
                    <a:pt x="11" y="17"/>
                    <a:pt x="10" y="17"/>
                  </a:cubicBezTo>
                  <a:cubicBezTo>
                    <a:pt x="10" y="18"/>
                    <a:pt x="10" y="29"/>
                    <a:pt x="10" y="29"/>
                  </a:cubicBezTo>
                  <a:cubicBezTo>
                    <a:pt x="3" y="19"/>
                    <a:pt x="3" y="19"/>
                    <a:pt x="3" y="19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4" y="2"/>
                    <a:pt x="4" y="2"/>
                    <a:pt x="4" y="2"/>
                  </a:cubicBezTo>
                  <a:lnTo>
                    <a:pt x="7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Sweden"/>
            <p:cNvSpPr>
              <a:spLocks/>
            </p:cNvSpPr>
            <p:nvPr/>
          </p:nvSpPr>
          <p:spPr bwMode="auto">
            <a:xfrm>
              <a:off x="9818008" y="2424113"/>
              <a:ext cx="23813" cy="31750"/>
            </a:xfrm>
            <a:custGeom>
              <a:avLst/>
              <a:gdLst>
                <a:gd name="T0" fmla="*/ 0 w 8"/>
                <a:gd name="T1" fmla="*/ 4 h 11"/>
                <a:gd name="T2" fmla="*/ 8 w 8"/>
                <a:gd name="T3" fmla="*/ 11 h 11"/>
                <a:gd name="T4" fmla="*/ 8 w 8"/>
                <a:gd name="T5" fmla="*/ 3 h 11"/>
                <a:gd name="T6" fmla="*/ 0 w 8"/>
                <a:gd name="T7" fmla="*/ 0 h 11"/>
                <a:gd name="T8" fmla="*/ 0 w 8"/>
                <a:gd name="T9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1">
                  <a:moveTo>
                    <a:pt x="0" y="4"/>
                  </a:moveTo>
                  <a:cubicBezTo>
                    <a:pt x="0" y="5"/>
                    <a:pt x="8" y="11"/>
                    <a:pt x="8" y="11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4" name="Text"/>
          <p:cNvGrpSpPr>
            <a:grpSpLocks/>
          </p:cNvGrpSpPr>
          <p:nvPr/>
        </p:nvGrpSpPr>
        <p:grpSpPr>
          <a:xfrm>
            <a:off x="5628283" y="1603376"/>
            <a:ext cx="6390770" cy="4647174"/>
            <a:chOff x="5649303" y="1603376"/>
            <a:chExt cx="6390770" cy="4647174"/>
          </a:xfrm>
        </p:grpSpPr>
        <p:sp>
          <p:nvSpPr>
            <p:cNvPr id="75" name="Turkey Text"/>
            <p:cNvSpPr txBox="1"/>
            <p:nvPr/>
          </p:nvSpPr>
          <p:spPr>
            <a:xfrm>
              <a:off x="11788401" y="5884075"/>
              <a:ext cx="25167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Turkey</a:t>
              </a:r>
            </a:p>
          </p:txBody>
        </p:sp>
        <p:sp>
          <p:nvSpPr>
            <p:cNvPr id="76" name="Bulgaria Text"/>
            <p:cNvSpPr txBox="1"/>
            <p:nvPr/>
          </p:nvSpPr>
          <p:spPr>
            <a:xfrm>
              <a:off x="11175320" y="5448201"/>
              <a:ext cx="29976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Bulgaria</a:t>
              </a:r>
            </a:p>
          </p:txBody>
        </p:sp>
        <p:sp>
          <p:nvSpPr>
            <p:cNvPr id="77" name="Romania Text"/>
            <p:cNvSpPr txBox="1"/>
            <p:nvPr/>
          </p:nvSpPr>
          <p:spPr>
            <a:xfrm>
              <a:off x="10945205" y="4841670"/>
              <a:ext cx="323807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Romania</a:t>
              </a:r>
            </a:p>
          </p:txBody>
        </p:sp>
        <p:sp>
          <p:nvSpPr>
            <p:cNvPr id="78" name="Moldova Text"/>
            <p:cNvSpPr txBox="1"/>
            <p:nvPr/>
          </p:nvSpPr>
          <p:spPr>
            <a:xfrm>
              <a:off x="11502482" y="4447743"/>
              <a:ext cx="314189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Moldova</a:t>
              </a:r>
            </a:p>
          </p:txBody>
        </p:sp>
        <p:sp>
          <p:nvSpPr>
            <p:cNvPr id="79" name="Ukraine Text"/>
            <p:cNvSpPr txBox="1"/>
            <p:nvPr/>
          </p:nvSpPr>
          <p:spPr>
            <a:xfrm>
              <a:off x="11358314" y="3914529"/>
              <a:ext cx="28373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Ukraine</a:t>
              </a:r>
            </a:p>
          </p:txBody>
        </p:sp>
        <p:sp>
          <p:nvSpPr>
            <p:cNvPr id="80" name="Belarus Text"/>
            <p:cNvSpPr txBox="1"/>
            <p:nvPr/>
          </p:nvSpPr>
          <p:spPr>
            <a:xfrm>
              <a:off x="11128766" y="3253935"/>
              <a:ext cx="26770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Belarus</a:t>
              </a:r>
            </a:p>
          </p:txBody>
        </p:sp>
        <p:sp>
          <p:nvSpPr>
            <p:cNvPr id="81" name="Lithuania Text"/>
            <p:cNvSpPr txBox="1"/>
            <p:nvPr/>
          </p:nvSpPr>
          <p:spPr>
            <a:xfrm>
              <a:off x="10446517" y="3045434"/>
              <a:ext cx="343043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Lithuania</a:t>
              </a:r>
            </a:p>
          </p:txBody>
        </p:sp>
        <p:sp>
          <p:nvSpPr>
            <p:cNvPr id="82" name="Latvia Text"/>
            <p:cNvSpPr txBox="1"/>
            <p:nvPr/>
          </p:nvSpPr>
          <p:spPr>
            <a:xfrm>
              <a:off x="10625856" y="2723156"/>
              <a:ext cx="22602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Latvia</a:t>
              </a:r>
            </a:p>
          </p:txBody>
        </p:sp>
        <p:sp>
          <p:nvSpPr>
            <p:cNvPr id="83" name="Estonia Text"/>
            <p:cNvSpPr txBox="1"/>
            <p:nvPr/>
          </p:nvSpPr>
          <p:spPr>
            <a:xfrm>
              <a:off x="10520330" y="2368611"/>
              <a:ext cx="272510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Estonia</a:t>
              </a:r>
            </a:p>
          </p:txBody>
        </p:sp>
        <p:sp>
          <p:nvSpPr>
            <p:cNvPr id="84" name="Russia Text"/>
            <p:cNvSpPr txBox="1"/>
            <p:nvPr/>
          </p:nvSpPr>
          <p:spPr>
            <a:xfrm>
              <a:off x="11333686" y="1740823"/>
              <a:ext cx="232436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Russia</a:t>
              </a:r>
            </a:p>
          </p:txBody>
        </p:sp>
        <p:sp>
          <p:nvSpPr>
            <p:cNvPr id="85" name="Greece Text"/>
            <p:cNvSpPr txBox="1"/>
            <p:nvPr/>
          </p:nvSpPr>
          <p:spPr>
            <a:xfrm>
              <a:off x="10750982" y="6160525"/>
              <a:ext cx="25167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Greece</a:t>
              </a:r>
            </a:p>
          </p:txBody>
        </p:sp>
        <p:sp>
          <p:nvSpPr>
            <p:cNvPr id="86" name="Albania Text"/>
            <p:cNvSpPr txBox="1"/>
            <p:nvPr/>
          </p:nvSpPr>
          <p:spPr>
            <a:xfrm>
              <a:off x="10488488" y="5896499"/>
              <a:ext cx="275717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Albania</a:t>
              </a:r>
            </a:p>
          </p:txBody>
        </p:sp>
        <p:sp>
          <p:nvSpPr>
            <p:cNvPr id="87" name="Makedonia Text"/>
            <p:cNvSpPr txBox="1"/>
            <p:nvPr/>
          </p:nvSpPr>
          <p:spPr>
            <a:xfrm>
              <a:off x="10600786" y="5673747"/>
              <a:ext cx="39594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Macedonia</a:t>
              </a:r>
            </a:p>
          </p:txBody>
        </p:sp>
        <p:sp>
          <p:nvSpPr>
            <p:cNvPr id="88" name="Kosovo Text"/>
            <p:cNvSpPr txBox="1"/>
            <p:nvPr/>
          </p:nvSpPr>
          <p:spPr>
            <a:xfrm>
              <a:off x="10680608" y="5486132"/>
              <a:ext cx="269304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Kosovo</a:t>
              </a:r>
            </a:p>
          </p:txBody>
        </p:sp>
        <p:sp>
          <p:nvSpPr>
            <p:cNvPr id="89" name="Montenegro Text"/>
            <p:cNvSpPr txBox="1"/>
            <p:nvPr/>
          </p:nvSpPr>
          <p:spPr>
            <a:xfrm>
              <a:off x="10271548" y="5481130"/>
              <a:ext cx="264496" cy="1800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Monte-</a:t>
              </a:r>
              <a:br>
                <a:rPr lang="en-GB" sz="650" b="1" noProof="1">
                  <a:solidFill>
                    <a:schemeClr val="accent1"/>
                  </a:solidFill>
                </a:rPr>
              </a:br>
              <a:r>
                <a:rPr lang="en-GB" sz="650" b="1" noProof="1">
                  <a:solidFill>
                    <a:schemeClr val="accent1"/>
                  </a:solidFill>
                </a:rPr>
                <a:t>negro</a:t>
              </a:r>
            </a:p>
          </p:txBody>
        </p:sp>
        <p:sp>
          <p:nvSpPr>
            <p:cNvPr id="90" name="Serbia Text"/>
            <p:cNvSpPr txBox="1"/>
            <p:nvPr/>
          </p:nvSpPr>
          <p:spPr>
            <a:xfrm>
              <a:off x="10421442" y="5199562"/>
              <a:ext cx="230832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Serbia</a:t>
              </a:r>
            </a:p>
          </p:txBody>
        </p:sp>
        <p:sp>
          <p:nvSpPr>
            <p:cNvPr id="91" name="Bosnia &amp; Herzegovina Text"/>
            <p:cNvSpPr txBox="1"/>
            <p:nvPr/>
          </p:nvSpPr>
          <p:spPr>
            <a:xfrm>
              <a:off x="9856795" y="5205454"/>
              <a:ext cx="472206" cy="18004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Bosnia &amp; </a:t>
              </a:r>
              <a:br>
                <a:rPr lang="en-GB" sz="650" b="1" noProof="1">
                  <a:solidFill>
                    <a:schemeClr val="accent1"/>
                  </a:solidFill>
                </a:rPr>
              </a:br>
              <a:r>
                <a:rPr lang="en-GB" sz="650" b="1" noProof="1">
                  <a:solidFill>
                    <a:schemeClr val="accent1"/>
                  </a:solidFill>
                </a:rPr>
                <a:t>Herzegovina</a:t>
              </a:r>
            </a:p>
          </p:txBody>
        </p:sp>
        <p:sp>
          <p:nvSpPr>
            <p:cNvPr id="92" name="Croatia Text"/>
            <p:cNvSpPr txBox="1"/>
            <p:nvPr/>
          </p:nvSpPr>
          <p:spPr>
            <a:xfrm>
              <a:off x="9589725" y="5090075"/>
              <a:ext cx="26289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Croatia</a:t>
              </a:r>
            </a:p>
          </p:txBody>
        </p:sp>
        <p:sp>
          <p:nvSpPr>
            <p:cNvPr id="93" name="Slovenia Text"/>
            <p:cNvSpPr txBox="1"/>
            <p:nvPr/>
          </p:nvSpPr>
          <p:spPr>
            <a:xfrm>
              <a:off x="9465688" y="4946695"/>
              <a:ext cx="310983" cy="9002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Slovenia</a:t>
              </a:r>
            </a:p>
          </p:txBody>
        </p:sp>
        <p:sp>
          <p:nvSpPr>
            <p:cNvPr id="94" name="Hungary Text"/>
            <p:cNvSpPr txBox="1"/>
            <p:nvPr/>
          </p:nvSpPr>
          <p:spPr>
            <a:xfrm>
              <a:off x="10110459" y="4708613"/>
              <a:ext cx="310983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Hungary</a:t>
              </a:r>
            </a:p>
          </p:txBody>
        </p:sp>
        <p:sp>
          <p:nvSpPr>
            <p:cNvPr id="95" name="Italy Text"/>
            <p:cNvSpPr txBox="1"/>
            <p:nvPr/>
          </p:nvSpPr>
          <p:spPr>
            <a:xfrm>
              <a:off x="9235159" y="5623720"/>
              <a:ext cx="16190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Italy</a:t>
              </a:r>
            </a:p>
          </p:txBody>
        </p:sp>
        <p:sp>
          <p:nvSpPr>
            <p:cNvPr id="96" name="Austria Text"/>
            <p:cNvSpPr txBox="1"/>
            <p:nvPr/>
          </p:nvSpPr>
          <p:spPr>
            <a:xfrm>
              <a:off x="9453547" y="4650986"/>
              <a:ext cx="259686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Austria</a:t>
              </a:r>
            </a:p>
          </p:txBody>
        </p:sp>
        <p:sp>
          <p:nvSpPr>
            <p:cNvPr id="97" name="Switzerland Text"/>
            <p:cNvSpPr txBox="1"/>
            <p:nvPr/>
          </p:nvSpPr>
          <p:spPr>
            <a:xfrm>
              <a:off x="8437475" y="4841670"/>
              <a:ext cx="431208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Switzerland</a:t>
              </a:r>
            </a:p>
          </p:txBody>
        </p:sp>
        <p:sp>
          <p:nvSpPr>
            <p:cNvPr id="98" name="Portugal Text"/>
            <p:cNvSpPr txBox="1"/>
            <p:nvPr/>
          </p:nvSpPr>
          <p:spPr>
            <a:xfrm>
              <a:off x="5649303" y="5994326"/>
              <a:ext cx="312586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a-DK" sz="650" b="1" dirty="0">
                  <a:solidFill>
                    <a:schemeClr val="accent1"/>
                  </a:solidFill>
                </a:rPr>
                <a:t>Portugal</a:t>
              </a:r>
            </a:p>
          </p:txBody>
        </p:sp>
        <p:sp>
          <p:nvSpPr>
            <p:cNvPr id="99" name="Spain Text"/>
            <p:cNvSpPr txBox="1"/>
            <p:nvPr/>
          </p:nvSpPr>
          <p:spPr>
            <a:xfrm>
              <a:off x="6556415" y="5930886"/>
              <a:ext cx="20518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a-DK" sz="650" b="1" dirty="0">
                  <a:solidFill>
                    <a:schemeClr val="accent1"/>
                  </a:solidFill>
                </a:rPr>
                <a:t>Spain</a:t>
              </a:r>
            </a:p>
          </p:txBody>
        </p:sp>
        <p:sp>
          <p:nvSpPr>
            <p:cNvPr id="100" name="Andorra Text"/>
            <p:cNvSpPr txBox="1"/>
            <p:nvPr/>
          </p:nvSpPr>
          <p:spPr>
            <a:xfrm>
              <a:off x="7509710" y="5481130"/>
              <a:ext cx="294953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Andorra</a:t>
              </a:r>
            </a:p>
          </p:txBody>
        </p:sp>
        <p:sp>
          <p:nvSpPr>
            <p:cNvPr id="101" name="France Text"/>
            <p:cNvSpPr txBox="1"/>
            <p:nvPr/>
          </p:nvSpPr>
          <p:spPr>
            <a:xfrm>
              <a:off x="7671332" y="4791656"/>
              <a:ext cx="24205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France</a:t>
              </a:r>
            </a:p>
          </p:txBody>
        </p:sp>
        <p:sp>
          <p:nvSpPr>
            <p:cNvPr id="102" name="Slovakia Text"/>
            <p:cNvSpPr txBox="1"/>
            <p:nvPr/>
          </p:nvSpPr>
          <p:spPr>
            <a:xfrm>
              <a:off x="10072207" y="4420326"/>
              <a:ext cx="307777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Slovakia</a:t>
              </a:r>
            </a:p>
          </p:txBody>
        </p:sp>
        <p:sp>
          <p:nvSpPr>
            <p:cNvPr id="103" name="Czech Republic Text"/>
            <p:cNvSpPr txBox="1"/>
            <p:nvPr/>
          </p:nvSpPr>
          <p:spPr>
            <a:xfrm>
              <a:off x="9402630" y="4256088"/>
              <a:ext cx="543418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Czech Republic</a:t>
              </a:r>
            </a:p>
          </p:txBody>
        </p:sp>
        <p:sp>
          <p:nvSpPr>
            <p:cNvPr id="104" name="Luxembourg Text"/>
            <p:cNvSpPr txBox="1"/>
            <p:nvPr/>
          </p:nvSpPr>
          <p:spPr>
            <a:xfrm>
              <a:off x="8400256" y="4250198"/>
              <a:ext cx="46006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Luxembourg</a:t>
              </a:r>
            </a:p>
          </p:txBody>
        </p:sp>
        <p:sp>
          <p:nvSpPr>
            <p:cNvPr id="105" name="Belgium Text"/>
            <p:cNvSpPr txBox="1"/>
            <p:nvPr/>
          </p:nvSpPr>
          <p:spPr>
            <a:xfrm>
              <a:off x="7998085" y="4038430"/>
              <a:ext cx="298159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Belgium</a:t>
              </a:r>
            </a:p>
          </p:txBody>
        </p:sp>
        <p:sp>
          <p:nvSpPr>
            <p:cNvPr id="106" name="Ireland Text"/>
            <p:cNvSpPr txBox="1"/>
            <p:nvPr/>
          </p:nvSpPr>
          <p:spPr>
            <a:xfrm>
              <a:off x="6461451" y="3411767"/>
              <a:ext cx="25167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noProof="1">
                  <a:solidFill>
                    <a:schemeClr val="accent1"/>
                  </a:solidFill>
                </a:rPr>
                <a:t>Ireland</a:t>
              </a:r>
            </a:p>
          </p:txBody>
        </p:sp>
        <p:sp>
          <p:nvSpPr>
            <p:cNvPr id="107" name="UK Text"/>
            <p:cNvSpPr txBox="1"/>
            <p:nvPr/>
          </p:nvSpPr>
          <p:spPr>
            <a:xfrm>
              <a:off x="7279376" y="3565018"/>
              <a:ext cx="123432" cy="10002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da-DK" sz="650" b="1" dirty="0">
                  <a:solidFill>
                    <a:schemeClr val="accent1"/>
                  </a:solidFill>
                </a:rPr>
                <a:t>UK</a:t>
              </a:r>
            </a:p>
          </p:txBody>
        </p:sp>
        <p:sp>
          <p:nvSpPr>
            <p:cNvPr id="108" name="Netherlands Text"/>
            <p:cNvSpPr txBox="1"/>
            <p:nvPr/>
          </p:nvSpPr>
          <p:spPr>
            <a:xfrm>
              <a:off x="8172704" y="3773074"/>
              <a:ext cx="282129" cy="1800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en-GB" sz="650" b="1" noProof="1">
                  <a:solidFill>
                    <a:schemeClr val="accent1"/>
                  </a:solidFill>
                </a:rPr>
                <a:t>Nether-</a:t>
              </a:r>
              <a:br>
                <a:rPr lang="en-GB" sz="650" b="1" noProof="1">
                  <a:solidFill>
                    <a:schemeClr val="accent1"/>
                  </a:solidFill>
                </a:rPr>
              </a:br>
              <a:r>
                <a:rPr lang="en-GB" sz="650" b="1" noProof="1">
                  <a:solidFill>
                    <a:schemeClr val="accent1"/>
                  </a:solidFill>
                </a:rPr>
                <a:t>lands</a:t>
              </a:r>
            </a:p>
          </p:txBody>
        </p:sp>
        <p:sp>
          <p:nvSpPr>
            <p:cNvPr id="109" name="Poland Text"/>
            <p:cNvSpPr txBox="1"/>
            <p:nvPr/>
          </p:nvSpPr>
          <p:spPr>
            <a:xfrm>
              <a:off x="10071860" y="3731412"/>
              <a:ext cx="25327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Poland</a:t>
              </a:r>
            </a:p>
          </p:txBody>
        </p:sp>
        <p:sp>
          <p:nvSpPr>
            <p:cNvPr id="110" name="Germany Text"/>
            <p:cNvSpPr txBox="1"/>
            <p:nvPr/>
          </p:nvSpPr>
          <p:spPr>
            <a:xfrm>
              <a:off x="8698771" y="3931659"/>
              <a:ext cx="33182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Germany</a:t>
              </a:r>
            </a:p>
          </p:txBody>
        </p:sp>
        <p:sp>
          <p:nvSpPr>
            <p:cNvPr id="111" name="Denmark Text"/>
            <p:cNvSpPr txBox="1"/>
            <p:nvPr/>
          </p:nvSpPr>
          <p:spPr>
            <a:xfrm>
              <a:off x="8385174" y="2999574"/>
              <a:ext cx="333425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Denmark</a:t>
              </a:r>
            </a:p>
          </p:txBody>
        </p:sp>
        <p:sp>
          <p:nvSpPr>
            <p:cNvPr id="112" name="Finland Text"/>
            <p:cNvSpPr txBox="1"/>
            <p:nvPr/>
          </p:nvSpPr>
          <p:spPr>
            <a:xfrm>
              <a:off x="10402193" y="1603376"/>
              <a:ext cx="267702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da-DK" sz="650" b="1" dirty="0">
                  <a:solidFill>
                    <a:schemeClr val="accent1"/>
                  </a:solidFill>
                </a:rPr>
                <a:t>Finland</a:t>
              </a:r>
            </a:p>
          </p:txBody>
        </p:sp>
        <p:sp>
          <p:nvSpPr>
            <p:cNvPr id="113" name="Sweden Text"/>
            <p:cNvSpPr txBox="1"/>
            <p:nvPr/>
          </p:nvSpPr>
          <p:spPr>
            <a:xfrm>
              <a:off x="9326093" y="1818976"/>
              <a:ext cx="290144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Sweden</a:t>
              </a:r>
            </a:p>
          </p:txBody>
        </p:sp>
        <p:sp>
          <p:nvSpPr>
            <p:cNvPr id="114" name="Norway Text"/>
            <p:cNvSpPr txBox="1"/>
            <p:nvPr/>
          </p:nvSpPr>
          <p:spPr>
            <a:xfrm>
              <a:off x="8623671" y="2089135"/>
              <a:ext cx="285335" cy="10002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650" b="1" dirty="0">
                  <a:solidFill>
                    <a:schemeClr val="accent1"/>
                  </a:solidFill>
                </a:rPr>
                <a:t>Norway</a:t>
              </a:r>
            </a:p>
          </p:txBody>
        </p:sp>
      </p:grpSp>
      <p:grpSp>
        <p:nvGrpSpPr>
          <p:cNvPr id="115" name="Russia"/>
          <p:cNvGrpSpPr>
            <a:grpSpLocks/>
          </p:cNvGrpSpPr>
          <p:nvPr/>
        </p:nvGrpSpPr>
        <p:grpSpPr>
          <a:xfrm>
            <a:off x="10116076" y="-3175"/>
            <a:ext cx="2084387" cy="3536950"/>
            <a:chOff x="10137096" y="-3175"/>
            <a:chExt cx="2084387" cy="3536950"/>
          </a:xfrm>
          <a:solidFill>
            <a:schemeClr val="accent3"/>
          </a:solidFill>
        </p:grpSpPr>
        <p:sp>
          <p:nvSpPr>
            <p:cNvPr id="116" name="Russia"/>
            <p:cNvSpPr>
              <a:spLocks/>
            </p:cNvSpPr>
            <p:nvPr/>
          </p:nvSpPr>
          <p:spPr bwMode="auto">
            <a:xfrm>
              <a:off x="10137096" y="3149600"/>
              <a:ext cx="374650" cy="182563"/>
            </a:xfrm>
            <a:custGeom>
              <a:avLst/>
              <a:gdLst>
                <a:gd name="T0" fmla="*/ 88 w 236"/>
                <a:gd name="T1" fmla="*/ 0 h 115"/>
                <a:gd name="T2" fmla="*/ 173 w 236"/>
                <a:gd name="T3" fmla="*/ 25 h 115"/>
                <a:gd name="T4" fmla="*/ 202 w 236"/>
                <a:gd name="T5" fmla="*/ 16 h 115"/>
                <a:gd name="T6" fmla="*/ 235 w 236"/>
                <a:gd name="T7" fmla="*/ 32 h 115"/>
                <a:gd name="T8" fmla="*/ 227 w 236"/>
                <a:gd name="T9" fmla="*/ 54 h 115"/>
                <a:gd name="T10" fmla="*/ 236 w 236"/>
                <a:gd name="T11" fmla="*/ 88 h 115"/>
                <a:gd name="T12" fmla="*/ 202 w 236"/>
                <a:gd name="T13" fmla="*/ 110 h 115"/>
                <a:gd name="T14" fmla="*/ 103 w 236"/>
                <a:gd name="T15" fmla="*/ 115 h 115"/>
                <a:gd name="T16" fmla="*/ 0 w 236"/>
                <a:gd name="T17" fmla="*/ 110 h 115"/>
                <a:gd name="T18" fmla="*/ 12 w 236"/>
                <a:gd name="T19" fmla="*/ 96 h 115"/>
                <a:gd name="T20" fmla="*/ 3 w 236"/>
                <a:gd name="T21" fmla="*/ 68 h 115"/>
                <a:gd name="T22" fmla="*/ 65 w 236"/>
                <a:gd name="T23" fmla="*/ 49 h 115"/>
                <a:gd name="T24" fmla="*/ 88 w 236"/>
                <a:gd name="T25" fmla="*/ 0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6" h="115">
                  <a:moveTo>
                    <a:pt x="88" y="0"/>
                  </a:moveTo>
                  <a:lnTo>
                    <a:pt x="173" y="25"/>
                  </a:lnTo>
                  <a:lnTo>
                    <a:pt x="202" y="16"/>
                  </a:lnTo>
                  <a:lnTo>
                    <a:pt x="235" y="32"/>
                  </a:lnTo>
                  <a:lnTo>
                    <a:pt x="227" y="54"/>
                  </a:lnTo>
                  <a:lnTo>
                    <a:pt x="236" y="88"/>
                  </a:lnTo>
                  <a:lnTo>
                    <a:pt x="202" y="110"/>
                  </a:lnTo>
                  <a:lnTo>
                    <a:pt x="103" y="115"/>
                  </a:lnTo>
                  <a:lnTo>
                    <a:pt x="0" y="110"/>
                  </a:lnTo>
                  <a:lnTo>
                    <a:pt x="12" y="96"/>
                  </a:lnTo>
                  <a:lnTo>
                    <a:pt x="3" y="68"/>
                  </a:lnTo>
                  <a:lnTo>
                    <a:pt x="65" y="49"/>
                  </a:lnTo>
                  <a:lnTo>
                    <a:pt x="88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7" name="Russia"/>
            <p:cNvSpPr>
              <a:spLocks/>
            </p:cNvSpPr>
            <p:nvPr/>
          </p:nvSpPr>
          <p:spPr bwMode="auto">
            <a:xfrm>
              <a:off x="10461263" y="-3175"/>
              <a:ext cx="1760220" cy="3536950"/>
            </a:xfrm>
            <a:custGeom>
              <a:avLst/>
              <a:gdLst>
                <a:gd name="T0" fmla="*/ 517 w 638"/>
                <a:gd name="T1" fmla="*/ 44 h 1233"/>
                <a:gd name="T2" fmla="*/ 493 w 638"/>
                <a:gd name="T3" fmla="*/ 99 h 1233"/>
                <a:gd name="T4" fmla="*/ 478 w 638"/>
                <a:gd name="T5" fmla="*/ 49 h 1233"/>
                <a:gd name="T6" fmla="*/ 419 w 638"/>
                <a:gd name="T7" fmla="*/ 23 h 1233"/>
                <a:gd name="T8" fmla="*/ 406 w 638"/>
                <a:gd name="T9" fmla="*/ 59 h 1233"/>
                <a:gd name="T10" fmla="*/ 436 w 638"/>
                <a:gd name="T11" fmla="*/ 121 h 1233"/>
                <a:gd name="T12" fmla="*/ 477 w 638"/>
                <a:gd name="T13" fmla="*/ 143 h 1233"/>
                <a:gd name="T14" fmla="*/ 458 w 638"/>
                <a:gd name="T15" fmla="*/ 178 h 1233"/>
                <a:gd name="T16" fmla="*/ 406 w 638"/>
                <a:gd name="T17" fmla="*/ 225 h 1233"/>
                <a:gd name="T18" fmla="*/ 419 w 638"/>
                <a:gd name="T19" fmla="*/ 296 h 1233"/>
                <a:gd name="T20" fmla="*/ 405 w 638"/>
                <a:gd name="T21" fmla="*/ 333 h 1233"/>
                <a:gd name="T22" fmla="*/ 328 w 638"/>
                <a:gd name="T23" fmla="*/ 320 h 1233"/>
                <a:gd name="T24" fmla="*/ 318 w 638"/>
                <a:gd name="T25" fmla="*/ 348 h 1233"/>
                <a:gd name="T26" fmla="*/ 390 w 638"/>
                <a:gd name="T27" fmla="*/ 384 h 1233"/>
                <a:gd name="T28" fmla="*/ 322 w 638"/>
                <a:gd name="T29" fmla="*/ 403 h 1233"/>
                <a:gd name="T30" fmla="*/ 289 w 638"/>
                <a:gd name="T31" fmla="*/ 403 h 1233"/>
                <a:gd name="T32" fmla="*/ 247 w 638"/>
                <a:gd name="T33" fmla="*/ 353 h 1233"/>
                <a:gd name="T34" fmla="*/ 242 w 638"/>
                <a:gd name="T35" fmla="*/ 325 h 1233"/>
                <a:gd name="T36" fmla="*/ 187 w 638"/>
                <a:gd name="T37" fmla="*/ 288 h 1233"/>
                <a:gd name="T38" fmla="*/ 134 w 638"/>
                <a:gd name="T39" fmla="*/ 261 h 1233"/>
                <a:gd name="T40" fmla="*/ 148 w 638"/>
                <a:gd name="T41" fmla="*/ 247 h 1233"/>
                <a:gd name="T42" fmla="*/ 205 w 638"/>
                <a:gd name="T43" fmla="*/ 261 h 1233"/>
                <a:gd name="T44" fmla="*/ 276 w 638"/>
                <a:gd name="T45" fmla="*/ 261 h 1233"/>
                <a:gd name="T46" fmla="*/ 377 w 638"/>
                <a:gd name="T47" fmla="*/ 171 h 1233"/>
                <a:gd name="T48" fmla="*/ 300 w 638"/>
                <a:gd name="T49" fmla="*/ 121 h 1233"/>
                <a:gd name="T50" fmla="*/ 217 w 638"/>
                <a:gd name="T51" fmla="*/ 99 h 1233"/>
                <a:gd name="T52" fmla="*/ 111 w 638"/>
                <a:gd name="T53" fmla="*/ 97 h 1233"/>
                <a:gd name="T54" fmla="*/ 100 w 638"/>
                <a:gd name="T55" fmla="*/ 112 h 1233"/>
                <a:gd name="T56" fmla="*/ 89 w 638"/>
                <a:gd name="T57" fmla="*/ 135 h 1233"/>
                <a:gd name="T58" fmla="*/ 19 w 638"/>
                <a:gd name="T59" fmla="*/ 156 h 1233"/>
                <a:gd name="T60" fmla="*/ 0 w 638"/>
                <a:gd name="T61" fmla="*/ 207 h 1233"/>
                <a:gd name="T62" fmla="*/ 24 w 638"/>
                <a:gd name="T63" fmla="*/ 213 h 1233"/>
                <a:gd name="T64" fmla="*/ 57 w 638"/>
                <a:gd name="T65" fmla="*/ 243 h 1233"/>
                <a:gd name="T66" fmla="*/ 107 w 638"/>
                <a:gd name="T67" fmla="*/ 355 h 1233"/>
                <a:gd name="T68" fmla="*/ 107 w 638"/>
                <a:gd name="T69" fmla="*/ 397 h 1233"/>
                <a:gd name="T70" fmla="*/ 125 w 638"/>
                <a:gd name="T71" fmla="*/ 415 h 1233"/>
                <a:gd name="T72" fmla="*/ 148 w 638"/>
                <a:gd name="T73" fmla="*/ 441 h 1233"/>
                <a:gd name="T74" fmla="*/ 209 w 638"/>
                <a:gd name="T75" fmla="*/ 517 h 1233"/>
                <a:gd name="T76" fmla="*/ 146 w 638"/>
                <a:gd name="T77" fmla="*/ 700 h 1233"/>
                <a:gd name="T78" fmla="*/ 187 w 638"/>
                <a:gd name="T79" fmla="*/ 720 h 1233"/>
                <a:gd name="T80" fmla="*/ 242 w 638"/>
                <a:gd name="T81" fmla="*/ 739 h 1233"/>
                <a:gd name="T82" fmla="*/ 163 w 638"/>
                <a:gd name="T83" fmla="*/ 761 h 1233"/>
                <a:gd name="T84" fmla="*/ 162 w 638"/>
                <a:gd name="T85" fmla="*/ 791 h 1233"/>
                <a:gd name="T86" fmla="*/ 159 w 638"/>
                <a:gd name="T87" fmla="*/ 837 h 1233"/>
                <a:gd name="T88" fmla="*/ 180 w 638"/>
                <a:gd name="T89" fmla="*/ 865 h 1233"/>
                <a:gd name="T90" fmla="*/ 180 w 638"/>
                <a:gd name="T91" fmla="*/ 900 h 1233"/>
                <a:gd name="T92" fmla="*/ 202 w 638"/>
                <a:gd name="T93" fmla="*/ 934 h 1233"/>
                <a:gd name="T94" fmla="*/ 224 w 638"/>
                <a:gd name="T95" fmla="*/ 963 h 1233"/>
                <a:gd name="T96" fmla="*/ 260 w 638"/>
                <a:gd name="T97" fmla="*/ 983 h 1233"/>
                <a:gd name="T98" fmla="*/ 328 w 638"/>
                <a:gd name="T99" fmla="*/ 983 h 1233"/>
                <a:gd name="T100" fmla="*/ 373 w 638"/>
                <a:gd name="T101" fmla="*/ 1044 h 1233"/>
                <a:gd name="T102" fmla="*/ 417 w 638"/>
                <a:gd name="T103" fmla="*/ 1074 h 1233"/>
                <a:gd name="T104" fmla="*/ 470 w 638"/>
                <a:gd name="T105" fmla="*/ 1092 h 1233"/>
                <a:gd name="T106" fmla="*/ 441 w 638"/>
                <a:gd name="T107" fmla="*/ 1139 h 1233"/>
                <a:gd name="T108" fmla="*/ 458 w 638"/>
                <a:gd name="T109" fmla="*/ 1183 h 1233"/>
                <a:gd name="T110" fmla="*/ 501 w 638"/>
                <a:gd name="T111" fmla="*/ 1191 h 1233"/>
                <a:gd name="T112" fmla="*/ 609 w 638"/>
                <a:gd name="T113" fmla="*/ 1191 h 1233"/>
                <a:gd name="T114" fmla="*/ 638 w 638"/>
                <a:gd name="T115" fmla="*/ 1227 h 1233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67 w 10000"/>
                <a:gd name="connsiteY84" fmla="*/ 916 h 10000"/>
                <a:gd name="connsiteX85" fmla="*/ 1538 w 10000"/>
                <a:gd name="connsiteY85" fmla="*/ 746 h 10000"/>
                <a:gd name="connsiteX86" fmla="*/ 1395 w 10000"/>
                <a:gd name="connsiteY86" fmla="*/ 1095 h 10000"/>
                <a:gd name="connsiteX87" fmla="*/ 940 w 10000"/>
                <a:gd name="connsiteY87" fmla="*/ 1054 h 10000"/>
                <a:gd name="connsiteX88" fmla="*/ 737 w 10000"/>
                <a:gd name="connsiteY88" fmla="*/ 1273 h 10000"/>
                <a:gd name="connsiteX89" fmla="*/ 298 w 10000"/>
                <a:gd name="connsiteY89" fmla="*/ 1265 h 10000"/>
                <a:gd name="connsiteX90" fmla="*/ 361 w 10000"/>
                <a:gd name="connsiteY90" fmla="*/ 1419 h 10000"/>
                <a:gd name="connsiteX91" fmla="*/ 219 w 10000"/>
                <a:gd name="connsiteY91" fmla="*/ 1525 h 10000"/>
                <a:gd name="connsiteX92" fmla="*/ 0 w 10000"/>
                <a:gd name="connsiteY92" fmla="*/ 1679 h 10000"/>
                <a:gd name="connsiteX93" fmla="*/ 31 w 10000"/>
                <a:gd name="connsiteY93" fmla="*/ 1687 h 10000"/>
                <a:gd name="connsiteX94" fmla="*/ 31 w 10000"/>
                <a:gd name="connsiteY94" fmla="*/ 1695 h 10000"/>
                <a:gd name="connsiteX95" fmla="*/ 376 w 10000"/>
                <a:gd name="connsiteY95" fmla="*/ 1727 h 10000"/>
                <a:gd name="connsiteX96" fmla="*/ 517 w 10000"/>
                <a:gd name="connsiteY96" fmla="*/ 1800 h 10000"/>
                <a:gd name="connsiteX97" fmla="*/ 799 w 10000"/>
                <a:gd name="connsiteY97" fmla="*/ 1833 h 10000"/>
                <a:gd name="connsiteX98" fmla="*/ 893 w 10000"/>
                <a:gd name="connsiteY98" fmla="*/ 1971 h 10000"/>
                <a:gd name="connsiteX99" fmla="*/ 690 w 10000"/>
                <a:gd name="connsiteY99" fmla="*/ 2376 h 10000"/>
                <a:gd name="connsiteX100" fmla="*/ 893 w 10000"/>
                <a:gd name="connsiteY100" fmla="*/ 2457 h 10000"/>
                <a:gd name="connsiteX101" fmla="*/ 1677 w 10000"/>
                <a:gd name="connsiteY101" fmla="*/ 2879 h 10000"/>
                <a:gd name="connsiteX102" fmla="*/ 1458 w 10000"/>
                <a:gd name="connsiteY102" fmla="*/ 2976 h 10000"/>
                <a:gd name="connsiteX103" fmla="*/ 1458 w 10000"/>
                <a:gd name="connsiteY103" fmla="*/ 3179 h 10000"/>
                <a:gd name="connsiteX104" fmla="*/ 1677 w 10000"/>
                <a:gd name="connsiteY104" fmla="*/ 3220 h 10000"/>
                <a:gd name="connsiteX105" fmla="*/ 1614 w 10000"/>
                <a:gd name="connsiteY105" fmla="*/ 3333 h 10000"/>
                <a:gd name="connsiteX106" fmla="*/ 1787 w 10000"/>
                <a:gd name="connsiteY106" fmla="*/ 3398 h 10000"/>
                <a:gd name="connsiteX107" fmla="*/ 1959 w 10000"/>
                <a:gd name="connsiteY107" fmla="*/ 3366 h 10000"/>
                <a:gd name="connsiteX108" fmla="*/ 1991 w 10000"/>
                <a:gd name="connsiteY108" fmla="*/ 3528 h 10000"/>
                <a:gd name="connsiteX109" fmla="*/ 2132 w 10000"/>
                <a:gd name="connsiteY109" fmla="*/ 3609 h 10000"/>
                <a:gd name="connsiteX110" fmla="*/ 2320 w 10000"/>
                <a:gd name="connsiteY110" fmla="*/ 3577 h 10000"/>
                <a:gd name="connsiteX111" fmla="*/ 2461 w 10000"/>
                <a:gd name="connsiteY111" fmla="*/ 3715 h 10000"/>
                <a:gd name="connsiteX112" fmla="*/ 2335 w 10000"/>
                <a:gd name="connsiteY112" fmla="*/ 3950 h 10000"/>
                <a:gd name="connsiteX113" fmla="*/ 3276 w 10000"/>
                <a:gd name="connsiteY113" fmla="*/ 4193 h 10000"/>
                <a:gd name="connsiteX114" fmla="*/ 3292 w 10000"/>
                <a:gd name="connsiteY114" fmla="*/ 4599 h 10000"/>
                <a:gd name="connsiteX115" fmla="*/ 2806 w 10000"/>
                <a:gd name="connsiteY115" fmla="*/ 5239 h 10000"/>
                <a:gd name="connsiteX116" fmla="*/ 2288 w 10000"/>
                <a:gd name="connsiteY116" fmla="*/ 5677 h 10000"/>
                <a:gd name="connsiteX117" fmla="*/ 2555 w 10000"/>
                <a:gd name="connsiteY117" fmla="*/ 5612 h 10000"/>
                <a:gd name="connsiteX118" fmla="*/ 2618 w 10000"/>
                <a:gd name="connsiteY118" fmla="*/ 5766 h 10000"/>
                <a:gd name="connsiteX119" fmla="*/ 2931 w 10000"/>
                <a:gd name="connsiteY119" fmla="*/ 5839 h 10000"/>
                <a:gd name="connsiteX120" fmla="*/ 3370 w 10000"/>
                <a:gd name="connsiteY120" fmla="*/ 5775 h 10000"/>
                <a:gd name="connsiteX121" fmla="*/ 3793 w 10000"/>
                <a:gd name="connsiteY121" fmla="*/ 5864 h 10000"/>
                <a:gd name="connsiteX122" fmla="*/ 3793 w 10000"/>
                <a:gd name="connsiteY122" fmla="*/ 5994 h 10000"/>
                <a:gd name="connsiteX123" fmla="*/ 3056 w 10000"/>
                <a:gd name="connsiteY123" fmla="*/ 5969 h 10000"/>
                <a:gd name="connsiteX124" fmla="*/ 2931 w 10000"/>
                <a:gd name="connsiteY124" fmla="*/ 6091 h 10000"/>
                <a:gd name="connsiteX125" fmla="*/ 2555 w 10000"/>
                <a:gd name="connsiteY125" fmla="*/ 6172 h 10000"/>
                <a:gd name="connsiteX126" fmla="*/ 2633 w 10000"/>
                <a:gd name="connsiteY126" fmla="*/ 6269 h 10000"/>
                <a:gd name="connsiteX127" fmla="*/ 2712 w 10000"/>
                <a:gd name="connsiteY127" fmla="*/ 6326 h 10000"/>
                <a:gd name="connsiteX128" fmla="*/ 2539 w 10000"/>
                <a:gd name="connsiteY128" fmla="*/ 6415 h 10000"/>
                <a:gd name="connsiteX129" fmla="*/ 2586 w 10000"/>
                <a:gd name="connsiteY129" fmla="*/ 6537 h 10000"/>
                <a:gd name="connsiteX130" fmla="*/ 2398 w 10000"/>
                <a:gd name="connsiteY130" fmla="*/ 6642 h 10000"/>
                <a:gd name="connsiteX131" fmla="*/ 2492 w 10000"/>
                <a:gd name="connsiteY131" fmla="*/ 6788 h 10000"/>
                <a:gd name="connsiteX132" fmla="*/ 2680 w 10000"/>
                <a:gd name="connsiteY132" fmla="*/ 6821 h 10000"/>
                <a:gd name="connsiteX133" fmla="*/ 2602 w 10000"/>
                <a:gd name="connsiteY133" fmla="*/ 6983 h 10000"/>
                <a:gd name="connsiteX134" fmla="*/ 2821 w 10000"/>
                <a:gd name="connsiteY134" fmla="*/ 7015 h 10000"/>
                <a:gd name="connsiteX135" fmla="*/ 2931 w 10000"/>
                <a:gd name="connsiteY135" fmla="*/ 7145 h 10000"/>
                <a:gd name="connsiteX136" fmla="*/ 2806 w 10000"/>
                <a:gd name="connsiteY136" fmla="*/ 7202 h 10000"/>
                <a:gd name="connsiteX137" fmla="*/ 2821 w 10000"/>
                <a:gd name="connsiteY137" fmla="*/ 7299 h 10000"/>
                <a:gd name="connsiteX138" fmla="*/ 2931 w 10000"/>
                <a:gd name="connsiteY138" fmla="*/ 7388 h 10000"/>
                <a:gd name="connsiteX139" fmla="*/ 3292 w 10000"/>
                <a:gd name="connsiteY139" fmla="*/ 7486 h 10000"/>
                <a:gd name="connsiteX140" fmla="*/ 3166 w 10000"/>
                <a:gd name="connsiteY140" fmla="*/ 7575 h 10000"/>
                <a:gd name="connsiteX141" fmla="*/ 3292 w 10000"/>
                <a:gd name="connsiteY141" fmla="*/ 7737 h 10000"/>
                <a:gd name="connsiteX142" fmla="*/ 3417 w 10000"/>
                <a:gd name="connsiteY142" fmla="*/ 7737 h 10000"/>
                <a:gd name="connsiteX143" fmla="*/ 3511 w 10000"/>
                <a:gd name="connsiteY143" fmla="*/ 7810 h 10000"/>
                <a:gd name="connsiteX144" fmla="*/ 3793 w 10000"/>
                <a:gd name="connsiteY144" fmla="*/ 7908 h 10000"/>
                <a:gd name="connsiteX145" fmla="*/ 3793 w 10000"/>
                <a:gd name="connsiteY145" fmla="*/ 7997 h 10000"/>
                <a:gd name="connsiteX146" fmla="*/ 4075 w 10000"/>
                <a:gd name="connsiteY146" fmla="*/ 7972 h 10000"/>
                <a:gd name="connsiteX147" fmla="*/ 4577 w 10000"/>
                <a:gd name="connsiteY147" fmla="*/ 7972 h 10000"/>
                <a:gd name="connsiteX148" fmla="*/ 4718 w 10000"/>
                <a:gd name="connsiteY148" fmla="*/ 8167 h 10000"/>
                <a:gd name="connsiteX149" fmla="*/ 5141 w 10000"/>
                <a:gd name="connsiteY149" fmla="*/ 7972 h 10000"/>
                <a:gd name="connsiteX150" fmla="*/ 5721 w 10000"/>
                <a:gd name="connsiteY150" fmla="*/ 8078 h 10000"/>
                <a:gd name="connsiteX151" fmla="*/ 5846 w 10000"/>
                <a:gd name="connsiteY151" fmla="*/ 8289 h 10000"/>
                <a:gd name="connsiteX152" fmla="*/ 5846 w 10000"/>
                <a:gd name="connsiteY152" fmla="*/ 8467 h 10000"/>
                <a:gd name="connsiteX153" fmla="*/ 6113 w 10000"/>
                <a:gd name="connsiteY153" fmla="*/ 8483 h 10000"/>
                <a:gd name="connsiteX154" fmla="*/ 6223 w 10000"/>
                <a:gd name="connsiteY154" fmla="*/ 8581 h 10000"/>
                <a:gd name="connsiteX155" fmla="*/ 6536 w 10000"/>
                <a:gd name="connsiteY155" fmla="*/ 8710 h 10000"/>
                <a:gd name="connsiteX156" fmla="*/ 6912 w 10000"/>
                <a:gd name="connsiteY156" fmla="*/ 8759 h 10000"/>
                <a:gd name="connsiteX157" fmla="*/ 6928 w 10000"/>
                <a:gd name="connsiteY157" fmla="*/ 8889 h 10000"/>
                <a:gd name="connsiteX158" fmla="*/ 7367 w 10000"/>
                <a:gd name="connsiteY158" fmla="*/ 8856 h 10000"/>
                <a:gd name="connsiteX159" fmla="*/ 7696 w 10000"/>
                <a:gd name="connsiteY159" fmla="*/ 9027 h 10000"/>
                <a:gd name="connsiteX160" fmla="*/ 7586 w 10000"/>
                <a:gd name="connsiteY160" fmla="*/ 9238 h 10000"/>
                <a:gd name="connsiteX161" fmla="*/ 6912 w 10000"/>
                <a:gd name="connsiteY161" fmla="*/ 9238 h 10000"/>
                <a:gd name="connsiteX162" fmla="*/ 6803 w 10000"/>
                <a:gd name="connsiteY162" fmla="*/ 9343 h 10000"/>
                <a:gd name="connsiteX163" fmla="*/ 7132 w 10000"/>
                <a:gd name="connsiteY163" fmla="*/ 9424 h 10000"/>
                <a:gd name="connsiteX164" fmla="*/ 7179 w 10000"/>
                <a:gd name="connsiteY164" fmla="*/ 9594 h 10000"/>
                <a:gd name="connsiteX165" fmla="*/ 7461 w 10000"/>
                <a:gd name="connsiteY165" fmla="*/ 9805 h 10000"/>
                <a:gd name="connsiteX166" fmla="*/ 7837 w 10000"/>
                <a:gd name="connsiteY166" fmla="*/ 9813 h 10000"/>
                <a:gd name="connsiteX167" fmla="*/ 7853 w 10000"/>
                <a:gd name="connsiteY167" fmla="*/ 9659 h 10000"/>
                <a:gd name="connsiteX168" fmla="*/ 8464 w 10000"/>
                <a:gd name="connsiteY168" fmla="*/ 9521 h 10000"/>
                <a:gd name="connsiteX169" fmla="*/ 9060 w 10000"/>
                <a:gd name="connsiteY169" fmla="*/ 9521 h 10000"/>
                <a:gd name="connsiteX170" fmla="*/ 9545 w 10000"/>
                <a:gd name="connsiteY170" fmla="*/ 9659 h 10000"/>
                <a:gd name="connsiteX171" fmla="*/ 9279 w 10000"/>
                <a:gd name="connsiteY171" fmla="*/ 9789 h 10000"/>
                <a:gd name="connsiteX172" fmla="*/ 9624 w 10000"/>
                <a:gd name="connsiteY172" fmla="*/ 10000 h 10000"/>
                <a:gd name="connsiteX173" fmla="*/ 10000 w 10000"/>
                <a:gd name="connsiteY173" fmla="*/ 9951 h 10000"/>
                <a:gd name="connsiteX174" fmla="*/ 10000 w 10000"/>
                <a:gd name="connsiteY174" fmla="*/ 0 h 10000"/>
                <a:gd name="connsiteX175" fmla="*/ 8433 w 10000"/>
                <a:gd name="connsiteY175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67 w 10000"/>
                <a:gd name="connsiteY84" fmla="*/ 916 h 10000"/>
                <a:gd name="connsiteX85" fmla="*/ 1538 w 10000"/>
                <a:gd name="connsiteY85" fmla="*/ 746 h 10000"/>
                <a:gd name="connsiteX86" fmla="*/ 1295 w 10000"/>
                <a:gd name="connsiteY86" fmla="*/ 865 h 10000"/>
                <a:gd name="connsiteX87" fmla="*/ 940 w 10000"/>
                <a:gd name="connsiteY87" fmla="*/ 1054 h 10000"/>
                <a:gd name="connsiteX88" fmla="*/ 737 w 10000"/>
                <a:gd name="connsiteY88" fmla="*/ 1273 h 10000"/>
                <a:gd name="connsiteX89" fmla="*/ 298 w 10000"/>
                <a:gd name="connsiteY89" fmla="*/ 1265 h 10000"/>
                <a:gd name="connsiteX90" fmla="*/ 361 w 10000"/>
                <a:gd name="connsiteY90" fmla="*/ 1419 h 10000"/>
                <a:gd name="connsiteX91" fmla="*/ 219 w 10000"/>
                <a:gd name="connsiteY91" fmla="*/ 1525 h 10000"/>
                <a:gd name="connsiteX92" fmla="*/ 0 w 10000"/>
                <a:gd name="connsiteY92" fmla="*/ 1679 h 10000"/>
                <a:gd name="connsiteX93" fmla="*/ 31 w 10000"/>
                <a:gd name="connsiteY93" fmla="*/ 1687 h 10000"/>
                <a:gd name="connsiteX94" fmla="*/ 31 w 10000"/>
                <a:gd name="connsiteY94" fmla="*/ 1695 h 10000"/>
                <a:gd name="connsiteX95" fmla="*/ 376 w 10000"/>
                <a:gd name="connsiteY95" fmla="*/ 1727 h 10000"/>
                <a:gd name="connsiteX96" fmla="*/ 517 w 10000"/>
                <a:gd name="connsiteY96" fmla="*/ 1800 h 10000"/>
                <a:gd name="connsiteX97" fmla="*/ 799 w 10000"/>
                <a:gd name="connsiteY97" fmla="*/ 1833 h 10000"/>
                <a:gd name="connsiteX98" fmla="*/ 893 w 10000"/>
                <a:gd name="connsiteY98" fmla="*/ 1971 h 10000"/>
                <a:gd name="connsiteX99" fmla="*/ 690 w 10000"/>
                <a:gd name="connsiteY99" fmla="*/ 2376 h 10000"/>
                <a:gd name="connsiteX100" fmla="*/ 893 w 10000"/>
                <a:gd name="connsiteY100" fmla="*/ 2457 h 10000"/>
                <a:gd name="connsiteX101" fmla="*/ 1677 w 10000"/>
                <a:gd name="connsiteY101" fmla="*/ 2879 h 10000"/>
                <a:gd name="connsiteX102" fmla="*/ 1458 w 10000"/>
                <a:gd name="connsiteY102" fmla="*/ 2976 h 10000"/>
                <a:gd name="connsiteX103" fmla="*/ 1458 w 10000"/>
                <a:gd name="connsiteY103" fmla="*/ 3179 h 10000"/>
                <a:gd name="connsiteX104" fmla="*/ 1677 w 10000"/>
                <a:gd name="connsiteY104" fmla="*/ 3220 h 10000"/>
                <a:gd name="connsiteX105" fmla="*/ 1614 w 10000"/>
                <a:gd name="connsiteY105" fmla="*/ 3333 h 10000"/>
                <a:gd name="connsiteX106" fmla="*/ 1787 w 10000"/>
                <a:gd name="connsiteY106" fmla="*/ 3398 h 10000"/>
                <a:gd name="connsiteX107" fmla="*/ 1959 w 10000"/>
                <a:gd name="connsiteY107" fmla="*/ 3366 h 10000"/>
                <a:gd name="connsiteX108" fmla="*/ 1991 w 10000"/>
                <a:gd name="connsiteY108" fmla="*/ 3528 h 10000"/>
                <a:gd name="connsiteX109" fmla="*/ 2132 w 10000"/>
                <a:gd name="connsiteY109" fmla="*/ 3609 h 10000"/>
                <a:gd name="connsiteX110" fmla="*/ 2320 w 10000"/>
                <a:gd name="connsiteY110" fmla="*/ 3577 h 10000"/>
                <a:gd name="connsiteX111" fmla="*/ 2461 w 10000"/>
                <a:gd name="connsiteY111" fmla="*/ 3715 h 10000"/>
                <a:gd name="connsiteX112" fmla="*/ 2335 w 10000"/>
                <a:gd name="connsiteY112" fmla="*/ 3950 h 10000"/>
                <a:gd name="connsiteX113" fmla="*/ 3276 w 10000"/>
                <a:gd name="connsiteY113" fmla="*/ 4193 h 10000"/>
                <a:gd name="connsiteX114" fmla="*/ 3292 w 10000"/>
                <a:gd name="connsiteY114" fmla="*/ 4599 h 10000"/>
                <a:gd name="connsiteX115" fmla="*/ 2806 w 10000"/>
                <a:gd name="connsiteY115" fmla="*/ 5239 h 10000"/>
                <a:gd name="connsiteX116" fmla="*/ 2288 w 10000"/>
                <a:gd name="connsiteY116" fmla="*/ 5677 h 10000"/>
                <a:gd name="connsiteX117" fmla="*/ 2555 w 10000"/>
                <a:gd name="connsiteY117" fmla="*/ 5612 h 10000"/>
                <a:gd name="connsiteX118" fmla="*/ 2618 w 10000"/>
                <a:gd name="connsiteY118" fmla="*/ 5766 h 10000"/>
                <a:gd name="connsiteX119" fmla="*/ 2931 w 10000"/>
                <a:gd name="connsiteY119" fmla="*/ 5839 h 10000"/>
                <a:gd name="connsiteX120" fmla="*/ 3370 w 10000"/>
                <a:gd name="connsiteY120" fmla="*/ 5775 h 10000"/>
                <a:gd name="connsiteX121" fmla="*/ 3793 w 10000"/>
                <a:gd name="connsiteY121" fmla="*/ 5864 h 10000"/>
                <a:gd name="connsiteX122" fmla="*/ 3793 w 10000"/>
                <a:gd name="connsiteY122" fmla="*/ 5994 h 10000"/>
                <a:gd name="connsiteX123" fmla="*/ 3056 w 10000"/>
                <a:gd name="connsiteY123" fmla="*/ 5969 h 10000"/>
                <a:gd name="connsiteX124" fmla="*/ 2931 w 10000"/>
                <a:gd name="connsiteY124" fmla="*/ 6091 h 10000"/>
                <a:gd name="connsiteX125" fmla="*/ 2555 w 10000"/>
                <a:gd name="connsiteY125" fmla="*/ 6172 h 10000"/>
                <a:gd name="connsiteX126" fmla="*/ 2633 w 10000"/>
                <a:gd name="connsiteY126" fmla="*/ 6269 h 10000"/>
                <a:gd name="connsiteX127" fmla="*/ 2712 w 10000"/>
                <a:gd name="connsiteY127" fmla="*/ 6326 h 10000"/>
                <a:gd name="connsiteX128" fmla="*/ 2539 w 10000"/>
                <a:gd name="connsiteY128" fmla="*/ 6415 h 10000"/>
                <a:gd name="connsiteX129" fmla="*/ 2586 w 10000"/>
                <a:gd name="connsiteY129" fmla="*/ 6537 h 10000"/>
                <a:gd name="connsiteX130" fmla="*/ 2398 w 10000"/>
                <a:gd name="connsiteY130" fmla="*/ 6642 h 10000"/>
                <a:gd name="connsiteX131" fmla="*/ 2492 w 10000"/>
                <a:gd name="connsiteY131" fmla="*/ 6788 h 10000"/>
                <a:gd name="connsiteX132" fmla="*/ 2680 w 10000"/>
                <a:gd name="connsiteY132" fmla="*/ 6821 h 10000"/>
                <a:gd name="connsiteX133" fmla="*/ 2602 w 10000"/>
                <a:gd name="connsiteY133" fmla="*/ 6983 h 10000"/>
                <a:gd name="connsiteX134" fmla="*/ 2821 w 10000"/>
                <a:gd name="connsiteY134" fmla="*/ 7015 h 10000"/>
                <a:gd name="connsiteX135" fmla="*/ 2931 w 10000"/>
                <a:gd name="connsiteY135" fmla="*/ 7145 h 10000"/>
                <a:gd name="connsiteX136" fmla="*/ 2806 w 10000"/>
                <a:gd name="connsiteY136" fmla="*/ 7202 h 10000"/>
                <a:gd name="connsiteX137" fmla="*/ 2821 w 10000"/>
                <a:gd name="connsiteY137" fmla="*/ 7299 h 10000"/>
                <a:gd name="connsiteX138" fmla="*/ 2931 w 10000"/>
                <a:gd name="connsiteY138" fmla="*/ 7388 h 10000"/>
                <a:gd name="connsiteX139" fmla="*/ 3292 w 10000"/>
                <a:gd name="connsiteY139" fmla="*/ 7486 h 10000"/>
                <a:gd name="connsiteX140" fmla="*/ 3166 w 10000"/>
                <a:gd name="connsiteY140" fmla="*/ 7575 h 10000"/>
                <a:gd name="connsiteX141" fmla="*/ 3292 w 10000"/>
                <a:gd name="connsiteY141" fmla="*/ 7737 h 10000"/>
                <a:gd name="connsiteX142" fmla="*/ 3417 w 10000"/>
                <a:gd name="connsiteY142" fmla="*/ 7737 h 10000"/>
                <a:gd name="connsiteX143" fmla="*/ 3511 w 10000"/>
                <a:gd name="connsiteY143" fmla="*/ 7810 h 10000"/>
                <a:gd name="connsiteX144" fmla="*/ 3793 w 10000"/>
                <a:gd name="connsiteY144" fmla="*/ 7908 h 10000"/>
                <a:gd name="connsiteX145" fmla="*/ 3793 w 10000"/>
                <a:gd name="connsiteY145" fmla="*/ 7997 h 10000"/>
                <a:gd name="connsiteX146" fmla="*/ 4075 w 10000"/>
                <a:gd name="connsiteY146" fmla="*/ 7972 h 10000"/>
                <a:gd name="connsiteX147" fmla="*/ 4577 w 10000"/>
                <a:gd name="connsiteY147" fmla="*/ 7972 h 10000"/>
                <a:gd name="connsiteX148" fmla="*/ 4718 w 10000"/>
                <a:gd name="connsiteY148" fmla="*/ 8167 h 10000"/>
                <a:gd name="connsiteX149" fmla="*/ 5141 w 10000"/>
                <a:gd name="connsiteY149" fmla="*/ 7972 h 10000"/>
                <a:gd name="connsiteX150" fmla="*/ 5721 w 10000"/>
                <a:gd name="connsiteY150" fmla="*/ 8078 h 10000"/>
                <a:gd name="connsiteX151" fmla="*/ 5846 w 10000"/>
                <a:gd name="connsiteY151" fmla="*/ 8289 h 10000"/>
                <a:gd name="connsiteX152" fmla="*/ 5846 w 10000"/>
                <a:gd name="connsiteY152" fmla="*/ 8467 h 10000"/>
                <a:gd name="connsiteX153" fmla="*/ 6113 w 10000"/>
                <a:gd name="connsiteY153" fmla="*/ 8483 h 10000"/>
                <a:gd name="connsiteX154" fmla="*/ 6223 w 10000"/>
                <a:gd name="connsiteY154" fmla="*/ 8581 h 10000"/>
                <a:gd name="connsiteX155" fmla="*/ 6536 w 10000"/>
                <a:gd name="connsiteY155" fmla="*/ 8710 h 10000"/>
                <a:gd name="connsiteX156" fmla="*/ 6912 w 10000"/>
                <a:gd name="connsiteY156" fmla="*/ 8759 h 10000"/>
                <a:gd name="connsiteX157" fmla="*/ 6928 w 10000"/>
                <a:gd name="connsiteY157" fmla="*/ 8889 h 10000"/>
                <a:gd name="connsiteX158" fmla="*/ 7367 w 10000"/>
                <a:gd name="connsiteY158" fmla="*/ 8856 h 10000"/>
                <a:gd name="connsiteX159" fmla="*/ 7696 w 10000"/>
                <a:gd name="connsiteY159" fmla="*/ 9027 h 10000"/>
                <a:gd name="connsiteX160" fmla="*/ 7586 w 10000"/>
                <a:gd name="connsiteY160" fmla="*/ 9238 h 10000"/>
                <a:gd name="connsiteX161" fmla="*/ 6912 w 10000"/>
                <a:gd name="connsiteY161" fmla="*/ 9238 h 10000"/>
                <a:gd name="connsiteX162" fmla="*/ 6803 w 10000"/>
                <a:gd name="connsiteY162" fmla="*/ 9343 h 10000"/>
                <a:gd name="connsiteX163" fmla="*/ 7132 w 10000"/>
                <a:gd name="connsiteY163" fmla="*/ 9424 h 10000"/>
                <a:gd name="connsiteX164" fmla="*/ 7179 w 10000"/>
                <a:gd name="connsiteY164" fmla="*/ 9594 h 10000"/>
                <a:gd name="connsiteX165" fmla="*/ 7461 w 10000"/>
                <a:gd name="connsiteY165" fmla="*/ 9805 h 10000"/>
                <a:gd name="connsiteX166" fmla="*/ 7837 w 10000"/>
                <a:gd name="connsiteY166" fmla="*/ 9813 h 10000"/>
                <a:gd name="connsiteX167" fmla="*/ 7853 w 10000"/>
                <a:gd name="connsiteY167" fmla="*/ 9659 h 10000"/>
                <a:gd name="connsiteX168" fmla="*/ 8464 w 10000"/>
                <a:gd name="connsiteY168" fmla="*/ 9521 h 10000"/>
                <a:gd name="connsiteX169" fmla="*/ 9060 w 10000"/>
                <a:gd name="connsiteY169" fmla="*/ 9521 h 10000"/>
                <a:gd name="connsiteX170" fmla="*/ 9545 w 10000"/>
                <a:gd name="connsiteY170" fmla="*/ 9659 h 10000"/>
                <a:gd name="connsiteX171" fmla="*/ 9279 w 10000"/>
                <a:gd name="connsiteY171" fmla="*/ 9789 h 10000"/>
                <a:gd name="connsiteX172" fmla="*/ 9624 w 10000"/>
                <a:gd name="connsiteY172" fmla="*/ 10000 h 10000"/>
                <a:gd name="connsiteX173" fmla="*/ 10000 w 10000"/>
                <a:gd name="connsiteY173" fmla="*/ 9951 h 10000"/>
                <a:gd name="connsiteX174" fmla="*/ 10000 w 10000"/>
                <a:gd name="connsiteY174" fmla="*/ 0 h 10000"/>
                <a:gd name="connsiteX175" fmla="*/ 8433 w 10000"/>
                <a:gd name="connsiteY175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67 w 10000"/>
                <a:gd name="connsiteY84" fmla="*/ 916 h 10000"/>
                <a:gd name="connsiteX85" fmla="*/ 1524 w 10000"/>
                <a:gd name="connsiteY85" fmla="*/ 709 h 10000"/>
                <a:gd name="connsiteX86" fmla="*/ 1295 w 10000"/>
                <a:gd name="connsiteY86" fmla="*/ 865 h 10000"/>
                <a:gd name="connsiteX87" fmla="*/ 940 w 10000"/>
                <a:gd name="connsiteY87" fmla="*/ 1054 h 10000"/>
                <a:gd name="connsiteX88" fmla="*/ 737 w 10000"/>
                <a:gd name="connsiteY88" fmla="*/ 1273 h 10000"/>
                <a:gd name="connsiteX89" fmla="*/ 298 w 10000"/>
                <a:gd name="connsiteY89" fmla="*/ 1265 h 10000"/>
                <a:gd name="connsiteX90" fmla="*/ 361 w 10000"/>
                <a:gd name="connsiteY90" fmla="*/ 1419 h 10000"/>
                <a:gd name="connsiteX91" fmla="*/ 219 w 10000"/>
                <a:gd name="connsiteY91" fmla="*/ 1525 h 10000"/>
                <a:gd name="connsiteX92" fmla="*/ 0 w 10000"/>
                <a:gd name="connsiteY92" fmla="*/ 1679 h 10000"/>
                <a:gd name="connsiteX93" fmla="*/ 31 w 10000"/>
                <a:gd name="connsiteY93" fmla="*/ 1687 h 10000"/>
                <a:gd name="connsiteX94" fmla="*/ 31 w 10000"/>
                <a:gd name="connsiteY94" fmla="*/ 1695 h 10000"/>
                <a:gd name="connsiteX95" fmla="*/ 376 w 10000"/>
                <a:gd name="connsiteY95" fmla="*/ 1727 h 10000"/>
                <a:gd name="connsiteX96" fmla="*/ 517 w 10000"/>
                <a:gd name="connsiteY96" fmla="*/ 1800 h 10000"/>
                <a:gd name="connsiteX97" fmla="*/ 799 w 10000"/>
                <a:gd name="connsiteY97" fmla="*/ 1833 h 10000"/>
                <a:gd name="connsiteX98" fmla="*/ 893 w 10000"/>
                <a:gd name="connsiteY98" fmla="*/ 1971 h 10000"/>
                <a:gd name="connsiteX99" fmla="*/ 690 w 10000"/>
                <a:gd name="connsiteY99" fmla="*/ 2376 h 10000"/>
                <a:gd name="connsiteX100" fmla="*/ 893 w 10000"/>
                <a:gd name="connsiteY100" fmla="*/ 2457 h 10000"/>
                <a:gd name="connsiteX101" fmla="*/ 1677 w 10000"/>
                <a:gd name="connsiteY101" fmla="*/ 2879 h 10000"/>
                <a:gd name="connsiteX102" fmla="*/ 1458 w 10000"/>
                <a:gd name="connsiteY102" fmla="*/ 2976 h 10000"/>
                <a:gd name="connsiteX103" fmla="*/ 1458 w 10000"/>
                <a:gd name="connsiteY103" fmla="*/ 3179 h 10000"/>
                <a:gd name="connsiteX104" fmla="*/ 1677 w 10000"/>
                <a:gd name="connsiteY104" fmla="*/ 3220 h 10000"/>
                <a:gd name="connsiteX105" fmla="*/ 1614 w 10000"/>
                <a:gd name="connsiteY105" fmla="*/ 3333 h 10000"/>
                <a:gd name="connsiteX106" fmla="*/ 1787 w 10000"/>
                <a:gd name="connsiteY106" fmla="*/ 3398 h 10000"/>
                <a:gd name="connsiteX107" fmla="*/ 1959 w 10000"/>
                <a:gd name="connsiteY107" fmla="*/ 3366 h 10000"/>
                <a:gd name="connsiteX108" fmla="*/ 1991 w 10000"/>
                <a:gd name="connsiteY108" fmla="*/ 3528 h 10000"/>
                <a:gd name="connsiteX109" fmla="*/ 2132 w 10000"/>
                <a:gd name="connsiteY109" fmla="*/ 3609 h 10000"/>
                <a:gd name="connsiteX110" fmla="*/ 2320 w 10000"/>
                <a:gd name="connsiteY110" fmla="*/ 3577 h 10000"/>
                <a:gd name="connsiteX111" fmla="*/ 2461 w 10000"/>
                <a:gd name="connsiteY111" fmla="*/ 3715 h 10000"/>
                <a:gd name="connsiteX112" fmla="*/ 2335 w 10000"/>
                <a:gd name="connsiteY112" fmla="*/ 3950 h 10000"/>
                <a:gd name="connsiteX113" fmla="*/ 3276 w 10000"/>
                <a:gd name="connsiteY113" fmla="*/ 4193 h 10000"/>
                <a:gd name="connsiteX114" fmla="*/ 3292 w 10000"/>
                <a:gd name="connsiteY114" fmla="*/ 4599 h 10000"/>
                <a:gd name="connsiteX115" fmla="*/ 2806 w 10000"/>
                <a:gd name="connsiteY115" fmla="*/ 5239 h 10000"/>
                <a:gd name="connsiteX116" fmla="*/ 2288 w 10000"/>
                <a:gd name="connsiteY116" fmla="*/ 5677 h 10000"/>
                <a:gd name="connsiteX117" fmla="*/ 2555 w 10000"/>
                <a:gd name="connsiteY117" fmla="*/ 5612 h 10000"/>
                <a:gd name="connsiteX118" fmla="*/ 2618 w 10000"/>
                <a:gd name="connsiteY118" fmla="*/ 5766 h 10000"/>
                <a:gd name="connsiteX119" fmla="*/ 2931 w 10000"/>
                <a:gd name="connsiteY119" fmla="*/ 5839 h 10000"/>
                <a:gd name="connsiteX120" fmla="*/ 3370 w 10000"/>
                <a:gd name="connsiteY120" fmla="*/ 5775 h 10000"/>
                <a:gd name="connsiteX121" fmla="*/ 3793 w 10000"/>
                <a:gd name="connsiteY121" fmla="*/ 5864 h 10000"/>
                <a:gd name="connsiteX122" fmla="*/ 3793 w 10000"/>
                <a:gd name="connsiteY122" fmla="*/ 5994 h 10000"/>
                <a:gd name="connsiteX123" fmla="*/ 3056 w 10000"/>
                <a:gd name="connsiteY123" fmla="*/ 5969 h 10000"/>
                <a:gd name="connsiteX124" fmla="*/ 2931 w 10000"/>
                <a:gd name="connsiteY124" fmla="*/ 6091 h 10000"/>
                <a:gd name="connsiteX125" fmla="*/ 2555 w 10000"/>
                <a:gd name="connsiteY125" fmla="*/ 6172 h 10000"/>
                <a:gd name="connsiteX126" fmla="*/ 2633 w 10000"/>
                <a:gd name="connsiteY126" fmla="*/ 6269 h 10000"/>
                <a:gd name="connsiteX127" fmla="*/ 2712 w 10000"/>
                <a:gd name="connsiteY127" fmla="*/ 6326 h 10000"/>
                <a:gd name="connsiteX128" fmla="*/ 2539 w 10000"/>
                <a:gd name="connsiteY128" fmla="*/ 6415 h 10000"/>
                <a:gd name="connsiteX129" fmla="*/ 2586 w 10000"/>
                <a:gd name="connsiteY129" fmla="*/ 6537 h 10000"/>
                <a:gd name="connsiteX130" fmla="*/ 2398 w 10000"/>
                <a:gd name="connsiteY130" fmla="*/ 6642 h 10000"/>
                <a:gd name="connsiteX131" fmla="*/ 2492 w 10000"/>
                <a:gd name="connsiteY131" fmla="*/ 6788 h 10000"/>
                <a:gd name="connsiteX132" fmla="*/ 2680 w 10000"/>
                <a:gd name="connsiteY132" fmla="*/ 6821 h 10000"/>
                <a:gd name="connsiteX133" fmla="*/ 2602 w 10000"/>
                <a:gd name="connsiteY133" fmla="*/ 6983 h 10000"/>
                <a:gd name="connsiteX134" fmla="*/ 2821 w 10000"/>
                <a:gd name="connsiteY134" fmla="*/ 7015 h 10000"/>
                <a:gd name="connsiteX135" fmla="*/ 2931 w 10000"/>
                <a:gd name="connsiteY135" fmla="*/ 7145 h 10000"/>
                <a:gd name="connsiteX136" fmla="*/ 2806 w 10000"/>
                <a:gd name="connsiteY136" fmla="*/ 7202 h 10000"/>
                <a:gd name="connsiteX137" fmla="*/ 2821 w 10000"/>
                <a:gd name="connsiteY137" fmla="*/ 7299 h 10000"/>
                <a:gd name="connsiteX138" fmla="*/ 2931 w 10000"/>
                <a:gd name="connsiteY138" fmla="*/ 7388 h 10000"/>
                <a:gd name="connsiteX139" fmla="*/ 3292 w 10000"/>
                <a:gd name="connsiteY139" fmla="*/ 7486 h 10000"/>
                <a:gd name="connsiteX140" fmla="*/ 3166 w 10000"/>
                <a:gd name="connsiteY140" fmla="*/ 7575 h 10000"/>
                <a:gd name="connsiteX141" fmla="*/ 3292 w 10000"/>
                <a:gd name="connsiteY141" fmla="*/ 7737 h 10000"/>
                <a:gd name="connsiteX142" fmla="*/ 3417 w 10000"/>
                <a:gd name="connsiteY142" fmla="*/ 7737 h 10000"/>
                <a:gd name="connsiteX143" fmla="*/ 3511 w 10000"/>
                <a:gd name="connsiteY143" fmla="*/ 7810 h 10000"/>
                <a:gd name="connsiteX144" fmla="*/ 3793 w 10000"/>
                <a:gd name="connsiteY144" fmla="*/ 7908 h 10000"/>
                <a:gd name="connsiteX145" fmla="*/ 3793 w 10000"/>
                <a:gd name="connsiteY145" fmla="*/ 7997 h 10000"/>
                <a:gd name="connsiteX146" fmla="*/ 4075 w 10000"/>
                <a:gd name="connsiteY146" fmla="*/ 7972 h 10000"/>
                <a:gd name="connsiteX147" fmla="*/ 4577 w 10000"/>
                <a:gd name="connsiteY147" fmla="*/ 7972 h 10000"/>
                <a:gd name="connsiteX148" fmla="*/ 4718 w 10000"/>
                <a:gd name="connsiteY148" fmla="*/ 8167 h 10000"/>
                <a:gd name="connsiteX149" fmla="*/ 5141 w 10000"/>
                <a:gd name="connsiteY149" fmla="*/ 7972 h 10000"/>
                <a:gd name="connsiteX150" fmla="*/ 5721 w 10000"/>
                <a:gd name="connsiteY150" fmla="*/ 8078 h 10000"/>
                <a:gd name="connsiteX151" fmla="*/ 5846 w 10000"/>
                <a:gd name="connsiteY151" fmla="*/ 8289 h 10000"/>
                <a:gd name="connsiteX152" fmla="*/ 5846 w 10000"/>
                <a:gd name="connsiteY152" fmla="*/ 8467 h 10000"/>
                <a:gd name="connsiteX153" fmla="*/ 6113 w 10000"/>
                <a:gd name="connsiteY153" fmla="*/ 8483 h 10000"/>
                <a:gd name="connsiteX154" fmla="*/ 6223 w 10000"/>
                <a:gd name="connsiteY154" fmla="*/ 8581 h 10000"/>
                <a:gd name="connsiteX155" fmla="*/ 6536 w 10000"/>
                <a:gd name="connsiteY155" fmla="*/ 8710 h 10000"/>
                <a:gd name="connsiteX156" fmla="*/ 6912 w 10000"/>
                <a:gd name="connsiteY156" fmla="*/ 8759 h 10000"/>
                <a:gd name="connsiteX157" fmla="*/ 6928 w 10000"/>
                <a:gd name="connsiteY157" fmla="*/ 8889 h 10000"/>
                <a:gd name="connsiteX158" fmla="*/ 7367 w 10000"/>
                <a:gd name="connsiteY158" fmla="*/ 8856 h 10000"/>
                <a:gd name="connsiteX159" fmla="*/ 7696 w 10000"/>
                <a:gd name="connsiteY159" fmla="*/ 9027 h 10000"/>
                <a:gd name="connsiteX160" fmla="*/ 7586 w 10000"/>
                <a:gd name="connsiteY160" fmla="*/ 9238 h 10000"/>
                <a:gd name="connsiteX161" fmla="*/ 6912 w 10000"/>
                <a:gd name="connsiteY161" fmla="*/ 9238 h 10000"/>
                <a:gd name="connsiteX162" fmla="*/ 6803 w 10000"/>
                <a:gd name="connsiteY162" fmla="*/ 9343 h 10000"/>
                <a:gd name="connsiteX163" fmla="*/ 7132 w 10000"/>
                <a:gd name="connsiteY163" fmla="*/ 9424 h 10000"/>
                <a:gd name="connsiteX164" fmla="*/ 7179 w 10000"/>
                <a:gd name="connsiteY164" fmla="*/ 9594 h 10000"/>
                <a:gd name="connsiteX165" fmla="*/ 7461 w 10000"/>
                <a:gd name="connsiteY165" fmla="*/ 9805 h 10000"/>
                <a:gd name="connsiteX166" fmla="*/ 7837 w 10000"/>
                <a:gd name="connsiteY166" fmla="*/ 9813 h 10000"/>
                <a:gd name="connsiteX167" fmla="*/ 7853 w 10000"/>
                <a:gd name="connsiteY167" fmla="*/ 9659 h 10000"/>
                <a:gd name="connsiteX168" fmla="*/ 8464 w 10000"/>
                <a:gd name="connsiteY168" fmla="*/ 9521 h 10000"/>
                <a:gd name="connsiteX169" fmla="*/ 9060 w 10000"/>
                <a:gd name="connsiteY169" fmla="*/ 9521 h 10000"/>
                <a:gd name="connsiteX170" fmla="*/ 9545 w 10000"/>
                <a:gd name="connsiteY170" fmla="*/ 9659 h 10000"/>
                <a:gd name="connsiteX171" fmla="*/ 9279 w 10000"/>
                <a:gd name="connsiteY171" fmla="*/ 9789 h 10000"/>
                <a:gd name="connsiteX172" fmla="*/ 9624 w 10000"/>
                <a:gd name="connsiteY172" fmla="*/ 10000 h 10000"/>
                <a:gd name="connsiteX173" fmla="*/ 10000 w 10000"/>
                <a:gd name="connsiteY173" fmla="*/ 9951 h 10000"/>
                <a:gd name="connsiteX174" fmla="*/ 10000 w 10000"/>
                <a:gd name="connsiteY174" fmla="*/ 0 h 10000"/>
                <a:gd name="connsiteX175" fmla="*/ 8433 w 10000"/>
                <a:gd name="connsiteY175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67 w 10000"/>
                <a:gd name="connsiteY84" fmla="*/ 916 h 10000"/>
                <a:gd name="connsiteX85" fmla="*/ 1524 w 10000"/>
                <a:gd name="connsiteY85" fmla="*/ 709 h 10000"/>
                <a:gd name="connsiteX86" fmla="*/ 1295 w 10000"/>
                <a:gd name="connsiteY86" fmla="*/ 865 h 10000"/>
                <a:gd name="connsiteX87" fmla="*/ 940 w 10000"/>
                <a:gd name="connsiteY87" fmla="*/ 1054 h 10000"/>
                <a:gd name="connsiteX88" fmla="*/ 737 w 10000"/>
                <a:gd name="connsiteY88" fmla="*/ 1273 h 10000"/>
                <a:gd name="connsiteX89" fmla="*/ 298 w 10000"/>
                <a:gd name="connsiteY89" fmla="*/ 1265 h 10000"/>
                <a:gd name="connsiteX90" fmla="*/ 361 w 10000"/>
                <a:gd name="connsiteY90" fmla="*/ 1419 h 10000"/>
                <a:gd name="connsiteX91" fmla="*/ 219 w 10000"/>
                <a:gd name="connsiteY91" fmla="*/ 1525 h 10000"/>
                <a:gd name="connsiteX92" fmla="*/ 0 w 10000"/>
                <a:gd name="connsiteY92" fmla="*/ 1679 h 10000"/>
                <a:gd name="connsiteX93" fmla="*/ 31 w 10000"/>
                <a:gd name="connsiteY93" fmla="*/ 1687 h 10000"/>
                <a:gd name="connsiteX94" fmla="*/ 31 w 10000"/>
                <a:gd name="connsiteY94" fmla="*/ 1695 h 10000"/>
                <a:gd name="connsiteX95" fmla="*/ 376 w 10000"/>
                <a:gd name="connsiteY95" fmla="*/ 1727 h 10000"/>
                <a:gd name="connsiteX96" fmla="*/ 517 w 10000"/>
                <a:gd name="connsiteY96" fmla="*/ 1800 h 10000"/>
                <a:gd name="connsiteX97" fmla="*/ 799 w 10000"/>
                <a:gd name="connsiteY97" fmla="*/ 1833 h 10000"/>
                <a:gd name="connsiteX98" fmla="*/ 893 w 10000"/>
                <a:gd name="connsiteY98" fmla="*/ 1971 h 10000"/>
                <a:gd name="connsiteX99" fmla="*/ 690 w 10000"/>
                <a:gd name="connsiteY99" fmla="*/ 2376 h 10000"/>
                <a:gd name="connsiteX100" fmla="*/ 893 w 10000"/>
                <a:gd name="connsiteY100" fmla="*/ 2457 h 10000"/>
                <a:gd name="connsiteX101" fmla="*/ 1677 w 10000"/>
                <a:gd name="connsiteY101" fmla="*/ 2879 h 10000"/>
                <a:gd name="connsiteX102" fmla="*/ 1458 w 10000"/>
                <a:gd name="connsiteY102" fmla="*/ 2976 h 10000"/>
                <a:gd name="connsiteX103" fmla="*/ 1458 w 10000"/>
                <a:gd name="connsiteY103" fmla="*/ 3179 h 10000"/>
                <a:gd name="connsiteX104" fmla="*/ 1677 w 10000"/>
                <a:gd name="connsiteY104" fmla="*/ 3220 h 10000"/>
                <a:gd name="connsiteX105" fmla="*/ 1614 w 10000"/>
                <a:gd name="connsiteY105" fmla="*/ 3333 h 10000"/>
                <a:gd name="connsiteX106" fmla="*/ 1787 w 10000"/>
                <a:gd name="connsiteY106" fmla="*/ 3398 h 10000"/>
                <a:gd name="connsiteX107" fmla="*/ 1959 w 10000"/>
                <a:gd name="connsiteY107" fmla="*/ 3366 h 10000"/>
                <a:gd name="connsiteX108" fmla="*/ 1991 w 10000"/>
                <a:gd name="connsiteY108" fmla="*/ 3528 h 10000"/>
                <a:gd name="connsiteX109" fmla="*/ 2132 w 10000"/>
                <a:gd name="connsiteY109" fmla="*/ 3609 h 10000"/>
                <a:gd name="connsiteX110" fmla="*/ 2320 w 10000"/>
                <a:gd name="connsiteY110" fmla="*/ 3577 h 10000"/>
                <a:gd name="connsiteX111" fmla="*/ 2461 w 10000"/>
                <a:gd name="connsiteY111" fmla="*/ 3715 h 10000"/>
                <a:gd name="connsiteX112" fmla="*/ 2335 w 10000"/>
                <a:gd name="connsiteY112" fmla="*/ 3950 h 10000"/>
                <a:gd name="connsiteX113" fmla="*/ 3276 w 10000"/>
                <a:gd name="connsiteY113" fmla="*/ 4193 h 10000"/>
                <a:gd name="connsiteX114" fmla="*/ 3292 w 10000"/>
                <a:gd name="connsiteY114" fmla="*/ 4599 h 10000"/>
                <a:gd name="connsiteX115" fmla="*/ 2806 w 10000"/>
                <a:gd name="connsiteY115" fmla="*/ 5239 h 10000"/>
                <a:gd name="connsiteX116" fmla="*/ 2288 w 10000"/>
                <a:gd name="connsiteY116" fmla="*/ 5677 h 10000"/>
                <a:gd name="connsiteX117" fmla="*/ 2555 w 10000"/>
                <a:gd name="connsiteY117" fmla="*/ 5612 h 10000"/>
                <a:gd name="connsiteX118" fmla="*/ 2618 w 10000"/>
                <a:gd name="connsiteY118" fmla="*/ 5766 h 10000"/>
                <a:gd name="connsiteX119" fmla="*/ 2931 w 10000"/>
                <a:gd name="connsiteY119" fmla="*/ 5839 h 10000"/>
                <a:gd name="connsiteX120" fmla="*/ 3370 w 10000"/>
                <a:gd name="connsiteY120" fmla="*/ 5775 h 10000"/>
                <a:gd name="connsiteX121" fmla="*/ 3793 w 10000"/>
                <a:gd name="connsiteY121" fmla="*/ 5864 h 10000"/>
                <a:gd name="connsiteX122" fmla="*/ 3793 w 10000"/>
                <a:gd name="connsiteY122" fmla="*/ 5994 h 10000"/>
                <a:gd name="connsiteX123" fmla="*/ 3056 w 10000"/>
                <a:gd name="connsiteY123" fmla="*/ 5969 h 10000"/>
                <a:gd name="connsiteX124" fmla="*/ 2931 w 10000"/>
                <a:gd name="connsiteY124" fmla="*/ 6091 h 10000"/>
                <a:gd name="connsiteX125" fmla="*/ 2555 w 10000"/>
                <a:gd name="connsiteY125" fmla="*/ 6172 h 10000"/>
                <a:gd name="connsiteX126" fmla="*/ 2633 w 10000"/>
                <a:gd name="connsiteY126" fmla="*/ 6269 h 10000"/>
                <a:gd name="connsiteX127" fmla="*/ 2712 w 10000"/>
                <a:gd name="connsiteY127" fmla="*/ 6326 h 10000"/>
                <a:gd name="connsiteX128" fmla="*/ 2539 w 10000"/>
                <a:gd name="connsiteY128" fmla="*/ 6415 h 10000"/>
                <a:gd name="connsiteX129" fmla="*/ 2586 w 10000"/>
                <a:gd name="connsiteY129" fmla="*/ 6537 h 10000"/>
                <a:gd name="connsiteX130" fmla="*/ 2398 w 10000"/>
                <a:gd name="connsiteY130" fmla="*/ 6642 h 10000"/>
                <a:gd name="connsiteX131" fmla="*/ 2492 w 10000"/>
                <a:gd name="connsiteY131" fmla="*/ 6788 h 10000"/>
                <a:gd name="connsiteX132" fmla="*/ 2680 w 10000"/>
                <a:gd name="connsiteY132" fmla="*/ 6821 h 10000"/>
                <a:gd name="connsiteX133" fmla="*/ 2602 w 10000"/>
                <a:gd name="connsiteY133" fmla="*/ 6983 h 10000"/>
                <a:gd name="connsiteX134" fmla="*/ 2821 w 10000"/>
                <a:gd name="connsiteY134" fmla="*/ 7015 h 10000"/>
                <a:gd name="connsiteX135" fmla="*/ 2931 w 10000"/>
                <a:gd name="connsiteY135" fmla="*/ 7145 h 10000"/>
                <a:gd name="connsiteX136" fmla="*/ 2806 w 10000"/>
                <a:gd name="connsiteY136" fmla="*/ 7202 h 10000"/>
                <a:gd name="connsiteX137" fmla="*/ 2821 w 10000"/>
                <a:gd name="connsiteY137" fmla="*/ 7299 h 10000"/>
                <a:gd name="connsiteX138" fmla="*/ 2931 w 10000"/>
                <a:gd name="connsiteY138" fmla="*/ 7388 h 10000"/>
                <a:gd name="connsiteX139" fmla="*/ 3292 w 10000"/>
                <a:gd name="connsiteY139" fmla="*/ 7486 h 10000"/>
                <a:gd name="connsiteX140" fmla="*/ 3166 w 10000"/>
                <a:gd name="connsiteY140" fmla="*/ 7575 h 10000"/>
                <a:gd name="connsiteX141" fmla="*/ 3292 w 10000"/>
                <a:gd name="connsiteY141" fmla="*/ 7737 h 10000"/>
                <a:gd name="connsiteX142" fmla="*/ 3417 w 10000"/>
                <a:gd name="connsiteY142" fmla="*/ 7737 h 10000"/>
                <a:gd name="connsiteX143" fmla="*/ 3511 w 10000"/>
                <a:gd name="connsiteY143" fmla="*/ 7810 h 10000"/>
                <a:gd name="connsiteX144" fmla="*/ 3793 w 10000"/>
                <a:gd name="connsiteY144" fmla="*/ 7908 h 10000"/>
                <a:gd name="connsiteX145" fmla="*/ 3793 w 10000"/>
                <a:gd name="connsiteY145" fmla="*/ 7997 h 10000"/>
                <a:gd name="connsiteX146" fmla="*/ 4075 w 10000"/>
                <a:gd name="connsiteY146" fmla="*/ 7972 h 10000"/>
                <a:gd name="connsiteX147" fmla="*/ 4577 w 10000"/>
                <a:gd name="connsiteY147" fmla="*/ 7972 h 10000"/>
                <a:gd name="connsiteX148" fmla="*/ 4718 w 10000"/>
                <a:gd name="connsiteY148" fmla="*/ 8167 h 10000"/>
                <a:gd name="connsiteX149" fmla="*/ 5141 w 10000"/>
                <a:gd name="connsiteY149" fmla="*/ 7972 h 10000"/>
                <a:gd name="connsiteX150" fmla="*/ 5721 w 10000"/>
                <a:gd name="connsiteY150" fmla="*/ 8078 h 10000"/>
                <a:gd name="connsiteX151" fmla="*/ 5846 w 10000"/>
                <a:gd name="connsiteY151" fmla="*/ 8289 h 10000"/>
                <a:gd name="connsiteX152" fmla="*/ 5846 w 10000"/>
                <a:gd name="connsiteY152" fmla="*/ 8467 h 10000"/>
                <a:gd name="connsiteX153" fmla="*/ 6113 w 10000"/>
                <a:gd name="connsiteY153" fmla="*/ 8483 h 10000"/>
                <a:gd name="connsiteX154" fmla="*/ 6223 w 10000"/>
                <a:gd name="connsiteY154" fmla="*/ 8581 h 10000"/>
                <a:gd name="connsiteX155" fmla="*/ 6536 w 10000"/>
                <a:gd name="connsiteY155" fmla="*/ 8710 h 10000"/>
                <a:gd name="connsiteX156" fmla="*/ 6912 w 10000"/>
                <a:gd name="connsiteY156" fmla="*/ 8759 h 10000"/>
                <a:gd name="connsiteX157" fmla="*/ 6928 w 10000"/>
                <a:gd name="connsiteY157" fmla="*/ 8889 h 10000"/>
                <a:gd name="connsiteX158" fmla="*/ 7367 w 10000"/>
                <a:gd name="connsiteY158" fmla="*/ 8856 h 10000"/>
                <a:gd name="connsiteX159" fmla="*/ 7696 w 10000"/>
                <a:gd name="connsiteY159" fmla="*/ 9027 h 10000"/>
                <a:gd name="connsiteX160" fmla="*/ 7586 w 10000"/>
                <a:gd name="connsiteY160" fmla="*/ 9238 h 10000"/>
                <a:gd name="connsiteX161" fmla="*/ 6912 w 10000"/>
                <a:gd name="connsiteY161" fmla="*/ 9238 h 10000"/>
                <a:gd name="connsiteX162" fmla="*/ 6803 w 10000"/>
                <a:gd name="connsiteY162" fmla="*/ 9343 h 10000"/>
                <a:gd name="connsiteX163" fmla="*/ 7132 w 10000"/>
                <a:gd name="connsiteY163" fmla="*/ 9424 h 10000"/>
                <a:gd name="connsiteX164" fmla="*/ 7179 w 10000"/>
                <a:gd name="connsiteY164" fmla="*/ 9594 h 10000"/>
                <a:gd name="connsiteX165" fmla="*/ 7461 w 10000"/>
                <a:gd name="connsiteY165" fmla="*/ 9805 h 10000"/>
                <a:gd name="connsiteX166" fmla="*/ 7837 w 10000"/>
                <a:gd name="connsiteY166" fmla="*/ 9813 h 10000"/>
                <a:gd name="connsiteX167" fmla="*/ 7853 w 10000"/>
                <a:gd name="connsiteY167" fmla="*/ 9659 h 10000"/>
                <a:gd name="connsiteX168" fmla="*/ 8464 w 10000"/>
                <a:gd name="connsiteY168" fmla="*/ 9521 h 10000"/>
                <a:gd name="connsiteX169" fmla="*/ 9060 w 10000"/>
                <a:gd name="connsiteY169" fmla="*/ 9521 h 10000"/>
                <a:gd name="connsiteX170" fmla="*/ 9545 w 10000"/>
                <a:gd name="connsiteY170" fmla="*/ 9659 h 10000"/>
                <a:gd name="connsiteX171" fmla="*/ 9279 w 10000"/>
                <a:gd name="connsiteY171" fmla="*/ 9789 h 10000"/>
                <a:gd name="connsiteX172" fmla="*/ 9624 w 10000"/>
                <a:gd name="connsiteY172" fmla="*/ 10000 h 10000"/>
                <a:gd name="connsiteX173" fmla="*/ 10000 w 10000"/>
                <a:gd name="connsiteY173" fmla="*/ 9951 h 10000"/>
                <a:gd name="connsiteX174" fmla="*/ 10000 w 10000"/>
                <a:gd name="connsiteY174" fmla="*/ 0 h 10000"/>
                <a:gd name="connsiteX175" fmla="*/ 8433 w 10000"/>
                <a:gd name="connsiteY175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67 w 10000"/>
                <a:gd name="connsiteY83" fmla="*/ 908 h 10000"/>
                <a:gd name="connsiteX84" fmla="*/ 1524 w 10000"/>
                <a:gd name="connsiteY84" fmla="*/ 709 h 10000"/>
                <a:gd name="connsiteX85" fmla="*/ 1295 w 10000"/>
                <a:gd name="connsiteY85" fmla="*/ 865 h 10000"/>
                <a:gd name="connsiteX86" fmla="*/ 940 w 10000"/>
                <a:gd name="connsiteY86" fmla="*/ 1054 h 10000"/>
                <a:gd name="connsiteX87" fmla="*/ 737 w 10000"/>
                <a:gd name="connsiteY87" fmla="*/ 1273 h 10000"/>
                <a:gd name="connsiteX88" fmla="*/ 298 w 10000"/>
                <a:gd name="connsiteY88" fmla="*/ 1265 h 10000"/>
                <a:gd name="connsiteX89" fmla="*/ 361 w 10000"/>
                <a:gd name="connsiteY89" fmla="*/ 1419 h 10000"/>
                <a:gd name="connsiteX90" fmla="*/ 219 w 10000"/>
                <a:gd name="connsiteY90" fmla="*/ 1525 h 10000"/>
                <a:gd name="connsiteX91" fmla="*/ 0 w 10000"/>
                <a:gd name="connsiteY91" fmla="*/ 1679 h 10000"/>
                <a:gd name="connsiteX92" fmla="*/ 31 w 10000"/>
                <a:gd name="connsiteY92" fmla="*/ 1687 h 10000"/>
                <a:gd name="connsiteX93" fmla="*/ 31 w 10000"/>
                <a:gd name="connsiteY93" fmla="*/ 1695 h 10000"/>
                <a:gd name="connsiteX94" fmla="*/ 376 w 10000"/>
                <a:gd name="connsiteY94" fmla="*/ 1727 h 10000"/>
                <a:gd name="connsiteX95" fmla="*/ 517 w 10000"/>
                <a:gd name="connsiteY95" fmla="*/ 1800 h 10000"/>
                <a:gd name="connsiteX96" fmla="*/ 799 w 10000"/>
                <a:gd name="connsiteY96" fmla="*/ 1833 h 10000"/>
                <a:gd name="connsiteX97" fmla="*/ 893 w 10000"/>
                <a:gd name="connsiteY97" fmla="*/ 1971 h 10000"/>
                <a:gd name="connsiteX98" fmla="*/ 690 w 10000"/>
                <a:gd name="connsiteY98" fmla="*/ 2376 h 10000"/>
                <a:gd name="connsiteX99" fmla="*/ 893 w 10000"/>
                <a:gd name="connsiteY99" fmla="*/ 2457 h 10000"/>
                <a:gd name="connsiteX100" fmla="*/ 1677 w 10000"/>
                <a:gd name="connsiteY100" fmla="*/ 2879 h 10000"/>
                <a:gd name="connsiteX101" fmla="*/ 1458 w 10000"/>
                <a:gd name="connsiteY101" fmla="*/ 2976 h 10000"/>
                <a:gd name="connsiteX102" fmla="*/ 1458 w 10000"/>
                <a:gd name="connsiteY102" fmla="*/ 3179 h 10000"/>
                <a:gd name="connsiteX103" fmla="*/ 1677 w 10000"/>
                <a:gd name="connsiteY103" fmla="*/ 3220 h 10000"/>
                <a:gd name="connsiteX104" fmla="*/ 1614 w 10000"/>
                <a:gd name="connsiteY104" fmla="*/ 3333 h 10000"/>
                <a:gd name="connsiteX105" fmla="*/ 1787 w 10000"/>
                <a:gd name="connsiteY105" fmla="*/ 3398 h 10000"/>
                <a:gd name="connsiteX106" fmla="*/ 1959 w 10000"/>
                <a:gd name="connsiteY106" fmla="*/ 3366 h 10000"/>
                <a:gd name="connsiteX107" fmla="*/ 1991 w 10000"/>
                <a:gd name="connsiteY107" fmla="*/ 3528 h 10000"/>
                <a:gd name="connsiteX108" fmla="*/ 2132 w 10000"/>
                <a:gd name="connsiteY108" fmla="*/ 3609 h 10000"/>
                <a:gd name="connsiteX109" fmla="*/ 2320 w 10000"/>
                <a:gd name="connsiteY109" fmla="*/ 3577 h 10000"/>
                <a:gd name="connsiteX110" fmla="*/ 2461 w 10000"/>
                <a:gd name="connsiteY110" fmla="*/ 3715 h 10000"/>
                <a:gd name="connsiteX111" fmla="*/ 2335 w 10000"/>
                <a:gd name="connsiteY111" fmla="*/ 3950 h 10000"/>
                <a:gd name="connsiteX112" fmla="*/ 3276 w 10000"/>
                <a:gd name="connsiteY112" fmla="*/ 4193 h 10000"/>
                <a:gd name="connsiteX113" fmla="*/ 3292 w 10000"/>
                <a:gd name="connsiteY113" fmla="*/ 4599 h 10000"/>
                <a:gd name="connsiteX114" fmla="*/ 2806 w 10000"/>
                <a:gd name="connsiteY114" fmla="*/ 5239 h 10000"/>
                <a:gd name="connsiteX115" fmla="*/ 2288 w 10000"/>
                <a:gd name="connsiteY115" fmla="*/ 5677 h 10000"/>
                <a:gd name="connsiteX116" fmla="*/ 2555 w 10000"/>
                <a:gd name="connsiteY116" fmla="*/ 5612 h 10000"/>
                <a:gd name="connsiteX117" fmla="*/ 2618 w 10000"/>
                <a:gd name="connsiteY117" fmla="*/ 5766 h 10000"/>
                <a:gd name="connsiteX118" fmla="*/ 2931 w 10000"/>
                <a:gd name="connsiteY118" fmla="*/ 5839 h 10000"/>
                <a:gd name="connsiteX119" fmla="*/ 3370 w 10000"/>
                <a:gd name="connsiteY119" fmla="*/ 5775 h 10000"/>
                <a:gd name="connsiteX120" fmla="*/ 3793 w 10000"/>
                <a:gd name="connsiteY120" fmla="*/ 5864 h 10000"/>
                <a:gd name="connsiteX121" fmla="*/ 3793 w 10000"/>
                <a:gd name="connsiteY121" fmla="*/ 5994 h 10000"/>
                <a:gd name="connsiteX122" fmla="*/ 3056 w 10000"/>
                <a:gd name="connsiteY122" fmla="*/ 5969 h 10000"/>
                <a:gd name="connsiteX123" fmla="*/ 2931 w 10000"/>
                <a:gd name="connsiteY123" fmla="*/ 6091 h 10000"/>
                <a:gd name="connsiteX124" fmla="*/ 2555 w 10000"/>
                <a:gd name="connsiteY124" fmla="*/ 6172 h 10000"/>
                <a:gd name="connsiteX125" fmla="*/ 2633 w 10000"/>
                <a:gd name="connsiteY125" fmla="*/ 6269 h 10000"/>
                <a:gd name="connsiteX126" fmla="*/ 2712 w 10000"/>
                <a:gd name="connsiteY126" fmla="*/ 6326 h 10000"/>
                <a:gd name="connsiteX127" fmla="*/ 2539 w 10000"/>
                <a:gd name="connsiteY127" fmla="*/ 6415 h 10000"/>
                <a:gd name="connsiteX128" fmla="*/ 2586 w 10000"/>
                <a:gd name="connsiteY128" fmla="*/ 6537 h 10000"/>
                <a:gd name="connsiteX129" fmla="*/ 2398 w 10000"/>
                <a:gd name="connsiteY129" fmla="*/ 6642 h 10000"/>
                <a:gd name="connsiteX130" fmla="*/ 2492 w 10000"/>
                <a:gd name="connsiteY130" fmla="*/ 6788 h 10000"/>
                <a:gd name="connsiteX131" fmla="*/ 2680 w 10000"/>
                <a:gd name="connsiteY131" fmla="*/ 6821 h 10000"/>
                <a:gd name="connsiteX132" fmla="*/ 2602 w 10000"/>
                <a:gd name="connsiteY132" fmla="*/ 6983 h 10000"/>
                <a:gd name="connsiteX133" fmla="*/ 2821 w 10000"/>
                <a:gd name="connsiteY133" fmla="*/ 7015 h 10000"/>
                <a:gd name="connsiteX134" fmla="*/ 2931 w 10000"/>
                <a:gd name="connsiteY134" fmla="*/ 7145 h 10000"/>
                <a:gd name="connsiteX135" fmla="*/ 2806 w 10000"/>
                <a:gd name="connsiteY135" fmla="*/ 7202 h 10000"/>
                <a:gd name="connsiteX136" fmla="*/ 2821 w 10000"/>
                <a:gd name="connsiteY136" fmla="*/ 7299 h 10000"/>
                <a:gd name="connsiteX137" fmla="*/ 2931 w 10000"/>
                <a:gd name="connsiteY137" fmla="*/ 7388 h 10000"/>
                <a:gd name="connsiteX138" fmla="*/ 3292 w 10000"/>
                <a:gd name="connsiteY138" fmla="*/ 7486 h 10000"/>
                <a:gd name="connsiteX139" fmla="*/ 3166 w 10000"/>
                <a:gd name="connsiteY139" fmla="*/ 7575 h 10000"/>
                <a:gd name="connsiteX140" fmla="*/ 3292 w 10000"/>
                <a:gd name="connsiteY140" fmla="*/ 7737 h 10000"/>
                <a:gd name="connsiteX141" fmla="*/ 3417 w 10000"/>
                <a:gd name="connsiteY141" fmla="*/ 7737 h 10000"/>
                <a:gd name="connsiteX142" fmla="*/ 3511 w 10000"/>
                <a:gd name="connsiteY142" fmla="*/ 7810 h 10000"/>
                <a:gd name="connsiteX143" fmla="*/ 3793 w 10000"/>
                <a:gd name="connsiteY143" fmla="*/ 7908 h 10000"/>
                <a:gd name="connsiteX144" fmla="*/ 3793 w 10000"/>
                <a:gd name="connsiteY144" fmla="*/ 7997 h 10000"/>
                <a:gd name="connsiteX145" fmla="*/ 4075 w 10000"/>
                <a:gd name="connsiteY145" fmla="*/ 7972 h 10000"/>
                <a:gd name="connsiteX146" fmla="*/ 4577 w 10000"/>
                <a:gd name="connsiteY146" fmla="*/ 7972 h 10000"/>
                <a:gd name="connsiteX147" fmla="*/ 4718 w 10000"/>
                <a:gd name="connsiteY147" fmla="*/ 8167 h 10000"/>
                <a:gd name="connsiteX148" fmla="*/ 5141 w 10000"/>
                <a:gd name="connsiteY148" fmla="*/ 7972 h 10000"/>
                <a:gd name="connsiteX149" fmla="*/ 5721 w 10000"/>
                <a:gd name="connsiteY149" fmla="*/ 8078 h 10000"/>
                <a:gd name="connsiteX150" fmla="*/ 5846 w 10000"/>
                <a:gd name="connsiteY150" fmla="*/ 8289 h 10000"/>
                <a:gd name="connsiteX151" fmla="*/ 5846 w 10000"/>
                <a:gd name="connsiteY151" fmla="*/ 8467 h 10000"/>
                <a:gd name="connsiteX152" fmla="*/ 6113 w 10000"/>
                <a:gd name="connsiteY152" fmla="*/ 8483 h 10000"/>
                <a:gd name="connsiteX153" fmla="*/ 6223 w 10000"/>
                <a:gd name="connsiteY153" fmla="*/ 8581 h 10000"/>
                <a:gd name="connsiteX154" fmla="*/ 6536 w 10000"/>
                <a:gd name="connsiteY154" fmla="*/ 8710 h 10000"/>
                <a:gd name="connsiteX155" fmla="*/ 6912 w 10000"/>
                <a:gd name="connsiteY155" fmla="*/ 8759 h 10000"/>
                <a:gd name="connsiteX156" fmla="*/ 6928 w 10000"/>
                <a:gd name="connsiteY156" fmla="*/ 8889 h 10000"/>
                <a:gd name="connsiteX157" fmla="*/ 7367 w 10000"/>
                <a:gd name="connsiteY157" fmla="*/ 8856 h 10000"/>
                <a:gd name="connsiteX158" fmla="*/ 7696 w 10000"/>
                <a:gd name="connsiteY158" fmla="*/ 9027 h 10000"/>
                <a:gd name="connsiteX159" fmla="*/ 7586 w 10000"/>
                <a:gd name="connsiteY159" fmla="*/ 9238 h 10000"/>
                <a:gd name="connsiteX160" fmla="*/ 6912 w 10000"/>
                <a:gd name="connsiteY160" fmla="*/ 9238 h 10000"/>
                <a:gd name="connsiteX161" fmla="*/ 6803 w 10000"/>
                <a:gd name="connsiteY161" fmla="*/ 9343 h 10000"/>
                <a:gd name="connsiteX162" fmla="*/ 7132 w 10000"/>
                <a:gd name="connsiteY162" fmla="*/ 9424 h 10000"/>
                <a:gd name="connsiteX163" fmla="*/ 7179 w 10000"/>
                <a:gd name="connsiteY163" fmla="*/ 9594 h 10000"/>
                <a:gd name="connsiteX164" fmla="*/ 7461 w 10000"/>
                <a:gd name="connsiteY164" fmla="*/ 9805 h 10000"/>
                <a:gd name="connsiteX165" fmla="*/ 7837 w 10000"/>
                <a:gd name="connsiteY165" fmla="*/ 9813 h 10000"/>
                <a:gd name="connsiteX166" fmla="*/ 7853 w 10000"/>
                <a:gd name="connsiteY166" fmla="*/ 9659 h 10000"/>
                <a:gd name="connsiteX167" fmla="*/ 8464 w 10000"/>
                <a:gd name="connsiteY167" fmla="*/ 9521 h 10000"/>
                <a:gd name="connsiteX168" fmla="*/ 9060 w 10000"/>
                <a:gd name="connsiteY168" fmla="*/ 9521 h 10000"/>
                <a:gd name="connsiteX169" fmla="*/ 9545 w 10000"/>
                <a:gd name="connsiteY169" fmla="*/ 9659 h 10000"/>
                <a:gd name="connsiteX170" fmla="*/ 9279 w 10000"/>
                <a:gd name="connsiteY170" fmla="*/ 9789 h 10000"/>
                <a:gd name="connsiteX171" fmla="*/ 9624 w 10000"/>
                <a:gd name="connsiteY171" fmla="*/ 10000 h 10000"/>
                <a:gd name="connsiteX172" fmla="*/ 10000 w 10000"/>
                <a:gd name="connsiteY172" fmla="*/ 9951 h 10000"/>
                <a:gd name="connsiteX173" fmla="*/ 10000 w 10000"/>
                <a:gd name="connsiteY173" fmla="*/ 0 h 10000"/>
                <a:gd name="connsiteX174" fmla="*/ 8433 w 10000"/>
                <a:gd name="connsiteY174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630 w 10000"/>
                <a:gd name="connsiteY82" fmla="*/ 876 h 10000"/>
                <a:gd name="connsiteX83" fmla="*/ 1524 w 10000"/>
                <a:gd name="connsiteY83" fmla="*/ 709 h 10000"/>
                <a:gd name="connsiteX84" fmla="*/ 1295 w 10000"/>
                <a:gd name="connsiteY84" fmla="*/ 865 h 10000"/>
                <a:gd name="connsiteX85" fmla="*/ 940 w 10000"/>
                <a:gd name="connsiteY85" fmla="*/ 1054 h 10000"/>
                <a:gd name="connsiteX86" fmla="*/ 737 w 10000"/>
                <a:gd name="connsiteY86" fmla="*/ 1273 h 10000"/>
                <a:gd name="connsiteX87" fmla="*/ 298 w 10000"/>
                <a:gd name="connsiteY87" fmla="*/ 1265 h 10000"/>
                <a:gd name="connsiteX88" fmla="*/ 361 w 10000"/>
                <a:gd name="connsiteY88" fmla="*/ 1419 h 10000"/>
                <a:gd name="connsiteX89" fmla="*/ 219 w 10000"/>
                <a:gd name="connsiteY89" fmla="*/ 1525 h 10000"/>
                <a:gd name="connsiteX90" fmla="*/ 0 w 10000"/>
                <a:gd name="connsiteY90" fmla="*/ 1679 h 10000"/>
                <a:gd name="connsiteX91" fmla="*/ 31 w 10000"/>
                <a:gd name="connsiteY91" fmla="*/ 1687 h 10000"/>
                <a:gd name="connsiteX92" fmla="*/ 31 w 10000"/>
                <a:gd name="connsiteY92" fmla="*/ 1695 h 10000"/>
                <a:gd name="connsiteX93" fmla="*/ 376 w 10000"/>
                <a:gd name="connsiteY93" fmla="*/ 1727 h 10000"/>
                <a:gd name="connsiteX94" fmla="*/ 517 w 10000"/>
                <a:gd name="connsiteY94" fmla="*/ 1800 h 10000"/>
                <a:gd name="connsiteX95" fmla="*/ 799 w 10000"/>
                <a:gd name="connsiteY95" fmla="*/ 1833 h 10000"/>
                <a:gd name="connsiteX96" fmla="*/ 893 w 10000"/>
                <a:gd name="connsiteY96" fmla="*/ 1971 h 10000"/>
                <a:gd name="connsiteX97" fmla="*/ 690 w 10000"/>
                <a:gd name="connsiteY97" fmla="*/ 2376 h 10000"/>
                <a:gd name="connsiteX98" fmla="*/ 893 w 10000"/>
                <a:gd name="connsiteY98" fmla="*/ 2457 h 10000"/>
                <a:gd name="connsiteX99" fmla="*/ 1677 w 10000"/>
                <a:gd name="connsiteY99" fmla="*/ 2879 h 10000"/>
                <a:gd name="connsiteX100" fmla="*/ 1458 w 10000"/>
                <a:gd name="connsiteY100" fmla="*/ 2976 h 10000"/>
                <a:gd name="connsiteX101" fmla="*/ 1458 w 10000"/>
                <a:gd name="connsiteY101" fmla="*/ 3179 h 10000"/>
                <a:gd name="connsiteX102" fmla="*/ 1677 w 10000"/>
                <a:gd name="connsiteY102" fmla="*/ 3220 h 10000"/>
                <a:gd name="connsiteX103" fmla="*/ 1614 w 10000"/>
                <a:gd name="connsiteY103" fmla="*/ 3333 h 10000"/>
                <a:gd name="connsiteX104" fmla="*/ 1787 w 10000"/>
                <a:gd name="connsiteY104" fmla="*/ 3398 h 10000"/>
                <a:gd name="connsiteX105" fmla="*/ 1959 w 10000"/>
                <a:gd name="connsiteY105" fmla="*/ 3366 h 10000"/>
                <a:gd name="connsiteX106" fmla="*/ 1991 w 10000"/>
                <a:gd name="connsiteY106" fmla="*/ 3528 h 10000"/>
                <a:gd name="connsiteX107" fmla="*/ 2132 w 10000"/>
                <a:gd name="connsiteY107" fmla="*/ 3609 h 10000"/>
                <a:gd name="connsiteX108" fmla="*/ 2320 w 10000"/>
                <a:gd name="connsiteY108" fmla="*/ 3577 h 10000"/>
                <a:gd name="connsiteX109" fmla="*/ 2461 w 10000"/>
                <a:gd name="connsiteY109" fmla="*/ 3715 h 10000"/>
                <a:gd name="connsiteX110" fmla="*/ 2335 w 10000"/>
                <a:gd name="connsiteY110" fmla="*/ 3950 h 10000"/>
                <a:gd name="connsiteX111" fmla="*/ 3276 w 10000"/>
                <a:gd name="connsiteY111" fmla="*/ 4193 h 10000"/>
                <a:gd name="connsiteX112" fmla="*/ 3292 w 10000"/>
                <a:gd name="connsiteY112" fmla="*/ 4599 h 10000"/>
                <a:gd name="connsiteX113" fmla="*/ 2806 w 10000"/>
                <a:gd name="connsiteY113" fmla="*/ 5239 h 10000"/>
                <a:gd name="connsiteX114" fmla="*/ 2288 w 10000"/>
                <a:gd name="connsiteY114" fmla="*/ 5677 h 10000"/>
                <a:gd name="connsiteX115" fmla="*/ 2555 w 10000"/>
                <a:gd name="connsiteY115" fmla="*/ 5612 h 10000"/>
                <a:gd name="connsiteX116" fmla="*/ 2618 w 10000"/>
                <a:gd name="connsiteY116" fmla="*/ 5766 h 10000"/>
                <a:gd name="connsiteX117" fmla="*/ 2931 w 10000"/>
                <a:gd name="connsiteY117" fmla="*/ 5839 h 10000"/>
                <a:gd name="connsiteX118" fmla="*/ 3370 w 10000"/>
                <a:gd name="connsiteY118" fmla="*/ 5775 h 10000"/>
                <a:gd name="connsiteX119" fmla="*/ 3793 w 10000"/>
                <a:gd name="connsiteY119" fmla="*/ 5864 h 10000"/>
                <a:gd name="connsiteX120" fmla="*/ 3793 w 10000"/>
                <a:gd name="connsiteY120" fmla="*/ 5994 h 10000"/>
                <a:gd name="connsiteX121" fmla="*/ 3056 w 10000"/>
                <a:gd name="connsiteY121" fmla="*/ 5969 h 10000"/>
                <a:gd name="connsiteX122" fmla="*/ 2931 w 10000"/>
                <a:gd name="connsiteY122" fmla="*/ 6091 h 10000"/>
                <a:gd name="connsiteX123" fmla="*/ 2555 w 10000"/>
                <a:gd name="connsiteY123" fmla="*/ 6172 h 10000"/>
                <a:gd name="connsiteX124" fmla="*/ 2633 w 10000"/>
                <a:gd name="connsiteY124" fmla="*/ 6269 h 10000"/>
                <a:gd name="connsiteX125" fmla="*/ 2712 w 10000"/>
                <a:gd name="connsiteY125" fmla="*/ 6326 h 10000"/>
                <a:gd name="connsiteX126" fmla="*/ 2539 w 10000"/>
                <a:gd name="connsiteY126" fmla="*/ 6415 h 10000"/>
                <a:gd name="connsiteX127" fmla="*/ 2586 w 10000"/>
                <a:gd name="connsiteY127" fmla="*/ 6537 h 10000"/>
                <a:gd name="connsiteX128" fmla="*/ 2398 w 10000"/>
                <a:gd name="connsiteY128" fmla="*/ 6642 h 10000"/>
                <a:gd name="connsiteX129" fmla="*/ 2492 w 10000"/>
                <a:gd name="connsiteY129" fmla="*/ 6788 h 10000"/>
                <a:gd name="connsiteX130" fmla="*/ 2680 w 10000"/>
                <a:gd name="connsiteY130" fmla="*/ 6821 h 10000"/>
                <a:gd name="connsiteX131" fmla="*/ 2602 w 10000"/>
                <a:gd name="connsiteY131" fmla="*/ 6983 h 10000"/>
                <a:gd name="connsiteX132" fmla="*/ 2821 w 10000"/>
                <a:gd name="connsiteY132" fmla="*/ 7015 h 10000"/>
                <a:gd name="connsiteX133" fmla="*/ 2931 w 10000"/>
                <a:gd name="connsiteY133" fmla="*/ 7145 h 10000"/>
                <a:gd name="connsiteX134" fmla="*/ 2806 w 10000"/>
                <a:gd name="connsiteY134" fmla="*/ 7202 h 10000"/>
                <a:gd name="connsiteX135" fmla="*/ 2821 w 10000"/>
                <a:gd name="connsiteY135" fmla="*/ 7299 h 10000"/>
                <a:gd name="connsiteX136" fmla="*/ 2931 w 10000"/>
                <a:gd name="connsiteY136" fmla="*/ 7388 h 10000"/>
                <a:gd name="connsiteX137" fmla="*/ 3292 w 10000"/>
                <a:gd name="connsiteY137" fmla="*/ 7486 h 10000"/>
                <a:gd name="connsiteX138" fmla="*/ 3166 w 10000"/>
                <a:gd name="connsiteY138" fmla="*/ 7575 h 10000"/>
                <a:gd name="connsiteX139" fmla="*/ 3292 w 10000"/>
                <a:gd name="connsiteY139" fmla="*/ 7737 h 10000"/>
                <a:gd name="connsiteX140" fmla="*/ 3417 w 10000"/>
                <a:gd name="connsiteY140" fmla="*/ 7737 h 10000"/>
                <a:gd name="connsiteX141" fmla="*/ 3511 w 10000"/>
                <a:gd name="connsiteY141" fmla="*/ 7810 h 10000"/>
                <a:gd name="connsiteX142" fmla="*/ 3793 w 10000"/>
                <a:gd name="connsiteY142" fmla="*/ 7908 h 10000"/>
                <a:gd name="connsiteX143" fmla="*/ 3793 w 10000"/>
                <a:gd name="connsiteY143" fmla="*/ 7997 h 10000"/>
                <a:gd name="connsiteX144" fmla="*/ 4075 w 10000"/>
                <a:gd name="connsiteY144" fmla="*/ 7972 h 10000"/>
                <a:gd name="connsiteX145" fmla="*/ 4577 w 10000"/>
                <a:gd name="connsiteY145" fmla="*/ 7972 h 10000"/>
                <a:gd name="connsiteX146" fmla="*/ 4718 w 10000"/>
                <a:gd name="connsiteY146" fmla="*/ 8167 h 10000"/>
                <a:gd name="connsiteX147" fmla="*/ 5141 w 10000"/>
                <a:gd name="connsiteY147" fmla="*/ 7972 h 10000"/>
                <a:gd name="connsiteX148" fmla="*/ 5721 w 10000"/>
                <a:gd name="connsiteY148" fmla="*/ 8078 h 10000"/>
                <a:gd name="connsiteX149" fmla="*/ 5846 w 10000"/>
                <a:gd name="connsiteY149" fmla="*/ 8289 h 10000"/>
                <a:gd name="connsiteX150" fmla="*/ 5846 w 10000"/>
                <a:gd name="connsiteY150" fmla="*/ 8467 h 10000"/>
                <a:gd name="connsiteX151" fmla="*/ 6113 w 10000"/>
                <a:gd name="connsiteY151" fmla="*/ 8483 h 10000"/>
                <a:gd name="connsiteX152" fmla="*/ 6223 w 10000"/>
                <a:gd name="connsiteY152" fmla="*/ 8581 h 10000"/>
                <a:gd name="connsiteX153" fmla="*/ 6536 w 10000"/>
                <a:gd name="connsiteY153" fmla="*/ 8710 h 10000"/>
                <a:gd name="connsiteX154" fmla="*/ 6912 w 10000"/>
                <a:gd name="connsiteY154" fmla="*/ 8759 h 10000"/>
                <a:gd name="connsiteX155" fmla="*/ 6928 w 10000"/>
                <a:gd name="connsiteY155" fmla="*/ 8889 h 10000"/>
                <a:gd name="connsiteX156" fmla="*/ 7367 w 10000"/>
                <a:gd name="connsiteY156" fmla="*/ 8856 h 10000"/>
                <a:gd name="connsiteX157" fmla="*/ 7696 w 10000"/>
                <a:gd name="connsiteY157" fmla="*/ 9027 h 10000"/>
                <a:gd name="connsiteX158" fmla="*/ 7586 w 10000"/>
                <a:gd name="connsiteY158" fmla="*/ 9238 h 10000"/>
                <a:gd name="connsiteX159" fmla="*/ 6912 w 10000"/>
                <a:gd name="connsiteY159" fmla="*/ 9238 h 10000"/>
                <a:gd name="connsiteX160" fmla="*/ 6803 w 10000"/>
                <a:gd name="connsiteY160" fmla="*/ 9343 h 10000"/>
                <a:gd name="connsiteX161" fmla="*/ 7132 w 10000"/>
                <a:gd name="connsiteY161" fmla="*/ 9424 h 10000"/>
                <a:gd name="connsiteX162" fmla="*/ 7179 w 10000"/>
                <a:gd name="connsiteY162" fmla="*/ 9594 h 10000"/>
                <a:gd name="connsiteX163" fmla="*/ 7461 w 10000"/>
                <a:gd name="connsiteY163" fmla="*/ 9805 h 10000"/>
                <a:gd name="connsiteX164" fmla="*/ 7837 w 10000"/>
                <a:gd name="connsiteY164" fmla="*/ 9813 h 10000"/>
                <a:gd name="connsiteX165" fmla="*/ 7853 w 10000"/>
                <a:gd name="connsiteY165" fmla="*/ 9659 h 10000"/>
                <a:gd name="connsiteX166" fmla="*/ 8464 w 10000"/>
                <a:gd name="connsiteY166" fmla="*/ 9521 h 10000"/>
                <a:gd name="connsiteX167" fmla="*/ 9060 w 10000"/>
                <a:gd name="connsiteY167" fmla="*/ 9521 h 10000"/>
                <a:gd name="connsiteX168" fmla="*/ 9545 w 10000"/>
                <a:gd name="connsiteY168" fmla="*/ 9659 h 10000"/>
                <a:gd name="connsiteX169" fmla="*/ 9279 w 10000"/>
                <a:gd name="connsiteY169" fmla="*/ 9789 h 10000"/>
                <a:gd name="connsiteX170" fmla="*/ 9624 w 10000"/>
                <a:gd name="connsiteY170" fmla="*/ 10000 h 10000"/>
                <a:gd name="connsiteX171" fmla="*/ 10000 w 10000"/>
                <a:gd name="connsiteY171" fmla="*/ 9951 h 10000"/>
                <a:gd name="connsiteX172" fmla="*/ 10000 w 10000"/>
                <a:gd name="connsiteY172" fmla="*/ 0 h 10000"/>
                <a:gd name="connsiteX173" fmla="*/ 8433 w 10000"/>
                <a:gd name="connsiteY173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865 h 10000"/>
                <a:gd name="connsiteX84" fmla="*/ 940 w 10000"/>
                <a:gd name="connsiteY84" fmla="*/ 1054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940 w 10000"/>
                <a:gd name="connsiteY84" fmla="*/ 1054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940 w 10000"/>
                <a:gd name="connsiteY84" fmla="*/ 1054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737 w 10000"/>
                <a:gd name="connsiteY85" fmla="*/ 12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680 w 10000"/>
                <a:gd name="connsiteY85" fmla="*/ 1073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52 w 10000"/>
                <a:gd name="connsiteY85" fmla="*/ 932 h 10000"/>
                <a:gd name="connsiteX86" fmla="*/ 298 w 10000"/>
                <a:gd name="connsiteY86" fmla="*/ 1265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52 w 10000"/>
                <a:gd name="connsiteY85" fmla="*/ 932 h 10000"/>
                <a:gd name="connsiteX86" fmla="*/ 585 w 10000"/>
                <a:gd name="connsiteY86" fmla="*/ 1169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52 w 10000"/>
                <a:gd name="connsiteY85" fmla="*/ 932 h 10000"/>
                <a:gd name="connsiteX86" fmla="*/ 571 w 10000"/>
                <a:gd name="connsiteY86" fmla="*/ 1154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38 w 10000"/>
                <a:gd name="connsiteY85" fmla="*/ 910 h 10000"/>
                <a:gd name="connsiteX86" fmla="*/ 571 w 10000"/>
                <a:gd name="connsiteY86" fmla="*/ 1154 h 10000"/>
                <a:gd name="connsiteX87" fmla="*/ 361 w 10000"/>
                <a:gd name="connsiteY87" fmla="*/ 141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33 w 10000"/>
                <a:gd name="connsiteY0" fmla="*/ 0 h 10000"/>
                <a:gd name="connsiteX1" fmla="*/ 8433 w 10000"/>
                <a:gd name="connsiteY1" fmla="*/ 97 h 10000"/>
                <a:gd name="connsiteX2" fmla="*/ 8103 w 10000"/>
                <a:gd name="connsiteY2" fmla="*/ 357 h 10000"/>
                <a:gd name="connsiteX3" fmla="*/ 8433 w 10000"/>
                <a:gd name="connsiteY3" fmla="*/ 697 h 10000"/>
                <a:gd name="connsiteX4" fmla="*/ 7821 w 10000"/>
                <a:gd name="connsiteY4" fmla="*/ 981 h 10000"/>
                <a:gd name="connsiteX5" fmla="*/ 7727 w 10000"/>
                <a:gd name="connsiteY5" fmla="*/ 803 h 10000"/>
                <a:gd name="connsiteX6" fmla="*/ 7194 w 10000"/>
                <a:gd name="connsiteY6" fmla="*/ 803 h 10000"/>
                <a:gd name="connsiteX7" fmla="*/ 7038 w 10000"/>
                <a:gd name="connsiteY7" fmla="*/ 584 h 10000"/>
                <a:gd name="connsiteX8" fmla="*/ 7492 w 10000"/>
                <a:gd name="connsiteY8" fmla="*/ 397 h 10000"/>
                <a:gd name="connsiteX9" fmla="*/ 7053 w 10000"/>
                <a:gd name="connsiteY9" fmla="*/ 276 h 10000"/>
                <a:gd name="connsiteX10" fmla="*/ 6881 w 10000"/>
                <a:gd name="connsiteY10" fmla="*/ 187 h 10000"/>
                <a:gd name="connsiteX11" fmla="*/ 6567 w 10000"/>
                <a:gd name="connsiteY11" fmla="*/ 187 h 10000"/>
                <a:gd name="connsiteX12" fmla="*/ 6270 w 10000"/>
                <a:gd name="connsiteY12" fmla="*/ 341 h 10000"/>
                <a:gd name="connsiteX13" fmla="*/ 5799 w 10000"/>
                <a:gd name="connsiteY13" fmla="*/ 397 h 10000"/>
                <a:gd name="connsiteX14" fmla="*/ 6364 w 10000"/>
                <a:gd name="connsiteY14" fmla="*/ 479 h 10000"/>
                <a:gd name="connsiteX15" fmla="*/ 6583 w 10000"/>
                <a:gd name="connsiteY15" fmla="*/ 738 h 10000"/>
                <a:gd name="connsiteX16" fmla="*/ 6677 w 10000"/>
                <a:gd name="connsiteY16" fmla="*/ 981 h 10000"/>
                <a:gd name="connsiteX17" fmla="*/ 6834 w 10000"/>
                <a:gd name="connsiteY17" fmla="*/ 981 h 10000"/>
                <a:gd name="connsiteX18" fmla="*/ 7241 w 10000"/>
                <a:gd name="connsiteY18" fmla="*/ 981 h 10000"/>
                <a:gd name="connsiteX19" fmla="*/ 7273 w 10000"/>
                <a:gd name="connsiteY19" fmla="*/ 1103 h 10000"/>
                <a:gd name="connsiteX20" fmla="*/ 7476 w 10000"/>
                <a:gd name="connsiteY20" fmla="*/ 1160 h 10000"/>
                <a:gd name="connsiteX21" fmla="*/ 7492 w 10000"/>
                <a:gd name="connsiteY21" fmla="*/ 1371 h 10000"/>
                <a:gd name="connsiteX22" fmla="*/ 7649 w 10000"/>
                <a:gd name="connsiteY22" fmla="*/ 1590 h 10000"/>
                <a:gd name="connsiteX23" fmla="*/ 7179 w 10000"/>
                <a:gd name="connsiteY23" fmla="*/ 1444 h 10000"/>
                <a:gd name="connsiteX24" fmla="*/ 6850 w 10000"/>
                <a:gd name="connsiteY24" fmla="*/ 1484 h 10000"/>
                <a:gd name="connsiteX25" fmla="*/ 6567 w 10000"/>
                <a:gd name="connsiteY25" fmla="*/ 1484 h 10000"/>
                <a:gd name="connsiteX26" fmla="*/ 6364 w 10000"/>
                <a:gd name="connsiteY26" fmla="*/ 1825 h 10000"/>
                <a:gd name="connsiteX27" fmla="*/ 6238 w 10000"/>
                <a:gd name="connsiteY27" fmla="*/ 2028 h 10000"/>
                <a:gd name="connsiteX28" fmla="*/ 6176 w 10000"/>
                <a:gd name="connsiteY28" fmla="*/ 2271 h 10000"/>
                <a:gd name="connsiteX29" fmla="*/ 6567 w 10000"/>
                <a:gd name="connsiteY29" fmla="*/ 2401 h 10000"/>
                <a:gd name="connsiteX30" fmla="*/ 6944 w 10000"/>
                <a:gd name="connsiteY30" fmla="*/ 2595 h 10000"/>
                <a:gd name="connsiteX31" fmla="*/ 6536 w 10000"/>
                <a:gd name="connsiteY31" fmla="*/ 2798 h 10000"/>
                <a:gd name="connsiteX32" fmla="*/ 6348 w 10000"/>
                <a:gd name="connsiteY32" fmla="*/ 2701 h 10000"/>
                <a:gd name="connsiteX33" fmla="*/ 6113 w 10000"/>
                <a:gd name="connsiteY33" fmla="*/ 2660 h 10000"/>
                <a:gd name="connsiteX34" fmla="*/ 5627 w 10000"/>
                <a:gd name="connsiteY34" fmla="*/ 2749 h 10000"/>
                <a:gd name="connsiteX35" fmla="*/ 5141 w 10000"/>
                <a:gd name="connsiteY35" fmla="*/ 2595 h 10000"/>
                <a:gd name="connsiteX36" fmla="*/ 4890 w 10000"/>
                <a:gd name="connsiteY36" fmla="*/ 2603 h 10000"/>
                <a:gd name="connsiteX37" fmla="*/ 5031 w 10000"/>
                <a:gd name="connsiteY37" fmla="*/ 2733 h 10000"/>
                <a:gd name="connsiteX38" fmla="*/ 4984 w 10000"/>
                <a:gd name="connsiteY38" fmla="*/ 2822 h 10000"/>
                <a:gd name="connsiteX39" fmla="*/ 5486 w 10000"/>
                <a:gd name="connsiteY39" fmla="*/ 3025 h 10000"/>
                <a:gd name="connsiteX40" fmla="*/ 5752 w 10000"/>
                <a:gd name="connsiteY40" fmla="*/ 2928 h 10000"/>
                <a:gd name="connsiteX41" fmla="*/ 6113 w 10000"/>
                <a:gd name="connsiteY41" fmla="*/ 3114 h 10000"/>
                <a:gd name="connsiteX42" fmla="*/ 5909 w 10000"/>
                <a:gd name="connsiteY42" fmla="*/ 3317 h 10000"/>
                <a:gd name="connsiteX43" fmla="*/ 5611 w 10000"/>
                <a:gd name="connsiteY43" fmla="*/ 3317 h 10000"/>
                <a:gd name="connsiteX44" fmla="*/ 5047 w 10000"/>
                <a:gd name="connsiteY44" fmla="*/ 3268 h 10000"/>
                <a:gd name="connsiteX45" fmla="*/ 5000 w 10000"/>
                <a:gd name="connsiteY45" fmla="*/ 3139 h 10000"/>
                <a:gd name="connsiteX46" fmla="*/ 4702 w 10000"/>
                <a:gd name="connsiteY46" fmla="*/ 3147 h 10000"/>
                <a:gd name="connsiteX47" fmla="*/ 4530 w 10000"/>
                <a:gd name="connsiteY47" fmla="*/ 3268 h 10000"/>
                <a:gd name="connsiteX48" fmla="*/ 4232 w 10000"/>
                <a:gd name="connsiteY48" fmla="*/ 3187 h 10000"/>
                <a:gd name="connsiteX49" fmla="*/ 4295 w 10000"/>
                <a:gd name="connsiteY49" fmla="*/ 3017 h 10000"/>
                <a:gd name="connsiteX50" fmla="*/ 3871 w 10000"/>
                <a:gd name="connsiteY50" fmla="*/ 2863 h 10000"/>
                <a:gd name="connsiteX51" fmla="*/ 3793 w 10000"/>
                <a:gd name="connsiteY51" fmla="*/ 2863 h 10000"/>
                <a:gd name="connsiteX52" fmla="*/ 3636 w 10000"/>
                <a:gd name="connsiteY52" fmla="*/ 2741 h 10000"/>
                <a:gd name="connsiteX53" fmla="*/ 3793 w 10000"/>
                <a:gd name="connsiteY53" fmla="*/ 2636 h 10000"/>
                <a:gd name="connsiteX54" fmla="*/ 3527 w 10000"/>
                <a:gd name="connsiteY54" fmla="*/ 2433 h 10000"/>
                <a:gd name="connsiteX55" fmla="*/ 3197 w 10000"/>
                <a:gd name="connsiteY55" fmla="*/ 2384 h 10000"/>
                <a:gd name="connsiteX56" fmla="*/ 2931 w 10000"/>
                <a:gd name="connsiteY56" fmla="*/ 2336 h 10000"/>
                <a:gd name="connsiteX57" fmla="*/ 2821 w 10000"/>
                <a:gd name="connsiteY57" fmla="*/ 2247 h 10000"/>
                <a:gd name="connsiteX58" fmla="*/ 2241 w 10000"/>
                <a:gd name="connsiteY58" fmla="*/ 2190 h 10000"/>
                <a:gd name="connsiteX59" fmla="*/ 2100 w 10000"/>
                <a:gd name="connsiteY59" fmla="*/ 2117 h 10000"/>
                <a:gd name="connsiteX60" fmla="*/ 1850 w 10000"/>
                <a:gd name="connsiteY60" fmla="*/ 2060 h 10000"/>
                <a:gd name="connsiteX61" fmla="*/ 2006 w 10000"/>
                <a:gd name="connsiteY61" fmla="*/ 1979 h 10000"/>
                <a:gd name="connsiteX62" fmla="*/ 2320 w 10000"/>
                <a:gd name="connsiteY62" fmla="*/ 2003 h 10000"/>
                <a:gd name="connsiteX63" fmla="*/ 2476 w 10000"/>
                <a:gd name="connsiteY63" fmla="*/ 2117 h 10000"/>
                <a:gd name="connsiteX64" fmla="*/ 2743 w 10000"/>
                <a:gd name="connsiteY64" fmla="*/ 2117 h 10000"/>
                <a:gd name="connsiteX65" fmla="*/ 3213 w 10000"/>
                <a:gd name="connsiteY65" fmla="*/ 2117 h 10000"/>
                <a:gd name="connsiteX66" fmla="*/ 3386 w 10000"/>
                <a:gd name="connsiteY66" fmla="*/ 2068 h 10000"/>
                <a:gd name="connsiteX67" fmla="*/ 3793 w 10000"/>
                <a:gd name="connsiteY67" fmla="*/ 2117 h 10000"/>
                <a:gd name="connsiteX68" fmla="*/ 4326 w 10000"/>
                <a:gd name="connsiteY68" fmla="*/ 2117 h 10000"/>
                <a:gd name="connsiteX69" fmla="*/ 5110 w 10000"/>
                <a:gd name="connsiteY69" fmla="*/ 2084 h 10000"/>
                <a:gd name="connsiteX70" fmla="*/ 5909 w 10000"/>
                <a:gd name="connsiteY70" fmla="*/ 1784 h 10000"/>
                <a:gd name="connsiteX71" fmla="*/ 5909 w 10000"/>
                <a:gd name="connsiteY71" fmla="*/ 1387 h 10000"/>
                <a:gd name="connsiteX72" fmla="*/ 5596 w 10000"/>
                <a:gd name="connsiteY72" fmla="*/ 1176 h 10000"/>
                <a:gd name="connsiteX73" fmla="*/ 5251 w 10000"/>
                <a:gd name="connsiteY73" fmla="*/ 1030 h 10000"/>
                <a:gd name="connsiteX74" fmla="*/ 4702 w 10000"/>
                <a:gd name="connsiteY74" fmla="*/ 981 h 10000"/>
                <a:gd name="connsiteX75" fmla="*/ 4310 w 10000"/>
                <a:gd name="connsiteY75" fmla="*/ 981 h 10000"/>
                <a:gd name="connsiteX76" fmla="*/ 3918 w 10000"/>
                <a:gd name="connsiteY76" fmla="*/ 981 h 10000"/>
                <a:gd name="connsiteX77" fmla="*/ 3401 w 10000"/>
                <a:gd name="connsiteY77" fmla="*/ 803 h 10000"/>
                <a:gd name="connsiteX78" fmla="*/ 2743 w 10000"/>
                <a:gd name="connsiteY78" fmla="*/ 738 h 10000"/>
                <a:gd name="connsiteX79" fmla="*/ 2304 w 10000"/>
                <a:gd name="connsiteY79" fmla="*/ 762 h 10000"/>
                <a:gd name="connsiteX80" fmla="*/ 1740 w 10000"/>
                <a:gd name="connsiteY80" fmla="*/ 787 h 10000"/>
                <a:gd name="connsiteX81" fmla="*/ 1630 w 10000"/>
                <a:gd name="connsiteY81" fmla="*/ 860 h 10000"/>
                <a:gd name="connsiteX82" fmla="*/ 1524 w 10000"/>
                <a:gd name="connsiteY82" fmla="*/ 709 h 10000"/>
                <a:gd name="connsiteX83" fmla="*/ 1295 w 10000"/>
                <a:gd name="connsiteY83" fmla="*/ 784 h 10000"/>
                <a:gd name="connsiteX84" fmla="*/ 1055 w 10000"/>
                <a:gd name="connsiteY84" fmla="*/ 706 h 10000"/>
                <a:gd name="connsiteX85" fmla="*/ 938 w 10000"/>
                <a:gd name="connsiteY85" fmla="*/ 910 h 10000"/>
                <a:gd name="connsiteX86" fmla="*/ 571 w 10000"/>
                <a:gd name="connsiteY86" fmla="*/ 1154 h 10000"/>
                <a:gd name="connsiteX87" fmla="*/ 519 w 10000"/>
                <a:gd name="connsiteY87" fmla="*/ 1389 h 10000"/>
                <a:gd name="connsiteX88" fmla="*/ 219 w 10000"/>
                <a:gd name="connsiteY88" fmla="*/ 1525 h 10000"/>
                <a:gd name="connsiteX89" fmla="*/ 0 w 10000"/>
                <a:gd name="connsiteY89" fmla="*/ 1679 h 10000"/>
                <a:gd name="connsiteX90" fmla="*/ 31 w 10000"/>
                <a:gd name="connsiteY90" fmla="*/ 1687 h 10000"/>
                <a:gd name="connsiteX91" fmla="*/ 31 w 10000"/>
                <a:gd name="connsiteY91" fmla="*/ 1695 h 10000"/>
                <a:gd name="connsiteX92" fmla="*/ 376 w 10000"/>
                <a:gd name="connsiteY92" fmla="*/ 1727 h 10000"/>
                <a:gd name="connsiteX93" fmla="*/ 517 w 10000"/>
                <a:gd name="connsiteY93" fmla="*/ 1800 h 10000"/>
                <a:gd name="connsiteX94" fmla="*/ 799 w 10000"/>
                <a:gd name="connsiteY94" fmla="*/ 1833 h 10000"/>
                <a:gd name="connsiteX95" fmla="*/ 893 w 10000"/>
                <a:gd name="connsiteY95" fmla="*/ 1971 h 10000"/>
                <a:gd name="connsiteX96" fmla="*/ 690 w 10000"/>
                <a:gd name="connsiteY96" fmla="*/ 2376 h 10000"/>
                <a:gd name="connsiteX97" fmla="*/ 893 w 10000"/>
                <a:gd name="connsiteY97" fmla="*/ 2457 h 10000"/>
                <a:gd name="connsiteX98" fmla="*/ 1677 w 10000"/>
                <a:gd name="connsiteY98" fmla="*/ 2879 h 10000"/>
                <a:gd name="connsiteX99" fmla="*/ 1458 w 10000"/>
                <a:gd name="connsiteY99" fmla="*/ 2976 h 10000"/>
                <a:gd name="connsiteX100" fmla="*/ 1458 w 10000"/>
                <a:gd name="connsiteY100" fmla="*/ 3179 h 10000"/>
                <a:gd name="connsiteX101" fmla="*/ 1677 w 10000"/>
                <a:gd name="connsiteY101" fmla="*/ 3220 h 10000"/>
                <a:gd name="connsiteX102" fmla="*/ 1614 w 10000"/>
                <a:gd name="connsiteY102" fmla="*/ 3333 h 10000"/>
                <a:gd name="connsiteX103" fmla="*/ 1787 w 10000"/>
                <a:gd name="connsiteY103" fmla="*/ 3398 h 10000"/>
                <a:gd name="connsiteX104" fmla="*/ 1959 w 10000"/>
                <a:gd name="connsiteY104" fmla="*/ 3366 h 10000"/>
                <a:gd name="connsiteX105" fmla="*/ 1991 w 10000"/>
                <a:gd name="connsiteY105" fmla="*/ 3528 h 10000"/>
                <a:gd name="connsiteX106" fmla="*/ 2132 w 10000"/>
                <a:gd name="connsiteY106" fmla="*/ 3609 h 10000"/>
                <a:gd name="connsiteX107" fmla="*/ 2320 w 10000"/>
                <a:gd name="connsiteY107" fmla="*/ 3577 h 10000"/>
                <a:gd name="connsiteX108" fmla="*/ 2461 w 10000"/>
                <a:gd name="connsiteY108" fmla="*/ 3715 h 10000"/>
                <a:gd name="connsiteX109" fmla="*/ 2335 w 10000"/>
                <a:gd name="connsiteY109" fmla="*/ 3950 h 10000"/>
                <a:gd name="connsiteX110" fmla="*/ 3276 w 10000"/>
                <a:gd name="connsiteY110" fmla="*/ 4193 h 10000"/>
                <a:gd name="connsiteX111" fmla="*/ 3292 w 10000"/>
                <a:gd name="connsiteY111" fmla="*/ 4599 h 10000"/>
                <a:gd name="connsiteX112" fmla="*/ 2806 w 10000"/>
                <a:gd name="connsiteY112" fmla="*/ 5239 h 10000"/>
                <a:gd name="connsiteX113" fmla="*/ 2288 w 10000"/>
                <a:gd name="connsiteY113" fmla="*/ 5677 h 10000"/>
                <a:gd name="connsiteX114" fmla="*/ 2555 w 10000"/>
                <a:gd name="connsiteY114" fmla="*/ 5612 h 10000"/>
                <a:gd name="connsiteX115" fmla="*/ 2618 w 10000"/>
                <a:gd name="connsiteY115" fmla="*/ 5766 h 10000"/>
                <a:gd name="connsiteX116" fmla="*/ 2931 w 10000"/>
                <a:gd name="connsiteY116" fmla="*/ 5839 h 10000"/>
                <a:gd name="connsiteX117" fmla="*/ 3370 w 10000"/>
                <a:gd name="connsiteY117" fmla="*/ 5775 h 10000"/>
                <a:gd name="connsiteX118" fmla="*/ 3793 w 10000"/>
                <a:gd name="connsiteY118" fmla="*/ 5864 h 10000"/>
                <a:gd name="connsiteX119" fmla="*/ 3793 w 10000"/>
                <a:gd name="connsiteY119" fmla="*/ 5994 h 10000"/>
                <a:gd name="connsiteX120" fmla="*/ 3056 w 10000"/>
                <a:gd name="connsiteY120" fmla="*/ 5969 h 10000"/>
                <a:gd name="connsiteX121" fmla="*/ 2931 w 10000"/>
                <a:gd name="connsiteY121" fmla="*/ 6091 h 10000"/>
                <a:gd name="connsiteX122" fmla="*/ 2555 w 10000"/>
                <a:gd name="connsiteY122" fmla="*/ 6172 h 10000"/>
                <a:gd name="connsiteX123" fmla="*/ 2633 w 10000"/>
                <a:gd name="connsiteY123" fmla="*/ 6269 h 10000"/>
                <a:gd name="connsiteX124" fmla="*/ 2712 w 10000"/>
                <a:gd name="connsiteY124" fmla="*/ 6326 h 10000"/>
                <a:gd name="connsiteX125" fmla="*/ 2539 w 10000"/>
                <a:gd name="connsiteY125" fmla="*/ 6415 h 10000"/>
                <a:gd name="connsiteX126" fmla="*/ 2586 w 10000"/>
                <a:gd name="connsiteY126" fmla="*/ 6537 h 10000"/>
                <a:gd name="connsiteX127" fmla="*/ 2398 w 10000"/>
                <a:gd name="connsiteY127" fmla="*/ 6642 h 10000"/>
                <a:gd name="connsiteX128" fmla="*/ 2492 w 10000"/>
                <a:gd name="connsiteY128" fmla="*/ 6788 h 10000"/>
                <a:gd name="connsiteX129" fmla="*/ 2680 w 10000"/>
                <a:gd name="connsiteY129" fmla="*/ 6821 h 10000"/>
                <a:gd name="connsiteX130" fmla="*/ 2602 w 10000"/>
                <a:gd name="connsiteY130" fmla="*/ 6983 h 10000"/>
                <a:gd name="connsiteX131" fmla="*/ 2821 w 10000"/>
                <a:gd name="connsiteY131" fmla="*/ 7015 h 10000"/>
                <a:gd name="connsiteX132" fmla="*/ 2931 w 10000"/>
                <a:gd name="connsiteY132" fmla="*/ 7145 h 10000"/>
                <a:gd name="connsiteX133" fmla="*/ 2806 w 10000"/>
                <a:gd name="connsiteY133" fmla="*/ 7202 h 10000"/>
                <a:gd name="connsiteX134" fmla="*/ 2821 w 10000"/>
                <a:gd name="connsiteY134" fmla="*/ 7299 h 10000"/>
                <a:gd name="connsiteX135" fmla="*/ 2931 w 10000"/>
                <a:gd name="connsiteY135" fmla="*/ 7388 h 10000"/>
                <a:gd name="connsiteX136" fmla="*/ 3292 w 10000"/>
                <a:gd name="connsiteY136" fmla="*/ 7486 h 10000"/>
                <a:gd name="connsiteX137" fmla="*/ 3166 w 10000"/>
                <a:gd name="connsiteY137" fmla="*/ 7575 h 10000"/>
                <a:gd name="connsiteX138" fmla="*/ 3292 w 10000"/>
                <a:gd name="connsiteY138" fmla="*/ 7737 h 10000"/>
                <a:gd name="connsiteX139" fmla="*/ 3417 w 10000"/>
                <a:gd name="connsiteY139" fmla="*/ 7737 h 10000"/>
                <a:gd name="connsiteX140" fmla="*/ 3511 w 10000"/>
                <a:gd name="connsiteY140" fmla="*/ 7810 h 10000"/>
                <a:gd name="connsiteX141" fmla="*/ 3793 w 10000"/>
                <a:gd name="connsiteY141" fmla="*/ 7908 h 10000"/>
                <a:gd name="connsiteX142" fmla="*/ 3793 w 10000"/>
                <a:gd name="connsiteY142" fmla="*/ 7997 h 10000"/>
                <a:gd name="connsiteX143" fmla="*/ 4075 w 10000"/>
                <a:gd name="connsiteY143" fmla="*/ 7972 h 10000"/>
                <a:gd name="connsiteX144" fmla="*/ 4577 w 10000"/>
                <a:gd name="connsiteY144" fmla="*/ 7972 h 10000"/>
                <a:gd name="connsiteX145" fmla="*/ 4718 w 10000"/>
                <a:gd name="connsiteY145" fmla="*/ 8167 h 10000"/>
                <a:gd name="connsiteX146" fmla="*/ 5141 w 10000"/>
                <a:gd name="connsiteY146" fmla="*/ 7972 h 10000"/>
                <a:gd name="connsiteX147" fmla="*/ 5721 w 10000"/>
                <a:gd name="connsiteY147" fmla="*/ 8078 h 10000"/>
                <a:gd name="connsiteX148" fmla="*/ 5846 w 10000"/>
                <a:gd name="connsiteY148" fmla="*/ 8289 h 10000"/>
                <a:gd name="connsiteX149" fmla="*/ 5846 w 10000"/>
                <a:gd name="connsiteY149" fmla="*/ 8467 h 10000"/>
                <a:gd name="connsiteX150" fmla="*/ 6113 w 10000"/>
                <a:gd name="connsiteY150" fmla="*/ 8483 h 10000"/>
                <a:gd name="connsiteX151" fmla="*/ 6223 w 10000"/>
                <a:gd name="connsiteY151" fmla="*/ 8581 h 10000"/>
                <a:gd name="connsiteX152" fmla="*/ 6536 w 10000"/>
                <a:gd name="connsiteY152" fmla="*/ 8710 h 10000"/>
                <a:gd name="connsiteX153" fmla="*/ 6912 w 10000"/>
                <a:gd name="connsiteY153" fmla="*/ 8759 h 10000"/>
                <a:gd name="connsiteX154" fmla="*/ 6928 w 10000"/>
                <a:gd name="connsiteY154" fmla="*/ 8889 h 10000"/>
                <a:gd name="connsiteX155" fmla="*/ 7367 w 10000"/>
                <a:gd name="connsiteY155" fmla="*/ 8856 h 10000"/>
                <a:gd name="connsiteX156" fmla="*/ 7696 w 10000"/>
                <a:gd name="connsiteY156" fmla="*/ 9027 h 10000"/>
                <a:gd name="connsiteX157" fmla="*/ 7586 w 10000"/>
                <a:gd name="connsiteY157" fmla="*/ 9238 h 10000"/>
                <a:gd name="connsiteX158" fmla="*/ 6912 w 10000"/>
                <a:gd name="connsiteY158" fmla="*/ 9238 h 10000"/>
                <a:gd name="connsiteX159" fmla="*/ 6803 w 10000"/>
                <a:gd name="connsiteY159" fmla="*/ 9343 h 10000"/>
                <a:gd name="connsiteX160" fmla="*/ 7132 w 10000"/>
                <a:gd name="connsiteY160" fmla="*/ 9424 h 10000"/>
                <a:gd name="connsiteX161" fmla="*/ 7179 w 10000"/>
                <a:gd name="connsiteY161" fmla="*/ 9594 h 10000"/>
                <a:gd name="connsiteX162" fmla="*/ 7461 w 10000"/>
                <a:gd name="connsiteY162" fmla="*/ 9805 h 10000"/>
                <a:gd name="connsiteX163" fmla="*/ 7837 w 10000"/>
                <a:gd name="connsiteY163" fmla="*/ 9813 h 10000"/>
                <a:gd name="connsiteX164" fmla="*/ 7853 w 10000"/>
                <a:gd name="connsiteY164" fmla="*/ 9659 h 10000"/>
                <a:gd name="connsiteX165" fmla="*/ 8464 w 10000"/>
                <a:gd name="connsiteY165" fmla="*/ 9521 h 10000"/>
                <a:gd name="connsiteX166" fmla="*/ 9060 w 10000"/>
                <a:gd name="connsiteY166" fmla="*/ 9521 h 10000"/>
                <a:gd name="connsiteX167" fmla="*/ 9545 w 10000"/>
                <a:gd name="connsiteY167" fmla="*/ 9659 h 10000"/>
                <a:gd name="connsiteX168" fmla="*/ 9279 w 10000"/>
                <a:gd name="connsiteY168" fmla="*/ 9789 h 10000"/>
                <a:gd name="connsiteX169" fmla="*/ 9624 w 10000"/>
                <a:gd name="connsiteY169" fmla="*/ 10000 h 10000"/>
                <a:gd name="connsiteX170" fmla="*/ 10000 w 10000"/>
                <a:gd name="connsiteY170" fmla="*/ 9951 h 10000"/>
                <a:gd name="connsiteX171" fmla="*/ 10000 w 10000"/>
                <a:gd name="connsiteY171" fmla="*/ 0 h 10000"/>
                <a:gd name="connsiteX172" fmla="*/ 8433 w 10000"/>
                <a:gd name="connsiteY172" fmla="*/ 0 h 10000"/>
                <a:gd name="connsiteX0" fmla="*/ 8467 w 10034"/>
                <a:gd name="connsiteY0" fmla="*/ 0 h 10000"/>
                <a:gd name="connsiteX1" fmla="*/ 8467 w 10034"/>
                <a:gd name="connsiteY1" fmla="*/ 97 h 10000"/>
                <a:gd name="connsiteX2" fmla="*/ 8137 w 10034"/>
                <a:gd name="connsiteY2" fmla="*/ 357 h 10000"/>
                <a:gd name="connsiteX3" fmla="*/ 8467 w 10034"/>
                <a:gd name="connsiteY3" fmla="*/ 697 h 10000"/>
                <a:gd name="connsiteX4" fmla="*/ 7855 w 10034"/>
                <a:gd name="connsiteY4" fmla="*/ 981 h 10000"/>
                <a:gd name="connsiteX5" fmla="*/ 7761 w 10034"/>
                <a:gd name="connsiteY5" fmla="*/ 803 h 10000"/>
                <a:gd name="connsiteX6" fmla="*/ 7228 w 10034"/>
                <a:gd name="connsiteY6" fmla="*/ 803 h 10000"/>
                <a:gd name="connsiteX7" fmla="*/ 7072 w 10034"/>
                <a:gd name="connsiteY7" fmla="*/ 584 h 10000"/>
                <a:gd name="connsiteX8" fmla="*/ 7526 w 10034"/>
                <a:gd name="connsiteY8" fmla="*/ 397 h 10000"/>
                <a:gd name="connsiteX9" fmla="*/ 7087 w 10034"/>
                <a:gd name="connsiteY9" fmla="*/ 276 h 10000"/>
                <a:gd name="connsiteX10" fmla="*/ 6915 w 10034"/>
                <a:gd name="connsiteY10" fmla="*/ 187 h 10000"/>
                <a:gd name="connsiteX11" fmla="*/ 6601 w 10034"/>
                <a:gd name="connsiteY11" fmla="*/ 187 h 10000"/>
                <a:gd name="connsiteX12" fmla="*/ 6304 w 10034"/>
                <a:gd name="connsiteY12" fmla="*/ 341 h 10000"/>
                <a:gd name="connsiteX13" fmla="*/ 5833 w 10034"/>
                <a:gd name="connsiteY13" fmla="*/ 397 h 10000"/>
                <a:gd name="connsiteX14" fmla="*/ 6398 w 10034"/>
                <a:gd name="connsiteY14" fmla="*/ 479 h 10000"/>
                <a:gd name="connsiteX15" fmla="*/ 6617 w 10034"/>
                <a:gd name="connsiteY15" fmla="*/ 738 h 10000"/>
                <a:gd name="connsiteX16" fmla="*/ 6711 w 10034"/>
                <a:gd name="connsiteY16" fmla="*/ 981 h 10000"/>
                <a:gd name="connsiteX17" fmla="*/ 6868 w 10034"/>
                <a:gd name="connsiteY17" fmla="*/ 981 h 10000"/>
                <a:gd name="connsiteX18" fmla="*/ 7275 w 10034"/>
                <a:gd name="connsiteY18" fmla="*/ 981 h 10000"/>
                <a:gd name="connsiteX19" fmla="*/ 7307 w 10034"/>
                <a:gd name="connsiteY19" fmla="*/ 1103 h 10000"/>
                <a:gd name="connsiteX20" fmla="*/ 7510 w 10034"/>
                <a:gd name="connsiteY20" fmla="*/ 1160 h 10000"/>
                <a:gd name="connsiteX21" fmla="*/ 7526 w 10034"/>
                <a:gd name="connsiteY21" fmla="*/ 1371 h 10000"/>
                <a:gd name="connsiteX22" fmla="*/ 7683 w 10034"/>
                <a:gd name="connsiteY22" fmla="*/ 1590 h 10000"/>
                <a:gd name="connsiteX23" fmla="*/ 7213 w 10034"/>
                <a:gd name="connsiteY23" fmla="*/ 1444 h 10000"/>
                <a:gd name="connsiteX24" fmla="*/ 6884 w 10034"/>
                <a:gd name="connsiteY24" fmla="*/ 1484 h 10000"/>
                <a:gd name="connsiteX25" fmla="*/ 6601 w 10034"/>
                <a:gd name="connsiteY25" fmla="*/ 1484 h 10000"/>
                <a:gd name="connsiteX26" fmla="*/ 6398 w 10034"/>
                <a:gd name="connsiteY26" fmla="*/ 1825 h 10000"/>
                <a:gd name="connsiteX27" fmla="*/ 6272 w 10034"/>
                <a:gd name="connsiteY27" fmla="*/ 2028 h 10000"/>
                <a:gd name="connsiteX28" fmla="*/ 6210 w 10034"/>
                <a:gd name="connsiteY28" fmla="*/ 2271 h 10000"/>
                <a:gd name="connsiteX29" fmla="*/ 6601 w 10034"/>
                <a:gd name="connsiteY29" fmla="*/ 2401 h 10000"/>
                <a:gd name="connsiteX30" fmla="*/ 6978 w 10034"/>
                <a:gd name="connsiteY30" fmla="*/ 2595 h 10000"/>
                <a:gd name="connsiteX31" fmla="*/ 6570 w 10034"/>
                <a:gd name="connsiteY31" fmla="*/ 2798 h 10000"/>
                <a:gd name="connsiteX32" fmla="*/ 6382 w 10034"/>
                <a:gd name="connsiteY32" fmla="*/ 2701 h 10000"/>
                <a:gd name="connsiteX33" fmla="*/ 6147 w 10034"/>
                <a:gd name="connsiteY33" fmla="*/ 2660 h 10000"/>
                <a:gd name="connsiteX34" fmla="*/ 5661 w 10034"/>
                <a:gd name="connsiteY34" fmla="*/ 2749 h 10000"/>
                <a:gd name="connsiteX35" fmla="*/ 5175 w 10034"/>
                <a:gd name="connsiteY35" fmla="*/ 2595 h 10000"/>
                <a:gd name="connsiteX36" fmla="*/ 4924 w 10034"/>
                <a:gd name="connsiteY36" fmla="*/ 2603 h 10000"/>
                <a:gd name="connsiteX37" fmla="*/ 5065 w 10034"/>
                <a:gd name="connsiteY37" fmla="*/ 2733 h 10000"/>
                <a:gd name="connsiteX38" fmla="*/ 5018 w 10034"/>
                <a:gd name="connsiteY38" fmla="*/ 2822 h 10000"/>
                <a:gd name="connsiteX39" fmla="*/ 5520 w 10034"/>
                <a:gd name="connsiteY39" fmla="*/ 3025 h 10000"/>
                <a:gd name="connsiteX40" fmla="*/ 5786 w 10034"/>
                <a:gd name="connsiteY40" fmla="*/ 2928 h 10000"/>
                <a:gd name="connsiteX41" fmla="*/ 6147 w 10034"/>
                <a:gd name="connsiteY41" fmla="*/ 3114 h 10000"/>
                <a:gd name="connsiteX42" fmla="*/ 5943 w 10034"/>
                <a:gd name="connsiteY42" fmla="*/ 3317 h 10000"/>
                <a:gd name="connsiteX43" fmla="*/ 5645 w 10034"/>
                <a:gd name="connsiteY43" fmla="*/ 3317 h 10000"/>
                <a:gd name="connsiteX44" fmla="*/ 5081 w 10034"/>
                <a:gd name="connsiteY44" fmla="*/ 3268 h 10000"/>
                <a:gd name="connsiteX45" fmla="*/ 5034 w 10034"/>
                <a:gd name="connsiteY45" fmla="*/ 3139 h 10000"/>
                <a:gd name="connsiteX46" fmla="*/ 4736 w 10034"/>
                <a:gd name="connsiteY46" fmla="*/ 3147 h 10000"/>
                <a:gd name="connsiteX47" fmla="*/ 4564 w 10034"/>
                <a:gd name="connsiteY47" fmla="*/ 3268 h 10000"/>
                <a:gd name="connsiteX48" fmla="*/ 4266 w 10034"/>
                <a:gd name="connsiteY48" fmla="*/ 3187 h 10000"/>
                <a:gd name="connsiteX49" fmla="*/ 4329 w 10034"/>
                <a:gd name="connsiteY49" fmla="*/ 3017 h 10000"/>
                <a:gd name="connsiteX50" fmla="*/ 3905 w 10034"/>
                <a:gd name="connsiteY50" fmla="*/ 2863 h 10000"/>
                <a:gd name="connsiteX51" fmla="*/ 3827 w 10034"/>
                <a:gd name="connsiteY51" fmla="*/ 2863 h 10000"/>
                <a:gd name="connsiteX52" fmla="*/ 3670 w 10034"/>
                <a:gd name="connsiteY52" fmla="*/ 2741 h 10000"/>
                <a:gd name="connsiteX53" fmla="*/ 3827 w 10034"/>
                <a:gd name="connsiteY53" fmla="*/ 2636 h 10000"/>
                <a:gd name="connsiteX54" fmla="*/ 3561 w 10034"/>
                <a:gd name="connsiteY54" fmla="*/ 2433 h 10000"/>
                <a:gd name="connsiteX55" fmla="*/ 3231 w 10034"/>
                <a:gd name="connsiteY55" fmla="*/ 2384 h 10000"/>
                <a:gd name="connsiteX56" fmla="*/ 2965 w 10034"/>
                <a:gd name="connsiteY56" fmla="*/ 2336 h 10000"/>
                <a:gd name="connsiteX57" fmla="*/ 2855 w 10034"/>
                <a:gd name="connsiteY57" fmla="*/ 2247 h 10000"/>
                <a:gd name="connsiteX58" fmla="*/ 2275 w 10034"/>
                <a:gd name="connsiteY58" fmla="*/ 2190 h 10000"/>
                <a:gd name="connsiteX59" fmla="*/ 2134 w 10034"/>
                <a:gd name="connsiteY59" fmla="*/ 2117 h 10000"/>
                <a:gd name="connsiteX60" fmla="*/ 1884 w 10034"/>
                <a:gd name="connsiteY60" fmla="*/ 2060 h 10000"/>
                <a:gd name="connsiteX61" fmla="*/ 2040 w 10034"/>
                <a:gd name="connsiteY61" fmla="*/ 1979 h 10000"/>
                <a:gd name="connsiteX62" fmla="*/ 2354 w 10034"/>
                <a:gd name="connsiteY62" fmla="*/ 2003 h 10000"/>
                <a:gd name="connsiteX63" fmla="*/ 2510 w 10034"/>
                <a:gd name="connsiteY63" fmla="*/ 2117 h 10000"/>
                <a:gd name="connsiteX64" fmla="*/ 2777 w 10034"/>
                <a:gd name="connsiteY64" fmla="*/ 2117 h 10000"/>
                <a:gd name="connsiteX65" fmla="*/ 3247 w 10034"/>
                <a:gd name="connsiteY65" fmla="*/ 2117 h 10000"/>
                <a:gd name="connsiteX66" fmla="*/ 3420 w 10034"/>
                <a:gd name="connsiteY66" fmla="*/ 2068 h 10000"/>
                <a:gd name="connsiteX67" fmla="*/ 3827 w 10034"/>
                <a:gd name="connsiteY67" fmla="*/ 2117 h 10000"/>
                <a:gd name="connsiteX68" fmla="*/ 4360 w 10034"/>
                <a:gd name="connsiteY68" fmla="*/ 2117 h 10000"/>
                <a:gd name="connsiteX69" fmla="*/ 5144 w 10034"/>
                <a:gd name="connsiteY69" fmla="*/ 2084 h 10000"/>
                <a:gd name="connsiteX70" fmla="*/ 5943 w 10034"/>
                <a:gd name="connsiteY70" fmla="*/ 1784 h 10000"/>
                <a:gd name="connsiteX71" fmla="*/ 5943 w 10034"/>
                <a:gd name="connsiteY71" fmla="*/ 1387 h 10000"/>
                <a:gd name="connsiteX72" fmla="*/ 5630 w 10034"/>
                <a:gd name="connsiteY72" fmla="*/ 1176 h 10000"/>
                <a:gd name="connsiteX73" fmla="*/ 5285 w 10034"/>
                <a:gd name="connsiteY73" fmla="*/ 1030 h 10000"/>
                <a:gd name="connsiteX74" fmla="*/ 4736 w 10034"/>
                <a:gd name="connsiteY74" fmla="*/ 981 h 10000"/>
                <a:gd name="connsiteX75" fmla="*/ 4344 w 10034"/>
                <a:gd name="connsiteY75" fmla="*/ 981 h 10000"/>
                <a:gd name="connsiteX76" fmla="*/ 3952 w 10034"/>
                <a:gd name="connsiteY76" fmla="*/ 981 h 10000"/>
                <a:gd name="connsiteX77" fmla="*/ 3435 w 10034"/>
                <a:gd name="connsiteY77" fmla="*/ 803 h 10000"/>
                <a:gd name="connsiteX78" fmla="*/ 2777 w 10034"/>
                <a:gd name="connsiteY78" fmla="*/ 738 h 10000"/>
                <a:gd name="connsiteX79" fmla="*/ 2338 w 10034"/>
                <a:gd name="connsiteY79" fmla="*/ 762 h 10000"/>
                <a:gd name="connsiteX80" fmla="*/ 1774 w 10034"/>
                <a:gd name="connsiteY80" fmla="*/ 787 h 10000"/>
                <a:gd name="connsiteX81" fmla="*/ 1664 w 10034"/>
                <a:gd name="connsiteY81" fmla="*/ 860 h 10000"/>
                <a:gd name="connsiteX82" fmla="*/ 1558 w 10034"/>
                <a:gd name="connsiteY82" fmla="*/ 709 h 10000"/>
                <a:gd name="connsiteX83" fmla="*/ 1329 w 10034"/>
                <a:gd name="connsiteY83" fmla="*/ 784 h 10000"/>
                <a:gd name="connsiteX84" fmla="*/ 1089 w 10034"/>
                <a:gd name="connsiteY84" fmla="*/ 706 h 10000"/>
                <a:gd name="connsiteX85" fmla="*/ 972 w 10034"/>
                <a:gd name="connsiteY85" fmla="*/ 910 h 10000"/>
                <a:gd name="connsiteX86" fmla="*/ 605 w 10034"/>
                <a:gd name="connsiteY86" fmla="*/ 1154 h 10000"/>
                <a:gd name="connsiteX87" fmla="*/ 553 w 10034"/>
                <a:gd name="connsiteY87" fmla="*/ 1389 h 10000"/>
                <a:gd name="connsiteX88" fmla="*/ 597 w 10034"/>
                <a:gd name="connsiteY88" fmla="*/ 1540 h 10000"/>
                <a:gd name="connsiteX89" fmla="*/ 34 w 10034"/>
                <a:gd name="connsiteY89" fmla="*/ 1679 h 10000"/>
                <a:gd name="connsiteX90" fmla="*/ 65 w 10034"/>
                <a:gd name="connsiteY90" fmla="*/ 1687 h 10000"/>
                <a:gd name="connsiteX91" fmla="*/ 65 w 10034"/>
                <a:gd name="connsiteY91" fmla="*/ 1695 h 10000"/>
                <a:gd name="connsiteX92" fmla="*/ 410 w 10034"/>
                <a:gd name="connsiteY92" fmla="*/ 1727 h 10000"/>
                <a:gd name="connsiteX93" fmla="*/ 551 w 10034"/>
                <a:gd name="connsiteY93" fmla="*/ 1800 h 10000"/>
                <a:gd name="connsiteX94" fmla="*/ 833 w 10034"/>
                <a:gd name="connsiteY94" fmla="*/ 1833 h 10000"/>
                <a:gd name="connsiteX95" fmla="*/ 927 w 10034"/>
                <a:gd name="connsiteY95" fmla="*/ 1971 h 10000"/>
                <a:gd name="connsiteX96" fmla="*/ 724 w 10034"/>
                <a:gd name="connsiteY96" fmla="*/ 2376 h 10000"/>
                <a:gd name="connsiteX97" fmla="*/ 927 w 10034"/>
                <a:gd name="connsiteY97" fmla="*/ 2457 h 10000"/>
                <a:gd name="connsiteX98" fmla="*/ 1711 w 10034"/>
                <a:gd name="connsiteY98" fmla="*/ 2879 h 10000"/>
                <a:gd name="connsiteX99" fmla="*/ 1492 w 10034"/>
                <a:gd name="connsiteY99" fmla="*/ 2976 h 10000"/>
                <a:gd name="connsiteX100" fmla="*/ 1492 w 10034"/>
                <a:gd name="connsiteY100" fmla="*/ 3179 h 10000"/>
                <a:gd name="connsiteX101" fmla="*/ 1711 w 10034"/>
                <a:gd name="connsiteY101" fmla="*/ 3220 h 10000"/>
                <a:gd name="connsiteX102" fmla="*/ 1648 w 10034"/>
                <a:gd name="connsiteY102" fmla="*/ 3333 h 10000"/>
                <a:gd name="connsiteX103" fmla="*/ 1821 w 10034"/>
                <a:gd name="connsiteY103" fmla="*/ 3398 h 10000"/>
                <a:gd name="connsiteX104" fmla="*/ 1993 w 10034"/>
                <a:gd name="connsiteY104" fmla="*/ 3366 h 10000"/>
                <a:gd name="connsiteX105" fmla="*/ 2025 w 10034"/>
                <a:gd name="connsiteY105" fmla="*/ 3528 h 10000"/>
                <a:gd name="connsiteX106" fmla="*/ 2166 w 10034"/>
                <a:gd name="connsiteY106" fmla="*/ 3609 h 10000"/>
                <a:gd name="connsiteX107" fmla="*/ 2354 w 10034"/>
                <a:gd name="connsiteY107" fmla="*/ 3577 h 10000"/>
                <a:gd name="connsiteX108" fmla="*/ 2495 w 10034"/>
                <a:gd name="connsiteY108" fmla="*/ 3715 h 10000"/>
                <a:gd name="connsiteX109" fmla="*/ 2369 w 10034"/>
                <a:gd name="connsiteY109" fmla="*/ 3950 h 10000"/>
                <a:gd name="connsiteX110" fmla="*/ 3310 w 10034"/>
                <a:gd name="connsiteY110" fmla="*/ 4193 h 10000"/>
                <a:gd name="connsiteX111" fmla="*/ 3326 w 10034"/>
                <a:gd name="connsiteY111" fmla="*/ 4599 h 10000"/>
                <a:gd name="connsiteX112" fmla="*/ 2840 w 10034"/>
                <a:gd name="connsiteY112" fmla="*/ 5239 h 10000"/>
                <a:gd name="connsiteX113" fmla="*/ 2322 w 10034"/>
                <a:gd name="connsiteY113" fmla="*/ 5677 h 10000"/>
                <a:gd name="connsiteX114" fmla="*/ 2589 w 10034"/>
                <a:gd name="connsiteY114" fmla="*/ 5612 h 10000"/>
                <a:gd name="connsiteX115" fmla="*/ 2652 w 10034"/>
                <a:gd name="connsiteY115" fmla="*/ 5766 h 10000"/>
                <a:gd name="connsiteX116" fmla="*/ 2965 w 10034"/>
                <a:gd name="connsiteY116" fmla="*/ 5839 h 10000"/>
                <a:gd name="connsiteX117" fmla="*/ 3404 w 10034"/>
                <a:gd name="connsiteY117" fmla="*/ 5775 h 10000"/>
                <a:gd name="connsiteX118" fmla="*/ 3827 w 10034"/>
                <a:gd name="connsiteY118" fmla="*/ 5864 h 10000"/>
                <a:gd name="connsiteX119" fmla="*/ 3827 w 10034"/>
                <a:gd name="connsiteY119" fmla="*/ 5994 h 10000"/>
                <a:gd name="connsiteX120" fmla="*/ 3090 w 10034"/>
                <a:gd name="connsiteY120" fmla="*/ 5969 h 10000"/>
                <a:gd name="connsiteX121" fmla="*/ 2965 w 10034"/>
                <a:gd name="connsiteY121" fmla="*/ 6091 h 10000"/>
                <a:gd name="connsiteX122" fmla="*/ 2589 w 10034"/>
                <a:gd name="connsiteY122" fmla="*/ 6172 h 10000"/>
                <a:gd name="connsiteX123" fmla="*/ 2667 w 10034"/>
                <a:gd name="connsiteY123" fmla="*/ 6269 h 10000"/>
                <a:gd name="connsiteX124" fmla="*/ 2746 w 10034"/>
                <a:gd name="connsiteY124" fmla="*/ 6326 h 10000"/>
                <a:gd name="connsiteX125" fmla="*/ 2573 w 10034"/>
                <a:gd name="connsiteY125" fmla="*/ 6415 h 10000"/>
                <a:gd name="connsiteX126" fmla="*/ 2620 w 10034"/>
                <a:gd name="connsiteY126" fmla="*/ 6537 h 10000"/>
                <a:gd name="connsiteX127" fmla="*/ 2432 w 10034"/>
                <a:gd name="connsiteY127" fmla="*/ 6642 h 10000"/>
                <a:gd name="connsiteX128" fmla="*/ 2526 w 10034"/>
                <a:gd name="connsiteY128" fmla="*/ 6788 h 10000"/>
                <a:gd name="connsiteX129" fmla="*/ 2714 w 10034"/>
                <a:gd name="connsiteY129" fmla="*/ 6821 h 10000"/>
                <a:gd name="connsiteX130" fmla="*/ 2636 w 10034"/>
                <a:gd name="connsiteY130" fmla="*/ 6983 h 10000"/>
                <a:gd name="connsiteX131" fmla="*/ 2855 w 10034"/>
                <a:gd name="connsiteY131" fmla="*/ 7015 h 10000"/>
                <a:gd name="connsiteX132" fmla="*/ 2965 w 10034"/>
                <a:gd name="connsiteY132" fmla="*/ 7145 h 10000"/>
                <a:gd name="connsiteX133" fmla="*/ 2840 w 10034"/>
                <a:gd name="connsiteY133" fmla="*/ 7202 h 10000"/>
                <a:gd name="connsiteX134" fmla="*/ 2855 w 10034"/>
                <a:gd name="connsiteY134" fmla="*/ 7299 h 10000"/>
                <a:gd name="connsiteX135" fmla="*/ 2965 w 10034"/>
                <a:gd name="connsiteY135" fmla="*/ 7388 h 10000"/>
                <a:gd name="connsiteX136" fmla="*/ 3326 w 10034"/>
                <a:gd name="connsiteY136" fmla="*/ 7486 h 10000"/>
                <a:gd name="connsiteX137" fmla="*/ 3200 w 10034"/>
                <a:gd name="connsiteY137" fmla="*/ 7575 h 10000"/>
                <a:gd name="connsiteX138" fmla="*/ 3326 w 10034"/>
                <a:gd name="connsiteY138" fmla="*/ 7737 h 10000"/>
                <a:gd name="connsiteX139" fmla="*/ 3451 w 10034"/>
                <a:gd name="connsiteY139" fmla="*/ 7737 h 10000"/>
                <a:gd name="connsiteX140" fmla="*/ 3545 w 10034"/>
                <a:gd name="connsiteY140" fmla="*/ 7810 h 10000"/>
                <a:gd name="connsiteX141" fmla="*/ 3827 w 10034"/>
                <a:gd name="connsiteY141" fmla="*/ 7908 h 10000"/>
                <a:gd name="connsiteX142" fmla="*/ 3827 w 10034"/>
                <a:gd name="connsiteY142" fmla="*/ 7997 h 10000"/>
                <a:gd name="connsiteX143" fmla="*/ 4109 w 10034"/>
                <a:gd name="connsiteY143" fmla="*/ 7972 h 10000"/>
                <a:gd name="connsiteX144" fmla="*/ 4611 w 10034"/>
                <a:gd name="connsiteY144" fmla="*/ 7972 h 10000"/>
                <a:gd name="connsiteX145" fmla="*/ 4752 w 10034"/>
                <a:gd name="connsiteY145" fmla="*/ 8167 h 10000"/>
                <a:gd name="connsiteX146" fmla="*/ 5175 w 10034"/>
                <a:gd name="connsiteY146" fmla="*/ 7972 h 10000"/>
                <a:gd name="connsiteX147" fmla="*/ 5755 w 10034"/>
                <a:gd name="connsiteY147" fmla="*/ 8078 h 10000"/>
                <a:gd name="connsiteX148" fmla="*/ 5880 w 10034"/>
                <a:gd name="connsiteY148" fmla="*/ 8289 h 10000"/>
                <a:gd name="connsiteX149" fmla="*/ 5880 w 10034"/>
                <a:gd name="connsiteY149" fmla="*/ 8467 h 10000"/>
                <a:gd name="connsiteX150" fmla="*/ 6147 w 10034"/>
                <a:gd name="connsiteY150" fmla="*/ 8483 h 10000"/>
                <a:gd name="connsiteX151" fmla="*/ 6257 w 10034"/>
                <a:gd name="connsiteY151" fmla="*/ 8581 h 10000"/>
                <a:gd name="connsiteX152" fmla="*/ 6570 w 10034"/>
                <a:gd name="connsiteY152" fmla="*/ 8710 h 10000"/>
                <a:gd name="connsiteX153" fmla="*/ 6946 w 10034"/>
                <a:gd name="connsiteY153" fmla="*/ 8759 h 10000"/>
                <a:gd name="connsiteX154" fmla="*/ 6962 w 10034"/>
                <a:gd name="connsiteY154" fmla="*/ 8889 h 10000"/>
                <a:gd name="connsiteX155" fmla="*/ 7401 w 10034"/>
                <a:gd name="connsiteY155" fmla="*/ 8856 h 10000"/>
                <a:gd name="connsiteX156" fmla="*/ 7730 w 10034"/>
                <a:gd name="connsiteY156" fmla="*/ 9027 h 10000"/>
                <a:gd name="connsiteX157" fmla="*/ 7620 w 10034"/>
                <a:gd name="connsiteY157" fmla="*/ 9238 h 10000"/>
                <a:gd name="connsiteX158" fmla="*/ 6946 w 10034"/>
                <a:gd name="connsiteY158" fmla="*/ 9238 h 10000"/>
                <a:gd name="connsiteX159" fmla="*/ 6837 w 10034"/>
                <a:gd name="connsiteY159" fmla="*/ 9343 h 10000"/>
                <a:gd name="connsiteX160" fmla="*/ 7166 w 10034"/>
                <a:gd name="connsiteY160" fmla="*/ 9424 h 10000"/>
                <a:gd name="connsiteX161" fmla="*/ 7213 w 10034"/>
                <a:gd name="connsiteY161" fmla="*/ 9594 h 10000"/>
                <a:gd name="connsiteX162" fmla="*/ 7495 w 10034"/>
                <a:gd name="connsiteY162" fmla="*/ 9805 h 10000"/>
                <a:gd name="connsiteX163" fmla="*/ 7871 w 10034"/>
                <a:gd name="connsiteY163" fmla="*/ 9813 h 10000"/>
                <a:gd name="connsiteX164" fmla="*/ 7887 w 10034"/>
                <a:gd name="connsiteY164" fmla="*/ 9659 h 10000"/>
                <a:gd name="connsiteX165" fmla="*/ 8498 w 10034"/>
                <a:gd name="connsiteY165" fmla="*/ 9521 h 10000"/>
                <a:gd name="connsiteX166" fmla="*/ 9094 w 10034"/>
                <a:gd name="connsiteY166" fmla="*/ 9521 h 10000"/>
                <a:gd name="connsiteX167" fmla="*/ 9579 w 10034"/>
                <a:gd name="connsiteY167" fmla="*/ 9659 h 10000"/>
                <a:gd name="connsiteX168" fmla="*/ 9313 w 10034"/>
                <a:gd name="connsiteY168" fmla="*/ 9789 h 10000"/>
                <a:gd name="connsiteX169" fmla="*/ 9658 w 10034"/>
                <a:gd name="connsiteY169" fmla="*/ 10000 h 10000"/>
                <a:gd name="connsiteX170" fmla="*/ 10034 w 10034"/>
                <a:gd name="connsiteY170" fmla="*/ 9951 h 10000"/>
                <a:gd name="connsiteX171" fmla="*/ 10034 w 10034"/>
                <a:gd name="connsiteY171" fmla="*/ 0 h 10000"/>
                <a:gd name="connsiteX172" fmla="*/ 8467 w 10034"/>
                <a:gd name="connsiteY172" fmla="*/ 0 h 10000"/>
                <a:gd name="connsiteX0" fmla="*/ 8482 w 10049"/>
                <a:gd name="connsiteY0" fmla="*/ 0 h 10000"/>
                <a:gd name="connsiteX1" fmla="*/ 8482 w 10049"/>
                <a:gd name="connsiteY1" fmla="*/ 97 h 10000"/>
                <a:gd name="connsiteX2" fmla="*/ 8152 w 10049"/>
                <a:gd name="connsiteY2" fmla="*/ 357 h 10000"/>
                <a:gd name="connsiteX3" fmla="*/ 8482 w 10049"/>
                <a:gd name="connsiteY3" fmla="*/ 697 h 10000"/>
                <a:gd name="connsiteX4" fmla="*/ 7870 w 10049"/>
                <a:gd name="connsiteY4" fmla="*/ 981 h 10000"/>
                <a:gd name="connsiteX5" fmla="*/ 7776 w 10049"/>
                <a:gd name="connsiteY5" fmla="*/ 803 h 10000"/>
                <a:gd name="connsiteX6" fmla="*/ 7243 w 10049"/>
                <a:gd name="connsiteY6" fmla="*/ 803 h 10000"/>
                <a:gd name="connsiteX7" fmla="*/ 7087 w 10049"/>
                <a:gd name="connsiteY7" fmla="*/ 584 h 10000"/>
                <a:gd name="connsiteX8" fmla="*/ 7541 w 10049"/>
                <a:gd name="connsiteY8" fmla="*/ 397 h 10000"/>
                <a:gd name="connsiteX9" fmla="*/ 7102 w 10049"/>
                <a:gd name="connsiteY9" fmla="*/ 276 h 10000"/>
                <a:gd name="connsiteX10" fmla="*/ 6930 w 10049"/>
                <a:gd name="connsiteY10" fmla="*/ 187 h 10000"/>
                <a:gd name="connsiteX11" fmla="*/ 6616 w 10049"/>
                <a:gd name="connsiteY11" fmla="*/ 187 h 10000"/>
                <a:gd name="connsiteX12" fmla="*/ 6319 w 10049"/>
                <a:gd name="connsiteY12" fmla="*/ 341 h 10000"/>
                <a:gd name="connsiteX13" fmla="*/ 5848 w 10049"/>
                <a:gd name="connsiteY13" fmla="*/ 397 h 10000"/>
                <a:gd name="connsiteX14" fmla="*/ 6413 w 10049"/>
                <a:gd name="connsiteY14" fmla="*/ 479 h 10000"/>
                <a:gd name="connsiteX15" fmla="*/ 6632 w 10049"/>
                <a:gd name="connsiteY15" fmla="*/ 738 h 10000"/>
                <a:gd name="connsiteX16" fmla="*/ 6726 w 10049"/>
                <a:gd name="connsiteY16" fmla="*/ 981 h 10000"/>
                <a:gd name="connsiteX17" fmla="*/ 6883 w 10049"/>
                <a:gd name="connsiteY17" fmla="*/ 981 h 10000"/>
                <a:gd name="connsiteX18" fmla="*/ 7290 w 10049"/>
                <a:gd name="connsiteY18" fmla="*/ 981 h 10000"/>
                <a:gd name="connsiteX19" fmla="*/ 7322 w 10049"/>
                <a:gd name="connsiteY19" fmla="*/ 1103 h 10000"/>
                <a:gd name="connsiteX20" fmla="*/ 7525 w 10049"/>
                <a:gd name="connsiteY20" fmla="*/ 1160 h 10000"/>
                <a:gd name="connsiteX21" fmla="*/ 7541 w 10049"/>
                <a:gd name="connsiteY21" fmla="*/ 1371 h 10000"/>
                <a:gd name="connsiteX22" fmla="*/ 7698 w 10049"/>
                <a:gd name="connsiteY22" fmla="*/ 1590 h 10000"/>
                <a:gd name="connsiteX23" fmla="*/ 7228 w 10049"/>
                <a:gd name="connsiteY23" fmla="*/ 1444 h 10000"/>
                <a:gd name="connsiteX24" fmla="*/ 6899 w 10049"/>
                <a:gd name="connsiteY24" fmla="*/ 1484 h 10000"/>
                <a:gd name="connsiteX25" fmla="*/ 6616 w 10049"/>
                <a:gd name="connsiteY25" fmla="*/ 1484 h 10000"/>
                <a:gd name="connsiteX26" fmla="*/ 6413 w 10049"/>
                <a:gd name="connsiteY26" fmla="*/ 1825 h 10000"/>
                <a:gd name="connsiteX27" fmla="*/ 6287 w 10049"/>
                <a:gd name="connsiteY27" fmla="*/ 2028 h 10000"/>
                <a:gd name="connsiteX28" fmla="*/ 6225 w 10049"/>
                <a:gd name="connsiteY28" fmla="*/ 2271 h 10000"/>
                <a:gd name="connsiteX29" fmla="*/ 6616 w 10049"/>
                <a:gd name="connsiteY29" fmla="*/ 2401 h 10000"/>
                <a:gd name="connsiteX30" fmla="*/ 6993 w 10049"/>
                <a:gd name="connsiteY30" fmla="*/ 2595 h 10000"/>
                <a:gd name="connsiteX31" fmla="*/ 6585 w 10049"/>
                <a:gd name="connsiteY31" fmla="*/ 2798 h 10000"/>
                <a:gd name="connsiteX32" fmla="*/ 6397 w 10049"/>
                <a:gd name="connsiteY32" fmla="*/ 2701 h 10000"/>
                <a:gd name="connsiteX33" fmla="*/ 6162 w 10049"/>
                <a:gd name="connsiteY33" fmla="*/ 2660 h 10000"/>
                <a:gd name="connsiteX34" fmla="*/ 5676 w 10049"/>
                <a:gd name="connsiteY34" fmla="*/ 2749 h 10000"/>
                <a:gd name="connsiteX35" fmla="*/ 5190 w 10049"/>
                <a:gd name="connsiteY35" fmla="*/ 2595 h 10000"/>
                <a:gd name="connsiteX36" fmla="*/ 4939 w 10049"/>
                <a:gd name="connsiteY36" fmla="*/ 2603 h 10000"/>
                <a:gd name="connsiteX37" fmla="*/ 5080 w 10049"/>
                <a:gd name="connsiteY37" fmla="*/ 2733 h 10000"/>
                <a:gd name="connsiteX38" fmla="*/ 5033 w 10049"/>
                <a:gd name="connsiteY38" fmla="*/ 2822 h 10000"/>
                <a:gd name="connsiteX39" fmla="*/ 5535 w 10049"/>
                <a:gd name="connsiteY39" fmla="*/ 3025 h 10000"/>
                <a:gd name="connsiteX40" fmla="*/ 5801 w 10049"/>
                <a:gd name="connsiteY40" fmla="*/ 2928 h 10000"/>
                <a:gd name="connsiteX41" fmla="*/ 6162 w 10049"/>
                <a:gd name="connsiteY41" fmla="*/ 3114 h 10000"/>
                <a:gd name="connsiteX42" fmla="*/ 5958 w 10049"/>
                <a:gd name="connsiteY42" fmla="*/ 3317 h 10000"/>
                <a:gd name="connsiteX43" fmla="*/ 5660 w 10049"/>
                <a:gd name="connsiteY43" fmla="*/ 3317 h 10000"/>
                <a:gd name="connsiteX44" fmla="*/ 5096 w 10049"/>
                <a:gd name="connsiteY44" fmla="*/ 3268 h 10000"/>
                <a:gd name="connsiteX45" fmla="*/ 5049 w 10049"/>
                <a:gd name="connsiteY45" fmla="*/ 3139 h 10000"/>
                <a:gd name="connsiteX46" fmla="*/ 4751 w 10049"/>
                <a:gd name="connsiteY46" fmla="*/ 3147 h 10000"/>
                <a:gd name="connsiteX47" fmla="*/ 4579 w 10049"/>
                <a:gd name="connsiteY47" fmla="*/ 3268 h 10000"/>
                <a:gd name="connsiteX48" fmla="*/ 4281 w 10049"/>
                <a:gd name="connsiteY48" fmla="*/ 3187 h 10000"/>
                <a:gd name="connsiteX49" fmla="*/ 4344 w 10049"/>
                <a:gd name="connsiteY49" fmla="*/ 3017 h 10000"/>
                <a:gd name="connsiteX50" fmla="*/ 3920 w 10049"/>
                <a:gd name="connsiteY50" fmla="*/ 2863 h 10000"/>
                <a:gd name="connsiteX51" fmla="*/ 3842 w 10049"/>
                <a:gd name="connsiteY51" fmla="*/ 2863 h 10000"/>
                <a:gd name="connsiteX52" fmla="*/ 3685 w 10049"/>
                <a:gd name="connsiteY52" fmla="*/ 2741 h 10000"/>
                <a:gd name="connsiteX53" fmla="*/ 3842 w 10049"/>
                <a:gd name="connsiteY53" fmla="*/ 2636 h 10000"/>
                <a:gd name="connsiteX54" fmla="*/ 3576 w 10049"/>
                <a:gd name="connsiteY54" fmla="*/ 2433 h 10000"/>
                <a:gd name="connsiteX55" fmla="*/ 3246 w 10049"/>
                <a:gd name="connsiteY55" fmla="*/ 2384 h 10000"/>
                <a:gd name="connsiteX56" fmla="*/ 2980 w 10049"/>
                <a:gd name="connsiteY56" fmla="*/ 2336 h 10000"/>
                <a:gd name="connsiteX57" fmla="*/ 2870 w 10049"/>
                <a:gd name="connsiteY57" fmla="*/ 2247 h 10000"/>
                <a:gd name="connsiteX58" fmla="*/ 2290 w 10049"/>
                <a:gd name="connsiteY58" fmla="*/ 2190 h 10000"/>
                <a:gd name="connsiteX59" fmla="*/ 2149 w 10049"/>
                <a:gd name="connsiteY59" fmla="*/ 2117 h 10000"/>
                <a:gd name="connsiteX60" fmla="*/ 1899 w 10049"/>
                <a:gd name="connsiteY60" fmla="*/ 2060 h 10000"/>
                <a:gd name="connsiteX61" fmla="*/ 2055 w 10049"/>
                <a:gd name="connsiteY61" fmla="*/ 1979 h 10000"/>
                <a:gd name="connsiteX62" fmla="*/ 2369 w 10049"/>
                <a:gd name="connsiteY62" fmla="*/ 2003 h 10000"/>
                <a:gd name="connsiteX63" fmla="*/ 2525 w 10049"/>
                <a:gd name="connsiteY63" fmla="*/ 2117 h 10000"/>
                <a:gd name="connsiteX64" fmla="*/ 2792 w 10049"/>
                <a:gd name="connsiteY64" fmla="*/ 2117 h 10000"/>
                <a:gd name="connsiteX65" fmla="*/ 3262 w 10049"/>
                <a:gd name="connsiteY65" fmla="*/ 2117 h 10000"/>
                <a:gd name="connsiteX66" fmla="*/ 3435 w 10049"/>
                <a:gd name="connsiteY66" fmla="*/ 2068 h 10000"/>
                <a:gd name="connsiteX67" fmla="*/ 3842 w 10049"/>
                <a:gd name="connsiteY67" fmla="*/ 2117 h 10000"/>
                <a:gd name="connsiteX68" fmla="*/ 4375 w 10049"/>
                <a:gd name="connsiteY68" fmla="*/ 2117 h 10000"/>
                <a:gd name="connsiteX69" fmla="*/ 5159 w 10049"/>
                <a:gd name="connsiteY69" fmla="*/ 2084 h 10000"/>
                <a:gd name="connsiteX70" fmla="*/ 5958 w 10049"/>
                <a:gd name="connsiteY70" fmla="*/ 1784 h 10000"/>
                <a:gd name="connsiteX71" fmla="*/ 5958 w 10049"/>
                <a:gd name="connsiteY71" fmla="*/ 1387 h 10000"/>
                <a:gd name="connsiteX72" fmla="*/ 5645 w 10049"/>
                <a:gd name="connsiteY72" fmla="*/ 1176 h 10000"/>
                <a:gd name="connsiteX73" fmla="*/ 5300 w 10049"/>
                <a:gd name="connsiteY73" fmla="*/ 1030 h 10000"/>
                <a:gd name="connsiteX74" fmla="*/ 4751 w 10049"/>
                <a:gd name="connsiteY74" fmla="*/ 981 h 10000"/>
                <a:gd name="connsiteX75" fmla="*/ 4359 w 10049"/>
                <a:gd name="connsiteY75" fmla="*/ 981 h 10000"/>
                <a:gd name="connsiteX76" fmla="*/ 3967 w 10049"/>
                <a:gd name="connsiteY76" fmla="*/ 981 h 10000"/>
                <a:gd name="connsiteX77" fmla="*/ 3450 w 10049"/>
                <a:gd name="connsiteY77" fmla="*/ 803 h 10000"/>
                <a:gd name="connsiteX78" fmla="*/ 2792 w 10049"/>
                <a:gd name="connsiteY78" fmla="*/ 738 h 10000"/>
                <a:gd name="connsiteX79" fmla="*/ 2353 w 10049"/>
                <a:gd name="connsiteY79" fmla="*/ 762 h 10000"/>
                <a:gd name="connsiteX80" fmla="*/ 1789 w 10049"/>
                <a:gd name="connsiteY80" fmla="*/ 787 h 10000"/>
                <a:gd name="connsiteX81" fmla="*/ 1679 w 10049"/>
                <a:gd name="connsiteY81" fmla="*/ 860 h 10000"/>
                <a:gd name="connsiteX82" fmla="*/ 1573 w 10049"/>
                <a:gd name="connsiteY82" fmla="*/ 709 h 10000"/>
                <a:gd name="connsiteX83" fmla="*/ 1344 w 10049"/>
                <a:gd name="connsiteY83" fmla="*/ 784 h 10000"/>
                <a:gd name="connsiteX84" fmla="*/ 1104 w 10049"/>
                <a:gd name="connsiteY84" fmla="*/ 706 h 10000"/>
                <a:gd name="connsiteX85" fmla="*/ 987 w 10049"/>
                <a:gd name="connsiteY85" fmla="*/ 910 h 10000"/>
                <a:gd name="connsiteX86" fmla="*/ 620 w 10049"/>
                <a:gd name="connsiteY86" fmla="*/ 1154 h 10000"/>
                <a:gd name="connsiteX87" fmla="*/ 568 w 10049"/>
                <a:gd name="connsiteY87" fmla="*/ 1389 h 10000"/>
                <a:gd name="connsiteX88" fmla="*/ 612 w 10049"/>
                <a:gd name="connsiteY88" fmla="*/ 1540 h 10000"/>
                <a:gd name="connsiteX89" fmla="*/ 49 w 10049"/>
                <a:gd name="connsiteY89" fmla="*/ 1679 h 10000"/>
                <a:gd name="connsiteX90" fmla="*/ 80 w 10049"/>
                <a:gd name="connsiteY90" fmla="*/ 1687 h 10000"/>
                <a:gd name="connsiteX91" fmla="*/ 510 w 10049"/>
                <a:gd name="connsiteY91" fmla="*/ 1628 h 10000"/>
                <a:gd name="connsiteX92" fmla="*/ 425 w 10049"/>
                <a:gd name="connsiteY92" fmla="*/ 1727 h 10000"/>
                <a:gd name="connsiteX93" fmla="*/ 566 w 10049"/>
                <a:gd name="connsiteY93" fmla="*/ 1800 h 10000"/>
                <a:gd name="connsiteX94" fmla="*/ 848 w 10049"/>
                <a:gd name="connsiteY94" fmla="*/ 1833 h 10000"/>
                <a:gd name="connsiteX95" fmla="*/ 942 w 10049"/>
                <a:gd name="connsiteY95" fmla="*/ 1971 h 10000"/>
                <a:gd name="connsiteX96" fmla="*/ 739 w 10049"/>
                <a:gd name="connsiteY96" fmla="*/ 2376 h 10000"/>
                <a:gd name="connsiteX97" fmla="*/ 942 w 10049"/>
                <a:gd name="connsiteY97" fmla="*/ 2457 h 10000"/>
                <a:gd name="connsiteX98" fmla="*/ 1726 w 10049"/>
                <a:gd name="connsiteY98" fmla="*/ 2879 h 10000"/>
                <a:gd name="connsiteX99" fmla="*/ 1507 w 10049"/>
                <a:gd name="connsiteY99" fmla="*/ 2976 h 10000"/>
                <a:gd name="connsiteX100" fmla="*/ 1507 w 10049"/>
                <a:gd name="connsiteY100" fmla="*/ 3179 h 10000"/>
                <a:gd name="connsiteX101" fmla="*/ 1726 w 10049"/>
                <a:gd name="connsiteY101" fmla="*/ 3220 h 10000"/>
                <a:gd name="connsiteX102" fmla="*/ 1663 w 10049"/>
                <a:gd name="connsiteY102" fmla="*/ 3333 h 10000"/>
                <a:gd name="connsiteX103" fmla="*/ 1836 w 10049"/>
                <a:gd name="connsiteY103" fmla="*/ 3398 h 10000"/>
                <a:gd name="connsiteX104" fmla="*/ 2008 w 10049"/>
                <a:gd name="connsiteY104" fmla="*/ 3366 h 10000"/>
                <a:gd name="connsiteX105" fmla="*/ 2040 w 10049"/>
                <a:gd name="connsiteY105" fmla="*/ 3528 h 10000"/>
                <a:gd name="connsiteX106" fmla="*/ 2181 w 10049"/>
                <a:gd name="connsiteY106" fmla="*/ 3609 h 10000"/>
                <a:gd name="connsiteX107" fmla="*/ 2369 w 10049"/>
                <a:gd name="connsiteY107" fmla="*/ 3577 h 10000"/>
                <a:gd name="connsiteX108" fmla="*/ 2510 w 10049"/>
                <a:gd name="connsiteY108" fmla="*/ 3715 h 10000"/>
                <a:gd name="connsiteX109" fmla="*/ 2384 w 10049"/>
                <a:gd name="connsiteY109" fmla="*/ 3950 h 10000"/>
                <a:gd name="connsiteX110" fmla="*/ 3325 w 10049"/>
                <a:gd name="connsiteY110" fmla="*/ 4193 h 10000"/>
                <a:gd name="connsiteX111" fmla="*/ 3341 w 10049"/>
                <a:gd name="connsiteY111" fmla="*/ 4599 h 10000"/>
                <a:gd name="connsiteX112" fmla="*/ 2855 w 10049"/>
                <a:gd name="connsiteY112" fmla="*/ 5239 h 10000"/>
                <a:gd name="connsiteX113" fmla="*/ 2337 w 10049"/>
                <a:gd name="connsiteY113" fmla="*/ 5677 h 10000"/>
                <a:gd name="connsiteX114" fmla="*/ 2604 w 10049"/>
                <a:gd name="connsiteY114" fmla="*/ 5612 h 10000"/>
                <a:gd name="connsiteX115" fmla="*/ 2667 w 10049"/>
                <a:gd name="connsiteY115" fmla="*/ 5766 h 10000"/>
                <a:gd name="connsiteX116" fmla="*/ 2980 w 10049"/>
                <a:gd name="connsiteY116" fmla="*/ 5839 h 10000"/>
                <a:gd name="connsiteX117" fmla="*/ 3419 w 10049"/>
                <a:gd name="connsiteY117" fmla="*/ 5775 h 10000"/>
                <a:gd name="connsiteX118" fmla="*/ 3842 w 10049"/>
                <a:gd name="connsiteY118" fmla="*/ 5864 h 10000"/>
                <a:gd name="connsiteX119" fmla="*/ 3842 w 10049"/>
                <a:gd name="connsiteY119" fmla="*/ 5994 h 10000"/>
                <a:gd name="connsiteX120" fmla="*/ 3105 w 10049"/>
                <a:gd name="connsiteY120" fmla="*/ 5969 h 10000"/>
                <a:gd name="connsiteX121" fmla="*/ 2980 w 10049"/>
                <a:gd name="connsiteY121" fmla="*/ 6091 h 10000"/>
                <a:gd name="connsiteX122" fmla="*/ 2604 w 10049"/>
                <a:gd name="connsiteY122" fmla="*/ 6172 h 10000"/>
                <a:gd name="connsiteX123" fmla="*/ 2682 w 10049"/>
                <a:gd name="connsiteY123" fmla="*/ 6269 h 10000"/>
                <a:gd name="connsiteX124" fmla="*/ 2761 w 10049"/>
                <a:gd name="connsiteY124" fmla="*/ 6326 h 10000"/>
                <a:gd name="connsiteX125" fmla="*/ 2588 w 10049"/>
                <a:gd name="connsiteY125" fmla="*/ 6415 h 10000"/>
                <a:gd name="connsiteX126" fmla="*/ 2635 w 10049"/>
                <a:gd name="connsiteY126" fmla="*/ 6537 h 10000"/>
                <a:gd name="connsiteX127" fmla="*/ 2447 w 10049"/>
                <a:gd name="connsiteY127" fmla="*/ 6642 h 10000"/>
                <a:gd name="connsiteX128" fmla="*/ 2541 w 10049"/>
                <a:gd name="connsiteY128" fmla="*/ 6788 h 10000"/>
                <a:gd name="connsiteX129" fmla="*/ 2729 w 10049"/>
                <a:gd name="connsiteY129" fmla="*/ 6821 h 10000"/>
                <a:gd name="connsiteX130" fmla="*/ 2651 w 10049"/>
                <a:gd name="connsiteY130" fmla="*/ 6983 h 10000"/>
                <a:gd name="connsiteX131" fmla="*/ 2870 w 10049"/>
                <a:gd name="connsiteY131" fmla="*/ 7015 h 10000"/>
                <a:gd name="connsiteX132" fmla="*/ 2980 w 10049"/>
                <a:gd name="connsiteY132" fmla="*/ 7145 h 10000"/>
                <a:gd name="connsiteX133" fmla="*/ 2855 w 10049"/>
                <a:gd name="connsiteY133" fmla="*/ 7202 h 10000"/>
                <a:gd name="connsiteX134" fmla="*/ 2870 w 10049"/>
                <a:gd name="connsiteY134" fmla="*/ 7299 h 10000"/>
                <a:gd name="connsiteX135" fmla="*/ 2980 w 10049"/>
                <a:gd name="connsiteY135" fmla="*/ 7388 h 10000"/>
                <a:gd name="connsiteX136" fmla="*/ 3341 w 10049"/>
                <a:gd name="connsiteY136" fmla="*/ 7486 h 10000"/>
                <a:gd name="connsiteX137" fmla="*/ 3215 w 10049"/>
                <a:gd name="connsiteY137" fmla="*/ 7575 h 10000"/>
                <a:gd name="connsiteX138" fmla="*/ 3341 w 10049"/>
                <a:gd name="connsiteY138" fmla="*/ 7737 h 10000"/>
                <a:gd name="connsiteX139" fmla="*/ 3466 w 10049"/>
                <a:gd name="connsiteY139" fmla="*/ 7737 h 10000"/>
                <a:gd name="connsiteX140" fmla="*/ 3560 w 10049"/>
                <a:gd name="connsiteY140" fmla="*/ 7810 h 10000"/>
                <a:gd name="connsiteX141" fmla="*/ 3842 w 10049"/>
                <a:gd name="connsiteY141" fmla="*/ 7908 h 10000"/>
                <a:gd name="connsiteX142" fmla="*/ 3842 w 10049"/>
                <a:gd name="connsiteY142" fmla="*/ 7997 h 10000"/>
                <a:gd name="connsiteX143" fmla="*/ 4124 w 10049"/>
                <a:gd name="connsiteY143" fmla="*/ 7972 h 10000"/>
                <a:gd name="connsiteX144" fmla="*/ 4626 w 10049"/>
                <a:gd name="connsiteY144" fmla="*/ 7972 h 10000"/>
                <a:gd name="connsiteX145" fmla="*/ 4767 w 10049"/>
                <a:gd name="connsiteY145" fmla="*/ 8167 h 10000"/>
                <a:gd name="connsiteX146" fmla="*/ 5190 w 10049"/>
                <a:gd name="connsiteY146" fmla="*/ 7972 h 10000"/>
                <a:gd name="connsiteX147" fmla="*/ 5770 w 10049"/>
                <a:gd name="connsiteY147" fmla="*/ 8078 h 10000"/>
                <a:gd name="connsiteX148" fmla="*/ 5895 w 10049"/>
                <a:gd name="connsiteY148" fmla="*/ 8289 h 10000"/>
                <a:gd name="connsiteX149" fmla="*/ 5895 w 10049"/>
                <a:gd name="connsiteY149" fmla="*/ 8467 h 10000"/>
                <a:gd name="connsiteX150" fmla="*/ 6162 w 10049"/>
                <a:gd name="connsiteY150" fmla="*/ 8483 h 10000"/>
                <a:gd name="connsiteX151" fmla="*/ 6272 w 10049"/>
                <a:gd name="connsiteY151" fmla="*/ 8581 h 10000"/>
                <a:gd name="connsiteX152" fmla="*/ 6585 w 10049"/>
                <a:gd name="connsiteY152" fmla="*/ 8710 h 10000"/>
                <a:gd name="connsiteX153" fmla="*/ 6961 w 10049"/>
                <a:gd name="connsiteY153" fmla="*/ 8759 h 10000"/>
                <a:gd name="connsiteX154" fmla="*/ 6977 w 10049"/>
                <a:gd name="connsiteY154" fmla="*/ 8889 h 10000"/>
                <a:gd name="connsiteX155" fmla="*/ 7416 w 10049"/>
                <a:gd name="connsiteY155" fmla="*/ 8856 h 10000"/>
                <a:gd name="connsiteX156" fmla="*/ 7745 w 10049"/>
                <a:gd name="connsiteY156" fmla="*/ 9027 h 10000"/>
                <a:gd name="connsiteX157" fmla="*/ 7635 w 10049"/>
                <a:gd name="connsiteY157" fmla="*/ 9238 h 10000"/>
                <a:gd name="connsiteX158" fmla="*/ 6961 w 10049"/>
                <a:gd name="connsiteY158" fmla="*/ 9238 h 10000"/>
                <a:gd name="connsiteX159" fmla="*/ 6852 w 10049"/>
                <a:gd name="connsiteY159" fmla="*/ 9343 h 10000"/>
                <a:gd name="connsiteX160" fmla="*/ 7181 w 10049"/>
                <a:gd name="connsiteY160" fmla="*/ 9424 h 10000"/>
                <a:gd name="connsiteX161" fmla="*/ 7228 w 10049"/>
                <a:gd name="connsiteY161" fmla="*/ 9594 h 10000"/>
                <a:gd name="connsiteX162" fmla="*/ 7510 w 10049"/>
                <a:gd name="connsiteY162" fmla="*/ 9805 h 10000"/>
                <a:gd name="connsiteX163" fmla="*/ 7886 w 10049"/>
                <a:gd name="connsiteY163" fmla="*/ 9813 h 10000"/>
                <a:gd name="connsiteX164" fmla="*/ 7902 w 10049"/>
                <a:gd name="connsiteY164" fmla="*/ 9659 h 10000"/>
                <a:gd name="connsiteX165" fmla="*/ 8513 w 10049"/>
                <a:gd name="connsiteY165" fmla="*/ 9521 h 10000"/>
                <a:gd name="connsiteX166" fmla="*/ 9109 w 10049"/>
                <a:gd name="connsiteY166" fmla="*/ 9521 h 10000"/>
                <a:gd name="connsiteX167" fmla="*/ 9594 w 10049"/>
                <a:gd name="connsiteY167" fmla="*/ 9659 h 10000"/>
                <a:gd name="connsiteX168" fmla="*/ 9328 w 10049"/>
                <a:gd name="connsiteY168" fmla="*/ 9789 h 10000"/>
                <a:gd name="connsiteX169" fmla="*/ 9673 w 10049"/>
                <a:gd name="connsiteY169" fmla="*/ 10000 h 10000"/>
                <a:gd name="connsiteX170" fmla="*/ 10049 w 10049"/>
                <a:gd name="connsiteY170" fmla="*/ 9951 h 10000"/>
                <a:gd name="connsiteX171" fmla="*/ 10049 w 10049"/>
                <a:gd name="connsiteY171" fmla="*/ 0 h 10000"/>
                <a:gd name="connsiteX172" fmla="*/ 8482 w 10049"/>
                <a:gd name="connsiteY172" fmla="*/ 0 h 10000"/>
                <a:gd name="connsiteX0" fmla="*/ 8482 w 10049"/>
                <a:gd name="connsiteY0" fmla="*/ 0 h 10000"/>
                <a:gd name="connsiteX1" fmla="*/ 8482 w 10049"/>
                <a:gd name="connsiteY1" fmla="*/ 97 h 10000"/>
                <a:gd name="connsiteX2" fmla="*/ 8152 w 10049"/>
                <a:gd name="connsiteY2" fmla="*/ 357 h 10000"/>
                <a:gd name="connsiteX3" fmla="*/ 8482 w 10049"/>
                <a:gd name="connsiteY3" fmla="*/ 697 h 10000"/>
                <a:gd name="connsiteX4" fmla="*/ 7870 w 10049"/>
                <a:gd name="connsiteY4" fmla="*/ 981 h 10000"/>
                <a:gd name="connsiteX5" fmla="*/ 7776 w 10049"/>
                <a:gd name="connsiteY5" fmla="*/ 803 h 10000"/>
                <a:gd name="connsiteX6" fmla="*/ 7243 w 10049"/>
                <a:gd name="connsiteY6" fmla="*/ 803 h 10000"/>
                <a:gd name="connsiteX7" fmla="*/ 7087 w 10049"/>
                <a:gd name="connsiteY7" fmla="*/ 584 h 10000"/>
                <a:gd name="connsiteX8" fmla="*/ 7541 w 10049"/>
                <a:gd name="connsiteY8" fmla="*/ 397 h 10000"/>
                <a:gd name="connsiteX9" fmla="*/ 7102 w 10049"/>
                <a:gd name="connsiteY9" fmla="*/ 276 h 10000"/>
                <a:gd name="connsiteX10" fmla="*/ 6930 w 10049"/>
                <a:gd name="connsiteY10" fmla="*/ 187 h 10000"/>
                <a:gd name="connsiteX11" fmla="*/ 6616 w 10049"/>
                <a:gd name="connsiteY11" fmla="*/ 187 h 10000"/>
                <a:gd name="connsiteX12" fmla="*/ 6319 w 10049"/>
                <a:gd name="connsiteY12" fmla="*/ 341 h 10000"/>
                <a:gd name="connsiteX13" fmla="*/ 5848 w 10049"/>
                <a:gd name="connsiteY13" fmla="*/ 397 h 10000"/>
                <a:gd name="connsiteX14" fmla="*/ 6413 w 10049"/>
                <a:gd name="connsiteY14" fmla="*/ 479 h 10000"/>
                <a:gd name="connsiteX15" fmla="*/ 6632 w 10049"/>
                <a:gd name="connsiteY15" fmla="*/ 738 h 10000"/>
                <a:gd name="connsiteX16" fmla="*/ 6726 w 10049"/>
                <a:gd name="connsiteY16" fmla="*/ 981 h 10000"/>
                <a:gd name="connsiteX17" fmla="*/ 6883 w 10049"/>
                <a:gd name="connsiteY17" fmla="*/ 981 h 10000"/>
                <a:gd name="connsiteX18" fmla="*/ 7290 w 10049"/>
                <a:gd name="connsiteY18" fmla="*/ 981 h 10000"/>
                <a:gd name="connsiteX19" fmla="*/ 7322 w 10049"/>
                <a:gd name="connsiteY19" fmla="*/ 1103 h 10000"/>
                <a:gd name="connsiteX20" fmla="*/ 7525 w 10049"/>
                <a:gd name="connsiteY20" fmla="*/ 1160 h 10000"/>
                <a:gd name="connsiteX21" fmla="*/ 7541 w 10049"/>
                <a:gd name="connsiteY21" fmla="*/ 1371 h 10000"/>
                <a:gd name="connsiteX22" fmla="*/ 7698 w 10049"/>
                <a:gd name="connsiteY22" fmla="*/ 1590 h 10000"/>
                <a:gd name="connsiteX23" fmla="*/ 7228 w 10049"/>
                <a:gd name="connsiteY23" fmla="*/ 1444 h 10000"/>
                <a:gd name="connsiteX24" fmla="*/ 6899 w 10049"/>
                <a:gd name="connsiteY24" fmla="*/ 1484 h 10000"/>
                <a:gd name="connsiteX25" fmla="*/ 6616 w 10049"/>
                <a:gd name="connsiteY25" fmla="*/ 1484 h 10000"/>
                <a:gd name="connsiteX26" fmla="*/ 6413 w 10049"/>
                <a:gd name="connsiteY26" fmla="*/ 1825 h 10000"/>
                <a:gd name="connsiteX27" fmla="*/ 6287 w 10049"/>
                <a:gd name="connsiteY27" fmla="*/ 2028 h 10000"/>
                <a:gd name="connsiteX28" fmla="*/ 6225 w 10049"/>
                <a:gd name="connsiteY28" fmla="*/ 2271 h 10000"/>
                <a:gd name="connsiteX29" fmla="*/ 6616 w 10049"/>
                <a:gd name="connsiteY29" fmla="*/ 2401 h 10000"/>
                <a:gd name="connsiteX30" fmla="*/ 6993 w 10049"/>
                <a:gd name="connsiteY30" fmla="*/ 2595 h 10000"/>
                <a:gd name="connsiteX31" fmla="*/ 6585 w 10049"/>
                <a:gd name="connsiteY31" fmla="*/ 2798 h 10000"/>
                <a:gd name="connsiteX32" fmla="*/ 6397 w 10049"/>
                <a:gd name="connsiteY32" fmla="*/ 2701 h 10000"/>
                <a:gd name="connsiteX33" fmla="*/ 6162 w 10049"/>
                <a:gd name="connsiteY33" fmla="*/ 2660 h 10000"/>
                <a:gd name="connsiteX34" fmla="*/ 5676 w 10049"/>
                <a:gd name="connsiteY34" fmla="*/ 2749 h 10000"/>
                <a:gd name="connsiteX35" fmla="*/ 5190 w 10049"/>
                <a:gd name="connsiteY35" fmla="*/ 2595 h 10000"/>
                <a:gd name="connsiteX36" fmla="*/ 4939 w 10049"/>
                <a:gd name="connsiteY36" fmla="*/ 2603 h 10000"/>
                <a:gd name="connsiteX37" fmla="*/ 5080 w 10049"/>
                <a:gd name="connsiteY37" fmla="*/ 2733 h 10000"/>
                <a:gd name="connsiteX38" fmla="*/ 5033 w 10049"/>
                <a:gd name="connsiteY38" fmla="*/ 2822 h 10000"/>
                <a:gd name="connsiteX39" fmla="*/ 5535 w 10049"/>
                <a:gd name="connsiteY39" fmla="*/ 3025 h 10000"/>
                <a:gd name="connsiteX40" fmla="*/ 5801 w 10049"/>
                <a:gd name="connsiteY40" fmla="*/ 2928 h 10000"/>
                <a:gd name="connsiteX41" fmla="*/ 6162 w 10049"/>
                <a:gd name="connsiteY41" fmla="*/ 3114 h 10000"/>
                <a:gd name="connsiteX42" fmla="*/ 5958 w 10049"/>
                <a:gd name="connsiteY42" fmla="*/ 3317 h 10000"/>
                <a:gd name="connsiteX43" fmla="*/ 5660 w 10049"/>
                <a:gd name="connsiteY43" fmla="*/ 3317 h 10000"/>
                <a:gd name="connsiteX44" fmla="*/ 5096 w 10049"/>
                <a:gd name="connsiteY44" fmla="*/ 3268 h 10000"/>
                <a:gd name="connsiteX45" fmla="*/ 5049 w 10049"/>
                <a:gd name="connsiteY45" fmla="*/ 3139 h 10000"/>
                <a:gd name="connsiteX46" fmla="*/ 4751 w 10049"/>
                <a:gd name="connsiteY46" fmla="*/ 3147 h 10000"/>
                <a:gd name="connsiteX47" fmla="*/ 4579 w 10049"/>
                <a:gd name="connsiteY47" fmla="*/ 3268 h 10000"/>
                <a:gd name="connsiteX48" fmla="*/ 4281 w 10049"/>
                <a:gd name="connsiteY48" fmla="*/ 3187 h 10000"/>
                <a:gd name="connsiteX49" fmla="*/ 4344 w 10049"/>
                <a:gd name="connsiteY49" fmla="*/ 3017 h 10000"/>
                <a:gd name="connsiteX50" fmla="*/ 3920 w 10049"/>
                <a:gd name="connsiteY50" fmla="*/ 2863 h 10000"/>
                <a:gd name="connsiteX51" fmla="*/ 3842 w 10049"/>
                <a:gd name="connsiteY51" fmla="*/ 2863 h 10000"/>
                <a:gd name="connsiteX52" fmla="*/ 3685 w 10049"/>
                <a:gd name="connsiteY52" fmla="*/ 2741 h 10000"/>
                <a:gd name="connsiteX53" fmla="*/ 3842 w 10049"/>
                <a:gd name="connsiteY53" fmla="*/ 2636 h 10000"/>
                <a:gd name="connsiteX54" fmla="*/ 3576 w 10049"/>
                <a:gd name="connsiteY54" fmla="*/ 2433 h 10000"/>
                <a:gd name="connsiteX55" fmla="*/ 3246 w 10049"/>
                <a:gd name="connsiteY55" fmla="*/ 2384 h 10000"/>
                <a:gd name="connsiteX56" fmla="*/ 2980 w 10049"/>
                <a:gd name="connsiteY56" fmla="*/ 2336 h 10000"/>
                <a:gd name="connsiteX57" fmla="*/ 2870 w 10049"/>
                <a:gd name="connsiteY57" fmla="*/ 2247 h 10000"/>
                <a:gd name="connsiteX58" fmla="*/ 2290 w 10049"/>
                <a:gd name="connsiteY58" fmla="*/ 2190 h 10000"/>
                <a:gd name="connsiteX59" fmla="*/ 2149 w 10049"/>
                <a:gd name="connsiteY59" fmla="*/ 2117 h 10000"/>
                <a:gd name="connsiteX60" fmla="*/ 1899 w 10049"/>
                <a:gd name="connsiteY60" fmla="*/ 2060 h 10000"/>
                <a:gd name="connsiteX61" fmla="*/ 2055 w 10049"/>
                <a:gd name="connsiteY61" fmla="*/ 1979 h 10000"/>
                <a:gd name="connsiteX62" fmla="*/ 2369 w 10049"/>
                <a:gd name="connsiteY62" fmla="*/ 2003 h 10000"/>
                <a:gd name="connsiteX63" fmla="*/ 2525 w 10049"/>
                <a:gd name="connsiteY63" fmla="*/ 2117 h 10000"/>
                <a:gd name="connsiteX64" fmla="*/ 2792 w 10049"/>
                <a:gd name="connsiteY64" fmla="*/ 2117 h 10000"/>
                <a:gd name="connsiteX65" fmla="*/ 3262 w 10049"/>
                <a:gd name="connsiteY65" fmla="*/ 2117 h 10000"/>
                <a:gd name="connsiteX66" fmla="*/ 3435 w 10049"/>
                <a:gd name="connsiteY66" fmla="*/ 2068 h 10000"/>
                <a:gd name="connsiteX67" fmla="*/ 3842 w 10049"/>
                <a:gd name="connsiteY67" fmla="*/ 2117 h 10000"/>
                <a:gd name="connsiteX68" fmla="*/ 4375 w 10049"/>
                <a:gd name="connsiteY68" fmla="*/ 2117 h 10000"/>
                <a:gd name="connsiteX69" fmla="*/ 5159 w 10049"/>
                <a:gd name="connsiteY69" fmla="*/ 2084 h 10000"/>
                <a:gd name="connsiteX70" fmla="*/ 5958 w 10049"/>
                <a:gd name="connsiteY70" fmla="*/ 1784 h 10000"/>
                <a:gd name="connsiteX71" fmla="*/ 5958 w 10049"/>
                <a:gd name="connsiteY71" fmla="*/ 1387 h 10000"/>
                <a:gd name="connsiteX72" fmla="*/ 5645 w 10049"/>
                <a:gd name="connsiteY72" fmla="*/ 1176 h 10000"/>
                <a:gd name="connsiteX73" fmla="*/ 5300 w 10049"/>
                <a:gd name="connsiteY73" fmla="*/ 1030 h 10000"/>
                <a:gd name="connsiteX74" fmla="*/ 4751 w 10049"/>
                <a:gd name="connsiteY74" fmla="*/ 981 h 10000"/>
                <a:gd name="connsiteX75" fmla="*/ 4359 w 10049"/>
                <a:gd name="connsiteY75" fmla="*/ 981 h 10000"/>
                <a:gd name="connsiteX76" fmla="*/ 3967 w 10049"/>
                <a:gd name="connsiteY76" fmla="*/ 981 h 10000"/>
                <a:gd name="connsiteX77" fmla="*/ 3450 w 10049"/>
                <a:gd name="connsiteY77" fmla="*/ 803 h 10000"/>
                <a:gd name="connsiteX78" fmla="*/ 2792 w 10049"/>
                <a:gd name="connsiteY78" fmla="*/ 738 h 10000"/>
                <a:gd name="connsiteX79" fmla="*/ 2353 w 10049"/>
                <a:gd name="connsiteY79" fmla="*/ 762 h 10000"/>
                <a:gd name="connsiteX80" fmla="*/ 1789 w 10049"/>
                <a:gd name="connsiteY80" fmla="*/ 787 h 10000"/>
                <a:gd name="connsiteX81" fmla="*/ 1679 w 10049"/>
                <a:gd name="connsiteY81" fmla="*/ 860 h 10000"/>
                <a:gd name="connsiteX82" fmla="*/ 1573 w 10049"/>
                <a:gd name="connsiteY82" fmla="*/ 709 h 10000"/>
                <a:gd name="connsiteX83" fmla="*/ 1344 w 10049"/>
                <a:gd name="connsiteY83" fmla="*/ 784 h 10000"/>
                <a:gd name="connsiteX84" fmla="*/ 1104 w 10049"/>
                <a:gd name="connsiteY84" fmla="*/ 706 h 10000"/>
                <a:gd name="connsiteX85" fmla="*/ 987 w 10049"/>
                <a:gd name="connsiteY85" fmla="*/ 910 h 10000"/>
                <a:gd name="connsiteX86" fmla="*/ 620 w 10049"/>
                <a:gd name="connsiteY86" fmla="*/ 1154 h 10000"/>
                <a:gd name="connsiteX87" fmla="*/ 568 w 10049"/>
                <a:gd name="connsiteY87" fmla="*/ 1389 h 10000"/>
                <a:gd name="connsiteX88" fmla="*/ 612 w 10049"/>
                <a:gd name="connsiteY88" fmla="*/ 1540 h 10000"/>
                <a:gd name="connsiteX89" fmla="*/ 49 w 10049"/>
                <a:gd name="connsiteY89" fmla="*/ 1679 h 10000"/>
                <a:gd name="connsiteX90" fmla="*/ 80 w 10049"/>
                <a:gd name="connsiteY90" fmla="*/ 1687 h 10000"/>
                <a:gd name="connsiteX91" fmla="*/ 510 w 10049"/>
                <a:gd name="connsiteY91" fmla="*/ 1628 h 10000"/>
                <a:gd name="connsiteX92" fmla="*/ 425 w 10049"/>
                <a:gd name="connsiteY92" fmla="*/ 1727 h 10000"/>
                <a:gd name="connsiteX93" fmla="*/ 566 w 10049"/>
                <a:gd name="connsiteY93" fmla="*/ 1800 h 10000"/>
                <a:gd name="connsiteX94" fmla="*/ 848 w 10049"/>
                <a:gd name="connsiteY94" fmla="*/ 1833 h 10000"/>
                <a:gd name="connsiteX95" fmla="*/ 942 w 10049"/>
                <a:gd name="connsiteY95" fmla="*/ 1971 h 10000"/>
                <a:gd name="connsiteX96" fmla="*/ 739 w 10049"/>
                <a:gd name="connsiteY96" fmla="*/ 2376 h 10000"/>
                <a:gd name="connsiteX97" fmla="*/ 942 w 10049"/>
                <a:gd name="connsiteY97" fmla="*/ 2457 h 10000"/>
                <a:gd name="connsiteX98" fmla="*/ 1726 w 10049"/>
                <a:gd name="connsiteY98" fmla="*/ 2879 h 10000"/>
                <a:gd name="connsiteX99" fmla="*/ 1507 w 10049"/>
                <a:gd name="connsiteY99" fmla="*/ 2976 h 10000"/>
                <a:gd name="connsiteX100" fmla="*/ 1507 w 10049"/>
                <a:gd name="connsiteY100" fmla="*/ 3179 h 10000"/>
                <a:gd name="connsiteX101" fmla="*/ 1726 w 10049"/>
                <a:gd name="connsiteY101" fmla="*/ 3220 h 10000"/>
                <a:gd name="connsiteX102" fmla="*/ 1663 w 10049"/>
                <a:gd name="connsiteY102" fmla="*/ 3333 h 10000"/>
                <a:gd name="connsiteX103" fmla="*/ 1836 w 10049"/>
                <a:gd name="connsiteY103" fmla="*/ 3398 h 10000"/>
                <a:gd name="connsiteX104" fmla="*/ 2008 w 10049"/>
                <a:gd name="connsiteY104" fmla="*/ 3366 h 10000"/>
                <a:gd name="connsiteX105" fmla="*/ 2040 w 10049"/>
                <a:gd name="connsiteY105" fmla="*/ 3528 h 10000"/>
                <a:gd name="connsiteX106" fmla="*/ 2181 w 10049"/>
                <a:gd name="connsiteY106" fmla="*/ 3609 h 10000"/>
                <a:gd name="connsiteX107" fmla="*/ 2369 w 10049"/>
                <a:gd name="connsiteY107" fmla="*/ 3577 h 10000"/>
                <a:gd name="connsiteX108" fmla="*/ 2510 w 10049"/>
                <a:gd name="connsiteY108" fmla="*/ 3715 h 10000"/>
                <a:gd name="connsiteX109" fmla="*/ 2384 w 10049"/>
                <a:gd name="connsiteY109" fmla="*/ 3950 h 10000"/>
                <a:gd name="connsiteX110" fmla="*/ 3325 w 10049"/>
                <a:gd name="connsiteY110" fmla="*/ 4193 h 10000"/>
                <a:gd name="connsiteX111" fmla="*/ 3341 w 10049"/>
                <a:gd name="connsiteY111" fmla="*/ 4599 h 10000"/>
                <a:gd name="connsiteX112" fmla="*/ 2855 w 10049"/>
                <a:gd name="connsiteY112" fmla="*/ 5239 h 10000"/>
                <a:gd name="connsiteX113" fmla="*/ 2337 w 10049"/>
                <a:gd name="connsiteY113" fmla="*/ 5677 h 10000"/>
                <a:gd name="connsiteX114" fmla="*/ 2604 w 10049"/>
                <a:gd name="connsiteY114" fmla="*/ 5612 h 10000"/>
                <a:gd name="connsiteX115" fmla="*/ 2667 w 10049"/>
                <a:gd name="connsiteY115" fmla="*/ 5766 h 10000"/>
                <a:gd name="connsiteX116" fmla="*/ 2980 w 10049"/>
                <a:gd name="connsiteY116" fmla="*/ 5839 h 10000"/>
                <a:gd name="connsiteX117" fmla="*/ 3419 w 10049"/>
                <a:gd name="connsiteY117" fmla="*/ 5775 h 10000"/>
                <a:gd name="connsiteX118" fmla="*/ 3842 w 10049"/>
                <a:gd name="connsiteY118" fmla="*/ 5864 h 10000"/>
                <a:gd name="connsiteX119" fmla="*/ 3842 w 10049"/>
                <a:gd name="connsiteY119" fmla="*/ 5994 h 10000"/>
                <a:gd name="connsiteX120" fmla="*/ 3105 w 10049"/>
                <a:gd name="connsiteY120" fmla="*/ 5969 h 10000"/>
                <a:gd name="connsiteX121" fmla="*/ 2980 w 10049"/>
                <a:gd name="connsiteY121" fmla="*/ 6091 h 10000"/>
                <a:gd name="connsiteX122" fmla="*/ 2604 w 10049"/>
                <a:gd name="connsiteY122" fmla="*/ 6172 h 10000"/>
                <a:gd name="connsiteX123" fmla="*/ 2682 w 10049"/>
                <a:gd name="connsiteY123" fmla="*/ 6269 h 10000"/>
                <a:gd name="connsiteX124" fmla="*/ 2761 w 10049"/>
                <a:gd name="connsiteY124" fmla="*/ 6326 h 10000"/>
                <a:gd name="connsiteX125" fmla="*/ 2588 w 10049"/>
                <a:gd name="connsiteY125" fmla="*/ 6415 h 10000"/>
                <a:gd name="connsiteX126" fmla="*/ 2635 w 10049"/>
                <a:gd name="connsiteY126" fmla="*/ 6537 h 10000"/>
                <a:gd name="connsiteX127" fmla="*/ 2447 w 10049"/>
                <a:gd name="connsiteY127" fmla="*/ 6642 h 10000"/>
                <a:gd name="connsiteX128" fmla="*/ 2541 w 10049"/>
                <a:gd name="connsiteY128" fmla="*/ 6788 h 10000"/>
                <a:gd name="connsiteX129" fmla="*/ 2729 w 10049"/>
                <a:gd name="connsiteY129" fmla="*/ 6821 h 10000"/>
                <a:gd name="connsiteX130" fmla="*/ 2651 w 10049"/>
                <a:gd name="connsiteY130" fmla="*/ 6983 h 10000"/>
                <a:gd name="connsiteX131" fmla="*/ 2870 w 10049"/>
                <a:gd name="connsiteY131" fmla="*/ 7015 h 10000"/>
                <a:gd name="connsiteX132" fmla="*/ 2980 w 10049"/>
                <a:gd name="connsiteY132" fmla="*/ 7145 h 10000"/>
                <a:gd name="connsiteX133" fmla="*/ 2855 w 10049"/>
                <a:gd name="connsiteY133" fmla="*/ 7202 h 10000"/>
                <a:gd name="connsiteX134" fmla="*/ 2870 w 10049"/>
                <a:gd name="connsiteY134" fmla="*/ 7299 h 10000"/>
                <a:gd name="connsiteX135" fmla="*/ 2980 w 10049"/>
                <a:gd name="connsiteY135" fmla="*/ 7388 h 10000"/>
                <a:gd name="connsiteX136" fmla="*/ 3341 w 10049"/>
                <a:gd name="connsiteY136" fmla="*/ 7486 h 10000"/>
                <a:gd name="connsiteX137" fmla="*/ 3215 w 10049"/>
                <a:gd name="connsiteY137" fmla="*/ 7575 h 10000"/>
                <a:gd name="connsiteX138" fmla="*/ 3341 w 10049"/>
                <a:gd name="connsiteY138" fmla="*/ 7737 h 10000"/>
                <a:gd name="connsiteX139" fmla="*/ 3466 w 10049"/>
                <a:gd name="connsiteY139" fmla="*/ 7737 h 10000"/>
                <a:gd name="connsiteX140" fmla="*/ 3560 w 10049"/>
                <a:gd name="connsiteY140" fmla="*/ 7810 h 10000"/>
                <a:gd name="connsiteX141" fmla="*/ 3842 w 10049"/>
                <a:gd name="connsiteY141" fmla="*/ 7908 h 10000"/>
                <a:gd name="connsiteX142" fmla="*/ 3842 w 10049"/>
                <a:gd name="connsiteY142" fmla="*/ 7997 h 10000"/>
                <a:gd name="connsiteX143" fmla="*/ 4124 w 10049"/>
                <a:gd name="connsiteY143" fmla="*/ 7972 h 10000"/>
                <a:gd name="connsiteX144" fmla="*/ 4626 w 10049"/>
                <a:gd name="connsiteY144" fmla="*/ 7972 h 10000"/>
                <a:gd name="connsiteX145" fmla="*/ 4767 w 10049"/>
                <a:gd name="connsiteY145" fmla="*/ 8167 h 10000"/>
                <a:gd name="connsiteX146" fmla="*/ 5190 w 10049"/>
                <a:gd name="connsiteY146" fmla="*/ 7972 h 10000"/>
                <a:gd name="connsiteX147" fmla="*/ 5770 w 10049"/>
                <a:gd name="connsiteY147" fmla="*/ 8078 h 10000"/>
                <a:gd name="connsiteX148" fmla="*/ 5895 w 10049"/>
                <a:gd name="connsiteY148" fmla="*/ 8289 h 10000"/>
                <a:gd name="connsiteX149" fmla="*/ 5895 w 10049"/>
                <a:gd name="connsiteY149" fmla="*/ 8467 h 10000"/>
                <a:gd name="connsiteX150" fmla="*/ 6162 w 10049"/>
                <a:gd name="connsiteY150" fmla="*/ 8483 h 10000"/>
                <a:gd name="connsiteX151" fmla="*/ 6272 w 10049"/>
                <a:gd name="connsiteY151" fmla="*/ 8581 h 10000"/>
                <a:gd name="connsiteX152" fmla="*/ 6585 w 10049"/>
                <a:gd name="connsiteY152" fmla="*/ 8710 h 10000"/>
                <a:gd name="connsiteX153" fmla="*/ 6961 w 10049"/>
                <a:gd name="connsiteY153" fmla="*/ 8759 h 10000"/>
                <a:gd name="connsiteX154" fmla="*/ 6977 w 10049"/>
                <a:gd name="connsiteY154" fmla="*/ 8889 h 10000"/>
                <a:gd name="connsiteX155" fmla="*/ 7416 w 10049"/>
                <a:gd name="connsiteY155" fmla="*/ 8856 h 10000"/>
                <a:gd name="connsiteX156" fmla="*/ 7745 w 10049"/>
                <a:gd name="connsiteY156" fmla="*/ 9027 h 10000"/>
                <a:gd name="connsiteX157" fmla="*/ 7635 w 10049"/>
                <a:gd name="connsiteY157" fmla="*/ 9238 h 10000"/>
                <a:gd name="connsiteX158" fmla="*/ 6961 w 10049"/>
                <a:gd name="connsiteY158" fmla="*/ 9238 h 10000"/>
                <a:gd name="connsiteX159" fmla="*/ 6852 w 10049"/>
                <a:gd name="connsiteY159" fmla="*/ 9343 h 10000"/>
                <a:gd name="connsiteX160" fmla="*/ 7181 w 10049"/>
                <a:gd name="connsiteY160" fmla="*/ 9424 h 10000"/>
                <a:gd name="connsiteX161" fmla="*/ 7228 w 10049"/>
                <a:gd name="connsiteY161" fmla="*/ 9594 h 10000"/>
                <a:gd name="connsiteX162" fmla="*/ 7510 w 10049"/>
                <a:gd name="connsiteY162" fmla="*/ 9805 h 10000"/>
                <a:gd name="connsiteX163" fmla="*/ 7886 w 10049"/>
                <a:gd name="connsiteY163" fmla="*/ 9813 h 10000"/>
                <a:gd name="connsiteX164" fmla="*/ 7902 w 10049"/>
                <a:gd name="connsiteY164" fmla="*/ 9659 h 10000"/>
                <a:gd name="connsiteX165" fmla="*/ 8513 w 10049"/>
                <a:gd name="connsiteY165" fmla="*/ 9521 h 10000"/>
                <a:gd name="connsiteX166" fmla="*/ 9109 w 10049"/>
                <a:gd name="connsiteY166" fmla="*/ 9521 h 10000"/>
                <a:gd name="connsiteX167" fmla="*/ 9594 w 10049"/>
                <a:gd name="connsiteY167" fmla="*/ 9659 h 10000"/>
                <a:gd name="connsiteX168" fmla="*/ 9328 w 10049"/>
                <a:gd name="connsiteY168" fmla="*/ 9789 h 10000"/>
                <a:gd name="connsiteX169" fmla="*/ 9673 w 10049"/>
                <a:gd name="connsiteY169" fmla="*/ 10000 h 10000"/>
                <a:gd name="connsiteX170" fmla="*/ 10049 w 10049"/>
                <a:gd name="connsiteY170" fmla="*/ 9951 h 10000"/>
                <a:gd name="connsiteX171" fmla="*/ 10049 w 10049"/>
                <a:gd name="connsiteY171" fmla="*/ 0 h 10000"/>
                <a:gd name="connsiteX172" fmla="*/ 8482 w 10049"/>
                <a:gd name="connsiteY172" fmla="*/ 0 h 10000"/>
                <a:gd name="connsiteX0" fmla="*/ 8434 w 10001"/>
                <a:gd name="connsiteY0" fmla="*/ 0 h 10000"/>
                <a:gd name="connsiteX1" fmla="*/ 8434 w 10001"/>
                <a:gd name="connsiteY1" fmla="*/ 97 h 10000"/>
                <a:gd name="connsiteX2" fmla="*/ 8104 w 10001"/>
                <a:gd name="connsiteY2" fmla="*/ 357 h 10000"/>
                <a:gd name="connsiteX3" fmla="*/ 8434 w 10001"/>
                <a:gd name="connsiteY3" fmla="*/ 697 h 10000"/>
                <a:gd name="connsiteX4" fmla="*/ 7822 w 10001"/>
                <a:gd name="connsiteY4" fmla="*/ 981 h 10000"/>
                <a:gd name="connsiteX5" fmla="*/ 7728 w 10001"/>
                <a:gd name="connsiteY5" fmla="*/ 803 h 10000"/>
                <a:gd name="connsiteX6" fmla="*/ 7195 w 10001"/>
                <a:gd name="connsiteY6" fmla="*/ 803 h 10000"/>
                <a:gd name="connsiteX7" fmla="*/ 7039 w 10001"/>
                <a:gd name="connsiteY7" fmla="*/ 584 h 10000"/>
                <a:gd name="connsiteX8" fmla="*/ 7493 w 10001"/>
                <a:gd name="connsiteY8" fmla="*/ 397 h 10000"/>
                <a:gd name="connsiteX9" fmla="*/ 7054 w 10001"/>
                <a:gd name="connsiteY9" fmla="*/ 276 h 10000"/>
                <a:gd name="connsiteX10" fmla="*/ 6882 w 10001"/>
                <a:gd name="connsiteY10" fmla="*/ 187 h 10000"/>
                <a:gd name="connsiteX11" fmla="*/ 6568 w 10001"/>
                <a:gd name="connsiteY11" fmla="*/ 187 h 10000"/>
                <a:gd name="connsiteX12" fmla="*/ 6271 w 10001"/>
                <a:gd name="connsiteY12" fmla="*/ 341 h 10000"/>
                <a:gd name="connsiteX13" fmla="*/ 5800 w 10001"/>
                <a:gd name="connsiteY13" fmla="*/ 397 h 10000"/>
                <a:gd name="connsiteX14" fmla="*/ 6365 w 10001"/>
                <a:gd name="connsiteY14" fmla="*/ 479 h 10000"/>
                <a:gd name="connsiteX15" fmla="*/ 6584 w 10001"/>
                <a:gd name="connsiteY15" fmla="*/ 738 h 10000"/>
                <a:gd name="connsiteX16" fmla="*/ 6678 w 10001"/>
                <a:gd name="connsiteY16" fmla="*/ 981 h 10000"/>
                <a:gd name="connsiteX17" fmla="*/ 6835 w 10001"/>
                <a:gd name="connsiteY17" fmla="*/ 981 h 10000"/>
                <a:gd name="connsiteX18" fmla="*/ 7242 w 10001"/>
                <a:gd name="connsiteY18" fmla="*/ 981 h 10000"/>
                <a:gd name="connsiteX19" fmla="*/ 7274 w 10001"/>
                <a:gd name="connsiteY19" fmla="*/ 1103 h 10000"/>
                <a:gd name="connsiteX20" fmla="*/ 7477 w 10001"/>
                <a:gd name="connsiteY20" fmla="*/ 1160 h 10000"/>
                <a:gd name="connsiteX21" fmla="*/ 7493 w 10001"/>
                <a:gd name="connsiteY21" fmla="*/ 1371 h 10000"/>
                <a:gd name="connsiteX22" fmla="*/ 7650 w 10001"/>
                <a:gd name="connsiteY22" fmla="*/ 1590 h 10000"/>
                <a:gd name="connsiteX23" fmla="*/ 7180 w 10001"/>
                <a:gd name="connsiteY23" fmla="*/ 1444 h 10000"/>
                <a:gd name="connsiteX24" fmla="*/ 6851 w 10001"/>
                <a:gd name="connsiteY24" fmla="*/ 1484 h 10000"/>
                <a:gd name="connsiteX25" fmla="*/ 6568 w 10001"/>
                <a:gd name="connsiteY25" fmla="*/ 1484 h 10000"/>
                <a:gd name="connsiteX26" fmla="*/ 6365 w 10001"/>
                <a:gd name="connsiteY26" fmla="*/ 1825 h 10000"/>
                <a:gd name="connsiteX27" fmla="*/ 6239 w 10001"/>
                <a:gd name="connsiteY27" fmla="*/ 2028 h 10000"/>
                <a:gd name="connsiteX28" fmla="*/ 6177 w 10001"/>
                <a:gd name="connsiteY28" fmla="*/ 2271 h 10000"/>
                <a:gd name="connsiteX29" fmla="*/ 6568 w 10001"/>
                <a:gd name="connsiteY29" fmla="*/ 2401 h 10000"/>
                <a:gd name="connsiteX30" fmla="*/ 6945 w 10001"/>
                <a:gd name="connsiteY30" fmla="*/ 2595 h 10000"/>
                <a:gd name="connsiteX31" fmla="*/ 6537 w 10001"/>
                <a:gd name="connsiteY31" fmla="*/ 2798 h 10000"/>
                <a:gd name="connsiteX32" fmla="*/ 6349 w 10001"/>
                <a:gd name="connsiteY32" fmla="*/ 2701 h 10000"/>
                <a:gd name="connsiteX33" fmla="*/ 6114 w 10001"/>
                <a:gd name="connsiteY33" fmla="*/ 2660 h 10000"/>
                <a:gd name="connsiteX34" fmla="*/ 5628 w 10001"/>
                <a:gd name="connsiteY34" fmla="*/ 2749 h 10000"/>
                <a:gd name="connsiteX35" fmla="*/ 5142 w 10001"/>
                <a:gd name="connsiteY35" fmla="*/ 2595 h 10000"/>
                <a:gd name="connsiteX36" fmla="*/ 4891 w 10001"/>
                <a:gd name="connsiteY36" fmla="*/ 2603 h 10000"/>
                <a:gd name="connsiteX37" fmla="*/ 5032 w 10001"/>
                <a:gd name="connsiteY37" fmla="*/ 2733 h 10000"/>
                <a:gd name="connsiteX38" fmla="*/ 4985 w 10001"/>
                <a:gd name="connsiteY38" fmla="*/ 2822 h 10000"/>
                <a:gd name="connsiteX39" fmla="*/ 5487 w 10001"/>
                <a:gd name="connsiteY39" fmla="*/ 3025 h 10000"/>
                <a:gd name="connsiteX40" fmla="*/ 5753 w 10001"/>
                <a:gd name="connsiteY40" fmla="*/ 2928 h 10000"/>
                <a:gd name="connsiteX41" fmla="*/ 6114 w 10001"/>
                <a:gd name="connsiteY41" fmla="*/ 3114 h 10000"/>
                <a:gd name="connsiteX42" fmla="*/ 5910 w 10001"/>
                <a:gd name="connsiteY42" fmla="*/ 3317 h 10000"/>
                <a:gd name="connsiteX43" fmla="*/ 5612 w 10001"/>
                <a:gd name="connsiteY43" fmla="*/ 3317 h 10000"/>
                <a:gd name="connsiteX44" fmla="*/ 5048 w 10001"/>
                <a:gd name="connsiteY44" fmla="*/ 3268 h 10000"/>
                <a:gd name="connsiteX45" fmla="*/ 5001 w 10001"/>
                <a:gd name="connsiteY45" fmla="*/ 3139 h 10000"/>
                <a:gd name="connsiteX46" fmla="*/ 4703 w 10001"/>
                <a:gd name="connsiteY46" fmla="*/ 3147 h 10000"/>
                <a:gd name="connsiteX47" fmla="*/ 4531 w 10001"/>
                <a:gd name="connsiteY47" fmla="*/ 3268 h 10000"/>
                <a:gd name="connsiteX48" fmla="*/ 4233 w 10001"/>
                <a:gd name="connsiteY48" fmla="*/ 3187 h 10000"/>
                <a:gd name="connsiteX49" fmla="*/ 4296 w 10001"/>
                <a:gd name="connsiteY49" fmla="*/ 3017 h 10000"/>
                <a:gd name="connsiteX50" fmla="*/ 3872 w 10001"/>
                <a:gd name="connsiteY50" fmla="*/ 2863 h 10000"/>
                <a:gd name="connsiteX51" fmla="*/ 3794 w 10001"/>
                <a:gd name="connsiteY51" fmla="*/ 2863 h 10000"/>
                <a:gd name="connsiteX52" fmla="*/ 3637 w 10001"/>
                <a:gd name="connsiteY52" fmla="*/ 2741 h 10000"/>
                <a:gd name="connsiteX53" fmla="*/ 3794 w 10001"/>
                <a:gd name="connsiteY53" fmla="*/ 2636 h 10000"/>
                <a:gd name="connsiteX54" fmla="*/ 3528 w 10001"/>
                <a:gd name="connsiteY54" fmla="*/ 2433 h 10000"/>
                <a:gd name="connsiteX55" fmla="*/ 3198 w 10001"/>
                <a:gd name="connsiteY55" fmla="*/ 2384 h 10000"/>
                <a:gd name="connsiteX56" fmla="*/ 2932 w 10001"/>
                <a:gd name="connsiteY56" fmla="*/ 2336 h 10000"/>
                <a:gd name="connsiteX57" fmla="*/ 2822 w 10001"/>
                <a:gd name="connsiteY57" fmla="*/ 2247 h 10000"/>
                <a:gd name="connsiteX58" fmla="*/ 2242 w 10001"/>
                <a:gd name="connsiteY58" fmla="*/ 2190 h 10000"/>
                <a:gd name="connsiteX59" fmla="*/ 2101 w 10001"/>
                <a:gd name="connsiteY59" fmla="*/ 2117 h 10000"/>
                <a:gd name="connsiteX60" fmla="*/ 1851 w 10001"/>
                <a:gd name="connsiteY60" fmla="*/ 2060 h 10000"/>
                <a:gd name="connsiteX61" fmla="*/ 2007 w 10001"/>
                <a:gd name="connsiteY61" fmla="*/ 1979 h 10000"/>
                <a:gd name="connsiteX62" fmla="*/ 2321 w 10001"/>
                <a:gd name="connsiteY62" fmla="*/ 2003 h 10000"/>
                <a:gd name="connsiteX63" fmla="*/ 2477 w 10001"/>
                <a:gd name="connsiteY63" fmla="*/ 2117 h 10000"/>
                <a:gd name="connsiteX64" fmla="*/ 2744 w 10001"/>
                <a:gd name="connsiteY64" fmla="*/ 2117 h 10000"/>
                <a:gd name="connsiteX65" fmla="*/ 3214 w 10001"/>
                <a:gd name="connsiteY65" fmla="*/ 2117 h 10000"/>
                <a:gd name="connsiteX66" fmla="*/ 3387 w 10001"/>
                <a:gd name="connsiteY66" fmla="*/ 2068 h 10000"/>
                <a:gd name="connsiteX67" fmla="*/ 3794 w 10001"/>
                <a:gd name="connsiteY67" fmla="*/ 2117 h 10000"/>
                <a:gd name="connsiteX68" fmla="*/ 4327 w 10001"/>
                <a:gd name="connsiteY68" fmla="*/ 2117 h 10000"/>
                <a:gd name="connsiteX69" fmla="*/ 5111 w 10001"/>
                <a:gd name="connsiteY69" fmla="*/ 2084 h 10000"/>
                <a:gd name="connsiteX70" fmla="*/ 5910 w 10001"/>
                <a:gd name="connsiteY70" fmla="*/ 1784 h 10000"/>
                <a:gd name="connsiteX71" fmla="*/ 5910 w 10001"/>
                <a:gd name="connsiteY71" fmla="*/ 1387 h 10000"/>
                <a:gd name="connsiteX72" fmla="*/ 5597 w 10001"/>
                <a:gd name="connsiteY72" fmla="*/ 1176 h 10000"/>
                <a:gd name="connsiteX73" fmla="*/ 5252 w 10001"/>
                <a:gd name="connsiteY73" fmla="*/ 1030 h 10000"/>
                <a:gd name="connsiteX74" fmla="*/ 4703 w 10001"/>
                <a:gd name="connsiteY74" fmla="*/ 981 h 10000"/>
                <a:gd name="connsiteX75" fmla="*/ 4311 w 10001"/>
                <a:gd name="connsiteY75" fmla="*/ 981 h 10000"/>
                <a:gd name="connsiteX76" fmla="*/ 3919 w 10001"/>
                <a:gd name="connsiteY76" fmla="*/ 981 h 10000"/>
                <a:gd name="connsiteX77" fmla="*/ 3402 w 10001"/>
                <a:gd name="connsiteY77" fmla="*/ 803 h 10000"/>
                <a:gd name="connsiteX78" fmla="*/ 2744 w 10001"/>
                <a:gd name="connsiteY78" fmla="*/ 738 h 10000"/>
                <a:gd name="connsiteX79" fmla="*/ 2305 w 10001"/>
                <a:gd name="connsiteY79" fmla="*/ 762 h 10000"/>
                <a:gd name="connsiteX80" fmla="*/ 1741 w 10001"/>
                <a:gd name="connsiteY80" fmla="*/ 787 h 10000"/>
                <a:gd name="connsiteX81" fmla="*/ 1631 w 10001"/>
                <a:gd name="connsiteY81" fmla="*/ 860 h 10000"/>
                <a:gd name="connsiteX82" fmla="*/ 1525 w 10001"/>
                <a:gd name="connsiteY82" fmla="*/ 709 h 10000"/>
                <a:gd name="connsiteX83" fmla="*/ 1296 w 10001"/>
                <a:gd name="connsiteY83" fmla="*/ 784 h 10000"/>
                <a:gd name="connsiteX84" fmla="*/ 1056 w 10001"/>
                <a:gd name="connsiteY84" fmla="*/ 706 h 10000"/>
                <a:gd name="connsiteX85" fmla="*/ 939 w 10001"/>
                <a:gd name="connsiteY85" fmla="*/ 910 h 10000"/>
                <a:gd name="connsiteX86" fmla="*/ 572 w 10001"/>
                <a:gd name="connsiteY86" fmla="*/ 1154 h 10000"/>
                <a:gd name="connsiteX87" fmla="*/ 520 w 10001"/>
                <a:gd name="connsiteY87" fmla="*/ 1389 h 10000"/>
                <a:gd name="connsiteX88" fmla="*/ 564 w 10001"/>
                <a:gd name="connsiteY88" fmla="*/ 1540 h 10000"/>
                <a:gd name="connsiteX89" fmla="*/ 1 w 10001"/>
                <a:gd name="connsiteY89" fmla="*/ 1679 h 10000"/>
                <a:gd name="connsiteX90" fmla="*/ 462 w 10001"/>
                <a:gd name="connsiteY90" fmla="*/ 1628 h 10000"/>
                <a:gd name="connsiteX91" fmla="*/ 377 w 10001"/>
                <a:gd name="connsiteY91" fmla="*/ 1727 h 10000"/>
                <a:gd name="connsiteX92" fmla="*/ 518 w 10001"/>
                <a:gd name="connsiteY92" fmla="*/ 1800 h 10000"/>
                <a:gd name="connsiteX93" fmla="*/ 800 w 10001"/>
                <a:gd name="connsiteY93" fmla="*/ 1833 h 10000"/>
                <a:gd name="connsiteX94" fmla="*/ 894 w 10001"/>
                <a:gd name="connsiteY94" fmla="*/ 1971 h 10000"/>
                <a:gd name="connsiteX95" fmla="*/ 691 w 10001"/>
                <a:gd name="connsiteY95" fmla="*/ 2376 h 10000"/>
                <a:gd name="connsiteX96" fmla="*/ 894 w 10001"/>
                <a:gd name="connsiteY96" fmla="*/ 2457 h 10000"/>
                <a:gd name="connsiteX97" fmla="*/ 1678 w 10001"/>
                <a:gd name="connsiteY97" fmla="*/ 2879 h 10000"/>
                <a:gd name="connsiteX98" fmla="*/ 1459 w 10001"/>
                <a:gd name="connsiteY98" fmla="*/ 2976 h 10000"/>
                <a:gd name="connsiteX99" fmla="*/ 1459 w 10001"/>
                <a:gd name="connsiteY99" fmla="*/ 3179 h 10000"/>
                <a:gd name="connsiteX100" fmla="*/ 1678 w 10001"/>
                <a:gd name="connsiteY100" fmla="*/ 3220 h 10000"/>
                <a:gd name="connsiteX101" fmla="*/ 1615 w 10001"/>
                <a:gd name="connsiteY101" fmla="*/ 3333 h 10000"/>
                <a:gd name="connsiteX102" fmla="*/ 1788 w 10001"/>
                <a:gd name="connsiteY102" fmla="*/ 3398 h 10000"/>
                <a:gd name="connsiteX103" fmla="*/ 1960 w 10001"/>
                <a:gd name="connsiteY103" fmla="*/ 3366 h 10000"/>
                <a:gd name="connsiteX104" fmla="*/ 1992 w 10001"/>
                <a:gd name="connsiteY104" fmla="*/ 3528 h 10000"/>
                <a:gd name="connsiteX105" fmla="*/ 2133 w 10001"/>
                <a:gd name="connsiteY105" fmla="*/ 3609 h 10000"/>
                <a:gd name="connsiteX106" fmla="*/ 2321 w 10001"/>
                <a:gd name="connsiteY106" fmla="*/ 3577 h 10000"/>
                <a:gd name="connsiteX107" fmla="*/ 2462 w 10001"/>
                <a:gd name="connsiteY107" fmla="*/ 3715 h 10000"/>
                <a:gd name="connsiteX108" fmla="*/ 2336 w 10001"/>
                <a:gd name="connsiteY108" fmla="*/ 3950 h 10000"/>
                <a:gd name="connsiteX109" fmla="*/ 3277 w 10001"/>
                <a:gd name="connsiteY109" fmla="*/ 4193 h 10000"/>
                <a:gd name="connsiteX110" fmla="*/ 3293 w 10001"/>
                <a:gd name="connsiteY110" fmla="*/ 4599 h 10000"/>
                <a:gd name="connsiteX111" fmla="*/ 2807 w 10001"/>
                <a:gd name="connsiteY111" fmla="*/ 5239 h 10000"/>
                <a:gd name="connsiteX112" fmla="*/ 2289 w 10001"/>
                <a:gd name="connsiteY112" fmla="*/ 5677 h 10000"/>
                <a:gd name="connsiteX113" fmla="*/ 2556 w 10001"/>
                <a:gd name="connsiteY113" fmla="*/ 5612 h 10000"/>
                <a:gd name="connsiteX114" fmla="*/ 2619 w 10001"/>
                <a:gd name="connsiteY114" fmla="*/ 5766 h 10000"/>
                <a:gd name="connsiteX115" fmla="*/ 2932 w 10001"/>
                <a:gd name="connsiteY115" fmla="*/ 5839 h 10000"/>
                <a:gd name="connsiteX116" fmla="*/ 3371 w 10001"/>
                <a:gd name="connsiteY116" fmla="*/ 5775 h 10000"/>
                <a:gd name="connsiteX117" fmla="*/ 3794 w 10001"/>
                <a:gd name="connsiteY117" fmla="*/ 5864 h 10000"/>
                <a:gd name="connsiteX118" fmla="*/ 3794 w 10001"/>
                <a:gd name="connsiteY118" fmla="*/ 5994 h 10000"/>
                <a:gd name="connsiteX119" fmla="*/ 3057 w 10001"/>
                <a:gd name="connsiteY119" fmla="*/ 5969 h 10000"/>
                <a:gd name="connsiteX120" fmla="*/ 2932 w 10001"/>
                <a:gd name="connsiteY120" fmla="*/ 6091 h 10000"/>
                <a:gd name="connsiteX121" fmla="*/ 2556 w 10001"/>
                <a:gd name="connsiteY121" fmla="*/ 6172 h 10000"/>
                <a:gd name="connsiteX122" fmla="*/ 2634 w 10001"/>
                <a:gd name="connsiteY122" fmla="*/ 6269 h 10000"/>
                <a:gd name="connsiteX123" fmla="*/ 2713 w 10001"/>
                <a:gd name="connsiteY123" fmla="*/ 6326 h 10000"/>
                <a:gd name="connsiteX124" fmla="*/ 2540 w 10001"/>
                <a:gd name="connsiteY124" fmla="*/ 6415 h 10000"/>
                <a:gd name="connsiteX125" fmla="*/ 2587 w 10001"/>
                <a:gd name="connsiteY125" fmla="*/ 6537 h 10000"/>
                <a:gd name="connsiteX126" fmla="*/ 2399 w 10001"/>
                <a:gd name="connsiteY126" fmla="*/ 6642 h 10000"/>
                <a:gd name="connsiteX127" fmla="*/ 2493 w 10001"/>
                <a:gd name="connsiteY127" fmla="*/ 6788 h 10000"/>
                <a:gd name="connsiteX128" fmla="*/ 2681 w 10001"/>
                <a:gd name="connsiteY128" fmla="*/ 6821 h 10000"/>
                <a:gd name="connsiteX129" fmla="*/ 2603 w 10001"/>
                <a:gd name="connsiteY129" fmla="*/ 6983 h 10000"/>
                <a:gd name="connsiteX130" fmla="*/ 2822 w 10001"/>
                <a:gd name="connsiteY130" fmla="*/ 7015 h 10000"/>
                <a:gd name="connsiteX131" fmla="*/ 2932 w 10001"/>
                <a:gd name="connsiteY131" fmla="*/ 7145 h 10000"/>
                <a:gd name="connsiteX132" fmla="*/ 2807 w 10001"/>
                <a:gd name="connsiteY132" fmla="*/ 7202 h 10000"/>
                <a:gd name="connsiteX133" fmla="*/ 2822 w 10001"/>
                <a:gd name="connsiteY133" fmla="*/ 7299 h 10000"/>
                <a:gd name="connsiteX134" fmla="*/ 2932 w 10001"/>
                <a:gd name="connsiteY134" fmla="*/ 7388 h 10000"/>
                <a:gd name="connsiteX135" fmla="*/ 3293 w 10001"/>
                <a:gd name="connsiteY135" fmla="*/ 7486 h 10000"/>
                <a:gd name="connsiteX136" fmla="*/ 3167 w 10001"/>
                <a:gd name="connsiteY136" fmla="*/ 7575 h 10000"/>
                <a:gd name="connsiteX137" fmla="*/ 3293 w 10001"/>
                <a:gd name="connsiteY137" fmla="*/ 7737 h 10000"/>
                <a:gd name="connsiteX138" fmla="*/ 3418 w 10001"/>
                <a:gd name="connsiteY138" fmla="*/ 7737 h 10000"/>
                <a:gd name="connsiteX139" fmla="*/ 3512 w 10001"/>
                <a:gd name="connsiteY139" fmla="*/ 7810 h 10000"/>
                <a:gd name="connsiteX140" fmla="*/ 3794 w 10001"/>
                <a:gd name="connsiteY140" fmla="*/ 7908 h 10000"/>
                <a:gd name="connsiteX141" fmla="*/ 3794 w 10001"/>
                <a:gd name="connsiteY141" fmla="*/ 7997 h 10000"/>
                <a:gd name="connsiteX142" fmla="*/ 4076 w 10001"/>
                <a:gd name="connsiteY142" fmla="*/ 7972 h 10000"/>
                <a:gd name="connsiteX143" fmla="*/ 4578 w 10001"/>
                <a:gd name="connsiteY143" fmla="*/ 7972 h 10000"/>
                <a:gd name="connsiteX144" fmla="*/ 4719 w 10001"/>
                <a:gd name="connsiteY144" fmla="*/ 8167 h 10000"/>
                <a:gd name="connsiteX145" fmla="*/ 5142 w 10001"/>
                <a:gd name="connsiteY145" fmla="*/ 7972 h 10000"/>
                <a:gd name="connsiteX146" fmla="*/ 5722 w 10001"/>
                <a:gd name="connsiteY146" fmla="*/ 8078 h 10000"/>
                <a:gd name="connsiteX147" fmla="*/ 5847 w 10001"/>
                <a:gd name="connsiteY147" fmla="*/ 8289 h 10000"/>
                <a:gd name="connsiteX148" fmla="*/ 5847 w 10001"/>
                <a:gd name="connsiteY148" fmla="*/ 8467 h 10000"/>
                <a:gd name="connsiteX149" fmla="*/ 6114 w 10001"/>
                <a:gd name="connsiteY149" fmla="*/ 8483 h 10000"/>
                <a:gd name="connsiteX150" fmla="*/ 6224 w 10001"/>
                <a:gd name="connsiteY150" fmla="*/ 8581 h 10000"/>
                <a:gd name="connsiteX151" fmla="*/ 6537 w 10001"/>
                <a:gd name="connsiteY151" fmla="*/ 8710 h 10000"/>
                <a:gd name="connsiteX152" fmla="*/ 6913 w 10001"/>
                <a:gd name="connsiteY152" fmla="*/ 8759 h 10000"/>
                <a:gd name="connsiteX153" fmla="*/ 6929 w 10001"/>
                <a:gd name="connsiteY153" fmla="*/ 8889 h 10000"/>
                <a:gd name="connsiteX154" fmla="*/ 7368 w 10001"/>
                <a:gd name="connsiteY154" fmla="*/ 8856 h 10000"/>
                <a:gd name="connsiteX155" fmla="*/ 7697 w 10001"/>
                <a:gd name="connsiteY155" fmla="*/ 9027 h 10000"/>
                <a:gd name="connsiteX156" fmla="*/ 7587 w 10001"/>
                <a:gd name="connsiteY156" fmla="*/ 9238 h 10000"/>
                <a:gd name="connsiteX157" fmla="*/ 6913 w 10001"/>
                <a:gd name="connsiteY157" fmla="*/ 9238 h 10000"/>
                <a:gd name="connsiteX158" fmla="*/ 6804 w 10001"/>
                <a:gd name="connsiteY158" fmla="*/ 9343 h 10000"/>
                <a:gd name="connsiteX159" fmla="*/ 7133 w 10001"/>
                <a:gd name="connsiteY159" fmla="*/ 9424 h 10000"/>
                <a:gd name="connsiteX160" fmla="*/ 7180 w 10001"/>
                <a:gd name="connsiteY160" fmla="*/ 9594 h 10000"/>
                <a:gd name="connsiteX161" fmla="*/ 7462 w 10001"/>
                <a:gd name="connsiteY161" fmla="*/ 9805 h 10000"/>
                <a:gd name="connsiteX162" fmla="*/ 7838 w 10001"/>
                <a:gd name="connsiteY162" fmla="*/ 9813 h 10000"/>
                <a:gd name="connsiteX163" fmla="*/ 7854 w 10001"/>
                <a:gd name="connsiteY163" fmla="*/ 9659 h 10000"/>
                <a:gd name="connsiteX164" fmla="*/ 8465 w 10001"/>
                <a:gd name="connsiteY164" fmla="*/ 9521 h 10000"/>
                <a:gd name="connsiteX165" fmla="*/ 9061 w 10001"/>
                <a:gd name="connsiteY165" fmla="*/ 9521 h 10000"/>
                <a:gd name="connsiteX166" fmla="*/ 9546 w 10001"/>
                <a:gd name="connsiteY166" fmla="*/ 9659 h 10000"/>
                <a:gd name="connsiteX167" fmla="*/ 9280 w 10001"/>
                <a:gd name="connsiteY167" fmla="*/ 9789 h 10000"/>
                <a:gd name="connsiteX168" fmla="*/ 9625 w 10001"/>
                <a:gd name="connsiteY168" fmla="*/ 10000 h 10000"/>
                <a:gd name="connsiteX169" fmla="*/ 10001 w 10001"/>
                <a:gd name="connsiteY169" fmla="*/ 9951 h 10000"/>
                <a:gd name="connsiteX170" fmla="*/ 10001 w 10001"/>
                <a:gd name="connsiteY170" fmla="*/ 0 h 10000"/>
                <a:gd name="connsiteX171" fmla="*/ 8434 w 10001"/>
                <a:gd name="connsiteY171" fmla="*/ 0 h 10000"/>
                <a:gd name="connsiteX0" fmla="*/ 8434 w 10001"/>
                <a:gd name="connsiteY0" fmla="*/ 0 h 10000"/>
                <a:gd name="connsiteX1" fmla="*/ 8434 w 10001"/>
                <a:gd name="connsiteY1" fmla="*/ 97 h 10000"/>
                <a:gd name="connsiteX2" fmla="*/ 8104 w 10001"/>
                <a:gd name="connsiteY2" fmla="*/ 357 h 10000"/>
                <a:gd name="connsiteX3" fmla="*/ 8434 w 10001"/>
                <a:gd name="connsiteY3" fmla="*/ 697 h 10000"/>
                <a:gd name="connsiteX4" fmla="*/ 7822 w 10001"/>
                <a:gd name="connsiteY4" fmla="*/ 981 h 10000"/>
                <a:gd name="connsiteX5" fmla="*/ 7728 w 10001"/>
                <a:gd name="connsiteY5" fmla="*/ 803 h 10000"/>
                <a:gd name="connsiteX6" fmla="*/ 7195 w 10001"/>
                <a:gd name="connsiteY6" fmla="*/ 803 h 10000"/>
                <a:gd name="connsiteX7" fmla="*/ 7039 w 10001"/>
                <a:gd name="connsiteY7" fmla="*/ 584 h 10000"/>
                <a:gd name="connsiteX8" fmla="*/ 7493 w 10001"/>
                <a:gd name="connsiteY8" fmla="*/ 397 h 10000"/>
                <a:gd name="connsiteX9" fmla="*/ 7054 w 10001"/>
                <a:gd name="connsiteY9" fmla="*/ 276 h 10000"/>
                <a:gd name="connsiteX10" fmla="*/ 6882 w 10001"/>
                <a:gd name="connsiteY10" fmla="*/ 187 h 10000"/>
                <a:gd name="connsiteX11" fmla="*/ 6568 w 10001"/>
                <a:gd name="connsiteY11" fmla="*/ 187 h 10000"/>
                <a:gd name="connsiteX12" fmla="*/ 6271 w 10001"/>
                <a:gd name="connsiteY12" fmla="*/ 341 h 10000"/>
                <a:gd name="connsiteX13" fmla="*/ 5800 w 10001"/>
                <a:gd name="connsiteY13" fmla="*/ 397 h 10000"/>
                <a:gd name="connsiteX14" fmla="*/ 6365 w 10001"/>
                <a:gd name="connsiteY14" fmla="*/ 479 h 10000"/>
                <a:gd name="connsiteX15" fmla="*/ 6584 w 10001"/>
                <a:gd name="connsiteY15" fmla="*/ 738 h 10000"/>
                <a:gd name="connsiteX16" fmla="*/ 6678 w 10001"/>
                <a:gd name="connsiteY16" fmla="*/ 981 h 10000"/>
                <a:gd name="connsiteX17" fmla="*/ 6835 w 10001"/>
                <a:gd name="connsiteY17" fmla="*/ 981 h 10000"/>
                <a:gd name="connsiteX18" fmla="*/ 7242 w 10001"/>
                <a:gd name="connsiteY18" fmla="*/ 981 h 10000"/>
                <a:gd name="connsiteX19" fmla="*/ 7274 w 10001"/>
                <a:gd name="connsiteY19" fmla="*/ 1103 h 10000"/>
                <a:gd name="connsiteX20" fmla="*/ 7477 w 10001"/>
                <a:gd name="connsiteY20" fmla="*/ 1160 h 10000"/>
                <a:gd name="connsiteX21" fmla="*/ 7493 w 10001"/>
                <a:gd name="connsiteY21" fmla="*/ 1371 h 10000"/>
                <a:gd name="connsiteX22" fmla="*/ 7650 w 10001"/>
                <a:gd name="connsiteY22" fmla="*/ 1590 h 10000"/>
                <a:gd name="connsiteX23" fmla="*/ 7180 w 10001"/>
                <a:gd name="connsiteY23" fmla="*/ 1444 h 10000"/>
                <a:gd name="connsiteX24" fmla="*/ 6851 w 10001"/>
                <a:gd name="connsiteY24" fmla="*/ 1484 h 10000"/>
                <a:gd name="connsiteX25" fmla="*/ 6568 w 10001"/>
                <a:gd name="connsiteY25" fmla="*/ 1484 h 10000"/>
                <a:gd name="connsiteX26" fmla="*/ 6365 w 10001"/>
                <a:gd name="connsiteY26" fmla="*/ 1825 h 10000"/>
                <a:gd name="connsiteX27" fmla="*/ 6239 w 10001"/>
                <a:gd name="connsiteY27" fmla="*/ 2028 h 10000"/>
                <a:gd name="connsiteX28" fmla="*/ 6177 w 10001"/>
                <a:gd name="connsiteY28" fmla="*/ 2271 h 10000"/>
                <a:gd name="connsiteX29" fmla="*/ 6568 w 10001"/>
                <a:gd name="connsiteY29" fmla="*/ 2401 h 10000"/>
                <a:gd name="connsiteX30" fmla="*/ 6945 w 10001"/>
                <a:gd name="connsiteY30" fmla="*/ 2595 h 10000"/>
                <a:gd name="connsiteX31" fmla="*/ 6537 w 10001"/>
                <a:gd name="connsiteY31" fmla="*/ 2798 h 10000"/>
                <a:gd name="connsiteX32" fmla="*/ 6349 w 10001"/>
                <a:gd name="connsiteY32" fmla="*/ 2701 h 10000"/>
                <a:gd name="connsiteX33" fmla="*/ 6114 w 10001"/>
                <a:gd name="connsiteY33" fmla="*/ 2660 h 10000"/>
                <a:gd name="connsiteX34" fmla="*/ 5628 w 10001"/>
                <a:gd name="connsiteY34" fmla="*/ 2749 h 10000"/>
                <a:gd name="connsiteX35" fmla="*/ 5142 w 10001"/>
                <a:gd name="connsiteY35" fmla="*/ 2595 h 10000"/>
                <a:gd name="connsiteX36" fmla="*/ 4891 w 10001"/>
                <a:gd name="connsiteY36" fmla="*/ 2603 h 10000"/>
                <a:gd name="connsiteX37" fmla="*/ 5032 w 10001"/>
                <a:gd name="connsiteY37" fmla="*/ 2733 h 10000"/>
                <a:gd name="connsiteX38" fmla="*/ 4985 w 10001"/>
                <a:gd name="connsiteY38" fmla="*/ 2822 h 10000"/>
                <a:gd name="connsiteX39" fmla="*/ 5487 w 10001"/>
                <a:gd name="connsiteY39" fmla="*/ 3025 h 10000"/>
                <a:gd name="connsiteX40" fmla="*/ 5753 w 10001"/>
                <a:gd name="connsiteY40" fmla="*/ 2928 h 10000"/>
                <a:gd name="connsiteX41" fmla="*/ 6114 w 10001"/>
                <a:gd name="connsiteY41" fmla="*/ 3114 h 10000"/>
                <a:gd name="connsiteX42" fmla="*/ 5910 w 10001"/>
                <a:gd name="connsiteY42" fmla="*/ 3317 h 10000"/>
                <a:gd name="connsiteX43" fmla="*/ 5612 w 10001"/>
                <a:gd name="connsiteY43" fmla="*/ 3317 h 10000"/>
                <a:gd name="connsiteX44" fmla="*/ 5048 w 10001"/>
                <a:gd name="connsiteY44" fmla="*/ 3268 h 10000"/>
                <a:gd name="connsiteX45" fmla="*/ 5001 w 10001"/>
                <a:gd name="connsiteY45" fmla="*/ 3139 h 10000"/>
                <a:gd name="connsiteX46" fmla="*/ 4703 w 10001"/>
                <a:gd name="connsiteY46" fmla="*/ 3147 h 10000"/>
                <a:gd name="connsiteX47" fmla="*/ 4531 w 10001"/>
                <a:gd name="connsiteY47" fmla="*/ 3268 h 10000"/>
                <a:gd name="connsiteX48" fmla="*/ 4233 w 10001"/>
                <a:gd name="connsiteY48" fmla="*/ 3187 h 10000"/>
                <a:gd name="connsiteX49" fmla="*/ 4296 w 10001"/>
                <a:gd name="connsiteY49" fmla="*/ 3017 h 10000"/>
                <a:gd name="connsiteX50" fmla="*/ 3872 w 10001"/>
                <a:gd name="connsiteY50" fmla="*/ 2863 h 10000"/>
                <a:gd name="connsiteX51" fmla="*/ 3794 w 10001"/>
                <a:gd name="connsiteY51" fmla="*/ 2863 h 10000"/>
                <a:gd name="connsiteX52" fmla="*/ 3637 w 10001"/>
                <a:gd name="connsiteY52" fmla="*/ 2741 h 10000"/>
                <a:gd name="connsiteX53" fmla="*/ 3794 w 10001"/>
                <a:gd name="connsiteY53" fmla="*/ 2636 h 10000"/>
                <a:gd name="connsiteX54" fmla="*/ 3528 w 10001"/>
                <a:gd name="connsiteY54" fmla="*/ 2433 h 10000"/>
                <a:gd name="connsiteX55" fmla="*/ 3198 w 10001"/>
                <a:gd name="connsiteY55" fmla="*/ 2384 h 10000"/>
                <a:gd name="connsiteX56" fmla="*/ 2932 w 10001"/>
                <a:gd name="connsiteY56" fmla="*/ 2336 h 10000"/>
                <a:gd name="connsiteX57" fmla="*/ 2822 w 10001"/>
                <a:gd name="connsiteY57" fmla="*/ 2247 h 10000"/>
                <a:gd name="connsiteX58" fmla="*/ 2242 w 10001"/>
                <a:gd name="connsiteY58" fmla="*/ 2190 h 10000"/>
                <a:gd name="connsiteX59" fmla="*/ 2101 w 10001"/>
                <a:gd name="connsiteY59" fmla="*/ 2117 h 10000"/>
                <a:gd name="connsiteX60" fmla="*/ 1851 w 10001"/>
                <a:gd name="connsiteY60" fmla="*/ 2060 h 10000"/>
                <a:gd name="connsiteX61" fmla="*/ 2007 w 10001"/>
                <a:gd name="connsiteY61" fmla="*/ 1979 h 10000"/>
                <a:gd name="connsiteX62" fmla="*/ 2321 w 10001"/>
                <a:gd name="connsiteY62" fmla="*/ 2003 h 10000"/>
                <a:gd name="connsiteX63" fmla="*/ 2477 w 10001"/>
                <a:gd name="connsiteY63" fmla="*/ 2117 h 10000"/>
                <a:gd name="connsiteX64" fmla="*/ 2744 w 10001"/>
                <a:gd name="connsiteY64" fmla="*/ 2117 h 10000"/>
                <a:gd name="connsiteX65" fmla="*/ 3214 w 10001"/>
                <a:gd name="connsiteY65" fmla="*/ 2117 h 10000"/>
                <a:gd name="connsiteX66" fmla="*/ 3387 w 10001"/>
                <a:gd name="connsiteY66" fmla="*/ 2068 h 10000"/>
                <a:gd name="connsiteX67" fmla="*/ 3794 w 10001"/>
                <a:gd name="connsiteY67" fmla="*/ 2117 h 10000"/>
                <a:gd name="connsiteX68" fmla="*/ 4327 w 10001"/>
                <a:gd name="connsiteY68" fmla="*/ 2117 h 10000"/>
                <a:gd name="connsiteX69" fmla="*/ 5111 w 10001"/>
                <a:gd name="connsiteY69" fmla="*/ 2084 h 10000"/>
                <a:gd name="connsiteX70" fmla="*/ 5910 w 10001"/>
                <a:gd name="connsiteY70" fmla="*/ 1784 h 10000"/>
                <a:gd name="connsiteX71" fmla="*/ 5910 w 10001"/>
                <a:gd name="connsiteY71" fmla="*/ 1387 h 10000"/>
                <a:gd name="connsiteX72" fmla="*/ 5597 w 10001"/>
                <a:gd name="connsiteY72" fmla="*/ 1176 h 10000"/>
                <a:gd name="connsiteX73" fmla="*/ 5252 w 10001"/>
                <a:gd name="connsiteY73" fmla="*/ 1030 h 10000"/>
                <a:gd name="connsiteX74" fmla="*/ 4703 w 10001"/>
                <a:gd name="connsiteY74" fmla="*/ 981 h 10000"/>
                <a:gd name="connsiteX75" fmla="*/ 4311 w 10001"/>
                <a:gd name="connsiteY75" fmla="*/ 981 h 10000"/>
                <a:gd name="connsiteX76" fmla="*/ 3919 w 10001"/>
                <a:gd name="connsiteY76" fmla="*/ 981 h 10000"/>
                <a:gd name="connsiteX77" fmla="*/ 3402 w 10001"/>
                <a:gd name="connsiteY77" fmla="*/ 803 h 10000"/>
                <a:gd name="connsiteX78" fmla="*/ 2744 w 10001"/>
                <a:gd name="connsiteY78" fmla="*/ 738 h 10000"/>
                <a:gd name="connsiteX79" fmla="*/ 2305 w 10001"/>
                <a:gd name="connsiteY79" fmla="*/ 762 h 10000"/>
                <a:gd name="connsiteX80" fmla="*/ 1741 w 10001"/>
                <a:gd name="connsiteY80" fmla="*/ 787 h 10000"/>
                <a:gd name="connsiteX81" fmla="*/ 1631 w 10001"/>
                <a:gd name="connsiteY81" fmla="*/ 860 h 10000"/>
                <a:gd name="connsiteX82" fmla="*/ 1525 w 10001"/>
                <a:gd name="connsiteY82" fmla="*/ 709 h 10000"/>
                <a:gd name="connsiteX83" fmla="*/ 1296 w 10001"/>
                <a:gd name="connsiteY83" fmla="*/ 784 h 10000"/>
                <a:gd name="connsiteX84" fmla="*/ 1056 w 10001"/>
                <a:gd name="connsiteY84" fmla="*/ 706 h 10000"/>
                <a:gd name="connsiteX85" fmla="*/ 939 w 10001"/>
                <a:gd name="connsiteY85" fmla="*/ 910 h 10000"/>
                <a:gd name="connsiteX86" fmla="*/ 572 w 10001"/>
                <a:gd name="connsiteY86" fmla="*/ 1154 h 10000"/>
                <a:gd name="connsiteX87" fmla="*/ 520 w 10001"/>
                <a:gd name="connsiteY87" fmla="*/ 1389 h 10000"/>
                <a:gd name="connsiteX88" fmla="*/ 564 w 10001"/>
                <a:gd name="connsiteY88" fmla="*/ 1540 h 10000"/>
                <a:gd name="connsiteX89" fmla="*/ 1 w 10001"/>
                <a:gd name="connsiteY89" fmla="*/ 1679 h 10000"/>
                <a:gd name="connsiteX90" fmla="*/ 462 w 10001"/>
                <a:gd name="connsiteY90" fmla="*/ 1628 h 10000"/>
                <a:gd name="connsiteX91" fmla="*/ 377 w 10001"/>
                <a:gd name="connsiteY91" fmla="*/ 1727 h 10000"/>
                <a:gd name="connsiteX92" fmla="*/ 518 w 10001"/>
                <a:gd name="connsiteY92" fmla="*/ 1800 h 10000"/>
                <a:gd name="connsiteX93" fmla="*/ 800 w 10001"/>
                <a:gd name="connsiteY93" fmla="*/ 1833 h 10000"/>
                <a:gd name="connsiteX94" fmla="*/ 894 w 10001"/>
                <a:gd name="connsiteY94" fmla="*/ 1971 h 10000"/>
                <a:gd name="connsiteX95" fmla="*/ 691 w 10001"/>
                <a:gd name="connsiteY95" fmla="*/ 2376 h 10000"/>
                <a:gd name="connsiteX96" fmla="*/ 894 w 10001"/>
                <a:gd name="connsiteY96" fmla="*/ 2457 h 10000"/>
                <a:gd name="connsiteX97" fmla="*/ 1678 w 10001"/>
                <a:gd name="connsiteY97" fmla="*/ 2879 h 10000"/>
                <a:gd name="connsiteX98" fmla="*/ 1459 w 10001"/>
                <a:gd name="connsiteY98" fmla="*/ 2976 h 10000"/>
                <a:gd name="connsiteX99" fmla="*/ 1459 w 10001"/>
                <a:gd name="connsiteY99" fmla="*/ 3179 h 10000"/>
                <a:gd name="connsiteX100" fmla="*/ 1678 w 10001"/>
                <a:gd name="connsiteY100" fmla="*/ 3220 h 10000"/>
                <a:gd name="connsiteX101" fmla="*/ 1615 w 10001"/>
                <a:gd name="connsiteY101" fmla="*/ 3333 h 10000"/>
                <a:gd name="connsiteX102" fmla="*/ 1788 w 10001"/>
                <a:gd name="connsiteY102" fmla="*/ 3398 h 10000"/>
                <a:gd name="connsiteX103" fmla="*/ 1960 w 10001"/>
                <a:gd name="connsiteY103" fmla="*/ 3366 h 10000"/>
                <a:gd name="connsiteX104" fmla="*/ 1992 w 10001"/>
                <a:gd name="connsiteY104" fmla="*/ 3528 h 10000"/>
                <a:gd name="connsiteX105" fmla="*/ 2133 w 10001"/>
                <a:gd name="connsiteY105" fmla="*/ 3609 h 10000"/>
                <a:gd name="connsiteX106" fmla="*/ 2321 w 10001"/>
                <a:gd name="connsiteY106" fmla="*/ 3577 h 10000"/>
                <a:gd name="connsiteX107" fmla="*/ 2462 w 10001"/>
                <a:gd name="connsiteY107" fmla="*/ 3715 h 10000"/>
                <a:gd name="connsiteX108" fmla="*/ 2336 w 10001"/>
                <a:gd name="connsiteY108" fmla="*/ 3950 h 10000"/>
                <a:gd name="connsiteX109" fmla="*/ 3277 w 10001"/>
                <a:gd name="connsiteY109" fmla="*/ 4193 h 10000"/>
                <a:gd name="connsiteX110" fmla="*/ 3293 w 10001"/>
                <a:gd name="connsiteY110" fmla="*/ 4599 h 10000"/>
                <a:gd name="connsiteX111" fmla="*/ 2807 w 10001"/>
                <a:gd name="connsiteY111" fmla="*/ 5239 h 10000"/>
                <a:gd name="connsiteX112" fmla="*/ 2289 w 10001"/>
                <a:gd name="connsiteY112" fmla="*/ 5677 h 10000"/>
                <a:gd name="connsiteX113" fmla="*/ 2556 w 10001"/>
                <a:gd name="connsiteY113" fmla="*/ 5612 h 10000"/>
                <a:gd name="connsiteX114" fmla="*/ 2619 w 10001"/>
                <a:gd name="connsiteY114" fmla="*/ 5766 h 10000"/>
                <a:gd name="connsiteX115" fmla="*/ 2932 w 10001"/>
                <a:gd name="connsiteY115" fmla="*/ 5839 h 10000"/>
                <a:gd name="connsiteX116" fmla="*/ 3371 w 10001"/>
                <a:gd name="connsiteY116" fmla="*/ 5775 h 10000"/>
                <a:gd name="connsiteX117" fmla="*/ 3794 w 10001"/>
                <a:gd name="connsiteY117" fmla="*/ 5864 h 10000"/>
                <a:gd name="connsiteX118" fmla="*/ 3794 w 10001"/>
                <a:gd name="connsiteY118" fmla="*/ 5994 h 10000"/>
                <a:gd name="connsiteX119" fmla="*/ 3057 w 10001"/>
                <a:gd name="connsiteY119" fmla="*/ 5969 h 10000"/>
                <a:gd name="connsiteX120" fmla="*/ 2932 w 10001"/>
                <a:gd name="connsiteY120" fmla="*/ 6091 h 10000"/>
                <a:gd name="connsiteX121" fmla="*/ 2556 w 10001"/>
                <a:gd name="connsiteY121" fmla="*/ 6172 h 10000"/>
                <a:gd name="connsiteX122" fmla="*/ 2634 w 10001"/>
                <a:gd name="connsiteY122" fmla="*/ 6269 h 10000"/>
                <a:gd name="connsiteX123" fmla="*/ 2713 w 10001"/>
                <a:gd name="connsiteY123" fmla="*/ 6326 h 10000"/>
                <a:gd name="connsiteX124" fmla="*/ 2540 w 10001"/>
                <a:gd name="connsiteY124" fmla="*/ 6415 h 10000"/>
                <a:gd name="connsiteX125" fmla="*/ 2587 w 10001"/>
                <a:gd name="connsiteY125" fmla="*/ 6537 h 10000"/>
                <a:gd name="connsiteX126" fmla="*/ 2399 w 10001"/>
                <a:gd name="connsiteY126" fmla="*/ 6642 h 10000"/>
                <a:gd name="connsiteX127" fmla="*/ 2493 w 10001"/>
                <a:gd name="connsiteY127" fmla="*/ 6788 h 10000"/>
                <a:gd name="connsiteX128" fmla="*/ 2681 w 10001"/>
                <a:gd name="connsiteY128" fmla="*/ 6821 h 10000"/>
                <a:gd name="connsiteX129" fmla="*/ 2603 w 10001"/>
                <a:gd name="connsiteY129" fmla="*/ 6983 h 10000"/>
                <a:gd name="connsiteX130" fmla="*/ 2822 w 10001"/>
                <a:gd name="connsiteY130" fmla="*/ 7015 h 10000"/>
                <a:gd name="connsiteX131" fmla="*/ 2932 w 10001"/>
                <a:gd name="connsiteY131" fmla="*/ 7145 h 10000"/>
                <a:gd name="connsiteX132" fmla="*/ 2807 w 10001"/>
                <a:gd name="connsiteY132" fmla="*/ 7202 h 10000"/>
                <a:gd name="connsiteX133" fmla="*/ 2822 w 10001"/>
                <a:gd name="connsiteY133" fmla="*/ 7299 h 10000"/>
                <a:gd name="connsiteX134" fmla="*/ 2932 w 10001"/>
                <a:gd name="connsiteY134" fmla="*/ 7388 h 10000"/>
                <a:gd name="connsiteX135" fmla="*/ 3293 w 10001"/>
                <a:gd name="connsiteY135" fmla="*/ 7486 h 10000"/>
                <a:gd name="connsiteX136" fmla="*/ 3167 w 10001"/>
                <a:gd name="connsiteY136" fmla="*/ 7575 h 10000"/>
                <a:gd name="connsiteX137" fmla="*/ 3293 w 10001"/>
                <a:gd name="connsiteY137" fmla="*/ 7737 h 10000"/>
                <a:gd name="connsiteX138" fmla="*/ 3418 w 10001"/>
                <a:gd name="connsiteY138" fmla="*/ 7737 h 10000"/>
                <a:gd name="connsiteX139" fmla="*/ 3512 w 10001"/>
                <a:gd name="connsiteY139" fmla="*/ 7810 h 10000"/>
                <a:gd name="connsiteX140" fmla="*/ 3794 w 10001"/>
                <a:gd name="connsiteY140" fmla="*/ 7908 h 10000"/>
                <a:gd name="connsiteX141" fmla="*/ 3794 w 10001"/>
                <a:gd name="connsiteY141" fmla="*/ 7997 h 10000"/>
                <a:gd name="connsiteX142" fmla="*/ 4076 w 10001"/>
                <a:gd name="connsiteY142" fmla="*/ 7972 h 10000"/>
                <a:gd name="connsiteX143" fmla="*/ 4578 w 10001"/>
                <a:gd name="connsiteY143" fmla="*/ 7972 h 10000"/>
                <a:gd name="connsiteX144" fmla="*/ 4719 w 10001"/>
                <a:gd name="connsiteY144" fmla="*/ 8167 h 10000"/>
                <a:gd name="connsiteX145" fmla="*/ 5142 w 10001"/>
                <a:gd name="connsiteY145" fmla="*/ 7972 h 10000"/>
                <a:gd name="connsiteX146" fmla="*/ 5722 w 10001"/>
                <a:gd name="connsiteY146" fmla="*/ 8078 h 10000"/>
                <a:gd name="connsiteX147" fmla="*/ 5847 w 10001"/>
                <a:gd name="connsiteY147" fmla="*/ 8289 h 10000"/>
                <a:gd name="connsiteX148" fmla="*/ 5847 w 10001"/>
                <a:gd name="connsiteY148" fmla="*/ 8467 h 10000"/>
                <a:gd name="connsiteX149" fmla="*/ 6114 w 10001"/>
                <a:gd name="connsiteY149" fmla="*/ 8483 h 10000"/>
                <a:gd name="connsiteX150" fmla="*/ 6224 w 10001"/>
                <a:gd name="connsiteY150" fmla="*/ 8581 h 10000"/>
                <a:gd name="connsiteX151" fmla="*/ 6537 w 10001"/>
                <a:gd name="connsiteY151" fmla="*/ 8710 h 10000"/>
                <a:gd name="connsiteX152" fmla="*/ 6913 w 10001"/>
                <a:gd name="connsiteY152" fmla="*/ 8759 h 10000"/>
                <a:gd name="connsiteX153" fmla="*/ 6929 w 10001"/>
                <a:gd name="connsiteY153" fmla="*/ 8889 h 10000"/>
                <a:gd name="connsiteX154" fmla="*/ 7368 w 10001"/>
                <a:gd name="connsiteY154" fmla="*/ 8856 h 10000"/>
                <a:gd name="connsiteX155" fmla="*/ 7697 w 10001"/>
                <a:gd name="connsiteY155" fmla="*/ 9027 h 10000"/>
                <a:gd name="connsiteX156" fmla="*/ 7587 w 10001"/>
                <a:gd name="connsiteY156" fmla="*/ 9238 h 10000"/>
                <a:gd name="connsiteX157" fmla="*/ 6913 w 10001"/>
                <a:gd name="connsiteY157" fmla="*/ 9238 h 10000"/>
                <a:gd name="connsiteX158" fmla="*/ 6804 w 10001"/>
                <a:gd name="connsiteY158" fmla="*/ 9343 h 10000"/>
                <a:gd name="connsiteX159" fmla="*/ 7133 w 10001"/>
                <a:gd name="connsiteY159" fmla="*/ 9424 h 10000"/>
                <a:gd name="connsiteX160" fmla="*/ 7180 w 10001"/>
                <a:gd name="connsiteY160" fmla="*/ 9594 h 10000"/>
                <a:gd name="connsiteX161" fmla="*/ 7462 w 10001"/>
                <a:gd name="connsiteY161" fmla="*/ 9805 h 10000"/>
                <a:gd name="connsiteX162" fmla="*/ 7838 w 10001"/>
                <a:gd name="connsiteY162" fmla="*/ 9813 h 10000"/>
                <a:gd name="connsiteX163" fmla="*/ 7854 w 10001"/>
                <a:gd name="connsiteY163" fmla="*/ 9659 h 10000"/>
                <a:gd name="connsiteX164" fmla="*/ 8465 w 10001"/>
                <a:gd name="connsiteY164" fmla="*/ 9521 h 10000"/>
                <a:gd name="connsiteX165" fmla="*/ 9061 w 10001"/>
                <a:gd name="connsiteY165" fmla="*/ 9521 h 10000"/>
                <a:gd name="connsiteX166" fmla="*/ 9546 w 10001"/>
                <a:gd name="connsiteY166" fmla="*/ 9659 h 10000"/>
                <a:gd name="connsiteX167" fmla="*/ 9280 w 10001"/>
                <a:gd name="connsiteY167" fmla="*/ 9789 h 10000"/>
                <a:gd name="connsiteX168" fmla="*/ 9625 w 10001"/>
                <a:gd name="connsiteY168" fmla="*/ 10000 h 10000"/>
                <a:gd name="connsiteX169" fmla="*/ 10001 w 10001"/>
                <a:gd name="connsiteY169" fmla="*/ 9951 h 10000"/>
                <a:gd name="connsiteX170" fmla="*/ 10001 w 10001"/>
                <a:gd name="connsiteY170" fmla="*/ 0 h 10000"/>
                <a:gd name="connsiteX171" fmla="*/ 8434 w 10001"/>
                <a:gd name="connsiteY171" fmla="*/ 0 h 10000"/>
                <a:gd name="connsiteX0" fmla="*/ 8058 w 9625"/>
                <a:gd name="connsiteY0" fmla="*/ 0 h 10000"/>
                <a:gd name="connsiteX1" fmla="*/ 8058 w 9625"/>
                <a:gd name="connsiteY1" fmla="*/ 97 h 10000"/>
                <a:gd name="connsiteX2" fmla="*/ 7728 w 9625"/>
                <a:gd name="connsiteY2" fmla="*/ 357 h 10000"/>
                <a:gd name="connsiteX3" fmla="*/ 8058 w 9625"/>
                <a:gd name="connsiteY3" fmla="*/ 697 h 10000"/>
                <a:gd name="connsiteX4" fmla="*/ 7446 w 9625"/>
                <a:gd name="connsiteY4" fmla="*/ 981 h 10000"/>
                <a:gd name="connsiteX5" fmla="*/ 7352 w 9625"/>
                <a:gd name="connsiteY5" fmla="*/ 803 h 10000"/>
                <a:gd name="connsiteX6" fmla="*/ 6819 w 9625"/>
                <a:gd name="connsiteY6" fmla="*/ 803 h 10000"/>
                <a:gd name="connsiteX7" fmla="*/ 6663 w 9625"/>
                <a:gd name="connsiteY7" fmla="*/ 584 h 10000"/>
                <a:gd name="connsiteX8" fmla="*/ 7117 w 9625"/>
                <a:gd name="connsiteY8" fmla="*/ 397 h 10000"/>
                <a:gd name="connsiteX9" fmla="*/ 6678 w 9625"/>
                <a:gd name="connsiteY9" fmla="*/ 276 h 10000"/>
                <a:gd name="connsiteX10" fmla="*/ 6506 w 9625"/>
                <a:gd name="connsiteY10" fmla="*/ 187 h 10000"/>
                <a:gd name="connsiteX11" fmla="*/ 6192 w 9625"/>
                <a:gd name="connsiteY11" fmla="*/ 187 h 10000"/>
                <a:gd name="connsiteX12" fmla="*/ 5895 w 9625"/>
                <a:gd name="connsiteY12" fmla="*/ 341 h 10000"/>
                <a:gd name="connsiteX13" fmla="*/ 5424 w 9625"/>
                <a:gd name="connsiteY13" fmla="*/ 397 h 10000"/>
                <a:gd name="connsiteX14" fmla="*/ 5989 w 9625"/>
                <a:gd name="connsiteY14" fmla="*/ 479 h 10000"/>
                <a:gd name="connsiteX15" fmla="*/ 6208 w 9625"/>
                <a:gd name="connsiteY15" fmla="*/ 738 h 10000"/>
                <a:gd name="connsiteX16" fmla="*/ 6302 w 9625"/>
                <a:gd name="connsiteY16" fmla="*/ 981 h 10000"/>
                <a:gd name="connsiteX17" fmla="*/ 6459 w 9625"/>
                <a:gd name="connsiteY17" fmla="*/ 981 h 10000"/>
                <a:gd name="connsiteX18" fmla="*/ 6866 w 9625"/>
                <a:gd name="connsiteY18" fmla="*/ 981 h 10000"/>
                <a:gd name="connsiteX19" fmla="*/ 6898 w 9625"/>
                <a:gd name="connsiteY19" fmla="*/ 1103 h 10000"/>
                <a:gd name="connsiteX20" fmla="*/ 7101 w 9625"/>
                <a:gd name="connsiteY20" fmla="*/ 1160 h 10000"/>
                <a:gd name="connsiteX21" fmla="*/ 7117 w 9625"/>
                <a:gd name="connsiteY21" fmla="*/ 1371 h 10000"/>
                <a:gd name="connsiteX22" fmla="*/ 7274 w 9625"/>
                <a:gd name="connsiteY22" fmla="*/ 1590 h 10000"/>
                <a:gd name="connsiteX23" fmla="*/ 6804 w 9625"/>
                <a:gd name="connsiteY23" fmla="*/ 1444 h 10000"/>
                <a:gd name="connsiteX24" fmla="*/ 6475 w 9625"/>
                <a:gd name="connsiteY24" fmla="*/ 1484 h 10000"/>
                <a:gd name="connsiteX25" fmla="*/ 6192 w 9625"/>
                <a:gd name="connsiteY25" fmla="*/ 1484 h 10000"/>
                <a:gd name="connsiteX26" fmla="*/ 5989 w 9625"/>
                <a:gd name="connsiteY26" fmla="*/ 1825 h 10000"/>
                <a:gd name="connsiteX27" fmla="*/ 5863 w 9625"/>
                <a:gd name="connsiteY27" fmla="*/ 2028 h 10000"/>
                <a:gd name="connsiteX28" fmla="*/ 5801 w 9625"/>
                <a:gd name="connsiteY28" fmla="*/ 2271 h 10000"/>
                <a:gd name="connsiteX29" fmla="*/ 6192 w 9625"/>
                <a:gd name="connsiteY29" fmla="*/ 2401 h 10000"/>
                <a:gd name="connsiteX30" fmla="*/ 6569 w 9625"/>
                <a:gd name="connsiteY30" fmla="*/ 2595 h 10000"/>
                <a:gd name="connsiteX31" fmla="*/ 6161 w 9625"/>
                <a:gd name="connsiteY31" fmla="*/ 2798 h 10000"/>
                <a:gd name="connsiteX32" fmla="*/ 5973 w 9625"/>
                <a:gd name="connsiteY32" fmla="*/ 2701 h 10000"/>
                <a:gd name="connsiteX33" fmla="*/ 5738 w 9625"/>
                <a:gd name="connsiteY33" fmla="*/ 2660 h 10000"/>
                <a:gd name="connsiteX34" fmla="*/ 5252 w 9625"/>
                <a:gd name="connsiteY34" fmla="*/ 2749 h 10000"/>
                <a:gd name="connsiteX35" fmla="*/ 4766 w 9625"/>
                <a:gd name="connsiteY35" fmla="*/ 2595 h 10000"/>
                <a:gd name="connsiteX36" fmla="*/ 4515 w 9625"/>
                <a:gd name="connsiteY36" fmla="*/ 2603 h 10000"/>
                <a:gd name="connsiteX37" fmla="*/ 4656 w 9625"/>
                <a:gd name="connsiteY37" fmla="*/ 2733 h 10000"/>
                <a:gd name="connsiteX38" fmla="*/ 4609 w 9625"/>
                <a:gd name="connsiteY38" fmla="*/ 2822 h 10000"/>
                <a:gd name="connsiteX39" fmla="*/ 5111 w 9625"/>
                <a:gd name="connsiteY39" fmla="*/ 3025 h 10000"/>
                <a:gd name="connsiteX40" fmla="*/ 5377 w 9625"/>
                <a:gd name="connsiteY40" fmla="*/ 2928 h 10000"/>
                <a:gd name="connsiteX41" fmla="*/ 5738 w 9625"/>
                <a:gd name="connsiteY41" fmla="*/ 3114 h 10000"/>
                <a:gd name="connsiteX42" fmla="*/ 5534 w 9625"/>
                <a:gd name="connsiteY42" fmla="*/ 3317 h 10000"/>
                <a:gd name="connsiteX43" fmla="*/ 5236 w 9625"/>
                <a:gd name="connsiteY43" fmla="*/ 3317 h 10000"/>
                <a:gd name="connsiteX44" fmla="*/ 4672 w 9625"/>
                <a:gd name="connsiteY44" fmla="*/ 3268 h 10000"/>
                <a:gd name="connsiteX45" fmla="*/ 4625 w 9625"/>
                <a:gd name="connsiteY45" fmla="*/ 3139 h 10000"/>
                <a:gd name="connsiteX46" fmla="*/ 4327 w 9625"/>
                <a:gd name="connsiteY46" fmla="*/ 3147 h 10000"/>
                <a:gd name="connsiteX47" fmla="*/ 4155 w 9625"/>
                <a:gd name="connsiteY47" fmla="*/ 3268 h 10000"/>
                <a:gd name="connsiteX48" fmla="*/ 3857 w 9625"/>
                <a:gd name="connsiteY48" fmla="*/ 3187 h 10000"/>
                <a:gd name="connsiteX49" fmla="*/ 3920 w 9625"/>
                <a:gd name="connsiteY49" fmla="*/ 3017 h 10000"/>
                <a:gd name="connsiteX50" fmla="*/ 3496 w 9625"/>
                <a:gd name="connsiteY50" fmla="*/ 2863 h 10000"/>
                <a:gd name="connsiteX51" fmla="*/ 3418 w 9625"/>
                <a:gd name="connsiteY51" fmla="*/ 2863 h 10000"/>
                <a:gd name="connsiteX52" fmla="*/ 3261 w 9625"/>
                <a:gd name="connsiteY52" fmla="*/ 2741 h 10000"/>
                <a:gd name="connsiteX53" fmla="*/ 3418 w 9625"/>
                <a:gd name="connsiteY53" fmla="*/ 2636 h 10000"/>
                <a:gd name="connsiteX54" fmla="*/ 3152 w 9625"/>
                <a:gd name="connsiteY54" fmla="*/ 2433 h 10000"/>
                <a:gd name="connsiteX55" fmla="*/ 2822 w 9625"/>
                <a:gd name="connsiteY55" fmla="*/ 2384 h 10000"/>
                <a:gd name="connsiteX56" fmla="*/ 2556 w 9625"/>
                <a:gd name="connsiteY56" fmla="*/ 2336 h 10000"/>
                <a:gd name="connsiteX57" fmla="*/ 2446 w 9625"/>
                <a:gd name="connsiteY57" fmla="*/ 2247 h 10000"/>
                <a:gd name="connsiteX58" fmla="*/ 1866 w 9625"/>
                <a:gd name="connsiteY58" fmla="*/ 2190 h 10000"/>
                <a:gd name="connsiteX59" fmla="*/ 1725 w 9625"/>
                <a:gd name="connsiteY59" fmla="*/ 2117 h 10000"/>
                <a:gd name="connsiteX60" fmla="*/ 1475 w 9625"/>
                <a:gd name="connsiteY60" fmla="*/ 2060 h 10000"/>
                <a:gd name="connsiteX61" fmla="*/ 1631 w 9625"/>
                <a:gd name="connsiteY61" fmla="*/ 1979 h 10000"/>
                <a:gd name="connsiteX62" fmla="*/ 1945 w 9625"/>
                <a:gd name="connsiteY62" fmla="*/ 2003 h 10000"/>
                <a:gd name="connsiteX63" fmla="*/ 2101 w 9625"/>
                <a:gd name="connsiteY63" fmla="*/ 2117 h 10000"/>
                <a:gd name="connsiteX64" fmla="*/ 2368 w 9625"/>
                <a:gd name="connsiteY64" fmla="*/ 2117 h 10000"/>
                <a:gd name="connsiteX65" fmla="*/ 2838 w 9625"/>
                <a:gd name="connsiteY65" fmla="*/ 2117 h 10000"/>
                <a:gd name="connsiteX66" fmla="*/ 3011 w 9625"/>
                <a:gd name="connsiteY66" fmla="*/ 2068 h 10000"/>
                <a:gd name="connsiteX67" fmla="*/ 3418 w 9625"/>
                <a:gd name="connsiteY67" fmla="*/ 2117 h 10000"/>
                <a:gd name="connsiteX68" fmla="*/ 3951 w 9625"/>
                <a:gd name="connsiteY68" fmla="*/ 2117 h 10000"/>
                <a:gd name="connsiteX69" fmla="*/ 4735 w 9625"/>
                <a:gd name="connsiteY69" fmla="*/ 2084 h 10000"/>
                <a:gd name="connsiteX70" fmla="*/ 5534 w 9625"/>
                <a:gd name="connsiteY70" fmla="*/ 1784 h 10000"/>
                <a:gd name="connsiteX71" fmla="*/ 5534 w 9625"/>
                <a:gd name="connsiteY71" fmla="*/ 1387 h 10000"/>
                <a:gd name="connsiteX72" fmla="*/ 5221 w 9625"/>
                <a:gd name="connsiteY72" fmla="*/ 1176 h 10000"/>
                <a:gd name="connsiteX73" fmla="*/ 4876 w 9625"/>
                <a:gd name="connsiteY73" fmla="*/ 1030 h 10000"/>
                <a:gd name="connsiteX74" fmla="*/ 4327 w 9625"/>
                <a:gd name="connsiteY74" fmla="*/ 981 h 10000"/>
                <a:gd name="connsiteX75" fmla="*/ 3935 w 9625"/>
                <a:gd name="connsiteY75" fmla="*/ 981 h 10000"/>
                <a:gd name="connsiteX76" fmla="*/ 3543 w 9625"/>
                <a:gd name="connsiteY76" fmla="*/ 981 h 10000"/>
                <a:gd name="connsiteX77" fmla="*/ 3026 w 9625"/>
                <a:gd name="connsiteY77" fmla="*/ 803 h 10000"/>
                <a:gd name="connsiteX78" fmla="*/ 2368 w 9625"/>
                <a:gd name="connsiteY78" fmla="*/ 738 h 10000"/>
                <a:gd name="connsiteX79" fmla="*/ 1929 w 9625"/>
                <a:gd name="connsiteY79" fmla="*/ 762 h 10000"/>
                <a:gd name="connsiteX80" fmla="*/ 1365 w 9625"/>
                <a:gd name="connsiteY80" fmla="*/ 787 h 10000"/>
                <a:gd name="connsiteX81" fmla="*/ 1255 w 9625"/>
                <a:gd name="connsiteY81" fmla="*/ 860 h 10000"/>
                <a:gd name="connsiteX82" fmla="*/ 1149 w 9625"/>
                <a:gd name="connsiteY82" fmla="*/ 709 h 10000"/>
                <a:gd name="connsiteX83" fmla="*/ 920 w 9625"/>
                <a:gd name="connsiteY83" fmla="*/ 784 h 10000"/>
                <a:gd name="connsiteX84" fmla="*/ 680 w 9625"/>
                <a:gd name="connsiteY84" fmla="*/ 706 h 10000"/>
                <a:gd name="connsiteX85" fmla="*/ 563 w 9625"/>
                <a:gd name="connsiteY85" fmla="*/ 910 h 10000"/>
                <a:gd name="connsiteX86" fmla="*/ 196 w 9625"/>
                <a:gd name="connsiteY86" fmla="*/ 1154 h 10000"/>
                <a:gd name="connsiteX87" fmla="*/ 144 w 9625"/>
                <a:gd name="connsiteY87" fmla="*/ 1389 h 10000"/>
                <a:gd name="connsiteX88" fmla="*/ 188 w 9625"/>
                <a:gd name="connsiteY88" fmla="*/ 1540 h 10000"/>
                <a:gd name="connsiteX89" fmla="*/ 86 w 9625"/>
                <a:gd name="connsiteY89" fmla="*/ 1628 h 10000"/>
                <a:gd name="connsiteX90" fmla="*/ 1 w 9625"/>
                <a:gd name="connsiteY90" fmla="*/ 1727 h 10000"/>
                <a:gd name="connsiteX91" fmla="*/ 142 w 9625"/>
                <a:gd name="connsiteY91" fmla="*/ 1800 h 10000"/>
                <a:gd name="connsiteX92" fmla="*/ 424 w 9625"/>
                <a:gd name="connsiteY92" fmla="*/ 1833 h 10000"/>
                <a:gd name="connsiteX93" fmla="*/ 518 w 9625"/>
                <a:gd name="connsiteY93" fmla="*/ 1971 h 10000"/>
                <a:gd name="connsiteX94" fmla="*/ 315 w 9625"/>
                <a:gd name="connsiteY94" fmla="*/ 2376 h 10000"/>
                <a:gd name="connsiteX95" fmla="*/ 518 w 9625"/>
                <a:gd name="connsiteY95" fmla="*/ 2457 h 10000"/>
                <a:gd name="connsiteX96" fmla="*/ 1302 w 9625"/>
                <a:gd name="connsiteY96" fmla="*/ 2879 h 10000"/>
                <a:gd name="connsiteX97" fmla="*/ 1083 w 9625"/>
                <a:gd name="connsiteY97" fmla="*/ 2976 h 10000"/>
                <a:gd name="connsiteX98" fmla="*/ 1083 w 9625"/>
                <a:gd name="connsiteY98" fmla="*/ 3179 h 10000"/>
                <a:gd name="connsiteX99" fmla="*/ 1302 w 9625"/>
                <a:gd name="connsiteY99" fmla="*/ 3220 h 10000"/>
                <a:gd name="connsiteX100" fmla="*/ 1239 w 9625"/>
                <a:gd name="connsiteY100" fmla="*/ 3333 h 10000"/>
                <a:gd name="connsiteX101" fmla="*/ 1412 w 9625"/>
                <a:gd name="connsiteY101" fmla="*/ 3398 h 10000"/>
                <a:gd name="connsiteX102" fmla="*/ 1584 w 9625"/>
                <a:gd name="connsiteY102" fmla="*/ 3366 h 10000"/>
                <a:gd name="connsiteX103" fmla="*/ 1616 w 9625"/>
                <a:gd name="connsiteY103" fmla="*/ 3528 h 10000"/>
                <a:gd name="connsiteX104" fmla="*/ 1757 w 9625"/>
                <a:gd name="connsiteY104" fmla="*/ 3609 h 10000"/>
                <a:gd name="connsiteX105" fmla="*/ 1945 w 9625"/>
                <a:gd name="connsiteY105" fmla="*/ 3577 h 10000"/>
                <a:gd name="connsiteX106" fmla="*/ 2086 w 9625"/>
                <a:gd name="connsiteY106" fmla="*/ 3715 h 10000"/>
                <a:gd name="connsiteX107" fmla="*/ 1960 w 9625"/>
                <a:gd name="connsiteY107" fmla="*/ 3950 h 10000"/>
                <a:gd name="connsiteX108" fmla="*/ 2901 w 9625"/>
                <a:gd name="connsiteY108" fmla="*/ 4193 h 10000"/>
                <a:gd name="connsiteX109" fmla="*/ 2917 w 9625"/>
                <a:gd name="connsiteY109" fmla="*/ 4599 h 10000"/>
                <a:gd name="connsiteX110" fmla="*/ 2431 w 9625"/>
                <a:gd name="connsiteY110" fmla="*/ 5239 h 10000"/>
                <a:gd name="connsiteX111" fmla="*/ 1913 w 9625"/>
                <a:gd name="connsiteY111" fmla="*/ 5677 h 10000"/>
                <a:gd name="connsiteX112" fmla="*/ 2180 w 9625"/>
                <a:gd name="connsiteY112" fmla="*/ 5612 h 10000"/>
                <a:gd name="connsiteX113" fmla="*/ 2243 w 9625"/>
                <a:gd name="connsiteY113" fmla="*/ 5766 h 10000"/>
                <a:gd name="connsiteX114" fmla="*/ 2556 w 9625"/>
                <a:gd name="connsiteY114" fmla="*/ 5839 h 10000"/>
                <a:gd name="connsiteX115" fmla="*/ 2995 w 9625"/>
                <a:gd name="connsiteY115" fmla="*/ 5775 h 10000"/>
                <a:gd name="connsiteX116" fmla="*/ 3418 w 9625"/>
                <a:gd name="connsiteY116" fmla="*/ 5864 h 10000"/>
                <a:gd name="connsiteX117" fmla="*/ 3418 w 9625"/>
                <a:gd name="connsiteY117" fmla="*/ 5994 h 10000"/>
                <a:gd name="connsiteX118" fmla="*/ 2681 w 9625"/>
                <a:gd name="connsiteY118" fmla="*/ 5969 h 10000"/>
                <a:gd name="connsiteX119" fmla="*/ 2556 w 9625"/>
                <a:gd name="connsiteY119" fmla="*/ 6091 h 10000"/>
                <a:gd name="connsiteX120" fmla="*/ 2180 w 9625"/>
                <a:gd name="connsiteY120" fmla="*/ 6172 h 10000"/>
                <a:gd name="connsiteX121" fmla="*/ 2258 w 9625"/>
                <a:gd name="connsiteY121" fmla="*/ 6269 h 10000"/>
                <a:gd name="connsiteX122" fmla="*/ 2337 w 9625"/>
                <a:gd name="connsiteY122" fmla="*/ 6326 h 10000"/>
                <a:gd name="connsiteX123" fmla="*/ 2164 w 9625"/>
                <a:gd name="connsiteY123" fmla="*/ 6415 h 10000"/>
                <a:gd name="connsiteX124" fmla="*/ 2211 w 9625"/>
                <a:gd name="connsiteY124" fmla="*/ 6537 h 10000"/>
                <a:gd name="connsiteX125" fmla="*/ 2023 w 9625"/>
                <a:gd name="connsiteY125" fmla="*/ 6642 h 10000"/>
                <a:gd name="connsiteX126" fmla="*/ 2117 w 9625"/>
                <a:gd name="connsiteY126" fmla="*/ 6788 h 10000"/>
                <a:gd name="connsiteX127" fmla="*/ 2305 w 9625"/>
                <a:gd name="connsiteY127" fmla="*/ 6821 h 10000"/>
                <a:gd name="connsiteX128" fmla="*/ 2227 w 9625"/>
                <a:gd name="connsiteY128" fmla="*/ 6983 h 10000"/>
                <a:gd name="connsiteX129" fmla="*/ 2446 w 9625"/>
                <a:gd name="connsiteY129" fmla="*/ 7015 h 10000"/>
                <a:gd name="connsiteX130" fmla="*/ 2556 w 9625"/>
                <a:gd name="connsiteY130" fmla="*/ 7145 h 10000"/>
                <a:gd name="connsiteX131" fmla="*/ 2431 w 9625"/>
                <a:gd name="connsiteY131" fmla="*/ 7202 h 10000"/>
                <a:gd name="connsiteX132" fmla="*/ 2446 w 9625"/>
                <a:gd name="connsiteY132" fmla="*/ 7299 h 10000"/>
                <a:gd name="connsiteX133" fmla="*/ 2556 w 9625"/>
                <a:gd name="connsiteY133" fmla="*/ 7388 h 10000"/>
                <a:gd name="connsiteX134" fmla="*/ 2917 w 9625"/>
                <a:gd name="connsiteY134" fmla="*/ 7486 h 10000"/>
                <a:gd name="connsiteX135" fmla="*/ 2791 w 9625"/>
                <a:gd name="connsiteY135" fmla="*/ 7575 h 10000"/>
                <a:gd name="connsiteX136" fmla="*/ 2917 w 9625"/>
                <a:gd name="connsiteY136" fmla="*/ 7737 h 10000"/>
                <a:gd name="connsiteX137" fmla="*/ 3042 w 9625"/>
                <a:gd name="connsiteY137" fmla="*/ 7737 h 10000"/>
                <a:gd name="connsiteX138" fmla="*/ 3136 w 9625"/>
                <a:gd name="connsiteY138" fmla="*/ 7810 h 10000"/>
                <a:gd name="connsiteX139" fmla="*/ 3418 w 9625"/>
                <a:gd name="connsiteY139" fmla="*/ 7908 h 10000"/>
                <a:gd name="connsiteX140" fmla="*/ 3418 w 9625"/>
                <a:gd name="connsiteY140" fmla="*/ 7997 h 10000"/>
                <a:gd name="connsiteX141" fmla="*/ 3700 w 9625"/>
                <a:gd name="connsiteY141" fmla="*/ 7972 h 10000"/>
                <a:gd name="connsiteX142" fmla="*/ 4202 w 9625"/>
                <a:gd name="connsiteY142" fmla="*/ 7972 h 10000"/>
                <a:gd name="connsiteX143" fmla="*/ 4343 w 9625"/>
                <a:gd name="connsiteY143" fmla="*/ 8167 h 10000"/>
                <a:gd name="connsiteX144" fmla="*/ 4766 w 9625"/>
                <a:gd name="connsiteY144" fmla="*/ 7972 h 10000"/>
                <a:gd name="connsiteX145" fmla="*/ 5346 w 9625"/>
                <a:gd name="connsiteY145" fmla="*/ 8078 h 10000"/>
                <a:gd name="connsiteX146" fmla="*/ 5471 w 9625"/>
                <a:gd name="connsiteY146" fmla="*/ 8289 h 10000"/>
                <a:gd name="connsiteX147" fmla="*/ 5471 w 9625"/>
                <a:gd name="connsiteY147" fmla="*/ 8467 h 10000"/>
                <a:gd name="connsiteX148" fmla="*/ 5738 w 9625"/>
                <a:gd name="connsiteY148" fmla="*/ 8483 h 10000"/>
                <a:gd name="connsiteX149" fmla="*/ 5848 w 9625"/>
                <a:gd name="connsiteY149" fmla="*/ 8581 h 10000"/>
                <a:gd name="connsiteX150" fmla="*/ 6161 w 9625"/>
                <a:gd name="connsiteY150" fmla="*/ 8710 h 10000"/>
                <a:gd name="connsiteX151" fmla="*/ 6537 w 9625"/>
                <a:gd name="connsiteY151" fmla="*/ 8759 h 10000"/>
                <a:gd name="connsiteX152" fmla="*/ 6553 w 9625"/>
                <a:gd name="connsiteY152" fmla="*/ 8889 h 10000"/>
                <a:gd name="connsiteX153" fmla="*/ 6992 w 9625"/>
                <a:gd name="connsiteY153" fmla="*/ 8856 h 10000"/>
                <a:gd name="connsiteX154" fmla="*/ 7321 w 9625"/>
                <a:gd name="connsiteY154" fmla="*/ 9027 h 10000"/>
                <a:gd name="connsiteX155" fmla="*/ 7211 w 9625"/>
                <a:gd name="connsiteY155" fmla="*/ 9238 h 10000"/>
                <a:gd name="connsiteX156" fmla="*/ 6537 w 9625"/>
                <a:gd name="connsiteY156" fmla="*/ 9238 h 10000"/>
                <a:gd name="connsiteX157" fmla="*/ 6428 w 9625"/>
                <a:gd name="connsiteY157" fmla="*/ 9343 h 10000"/>
                <a:gd name="connsiteX158" fmla="*/ 6757 w 9625"/>
                <a:gd name="connsiteY158" fmla="*/ 9424 h 10000"/>
                <a:gd name="connsiteX159" fmla="*/ 6804 w 9625"/>
                <a:gd name="connsiteY159" fmla="*/ 9594 h 10000"/>
                <a:gd name="connsiteX160" fmla="*/ 7086 w 9625"/>
                <a:gd name="connsiteY160" fmla="*/ 9805 h 10000"/>
                <a:gd name="connsiteX161" fmla="*/ 7462 w 9625"/>
                <a:gd name="connsiteY161" fmla="*/ 9813 h 10000"/>
                <a:gd name="connsiteX162" fmla="*/ 7478 w 9625"/>
                <a:gd name="connsiteY162" fmla="*/ 9659 h 10000"/>
                <a:gd name="connsiteX163" fmla="*/ 8089 w 9625"/>
                <a:gd name="connsiteY163" fmla="*/ 9521 h 10000"/>
                <a:gd name="connsiteX164" fmla="*/ 8685 w 9625"/>
                <a:gd name="connsiteY164" fmla="*/ 9521 h 10000"/>
                <a:gd name="connsiteX165" fmla="*/ 9170 w 9625"/>
                <a:gd name="connsiteY165" fmla="*/ 9659 h 10000"/>
                <a:gd name="connsiteX166" fmla="*/ 8904 w 9625"/>
                <a:gd name="connsiteY166" fmla="*/ 9789 h 10000"/>
                <a:gd name="connsiteX167" fmla="*/ 9249 w 9625"/>
                <a:gd name="connsiteY167" fmla="*/ 10000 h 10000"/>
                <a:gd name="connsiteX168" fmla="*/ 9625 w 9625"/>
                <a:gd name="connsiteY168" fmla="*/ 9951 h 10000"/>
                <a:gd name="connsiteX169" fmla="*/ 9625 w 9625"/>
                <a:gd name="connsiteY169" fmla="*/ 0 h 10000"/>
                <a:gd name="connsiteX170" fmla="*/ 8058 w 9625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99 w 10000"/>
                <a:gd name="connsiteY83" fmla="*/ 770 h 10000"/>
                <a:gd name="connsiteX84" fmla="*/ 706 w 10000"/>
                <a:gd name="connsiteY84" fmla="*/ 706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99 w 10000"/>
                <a:gd name="connsiteY83" fmla="*/ 770 h 10000"/>
                <a:gd name="connsiteX84" fmla="*/ 706 w 10000"/>
                <a:gd name="connsiteY84" fmla="*/ 692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56 w 10000"/>
                <a:gd name="connsiteY83" fmla="*/ 770 h 10000"/>
                <a:gd name="connsiteX84" fmla="*/ 706 w 10000"/>
                <a:gd name="connsiteY84" fmla="*/ 692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56 w 10000"/>
                <a:gd name="connsiteY83" fmla="*/ 770 h 10000"/>
                <a:gd name="connsiteX84" fmla="*/ 720 w 10000"/>
                <a:gd name="connsiteY84" fmla="*/ 678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  <a:gd name="connsiteX0" fmla="*/ 8372 w 10000"/>
                <a:gd name="connsiteY0" fmla="*/ 0 h 10000"/>
                <a:gd name="connsiteX1" fmla="*/ 8372 w 10000"/>
                <a:gd name="connsiteY1" fmla="*/ 97 h 10000"/>
                <a:gd name="connsiteX2" fmla="*/ 8029 w 10000"/>
                <a:gd name="connsiteY2" fmla="*/ 357 h 10000"/>
                <a:gd name="connsiteX3" fmla="*/ 8372 w 10000"/>
                <a:gd name="connsiteY3" fmla="*/ 697 h 10000"/>
                <a:gd name="connsiteX4" fmla="*/ 7736 w 10000"/>
                <a:gd name="connsiteY4" fmla="*/ 981 h 10000"/>
                <a:gd name="connsiteX5" fmla="*/ 7638 w 10000"/>
                <a:gd name="connsiteY5" fmla="*/ 803 h 10000"/>
                <a:gd name="connsiteX6" fmla="*/ 7085 w 10000"/>
                <a:gd name="connsiteY6" fmla="*/ 803 h 10000"/>
                <a:gd name="connsiteX7" fmla="*/ 6923 w 10000"/>
                <a:gd name="connsiteY7" fmla="*/ 584 h 10000"/>
                <a:gd name="connsiteX8" fmla="*/ 7394 w 10000"/>
                <a:gd name="connsiteY8" fmla="*/ 397 h 10000"/>
                <a:gd name="connsiteX9" fmla="*/ 6938 w 10000"/>
                <a:gd name="connsiteY9" fmla="*/ 276 h 10000"/>
                <a:gd name="connsiteX10" fmla="*/ 6759 w 10000"/>
                <a:gd name="connsiteY10" fmla="*/ 187 h 10000"/>
                <a:gd name="connsiteX11" fmla="*/ 6433 w 10000"/>
                <a:gd name="connsiteY11" fmla="*/ 187 h 10000"/>
                <a:gd name="connsiteX12" fmla="*/ 6125 w 10000"/>
                <a:gd name="connsiteY12" fmla="*/ 341 h 10000"/>
                <a:gd name="connsiteX13" fmla="*/ 5635 w 10000"/>
                <a:gd name="connsiteY13" fmla="*/ 397 h 10000"/>
                <a:gd name="connsiteX14" fmla="*/ 6222 w 10000"/>
                <a:gd name="connsiteY14" fmla="*/ 479 h 10000"/>
                <a:gd name="connsiteX15" fmla="*/ 6450 w 10000"/>
                <a:gd name="connsiteY15" fmla="*/ 738 h 10000"/>
                <a:gd name="connsiteX16" fmla="*/ 6548 w 10000"/>
                <a:gd name="connsiteY16" fmla="*/ 981 h 10000"/>
                <a:gd name="connsiteX17" fmla="*/ 6711 w 10000"/>
                <a:gd name="connsiteY17" fmla="*/ 981 h 10000"/>
                <a:gd name="connsiteX18" fmla="*/ 7134 w 10000"/>
                <a:gd name="connsiteY18" fmla="*/ 981 h 10000"/>
                <a:gd name="connsiteX19" fmla="*/ 7167 w 10000"/>
                <a:gd name="connsiteY19" fmla="*/ 1103 h 10000"/>
                <a:gd name="connsiteX20" fmla="*/ 7378 w 10000"/>
                <a:gd name="connsiteY20" fmla="*/ 1160 h 10000"/>
                <a:gd name="connsiteX21" fmla="*/ 7394 w 10000"/>
                <a:gd name="connsiteY21" fmla="*/ 1371 h 10000"/>
                <a:gd name="connsiteX22" fmla="*/ 7557 w 10000"/>
                <a:gd name="connsiteY22" fmla="*/ 1590 h 10000"/>
                <a:gd name="connsiteX23" fmla="*/ 7069 w 10000"/>
                <a:gd name="connsiteY23" fmla="*/ 1444 h 10000"/>
                <a:gd name="connsiteX24" fmla="*/ 6727 w 10000"/>
                <a:gd name="connsiteY24" fmla="*/ 1484 h 10000"/>
                <a:gd name="connsiteX25" fmla="*/ 6433 w 10000"/>
                <a:gd name="connsiteY25" fmla="*/ 1484 h 10000"/>
                <a:gd name="connsiteX26" fmla="*/ 6222 w 10000"/>
                <a:gd name="connsiteY26" fmla="*/ 1825 h 10000"/>
                <a:gd name="connsiteX27" fmla="*/ 6091 w 10000"/>
                <a:gd name="connsiteY27" fmla="*/ 2028 h 10000"/>
                <a:gd name="connsiteX28" fmla="*/ 6027 w 10000"/>
                <a:gd name="connsiteY28" fmla="*/ 2271 h 10000"/>
                <a:gd name="connsiteX29" fmla="*/ 6433 w 10000"/>
                <a:gd name="connsiteY29" fmla="*/ 2401 h 10000"/>
                <a:gd name="connsiteX30" fmla="*/ 6825 w 10000"/>
                <a:gd name="connsiteY30" fmla="*/ 2595 h 10000"/>
                <a:gd name="connsiteX31" fmla="*/ 6401 w 10000"/>
                <a:gd name="connsiteY31" fmla="*/ 2798 h 10000"/>
                <a:gd name="connsiteX32" fmla="*/ 6206 w 10000"/>
                <a:gd name="connsiteY32" fmla="*/ 2701 h 10000"/>
                <a:gd name="connsiteX33" fmla="*/ 5962 w 10000"/>
                <a:gd name="connsiteY33" fmla="*/ 2660 h 10000"/>
                <a:gd name="connsiteX34" fmla="*/ 5457 w 10000"/>
                <a:gd name="connsiteY34" fmla="*/ 2749 h 10000"/>
                <a:gd name="connsiteX35" fmla="*/ 4952 w 10000"/>
                <a:gd name="connsiteY35" fmla="*/ 2595 h 10000"/>
                <a:gd name="connsiteX36" fmla="*/ 4691 w 10000"/>
                <a:gd name="connsiteY36" fmla="*/ 2603 h 10000"/>
                <a:gd name="connsiteX37" fmla="*/ 4837 w 10000"/>
                <a:gd name="connsiteY37" fmla="*/ 2733 h 10000"/>
                <a:gd name="connsiteX38" fmla="*/ 4789 w 10000"/>
                <a:gd name="connsiteY38" fmla="*/ 2822 h 10000"/>
                <a:gd name="connsiteX39" fmla="*/ 5310 w 10000"/>
                <a:gd name="connsiteY39" fmla="*/ 3025 h 10000"/>
                <a:gd name="connsiteX40" fmla="*/ 5586 w 10000"/>
                <a:gd name="connsiteY40" fmla="*/ 2928 h 10000"/>
                <a:gd name="connsiteX41" fmla="*/ 5962 w 10000"/>
                <a:gd name="connsiteY41" fmla="*/ 3114 h 10000"/>
                <a:gd name="connsiteX42" fmla="*/ 5750 w 10000"/>
                <a:gd name="connsiteY42" fmla="*/ 3317 h 10000"/>
                <a:gd name="connsiteX43" fmla="*/ 5440 w 10000"/>
                <a:gd name="connsiteY43" fmla="*/ 3317 h 10000"/>
                <a:gd name="connsiteX44" fmla="*/ 4854 w 10000"/>
                <a:gd name="connsiteY44" fmla="*/ 3268 h 10000"/>
                <a:gd name="connsiteX45" fmla="*/ 4805 w 10000"/>
                <a:gd name="connsiteY45" fmla="*/ 3139 h 10000"/>
                <a:gd name="connsiteX46" fmla="*/ 4496 w 10000"/>
                <a:gd name="connsiteY46" fmla="*/ 3147 h 10000"/>
                <a:gd name="connsiteX47" fmla="*/ 4317 w 10000"/>
                <a:gd name="connsiteY47" fmla="*/ 3268 h 10000"/>
                <a:gd name="connsiteX48" fmla="*/ 4007 w 10000"/>
                <a:gd name="connsiteY48" fmla="*/ 3187 h 10000"/>
                <a:gd name="connsiteX49" fmla="*/ 4073 w 10000"/>
                <a:gd name="connsiteY49" fmla="*/ 3017 h 10000"/>
                <a:gd name="connsiteX50" fmla="*/ 3632 w 10000"/>
                <a:gd name="connsiteY50" fmla="*/ 2863 h 10000"/>
                <a:gd name="connsiteX51" fmla="*/ 3551 w 10000"/>
                <a:gd name="connsiteY51" fmla="*/ 2863 h 10000"/>
                <a:gd name="connsiteX52" fmla="*/ 3388 w 10000"/>
                <a:gd name="connsiteY52" fmla="*/ 2741 h 10000"/>
                <a:gd name="connsiteX53" fmla="*/ 3551 w 10000"/>
                <a:gd name="connsiteY53" fmla="*/ 2636 h 10000"/>
                <a:gd name="connsiteX54" fmla="*/ 3275 w 10000"/>
                <a:gd name="connsiteY54" fmla="*/ 2433 h 10000"/>
                <a:gd name="connsiteX55" fmla="*/ 2932 w 10000"/>
                <a:gd name="connsiteY55" fmla="*/ 2384 h 10000"/>
                <a:gd name="connsiteX56" fmla="*/ 2656 w 10000"/>
                <a:gd name="connsiteY56" fmla="*/ 2336 h 10000"/>
                <a:gd name="connsiteX57" fmla="*/ 2541 w 10000"/>
                <a:gd name="connsiteY57" fmla="*/ 2247 h 10000"/>
                <a:gd name="connsiteX58" fmla="*/ 1939 w 10000"/>
                <a:gd name="connsiteY58" fmla="*/ 2190 h 10000"/>
                <a:gd name="connsiteX59" fmla="*/ 1792 w 10000"/>
                <a:gd name="connsiteY59" fmla="*/ 2117 h 10000"/>
                <a:gd name="connsiteX60" fmla="*/ 1532 w 10000"/>
                <a:gd name="connsiteY60" fmla="*/ 2060 h 10000"/>
                <a:gd name="connsiteX61" fmla="*/ 1695 w 10000"/>
                <a:gd name="connsiteY61" fmla="*/ 1979 h 10000"/>
                <a:gd name="connsiteX62" fmla="*/ 2021 w 10000"/>
                <a:gd name="connsiteY62" fmla="*/ 2003 h 10000"/>
                <a:gd name="connsiteX63" fmla="*/ 2183 w 10000"/>
                <a:gd name="connsiteY63" fmla="*/ 2117 h 10000"/>
                <a:gd name="connsiteX64" fmla="*/ 2460 w 10000"/>
                <a:gd name="connsiteY64" fmla="*/ 2117 h 10000"/>
                <a:gd name="connsiteX65" fmla="*/ 2949 w 10000"/>
                <a:gd name="connsiteY65" fmla="*/ 2117 h 10000"/>
                <a:gd name="connsiteX66" fmla="*/ 3128 w 10000"/>
                <a:gd name="connsiteY66" fmla="*/ 2068 h 10000"/>
                <a:gd name="connsiteX67" fmla="*/ 3551 w 10000"/>
                <a:gd name="connsiteY67" fmla="*/ 2117 h 10000"/>
                <a:gd name="connsiteX68" fmla="*/ 4105 w 10000"/>
                <a:gd name="connsiteY68" fmla="*/ 2117 h 10000"/>
                <a:gd name="connsiteX69" fmla="*/ 4919 w 10000"/>
                <a:gd name="connsiteY69" fmla="*/ 2084 h 10000"/>
                <a:gd name="connsiteX70" fmla="*/ 5750 w 10000"/>
                <a:gd name="connsiteY70" fmla="*/ 1784 h 10000"/>
                <a:gd name="connsiteX71" fmla="*/ 5750 w 10000"/>
                <a:gd name="connsiteY71" fmla="*/ 1387 h 10000"/>
                <a:gd name="connsiteX72" fmla="*/ 5424 w 10000"/>
                <a:gd name="connsiteY72" fmla="*/ 1176 h 10000"/>
                <a:gd name="connsiteX73" fmla="*/ 5066 w 10000"/>
                <a:gd name="connsiteY73" fmla="*/ 1030 h 10000"/>
                <a:gd name="connsiteX74" fmla="*/ 4496 w 10000"/>
                <a:gd name="connsiteY74" fmla="*/ 981 h 10000"/>
                <a:gd name="connsiteX75" fmla="*/ 4088 w 10000"/>
                <a:gd name="connsiteY75" fmla="*/ 981 h 10000"/>
                <a:gd name="connsiteX76" fmla="*/ 3681 w 10000"/>
                <a:gd name="connsiteY76" fmla="*/ 981 h 10000"/>
                <a:gd name="connsiteX77" fmla="*/ 3144 w 10000"/>
                <a:gd name="connsiteY77" fmla="*/ 803 h 10000"/>
                <a:gd name="connsiteX78" fmla="*/ 2460 w 10000"/>
                <a:gd name="connsiteY78" fmla="*/ 738 h 10000"/>
                <a:gd name="connsiteX79" fmla="*/ 2004 w 10000"/>
                <a:gd name="connsiteY79" fmla="*/ 762 h 10000"/>
                <a:gd name="connsiteX80" fmla="*/ 1418 w 10000"/>
                <a:gd name="connsiteY80" fmla="*/ 787 h 10000"/>
                <a:gd name="connsiteX81" fmla="*/ 1304 w 10000"/>
                <a:gd name="connsiteY81" fmla="*/ 860 h 10000"/>
                <a:gd name="connsiteX82" fmla="*/ 1194 w 10000"/>
                <a:gd name="connsiteY82" fmla="*/ 709 h 10000"/>
                <a:gd name="connsiteX83" fmla="*/ 942 w 10000"/>
                <a:gd name="connsiteY83" fmla="*/ 763 h 10000"/>
                <a:gd name="connsiteX84" fmla="*/ 720 w 10000"/>
                <a:gd name="connsiteY84" fmla="*/ 678 h 10000"/>
                <a:gd name="connsiteX85" fmla="*/ 585 w 10000"/>
                <a:gd name="connsiteY85" fmla="*/ 910 h 10000"/>
                <a:gd name="connsiteX86" fmla="*/ 204 w 10000"/>
                <a:gd name="connsiteY86" fmla="*/ 1154 h 10000"/>
                <a:gd name="connsiteX87" fmla="*/ 150 w 10000"/>
                <a:gd name="connsiteY87" fmla="*/ 1389 h 10000"/>
                <a:gd name="connsiteX88" fmla="*/ 195 w 10000"/>
                <a:gd name="connsiteY88" fmla="*/ 1540 h 10000"/>
                <a:gd name="connsiteX89" fmla="*/ 89 w 10000"/>
                <a:gd name="connsiteY89" fmla="*/ 1628 h 10000"/>
                <a:gd name="connsiteX90" fmla="*/ 1 w 10000"/>
                <a:gd name="connsiteY90" fmla="*/ 1727 h 10000"/>
                <a:gd name="connsiteX91" fmla="*/ 148 w 10000"/>
                <a:gd name="connsiteY91" fmla="*/ 1800 h 10000"/>
                <a:gd name="connsiteX92" fmla="*/ 441 w 10000"/>
                <a:gd name="connsiteY92" fmla="*/ 1833 h 10000"/>
                <a:gd name="connsiteX93" fmla="*/ 538 w 10000"/>
                <a:gd name="connsiteY93" fmla="*/ 1971 h 10000"/>
                <a:gd name="connsiteX94" fmla="*/ 327 w 10000"/>
                <a:gd name="connsiteY94" fmla="*/ 2376 h 10000"/>
                <a:gd name="connsiteX95" fmla="*/ 538 w 10000"/>
                <a:gd name="connsiteY95" fmla="*/ 2457 h 10000"/>
                <a:gd name="connsiteX96" fmla="*/ 1353 w 10000"/>
                <a:gd name="connsiteY96" fmla="*/ 2879 h 10000"/>
                <a:gd name="connsiteX97" fmla="*/ 1125 w 10000"/>
                <a:gd name="connsiteY97" fmla="*/ 2976 h 10000"/>
                <a:gd name="connsiteX98" fmla="*/ 1125 w 10000"/>
                <a:gd name="connsiteY98" fmla="*/ 3179 h 10000"/>
                <a:gd name="connsiteX99" fmla="*/ 1353 w 10000"/>
                <a:gd name="connsiteY99" fmla="*/ 3220 h 10000"/>
                <a:gd name="connsiteX100" fmla="*/ 1287 w 10000"/>
                <a:gd name="connsiteY100" fmla="*/ 3333 h 10000"/>
                <a:gd name="connsiteX101" fmla="*/ 1467 w 10000"/>
                <a:gd name="connsiteY101" fmla="*/ 3398 h 10000"/>
                <a:gd name="connsiteX102" fmla="*/ 1646 w 10000"/>
                <a:gd name="connsiteY102" fmla="*/ 3366 h 10000"/>
                <a:gd name="connsiteX103" fmla="*/ 1679 w 10000"/>
                <a:gd name="connsiteY103" fmla="*/ 3528 h 10000"/>
                <a:gd name="connsiteX104" fmla="*/ 1825 w 10000"/>
                <a:gd name="connsiteY104" fmla="*/ 3609 h 10000"/>
                <a:gd name="connsiteX105" fmla="*/ 2021 w 10000"/>
                <a:gd name="connsiteY105" fmla="*/ 3577 h 10000"/>
                <a:gd name="connsiteX106" fmla="*/ 2167 w 10000"/>
                <a:gd name="connsiteY106" fmla="*/ 3715 h 10000"/>
                <a:gd name="connsiteX107" fmla="*/ 2036 w 10000"/>
                <a:gd name="connsiteY107" fmla="*/ 3950 h 10000"/>
                <a:gd name="connsiteX108" fmla="*/ 3014 w 10000"/>
                <a:gd name="connsiteY108" fmla="*/ 4193 h 10000"/>
                <a:gd name="connsiteX109" fmla="*/ 3031 w 10000"/>
                <a:gd name="connsiteY109" fmla="*/ 4599 h 10000"/>
                <a:gd name="connsiteX110" fmla="*/ 2526 w 10000"/>
                <a:gd name="connsiteY110" fmla="*/ 5239 h 10000"/>
                <a:gd name="connsiteX111" fmla="*/ 1988 w 10000"/>
                <a:gd name="connsiteY111" fmla="*/ 5677 h 10000"/>
                <a:gd name="connsiteX112" fmla="*/ 2265 w 10000"/>
                <a:gd name="connsiteY112" fmla="*/ 5612 h 10000"/>
                <a:gd name="connsiteX113" fmla="*/ 2330 w 10000"/>
                <a:gd name="connsiteY113" fmla="*/ 5766 h 10000"/>
                <a:gd name="connsiteX114" fmla="*/ 2656 w 10000"/>
                <a:gd name="connsiteY114" fmla="*/ 5839 h 10000"/>
                <a:gd name="connsiteX115" fmla="*/ 3112 w 10000"/>
                <a:gd name="connsiteY115" fmla="*/ 5775 h 10000"/>
                <a:gd name="connsiteX116" fmla="*/ 3551 w 10000"/>
                <a:gd name="connsiteY116" fmla="*/ 5864 h 10000"/>
                <a:gd name="connsiteX117" fmla="*/ 3551 w 10000"/>
                <a:gd name="connsiteY117" fmla="*/ 5994 h 10000"/>
                <a:gd name="connsiteX118" fmla="*/ 2785 w 10000"/>
                <a:gd name="connsiteY118" fmla="*/ 5969 h 10000"/>
                <a:gd name="connsiteX119" fmla="*/ 2656 w 10000"/>
                <a:gd name="connsiteY119" fmla="*/ 6091 h 10000"/>
                <a:gd name="connsiteX120" fmla="*/ 2265 w 10000"/>
                <a:gd name="connsiteY120" fmla="*/ 6172 h 10000"/>
                <a:gd name="connsiteX121" fmla="*/ 2346 w 10000"/>
                <a:gd name="connsiteY121" fmla="*/ 6269 h 10000"/>
                <a:gd name="connsiteX122" fmla="*/ 2428 w 10000"/>
                <a:gd name="connsiteY122" fmla="*/ 6326 h 10000"/>
                <a:gd name="connsiteX123" fmla="*/ 2248 w 10000"/>
                <a:gd name="connsiteY123" fmla="*/ 6415 h 10000"/>
                <a:gd name="connsiteX124" fmla="*/ 2297 w 10000"/>
                <a:gd name="connsiteY124" fmla="*/ 6537 h 10000"/>
                <a:gd name="connsiteX125" fmla="*/ 2102 w 10000"/>
                <a:gd name="connsiteY125" fmla="*/ 6642 h 10000"/>
                <a:gd name="connsiteX126" fmla="*/ 2199 w 10000"/>
                <a:gd name="connsiteY126" fmla="*/ 6788 h 10000"/>
                <a:gd name="connsiteX127" fmla="*/ 2395 w 10000"/>
                <a:gd name="connsiteY127" fmla="*/ 6821 h 10000"/>
                <a:gd name="connsiteX128" fmla="*/ 2314 w 10000"/>
                <a:gd name="connsiteY128" fmla="*/ 6983 h 10000"/>
                <a:gd name="connsiteX129" fmla="*/ 2541 w 10000"/>
                <a:gd name="connsiteY129" fmla="*/ 7015 h 10000"/>
                <a:gd name="connsiteX130" fmla="*/ 2656 w 10000"/>
                <a:gd name="connsiteY130" fmla="*/ 7145 h 10000"/>
                <a:gd name="connsiteX131" fmla="*/ 2526 w 10000"/>
                <a:gd name="connsiteY131" fmla="*/ 7202 h 10000"/>
                <a:gd name="connsiteX132" fmla="*/ 2541 w 10000"/>
                <a:gd name="connsiteY132" fmla="*/ 7299 h 10000"/>
                <a:gd name="connsiteX133" fmla="*/ 2656 w 10000"/>
                <a:gd name="connsiteY133" fmla="*/ 7388 h 10000"/>
                <a:gd name="connsiteX134" fmla="*/ 3031 w 10000"/>
                <a:gd name="connsiteY134" fmla="*/ 7486 h 10000"/>
                <a:gd name="connsiteX135" fmla="*/ 2900 w 10000"/>
                <a:gd name="connsiteY135" fmla="*/ 7575 h 10000"/>
                <a:gd name="connsiteX136" fmla="*/ 3031 w 10000"/>
                <a:gd name="connsiteY136" fmla="*/ 7737 h 10000"/>
                <a:gd name="connsiteX137" fmla="*/ 3161 w 10000"/>
                <a:gd name="connsiteY137" fmla="*/ 7737 h 10000"/>
                <a:gd name="connsiteX138" fmla="*/ 3258 w 10000"/>
                <a:gd name="connsiteY138" fmla="*/ 7810 h 10000"/>
                <a:gd name="connsiteX139" fmla="*/ 3551 w 10000"/>
                <a:gd name="connsiteY139" fmla="*/ 7908 h 10000"/>
                <a:gd name="connsiteX140" fmla="*/ 3551 w 10000"/>
                <a:gd name="connsiteY140" fmla="*/ 7997 h 10000"/>
                <a:gd name="connsiteX141" fmla="*/ 3844 w 10000"/>
                <a:gd name="connsiteY141" fmla="*/ 7972 h 10000"/>
                <a:gd name="connsiteX142" fmla="*/ 4366 w 10000"/>
                <a:gd name="connsiteY142" fmla="*/ 7972 h 10000"/>
                <a:gd name="connsiteX143" fmla="*/ 4512 w 10000"/>
                <a:gd name="connsiteY143" fmla="*/ 8167 h 10000"/>
                <a:gd name="connsiteX144" fmla="*/ 4952 w 10000"/>
                <a:gd name="connsiteY144" fmla="*/ 7972 h 10000"/>
                <a:gd name="connsiteX145" fmla="*/ 5554 w 10000"/>
                <a:gd name="connsiteY145" fmla="*/ 8078 h 10000"/>
                <a:gd name="connsiteX146" fmla="*/ 5684 w 10000"/>
                <a:gd name="connsiteY146" fmla="*/ 8289 h 10000"/>
                <a:gd name="connsiteX147" fmla="*/ 5684 w 10000"/>
                <a:gd name="connsiteY147" fmla="*/ 8467 h 10000"/>
                <a:gd name="connsiteX148" fmla="*/ 5962 w 10000"/>
                <a:gd name="connsiteY148" fmla="*/ 8483 h 10000"/>
                <a:gd name="connsiteX149" fmla="*/ 6076 w 10000"/>
                <a:gd name="connsiteY149" fmla="*/ 8581 h 10000"/>
                <a:gd name="connsiteX150" fmla="*/ 6401 w 10000"/>
                <a:gd name="connsiteY150" fmla="*/ 8710 h 10000"/>
                <a:gd name="connsiteX151" fmla="*/ 6792 w 10000"/>
                <a:gd name="connsiteY151" fmla="*/ 8759 h 10000"/>
                <a:gd name="connsiteX152" fmla="*/ 6808 w 10000"/>
                <a:gd name="connsiteY152" fmla="*/ 8889 h 10000"/>
                <a:gd name="connsiteX153" fmla="*/ 7264 w 10000"/>
                <a:gd name="connsiteY153" fmla="*/ 8856 h 10000"/>
                <a:gd name="connsiteX154" fmla="*/ 7606 w 10000"/>
                <a:gd name="connsiteY154" fmla="*/ 9027 h 10000"/>
                <a:gd name="connsiteX155" fmla="*/ 7492 w 10000"/>
                <a:gd name="connsiteY155" fmla="*/ 9238 h 10000"/>
                <a:gd name="connsiteX156" fmla="*/ 6792 w 10000"/>
                <a:gd name="connsiteY156" fmla="*/ 9238 h 10000"/>
                <a:gd name="connsiteX157" fmla="*/ 6678 w 10000"/>
                <a:gd name="connsiteY157" fmla="*/ 9343 h 10000"/>
                <a:gd name="connsiteX158" fmla="*/ 7020 w 10000"/>
                <a:gd name="connsiteY158" fmla="*/ 9424 h 10000"/>
                <a:gd name="connsiteX159" fmla="*/ 7069 w 10000"/>
                <a:gd name="connsiteY159" fmla="*/ 9594 h 10000"/>
                <a:gd name="connsiteX160" fmla="*/ 7362 w 10000"/>
                <a:gd name="connsiteY160" fmla="*/ 9805 h 10000"/>
                <a:gd name="connsiteX161" fmla="*/ 7753 w 10000"/>
                <a:gd name="connsiteY161" fmla="*/ 9813 h 10000"/>
                <a:gd name="connsiteX162" fmla="*/ 7769 w 10000"/>
                <a:gd name="connsiteY162" fmla="*/ 9659 h 10000"/>
                <a:gd name="connsiteX163" fmla="*/ 8404 w 10000"/>
                <a:gd name="connsiteY163" fmla="*/ 9521 h 10000"/>
                <a:gd name="connsiteX164" fmla="*/ 9023 w 10000"/>
                <a:gd name="connsiteY164" fmla="*/ 9521 h 10000"/>
                <a:gd name="connsiteX165" fmla="*/ 9527 w 10000"/>
                <a:gd name="connsiteY165" fmla="*/ 9659 h 10000"/>
                <a:gd name="connsiteX166" fmla="*/ 9251 w 10000"/>
                <a:gd name="connsiteY166" fmla="*/ 9789 h 10000"/>
                <a:gd name="connsiteX167" fmla="*/ 9609 w 10000"/>
                <a:gd name="connsiteY167" fmla="*/ 10000 h 10000"/>
                <a:gd name="connsiteX168" fmla="*/ 10000 w 10000"/>
                <a:gd name="connsiteY168" fmla="*/ 9951 h 10000"/>
                <a:gd name="connsiteX169" fmla="*/ 10000 w 10000"/>
                <a:gd name="connsiteY169" fmla="*/ 0 h 10000"/>
                <a:gd name="connsiteX170" fmla="*/ 8372 w 10000"/>
                <a:gd name="connsiteY170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</a:cxnLst>
              <a:rect l="l" t="t" r="r" b="b"/>
              <a:pathLst>
                <a:path w="10000" h="10000">
                  <a:moveTo>
                    <a:pt x="8372" y="0"/>
                  </a:moveTo>
                  <a:lnTo>
                    <a:pt x="8372" y="97"/>
                  </a:lnTo>
                  <a:lnTo>
                    <a:pt x="8029" y="357"/>
                  </a:lnTo>
                  <a:lnTo>
                    <a:pt x="8372" y="697"/>
                  </a:lnTo>
                  <a:lnTo>
                    <a:pt x="7736" y="981"/>
                  </a:lnTo>
                  <a:cubicBezTo>
                    <a:pt x="7703" y="922"/>
                    <a:pt x="7671" y="862"/>
                    <a:pt x="7638" y="803"/>
                  </a:cubicBezTo>
                  <a:lnTo>
                    <a:pt x="7085" y="803"/>
                  </a:lnTo>
                  <a:lnTo>
                    <a:pt x="6923" y="584"/>
                  </a:lnTo>
                  <a:lnTo>
                    <a:pt x="7394" y="397"/>
                  </a:lnTo>
                  <a:lnTo>
                    <a:pt x="6938" y="276"/>
                  </a:lnTo>
                  <a:lnTo>
                    <a:pt x="6759" y="187"/>
                  </a:lnTo>
                  <a:lnTo>
                    <a:pt x="6433" y="187"/>
                  </a:lnTo>
                  <a:lnTo>
                    <a:pt x="6125" y="341"/>
                  </a:lnTo>
                  <a:lnTo>
                    <a:pt x="5635" y="397"/>
                  </a:lnTo>
                  <a:lnTo>
                    <a:pt x="6222" y="479"/>
                  </a:lnTo>
                  <a:lnTo>
                    <a:pt x="6450" y="738"/>
                  </a:lnTo>
                  <a:cubicBezTo>
                    <a:pt x="6482" y="819"/>
                    <a:pt x="6515" y="900"/>
                    <a:pt x="6548" y="981"/>
                  </a:cubicBezTo>
                  <a:lnTo>
                    <a:pt x="6711" y="981"/>
                  </a:lnTo>
                  <a:lnTo>
                    <a:pt x="7134" y="981"/>
                  </a:lnTo>
                  <a:cubicBezTo>
                    <a:pt x="7145" y="1022"/>
                    <a:pt x="7155" y="1062"/>
                    <a:pt x="7167" y="1103"/>
                  </a:cubicBezTo>
                  <a:lnTo>
                    <a:pt x="7378" y="1160"/>
                  </a:lnTo>
                  <a:cubicBezTo>
                    <a:pt x="7383" y="1230"/>
                    <a:pt x="7389" y="1301"/>
                    <a:pt x="7394" y="1371"/>
                  </a:cubicBezTo>
                  <a:lnTo>
                    <a:pt x="7557" y="1590"/>
                  </a:lnTo>
                  <a:lnTo>
                    <a:pt x="7069" y="1444"/>
                  </a:lnTo>
                  <a:lnTo>
                    <a:pt x="6727" y="1484"/>
                  </a:lnTo>
                  <a:lnTo>
                    <a:pt x="6433" y="1484"/>
                  </a:lnTo>
                  <a:cubicBezTo>
                    <a:pt x="6363" y="1598"/>
                    <a:pt x="6292" y="1711"/>
                    <a:pt x="6222" y="1825"/>
                  </a:cubicBezTo>
                  <a:lnTo>
                    <a:pt x="6091" y="2028"/>
                  </a:lnTo>
                  <a:cubicBezTo>
                    <a:pt x="6070" y="2109"/>
                    <a:pt x="6049" y="2190"/>
                    <a:pt x="6027" y="2271"/>
                  </a:cubicBezTo>
                  <a:lnTo>
                    <a:pt x="6433" y="2401"/>
                  </a:lnTo>
                  <a:lnTo>
                    <a:pt x="6825" y="2595"/>
                  </a:lnTo>
                  <a:lnTo>
                    <a:pt x="6401" y="2798"/>
                  </a:lnTo>
                  <a:lnTo>
                    <a:pt x="6206" y="2701"/>
                  </a:lnTo>
                  <a:lnTo>
                    <a:pt x="5962" y="2660"/>
                  </a:lnTo>
                  <a:lnTo>
                    <a:pt x="5457" y="2749"/>
                  </a:lnTo>
                  <a:lnTo>
                    <a:pt x="4952" y="2595"/>
                  </a:lnTo>
                  <a:lnTo>
                    <a:pt x="4691" y="2603"/>
                  </a:lnTo>
                  <a:cubicBezTo>
                    <a:pt x="4740" y="2646"/>
                    <a:pt x="4788" y="2690"/>
                    <a:pt x="4837" y="2733"/>
                  </a:cubicBezTo>
                  <a:cubicBezTo>
                    <a:pt x="4821" y="2763"/>
                    <a:pt x="4805" y="2792"/>
                    <a:pt x="4789" y="2822"/>
                  </a:cubicBezTo>
                  <a:lnTo>
                    <a:pt x="5310" y="3025"/>
                  </a:lnTo>
                  <a:lnTo>
                    <a:pt x="5586" y="2928"/>
                  </a:lnTo>
                  <a:lnTo>
                    <a:pt x="5962" y="3114"/>
                  </a:lnTo>
                  <a:lnTo>
                    <a:pt x="5750" y="3317"/>
                  </a:lnTo>
                  <a:lnTo>
                    <a:pt x="5440" y="3317"/>
                  </a:lnTo>
                  <a:lnTo>
                    <a:pt x="4854" y="3268"/>
                  </a:lnTo>
                  <a:cubicBezTo>
                    <a:pt x="4837" y="3225"/>
                    <a:pt x="4822" y="3182"/>
                    <a:pt x="4805" y="3139"/>
                  </a:cubicBezTo>
                  <a:lnTo>
                    <a:pt x="4496" y="3147"/>
                  </a:lnTo>
                  <a:lnTo>
                    <a:pt x="4317" y="3268"/>
                  </a:lnTo>
                  <a:lnTo>
                    <a:pt x="4007" y="3187"/>
                  </a:lnTo>
                  <a:cubicBezTo>
                    <a:pt x="4029" y="3130"/>
                    <a:pt x="4051" y="3074"/>
                    <a:pt x="4073" y="3017"/>
                  </a:cubicBezTo>
                  <a:lnTo>
                    <a:pt x="3632" y="2863"/>
                  </a:lnTo>
                  <a:lnTo>
                    <a:pt x="3551" y="2863"/>
                  </a:lnTo>
                  <a:cubicBezTo>
                    <a:pt x="3497" y="2822"/>
                    <a:pt x="3442" y="2782"/>
                    <a:pt x="3388" y="2741"/>
                  </a:cubicBezTo>
                  <a:lnTo>
                    <a:pt x="3551" y="2636"/>
                  </a:lnTo>
                  <a:lnTo>
                    <a:pt x="3275" y="2433"/>
                  </a:lnTo>
                  <a:lnTo>
                    <a:pt x="2932" y="2384"/>
                  </a:lnTo>
                  <a:lnTo>
                    <a:pt x="2656" y="2336"/>
                  </a:lnTo>
                  <a:cubicBezTo>
                    <a:pt x="2618" y="2306"/>
                    <a:pt x="2579" y="2277"/>
                    <a:pt x="2541" y="2247"/>
                  </a:cubicBezTo>
                  <a:lnTo>
                    <a:pt x="1939" y="2190"/>
                  </a:lnTo>
                  <a:lnTo>
                    <a:pt x="1792" y="2117"/>
                  </a:lnTo>
                  <a:lnTo>
                    <a:pt x="1532" y="2060"/>
                  </a:lnTo>
                  <a:lnTo>
                    <a:pt x="1695" y="1979"/>
                  </a:lnTo>
                  <a:lnTo>
                    <a:pt x="2021" y="2003"/>
                  </a:lnTo>
                  <a:lnTo>
                    <a:pt x="2183" y="2117"/>
                  </a:lnTo>
                  <a:lnTo>
                    <a:pt x="2460" y="2117"/>
                  </a:lnTo>
                  <a:lnTo>
                    <a:pt x="2949" y="2117"/>
                  </a:lnTo>
                  <a:lnTo>
                    <a:pt x="3128" y="2068"/>
                  </a:lnTo>
                  <a:lnTo>
                    <a:pt x="3551" y="2117"/>
                  </a:lnTo>
                  <a:lnTo>
                    <a:pt x="4105" y="2117"/>
                  </a:lnTo>
                  <a:cubicBezTo>
                    <a:pt x="4137" y="2117"/>
                    <a:pt x="4919" y="2084"/>
                    <a:pt x="4919" y="2084"/>
                  </a:cubicBezTo>
                  <a:lnTo>
                    <a:pt x="5750" y="1784"/>
                  </a:lnTo>
                  <a:lnTo>
                    <a:pt x="5750" y="1387"/>
                  </a:lnTo>
                  <a:lnTo>
                    <a:pt x="5424" y="1176"/>
                  </a:lnTo>
                  <a:lnTo>
                    <a:pt x="5066" y="1030"/>
                  </a:lnTo>
                  <a:lnTo>
                    <a:pt x="4496" y="981"/>
                  </a:lnTo>
                  <a:lnTo>
                    <a:pt x="4088" y="981"/>
                  </a:lnTo>
                  <a:lnTo>
                    <a:pt x="3681" y="981"/>
                  </a:lnTo>
                  <a:lnTo>
                    <a:pt x="3144" y="803"/>
                  </a:lnTo>
                  <a:lnTo>
                    <a:pt x="2460" y="738"/>
                  </a:lnTo>
                  <a:lnTo>
                    <a:pt x="2004" y="762"/>
                  </a:lnTo>
                  <a:lnTo>
                    <a:pt x="1418" y="787"/>
                  </a:lnTo>
                  <a:lnTo>
                    <a:pt x="1304" y="860"/>
                  </a:lnTo>
                  <a:cubicBezTo>
                    <a:pt x="1266" y="847"/>
                    <a:pt x="1254" y="725"/>
                    <a:pt x="1194" y="709"/>
                  </a:cubicBezTo>
                  <a:cubicBezTo>
                    <a:pt x="1134" y="693"/>
                    <a:pt x="1021" y="768"/>
                    <a:pt x="942" y="763"/>
                  </a:cubicBezTo>
                  <a:cubicBezTo>
                    <a:pt x="863" y="758"/>
                    <a:pt x="780" y="654"/>
                    <a:pt x="720" y="678"/>
                  </a:cubicBezTo>
                  <a:cubicBezTo>
                    <a:pt x="661" y="703"/>
                    <a:pt x="671" y="831"/>
                    <a:pt x="585" y="910"/>
                  </a:cubicBezTo>
                  <a:cubicBezTo>
                    <a:pt x="499" y="989"/>
                    <a:pt x="276" y="1074"/>
                    <a:pt x="204" y="1154"/>
                  </a:cubicBezTo>
                  <a:cubicBezTo>
                    <a:pt x="131" y="1234"/>
                    <a:pt x="151" y="1325"/>
                    <a:pt x="150" y="1389"/>
                  </a:cubicBezTo>
                  <a:cubicBezTo>
                    <a:pt x="149" y="1453"/>
                    <a:pt x="206" y="1500"/>
                    <a:pt x="195" y="1540"/>
                  </a:cubicBezTo>
                  <a:cubicBezTo>
                    <a:pt x="185" y="1580"/>
                    <a:pt x="122" y="1597"/>
                    <a:pt x="89" y="1628"/>
                  </a:cubicBezTo>
                  <a:cubicBezTo>
                    <a:pt x="57" y="1659"/>
                    <a:pt x="-8" y="1699"/>
                    <a:pt x="1" y="1727"/>
                  </a:cubicBezTo>
                  <a:cubicBezTo>
                    <a:pt x="10" y="1755"/>
                    <a:pt x="99" y="1776"/>
                    <a:pt x="148" y="1800"/>
                  </a:cubicBezTo>
                  <a:lnTo>
                    <a:pt x="441" y="1833"/>
                  </a:lnTo>
                  <a:cubicBezTo>
                    <a:pt x="473" y="1879"/>
                    <a:pt x="506" y="1925"/>
                    <a:pt x="538" y="1971"/>
                  </a:cubicBezTo>
                  <a:lnTo>
                    <a:pt x="327" y="2376"/>
                  </a:lnTo>
                  <a:lnTo>
                    <a:pt x="538" y="2457"/>
                  </a:lnTo>
                  <a:lnTo>
                    <a:pt x="1353" y="2879"/>
                  </a:lnTo>
                  <a:lnTo>
                    <a:pt x="1125" y="2976"/>
                  </a:lnTo>
                  <a:lnTo>
                    <a:pt x="1125" y="3179"/>
                  </a:lnTo>
                  <a:lnTo>
                    <a:pt x="1353" y="3220"/>
                  </a:lnTo>
                  <a:cubicBezTo>
                    <a:pt x="1331" y="3258"/>
                    <a:pt x="1309" y="3295"/>
                    <a:pt x="1287" y="3333"/>
                  </a:cubicBezTo>
                  <a:lnTo>
                    <a:pt x="1467" y="3398"/>
                  </a:lnTo>
                  <a:lnTo>
                    <a:pt x="1646" y="3366"/>
                  </a:lnTo>
                  <a:lnTo>
                    <a:pt x="1679" y="3528"/>
                  </a:lnTo>
                  <a:lnTo>
                    <a:pt x="1825" y="3609"/>
                  </a:lnTo>
                  <a:lnTo>
                    <a:pt x="2021" y="3577"/>
                  </a:lnTo>
                  <a:lnTo>
                    <a:pt x="2167" y="3715"/>
                  </a:lnTo>
                  <a:cubicBezTo>
                    <a:pt x="2123" y="3793"/>
                    <a:pt x="2080" y="3872"/>
                    <a:pt x="2036" y="3950"/>
                  </a:cubicBezTo>
                  <a:lnTo>
                    <a:pt x="3014" y="4193"/>
                  </a:lnTo>
                  <a:cubicBezTo>
                    <a:pt x="3019" y="4328"/>
                    <a:pt x="3025" y="4464"/>
                    <a:pt x="3031" y="4599"/>
                  </a:cubicBezTo>
                  <a:lnTo>
                    <a:pt x="2526" y="5239"/>
                  </a:lnTo>
                  <a:lnTo>
                    <a:pt x="1988" y="5677"/>
                  </a:lnTo>
                  <a:lnTo>
                    <a:pt x="2265" y="5612"/>
                  </a:lnTo>
                  <a:cubicBezTo>
                    <a:pt x="2287" y="5663"/>
                    <a:pt x="2309" y="5715"/>
                    <a:pt x="2330" y="5766"/>
                  </a:cubicBezTo>
                  <a:lnTo>
                    <a:pt x="2656" y="5839"/>
                  </a:lnTo>
                  <a:lnTo>
                    <a:pt x="3112" y="5775"/>
                  </a:lnTo>
                  <a:cubicBezTo>
                    <a:pt x="3112" y="5775"/>
                    <a:pt x="3519" y="5864"/>
                    <a:pt x="3551" y="5864"/>
                  </a:cubicBezTo>
                  <a:cubicBezTo>
                    <a:pt x="3568" y="5872"/>
                    <a:pt x="3551" y="5994"/>
                    <a:pt x="3551" y="5994"/>
                  </a:cubicBezTo>
                  <a:lnTo>
                    <a:pt x="2785" y="5969"/>
                  </a:lnTo>
                  <a:lnTo>
                    <a:pt x="2656" y="6091"/>
                  </a:lnTo>
                  <a:lnTo>
                    <a:pt x="2265" y="6172"/>
                  </a:lnTo>
                  <a:cubicBezTo>
                    <a:pt x="2292" y="6204"/>
                    <a:pt x="2319" y="6237"/>
                    <a:pt x="2346" y="6269"/>
                  </a:cubicBezTo>
                  <a:lnTo>
                    <a:pt x="2428" y="6326"/>
                  </a:lnTo>
                  <a:lnTo>
                    <a:pt x="2248" y="6415"/>
                  </a:lnTo>
                  <a:cubicBezTo>
                    <a:pt x="2265" y="6456"/>
                    <a:pt x="2281" y="6496"/>
                    <a:pt x="2297" y="6537"/>
                  </a:cubicBezTo>
                  <a:lnTo>
                    <a:pt x="2102" y="6642"/>
                  </a:lnTo>
                  <a:cubicBezTo>
                    <a:pt x="2134" y="6691"/>
                    <a:pt x="2167" y="6739"/>
                    <a:pt x="2199" y="6788"/>
                  </a:cubicBezTo>
                  <a:lnTo>
                    <a:pt x="2395" y="6821"/>
                  </a:lnTo>
                  <a:lnTo>
                    <a:pt x="2314" y="6983"/>
                  </a:lnTo>
                  <a:lnTo>
                    <a:pt x="2541" y="7015"/>
                  </a:lnTo>
                  <a:cubicBezTo>
                    <a:pt x="2580" y="7058"/>
                    <a:pt x="2617" y="7102"/>
                    <a:pt x="2656" y="7145"/>
                  </a:cubicBezTo>
                  <a:lnTo>
                    <a:pt x="2526" y="7202"/>
                  </a:lnTo>
                  <a:cubicBezTo>
                    <a:pt x="2531" y="7234"/>
                    <a:pt x="2536" y="7267"/>
                    <a:pt x="2541" y="7299"/>
                  </a:cubicBezTo>
                  <a:cubicBezTo>
                    <a:pt x="2579" y="7329"/>
                    <a:pt x="2618" y="7358"/>
                    <a:pt x="2656" y="7388"/>
                  </a:cubicBezTo>
                  <a:lnTo>
                    <a:pt x="3031" y="7486"/>
                  </a:lnTo>
                  <a:lnTo>
                    <a:pt x="2900" y="7575"/>
                  </a:lnTo>
                  <a:lnTo>
                    <a:pt x="3031" y="7737"/>
                  </a:lnTo>
                  <a:lnTo>
                    <a:pt x="3161" y="7737"/>
                  </a:lnTo>
                  <a:lnTo>
                    <a:pt x="3258" y="7810"/>
                  </a:lnTo>
                  <a:lnTo>
                    <a:pt x="3551" y="7908"/>
                  </a:lnTo>
                  <a:lnTo>
                    <a:pt x="3551" y="7997"/>
                  </a:lnTo>
                  <a:lnTo>
                    <a:pt x="3844" y="7972"/>
                  </a:lnTo>
                  <a:lnTo>
                    <a:pt x="4366" y="7972"/>
                  </a:lnTo>
                  <a:lnTo>
                    <a:pt x="4512" y="8167"/>
                  </a:lnTo>
                  <a:lnTo>
                    <a:pt x="4952" y="7972"/>
                  </a:lnTo>
                  <a:lnTo>
                    <a:pt x="5554" y="8078"/>
                  </a:lnTo>
                  <a:cubicBezTo>
                    <a:pt x="5598" y="8148"/>
                    <a:pt x="5641" y="8219"/>
                    <a:pt x="5684" y="8289"/>
                  </a:cubicBezTo>
                  <a:lnTo>
                    <a:pt x="5684" y="8467"/>
                  </a:lnTo>
                  <a:cubicBezTo>
                    <a:pt x="5684" y="8491"/>
                    <a:pt x="5962" y="8483"/>
                    <a:pt x="5962" y="8483"/>
                  </a:cubicBezTo>
                  <a:lnTo>
                    <a:pt x="6076" y="8581"/>
                  </a:lnTo>
                  <a:lnTo>
                    <a:pt x="6401" y="8710"/>
                  </a:lnTo>
                  <a:lnTo>
                    <a:pt x="6792" y="8759"/>
                  </a:lnTo>
                  <a:cubicBezTo>
                    <a:pt x="6797" y="8802"/>
                    <a:pt x="6803" y="8846"/>
                    <a:pt x="6808" y="8889"/>
                  </a:cubicBezTo>
                  <a:lnTo>
                    <a:pt x="7264" y="8856"/>
                  </a:lnTo>
                  <a:lnTo>
                    <a:pt x="7606" y="9027"/>
                  </a:lnTo>
                  <a:lnTo>
                    <a:pt x="7492" y="9238"/>
                  </a:lnTo>
                  <a:lnTo>
                    <a:pt x="6792" y="9238"/>
                  </a:lnTo>
                  <a:lnTo>
                    <a:pt x="6678" y="9343"/>
                  </a:lnTo>
                  <a:lnTo>
                    <a:pt x="7020" y="9424"/>
                  </a:lnTo>
                  <a:cubicBezTo>
                    <a:pt x="7037" y="9481"/>
                    <a:pt x="7052" y="9537"/>
                    <a:pt x="7069" y="9594"/>
                  </a:cubicBezTo>
                  <a:lnTo>
                    <a:pt x="7362" y="9805"/>
                  </a:lnTo>
                  <a:lnTo>
                    <a:pt x="7753" y="9813"/>
                  </a:lnTo>
                  <a:cubicBezTo>
                    <a:pt x="7758" y="9762"/>
                    <a:pt x="7764" y="9710"/>
                    <a:pt x="7769" y="9659"/>
                  </a:cubicBezTo>
                  <a:lnTo>
                    <a:pt x="8404" y="9521"/>
                  </a:lnTo>
                  <a:cubicBezTo>
                    <a:pt x="8404" y="9521"/>
                    <a:pt x="8941" y="9497"/>
                    <a:pt x="9023" y="9521"/>
                  </a:cubicBezTo>
                  <a:cubicBezTo>
                    <a:pt x="9104" y="9554"/>
                    <a:pt x="9527" y="9659"/>
                    <a:pt x="9527" y="9659"/>
                  </a:cubicBezTo>
                  <a:lnTo>
                    <a:pt x="9251" y="9789"/>
                  </a:lnTo>
                  <a:lnTo>
                    <a:pt x="9609" y="10000"/>
                  </a:lnTo>
                  <a:lnTo>
                    <a:pt x="10000" y="9951"/>
                  </a:lnTo>
                  <a:lnTo>
                    <a:pt x="10000" y="0"/>
                  </a:lnTo>
                  <a:lnTo>
                    <a:pt x="8372" y="0"/>
                  </a:lnTo>
                  <a:close/>
                </a:path>
              </a:pathLst>
            </a:custGeom>
            <a:grpFill/>
            <a:ln w="317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9137721" y="6964656"/>
            <a:ext cx="2355779" cy="1767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13754782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>
            <a:grpSpLocks/>
          </p:cNvGrpSpPr>
          <p:nvPr/>
        </p:nvGrpSpPr>
        <p:grpSpPr>
          <a:xfrm>
            <a:off x="693684" y="550407"/>
            <a:ext cx="11280710" cy="6030276"/>
            <a:chOff x="376238" y="1816693"/>
            <a:chExt cx="8281393" cy="4426945"/>
          </a:xfrm>
          <a:solidFill>
            <a:schemeClr val="accent3"/>
          </a:solidFill>
        </p:grpSpPr>
        <p:sp>
          <p:nvSpPr>
            <p:cNvPr id="4" name="Freeform 217"/>
            <p:cNvSpPr>
              <a:spLocks noEditPoints="1"/>
            </p:cNvSpPr>
            <p:nvPr>
              <p:custDataLst>
                <p:tags r:id="rId197"/>
              </p:custDataLst>
            </p:nvPr>
          </p:nvSpPr>
          <p:spPr bwMode="gray">
            <a:xfrm>
              <a:off x="4816496" y="1901993"/>
              <a:ext cx="3841135" cy="1521623"/>
            </a:xfrm>
            <a:custGeom>
              <a:avLst/>
              <a:gdLst/>
              <a:ahLst/>
              <a:cxnLst>
                <a:cxn ang="0">
                  <a:pos x="2516" y="430"/>
                </a:cxn>
                <a:cxn ang="0">
                  <a:pos x="1988" y="308"/>
                </a:cxn>
                <a:cxn ang="0">
                  <a:pos x="1640" y="284"/>
                </a:cxn>
                <a:cxn ang="0">
                  <a:pos x="1402" y="186"/>
                </a:cxn>
                <a:cxn ang="0">
                  <a:pos x="934" y="250"/>
                </a:cxn>
                <a:cxn ang="0">
                  <a:pos x="822" y="336"/>
                </a:cxn>
                <a:cxn ang="0">
                  <a:pos x="724" y="312"/>
                </a:cxn>
                <a:cxn ang="0">
                  <a:pos x="382" y="424"/>
                </a:cxn>
                <a:cxn ang="0">
                  <a:pos x="238" y="446"/>
                </a:cxn>
                <a:cxn ang="0">
                  <a:pos x="180" y="528"/>
                </a:cxn>
                <a:cxn ang="0">
                  <a:pos x="272" y="830"/>
                </a:cxn>
                <a:cxn ang="0">
                  <a:pos x="418" y="888"/>
                </a:cxn>
                <a:cxn ang="0">
                  <a:pos x="702" y="730"/>
                </a:cxn>
                <a:cxn ang="0">
                  <a:pos x="1112" y="818"/>
                </a:cxn>
                <a:cxn ang="0">
                  <a:pos x="1628" y="830"/>
                </a:cxn>
                <a:cxn ang="0">
                  <a:pos x="1844" y="800"/>
                </a:cxn>
                <a:cxn ang="0">
                  <a:pos x="1988" y="614"/>
                </a:cxn>
                <a:cxn ang="0">
                  <a:pos x="2104" y="650"/>
                </a:cxn>
                <a:cxn ang="0">
                  <a:pos x="2198" y="604"/>
                </a:cxn>
                <a:cxn ang="0">
                  <a:pos x="2470" y="470"/>
                </a:cxn>
                <a:cxn ang="0">
                  <a:pos x="2412" y="312"/>
                </a:cxn>
                <a:cxn ang="0">
                  <a:pos x="1570" y="266"/>
                </a:cxn>
                <a:cxn ang="0">
                  <a:pos x="1664" y="290"/>
                </a:cxn>
                <a:cxn ang="0">
                  <a:pos x="0" y="736"/>
                </a:cxn>
                <a:cxn ang="0">
                  <a:pos x="1078" y="18"/>
                </a:cxn>
                <a:cxn ang="0">
                  <a:pos x="580" y="28"/>
                </a:cxn>
                <a:cxn ang="0">
                  <a:pos x="574" y="40"/>
                </a:cxn>
                <a:cxn ang="0">
                  <a:pos x="452" y="52"/>
                </a:cxn>
                <a:cxn ang="0">
                  <a:pos x="1154" y="156"/>
                </a:cxn>
                <a:cxn ang="0">
                  <a:pos x="1624" y="254"/>
                </a:cxn>
                <a:cxn ang="0">
                  <a:pos x="1624" y="290"/>
                </a:cxn>
                <a:cxn ang="0">
                  <a:pos x="306" y="488"/>
                </a:cxn>
                <a:cxn ang="0">
                  <a:pos x="574" y="18"/>
                </a:cxn>
                <a:cxn ang="0">
                  <a:pos x="1142" y="22"/>
                </a:cxn>
                <a:cxn ang="0">
                  <a:pos x="568" y="40"/>
                </a:cxn>
                <a:cxn ang="0">
                  <a:pos x="440" y="46"/>
                </a:cxn>
                <a:cxn ang="0">
                  <a:pos x="422" y="28"/>
                </a:cxn>
                <a:cxn ang="0">
                  <a:pos x="1112" y="70"/>
                </a:cxn>
                <a:cxn ang="0">
                  <a:pos x="1160" y="92"/>
                </a:cxn>
                <a:cxn ang="0">
                  <a:pos x="1096" y="76"/>
                </a:cxn>
                <a:cxn ang="0">
                  <a:pos x="1282" y="86"/>
                </a:cxn>
                <a:cxn ang="0">
                  <a:pos x="1166" y="144"/>
                </a:cxn>
                <a:cxn ang="0">
                  <a:pos x="718" y="180"/>
                </a:cxn>
                <a:cxn ang="0">
                  <a:pos x="574" y="238"/>
                </a:cxn>
                <a:cxn ang="0">
                  <a:pos x="550" y="220"/>
                </a:cxn>
                <a:cxn ang="0">
                  <a:pos x="1182" y="156"/>
                </a:cxn>
                <a:cxn ang="0">
                  <a:pos x="1166" y="180"/>
                </a:cxn>
                <a:cxn ang="0">
                  <a:pos x="1820" y="186"/>
                </a:cxn>
                <a:cxn ang="0">
                  <a:pos x="1860" y="214"/>
                </a:cxn>
                <a:cxn ang="0">
                  <a:pos x="1982" y="202"/>
                </a:cxn>
                <a:cxn ang="0">
                  <a:pos x="910" y="220"/>
                </a:cxn>
                <a:cxn ang="0">
                  <a:pos x="950" y="232"/>
                </a:cxn>
                <a:cxn ang="0">
                  <a:pos x="1634" y="250"/>
                </a:cxn>
                <a:cxn ang="0">
                  <a:pos x="510" y="266"/>
                </a:cxn>
                <a:cxn ang="0">
                  <a:pos x="562" y="330"/>
                </a:cxn>
                <a:cxn ang="0">
                  <a:pos x="880" y="284"/>
                </a:cxn>
                <a:cxn ang="0">
                  <a:pos x="2266" y="360"/>
                </a:cxn>
                <a:cxn ang="0">
                  <a:pos x="434" y="372"/>
                </a:cxn>
                <a:cxn ang="0">
                  <a:pos x="2186" y="638"/>
                </a:cxn>
                <a:cxn ang="0">
                  <a:pos x="1856" y="858"/>
                </a:cxn>
                <a:cxn ang="0">
                  <a:pos x="1878" y="818"/>
                </a:cxn>
                <a:cxn ang="0">
                  <a:pos x="2046" y="852"/>
                </a:cxn>
                <a:cxn ang="0">
                  <a:pos x="1908" y="968"/>
                </a:cxn>
              </a:cxnLst>
              <a:rect l="0" t="0" r="r" b="b"/>
              <a:pathLst>
                <a:path w="2590" h="1026">
                  <a:moveTo>
                    <a:pt x="812" y="760"/>
                  </a:moveTo>
                  <a:lnTo>
                    <a:pt x="818" y="760"/>
                  </a:lnTo>
                  <a:lnTo>
                    <a:pt x="822" y="754"/>
                  </a:lnTo>
                  <a:lnTo>
                    <a:pt x="812" y="754"/>
                  </a:lnTo>
                  <a:lnTo>
                    <a:pt x="812" y="760"/>
                  </a:lnTo>
                  <a:close/>
                  <a:moveTo>
                    <a:pt x="1802" y="748"/>
                  </a:moveTo>
                  <a:lnTo>
                    <a:pt x="1798" y="754"/>
                  </a:lnTo>
                  <a:lnTo>
                    <a:pt x="1802" y="754"/>
                  </a:lnTo>
                  <a:lnTo>
                    <a:pt x="1802" y="748"/>
                  </a:lnTo>
                  <a:close/>
                  <a:moveTo>
                    <a:pt x="260" y="940"/>
                  </a:moveTo>
                  <a:lnTo>
                    <a:pt x="260" y="946"/>
                  </a:lnTo>
                  <a:lnTo>
                    <a:pt x="266" y="946"/>
                  </a:lnTo>
                  <a:lnTo>
                    <a:pt x="266" y="940"/>
                  </a:lnTo>
                  <a:lnTo>
                    <a:pt x="260" y="940"/>
                  </a:lnTo>
                  <a:close/>
                  <a:moveTo>
                    <a:pt x="132" y="586"/>
                  </a:moveTo>
                  <a:lnTo>
                    <a:pt x="128" y="586"/>
                  </a:lnTo>
                  <a:lnTo>
                    <a:pt x="128" y="592"/>
                  </a:lnTo>
                  <a:lnTo>
                    <a:pt x="132" y="592"/>
                  </a:lnTo>
                  <a:lnTo>
                    <a:pt x="132" y="586"/>
                  </a:lnTo>
                  <a:close/>
                  <a:moveTo>
                    <a:pt x="528" y="830"/>
                  </a:moveTo>
                  <a:lnTo>
                    <a:pt x="532" y="824"/>
                  </a:lnTo>
                  <a:lnTo>
                    <a:pt x="528" y="824"/>
                  </a:lnTo>
                  <a:lnTo>
                    <a:pt x="528" y="830"/>
                  </a:lnTo>
                  <a:close/>
                  <a:moveTo>
                    <a:pt x="1664" y="296"/>
                  </a:moveTo>
                  <a:lnTo>
                    <a:pt x="1658" y="296"/>
                  </a:lnTo>
                  <a:lnTo>
                    <a:pt x="1658" y="302"/>
                  </a:lnTo>
                  <a:lnTo>
                    <a:pt x="1664" y="302"/>
                  </a:lnTo>
                  <a:lnTo>
                    <a:pt x="1664" y="296"/>
                  </a:lnTo>
                  <a:close/>
                  <a:moveTo>
                    <a:pt x="190" y="348"/>
                  </a:moveTo>
                  <a:lnTo>
                    <a:pt x="186" y="348"/>
                  </a:lnTo>
                  <a:lnTo>
                    <a:pt x="186" y="354"/>
                  </a:lnTo>
                  <a:lnTo>
                    <a:pt x="190" y="354"/>
                  </a:lnTo>
                  <a:lnTo>
                    <a:pt x="190" y="348"/>
                  </a:lnTo>
                  <a:close/>
                  <a:moveTo>
                    <a:pt x="2122" y="580"/>
                  </a:moveTo>
                  <a:lnTo>
                    <a:pt x="2122" y="586"/>
                  </a:lnTo>
                  <a:lnTo>
                    <a:pt x="2128" y="586"/>
                  </a:lnTo>
                  <a:lnTo>
                    <a:pt x="2128" y="580"/>
                  </a:lnTo>
                  <a:lnTo>
                    <a:pt x="2122" y="580"/>
                  </a:lnTo>
                  <a:close/>
                  <a:moveTo>
                    <a:pt x="1792" y="748"/>
                  </a:moveTo>
                  <a:lnTo>
                    <a:pt x="1780" y="748"/>
                  </a:lnTo>
                  <a:lnTo>
                    <a:pt x="1780" y="754"/>
                  </a:lnTo>
                  <a:lnTo>
                    <a:pt x="1792" y="754"/>
                  </a:lnTo>
                  <a:lnTo>
                    <a:pt x="1792" y="748"/>
                  </a:lnTo>
                  <a:close/>
                  <a:moveTo>
                    <a:pt x="638" y="760"/>
                  </a:moveTo>
                  <a:lnTo>
                    <a:pt x="638" y="754"/>
                  </a:lnTo>
                  <a:lnTo>
                    <a:pt x="632" y="754"/>
                  </a:lnTo>
                  <a:lnTo>
                    <a:pt x="632" y="760"/>
                  </a:lnTo>
                  <a:lnTo>
                    <a:pt x="638" y="760"/>
                  </a:lnTo>
                  <a:close/>
                  <a:moveTo>
                    <a:pt x="1002" y="232"/>
                  </a:moveTo>
                  <a:lnTo>
                    <a:pt x="1008" y="232"/>
                  </a:lnTo>
                  <a:lnTo>
                    <a:pt x="1008" y="226"/>
                  </a:lnTo>
                  <a:lnTo>
                    <a:pt x="1002" y="226"/>
                  </a:lnTo>
                  <a:lnTo>
                    <a:pt x="1002" y="232"/>
                  </a:lnTo>
                  <a:close/>
                  <a:moveTo>
                    <a:pt x="360" y="382"/>
                  </a:moveTo>
                  <a:lnTo>
                    <a:pt x="360" y="388"/>
                  </a:lnTo>
                  <a:lnTo>
                    <a:pt x="364" y="388"/>
                  </a:lnTo>
                  <a:lnTo>
                    <a:pt x="364" y="382"/>
                  </a:lnTo>
                  <a:lnTo>
                    <a:pt x="360" y="382"/>
                  </a:lnTo>
                  <a:close/>
                  <a:moveTo>
                    <a:pt x="1008" y="214"/>
                  </a:moveTo>
                  <a:lnTo>
                    <a:pt x="1008" y="220"/>
                  </a:lnTo>
                  <a:lnTo>
                    <a:pt x="1014" y="220"/>
                  </a:lnTo>
                  <a:lnTo>
                    <a:pt x="1014" y="214"/>
                  </a:lnTo>
                  <a:lnTo>
                    <a:pt x="1008" y="214"/>
                  </a:lnTo>
                  <a:close/>
                  <a:moveTo>
                    <a:pt x="2504" y="418"/>
                  </a:moveTo>
                  <a:lnTo>
                    <a:pt x="2504" y="424"/>
                  </a:lnTo>
                  <a:lnTo>
                    <a:pt x="2510" y="424"/>
                  </a:lnTo>
                  <a:lnTo>
                    <a:pt x="2504" y="418"/>
                  </a:lnTo>
                  <a:close/>
                  <a:moveTo>
                    <a:pt x="2568" y="440"/>
                  </a:moveTo>
                  <a:lnTo>
                    <a:pt x="2562" y="440"/>
                  </a:lnTo>
                  <a:lnTo>
                    <a:pt x="2562" y="434"/>
                  </a:lnTo>
                  <a:lnTo>
                    <a:pt x="2550" y="434"/>
                  </a:lnTo>
                  <a:lnTo>
                    <a:pt x="2550" y="430"/>
                  </a:lnTo>
                  <a:lnTo>
                    <a:pt x="2546" y="430"/>
                  </a:lnTo>
                  <a:lnTo>
                    <a:pt x="2540" y="434"/>
                  </a:lnTo>
                  <a:lnTo>
                    <a:pt x="2528" y="434"/>
                  </a:lnTo>
                  <a:lnTo>
                    <a:pt x="2528" y="424"/>
                  </a:lnTo>
                  <a:lnTo>
                    <a:pt x="2510" y="424"/>
                  </a:lnTo>
                  <a:lnTo>
                    <a:pt x="2510" y="430"/>
                  </a:lnTo>
                  <a:lnTo>
                    <a:pt x="2516" y="430"/>
                  </a:lnTo>
                  <a:lnTo>
                    <a:pt x="2522" y="434"/>
                  </a:lnTo>
                  <a:lnTo>
                    <a:pt x="2516" y="434"/>
                  </a:lnTo>
                  <a:lnTo>
                    <a:pt x="2516" y="446"/>
                  </a:lnTo>
                  <a:lnTo>
                    <a:pt x="2510" y="446"/>
                  </a:lnTo>
                  <a:lnTo>
                    <a:pt x="2510" y="440"/>
                  </a:lnTo>
                  <a:lnTo>
                    <a:pt x="2504" y="440"/>
                  </a:lnTo>
                  <a:lnTo>
                    <a:pt x="2504" y="434"/>
                  </a:lnTo>
                  <a:lnTo>
                    <a:pt x="2510" y="434"/>
                  </a:lnTo>
                  <a:lnTo>
                    <a:pt x="2510" y="430"/>
                  </a:lnTo>
                  <a:lnTo>
                    <a:pt x="2504" y="430"/>
                  </a:lnTo>
                  <a:lnTo>
                    <a:pt x="2504" y="424"/>
                  </a:lnTo>
                  <a:lnTo>
                    <a:pt x="2498" y="424"/>
                  </a:lnTo>
                  <a:lnTo>
                    <a:pt x="2498" y="412"/>
                  </a:lnTo>
                  <a:lnTo>
                    <a:pt x="2488" y="406"/>
                  </a:lnTo>
                  <a:lnTo>
                    <a:pt x="2482" y="406"/>
                  </a:lnTo>
                  <a:lnTo>
                    <a:pt x="2482" y="400"/>
                  </a:lnTo>
                  <a:lnTo>
                    <a:pt x="2470" y="400"/>
                  </a:lnTo>
                  <a:lnTo>
                    <a:pt x="2470" y="394"/>
                  </a:lnTo>
                  <a:lnTo>
                    <a:pt x="2458" y="394"/>
                  </a:lnTo>
                  <a:lnTo>
                    <a:pt x="2458" y="388"/>
                  </a:lnTo>
                  <a:lnTo>
                    <a:pt x="2446" y="388"/>
                  </a:lnTo>
                  <a:lnTo>
                    <a:pt x="2446" y="382"/>
                  </a:lnTo>
                  <a:lnTo>
                    <a:pt x="2434" y="382"/>
                  </a:lnTo>
                  <a:lnTo>
                    <a:pt x="2434" y="376"/>
                  </a:lnTo>
                  <a:lnTo>
                    <a:pt x="2430" y="376"/>
                  </a:lnTo>
                  <a:lnTo>
                    <a:pt x="2424" y="372"/>
                  </a:lnTo>
                  <a:lnTo>
                    <a:pt x="2418" y="372"/>
                  </a:lnTo>
                  <a:lnTo>
                    <a:pt x="2412" y="366"/>
                  </a:lnTo>
                  <a:lnTo>
                    <a:pt x="2412" y="372"/>
                  </a:lnTo>
                  <a:lnTo>
                    <a:pt x="2406" y="372"/>
                  </a:lnTo>
                  <a:lnTo>
                    <a:pt x="2406" y="366"/>
                  </a:lnTo>
                  <a:lnTo>
                    <a:pt x="2400" y="366"/>
                  </a:lnTo>
                  <a:lnTo>
                    <a:pt x="2394" y="360"/>
                  </a:lnTo>
                  <a:lnTo>
                    <a:pt x="2372" y="360"/>
                  </a:lnTo>
                  <a:lnTo>
                    <a:pt x="2372" y="354"/>
                  </a:lnTo>
                  <a:lnTo>
                    <a:pt x="2330" y="354"/>
                  </a:lnTo>
                  <a:lnTo>
                    <a:pt x="2330" y="348"/>
                  </a:lnTo>
                  <a:lnTo>
                    <a:pt x="2324" y="348"/>
                  </a:lnTo>
                  <a:lnTo>
                    <a:pt x="2324" y="354"/>
                  </a:lnTo>
                  <a:lnTo>
                    <a:pt x="2318" y="354"/>
                  </a:lnTo>
                  <a:lnTo>
                    <a:pt x="2318" y="348"/>
                  </a:lnTo>
                  <a:lnTo>
                    <a:pt x="2296" y="348"/>
                  </a:lnTo>
                  <a:lnTo>
                    <a:pt x="2296" y="342"/>
                  </a:lnTo>
                  <a:lnTo>
                    <a:pt x="2284" y="342"/>
                  </a:lnTo>
                  <a:lnTo>
                    <a:pt x="2284" y="360"/>
                  </a:lnTo>
                  <a:lnTo>
                    <a:pt x="2290" y="360"/>
                  </a:lnTo>
                  <a:lnTo>
                    <a:pt x="2290" y="376"/>
                  </a:lnTo>
                  <a:lnTo>
                    <a:pt x="2284" y="376"/>
                  </a:lnTo>
                  <a:lnTo>
                    <a:pt x="2284" y="382"/>
                  </a:lnTo>
                  <a:lnTo>
                    <a:pt x="2266" y="382"/>
                  </a:lnTo>
                  <a:lnTo>
                    <a:pt x="2266" y="372"/>
                  </a:lnTo>
                  <a:lnTo>
                    <a:pt x="2250" y="372"/>
                  </a:lnTo>
                  <a:lnTo>
                    <a:pt x="2250" y="360"/>
                  </a:lnTo>
                  <a:lnTo>
                    <a:pt x="2150" y="360"/>
                  </a:lnTo>
                  <a:lnTo>
                    <a:pt x="2150" y="382"/>
                  </a:lnTo>
                  <a:lnTo>
                    <a:pt x="2146" y="382"/>
                  </a:lnTo>
                  <a:lnTo>
                    <a:pt x="2146" y="388"/>
                  </a:lnTo>
                  <a:lnTo>
                    <a:pt x="2140" y="388"/>
                  </a:lnTo>
                  <a:lnTo>
                    <a:pt x="2146" y="382"/>
                  </a:lnTo>
                  <a:lnTo>
                    <a:pt x="2146" y="372"/>
                  </a:lnTo>
                  <a:lnTo>
                    <a:pt x="2140" y="372"/>
                  </a:lnTo>
                  <a:lnTo>
                    <a:pt x="2140" y="360"/>
                  </a:lnTo>
                  <a:lnTo>
                    <a:pt x="2128" y="360"/>
                  </a:lnTo>
                  <a:lnTo>
                    <a:pt x="2122" y="354"/>
                  </a:lnTo>
                  <a:lnTo>
                    <a:pt x="2122" y="348"/>
                  </a:lnTo>
                  <a:lnTo>
                    <a:pt x="2128" y="342"/>
                  </a:lnTo>
                  <a:lnTo>
                    <a:pt x="2128" y="330"/>
                  </a:lnTo>
                  <a:lnTo>
                    <a:pt x="2116" y="330"/>
                  </a:lnTo>
                  <a:lnTo>
                    <a:pt x="2110" y="324"/>
                  </a:lnTo>
                  <a:lnTo>
                    <a:pt x="2104" y="324"/>
                  </a:lnTo>
                  <a:lnTo>
                    <a:pt x="2098" y="318"/>
                  </a:lnTo>
                  <a:lnTo>
                    <a:pt x="2034" y="318"/>
                  </a:lnTo>
                  <a:lnTo>
                    <a:pt x="2034" y="324"/>
                  </a:lnTo>
                  <a:lnTo>
                    <a:pt x="2006" y="324"/>
                  </a:lnTo>
                  <a:lnTo>
                    <a:pt x="2006" y="318"/>
                  </a:lnTo>
                  <a:lnTo>
                    <a:pt x="2000" y="318"/>
                  </a:lnTo>
                  <a:lnTo>
                    <a:pt x="2000" y="312"/>
                  </a:lnTo>
                  <a:lnTo>
                    <a:pt x="1994" y="312"/>
                  </a:lnTo>
                  <a:lnTo>
                    <a:pt x="1988" y="308"/>
                  </a:lnTo>
                  <a:lnTo>
                    <a:pt x="1982" y="312"/>
                  </a:lnTo>
                  <a:lnTo>
                    <a:pt x="1982" y="308"/>
                  </a:lnTo>
                  <a:lnTo>
                    <a:pt x="1966" y="308"/>
                  </a:lnTo>
                  <a:lnTo>
                    <a:pt x="1966" y="302"/>
                  </a:lnTo>
                  <a:lnTo>
                    <a:pt x="1960" y="302"/>
                  </a:lnTo>
                  <a:lnTo>
                    <a:pt x="1960" y="296"/>
                  </a:lnTo>
                  <a:lnTo>
                    <a:pt x="1966" y="296"/>
                  </a:lnTo>
                  <a:lnTo>
                    <a:pt x="1972" y="302"/>
                  </a:lnTo>
                  <a:lnTo>
                    <a:pt x="1972" y="290"/>
                  </a:lnTo>
                  <a:lnTo>
                    <a:pt x="1960" y="290"/>
                  </a:lnTo>
                  <a:lnTo>
                    <a:pt x="1960" y="284"/>
                  </a:lnTo>
                  <a:lnTo>
                    <a:pt x="1930" y="284"/>
                  </a:lnTo>
                  <a:lnTo>
                    <a:pt x="1924" y="290"/>
                  </a:lnTo>
                  <a:lnTo>
                    <a:pt x="1914" y="302"/>
                  </a:lnTo>
                  <a:lnTo>
                    <a:pt x="1908" y="302"/>
                  </a:lnTo>
                  <a:lnTo>
                    <a:pt x="1902" y="308"/>
                  </a:lnTo>
                  <a:lnTo>
                    <a:pt x="1902" y="302"/>
                  </a:lnTo>
                  <a:lnTo>
                    <a:pt x="1896" y="302"/>
                  </a:lnTo>
                  <a:lnTo>
                    <a:pt x="1902" y="296"/>
                  </a:lnTo>
                  <a:lnTo>
                    <a:pt x="1908" y="296"/>
                  </a:lnTo>
                  <a:lnTo>
                    <a:pt x="1908" y="290"/>
                  </a:lnTo>
                  <a:lnTo>
                    <a:pt x="1924" y="290"/>
                  </a:lnTo>
                  <a:lnTo>
                    <a:pt x="1924" y="284"/>
                  </a:lnTo>
                  <a:lnTo>
                    <a:pt x="1918" y="278"/>
                  </a:lnTo>
                  <a:lnTo>
                    <a:pt x="1902" y="278"/>
                  </a:lnTo>
                  <a:lnTo>
                    <a:pt x="1902" y="284"/>
                  </a:lnTo>
                  <a:lnTo>
                    <a:pt x="1896" y="284"/>
                  </a:lnTo>
                  <a:lnTo>
                    <a:pt x="1896" y="290"/>
                  </a:lnTo>
                  <a:lnTo>
                    <a:pt x="1890" y="290"/>
                  </a:lnTo>
                  <a:lnTo>
                    <a:pt x="1884" y="290"/>
                  </a:lnTo>
                  <a:lnTo>
                    <a:pt x="1884" y="284"/>
                  </a:lnTo>
                  <a:lnTo>
                    <a:pt x="1890" y="284"/>
                  </a:lnTo>
                  <a:lnTo>
                    <a:pt x="1890" y="290"/>
                  </a:lnTo>
                  <a:lnTo>
                    <a:pt x="1896" y="284"/>
                  </a:lnTo>
                  <a:lnTo>
                    <a:pt x="1896" y="278"/>
                  </a:lnTo>
                  <a:lnTo>
                    <a:pt x="1884" y="278"/>
                  </a:lnTo>
                  <a:lnTo>
                    <a:pt x="1878" y="272"/>
                  </a:lnTo>
                  <a:lnTo>
                    <a:pt x="1844" y="272"/>
                  </a:lnTo>
                  <a:lnTo>
                    <a:pt x="1844" y="266"/>
                  </a:lnTo>
                  <a:lnTo>
                    <a:pt x="1832" y="266"/>
                  </a:lnTo>
                  <a:lnTo>
                    <a:pt x="1832" y="272"/>
                  </a:lnTo>
                  <a:lnTo>
                    <a:pt x="1838" y="272"/>
                  </a:lnTo>
                  <a:lnTo>
                    <a:pt x="1838" y="278"/>
                  </a:lnTo>
                  <a:lnTo>
                    <a:pt x="1814" y="278"/>
                  </a:lnTo>
                  <a:lnTo>
                    <a:pt x="1808" y="284"/>
                  </a:lnTo>
                  <a:lnTo>
                    <a:pt x="1808" y="290"/>
                  </a:lnTo>
                  <a:lnTo>
                    <a:pt x="1814" y="290"/>
                  </a:lnTo>
                  <a:lnTo>
                    <a:pt x="1820" y="284"/>
                  </a:lnTo>
                  <a:lnTo>
                    <a:pt x="1826" y="290"/>
                  </a:lnTo>
                  <a:lnTo>
                    <a:pt x="1820" y="290"/>
                  </a:lnTo>
                  <a:lnTo>
                    <a:pt x="1820" y="308"/>
                  </a:lnTo>
                  <a:lnTo>
                    <a:pt x="1792" y="308"/>
                  </a:lnTo>
                  <a:lnTo>
                    <a:pt x="1792" y="318"/>
                  </a:lnTo>
                  <a:lnTo>
                    <a:pt x="1786" y="312"/>
                  </a:lnTo>
                  <a:lnTo>
                    <a:pt x="1780" y="308"/>
                  </a:lnTo>
                  <a:lnTo>
                    <a:pt x="1740" y="308"/>
                  </a:lnTo>
                  <a:lnTo>
                    <a:pt x="1740" y="312"/>
                  </a:lnTo>
                  <a:lnTo>
                    <a:pt x="1734" y="308"/>
                  </a:lnTo>
                  <a:lnTo>
                    <a:pt x="1716" y="308"/>
                  </a:lnTo>
                  <a:lnTo>
                    <a:pt x="1716" y="296"/>
                  </a:lnTo>
                  <a:lnTo>
                    <a:pt x="1710" y="296"/>
                  </a:lnTo>
                  <a:lnTo>
                    <a:pt x="1704" y="302"/>
                  </a:lnTo>
                  <a:lnTo>
                    <a:pt x="1704" y="318"/>
                  </a:lnTo>
                  <a:lnTo>
                    <a:pt x="1698" y="318"/>
                  </a:lnTo>
                  <a:lnTo>
                    <a:pt x="1692" y="324"/>
                  </a:lnTo>
                  <a:lnTo>
                    <a:pt x="1686" y="330"/>
                  </a:lnTo>
                  <a:lnTo>
                    <a:pt x="1686" y="324"/>
                  </a:lnTo>
                  <a:lnTo>
                    <a:pt x="1682" y="318"/>
                  </a:lnTo>
                  <a:lnTo>
                    <a:pt x="1682" y="324"/>
                  </a:lnTo>
                  <a:lnTo>
                    <a:pt x="1676" y="324"/>
                  </a:lnTo>
                  <a:lnTo>
                    <a:pt x="1676" y="318"/>
                  </a:lnTo>
                  <a:lnTo>
                    <a:pt x="1664" y="318"/>
                  </a:lnTo>
                  <a:lnTo>
                    <a:pt x="1664" y="308"/>
                  </a:lnTo>
                  <a:lnTo>
                    <a:pt x="1652" y="308"/>
                  </a:lnTo>
                  <a:lnTo>
                    <a:pt x="1652" y="296"/>
                  </a:lnTo>
                  <a:lnTo>
                    <a:pt x="1646" y="296"/>
                  </a:lnTo>
                  <a:lnTo>
                    <a:pt x="1646" y="290"/>
                  </a:lnTo>
                  <a:lnTo>
                    <a:pt x="1640" y="290"/>
                  </a:lnTo>
                  <a:lnTo>
                    <a:pt x="1640" y="284"/>
                  </a:lnTo>
                  <a:lnTo>
                    <a:pt x="1628" y="284"/>
                  </a:lnTo>
                  <a:lnTo>
                    <a:pt x="1628" y="278"/>
                  </a:lnTo>
                  <a:lnTo>
                    <a:pt x="1624" y="278"/>
                  </a:lnTo>
                  <a:lnTo>
                    <a:pt x="1624" y="290"/>
                  </a:lnTo>
                  <a:lnTo>
                    <a:pt x="1618" y="284"/>
                  </a:lnTo>
                  <a:lnTo>
                    <a:pt x="1600" y="284"/>
                  </a:lnTo>
                  <a:lnTo>
                    <a:pt x="1600" y="278"/>
                  </a:lnTo>
                  <a:lnTo>
                    <a:pt x="1588" y="278"/>
                  </a:lnTo>
                  <a:lnTo>
                    <a:pt x="1582" y="272"/>
                  </a:lnTo>
                  <a:lnTo>
                    <a:pt x="1560" y="272"/>
                  </a:lnTo>
                  <a:lnTo>
                    <a:pt x="1560" y="266"/>
                  </a:lnTo>
                  <a:lnTo>
                    <a:pt x="1512" y="266"/>
                  </a:lnTo>
                  <a:lnTo>
                    <a:pt x="1508" y="260"/>
                  </a:lnTo>
                  <a:lnTo>
                    <a:pt x="1502" y="260"/>
                  </a:lnTo>
                  <a:lnTo>
                    <a:pt x="1496" y="254"/>
                  </a:lnTo>
                  <a:lnTo>
                    <a:pt x="1508" y="254"/>
                  </a:lnTo>
                  <a:lnTo>
                    <a:pt x="1502" y="250"/>
                  </a:lnTo>
                  <a:lnTo>
                    <a:pt x="1472" y="250"/>
                  </a:lnTo>
                  <a:lnTo>
                    <a:pt x="1472" y="244"/>
                  </a:lnTo>
                  <a:lnTo>
                    <a:pt x="1444" y="244"/>
                  </a:lnTo>
                  <a:lnTo>
                    <a:pt x="1444" y="250"/>
                  </a:lnTo>
                  <a:lnTo>
                    <a:pt x="1420" y="250"/>
                  </a:lnTo>
                  <a:lnTo>
                    <a:pt x="1420" y="254"/>
                  </a:lnTo>
                  <a:lnTo>
                    <a:pt x="1414" y="254"/>
                  </a:lnTo>
                  <a:lnTo>
                    <a:pt x="1420" y="250"/>
                  </a:lnTo>
                  <a:lnTo>
                    <a:pt x="1420" y="244"/>
                  </a:lnTo>
                  <a:lnTo>
                    <a:pt x="1386" y="244"/>
                  </a:lnTo>
                  <a:lnTo>
                    <a:pt x="1380" y="238"/>
                  </a:lnTo>
                  <a:lnTo>
                    <a:pt x="1368" y="238"/>
                  </a:lnTo>
                  <a:lnTo>
                    <a:pt x="1368" y="244"/>
                  </a:lnTo>
                  <a:lnTo>
                    <a:pt x="1374" y="244"/>
                  </a:lnTo>
                  <a:lnTo>
                    <a:pt x="1374" y="250"/>
                  </a:lnTo>
                  <a:lnTo>
                    <a:pt x="1368" y="250"/>
                  </a:lnTo>
                  <a:lnTo>
                    <a:pt x="1368" y="254"/>
                  </a:lnTo>
                  <a:lnTo>
                    <a:pt x="1340" y="254"/>
                  </a:lnTo>
                  <a:lnTo>
                    <a:pt x="1340" y="260"/>
                  </a:lnTo>
                  <a:lnTo>
                    <a:pt x="1310" y="260"/>
                  </a:lnTo>
                  <a:lnTo>
                    <a:pt x="1310" y="266"/>
                  </a:lnTo>
                  <a:lnTo>
                    <a:pt x="1304" y="266"/>
                  </a:lnTo>
                  <a:lnTo>
                    <a:pt x="1298" y="272"/>
                  </a:lnTo>
                  <a:lnTo>
                    <a:pt x="1292" y="272"/>
                  </a:lnTo>
                  <a:lnTo>
                    <a:pt x="1298" y="266"/>
                  </a:lnTo>
                  <a:lnTo>
                    <a:pt x="1304" y="266"/>
                  </a:lnTo>
                  <a:lnTo>
                    <a:pt x="1304" y="254"/>
                  </a:lnTo>
                  <a:lnTo>
                    <a:pt x="1322" y="254"/>
                  </a:lnTo>
                  <a:lnTo>
                    <a:pt x="1328" y="250"/>
                  </a:lnTo>
                  <a:lnTo>
                    <a:pt x="1334" y="250"/>
                  </a:lnTo>
                  <a:lnTo>
                    <a:pt x="1340" y="244"/>
                  </a:lnTo>
                  <a:lnTo>
                    <a:pt x="1350" y="244"/>
                  </a:lnTo>
                  <a:lnTo>
                    <a:pt x="1350" y="238"/>
                  </a:lnTo>
                  <a:lnTo>
                    <a:pt x="1356" y="238"/>
                  </a:lnTo>
                  <a:lnTo>
                    <a:pt x="1356" y="232"/>
                  </a:lnTo>
                  <a:lnTo>
                    <a:pt x="1368" y="232"/>
                  </a:lnTo>
                  <a:lnTo>
                    <a:pt x="1368" y="226"/>
                  </a:lnTo>
                  <a:lnTo>
                    <a:pt x="1380" y="226"/>
                  </a:lnTo>
                  <a:lnTo>
                    <a:pt x="1380" y="220"/>
                  </a:lnTo>
                  <a:lnTo>
                    <a:pt x="1386" y="220"/>
                  </a:lnTo>
                  <a:lnTo>
                    <a:pt x="1386" y="214"/>
                  </a:lnTo>
                  <a:lnTo>
                    <a:pt x="1402" y="214"/>
                  </a:lnTo>
                  <a:lnTo>
                    <a:pt x="1402" y="208"/>
                  </a:lnTo>
                  <a:lnTo>
                    <a:pt x="1408" y="208"/>
                  </a:lnTo>
                  <a:lnTo>
                    <a:pt x="1414" y="202"/>
                  </a:lnTo>
                  <a:lnTo>
                    <a:pt x="1420" y="202"/>
                  </a:lnTo>
                  <a:lnTo>
                    <a:pt x="1420" y="196"/>
                  </a:lnTo>
                  <a:lnTo>
                    <a:pt x="1426" y="196"/>
                  </a:lnTo>
                  <a:lnTo>
                    <a:pt x="1420" y="192"/>
                  </a:lnTo>
                  <a:lnTo>
                    <a:pt x="1426" y="192"/>
                  </a:lnTo>
                  <a:lnTo>
                    <a:pt x="1426" y="180"/>
                  </a:lnTo>
                  <a:lnTo>
                    <a:pt x="1420" y="180"/>
                  </a:lnTo>
                  <a:lnTo>
                    <a:pt x="1420" y="168"/>
                  </a:lnTo>
                  <a:lnTo>
                    <a:pt x="1414" y="174"/>
                  </a:lnTo>
                  <a:lnTo>
                    <a:pt x="1414" y="180"/>
                  </a:lnTo>
                  <a:lnTo>
                    <a:pt x="1408" y="180"/>
                  </a:lnTo>
                  <a:lnTo>
                    <a:pt x="1408" y="186"/>
                  </a:lnTo>
                  <a:lnTo>
                    <a:pt x="1414" y="186"/>
                  </a:lnTo>
                  <a:lnTo>
                    <a:pt x="1414" y="192"/>
                  </a:lnTo>
                  <a:lnTo>
                    <a:pt x="1408" y="192"/>
                  </a:lnTo>
                  <a:lnTo>
                    <a:pt x="1408" y="186"/>
                  </a:lnTo>
                  <a:lnTo>
                    <a:pt x="1402" y="186"/>
                  </a:lnTo>
                  <a:lnTo>
                    <a:pt x="1402" y="180"/>
                  </a:lnTo>
                  <a:lnTo>
                    <a:pt x="1408" y="180"/>
                  </a:lnTo>
                  <a:lnTo>
                    <a:pt x="1408" y="168"/>
                  </a:lnTo>
                  <a:lnTo>
                    <a:pt x="1402" y="162"/>
                  </a:lnTo>
                  <a:lnTo>
                    <a:pt x="1392" y="162"/>
                  </a:lnTo>
                  <a:lnTo>
                    <a:pt x="1392" y="156"/>
                  </a:lnTo>
                  <a:lnTo>
                    <a:pt x="1340" y="156"/>
                  </a:lnTo>
                  <a:lnTo>
                    <a:pt x="1340" y="162"/>
                  </a:lnTo>
                  <a:lnTo>
                    <a:pt x="1322" y="162"/>
                  </a:lnTo>
                  <a:lnTo>
                    <a:pt x="1322" y="150"/>
                  </a:lnTo>
                  <a:lnTo>
                    <a:pt x="1304" y="150"/>
                  </a:lnTo>
                  <a:lnTo>
                    <a:pt x="1304" y="144"/>
                  </a:lnTo>
                  <a:lnTo>
                    <a:pt x="1292" y="144"/>
                  </a:lnTo>
                  <a:lnTo>
                    <a:pt x="1292" y="138"/>
                  </a:lnTo>
                  <a:lnTo>
                    <a:pt x="1304" y="138"/>
                  </a:lnTo>
                  <a:lnTo>
                    <a:pt x="1304" y="134"/>
                  </a:lnTo>
                  <a:lnTo>
                    <a:pt x="1292" y="134"/>
                  </a:lnTo>
                  <a:lnTo>
                    <a:pt x="1292" y="128"/>
                  </a:lnTo>
                  <a:lnTo>
                    <a:pt x="1264" y="128"/>
                  </a:lnTo>
                  <a:lnTo>
                    <a:pt x="1264" y="134"/>
                  </a:lnTo>
                  <a:lnTo>
                    <a:pt x="1252" y="134"/>
                  </a:lnTo>
                  <a:lnTo>
                    <a:pt x="1252" y="138"/>
                  </a:lnTo>
                  <a:lnTo>
                    <a:pt x="1246" y="138"/>
                  </a:lnTo>
                  <a:lnTo>
                    <a:pt x="1240" y="144"/>
                  </a:lnTo>
                  <a:lnTo>
                    <a:pt x="1234" y="144"/>
                  </a:lnTo>
                  <a:lnTo>
                    <a:pt x="1234" y="150"/>
                  </a:lnTo>
                  <a:lnTo>
                    <a:pt x="1228" y="150"/>
                  </a:lnTo>
                  <a:lnTo>
                    <a:pt x="1228" y="156"/>
                  </a:lnTo>
                  <a:lnTo>
                    <a:pt x="1234" y="156"/>
                  </a:lnTo>
                  <a:lnTo>
                    <a:pt x="1234" y="162"/>
                  </a:lnTo>
                  <a:lnTo>
                    <a:pt x="1200" y="162"/>
                  </a:lnTo>
                  <a:lnTo>
                    <a:pt x="1200" y="168"/>
                  </a:lnTo>
                  <a:lnTo>
                    <a:pt x="1212" y="168"/>
                  </a:lnTo>
                  <a:lnTo>
                    <a:pt x="1212" y="174"/>
                  </a:lnTo>
                  <a:lnTo>
                    <a:pt x="1218" y="174"/>
                  </a:lnTo>
                  <a:lnTo>
                    <a:pt x="1218" y="180"/>
                  </a:lnTo>
                  <a:lnTo>
                    <a:pt x="1212" y="186"/>
                  </a:lnTo>
                  <a:lnTo>
                    <a:pt x="1212" y="174"/>
                  </a:lnTo>
                  <a:lnTo>
                    <a:pt x="1200" y="174"/>
                  </a:lnTo>
                  <a:lnTo>
                    <a:pt x="1200" y="168"/>
                  </a:lnTo>
                  <a:lnTo>
                    <a:pt x="1194" y="174"/>
                  </a:lnTo>
                  <a:lnTo>
                    <a:pt x="1188" y="174"/>
                  </a:lnTo>
                  <a:lnTo>
                    <a:pt x="1188" y="180"/>
                  </a:lnTo>
                  <a:lnTo>
                    <a:pt x="1160" y="180"/>
                  </a:lnTo>
                  <a:lnTo>
                    <a:pt x="1154" y="174"/>
                  </a:lnTo>
                  <a:lnTo>
                    <a:pt x="1136" y="174"/>
                  </a:lnTo>
                  <a:lnTo>
                    <a:pt x="1142" y="180"/>
                  </a:lnTo>
                  <a:lnTo>
                    <a:pt x="1130" y="180"/>
                  </a:lnTo>
                  <a:lnTo>
                    <a:pt x="1124" y="174"/>
                  </a:lnTo>
                  <a:lnTo>
                    <a:pt x="1118" y="174"/>
                  </a:lnTo>
                  <a:lnTo>
                    <a:pt x="1118" y="186"/>
                  </a:lnTo>
                  <a:lnTo>
                    <a:pt x="1090" y="186"/>
                  </a:lnTo>
                  <a:lnTo>
                    <a:pt x="1090" y="192"/>
                  </a:lnTo>
                  <a:lnTo>
                    <a:pt x="1060" y="192"/>
                  </a:lnTo>
                  <a:lnTo>
                    <a:pt x="1054" y="196"/>
                  </a:lnTo>
                  <a:lnTo>
                    <a:pt x="1054" y="192"/>
                  </a:lnTo>
                  <a:lnTo>
                    <a:pt x="1050" y="192"/>
                  </a:lnTo>
                  <a:lnTo>
                    <a:pt x="1050" y="196"/>
                  </a:lnTo>
                  <a:lnTo>
                    <a:pt x="1044" y="196"/>
                  </a:lnTo>
                  <a:lnTo>
                    <a:pt x="1038" y="202"/>
                  </a:lnTo>
                  <a:lnTo>
                    <a:pt x="1032" y="202"/>
                  </a:lnTo>
                  <a:lnTo>
                    <a:pt x="1032" y="208"/>
                  </a:lnTo>
                  <a:lnTo>
                    <a:pt x="1026" y="208"/>
                  </a:lnTo>
                  <a:lnTo>
                    <a:pt x="1026" y="214"/>
                  </a:lnTo>
                  <a:lnTo>
                    <a:pt x="1020" y="214"/>
                  </a:lnTo>
                  <a:lnTo>
                    <a:pt x="1020" y="220"/>
                  </a:lnTo>
                  <a:lnTo>
                    <a:pt x="1014" y="220"/>
                  </a:lnTo>
                  <a:lnTo>
                    <a:pt x="1014" y="226"/>
                  </a:lnTo>
                  <a:lnTo>
                    <a:pt x="1008" y="226"/>
                  </a:lnTo>
                  <a:lnTo>
                    <a:pt x="1014" y="232"/>
                  </a:lnTo>
                  <a:lnTo>
                    <a:pt x="1020" y="226"/>
                  </a:lnTo>
                  <a:lnTo>
                    <a:pt x="1026" y="226"/>
                  </a:lnTo>
                  <a:lnTo>
                    <a:pt x="1020" y="232"/>
                  </a:lnTo>
                  <a:lnTo>
                    <a:pt x="1026" y="232"/>
                  </a:lnTo>
                  <a:lnTo>
                    <a:pt x="1026" y="250"/>
                  </a:lnTo>
                  <a:lnTo>
                    <a:pt x="1014" y="250"/>
                  </a:lnTo>
                  <a:lnTo>
                    <a:pt x="1014" y="244"/>
                  </a:lnTo>
                  <a:lnTo>
                    <a:pt x="938" y="244"/>
                  </a:lnTo>
                  <a:lnTo>
                    <a:pt x="934" y="250"/>
                  </a:lnTo>
                  <a:lnTo>
                    <a:pt x="922" y="250"/>
                  </a:lnTo>
                  <a:lnTo>
                    <a:pt x="922" y="266"/>
                  </a:lnTo>
                  <a:lnTo>
                    <a:pt x="928" y="266"/>
                  </a:lnTo>
                  <a:lnTo>
                    <a:pt x="922" y="272"/>
                  </a:lnTo>
                  <a:lnTo>
                    <a:pt x="922" y="278"/>
                  </a:lnTo>
                  <a:lnTo>
                    <a:pt x="934" y="278"/>
                  </a:lnTo>
                  <a:lnTo>
                    <a:pt x="934" y="284"/>
                  </a:lnTo>
                  <a:lnTo>
                    <a:pt x="944" y="284"/>
                  </a:lnTo>
                  <a:lnTo>
                    <a:pt x="944" y="296"/>
                  </a:lnTo>
                  <a:lnTo>
                    <a:pt x="968" y="296"/>
                  </a:lnTo>
                  <a:lnTo>
                    <a:pt x="968" y="308"/>
                  </a:lnTo>
                  <a:lnTo>
                    <a:pt x="962" y="308"/>
                  </a:lnTo>
                  <a:lnTo>
                    <a:pt x="962" y="318"/>
                  </a:lnTo>
                  <a:lnTo>
                    <a:pt x="968" y="324"/>
                  </a:lnTo>
                  <a:lnTo>
                    <a:pt x="968" y="330"/>
                  </a:lnTo>
                  <a:lnTo>
                    <a:pt x="974" y="330"/>
                  </a:lnTo>
                  <a:lnTo>
                    <a:pt x="974" y="336"/>
                  </a:lnTo>
                  <a:lnTo>
                    <a:pt x="968" y="336"/>
                  </a:lnTo>
                  <a:lnTo>
                    <a:pt x="968" y="342"/>
                  </a:lnTo>
                  <a:lnTo>
                    <a:pt x="956" y="342"/>
                  </a:lnTo>
                  <a:lnTo>
                    <a:pt x="962" y="336"/>
                  </a:lnTo>
                  <a:lnTo>
                    <a:pt x="962" y="318"/>
                  </a:lnTo>
                  <a:lnTo>
                    <a:pt x="956" y="318"/>
                  </a:lnTo>
                  <a:lnTo>
                    <a:pt x="950" y="324"/>
                  </a:lnTo>
                  <a:lnTo>
                    <a:pt x="950" y="330"/>
                  </a:lnTo>
                  <a:lnTo>
                    <a:pt x="944" y="324"/>
                  </a:lnTo>
                  <a:lnTo>
                    <a:pt x="944" y="312"/>
                  </a:lnTo>
                  <a:lnTo>
                    <a:pt x="956" y="312"/>
                  </a:lnTo>
                  <a:lnTo>
                    <a:pt x="956" y="308"/>
                  </a:lnTo>
                  <a:lnTo>
                    <a:pt x="962" y="308"/>
                  </a:lnTo>
                  <a:lnTo>
                    <a:pt x="962" y="302"/>
                  </a:lnTo>
                  <a:lnTo>
                    <a:pt x="934" y="302"/>
                  </a:lnTo>
                  <a:lnTo>
                    <a:pt x="934" y="296"/>
                  </a:lnTo>
                  <a:lnTo>
                    <a:pt x="928" y="296"/>
                  </a:lnTo>
                  <a:lnTo>
                    <a:pt x="928" y="290"/>
                  </a:lnTo>
                  <a:lnTo>
                    <a:pt x="916" y="290"/>
                  </a:lnTo>
                  <a:lnTo>
                    <a:pt x="910" y="284"/>
                  </a:lnTo>
                  <a:lnTo>
                    <a:pt x="904" y="278"/>
                  </a:lnTo>
                  <a:lnTo>
                    <a:pt x="886" y="278"/>
                  </a:lnTo>
                  <a:lnTo>
                    <a:pt x="886" y="284"/>
                  </a:lnTo>
                  <a:lnTo>
                    <a:pt x="880" y="284"/>
                  </a:lnTo>
                  <a:lnTo>
                    <a:pt x="880" y="290"/>
                  </a:lnTo>
                  <a:lnTo>
                    <a:pt x="876" y="290"/>
                  </a:lnTo>
                  <a:lnTo>
                    <a:pt x="876" y="296"/>
                  </a:lnTo>
                  <a:lnTo>
                    <a:pt x="858" y="296"/>
                  </a:lnTo>
                  <a:lnTo>
                    <a:pt x="858" y="308"/>
                  </a:lnTo>
                  <a:lnTo>
                    <a:pt x="870" y="308"/>
                  </a:lnTo>
                  <a:lnTo>
                    <a:pt x="870" y="312"/>
                  </a:lnTo>
                  <a:lnTo>
                    <a:pt x="886" y="312"/>
                  </a:lnTo>
                  <a:lnTo>
                    <a:pt x="886" y="318"/>
                  </a:lnTo>
                  <a:lnTo>
                    <a:pt x="892" y="318"/>
                  </a:lnTo>
                  <a:lnTo>
                    <a:pt x="898" y="324"/>
                  </a:lnTo>
                  <a:lnTo>
                    <a:pt x="886" y="324"/>
                  </a:lnTo>
                  <a:lnTo>
                    <a:pt x="880" y="318"/>
                  </a:lnTo>
                  <a:lnTo>
                    <a:pt x="858" y="318"/>
                  </a:lnTo>
                  <a:lnTo>
                    <a:pt x="852" y="312"/>
                  </a:lnTo>
                  <a:lnTo>
                    <a:pt x="846" y="312"/>
                  </a:lnTo>
                  <a:lnTo>
                    <a:pt x="846" y="302"/>
                  </a:lnTo>
                  <a:lnTo>
                    <a:pt x="840" y="302"/>
                  </a:lnTo>
                  <a:lnTo>
                    <a:pt x="840" y="296"/>
                  </a:lnTo>
                  <a:lnTo>
                    <a:pt x="846" y="296"/>
                  </a:lnTo>
                  <a:lnTo>
                    <a:pt x="846" y="266"/>
                  </a:lnTo>
                  <a:lnTo>
                    <a:pt x="834" y="266"/>
                  </a:lnTo>
                  <a:lnTo>
                    <a:pt x="834" y="272"/>
                  </a:lnTo>
                  <a:lnTo>
                    <a:pt x="840" y="272"/>
                  </a:lnTo>
                  <a:lnTo>
                    <a:pt x="840" y="290"/>
                  </a:lnTo>
                  <a:lnTo>
                    <a:pt x="834" y="290"/>
                  </a:lnTo>
                  <a:lnTo>
                    <a:pt x="834" y="296"/>
                  </a:lnTo>
                  <a:lnTo>
                    <a:pt x="818" y="296"/>
                  </a:lnTo>
                  <a:lnTo>
                    <a:pt x="818" y="308"/>
                  </a:lnTo>
                  <a:lnTo>
                    <a:pt x="812" y="308"/>
                  </a:lnTo>
                  <a:lnTo>
                    <a:pt x="812" y="312"/>
                  </a:lnTo>
                  <a:lnTo>
                    <a:pt x="818" y="312"/>
                  </a:lnTo>
                  <a:lnTo>
                    <a:pt x="818" y="318"/>
                  </a:lnTo>
                  <a:lnTo>
                    <a:pt x="822" y="318"/>
                  </a:lnTo>
                  <a:lnTo>
                    <a:pt x="822" y="330"/>
                  </a:lnTo>
                  <a:lnTo>
                    <a:pt x="828" y="330"/>
                  </a:lnTo>
                  <a:lnTo>
                    <a:pt x="828" y="336"/>
                  </a:lnTo>
                  <a:lnTo>
                    <a:pt x="822" y="336"/>
                  </a:lnTo>
                  <a:lnTo>
                    <a:pt x="822" y="342"/>
                  </a:lnTo>
                  <a:lnTo>
                    <a:pt x="818" y="354"/>
                  </a:lnTo>
                  <a:lnTo>
                    <a:pt x="818" y="360"/>
                  </a:lnTo>
                  <a:lnTo>
                    <a:pt x="822" y="360"/>
                  </a:lnTo>
                  <a:lnTo>
                    <a:pt x="822" y="372"/>
                  </a:lnTo>
                  <a:lnTo>
                    <a:pt x="870" y="372"/>
                  </a:lnTo>
                  <a:lnTo>
                    <a:pt x="870" y="376"/>
                  </a:lnTo>
                  <a:lnTo>
                    <a:pt x="880" y="376"/>
                  </a:lnTo>
                  <a:lnTo>
                    <a:pt x="880" y="394"/>
                  </a:lnTo>
                  <a:lnTo>
                    <a:pt x="876" y="394"/>
                  </a:lnTo>
                  <a:lnTo>
                    <a:pt x="876" y="412"/>
                  </a:lnTo>
                  <a:lnTo>
                    <a:pt x="870" y="412"/>
                  </a:lnTo>
                  <a:lnTo>
                    <a:pt x="870" y="382"/>
                  </a:lnTo>
                  <a:lnTo>
                    <a:pt x="864" y="382"/>
                  </a:lnTo>
                  <a:lnTo>
                    <a:pt x="864" y="376"/>
                  </a:lnTo>
                  <a:lnTo>
                    <a:pt x="846" y="376"/>
                  </a:lnTo>
                  <a:lnTo>
                    <a:pt x="840" y="382"/>
                  </a:lnTo>
                  <a:lnTo>
                    <a:pt x="828" y="382"/>
                  </a:lnTo>
                  <a:lnTo>
                    <a:pt x="828" y="394"/>
                  </a:lnTo>
                  <a:lnTo>
                    <a:pt x="834" y="394"/>
                  </a:lnTo>
                  <a:lnTo>
                    <a:pt x="834" y="412"/>
                  </a:lnTo>
                  <a:lnTo>
                    <a:pt x="828" y="412"/>
                  </a:lnTo>
                  <a:lnTo>
                    <a:pt x="828" y="418"/>
                  </a:lnTo>
                  <a:lnTo>
                    <a:pt x="822" y="418"/>
                  </a:lnTo>
                  <a:lnTo>
                    <a:pt x="822" y="430"/>
                  </a:lnTo>
                  <a:lnTo>
                    <a:pt x="818" y="434"/>
                  </a:lnTo>
                  <a:lnTo>
                    <a:pt x="806" y="434"/>
                  </a:lnTo>
                  <a:lnTo>
                    <a:pt x="806" y="440"/>
                  </a:lnTo>
                  <a:lnTo>
                    <a:pt x="800" y="440"/>
                  </a:lnTo>
                  <a:lnTo>
                    <a:pt x="800" y="446"/>
                  </a:lnTo>
                  <a:lnTo>
                    <a:pt x="760" y="446"/>
                  </a:lnTo>
                  <a:lnTo>
                    <a:pt x="760" y="440"/>
                  </a:lnTo>
                  <a:lnTo>
                    <a:pt x="748" y="440"/>
                  </a:lnTo>
                  <a:lnTo>
                    <a:pt x="748" y="434"/>
                  </a:lnTo>
                  <a:lnTo>
                    <a:pt x="770" y="434"/>
                  </a:lnTo>
                  <a:lnTo>
                    <a:pt x="770" y="440"/>
                  </a:lnTo>
                  <a:lnTo>
                    <a:pt x="782" y="440"/>
                  </a:lnTo>
                  <a:lnTo>
                    <a:pt x="782" y="430"/>
                  </a:lnTo>
                  <a:lnTo>
                    <a:pt x="788" y="434"/>
                  </a:lnTo>
                  <a:lnTo>
                    <a:pt x="788" y="430"/>
                  </a:lnTo>
                  <a:lnTo>
                    <a:pt x="794" y="430"/>
                  </a:lnTo>
                  <a:lnTo>
                    <a:pt x="794" y="424"/>
                  </a:lnTo>
                  <a:lnTo>
                    <a:pt x="800" y="424"/>
                  </a:lnTo>
                  <a:lnTo>
                    <a:pt x="800" y="412"/>
                  </a:lnTo>
                  <a:lnTo>
                    <a:pt x="812" y="412"/>
                  </a:lnTo>
                  <a:lnTo>
                    <a:pt x="812" y="394"/>
                  </a:lnTo>
                  <a:lnTo>
                    <a:pt x="818" y="394"/>
                  </a:lnTo>
                  <a:lnTo>
                    <a:pt x="818" y="382"/>
                  </a:lnTo>
                  <a:lnTo>
                    <a:pt x="806" y="382"/>
                  </a:lnTo>
                  <a:lnTo>
                    <a:pt x="806" y="376"/>
                  </a:lnTo>
                  <a:lnTo>
                    <a:pt x="800" y="376"/>
                  </a:lnTo>
                  <a:lnTo>
                    <a:pt x="800" y="372"/>
                  </a:lnTo>
                  <a:lnTo>
                    <a:pt x="806" y="366"/>
                  </a:lnTo>
                  <a:lnTo>
                    <a:pt x="806" y="354"/>
                  </a:lnTo>
                  <a:lnTo>
                    <a:pt x="800" y="348"/>
                  </a:lnTo>
                  <a:lnTo>
                    <a:pt x="800" y="336"/>
                  </a:lnTo>
                  <a:lnTo>
                    <a:pt x="806" y="336"/>
                  </a:lnTo>
                  <a:lnTo>
                    <a:pt x="806" y="318"/>
                  </a:lnTo>
                  <a:lnTo>
                    <a:pt x="800" y="318"/>
                  </a:lnTo>
                  <a:lnTo>
                    <a:pt x="794" y="312"/>
                  </a:lnTo>
                  <a:lnTo>
                    <a:pt x="794" y="308"/>
                  </a:lnTo>
                  <a:lnTo>
                    <a:pt x="800" y="302"/>
                  </a:lnTo>
                  <a:lnTo>
                    <a:pt x="794" y="302"/>
                  </a:lnTo>
                  <a:lnTo>
                    <a:pt x="794" y="296"/>
                  </a:lnTo>
                  <a:lnTo>
                    <a:pt x="800" y="296"/>
                  </a:lnTo>
                  <a:lnTo>
                    <a:pt x="806" y="290"/>
                  </a:lnTo>
                  <a:lnTo>
                    <a:pt x="806" y="272"/>
                  </a:lnTo>
                  <a:lnTo>
                    <a:pt x="800" y="272"/>
                  </a:lnTo>
                  <a:lnTo>
                    <a:pt x="794" y="266"/>
                  </a:lnTo>
                  <a:lnTo>
                    <a:pt x="754" y="266"/>
                  </a:lnTo>
                  <a:lnTo>
                    <a:pt x="754" y="272"/>
                  </a:lnTo>
                  <a:lnTo>
                    <a:pt x="748" y="272"/>
                  </a:lnTo>
                  <a:lnTo>
                    <a:pt x="748" y="278"/>
                  </a:lnTo>
                  <a:lnTo>
                    <a:pt x="742" y="284"/>
                  </a:lnTo>
                  <a:lnTo>
                    <a:pt x="742" y="296"/>
                  </a:lnTo>
                  <a:lnTo>
                    <a:pt x="736" y="302"/>
                  </a:lnTo>
                  <a:lnTo>
                    <a:pt x="736" y="308"/>
                  </a:lnTo>
                  <a:lnTo>
                    <a:pt x="724" y="308"/>
                  </a:lnTo>
                  <a:lnTo>
                    <a:pt x="724" y="312"/>
                  </a:lnTo>
                  <a:lnTo>
                    <a:pt x="718" y="312"/>
                  </a:lnTo>
                  <a:lnTo>
                    <a:pt x="718" y="318"/>
                  </a:lnTo>
                  <a:lnTo>
                    <a:pt x="712" y="318"/>
                  </a:lnTo>
                  <a:lnTo>
                    <a:pt x="712" y="330"/>
                  </a:lnTo>
                  <a:lnTo>
                    <a:pt x="718" y="324"/>
                  </a:lnTo>
                  <a:lnTo>
                    <a:pt x="718" y="348"/>
                  </a:lnTo>
                  <a:lnTo>
                    <a:pt x="712" y="360"/>
                  </a:lnTo>
                  <a:lnTo>
                    <a:pt x="730" y="360"/>
                  </a:lnTo>
                  <a:lnTo>
                    <a:pt x="730" y="372"/>
                  </a:lnTo>
                  <a:lnTo>
                    <a:pt x="742" y="372"/>
                  </a:lnTo>
                  <a:lnTo>
                    <a:pt x="742" y="376"/>
                  </a:lnTo>
                  <a:lnTo>
                    <a:pt x="748" y="376"/>
                  </a:lnTo>
                  <a:lnTo>
                    <a:pt x="748" y="382"/>
                  </a:lnTo>
                  <a:lnTo>
                    <a:pt x="742" y="382"/>
                  </a:lnTo>
                  <a:lnTo>
                    <a:pt x="742" y="394"/>
                  </a:lnTo>
                  <a:lnTo>
                    <a:pt x="730" y="394"/>
                  </a:lnTo>
                  <a:lnTo>
                    <a:pt x="730" y="388"/>
                  </a:lnTo>
                  <a:lnTo>
                    <a:pt x="724" y="382"/>
                  </a:lnTo>
                  <a:lnTo>
                    <a:pt x="718" y="382"/>
                  </a:lnTo>
                  <a:lnTo>
                    <a:pt x="718" y="376"/>
                  </a:lnTo>
                  <a:lnTo>
                    <a:pt x="706" y="376"/>
                  </a:lnTo>
                  <a:lnTo>
                    <a:pt x="706" y="372"/>
                  </a:lnTo>
                  <a:lnTo>
                    <a:pt x="690" y="372"/>
                  </a:lnTo>
                  <a:lnTo>
                    <a:pt x="684" y="366"/>
                  </a:lnTo>
                  <a:lnTo>
                    <a:pt x="678" y="366"/>
                  </a:lnTo>
                  <a:lnTo>
                    <a:pt x="678" y="360"/>
                  </a:lnTo>
                  <a:lnTo>
                    <a:pt x="638" y="360"/>
                  </a:lnTo>
                  <a:lnTo>
                    <a:pt x="638" y="354"/>
                  </a:lnTo>
                  <a:lnTo>
                    <a:pt x="620" y="354"/>
                  </a:lnTo>
                  <a:lnTo>
                    <a:pt x="620" y="360"/>
                  </a:lnTo>
                  <a:lnTo>
                    <a:pt x="614" y="360"/>
                  </a:lnTo>
                  <a:lnTo>
                    <a:pt x="614" y="366"/>
                  </a:lnTo>
                  <a:lnTo>
                    <a:pt x="620" y="372"/>
                  </a:lnTo>
                  <a:lnTo>
                    <a:pt x="626" y="372"/>
                  </a:lnTo>
                  <a:lnTo>
                    <a:pt x="626" y="382"/>
                  </a:lnTo>
                  <a:lnTo>
                    <a:pt x="608" y="382"/>
                  </a:lnTo>
                  <a:lnTo>
                    <a:pt x="608" y="388"/>
                  </a:lnTo>
                  <a:lnTo>
                    <a:pt x="614" y="388"/>
                  </a:lnTo>
                  <a:lnTo>
                    <a:pt x="608" y="394"/>
                  </a:lnTo>
                  <a:lnTo>
                    <a:pt x="596" y="394"/>
                  </a:lnTo>
                  <a:lnTo>
                    <a:pt x="596" y="382"/>
                  </a:lnTo>
                  <a:lnTo>
                    <a:pt x="602" y="382"/>
                  </a:lnTo>
                  <a:lnTo>
                    <a:pt x="596" y="376"/>
                  </a:lnTo>
                  <a:lnTo>
                    <a:pt x="586" y="376"/>
                  </a:lnTo>
                  <a:lnTo>
                    <a:pt x="586" y="382"/>
                  </a:lnTo>
                  <a:lnTo>
                    <a:pt x="574" y="382"/>
                  </a:lnTo>
                  <a:lnTo>
                    <a:pt x="574" y="388"/>
                  </a:lnTo>
                  <a:lnTo>
                    <a:pt x="562" y="388"/>
                  </a:lnTo>
                  <a:lnTo>
                    <a:pt x="562" y="382"/>
                  </a:lnTo>
                  <a:lnTo>
                    <a:pt x="550" y="382"/>
                  </a:lnTo>
                  <a:lnTo>
                    <a:pt x="544" y="388"/>
                  </a:lnTo>
                  <a:lnTo>
                    <a:pt x="538" y="388"/>
                  </a:lnTo>
                  <a:lnTo>
                    <a:pt x="538" y="394"/>
                  </a:lnTo>
                  <a:lnTo>
                    <a:pt x="522" y="394"/>
                  </a:lnTo>
                  <a:lnTo>
                    <a:pt x="522" y="388"/>
                  </a:lnTo>
                  <a:lnTo>
                    <a:pt x="516" y="388"/>
                  </a:lnTo>
                  <a:lnTo>
                    <a:pt x="516" y="382"/>
                  </a:lnTo>
                  <a:lnTo>
                    <a:pt x="492" y="382"/>
                  </a:lnTo>
                  <a:lnTo>
                    <a:pt x="498" y="388"/>
                  </a:lnTo>
                  <a:lnTo>
                    <a:pt x="498" y="394"/>
                  </a:lnTo>
                  <a:lnTo>
                    <a:pt x="492" y="394"/>
                  </a:lnTo>
                  <a:lnTo>
                    <a:pt x="498" y="388"/>
                  </a:lnTo>
                  <a:lnTo>
                    <a:pt x="486" y="388"/>
                  </a:lnTo>
                  <a:lnTo>
                    <a:pt x="486" y="394"/>
                  </a:lnTo>
                  <a:lnTo>
                    <a:pt x="464" y="394"/>
                  </a:lnTo>
                  <a:lnTo>
                    <a:pt x="464" y="400"/>
                  </a:lnTo>
                  <a:lnTo>
                    <a:pt x="458" y="400"/>
                  </a:lnTo>
                  <a:lnTo>
                    <a:pt x="452" y="406"/>
                  </a:lnTo>
                  <a:lnTo>
                    <a:pt x="440" y="406"/>
                  </a:lnTo>
                  <a:lnTo>
                    <a:pt x="440" y="412"/>
                  </a:lnTo>
                  <a:lnTo>
                    <a:pt x="422" y="412"/>
                  </a:lnTo>
                  <a:lnTo>
                    <a:pt x="428" y="418"/>
                  </a:lnTo>
                  <a:lnTo>
                    <a:pt x="428" y="424"/>
                  </a:lnTo>
                  <a:lnTo>
                    <a:pt x="422" y="424"/>
                  </a:lnTo>
                  <a:lnTo>
                    <a:pt x="422" y="434"/>
                  </a:lnTo>
                  <a:lnTo>
                    <a:pt x="400" y="434"/>
                  </a:lnTo>
                  <a:lnTo>
                    <a:pt x="394" y="430"/>
                  </a:lnTo>
                  <a:lnTo>
                    <a:pt x="394" y="424"/>
                  </a:lnTo>
                  <a:lnTo>
                    <a:pt x="382" y="424"/>
                  </a:lnTo>
                  <a:lnTo>
                    <a:pt x="382" y="418"/>
                  </a:lnTo>
                  <a:lnTo>
                    <a:pt x="388" y="418"/>
                  </a:lnTo>
                  <a:lnTo>
                    <a:pt x="388" y="412"/>
                  </a:lnTo>
                  <a:lnTo>
                    <a:pt x="412" y="412"/>
                  </a:lnTo>
                  <a:lnTo>
                    <a:pt x="412" y="400"/>
                  </a:lnTo>
                  <a:lnTo>
                    <a:pt x="406" y="394"/>
                  </a:lnTo>
                  <a:lnTo>
                    <a:pt x="400" y="394"/>
                  </a:lnTo>
                  <a:lnTo>
                    <a:pt x="400" y="388"/>
                  </a:lnTo>
                  <a:lnTo>
                    <a:pt x="364" y="388"/>
                  </a:lnTo>
                  <a:lnTo>
                    <a:pt x="364" y="394"/>
                  </a:lnTo>
                  <a:lnTo>
                    <a:pt x="370" y="394"/>
                  </a:lnTo>
                  <a:lnTo>
                    <a:pt x="370" y="412"/>
                  </a:lnTo>
                  <a:lnTo>
                    <a:pt x="364" y="418"/>
                  </a:lnTo>
                  <a:lnTo>
                    <a:pt x="364" y="424"/>
                  </a:lnTo>
                  <a:lnTo>
                    <a:pt x="370" y="424"/>
                  </a:lnTo>
                  <a:lnTo>
                    <a:pt x="370" y="430"/>
                  </a:lnTo>
                  <a:lnTo>
                    <a:pt x="376" y="430"/>
                  </a:lnTo>
                  <a:lnTo>
                    <a:pt x="376" y="434"/>
                  </a:lnTo>
                  <a:lnTo>
                    <a:pt x="370" y="440"/>
                  </a:lnTo>
                  <a:lnTo>
                    <a:pt x="370" y="452"/>
                  </a:lnTo>
                  <a:lnTo>
                    <a:pt x="364" y="446"/>
                  </a:lnTo>
                  <a:lnTo>
                    <a:pt x="360" y="452"/>
                  </a:lnTo>
                  <a:lnTo>
                    <a:pt x="360" y="446"/>
                  </a:lnTo>
                  <a:lnTo>
                    <a:pt x="348" y="446"/>
                  </a:lnTo>
                  <a:lnTo>
                    <a:pt x="348" y="440"/>
                  </a:lnTo>
                  <a:lnTo>
                    <a:pt x="342" y="440"/>
                  </a:lnTo>
                  <a:lnTo>
                    <a:pt x="342" y="446"/>
                  </a:lnTo>
                  <a:lnTo>
                    <a:pt x="336" y="446"/>
                  </a:lnTo>
                  <a:lnTo>
                    <a:pt x="330" y="452"/>
                  </a:lnTo>
                  <a:lnTo>
                    <a:pt x="324" y="452"/>
                  </a:lnTo>
                  <a:lnTo>
                    <a:pt x="324" y="458"/>
                  </a:lnTo>
                  <a:lnTo>
                    <a:pt x="318" y="458"/>
                  </a:lnTo>
                  <a:lnTo>
                    <a:pt x="318" y="464"/>
                  </a:lnTo>
                  <a:lnTo>
                    <a:pt x="306" y="464"/>
                  </a:lnTo>
                  <a:lnTo>
                    <a:pt x="306" y="482"/>
                  </a:lnTo>
                  <a:lnTo>
                    <a:pt x="312" y="482"/>
                  </a:lnTo>
                  <a:lnTo>
                    <a:pt x="312" y="488"/>
                  </a:lnTo>
                  <a:lnTo>
                    <a:pt x="318" y="488"/>
                  </a:lnTo>
                  <a:lnTo>
                    <a:pt x="318" y="492"/>
                  </a:lnTo>
                  <a:lnTo>
                    <a:pt x="296" y="492"/>
                  </a:lnTo>
                  <a:lnTo>
                    <a:pt x="296" y="488"/>
                  </a:lnTo>
                  <a:lnTo>
                    <a:pt x="278" y="488"/>
                  </a:lnTo>
                  <a:lnTo>
                    <a:pt x="272" y="482"/>
                  </a:lnTo>
                  <a:lnTo>
                    <a:pt x="272" y="476"/>
                  </a:lnTo>
                  <a:lnTo>
                    <a:pt x="260" y="476"/>
                  </a:lnTo>
                  <a:lnTo>
                    <a:pt x="260" y="482"/>
                  </a:lnTo>
                  <a:lnTo>
                    <a:pt x="254" y="488"/>
                  </a:lnTo>
                  <a:lnTo>
                    <a:pt x="260" y="492"/>
                  </a:lnTo>
                  <a:lnTo>
                    <a:pt x="266" y="498"/>
                  </a:lnTo>
                  <a:lnTo>
                    <a:pt x="278" y="498"/>
                  </a:lnTo>
                  <a:lnTo>
                    <a:pt x="278" y="510"/>
                  </a:lnTo>
                  <a:lnTo>
                    <a:pt x="254" y="510"/>
                  </a:lnTo>
                  <a:lnTo>
                    <a:pt x="254" y="504"/>
                  </a:lnTo>
                  <a:lnTo>
                    <a:pt x="248" y="498"/>
                  </a:lnTo>
                  <a:lnTo>
                    <a:pt x="232" y="498"/>
                  </a:lnTo>
                  <a:lnTo>
                    <a:pt x="232" y="476"/>
                  </a:lnTo>
                  <a:lnTo>
                    <a:pt x="220" y="476"/>
                  </a:lnTo>
                  <a:lnTo>
                    <a:pt x="226" y="470"/>
                  </a:lnTo>
                  <a:lnTo>
                    <a:pt x="232" y="470"/>
                  </a:lnTo>
                  <a:lnTo>
                    <a:pt x="232" y="458"/>
                  </a:lnTo>
                  <a:lnTo>
                    <a:pt x="226" y="452"/>
                  </a:lnTo>
                  <a:lnTo>
                    <a:pt x="220" y="452"/>
                  </a:lnTo>
                  <a:lnTo>
                    <a:pt x="220" y="446"/>
                  </a:lnTo>
                  <a:lnTo>
                    <a:pt x="214" y="446"/>
                  </a:lnTo>
                  <a:lnTo>
                    <a:pt x="214" y="440"/>
                  </a:lnTo>
                  <a:lnTo>
                    <a:pt x="208" y="440"/>
                  </a:lnTo>
                  <a:lnTo>
                    <a:pt x="208" y="446"/>
                  </a:lnTo>
                  <a:lnTo>
                    <a:pt x="202" y="440"/>
                  </a:lnTo>
                  <a:lnTo>
                    <a:pt x="202" y="434"/>
                  </a:lnTo>
                  <a:lnTo>
                    <a:pt x="190" y="434"/>
                  </a:lnTo>
                  <a:lnTo>
                    <a:pt x="190" y="424"/>
                  </a:lnTo>
                  <a:lnTo>
                    <a:pt x="196" y="424"/>
                  </a:lnTo>
                  <a:lnTo>
                    <a:pt x="196" y="430"/>
                  </a:lnTo>
                  <a:lnTo>
                    <a:pt x="202" y="430"/>
                  </a:lnTo>
                  <a:lnTo>
                    <a:pt x="202" y="434"/>
                  </a:lnTo>
                  <a:lnTo>
                    <a:pt x="220" y="434"/>
                  </a:lnTo>
                  <a:lnTo>
                    <a:pt x="220" y="440"/>
                  </a:lnTo>
                  <a:lnTo>
                    <a:pt x="232" y="440"/>
                  </a:lnTo>
                  <a:lnTo>
                    <a:pt x="238" y="446"/>
                  </a:lnTo>
                  <a:lnTo>
                    <a:pt x="272" y="446"/>
                  </a:lnTo>
                  <a:lnTo>
                    <a:pt x="272" y="452"/>
                  </a:lnTo>
                  <a:lnTo>
                    <a:pt x="296" y="452"/>
                  </a:lnTo>
                  <a:lnTo>
                    <a:pt x="302" y="446"/>
                  </a:lnTo>
                  <a:lnTo>
                    <a:pt x="318" y="446"/>
                  </a:lnTo>
                  <a:lnTo>
                    <a:pt x="324" y="440"/>
                  </a:lnTo>
                  <a:lnTo>
                    <a:pt x="324" y="434"/>
                  </a:lnTo>
                  <a:lnTo>
                    <a:pt x="330" y="434"/>
                  </a:lnTo>
                  <a:lnTo>
                    <a:pt x="330" y="424"/>
                  </a:lnTo>
                  <a:lnTo>
                    <a:pt x="324" y="424"/>
                  </a:lnTo>
                  <a:lnTo>
                    <a:pt x="324" y="412"/>
                  </a:lnTo>
                  <a:lnTo>
                    <a:pt x="312" y="412"/>
                  </a:lnTo>
                  <a:lnTo>
                    <a:pt x="312" y="406"/>
                  </a:lnTo>
                  <a:lnTo>
                    <a:pt x="306" y="406"/>
                  </a:lnTo>
                  <a:lnTo>
                    <a:pt x="306" y="400"/>
                  </a:lnTo>
                  <a:lnTo>
                    <a:pt x="302" y="400"/>
                  </a:lnTo>
                  <a:lnTo>
                    <a:pt x="296" y="394"/>
                  </a:lnTo>
                  <a:lnTo>
                    <a:pt x="284" y="394"/>
                  </a:lnTo>
                  <a:lnTo>
                    <a:pt x="278" y="388"/>
                  </a:lnTo>
                  <a:lnTo>
                    <a:pt x="278" y="382"/>
                  </a:lnTo>
                  <a:lnTo>
                    <a:pt x="266" y="382"/>
                  </a:lnTo>
                  <a:lnTo>
                    <a:pt x="260" y="376"/>
                  </a:lnTo>
                  <a:lnTo>
                    <a:pt x="254" y="376"/>
                  </a:lnTo>
                  <a:lnTo>
                    <a:pt x="254" y="372"/>
                  </a:lnTo>
                  <a:lnTo>
                    <a:pt x="220" y="372"/>
                  </a:lnTo>
                  <a:lnTo>
                    <a:pt x="220" y="366"/>
                  </a:lnTo>
                  <a:lnTo>
                    <a:pt x="214" y="366"/>
                  </a:lnTo>
                  <a:lnTo>
                    <a:pt x="214" y="372"/>
                  </a:lnTo>
                  <a:lnTo>
                    <a:pt x="208" y="372"/>
                  </a:lnTo>
                  <a:lnTo>
                    <a:pt x="208" y="366"/>
                  </a:lnTo>
                  <a:lnTo>
                    <a:pt x="202" y="366"/>
                  </a:lnTo>
                  <a:lnTo>
                    <a:pt x="202" y="372"/>
                  </a:lnTo>
                  <a:lnTo>
                    <a:pt x="196" y="372"/>
                  </a:lnTo>
                  <a:lnTo>
                    <a:pt x="202" y="366"/>
                  </a:lnTo>
                  <a:lnTo>
                    <a:pt x="202" y="354"/>
                  </a:lnTo>
                  <a:lnTo>
                    <a:pt x="190" y="354"/>
                  </a:lnTo>
                  <a:lnTo>
                    <a:pt x="190" y="360"/>
                  </a:lnTo>
                  <a:lnTo>
                    <a:pt x="186" y="354"/>
                  </a:lnTo>
                  <a:lnTo>
                    <a:pt x="180" y="354"/>
                  </a:lnTo>
                  <a:lnTo>
                    <a:pt x="180" y="360"/>
                  </a:lnTo>
                  <a:lnTo>
                    <a:pt x="168" y="354"/>
                  </a:lnTo>
                  <a:lnTo>
                    <a:pt x="168" y="360"/>
                  </a:lnTo>
                  <a:lnTo>
                    <a:pt x="156" y="360"/>
                  </a:lnTo>
                  <a:lnTo>
                    <a:pt x="156" y="366"/>
                  </a:lnTo>
                  <a:lnTo>
                    <a:pt x="150" y="366"/>
                  </a:lnTo>
                  <a:lnTo>
                    <a:pt x="144" y="372"/>
                  </a:lnTo>
                  <a:lnTo>
                    <a:pt x="138" y="372"/>
                  </a:lnTo>
                  <a:lnTo>
                    <a:pt x="138" y="376"/>
                  </a:lnTo>
                  <a:lnTo>
                    <a:pt x="132" y="376"/>
                  </a:lnTo>
                  <a:lnTo>
                    <a:pt x="132" y="382"/>
                  </a:lnTo>
                  <a:lnTo>
                    <a:pt x="138" y="382"/>
                  </a:lnTo>
                  <a:lnTo>
                    <a:pt x="132" y="388"/>
                  </a:lnTo>
                  <a:lnTo>
                    <a:pt x="132" y="394"/>
                  </a:lnTo>
                  <a:lnTo>
                    <a:pt x="138" y="394"/>
                  </a:lnTo>
                  <a:lnTo>
                    <a:pt x="144" y="400"/>
                  </a:lnTo>
                  <a:lnTo>
                    <a:pt x="150" y="400"/>
                  </a:lnTo>
                  <a:lnTo>
                    <a:pt x="150" y="406"/>
                  </a:lnTo>
                  <a:lnTo>
                    <a:pt x="156" y="412"/>
                  </a:lnTo>
                  <a:lnTo>
                    <a:pt x="156" y="418"/>
                  </a:lnTo>
                  <a:lnTo>
                    <a:pt x="150" y="424"/>
                  </a:lnTo>
                  <a:lnTo>
                    <a:pt x="144" y="430"/>
                  </a:lnTo>
                  <a:lnTo>
                    <a:pt x="138" y="430"/>
                  </a:lnTo>
                  <a:lnTo>
                    <a:pt x="138" y="434"/>
                  </a:lnTo>
                  <a:lnTo>
                    <a:pt x="144" y="434"/>
                  </a:lnTo>
                  <a:lnTo>
                    <a:pt x="150" y="440"/>
                  </a:lnTo>
                  <a:lnTo>
                    <a:pt x="150" y="446"/>
                  </a:lnTo>
                  <a:lnTo>
                    <a:pt x="156" y="446"/>
                  </a:lnTo>
                  <a:lnTo>
                    <a:pt x="156" y="482"/>
                  </a:lnTo>
                  <a:lnTo>
                    <a:pt x="150" y="482"/>
                  </a:lnTo>
                  <a:lnTo>
                    <a:pt x="150" y="488"/>
                  </a:lnTo>
                  <a:lnTo>
                    <a:pt x="162" y="488"/>
                  </a:lnTo>
                  <a:lnTo>
                    <a:pt x="156" y="492"/>
                  </a:lnTo>
                  <a:lnTo>
                    <a:pt x="156" y="498"/>
                  </a:lnTo>
                  <a:lnTo>
                    <a:pt x="168" y="498"/>
                  </a:lnTo>
                  <a:lnTo>
                    <a:pt x="168" y="510"/>
                  </a:lnTo>
                  <a:lnTo>
                    <a:pt x="156" y="510"/>
                  </a:lnTo>
                  <a:lnTo>
                    <a:pt x="168" y="522"/>
                  </a:lnTo>
                  <a:lnTo>
                    <a:pt x="168" y="528"/>
                  </a:lnTo>
                  <a:lnTo>
                    <a:pt x="180" y="528"/>
                  </a:lnTo>
                  <a:lnTo>
                    <a:pt x="180" y="546"/>
                  </a:lnTo>
                  <a:lnTo>
                    <a:pt x="174" y="550"/>
                  </a:lnTo>
                  <a:lnTo>
                    <a:pt x="168" y="550"/>
                  </a:lnTo>
                  <a:lnTo>
                    <a:pt x="162" y="556"/>
                  </a:lnTo>
                  <a:lnTo>
                    <a:pt x="162" y="562"/>
                  </a:lnTo>
                  <a:lnTo>
                    <a:pt x="156" y="562"/>
                  </a:lnTo>
                  <a:lnTo>
                    <a:pt x="156" y="568"/>
                  </a:lnTo>
                  <a:lnTo>
                    <a:pt x="150" y="574"/>
                  </a:lnTo>
                  <a:lnTo>
                    <a:pt x="138" y="574"/>
                  </a:lnTo>
                  <a:lnTo>
                    <a:pt x="138" y="598"/>
                  </a:lnTo>
                  <a:lnTo>
                    <a:pt x="156" y="598"/>
                  </a:lnTo>
                  <a:lnTo>
                    <a:pt x="156" y="604"/>
                  </a:lnTo>
                  <a:lnTo>
                    <a:pt x="162" y="608"/>
                  </a:lnTo>
                  <a:lnTo>
                    <a:pt x="150" y="608"/>
                  </a:lnTo>
                  <a:lnTo>
                    <a:pt x="144" y="604"/>
                  </a:lnTo>
                  <a:lnTo>
                    <a:pt x="138" y="608"/>
                  </a:lnTo>
                  <a:lnTo>
                    <a:pt x="138" y="614"/>
                  </a:lnTo>
                  <a:lnTo>
                    <a:pt x="132" y="608"/>
                  </a:lnTo>
                  <a:lnTo>
                    <a:pt x="132" y="614"/>
                  </a:lnTo>
                  <a:lnTo>
                    <a:pt x="128" y="614"/>
                  </a:lnTo>
                  <a:lnTo>
                    <a:pt x="128" y="626"/>
                  </a:lnTo>
                  <a:lnTo>
                    <a:pt x="122" y="626"/>
                  </a:lnTo>
                  <a:lnTo>
                    <a:pt x="122" y="632"/>
                  </a:lnTo>
                  <a:lnTo>
                    <a:pt x="116" y="632"/>
                  </a:lnTo>
                  <a:lnTo>
                    <a:pt x="116" y="650"/>
                  </a:lnTo>
                  <a:lnTo>
                    <a:pt x="122" y="650"/>
                  </a:lnTo>
                  <a:lnTo>
                    <a:pt x="122" y="662"/>
                  </a:lnTo>
                  <a:lnTo>
                    <a:pt x="116" y="662"/>
                  </a:lnTo>
                  <a:lnTo>
                    <a:pt x="116" y="666"/>
                  </a:lnTo>
                  <a:lnTo>
                    <a:pt x="122" y="666"/>
                  </a:lnTo>
                  <a:lnTo>
                    <a:pt x="128" y="672"/>
                  </a:lnTo>
                  <a:lnTo>
                    <a:pt x="122" y="678"/>
                  </a:lnTo>
                  <a:lnTo>
                    <a:pt x="128" y="678"/>
                  </a:lnTo>
                  <a:lnTo>
                    <a:pt x="128" y="702"/>
                  </a:lnTo>
                  <a:lnTo>
                    <a:pt x="150" y="702"/>
                  </a:lnTo>
                  <a:lnTo>
                    <a:pt x="144" y="708"/>
                  </a:lnTo>
                  <a:lnTo>
                    <a:pt x="156" y="708"/>
                  </a:lnTo>
                  <a:lnTo>
                    <a:pt x="156" y="702"/>
                  </a:lnTo>
                  <a:lnTo>
                    <a:pt x="162" y="702"/>
                  </a:lnTo>
                  <a:lnTo>
                    <a:pt x="168" y="708"/>
                  </a:lnTo>
                  <a:lnTo>
                    <a:pt x="168" y="720"/>
                  </a:lnTo>
                  <a:lnTo>
                    <a:pt x="174" y="720"/>
                  </a:lnTo>
                  <a:lnTo>
                    <a:pt x="174" y="724"/>
                  </a:lnTo>
                  <a:lnTo>
                    <a:pt x="168" y="724"/>
                  </a:lnTo>
                  <a:lnTo>
                    <a:pt x="168" y="730"/>
                  </a:lnTo>
                  <a:lnTo>
                    <a:pt x="174" y="730"/>
                  </a:lnTo>
                  <a:lnTo>
                    <a:pt x="174" y="736"/>
                  </a:lnTo>
                  <a:lnTo>
                    <a:pt x="180" y="736"/>
                  </a:lnTo>
                  <a:lnTo>
                    <a:pt x="180" y="742"/>
                  </a:lnTo>
                  <a:lnTo>
                    <a:pt x="186" y="742"/>
                  </a:lnTo>
                  <a:lnTo>
                    <a:pt x="186" y="754"/>
                  </a:lnTo>
                  <a:lnTo>
                    <a:pt x="190" y="754"/>
                  </a:lnTo>
                  <a:lnTo>
                    <a:pt x="190" y="760"/>
                  </a:lnTo>
                  <a:lnTo>
                    <a:pt x="196" y="760"/>
                  </a:lnTo>
                  <a:lnTo>
                    <a:pt x="196" y="766"/>
                  </a:lnTo>
                  <a:lnTo>
                    <a:pt x="180" y="766"/>
                  </a:lnTo>
                  <a:lnTo>
                    <a:pt x="180" y="788"/>
                  </a:lnTo>
                  <a:lnTo>
                    <a:pt x="186" y="788"/>
                  </a:lnTo>
                  <a:lnTo>
                    <a:pt x="186" y="794"/>
                  </a:lnTo>
                  <a:lnTo>
                    <a:pt x="190" y="794"/>
                  </a:lnTo>
                  <a:lnTo>
                    <a:pt x="190" y="788"/>
                  </a:lnTo>
                  <a:lnTo>
                    <a:pt x="202" y="788"/>
                  </a:lnTo>
                  <a:lnTo>
                    <a:pt x="202" y="782"/>
                  </a:lnTo>
                  <a:lnTo>
                    <a:pt x="208" y="782"/>
                  </a:lnTo>
                  <a:lnTo>
                    <a:pt x="208" y="788"/>
                  </a:lnTo>
                  <a:lnTo>
                    <a:pt x="214" y="788"/>
                  </a:lnTo>
                  <a:lnTo>
                    <a:pt x="214" y="782"/>
                  </a:lnTo>
                  <a:lnTo>
                    <a:pt x="220" y="788"/>
                  </a:lnTo>
                  <a:lnTo>
                    <a:pt x="220" y="794"/>
                  </a:lnTo>
                  <a:lnTo>
                    <a:pt x="226" y="800"/>
                  </a:lnTo>
                  <a:lnTo>
                    <a:pt x="220" y="800"/>
                  </a:lnTo>
                  <a:lnTo>
                    <a:pt x="220" y="812"/>
                  </a:lnTo>
                  <a:lnTo>
                    <a:pt x="232" y="812"/>
                  </a:lnTo>
                  <a:lnTo>
                    <a:pt x="232" y="818"/>
                  </a:lnTo>
                  <a:lnTo>
                    <a:pt x="244" y="818"/>
                  </a:lnTo>
                  <a:lnTo>
                    <a:pt x="244" y="824"/>
                  </a:lnTo>
                  <a:lnTo>
                    <a:pt x="238" y="824"/>
                  </a:lnTo>
                  <a:lnTo>
                    <a:pt x="238" y="830"/>
                  </a:lnTo>
                  <a:lnTo>
                    <a:pt x="272" y="830"/>
                  </a:lnTo>
                  <a:lnTo>
                    <a:pt x="272" y="836"/>
                  </a:lnTo>
                  <a:lnTo>
                    <a:pt x="278" y="836"/>
                  </a:lnTo>
                  <a:lnTo>
                    <a:pt x="278" y="840"/>
                  </a:lnTo>
                  <a:lnTo>
                    <a:pt x="296" y="840"/>
                  </a:lnTo>
                  <a:lnTo>
                    <a:pt x="296" y="846"/>
                  </a:lnTo>
                  <a:lnTo>
                    <a:pt x="306" y="846"/>
                  </a:lnTo>
                  <a:lnTo>
                    <a:pt x="306" y="888"/>
                  </a:lnTo>
                  <a:lnTo>
                    <a:pt x="290" y="888"/>
                  </a:lnTo>
                  <a:lnTo>
                    <a:pt x="290" y="894"/>
                  </a:lnTo>
                  <a:lnTo>
                    <a:pt x="284" y="894"/>
                  </a:lnTo>
                  <a:lnTo>
                    <a:pt x="284" y="904"/>
                  </a:lnTo>
                  <a:lnTo>
                    <a:pt x="290" y="904"/>
                  </a:lnTo>
                  <a:lnTo>
                    <a:pt x="290" y="898"/>
                  </a:lnTo>
                  <a:lnTo>
                    <a:pt x="296" y="898"/>
                  </a:lnTo>
                  <a:lnTo>
                    <a:pt x="296" y="910"/>
                  </a:lnTo>
                  <a:lnTo>
                    <a:pt x="272" y="910"/>
                  </a:lnTo>
                  <a:lnTo>
                    <a:pt x="278" y="916"/>
                  </a:lnTo>
                  <a:lnTo>
                    <a:pt x="278" y="928"/>
                  </a:lnTo>
                  <a:lnTo>
                    <a:pt x="284" y="922"/>
                  </a:lnTo>
                  <a:lnTo>
                    <a:pt x="284" y="928"/>
                  </a:lnTo>
                  <a:lnTo>
                    <a:pt x="278" y="928"/>
                  </a:lnTo>
                  <a:lnTo>
                    <a:pt x="278" y="934"/>
                  </a:lnTo>
                  <a:lnTo>
                    <a:pt x="272" y="934"/>
                  </a:lnTo>
                  <a:lnTo>
                    <a:pt x="272" y="940"/>
                  </a:lnTo>
                  <a:lnTo>
                    <a:pt x="266" y="940"/>
                  </a:lnTo>
                  <a:lnTo>
                    <a:pt x="272" y="946"/>
                  </a:lnTo>
                  <a:lnTo>
                    <a:pt x="266" y="946"/>
                  </a:lnTo>
                  <a:lnTo>
                    <a:pt x="272" y="952"/>
                  </a:lnTo>
                  <a:lnTo>
                    <a:pt x="272" y="956"/>
                  </a:lnTo>
                  <a:lnTo>
                    <a:pt x="278" y="956"/>
                  </a:lnTo>
                  <a:lnTo>
                    <a:pt x="284" y="962"/>
                  </a:lnTo>
                  <a:lnTo>
                    <a:pt x="290" y="962"/>
                  </a:lnTo>
                  <a:lnTo>
                    <a:pt x="296" y="968"/>
                  </a:lnTo>
                  <a:lnTo>
                    <a:pt x="296" y="974"/>
                  </a:lnTo>
                  <a:lnTo>
                    <a:pt x="302" y="974"/>
                  </a:lnTo>
                  <a:lnTo>
                    <a:pt x="306" y="980"/>
                  </a:lnTo>
                  <a:lnTo>
                    <a:pt x="324" y="980"/>
                  </a:lnTo>
                  <a:lnTo>
                    <a:pt x="324" y="986"/>
                  </a:lnTo>
                  <a:lnTo>
                    <a:pt x="354" y="986"/>
                  </a:lnTo>
                  <a:lnTo>
                    <a:pt x="360" y="992"/>
                  </a:lnTo>
                  <a:lnTo>
                    <a:pt x="360" y="998"/>
                  </a:lnTo>
                  <a:lnTo>
                    <a:pt x="400" y="998"/>
                  </a:lnTo>
                  <a:lnTo>
                    <a:pt x="400" y="1004"/>
                  </a:lnTo>
                  <a:lnTo>
                    <a:pt x="394" y="1004"/>
                  </a:lnTo>
                  <a:lnTo>
                    <a:pt x="394" y="1010"/>
                  </a:lnTo>
                  <a:lnTo>
                    <a:pt x="406" y="1010"/>
                  </a:lnTo>
                  <a:lnTo>
                    <a:pt x="406" y="1014"/>
                  </a:lnTo>
                  <a:lnTo>
                    <a:pt x="412" y="1014"/>
                  </a:lnTo>
                  <a:lnTo>
                    <a:pt x="412" y="1020"/>
                  </a:lnTo>
                  <a:lnTo>
                    <a:pt x="418" y="1020"/>
                  </a:lnTo>
                  <a:lnTo>
                    <a:pt x="418" y="1026"/>
                  </a:lnTo>
                  <a:lnTo>
                    <a:pt x="428" y="1026"/>
                  </a:lnTo>
                  <a:lnTo>
                    <a:pt x="428" y="1020"/>
                  </a:lnTo>
                  <a:lnTo>
                    <a:pt x="440" y="1020"/>
                  </a:lnTo>
                  <a:lnTo>
                    <a:pt x="440" y="1010"/>
                  </a:lnTo>
                  <a:lnTo>
                    <a:pt x="446" y="1010"/>
                  </a:lnTo>
                  <a:lnTo>
                    <a:pt x="452" y="1004"/>
                  </a:lnTo>
                  <a:lnTo>
                    <a:pt x="458" y="998"/>
                  </a:lnTo>
                  <a:lnTo>
                    <a:pt x="452" y="992"/>
                  </a:lnTo>
                  <a:lnTo>
                    <a:pt x="452" y="980"/>
                  </a:lnTo>
                  <a:lnTo>
                    <a:pt x="446" y="974"/>
                  </a:lnTo>
                  <a:lnTo>
                    <a:pt x="446" y="962"/>
                  </a:lnTo>
                  <a:lnTo>
                    <a:pt x="440" y="956"/>
                  </a:lnTo>
                  <a:lnTo>
                    <a:pt x="440" y="946"/>
                  </a:lnTo>
                  <a:lnTo>
                    <a:pt x="446" y="946"/>
                  </a:lnTo>
                  <a:lnTo>
                    <a:pt x="452" y="940"/>
                  </a:lnTo>
                  <a:lnTo>
                    <a:pt x="452" y="934"/>
                  </a:lnTo>
                  <a:lnTo>
                    <a:pt x="464" y="934"/>
                  </a:lnTo>
                  <a:lnTo>
                    <a:pt x="464" y="928"/>
                  </a:lnTo>
                  <a:lnTo>
                    <a:pt x="458" y="928"/>
                  </a:lnTo>
                  <a:lnTo>
                    <a:pt x="446" y="916"/>
                  </a:lnTo>
                  <a:lnTo>
                    <a:pt x="440" y="916"/>
                  </a:lnTo>
                  <a:lnTo>
                    <a:pt x="440" y="910"/>
                  </a:lnTo>
                  <a:lnTo>
                    <a:pt x="446" y="910"/>
                  </a:lnTo>
                  <a:lnTo>
                    <a:pt x="440" y="904"/>
                  </a:lnTo>
                  <a:lnTo>
                    <a:pt x="440" y="898"/>
                  </a:lnTo>
                  <a:lnTo>
                    <a:pt x="434" y="894"/>
                  </a:lnTo>
                  <a:lnTo>
                    <a:pt x="434" y="888"/>
                  </a:lnTo>
                  <a:lnTo>
                    <a:pt x="418" y="888"/>
                  </a:lnTo>
                  <a:lnTo>
                    <a:pt x="418" y="876"/>
                  </a:lnTo>
                  <a:lnTo>
                    <a:pt x="412" y="876"/>
                  </a:lnTo>
                  <a:lnTo>
                    <a:pt x="406" y="870"/>
                  </a:lnTo>
                  <a:lnTo>
                    <a:pt x="412" y="870"/>
                  </a:lnTo>
                  <a:lnTo>
                    <a:pt x="412" y="840"/>
                  </a:lnTo>
                  <a:lnTo>
                    <a:pt x="422" y="840"/>
                  </a:lnTo>
                  <a:lnTo>
                    <a:pt x="422" y="836"/>
                  </a:lnTo>
                  <a:lnTo>
                    <a:pt x="418" y="836"/>
                  </a:lnTo>
                  <a:lnTo>
                    <a:pt x="422" y="830"/>
                  </a:lnTo>
                  <a:lnTo>
                    <a:pt x="428" y="830"/>
                  </a:lnTo>
                  <a:lnTo>
                    <a:pt x="428" y="836"/>
                  </a:lnTo>
                  <a:lnTo>
                    <a:pt x="434" y="836"/>
                  </a:lnTo>
                  <a:lnTo>
                    <a:pt x="434" y="840"/>
                  </a:lnTo>
                  <a:lnTo>
                    <a:pt x="440" y="846"/>
                  </a:lnTo>
                  <a:lnTo>
                    <a:pt x="440" y="840"/>
                  </a:lnTo>
                  <a:lnTo>
                    <a:pt x="446" y="840"/>
                  </a:lnTo>
                  <a:lnTo>
                    <a:pt x="446" y="836"/>
                  </a:lnTo>
                  <a:lnTo>
                    <a:pt x="440" y="836"/>
                  </a:lnTo>
                  <a:lnTo>
                    <a:pt x="440" y="824"/>
                  </a:lnTo>
                  <a:lnTo>
                    <a:pt x="446" y="824"/>
                  </a:lnTo>
                  <a:lnTo>
                    <a:pt x="446" y="818"/>
                  </a:lnTo>
                  <a:lnTo>
                    <a:pt x="452" y="818"/>
                  </a:lnTo>
                  <a:lnTo>
                    <a:pt x="458" y="812"/>
                  </a:lnTo>
                  <a:lnTo>
                    <a:pt x="464" y="812"/>
                  </a:lnTo>
                  <a:lnTo>
                    <a:pt x="464" y="806"/>
                  </a:lnTo>
                  <a:lnTo>
                    <a:pt x="474" y="806"/>
                  </a:lnTo>
                  <a:lnTo>
                    <a:pt x="474" y="800"/>
                  </a:lnTo>
                  <a:lnTo>
                    <a:pt x="480" y="800"/>
                  </a:lnTo>
                  <a:lnTo>
                    <a:pt x="480" y="806"/>
                  </a:lnTo>
                  <a:lnTo>
                    <a:pt x="486" y="806"/>
                  </a:lnTo>
                  <a:lnTo>
                    <a:pt x="486" y="800"/>
                  </a:lnTo>
                  <a:lnTo>
                    <a:pt x="498" y="800"/>
                  </a:lnTo>
                  <a:lnTo>
                    <a:pt x="498" y="806"/>
                  </a:lnTo>
                  <a:lnTo>
                    <a:pt x="510" y="806"/>
                  </a:lnTo>
                  <a:lnTo>
                    <a:pt x="516" y="812"/>
                  </a:lnTo>
                  <a:lnTo>
                    <a:pt x="522" y="812"/>
                  </a:lnTo>
                  <a:lnTo>
                    <a:pt x="522" y="818"/>
                  </a:lnTo>
                  <a:lnTo>
                    <a:pt x="538" y="818"/>
                  </a:lnTo>
                  <a:lnTo>
                    <a:pt x="538" y="824"/>
                  </a:lnTo>
                  <a:lnTo>
                    <a:pt x="544" y="824"/>
                  </a:lnTo>
                  <a:lnTo>
                    <a:pt x="544" y="830"/>
                  </a:lnTo>
                  <a:lnTo>
                    <a:pt x="550" y="824"/>
                  </a:lnTo>
                  <a:lnTo>
                    <a:pt x="550" y="818"/>
                  </a:lnTo>
                  <a:lnTo>
                    <a:pt x="574" y="818"/>
                  </a:lnTo>
                  <a:lnTo>
                    <a:pt x="574" y="812"/>
                  </a:lnTo>
                  <a:lnTo>
                    <a:pt x="580" y="818"/>
                  </a:lnTo>
                  <a:lnTo>
                    <a:pt x="586" y="818"/>
                  </a:lnTo>
                  <a:lnTo>
                    <a:pt x="586" y="812"/>
                  </a:lnTo>
                  <a:lnTo>
                    <a:pt x="590" y="812"/>
                  </a:lnTo>
                  <a:lnTo>
                    <a:pt x="590" y="818"/>
                  </a:lnTo>
                  <a:lnTo>
                    <a:pt x="596" y="824"/>
                  </a:lnTo>
                  <a:lnTo>
                    <a:pt x="602" y="824"/>
                  </a:lnTo>
                  <a:lnTo>
                    <a:pt x="602" y="830"/>
                  </a:lnTo>
                  <a:lnTo>
                    <a:pt x="608" y="830"/>
                  </a:lnTo>
                  <a:lnTo>
                    <a:pt x="608" y="818"/>
                  </a:lnTo>
                  <a:lnTo>
                    <a:pt x="614" y="818"/>
                  </a:lnTo>
                  <a:lnTo>
                    <a:pt x="614" y="824"/>
                  </a:lnTo>
                  <a:lnTo>
                    <a:pt x="626" y="824"/>
                  </a:lnTo>
                  <a:lnTo>
                    <a:pt x="632" y="818"/>
                  </a:lnTo>
                  <a:lnTo>
                    <a:pt x="638" y="812"/>
                  </a:lnTo>
                  <a:lnTo>
                    <a:pt x="638" y="806"/>
                  </a:lnTo>
                  <a:lnTo>
                    <a:pt x="620" y="806"/>
                  </a:lnTo>
                  <a:lnTo>
                    <a:pt x="614" y="800"/>
                  </a:lnTo>
                  <a:lnTo>
                    <a:pt x="614" y="794"/>
                  </a:lnTo>
                  <a:lnTo>
                    <a:pt x="620" y="794"/>
                  </a:lnTo>
                  <a:lnTo>
                    <a:pt x="626" y="788"/>
                  </a:lnTo>
                  <a:lnTo>
                    <a:pt x="626" y="772"/>
                  </a:lnTo>
                  <a:lnTo>
                    <a:pt x="644" y="772"/>
                  </a:lnTo>
                  <a:lnTo>
                    <a:pt x="644" y="766"/>
                  </a:lnTo>
                  <a:lnTo>
                    <a:pt x="626" y="766"/>
                  </a:lnTo>
                  <a:lnTo>
                    <a:pt x="626" y="748"/>
                  </a:lnTo>
                  <a:lnTo>
                    <a:pt x="654" y="748"/>
                  </a:lnTo>
                  <a:lnTo>
                    <a:pt x="654" y="742"/>
                  </a:lnTo>
                  <a:lnTo>
                    <a:pt x="690" y="742"/>
                  </a:lnTo>
                  <a:lnTo>
                    <a:pt x="690" y="730"/>
                  </a:lnTo>
                  <a:lnTo>
                    <a:pt x="696" y="730"/>
                  </a:lnTo>
                  <a:lnTo>
                    <a:pt x="696" y="736"/>
                  </a:lnTo>
                  <a:lnTo>
                    <a:pt x="702" y="736"/>
                  </a:lnTo>
                  <a:lnTo>
                    <a:pt x="702" y="730"/>
                  </a:lnTo>
                  <a:lnTo>
                    <a:pt x="730" y="730"/>
                  </a:lnTo>
                  <a:lnTo>
                    <a:pt x="736" y="724"/>
                  </a:lnTo>
                  <a:lnTo>
                    <a:pt x="736" y="720"/>
                  </a:lnTo>
                  <a:lnTo>
                    <a:pt x="742" y="720"/>
                  </a:lnTo>
                  <a:lnTo>
                    <a:pt x="742" y="714"/>
                  </a:lnTo>
                  <a:lnTo>
                    <a:pt x="748" y="720"/>
                  </a:lnTo>
                  <a:lnTo>
                    <a:pt x="748" y="714"/>
                  </a:lnTo>
                  <a:lnTo>
                    <a:pt x="760" y="714"/>
                  </a:lnTo>
                  <a:lnTo>
                    <a:pt x="760" y="720"/>
                  </a:lnTo>
                  <a:lnTo>
                    <a:pt x="770" y="720"/>
                  </a:lnTo>
                  <a:lnTo>
                    <a:pt x="770" y="714"/>
                  </a:lnTo>
                  <a:lnTo>
                    <a:pt x="776" y="714"/>
                  </a:lnTo>
                  <a:lnTo>
                    <a:pt x="776" y="730"/>
                  </a:lnTo>
                  <a:lnTo>
                    <a:pt x="782" y="730"/>
                  </a:lnTo>
                  <a:lnTo>
                    <a:pt x="782" y="742"/>
                  </a:lnTo>
                  <a:lnTo>
                    <a:pt x="812" y="742"/>
                  </a:lnTo>
                  <a:lnTo>
                    <a:pt x="812" y="748"/>
                  </a:lnTo>
                  <a:lnTo>
                    <a:pt x="822" y="748"/>
                  </a:lnTo>
                  <a:lnTo>
                    <a:pt x="822" y="754"/>
                  </a:lnTo>
                  <a:lnTo>
                    <a:pt x="828" y="754"/>
                  </a:lnTo>
                  <a:lnTo>
                    <a:pt x="828" y="760"/>
                  </a:lnTo>
                  <a:lnTo>
                    <a:pt x="834" y="754"/>
                  </a:lnTo>
                  <a:lnTo>
                    <a:pt x="840" y="754"/>
                  </a:lnTo>
                  <a:lnTo>
                    <a:pt x="846" y="748"/>
                  </a:lnTo>
                  <a:lnTo>
                    <a:pt x="846" y="742"/>
                  </a:lnTo>
                  <a:lnTo>
                    <a:pt x="858" y="742"/>
                  </a:lnTo>
                  <a:lnTo>
                    <a:pt x="858" y="748"/>
                  </a:lnTo>
                  <a:lnTo>
                    <a:pt x="864" y="754"/>
                  </a:lnTo>
                  <a:lnTo>
                    <a:pt x="870" y="754"/>
                  </a:lnTo>
                  <a:lnTo>
                    <a:pt x="876" y="760"/>
                  </a:lnTo>
                  <a:lnTo>
                    <a:pt x="880" y="766"/>
                  </a:lnTo>
                  <a:lnTo>
                    <a:pt x="886" y="778"/>
                  </a:lnTo>
                  <a:lnTo>
                    <a:pt x="892" y="778"/>
                  </a:lnTo>
                  <a:lnTo>
                    <a:pt x="892" y="782"/>
                  </a:lnTo>
                  <a:lnTo>
                    <a:pt x="898" y="782"/>
                  </a:lnTo>
                  <a:lnTo>
                    <a:pt x="898" y="788"/>
                  </a:lnTo>
                  <a:lnTo>
                    <a:pt x="904" y="800"/>
                  </a:lnTo>
                  <a:lnTo>
                    <a:pt x="910" y="806"/>
                  </a:lnTo>
                  <a:lnTo>
                    <a:pt x="910" y="818"/>
                  </a:lnTo>
                  <a:lnTo>
                    <a:pt x="922" y="818"/>
                  </a:lnTo>
                  <a:lnTo>
                    <a:pt x="922" y="806"/>
                  </a:lnTo>
                  <a:lnTo>
                    <a:pt x="928" y="812"/>
                  </a:lnTo>
                  <a:lnTo>
                    <a:pt x="934" y="812"/>
                  </a:lnTo>
                  <a:lnTo>
                    <a:pt x="934" y="824"/>
                  </a:lnTo>
                  <a:lnTo>
                    <a:pt x="938" y="824"/>
                  </a:lnTo>
                  <a:lnTo>
                    <a:pt x="938" y="818"/>
                  </a:lnTo>
                  <a:lnTo>
                    <a:pt x="944" y="818"/>
                  </a:lnTo>
                  <a:lnTo>
                    <a:pt x="944" y="824"/>
                  </a:lnTo>
                  <a:lnTo>
                    <a:pt x="950" y="818"/>
                  </a:lnTo>
                  <a:lnTo>
                    <a:pt x="950" y="824"/>
                  </a:lnTo>
                  <a:lnTo>
                    <a:pt x="956" y="818"/>
                  </a:lnTo>
                  <a:lnTo>
                    <a:pt x="974" y="818"/>
                  </a:lnTo>
                  <a:lnTo>
                    <a:pt x="974" y="824"/>
                  </a:lnTo>
                  <a:lnTo>
                    <a:pt x="980" y="830"/>
                  </a:lnTo>
                  <a:lnTo>
                    <a:pt x="980" y="836"/>
                  </a:lnTo>
                  <a:lnTo>
                    <a:pt x="992" y="836"/>
                  </a:lnTo>
                  <a:lnTo>
                    <a:pt x="992" y="846"/>
                  </a:lnTo>
                  <a:lnTo>
                    <a:pt x="1002" y="846"/>
                  </a:lnTo>
                  <a:lnTo>
                    <a:pt x="1008" y="852"/>
                  </a:lnTo>
                  <a:lnTo>
                    <a:pt x="1008" y="846"/>
                  </a:lnTo>
                  <a:lnTo>
                    <a:pt x="1020" y="846"/>
                  </a:lnTo>
                  <a:lnTo>
                    <a:pt x="1020" y="858"/>
                  </a:lnTo>
                  <a:lnTo>
                    <a:pt x="1038" y="858"/>
                  </a:lnTo>
                  <a:lnTo>
                    <a:pt x="1038" y="852"/>
                  </a:lnTo>
                  <a:lnTo>
                    <a:pt x="1050" y="852"/>
                  </a:lnTo>
                  <a:lnTo>
                    <a:pt x="1050" y="846"/>
                  </a:lnTo>
                  <a:lnTo>
                    <a:pt x="1060" y="846"/>
                  </a:lnTo>
                  <a:lnTo>
                    <a:pt x="1060" y="840"/>
                  </a:lnTo>
                  <a:lnTo>
                    <a:pt x="1066" y="840"/>
                  </a:lnTo>
                  <a:lnTo>
                    <a:pt x="1066" y="836"/>
                  </a:lnTo>
                  <a:lnTo>
                    <a:pt x="1072" y="836"/>
                  </a:lnTo>
                  <a:lnTo>
                    <a:pt x="1072" y="830"/>
                  </a:lnTo>
                  <a:lnTo>
                    <a:pt x="1090" y="830"/>
                  </a:lnTo>
                  <a:lnTo>
                    <a:pt x="1090" y="824"/>
                  </a:lnTo>
                  <a:lnTo>
                    <a:pt x="1102" y="824"/>
                  </a:lnTo>
                  <a:lnTo>
                    <a:pt x="1102" y="818"/>
                  </a:lnTo>
                  <a:lnTo>
                    <a:pt x="1108" y="824"/>
                  </a:lnTo>
                  <a:lnTo>
                    <a:pt x="1108" y="818"/>
                  </a:lnTo>
                  <a:lnTo>
                    <a:pt x="1112" y="818"/>
                  </a:lnTo>
                  <a:lnTo>
                    <a:pt x="1112" y="824"/>
                  </a:lnTo>
                  <a:lnTo>
                    <a:pt x="1130" y="824"/>
                  </a:lnTo>
                  <a:lnTo>
                    <a:pt x="1130" y="836"/>
                  </a:lnTo>
                  <a:lnTo>
                    <a:pt x="1136" y="836"/>
                  </a:lnTo>
                  <a:lnTo>
                    <a:pt x="1136" y="840"/>
                  </a:lnTo>
                  <a:lnTo>
                    <a:pt x="1142" y="836"/>
                  </a:lnTo>
                  <a:lnTo>
                    <a:pt x="1142" y="840"/>
                  </a:lnTo>
                  <a:lnTo>
                    <a:pt x="1170" y="840"/>
                  </a:lnTo>
                  <a:lnTo>
                    <a:pt x="1176" y="846"/>
                  </a:lnTo>
                  <a:lnTo>
                    <a:pt x="1182" y="846"/>
                  </a:lnTo>
                  <a:lnTo>
                    <a:pt x="1182" y="840"/>
                  </a:lnTo>
                  <a:lnTo>
                    <a:pt x="1188" y="840"/>
                  </a:lnTo>
                  <a:lnTo>
                    <a:pt x="1188" y="818"/>
                  </a:lnTo>
                  <a:lnTo>
                    <a:pt x="1182" y="818"/>
                  </a:lnTo>
                  <a:lnTo>
                    <a:pt x="1188" y="812"/>
                  </a:lnTo>
                  <a:lnTo>
                    <a:pt x="1188" y="800"/>
                  </a:lnTo>
                  <a:lnTo>
                    <a:pt x="1200" y="800"/>
                  </a:lnTo>
                  <a:lnTo>
                    <a:pt x="1200" y="794"/>
                  </a:lnTo>
                  <a:lnTo>
                    <a:pt x="1218" y="794"/>
                  </a:lnTo>
                  <a:lnTo>
                    <a:pt x="1218" y="800"/>
                  </a:lnTo>
                  <a:lnTo>
                    <a:pt x="1228" y="800"/>
                  </a:lnTo>
                  <a:lnTo>
                    <a:pt x="1228" y="806"/>
                  </a:lnTo>
                  <a:lnTo>
                    <a:pt x="1252" y="806"/>
                  </a:lnTo>
                  <a:lnTo>
                    <a:pt x="1252" y="830"/>
                  </a:lnTo>
                  <a:lnTo>
                    <a:pt x="1270" y="830"/>
                  </a:lnTo>
                  <a:lnTo>
                    <a:pt x="1270" y="836"/>
                  </a:lnTo>
                  <a:lnTo>
                    <a:pt x="1282" y="836"/>
                  </a:lnTo>
                  <a:lnTo>
                    <a:pt x="1282" y="830"/>
                  </a:lnTo>
                  <a:lnTo>
                    <a:pt x="1322" y="830"/>
                  </a:lnTo>
                  <a:lnTo>
                    <a:pt x="1322" y="836"/>
                  </a:lnTo>
                  <a:lnTo>
                    <a:pt x="1328" y="840"/>
                  </a:lnTo>
                  <a:lnTo>
                    <a:pt x="1340" y="840"/>
                  </a:lnTo>
                  <a:lnTo>
                    <a:pt x="1340" y="846"/>
                  </a:lnTo>
                  <a:lnTo>
                    <a:pt x="1344" y="852"/>
                  </a:lnTo>
                  <a:lnTo>
                    <a:pt x="1356" y="852"/>
                  </a:lnTo>
                  <a:lnTo>
                    <a:pt x="1362" y="858"/>
                  </a:lnTo>
                  <a:lnTo>
                    <a:pt x="1386" y="858"/>
                  </a:lnTo>
                  <a:lnTo>
                    <a:pt x="1386" y="852"/>
                  </a:lnTo>
                  <a:lnTo>
                    <a:pt x="1402" y="852"/>
                  </a:lnTo>
                  <a:lnTo>
                    <a:pt x="1408" y="846"/>
                  </a:lnTo>
                  <a:lnTo>
                    <a:pt x="1420" y="846"/>
                  </a:lnTo>
                  <a:lnTo>
                    <a:pt x="1420" y="840"/>
                  </a:lnTo>
                  <a:lnTo>
                    <a:pt x="1426" y="836"/>
                  </a:lnTo>
                  <a:lnTo>
                    <a:pt x="1432" y="836"/>
                  </a:lnTo>
                  <a:lnTo>
                    <a:pt x="1432" y="830"/>
                  </a:lnTo>
                  <a:lnTo>
                    <a:pt x="1444" y="830"/>
                  </a:lnTo>
                  <a:lnTo>
                    <a:pt x="1444" y="836"/>
                  </a:lnTo>
                  <a:lnTo>
                    <a:pt x="1450" y="836"/>
                  </a:lnTo>
                  <a:lnTo>
                    <a:pt x="1450" y="840"/>
                  </a:lnTo>
                  <a:lnTo>
                    <a:pt x="1472" y="840"/>
                  </a:lnTo>
                  <a:lnTo>
                    <a:pt x="1472" y="846"/>
                  </a:lnTo>
                  <a:lnTo>
                    <a:pt x="1502" y="846"/>
                  </a:lnTo>
                  <a:lnTo>
                    <a:pt x="1502" y="840"/>
                  </a:lnTo>
                  <a:lnTo>
                    <a:pt x="1508" y="840"/>
                  </a:lnTo>
                  <a:lnTo>
                    <a:pt x="1512" y="836"/>
                  </a:lnTo>
                  <a:lnTo>
                    <a:pt x="1512" y="818"/>
                  </a:lnTo>
                  <a:lnTo>
                    <a:pt x="1518" y="812"/>
                  </a:lnTo>
                  <a:lnTo>
                    <a:pt x="1518" y="806"/>
                  </a:lnTo>
                  <a:lnTo>
                    <a:pt x="1524" y="806"/>
                  </a:lnTo>
                  <a:lnTo>
                    <a:pt x="1524" y="794"/>
                  </a:lnTo>
                  <a:lnTo>
                    <a:pt x="1530" y="794"/>
                  </a:lnTo>
                  <a:lnTo>
                    <a:pt x="1530" y="778"/>
                  </a:lnTo>
                  <a:lnTo>
                    <a:pt x="1524" y="778"/>
                  </a:lnTo>
                  <a:lnTo>
                    <a:pt x="1524" y="772"/>
                  </a:lnTo>
                  <a:lnTo>
                    <a:pt x="1530" y="766"/>
                  </a:lnTo>
                  <a:lnTo>
                    <a:pt x="1548" y="766"/>
                  </a:lnTo>
                  <a:lnTo>
                    <a:pt x="1548" y="760"/>
                  </a:lnTo>
                  <a:lnTo>
                    <a:pt x="1582" y="760"/>
                  </a:lnTo>
                  <a:lnTo>
                    <a:pt x="1582" y="766"/>
                  </a:lnTo>
                  <a:lnTo>
                    <a:pt x="1606" y="766"/>
                  </a:lnTo>
                  <a:lnTo>
                    <a:pt x="1606" y="772"/>
                  </a:lnTo>
                  <a:lnTo>
                    <a:pt x="1612" y="778"/>
                  </a:lnTo>
                  <a:lnTo>
                    <a:pt x="1612" y="788"/>
                  </a:lnTo>
                  <a:lnTo>
                    <a:pt x="1618" y="788"/>
                  </a:lnTo>
                  <a:lnTo>
                    <a:pt x="1618" y="800"/>
                  </a:lnTo>
                  <a:lnTo>
                    <a:pt x="1624" y="800"/>
                  </a:lnTo>
                  <a:lnTo>
                    <a:pt x="1624" y="818"/>
                  </a:lnTo>
                  <a:lnTo>
                    <a:pt x="1628" y="818"/>
                  </a:lnTo>
                  <a:lnTo>
                    <a:pt x="1628" y="830"/>
                  </a:lnTo>
                  <a:lnTo>
                    <a:pt x="1634" y="830"/>
                  </a:lnTo>
                  <a:lnTo>
                    <a:pt x="1634" y="846"/>
                  </a:lnTo>
                  <a:lnTo>
                    <a:pt x="1652" y="846"/>
                  </a:lnTo>
                  <a:lnTo>
                    <a:pt x="1652" y="852"/>
                  </a:lnTo>
                  <a:lnTo>
                    <a:pt x="1664" y="852"/>
                  </a:lnTo>
                  <a:lnTo>
                    <a:pt x="1664" y="858"/>
                  </a:lnTo>
                  <a:lnTo>
                    <a:pt x="1670" y="858"/>
                  </a:lnTo>
                  <a:lnTo>
                    <a:pt x="1676" y="864"/>
                  </a:lnTo>
                  <a:lnTo>
                    <a:pt x="1682" y="864"/>
                  </a:lnTo>
                  <a:lnTo>
                    <a:pt x="1682" y="882"/>
                  </a:lnTo>
                  <a:lnTo>
                    <a:pt x="1686" y="882"/>
                  </a:lnTo>
                  <a:lnTo>
                    <a:pt x="1686" y="888"/>
                  </a:lnTo>
                  <a:lnTo>
                    <a:pt x="1692" y="888"/>
                  </a:lnTo>
                  <a:lnTo>
                    <a:pt x="1692" y="894"/>
                  </a:lnTo>
                  <a:lnTo>
                    <a:pt x="1704" y="894"/>
                  </a:lnTo>
                  <a:lnTo>
                    <a:pt x="1704" y="888"/>
                  </a:lnTo>
                  <a:lnTo>
                    <a:pt x="1710" y="888"/>
                  </a:lnTo>
                  <a:lnTo>
                    <a:pt x="1710" y="882"/>
                  </a:lnTo>
                  <a:lnTo>
                    <a:pt x="1728" y="882"/>
                  </a:lnTo>
                  <a:lnTo>
                    <a:pt x="1728" y="876"/>
                  </a:lnTo>
                  <a:lnTo>
                    <a:pt x="1740" y="876"/>
                  </a:lnTo>
                  <a:lnTo>
                    <a:pt x="1740" y="898"/>
                  </a:lnTo>
                  <a:lnTo>
                    <a:pt x="1734" y="898"/>
                  </a:lnTo>
                  <a:lnTo>
                    <a:pt x="1734" y="910"/>
                  </a:lnTo>
                  <a:lnTo>
                    <a:pt x="1728" y="910"/>
                  </a:lnTo>
                  <a:lnTo>
                    <a:pt x="1728" y="934"/>
                  </a:lnTo>
                  <a:lnTo>
                    <a:pt x="1716" y="934"/>
                  </a:lnTo>
                  <a:lnTo>
                    <a:pt x="1716" y="946"/>
                  </a:lnTo>
                  <a:lnTo>
                    <a:pt x="1704" y="946"/>
                  </a:lnTo>
                  <a:lnTo>
                    <a:pt x="1704" y="940"/>
                  </a:lnTo>
                  <a:lnTo>
                    <a:pt x="1698" y="940"/>
                  </a:lnTo>
                  <a:lnTo>
                    <a:pt x="1698" y="946"/>
                  </a:lnTo>
                  <a:lnTo>
                    <a:pt x="1686" y="946"/>
                  </a:lnTo>
                  <a:lnTo>
                    <a:pt x="1686" y="992"/>
                  </a:lnTo>
                  <a:lnTo>
                    <a:pt x="1682" y="992"/>
                  </a:lnTo>
                  <a:lnTo>
                    <a:pt x="1682" y="1004"/>
                  </a:lnTo>
                  <a:lnTo>
                    <a:pt x="1686" y="998"/>
                  </a:lnTo>
                  <a:lnTo>
                    <a:pt x="1692" y="992"/>
                  </a:lnTo>
                  <a:lnTo>
                    <a:pt x="1692" y="986"/>
                  </a:lnTo>
                  <a:lnTo>
                    <a:pt x="1704" y="986"/>
                  </a:lnTo>
                  <a:lnTo>
                    <a:pt x="1704" y="992"/>
                  </a:lnTo>
                  <a:lnTo>
                    <a:pt x="1710" y="992"/>
                  </a:lnTo>
                  <a:lnTo>
                    <a:pt x="1710" y="998"/>
                  </a:lnTo>
                  <a:lnTo>
                    <a:pt x="1716" y="992"/>
                  </a:lnTo>
                  <a:lnTo>
                    <a:pt x="1716" y="998"/>
                  </a:lnTo>
                  <a:lnTo>
                    <a:pt x="1728" y="998"/>
                  </a:lnTo>
                  <a:lnTo>
                    <a:pt x="1728" y="992"/>
                  </a:lnTo>
                  <a:lnTo>
                    <a:pt x="1734" y="992"/>
                  </a:lnTo>
                  <a:lnTo>
                    <a:pt x="1734" y="986"/>
                  </a:lnTo>
                  <a:lnTo>
                    <a:pt x="1744" y="986"/>
                  </a:lnTo>
                  <a:lnTo>
                    <a:pt x="1744" y="980"/>
                  </a:lnTo>
                  <a:lnTo>
                    <a:pt x="1750" y="980"/>
                  </a:lnTo>
                  <a:lnTo>
                    <a:pt x="1750" y="974"/>
                  </a:lnTo>
                  <a:lnTo>
                    <a:pt x="1756" y="974"/>
                  </a:lnTo>
                  <a:lnTo>
                    <a:pt x="1756" y="962"/>
                  </a:lnTo>
                  <a:lnTo>
                    <a:pt x="1768" y="962"/>
                  </a:lnTo>
                  <a:lnTo>
                    <a:pt x="1768" y="946"/>
                  </a:lnTo>
                  <a:lnTo>
                    <a:pt x="1774" y="946"/>
                  </a:lnTo>
                  <a:lnTo>
                    <a:pt x="1780" y="940"/>
                  </a:lnTo>
                  <a:lnTo>
                    <a:pt x="1780" y="934"/>
                  </a:lnTo>
                  <a:lnTo>
                    <a:pt x="1792" y="934"/>
                  </a:lnTo>
                  <a:lnTo>
                    <a:pt x="1792" y="916"/>
                  </a:lnTo>
                  <a:lnTo>
                    <a:pt x="1798" y="916"/>
                  </a:lnTo>
                  <a:lnTo>
                    <a:pt x="1798" y="910"/>
                  </a:lnTo>
                  <a:lnTo>
                    <a:pt x="1802" y="904"/>
                  </a:lnTo>
                  <a:lnTo>
                    <a:pt x="1802" y="898"/>
                  </a:lnTo>
                  <a:lnTo>
                    <a:pt x="1808" y="898"/>
                  </a:lnTo>
                  <a:lnTo>
                    <a:pt x="1808" y="888"/>
                  </a:lnTo>
                  <a:lnTo>
                    <a:pt x="1814" y="888"/>
                  </a:lnTo>
                  <a:lnTo>
                    <a:pt x="1814" y="882"/>
                  </a:lnTo>
                  <a:lnTo>
                    <a:pt x="1820" y="882"/>
                  </a:lnTo>
                  <a:lnTo>
                    <a:pt x="1820" y="876"/>
                  </a:lnTo>
                  <a:lnTo>
                    <a:pt x="1826" y="870"/>
                  </a:lnTo>
                  <a:lnTo>
                    <a:pt x="1826" y="864"/>
                  </a:lnTo>
                  <a:lnTo>
                    <a:pt x="1832" y="864"/>
                  </a:lnTo>
                  <a:lnTo>
                    <a:pt x="1832" y="806"/>
                  </a:lnTo>
                  <a:lnTo>
                    <a:pt x="1838" y="806"/>
                  </a:lnTo>
                  <a:lnTo>
                    <a:pt x="1838" y="800"/>
                  </a:lnTo>
                  <a:lnTo>
                    <a:pt x="1844" y="800"/>
                  </a:lnTo>
                  <a:lnTo>
                    <a:pt x="1844" y="778"/>
                  </a:lnTo>
                  <a:lnTo>
                    <a:pt x="1838" y="772"/>
                  </a:lnTo>
                  <a:lnTo>
                    <a:pt x="1832" y="766"/>
                  </a:lnTo>
                  <a:lnTo>
                    <a:pt x="1838" y="766"/>
                  </a:lnTo>
                  <a:lnTo>
                    <a:pt x="1844" y="772"/>
                  </a:lnTo>
                  <a:lnTo>
                    <a:pt x="1844" y="766"/>
                  </a:lnTo>
                  <a:lnTo>
                    <a:pt x="1838" y="760"/>
                  </a:lnTo>
                  <a:lnTo>
                    <a:pt x="1832" y="760"/>
                  </a:lnTo>
                  <a:lnTo>
                    <a:pt x="1832" y="754"/>
                  </a:lnTo>
                  <a:lnTo>
                    <a:pt x="1826" y="754"/>
                  </a:lnTo>
                  <a:lnTo>
                    <a:pt x="1826" y="742"/>
                  </a:lnTo>
                  <a:lnTo>
                    <a:pt x="1808" y="742"/>
                  </a:lnTo>
                  <a:lnTo>
                    <a:pt x="1808" y="748"/>
                  </a:lnTo>
                  <a:lnTo>
                    <a:pt x="1802" y="754"/>
                  </a:lnTo>
                  <a:lnTo>
                    <a:pt x="1802" y="760"/>
                  </a:lnTo>
                  <a:lnTo>
                    <a:pt x="1798" y="760"/>
                  </a:lnTo>
                  <a:lnTo>
                    <a:pt x="1798" y="754"/>
                  </a:lnTo>
                  <a:lnTo>
                    <a:pt x="1792" y="754"/>
                  </a:lnTo>
                  <a:lnTo>
                    <a:pt x="1792" y="760"/>
                  </a:lnTo>
                  <a:lnTo>
                    <a:pt x="1780" y="760"/>
                  </a:lnTo>
                  <a:lnTo>
                    <a:pt x="1780" y="754"/>
                  </a:lnTo>
                  <a:lnTo>
                    <a:pt x="1774" y="754"/>
                  </a:lnTo>
                  <a:lnTo>
                    <a:pt x="1774" y="730"/>
                  </a:lnTo>
                  <a:lnTo>
                    <a:pt x="1768" y="736"/>
                  </a:lnTo>
                  <a:lnTo>
                    <a:pt x="1768" y="730"/>
                  </a:lnTo>
                  <a:lnTo>
                    <a:pt x="1762" y="736"/>
                  </a:lnTo>
                  <a:lnTo>
                    <a:pt x="1756" y="736"/>
                  </a:lnTo>
                  <a:lnTo>
                    <a:pt x="1756" y="730"/>
                  </a:lnTo>
                  <a:lnTo>
                    <a:pt x="1750" y="730"/>
                  </a:lnTo>
                  <a:lnTo>
                    <a:pt x="1750" y="724"/>
                  </a:lnTo>
                  <a:lnTo>
                    <a:pt x="1756" y="724"/>
                  </a:lnTo>
                  <a:lnTo>
                    <a:pt x="1756" y="720"/>
                  </a:lnTo>
                  <a:lnTo>
                    <a:pt x="1762" y="720"/>
                  </a:lnTo>
                  <a:lnTo>
                    <a:pt x="1762" y="714"/>
                  </a:lnTo>
                  <a:lnTo>
                    <a:pt x="1768" y="714"/>
                  </a:lnTo>
                  <a:lnTo>
                    <a:pt x="1774" y="708"/>
                  </a:lnTo>
                  <a:lnTo>
                    <a:pt x="1780" y="708"/>
                  </a:lnTo>
                  <a:lnTo>
                    <a:pt x="1780" y="702"/>
                  </a:lnTo>
                  <a:lnTo>
                    <a:pt x="1786" y="702"/>
                  </a:lnTo>
                  <a:lnTo>
                    <a:pt x="1792" y="696"/>
                  </a:lnTo>
                  <a:lnTo>
                    <a:pt x="1792" y="690"/>
                  </a:lnTo>
                  <a:lnTo>
                    <a:pt x="1798" y="690"/>
                  </a:lnTo>
                  <a:lnTo>
                    <a:pt x="1798" y="684"/>
                  </a:lnTo>
                  <a:lnTo>
                    <a:pt x="1802" y="678"/>
                  </a:lnTo>
                  <a:lnTo>
                    <a:pt x="1808" y="678"/>
                  </a:lnTo>
                  <a:lnTo>
                    <a:pt x="1808" y="672"/>
                  </a:lnTo>
                  <a:lnTo>
                    <a:pt x="1814" y="672"/>
                  </a:lnTo>
                  <a:lnTo>
                    <a:pt x="1814" y="666"/>
                  </a:lnTo>
                  <a:lnTo>
                    <a:pt x="1820" y="666"/>
                  </a:lnTo>
                  <a:lnTo>
                    <a:pt x="1820" y="662"/>
                  </a:lnTo>
                  <a:lnTo>
                    <a:pt x="1832" y="662"/>
                  </a:lnTo>
                  <a:lnTo>
                    <a:pt x="1832" y="650"/>
                  </a:lnTo>
                  <a:lnTo>
                    <a:pt x="1838" y="644"/>
                  </a:lnTo>
                  <a:lnTo>
                    <a:pt x="1844" y="644"/>
                  </a:lnTo>
                  <a:lnTo>
                    <a:pt x="1844" y="638"/>
                  </a:lnTo>
                  <a:lnTo>
                    <a:pt x="1850" y="638"/>
                  </a:lnTo>
                  <a:lnTo>
                    <a:pt x="1850" y="632"/>
                  </a:lnTo>
                  <a:lnTo>
                    <a:pt x="1856" y="632"/>
                  </a:lnTo>
                  <a:lnTo>
                    <a:pt x="1856" y="626"/>
                  </a:lnTo>
                  <a:lnTo>
                    <a:pt x="1872" y="626"/>
                  </a:lnTo>
                  <a:lnTo>
                    <a:pt x="1872" y="620"/>
                  </a:lnTo>
                  <a:lnTo>
                    <a:pt x="1914" y="620"/>
                  </a:lnTo>
                  <a:lnTo>
                    <a:pt x="1908" y="626"/>
                  </a:lnTo>
                  <a:lnTo>
                    <a:pt x="1918" y="626"/>
                  </a:lnTo>
                  <a:lnTo>
                    <a:pt x="1918" y="620"/>
                  </a:lnTo>
                  <a:lnTo>
                    <a:pt x="1930" y="620"/>
                  </a:lnTo>
                  <a:lnTo>
                    <a:pt x="1930" y="626"/>
                  </a:lnTo>
                  <a:lnTo>
                    <a:pt x="1942" y="626"/>
                  </a:lnTo>
                  <a:lnTo>
                    <a:pt x="1942" y="620"/>
                  </a:lnTo>
                  <a:lnTo>
                    <a:pt x="1948" y="620"/>
                  </a:lnTo>
                  <a:lnTo>
                    <a:pt x="1948" y="626"/>
                  </a:lnTo>
                  <a:lnTo>
                    <a:pt x="1960" y="626"/>
                  </a:lnTo>
                  <a:lnTo>
                    <a:pt x="1960" y="620"/>
                  </a:lnTo>
                  <a:lnTo>
                    <a:pt x="1954" y="620"/>
                  </a:lnTo>
                  <a:lnTo>
                    <a:pt x="1960" y="614"/>
                  </a:lnTo>
                  <a:lnTo>
                    <a:pt x="1982" y="614"/>
                  </a:lnTo>
                  <a:lnTo>
                    <a:pt x="1982" y="620"/>
                  </a:lnTo>
                  <a:lnTo>
                    <a:pt x="1988" y="620"/>
                  </a:lnTo>
                  <a:lnTo>
                    <a:pt x="1988" y="614"/>
                  </a:lnTo>
                  <a:lnTo>
                    <a:pt x="1994" y="614"/>
                  </a:lnTo>
                  <a:lnTo>
                    <a:pt x="1994" y="620"/>
                  </a:lnTo>
                  <a:lnTo>
                    <a:pt x="2000" y="620"/>
                  </a:lnTo>
                  <a:lnTo>
                    <a:pt x="2000" y="626"/>
                  </a:lnTo>
                  <a:lnTo>
                    <a:pt x="1994" y="626"/>
                  </a:lnTo>
                  <a:lnTo>
                    <a:pt x="1994" y="632"/>
                  </a:lnTo>
                  <a:lnTo>
                    <a:pt x="2006" y="632"/>
                  </a:lnTo>
                  <a:lnTo>
                    <a:pt x="2012" y="626"/>
                  </a:lnTo>
                  <a:lnTo>
                    <a:pt x="2012" y="632"/>
                  </a:lnTo>
                  <a:lnTo>
                    <a:pt x="2018" y="632"/>
                  </a:lnTo>
                  <a:lnTo>
                    <a:pt x="2024" y="626"/>
                  </a:lnTo>
                  <a:lnTo>
                    <a:pt x="2052" y="626"/>
                  </a:lnTo>
                  <a:lnTo>
                    <a:pt x="2052" y="620"/>
                  </a:lnTo>
                  <a:lnTo>
                    <a:pt x="2046" y="620"/>
                  </a:lnTo>
                  <a:lnTo>
                    <a:pt x="2046" y="614"/>
                  </a:lnTo>
                  <a:lnTo>
                    <a:pt x="2040" y="614"/>
                  </a:lnTo>
                  <a:lnTo>
                    <a:pt x="2040" y="620"/>
                  </a:lnTo>
                  <a:lnTo>
                    <a:pt x="2034" y="620"/>
                  </a:lnTo>
                  <a:lnTo>
                    <a:pt x="2034" y="608"/>
                  </a:lnTo>
                  <a:lnTo>
                    <a:pt x="2040" y="608"/>
                  </a:lnTo>
                  <a:lnTo>
                    <a:pt x="2040" y="604"/>
                  </a:lnTo>
                  <a:lnTo>
                    <a:pt x="2046" y="604"/>
                  </a:lnTo>
                  <a:lnTo>
                    <a:pt x="2046" y="598"/>
                  </a:lnTo>
                  <a:lnTo>
                    <a:pt x="2052" y="598"/>
                  </a:lnTo>
                  <a:lnTo>
                    <a:pt x="2058" y="592"/>
                  </a:lnTo>
                  <a:lnTo>
                    <a:pt x="2058" y="586"/>
                  </a:lnTo>
                  <a:lnTo>
                    <a:pt x="2064" y="586"/>
                  </a:lnTo>
                  <a:lnTo>
                    <a:pt x="2064" y="580"/>
                  </a:lnTo>
                  <a:lnTo>
                    <a:pt x="2070" y="574"/>
                  </a:lnTo>
                  <a:lnTo>
                    <a:pt x="2076" y="574"/>
                  </a:lnTo>
                  <a:lnTo>
                    <a:pt x="2076" y="568"/>
                  </a:lnTo>
                  <a:lnTo>
                    <a:pt x="2082" y="568"/>
                  </a:lnTo>
                  <a:lnTo>
                    <a:pt x="2082" y="562"/>
                  </a:lnTo>
                  <a:lnTo>
                    <a:pt x="2128" y="562"/>
                  </a:lnTo>
                  <a:lnTo>
                    <a:pt x="2128" y="556"/>
                  </a:lnTo>
                  <a:lnTo>
                    <a:pt x="2134" y="556"/>
                  </a:lnTo>
                  <a:lnTo>
                    <a:pt x="2134" y="562"/>
                  </a:lnTo>
                  <a:lnTo>
                    <a:pt x="2128" y="568"/>
                  </a:lnTo>
                  <a:lnTo>
                    <a:pt x="2128" y="580"/>
                  </a:lnTo>
                  <a:lnTo>
                    <a:pt x="2134" y="580"/>
                  </a:lnTo>
                  <a:lnTo>
                    <a:pt x="2128" y="586"/>
                  </a:lnTo>
                  <a:lnTo>
                    <a:pt x="2140" y="586"/>
                  </a:lnTo>
                  <a:lnTo>
                    <a:pt x="2140" y="580"/>
                  </a:lnTo>
                  <a:lnTo>
                    <a:pt x="2146" y="580"/>
                  </a:lnTo>
                  <a:lnTo>
                    <a:pt x="2150" y="574"/>
                  </a:lnTo>
                  <a:lnTo>
                    <a:pt x="2156" y="574"/>
                  </a:lnTo>
                  <a:lnTo>
                    <a:pt x="2162" y="568"/>
                  </a:lnTo>
                  <a:lnTo>
                    <a:pt x="2174" y="568"/>
                  </a:lnTo>
                  <a:lnTo>
                    <a:pt x="2174" y="562"/>
                  </a:lnTo>
                  <a:lnTo>
                    <a:pt x="2168" y="562"/>
                  </a:lnTo>
                  <a:lnTo>
                    <a:pt x="2174" y="556"/>
                  </a:lnTo>
                  <a:lnTo>
                    <a:pt x="2174" y="546"/>
                  </a:lnTo>
                  <a:lnTo>
                    <a:pt x="2180" y="546"/>
                  </a:lnTo>
                  <a:lnTo>
                    <a:pt x="2180" y="540"/>
                  </a:lnTo>
                  <a:lnTo>
                    <a:pt x="2198" y="540"/>
                  </a:lnTo>
                  <a:lnTo>
                    <a:pt x="2198" y="546"/>
                  </a:lnTo>
                  <a:lnTo>
                    <a:pt x="2192" y="546"/>
                  </a:lnTo>
                  <a:lnTo>
                    <a:pt x="2192" y="562"/>
                  </a:lnTo>
                  <a:lnTo>
                    <a:pt x="2186" y="562"/>
                  </a:lnTo>
                  <a:lnTo>
                    <a:pt x="2180" y="574"/>
                  </a:lnTo>
                  <a:lnTo>
                    <a:pt x="2180" y="586"/>
                  </a:lnTo>
                  <a:lnTo>
                    <a:pt x="2168" y="586"/>
                  </a:lnTo>
                  <a:lnTo>
                    <a:pt x="2162" y="592"/>
                  </a:lnTo>
                  <a:lnTo>
                    <a:pt x="2156" y="592"/>
                  </a:lnTo>
                  <a:lnTo>
                    <a:pt x="2156" y="598"/>
                  </a:lnTo>
                  <a:lnTo>
                    <a:pt x="2150" y="598"/>
                  </a:lnTo>
                  <a:lnTo>
                    <a:pt x="2150" y="604"/>
                  </a:lnTo>
                  <a:lnTo>
                    <a:pt x="2146" y="608"/>
                  </a:lnTo>
                  <a:lnTo>
                    <a:pt x="2140" y="614"/>
                  </a:lnTo>
                  <a:lnTo>
                    <a:pt x="2134" y="614"/>
                  </a:lnTo>
                  <a:lnTo>
                    <a:pt x="2134" y="620"/>
                  </a:lnTo>
                  <a:lnTo>
                    <a:pt x="2128" y="620"/>
                  </a:lnTo>
                  <a:lnTo>
                    <a:pt x="2128" y="626"/>
                  </a:lnTo>
                  <a:lnTo>
                    <a:pt x="2122" y="626"/>
                  </a:lnTo>
                  <a:lnTo>
                    <a:pt x="2122" y="632"/>
                  </a:lnTo>
                  <a:lnTo>
                    <a:pt x="2116" y="638"/>
                  </a:lnTo>
                  <a:lnTo>
                    <a:pt x="2110" y="638"/>
                  </a:lnTo>
                  <a:lnTo>
                    <a:pt x="2110" y="644"/>
                  </a:lnTo>
                  <a:lnTo>
                    <a:pt x="2104" y="650"/>
                  </a:lnTo>
                  <a:lnTo>
                    <a:pt x="2098" y="650"/>
                  </a:lnTo>
                  <a:lnTo>
                    <a:pt x="2098" y="656"/>
                  </a:lnTo>
                  <a:lnTo>
                    <a:pt x="2088" y="656"/>
                  </a:lnTo>
                  <a:lnTo>
                    <a:pt x="2088" y="662"/>
                  </a:lnTo>
                  <a:lnTo>
                    <a:pt x="2082" y="662"/>
                  </a:lnTo>
                  <a:lnTo>
                    <a:pt x="2082" y="656"/>
                  </a:lnTo>
                  <a:lnTo>
                    <a:pt x="2076" y="662"/>
                  </a:lnTo>
                  <a:lnTo>
                    <a:pt x="2076" y="666"/>
                  </a:lnTo>
                  <a:lnTo>
                    <a:pt x="2082" y="666"/>
                  </a:lnTo>
                  <a:lnTo>
                    <a:pt x="2076" y="672"/>
                  </a:lnTo>
                  <a:lnTo>
                    <a:pt x="2076" y="678"/>
                  </a:lnTo>
                  <a:lnTo>
                    <a:pt x="2070" y="678"/>
                  </a:lnTo>
                  <a:lnTo>
                    <a:pt x="2070" y="684"/>
                  </a:lnTo>
                  <a:lnTo>
                    <a:pt x="2064" y="684"/>
                  </a:lnTo>
                  <a:lnTo>
                    <a:pt x="2064" y="690"/>
                  </a:lnTo>
                  <a:lnTo>
                    <a:pt x="2058" y="690"/>
                  </a:lnTo>
                  <a:lnTo>
                    <a:pt x="2058" y="748"/>
                  </a:lnTo>
                  <a:lnTo>
                    <a:pt x="2064" y="748"/>
                  </a:lnTo>
                  <a:lnTo>
                    <a:pt x="2064" y="778"/>
                  </a:lnTo>
                  <a:lnTo>
                    <a:pt x="2070" y="778"/>
                  </a:lnTo>
                  <a:lnTo>
                    <a:pt x="2070" y="782"/>
                  </a:lnTo>
                  <a:lnTo>
                    <a:pt x="2076" y="778"/>
                  </a:lnTo>
                  <a:lnTo>
                    <a:pt x="2076" y="782"/>
                  </a:lnTo>
                  <a:lnTo>
                    <a:pt x="2070" y="782"/>
                  </a:lnTo>
                  <a:lnTo>
                    <a:pt x="2076" y="788"/>
                  </a:lnTo>
                  <a:lnTo>
                    <a:pt x="2076" y="818"/>
                  </a:lnTo>
                  <a:lnTo>
                    <a:pt x="2082" y="812"/>
                  </a:lnTo>
                  <a:lnTo>
                    <a:pt x="2088" y="812"/>
                  </a:lnTo>
                  <a:lnTo>
                    <a:pt x="2088" y="806"/>
                  </a:lnTo>
                  <a:lnTo>
                    <a:pt x="2092" y="806"/>
                  </a:lnTo>
                  <a:lnTo>
                    <a:pt x="2092" y="800"/>
                  </a:lnTo>
                  <a:lnTo>
                    <a:pt x="2098" y="794"/>
                  </a:lnTo>
                  <a:lnTo>
                    <a:pt x="2098" y="788"/>
                  </a:lnTo>
                  <a:lnTo>
                    <a:pt x="2104" y="788"/>
                  </a:lnTo>
                  <a:lnTo>
                    <a:pt x="2104" y="772"/>
                  </a:lnTo>
                  <a:lnTo>
                    <a:pt x="2098" y="772"/>
                  </a:lnTo>
                  <a:lnTo>
                    <a:pt x="2104" y="766"/>
                  </a:lnTo>
                  <a:lnTo>
                    <a:pt x="2104" y="772"/>
                  </a:lnTo>
                  <a:lnTo>
                    <a:pt x="2110" y="772"/>
                  </a:lnTo>
                  <a:lnTo>
                    <a:pt x="2110" y="766"/>
                  </a:lnTo>
                  <a:lnTo>
                    <a:pt x="2128" y="766"/>
                  </a:lnTo>
                  <a:lnTo>
                    <a:pt x="2128" y="742"/>
                  </a:lnTo>
                  <a:lnTo>
                    <a:pt x="2134" y="742"/>
                  </a:lnTo>
                  <a:lnTo>
                    <a:pt x="2134" y="736"/>
                  </a:lnTo>
                  <a:lnTo>
                    <a:pt x="2150" y="736"/>
                  </a:lnTo>
                  <a:lnTo>
                    <a:pt x="2150" y="730"/>
                  </a:lnTo>
                  <a:lnTo>
                    <a:pt x="2156" y="730"/>
                  </a:lnTo>
                  <a:lnTo>
                    <a:pt x="2156" y="724"/>
                  </a:lnTo>
                  <a:lnTo>
                    <a:pt x="2150" y="724"/>
                  </a:lnTo>
                  <a:lnTo>
                    <a:pt x="2150" y="702"/>
                  </a:lnTo>
                  <a:lnTo>
                    <a:pt x="2156" y="702"/>
                  </a:lnTo>
                  <a:lnTo>
                    <a:pt x="2162" y="696"/>
                  </a:lnTo>
                  <a:lnTo>
                    <a:pt x="2168" y="702"/>
                  </a:lnTo>
                  <a:lnTo>
                    <a:pt x="2174" y="702"/>
                  </a:lnTo>
                  <a:lnTo>
                    <a:pt x="2180" y="696"/>
                  </a:lnTo>
                  <a:lnTo>
                    <a:pt x="2180" y="690"/>
                  </a:lnTo>
                  <a:lnTo>
                    <a:pt x="2174" y="690"/>
                  </a:lnTo>
                  <a:lnTo>
                    <a:pt x="2180" y="684"/>
                  </a:lnTo>
                  <a:lnTo>
                    <a:pt x="2168" y="684"/>
                  </a:lnTo>
                  <a:lnTo>
                    <a:pt x="2168" y="666"/>
                  </a:lnTo>
                  <a:lnTo>
                    <a:pt x="2174" y="666"/>
                  </a:lnTo>
                  <a:lnTo>
                    <a:pt x="2180" y="662"/>
                  </a:lnTo>
                  <a:lnTo>
                    <a:pt x="2174" y="656"/>
                  </a:lnTo>
                  <a:lnTo>
                    <a:pt x="2162" y="656"/>
                  </a:lnTo>
                  <a:lnTo>
                    <a:pt x="2162" y="662"/>
                  </a:lnTo>
                  <a:lnTo>
                    <a:pt x="2156" y="656"/>
                  </a:lnTo>
                  <a:lnTo>
                    <a:pt x="2156" y="644"/>
                  </a:lnTo>
                  <a:lnTo>
                    <a:pt x="2162" y="638"/>
                  </a:lnTo>
                  <a:lnTo>
                    <a:pt x="2168" y="638"/>
                  </a:lnTo>
                  <a:lnTo>
                    <a:pt x="2168" y="632"/>
                  </a:lnTo>
                  <a:lnTo>
                    <a:pt x="2174" y="632"/>
                  </a:lnTo>
                  <a:lnTo>
                    <a:pt x="2174" y="626"/>
                  </a:lnTo>
                  <a:lnTo>
                    <a:pt x="2180" y="626"/>
                  </a:lnTo>
                  <a:lnTo>
                    <a:pt x="2180" y="620"/>
                  </a:lnTo>
                  <a:lnTo>
                    <a:pt x="2174" y="620"/>
                  </a:lnTo>
                  <a:lnTo>
                    <a:pt x="2174" y="614"/>
                  </a:lnTo>
                  <a:lnTo>
                    <a:pt x="2180" y="614"/>
                  </a:lnTo>
                  <a:lnTo>
                    <a:pt x="2180" y="604"/>
                  </a:lnTo>
                  <a:lnTo>
                    <a:pt x="2198" y="604"/>
                  </a:lnTo>
                  <a:lnTo>
                    <a:pt x="2198" y="614"/>
                  </a:lnTo>
                  <a:lnTo>
                    <a:pt x="2204" y="608"/>
                  </a:lnTo>
                  <a:lnTo>
                    <a:pt x="2204" y="604"/>
                  </a:lnTo>
                  <a:lnTo>
                    <a:pt x="2208" y="598"/>
                  </a:lnTo>
                  <a:lnTo>
                    <a:pt x="2214" y="598"/>
                  </a:lnTo>
                  <a:lnTo>
                    <a:pt x="2220" y="592"/>
                  </a:lnTo>
                  <a:lnTo>
                    <a:pt x="2220" y="604"/>
                  </a:lnTo>
                  <a:lnTo>
                    <a:pt x="2214" y="604"/>
                  </a:lnTo>
                  <a:lnTo>
                    <a:pt x="2214" y="614"/>
                  </a:lnTo>
                  <a:lnTo>
                    <a:pt x="2220" y="614"/>
                  </a:lnTo>
                  <a:lnTo>
                    <a:pt x="2220" y="608"/>
                  </a:lnTo>
                  <a:lnTo>
                    <a:pt x="2226" y="608"/>
                  </a:lnTo>
                  <a:lnTo>
                    <a:pt x="2226" y="598"/>
                  </a:lnTo>
                  <a:lnTo>
                    <a:pt x="2244" y="598"/>
                  </a:lnTo>
                  <a:lnTo>
                    <a:pt x="2244" y="592"/>
                  </a:lnTo>
                  <a:lnTo>
                    <a:pt x="2266" y="592"/>
                  </a:lnTo>
                  <a:lnTo>
                    <a:pt x="2266" y="598"/>
                  </a:lnTo>
                  <a:lnTo>
                    <a:pt x="2272" y="598"/>
                  </a:lnTo>
                  <a:lnTo>
                    <a:pt x="2278" y="604"/>
                  </a:lnTo>
                  <a:lnTo>
                    <a:pt x="2278" y="608"/>
                  </a:lnTo>
                  <a:lnTo>
                    <a:pt x="2284" y="608"/>
                  </a:lnTo>
                  <a:lnTo>
                    <a:pt x="2284" y="598"/>
                  </a:lnTo>
                  <a:lnTo>
                    <a:pt x="2290" y="598"/>
                  </a:lnTo>
                  <a:lnTo>
                    <a:pt x="2290" y="592"/>
                  </a:lnTo>
                  <a:lnTo>
                    <a:pt x="2296" y="592"/>
                  </a:lnTo>
                  <a:lnTo>
                    <a:pt x="2296" y="586"/>
                  </a:lnTo>
                  <a:lnTo>
                    <a:pt x="2308" y="586"/>
                  </a:lnTo>
                  <a:lnTo>
                    <a:pt x="2308" y="580"/>
                  </a:lnTo>
                  <a:lnTo>
                    <a:pt x="2314" y="580"/>
                  </a:lnTo>
                  <a:lnTo>
                    <a:pt x="2314" y="574"/>
                  </a:lnTo>
                  <a:lnTo>
                    <a:pt x="2318" y="568"/>
                  </a:lnTo>
                  <a:lnTo>
                    <a:pt x="2318" y="574"/>
                  </a:lnTo>
                  <a:lnTo>
                    <a:pt x="2324" y="574"/>
                  </a:lnTo>
                  <a:lnTo>
                    <a:pt x="2330" y="568"/>
                  </a:lnTo>
                  <a:lnTo>
                    <a:pt x="2330" y="562"/>
                  </a:lnTo>
                  <a:lnTo>
                    <a:pt x="2348" y="562"/>
                  </a:lnTo>
                  <a:lnTo>
                    <a:pt x="2348" y="556"/>
                  </a:lnTo>
                  <a:lnTo>
                    <a:pt x="2354" y="556"/>
                  </a:lnTo>
                  <a:lnTo>
                    <a:pt x="2354" y="550"/>
                  </a:lnTo>
                  <a:lnTo>
                    <a:pt x="2372" y="550"/>
                  </a:lnTo>
                  <a:lnTo>
                    <a:pt x="2376" y="546"/>
                  </a:lnTo>
                  <a:lnTo>
                    <a:pt x="2406" y="546"/>
                  </a:lnTo>
                  <a:lnTo>
                    <a:pt x="2406" y="550"/>
                  </a:lnTo>
                  <a:lnTo>
                    <a:pt x="2418" y="550"/>
                  </a:lnTo>
                  <a:lnTo>
                    <a:pt x="2418" y="528"/>
                  </a:lnTo>
                  <a:lnTo>
                    <a:pt x="2412" y="528"/>
                  </a:lnTo>
                  <a:lnTo>
                    <a:pt x="2412" y="522"/>
                  </a:lnTo>
                  <a:lnTo>
                    <a:pt x="2406" y="516"/>
                  </a:lnTo>
                  <a:lnTo>
                    <a:pt x="2406" y="522"/>
                  </a:lnTo>
                  <a:lnTo>
                    <a:pt x="2400" y="516"/>
                  </a:lnTo>
                  <a:lnTo>
                    <a:pt x="2406" y="516"/>
                  </a:lnTo>
                  <a:lnTo>
                    <a:pt x="2406" y="498"/>
                  </a:lnTo>
                  <a:lnTo>
                    <a:pt x="2388" y="498"/>
                  </a:lnTo>
                  <a:lnTo>
                    <a:pt x="2388" y="488"/>
                  </a:lnTo>
                  <a:lnTo>
                    <a:pt x="2382" y="482"/>
                  </a:lnTo>
                  <a:lnTo>
                    <a:pt x="2388" y="482"/>
                  </a:lnTo>
                  <a:lnTo>
                    <a:pt x="2388" y="488"/>
                  </a:lnTo>
                  <a:lnTo>
                    <a:pt x="2406" y="488"/>
                  </a:lnTo>
                  <a:lnTo>
                    <a:pt x="2406" y="492"/>
                  </a:lnTo>
                  <a:lnTo>
                    <a:pt x="2412" y="488"/>
                  </a:lnTo>
                  <a:lnTo>
                    <a:pt x="2424" y="488"/>
                  </a:lnTo>
                  <a:lnTo>
                    <a:pt x="2424" y="482"/>
                  </a:lnTo>
                  <a:lnTo>
                    <a:pt x="2430" y="482"/>
                  </a:lnTo>
                  <a:lnTo>
                    <a:pt x="2430" y="476"/>
                  </a:lnTo>
                  <a:lnTo>
                    <a:pt x="2434" y="476"/>
                  </a:lnTo>
                  <a:lnTo>
                    <a:pt x="2434" y="470"/>
                  </a:lnTo>
                  <a:lnTo>
                    <a:pt x="2440" y="470"/>
                  </a:lnTo>
                  <a:lnTo>
                    <a:pt x="2434" y="464"/>
                  </a:lnTo>
                  <a:lnTo>
                    <a:pt x="2430" y="464"/>
                  </a:lnTo>
                  <a:lnTo>
                    <a:pt x="2430" y="446"/>
                  </a:lnTo>
                  <a:lnTo>
                    <a:pt x="2434" y="452"/>
                  </a:lnTo>
                  <a:lnTo>
                    <a:pt x="2440" y="452"/>
                  </a:lnTo>
                  <a:lnTo>
                    <a:pt x="2440" y="446"/>
                  </a:lnTo>
                  <a:lnTo>
                    <a:pt x="2452" y="446"/>
                  </a:lnTo>
                  <a:lnTo>
                    <a:pt x="2446" y="452"/>
                  </a:lnTo>
                  <a:lnTo>
                    <a:pt x="2446" y="464"/>
                  </a:lnTo>
                  <a:lnTo>
                    <a:pt x="2452" y="464"/>
                  </a:lnTo>
                  <a:lnTo>
                    <a:pt x="2446" y="470"/>
                  </a:lnTo>
                  <a:lnTo>
                    <a:pt x="2470" y="470"/>
                  </a:lnTo>
                  <a:lnTo>
                    <a:pt x="2470" y="464"/>
                  </a:lnTo>
                  <a:lnTo>
                    <a:pt x="2482" y="464"/>
                  </a:lnTo>
                  <a:lnTo>
                    <a:pt x="2482" y="470"/>
                  </a:lnTo>
                  <a:lnTo>
                    <a:pt x="2488" y="470"/>
                  </a:lnTo>
                  <a:lnTo>
                    <a:pt x="2488" y="476"/>
                  </a:lnTo>
                  <a:lnTo>
                    <a:pt x="2492" y="476"/>
                  </a:lnTo>
                  <a:lnTo>
                    <a:pt x="2492" y="488"/>
                  </a:lnTo>
                  <a:lnTo>
                    <a:pt x="2510" y="488"/>
                  </a:lnTo>
                  <a:lnTo>
                    <a:pt x="2516" y="492"/>
                  </a:lnTo>
                  <a:lnTo>
                    <a:pt x="2516" y="498"/>
                  </a:lnTo>
                  <a:lnTo>
                    <a:pt x="2546" y="498"/>
                  </a:lnTo>
                  <a:lnTo>
                    <a:pt x="2546" y="492"/>
                  </a:lnTo>
                  <a:lnTo>
                    <a:pt x="2534" y="492"/>
                  </a:lnTo>
                  <a:lnTo>
                    <a:pt x="2534" y="488"/>
                  </a:lnTo>
                  <a:lnTo>
                    <a:pt x="2546" y="488"/>
                  </a:lnTo>
                  <a:lnTo>
                    <a:pt x="2546" y="470"/>
                  </a:lnTo>
                  <a:lnTo>
                    <a:pt x="2562" y="470"/>
                  </a:lnTo>
                  <a:lnTo>
                    <a:pt x="2562" y="464"/>
                  </a:lnTo>
                  <a:lnTo>
                    <a:pt x="2574" y="464"/>
                  </a:lnTo>
                  <a:lnTo>
                    <a:pt x="2574" y="446"/>
                  </a:lnTo>
                  <a:lnTo>
                    <a:pt x="2568" y="446"/>
                  </a:lnTo>
                  <a:lnTo>
                    <a:pt x="2568" y="440"/>
                  </a:lnTo>
                  <a:close/>
                  <a:moveTo>
                    <a:pt x="864" y="742"/>
                  </a:moveTo>
                  <a:lnTo>
                    <a:pt x="864" y="736"/>
                  </a:lnTo>
                  <a:lnTo>
                    <a:pt x="870" y="742"/>
                  </a:lnTo>
                  <a:lnTo>
                    <a:pt x="864" y="742"/>
                  </a:lnTo>
                  <a:close/>
                  <a:moveTo>
                    <a:pt x="1002" y="254"/>
                  </a:moveTo>
                  <a:lnTo>
                    <a:pt x="1002" y="250"/>
                  </a:lnTo>
                  <a:lnTo>
                    <a:pt x="1008" y="250"/>
                  </a:lnTo>
                  <a:lnTo>
                    <a:pt x="1002" y="254"/>
                  </a:lnTo>
                  <a:close/>
                  <a:moveTo>
                    <a:pt x="1014" y="260"/>
                  </a:moveTo>
                  <a:lnTo>
                    <a:pt x="1008" y="260"/>
                  </a:lnTo>
                  <a:lnTo>
                    <a:pt x="1008" y="254"/>
                  </a:lnTo>
                  <a:lnTo>
                    <a:pt x="1014" y="254"/>
                  </a:lnTo>
                  <a:lnTo>
                    <a:pt x="1014" y="260"/>
                  </a:lnTo>
                  <a:close/>
                  <a:moveTo>
                    <a:pt x="1206" y="192"/>
                  </a:moveTo>
                  <a:lnTo>
                    <a:pt x="1200" y="192"/>
                  </a:lnTo>
                  <a:lnTo>
                    <a:pt x="1206" y="186"/>
                  </a:lnTo>
                  <a:lnTo>
                    <a:pt x="1206" y="192"/>
                  </a:lnTo>
                  <a:close/>
                  <a:moveTo>
                    <a:pt x="1218" y="196"/>
                  </a:moveTo>
                  <a:lnTo>
                    <a:pt x="1212" y="196"/>
                  </a:lnTo>
                  <a:lnTo>
                    <a:pt x="1212" y="192"/>
                  </a:lnTo>
                  <a:lnTo>
                    <a:pt x="1218" y="192"/>
                  </a:lnTo>
                  <a:lnTo>
                    <a:pt x="1218" y="196"/>
                  </a:lnTo>
                  <a:close/>
                  <a:moveTo>
                    <a:pt x="1252" y="168"/>
                  </a:moveTo>
                  <a:lnTo>
                    <a:pt x="1246" y="162"/>
                  </a:lnTo>
                  <a:lnTo>
                    <a:pt x="1252" y="162"/>
                  </a:lnTo>
                  <a:lnTo>
                    <a:pt x="1252" y="168"/>
                  </a:lnTo>
                  <a:close/>
                  <a:moveTo>
                    <a:pt x="1628" y="308"/>
                  </a:moveTo>
                  <a:lnTo>
                    <a:pt x="1624" y="302"/>
                  </a:lnTo>
                  <a:lnTo>
                    <a:pt x="1624" y="296"/>
                  </a:lnTo>
                  <a:lnTo>
                    <a:pt x="1628" y="296"/>
                  </a:lnTo>
                  <a:lnTo>
                    <a:pt x="1628" y="308"/>
                  </a:lnTo>
                  <a:close/>
                  <a:moveTo>
                    <a:pt x="1976" y="318"/>
                  </a:moveTo>
                  <a:lnTo>
                    <a:pt x="1972" y="318"/>
                  </a:lnTo>
                  <a:lnTo>
                    <a:pt x="1976" y="312"/>
                  </a:lnTo>
                  <a:lnTo>
                    <a:pt x="1976" y="318"/>
                  </a:lnTo>
                  <a:close/>
                  <a:moveTo>
                    <a:pt x="2372" y="492"/>
                  </a:moveTo>
                  <a:lnTo>
                    <a:pt x="2366" y="492"/>
                  </a:lnTo>
                  <a:lnTo>
                    <a:pt x="2366" y="482"/>
                  </a:lnTo>
                  <a:lnTo>
                    <a:pt x="2372" y="488"/>
                  </a:lnTo>
                  <a:lnTo>
                    <a:pt x="2372" y="492"/>
                  </a:lnTo>
                  <a:close/>
                  <a:moveTo>
                    <a:pt x="2580" y="446"/>
                  </a:moveTo>
                  <a:lnTo>
                    <a:pt x="2580" y="458"/>
                  </a:lnTo>
                  <a:lnTo>
                    <a:pt x="2586" y="458"/>
                  </a:lnTo>
                  <a:lnTo>
                    <a:pt x="2586" y="452"/>
                  </a:lnTo>
                  <a:lnTo>
                    <a:pt x="2580" y="446"/>
                  </a:lnTo>
                  <a:close/>
                  <a:moveTo>
                    <a:pt x="2470" y="312"/>
                  </a:moveTo>
                  <a:lnTo>
                    <a:pt x="2464" y="318"/>
                  </a:lnTo>
                  <a:lnTo>
                    <a:pt x="2446" y="318"/>
                  </a:lnTo>
                  <a:lnTo>
                    <a:pt x="2440" y="324"/>
                  </a:lnTo>
                  <a:lnTo>
                    <a:pt x="2434" y="324"/>
                  </a:lnTo>
                  <a:lnTo>
                    <a:pt x="2430" y="318"/>
                  </a:lnTo>
                  <a:lnTo>
                    <a:pt x="2424" y="318"/>
                  </a:lnTo>
                  <a:lnTo>
                    <a:pt x="2424" y="324"/>
                  </a:lnTo>
                  <a:lnTo>
                    <a:pt x="2406" y="324"/>
                  </a:lnTo>
                  <a:lnTo>
                    <a:pt x="2406" y="318"/>
                  </a:lnTo>
                  <a:lnTo>
                    <a:pt x="2412" y="318"/>
                  </a:lnTo>
                  <a:lnTo>
                    <a:pt x="2412" y="312"/>
                  </a:lnTo>
                  <a:lnTo>
                    <a:pt x="2418" y="312"/>
                  </a:lnTo>
                  <a:lnTo>
                    <a:pt x="2418" y="308"/>
                  </a:lnTo>
                  <a:lnTo>
                    <a:pt x="2458" y="308"/>
                  </a:lnTo>
                  <a:lnTo>
                    <a:pt x="2458" y="312"/>
                  </a:lnTo>
                  <a:lnTo>
                    <a:pt x="2470" y="312"/>
                  </a:lnTo>
                  <a:close/>
                  <a:moveTo>
                    <a:pt x="1408" y="162"/>
                  </a:moveTo>
                  <a:lnTo>
                    <a:pt x="1402" y="162"/>
                  </a:lnTo>
                  <a:lnTo>
                    <a:pt x="1402" y="162"/>
                  </a:lnTo>
                  <a:lnTo>
                    <a:pt x="1396" y="162"/>
                  </a:lnTo>
                  <a:lnTo>
                    <a:pt x="1402" y="162"/>
                  </a:lnTo>
                  <a:lnTo>
                    <a:pt x="1408" y="162"/>
                  </a:lnTo>
                  <a:lnTo>
                    <a:pt x="1408" y="162"/>
                  </a:lnTo>
                  <a:lnTo>
                    <a:pt x="1408" y="162"/>
                  </a:lnTo>
                  <a:lnTo>
                    <a:pt x="1408" y="162"/>
                  </a:lnTo>
                  <a:lnTo>
                    <a:pt x="1408" y="162"/>
                  </a:lnTo>
                  <a:close/>
                  <a:moveTo>
                    <a:pt x="1570" y="260"/>
                  </a:moveTo>
                  <a:lnTo>
                    <a:pt x="1570" y="254"/>
                  </a:lnTo>
                  <a:lnTo>
                    <a:pt x="1570" y="254"/>
                  </a:lnTo>
                  <a:lnTo>
                    <a:pt x="1570" y="250"/>
                  </a:lnTo>
                  <a:lnTo>
                    <a:pt x="1570" y="244"/>
                  </a:lnTo>
                  <a:lnTo>
                    <a:pt x="1570" y="244"/>
                  </a:lnTo>
                  <a:lnTo>
                    <a:pt x="1570" y="250"/>
                  </a:lnTo>
                  <a:lnTo>
                    <a:pt x="1576" y="250"/>
                  </a:lnTo>
                  <a:lnTo>
                    <a:pt x="1582" y="250"/>
                  </a:lnTo>
                  <a:lnTo>
                    <a:pt x="1576" y="244"/>
                  </a:lnTo>
                  <a:lnTo>
                    <a:pt x="1582" y="244"/>
                  </a:lnTo>
                  <a:lnTo>
                    <a:pt x="1588" y="244"/>
                  </a:lnTo>
                  <a:lnTo>
                    <a:pt x="1588" y="244"/>
                  </a:lnTo>
                  <a:lnTo>
                    <a:pt x="1588" y="244"/>
                  </a:lnTo>
                  <a:lnTo>
                    <a:pt x="1594" y="244"/>
                  </a:lnTo>
                  <a:lnTo>
                    <a:pt x="1594" y="250"/>
                  </a:lnTo>
                  <a:lnTo>
                    <a:pt x="1600" y="244"/>
                  </a:lnTo>
                  <a:lnTo>
                    <a:pt x="1600" y="250"/>
                  </a:lnTo>
                  <a:lnTo>
                    <a:pt x="1600" y="250"/>
                  </a:lnTo>
                  <a:lnTo>
                    <a:pt x="1606" y="250"/>
                  </a:lnTo>
                  <a:lnTo>
                    <a:pt x="1606" y="254"/>
                  </a:lnTo>
                  <a:lnTo>
                    <a:pt x="1600" y="254"/>
                  </a:lnTo>
                  <a:lnTo>
                    <a:pt x="1606" y="254"/>
                  </a:lnTo>
                  <a:lnTo>
                    <a:pt x="1612" y="254"/>
                  </a:lnTo>
                  <a:lnTo>
                    <a:pt x="1612" y="250"/>
                  </a:lnTo>
                  <a:lnTo>
                    <a:pt x="1612" y="250"/>
                  </a:lnTo>
                  <a:lnTo>
                    <a:pt x="1618" y="250"/>
                  </a:lnTo>
                  <a:lnTo>
                    <a:pt x="1612" y="254"/>
                  </a:lnTo>
                  <a:lnTo>
                    <a:pt x="1618" y="254"/>
                  </a:lnTo>
                  <a:lnTo>
                    <a:pt x="1618" y="254"/>
                  </a:lnTo>
                  <a:lnTo>
                    <a:pt x="1618" y="260"/>
                  </a:lnTo>
                  <a:lnTo>
                    <a:pt x="1624" y="260"/>
                  </a:lnTo>
                  <a:lnTo>
                    <a:pt x="1624" y="266"/>
                  </a:lnTo>
                  <a:lnTo>
                    <a:pt x="1618" y="266"/>
                  </a:lnTo>
                  <a:lnTo>
                    <a:pt x="1618" y="266"/>
                  </a:lnTo>
                  <a:lnTo>
                    <a:pt x="1612" y="266"/>
                  </a:lnTo>
                  <a:lnTo>
                    <a:pt x="1618" y="266"/>
                  </a:lnTo>
                  <a:lnTo>
                    <a:pt x="1618" y="272"/>
                  </a:lnTo>
                  <a:lnTo>
                    <a:pt x="1612" y="272"/>
                  </a:lnTo>
                  <a:lnTo>
                    <a:pt x="1612" y="278"/>
                  </a:lnTo>
                  <a:lnTo>
                    <a:pt x="1612" y="278"/>
                  </a:lnTo>
                  <a:lnTo>
                    <a:pt x="1612" y="284"/>
                  </a:lnTo>
                  <a:lnTo>
                    <a:pt x="1612" y="284"/>
                  </a:lnTo>
                  <a:lnTo>
                    <a:pt x="1606" y="284"/>
                  </a:lnTo>
                  <a:lnTo>
                    <a:pt x="1606" y="278"/>
                  </a:lnTo>
                  <a:lnTo>
                    <a:pt x="1600" y="278"/>
                  </a:lnTo>
                  <a:lnTo>
                    <a:pt x="1600" y="278"/>
                  </a:lnTo>
                  <a:lnTo>
                    <a:pt x="1600" y="278"/>
                  </a:lnTo>
                  <a:lnTo>
                    <a:pt x="1594" y="278"/>
                  </a:lnTo>
                  <a:lnTo>
                    <a:pt x="1594" y="272"/>
                  </a:lnTo>
                  <a:lnTo>
                    <a:pt x="1588" y="272"/>
                  </a:lnTo>
                  <a:lnTo>
                    <a:pt x="1588" y="272"/>
                  </a:lnTo>
                  <a:lnTo>
                    <a:pt x="1582" y="272"/>
                  </a:lnTo>
                  <a:lnTo>
                    <a:pt x="1576" y="272"/>
                  </a:lnTo>
                  <a:lnTo>
                    <a:pt x="1570" y="272"/>
                  </a:lnTo>
                  <a:lnTo>
                    <a:pt x="1570" y="266"/>
                  </a:lnTo>
                  <a:lnTo>
                    <a:pt x="1570" y="266"/>
                  </a:lnTo>
                  <a:lnTo>
                    <a:pt x="1566" y="266"/>
                  </a:lnTo>
                  <a:lnTo>
                    <a:pt x="1560" y="266"/>
                  </a:lnTo>
                  <a:lnTo>
                    <a:pt x="1560" y="266"/>
                  </a:lnTo>
                  <a:lnTo>
                    <a:pt x="1560" y="266"/>
                  </a:lnTo>
                  <a:lnTo>
                    <a:pt x="1560" y="266"/>
                  </a:lnTo>
                  <a:lnTo>
                    <a:pt x="1566" y="266"/>
                  </a:lnTo>
                  <a:lnTo>
                    <a:pt x="1570" y="266"/>
                  </a:lnTo>
                  <a:lnTo>
                    <a:pt x="1570" y="266"/>
                  </a:lnTo>
                  <a:lnTo>
                    <a:pt x="1570" y="260"/>
                  </a:lnTo>
                  <a:lnTo>
                    <a:pt x="1570" y="260"/>
                  </a:lnTo>
                  <a:lnTo>
                    <a:pt x="1570" y="260"/>
                  </a:lnTo>
                  <a:close/>
                  <a:moveTo>
                    <a:pt x="1624" y="266"/>
                  </a:moveTo>
                  <a:lnTo>
                    <a:pt x="1624" y="260"/>
                  </a:lnTo>
                  <a:lnTo>
                    <a:pt x="1618" y="254"/>
                  </a:lnTo>
                  <a:lnTo>
                    <a:pt x="1624" y="254"/>
                  </a:lnTo>
                  <a:lnTo>
                    <a:pt x="1624" y="254"/>
                  </a:lnTo>
                  <a:lnTo>
                    <a:pt x="1624" y="250"/>
                  </a:lnTo>
                  <a:lnTo>
                    <a:pt x="1624" y="250"/>
                  </a:lnTo>
                  <a:lnTo>
                    <a:pt x="1624" y="250"/>
                  </a:lnTo>
                  <a:lnTo>
                    <a:pt x="1628" y="250"/>
                  </a:lnTo>
                  <a:lnTo>
                    <a:pt x="1634" y="254"/>
                  </a:lnTo>
                  <a:lnTo>
                    <a:pt x="1640" y="254"/>
                  </a:lnTo>
                  <a:lnTo>
                    <a:pt x="1640" y="254"/>
                  </a:lnTo>
                  <a:lnTo>
                    <a:pt x="1640" y="254"/>
                  </a:lnTo>
                  <a:lnTo>
                    <a:pt x="1646" y="254"/>
                  </a:lnTo>
                  <a:lnTo>
                    <a:pt x="1652" y="254"/>
                  </a:lnTo>
                  <a:lnTo>
                    <a:pt x="1652" y="254"/>
                  </a:lnTo>
                  <a:lnTo>
                    <a:pt x="1652" y="260"/>
                  </a:lnTo>
                  <a:lnTo>
                    <a:pt x="1652" y="266"/>
                  </a:lnTo>
                  <a:lnTo>
                    <a:pt x="1652" y="260"/>
                  </a:lnTo>
                  <a:lnTo>
                    <a:pt x="1658" y="260"/>
                  </a:lnTo>
                  <a:lnTo>
                    <a:pt x="1658" y="266"/>
                  </a:lnTo>
                  <a:lnTo>
                    <a:pt x="1652" y="266"/>
                  </a:lnTo>
                  <a:lnTo>
                    <a:pt x="1652" y="266"/>
                  </a:lnTo>
                  <a:lnTo>
                    <a:pt x="1646" y="266"/>
                  </a:lnTo>
                  <a:lnTo>
                    <a:pt x="1640" y="266"/>
                  </a:lnTo>
                  <a:lnTo>
                    <a:pt x="1640" y="272"/>
                  </a:lnTo>
                  <a:lnTo>
                    <a:pt x="1640" y="272"/>
                  </a:lnTo>
                  <a:lnTo>
                    <a:pt x="1634" y="272"/>
                  </a:lnTo>
                  <a:lnTo>
                    <a:pt x="1628" y="272"/>
                  </a:lnTo>
                  <a:lnTo>
                    <a:pt x="1624" y="278"/>
                  </a:lnTo>
                  <a:lnTo>
                    <a:pt x="1624" y="278"/>
                  </a:lnTo>
                  <a:lnTo>
                    <a:pt x="1618" y="278"/>
                  </a:lnTo>
                  <a:lnTo>
                    <a:pt x="1618" y="278"/>
                  </a:lnTo>
                  <a:lnTo>
                    <a:pt x="1612" y="278"/>
                  </a:lnTo>
                  <a:lnTo>
                    <a:pt x="1612" y="272"/>
                  </a:lnTo>
                  <a:lnTo>
                    <a:pt x="1618" y="272"/>
                  </a:lnTo>
                  <a:lnTo>
                    <a:pt x="1618" y="266"/>
                  </a:lnTo>
                  <a:lnTo>
                    <a:pt x="1612" y="266"/>
                  </a:lnTo>
                  <a:lnTo>
                    <a:pt x="1618" y="266"/>
                  </a:lnTo>
                  <a:lnTo>
                    <a:pt x="1618" y="266"/>
                  </a:lnTo>
                  <a:lnTo>
                    <a:pt x="1624" y="266"/>
                  </a:lnTo>
                  <a:lnTo>
                    <a:pt x="1624" y="266"/>
                  </a:lnTo>
                  <a:close/>
                  <a:moveTo>
                    <a:pt x="1628" y="278"/>
                  </a:moveTo>
                  <a:lnTo>
                    <a:pt x="1628" y="272"/>
                  </a:lnTo>
                  <a:lnTo>
                    <a:pt x="1634" y="272"/>
                  </a:lnTo>
                  <a:lnTo>
                    <a:pt x="1640" y="272"/>
                  </a:lnTo>
                  <a:lnTo>
                    <a:pt x="1640" y="272"/>
                  </a:lnTo>
                  <a:lnTo>
                    <a:pt x="1646" y="272"/>
                  </a:lnTo>
                  <a:lnTo>
                    <a:pt x="1652" y="272"/>
                  </a:lnTo>
                  <a:lnTo>
                    <a:pt x="1652" y="272"/>
                  </a:lnTo>
                  <a:lnTo>
                    <a:pt x="1658" y="272"/>
                  </a:lnTo>
                  <a:lnTo>
                    <a:pt x="1664" y="272"/>
                  </a:lnTo>
                  <a:lnTo>
                    <a:pt x="1658" y="278"/>
                  </a:lnTo>
                  <a:lnTo>
                    <a:pt x="1652" y="272"/>
                  </a:lnTo>
                  <a:lnTo>
                    <a:pt x="1652" y="272"/>
                  </a:lnTo>
                  <a:lnTo>
                    <a:pt x="1646" y="272"/>
                  </a:lnTo>
                  <a:lnTo>
                    <a:pt x="1640" y="278"/>
                  </a:lnTo>
                  <a:lnTo>
                    <a:pt x="1640" y="272"/>
                  </a:lnTo>
                  <a:lnTo>
                    <a:pt x="1634" y="278"/>
                  </a:lnTo>
                  <a:lnTo>
                    <a:pt x="1628" y="278"/>
                  </a:lnTo>
                  <a:lnTo>
                    <a:pt x="1628" y="278"/>
                  </a:lnTo>
                  <a:close/>
                  <a:moveTo>
                    <a:pt x="1624" y="278"/>
                  </a:moveTo>
                  <a:lnTo>
                    <a:pt x="1624" y="278"/>
                  </a:lnTo>
                  <a:lnTo>
                    <a:pt x="1624" y="278"/>
                  </a:lnTo>
                  <a:lnTo>
                    <a:pt x="1628" y="278"/>
                  </a:lnTo>
                  <a:lnTo>
                    <a:pt x="1634" y="278"/>
                  </a:lnTo>
                  <a:lnTo>
                    <a:pt x="1640" y="278"/>
                  </a:lnTo>
                  <a:lnTo>
                    <a:pt x="1640" y="278"/>
                  </a:lnTo>
                  <a:lnTo>
                    <a:pt x="1652" y="278"/>
                  </a:lnTo>
                  <a:lnTo>
                    <a:pt x="1652" y="278"/>
                  </a:lnTo>
                  <a:lnTo>
                    <a:pt x="1658" y="278"/>
                  </a:lnTo>
                  <a:lnTo>
                    <a:pt x="1664" y="278"/>
                  </a:lnTo>
                  <a:lnTo>
                    <a:pt x="1664" y="284"/>
                  </a:lnTo>
                  <a:lnTo>
                    <a:pt x="1664" y="284"/>
                  </a:lnTo>
                  <a:lnTo>
                    <a:pt x="1664" y="290"/>
                  </a:lnTo>
                  <a:lnTo>
                    <a:pt x="1664" y="290"/>
                  </a:lnTo>
                  <a:lnTo>
                    <a:pt x="1658" y="290"/>
                  </a:lnTo>
                  <a:lnTo>
                    <a:pt x="1664" y="290"/>
                  </a:lnTo>
                  <a:lnTo>
                    <a:pt x="1658" y="296"/>
                  </a:lnTo>
                  <a:lnTo>
                    <a:pt x="1652" y="296"/>
                  </a:lnTo>
                  <a:lnTo>
                    <a:pt x="1652" y="296"/>
                  </a:lnTo>
                  <a:lnTo>
                    <a:pt x="1652" y="290"/>
                  </a:lnTo>
                  <a:lnTo>
                    <a:pt x="1646" y="290"/>
                  </a:lnTo>
                  <a:lnTo>
                    <a:pt x="1646" y="284"/>
                  </a:lnTo>
                  <a:lnTo>
                    <a:pt x="1640" y="284"/>
                  </a:lnTo>
                  <a:lnTo>
                    <a:pt x="1640" y="284"/>
                  </a:lnTo>
                  <a:lnTo>
                    <a:pt x="1640" y="278"/>
                  </a:lnTo>
                  <a:lnTo>
                    <a:pt x="1634" y="278"/>
                  </a:lnTo>
                  <a:lnTo>
                    <a:pt x="1628" y="278"/>
                  </a:lnTo>
                  <a:lnTo>
                    <a:pt x="1624" y="278"/>
                  </a:lnTo>
                  <a:lnTo>
                    <a:pt x="1624" y="278"/>
                  </a:lnTo>
                  <a:lnTo>
                    <a:pt x="1624" y="278"/>
                  </a:lnTo>
                  <a:close/>
                  <a:moveTo>
                    <a:pt x="2140" y="324"/>
                  </a:moveTo>
                  <a:lnTo>
                    <a:pt x="2134" y="324"/>
                  </a:lnTo>
                  <a:lnTo>
                    <a:pt x="2140" y="324"/>
                  </a:lnTo>
                  <a:lnTo>
                    <a:pt x="2140" y="324"/>
                  </a:lnTo>
                  <a:close/>
                  <a:moveTo>
                    <a:pt x="602" y="372"/>
                  </a:moveTo>
                  <a:lnTo>
                    <a:pt x="596" y="372"/>
                  </a:lnTo>
                  <a:lnTo>
                    <a:pt x="590" y="372"/>
                  </a:lnTo>
                  <a:lnTo>
                    <a:pt x="590" y="366"/>
                  </a:lnTo>
                  <a:lnTo>
                    <a:pt x="590" y="372"/>
                  </a:lnTo>
                  <a:lnTo>
                    <a:pt x="596" y="372"/>
                  </a:lnTo>
                  <a:lnTo>
                    <a:pt x="602" y="372"/>
                  </a:lnTo>
                  <a:lnTo>
                    <a:pt x="602" y="372"/>
                  </a:lnTo>
                  <a:lnTo>
                    <a:pt x="602" y="372"/>
                  </a:lnTo>
                  <a:close/>
                  <a:moveTo>
                    <a:pt x="16" y="720"/>
                  </a:moveTo>
                  <a:lnTo>
                    <a:pt x="22" y="720"/>
                  </a:lnTo>
                  <a:lnTo>
                    <a:pt x="16" y="720"/>
                  </a:lnTo>
                  <a:lnTo>
                    <a:pt x="16" y="724"/>
                  </a:lnTo>
                  <a:lnTo>
                    <a:pt x="16" y="724"/>
                  </a:lnTo>
                  <a:lnTo>
                    <a:pt x="16" y="730"/>
                  </a:lnTo>
                  <a:lnTo>
                    <a:pt x="16" y="730"/>
                  </a:lnTo>
                  <a:lnTo>
                    <a:pt x="22" y="730"/>
                  </a:lnTo>
                  <a:lnTo>
                    <a:pt x="28" y="730"/>
                  </a:lnTo>
                  <a:lnTo>
                    <a:pt x="28" y="724"/>
                  </a:lnTo>
                  <a:lnTo>
                    <a:pt x="22" y="720"/>
                  </a:lnTo>
                  <a:lnTo>
                    <a:pt x="28" y="720"/>
                  </a:lnTo>
                  <a:lnTo>
                    <a:pt x="28" y="720"/>
                  </a:lnTo>
                  <a:lnTo>
                    <a:pt x="40" y="724"/>
                  </a:lnTo>
                  <a:lnTo>
                    <a:pt x="40" y="724"/>
                  </a:lnTo>
                  <a:lnTo>
                    <a:pt x="46" y="724"/>
                  </a:lnTo>
                  <a:lnTo>
                    <a:pt x="52" y="730"/>
                  </a:lnTo>
                  <a:lnTo>
                    <a:pt x="52" y="730"/>
                  </a:lnTo>
                  <a:lnTo>
                    <a:pt x="46" y="730"/>
                  </a:lnTo>
                  <a:lnTo>
                    <a:pt x="46" y="736"/>
                  </a:lnTo>
                  <a:lnTo>
                    <a:pt x="46" y="742"/>
                  </a:lnTo>
                  <a:lnTo>
                    <a:pt x="40" y="742"/>
                  </a:lnTo>
                  <a:lnTo>
                    <a:pt x="40" y="742"/>
                  </a:lnTo>
                  <a:lnTo>
                    <a:pt x="34" y="742"/>
                  </a:lnTo>
                  <a:lnTo>
                    <a:pt x="28" y="742"/>
                  </a:lnTo>
                  <a:lnTo>
                    <a:pt x="28" y="742"/>
                  </a:lnTo>
                  <a:lnTo>
                    <a:pt x="22" y="742"/>
                  </a:lnTo>
                  <a:lnTo>
                    <a:pt x="16" y="742"/>
                  </a:lnTo>
                  <a:lnTo>
                    <a:pt x="16" y="742"/>
                  </a:lnTo>
                  <a:lnTo>
                    <a:pt x="12" y="742"/>
                  </a:lnTo>
                  <a:lnTo>
                    <a:pt x="6" y="742"/>
                  </a:lnTo>
                  <a:lnTo>
                    <a:pt x="0" y="742"/>
                  </a:lnTo>
                  <a:lnTo>
                    <a:pt x="0" y="736"/>
                  </a:lnTo>
                  <a:lnTo>
                    <a:pt x="6" y="736"/>
                  </a:lnTo>
                  <a:lnTo>
                    <a:pt x="12" y="736"/>
                  </a:lnTo>
                  <a:lnTo>
                    <a:pt x="12" y="730"/>
                  </a:lnTo>
                  <a:lnTo>
                    <a:pt x="6" y="730"/>
                  </a:lnTo>
                  <a:lnTo>
                    <a:pt x="0" y="730"/>
                  </a:lnTo>
                  <a:lnTo>
                    <a:pt x="6" y="730"/>
                  </a:lnTo>
                  <a:lnTo>
                    <a:pt x="6" y="730"/>
                  </a:lnTo>
                  <a:lnTo>
                    <a:pt x="6" y="724"/>
                  </a:lnTo>
                  <a:lnTo>
                    <a:pt x="6" y="730"/>
                  </a:lnTo>
                  <a:lnTo>
                    <a:pt x="12" y="730"/>
                  </a:lnTo>
                  <a:lnTo>
                    <a:pt x="16" y="730"/>
                  </a:lnTo>
                  <a:lnTo>
                    <a:pt x="16" y="724"/>
                  </a:lnTo>
                  <a:lnTo>
                    <a:pt x="16" y="724"/>
                  </a:lnTo>
                  <a:lnTo>
                    <a:pt x="16" y="720"/>
                  </a:lnTo>
                  <a:lnTo>
                    <a:pt x="16" y="720"/>
                  </a:lnTo>
                  <a:close/>
                  <a:moveTo>
                    <a:pt x="0" y="736"/>
                  </a:moveTo>
                  <a:lnTo>
                    <a:pt x="0" y="736"/>
                  </a:lnTo>
                  <a:lnTo>
                    <a:pt x="0" y="736"/>
                  </a:lnTo>
                  <a:lnTo>
                    <a:pt x="0" y="736"/>
                  </a:lnTo>
                  <a:close/>
                  <a:moveTo>
                    <a:pt x="644" y="6"/>
                  </a:moveTo>
                  <a:lnTo>
                    <a:pt x="648" y="6"/>
                  </a:lnTo>
                  <a:lnTo>
                    <a:pt x="654" y="0"/>
                  </a:lnTo>
                  <a:lnTo>
                    <a:pt x="654" y="6"/>
                  </a:lnTo>
                  <a:lnTo>
                    <a:pt x="654" y="6"/>
                  </a:lnTo>
                  <a:lnTo>
                    <a:pt x="654" y="0"/>
                  </a:lnTo>
                  <a:lnTo>
                    <a:pt x="660" y="0"/>
                  </a:lnTo>
                  <a:lnTo>
                    <a:pt x="666" y="0"/>
                  </a:lnTo>
                  <a:lnTo>
                    <a:pt x="666" y="6"/>
                  </a:lnTo>
                  <a:lnTo>
                    <a:pt x="666" y="6"/>
                  </a:lnTo>
                  <a:lnTo>
                    <a:pt x="666" y="12"/>
                  </a:lnTo>
                  <a:lnTo>
                    <a:pt x="660" y="6"/>
                  </a:lnTo>
                  <a:lnTo>
                    <a:pt x="654" y="6"/>
                  </a:lnTo>
                  <a:lnTo>
                    <a:pt x="654" y="6"/>
                  </a:lnTo>
                  <a:lnTo>
                    <a:pt x="648" y="6"/>
                  </a:lnTo>
                  <a:lnTo>
                    <a:pt x="644" y="6"/>
                  </a:lnTo>
                  <a:lnTo>
                    <a:pt x="644" y="6"/>
                  </a:lnTo>
                  <a:close/>
                  <a:moveTo>
                    <a:pt x="586" y="6"/>
                  </a:moveTo>
                  <a:lnTo>
                    <a:pt x="590" y="6"/>
                  </a:lnTo>
                  <a:lnTo>
                    <a:pt x="590" y="6"/>
                  </a:lnTo>
                  <a:lnTo>
                    <a:pt x="590" y="12"/>
                  </a:lnTo>
                  <a:lnTo>
                    <a:pt x="590" y="12"/>
                  </a:lnTo>
                  <a:lnTo>
                    <a:pt x="586" y="12"/>
                  </a:lnTo>
                  <a:lnTo>
                    <a:pt x="586" y="6"/>
                  </a:lnTo>
                  <a:lnTo>
                    <a:pt x="586" y="6"/>
                  </a:lnTo>
                  <a:close/>
                  <a:moveTo>
                    <a:pt x="638" y="6"/>
                  </a:moveTo>
                  <a:lnTo>
                    <a:pt x="644" y="6"/>
                  </a:lnTo>
                  <a:lnTo>
                    <a:pt x="644" y="12"/>
                  </a:lnTo>
                  <a:lnTo>
                    <a:pt x="644" y="12"/>
                  </a:lnTo>
                  <a:lnTo>
                    <a:pt x="638" y="6"/>
                  </a:lnTo>
                  <a:lnTo>
                    <a:pt x="638" y="6"/>
                  </a:lnTo>
                  <a:close/>
                  <a:moveTo>
                    <a:pt x="590" y="12"/>
                  </a:moveTo>
                  <a:lnTo>
                    <a:pt x="590" y="12"/>
                  </a:lnTo>
                  <a:lnTo>
                    <a:pt x="596" y="12"/>
                  </a:lnTo>
                  <a:lnTo>
                    <a:pt x="602" y="12"/>
                  </a:lnTo>
                  <a:lnTo>
                    <a:pt x="602" y="18"/>
                  </a:lnTo>
                  <a:lnTo>
                    <a:pt x="596" y="18"/>
                  </a:lnTo>
                  <a:lnTo>
                    <a:pt x="590" y="18"/>
                  </a:lnTo>
                  <a:lnTo>
                    <a:pt x="590" y="18"/>
                  </a:lnTo>
                  <a:lnTo>
                    <a:pt x="590" y="12"/>
                  </a:lnTo>
                  <a:lnTo>
                    <a:pt x="590" y="12"/>
                  </a:lnTo>
                  <a:close/>
                  <a:moveTo>
                    <a:pt x="528" y="18"/>
                  </a:moveTo>
                  <a:lnTo>
                    <a:pt x="522" y="12"/>
                  </a:lnTo>
                  <a:lnTo>
                    <a:pt x="528" y="12"/>
                  </a:lnTo>
                  <a:lnTo>
                    <a:pt x="528" y="18"/>
                  </a:lnTo>
                  <a:lnTo>
                    <a:pt x="528" y="18"/>
                  </a:lnTo>
                  <a:lnTo>
                    <a:pt x="528" y="18"/>
                  </a:lnTo>
                  <a:lnTo>
                    <a:pt x="528" y="18"/>
                  </a:lnTo>
                  <a:close/>
                  <a:moveTo>
                    <a:pt x="608" y="18"/>
                  </a:moveTo>
                  <a:lnTo>
                    <a:pt x="614" y="18"/>
                  </a:lnTo>
                  <a:lnTo>
                    <a:pt x="614" y="18"/>
                  </a:lnTo>
                  <a:lnTo>
                    <a:pt x="620" y="18"/>
                  </a:lnTo>
                  <a:lnTo>
                    <a:pt x="614" y="18"/>
                  </a:lnTo>
                  <a:lnTo>
                    <a:pt x="614" y="18"/>
                  </a:lnTo>
                  <a:lnTo>
                    <a:pt x="608" y="18"/>
                  </a:lnTo>
                  <a:lnTo>
                    <a:pt x="608" y="18"/>
                  </a:lnTo>
                  <a:close/>
                  <a:moveTo>
                    <a:pt x="568" y="22"/>
                  </a:moveTo>
                  <a:lnTo>
                    <a:pt x="574" y="18"/>
                  </a:lnTo>
                  <a:lnTo>
                    <a:pt x="574" y="18"/>
                  </a:lnTo>
                  <a:lnTo>
                    <a:pt x="580" y="18"/>
                  </a:lnTo>
                  <a:lnTo>
                    <a:pt x="580" y="22"/>
                  </a:lnTo>
                  <a:lnTo>
                    <a:pt x="574" y="22"/>
                  </a:lnTo>
                  <a:lnTo>
                    <a:pt x="574" y="22"/>
                  </a:lnTo>
                  <a:lnTo>
                    <a:pt x="568" y="22"/>
                  </a:lnTo>
                  <a:lnTo>
                    <a:pt x="562" y="22"/>
                  </a:lnTo>
                  <a:lnTo>
                    <a:pt x="568" y="22"/>
                  </a:lnTo>
                  <a:lnTo>
                    <a:pt x="568" y="22"/>
                  </a:lnTo>
                  <a:close/>
                  <a:moveTo>
                    <a:pt x="1078" y="28"/>
                  </a:moveTo>
                  <a:lnTo>
                    <a:pt x="1078" y="28"/>
                  </a:lnTo>
                  <a:lnTo>
                    <a:pt x="1066" y="22"/>
                  </a:lnTo>
                  <a:lnTo>
                    <a:pt x="1060" y="22"/>
                  </a:lnTo>
                  <a:lnTo>
                    <a:pt x="1066" y="22"/>
                  </a:lnTo>
                  <a:lnTo>
                    <a:pt x="1066" y="18"/>
                  </a:lnTo>
                  <a:lnTo>
                    <a:pt x="1072" y="18"/>
                  </a:lnTo>
                  <a:lnTo>
                    <a:pt x="1078" y="18"/>
                  </a:lnTo>
                  <a:lnTo>
                    <a:pt x="1078" y="18"/>
                  </a:lnTo>
                  <a:lnTo>
                    <a:pt x="1084" y="18"/>
                  </a:lnTo>
                  <a:lnTo>
                    <a:pt x="1090" y="22"/>
                  </a:lnTo>
                  <a:lnTo>
                    <a:pt x="1090" y="22"/>
                  </a:lnTo>
                  <a:lnTo>
                    <a:pt x="1090" y="22"/>
                  </a:lnTo>
                  <a:lnTo>
                    <a:pt x="1090" y="28"/>
                  </a:lnTo>
                  <a:lnTo>
                    <a:pt x="1084" y="28"/>
                  </a:lnTo>
                  <a:lnTo>
                    <a:pt x="1078" y="28"/>
                  </a:lnTo>
                  <a:lnTo>
                    <a:pt x="1078" y="28"/>
                  </a:lnTo>
                  <a:close/>
                  <a:moveTo>
                    <a:pt x="596" y="18"/>
                  </a:moveTo>
                  <a:lnTo>
                    <a:pt x="602" y="18"/>
                  </a:lnTo>
                  <a:lnTo>
                    <a:pt x="602" y="18"/>
                  </a:lnTo>
                  <a:lnTo>
                    <a:pt x="602" y="22"/>
                  </a:lnTo>
                  <a:lnTo>
                    <a:pt x="608" y="22"/>
                  </a:lnTo>
                  <a:lnTo>
                    <a:pt x="602" y="22"/>
                  </a:lnTo>
                  <a:lnTo>
                    <a:pt x="596" y="22"/>
                  </a:lnTo>
                  <a:lnTo>
                    <a:pt x="596" y="18"/>
                  </a:lnTo>
                  <a:lnTo>
                    <a:pt x="596" y="18"/>
                  </a:lnTo>
                  <a:close/>
                  <a:moveTo>
                    <a:pt x="464" y="28"/>
                  </a:moveTo>
                  <a:lnTo>
                    <a:pt x="470" y="28"/>
                  </a:lnTo>
                  <a:lnTo>
                    <a:pt x="464" y="28"/>
                  </a:lnTo>
                  <a:lnTo>
                    <a:pt x="464" y="22"/>
                  </a:lnTo>
                  <a:lnTo>
                    <a:pt x="470" y="22"/>
                  </a:lnTo>
                  <a:lnTo>
                    <a:pt x="474" y="22"/>
                  </a:lnTo>
                  <a:lnTo>
                    <a:pt x="474" y="28"/>
                  </a:lnTo>
                  <a:lnTo>
                    <a:pt x="470" y="28"/>
                  </a:lnTo>
                  <a:lnTo>
                    <a:pt x="464" y="28"/>
                  </a:lnTo>
                  <a:lnTo>
                    <a:pt x="464" y="28"/>
                  </a:lnTo>
                  <a:close/>
                  <a:moveTo>
                    <a:pt x="586" y="22"/>
                  </a:moveTo>
                  <a:lnTo>
                    <a:pt x="590" y="22"/>
                  </a:lnTo>
                  <a:lnTo>
                    <a:pt x="590" y="22"/>
                  </a:lnTo>
                  <a:lnTo>
                    <a:pt x="590" y="22"/>
                  </a:lnTo>
                  <a:lnTo>
                    <a:pt x="586" y="22"/>
                  </a:lnTo>
                  <a:lnTo>
                    <a:pt x="586" y="22"/>
                  </a:lnTo>
                  <a:close/>
                  <a:moveTo>
                    <a:pt x="614" y="28"/>
                  </a:moveTo>
                  <a:lnTo>
                    <a:pt x="614" y="28"/>
                  </a:lnTo>
                  <a:lnTo>
                    <a:pt x="620" y="22"/>
                  </a:lnTo>
                  <a:lnTo>
                    <a:pt x="626" y="22"/>
                  </a:lnTo>
                  <a:lnTo>
                    <a:pt x="626" y="22"/>
                  </a:lnTo>
                  <a:lnTo>
                    <a:pt x="632" y="22"/>
                  </a:lnTo>
                  <a:lnTo>
                    <a:pt x="638" y="22"/>
                  </a:lnTo>
                  <a:lnTo>
                    <a:pt x="638" y="28"/>
                  </a:lnTo>
                  <a:lnTo>
                    <a:pt x="632" y="28"/>
                  </a:lnTo>
                  <a:lnTo>
                    <a:pt x="626" y="28"/>
                  </a:lnTo>
                  <a:lnTo>
                    <a:pt x="626" y="28"/>
                  </a:lnTo>
                  <a:lnTo>
                    <a:pt x="620" y="28"/>
                  </a:lnTo>
                  <a:lnTo>
                    <a:pt x="614" y="28"/>
                  </a:lnTo>
                  <a:lnTo>
                    <a:pt x="614" y="28"/>
                  </a:lnTo>
                  <a:lnTo>
                    <a:pt x="614" y="28"/>
                  </a:lnTo>
                  <a:close/>
                  <a:moveTo>
                    <a:pt x="550" y="22"/>
                  </a:moveTo>
                  <a:lnTo>
                    <a:pt x="556" y="22"/>
                  </a:lnTo>
                  <a:lnTo>
                    <a:pt x="562" y="22"/>
                  </a:lnTo>
                  <a:lnTo>
                    <a:pt x="562" y="22"/>
                  </a:lnTo>
                  <a:lnTo>
                    <a:pt x="562" y="28"/>
                  </a:lnTo>
                  <a:lnTo>
                    <a:pt x="568" y="28"/>
                  </a:lnTo>
                  <a:lnTo>
                    <a:pt x="574" y="28"/>
                  </a:lnTo>
                  <a:lnTo>
                    <a:pt x="574" y="28"/>
                  </a:lnTo>
                  <a:lnTo>
                    <a:pt x="580" y="28"/>
                  </a:lnTo>
                  <a:lnTo>
                    <a:pt x="586" y="28"/>
                  </a:lnTo>
                  <a:lnTo>
                    <a:pt x="580" y="28"/>
                  </a:lnTo>
                  <a:lnTo>
                    <a:pt x="574" y="28"/>
                  </a:lnTo>
                  <a:lnTo>
                    <a:pt x="574" y="28"/>
                  </a:lnTo>
                  <a:lnTo>
                    <a:pt x="568" y="28"/>
                  </a:lnTo>
                  <a:lnTo>
                    <a:pt x="562" y="28"/>
                  </a:lnTo>
                  <a:lnTo>
                    <a:pt x="562" y="28"/>
                  </a:lnTo>
                  <a:lnTo>
                    <a:pt x="556" y="28"/>
                  </a:lnTo>
                  <a:lnTo>
                    <a:pt x="550" y="28"/>
                  </a:lnTo>
                  <a:lnTo>
                    <a:pt x="550" y="22"/>
                  </a:lnTo>
                  <a:lnTo>
                    <a:pt x="550" y="22"/>
                  </a:lnTo>
                  <a:close/>
                  <a:moveTo>
                    <a:pt x="580" y="28"/>
                  </a:moveTo>
                  <a:lnTo>
                    <a:pt x="574" y="28"/>
                  </a:lnTo>
                  <a:lnTo>
                    <a:pt x="580" y="22"/>
                  </a:lnTo>
                  <a:lnTo>
                    <a:pt x="586" y="22"/>
                  </a:lnTo>
                  <a:lnTo>
                    <a:pt x="590" y="22"/>
                  </a:lnTo>
                  <a:lnTo>
                    <a:pt x="590" y="28"/>
                  </a:lnTo>
                  <a:lnTo>
                    <a:pt x="590" y="28"/>
                  </a:lnTo>
                  <a:lnTo>
                    <a:pt x="590" y="28"/>
                  </a:lnTo>
                  <a:lnTo>
                    <a:pt x="586" y="28"/>
                  </a:lnTo>
                  <a:lnTo>
                    <a:pt x="586" y="28"/>
                  </a:lnTo>
                  <a:lnTo>
                    <a:pt x="580" y="28"/>
                  </a:lnTo>
                  <a:lnTo>
                    <a:pt x="580" y="28"/>
                  </a:lnTo>
                  <a:close/>
                  <a:moveTo>
                    <a:pt x="904" y="28"/>
                  </a:moveTo>
                  <a:lnTo>
                    <a:pt x="910" y="28"/>
                  </a:lnTo>
                  <a:lnTo>
                    <a:pt x="910" y="28"/>
                  </a:lnTo>
                  <a:lnTo>
                    <a:pt x="910" y="28"/>
                  </a:lnTo>
                  <a:lnTo>
                    <a:pt x="910" y="28"/>
                  </a:lnTo>
                  <a:lnTo>
                    <a:pt x="916" y="28"/>
                  </a:lnTo>
                  <a:lnTo>
                    <a:pt x="922" y="28"/>
                  </a:lnTo>
                  <a:lnTo>
                    <a:pt x="916" y="34"/>
                  </a:lnTo>
                  <a:lnTo>
                    <a:pt x="910" y="34"/>
                  </a:lnTo>
                  <a:lnTo>
                    <a:pt x="904" y="34"/>
                  </a:lnTo>
                  <a:lnTo>
                    <a:pt x="898" y="34"/>
                  </a:lnTo>
                  <a:lnTo>
                    <a:pt x="898" y="28"/>
                  </a:lnTo>
                  <a:lnTo>
                    <a:pt x="904" y="28"/>
                  </a:lnTo>
                  <a:lnTo>
                    <a:pt x="904" y="28"/>
                  </a:lnTo>
                  <a:close/>
                  <a:moveTo>
                    <a:pt x="580" y="34"/>
                  </a:moveTo>
                  <a:lnTo>
                    <a:pt x="580" y="28"/>
                  </a:lnTo>
                  <a:lnTo>
                    <a:pt x="586" y="28"/>
                  </a:lnTo>
                  <a:lnTo>
                    <a:pt x="590" y="28"/>
                  </a:lnTo>
                  <a:lnTo>
                    <a:pt x="590" y="28"/>
                  </a:lnTo>
                  <a:lnTo>
                    <a:pt x="596" y="28"/>
                  </a:lnTo>
                  <a:lnTo>
                    <a:pt x="596" y="34"/>
                  </a:lnTo>
                  <a:lnTo>
                    <a:pt x="590" y="34"/>
                  </a:lnTo>
                  <a:lnTo>
                    <a:pt x="590" y="34"/>
                  </a:lnTo>
                  <a:lnTo>
                    <a:pt x="586" y="34"/>
                  </a:lnTo>
                  <a:lnTo>
                    <a:pt x="580" y="34"/>
                  </a:lnTo>
                  <a:lnTo>
                    <a:pt x="574" y="34"/>
                  </a:lnTo>
                  <a:lnTo>
                    <a:pt x="580" y="34"/>
                  </a:lnTo>
                  <a:lnTo>
                    <a:pt x="580" y="34"/>
                  </a:lnTo>
                  <a:close/>
                  <a:moveTo>
                    <a:pt x="522" y="34"/>
                  </a:moveTo>
                  <a:lnTo>
                    <a:pt x="522" y="28"/>
                  </a:lnTo>
                  <a:lnTo>
                    <a:pt x="528" y="28"/>
                  </a:lnTo>
                  <a:lnTo>
                    <a:pt x="528" y="28"/>
                  </a:lnTo>
                  <a:lnTo>
                    <a:pt x="532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44" y="34"/>
                  </a:lnTo>
                  <a:lnTo>
                    <a:pt x="550" y="34"/>
                  </a:lnTo>
                  <a:lnTo>
                    <a:pt x="544" y="34"/>
                  </a:lnTo>
                  <a:lnTo>
                    <a:pt x="538" y="34"/>
                  </a:lnTo>
                  <a:lnTo>
                    <a:pt x="538" y="34"/>
                  </a:lnTo>
                  <a:lnTo>
                    <a:pt x="532" y="34"/>
                  </a:lnTo>
                  <a:lnTo>
                    <a:pt x="528" y="34"/>
                  </a:lnTo>
                  <a:lnTo>
                    <a:pt x="532" y="34"/>
                  </a:lnTo>
                  <a:lnTo>
                    <a:pt x="528" y="34"/>
                  </a:lnTo>
                  <a:lnTo>
                    <a:pt x="528" y="34"/>
                  </a:lnTo>
                  <a:lnTo>
                    <a:pt x="522" y="34"/>
                  </a:lnTo>
                  <a:lnTo>
                    <a:pt x="522" y="34"/>
                  </a:lnTo>
                  <a:close/>
                  <a:moveTo>
                    <a:pt x="544" y="34"/>
                  </a:moveTo>
                  <a:lnTo>
                    <a:pt x="550" y="34"/>
                  </a:lnTo>
                  <a:lnTo>
                    <a:pt x="556" y="34"/>
                  </a:lnTo>
                  <a:lnTo>
                    <a:pt x="562" y="34"/>
                  </a:lnTo>
                  <a:lnTo>
                    <a:pt x="562" y="40"/>
                  </a:lnTo>
                  <a:lnTo>
                    <a:pt x="562" y="40"/>
                  </a:lnTo>
                  <a:lnTo>
                    <a:pt x="556" y="40"/>
                  </a:lnTo>
                  <a:lnTo>
                    <a:pt x="550" y="40"/>
                  </a:lnTo>
                  <a:lnTo>
                    <a:pt x="550" y="40"/>
                  </a:lnTo>
                  <a:lnTo>
                    <a:pt x="544" y="40"/>
                  </a:lnTo>
                  <a:lnTo>
                    <a:pt x="538" y="40"/>
                  </a:lnTo>
                  <a:lnTo>
                    <a:pt x="538" y="34"/>
                  </a:lnTo>
                  <a:lnTo>
                    <a:pt x="544" y="34"/>
                  </a:lnTo>
                  <a:lnTo>
                    <a:pt x="544" y="34"/>
                  </a:lnTo>
                  <a:close/>
                  <a:moveTo>
                    <a:pt x="510" y="40"/>
                  </a:moveTo>
                  <a:lnTo>
                    <a:pt x="510" y="40"/>
                  </a:lnTo>
                  <a:lnTo>
                    <a:pt x="510" y="40"/>
                  </a:lnTo>
                  <a:lnTo>
                    <a:pt x="510" y="40"/>
                  </a:lnTo>
                  <a:lnTo>
                    <a:pt x="510" y="40"/>
                  </a:lnTo>
                  <a:lnTo>
                    <a:pt x="510" y="40"/>
                  </a:lnTo>
                  <a:close/>
                  <a:moveTo>
                    <a:pt x="590" y="40"/>
                  </a:moveTo>
                  <a:lnTo>
                    <a:pt x="590" y="40"/>
                  </a:lnTo>
                  <a:lnTo>
                    <a:pt x="590" y="40"/>
                  </a:lnTo>
                  <a:lnTo>
                    <a:pt x="590" y="40"/>
                  </a:lnTo>
                  <a:close/>
                  <a:moveTo>
                    <a:pt x="568" y="40"/>
                  </a:moveTo>
                  <a:lnTo>
                    <a:pt x="574" y="40"/>
                  </a:lnTo>
                  <a:lnTo>
                    <a:pt x="574" y="40"/>
                  </a:lnTo>
                  <a:lnTo>
                    <a:pt x="580" y="40"/>
                  </a:lnTo>
                  <a:lnTo>
                    <a:pt x="580" y="40"/>
                  </a:lnTo>
                  <a:lnTo>
                    <a:pt x="574" y="40"/>
                  </a:lnTo>
                  <a:lnTo>
                    <a:pt x="574" y="40"/>
                  </a:lnTo>
                  <a:lnTo>
                    <a:pt x="568" y="40"/>
                  </a:lnTo>
                  <a:lnTo>
                    <a:pt x="568" y="40"/>
                  </a:lnTo>
                  <a:close/>
                  <a:moveTo>
                    <a:pt x="516" y="40"/>
                  </a:moveTo>
                  <a:lnTo>
                    <a:pt x="522" y="40"/>
                  </a:lnTo>
                  <a:lnTo>
                    <a:pt x="516" y="40"/>
                  </a:lnTo>
                  <a:lnTo>
                    <a:pt x="516" y="40"/>
                  </a:lnTo>
                  <a:lnTo>
                    <a:pt x="522" y="40"/>
                  </a:lnTo>
                  <a:lnTo>
                    <a:pt x="528" y="40"/>
                  </a:lnTo>
                  <a:lnTo>
                    <a:pt x="528" y="40"/>
                  </a:lnTo>
                  <a:lnTo>
                    <a:pt x="522" y="40"/>
                  </a:lnTo>
                  <a:lnTo>
                    <a:pt x="528" y="40"/>
                  </a:lnTo>
                  <a:lnTo>
                    <a:pt x="528" y="40"/>
                  </a:lnTo>
                  <a:lnTo>
                    <a:pt x="528" y="46"/>
                  </a:lnTo>
                  <a:lnTo>
                    <a:pt x="522" y="46"/>
                  </a:lnTo>
                  <a:lnTo>
                    <a:pt x="522" y="40"/>
                  </a:lnTo>
                  <a:lnTo>
                    <a:pt x="516" y="40"/>
                  </a:lnTo>
                  <a:lnTo>
                    <a:pt x="516" y="40"/>
                  </a:lnTo>
                  <a:close/>
                  <a:moveTo>
                    <a:pt x="528" y="40"/>
                  </a:moveTo>
                  <a:lnTo>
                    <a:pt x="532" y="40"/>
                  </a:lnTo>
                  <a:lnTo>
                    <a:pt x="538" y="40"/>
                  </a:lnTo>
                  <a:lnTo>
                    <a:pt x="532" y="40"/>
                  </a:lnTo>
                  <a:lnTo>
                    <a:pt x="528" y="40"/>
                  </a:lnTo>
                  <a:lnTo>
                    <a:pt x="528" y="40"/>
                  </a:lnTo>
                  <a:close/>
                  <a:moveTo>
                    <a:pt x="528" y="46"/>
                  </a:moveTo>
                  <a:lnTo>
                    <a:pt x="528" y="40"/>
                  </a:lnTo>
                  <a:lnTo>
                    <a:pt x="532" y="40"/>
                  </a:lnTo>
                  <a:lnTo>
                    <a:pt x="532" y="46"/>
                  </a:lnTo>
                  <a:lnTo>
                    <a:pt x="528" y="46"/>
                  </a:lnTo>
                  <a:lnTo>
                    <a:pt x="528" y="46"/>
                  </a:lnTo>
                  <a:lnTo>
                    <a:pt x="528" y="46"/>
                  </a:lnTo>
                  <a:lnTo>
                    <a:pt x="528" y="46"/>
                  </a:lnTo>
                  <a:close/>
                  <a:moveTo>
                    <a:pt x="538" y="46"/>
                  </a:moveTo>
                  <a:lnTo>
                    <a:pt x="538" y="46"/>
                  </a:lnTo>
                  <a:lnTo>
                    <a:pt x="538" y="46"/>
                  </a:lnTo>
                  <a:lnTo>
                    <a:pt x="538" y="46"/>
                  </a:lnTo>
                  <a:close/>
                  <a:moveTo>
                    <a:pt x="550" y="46"/>
                  </a:moveTo>
                  <a:lnTo>
                    <a:pt x="550" y="46"/>
                  </a:lnTo>
                  <a:lnTo>
                    <a:pt x="556" y="46"/>
                  </a:lnTo>
                  <a:lnTo>
                    <a:pt x="550" y="46"/>
                  </a:lnTo>
                  <a:lnTo>
                    <a:pt x="550" y="46"/>
                  </a:lnTo>
                  <a:lnTo>
                    <a:pt x="550" y="46"/>
                  </a:lnTo>
                  <a:close/>
                  <a:moveTo>
                    <a:pt x="498" y="52"/>
                  </a:moveTo>
                  <a:lnTo>
                    <a:pt x="492" y="52"/>
                  </a:lnTo>
                  <a:lnTo>
                    <a:pt x="498" y="52"/>
                  </a:lnTo>
                  <a:lnTo>
                    <a:pt x="498" y="52"/>
                  </a:lnTo>
                  <a:lnTo>
                    <a:pt x="498" y="46"/>
                  </a:lnTo>
                  <a:lnTo>
                    <a:pt x="504" y="46"/>
                  </a:lnTo>
                  <a:lnTo>
                    <a:pt x="510" y="46"/>
                  </a:lnTo>
                  <a:lnTo>
                    <a:pt x="510" y="46"/>
                  </a:lnTo>
                  <a:lnTo>
                    <a:pt x="510" y="52"/>
                  </a:lnTo>
                  <a:lnTo>
                    <a:pt x="516" y="52"/>
                  </a:lnTo>
                  <a:lnTo>
                    <a:pt x="510" y="52"/>
                  </a:lnTo>
                  <a:lnTo>
                    <a:pt x="510" y="52"/>
                  </a:lnTo>
                  <a:lnTo>
                    <a:pt x="510" y="52"/>
                  </a:lnTo>
                  <a:lnTo>
                    <a:pt x="504" y="52"/>
                  </a:lnTo>
                  <a:lnTo>
                    <a:pt x="498" y="52"/>
                  </a:lnTo>
                  <a:lnTo>
                    <a:pt x="498" y="52"/>
                  </a:lnTo>
                  <a:lnTo>
                    <a:pt x="498" y="52"/>
                  </a:lnTo>
                  <a:lnTo>
                    <a:pt x="498" y="52"/>
                  </a:lnTo>
                  <a:lnTo>
                    <a:pt x="498" y="52"/>
                  </a:lnTo>
                  <a:close/>
                  <a:moveTo>
                    <a:pt x="532" y="52"/>
                  </a:moveTo>
                  <a:lnTo>
                    <a:pt x="538" y="52"/>
                  </a:lnTo>
                  <a:lnTo>
                    <a:pt x="538" y="46"/>
                  </a:lnTo>
                  <a:lnTo>
                    <a:pt x="544" y="52"/>
                  </a:lnTo>
                  <a:lnTo>
                    <a:pt x="538" y="52"/>
                  </a:lnTo>
                  <a:lnTo>
                    <a:pt x="538" y="52"/>
                  </a:lnTo>
                  <a:lnTo>
                    <a:pt x="532" y="52"/>
                  </a:lnTo>
                  <a:lnTo>
                    <a:pt x="532" y="52"/>
                  </a:lnTo>
                  <a:close/>
                  <a:moveTo>
                    <a:pt x="528" y="52"/>
                  </a:moveTo>
                  <a:lnTo>
                    <a:pt x="522" y="52"/>
                  </a:lnTo>
                  <a:lnTo>
                    <a:pt x="528" y="52"/>
                  </a:lnTo>
                  <a:lnTo>
                    <a:pt x="528" y="46"/>
                  </a:lnTo>
                  <a:lnTo>
                    <a:pt x="528" y="52"/>
                  </a:lnTo>
                  <a:lnTo>
                    <a:pt x="528" y="52"/>
                  </a:lnTo>
                  <a:lnTo>
                    <a:pt x="528" y="52"/>
                  </a:lnTo>
                  <a:lnTo>
                    <a:pt x="528" y="52"/>
                  </a:lnTo>
                  <a:close/>
                  <a:moveTo>
                    <a:pt x="458" y="58"/>
                  </a:moveTo>
                  <a:lnTo>
                    <a:pt x="458" y="52"/>
                  </a:lnTo>
                  <a:lnTo>
                    <a:pt x="452" y="52"/>
                  </a:lnTo>
                  <a:lnTo>
                    <a:pt x="458" y="52"/>
                  </a:lnTo>
                  <a:lnTo>
                    <a:pt x="464" y="52"/>
                  </a:lnTo>
                  <a:lnTo>
                    <a:pt x="464" y="52"/>
                  </a:lnTo>
                  <a:lnTo>
                    <a:pt x="464" y="52"/>
                  </a:lnTo>
                  <a:lnTo>
                    <a:pt x="464" y="52"/>
                  </a:lnTo>
                  <a:lnTo>
                    <a:pt x="464" y="58"/>
                  </a:lnTo>
                  <a:lnTo>
                    <a:pt x="458" y="58"/>
                  </a:lnTo>
                  <a:lnTo>
                    <a:pt x="458" y="58"/>
                  </a:lnTo>
                  <a:close/>
                  <a:moveTo>
                    <a:pt x="608" y="52"/>
                  </a:moveTo>
                  <a:lnTo>
                    <a:pt x="608" y="52"/>
                  </a:lnTo>
                  <a:lnTo>
                    <a:pt x="614" y="52"/>
                  </a:lnTo>
                  <a:lnTo>
                    <a:pt x="614" y="52"/>
                  </a:lnTo>
                  <a:lnTo>
                    <a:pt x="614" y="52"/>
                  </a:lnTo>
                  <a:lnTo>
                    <a:pt x="614" y="52"/>
                  </a:lnTo>
                  <a:lnTo>
                    <a:pt x="608" y="52"/>
                  </a:lnTo>
                  <a:lnTo>
                    <a:pt x="608" y="52"/>
                  </a:lnTo>
                  <a:close/>
                  <a:moveTo>
                    <a:pt x="590" y="58"/>
                  </a:moveTo>
                  <a:lnTo>
                    <a:pt x="596" y="58"/>
                  </a:lnTo>
                  <a:lnTo>
                    <a:pt x="596" y="52"/>
                  </a:lnTo>
                  <a:lnTo>
                    <a:pt x="602" y="52"/>
                  </a:lnTo>
                  <a:lnTo>
                    <a:pt x="602" y="52"/>
                  </a:lnTo>
                  <a:lnTo>
                    <a:pt x="608" y="52"/>
                  </a:lnTo>
                  <a:lnTo>
                    <a:pt x="608" y="58"/>
                  </a:lnTo>
                  <a:lnTo>
                    <a:pt x="602" y="58"/>
                  </a:lnTo>
                  <a:lnTo>
                    <a:pt x="602" y="64"/>
                  </a:lnTo>
                  <a:lnTo>
                    <a:pt x="602" y="64"/>
                  </a:lnTo>
                  <a:lnTo>
                    <a:pt x="602" y="58"/>
                  </a:lnTo>
                  <a:lnTo>
                    <a:pt x="596" y="58"/>
                  </a:lnTo>
                  <a:lnTo>
                    <a:pt x="590" y="58"/>
                  </a:lnTo>
                  <a:lnTo>
                    <a:pt x="590" y="58"/>
                  </a:lnTo>
                  <a:close/>
                  <a:moveTo>
                    <a:pt x="464" y="58"/>
                  </a:moveTo>
                  <a:lnTo>
                    <a:pt x="464" y="58"/>
                  </a:lnTo>
                  <a:lnTo>
                    <a:pt x="470" y="58"/>
                  </a:lnTo>
                  <a:lnTo>
                    <a:pt x="474" y="58"/>
                  </a:lnTo>
                  <a:lnTo>
                    <a:pt x="474" y="52"/>
                  </a:lnTo>
                  <a:lnTo>
                    <a:pt x="474" y="52"/>
                  </a:lnTo>
                  <a:lnTo>
                    <a:pt x="474" y="58"/>
                  </a:lnTo>
                  <a:lnTo>
                    <a:pt x="480" y="58"/>
                  </a:lnTo>
                  <a:lnTo>
                    <a:pt x="480" y="64"/>
                  </a:lnTo>
                  <a:lnTo>
                    <a:pt x="474" y="64"/>
                  </a:lnTo>
                  <a:lnTo>
                    <a:pt x="474" y="64"/>
                  </a:lnTo>
                  <a:lnTo>
                    <a:pt x="474" y="58"/>
                  </a:lnTo>
                  <a:lnTo>
                    <a:pt x="470" y="58"/>
                  </a:lnTo>
                  <a:lnTo>
                    <a:pt x="470" y="64"/>
                  </a:lnTo>
                  <a:lnTo>
                    <a:pt x="464" y="58"/>
                  </a:lnTo>
                  <a:lnTo>
                    <a:pt x="464" y="58"/>
                  </a:lnTo>
                  <a:lnTo>
                    <a:pt x="464" y="58"/>
                  </a:lnTo>
                  <a:close/>
                  <a:moveTo>
                    <a:pt x="452" y="58"/>
                  </a:moveTo>
                  <a:lnTo>
                    <a:pt x="452" y="52"/>
                  </a:lnTo>
                  <a:lnTo>
                    <a:pt x="458" y="58"/>
                  </a:lnTo>
                  <a:lnTo>
                    <a:pt x="452" y="58"/>
                  </a:lnTo>
                  <a:lnTo>
                    <a:pt x="452" y="58"/>
                  </a:lnTo>
                  <a:lnTo>
                    <a:pt x="452" y="58"/>
                  </a:lnTo>
                  <a:close/>
                  <a:moveTo>
                    <a:pt x="1130" y="58"/>
                  </a:moveTo>
                  <a:lnTo>
                    <a:pt x="1130" y="58"/>
                  </a:lnTo>
                  <a:lnTo>
                    <a:pt x="1130" y="58"/>
                  </a:lnTo>
                  <a:lnTo>
                    <a:pt x="1124" y="58"/>
                  </a:lnTo>
                  <a:lnTo>
                    <a:pt x="1130" y="58"/>
                  </a:lnTo>
                  <a:lnTo>
                    <a:pt x="1130" y="58"/>
                  </a:lnTo>
                  <a:close/>
                  <a:moveTo>
                    <a:pt x="586" y="64"/>
                  </a:moveTo>
                  <a:lnTo>
                    <a:pt x="590" y="64"/>
                  </a:lnTo>
                  <a:lnTo>
                    <a:pt x="590" y="58"/>
                  </a:lnTo>
                  <a:lnTo>
                    <a:pt x="590" y="58"/>
                  </a:lnTo>
                  <a:lnTo>
                    <a:pt x="590" y="64"/>
                  </a:lnTo>
                  <a:lnTo>
                    <a:pt x="596" y="64"/>
                  </a:lnTo>
                  <a:lnTo>
                    <a:pt x="590" y="64"/>
                  </a:lnTo>
                  <a:lnTo>
                    <a:pt x="590" y="64"/>
                  </a:lnTo>
                  <a:lnTo>
                    <a:pt x="586" y="64"/>
                  </a:lnTo>
                  <a:lnTo>
                    <a:pt x="586" y="64"/>
                  </a:lnTo>
                  <a:close/>
                  <a:moveTo>
                    <a:pt x="1090" y="70"/>
                  </a:moveTo>
                  <a:lnTo>
                    <a:pt x="1090" y="70"/>
                  </a:lnTo>
                  <a:lnTo>
                    <a:pt x="1084" y="64"/>
                  </a:lnTo>
                  <a:lnTo>
                    <a:pt x="1090" y="64"/>
                  </a:lnTo>
                  <a:lnTo>
                    <a:pt x="1090" y="64"/>
                  </a:lnTo>
                  <a:lnTo>
                    <a:pt x="1096" y="70"/>
                  </a:lnTo>
                  <a:lnTo>
                    <a:pt x="1090" y="70"/>
                  </a:lnTo>
                  <a:lnTo>
                    <a:pt x="1090" y="70"/>
                  </a:lnTo>
                  <a:close/>
                  <a:moveTo>
                    <a:pt x="1154" y="156"/>
                  </a:moveTo>
                  <a:lnTo>
                    <a:pt x="1154" y="156"/>
                  </a:lnTo>
                  <a:lnTo>
                    <a:pt x="1154" y="162"/>
                  </a:lnTo>
                  <a:lnTo>
                    <a:pt x="1148" y="162"/>
                  </a:lnTo>
                  <a:lnTo>
                    <a:pt x="1148" y="156"/>
                  </a:lnTo>
                  <a:lnTo>
                    <a:pt x="1154" y="156"/>
                  </a:lnTo>
                  <a:lnTo>
                    <a:pt x="1154" y="156"/>
                  </a:lnTo>
                  <a:close/>
                  <a:moveTo>
                    <a:pt x="608" y="174"/>
                  </a:moveTo>
                  <a:lnTo>
                    <a:pt x="614" y="174"/>
                  </a:lnTo>
                  <a:lnTo>
                    <a:pt x="614" y="174"/>
                  </a:lnTo>
                  <a:lnTo>
                    <a:pt x="620" y="174"/>
                  </a:lnTo>
                  <a:lnTo>
                    <a:pt x="614" y="174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08" y="180"/>
                  </a:lnTo>
                  <a:lnTo>
                    <a:pt x="608" y="174"/>
                  </a:lnTo>
                  <a:lnTo>
                    <a:pt x="608" y="174"/>
                  </a:lnTo>
                  <a:close/>
                  <a:moveTo>
                    <a:pt x="590" y="180"/>
                  </a:moveTo>
                  <a:lnTo>
                    <a:pt x="602" y="180"/>
                  </a:lnTo>
                  <a:lnTo>
                    <a:pt x="602" y="180"/>
                  </a:lnTo>
                  <a:lnTo>
                    <a:pt x="602" y="180"/>
                  </a:lnTo>
                  <a:lnTo>
                    <a:pt x="590" y="180"/>
                  </a:lnTo>
                  <a:lnTo>
                    <a:pt x="590" y="180"/>
                  </a:lnTo>
                  <a:close/>
                  <a:moveTo>
                    <a:pt x="1832" y="192"/>
                  </a:moveTo>
                  <a:lnTo>
                    <a:pt x="1832" y="192"/>
                  </a:lnTo>
                  <a:lnTo>
                    <a:pt x="1832" y="186"/>
                  </a:lnTo>
                  <a:lnTo>
                    <a:pt x="1832" y="192"/>
                  </a:lnTo>
                  <a:lnTo>
                    <a:pt x="1832" y="192"/>
                  </a:lnTo>
                  <a:lnTo>
                    <a:pt x="1832" y="192"/>
                  </a:lnTo>
                  <a:close/>
                  <a:moveTo>
                    <a:pt x="1014" y="214"/>
                  </a:moveTo>
                  <a:lnTo>
                    <a:pt x="1014" y="214"/>
                  </a:lnTo>
                  <a:lnTo>
                    <a:pt x="1014" y="214"/>
                  </a:lnTo>
                  <a:lnTo>
                    <a:pt x="1014" y="214"/>
                  </a:lnTo>
                  <a:lnTo>
                    <a:pt x="1014" y="214"/>
                  </a:lnTo>
                  <a:close/>
                  <a:moveTo>
                    <a:pt x="1002" y="226"/>
                  </a:moveTo>
                  <a:lnTo>
                    <a:pt x="996" y="226"/>
                  </a:lnTo>
                  <a:lnTo>
                    <a:pt x="996" y="220"/>
                  </a:lnTo>
                  <a:lnTo>
                    <a:pt x="1002" y="220"/>
                  </a:lnTo>
                  <a:lnTo>
                    <a:pt x="1008" y="220"/>
                  </a:lnTo>
                  <a:lnTo>
                    <a:pt x="1002" y="220"/>
                  </a:lnTo>
                  <a:lnTo>
                    <a:pt x="1002" y="226"/>
                  </a:lnTo>
                  <a:lnTo>
                    <a:pt x="1002" y="226"/>
                  </a:lnTo>
                  <a:close/>
                  <a:moveTo>
                    <a:pt x="992" y="226"/>
                  </a:moveTo>
                  <a:lnTo>
                    <a:pt x="996" y="226"/>
                  </a:lnTo>
                  <a:lnTo>
                    <a:pt x="996" y="226"/>
                  </a:lnTo>
                  <a:lnTo>
                    <a:pt x="996" y="226"/>
                  </a:lnTo>
                  <a:lnTo>
                    <a:pt x="992" y="226"/>
                  </a:lnTo>
                  <a:lnTo>
                    <a:pt x="992" y="226"/>
                  </a:lnTo>
                  <a:close/>
                  <a:moveTo>
                    <a:pt x="1020" y="250"/>
                  </a:moveTo>
                  <a:lnTo>
                    <a:pt x="1020" y="244"/>
                  </a:lnTo>
                  <a:lnTo>
                    <a:pt x="1026" y="244"/>
                  </a:lnTo>
                  <a:lnTo>
                    <a:pt x="1026" y="244"/>
                  </a:lnTo>
                  <a:lnTo>
                    <a:pt x="1026" y="244"/>
                  </a:lnTo>
                  <a:lnTo>
                    <a:pt x="1020" y="244"/>
                  </a:lnTo>
                  <a:lnTo>
                    <a:pt x="1020" y="250"/>
                  </a:lnTo>
                  <a:lnTo>
                    <a:pt x="1020" y="250"/>
                  </a:lnTo>
                  <a:close/>
                  <a:moveTo>
                    <a:pt x="1020" y="244"/>
                  </a:moveTo>
                  <a:lnTo>
                    <a:pt x="1014" y="250"/>
                  </a:lnTo>
                  <a:lnTo>
                    <a:pt x="1014" y="250"/>
                  </a:lnTo>
                  <a:lnTo>
                    <a:pt x="1014" y="244"/>
                  </a:lnTo>
                  <a:lnTo>
                    <a:pt x="1014" y="244"/>
                  </a:lnTo>
                  <a:lnTo>
                    <a:pt x="1020" y="244"/>
                  </a:lnTo>
                  <a:lnTo>
                    <a:pt x="1020" y="244"/>
                  </a:lnTo>
                  <a:close/>
                  <a:moveTo>
                    <a:pt x="846" y="254"/>
                  </a:moveTo>
                  <a:lnTo>
                    <a:pt x="846" y="250"/>
                  </a:lnTo>
                  <a:lnTo>
                    <a:pt x="852" y="250"/>
                  </a:lnTo>
                  <a:lnTo>
                    <a:pt x="858" y="250"/>
                  </a:lnTo>
                  <a:lnTo>
                    <a:pt x="852" y="254"/>
                  </a:lnTo>
                  <a:lnTo>
                    <a:pt x="846" y="254"/>
                  </a:lnTo>
                  <a:lnTo>
                    <a:pt x="846" y="254"/>
                  </a:lnTo>
                  <a:lnTo>
                    <a:pt x="846" y="254"/>
                  </a:lnTo>
                  <a:close/>
                  <a:moveTo>
                    <a:pt x="858" y="250"/>
                  </a:moveTo>
                  <a:lnTo>
                    <a:pt x="858" y="250"/>
                  </a:lnTo>
                  <a:lnTo>
                    <a:pt x="858" y="254"/>
                  </a:lnTo>
                  <a:lnTo>
                    <a:pt x="864" y="254"/>
                  </a:lnTo>
                  <a:lnTo>
                    <a:pt x="858" y="254"/>
                  </a:lnTo>
                  <a:lnTo>
                    <a:pt x="858" y="250"/>
                  </a:lnTo>
                  <a:lnTo>
                    <a:pt x="858" y="250"/>
                  </a:lnTo>
                  <a:lnTo>
                    <a:pt x="858" y="250"/>
                  </a:lnTo>
                  <a:close/>
                  <a:moveTo>
                    <a:pt x="1618" y="254"/>
                  </a:moveTo>
                  <a:lnTo>
                    <a:pt x="1624" y="254"/>
                  </a:lnTo>
                  <a:lnTo>
                    <a:pt x="1618" y="254"/>
                  </a:lnTo>
                  <a:lnTo>
                    <a:pt x="1618" y="254"/>
                  </a:lnTo>
                  <a:close/>
                  <a:moveTo>
                    <a:pt x="782" y="254"/>
                  </a:moveTo>
                  <a:lnTo>
                    <a:pt x="782" y="254"/>
                  </a:lnTo>
                  <a:lnTo>
                    <a:pt x="782" y="254"/>
                  </a:lnTo>
                  <a:lnTo>
                    <a:pt x="782" y="254"/>
                  </a:lnTo>
                  <a:lnTo>
                    <a:pt x="782" y="254"/>
                  </a:lnTo>
                  <a:lnTo>
                    <a:pt x="782" y="254"/>
                  </a:lnTo>
                  <a:close/>
                  <a:moveTo>
                    <a:pt x="858" y="260"/>
                  </a:moveTo>
                  <a:lnTo>
                    <a:pt x="858" y="260"/>
                  </a:lnTo>
                  <a:lnTo>
                    <a:pt x="864" y="260"/>
                  </a:lnTo>
                  <a:lnTo>
                    <a:pt x="858" y="260"/>
                  </a:lnTo>
                  <a:lnTo>
                    <a:pt x="858" y="260"/>
                  </a:lnTo>
                  <a:lnTo>
                    <a:pt x="858" y="260"/>
                  </a:lnTo>
                  <a:close/>
                  <a:moveTo>
                    <a:pt x="822" y="266"/>
                  </a:moveTo>
                  <a:lnTo>
                    <a:pt x="822" y="260"/>
                  </a:lnTo>
                  <a:lnTo>
                    <a:pt x="828" y="260"/>
                  </a:lnTo>
                  <a:lnTo>
                    <a:pt x="834" y="260"/>
                  </a:lnTo>
                  <a:lnTo>
                    <a:pt x="834" y="260"/>
                  </a:lnTo>
                  <a:lnTo>
                    <a:pt x="834" y="266"/>
                  </a:lnTo>
                  <a:lnTo>
                    <a:pt x="834" y="260"/>
                  </a:lnTo>
                  <a:lnTo>
                    <a:pt x="834" y="266"/>
                  </a:lnTo>
                  <a:lnTo>
                    <a:pt x="834" y="266"/>
                  </a:lnTo>
                  <a:lnTo>
                    <a:pt x="834" y="266"/>
                  </a:lnTo>
                  <a:lnTo>
                    <a:pt x="834" y="266"/>
                  </a:lnTo>
                  <a:lnTo>
                    <a:pt x="834" y="266"/>
                  </a:lnTo>
                  <a:lnTo>
                    <a:pt x="828" y="266"/>
                  </a:lnTo>
                  <a:lnTo>
                    <a:pt x="828" y="266"/>
                  </a:lnTo>
                  <a:lnTo>
                    <a:pt x="822" y="266"/>
                  </a:lnTo>
                  <a:lnTo>
                    <a:pt x="822" y="266"/>
                  </a:lnTo>
                  <a:close/>
                  <a:moveTo>
                    <a:pt x="1548" y="266"/>
                  </a:moveTo>
                  <a:lnTo>
                    <a:pt x="1548" y="266"/>
                  </a:lnTo>
                  <a:lnTo>
                    <a:pt x="1554" y="266"/>
                  </a:lnTo>
                  <a:lnTo>
                    <a:pt x="1554" y="266"/>
                  </a:lnTo>
                  <a:lnTo>
                    <a:pt x="1548" y="266"/>
                  </a:lnTo>
                  <a:lnTo>
                    <a:pt x="1548" y="266"/>
                  </a:lnTo>
                  <a:close/>
                  <a:moveTo>
                    <a:pt x="1652" y="266"/>
                  </a:moveTo>
                  <a:lnTo>
                    <a:pt x="1652" y="266"/>
                  </a:lnTo>
                  <a:lnTo>
                    <a:pt x="1658" y="266"/>
                  </a:lnTo>
                  <a:lnTo>
                    <a:pt x="1658" y="266"/>
                  </a:lnTo>
                  <a:lnTo>
                    <a:pt x="1652" y="266"/>
                  </a:lnTo>
                  <a:lnTo>
                    <a:pt x="1652" y="266"/>
                  </a:lnTo>
                  <a:close/>
                  <a:moveTo>
                    <a:pt x="1554" y="266"/>
                  </a:moveTo>
                  <a:lnTo>
                    <a:pt x="1560" y="266"/>
                  </a:lnTo>
                  <a:lnTo>
                    <a:pt x="1560" y="266"/>
                  </a:lnTo>
                  <a:lnTo>
                    <a:pt x="1566" y="266"/>
                  </a:lnTo>
                  <a:lnTo>
                    <a:pt x="1570" y="266"/>
                  </a:lnTo>
                  <a:lnTo>
                    <a:pt x="1570" y="272"/>
                  </a:lnTo>
                  <a:lnTo>
                    <a:pt x="1570" y="272"/>
                  </a:lnTo>
                  <a:lnTo>
                    <a:pt x="1566" y="266"/>
                  </a:lnTo>
                  <a:lnTo>
                    <a:pt x="1560" y="266"/>
                  </a:lnTo>
                  <a:lnTo>
                    <a:pt x="1554" y="266"/>
                  </a:lnTo>
                  <a:lnTo>
                    <a:pt x="1554" y="266"/>
                  </a:lnTo>
                  <a:lnTo>
                    <a:pt x="1554" y="266"/>
                  </a:lnTo>
                  <a:close/>
                  <a:moveTo>
                    <a:pt x="1658" y="272"/>
                  </a:moveTo>
                  <a:lnTo>
                    <a:pt x="1652" y="272"/>
                  </a:lnTo>
                  <a:lnTo>
                    <a:pt x="1652" y="266"/>
                  </a:lnTo>
                  <a:lnTo>
                    <a:pt x="1646" y="266"/>
                  </a:lnTo>
                  <a:lnTo>
                    <a:pt x="1652" y="266"/>
                  </a:lnTo>
                  <a:lnTo>
                    <a:pt x="1652" y="266"/>
                  </a:lnTo>
                  <a:lnTo>
                    <a:pt x="1658" y="266"/>
                  </a:lnTo>
                  <a:lnTo>
                    <a:pt x="1664" y="266"/>
                  </a:lnTo>
                  <a:lnTo>
                    <a:pt x="1658" y="272"/>
                  </a:lnTo>
                  <a:lnTo>
                    <a:pt x="1658" y="272"/>
                  </a:lnTo>
                  <a:close/>
                  <a:moveTo>
                    <a:pt x="1640" y="278"/>
                  </a:moveTo>
                  <a:lnTo>
                    <a:pt x="1646" y="278"/>
                  </a:lnTo>
                  <a:lnTo>
                    <a:pt x="1646" y="272"/>
                  </a:lnTo>
                  <a:lnTo>
                    <a:pt x="1652" y="272"/>
                  </a:lnTo>
                  <a:lnTo>
                    <a:pt x="1652" y="272"/>
                  </a:lnTo>
                  <a:lnTo>
                    <a:pt x="1652" y="278"/>
                  </a:lnTo>
                  <a:lnTo>
                    <a:pt x="1652" y="278"/>
                  </a:lnTo>
                  <a:lnTo>
                    <a:pt x="1646" y="278"/>
                  </a:lnTo>
                  <a:lnTo>
                    <a:pt x="1640" y="278"/>
                  </a:lnTo>
                  <a:lnTo>
                    <a:pt x="1640" y="278"/>
                  </a:lnTo>
                  <a:close/>
                  <a:moveTo>
                    <a:pt x="1624" y="290"/>
                  </a:moveTo>
                  <a:lnTo>
                    <a:pt x="1624" y="284"/>
                  </a:lnTo>
                  <a:lnTo>
                    <a:pt x="1618" y="284"/>
                  </a:lnTo>
                  <a:lnTo>
                    <a:pt x="1624" y="284"/>
                  </a:lnTo>
                  <a:lnTo>
                    <a:pt x="1624" y="290"/>
                  </a:lnTo>
                  <a:lnTo>
                    <a:pt x="1624" y="290"/>
                  </a:lnTo>
                  <a:close/>
                  <a:moveTo>
                    <a:pt x="1624" y="296"/>
                  </a:moveTo>
                  <a:lnTo>
                    <a:pt x="1628" y="296"/>
                  </a:lnTo>
                  <a:lnTo>
                    <a:pt x="1628" y="296"/>
                  </a:lnTo>
                  <a:lnTo>
                    <a:pt x="1624" y="296"/>
                  </a:lnTo>
                  <a:lnTo>
                    <a:pt x="1624" y="296"/>
                  </a:lnTo>
                  <a:lnTo>
                    <a:pt x="1624" y="296"/>
                  </a:lnTo>
                  <a:close/>
                  <a:moveTo>
                    <a:pt x="950" y="324"/>
                  </a:moveTo>
                  <a:lnTo>
                    <a:pt x="944" y="324"/>
                  </a:lnTo>
                  <a:lnTo>
                    <a:pt x="944" y="318"/>
                  </a:lnTo>
                  <a:lnTo>
                    <a:pt x="950" y="318"/>
                  </a:lnTo>
                  <a:lnTo>
                    <a:pt x="950" y="324"/>
                  </a:lnTo>
                  <a:lnTo>
                    <a:pt x="950" y="324"/>
                  </a:lnTo>
                  <a:close/>
                  <a:moveTo>
                    <a:pt x="962" y="324"/>
                  </a:moveTo>
                  <a:lnTo>
                    <a:pt x="962" y="324"/>
                  </a:lnTo>
                  <a:lnTo>
                    <a:pt x="962" y="318"/>
                  </a:lnTo>
                  <a:lnTo>
                    <a:pt x="962" y="318"/>
                  </a:lnTo>
                  <a:lnTo>
                    <a:pt x="962" y="324"/>
                  </a:lnTo>
                  <a:lnTo>
                    <a:pt x="962" y="324"/>
                  </a:lnTo>
                  <a:close/>
                  <a:moveTo>
                    <a:pt x="962" y="336"/>
                  </a:moveTo>
                  <a:lnTo>
                    <a:pt x="962" y="330"/>
                  </a:lnTo>
                  <a:lnTo>
                    <a:pt x="962" y="330"/>
                  </a:lnTo>
                  <a:lnTo>
                    <a:pt x="962" y="330"/>
                  </a:lnTo>
                  <a:lnTo>
                    <a:pt x="962" y="324"/>
                  </a:lnTo>
                  <a:lnTo>
                    <a:pt x="968" y="330"/>
                  </a:lnTo>
                  <a:lnTo>
                    <a:pt x="962" y="330"/>
                  </a:lnTo>
                  <a:lnTo>
                    <a:pt x="962" y="330"/>
                  </a:lnTo>
                  <a:lnTo>
                    <a:pt x="962" y="336"/>
                  </a:lnTo>
                  <a:lnTo>
                    <a:pt x="962" y="336"/>
                  </a:lnTo>
                  <a:lnTo>
                    <a:pt x="962" y="336"/>
                  </a:lnTo>
                  <a:close/>
                  <a:moveTo>
                    <a:pt x="568" y="336"/>
                  </a:moveTo>
                  <a:lnTo>
                    <a:pt x="562" y="330"/>
                  </a:lnTo>
                  <a:lnTo>
                    <a:pt x="568" y="330"/>
                  </a:lnTo>
                  <a:lnTo>
                    <a:pt x="568" y="336"/>
                  </a:lnTo>
                  <a:lnTo>
                    <a:pt x="568" y="336"/>
                  </a:lnTo>
                  <a:close/>
                  <a:moveTo>
                    <a:pt x="968" y="330"/>
                  </a:moveTo>
                  <a:lnTo>
                    <a:pt x="962" y="330"/>
                  </a:lnTo>
                  <a:lnTo>
                    <a:pt x="968" y="330"/>
                  </a:lnTo>
                  <a:lnTo>
                    <a:pt x="968" y="336"/>
                  </a:lnTo>
                  <a:lnTo>
                    <a:pt x="968" y="330"/>
                  </a:lnTo>
                  <a:lnTo>
                    <a:pt x="968" y="330"/>
                  </a:lnTo>
                  <a:close/>
                  <a:moveTo>
                    <a:pt x="968" y="336"/>
                  </a:moveTo>
                  <a:lnTo>
                    <a:pt x="962" y="336"/>
                  </a:lnTo>
                  <a:lnTo>
                    <a:pt x="968" y="336"/>
                  </a:lnTo>
                  <a:lnTo>
                    <a:pt x="968" y="330"/>
                  </a:lnTo>
                  <a:lnTo>
                    <a:pt x="968" y="336"/>
                  </a:lnTo>
                  <a:lnTo>
                    <a:pt x="968" y="336"/>
                  </a:lnTo>
                  <a:close/>
                  <a:moveTo>
                    <a:pt x="956" y="342"/>
                  </a:moveTo>
                  <a:lnTo>
                    <a:pt x="956" y="342"/>
                  </a:lnTo>
                  <a:lnTo>
                    <a:pt x="962" y="342"/>
                  </a:lnTo>
                  <a:lnTo>
                    <a:pt x="962" y="342"/>
                  </a:lnTo>
                  <a:lnTo>
                    <a:pt x="956" y="342"/>
                  </a:lnTo>
                  <a:lnTo>
                    <a:pt x="956" y="342"/>
                  </a:lnTo>
                  <a:close/>
                  <a:moveTo>
                    <a:pt x="718" y="366"/>
                  </a:moveTo>
                  <a:lnTo>
                    <a:pt x="718" y="366"/>
                  </a:lnTo>
                  <a:lnTo>
                    <a:pt x="718" y="366"/>
                  </a:lnTo>
                  <a:lnTo>
                    <a:pt x="718" y="366"/>
                  </a:lnTo>
                  <a:close/>
                  <a:moveTo>
                    <a:pt x="760" y="440"/>
                  </a:moveTo>
                  <a:lnTo>
                    <a:pt x="760" y="440"/>
                  </a:lnTo>
                  <a:lnTo>
                    <a:pt x="760" y="434"/>
                  </a:lnTo>
                  <a:lnTo>
                    <a:pt x="754" y="434"/>
                  </a:lnTo>
                  <a:lnTo>
                    <a:pt x="748" y="434"/>
                  </a:lnTo>
                  <a:lnTo>
                    <a:pt x="748" y="434"/>
                  </a:lnTo>
                  <a:lnTo>
                    <a:pt x="754" y="434"/>
                  </a:lnTo>
                  <a:lnTo>
                    <a:pt x="760" y="434"/>
                  </a:lnTo>
                  <a:lnTo>
                    <a:pt x="760" y="434"/>
                  </a:lnTo>
                  <a:lnTo>
                    <a:pt x="760" y="434"/>
                  </a:lnTo>
                  <a:lnTo>
                    <a:pt x="764" y="434"/>
                  </a:lnTo>
                  <a:lnTo>
                    <a:pt x="764" y="440"/>
                  </a:lnTo>
                  <a:lnTo>
                    <a:pt x="760" y="446"/>
                  </a:lnTo>
                  <a:lnTo>
                    <a:pt x="760" y="440"/>
                  </a:lnTo>
                  <a:lnTo>
                    <a:pt x="760" y="440"/>
                  </a:lnTo>
                  <a:close/>
                  <a:moveTo>
                    <a:pt x="312" y="488"/>
                  </a:moveTo>
                  <a:lnTo>
                    <a:pt x="318" y="492"/>
                  </a:lnTo>
                  <a:lnTo>
                    <a:pt x="312" y="492"/>
                  </a:lnTo>
                  <a:lnTo>
                    <a:pt x="306" y="492"/>
                  </a:lnTo>
                  <a:lnTo>
                    <a:pt x="306" y="488"/>
                  </a:lnTo>
                  <a:lnTo>
                    <a:pt x="312" y="488"/>
                  </a:lnTo>
                  <a:lnTo>
                    <a:pt x="306" y="488"/>
                  </a:lnTo>
                  <a:lnTo>
                    <a:pt x="312" y="488"/>
                  </a:lnTo>
                  <a:lnTo>
                    <a:pt x="312" y="488"/>
                  </a:lnTo>
                  <a:close/>
                  <a:moveTo>
                    <a:pt x="1982" y="626"/>
                  </a:moveTo>
                  <a:lnTo>
                    <a:pt x="1982" y="626"/>
                  </a:lnTo>
                  <a:lnTo>
                    <a:pt x="1982" y="626"/>
                  </a:lnTo>
                  <a:lnTo>
                    <a:pt x="1982" y="632"/>
                  </a:lnTo>
                  <a:lnTo>
                    <a:pt x="1982" y="626"/>
                  </a:lnTo>
                  <a:lnTo>
                    <a:pt x="1982" y="626"/>
                  </a:lnTo>
                  <a:close/>
                  <a:moveTo>
                    <a:pt x="1774" y="730"/>
                  </a:moveTo>
                  <a:lnTo>
                    <a:pt x="1774" y="724"/>
                  </a:lnTo>
                  <a:lnTo>
                    <a:pt x="1780" y="724"/>
                  </a:lnTo>
                  <a:lnTo>
                    <a:pt x="1780" y="724"/>
                  </a:lnTo>
                  <a:lnTo>
                    <a:pt x="1780" y="730"/>
                  </a:lnTo>
                  <a:lnTo>
                    <a:pt x="1780" y="724"/>
                  </a:lnTo>
                  <a:lnTo>
                    <a:pt x="1774" y="724"/>
                  </a:lnTo>
                  <a:lnTo>
                    <a:pt x="1774" y="730"/>
                  </a:lnTo>
                  <a:lnTo>
                    <a:pt x="1774" y="730"/>
                  </a:lnTo>
                  <a:close/>
                  <a:moveTo>
                    <a:pt x="1786" y="742"/>
                  </a:moveTo>
                  <a:lnTo>
                    <a:pt x="1786" y="736"/>
                  </a:lnTo>
                  <a:lnTo>
                    <a:pt x="1786" y="742"/>
                  </a:lnTo>
                  <a:lnTo>
                    <a:pt x="1786" y="742"/>
                  </a:lnTo>
                  <a:close/>
                  <a:moveTo>
                    <a:pt x="1792" y="742"/>
                  </a:moveTo>
                  <a:lnTo>
                    <a:pt x="1792" y="736"/>
                  </a:lnTo>
                  <a:lnTo>
                    <a:pt x="1792" y="742"/>
                  </a:lnTo>
                  <a:lnTo>
                    <a:pt x="1792" y="742"/>
                  </a:lnTo>
                  <a:close/>
                  <a:moveTo>
                    <a:pt x="1704" y="992"/>
                  </a:moveTo>
                  <a:lnTo>
                    <a:pt x="1698" y="992"/>
                  </a:lnTo>
                  <a:lnTo>
                    <a:pt x="1698" y="986"/>
                  </a:lnTo>
                  <a:lnTo>
                    <a:pt x="1704" y="992"/>
                  </a:lnTo>
                  <a:lnTo>
                    <a:pt x="1704" y="992"/>
                  </a:lnTo>
                  <a:close/>
                  <a:moveTo>
                    <a:pt x="580" y="6"/>
                  </a:moveTo>
                  <a:lnTo>
                    <a:pt x="580" y="0"/>
                  </a:lnTo>
                  <a:lnTo>
                    <a:pt x="586" y="0"/>
                  </a:lnTo>
                  <a:lnTo>
                    <a:pt x="590" y="0"/>
                  </a:lnTo>
                  <a:lnTo>
                    <a:pt x="590" y="0"/>
                  </a:lnTo>
                  <a:lnTo>
                    <a:pt x="596" y="0"/>
                  </a:lnTo>
                  <a:lnTo>
                    <a:pt x="602" y="0"/>
                  </a:lnTo>
                  <a:lnTo>
                    <a:pt x="602" y="0"/>
                  </a:lnTo>
                  <a:lnTo>
                    <a:pt x="602" y="0"/>
                  </a:lnTo>
                  <a:lnTo>
                    <a:pt x="596" y="0"/>
                  </a:lnTo>
                  <a:lnTo>
                    <a:pt x="590" y="0"/>
                  </a:lnTo>
                  <a:lnTo>
                    <a:pt x="590" y="0"/>
                  </a:lnTo>
                  <a:lnTo>
                    <a:pt x="586" y="6"/>
                  </a:lnTo>
                  <a:lnTo>
                    <a:pt x="580" y="6"/>
                  </a:lnTo>
                  <a:lnTo>
                    <a:pt x="580" y="6"/>
                  </a:lnTo>
                  <a:close/>
                  <a:moveTo>
                    <a:pt x="580" y="12"/>
                  </a:moveTo>
                  <a:lnTo>
                    <a:pt x="574" y="12"/>
                  </a:lnTo>
                  <a:lnTo>
                    <a:pt x="574" y="12"/>
                  </a:lnTo>
                  <a:lnTo>
                    <a:pt x="568" y="12"/>
                  </a:lnTo>
                  <a:lnTo>
                    <a:pt x="562" y="12"/>
                  </a:lnTo>
                  <a:lnTo>
                    <a:pt x="562" y="12"/>
                  </a:lnTo>
                  <a:lnTo>
                    <a:pt x="562" y="12"/>
                  </a:lnTo>
                  <a:lnTo>
                    <a:pt x="568" y="12"/>
                  </a:lnTo>
                  <a:lnTo>
                    <a:pt x="574" y="12"/>
                  </a:lnTo>
                  <a:lnTo>
                    <a:pt x="574" y="12"/>
                  </a:lnTo>
                  <a:lnTo>
                    <a:pt x="580" y="12"/>
                  </a:lnTo>
                  <a:lnTo>
                    <a:pt x="586" y="12"/>
                  </a:lnTo>
                  <a:lnTo>
                    <a:pt x="590" y="12"/>
                  </a:lnTo>
                  <a:lnTo>
                    <a:pt x="590" y="12"/>
                  </a:lnTo>
                  <a:lnTo>
                    <a:pt x="586" y="12"/>
                  </a:lnTo>
                  <a:lnTo>
                    <a:pt x="580" y="12"/>
                  </a:lnTo>
                  <a:lnTo>
                    <a:pt x="580" y="12"/>
                  </a:lnTo>
                  <a:close/>
                  <a:moveTo>
                    <a:pt x="544" y="18"/>
                  </a:moveTo>
                  <a:lnTo>
                    <a:pt x="538" y="18"/>
                  </a:lnTo>
                  <a:lnTo>
                    <a:pt x="544" y="18"/>
                  </a:lnTo>
                  <a:lnTo>
                    <a:pt x="550" y="18"/>
                  </a:lnTo>
                  <a:lnTo>
                    <a:pt x="550" y="18"/>
                  </a:lnTo>
                  <a:lnTo>
                    <a:pt x="556" y="18"/>
                  </a:lnTo>
                  <a:lnTo>
                    <a:pt x="562" y="18"/>
                  </a:lnTo>
                  <a:lnTo>
                    <a:pt x="556" y="18"/>
                  </a:lnTo>
                  <a:lnTo>
                    <a:pt x="556" y="12"/>
                  </a:lnTo>
                  <a:lnTo>
                    <a:pt x="562" y="12"/>
                  </a:lnTo>
                  <a:lnTo>
                    <a:pt x="562" y="12"/>
                  </a:lnTo>
                  <a:lnTo>
                    <a:pt x="568" y="12"/>
                  </a:lnTo>
                  <a:lnTo>
                    <a:pt x="574" y="18"/>
                  </a:lnTo>
                  <a:lnTo>
                    <a:pt x="574" y="18"/>
                  </a:lnTo>
                  <a:lnTo>
                    <a:pt x="580" y="18"/>
                  </a:lnTo>
                  <a:lnTo>
                    <a:pt x="574" y="18"/>
                  </a:lnTo>
                  <a:lnTo>
                    <a:pt x="574" y="18"/>
                  </a:lnTo>
                  <a:lnTo>
                    <a:pt x="568" y="18"/>
                  </a:lnTo>
                  <a:lnTo>
                    <a:pt x="562" y="18"/>
                  </a:lnTo>
                  <a:lnTo>
                    <a:pt x="562" y="22"/>
                  </a:lnTo>
                  <a:lnTo>
                    <a:pt x="556" y="22"/>
                  </a:lnTo>
                  <a:lnTo>
                    <a:pt x="556" y="18"/>
                  </a:lnTo>
                  <a:lnTo>
                    <a:pt x="550" y="18"/>
                  </a:lnTo>
                  <a:lnTo>
                    <a:pt x="550" y="22"/>
                  </a:lnTo>
                  <a:lnTo>
                    <a:pt x="550" y="22"/>
                  </a:lnTo>
                  <a:lnTo>
                    <a:pt x="544" y="22"/>
                  </a:lnTo>
                  <a:lnTo>
                    <a:pt x="544" y="18"/>
                  </a:lnTo>
                  <a:lnTo>
                    <a:pt x="544" y="18"/>
                  </a:lnTo>
                  <a:close/>
                  <a:moveTo>
                    <a:pt x="1166" y="52"/>
                  </a:moveTo>
                  <a:lnTo>
                    <a:pt x="1166" y="52"/>
                  </a:lnTo>
                  <a:lnTo>
                    <a:pt x="1160" y="52"/>
                  </a:lnTo>
                  <a:lnTo>
                    <a:pt x="1154" y="52"/>
                  </a:lnTo>
                  <a:lnTo>
                    <a:pt x="1154" y="52"/>
                  </a:lnTo>
                  <a:lnTo>
                    <a:pt x="1148" y="52"/>
                  </a:lnTo>
                  <a:lnTo>
                    <a:pt x="1142" y="52"/>
                  </a:lnTo>
                  <a:lnTo>
                    <a:pt x="1142" y="52"/>
                  </a:lnTo>
                  <a:lnTo>
                    <a:pt x="1136" y="52"/>
                  </a:lnTo>
                  <a:lnTo>
                    <a:pt x="1130" y="52"/>
                  </a:lnTo>
                  <a:lnTo>
                    <a:pt x="1130" y="58"/>
                  </a:lnTo>
                  <a:lnTo>
                    <a:pt x="1130" y="58"/>
                  </a:lnTo>
                  <a:lnTo>
                    <a:pt x="1124" y="58"/>
                  </a:lnTo>
                  <a:lnTo>
                    <a:pt x="1118" y="58"/>
                  </a:lnTo>
                  <a:lnTo>
                    <a:pt x="1112" y="58"/>
                  </a:lnTo>
                  <a:lnTo>
                    <a:pt x="1112" y="58"/>
                  </a:lnTo>
                  <a:lnTo>
                    <a:pt x="1112" y="52"/>
                  </a:lnTo>
                  <a:lnTo>
                    <a:pt x="1108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096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108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108" y="52"/>
                  </a:lnTo>
                  <a:lnTo>
                    <a:pt x="1112" y="52"/>
                  </a:lnTo>
                  <a:lnTo>
                    <a:pt x="1112" y="52"/>
                  </a:lnTo>
                  <a:lnTo>
                    <a:pt x="1112" y="52"/>
                  </a:lnTo>
                  <a:lnTo>
                    <a:pt x="1108" y="52"/>
                  </a:lnTo>
                  <a:lnTo>
                    <a:pt x="1102" y="52"/>
                  </a:lnTo>
                  <a:lnTo>
                    <a:pt x="1102" y="52"/>
                  </a:lnTo>
                  <a:lnTo>
                    <a:pt x="1096" y="52"/>
                  </a:lnTo>
                  <a:lnTo>
                    <a:pt x="1090" y="52"/>
                  </a:lnTo>
                  <a:lnTo>
                    <a:pt x="1090" y="52"/>
                  </a:lnTo>
                  <a:lnTo>
                    <a:pt x="1090" y="46"/>
                  </a:lnTo>
                  <a:lnTo>
                    <a:pt x="1090" y="46"/>
                  </a:lnTo>
                  <a:lnTo>
                    <a:pt x="1096" y="46"/>
                  </a:lnTo>
                  <a:lnTo>
                    <a:pt x="1102" y="46"/>
                  </a:lnTo>
                  <a:lnTo>
                    <a:pt x="1102" y="46"/>
                  </a:lnTo>
                  <a:lnTo>
                    <a:pt x="1102" y="46"/>
                  </a:lnTo>
                  <a:lnTo>
                    <a:pt x="1096" y="46"/>
                  </a:lnTo>
                  <a:lnTo>
                    <a:pt x="1096" y="40"/>
                  </a:lnTo>
                  <a:lnTo>
                    <a:pt x="1102" y="40"/>
                  </a:lnTo>
                  <a:lnTo>
                    <a:pt x="1102" y="40"/>
                  </a:lnTo>
                  <a:lnTo>
                    <a:pt x="1108" y="40"/>
                  </a:lnTo>
                  <a:lnTo>
                    <a:pt x="1108" y="40"/>
                  </a:lnTo>
                  <a:lnTo>
                    <a:pt x="1112" y="40"/>
                  </a:lnTo>
                  <a:lnTo>
                    <a:pt x="1112" y="34"/>
                  </a:lnTo>
                  <a:lnTo>
                    <a:pt x="1112" y="34"/>
                  </a:lnTo>
                  <a:lnTo>
                    <a:pt x="1112" y="34"/>
                  </a:lnTo>
                  <a:lnTo>
                    <a:pt x="1108" y="34"/>
                  </a:lnTo>
                  <a:lnTo>
                    <a:pt x="1102" y="34"/>
                  </a:lnTo>
                  <a:lnTo>
                    <a:pt x="1108" y="34"/>
                  </a:lnTo>
                  <a:lnTo>
                    <a:pt x="1108" y="28"/>
                  </a:lnTo>
                  <a:lnTo>
                    <a:pt x="1112" y="28"/>
                  </a:lnTo>
                  <a:lnTo>
                    <a:pt x="1112" y="28"/>
                  </a:lnTo>
                  <a:lnTo>
                    <a:pt x="1112" y="28"/>
                  </a:lnTo>
                  <a:lnTo>
                    <a:pt x="1112" y="28"/>
                  </a:lnTo>
                  <a:lnTo>
                    <a:pt x="1118" y="28"/>
                  </a:lnTo>
                  <a:lnTo>
                    <a:pt x="1124" y="28"/>
                  </a:lnTo>
                  <a:lnTo>
                    <a:pt x="1130" y="28"/>
                  </a:lnTo>
                  <a:lnTo>
                    <a:pt x="1130" y="22"/>
                  </a:lnTo>
                  <a:lnTo>
                    <a:pt x="1130" y="22"/>
                  </a:lnTo>
                  <a:lnTo>
                    <a:pt x="1136" y="22"/>
                  </a:lnTo>
                  <a:lnTo>
                    <a:pt x="1142" y="22"/>
                  </a:lnTo>
                  <a:lnTo>
                    <a:pt x="1142" y="22"/>
                  </a:lnTo>
                  <a:lnTo>
                    <a:pt x="1142" y="18"/>
                  </a:lnTo>
                  <a:lnTo>
                    <a:pt x="1148" y="18"/>
                  </a:lnTo>
                  <a:lnTo>
                    <a:pt x="1154" y="18"/>
                  </a:lnTo>
                  <a:lnTo>
                    <a:pt x="1148" y="18"/>
                  </a:lnTo>
                  <a:lnTo>
                    <a:pt x="1142" y="18"/>
                  </a:lnTo>
                  <a:lnTo>
                    <a:pt x="1148" y="18"/>
                  </a:lnTo>
                  <a:lnTo>
                    <a:pt x="1154" y="18"/>
                  </a:lnTo>
                  <a:lnTo>
                    <a:pt x="1154" y="18"/>
                  </a:lnTo>
                  <a:lnTo>
                    <a:pt x="1160" y="22"/>
                  </a:lnTo>
                  <a:lnTo>
                    <a:pt x="1166" y="28"/>
                  </a:lnTo>
                  <a:lnTo>
                    <a:pt x="1166" y="28"/>
                  </a:lnTo>
                  <a:lnTo>
                    <a:pt x="1166" y="28"/>
                  </a:lnTo>
                  <a:lnTo>
                    <a:pt x="1170" y="28"/>
                  </a:lnTo>
                  <a:lnTo>
                    <a:pt x="1182" y="28"/>
                  </a:lnTo>
                  <a:lnTo>
                    <a:pt x="1182" y="34"/>
                  </a:lnTo>
                  <a:lnTo>
                    <a:pt x="1188" y="34"/>
                  </a:lnTo>
                  <a:lnTo>
                    <a:pt x="1182" y="40"/>
                  </a:lnTo>
                  <a:lnTo>
                    <a:pt x="1182" y="40"/>
                  </a:lnTo>
                  <a:lnTo>
                    <a:pt x="1176" y="40"/>
                  </a:lnTo>
                  <a:lnTo>
                    <a:pt x="1170" y="40"/>
                  </a:lnTo>
                  <a:lnTo>
                    <a:pt x="1170" y="40"/>
                  </a:lnTo>
                  <a:lnTo>
                    <a:pt x="1176" y="40"/>
                  </a:lnTo>
                  <a:lnTo>
                    <a:pt x="1176" y="46"/>
                  </a:lnTo>
                  <a:lnTo>
                    <a:pt x="1182" y="52"/>
                  </a:lnTo>
                  <a:lnTo>
                    <a:pt x="1176" y="52"/>
                  </a:lnTo>
                  <a:lnTo>
                    <a:pt x="1170" y="52"/>
                  </a:lnTo>
                  <a:lnTo>
                    <a:pt x="1166" y="52"/>
                  </a:lnTo>
                  <a:lnTo>
                    <a:pt x="1166" y="52"/>
                  </a:lnTo>
                  <a:close/>
                  <a:moveTo>
                    <a:pt x="648" y="28"/>
                  </a:moveTo>
                  <a:lnTo>
                    <a:pt x="654" y="28"/>
                  </a:lnTo>
                  <a:lnTo>
                    <a:pt x="654" y="28"/>
                  </a:lnTo>
                  <a:lnTo>
                    <a:pt x="660" y="28"/>
                  </a:lnTo>
                  <a:lnTo>
                    <a:pt x="666" y="28"/>
                  </a:lnTo>
                  <a:lnTo>
                    <a:pt x="666" y="28"/>
                  </a:lnTo>
                  <a:lnTo>
                    <a:pt x="672" y="28"/>
                  </a:lnTo>
                  <a:lnTo>
                    <a:pt x="678" y="28"/>
                  </a:lnTo>
                  <a:lnTo>
                    <a:pt x="672" y="28"/>
                  </a:lnTo>
                  <a:lnTo>
                    <a:pt x="672" y="22"/>
                  </a:lnTo>
                  <a:lnTo>
                    <a:pt x="678" y="22"/>
                  </a:lnTo>
                  <a:lnTo>
                    <a:pt x="678" y="22"/>
                  </a:lnTo>
                  <a:lnTo>
                    <a:pt x="684" y="22"/>
                  </a:lnTo>
                  <a:lnTo>
                    <a:pt x="690" y="22"/>
                  </a:lnTo>
                  <a:lnTo>
                    <a:pt x="690" y="22"/>
                  </a:lnTo>
                  <a:lnTo>
                    <a:pt x="690" y="28"/>
                  </a:lnTo>
                  <a:lnTo>
                    <a:pt x="690" y="28"/>
                  </a:lnTo>
                  <a:lnTo>
                    <a:pt x="690" y="34"/>
                  </a:lnTo>
                  <a:lnTo>
                    <a:pt x="684" y="34"/>
                  </a:lnTo>
                  <a:lnTo>
                    <a:pt x="678" y="34"/>
                  </a:lnTo>
                  <a:lnTo>
                    <a:pt x="678" y="34"/>
                  </a:lnTo>
                  <a:lnTo>
                    <a:pt x="672" y="34"/>
                  </a:lnTo>
                  <a:lnTo>
                    <a:pt x="666" y="34"/>
                  </a:lnTo>
                  <a:lnTo>
                    <a:pt x="666" y="34"/>
                  </a:lnTo>
                  <a:lnTo>
                    <a:pt x="666" y="40"/>
                  </a:lnTo>
                  <a:lnTo>
                    <a:pt x="660" y="40"/>
                  </a:lnTo>
                  <a:lnTo>
                    <a:pt x="654" y="40"/>
                  </a:lnTo>
                  <a:lnTo>
                    <a:pt x="654" y="34"/>
                  </a:lnTo>
                  <a:lnTo>
                    <a:pt x="654" y="34"/>
                  </a:lnTo>
                  <a:lnTo>
                    <a:pt x="648" y="34"/>
                  </a:lnTo>
                  <a:lnTo>
                    <a:pt x="648" y="28"/>
                  </a:lnTo>
                  <a:lnTo>
                    <a:pt x="648" y="28"/>
                  </a:lnTo>
                  <a:close/>
                  <a:moveTo>
                    <a:pt x="528" y="28"/>
                  </a:moveTo>
                  <a:lnTo>
                    <a:pt x="528" y="22"/>
                  </a:lnTo>
                  <a:lnTo>
                    <a:pt x="532" y="22"/>
                  </a:lnTo>
                  <a:lnTo>
                    <a:pt x="532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44" y="28"/>
                  </a:lnTo>
                  <a:lnTo>
                    <a:pt x="550" y="28"/>
                  </a:lnTo>
                  <a:lnTo>
                    <a:pt x="550" y="28"/>
                  </a:lnTo>
                  <a:lnTo>
                    <a:pt x="556" y="28"/>
                  </a:lnTo>
                  <a:lnTo>
                    <a:pt x="562" y="28"/>
                  </a:lnTo>
                  <a:lnTo>
                    <a:pt x="562" y="28"/>
                  </a:lnTo>
                  <a:lnTo>
                    <a:pt x="562" y="28"/>
                  </a:lnTo>
                  <a:lnTo>
                    <a:pt x="568" y="28"/>
                  </a:lnTo>
                  <a:lnTo>
                    <a:pt x="574" y="28"/>
                  </a:lnTo>
                  <a:lnTo>
                    <a:pt x="574" y="34"/>
                  </a:lnTo>
                  <a:lnTo>
                    <a:pt x="574" y="34"/>
                  </a:lnTo>
                  <a:lnTo>
                    <a:pt x="568" y="40"/>
                  </a:lnTo>
                  <a:lnTo>
                    <a:pt x="562" y="40"/>
                  </a:lnTo>
                  <a:lnTo>
                    <a:pt x="562" y="34"/>
                  </a:lnTo>
                  <a:lnTo>
                    <a:pt x="562" y="34"/>
                  </a:lnTo>
                  <a:lnTo>
                    <a:pt x="556" y="34"/>
                  </a:lnTo>
                  <a:lnTo>
                    <a:pt x="550" y="34"/>
                  </a:lnTo>
                  <a:lnTo>
                    <a:pt x="550" y="28"/>
                  </a:lnTo>
                  <a:lnTo>
                    <a:pt x="550" y="28"/>
                  </a:lnTo>
                  <a:lnTo>
                    <a:pt x="544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38" y="28"/>
                  </a:lnTo>
                  <a:lnTo>
                    <a:pt x="532" y="28"/>
                  </a:lnTo>
                  <a:lnTo>
                    <a:pt x="528" y="28"/>
                  </a:lnTo>
                  <a:lnTo>
                    <a:pt x="528" y="28"/>
                  </a:lnTo>
                  <a:close/>
                  <a:moveTo>
                    <a:pt x="412" y="52"/>
                  </a:moveTo>
                  <a:lnTo>
                    <a:pt x="412" y="46"/>
                  </a:lnTo>
                  <a:lnTo>
                    <a:pt x="418" y="46"/>
                  </a:lnTo>
                  <a:lnTo>
                    <a:pt x="422" y="52"/>
                  </a:lnTo>
                  <a:lnTo>
                    <a:pt x="422" y="52"/>
                  </a:lnTo>
                  <a:lnTo>
                    <a:pt x="428" y="52"/>
                  </a:lnTo>
                  <a:lnTo>
                    <a:pt x="434" y="46"/>
                  </a:lnTo>
                  <a:lnTo>
                    <a:pt x="428" y="46"/>
                  </a:lnTo>
                  <a:lnTo>
                    <a:pt x="422" y="46"/>
                  </a:lnTo>
                  <a:lnTo>
                    <a:pt x="428" y="46"/>
                  </a:lnTo>
                  <a:lnTo>
                    <a:pt x="434" y="46"/>
                  </a:lnTo>
                  <a:lnTo>
                    <a:pt x="434" y="40"/>
                  </a:lnTo>
                  <a:lnTo>
                    <a:pt x="428" y="40"/>
                  </a:lnTo>
                  <a:lnTo>
                    <a:pt x="422" y="40"/>
                  </a:lnTo>
                  <a:lnTo>
                    <a:pt x="422" y="46"/>
                  </a:lnTo>
                  <a:lnTo>
                    <a:pt x="422" y="40"/>
                  </a:lnTo>
                  <a:lnTo>
                    <a:pt x="422" y="40"/>
                  </a:lnTo>
                  <a:lnTo>
                    <a:pt x="428" y="40"/>
                  </a:lnTo>
                  <a:lnTo>
                    <a:pt x="434" y="40"/>
                  </a:lnTo>
                  <a:lnTo>
                    <a:pt x="440" y="40"/>
                  </a:lnTo>
                  <a:lnTo>
                    <a:pt x="440" y="40"/>
                  </a:lnTo>
                  <a:lnTo>
                    <a:pt x="446" y="40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8" y="34"/>
                  </a:lnTo>
                  <a:lnTo>
                    <a:pt x="452" y="34"/>
                  </a:lnTo>
                  <a:lnTo>
                    <a:pt x="452" y="40"/>
                  </a:lnTo>
                  <a:lnTo>
                    <a:pt x="452" y="40"/>
                  </a:lnTo>
                  <a:lnTo>
                    <a:pt x="452" y="34"/>
                  </a:lnTo>
                  <a:lnTo>
                    <a:pt x="446" y="34"/>
                  </a:lnTo>
                  <a:lnTo>
                    <a:pt x="452" y="34"/>
                  </a:lnTo>
                  <a:lnTo>
                    <a:pt x="452" y="34"/>
                  </a:lnTo>
                  <a:lnTo>
                    <a:pt x="452" y="28"/>
                  </a:lnTo>
                  <a:lnTo>
                    <a:pt x="458" y="28"/>
                  </a:lnTo>
                  <a:lnTo>
                    <a:pt x="464" y="28"/>
                  </a:lnTo>
                  <a:lnTo>
                    <a:pt x="464" y="28"/>
                  </a:lnTo>
                  <a:lnTo>
                    <a:pt x="464" y="28"/>
                  </a:lnTo>
                  <a:lnTo>
                    <a:pt x="470" y="28"/>
                  </a:lnTo>
                  <a:lnTo>
                    <a:pt x="474" y="28"/>
                  </a:lnTo>
                  <a:lnTo>
                    <a:pt x="474" y="28"/>
                  </a:lnTo>
                  <a:lnTo>
                    <a:pt x="470" y="34"/>
                  </a:lnTo>
                  <a:lnTo>
                    <a:pt x="464" y="34"/>
                  </a:lnTo>
                  <a:lnTo>
                    <a:pt x="470" y="34"/>
                  </a:lnTo>
                  <a:lnTo>
                    <a:pt x="474" y="34"/>
                  </a:lnTo>
                  <a:lnTo>
                    <a:pt x="474" y="34"/>
                  </a:lnTo>
                  <a:lnTo>
                    <a:pt x="480" y="34"/>
                  </a:lnTo>
                  <a:lnTo>
                    <a:pt x="486" y="34"/>
                  </a:lnTo>
                  <a:lnTo>
                    <a:pt x="486" y="40"/>
                  </a:lnTo>
                  <a:lnTo>
                    <a:pt x="480" y="40"/>
                  </a:lnTo>
                  <a:lnTo>
                    <a:pt x="474" y="40"/>
                  </a:lnTo>
                  <a:lnTo>
                    <a:pt x="474" y="40"/>
                  </a:lnTo>
                  <a:lnTo>
                    <a:pt x="474" y="40"/>
                  </a:lnTo>
                  <a:lnTo>
                    <a:pt x="470" y="40"/>
                  </a:lnTo>
                  <a:lnTo>
                    <a:pt x="464" y="40"/>
                  </a:lnTo>
                  <a:lnTo>
                    <a:pt x="464" y="40"/>
                  </a:lnTo>
                  <a:lnTo>
                    <a:pt x="458" y="40"/>
                  </a:lnTo>
                  <a:lnTo>
                    <a:pt x="458" y="46"/>
                  </a:lnTo>
                  <a:lnTo>
                    <a:pt x="452" y="46"/>
                  </a:lnTo>
                  <a:lnTo>
                    <a:pt x="452" y="46"/>
                  </a:lnTo>
                  <a:lnTo>
                    <a:pt x="446" y="46"/>
                  </a:lnTo>
                  <a:lnTo>
                    <a:pt x="440" y="46"/>
                  </a:lnTo>
                  <a:lnTo>
                    <a:pt x="440" y="52"/>
                  </a:lnTo>
                  <a:lnTo>
                    <a:pt x="446" y="52"/>
                  </a:lnTo>
                  <a:lnTo>
                    <a:pt x="446" y="52"/>
                  </a:lnTo>
                  <a:lnTo>
                    <a:pt x="440" y="52"/>
                  </a:lnTo>
                  <a:lnTo>
                    <a:pt x="440" y="52"/>
                  </a:lnTo>
                  <a:lnTo>
                    <a:pt x="440" y="52"/>
                  </a:lnTo>
                  <a:lnTo>
                    <a:pt x="440" y="52"/>
                  </a:lnTo>
                  <a:lnTo>
                    <a:pt x="434" y="52"/>
                  </a:lnTo>
                  <a:lnTo>
                    <a:pt x="428" y="52"/>
                  </a:lnTo>
                  <a:lnTo>
                    <a:pt x="422" y="52"/>
                  </a:lnTo>
                  <a:lnTo>
                    <a:pt x="422" y="58"/>
                  </a:lnTo>
                  <a:lnTo>
                    <a:pt x="422" y="52"/>
                  </a:lnTo>
                  <a:lnTo>
                    <a:pt x="428" y="52"/>
                  </a:lnTo>
                  <a:lnTo>
                    <a:pt x="428" y="52"/>
                  </a:lnTo>
                  <a:lnTo>
                    <a:pt x="422" y="52"/>
                  </a:lnTo>
                  <a:lnTo>
                    <a:pt x="422" y="52"/>
                  </a:lnTo>
                  <a:lnTo>
                    <a:pt x="418" y="52"/>
                  </a:lnTo>
                  <a:lnTo>
                    <a:pt x="412" y="52"/>
                  </a:lnTo>
                  <a:lnTo>
                    <a:pt x="412" y="52"/>
                  </a:lnTo>
                  <a:lnTo>
                    <a:pt x="412" y="52"/>
                  </a:lnTo>
                  <a:lnTo>
                    <a:pt x="412" y="52"/>
                  </a:lnTo>
                  <a:close/>
                  <a:moveTo>
                    <a:pt x="602" y="40"/>
                  </a:moveTo>
                  <a:lnTo>
                    <a:pt x="602" y="40"/>
                  </a:lnTo>
                  <a:lnTo>
                    <a:pt x="602" y="34"/>
                  </a:lnTo>
                  <a:lnTo>
                    <a:pt x="602" y="34"/>
                  </a:lnTo>
                  <a:lnTo>
                    <a:pt x="608" y="34"/>
                  </a:lnTo>
                  <a:lnTo>
                    <a:pt x="608" y="28"/>
                  </a:lnTo>
                  <a:lnTo>
                    <a:pt x="614" y="28"/>
                  </a:lnTo>
                  <a:lnTo>
                    <a:pt x="614" y="28"/>
                  </a:lnTo>
                  <a:lnTo>
                    <a:pt x="614" y="34"/>
                  </a:lnTo>
                  <a:lnTo>
                    <a:pt x="614" y="34"/>
                  </a:lnTo>
                  <a:lnTo>
                    <a:pt x="614" y="34"/>
                  </a:lnTo>
                  <a:lnTo>
                    <a:pt x="620" y="34"/>
                  </a:lnTo>
                  <a:lnTo>
                    <a:pt x="626" y="34"/>
                  </a:lnTo>
                  <a:lnTo>
                    <a:pt x="626" y="28"/>
                  </a:lnTo>
                  <a:lnTo>
                    <a:pt x="632" y="28"/>
                  </a:lnTo>
                  <a:lnTo>
                    <a:pt x="638" y="28"/>
                  </a:lnTo>
                  <a:lnTo>
                    <a:pt x="644" y="28"/>
                  </a:lnTo>
                  <a:lnTo>
                    <a:pt x="644" y="28"/>
                  </a:lnTo>
                  <a:lnTo>
                    <a:pt x="644" y="34"/>
                  </a:lnTo>
                  <a:lnTo>
                    <a:pt x="644" y="40"/>
                  </a:lnTo>
                  <a:lnTo>
                    <a:pt x="644" y="40"/>
                  </a:lnTo>
                  <a:lnTo>
                    <a:pt x="644" y="40"/>
                  </a:lnTo>
                  <a:lnTo>
                    <a:pt x="644" y="40"/>
                  </a:lnTo>
                  <a:lnTo>
                    <a:pt x="638" y="40"/>
                  </a:lnTo>
                  <a:lnTo>
                    <a:pt x="638" y="40"/>
                  </a:lnTo>
                  <a:lnTo>
                    <a:pt x="632" y="40"/>
                  </a:lnTo>
                  <a:lnTo>
                    <a:pt x="626" y="46"/>
                  </a:lnTo>
                  <a:lnTo>
                    <a:pt x="626" y="46"/>
                  </a:lnTo>
                  <a:lnTo>
                    <a:pt x="620" y="46"/>
                  </a:lnTo>
                  <a:lnTo>
                    <a:pt x="620" y="40"/>
                  </a:lnTo>
                  <a:lnTo>
                    <a:pt x="614" y="40"/>
                  </a:lnTo>
                  <a:lnTo>
                    <a:pt x="614" y="40"/>
                  </a:lnTo>
                  <a:lnTo>
                    <a:pt x="608" y="46"/>
                  </a:lnTo>
                  <a:lnTo>
                    <a:pt x="602" y="46"/>
                  </a:lnTo>
                  <a:lnTo>
                    <a:pt x="602" y="40"/>
                  </a:lnTo>
                  <a:lnTo>
                    <a:pt x="602" y="40"/>
                  </a:lnTo>
                  <a:lnTo>
                    <a:pt x="602" y="40"/>
                  </a:lnTo>
                  <a:close/>
                  <a:moveTo>
                    <a:pt x="400" y="46"/>
                  </a:moveTo>
                  <a:lnTo>
                    <a:pt x="400" y="40"/>
                  </a:lnTo>
                  <a:lnTo>
                    <a:pt x="400" y="40"/>
                  </a:lnTo>
                  <a:lnTo>
                    <a:pt x="394" y="40"/>
                  </a:lnTo>
                  <a:lnTo>
                    <a:pt x="388" y="40"/>
                  </a:lnTo>
                  <a:lnTo>
                    <a:pt x="388" y="40"/>
                  </a:lnTo>
                  <a:lnTo>
                    <a:pt x="388" y="40"/>
                  </a:lnTo>
                  <a:lnTo>
                    <a:pt x="382" y="40"/>
                  </a:lnTo>
                  <a:lnTo>
                    <a:pt x="388" y="40"/>
                  </a:lnTo>
                  <a:lnTo>
                    <a:pt x="388" y="40"/>
                  </a:lnTo>
                  <a:lnTo>
                    <a:pt x="394" y="40"/>
                  </a:lnTo>
                  <a:lnTo>
                    <a:pt x="400" y="40"/>
                  </a:lnTo>
                  <a:lnTo>
                    <a:pt x="400" y="40"/>
                  </a:lnTo>
                  <a:lnTo>
                    <a:pt x="406" y="40"/>
                  </a:lnTo>
                  <a:lnTo>
                    <a:pt x="412" y="34"/>
                  </a:lnTo>
                  <a:lnTo>
                    <a:pt x="406" y="34"/>
                  </a:lnTo>
                  <a:lnTo>
                    <a:pt x="412" y="34"/>
                  </a:lnTo>
                  <a:lnTo>
                    <a:pt x="412" y="34"/>
                  </a:lnTo>
                  <a:lnTo>
                    <a:pt x="418" y="34"/>
                  </a:lnTo>
                  <a:lnTo>
                    <a:pt x="418" y="28"/>
                  </a:lnTo>
                  <a:lnTo>
                    <a:pt x="422" y="28"/>
                  </a:lnTo>
                  <a:lnTo>
                    <a:pt x="422" y="28"/>
                  </a:lnTo>
                  <a:lnTo>
                    <a:pt x="422" y="34"/>
                  </a:lnTo>
                  <a:lnTo>
                    <a:pt x="428" y="34"/>
                  </a:lnTo>
                  <a:lnTo>
                    <a:pt x="434" y="34"/>
                  </a:lnTo>
                  <a:lnTo>
                    <a:pt x="440" y="34"/>
                  </a:lnTo>
                  <a:lnTo>
                    <a:pt x="440" y="34"/>
                  </a:lnTo>
                  <a:lnTo>
                    <a:pt x="440" y="34"/>
                  </a:lnTo>
                  <a:lnTo>
                    <a:pt x="440" y="40"/>
                  </a:lnTo>
                  <a:lnTo>
                    <a:pt x="440" y="40"/>
                  </a:lnTo>
                  <a:lnTo>
                    <a:pt x="434" y="40"/>
                  </a:lnTo>
                  <a:lnTo>
                    <a:pt x="428" y="40"/>
                  </a:lnTo>
                  <a:lnTo>
                    <a:pt x="428" y="34"/>
                  </a:lnTo>
                  <a:lnTo>
                    <a:pt x="422" y="34"/>
                  </a:lnTo>
                  <a:lnTo>
                    <a:pt x="422" y="34"/>
                  </a:lnTo>
                  <a:lnTo>
                    <a:pt x="422" y="40"/>
                  </a:lnTo>
                  <a:lnTo>
                    <a:pt x="418" y="40"/>
                  </a:lnTo>
                  <a:lnTo>
                    <a:pt x="412" y="40"/>
                  </a:lnTo>
                  <a:lnTo>
                    <a:pt x="412" y="40"/>
                  </a:lnTo>
                  <a:lnTo>
                    <a:pt x="406" y="40"/>
                  </a:lnTo>
                  <a:lnTo>
                    <a:pt x="412" y="40"/>
                  </a:lnTo>
                  <a:lnTo>
                    <a:pt x="406" y="40"/>
                  </a:lnTo>
                  <a:lnTo>
                    <a:pt x="400" y="46"/>
                  </a:lnTo>
                  <a:lnTo>
                    <a:pt x="400" y="46"/>
                  </a:lnTo>
                  <a:close/>
                  <a:moveTo>
                    <a:pt x="574" y="52"/>
                  </a:moveTo>
                  <a:lnTo>
                    <a:pt x="574" y="52"/>
                  </a:lnTo>
                  <a:lnTo>
                    <a:pt x="568" y="52"/>
                  </a:lnTo>
                  <a:lnTo>
                    <a:pt x="568" y="46"/>
                  </a:lnTo>
                  <a:lnTo>
                    <a:pt x="568" y="40"/>
                  </a:lnTo>
                  <a:lnTo>
                    <a:pt x="562" y="40"/>
                  </a:lnTo>
                  <a:lnTo>
                    <a:pt x="568" y="40"/>
                  </a:lnTo>
                  <a:lnTo>
                    <a:pt x="574" y="40"/>
                  </a:lnTo>
                  <a:lnTo>
                    <a:pt x="574" y="40"/>
                  </a:lnTo>
                  <a:lnTo>
                    <a:pt x="580" y="40"/>
                  </a:lnTo>
                  <a:lnTo>
                    <a:pt x="590" y="40"/>
                  </a:lnTo>
                  <a:lnTo>
                    <a:pt x="590" y="46"/>
                  </a:lnTo>
                  <a:lnTo>
                    <a:pt x="596" y="46"/>
                  </a:lnTo>
                  <a:lnTo>
                    <a:pt x="602" y="46"/>
                  </a:lnTo>
                  <a:lnTo>
                    <a:pt x="602" y="52"/>
                  </a:lnTo>
                  <a:lnTo>
                    <a:pt x="590" y="46"/>
                  </a:lnTo>
                  <a:lnTo>
                    <a:pt x="590" y="46"/>
                  </a:lnTo>
                  <a:lnTo>
                    <a:pt x="590" y="52"/>
                  </a:lnTo>
                  <a:lnTo>
                    <a:pt x="586" y="52"/>
                  </a:lnTo>
                  <a:lnTo>
                    <a:pt x="580" y="52"/>
                  </a:lnTo>
                  <a:lnTo>
                    <a:pt x="586" y="52"/>
                  </a:lnTo>
                  <a:lnTo>
                    <a:pt x="590" y="52"/>
                  </a:lnTo>
                  <a:lnTo>
                    <a:pt x="590" y="52"/>
                  </a:lnTo>
                  <a:lnTo>
                    <a:pt x="586" y="52"/>
                  </a:lnTo>
                  <a:lnTo>
                    <a:pt x="580" y="52"/>
                  </a:lnTo>
                  <a:lnTo>
                    <a:pt x="580" y="52"/>
                  </a:lnTo>
                  <a:lnTo>
                    <a:pt x="580" y="52"/>
                  </a:lnTo>
                  <a:lnTo>
                    <a:pt x="574" y="52"/>
                  </a:lnTo>
                  <a:lnTo>
                    <a:pt x="574" y="52"/>
                  </a:lnTo>
                  <a:close/>
                  <a:moveTo>
                    <a:pt x="550" y="52"/>
                  </a:moveTo>
                  <a:lnTo>
                    <a:pt x="550" y="52"/>
                  </a:lnTo>
                  <a:lnTo>
                    <a:pt x="550" y="52"/>
                  </a:lnTo>
                  <a:lnTo>
                    <a:pt x="550" y="46"/>
                  </a:lnTo>
                  <a:lnTo>
                    <a:pt x="550" y="46"/>
                  </a:lnTo>
                  <a:lnTo>
                    <a:pt x="556" y="46"/>
                  </a:lnTo>
                  <a:lnTo>
                    <a:pt x="562" y="46"/>
                  </a:lnTo>
                  <a:lnTo>
                    <a:pt x="562" y="46"/>
                  </a:lnTo>
                  <a:lnTo>
                    <a:pt x="568" y="46"/>
                  </a:lnTo>
                  <a:lnTo>
                    <a:pt x="568" y="52"/>
                  </a:lnTo>
                  <a:lnTo>
                    <a:pt x="568" y="52"/>
                  </a:lnTo>
                  <a:lnTo>
                    <a:pt x="562" y="52"/>
                  </a:lnTo>
                  <a:lnTo>
                    <a:pt x="562" y="58"/>
                  </a:lnTo>
                  <a:lnTo>
                    <a:pt x="562" y="58"/>
                  </a:lnTo>
                  <a:lnTo>
                    <a:pt x="562" y="52"/>
                  </a:lnTo>
                  <a:lnTo>
                    <a:pt x="556" y="52"/>
                  </a:lnTo>
                  <a:lnTo>
                    <a:pt x="550" y="52"/>
                  </a:lnTo>
                  <a:lnTo>
                    <a:pt x="550" y="52"/>
                  </a:lnTo>
                  <a:lnTo>
                    <a:pt x="544" y="52"/>
                  </a:lnTo>
                  <a:lnTo>
                    <a:pt x="550" y="52"/>
                  </a:lnTo>
                  <a:lnTo>
                    <a:pt x="550" y="52"/>
                  </a:lnTo>
                  <a:close/>
                  <a:moveTo>
                    <a:pt x="1112" y="76"/>
                  </a:moveTo>
                  <a:lnTo>
                    <a:pt x="1112" y="76"/>
                  </a:lnTo>
                  <a:lnTo>
                    <a:pt x="1112" y="76"/>
                  </a:lnTo>
                  <a:lnTo>
                    <a:pt x="1112" y="76"/>
                  </a:lnTo>
                  <a:lnTo>
                    <a:pt x="1108" y="70"/>
                  </a:lnTo>
                  <a:lnTo>
                    <a:pt x="1112" y="70"/>
                  </a:lnTo>
                  <a:lnTo>
                    <a:pt x="1112" y="76"/>
                  </a:lnTo>
                  <a:lnTo>
                    <a:pt x="1112" y="76"/>
                  </a:lnTo>
                  <a:lnTo>
                    <a:pt x="1118" y="70"/>
                  </a:lnTo>
                  <a:lnTo>
                    <a:pt x="1124" y="70"/>
                  </a:lnTo>
                  <a:lnTo>
                    <a:pt x="1124" y="64"/>
                  </a:lnTo>
                  <a:lnTo>
                    <a:pt x="1130" y="64"/>
                  </a:lnTo>
                  <a:lnTo>
                    <a:pt x="1130" y="64"/>
                  </a:lnTo>
                  <a:lnTo>
                    <a:pt x="1136" y="64"/>
                  </a:lnTo>
                  <a:lnTo>
                    <a:pt x="1136" y="64"/>
                  </a:lnTo>
                  <a:lnTo>
                    <a:pt x="1130" y="64"/>
                  </a:lnTo>
                  <a:lnTo>
                    <a:pt x="1130" y="58"/>
                  </a:lnTo>
                  <a:lnTo>
                    <a:pt x="1136" y="58"/>
                  </a:lnTo>
                  <a:lnTo>
                    <a:pt x="1142" y="58"/>
                  </a:lnTo>
                  <a:lnTo>
                    <a:pt x="1142" y="52"/>
                  </a:lnTo>
                  <a:lnTo>
                    <a:pt x="1142" y="52"/>
                  </a:lnTo>
                  <a:lnTo>
                    <a:pt x="1142" y="58"/>
                  </a:lnTo>
                  <a:lnTo>
                    <a:pt x="1148" y="58"/>
                  </a:lnTo>
                  <a:lnTo>
                    <a:pt x="1148" y="52"/>
                  </a:lnTo>
                  <a:lnTo>
                    <a:pt x="1154" y="52"/>
                  </a:lnTo>
                  <a:lnTo>
                    <a:pt x="1154" y="52"/>
                  </a:lnTo>
                  <a:lnTo>
                    <a:pt x="1160" y="52"/>
                  </a:lnTo>
                  <a:lnTo>
                    <a:pt x="1166" y="52"/>
                  </a:lnTo>
                  <a:lnTo>
                    <a:pt x="1166" y="52"/>
                  </a:lnTo>
                  <a:lnTo>
                    <a:pt x="1170" y="52"/>
                  </a:lnTo>
                  <a:lnTo>
                    <a:pt x="1176" y="52"/>
                  </a:lnTo>
                  <a:lnTo>
                    <a:pt x="1182" y="52"/>
                  </a:lnTo>
                  <a:lnTo>
                    <a:pt x="1182" y="52"/>
                  </a:lnTo>
                  <a:lnTo>
                    <a:pt x="1188" y="58"/>
                  </a:lnTo>
                  <a:lnTo>
                    <a:pt x="1182" y="64"/>
                  </a:lnTo>
                  <a:lnTo>
                    <a:pt x="1182" y="64"/>
                  </a:lnTo>
                  <a:lnTo>
                    <a:pt x="1176" y="64"/>
                  </a:lnTo>
                  <a:lnTo>
                    <a:pt x="1182" y="64"/>
                  </a:lnTo>
                  <a:lnTo>
                    <a:pt x="1182" y="64"/>
                  </a:lnTo>
                  <a:lnTo>
                    <a:pt x="1182" y="64"/>
                  </a:lnTo>
                  <a:lnTo>
                    <a:pt x="1188" y="64"/>
                  </a:lnTo>
                  <a:lnTo>
                    <a:pt x="1188" y="64"/>
                  </a:lnTo>
                  <a:lnTo>
                    <a:pt x="1194" y="64"/>
                  </a:lnTo>
                  <a:lnTo>
                    <a:pt x="1194" y="58"/>
                  </a:lnTo>
                  <a:lnTo>
                    <a:pt x="1200" y="58"/>
                  </a:lnTo>
                  <a:lnTo>
                    <a:pt x="1200" y="58"/>
                  </a:lnTo>
                  <a:lnTo>
                    <a:pt x="1206" y="58"/>
                  </a:lnTo>
                  <a:lnTo>
                    <a:pt x="1212" y="58"/>
                  </a:lnTo>
                  <a:lnTo>
                    <a:pt x="1212" y="64"/>
                  </a:lnTo>
                  <a:lnTo>
                    <a:pt x="1218" y="64"/>
                  </a:lnTo>
                  <a:lnTo>
                    <a:pt x="1218" y="64"/>
                  </a:lnTo>
                  <a:lnTo>
                    <a:pt x="1218" y="64"/>
                  </a:lnTo>
                  <a:lnTo>
                    <a:pt x="1218" y="64"/>
                  </a:lnTo>
                  <a:lnTo>
                    <a:pt x="1218" y="70"/>
                  </a:lnTo>
                  <a:lnTo>
                    <a:pt x="1212" y="70"/>
                  </a:lnTo>
                  <a:lnTo>
                    <a:pt x="1212" y="76"/>
                  </a:lnTo>
                  <a:lnTo>
                    <a:pt x="1212" y="76"/>
                  </a:lnTo>
                  <a:lnTo>
                    <a:pt x="1218" y="76"/>
                  </a:lnTo>
                  <a:lnTo>
                    <a:pt x="1212" y="76"/>
                  </a:lnTo>
                  <a:lnTo>
                    <a:pt x="1212" y="80"/>
                  </a:lnTo>
                  <a:lnTo>
                    <a:pt x="1206" y="80"/>
                  </a:lnTo>
                  <a:lnTo>
                    <a:pt x="1206" y="76"/>
                  </a:lnTo>
                  <a:lnTo>
                    <a:pt x="1200" y="76"/>
                  </a:lnTo>
                  <a:lnTo>
                    <a:pt x="1200" y="80"/>
                  </a:lnTo>
                  <a:lnTo>
                    <a:pt x="1206" y="80"/>
                  </a:lnTo>
                  <a:lnTo>
                    <a:pt x="1212" y="80"/>
                  </a:lnTo>
                  <a:lnTo>
                    <a:pt x="1212" y="86"/>
                  </a:lnTo>
                  <a:lnTo>
                    <a:pt x="1218" y="86"/>
                  </a:lnTo>
                  <a:lnTo>
                    <a:pt x="1218" y="92"/>
                  </a:lnTo>
                  <a:lnTo>
                    <a:pt x="1212" y="92"/>
                  </a:lnTo>
                  <a:lnTo>
                    <a:pt x="1206" y="92"/>
                  </a:lnTo>
                  <a:lnTo>
                    <a:pt x="1200" y="92"/>
                  </a:lnTo>
                  <a:lnTo>
                    <a:pt x="1200" y="92"/>
                  </a:lnTo>
                  <a:lnTo>
                    <a:pt x="1194" y="92"/>
                  </a:lnTo>
                  <a:lnTo>
                    <a:pt x="1194" y="98"/>
                  </a:lnTo>
                  <a:lnTo>
                    <a:pt x="1188" y="92"/>
                  </a:lnTo>
                  <a:lnTo>
                    <a:pt x="1188" y="92"/>
                  </a:lnTo>
                  <a:lnTo>
                    <a:pt x="1182" y="92"/>
                  </a:lnTo>
                  <a:lnTo>
                    <a:pt x="1182" y="92"/>
                  </a:lnTo>
                  <a:lnTo>
                    <a:pt x="1176" y="92"/>
                  </a:lnTo>
                  <a:lnTo>
                    <a:pt x="1170" y="92"/>
                  </a:lnTo>
                  <a:lnTo>
                    <a:pt x="1170" y="92"/>
                  </a:lnTo>
                  <a:lnTo>
                    <a:pt x="1166" y="92"/>
                  </a:lnTo>
                  <a:lnTo>
                    <a:pt x="1166" y="92"/>
                  </a:lnTo>
                  <a:lnTo>
                    <a:pt x="1160" y="92"/>
                  </a:lnTo>
                  <a:lnTo>
                    <a:pt x="1166" y="92"/>
                  </a:lnTo>
                  <a:lnTo>
                    <a:pt x="1160" y="92"/>
                  </a:lnTo>
                  <a:lnTo>
                    <a:pt x="1154" y="92"/>
                  </a:lnTo>
                  <a:lnTo>
                    <a:pt x="1154" y="92"/>
                  </a:lnTo>
                  <a:lnTo>
                    <a:pt x="1154" y="86"/>
                  </a:lnTo>
                  <a:lnTo>
                    <a:pt x="1148" y="86"/>
                  </a:lnTo>
                  <a:lnTo>
                    <a:pt x="1142" y="86"/>
                  </a:lnTo>
                  <a:lnTo>
                    <a:pt x="1142" y="86"/>
                  </a:lnTo>
                  <a:lnTo>
                    <a:pt x="1136" y="86"/>
                  </a:lnTo>
                  <a:lnTo>
                    <a:pt x="1136" y="80"/>
                  </a:lnTo>
                  <a:lnTo>
                    <a:pt x="1130" y="80"/>
                  </a:lnTo>
                  <a:lnTo>
                    <a:pt x="1130" y="76"/>
                  </a:lnTo>
                  <a:lnTo>
                    <a:pt x="1130" y="76"/>
                  </a:lnTo>
                  <a:lnTo>
                    <a:pt x="1130" y="76"/>
                  </a:lnTo>
                  <a:lnTo>
                    <a:pt x="1124" y="76"/>
                  </a:lnTo>
                  <a:lnTo>
                    <a:pt x="1130" y="76"/>
                  </a:lnTo>
                  <a:lnTo>
                    <a:pt x="1124" y="76"/>
                  </a:lnTo>
                  <a:lnTo>
                    <a:pt x="1124" y="70"/>
                  </a:lnTo>
                  <a:lnTo>
                    <a:pt x="1118" y="76"/>
                  </a:lnTo>
                  <a:lnTo>
                    <a:pt x="1112" y="76"/>
                  </a:lnTo>
                  <a:lnTo>
                    <a:pt x="1112" y="76"/>
                  </a:lnTo>
                  <a:close/>
                  <a:moveTo>
                    <a:pt x="1084" y="58"/>
                  </a:moveTo>
                  <a:lnTo>
                    <a:pt x="1078" y="58"/>
                  </a:lnTo>
                  <a:lnTo>
                    <a:pt x="1084" y="58"/>
                  </a:lnTo>
                  <a:lnTo>
                    <a:pt x="1090" y="58"/>
                  </a:lnTo>
                  <a:lnTo>
                    <a:pt x="1090" y="58"/>
                  </a:lnTo>
                  <a:lnTo>
                    <a:pt x="1096" y="58"/>
                  </a:lnTo>
                  <a:lnTo>
                    <a:pt x="1102" y="58"/>
                  </a:lnTo>
                  <a:lnTo>
                    <a:pt x="1102" y="58"/>
                  </a:lnTo>
                  <a:lnTo>
                    <a:pt x="1108" y="58"/>
                  </a:lnTo>
                  <a:lnTo>
                    <a:pt x="1112" y="58"/>
                  </a:lnTo>
                  <a:lnTo>
                    <a:pt x="1112" y="58"/>
                  </a:lnTo>
                  <a:lnTo>
                    <a:pt x="1118" y="58"/>
                  </a:lnTo>
                  <a:lnTo>
                    <a:pt x="1124" y="64"/>
                  </a:lnTo>
                  <a:lnTo>
                    <a:pt x="1118" y="64"/>
                  </a:lnTo>
                  <a:lnTo>
                    <a:pt x="1118" y="64"/>
                  </a:lnTo>
                  <a:lnTo>
                    <a:pt x="1112" y="64"/>
                  </a:lnTo>
                  <a:lnTo>
                    <a:pt x="1112" y="64"/>
                  </a:lnTo>
                  <a:lnTo>
                    <a:pt x="1108" y="64"/>
                  </a:lnTo>
                  <a:lnTo>
                    <a:pt x="1108" y="70"/>
                  </a:lnTo>
                  <a:lnTo>
                    <a:pt x="1102" y="70"/>
                  </a:lnTo>
                  <a:lnTo>
                    <a:pt x="1102" y="70"/>
                  </a:lnTo>
                  <a:lnTo>
                    <a:pt x="1096" y="70"/>
                  </a:lnTo>
                  <a:lnTo>
                    <a:pt x="1096" y="64"/>
                  </a:lnTo>
                  <a:lnTo>
                    <a:pt x="1102" y="64"/>
                  </a:lnTo>
                  <a:lnTo>
                    <a:pt x="1096" y="64"/>
                  </a:lnTo>
                  <a:lnTo>
                    <a:pt x="1090" y="64"/>
                  </a:lnTo>
                  <a:lnTo>
                    <a:pt x="1084" y="64"/>
                  </a:lnTo>
                  <a:lnTo>
                    <a:pt x="1084" y="58"/>
                  </a:lnTo>
                  <a:lnTo>
                    <a:pt x="1084" y="58"/>
                  </a:lnTo>
                  <a:close/>
                  <a:moveTo>
                    <a:pt x="1218" y="70"/>
                  </a:moveTo>
                  <a:lnTo>
                    <a:pt x="1218" y="64"/>
                  </a:lnTo>
                  <a:lnTo>
                    <a:pt x="1218" y="64"/>
                  </a:lnTo>
                  <a:lnTo>
                    <a:pt x="1224" y="70"/>
                  </a:lnTo>
                  <a:lnTo>
                    <a:pt x="1218" y="70"/>
                  </a:lnTo>
                  <a:lnTo>
                    <a:pt x="1218" y="70"/>
                  </a:lnTo>
                  <a:lnTo>
                    <a:pt x="1218" y="70"/>
                  </a:lnTo>
                  <a:close/>
                  <a:moveTo>
                    <a:pt x="864" y="76"/>
                  </a:moveTo>
                  <a:lnTo>
                    <a:pt x="858" y="76"/>
                  </a:lnTo>
                  <a:lnTo>
                    <a:pt x="858" y="70"/>
                  </a:lnTo>
                  <a:lnTo>
                    <a:pt x="858" y="70"/>
                  </a:lnTo>
                  <a:lnTo>
                    <a:pt x="864" y="70"/>
                  </a:lnTo>
                  <a:lnTo>
                    <a:pt x="870" y="70"/>
                  </a:lnTo>
                  <a:lnTo>
                    <a:pt x="870" y="70"/>
                  </a:lnTo>
                  <a:lnTo>
                    <a:pt x="870" y="76"/>
                  </a:lnTo>
                  <a:lnTo>
                    <a:pt x="876" y="76"/>
                  </a:lnTo>
                  <a:lnTo>
                    <a:pt x="880" y="76"/>
                  </a:lnTo>
                  <a:lnTo>
                    <a:pt x="876" y="76"/>
                  </a:lnTo>
                  <a:lnTo>
                    <a:pt x="870" y="76"/>
                  </a:lnTo>
                  <a:lnTo>
                    <a:pt x="870" y="76"/>
                  </a:lnTo>
                  <a:lnTo>
                    <a:pt x="864" y="76"/>
                  </a:lnTo>
                  <a:lnTo>
                    <a:pt x="864" y="76"/>
                  </a:lnTo>
                  <a:close/>
                  <a:moveTo>
                    <a:pt x="1090" y="76"/>
                  </a:moveTo>
                  <a:lnTo>
                    <a:pt x="1096" y="76"/>
                  </a:lnTo>
                  <a:lnTo>
                    <a:pt x="1102" y="76"/>
                  </a:lnTo>
                  <a:lnTo>
                    <a:pt x="1102" y="76"/>
                  </a:lnTo>
                  <a:lnTo>
                    <a:pt x="1102" y="76"/>
                  </a:lnTo>
                  <a:lnTo>
                    <a:pt x="1102" y="76"/>
                  </a:lnTo>
                  <a:lnTo>
                    <a:pt x="1096" y="76"/>
                  </a:lnTo>
                  <a:lnTo>
                    <a:pt x="1090" y="76"/>
                  </a:lnTo>
                  <a:lnTo>
                    <a:pt x="1090" y="76"/>
                  </a:lnTo>
                  <a:close/>
                  <a:moveTo>
                    <a:pt x="1102" y="76"/>
                  </a:moveTo>
                  <a:lnTo>
                    <a:pt x="1108" y="76"/>
                  </a:lnTo>
                  <a:lnTo>
                    <a:pt x="1112" y="76"/>
                  </a:lnTo>
                  <a:lnTo>
                    <a:pt x="1112" y="76"/>
                  </a:lnTo>
                  <a:lnTo>
                    <a:pt x="1108" y="76"/>
                  </a:lnTo>
                  <a:lnTo>
                    <a:pt x="1102" y="76"/>
                  </a:lnTo>
                  <a:lnTo>
                    <a:pt x="1102" y="76"/>
                  </a:lnTo>
                  <a:close/>
                  <a:moveTo>
                    <a:pt x="1292" y="104"/>
                  </a:moveTo>
                  <a:lnTo>
                    <a:pt x="1292" y="104"/>
                  </a:lnTo>
                  <a:lnTo>
                    <a:pt x="1292" y="110"/>
                  </a:lnTo>
                  <a:lnTo>
                    <a:pt x="1286" y="110"/>
                  </a:lnTo>
                  <a:lnTo>
                    <a:pt x="1282" y="110"/>
                  </a:lnTo>
                  <a:lnTo>
                    <a:pt x="1282" y="110"/>
                  </a:lnTo>
                  <a:lnTo>
                    <a:pt x="1276" y="110"/>
                  </a:lnTo>
                  <a:lnTo>
                    <a:pt x="1270" y="110"/>
                  </a:lnTo>
                  <a:lnTo>
                    <a:pt x="1270" y="116"/>
                  </a:lnTo>
                  <a:lnTo>
                    <a:pt x="1264" y="116"/>
                  </a:lnTo>
                  <a:lnTo>
                    <a:pt x="1258" y="116"/>
                  </a:lnTo>
                  <a:lnTo>
                    <a:pt x="1252" y="116"/>
                  </a:lnTo>
                  <a:lnTo>
                    <a:pt x="1252" y="116"/>
                  </a:lnTo>
                  <a:lnTo>
                    <a:pt x="1246" y="116"/>
                  </a:lnTo>
                  <a:lnTo>
                    <a:pt x="1240" y="116"/>
                  </a:lnTo>
                  <a:lnTo>
                    <a:pt x="1240" y="116"/>
                  </a:lnTo>
                  <a:lnTo>
                    <a:pt x="1234" y="116"/>
                  </a:lnTo>
                  <a:lnTo>
                    <a:pt x="1228" y="116"/>
                  </a:lnTo>
                  <a:lnTo>
                    <a:pt x="1228" y="116"/>
                  </a:lnTo>
                  <a:lnTo>
                    <a:pt x="1228" y="116"/>
                  </a:lnTo>
                  <a:lnTo>
                    <a:pt x="1224" y="116"/>
                  </a:lnTo>
                  <a:lnTo>
                    <a:pt x="1218" y="122"/>
                  </a:lnTo>
                  <a:lnTo>
                    <a:pt x="1218" y="122"/>
                  </a:lnTo>
                  <a:lnTo>
                    <a:pt x="1212" y="122"/>
                  </a:lnTo>
                  <a:lnTo>
                    <a:pt x="1206" y="122"/>
                  </a:lnTo>
                  <a:lnTo>
                    <a:pt x="1206" y="116"/>
                  </a:lnTo>
                  <a:lnTo>
                    <a:pt x="1212" y="116"/>
                  </a:lnTo>
                  <a:lnTo>
                    <a:pt x="1218" y="110"/>
                  </a:lnTo>
                  <a:lnTo>
                    <a:pt x="1218" y="110"/>
                  </a:lnTo>
                  <a:lnTo>
                    <a:pt x="1218" y="104"/>
                  </a:lnTo>
                  <a:lnTo>
                    <a:pt x="1218" y="98"/>
                  </a:lnTo>
                  <a:lnTo>
                    <a:pt x="1224" y="98"/>
                  </a:lnTo>
                  <a:lnTo>
                    <a:pt x="1228" y="92"/>
                  </a:lnTo>
                  <a:lnTo>
                    <a:pt x="1228" y="98"/>
                  </a:lnTo>
                  <a:lnTo>
                    <a:pt x="1234" y="98"/>
                  </a:lnTo>
                  <a:lnTo>
                    <a:pt x="1228" y="92"/>
                  </a:lnTo>
                  <a:lnTo>
                    <a:pt x="1228" y="92"/>
                  </a:lnTo>
                  <a:lnTo>
                    <a:pt x="1228" y="92"/>
                  </a:lnTo>
                  <a:lnTo>
                    <a:pt x="1234" y="92"/>
                  </a:lnTo>
                  <a:lnTo>
                    <a:pt x="1240" y="92"/>
                  </a:lnTo>
                  <a:lnTo>
                    <a:pt x="1240" y="92"/>
                  </a:lnTo>
                  <a:lnTo>
                    <a:pt x="1240" y="92"/>
                  </a:lnTo>
                  <a:lnTo>
                    <a:pt x="1234" y="92"/>
                  </a:lnTo>
                  <a:lnTo>
                    <a:pt x="1234" y="86"/>
                  </a:lnTo>
                  <a:lnTo>
                    <a:pt x="1228" y="86"/>
                  </a:lnTo>
                  <a:lnTo>
                    <a:pt x="1234" y="80"/>
                  </a:lnTo>
                  <a:lnTo>
                    <a:pt x="1240" y="80"/>
                  </a:lnTo>
                  <a:lnTo>
                    <a:pt x="1240" y="76"/>
                  </a:lnTo>
                  <a:lnTo>
                    <a:pt x="1240" y="76"/>
                  </a:lnTo>
                  <a:lnTo>
                    <a:pt x="1246" y="76"/>
                  </a:lnTo>
                  <a:lnTo>
                    <a:pt x="1246" y="80"/>
                  </a:lnTo>
                  <a:lnTo>
                    <a:pt x="1252" y="80"/>
                  </a:lnTo>
                  <a:lnTo>
                    <a:pt x="1252" y="76"/>
                  </a:lnTo>
                  <a:lnTo>
                    <a:pt x="1252" y="76"/>
                  </a:lnTo>
                  <a:lnTo>
                    <a:pt x="1252" y="76"/>
                  </a:lnTo>
                  <a:lnTo>
                    <a:pt x="1252" y="76"/>
                  </a:lnTo>
                  <a:lnTo>
                    <a:pt x="1258" y="76"/>
                  </a:lnTo>
                  <a:lnTo>
                    <a:pt x="1264" y="76"/>
                  </a:lnTo>
                  <a:lnTo>
                    <a:pt x="1264" y="80"/>
                  </a:lnTo>
                  <a:lnTo>
                    <a:pt x="1258" y="80"/>
                  </a:lnTo>
                  <a:lnTo>
                    <a:pt x="1258" y="86"/>
                  </a:lnTo>
                  <a:lnTo>
                    <a:pt x="1252" y="92"/>
                  </a:lnTo>
                  <a:lnTo>
                    <a:pt x="1252" y="92"/>
                  </a:lnTo>
                  <a:lnTo>
                    <a:pt x="1258" y="92"/>
                  </a:lnTo>
                  <a:lnTo>
                    <a:pt x="1258" y="92"/>
                  </a:lnTo>
                  <a:lnTo>
                    <a:pt x="1264" y="86"/>
                  </a:lnTo>
                  <a:lnTo>
                    <a:pt x="1270" y="86"/>
                  </a:lnTo>
                  <a:lnTo>
                    <a:pt x="1270" y="86"/>
                  </a:lnTo>
                  <a:lnTo>
                    <a:pt x="1276" y="86"/>
                  </a:lnTo>
                  <a:lnTo>
                    <a:pt x="1282" y="86"/>
                  </a:lnTo>
                  <a:lnTo>
                    <a:pt x="1282" y="92"/>
                  </a:lnTo>
                  <a:lnTo>
                    <a:pt x="1282" y="92"/>
                  </a:lnTo>
                  <a:lnTo>
                    <a:pt x="1286" y="92"/>
                  </a:lnTo>
                  <a:lnTo>
                    <a:pt x="1286" y="92"/>
                  </a:lnTo>
                  <a:lnTo>
                    <a:pt x="1286" y="98"/>
                  </a:lnTo>
                  <a:lnTo>
                    <a:pt x="1286" y="92"/>
                  </a:lnTo>
                  <a:lnTo>
                    <a:pt x="1292" y="92"/>
                  </a:lnTo>
                  <a:lnTo>
                    <a:pt x="1286" y="92"/>
                  </a:lnTo>
                  <a:lnTo>
                    <a:pt x="1292" y="92"/>
                  </a:lnTo>
                  <a:lnTo>
                    <a:pt x="1292" y="92"/>
                  </a:lnTo>
                  <a:lnTo>
                    <a:pt x="1292" y="98"/>
                  </a:lnTo>
                  <a:lnTo>
                    <a:pt x="1298" y="104"/>
                  </a:lnTo>
                  <a:lnTo>
                    <a:pt x="1298" y="104"/>
                  </a:lnTo>
                  <a:lnTo>
                    <a:pt x="1292" y="104"/>
                  </a:lnTo>
                  <a:lnTo>
                    <a:pt x="1292" y="104"/>
                  </a:lnTo>
                  <a:close/>
                  <a:moveTo>
                    <a:pt x="1310" y="116"/>
                  </a:moveTo>
                  <a:lnTo>
                    <a:pt x="1304" y="116"/>
                  </a:lnTo>
                  <a:lnTo>
                    <a:pt x="1304" y="110"/>
                  </a:lnTo>
                  <a:lnTo>
                    <a:pt x="1310" y="110"/>
                  </a:lnTo>
                  <a:lnTo>
                    <a:pt x="1316" y="110"/>
                  </a:lnTo>
                  <a:lnTo>
                    <a:pt x="1322" y="110"/>
                  </a:lnTo>
                  <a:lnTo>
                    <a:pt x="1316" y="110"/>
                  </a:lnTo>
                  <a:lnTo>
                    <a:pt x="1316" y="116"/>
                  </a:lnTo>
                  <a:lnTo>
                    <a:pt x="1310" y="116"/>
                  </a:lnTo>
                  <a:lnTo>
                    <a:pt x="1310" y="116"/>
                  </a:lnTo>
                  <a:close/>
                  <a:moveTo>
                    <a:pt x="1124" y="116"/>
                  </a:moveTo>
                  <a:lnTo>
                    <a:pt x="1118" y="116"/>
                  </a:lnTo>
                  <a:lnTo>
                    <a:pt x="1124" y="116"/>
                  </a:lnTo>
                  <a:lnTo>
                    <a:pt x="1124" y="116"/>
                  </a:lnTo>
                  <a:close/>
                  <a:moveTo>
                    <a:pt x="1334" y="116"/>
                  </a:moveTo>
                  <a:lnTo>
                    <a:pt x="1328" y="116"/>
                  </a:lnTo>
                  <a:lnTo>
                    <a:pt x="1322" y="116"/>
                  </a:lnTo>
                  <a:lnTo>
                    <a:pt x="1322" y="116"/>
                  </a:lnTo>
                  <a:lnTo>
                    <a:pt x="1316" y="116"/>
                  </a:lnTo>
                  <a:lnTo>
                    <a:pt x="1316" y="116"/>
                  </a:lnTo>
                  <a:lnTo>
                    <a:pt x="1322" y="116"/>
                  </a:lnTo>
                  <a:lnTo>
                    <a:pt x="1322" y="116"/>
                  </a:lnTo>
                  <a:lnTo>
                    <a:pt x="1328" y="116"/>
                  </a:lnTo>
                  <a:lnTo>
                    <a:pt x="1334" y="116"/>
                  </a:lnTo>
                  <a:lnTo>
                    <a:pt x="1334" y="116"/>
                  </a:lnTo>
                  <a:lnTo>
                    <a:pt x="1334" y="116"/>
                  </a:lnTo>
                  <a:lnTo>
                    <a:pt x="1334" y="116"/>
                  </a:lnTo>
                  <a:lnTo>
                    <a:pt x="1334" y="116"/>
                  </a:lnTo>
                  <a:close/>
                  <a:moveTo>
                    <a:pt x="1096" y="128"/>
                  </a:moveTo>
                  <a:lnTo>
                    <a:pt x="1090" y="128"/>
                  </a:lnTo>
                  <a:lnTo>
                    <a:pt x="1096" y="128"/>
                  </a:lnTo>
                  <a:lnTo>
                    <a:pt x="1096" y="128"/>
                  </a:lnTo>
                  <a:close/>
                  <a:moveTo>
                    <a:pt x="944" y="134"/>
                  </a:moveTo>
                  <a:lnTo>
                    <a:pt x="950" y="134"/>
                  </a:lnTo>
                  <a:lnTo>
                    <a:pt x="950" y="138"/>
                  </a:lnTo>
                  <a:lnTo>
                    <a:pt x="944" y="134"/>
                  </a:lnTo>
                  <a:lnTo>
                    <a:pt x="944" y="134"/>
                  </a:lnTo>
                  <a:close/>
                  <a:moveTo>
                    <a:pt x="1316" y="138"/>
                  </a:moveTo>
                  <a:lnTo>
                    <a:pt x="1322" y="134"/>
                  </a:lnTo>
                  <a:lnTo>
                    <a:pt x="1322" y="138"/>
                  </a:lnTo>
                  <a:lnTo>
                    <a:pt x="1322" y="138"/>
                  </a:lnTo>
                  <a:lnTo>
                    <a:pt x="1316" y="138"/>
                  </a:lnTo>
                  <a:lnTo>
                    <a:pt x="1316" y="138"/>
                  </a:lnTo>
                  <a:close/>
                  <a:moveTo>
                    <a:pt x="1328" y="138"/>
                  </a:moveTo>
                  <a:lnTo>
                    <a:pt x="1328" y="138"/>
                  </a:lnTo>
                  <a:lnTo>
                    <a:pt x="1334" y="138"/>
                  </a:lnTo>
                  <a:lnTo>
                    <a:pt x="1334" y="138"/>
                  </a:lnTo>
                  <a:lnTo>
                    <a:pt x="1334" y="138"/>
                  </a:lnTo>
                  <a:lnTo>
                    <a:pt x="1334" y="138"/>
                  </a:lnTo>
                  <a:lnTo>
                    <a:pt x="1328" y="138"/>
                  </a:lnTo>
                  <a:lnTo>
                    <a:pt x="1328" y="138"/>
                  </a:lnTo>
                  <a:close/>
                  <a:moveTo>
                    <a:pt x="1050" y="144"/>
                  </a:moveTo>
                  <a:lnTo>
                    <a:pt x="1050" y="138"/>
                  </a:lnTo>
                  <a:lnTo>
                    <a:pt x="1054" y="138"/>
                  </a:lnTo>
                  <a:lnTo>
                    <a:pt x="1060" y="138"/>
                  </a:lnTo>
                  <a:lnTo>
                    <a:pt x="1060" y="144"/>
                  </a:lnTo>
                  <a:lnTo>
                    <a:pt x="1054" y="144"/>
                  </a:lnTo>
                  <a:lnTo>
                    <a:pt x="1050" y="138"/>
                  </a:lnTo>
                  <a:lnTo>
                    <a:pt x="1050" y="144"/>
                  </a:lnTo>
                  <a:lnTo>
                    <a:pt x="1050" y="144"/>
                  </a:lnTo>
                  <a:close/>
                  <a:moveTo>
                    <a:pt x="1166" y="138"/>
                  </a:moveTo>
                  <a:lnTo>
                    <a:pt x="1166" y="144"/>
                  </a:lnTo>
                  <a:lnTo>
                    <a:pt x="1166" y="144"/>
                  </a:lnTo>
                  <a:lnTo>
                    <a:pt x="1166" y="144"/>
                  </a:lnTo>
                  <a:lnTo>
                    <a:pt x="1160" y="150"/>
                  </a:lnTo>
                  <a:lnTo>
                    <a:pt x="1154" y="150"/>
                  </a:lnTo>
                  <a:lnTo>
                    <a:pt x="1154" y="150"/>
                  </a:lnTo>
                  <a:lnTo>
                    <a:pt x="1154" y="150"/>
                  </a:lnTo>
                  <a:lnTo>
                    <a:pt x="1154" y="150"/>
                  </a:lnTo>
                  <a:lnTo>
                    <a:pt x="1148" y="150"/>
                  </a:lnTo>
                  <a:lnTo>
                    <a:pt x="1142" y="150"/>
                  </a:lnTo>
                  <a:lnTo>
                    <a:pt x="1148" y="150"/>
                  </a:lnTo>
                  <a:lnTo>
                    <a:pt x="1154" y="144"/>
                  </a:lnTo>
                  <a:lnTo>
                    <a:pt x="1160" y="144"/>
                  </a:lnTo>
                  <a:lnTo>
                    <a:pt x="1166" y="144"/>
                  </a:lnTo>
                  <a:lnTo>
                    <a:pt x="1166" y="138"/>
                  </a:lnTo>
                  <a:lnTo>
                    <a:pt x="1166" y="138"/>
                  </a:lnTo>
                  <a:close/>
                  <a:moveTo>
                    <a:pt x="1050" y="144"/>
                  </a:moveTo>
                  <a:lnTo>
                    <a:pt x="1050" y="144"/>
                  </a:lnTo>
                  <a:lnTo>
                    <a:pt x="1050" y="144"/>
                  </a:lnTo>
                  <a:lnTo>
                    <a:pt x="1044" y="144"/>
                  </a:lnTo>
                  <a:lnTo>
                    <a:pt x="1050" y="144"/>
                  </a:lnTo>
                  <a:lnTo>
                    <a:pt x="1050" y="150"/>
                  </a:lnTo>
                  <a:lnTo>
                    <a:pt x="1044" y="150"/>
                  </a:lnTo>
                  <a:lnTo>
                    <a:pt x="1044" y="144"/>
                  </a:lnTo>
                  <a:lnTo>
                    <a:pt x="1050" y="144"/>
                  </a:lnTo>
                  <a:lnTo>
                    <a:pt x="1050" y="144"/>
                  </a:lnTo>
                  <a:close/>
                  <a:moveTo>
                    <a:pt x="2076" y="144"/>
                  </a:moveTo>
                  <a:lnTo>
                    <a:pt x="2076" y="144"/>
                  </a:lnTo>
                  <a:lnTo>
                    <a:pt x="2076" y="144"/>
                  </a:lnTo>
                  <a:lnTo>
                    <a:pt x="2076" y="144"/>
                  </a:lnTo>
                  <a:close/>
                  <a:moveTo>
                    <a:pt x="626" y="180"/>
                  </a:moveTo>
                  <a:lnTo>
                    <a:pt x="626" y="180"/>
                  </a:lnTo>
                  <a:lnTo>
                    <a:pt x="626" y="174"/>
                  </a:lnTo>
                  <a:lnTo>
                    <a:pt x="626" y="174"/>
                  </a:lnTo>
                  <a:lnTo>
                    <a:pt x="626" y="168"/>
                  </a:lnTo>
                  <a:lnTo>
                    <a:pt x="632" y="168"/>
                  </a:lnTo>
                  <a:lnTo>
                    <a:pt x="638" y="168"/>
                  </a:lnTo>
                  <a:lnTo>
                    <a:pt x="644" y="168"/>
                  </a:lnTo>
                  <a:lnTo>
                    <a:pt x="644" y="174"/>
                  </a:lnTo>
                  <a:lnTo>
                    <a:pt x="644" y="174"/>
                  </a:lnTo>
                  <a:lnTo>
                    <a:pt x="644" y="168"/>
                  </a:lnTo>
                  <a:lnTo>
                    <a:pt x="648" y="174"/>
                  </a:lnTo>
                  <a:lnTo>
                    <a:pt x="654" y="174"/>
                  </a:lnTo>
                  <a:lnTo>
                    <a:pt x="654" y="168"/>
                  </a:lnTo>
                  <a:lnTo>
                    <a:pt x="654" y="174"/>
                  </a:lnTo>
                  <a:lnTo>
                    <a:pt x="660" y="174"/>
                  </a:lnTo>
                  <a:lnTo>
                    <a:pt x="660" y="168"/>
                  </a:lnTo>
                  <a:lnTo>
                    <a:pt x="666" y="168"/>
                  </a:lnTo>
                  <a:lnTo>
                    <a:pt x="666" y="168"/>
                  </a:lnTo>
                  <a:lnTo>
                    <a:pt x="672" y="168"/>
                  </a:lnTo>
                  <a:lnTo>
                    <a:pt x="678" y="168"/>
                  </a:lnTo>
                  <a:lnTo>
                    <a:pt x="678" y="162"/>
                  </a:lnTo>
                  <a:lnTo>
                    <a:pt x="684" y="162"/>
                  </a:lnTo>
                  <a:lnTo>
                    <a:pt x="690" y="162"/>
                  </a:lnTo>
                  <a:lnTo>
                    <a:pt x="690" y="162"/>
                  </a:lnTo>
                  <a:lnTo>
                    <a:pt x="690" y="162"/>
                  </a:lnTo>
                  <a:lnTo>
                    <a:pt x="696" y="162"/>
                  </a:lnTo>
                  <a:lnTo>
                    <a:pt x="702" y="162"/>
                  </a:lnTo>
                  <a:lnTo>
                    <a:pt x="706" y="162"/>
                  </a:lnTo>
                  <a:lnTo>
                    <a:pt x="702" y="162"/>
                  </a:lnTo>
                  <a:lnTo>
                    <a:pt x="702" y="156"/>
                  </a:lnTo>
                  <a:lnTo>
                    <a:pt x="706" y="156"/>
                  </a:lnTo>
                  <a:lnTo>
                    <a:pt x="706" y="150"/>
                  </a:lnTo>
                  <a:lnTo>
                    <a:pt x="712" y="150"/>
                  </a:lnTo>
                  <a:lnTo>
                    <a:pt x="718" y="150"/>
                  </a:lnTo>
                  <a:lnTo>
                    <a:pt x="718" y="150"/>
                  </a:lnTo>
                  <a:lnTo>
                    <a:pt x="724" y="150"/>
                  </a:lnTo>
                  <a:lnTo>
                    <a:pt x="730" y="150"/>
                  </a:lnTo>
                  <a:lnTo>
                    <a:pt x="730" y="150"/>
                  </a:lnTo>
                  <a:lnTo>
                    <a:pt x="736" y="150"/>
                  </a:lnTo>
                  <a:lnTo>
                    <a:pt x="742" y="150"/>
                  </a:lnTo>
                  <a:lnTo>
                    <a:pt x="742" y="150"/>
                  </a:lnTo>
                  <a:lnTo>
                    <a:pt x="748" y="156"/>
                  </a:lnTo>
                  <a:lnTo>
                    <a:pt x="742" y="156"/>
                  </a:lnTo>
                  <a:lnTo>
                    <a:pt x="742" y="162"/>
                  </a:lnTo>
                  <a:lnTo>
                    <a:pt x="742" y="168"/>
                  </a:lnTo>
                  <a:lnTo>
                    <a:pt x="736" y="168"/>
                  </a:lnTo>
                  <a:lnTo>
                    <a:pt x="730" y="168"/>
                  </a:lnTo>
                  <a:lnTo>
                    <a:pt x="730" y="174"/>
                  </a:lnTo>
                  <a:lnTo>
                    <a:pt x="724" y="174"/>
                  </a:lnTo>
                  <a:lnTo>
                    <a:pt x="718" y="174"/>
                  </a:lnTo>
                  <a:lnTo>
                    <a:pt x="718" y="180"/>
                  </a:lnTo>
                  <a:lnTo>
                    <a:pt x="718" y="180"/>
                  </a:lnTo>
                  <a:lnTo>
                    <a:pt x="712" y="180"/>
                  </a:lnTo>
                  <a:lnTo>
                    <a:pt x="706" y="180"/>
                  </a:lnTo>
                  <a:lnTo>
                    <a:pt x="706" y="180"/>
                  </a:lnTo>
                  <a:lnTo>
                    <a:pt x="702" y="180"/>
                  </a:lnTo>
                  <a:lnTo>
                    <a:pt x="696" y="180"/>
                  </a:lnTo>
                  <a:lnTo>
                    <a:pt x="690" y="180"/>
                  </a:lnTo>
                  <a:lnTo>
                    <a:pt x="690" y="186"/>
                  </a:lnTo>
                  <a:lnTo>
                    <a:pt x="684" y="186"/>
                  </a:lnTo>
                  <a:lnTo>
                    <a:pt x="678" y="186"/>
                  </a:lnTo>
                  <a:lnTo>
                    <a:pt x="678" y="186"/>
                  </a:lnTo>
                  <a:lnTo>
                    <a:pt x="672" y="186"/>
                  </a:lnTo>
                  <a:lnTo>
                    <a:pt x="666" y="192"/>
                  </a:lnTo>
                  <a:lnTo>
                    <a:pt x="666" y="192"/>
                  </a:lnTo>
                  <a:lnTo>
                    <a:pt x="660" y="192"/>
                  </a:lnTo>
                  <a:lnTo>
                    <a:pt x="654" y="192"/>
                  </a:lnTo>
                  <a:lnTo>
                    <a:pt x="654" y="192"/>
                  </a:lnTo>
                  <a:lnTo>
                    <a:pt x="654" y="192"/>
                  </a:lnTo>
                  <a:lnTo>
                    <a:pt x="648" y="192"/>
                  </a:lnTo>
                  <a:lnTo>
                    <a:pt x="644" y="192"/>
                  </a:lnTo>
                  <a:lnTo>
                    <a:pt x="644" y="196"/>
                  </a:lnTo>
                  <a:lnTo>
                    <a:pt x="644" y="192"/>
                  </a:lnTo>
                  <a:lnTo>
                    <a:pt x="644" y="192"/>
                  </a:lnTo>
                  <a:lnTo>
                    <a:pt x="644" y="196"/>
                  </a:lnTo>
                  <a:lnTo>
                    <a:pt x="638" y="196"/>
                  </a:lnTo>
                  <a:lnTo>
                    <a:pt x="638" y="202"/>
                  </a:lnTo>
                  <a:lnTo>
                    <a:pt x="632" y="202"/>
                  </a:lnTo>
                  <a:lnTo>
                    <a:pt x="632" y="196"/>
                  </a:lnTo>
                  <a:lnTo>
                    <a:pt x="632" y="202"/>
                  </a:lnTo>
                  <a:lnTo>
                    <a:pt x="626" y="202"/>
                  </a:lnTo>
                  <a:lnTo>
                    <a:pt x="626" y="202"/>
                  </a:lnTo>
                  <a:lnTo>
                    <a:pt x="626" y="202"/>
                  </a:lnTo>
                  <a:lnTo>
                    <a:pt x="620" y="208"/>
                  </a:lnTo>
                  <a:lnTo>
                    <a:pt x="620" y="202"/>
                  </a:lnTo>
                  <a:lnTo>
                    <a:pt x="614" y="202"/>
                  </a:lnTo>
                  <a:lnTo>
                    <a:pt x="614" y="208"/>
                  </a:lnTo>
                  <a:lnTo>
                    <a:pt x="614" y="208"/>
                  </a:lnTo>
                  <a:lnTo>
                    <a:pt x="608" y="208"/>
                  </a:lnTo>
                  <a:lnTo>
                    <a:pt x="614" y="208"/>
                  </a:lnTo>
                  <a:lnTo>
                    <a:pt x="614" y="208"/>
                  </a:lnTo>
                  <a:lnTo>
                    <a:pt x="620" y="208"/>
                  </a:lnTo>
                  <a:lnTo>
                    <a:pt x="620" y="214"/>
                  </a:lnTo>
                  <a:lnTo>
                    <a:pt x="614" y="214"/>
                  </a:lnTo>
                  <a:lnTo>
                    <a:pt x="614" y="214"/>
                  </a:lnTo>
                  <a:lnTo>
                    <a:pt x="614" y="214"/>
                  </a:lnTo>
                  <a:lnTo>
                    <a:pt x="614" y="214"/>
                  </a:lnTo>
                  <a:lnTo>
                    <a:pt x="614" y="214"/>
                  </a:lnTo>
                  <a:lnTo>
                    <a:pt x="608" y="214"/>
                  </a:lnTo>
                  <a:lnTo>
                    <a:pt x="602" y="214"/>
                  </a:lnTo>
                  <a:lnTo>
                    <a:pt x="602" y="214"/>
                  </a:lnTo>
                  <a:lnTo>
                    <a:pt x="608" y="214"/>
                  </a:lnTo>
                  <a:lnTo>
                    <a:pt x="608" y="220"/>
                  </a:lnTo>
                  <a:lnTo>
                    <a:pt x="602" y="220"/>
                  </a:lnTo>
                  <a:lnTo>
                    <a:pt x="602" y="214"/>
                  </a:lnTo>
                  <a:lnTo>
                    <a:pt x="602" y="214"/>
                  </a:lnTo>
                  <a:lnTo>
                    <a:pt x="602" y="220"/>
                  </a:lnTo>
                  <a:lnTo>
                    <a:pt x="596" y="220"/>
                  </a:lnTo>
                  <a:lnTo>
                    <a:pt x="596" y="226"/>
                  </a:lnTo>
                  <a:lnTo>
                    <a:pt x="590" y="226"/>
                  </a:lnTo>
                  <a:lnTo>
                    <a:pt x="590" y="220"/>
                  </a:lnTo>
                  <a:lnTo>
                    <a:pt x="590" y="220"/>
                  </a:lnTo>
                  <a:lnTo>
                    <a:pt x="586" y="220"/>
                  </a:lnTo>
                  <a:lnTo>
                    <a:pt x="590" y="220"/>
                  </a:lnTo>
                  <a:lnTo>
                    <a:pt x="590" y="226"/>
                  </a:lnTo>
                  <a:lnTo>
                    <a:pt x="590" y="232"/>
                  </a:lnTo>
                  <a:lnTo>
                    <a:pt x="590" y="232"/>
                  </a:lnTo>
                  <a:lnTo>
                    <a:pt x="586" y="232"/>
                  </a:lnTo>
                  <a:lnTo>
                    <a:pt x="586" y="232"/>
                  </a:lnTo>
                  <a:lnTo>
                    <a:pt x="590" y="232"/>
                  </a:lnTo>
                  <a:lnTo>
                    <a:pt x="586" y="232"/>
                  </a:lnTo>
                  <a:lnTo>
                    <a:pt x="586" y="238"/>
                  </a:lnTo>
                  <a:lnTo>
                    <a:pt x="580" y="238"/>
                  </a:lnTo>
                  <a:lnTo>
                    <a:pt x="574" y="238"/>
                  </a:lnTo>
                  <a:lnTo>
                    <a:pt x="574" y="232"/>
                  </a:lnTo>
                  <a:lnTo>
                    <a:pt x="574" y="232"/>
                  </a:lnTo>
                  <a:lnTo>
                    <a:pt x="568" y="232"/>
                  </a:lnTo>
                  <a:lnTo>
                    <a:pt x="574" y="232"/>
                  </a:lnTo>
                  <a:lnTo>
                    <a:pt x="574" y="238"/>
                  </a:lnTo>
                  <a:lnTo>
                    <a:pt x="574" y="238"/>
                  </a:lnTo>
                  <a:lnTo>
                    <a:pt x="580" y="238"/>
                  </a:lnTo>
                  <a:lnTo>
                    <a:pt x="580" y="244"/>
                  </a:lnTo>
                  <a:lnTo>
                    <a:pt x="574" y="244"/>
                  </a:lnTo>
                  <a:lnTo>
                    <a:pt x="574" y="244"/>
                  </a:lnTo>
                  <a:lnTo>
                    <a:pt x="568" y="244"/>
                  </a:lnTo>
                  <a:lnTo>
                    <a:pt x="562" y="244"/>
                  </a:lnTo>
                  <a:lnTo>
                    <a:pt x="562" y="244"/>
                  </a:lnTo>
                  <a:lnTo>
                    <a:pt x="562" y="244"/>
                  </a:lnTo>
                  <a:lnTo>
                    <a:pt x="568" y="244"/>
                  </a:lnTo>
                  <a:lnTo>
                    <a:pt x="574" y="244"/>
                  </a:lnTo>
                  <a:lnTo>
                    <a:pt x="574" y="244"/>
                  </a:lnTo>
                  <a:lnTo>
                    <a:pt x="574" y="244"/>
                  </a:lnTo>
                  <a:lnTo>
                    <a:pt x="574" y="250"/>
                  </a:lnTo>
                  <a:lnTo>
                    <a:pt x="574" y="250"/>
                  </a:lnTo>
                  <a:lnTo>
                    <a:pt x="568" y="250"/>
                  </a:lnTo>
                  <a:lnTo>
                    <a:pt x="562" y="250"/>
                  </a:lnTo>
                  <a:lnTo>
                    <a:pt x="562" y="244"/>
                  </a:lnTo>
                  <a:lnTo>
                    <a:pt x="562" y="244"/>
                  </a:lnTo>
                  <a:lnTo>
                    <a:pt x="562" y="250"/>
                  </a:lnTo>
                  <a:lnTo>
                    <a:pt x="562" y="250"/>
                  </a:lnTo>
                  <a:lnTo>
                    <a:pt x="568" y="250"/>
                  </a:lnTo>
                  <a:lnTo>
                    <a:pt x="568" y="254"/>
                  </a:lnTo>
                  <a:lnTo>
                    <a:pt x="562" y="254"/>
                  </a:lnTo>
                  <a:lnTo>
                    <a:pt x="562" y="254"/>
                  </a:lnTo>
                  <a:lnTo>
                    <a:pt x="562" y="254"/>
                  </a:lnTo>
                  <a:lnTo>
                    <a:pt x="562" y="254"/>
                  </a:lnTo>
                  <a:lnTo>
                    <a:pt x="556" y="254"/>
                  </a:lnTo>
                  <a:lnTo>
                    <a:pt x="550" y="254"/>
                  </a:lnTo>
                  <a:lnTo>
                    <a:pt x="550" y="254"/>
                  </a:lnTo>
                  <a:lnTo>
                    <a:pt x="550" y="254"/>
                  </a:lnTo>
                  <a:lnTo>
                    <a:pt x="550" y="254"/>
                  </a:lnTo>
                  <a:lnTo>
                    <a:pt x="544" y="254"/>
                  </a:lnTo>
                  <a:lnTo>
                    <a:pt x="538" y="254"/>
                  </a:lnTo>
                  <a:lnTo>
                    <a:pt x="538" y="254"/>
                  </a:lnTo>
                  <a:lnTo>
                    <a:pt x="538" y="254"/>
                  </a:lnTo>
                  <a:lnTo>
                    <a:pt x="532" y="254"/>
                  </a:lnTo>
                  <a:lnTo>
                    <a:pt x="528" y="254"/>
                  </a:lnTo>
                  <a:lnTo>
                    <a:pt x="528" y="254"/>
                  </a:lnTo>
                  <a:lnTo>
                    <a:pt x="522" y="254"/>
                  </a:lnTo>
                  <a:lnTo>
                    <a:pt x="528" y="254"/>
                  </a:lnTo>
                  <a:lnTo>
                    <a:pt x="528" y="250"/>
                  </a:lnTo>
                  <a:lnTo>
                    <a:pt x="528" y="250"/>
                  </a:lnTo>
                  <a:lnTo>
                    <a:pt x="532" y="250"/>
                  </a:lnTo>
                  <a:lnTo>
                    <a:pt x="532" y="244"/>
                  </a:lnTo>
                  <a:lnTo>
                    <a:pt x="538" y="244"/>
                  </a:lnTo>
                  <a:lnTo>
                    <a:pt x="532" y="244"/>
                  </a:lnTo>
                  <a:lnTo>
                    <a:pt x="528" y="244"/>
                  </a:lnTo>
                  <a:lnTo>
                    <a:pt x="528" y="250"/>
                  </a:lnTo>
                  <a:lnTo>
                    <a:pt x="522" y="250"/>
                  </a:lnTo>
                  <a:lnTo>
                    <a:pt x="522" y="244"/>
                  </a:lnTo>
                  <a:lnTo>
                    <a:pt x="516" y="244"/>
                  </a:lnTo>
                  <a:lnTo>
                    <a:pt x="516" y="244"/>
                  </a:lnTo>
                  <a:lnTo>
                    <a:pt x="516" y="244"/>
                  </a:lnTo>
                  <a:lnTo>
                    <a:pt x="522" y="244"/>
                  </a:lnTo>
                  <a:lnTo>
                    <a:pt x="522" y="244"/>
                  </a:lnTo>
                  <a:lnTo>
                    <a:pt x="528" y="244"/>
                  </a:lnTo>
                  <a:lnTo>
                    <a:pt x="528" y="238"/>
                  </a:lnTo>
                  <a:lnTo>
                    <a:pt x="528" y="238"/>
                  </a:lnTo>
                  <a:lnTo>
                    <a:pt x="532" y="238"/>
                  </a:lnTo>
                  <a:lnTo>
                    <a:pt x="528" y="238"/>
                  </a:lnTo>
                  <a:lnTo>
                    <a:pt x="532" y="232"/>
                  </a:lnTo>
                  <a:lnTo>
                    <a:pt x="538" y="232"/>
                  </a:lnTo>
                  <a:lnTo>
                    <a:pt x="538" y="232"/>
                  </a:lnTo>
                  <a:lnTo>
                    <a:pt x="544" y="232"/>
                  </a:lnTo>
                  <a:lnTo>
                    <a:pt x="550" y="232"/>
                  </a:lnTo>
                  <a:lnTo>
                    <a:pt x="544" y="232"/>
                  </a:lnTo>
                  <a:lnTo>
                    <a:pt x="544" y="232"/>
                  </a:lnTo>
                  <a:lnTo>
                    <a:pt x="538" y="232"/>
                  </a:lnTo>
                  <a:lnTo>
                    <a:pt x="538" y="232"/>
                  </a:lnTo>
                  <a:lnTo>
                    <a:pt x="538" y="232"/>
                  </a:lnTo>
                  <a:lnTo>
                    <a:pt x="544" y="232"/>
                  </a:lnTo>
                  <a:lnTo>
                    <a:pt x="550" y="232"/>
                  </a:lnTo>
                  <a:lnTo>
                    <a:pt x="544" y="232"/>
                  </a:lnTo>
                  <a:lnTo>
                    <a:pt x="538" y="226"/>
                  </a:lnTo>
                  <a:lnTo>
                    <a:pt x="550" y="226"/>
                  </a:lnTo>
                  <a:lnTo>
                    <a:pt x="550" y="226"/>
                  </a:lnTo>
                  <a:lnTo>
                    <a:pt x="556" y="220"/>
                  </a:lnTo>
                  <a:lnTo>
                    <a:pt x="550" y="220"/>
                  </a:lnTo>
                  <a:lnTo>
                    <a:pt x="550" y="220"/>
                  </a:lnTo>
                  <a:lnTo>
                    <a:pt x="544" y="220"/>
                  </a:lnTo>
                  <a:lnTo>
                    <a:pt x="544" y="214"/>
                  </a:lnTo>
                  <a:lnTo>
                    <a:pt x="550" y="214"/>
                  </a:lnTo>
                  <a:lnTo>
                    <a:pt x="550" y="214"/>
                  </a:lnTo>
                  <a:lnTo>
                    <a:pt x="556" y="214"/>
                  </a:lnTo>
                  <a:lnTo>
                    <a:pt x="562" y="214"/>
                  </a:lnTo>
                  <a:lnTo>
                    <a:pt x="562" y="214"/>
                  </a:lnTo>
                  <a:lnTo>
                    <a:pt x="562" y="214"/>
                  </a:lnTo>
                  <a:lnTo>
                    <a:pt x="556" y="214"/>
                  </a:lnTo>
                  <a:lnTo>
                    <a:pt x="550" y="214"/>
                  </a:lnTo>
                  <a:lnTo>
                    <a:pt x="550" y="214"/>
                  </a:lnTo>
                  <a:lnTo>
                    <a:pt x="556" y="208"/>
                  </a:lnTo>
                  <a:lnTo>
                    <a:pt x="562" y="208"/>
                  </a:lnTo>
                  <a:lnTo>
                    <a:pt x="556" y="208"/>
                  </a:lnTo>
                  <a:lnTo>
                    <a:pt x="556" y="202"/>
                  </a:lnTo>
                  <a:lnTo>
                    <a:pt x="550" y="208"/>
                  </a:lnTo>
                  <a:lnTo>
                    <a:pt x="550" y="208"/>
                  </a:lnTo>
                  <a:lnTo>
                    <a:pt x="550" y="202"/>
                  </a:lnTo>
                  <a:lnTo>
                    <a:pt x="544" y="202"/>
                  </a:lnTo>
                  <a:lnTo>
                    <a:pt x="550" y="202"/>
                  </a:lnTo>
                  <a:lnTo>
                    <a:pt x="550" y="202"/>
                  </a:lnTo>
                  <a:lnTo>
                    <a:pt x="550" y="202"/>
                  </a:lnTo>
                  <a:lnTo>
                    <a:pt x="550" y="202"/>
                  </a:lnTo>
                  <a:lnTo>
                    <a:pt x="556" y="202"/>
                  </a:lnTo>
                  <a:lnTo>
                    <a:pt x="556" y="202"/>
                  </a:lnTo>
                  <a:lnTo>
                    <a:pt x="562" y="202"/>
                  </a:lnTo>
                  <a:lnTo>
                    <a:pt x="562" y="202"/>
                  </a:lnTo>
                  <a:lnTo>
                    <a:pt x="562" y="202"/>
                  </a:lnTo>
                  <a:lnTo>
                    <a:pt x="562" y="202"/>
                  </a:lnTo>
                  <a:lnTo>
                    <a:pt x="562" y="196"/>
                  </a:lnTo>
                  <a:lnTo>
                    <a:pt x="562" y="196"/>
                  </a:lnTo>
                  <a:lnTo>
                    <a:pt x="568" y="196"/>
                  </a:lnTo>
                  <a:lnTo>
                    <a:pt x="574" y="196"/>
                  </a:lnTo>
                  <a:lnTo>
                    <a:pt x="574" y="196"/>
                  </a:lnTo>
                  <a:lnTo>
                    <a:pt x="574" y="192"/>
                  </a:lnTo>
                  <a:lnTo>
                    <a:pt x="574" y="192"/>
                  </a:lnTo>
                  <a:lnTo>
                    <a:pt x="574" y="192"/>
                  </a:lnTo>
                  <a:lnTo>
                    <a:pt x="580" y="192"/>
                  </a:lnTo>
                  <a:lnTo>
                    <a:pt x="586" y="192"/>
                  </a:lnTo>
                  <a:lnTo>
                    <a:pt x="586" y="192"/>
                  </a:lnTo>
                  <a:lnTo>
                    <a:pt x="580" y="192"/>
                  </a:lnTo>
                  <a:lnTo>
                    <a:pt x="586" y="192"/>
                  </a:lnTo>
                  <a:lnTo>
                    <a:pt x="590" y="186"/>
                  </a:lnTo>
                  <a:lnTo>
                    <a:pt x="590" y="186"/>
                  </a:lnTo>
                  <a:lnTo>
                    <a:pt x="590" y="180"/>
                  </a:lnTo>
                  <a:lnTo>
                    <a:pt x="596" y="180"/>
                  </a:lnTo>
                  <a:lnTo>
                    <a:pt x="602" y="180"/>
                  </a:lnTo>
                  <a:lnTo>
                    <a:pt x="602" y="180"/>
                  </a:lnTo>
                  <a:lnTo>
                    <a:pt x="608" y="180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14" y="180"/>
                  </a:lnTo>
                  <a:lnTo>
                    <a:pt x="614" y="174"/>
                  </a:lnTo>
                  <a:lnTo>
                    <a:pt x="620" y="174"/>
                  </a:lnTo>
                  <a:lnTo>
                    <a:pt x="626" y="174"/>
                  </a:lnTo>
                  <a:lnTo>
                    <a:pt x="626" y="180"/>
                  </a:lnTo>
                  <a:lnTo>
                    <a:pt x="620" y="180"/>
                  </a:lnTo>
                  <a:lnTo>
                    <a:pt x="614" y="180"/>
                  </a:lnTo>
                  <a:lnTo>
                    <a:pt x="620" y="180"/>
                  </a:lnTo>
                  <a:lnTo>
                    <a:pt x="626" y="180"/>
                  </a:lnTo>
                  <a:lnTo>
                    <a:pt x="626" y="180"/>
                  </a:lnTo>
                  <a:close/>
                  <a:moveTo>
                    <a:pt x="1166" y="150"/>
                  </a:moveTo>
                  <a:lnTo>
                    <a:pt x="1160" y="150"/>
                  </a:lnTo>
                  <a:lnTo>
                    <a:pt x="1154" y="150"/>
                  </a:lnTo>
                  <a:lnTo>
                    <a:pt x="1154" y="150"/>
                  </a:lnTo>
                  <a:lnTo>
                    <a:pt x="1160" y="150"/>
                  </a:lnTo>
                  <a:lnTo>
                    <a:pt x="1166" y="150"/>
                  </a:lnTo>
                  <a:lnTo>
                    <a:pt x="1166" y="150"/>
                  </a:lnTo>
                  <a:close/>
                  <a:moveTo>
                    <a:pt x="1182" y="156"/>
                  </a:moveTo>
                  <a:lnTo>
                    <a:pt x="1182" y="150"/>
                  </a:lnTo>
                  <a:lnTo>
                    <a:pt x="1188" y="150"/>
                  </a:lnTo>
                  <a:lnTo>
                    <a:pt x="1188" y="156"/>
                  </a:lnTo>
                  <a:lnTo>
                    <a:pt x="1182" y="156"/>
                  </a:lnTo>
                  <a:lnTo>
                    <a:pt x="1182" y="156"/>
                  </a:lnTo>
                  <a:close/>
                  <a:moveTo>
                    <a:pt x="1182" y="156"/>
                  </a:moveTo>
                  <a:lnTo>
                    <a:pt x="1176" y="156"/>
                  </a:lnTo>
                  <a:lnTo>
                    <a:pt x="1182" y="156"/>
                  </a:lnTo>
                  <a:lnTo>
                    <a:pt x="1182" y="156"/>
                  </a:lnTo>
                  <a:close/>
                  <a:moveTo>
                    <a:pt x="1948" y="162"/>
                  </a:moveTo>
                  <a:lnTo>
                    <a:pt x="1948" y="156"/>
                  </a:lnTo>
                  <a:lnTo>
                    <a:pt x="1954" y="156"/>
                  </a:lnTo>
                  <a:lnTo>
                    <a:pt x="1960" y="156"/>
                  </a:lnTo>
                  <a:lnTo>
                    <a:pt x="1960" y="156"/>
                  </a:lnTo>
                  <a:lnTo>
                    <a:pt x="1966" y="156"/>
                  </a:lnTo>
                  <a:lnTo>
                    <a:pt x="1960" y="156"/>
                  </a:lnTo>
                  <a:lnTo>
                    <a:pt x="1960" y="162"/>
                  </a:lnTo>
                  <a:lnTo>
                    <a:pt x="1960" y="156"/>
                  </a:lnTo>
                  <a:lnTo>
                    <a:pt x="1960" y="156"/>
                  </a:lnTo>
                  <a:lnTo>
                    <a:pt x="1954" y="156"/>
                  </a:lnTo>
                  <a:lnTo>
                    <a:pt x="1954" y="162"/>
                  </a:lnTo>
                  <a:lnTo>
                    <a:pt x="1948" y="162"/>
                  </a:lnTo>
                  <a:lnTo>
                    <a:pt x="1948" y="162"/>
                  </a:lnTo>
                  <a:close/>
                  <a:moveTo>
                    <a:pt x="1182" y="162"/>
                  </a:moveTo>
                  <a:lnTo>
                    <a:pt x="1176" y="162"/>
                  </a:lnTo>
                  <a:lnTo>
                    <a:pt x="1176" y="156"/>
                  </a:lnTo>
                  <a:lnTo>
                    <a:pt x="1182" y="156"/>
                  </a:lnTo>
                  <a:lnTo>
                    <a:pt x="1182" y="162"/>
                  </a:lnTo>
                  <a:lnTo>
                    <a:pt x="1182" y="162"/>
                  </a:lnTo>
                  <a:close/>
                  <a:moveTo>
                    <a:pt x="1142" y="156"/>
                  </a:moveTo>
                  <a:lnTo>
                    <a:pt x="1148" y="162"/>
                  </a:lnTo>
                  <a:lnTo>
                    <a:pt x="1142" y="162"/>
                  </a:lnTo>
                  <a:lnTo>
                    <a:pt x="1142" y="162"/>
                  </a:lnTo>
                  <a:lnTo>
                    <a:pt x="1142" y="156"/>
                  </a:lnTo>
                  <a:lnTo>
                    <a:pt x="1142" y="156"/>
                  </a:lnTo>
                  <a:lnTo>
                    <a:pt x="1142" y="156"/>
                  </a:lnTo>
                  <a:close/>
                  <a:moveTo>
                    <a:pt x="1166" y="156"/>
                  </a:moveTo>
                  <a:lnTo>
                    <a:pt x="1166" y="162"/>
                  </a:lnTo>
                  <a:lnTo>
                    <a:pt x="1160" y="162"/>
                  </a:lnTo>
                  <a:lnTo>
                    <a:pt x="1154" y="162"/>
                  </a:lnTo>
                  <a:lnTo>
                    <a:pt x="1154" y="156"/>
                  </a:lnTo>
                  <a:lnTo>
                    <a:pt x="1160" y="156"/>
                  </a:lnTo>
                  <a:lnTo>
                    <a:pt x="1166" y="156"/>
                  </a:lnTo>
                  <a:lnTo>
                    <a:pt x="1166" y="156"/>
                  </a:lnTo>
                  <a:close/>
                  <a:moveTo>
                    <a:pt x="1130" y="162"/>
                  </a:moveTo>
                  <a:lnTo>
                    <a:pt x="1130" y="162"/>
                  </a:lnTo>
                  <a:lnTo>
                    <a:pt x="1130" y="162"/>
                  </a:lnTo>
                  <a:lnTo>
                    <a:pt x="1124" y="162"/>
                  </a:lnTo>
                  <a:lnTo>
                    <a:pt x="1130" y="162"/>
                  </a:lnTo>
                  <a:lnTo>
                    <a:pt x="1130" y="162"/>
                  </a:lnTo>
                  <a:close/>
                  <a:moveTo>
                    <a:pt x="1414" y="168"/>
                  </a:moveTo>
                  <a:lnTo>
                    <a:pt x="1414" y="162"/>
                  </a:lnTo>
                  <a:lnTo>
                    <a:pt x="1420" y="162"/>
                  </a:lnTo>
                  <a:lnTo>
                    <a:pt x="1420" y="168"/>
                  </a:lnTo>
                  <a:lnTo>
                    <a:pt x="1420" y="168"/>
                  </a:lnTo>
                  <a:lnTo>
                    <a:pt x="1420" y="168"/>
                  </a:lnTo>
                  <a:lnTo>
                    <a:pt x="1414" y="168"/>
                  </a:lnTo>
                  <a:lnTo>
                    <a:pt x="1414" y="168"/>
                  </a:lnTo>
                  <a:close/>
                  <a:moveTo>
                    <a:pt x="1166" y="174"/>
                  </a:moveTo>
                  <a:lnTo>
                    <a:pt x="1166" y="168"/>
                  </a:lnTo>
                  <a:lnTo>
                    <a:pt x="1170" y="168"/>
                  </a:lnTo>
                  <a:lnTo>
                    <a:pt x="1166" y="168"/>
                  </a:lnTo>
                  <a:lnTo>
                    <a:pt x="1166" y="174"/>
                  </a:lnTo>
                  <a:lnTo>
                    <a:pt x="1170" y="174"/>
                  </a:lnTo>
                  <a:lnTo>
                    <a:pt x="1170" y="168"/>
                  </a:lnTo>
                  <a:lnTo>
                    <a:pt x="1170" y="174"/>
                  </a:lnTo>
                  <a:lnTo>
                    <a:pt x="1166" y="174"/>
                  </a:lnTo>
                  <a:lnTo>
                    <a:pt x="1166" y="174"/>
                  </a:lnTo>
                  <a:close/>
                  <a:moveTo>
                    <a:pt x="1166" y="180"/>
                  </a:moveTo>
                  <a:lnTo>
                    <a:pt x="1160" y="174"/>
                  </a:lnTo>
                  <a:lnTo>
                    <a:pt x="1154" y="174"/>
                  </a:lnTo>
                  <a:lnTo>
                    <a:pt x="1154" y="174"/>
                  </a:lnTo>
                  <a:lnTo>
                    <a:pt x="1148" y="174"/>
                  </a:lnTo>
                  <a:lnTo>
                    <a:pt x="1148" y="168"/>
                  </a:lnTo>
                  <a:lnTo>
                    <a:pt x="1154" y="174"/>
                  </a:lnTo>
                  <a:lnTo>
                    <a:pt x="1154" y="168"/>
                  </a:lnTo>
                  <a:lnTo>
                    <a:pt x="1154" y="168"/>
                  </a:lnTo>
                  <a:lnTo>
                    <a:pt x="1160" y="168"/>
                  </a:lnTo>
                  <a:lnTo>
                    <a:pt x="1166" y="168"/>
                  </a:lnTo>
                  <a:lnTo>
                    <a:pt x="1166" y="168"/>
                  </a:lnTo>
                  <a:lnTo>
                    <a:pt x="1166" y="174"/>
                  </a:lnTo>
                  <a:lnTo>
                    <a:pt x="1166" y="174"/>
                  </a:lnTo>
                  <a:lnTo>
                    <a:pt x="1166" y="168"/>
                  </a:lnTo>
                  <a:lnTo>
                    <a:pt x="1160" y="174"/>
                  </a:lnTo>
                  <a:lnTo>
                    <a:pt x="1166" y="174"/>
                  </a:lnTo>
                  <a:lnTo>
                    <a:pt x="1166" y="180"/>
                  </a:lnTo>
                  <a:lnTo>
                    <a:pt x="1166" y="180"/>
                  </a:lnTo>
                  <a:close/>
                  <a:moveTo>
                    <a:pt x="1142" y="174"/>
                  </a:moveTo>
                  <a:lnTo>
                    <a:pt x="1142" y="168"/>
                  </a:lnTo>
                  <a:lnTo>
                    <a:pt x="1142" y="168"/>
                  </a:lnTo>
                  <a:lnTo>
                    <a:pt x="1142" y="174"/>
                  </a:lnTo>
                  <a:lnTo>
                    <a:pt x="1136" y="174"/>
                  </a:lnTo>
                  <a:lnTo>
                    <a:pt x="1130" y="174"/>
                  </a:lnTo>
                  <a:lnTo>
                    <a:pt x="1136" y="174"/>
                  </a:lnTo>
                  <a:lnTo>
                    <a:pt x="1142" y="174"/>
                  </a:lnTo>
                  <a:lnTo>
                    <a:pt x="1142" y="174"/>
                  </a:lnTo>
                  <a:close/>
                  <a:moveTo>
                    <a:pt x="1860" y="214"/>
                  </a:moveTo>
                  <a:lnTo>
                    <a:pt x="1856" y="214"/>
                  </a:lnTo>
                  <a:lnTo>
                    <a:pt x="1856" y="214"/>
                  </a:lnTo>
                  <a:lnTo>
                    <a:pt x="1856" y="208"/>
                  </a:lnTo>
                  <a:lnTo>
                    <a:pt x="1856" y="208"/>
                  </a:lnTo>
                  <a:lnTo>
                    <a:pt x="1856" y="208"/>
                  </a:lnTo>
                  <a:lnTo>
                    <a:pt x="1850" y="208"/>
                  </a:lnTo>
                  <a:lnTo>
                    <a:pt x="1844" y="208"/>
                  </a:lnTo>
                  <a:lnTo>
                    <a:pt x="1844" y="208"/>
                  </a:lnTo>
                  <a:lnTo>
                    <a:pt x="1838" y="208"/>
                  </a:lnTo>
                  <a:lnTo>
                    <a:pt x="1832" y="214"/>
                  </a:lnTo>
                  <a:lnTo>
                    <a:pt x="1832" y="214"/>
                  </a:lnTo>
                  <a:lnTo>
                    <a:pt x="1826" y="214"/>
                  </a:lnTo>
                  <a:lnTo>
                    <a:pt x="1820" y="208"/>
                  </a:lnTo>
                  <a:lnTo>
                    <a:pt x="1820" y="208"/>
                  </a:lnTo>
                  <a:lnTo>
                    <a:pt x="1814" y="208"/>
                  </a:lnTo>
                  <a:lnTo>
                    <a:pt x="1814" y="214"/>
                  </a:lnTo>
                  <a:lnTo>
                    <a:pt x="1820" y="214"/>
                  </a:lnTo>
                  <a:lnTo>
                    <a:pt x="1814" y="214"/>
                  </a:lnTo>
                  <a:lnTo>
                    <a:pt x="1814" y="214"/>
                  </a:lnTo>
                  <a:lnTo>
                    <a:pt x="1808" y="214"/>
                  </a:lnTo>
                  <a:lnTo>
                    <a:pt x="1808" y="214"/>
                  </a:lnTo>
                  <a:lnTo>
                    <a:pt x="1802" y="214"/>
                  </a:lnTo>
                  <a:lnTo>
                    <a:pt x="1798" y="214"/>
                  </a:lnTo>
                  <a:lnTo>
                    <a:pt x="1798" y="214"/>
                  </a:lnTo>
                  <a:lnTo>
                    <a:pt x="1792" y="214"/>
                  </a:lnTo>
                  <a:lnTo>
                    <a:pt x="1792" y="214"/>
                  </a:lnTo>
                  <a:lnTo>
                    <a:pt x="1792" y="208"/>
                  </a:lnTo>
                  <a:lnTo>
                    <a:pt x="1786" y="208"/>
                  </a:lnTo>
                  <a:lnTo>
                    <a:pt x="1786" y="202"/>
                  </a:lnTo>
                  <a:lnTo>
                    <a:pt x="1780" y="202"/>
                  </a:lnTo>
                  <a:lnTo>
                    <a:pt x="1780" y="202"/>
                  </a:lnTo>
                  <a:lnTo>
                    <a:pt x="1780" y="202"/>
                  </a:lnTo>
                  <a:lnTo>
                    <a:pt x="1774" y="196"/>
                  </a:lnTo>
                  <a:lnTo>
                    <a:pt x="1780" y="196"/>
                  </a:lnTo>
                  <a:lnTo>
                    <a:pt x="1780" y="196"/>
                  </a:lnTo>
                  <a:lnTo>
                    <a:pt x="1786" y="196"/>
                  </a:lnTo>
                  <a:lnTo>
                    <a:pt x="1780" y="196"/>
                  </a:lnTo>
                  <a:lnTo>
                    <a:pt x="1780" y="196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92"/>
                  </a:lnTo>
                  <a:lnTo>
                    <a:pt x="1780" y="186"/>
                  </a:lnTo>
                  <a:lnTo>
                    <a:pt x="1780" y="186"/>
                  </a:lnTo>
                  <a:lnTo>
                    <a:pt x="1786" y="186"/>
                  </a:lnTo>
                  <a:lnTo>
                    <a:pt x="1792" y="186"/>
                  </a:lnTo>
                  <a:lnTo>
                    <a:pt x="1786" y="186"/>
                  </a:lnTo>
                  <a:lnTo>
                    <a:pt x="1786" y="180"/>
                  </a:lnTo>
                  <a:lnTo>
                    <a:pt x="1780" y="180"/>
                  </a:lnTo>
                  <a:lnTo>
                    <a:pt x="1786" y="180"/>
                  </a:lnTo>
                  <a:lnTo>
                    <a:pt x="1792" y="180"/>
                  </a:lnTo>
                  <a:lnTo>
                    <a:pt x="1792" y="180"/>
                  </a:lnTo>
                  <a:lnTo>
                    <a:pt x="1792" y="174"/>
                  </a:lnTo>
                  <a:lnTo>
                    <a:pt x="1798" y="174"/>
                  </a:lnTo>
                  <a:lnTo>
                    <a:pt x="1798" y="180"/>
                  </a:lnTo>
                  <a:lnTo>
                    <a:pt x="1798" y="174"/>
                  </a:lnTo>
                  <a:lnTo>
                    <a:pt x="1802" y="174"/>
                  </a:lnTo>
                  <a:lnTo>
                    <a:pt x="1808" y="174"/>
                  </a:lnTo>
                  <a:lnTo>
                    <a:pt x="1808" y="174"/>
                  </a:lnTo>
                  <a:lnTo>
                    <a:pt x="1808" y="180"/>
                  </a:lnTo>
                  <a:lnTo>
                    <a:pt x="1814" y="180"/>
                  </a:lnTo>
                  <a:lnTo>
                    <a:pt x="1820" y="180"/>
                  </a:lnTo>
                  <a:lnTo>
                    <a:pt x="1820" y="180"/>
                  </a:lnTo>
                  <a:lnTo>
                    <a:pt x="1820" y="180"/>
                  </a:lnTo>
                  <a:lnTo>
                    <a:pt x="1820" y="186"/>
                  </a:lnTo>
                  <a:lnTo>
                    <a:pt x="1826" y="186"/>
                  </a:lnTo>
                  <a:lnTo>
                    <a:pt x="1832" y="186"/>
                  </a:lnTo>
                  <a:lnTo>
                    <a:pt x="1832" y="192"/>
                  </a:lnTo>
                  <a:lnTo>
                    <a:pt x="1832" y="192"/>
                  </a:lnTo>
                  <a:lnTo>
                    <a:pt x="1838" y="192"/>
                  </a:lnTo>
                  <a:lnTo>
                    <a:pt x="1838" y="186"/>
                  </a:lnTo>
                  <a:lnTo>
                    <a:pt x="1838" y="180"/>
                  </a:lnTo>
                  <a:lnTo>
                    <a:pt x="1838" y="180"/>
                  </a:lnTo>
                  <a:lnTo>
                    <a:pt x="1844" y="180"/>
                  </a:lnTo>
                  <a:lnTo>
                    <a:pt x="1844" y="180"/>
                  </a:lnTo>
                  <a:lnTo>
                    <a:pt x="1844" y="174"/>
                  </a:lnTo>
                  <a:lnTo>
                    <a:pt x="1844" y="174"/>
                  </a:lnTo>
                  <a:lnTo>
                    <a:pt x="1844" y="174"/>
                  </a:lnTo>
                  <a:lnTo>
                    <a:pt x="1850" y="180"/>
                  </a:lnTo>
                  <a:lnTo>
                    <a:pt x="1856" y="180"/>
                  </a:lnTo>
                  <a:lnTo>
                    <a:pt x="1856" y="180"/>
                  </a:lnTo>
                  <a:lnTo>
                    <a:pt x="1860" y="180"/>
                  </a:lnTo>
                  <a:lnTo>
                    <a:pt x="1860" y="186"/>
                  </a:lnTo>
                  <a:lnTo>
                    <a:pt x="1866" y="186"/>
                  </a:lnTo>
                  <a:lnTo>
                    <a:pt x="1872" y="186"/>
                  </a:lnTo>
                  <a:lnTo>
                    <a:pt x="1872" y="186"/>
                  </a:lnTo>
                  <a:lnTo>
                    <a:pt x="1878" y="180"/>
                  </a:lnTo>
                  <a:lnTo>
                    <a:pt x="1884" y="186"/>
                  </a:lnTo>
                  <a:lnTo>
                    <a:pt x="1884" y="186"/>
                  </a:lnTo>
                  <a:lnTo>
                    <a:pt x="1890" y="192"/>
                  </a:lnTo>
                  <a:lnTo>
                    <a:pt x="1896" y="192"/>
                  </a:lnTo>
                  <a:lnTo>
                    <a:pt x="1896" y="192"/>
                  </a:lnTo>
                  <a:lnTo>
                    <a:pt x="1902" y="192"/>
                  </a:lnTo>
                  <a:lnTo>
                    <a:pt x="1902" y="192"/>
                  </a:lnTo>
                  <a:lnTo>
                    <a:pt x="1908" y="192"/>
                  </a:lnTo>
                  <a:lnTo>
                    <a:pt x="1902" y="192"/>
                  </a:lnTo>
                  <a:lnTo>
                    <a:pt x="1896" y="192"/>
                  </a:lnTo>
                  <a:lnTo>
                    <a:pt x="1896" y="192"/>
                  </a:lnTo>
                  <a:lnTo>
                    <a:pt x="1896" y="196"/>
                  </a:lnTo>
                  <a:lnTo>
                    <a:pt x="1896" y="202"/>
                  </a:lnTo>
                  <a:lnTo>
                    <a:pt x="1896" y="202"/>
                  </a:lnTo>
                  <a:lnTo>
                    <a:pt x="1896" y="202"/>
                  </a:lnTo>
                  <a:lnTo>
                    <a:pt x="1896" y="202"/>
                  </a:lnTo>
                  <a:lnTo>
                    <a:pt x="1890" y="202"/>
                  </a:lnTo>
                  <a:lnTo>
                    <a:pt x="1884" y="202"/>
                  </a:lnTo>
                  <a:lnTo>
                    <a:pt x="1884" y="208"/>
                  </a:lnTo>
                  <a:lnTo>
                    <a:pt x="1884" y="208"/>
                  </a:lnTo>
                  <a:lnTo>
                    <a:pt x="1884" y="202"/>
                  </a:lnTo>
                  <a:lnTo>
                    <a:pt x="1878" y="202"/>
                  </a:lnTo>
                  <a:lnTo>
                    <a:pt x="1872" y="202"/>
                  </a:lnTo>
                  <a:lnTo>
                    <a:pt x="1872" y="202"/>
                  </a:lnTo>
                  <a:lnTo>
                    <a:pt x="1866" y="202"/>
                  </a:lnTo>
                  <a:lnTo>
                    <a:pt x="1866" y="202"/>
                  </a:lnTo>
                  <a:lnTo>
                    <a:pt x="1860" y="202"/>
                  </a:lnTo>
                  <a:lnTo>
                    <a:pt x="1860" y="196"/>
                  </a:lnTo>
                  <a:lnTo>
                    <a:pt x="1860" y="192"/>
                  </a:lnTo>
                  <a:lnTo>
                    <a:pt x="1866" y="192"/>
                  </a:lnTo>
                  <a:lnTo>
                    <a:pt x="1872" y="192"/>
                  </a:lnTo>
                  <a:lnTo>
                    <a:pt x="1866" y="192"/>
                  </a:lnTo>
                  <a:lnTo>
                    <a:pt x="1866" y="186"/>
                  </a:lnTo>
                  <a:lnTo>
                    <a:pt x="1860" y="186"/>
                  </a:lnTo>
                  <a:lnTo>
                    <a:pt x="1860" y="192"/>
                  </a:lnTo>
                  <a:lnTo>
                    <a:pt x="1856" y="192"/>
                  </a:lnTo>
                  <a:lnTo>
                    <a:pt x="1856" y="192"/>
                  </a:lnTo>
                  <a:lnTo>
                    <a:pt x="1856" y="192"/>
                  </a:lnTo>
                  <a:lnTo>
                    <a:pt x="1856" y="196"/>
                  </a:lnTo>
                  <a:lnTo>
                    <a:pt x="1856" y="196"/>
                  </a:lnTo>
                  <a:lnTo>
                    <a:pt x="1856" y="202"/>
                  </a:lnTo>
                  <a:lnTo>
                    <a:pt x="1860" y="202"/>
                  </a:lnTo>
                  <a:lnTo>
                    <a:pt x="1866" y="202"/>
                  </a:lnTo>
                  <a:lnTo>
                    <a:pt x="1872" y="202"/>
                  </a:lnTo>
                  <a:lnTo>
                    <a:pt x="1872" y="208"/>
                  </a:lnTo>
                  <a:lnTo>
                    <a:pt x="1878" y="208"/>
                  </a:lnTo>
                  <a:lnTo>
                    <a:pt x="1872" y="214"/>
                  </a:lnTo>
                  <a:lnTo>
                    <a:pt x="1872" y="208"/>
                  </a:lnTo>
                  <a:lnTo>
                    <a:pt x="1872" y="208"/>
                  </a:lnTo>
                  <a:lnTo>
                    <a:pt x="1872" y="214"/>
                  </a:lnTo>
                  <a:lnTo>
                    <a:pt x="1866" y="214"/>
                  </a:lnTo>
                  <a:lnTo>
                    <a:pt x="1866" y="208"/>
                  </a:lnTo>
                  <a:lnTo>
                    <a:pt x="1860" y="208"/>
                  </a:lnTo>
                  <a:lnTo>
                    <a:pt x="1860" y="214"/>
                  </a:lnTo>
                  <a:lnTo>
                    <a:pt x="1866" y="214"/>
                  </a:lnTo>
                  <a:lnTo>
                    <a:pt x="1860" y="214"/>
                  </a:lnTo>
                  <a:lnTo>
                    <a:pt x="1860" y="214"/>
                  </a:lnTo>
                  <a:close/>
                  <a:moveTo>
                    <a:pt x="2012" y="180"/>
                  </a:moveTo>
                  <a:lnTo>
                    <a:pt x="2012" y="174"/>
                  </a:lnTo>
                  <a:lnTo>
                    <a:pt x="2018" y="174"/>
                  </a:lnTo>
                  <a:lnTo>
                    <a:pt x="2018" y="180"/>
                  </a:lnTo>
                  <a:lnTo>
                    <a:pt x="2012" y="180"/>
                  </a:lnTo>
                  <a:lnTo>
                    <a:pt x="2012" y="180"/>
                  </a:lnTo>
                  <a:close/>
                  <a:moveTo>
                    <a:pt x="1838" y="180"/>
                  </a:moveTo>
                  <a:lnTo>
                    <a:pt x="1838" y="174"/>
                  </a:lnTo>
                  <a:lnTo>
                    <a:pt x="1838" y="180"/>
                  </a:lnTo>
                  <a:lnTo>
                    <a:pt x="1838" y="180"/>
                  </a:lnTo>
                  <a:close/>
                  <a:moveTo>
                    <a:pt x="1176" y="180"/>
                  </a:moveTo>
                  <a:lnTo>
                    <a:pt x="1170" y="180"/>
                  </a:lnTo>
                  <a:lnTo>
                    <a:pt x="1170" y="180"/>
                  </a:lnTo>
                  <a:lnTo>
                    <a:pt x="1166" y="180"/>
                  </a:lnTo>
                  <a:lnTo>
                    <a:pt x="1166" y="180"/>
                  </a:lnTo>
                  <a:lnTo>
                    <a:pt x="1176" y="180"/>
                  </a:lnTo>
                  <a:lnTo>
                    <a:pt x="1176" y="180"/>
                  </a:lnTo>
                  <a:close/>
                  <a:moveTo>
                    <a:pt x="962" y="180"/>
                  </a:moveTo>
                  <a:lnTo>
                    <a:pt x="956" y="180"/>
                  </a:lnTo>
                  <a:lnTo>
                    <a:pt x="950" y="180"/>
                  </a:lnTo>
                  <a:lnTo>
                    <a:pt x="944" y="180"/>
                  </a:lnTo>
                  <a:lnTo>
                    <a:pt x="950" y="180"/>
                  </a:lnTo>
                  <a:lnTo>
                    <a:pt x="950" y="180"/>
                  </a:lnTo>
                  <a:lnTo>
                    <a:pt x="956" y="180"/>
                  </a:lnTo>
                  <a:lnTo>
                    <a:pt x="956" y="180"/>
                  </a:lnTo>
                  <a:lnTo>
                    <a:pt x="962" y="180"/>
                  </a:lnTo>
                  <a:lnTo>
                    <a:pt x="962" y="180"/>
                  </a:lnTo>
                  <a:lnTo>
                    <a:pt x="962" y="180"/>
                  </a:lnTo>
                  <a:lnTo>
                    <a:pt x="962" y="180"/>
                  </a:lnTo>
                  <a:close/>
                  <a:moveTo>
                    <a:pt x="938" y="180"/>
                  </a:moveTo>
                  <a:lnTo>
                    <a:pt x="944" y="180"/>
                  </a:lnTo>
                  <a:lnTo>
                    <a:pt x="944" y="180"/>
                  </a:lnTo>
                  <a:lnTo>
                    <a:pt x="944" y="180"/>
                  </a:lnTo>
                  <a:lnTo>
                    <a:pt x="938" y="180"/>
                  </a:lnTo>
                  <a:lnTo>
                    <a:pt x="934" y="180"/>
                  </a:lnTo>
                  <a:lnTo>
                    <a:pt x="938" y="180"/>
                  </a:lnTo>
                  <a:lnTo>
                    <a:pt x="938" y="180"/>
                  </a:lnTo>
                  <a:close/>
                  <a:moveTo>
                    <a:pt x="1756" y="196"/>
                  </a:moveTo>
                  <a:lnTo>
                    <a:pt x="1756" y="192"/>
                  </a:lnTo>
                  <a:lnTo>
                    <a:pt x="1756" y="192"/>
                  </a:lnTo>
                  <a:lnTo>
                    <a:pt x="1756" y="192"/>
                  </a:lnTo>
                  <a:lnTo>
                    <a:pt x="1756" y="192"/>
                  </a:lnTo>
                  <a:lnTo>
                    <a:pt x="1756" y="186"/>
                  </a:lnTo>
                  <a:lnTo>
                    <a:pt x="1756" y="180"/>
                  </a:lnTo>
                  <a:lnTo>
                    <a:pt x="1756" y="186"/>
                  </a:lnTo>
                  <a:lnTo>
                    <a:pt x="1762" y="192"/>
                  </a:lnTo>
                  <a:lnTo>
                    <a:pt x="1768" y="192"/>
                  </a:lnTo>
                  <a:lnTo>
                    <a:pt x="1762" y="192"/>
                  </a:lnTo>
                  <a:lnTo>
                    <a:pt x="1762" y="196"/>
                  </a:lnTo>
                  <a:lnTo>
                    <a:pt x="1756" y="196"/>
                  </a:lnTo>
                  <a:lnTo>
                    <a:pt x="1756" y="196"/>
                  </a:lnTo>
                  <a:lnTo>
                    <a:pt x="1756" y="196"/>
                  </a:lnTo>
                  <a:close/>
                  <a:moveTo>
                    <a:pt x="1918" y="192"/>
                  </a:moveTo>
                  <a:lnTo>
                    <a:pt x="1918" y="192"/>
                  </a:lnTo>
                  <a:lnTo>
                    <a:pt x="1924" y="192"/>
                  </a:lnTo>
                  <a:lnTo>
                    <a:pt x="1918" y="196"/>
                  </a:lnTo>
                  <a:lnTo>
                    <a:pt x="1924" y="196"/>
                  </a:lnTo>
                  <a:lnTo>
                    <a:pt x="1930" y="196"/>
                  </a:lnTo>
                  <a:lnTo>
                    <a:pt x="1930" y="196"/>
                  </a:lnTo>
                  <a:lnTo>
                    <a:pt x="1930" y="196"/>
                  </a:lnTo>
                  <a:lnTo>
                    <a:pt x="1930" y="196"/>
                  </a:lnTo>
                  <a:lnTo>
                    <a:pt x="1936" y="196"/>
                  </a:lnTo>
                  <a:lnTo>
                    <a:pt x="1936" y="192"/>
                  </a:lnTo>
                  <a:lnTo>
                    <a:pt x="1936" y="196"/>
                  </a:lnTo>
                  <a:lnTo>
                    <a:pt x="1942" y="196"/>
                  </a:lnTo>
                  <a:lnTo>
                    <a:pt x="1942" y="196"/>
                  </a:lnTo>
                  <a:lnTo>
                    <a:pt x="1948" y="196"/>
                  </a:lnTo>
                  <a:lnTo>
                    <a:pt x="1954" y="196"/>
                  </a:lnTo>
                  <a:lnTo>
                    <a:pt x="1948" y="196"/>
                  </a:lnTo>
                  <a:lnTo>
                    <a:pt x="1948" y="202"/>
                  </a:lnTo>
                  <a:lnTo>
                    <a:pt x="1954" y="202"/>
                  </a:lnTo>
                  <a:lnTo>
                    <a:pt x="1960" y="202"/>
                  </a:lnTo>
                  <a:lnTo>
                    <a:pt x="1960" y="202"/>
                  </a:lnTo>
                  <a:lnTo>
                    <a:pt x="1966" y="202"/>
                  </a:lnTo>
                  <a:lnTo>
                    <a:pt x="1972" y="202"/>
                  </a:lnTo>
                  <a:lnTo>
                    <a:pt x="1972" y="202"/>
                  </a:lnTo>
                  <a:lnTo>
                    <a:pt x="1976" y="202"/>
                  </a:lnTo>
                  <a:lnTo>
                    <a:pt x="1982" y="202"/>
                  </a:lnTo>
                  <a:lnTo>
                    <a:pt x="1982" y="202"/>
                  </a:lnTo>
                  <a:lnTo>
                    <a:pt x="1988" y="202"/>
                  </a:lnTo>
                  <a:lnTo>
                    <a:pt x="1982" y="202"/>
                  </a:lnTo>
                  <a:lnTo>
                    <a:pt x="1982" y="208"/>
                  </a:lnTo>
                  <a:lnTo>
                    <a:pt x="1982" y="214"/>
                  </a:lnTo>
                  <a:lnTo>
                    <a:pt x="1982" y="214"/>
                  </a:lnTo>
                  <a:lnTo>
                    <a:pt x="1976" y="214"/>
                  </a:lnTo>
                  <a:lnTo>
                    <a:pt x="1972" y="214"/>
                  </a:lnTo>
                  <a:lnTo>
                    <a:pt x="1972" y="214"/>
                  </a:lnTo>
                  <a:lnTo>
                    <a:pt x="1966" y="214"/>
                  </a:lnTo>
                  <a:lnTo>
                    <a:pt x="1960" y="214"/>
                  </a:lnTo>
                  <a:lnTo>
                    <a:pt x="1960" y="214"/>
                  </a:lnTo>
                  <a:lnTo>
                    <a:pt x="1954" y="214"/>
                  </a:lnTo>
                  <a:lnTo>
                    <a:pt x="1948" y="214"/>
                  </a:lnTo>
                  <a:lnTo>
                    <a:pt x="1942" y="214"/>
                  </a:lnTo>
                  <a:lnTo>
                    <a:pt x="1942" y="214"/>
                  </a:lnTo>
                  <a:lnTo>
                    <a:pt x="1942" y="208"/>
                  </a:lnTo>
                  <a:lnTo>
                    <a:pt x="1936" y="208"/>
                  </a:lnTo>
                  <a:lnTo>
                    <a:pt x="1930" y="208"/>
                  </a:lnTo>
                  <a:lnTo>
                    <a:pt x="1930" y="208"/>
                  </a:lnTo>
                  <a:lnTo>
                    <a:pt x="1930" y="202"/>
                  </a:lnTo>
                  <a:lnTo>
                    <a:pt x="1924" y="202"/>
                  </a:lnTo>
                  <a:lnTo>
                    <a:pt x="1918" y="202"/>
                  </a:lnTo>
                  <a:lnTo>
                    <a:pt x="1918" y="202"/>
                  </a:lnTo>
                  <a:lnTo>
                    <a:pt x="1918" y="202"/>
                  </a:lnTo>
                  <a:lnTo>
                    <a:pt x="1914" y="202"/>
                  </a:lnTo>
                  <a:lnTo>
                    <a:pt x="1918" y="202"/>
                  </a:lnTo>
                  <a:lnTo>
                    <a:pt x="1918" y="196"/>
                  </a:lnTo>
                  <a:lnTo>
                    <a:pt x="1918" y="192"/>
                  </a:lnTo>
                  <a:lnTo>
                    <a:pt x="1918" y="192"/>
                  </a:lnTo>
                  <a:lnTo>
                    <a:pt x="1918" y="192"/>
                  </a:lnTo>
                  <a:close/>
                  <a:moveTo>
                    <a:pt x="944" y="192"/>
                  </a:moveTo>
                  <a:lnTo>
                    <a:pt x="944" y="192"/>
                  </a:lnTo>
                  <a:lnTo>
                    <a:pt x="944" y="196"/>
                  </a:lnTo>
                  <a:lnTo>
                    <a:pt x="944" y="196"/>
                  </a:lnTo>
                  <a:lnTo>
                    <a:pt x="944" y="196"/>
                  </a:lnTo>
                  <a:lnTo>
                    <a:pt x="944" y="202"/>
                  </a:lnTo>
                  <a:lnTo>
                    <a:pt x="944" y="196"/>
                  </a:lnTo>
                  <a:lnTo>
                    <a:pt x="938" y="196"/>
                  </a:lnTo>
                  <a:lnTo>
                    <a:pt x="938" y="202"/>
                  </a:lnTo>
                  <a:lnTo>
                    <a:pt x="934" y="196"/>
                  </a:lnTo>
                  <a:lnTo>
                    <a:pt x="938" y="196"/>
                  </a:lnTo>
                  <a:lnTo>
                    <a:pt x="938" y="192"/>
                  </a:lnTo>
                  <a:lnTo>
                    <a:pt x="938" y="196"/>
                  </a:lnTo>
                  <a:lnTo>
                    <a:pt x="944" y="196"/>
                  </a:lnTo>
                  <a:lnTo>
                    <a:pt x="944" y="192"/>
                  </a:lnTo>
                  <a:lnTo>
                    <a:pt x="944" y="192"/>
                  </a:lnTo>
                  <a:lnTo>
                    <a:pt x="944" y="192"/>
                  </a:lnTo>
                  <a:close/>
                  <a:moveTo>
                    <a:pt x="1020" y="208"/>
                  </a:moveTo>
                  <a:lnTo>
                    <a:pt x="1026" y="208"/>
                  </a:lnTo>
                  <a:lnTo>
                    <a:pt x="1020" y="208"/>
                  </a:lnTo>
                  <a:lnTo>
                    <a:pt x="1020" y="214"/>
                  </a:lnTo>
                  <a:lnTo>
                    <a:pt x="1020" y="208"/>
                  </a:lnTo>
                  <a:lnTo>
                    <a:pt x="1014" y="208"/>
                  </a:lnTo>
                  <a:lnTo>
                    <a:pt x="1014" y="214"/>
                  </a:lnTo>
                  <a:lnTo>
                    <a:pt x="1020" y="214"/>
                  </a:lnTo>
                  <a:lnTo>
                    <a:pt x="1014" y="214"/>
                  </a:lnTo>
                  <a:lnTo>
                    <a:pt x="1014" y="214"/>
                  </a:lnTo>
                  <a:lnTo>
                    <a:pt x="1008" y="214"/>
                  </a:lnTo>
                  <a:lnTo>
                    <a:pt x="1008" y="208"/>
                  </a:lnTo>
                  <a:lnTo>
                    <a:pt x="1014" y="208"/>
                  </a:lnTo>
                  <a:lnTo>
                    <a:pt x="1014" y="214"/>
                  </a:lnTo>
                  <a:lnTo>
                    <a:pt x="1014" y="208"/>
                  </a:lnTo>
                  <a:lnTo>
                    <a:pt x="1014" y="208"/>
                  </a:lnTo>
                  <a:lnTo>
                    <a:pt x="1014" y="208"/>
                  </a:lnTo>
                  <a:lnTo>
                    <a:pt x="1020" y="208"/>
                  </a:lnTo>
                  <a:lnTo>
                    <a:pt x="1020" y="208"/>
                  </a:lnTo>
                  <a:close/>
                  <a:moveTo>
                    <a:pt x="996" y="214"/>
                  </a:moveTo>
                  <a:lnTo>
                    <a:pt x="996" y="214"/>
                  </a:lnTo>
                  <a:lnTo>
                    <a:pt x="996" y="214"/>
                  </a:lnTo>
                  <a:lnTo>
                    <a:pt x="996" y="214"/>
                  </a:lnTo>
                  <a:lnTo>
                    <a:pt x="992" y="214"/>
                  </a:lnTo>
                  <a:lnTo>
                    <a:pt x="992" y="214"/>
                  </a:lnTo>
                  <a:lnTo>
                    <a:pt x="996" y="214"/>
                  </a:lnTo>
                  <a:lnTo>
                    <a:pt x="996" y="214"/>
                  </a:lnTo>
                  <a:close/>
                  <a:moveTo>
                    <a:pt x="898" y="220"/>
                  </a:moveTo>
                  <a:lnTo>
                    <a:pt x="904" y="220"/>
                  </a:lnTo>
                  <a:lnTo>
                    <a:pt x="904" y="214"/>
                  </a:lnTo>
                  <a:lnTo>
                    <a:pt x="904" y="220"/>
                  </a:lnTo>
                  <a:lnTo>
                    <a:pt x="910" y="220"/>
                  </a:lnTo>
                  <a:lnTo>
                    <a:pt x="904" y="220"/>
                  </a:lnTo>
                  <a:lnTo>
                    <a:pt x="898" y="220"/>
                  </a:lnTo>
                  <a:lnTo>
                    <a:pt x="898" y="220"/>
                  </a:lnTo>
                  <a:close/>
                  <a:moveTo>
                    <a:pt x="996" y="220"/>
                  </a:moveTo>
                  <a:lnTo>
                    <a:pt x="996" y="226"/>
                  </a:lnTo>
                  <a:lnTo>
                    <a:pt x="992" y="226"/>
                  </a:lnTo>
                  <a:lnTo>
                    <a:pt x="992" y="220"/>
                  </a:lnTo>
                  <a:lnTo>
                    <a:pt x="996" y="220"/>
                  </a:lnTo>
                  <a:lnTo>
                    <a:pt x="996" y="220"/>
                  </a:lnTo>
                  <a:lnTo>
                    <a:pt x="996" y="220"/>
                  </a:lnTo>
                  <a:close/>
                  <a:moveTo>
                    <a:pt x="1408" y="232"/>
                  </a:moveTo>
                  <a:lnTo>
                    <a:pt x="1408" y="232"/>
                  </a:lnTo>
                  <a:lnTo>
                    <a:pt x="1402" y="232"/>
                  </a:lnTo>
                  <a:lnTo>
                    <a:pt x="1396" y="232"/>
                  </a:lnTo>
                  <a:lnTo>
                    <a:pt x="1396" y="232"/>
                  </a:lnTo>
                  <a:lnTo>
                    <a:pt x="1396" y="232"/>
                  </a:lnTo>
                  <a:lnTo>
                    <a:pt x="1392" y="232"/>
                  </a:lnTo>
                  <a:lnTo>
                    <a:pt x="1392" y="226"/>
                  </a:lnTo>
                  <a:lnTo>
                    <a:pt x="1396" y="226"/>
                  </a:lnTo>
                  <a:lnTo>
                    <a:pt x="1396" y="226"/>
                  </a:lnTo>
                  <a:lnTo>
                    <a:pt x="1396" y="220"/>
                  </a:lnTo>
                  <a:lnTo>
                    <a:pt x="1402" y="220"/>
                  </a:lnTo>
                  <a:lnTo>
                    <a:pt x="1408" y="220"/>
                  </a:lnTo>
                  <a:lnTo>
                    <a:pt x="1414" y="220"/>
                  </a:lnTo>
                  <a:lnTo>
                    <a:pt x="1420" y="220"/>
                  </a:lnTo>
                  <a:lnTo>
                    <a:pt x="1420" y="226"/>
                  </a:lnTo>
                  <a:lnTo>
                    <a:pt x="1420" y="232"/>
                  </a:lnTo>
                  <a:lnTo>
                    <a:pt x="1414" y="232"/>
                  </a:lnTo>
                  <a:lnTo>
                    <a:pt x="1414" y="232"/>
                  </a:lnTo>
                  <a:lnTo>
                    <a:pt x="1408" y="232"/>
                  </a:lnTo>
                  <a:lnTo>
                    <a:pt x="1408" y="232"/>
                  </a:lnTo>
                  <a:close/>
                  <a:moveTo>
                    <a:pt x="986" y="220"/>
                  </a:moveTo>
                  <a:lnTo>
                    <a:pt x="986" y="220"/>
                  </a:lnTo>
                  <a:lnTo>
                    <a:pt x="986" y="226"/>
                  </a:lnTo>
                  <a:lnTo>
                    <a:pt x="986" y="226"/>
                  </a:lnTo>
                  <a:lnTo>
                    <a:pt x="986" y="226"/>
                  </a:lnTo>
                  <a:lnTo>
                    <a:pt x="986" y="226"/>
                  </a:lnTo>
                  <a:lnTo>
                    <a:pt x="980" y="226"/>
                  </a:lnTo>
                  <a:lnTo>
                    <a:pt x="986" y="226"/>
                  </a:lnTo>
                  <a:lnTo>
                    <a:pt x="986" y="220"/>
                  </a:lnTo>
                  <a:lnTo>
                    <a:pt x="986" y="220"/>
                  </a:lnTo>
                  <a:close/>
                  <a:moveTo>
                    <a:pt x="1460" y="232"/>
                  </a:moveTo>
                  <a:lnTo>
                    <a:pt x="1460" y="226"/>
                  </a:lnTo>
                  <a:lnTo>
                    <a:pt x="1460" y="226"/>
                  </a:lnTo>
                  <a:lnTo>
                    <a:pt x="1460" y="232"/>
                  </a:lnTo>
                  <a:lnTo>
                    <a:pt x="1460" y="232"/>
                  </a:lnTo>
                  <a:lnTo>
                    <a:pt x="1460" y="232"/>
                  </a:lnTo>
                  <a:close/>
                  <a:moveTo>
                    <a:pt x="1832" y="244"/>
                  </a:moveTo>
                  <a:lnTo>
                    <a:pt x="1832" y="238"/>
                  </a:lnTo>
                  <a:lnTo>
                    <a:pt x="1826" y="238"/>
                  </a:lnTo>
                  <a:lnTo>
                    <a:pt x="1826" y="232"/>
                  </a:lnTo>
                  <a:lnTo>
                    <a:pt x="1826" y="232"/>
                  </a:lnTo>
                  <a:lnTo>
                    <a:pt x="1832" y="232"/>
                  </a:lnTo>
                  <a:lnTo>
                    <a:pt x="1832" y="232"/>
                  </a:lnTo>
                  <a:lnTo>
                    <a:pt x="1838" y="232"/>
                  </a:lnTo>
                  <a:lnTo>
                    <a:pt x="1844" y="232"/>
                  </a:lnTo>
                  <a:lnTo>
                    <a:pt x="1838" y="232"/>
                  </a:lnTo>
                  <a:lnTo>
                    <a:pt x="1838" y="238"/>
                  </a:lnTo>
                  <a:lnTo>
                    <a:pt x="1832" y="238"/>
                  </a:lnTo>
                  <a:lnTo>
                    <a:pt x="1832" y="238"/>
                  </a:lnTo>
                  <a:lnTo>
                    <a:pt x="1832" y="244"/>
                  </a:lnTo>
                  <a:lnTo>
                    <a:pt x="1832" y="244"/>
                  </a:lnTo>
                  <a:close/>
                  <a:moveTo>
                    <a:pt x="1756" y="232"/>
                  </a:moveTo>
                  <a:lnTo>
                    <a:pt x="1756" y="232"/>
                  </a:lnTo>
                  <a:lnTo>
                    <a:pt x="1762" y="232"/>
                  </a:lnTo>
                  <a:lnTo>
                    <a:pt x="1768" y="238"/>
                  </a:lnTo>
                  <a:lnTo>
                    <a:pt x="1768" y="244"/>
                  </a:lnTo>
                  <a:lnTo>
                    <a:pt x="1762" y="244"/>
                  </a:lnTo>
                  <a:lnTo>
                    <a:pt x="1762" y="238"/>
                  </a:lnTo>
                  <a:lnTo>
                    <a:pt x="1756" y="238"/>
                  </a:lnTo>
                  <a:lnTo>
                    <a:pt x="1756" y="232"/>
                  </a:lnTo>
                  <a:lnTo>
                    <a:pt x="1756" y="232"/>
                  </a:lnTo>
                  <a:lnTo>
                    <a:pt x="1756" y="232"/>
                  </a:lnTo>
                  <a:lnTo>
                    <a:pt x="1756" y="232"/>
                  </a:lnTo>
                  <a:close/>
                  <a:moveTo>
                    <a:pt x="950" y="232"/>
                  </a:moveTo>
                  <a:lnTo>
                    <a:pt x="956" y="232"/>
                  </a:lnTo>
                  <a:lnTo>
                    <a:pt x="956" y="238"/>
                  </a:lnTo>
                  <a:lnTo>
                    <a:pt x="950" y="238"/>
                  </a:lnTo>
                  <a:lnTo>
                    <a:pt x="950" y="232"/>
                  </a:lnTo>
                  <a:lnTo>
                    <a:pt x="944" y="232"/>
                  </a:lnTo>
                  <a:lnTo>
                    <a:pt x="950" y="232"/>
                  </a:lnTo>
                  <a:lnTo>
                    <a:pt x="950" y="232"/>
                  </a:lnTo>
                  <a:close/>
                  <a:moveTo>
                    <a:pt x="956" y="232"/>
                  </a:moveTo>
                  <a:lnTo>
                    <a:pt x="962" y="232"/>
                  </a:lnTo>
                  <a:lnTo>
                    <a:pt x="962" y="232"/>
                  </a:lnTo>
                  <a:lnTo>
                    <a:pt x="968" y="232"/>
                  </a:lnTo>
                  <a:lnTo>
                    <a:pt x="962" y="232"/>
                  </a:lnTo>
                  <a:lnTo>
                    <a:pt x="962" y="238"/>
                  </a:lnTo>
                  <a:lnTo>
                    <a:pt x="968" y="238"/>
                  </a:lnTo>
                  <a:lnTo>
                    <a:pt x="962" y="238"/>
                  </a:lnTo>
                  <a:lnTo>
                    <a:pt x="962" y="232"/>
                  </a:lnTo>
                  <a:lnTo>
                    <a:pt x="962" y="232"/>
                  </a:lnTo>
                  <a:lnTo>
                    <a:pt x="956" y="232"/>
                  </a:lnTo>
                  <a:lnTo>
                    <a:pt x="956" y="232"/>
                  </a:lnTo>
                  <a:close/>
                  <a:moveTo>
                    <a:pt x="974" y="238"/>
                  </a:moveTo>
                  <a:lnTo>
                    <a:pt x="980" y="238"/>
                  </a:lnTo>
                  <a:lnTo>
                    <a:pt x="974" y="238"/>
                  </a:lnTo>
                  <a:lnTo>
                    <a:pt x="974" y="238"/>
                  </a:lnTo>
                  <a:lnTo>
                    <a:pt x="974" y="238"/>
                  </a:lnTo>
                  <a:lnTo>
                    <a:pt x="974" y="238"/>
                  </a:lnTo>
                  <a:close/>
                  <a:moveTo>
                    <a:pt x="1588" y="244"/>
                  </a:moveTo>
                  <a:lnTo>
                    <a:pt x="1588" y="238"/>
                  </a:lnTo>
                  <a:lnTo>
                    <a:pt x="1588" y="238"/>
                  </a:lnTo>
                  <a:lnTo>
                    <a:pt x="1588" y="238"/>
                  </a:lnTo>
                  <a:lnTo>
                    <a:pt x="1588" y="244"/>
                  </a:lnTo>
                  <a:lnTo>
                    <a:pt x="1588" y="244"/>
                  </a:lnTo>
                  <a:lnTo>
                    <a:pt x="1588" y="244"/>
                  </a:lnTo>
                  <a:lnTo>
                    <a:pt x="1588" y="244"/>
                  </a:lnTo>
                  <a:close/>
                  <a:moveTo>
                    <a:pt x="1844" y="244"/>
                  </a:moveTo>
                  <a:lnTo>
                    <a:pt x="1844" y="244"/>
                  </a:lnTo>
                  <a:lnTo>
                    <a:pt x="1850" y="244"/>
                  </a:lnTo>
                  <a:lnTo>
                    <a:pt x="1856" y="244"/>
                  </a:lnTo>
                  <a:lnTo>
                    <a:pt x="1856" y="244"/>
                  </a:lnTo>
                  <a:lnTo>
                    <a:pt x="1860" y="244"/>
                  </a:lnTo>
                  <a:lnTo>
                    <a:pt x="1866" y="244"/>
                  </a:lnTo>
                  <a:lnTo>
                    <a:pt x="1872" y="244"/>
                  </a:lnTo>
                  <a:lnTo>
                    <a:pt x="1872" y="250"/>
                  </a:lnTo>
                  <a:lnTo>
                    <a:pt x="1872" y="250"/>
                  </a:lnTo>
                  <a:lnTo>
                    <a:pt x="1872" y="254"/>
                  </a:lnTo>
                  <a:lnTo>
                    <a:pt x="1878" y="254"/>
                  </a:lnTo>
                  <a:lnTo>
                    <a:pt x="1872" y="254"/>
                  </a:lnTo>
                  <a:lnTo>
                    <a:pt x="1872" y="254"/>
                  </a:lnTo>
                  <a:lnTo>
                    <a:pt x="1878" y="254"/>
                  </a:lnTo>
                  <a:lnTo>
                    <a:pt x="1872" y="260"/>
                  </a:lnTo>
                  <a:lnTo>
                    <a:pt x="1872" y="260"/>
                  </a:lnTo>
                  <a:lnTo>
                    <a:pt x="1866" y="254"/>
                  </a:lnTo>
                  <a:lnTo>
                    <a:pt x="1860" y="254"/>
                  </a:lnTo>
                  <a:lnTo>
                    <a:pt x="1856" y="254"/>
                  </a:lnTo>
                  <a:lnTo>
                    <a:pt x="1856" y="254"/>
                  </a:lnTo>
                  <a:lnTo>
                    <a:pt x="1850" y="254"/>
                  </a:lnTo>
                  <a:lnTo>
                    <a:pt x="1844" y="254"/>
                  </a:lnTo>
                  <a:lnTo>
                    <a:pt x="1844" y="254"/>
                  </a:lnTo>
                  <a:lnTo>
                    <a:pt x="1838" y="254"/>
                  </a:lnTo>
                  <a:lnTo>
                    <a:pt x="1832" y="254"/>
                  </a:lnTo>
                  <a:lnTo>
                    <a:pt x="1832" y="254"/>
                  </a:lnTo>
                  <a:lnTo>
                    <a:pt x="1826" y="254"/>
                  </a:lnTo>
                  <a:lnTo>
                    <a:pt x="1820" y="254"/>
                  </a:lnTo>
                  <a:lnTo>
                    <a:pt x="1820" y="254"/>
                  </a:lnTo>
                  <a:lnTo>
                    <a:pt x="1820" y="254"/>
                  </a:lnTo>
                  <a:lnTo>
                    <a:pt x="1826" y="254"/>
                  </a:lnTo>
                  <a:lnTo>
                    <a:pt x="1832" y="254"/>
                  </a:lnTo>
                  <a:lnTo>
                    <a:pt x="1832" y="250"/>
                  </a:lnTo>
                  <a:lnTo>
                    <a:pt x="1832" y="250"/>
                  </a:lnTo>
                  <a:lnTo>
                    <a:pt x="1832" y="244"/>
                  </a:lnTo>
                  <a:lnTo>
                    <a:pt x="1838" y="244"/>
                  </a:lnTo>
                  <a:lnTo>
                    <a:pt x="1844" y="244"/>
                  </a:lnTo>
                  <a:lnTo>
                    <a:pt x="1844" y="244"/>
                  </a:lnTo>
                  <a:close/>
                  <a:moveTo>
                    <a:pt x="1606" y="250"/>
                  </a:moveTo>
                  <a:lnTo>
                    <a:pt x="1612" y="250"/>
                  </a:lnTo>
                  <a:lnTo>
                    <a:pt x="1606" y="250"/>
                  </a:lnTo>
                  <a:lnTo>
                    <a:pt x="1606" y="250"/>
                  </a:lnTo>
                  <a:close/>
                  <a:moveTo>
                    <a:pt x="922" y="254"/>
                  </a:moveTo>
                  <a:lnTo>
                    <a:pt x="916" y="250"/>
                  </a:lnTo>
                  <a:lnTo>
                    <a:pt x="922" y="250"/>
                  </a:lnTo>
                  <a:lnTo>
                    <a:pt x="922" y="254"/>
                  </a:lnTo>
                  <a:lnTo>
                    <a:pt x="922" y="254"/>
                  </a:lnTo>
                  <a:close/>
                  <a:moveTo>
                    <a:pt x="1628" y="250"/>
                  </a:moveTo>
                  <a:lnTo>
                    <a:pt x="1634" y="250"/>
                  </a:lnTo>
                  <a:lnTo>
                    <a:pt x="1640" y="250"/>
                  </a:lnTo>
                  <a:lnTo>
                    <a:pt x="1640" y="254"/>
                  </a:lnTo>
                  <a:lnTo>
                    <a:pt x="1640" y="254"/>
                  </a:lnTo>
                  <a:lnTo>
                    <a:pt x="1634" y="250"/>
                  </a:lnTo>
                  <a:lnTo>
                    <a:pt x="1628" y="250"/>
                  </a:lnTo>
                  <a:lnTo>
                    <a:pt x="1628" y="250"/>
                  </a:lnTo>
                  <a:close/>
                  <a:moveTo>
                    <a:pt x="760" y="266"/>
                  </a:moveTo>
                  <a:lnTo>
                    <a:pt x="760" y="260"/>
                  </a:lnTo>
                  <a:lnTo>
                    <a:pt x="764" y="260"/>
                  </a:lnTo>
                  <a:lnTo>
                    <a:pt x="764" y="254"/>
                  </a:lnTo>
                  <a:lnTo>
                    <a:pt x="764" y="254"/>
                  </a:lnTo>
                  <a:lnTo>
                    <a:pt x="760" y="254"/>
                  </a:lnTo>
                  <a:lnTo>
                    <a:pt x="764" y="254"/>
                  </a:lnTo>
                  <a:lnTo>
                    <a:pt x="770" y="254"/>
                  </a:lnTo>
                  <a:lnTo>
                    <a:pt x="770" y="254"/>
                  </a:lnTo>
                  <a:lnTo>
                    <a:pt x="776" y="250"/>
                  </a:lnTo>
                  <a:lnTo>
                    <a:pt x="782" y="254"/>
                  </a:lnTo>
                  <a:lnTo>
                    <a:pt x="776" y="254"/>
                  </a:lnTo>
                  <a:lnTo>
                    <a:pt x="782" y="254"/>
                  </a:lnTo>
                  <a:lnTo>
                    <a:pt x="782" y="254"/>
                  </a:lnTo>
                  <a:lnTo>
                    <a:pt x="788" y="254"/>
                  </a:lnTo>
                  <a:lnTo>
                    <a:pt x="788" y="260"/>
                  </a:lnTo>
                  <a:lnTo>
                    <a:pt x="782" y="260"/>
                  </a:lnTo>
                  <a:lnTo>
                    <a:pt x="782" y="260"/>
                  </a:lnTo>
                  <a:lnTo>
                    <a:pt x="776" y="260"/>
                  </a:lnTo>
                  <a:lnTo>
                    <a:pt x="770" y="260"/>
                  </a:lnTo>
                  <a:lnTo>
                    <a:pt x="770" y="266"/>
                  </a:lnTo>
                  <a:lnTo>
                    <a:pt x="770" y="266"/>
                  </a:lnTo>
                  <a:lnTo>
                    <a:pt x="764" y="266"/>
                  </a:lnTo>
                  <a:lnTo>
                    <a:pt x="764" y="260"/>
                  </a:lnTo>
                  <a:lnTo>
                    <a:pt x="764" y="266"/>
                  </a:lnTo>
                  <a:lnTo>
                    <a:pt x="760" y="266"/>
                  </a:lnTo>
                  <a:lnTo>
                    <a:pt x="760" y="266"/>
                  </a:lnTo>
                  <a:close/>
                  <a:moveTo>
                    <a:pt x="510" y="312"/>
                  </a:moveTo>
                  <a:lnTo>
                    <a:pt x="516" y="308"/>
                  </a:lnTo>
                  <a:lnTo>
                    <a:pt x="522" y="308"/>
                  </a:lnTo>
                  <a:lnTo>
                    <a:pt x="516" y="308"/>
                  </a:lnTo>
                  <a:lnTo>
                    <a:pt x="510" y="308"/>
                  </a:lnTo>
                  <a:lnTo>
                    <a:pt x="510" y="312"/>
                  </a:lnTo>
                  <a:lnTo>
                    <a:pt x="510" y="308"/>
                  </a:lnTo>
                  <a:lnTo>
                    <a:pt x="510" y="308"/>
                  </a:lnTo>
                  <a:lnTo>
                    <a:pt x="510" y="308"/>
                  </a:lnTo>
                  <a:lnTo>
                    <a:pt x="510" y="308"/>
                  </a:lnTo>
                  <a:lnTo>
                    <a:pt x="504" y="308"/>
                  </a:lnTo>
                  <a:lnTo>
                    <a:pt x="498" y="308"/>
                  </a:lnTo>
                  <a:lnTo>
                    <a:pt x="498" y="308"/>
                  </a:lnTo>
                  <a:lnTo>
                    <a:pt x="498" y="308"/>
                  </a:lnTo>
                  <a:lnTo>
                    <a:pt x="498" y="308"/>
                  </a:lnTo>
                  <a:lnTo>
                    <a:pt x="492" y="308"/>
                  </a:lnTo>
                  <a:lnTo>
                    <a:pt x="492" y="308"/>
                  </a:lnTo>
                  <a:lnTo>
                    <a:pt x="492" y="308"/>
                  </a:lnTo>
                  <a:lnTo>
                    <a:pt x="486" y="308"/>
                  </a:lnTo>
                  <a:lnTo>
                    <a:pt x="486" y="308"/>
                  </a:lnTo>
                  <a:lnTo>
                    <a:pt x="480" y="302"/>
                  </a:lnTo>
                  <a:lnTo>
                    <a:pt x="480" y="296"/>
                  </a:lnTo>
                  <a:lnTo>
                    <a:pt x="480" y="296"/>
                  </a:lnTo>
                  <a:lnTo>
                    <a:pt x="486" y="296"/>
                  </a:lnTo>
                  <a:lnTo>
                    <a:pt x="486" y="290"/>
                  </a:lnTo>
                  <a:lnTo>
                    <a:pt x="486" y="290"/>
                  </a:lnTo>
                  <a:lnTo>
                    <a:pt x="492" y="290"/>
                  </a:lnTo>
                  <a:lnTo>
                    <a:pt x="492" y="296"/>
                  </a:lnTo>
                  <a:lnTo>
                    <a:pt x="498" y="296"/>
                  </a:lnTo>
                  <a:lnTo>
                    <a:pt x="498" y="290"/>
                  </a:lnTo>
                  <a:lnTo>
                    <a:pt x="498" y="284"/>
                  </a:lnTo>
                  <a:lnTo>
                    <a:pt x="498" y="284"/>
                  </a:lnTo>
                  <a:lnTo>
                    <a:pt x="498" y="278"/>
                  </a:lnTo>
                  <a:lnTo>
                    <a:pt x="504" y="278"/>
                  </a:lnTo>
                  <a:lnTo>
                    <a:pt x="504" y="278"/>
                  </a:lnTo>
                  <a:lnTo>
                    <a:pt x="498" y="278"/>
                  </a:lnTo>
                  <a:lnTo>
                    <a:pt x="504" y="272"/>
                  </a:lnTo>
                  <a:lnTo>
                    <a:pt x="504" y="278"/>
                  </a:lnTo>
                  <a:lnTo>
                    <a:pt x="510" y="278"/>
                  </a:lnTo>
                  <a:lnTo>
                    <a:pt x="504" y="272"/>
                  </a:lnTo>
                  <a:lnTo>
                    <a:pt x="498" y="272"/>
                  </a:lnTo>
                  <a:lnTo>
                    <a:pt x="498" y="272"/>
                  </a:lnTo>
                  <a:lnTo>
                    <a:pt x="498" y="266"/>
                  </a:lnTo>
                  <a:lnTo>
                    <a:pt x="504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6"/>
                  </a:lnTo>
                  <a:lnTo>
                    <a:pt x="510" y="260"/>
                  </a:lnTo>
                  <a:lnTo>
                    <a:pt x="510" y="254"/>
                  </a:lnTo>
                  <a:lnTo>
                    <a:pt x="516" y="254"/>
                  </a:lnTo>
                  <a:lnTo>
                    <a:pt x="522" y="254"/>
                  </a:lnTo>
                  <a:lnTo>
                    <a:pt x="528" y="254"/>
                  </a:lnTo>
                  <a:lnTo>
                    <a:pt x="528" y="254"/>
                  </a:lnTo>
                  <a:lnTo>
                    <a:pt x="528" y="254"/>
                  </a:lnTo>
                  <a:lnTo>
                    <a:pt x="532" y="254"/>
                  </a:lnTo>
                  <a:lnTo>
                    <a:pt x="538" y="254"/>
                  </a:lnTo>
                  <a:lnTo>
                    <a:pt x="538" y="254"/>
                  </a:lnTo>
                  <a:lnTo>
                    <a:pt x="544" y="254"/>
                  </a:lnTo>
                  <a:lnTo>
                    <a:pt x="550" y="254"/>
                  </a:lnTo>
                  <a:lnTo>
                    <a:pt x="550" y="254"/>
                  </a:lnTo>
                  <a:lnTo>
                    <a:pt x="556" y="254"/>
                  </a:lnTo>
                  <a:lnTo>
                    <a:pt x="556" y="260"/>
                  </a:lnTo>
                  <a:lnTo>
                    <a:pt x="562" y="260"/>
                  </a:lnTo>
                  <a:lnTo>
                    <a:pt x="556" y="260"/>
                  </a:lnTo>
                  <a:lnTo>
                    <a:pt x="550" y="260"/>
                  </a:lnTo>
                  <a:lnTo>
                    <a:pt x="550" y="266"/>
                  </a:lnTo>
                  <a:lnTo>
                    <a:pt x="550" y="266"/>
                  </a:lnTo>
                  <a:lnTo>
                    <a:pt x="556" y="266"/>
                  </a:lnTo>
                  <a:lnTo>
                    <a:pt x="550" y="266"/>
                  </a:lnTo>
                  <a:lnTo>
                    <a:pt x="550" y="266"/>
                  </a:lnTo>
                  <a:lnTo>
                    <a:pt x="544" y="266"/>
                  </a:lnTo>
                  <a:lnTo>
                    <a:pt x="550" y="266"/>
                  </a:lnTo>
                  <a:lnTo>
                    <a:pt x="550" y="266"/>
                  </a:lnTo>
                  <a:lnTo>
                    <a:pt x="550" y="266"/>
                  </a:lnTo>
                  <a:lnTo>
                    <a:pt x="550" y="272"/>
                  </a:lnTo>
                  <a:lnTo>
                    <a:pt x="550" y="272"/>
                  </a:lnTo>
                  <a:lnTo>
                    <a:pt x="550" y="266"/>
                  </a:lnTo>
                  <a:lnTo>
                    <a:pt x="550" y="272"/>
                  </a:lnTo>
                  <a:lnTo>
                    <a:pt x="544" y="272"/>
                  </a:lnTo>
                  <a:lnTo>
                    <a:pt x="544" y="266"/>
                  </a:lnTo>
                  <a:lnTo>
                    <a:pt x="538" y="272"/>
                  </a:lnTo>
                  <a:lnTo>
                    <a:pt x="544" y="272"/>
                  </a:lnTo>
                  <a:lnTo>
                    <a:pt x="550" y="272"/>
                  </a:lnTo>
                  <a:lnTo>
                    <a:pt x="544" y="278"/>
                  </a:lnTo>
                  <a:lnTo>
                    <a:pt x="538" y="278"/>
                  </a:lnTo>
                  <a:lnTo>
                    <a:pt x="544" y="278"/>
                  </a:lnTo>
                  <a:lnTo>
                    <a:pt x="544" y="278"/>
                  </a:lnTo>
                  <a:lnTo>
                    <a:pt x="538" y="278"/>
                  </a:lnTo>
                  <a:lnTo>
                    <a:pt x="538" y="278"/>
                  </a:lnTo>
                  <a:lnTo>
                    <a:pt x="538" y="278"/>
                  </a:lnTo>
                  <a:lnTo>
                    <a:pt x="544" y="278"/>
                  </a:lnTo>
                  <a:lnTo>
                    <a:pt x="538" y="284"/>
                  </a:lnTo>
                  <a:lnTo>
                    <a:pt x="544" y="284"/>
                  </a:lnTo>
                  <a:lnTo>
                    <a:pt x="544" y="290"/>
                  </a:lnTo>
                  <a:lnTo>
                    <a:pt x="538" y="290"/>
                  </a:lnTo>
                  <a:lnTo>
                    <a:pt x="538" y="296"/>
                  </a:lnTo>
                  <a:lnTo>
                    <a:pt x="538" y="296"/>
                  </a:lnTo>
                  <a:lnTo>
                    <a:pt x="544" y="296"/>
                  </a:lnTo>
                  <a:lnTo>
                    <a:pt x="544" y="302"/>
                  </a:lnTo>
                  <a:lnTo>
                    <a:pt x="544" y="308"/>
                  </a:lnTo>
                  <a:lnTo>
                    <a:pt x="550" y="308"/>
                  </a:lnTo>
                  <a:lnTo>
                    <a:pt x="550" y="308"/>
                  </a:lnTo>
                  <a:lnTo>
                    <a:pt x="550" y="312"/>
                  </a:lnTo>
                  <a:lnTo>
                    <a:pt x="550" y="318"/>
                  </a:lnTo>
                  <a:lnTo>
                    <a:pt x="556" y="318"/>
                  </a:lnTo>
                  <a:lnTo>
                    <a:pt x="562" y="318"/>
                  </a:lnTo>
                  <a:lnTo>
                    <a:pt x="562" y="324"/>
                  </a:lnTo>
                  <a:lnTo>
                    <a:pt x="568" y="324"/>
                  </a:lnTo>
                  <a:lnTo>
                    <a:pt x="574" y="324"/>
                  </a:lnTo>
                  <a:lnTo>
                    <a:pt x="574" y="330"/>
                  </a:lnTo>
                  <a:lnTo>
                    <a:pt x="574" y="330"/>
                  </a:lnTo>
                  <a:lnTo>
                    <a:pt x="574" y="330"/>
                  </a:lnTo>
                  <a:lnTo>
                    <a:pt x="568" y="330"/>
                  </a:lnTo>
                  <a:lnTo>
                    <a:pt x="568" y="330"/>
                  </a:lnTo>
                  <a:lnTo>
                    <a:pt x="562" y="330"/>
                  </a:lnTo>
                  <a:lnTo>
                    <a:pt x="562" y="330"/>
                  </a:lnTo>
                  <a:lnTo>
                    <a:pt x="562" y="330"/>
                  </a:lnTo>
                  <a:lnTo>
                    <a:pt x="568" y="330"/>
                  </a:lnTo>
                  <a:lnTo>
                    <a:pt x="574" y="330"/>
                  </a:lnTo>
                  <a:lnTo>
                    <a:pt x="568" y="330"/>
                  </a:lnTo>
                  <a:lnTo>
                    <a:pt x="562" y="330"/>
                  </a:lnTo>
                  <a:lnTo>
                    <a:pt x="562" y="330"/>
                  </a:lnTo>
                  <a:lnTo>
                    <a:pt x="556" y="330"/>
                  </a:lnTo>
                  <a:lnTo>
                    <a:pt x="562" y="330"/>
                  </a:lnTo>
                  <a:lnTo>
                    <a:pt x="556" y="330"/>
                  </a:lnTo>
                  <a:lnTo>
                    <a:pt x="550" y="330"/>
                  </a:lnTo>
                  <a:lnTo>
                    <a:pt x="556" y="330"/>
                  </a:lnTo>
                  <a:lnTo>
                    <a:pt x="556" y="330"/>
                  </a:lnTo>
                  <a:lnTo>
                    <a:pt x="562" y="330"/>
                  </a:lnTo>
                  <a:lnTo>
                    <a:pt x="556" y="330"/>
                  </a:lnTo>
                  <a:lnTo>
                    <a:pt x="562" y="330"/>
                  </a:lnTo>
                  <a:lnTo>
                    <a:pt x="556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44" y="330"/>
                  </a:lnTo>
                  <a:lnTo>
                    <a:pt x="550" y="330"/>
                  </a:lnTo>
                  <a:lnTo>
                    <a:pt x="550" y="330"/>
                  </a:lnTo>
                  <a:lnTo>
                    <a:pt x="544" y="330"/>
                  </a:lnTo>
                  <a:lnTo>
                    <a:pt x="538" y="330"/>
                  </a:lnTo>
                  <a:lnTo>
                    <a:pt x="538" y="330"/>
                  </a:lnTo>
                  <a:lnTo>
                    <a:pt x="538" y="330"/>
                  </a:lnTo>
                  <a:lnTo>
                    <a:pt x="532" y="330"/>
                  </a:lnTo>
                  <a:lnTo>
                    <a:pt x="528" y="330"/>
                  </a:lnTo>
                  <a:lnTo>
                    <a:pt x="532" y="330"/>
                  </a:lnTo>
                  <a:lnTo>
                    <a:pt x="528" y="330"/>
                  </a:lnTo>
                  <a:lnTo>
                    <a:pt x="528" y="330"/>
                  </a:lnTo>
                  <a:lnTo>
                    <a:pt x="522" y="330"/>
                  </a:lnTo>
                  <a:lnTo>
                    <a:pt x="516" y="324"/>
                  </a:lnTo>
                  <a:lnTo>
                    <a:pt x="516" y="330"/>
                  </a:lnTo>
                  <a:lnTo>
                    <a:pt x="516" y="324"/>
                  </a:lnTo>
                  <a:lnTo>
                    <a:pt x="510" y="324"/>
                  </a:lnTo>
                  <a:lnTo>
                    <a:pt x="516" y="324"/>
                  </a:lnTo>
                  <a:lnTo>
                    <a:pt x="516" y="318"/>
                  </a:lnTo>
                  <a:lnTo>
                    <a:pt x="510" y="318"/>
                  </a:lnTo>
                  <a:lnTo>
                    <a:pt x="510" y="318"/>
                  </a:lnTo>
                  <a:lnTo>
                    <a:pt x="516" y="318"/>
                  </a:lnTo>
                  <a:lnTo>
                    <a:pt x="522" y="318"/>
                  </a:lnTo>
                  <a:lnTo>
                    <a:pt x="528" y="318"/>
                  </a:lnTo>
                  <a:lnTo>
                    <a:pt x="522" y="318"/>
                  </a:lnTo>
                  <a:lnTo>
                    <a:pt x="516" y="318"/>
                  </a:lnTo>
                  <a:lnTo>
                    <a:pt x="510" y="318"/>
                  </a:lnTo>
                  <a:lnTo>
                    <a:pt x="510" y="312"/>
                  </a:lnTo>
                  <a:lnTo>
                    <a:pt x="510" y="312"/>
                  </a:lnTo>
                  <a:close/>
                  <a:moveTo>
                    <a:pt x="1518" y="266"/>
                  </a:moveTo>
                  <a:lnTo>
                    <a:pt x="1512" y="260"/>
                  </a:lnTo>
                  <a:lnTo>
                    <a:pt x="1518" y="260"/>
                  </a:lnTo>
                  <a:lnTo>
                    <a:pt x="1524" y="260"/>
                  </a:lnTo>
                  <a:lnTo>
                    <a:pt x="1524" y="266"/>
                  </a:lnTo>
                  <a:lnTo>
                    <a:pt x="1518" y="266"/>
                  </a:lnTo>
                  <a:lnTo>
                    <a:pt x="1518" y="266"/>
                  </a:lnTo>
                  <a:close/>
                  <a:moveTo>
                    <a:pt x="898" y="266"/>
                  </a:moveTo>
                  <a:lnTo>
                    <a:pt x="898" y="266"/>
                  </a:lnTo>
                  <a:lnTo>
                    <a:pt x="898" y="266"/>
                  </a:lnTo>
                  <a:lnTo>
                    <a:pt x="898" y="260"/>
                  </a:lnTo>
                  <a:lnTo>
                    <a:pt x="904" y="260"/>
                  </a:lnTo>
                  <a:lnTo>
                    <a:pt x="904" y="266"/>
                  </a:lnTo>
                  <a:lnTo>
                    <a:pt x="910" y="266"/>
                  </a:lnTo>
                  <a:lnTo>
                    <a:pt x="910" y="272"/>
                  </a:lnTo>
                  <a:lnTo>
                    <a:pt x="904" y="272"/>
                  </a:lnTo>
                  <a:lnTo>
                    <a:pt x="898" y="272"/>
                  </a:lnTo>
                  <a:lnTo>
                    <a:pt x="898" y="272"/>
                  </a:lnTo>
                  <a:lnTo>
                    <a:pt x="892" y="266"/>
                  </a:lnTo>
                  <a:lnTo>
                    <a:pt x="898" y="266"/>
                  </a:lnTo>
                  <a:lnTo>
                    <a:pt x="898" y="266"/>
                  </a:lnTo>
                  <a:close/>
                  <a:moveTo>
                    <a:pt x="870" y="284"/>
                  </a:moveTo>
                  <a:lnTo>
                    <a:pt x="870" y="278"/>
                  </a:lnTo>
                  <a:lnTo>
                    <a:pt x="870" y="278"/>
                  </a:lnTo>
                  <a:lnTo>
                    <a:pt x="870" y="278"/>
                  </a:lnTo>
                  <a:lnTo>
                    <a:pt x="876" y="278"/>
                  </a:lnTo>
                  <a:lnTo>
                    <a:pt x="880" y="278"/>
                  </a:lnTo>
                  <a:lnTo>
                    <a:pt x="880" y="278"/>
                  </a:lnTo>
                  <a:lnTo>
                    <a:pt x="886" y="278"/>
                  </a:lnTo>
                  <a:lnTo>
                    <a:pt x="886" y="278"/>
                  </a:lnTo>
                  <a:lnTo>
                    <a:pt x="880" y="278"/>
                  </a:lnTo>
                  <a:lnTo>
                    <a:pt x="880" y="284"/>
                  </a:lnTo>
                  <a:lnTo>
                    <a:pt x="880" y="284"/>
                  </a:lnTo>
                  <a:lnTo>
                    <a:pt x="876" y="284"/>
                  </a:lnTo>
                  <a:lnTo>
                    <a:pt x="870" y="284"/>
                  </a:lnTo>
                  <a:lnTo>
                    <a:pt x="870" y="284"/>
                  </a:lnTo>
                  <a:lnTo>
                    <a:pt x="870" y="284"/>
                  </a:lnTo>
                  <a:close/>
                  <a:moveTo>
                    <a:pt x="1798" y="308"/>
                  </a:moveTo>
                  <a:lnTo>
                    <a:pt x="1798" y="302"/>
                  </a:lnTo>
                  <a:lnTo>
                    <a:pt x="1802" y="302"/>
                  </a:lnTo>
                  <a:lnTo>
                    <a:pt x="1802" y="308"/>
                  </a:lnTo>
                  <a:lnTo>
                    <a:pt x="1798" y="308"/>
                  </a:lnTo>
                  <a:lnTo>
                    <a:pt x="1798" y="308"/>
                  </a:lnTo>
                  <a:close/>
                  <a:moveTo>
                    <a:pt x="1792" y="308"/>
                  </a:moveTo>
                  <a:lnTo>
                    <a:pt x="1792" y="308"/>
                  </a:lnTo>
                  <a:lnTo>
                    <a:pt x="1786" y="308"/>
                  </a:lnTo>
                  <a:lnTo>
                    <a:pt x="1780" y="308"/>
                  </a:lnTo>
                  <a:lnTo>
                    <a:pt x="1780" y="308"/>
                  </a:lnTo>
                  <a:lnTo>
                    <a:pt x="1780" y="308"/>
                  </a:lnTo>
                  <a:lnTo>
                    <a:pt x="1780" y="308"/>
                  </a:lnTo>
                  <a:lnTo>
                    <a:pt x="1786" y="308"/>
                  </a:lnTo>
                  <a:lnTo>
                    <a:pt x="1792" y="308"/>
                  </a:lnTo>
                  <a:lnTo>
                    <a:pt x="1792" y="308"/>
                  </a:lnTo>
                  <a:lnTo>
                    <a:pt x="1792" y="308"/>
                  </a:lnTo>
                  <a:close/>
                  <a:moveTo>
                    <a:pt x="504" y="318"/>
                  </a:moveTo>
                  <a:lnTo>
                    <a:pt x="498" y="318"/>
                  </a:lnTo>
                  <a:lnTo>
                    <a:pt x="498" y="312"/>
                  </a:lnTo>
                  <a:lnTo>
                    <a:pt x="498" y="312"/>
                  </a:lnTo>
                  <a:lnTo>
                    <a:pt x="492" y="312"/>
                  </a:lnTo>
                  <a:lnTo>
                    <a:pt x="498" y="312"/>
                  </a:lnTo>
                  <a:lnTo>
                    <a:pt x="498" y="308"/>
                  </a:lnTo>
                  <a:lnTo>
                    <a:pt x="498" y="308"/>
                  </a:lnTo>
                  <a:lnTo>
                    <a:pt x="504" y="308"/>
                  </a:lnTo>
                  <a:lnTo>
                    <a:pt x="504" y="312"/>
                  </a:lnTo>
                  <a:lnTo>
                    <a:pt x="498" y="312"/>
                  </a:lnTo>
                  <a:lnTo>
                    <a:pt x="498" y="308"/>
                  </a:lnTo>
                  <a:lnTo>
                    <a:pt x="498" y="312"/>
                  </a:lnTo>
                  <a:lnTo>
                    <a:pt x="504" y="312"/>
                  </a:lnTo>
                  <a:lnTo>
                    <a:pt x="510" y="312"/>
                  </a:lnTo>
                  <a:lnTo>
                    <a:pt x="504" y="312"/>
                  </a:lnTo>
                  <a:lnTo>
                    <a:pt x="510" y="312"/>
                  </a:lnTo>
                  <a:lnTo>
                    <a:pt x="510" y="318"/>
                  </a:lnTo>
                  <a:lnTo>
                    <a:pt x="510" y="318"/>
                  </a:lnTo>
                  <a:lnTo>
                    <a:pt x="504" y="318"/>
                  </a:lnTo>
                  <a:lnTo>
                    <a:pt x="504" y="318"/>
                  </a:lnTo>
                  <a:lnTo>
                    <a:pt x="510" y="318"/>
                  </a:lnTo>
                  <a:lnTo>
                    <a:pt x="504" y="318"/>
                  </a:lnTo>
                  <a:lnTo>
                    <a:pt x="504" y="318"/>
                  </a:lnTo>
                  <a:close/>
                  <a:moveTo>
                    <a:pt x="2150" y="330"/>
                  </a:moveTo>
                  <a:lnTo>
                    <a:pt x="2150" y="330"/>
                  </a:lnTo>
                  <a:lnTo>
                    <a:pt x="2150" y="324"/>
                  </a:lnTo>
                  <a:lnTo>
                    <a:pt x="2150" y="324"/>
                  </a:lnTo>
                  <a:lnTo>
                    <a:pt x="2150" y="330"/>
                  </a:lnTo>
                  <a:lnTo>
                    <a:pt x="2150" y="330"/>
                  </a:lnTo>
                  <a:close/>
                  <a:moveTo>
                    <a:pt x="608" y="360"/>
                  </a:moveTo>
                  <a:lnTo>
                    <a:pt x="602" y="360"/>
                  </a:lnTo>
                  <a:lnTo>
                    <a:pt x="602" y="354"/>
                  </a:lnTo>
                  <a:lnTo>
                    <a:pt x="602" y="354"/>
                  </a:lnTo>
                  <a:lnTo>
                    <a:pt x="596" y="354"/>
                  </a:lnTo>
                  <a:lnTo>
                    <a:pt x="596" y="348"/>
                  </a:lnTo>
                  <a:lnTo>
                    <a:pt x="596" y="354"/>
                  </a:lnTo>
                  <a:lnTo>
                    <a:pt x="590" y="348"/>
                  </a:lnTo>
                  <a:lnTo>
                    <a:pt x="590" y="348"/>
                  </a:lnTo>
                  <a:lnTo>
                    <a:pt x="590" y="342"/>
                  </a:lnTo>
                  <a:lnTo>
                    <a:pt x="590" y="342"/>
                  </a:lnTo>
                  <a:lnTo>
                    <a:pt x="590" y="342"/>
                  </a:lnTo>
                  <a:lnTo>
                    <a:pt x="590" y="336"/>
                  </a:lnTo>
                  <a:lnTo>
                    <a:pt x="596" y="336"/>
                  </a:lnTo>
                  <a:lnTo>
                    <a:pt x="602" y="336"/>
                  </a:lnTo>
                  <a:lnTo>
                    <a:pt x="602" y="342"/>
                  </a:lnTo>
                  <a:lnTo>
                    <a:pt x="602" y="342"/>
                  </a:lnTo>
                  <a:lnTo>
                    <a:pt x="602" y="342"/>
                  </a:lnTo>
                  <a:lnTo>
                    <a:pt x="608" y="342"/>
                  </a:lnTo>
                  <a:lnTo>
                    <a:pt x="614" y="348"/>
                  </a:lnTo>
                  <a:lnTo>
                    <a:pt x="614" y="348"/>
                  </a:lnTo>
                  <a:lnTo>
                    <a:pt x="620" y="354"/>
                  </a:lnTo>
                  <a:lnTo>
                    <a:pt x="614" y="360"/>
                  </a:lnTo>
                  <a:lnTo>
                    <a:pt x="614" y="360"/>
                  </a:lnTo>
                  <a:lnTo>
                    <a:pt x="608" y="360"/>
                  </a:lnTo>
                  <a:lnTo>
                    <a:pt x="608" y="360"/>
                  </a:lnTo>
                  <a:close/>
                  <a:moveTo>
                    <a:pt x="2266" y="360"/>
                  </a:moveTo>
                  <a:lnTo>
                    <a:pt x="2266" y="360"/>
                  </a:lnTo>
                  <a:lnTo>
                    <a:pt x="2266" y="360"/>
                  </a:lnTo>
                  <a:lnTo>
                    <a:pt x="2262" y="360"/>
                  </a:lnTo>
                  <a:lnTo>
                    <a:pt x="2256" y="360"/>
                  </a:lnTo>
                  <a:lnTo>
                    <a:pt x="2250" y="360"/>
                  </a:lnTo>
                  <a:lnTo>
                    <a:pt x="2250" y="360"/>
                  </a:lnTo>
                  <a:lnTo>
                    <a:pt x="2244" y="354"/>
                  </a:lnTo>
                  <a:lnTo>
                    <a:pt x="2244" y="348"/>
                  </a:lnTo>
                  <a:lnTo>
                    <a:pt x="2250" y="348"/>
                  </a:lnTo>
                  <a:lnTo>
                    <a:pt x="2250" y="348"/>
                  </a:lnTo>
                  <a:lnTo>
                    <a:pt x="2256" y="348"/>
                  </a:lnTo>
                  <a:lnTo>
                    <a:pt x="2262" y="348"/>
                  </a:lnTo>
                  <a:lnTo>
                    <a:pt x="2262" y="354"/>
                  </a:lnTo>
                  <a:lnTo>
                    <a:pt x="2266" y="354"/>
                  </a:lnTo>
                  <a:lnTo>
                    <a:pt x="2266" y="354"/>
                  </a:lnTo>
                  <a:lnTo>
                    <a:pt x="2266" y="360"/>
                  </a:lnTo>
                  <a:lnTo>
                    <a:pt x="2266" y="360"/>
                  </a:lnTo>
                  <a:close/>
                  <a:moveTo>
                    <a:pt x="2150" y="360"/>
                  </a:moveTo>
                  <a:lnTo>
                    <a:pt x="2150" y="360"/>
                  </a:lnTo>
                  <a:lnTo>
                    <a:pt x="2150" y="360"/>
                  </a:lnTo>
                  <a:lnTo>
                    <a:pt x="2150" y="360"/>
                  </a:lnTo>
                  <a:lnTo>
                    <a:pt x="2150" y="360"/>
                  </a:lnTo>
                  <a:lnTo>
                    <a:pt x="2150" y="360"/>
                  </a:lnTo>
                  <a:close/>
                  <a:moveTo>
                    <a:pt x="2146" y="366"/>
                  </a:moveTo>
                  <a:lnTo>
                    <a:pt x="2150" y="366"/>
                  </a:lnTo>
                  <a:lnTo>
                    <a:pt x="2150" y="360"/>
                  </a:lnTo>
                  <a:lnTo>
                    <a:pt x="2146" y="360"/>
                  </a:lnTo>
                  <a:lnTo>
                    <a:pt x="2150" y="360"/>
                  </a:lnTo>
                  <a:lnTo>
                    <a:pt x="2150" y="360"/>
                  </a:lnTo>
                  <a:lnTo>
                    <a:pt x="2150" y="366"/>
                  </a:lnTo>
                  <a:lnTo>
                    <a:pt x="2146" y="366"/>
                  </a:lnTo>
                  <a:lnTo>
                    <a:pt x="2146" y="366"/>
                  </a:lnTo>
                  <a:close/>
                  <a:moveTo>
                    <a:pt x="718" y="360"/>
                  </a:moveTo>
                  <a:lnTo>
                    <a:pt x="718" y="360"/>
                  </a:lnTo>
                  <a:lnTo>
                    <a:pt x="724" y="360"/>
                  </a:lnTo>
                  <a:lnTo>
                    <a:pt x="718" y="366"/>
                  </a:lnTo>
                  <a:lnTo>
                    <a:pt x="718" y="366"/>
                  </a:lnTo>
                  <a:lnTo>
                    <a:pt x="718" y="360"/>
                  </a:lnTo>
                  <a:lnTo>
                    <a:pt x="718" y="360"/>
                  </a:lnTo>
                  <a:close/>
                  <a:moveTo>
                    <a:pt x="2150" y="376"/>
                  </a:moveTo>
                  <a:lnTo>
                    <a:pt x="2146" y="376"/>
                  </a:lnTo>
                  <a:lnTo>
                    <a:pt x="2146" y="372"/>
                  </a:lnTo>
                  <a:lnTo>
                    <a:pt x="2140" y="372"/>
                  </a:lnTo>
                  <a:lnTo>
                    <a:pt x="2140" y="372"/>
                  </a:lnTo>
                  <a:lnTo>
                    <a:pt x="2146" y="372"/>
                  </a:lnTo>
                  <a:lnTo>
                    <a:pt x="2146" y="366"/>
                  </a:lnTo>
                  <a:lnTo>
                    <a:pt x="2140" y="366"/>
                  </a:lnTo>
                  <a:lnTo>
                    <a:pt x="2146" y="360"/>
                  </a:lnTo>
                  <a:lnTo>
                    <a:pt x="2146" y="366"/>
                  </a:lnTo>
                  <a:lnTo>
                    <a:pt x="2146" y="372"/>
                  </a:lnTo>
                  <a:lnTo>
                    <a:pt x="2146" y="372"/>
                  </a:lnTo>
                  <a:lnTo>
                    <a:pt x="2150" y="372"/>
                  </a:lnTo>
                  <a:lnTo>
                    <a:pt x="2150" y="376"/>
                  </a:lnTo>
                  <a:lnTo>
                    <a:pt x="2150" y="376"/>
                  </a:lnTo>
                  <a:close/>
                  <a:moveTo>
                    <a:pt x="434" y="372"/>
                  </a:moveTo>
                  <a:lnTo>
                    <a:pt x="434" y="372"/>
                  </a:lnTo>
                  <a:lnTo>
                    <a:pt x="440" y="372"/>
                  </a:lnTo>
                  <a:lnTo>
                    <a:pt x="440" y="366"/>
                  </a:lnTo>
                  <a:lnTo>
                    <a:pt x="440" y="366"/>
                  </a:lnTo>
                  <a:lnTo>
                    <a:pt x="440" y="360"/>
                  </a:lnTo>
                  <a:lnTo>
                    <a:pt x="446" y="360"/>
                  </a:lnTo>
                  <a:lnTo>
                    <a:pt x="452" y="360"/>
                  </a:lnTo>
                  <a:lnTo>
                    <a:pt x="452" y="366"/>
                  </a:lnTo>
                  <a:lnTo>
                    <a:pt x="458" y="366"/>
                  </a:lnTo>
                  <a:lnTo>
                    <a:pt x="464" y="372"/>
                  </a:lnTo>
                  <a:lnTo>
                    <a:pt x="464" y="372"/>
                  </a:lnTo>
                  <a:lnTo>
                    <a:pt x="464" y="376"/>
                  </a:lnTo>
                  <a:lnTo>
                    <a:pt x="464" y="372"/>
                  </a:lnTo>
                  <a:lnTo>
                    <a:pt x="464" y="372"/>
                  </a:lnTo>
                  <a:lnTo>
                    <a:pt x="464" y="372"/>
                  </a:lnTo>
                  <a:lnTo>
                    <a:pt x="458" y="376"/>
                  </a:lnTo>
                  <a:lnTo>
                    <a:pt x="458" y="382"/>
                  </a:lnTo>
                  <a:lnTo>
                    <a:pt x="452" y="382"/>
                  </a:lnTo>
                  <a:lnTo>
                    <a:pt x="452" y="382"/>
                  </a:lnTo>
                  <a:lnTo>
                    <a:pt x="446" y="382"/>
                  </a:lnTo>
                  <a:lnTo>
                    <a:pt x="440" y="382"/>
                  </a:lnTo>
                  <a:lnTo>
                    <a:pt x="440" y="382"/>
                  </a:lnTo>
                  <a:lnTo>
                    <a:pt x="434" y="376"/>
                  </a:lnTo>
                  <a:lnTo>
                    <a:pt x="434" y="372"/>
                  </a:lnTo>
                  <a:lnTo>
                    <a:pt x="434" y="372"/>
                  </a:lnTo>
                  <a:close/>
                  <a:moveTo>
                    <a:pt x="220" y="366"/>
                  </a:moveTo>
                  <a:lnTo>
                    <a:pt x="226" y="366"/>
                  </a:lnTo>
                  <a:lnTo>
                    <a:pt x="220" y="366"/>
                  </a:lnTo>
                  <a:lnTo>
                    <a:pt x="220" y="366"/>
                  </a:lnTo>
                  <a:lnTo>
                    <a:pt x="220" y="366"/>
                  </a:lnTo>
                  <a:lnTo>
                    <a:pt x="220" y="366"/>
                  </a:lnTo>
                  <a:close/>
                  <a:moveTo>
                    <a:pt x="702" y="372"/>
                  </a:moveTo>
                  <a:lnTo>
                    <a:pt x="706" y="372"/>
                  </a:lnTo>
                  <a:lnTo>
                    <a:pt x="706" y="372"/>
                  </a:lnTo>
                  <a:lnTo>
                    <a:pt x="706" y="376"/>
                  </a:lnTo>
                  <a:lnTo>
                    <a:pt x="712" y="376"/>
                  </a:lnTo>
                  <a:lnTo>
                    <a:pt x="706" y="376"/>
                  </a:lnTo>
                  <a:lnTo>
                    <a:pt x="706" y="372"/>
                  </a:lnTo>
                  <a:lnTo>
                    <a:pt x="702" y="372"/>
                  </a:lnTo>
                  <a:lnTo>
                    <a:pt x="702" y="372"/>
                  </a:lnTo>
                  <a:close/>
                  <a:moveTo>
                    <a:pt x="568" y="382"/>
                  </a:moveTo>
                  <a:lnTo>
                    <a:pt x="574" y="382"/>
                  </a:lnTo>
                  <a:lnTo>
                    <a:pt x="574" y="382"/>
                  </a:lnTo>
                  <a:lnTo>
                    <a:pt x="580" y="382"/>
                  </a:lnTo>
                  <a:lnTo>
                    <a:pt x="574" y="382"/>
                  </a:lnTo>
                  <a:lnTo>
                    <a:pt x="574" y="382"/>
                  </a:lnTo>
                  <a:lnTo>
                    <a:pt x="574" y="382"/>
                  </a:lnTo>
                  <a:lnTo>
                    <a:pt x="568" y="382"/>
                  </a:lnTo>
                  <a:lnTo>
                    <a:pt x="568" y="382"/>
                  </a:lnTo>
                  <a:lnTo>
                    <a:pt x="568" y="382"/>
                  </a:lnTo>
                  <a:close/>
                  <a:moveTo>
                    <a:pt x="474" y="394"/>
                  </a:moveTo>
                  <a:lnTo>
                    <a:pt x="474" y="388"/>
                  </a:lnTo>
                  <a:lnTo>
                    <a:pt x="474" y="388"/>
                  </a:lnTo>
                  <a:lnTo>
                    <a:pt x="480" y="388"/>
                  </a:lnTo>
                  <a:lnTo>
                    <a:pt x="474" y="388"/>
                  </a:lnTo>
                  <a:lnTo>
                    <a:pt x="474" y="394"/>
                  </a:lnTo>
                  <a:lnTo>
                    <a:pt x="474" y="394"/>
                  </a:lnTo>
                  <a:lnTo>
                    <a:pt x="474" y="394"/>
                  </a:lnTo>
                  <a:close/>
                  <a:moveTo>
                    <a:pt x="348" y="434"/>
                  </a:moveTo>
                  <a:lnTo>
                    <a:pt x="348" y="434"/>
                  </a:lnTo>
                  <a:lnTo>
                    <a:pt x="348" y="434"/>
                  </a:lnTo>
                  <a:lnTo>
                    <a:pt x="348" y="434"/>
                  </a:lnTo>
                  <a:lnTo>
                    <a:pt x="348" y="434"/>
                  </a:lnTo>
                  <a:lnTo>
                    <a:pt x="348" y="434"/>
                  </a:lnTo>
                  <a:close/>
                  <a:moveTo>
                    <a:pt x="244" y="476"/>
                  </a:moveTo>
                  <a:lnTo>
                    <a:pt x="244" y="482"/>
                  </a:lnTo>
                  <a:lnTo>
                    <a:pt x="244" y="482"/>
                  </a:lnTo>
                  <a:lnTo>
                    <a:pt x="244" y="476"/>
                  </a:lnTo>
                  <a:lnTo>
                    <a:pt x="244" y="476"/>
                  </a:lnTo>
                  <a:lnTo>
                    <a:pt x="244" y="476"/>
                  </a:lnTo>
                  <a:close/>
                  <a:moveTo>
                    <a:pt x="2584" y="488"/>
                  </a:moveTo>
                  <a:lnTo>
                    <a:pt x="2584" y="488"/>
                  </a:lnTo>
                  <a:lnTo>
                    <a:pt x="2590" y="488"/>
                  </a:lnTo>
                  <a:lnTo>
                    <a:pt x="2590" y="488"/>
                  </a:lnTo>
                  <a:lnTo>
                    <a:pt x="2590" y="488"/>
                  </a:lnTo>
                  <a:lnTo>
                    <a:pt x="2590" y="488"/>
                  </a:lnTo>
                  <a:lnTo>
                    <a:pt x="2584" y="488"/>
                  </a:lnTo>
                  <a:lnTo>
                    <a:pt x="2584" y="488"/>
                  </a:lnTo>
                  <a:close/>
                  <a:moveTo>
                    <a:pt x="2578" y="488"/>
                  </a:moveTo>
                  <a:lnTo>
                    <a:pt x="2584" y="488"/>
                  </a:lnTo>
                  <a:lnTo>
                    <a:pt x="2584" y="492"/>
                  </a:lnTo>
                  <a:lnTo>
                    <a:pt x="2584" y="488"/>
                  </a:lnTo>
                  <a:lnTo>
                    <a:pt x="2578" y="488"/>
                  </a:lnTo>
                  <a:lnTo>
                    <a:pt x="2578" y="488"/>
                  </a:lnTo>
                  <a:close/>
                  <a:moveTo>
                    <a:pt x="2180" y="638"/>
                  </a:moveTo>
                  <a:lnTo>
                    <a:pt x="2180" y="638"/>
                  </a:lnTo>
                  <a:lnTo>
                    <a:pt x="2180" y="638"/>
                  </a:lnTo>
                  <a:lnTo>
                    <a:pt x="2180" y="632"/>
                  </a:lnTo>
                  <a:lnTo>
                    <a:pt x="2186" y="632"/>
                  </a:lnTo>
                  <a:lnTo>
                    <a:pt x="2186" y="626"/>
                  </a:lnTo>
                  <a:lnTo>
                    <a:pt x="2180" y="626"/>
                  </a:lnTo>
                  <a:lnTo>
                    <a:pt x="2180" y="632"/>
                  </a:lnTo>
                  <a:lnTo>
                    <a:pt x="2180" y="626"/>
                  </a:lnTo>
                  <a:lnTo>
                    <a:pt x="2186" y="626"/>
                  </a:lnTo>
                  <a:lnTo>
                    <a:pt x="2192" y="626"/>
                  </a:lnTo>
                  <a:lnTo>
                    <a:pt x="2192" y="626"/>
                  </a:lnTo>
                  <a:lnTo>
                    <a:pt x="2192" y="626"/>
                  </a:lnTo>
                  <a:lnTo>
                    <a:pt x="2198" y="626"/>
                  </a:lnTo>
                  <a:lnTo>
                    <a:pt x="2198" y="626"/>
                  </a:lnTo>
                  <a:lnTo>
                    <a:pt x="2198" y="632"/>
                  </a:lnTo>
                  <a:lnTo>
                    <a:pt x="2192" y="632"/>
                  </a:lnTo>
                  <a:lnTo>
                    <a:pt x="2192" y="632"/>
                  </a:lnTo>
                  <a:lnTo>
                    <a:pt x="2192" y="638"/>
                  </a:lnTo>
                  <a:lnTo>
                    <a:pt x="2186" y="638"/>
                  </a:lnTo>
                  <a:lnTo>
                    <a:pt x="2180" y="638"/>
                  </a:lnTo>
                  <a:lnTo>
                    <a:pt x="2180" y="644"/>
                  </a:lnTo>
                  <a:lnTo>
                    <a:pt x="2180" y="638"/>
                  </a:lnTo>
                  <a:lnTo>
                    <a:pt x="2180" y="638"/>
                  </a:lnTo>
                  <a:close/>
                  <a:moveTo>
                    <a:pt x="2220" y="714"/>
                  </a:moveTo>
                  <a:lnTo>
                    <a:pt x="2220" y="720"/>
                  </a:lnTo>
                  <a:lnTo>
                    <a:pt x="2220" y="724"/>
                  </a:lnTo>
                  <a:lnTo>
                    <a:pt x="2226" y="730"/>
                  </a:lnTo>
                  <a:lnTo>
                    <a:pt x="2226" y="730"/>
                  </a:lnTo>
                  <a:lnTo>
                    <a:pt x="2226" y="730"/>
                  </a:lnTo>
                  <a:lnTo>
                    <a:pt x="2220" y="730"/>
                  </a:lnTo>
                  <a:lnTo>
                    <a:pt x="2220" y="724"/>
                  </a:lnTo>
                  <a:lnTo>
                    <a:pt x="2214" y="724"/>
                  </a:lnTo>
                  <a:lnTo>
                    <a:pt x="2214" y="720"/>
                  </a:lnTo>
                  <a:lnTo>
                    <a:pt x="2214" y="720"/>
                  </a:lnTo>
                  <a:lnTo>
                    <a:pt x="2214" y="714"/>
                  </a:lnTo>
                  <a:lnTo>
                    <a:pt x="2214" y="714"/>
                  </a:lnTo>
                  <a:lnTo>
                    <a:pt x="2220" y="714"/>
                  </a:lnTo>
                  <a:lnTo>
                    <a:pt x="2220" y="714"/>
                  </a:lnTo>
                  <a:close/>
                  <a:moveTo>
                    <a:pt x="1780" y="730"/>
                  </a:moveTo>
                  <a:lnTo>
                    <a:pt x="1780" y="730"/>
                  </a:lnTo>
                  <a:lnTo>
                    <a:pt x="1780" y="724"/>
                  </a:lnTo>
                  <a:lnTo>
                    <a:pt x="1786" y="724"/>
                  </a:lnTo>
                  <a:lnTo>
                    <a:pt x="1786" y="720"/>
                  </a:lnTo>
                  <a:lnTo>
                    <a:pt x="1792" y="720"/>
                  </a:lnTo>
                  <a:lnTo>
                    <a:pt x="1792" y="724"/>
                  </a:lnTo>
                  <a:lnTo>
                    <a:pt x="1792" y="724"/>
                  </a:lnTo>
                  <a:lnTo>
                    <a:pt x="1792" y="730"/>
                  </a:lnTo>
                  <a:lnTo>
                    <a:pt x="1792" y="730"/>
                  </a:lnTo>
                  <a:lnTo>
                    <a:pt x="1786" y="730"/>
                  </a:lnTo>
                  <a:lnTo>
                    <a:pt x="1786" y="730"/>
                  </a:lnTo>
                  <a:lnTo>
                    <a:pt x="1780" y="730"/>
                  </a:lnTo>
                  <a:lnTo>
                    <a:pt x="1780" y="730"/>
                  </a:lnTo>
                  <a:lnTo>
                    <a:pt x="1780" y="730"/>
                  </a:lnTo>
                  <a:close/>
                  <a:moveTo>
                    <a:pt x="2238" y="730"/>
                  </a:moveTo>
                  <a:lnTo>
                    <a:pt x="2244" y="730"/>
                  </a:lnTo>
                  <a:lnTo>
                    <a:pt x="2244" y="730"/>
                  </a:lnTo>
                  <a:lnTo>
                    <a:pt x="2250" y="736"/>
                  </a:lnTo>
                  <a:lnTo>
                    <a:pt x="2244" y="736"/>
                  </a:lnTo>
                  <a:lnTo>
                    <a:pt x="2244" y="730"/>
                  </a:lnTo>
                  <a:lnTo>
                    <a:pt x="2244" y="730"/>
                  </a:lnTo>
                  <a:lnTo>
                    <a:pt x="2238" y="730"/>
                  </a:lnTo>
                  <a:lnTo>
                    <a:pt x="2238" y="730"/>
                  </a:lnTo>
                  <a:close/>
                  <a:moveTo>
                    <a:pt x="1872" y="928"/>
                  </a:moveTo>
                  <a:lnTo>
                    <a:pt x="1872" y="922"/>
                  </a:lnTo>
                  <a:lnTo>
                    <a:pt x="1872" y="922"/>
                  </a:lnTo>
                  <a:lnTo>
                    <a:pt x="1872" y="916"/>
                  </a:lnTo>
                  <a:lnTo>
                    <a:pt x="1872" y="910"/>
                  </a:lnTo>
                  <a:lnTo>
                    <a:pt x="1872" y="916"/>
                  </a:lnTo>
                  <a:lnTo>
                    <a:pt x="1872" y="910"/>
                  </a:lnTo>
                  <a:lnTo>
                    <a:pt x="1866" y="910"/>
                  </a:lnTo>
                  <a:lnTo>
                    <a:pt x="1860" y="910"/>
                  </a:lnTo>
                  <a:lnTo>
                    <a:pt x="1856" y="916"/>
                  </a:lnTo>
                  <a:lnTo>
                    <a:pt x="1856" y="922"/>
                  </a:lnTo>
                  <a:lnTo>
                    <a:pt x="1856" y="922"/>
                  </a:lnTo>
                  <a:lnTo>
                    <a:pt x="1856" y="928"/>
                  </a:lnTo>
                  <a:lnTo>
                    <a:pt x="1856" y="928"/>
                  </a:lnTo>
                  <a:lnTo>
                    <a:pt x="1856" y="922"/>
                  </a:lnTo>
                  <a:lnTo>
                    <a:pt x="1850" y="922"/>
                  </a:lnTo>
                  <a:lnTo>
                    <a:pt x="1850" y="916"/>
                  </a:lnTo>
                  <a:lnTo>
                    <a:pt x="1850" y="910"/>
                  </a:lnTo>
                  <a:lnTo>
                    <a:pt x="1856" y="910"/>
                  </a:lnTo>
                  <a:lnTo>
                    <a:pt x="1856" y="904"/>
                  </a:lnTo>
                  <a:lnTo>
                    <a:pt x="1856" y="898"/>
                  </a:lnTo>
                  <a:lnTo>
                    <a:pt x="1856" y="898"/>
                  </a:lnTo>
                  <a:lnTo>
                    <a:pt x="1856" y="894"/>
                  </a:lnTo>
                  <a:lnTo>
                    <a:pt x="1856" y="888"/>
                  </a:lnTo>
                  <a:lnTo>
                    <a:pt x="1856" y="882"/>
                  </a:lnTo>
                  <a:lnTo>
                    <a:pt x="1856" y="882"/>
                  </a:lnTo>
                  <a:lnTo>
                    <a:pt x="1856" y="882"/>
                  </a:lnTo>
                  <a:lnTo>
                    <a:pt x="1856" y="882"/>
                  </a:lnTo>
                  <a:lnTo>
                    <a:pt x="1856" y="876"/>
                  </a:lnTo>
                  <a:lnTo>
                    <a:pt x="1856" y="870"/>
                  </a:lnTo>
                  <a:lnTo>
                    <a:pt x="1856" y="870"/>
                  </a:lnTo>
                  <a:lnTo>
                    <a:pt x="1850" y="870"/>
                  </a:lnTo>
                  <a:lnTo>
                    <a:pt x="1850" y="864"/>
                  </a:lnTo>
                  <a:lnTo>
                    <a:pt x="1856" y="864"/>
                  </a:lnTo>
                  <a:lnTo>
                    <a:pt x="1856" y="858"/>
                  </a:lnTo>
                  <a:lnTo>
                    <a:pt x="1856" y="858"/>
                  </a:lnTo>
                  <a:lnTo>
                    <a:pt x="1856" y="852"/>
                  </a:lnTo>
                  <a:lnTo>
                    <a:pt x="1856" y="846"/>
                  </a:lnTo>
                  <a:lnTo>
                    <a:pt x="1856" y="846"/>
                  </a:lnTo>
                  <a:lnTo>
                    <a:pt x="1856" y="840"/>
                  </a:lnTo>
                  <a:lnTo>
                    <a:pt x="1856" y="836"/>
                  </a:lnTo>
                  <a:lnTo>
                    <a:pt x="1856" y="830"/>
                  </a:lnTo>
                  <a:lnTo>
                    <a:pt x="1856" y="830"/>
                  </a:lnTo>
                  <a:lnTo>
                    <a:pt x="1856" y="824"/>
                  </a:lnTo>
                  <a:lnTo>
                    <a:pt x="1856" y="818"/>
                  </a:lnTo>
                  <a:lnTo>
                    <a:pt x="1856" y="818"/>
                  </a:lnTo>
                  <a:lnTo>
                    <a:pt x="1856" y="818"/>
                  </a:lnTo>
                  <a:lnTo>
                    <a:pt x="1856" y="812"/>
                  </a:lnTo>
                  <a:lnTo>
                    <a:pt x="1856" y="806"/>
                  </a:lnTo>
                  <a:lnTo>
                    <a:pt x="1856" y="806"/>
                  </a:lnTo>
                  <a:lnTo>
                    <a:pt x="1850" y="800"/>
                  </a:lnTo>
                  <a:lnTo>
                    <a:pt x="1850" y="794"/>
                  </a:lnTo>
                  <a:lnTo>
                    <a:pt x="1850" y="794"/>
                  </a:lnTo>
                  <a:lnTo>
                    <a:pt x="1850" y="788"/>
                  </a:lnTo>
                  <a:lnTo>
                    <a:pt x="1850" y="782"/>
                  </a:lnTo>
                  <a:lnTo>
                    <a:pt x="1850" y="778"/>
                  </a:lnTo>
                  <a:lnTo>
                    <a:pt x="1850" y="778"/>
                  </a:lnTo>
                  <a:lnTo>
                    <a:pt x="1850" y="772"/>
                  </a:lnTo>
                  <a:lnTo>
                    <a:pt x="1856" y="772"/>
                  </a:lnTo>
                  <a:lnTo>
                    <a:pt x="1856" y="766"/>
                  </a:lnTo>
                  <a:lnTo>
                    <a:pt x="1850" y="766"/>
                  </a:lnTo>
                  <a:lnTo>
                    <a:pt x="1850" y="766"/>
                  </a:lnTo>
                  <a:lnTo>
                    <a:pt x="1856" y="760"/>
                  </a:lnTo>
                  <a:lnTo>
                    <a:pt x="1856" y="760"/>
                  </a:lnTo>
                  <a:lnTo>
                    <a:pt x="1856" y="766"/>
                  </a:lnTo>
                  <a:lnTo>
                    <a:pt x="1860" y="766"/>
                  </a:lnTo>
                  <a:lnTo>
                    <a:pt x="1860" y="760"/>
                  </a:lnTo>
                  <a:lnTo>
                    <a:pt x="1860" y="754"/>
                  </a:lnTo>
                  <a:lnTo>
                    <a:pt x="1866" y="754"/>
                  </a:lnTo>
                  <a:lnTo>
                    <a:pt x="1866" y="754"/>
                  </a:lnTo>
                  <a:lnTo>
                    <a:pt x="1860" y="754"/>
                  </a:lnTo>
                  <a:lnTo>
                    <a:pt x="1860" y="754"/>
                  </a:lnTo>
                  <a:lnTo>
                    <a:pt x="1866" y="754"/>
                  </a:lnTo>
                  <a:lnTo>
                    <a:pt x="1866" y="748"/>
                  </a:lnTo>
                  <a:lnTo>
                    <a:pt x="1860" y="748"/>
                  </a:lnTo>
                  <a:lnTo>
                    <a:pt x="1860" y="742"/>
                  </a:lnTo>
                  <a:lnTo>
                    <a:pt x="1856" y="742"/>
                  </a:lnTo>
                  <a:lnTo>
                    <a:pt x="1860" y="742"/>
                  </a:lnTo>
                  <a:lnTo>
                    <a:pt x="1860" y="742"/>
                  </a:lnTo>
                  <a:lnTo>
                    <a:pt x="1860" y="742"/>
                  </a:lnTo>
                  <a:lnTo>
                    <a:pt x="1866" y="742"/>
                  </a:lnTo>
                  <a:lnTo>
                    <a:pt x="1866" y="742"/>
                  </a:lnTo>
                  <a:lnTo>
                    <a:pt x="1872" y="742"/>
                  </a:lnTo>
                  <a:lnTo>
                    <a:pt x="1872" y="748"/>
                  </a:lnTo>
                  <a:lnTo>
                    <a:pt x="1866" y="748"/>
                  </a:lnTo>
                  <a:lnTo>
                    <a:pt x="1866" y="754"/>
                  </a:lnTo>
                  <a:lnTo>
                    <a:pt x="1866" y="754"/>
                  </a:lnTo>
                  <a:lnTo>
                    <a:pt x="1872" y="754"/>
                  </a:lnTo>
                  <a:lnTo>
                    <a:pt x="1872" y="760"/>
                  </a:lnTo>
                  <a:lnTo>
                    <a:pt x="1872" y="766"/>
                  </a:lnTo>
                  <a:lnTo>
                    <a:pt x="1872" y="760"/>
                  </a:lnTo>
                  <a:lnTo>
                    <a:pt x="1872" y="766"/>
                  </a:lnTo>
                  <a:lnTo>
                    <a:pt x="1872" y="766"/>
                  </a:lnTo>
                  <a:lnTo>
                    <a:pt x="1872" y="766"/>
                  </a:lnTo>
                  <a:lnTo>
                    <a:pt x="1872" y="772"/>
                  </a:lnTo>
                  <a:lnTo>
                    <a:pt x="1872" y="778"/>
                  </a:lnTo>
                  <a:lnTo>
                    <a:pt x="1872" y="778"/>
                  </a:lnTo>
                  <a:lnTo>
                    <a:pt x="1872" y="782"/>
                  </a:lnTo>
                  <a:lnTo>
                    <a:pt x="1872" y="788"/>
                  </a:lnTo>
                  <a:lnTo>
                    <a:pt x="1872" y="782"/>
                  </a:lnTo>
                  <a:lnTo>
                    <a:pt x="1872" y="782"/>
                  </a:lnTo>
                  <a:lnTo>
                    <a:pt x="1872" y="778"/>
                  </a:lnTo>
                  <a:lnTo>
                    <a:pt x="1872" y="782"/>
                  </a:lnTo>
                  <a:lnTo>
                    <a:pt x="1872" y="788"/>
                  </a:lnTo>
                  <a:lnTo>
                    <a:pt x="1872" y="794"/>
                  </a:lnTo>
                  <a:lnTo>
                    <a:pt x="1872" y="794"/>
                  </a:lnTo>
                  <a:lnTo>
                    <a:pt x="1872" y="794"/>
                  </a:lnTo>
                  <a:lnTo>
                    <a:pt x="1872" y="800"/>
                  </a:lnTo>
                  <a:lnTo>
                    <a:pt x="1872" y="806"/>
                  </a:lnTo>
                  <a:lnTo>
                    <a:pt x="1872" y="806"/>
                  </a:lnTo>
                  <a:lnTo>
                    <a:pt x="1872" y="812"/>
                  </a:lnTo>
                  <a:lnTo>
                    <a:pt x="1878" y="806"/>
                  </a:lnTo>
                  <a:lnTo>
                    <a:pt x="1878" y="812"/>
                  </a:lnTo>
                  <a:lnTo>
                    <a:pt x="1878" y="818"/>
                  </a:lnTo>
                  <a:lnTo>
                    <a:pt x="1878" y="818"/>
                  </a:lnTo>
                  <a:lnTo>
                    <a:pt x="1878" y="824"/>
                  </a:lnTo>
                  <a:lnTo>
                    <a:pt x="1878" y="830"/>
                  </a:lnTo>
                  <a:lnTo>
                    <a:pt x="1884" y="830"/>
                  </a:lnTo>
                  <a:lnTo>
                    <a:pt x="1884" y="836"/>
                  </a:lnTo>
                  <a:lnTo>
                    <a:pt x="1884" y="840"/>
                  </a:lnTo>
                  <a:lnTo>
                    <a:pt x="1884" y="846"/>
                  </a:lnTo>
                  <a:lnTo>
                    <a:pt x="1884" y="852"/>
                  </a:lnTo>
                  <a:lnTo>
                    <a:pt x="1890" y="858"/>
                  </a:lnTo>
                  <a:lnTo>
                    <a:pt x="1890" y="858"/>
                  </a:lnTo>
                  <a:lnTo>
                    <a:pt x="1896" y="864"/>
                  </a:lnTo>
                  <a:lnTo>
                    <a:pt x="1896" y="870"/>
                  </a:lnTo>
                  <a:lnTo>
                    <a:pt x="1896" y="864"/>
                  </a:lnTo>
                  <a:lnTo>
                    <a:pt x="1890" y="858"/>
                  </a:lnTo>
                  <a:lnTo>
                    <a:pt x="1884" y="858"/>
                  </a:lnTo>
                  <a:lnTo>
                    <a:pt x="1884" y="858"/>
                  </a:lnTo>
                  <a:lnTo>
                    <a:pt x="1884" y="858"/>
                  </a:lnTo>
                  <a:lnTo>
                    <a:pt x="1878" y="858"/>
                  </a:lnTo>
                  <a:lnTo>
                    <a:pt x="1872" y="852"/>
                  </a:lnTo>
                  <a:lnTo>
                    <a:pt x="1872" y="858"/>
                  </a:lnTo>
                  <a:lnTo>
                    <a:pt x="1878" y="852"/>
                  </a:lnTo>
                  <a:lnTo>
                    <a:pt x="1878" y="858"/>
                  </a:lnTo>
                  <a:lnTo>
                    <a:pt x="1872" y="858"/>
                  </a:lnTo>
                  <a:lnTo>
                    <a:pt x="1872" y="858"/>
                  </a:lnTo>
                  <a:lnTo>
                    <a:pt x="1872" y="858"/>
                  </a:lnTo>
                  <a:lnTo>
                    <a:pt x="1872" y="864"/>
                  </a:lnTo>
                  <a:lnTo>
                    <a:pt x="1866" y="864"/>
                  </a:lnTo>
                  <a:lnTo>
                    <a:pt x="1866" y="870"/>
                  </a:lnTo>
                  <a:lnTo>
                    <a:pt x="1866" y="870"/>
                  </a:lnTo>
                  <a:lnTo>
                    <a:pt x="1860" y="876"/>
                  </a:lnTo>
                  <a:lnTo>
                    <a:pt x="1860" y="882"/>
                  </a:lnTo>
                  <a:lnTo>
                    <a:pt x="1860" y="882"/>
                  </a:lnTo>
                  <a:lnTo>
                    <a:pt x="1860" y="888"/>
                  </a:lnTo>
                  <a:lnTo>
                    <a:pt x="1860" y="894"/>
                  </a:lnTo>
                  <a:lnTo>
                    <a:pt x="1866" y="898"/>
                  </a:lnTo>
                  <a:lnTo>
                    <a:pt x="1872" y="898"/>
                  </a:lnTo>
                  <a:lnTo>
                    <a:pt x="1872" y="910"/>
                  </a:lnTo>
                  <a:lnTo>
                    <a:pt x="1872" y="910"/>
                  </a:lnTo>
                  <a:lnTo>
                    <a:pt x="1872" y="910"/>
                  </a:lnTo>
                  <a:lnTo>
                    <a:pt x="1872" y="910"/>
                  </a:lnTo>
                  <a:lnTo>
                    <a:pt x="1878" y="910"/>
                  </a:lnTo>
                  <a:lnTo>
                    <a:pt x="1878" y="910"/>
                  </a:lnTo>
                  <a:lnTo>
                    <a:pt x="1878" y="916"/>
                  </a:lnTo>
                  <a:lnTo>
                    <a:pt x="1878" y="922"/>
                  </a:lnTo>
                  <a:lnTo>
                    <a:pt x="1878" y="922"/>
                  </a:lnTo>
                  <a:lnTo>
                    <a:pt x="1872" y="922"/>
                  </a:lnTo>
                  <a:lnTo>
                    <a:pt x="1872" y="928"/>
                  </a:lnTo>
                  <a:lnTo>
                    <a:pt x="1872" y="928"/>
                  </a:lnTo>
                  <a:close/>
                  <a:moveTo>
                    <a:pt x="2058" y="818"/>
                  </a:moveTo>
                  <a:lnTo>
                    <a:pt x="2058" y="818"/>
                  </a:lnTo>
                  <a:lnTo>
                    <a:pt x="2058" y="818"/>
                  </a:lnTo>
                  <a:lnTo>
                    <a:pt x="2058" y="818"/>
                  </a:lnTo>
                  <a:lnTo>
                    <a:pt x="2058" y="818"/>
                  </a:lnTo>
                  <a:lnTo>
                    <a:pt x="2058" y="818"/>
                  </a:lnTo>
                  <a:close/>
                  <a:moveTo>
                    <a:pt x="2076" y="824"/>
                  </a:moveTo>
                  <a:lnTo>
                    <a:pt x="2070" y="824"/>
                  </a:lnTo>
                  <a:lnTo>
                    <a:pt x="2070" y="818"/>
                  </a:lnTo>
                  <a:lnTo>
                    <a:pt x="2076" y="818"/>
                  </a:lnTo>
                  <a:lnTo>
                    <a:pt x="2076" y="824"/>
                  </a:lnTo>
                  <a:lnTo>
                    <a:pt x="2076" y="824"/>
                  </a:lnTo>
                  <a:close/>
                  <a:moveTo>
                    <a:pt x="2052" y="836"/>
                  </a:moveTo>
                  <a:lnTo>
                    <a:pt x="2052" y="830"/>
                  </a:lnTo>
                  <a:lnTo>
                    <a:pt x="2058" y="830"/>
                  </a:lnTo>
                  <a:lnTo>
                    <a:pt x="2058" y="830"/>
                  </a:lnTo>
                  <a:lnTo>
                    <a:pt x="2058" y="830"/>
                  </a:lnTo>
                  <a:lnTo>
                    <a:pt x="2058" y="824"/>
                  </a:lnTo>
                  <a:lnTo>
                    <a:pt x="2064" y="824"/>
                  </a:lnTo>
                  <a:lnTo>
                    <a:pt x="2064" y="818"/>
                  </a:lnTo>
                  <a:lnTo>
                    <a:pt x="2064" y="824"/>
                  </a:lnTo>
                  <a:lnTo>
                    <a:pt x="2070" y="830"/>
                  </a:lnTo>
                  <a:lnTo>
                    <a:pt x="2064" y="830"/>
                  </a:lnTo>
                  <a:lnTo>
                    <a:pt x="2058" y="836"/>
                  </a:lnTo>
                  <a:lnTo>
                    <a:pt x="2058" y="836"/>
                  </a:lnTo>
                  <a:lnTo>
                    <a:pt x="2052" y="836"/>
                  </a:lnTo>
                  <a:lnTo>
                    <a:pt x="2052" y="836"/>
                  </a:lnTo>
                  <a:close/>
                  <a:moveTo>
                    <a:pt x="2046" y="858"/>
                  </a:moveTo>
                  <a:lnTo>
                    <a:pt x="2046" y="852"/>
                  </a:lnTo>
                  <a:lnTo>
                    <a:pt x="2046" y="846"/>
                  </a:lnTo>
                  <a:lnTo>
                    <a:pt x="2046" y="846"/>
                  </a:lnTo>
                  <a:lnTo>
                    <a:pt x="2046" y="852"/>
                  </a:lnTo>
                  <a:lnTo>
                    <a:pt x="2046" y="852"/>
                  </a:lnTo>
                  <a:lnTo>
                    <a:pt x="2046" y="858"/>
                  </a:lnTo>
                  <a:lnTo>
                    <a:pt x="2046" y="858"/>
                  </a:lnTo>
                  <a:lnTo>
                    <a:pt x="2046" y="858"/>
                  </a:lnTo>
                  <a:close/>
                  <a:moveTo>
                    <a:pt x="2040" y="858"/>
                  </a:moveTo>
                  <a:lnTo>
                    <a:pt x="2046" y="858"/>
                  </a:lnTo>
                  <a:lnTo>
                    <a:pt x="2046" y="858"/>
                  </a:lnTo>
                  <a:lnTo>
                    <a:pt x="2040" y="858"/>
                  </a:lnTo>
                  <a:lnTo>
                    <a:pt x="2040" y="858"/>
                  </a:lnTo>
                  <a:lnTo>
                    <a:pt x="2040" y="858"/>
                  </a:lnTo>
                  <a:close/>
                  <a:moveTo>
                    <a:pt x="2034" y="870"/>
                  </a:moveTo>
                  <a:lnTo>
                    <a:pt x="2034" y="864"/>
                  </a:lnTo>
                  <a:lnTo>
                    <a:pt x="2034" y="864"/>
                  </a:lnTo>
                  <a:lnTo>
                    <a:pt x="2034" y="870"/>
                  </a:lnTo>
                  <a:lnTo>
                    <a:pt x="2034" y="870"/>
                  </a:lnTo>
                  <a:lnTo>
                    <a:pt x="2034" y="870"/>
                  </a:lnTo>
                  <a:close/>
                  <a:moveTo>
                    <a:pt x="2012" y="904"/>
                  </a:moveTo>
                  <a:lnTo>
                    <a:pt x="2012" y="898"/>
                  </a:lnTo>
                  <a:lnTo>
                    <a:pt x="2012" y="904"/>
                  </a:lnTo>
                  <a:lnTo>
                    <a:pt x="2006" y="904"/>
                  </a:lnTo>
                  <a:lnTo>
                    <a:pt x="2006" y="910"/>
                  </a:lnTo>
                  <a:lnTo>
                    <a:pt x="2000" y="910"/>
                  </a:lnTo>
                  <a:lnTo>
                    <a:pt x="2000" y="910"/>
                  </a:lnTo>
                  <a:lnTo>
                    <a:pt x="2000" y="910"/>
                  </a:lnTo>
                  <a:lnTo>
                    <a:pt x="2006" y="904"/>
                  </a:lnTo>
                  <a:lnTo>
                    <a:pt x="2012" y="898"/>
                  </a:lnTo>
                  <a:lnTo>
                    <a:pt x="2012" y="904"/>
                  </a:lnTo>
                  <a:lnTo>
                    <a:pt x="2012" y="904"/>
                  </a:lnTo>
                  <a:close/>
                  <a:moveTo>
                    <a:pt x="1966" y="934"/>
                  </a:moveTo>
                  <a:lnTo>
                    <a:pt x="1972" y="934"/>
                  </a:lnTo>
                  <a:lnTo>
                    <a:pt x="1972" y="928"/>
                  </a:lnTo>
                  <a:lnTo>
                    <a:pt x="1972" y="928"/>
                  </a:lnTo>
                  <a:lnTo>
                    <a:pt x="1972" y="922"/>
                  </a:lnTo>
                  <a:lnTo>
                    <a:pt x="1976" y="922"/>
                  </a:lnTo>
                  <a:lnTo>
                    <a:pt x="1982" y="922"/>
                  </a:lnTo>
                  <a:lnTo>
                    <a:pt x="1976" y="922"/>
                  </a:lnTo>
                  <a:lnTo>
                    <a:pt x="1976" y="928"/>
                  </a:lnTo>
                  <a:lnTo>
                    <a:pt x="1972" y="934"/>
                  </a:lnTo>
                  <a:lnTo>
                    <a:pt x="1972" y="934"/>
                  </a:lnTo>
                  <a:lnTo>
                    <a:pt x="1972" y="934"/>
                  </a:lnTo>
                  <a:lnTo>
                    <a:pt x="1966" y="934"/>
                  </a:lnTo>
                  <a:lnTo>
                    <a:pt x="1966" y="934"/>
                  </a:lnTo>
                  <a:close/>
                  <a:moveTo>
                    <a:pt x="1924" y="962"/>
                  </a:moveTo>
                  <a:lnTo>
                    <a:pt x="1930" y="956"/>
                  </a:lnTo>
                  <a:lnTo>
                    <a:pt x="1930" y="952"/>
                  </a:lnTo>
                  <a:lnTo>
                    <a:pt x="1930" y="952"/>
                  </a:lnTo>
                  <a:lnTo>
                    <a:pt x="1930" y="946"/>
                  </a:lnTo>
                  <a:lnTo>
                    <a:pt x="1936" y="946"/>
                  </a:lnTo>
                  <a:lnTo>
                    <a:pt x="1936" y="946"/>
                  </a:lnTo>
                  <a:lnTo>
                    <a:pt x="1942" y="946"/>
                  </a:lnTo>
                  <a:lnTo>
                    <a:pt x="1942" y="940"/>
                  </a:lnTo>
                  <a:lnTo>
                    <a:pt x="1942" y="940"/>
                  </a:lnTo>
                  <a:lnTo>
                    <a:pt x="1942" y="946"/>
                  </a:lnTo>
                  <a:lnTo>
                    <a:pt x="1948" y="946"/>
                  </a:lnTo>
                  <a:lnTo>
                    <a:pt x="1948" y="940"/>
                  </a:lnTo>
                  <a:lnTo>
                    <a:pt x="1954" y="940"/>
                  </a:lnTo>
                  <a:lnTo>
                    <a:pt x="1954" y="934"/>
                  </a:lnTo>
                  <a:lnTo>
                    <a:pt x="1960" y="934"/>
                  </a:lnTo>
                  <a:lnTo>
                    <a:pt x="1960" y="940"/>
                  </a:lnTo>
                  <a:lnTo>
                    <a:pt x="1954" y="940"/>
                  </a:lnTo>
                  <a:lnTo>
                    <a:pt x="1954" y="946"/>
                  </a:lnTo>
                  <a:lnTo>
                    <a:pt x="1948" y="946"/>
                  </a:lnTo>
                  <a:lnTo>
                    <a:pt x="1942" y="946"/>
                  </a:lnTo>
                  <a:lnTo>
                    <a:pt x="1942" y="946"/>
                  </a:lnTo>
                  <a:lnTo>
                    <a:pt x="1942" y="946"/>
                  </a:lnTo>
                  <a:lnTo>
                    <a:pt x="1936" y="946"/>
                  </a:lnTo>
                  <a:lnTo>
                    <a:pt x="1936" y="952"/>
                  </a:lnTo>
                  <a:lnTo>
                    <a:pt x="1930" y="956"/>
                  </a:lnTo>
                  <a:lnTo>
                    <a:pt x="1930" y="962"/>
                  </a:lnTo>
                  <a:lnTo>
                    <a:pt x="1930" y="962"/>
                  </a:lnTo>
                  <a:lnTo>
                    <a:pt x="1924" y="962"/>
                  </a:lnTo>
                  <a:lnTo>
                    <a:pt x="1924" y="962"/>
                  </a:lnTo>
                  <a:close/>
                  <a:moveTo>
                    <a:pt x="1918" y="962"/>
                  </a:moveTo>
                  <a:lnTo>
                    <a:pt x="1918" y="962"/>
                  </a:lnTo>
                  <a:lnTo>
                    <a:pt x="1918" y="962"/>
                  </a:lnTo>
                  <a:lnTo>
                    <a:pt x="1918" y="962"/>
                  </a:lnTo>
                  <a:lnTo>
                    <a:pt x="1914" y="962"/>
                  </a:lnTo>
                  <a:lnTo>
                    <a:pt x="1914" y="968"/>
                  </a:lnTo>
                  <a:lnTo>
                    <a:pt x="1908" y="968"/>
                  </a:lnTo>
                  <a:lnTo>
                    <a:pt x="1908" y="974"/>
                  </a:lnTo>
                  <a:lnTo>
                    <a:pt x="1908" y="974"/>
                  </a:lnTo>
                  <a:lnTo>
                    <a:pt x="1908" y="974"/>
                  </a:lnTo>
                  <a:lnTo>
                    <a:pt x="1908" y="974"/>
                  </a:lnTo>
                  <a:lnTo>
                    <a:pt x="1908" y="974"/>
                  </a:lnTo>
                  <a:lnTo>
                    <a:pt x="1908" y="968"/>
                  </a:lnTo>
                  <a:lnTo>
                    <a:pt x="1914" y="962"/>
                  </a:lnTo>
                  <a:lnTo>
                    <a:pt x="1914" y="962"/>
                  </a:lnTo>
                  <a:lnTo>
                    <a:pt x="1918" y="962"/>
                  </a:lnTo>
                  <a:lnTo>
                    <a:pt x="1918" y="962"/>
                  </a:lnTo>
                  <a:close/>
                  <a:moveTo>
                    <a:pt x="1924" y="974"/>
                  </a:moveTo>
                  <a:lnTo>
                    <a:pt x="1924" y="974"/>
                  </a:lnTo>
                  <a:lnTo>
                    <a:pt x="1918" y="974"/>
                  </a:lnTo>
                  <a:lnTo>
                    <a:pt x="1918" y="974"/>
                  </a:lnTo>
                  <a:lnTo>
                    <a:pt x="1924" y="974"/>
                  </a:lnTo>
                  <a:lnTo>
                    <a:pt x="1924" y="97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ru-RU"/>
            </a:p>
          </p:txBody>
        </p:sp>
        <p:sp>
          <p:nvSpPr>
            <p:cNvPr id="5" name="Freeform 441"/>
            <p:cNvSpPr>
              <a:spLocks/>
            </p:cNvSpPr>
            <p:nvPr>
              <p:custDataLst>
                <p:tags r:id="rId198"/>
              </p:custDataLst>
            </p:nvPr>
          </p:nvSpPr>
          <p:spPr bwMode="gray">
            <a:xfrm>
              <a:off x="4904339" y="4278409"/>
              <a:ext cx="283257" cy="232416"/>
            </a:xfrm>
            <a:custGeom>
              <a:avLst/>
              <a:gdLst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385 w 10000"/>
                <a:gd name="connsiteY13" fmla="*/ 6638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2589 w 10000"/>
                <a:gd name="connsiteY12" fmla="*/ 6973 h 10000"/>
                <a:gd name="connsiteX13" fmla="*/ 2385 w 10000"/>
                <a:gd name="connsiteY13" fmla="*/ 6638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165 w 9880"/>
                <a:gd name="connsiteY0" fmla="*/ 1897 h 10000"/>
                <a:gd name="connsiteX1" fmla="*/ 1165 w 9880"/>
                <a:gd name="connsiteY1" fmla="*/ 2412 h 10000"/>
                <a:gd name="connsiteX2" fmla="*/ 1165 w 9880"/>
                <a:gd name="connsiteY2" fmla="*/ 2894 h 10000"/>
                <a:gd name="connsiteX3" fmla="*/ 1165 w 9880"/>
                <a:gd name="connsiteY3" fmla="*/ 3376 h 10000"/>
                <a:gd name="connsiteX4" fmla="*/ 1165 w 9880"/>
                <a:gd name="connsiteY4" fmla="*/ 3826 h 10000"/>
                <a:gd name="connsiteX5" fmla="*/ 523 w 9880"/>
                <a:gd name="connsiteY5" fmla="*/ 3923 h 10000"/>
                <a:gd name="connsiteX6" fmla="*/ 402 w 9880"/>
                <a:gd name="connsiteY6" fmla="*/ 4180 h 10000"/>
                <a:gd name="connsiteX7" fmla="*/ 121 w 9880"/>
                <a:gd name="connsiteY7" fmla="*/ 4502 h 10000"/>
                <a:gd name="connsiteX8" fmla="*/ 121 w 9880"/>
                <a:gd name="connsiteY8" fmla="*/ 4759 h 10000"/>
                <a:gd name="connsiteX9" fmla="*/ 0 w 9880"/>
                <a:gd name="connsiteY9" fmla="*/ 4823 h 10000"/>
                <a:gd name="connsiteX10" fmla="*/ 0 w 9880"/>
                <a:gd name="connsiteY10" fmla="*/ 5048 h 10000"/>
                <a:gd name="connsiteX11" fmla="*/ 2931 w 9880"/>
                <a:gd name="connsiteY11" fmla="*/ 7195 h 10000"/>
                <a:gd name="connsiteX12" fmla="*/ 2469 w 9880"/>
                <a:gd name="connsiteY12" fmla="*/ 6973 h 10000"/>
                <a:gd name="connsiteX13" fmla="*/ 2265 w 9880"/>
                <a:gd name="connsiteY13" fmla="*/ 6638 h 10000"/>
                <a:gd name="connsiteX14" fmla="*/ 1926 w 9880"/>
                <a:gd name="connsiteY14" fmla="*/ 6729 h 10000"/>
                <a:gd name="connsiteX15" fmla="*/ 1834 w 9880"/>
                <a:gd name="connsiteY15" fmla="*/ 6927 h 10000"/>
                <a:gd name="connsiteX16" fmla="*/ 1472 w 9880"/>
                <a:gd name="connsiteY16" fmla="*/ 7011 h 10000"/>
                <a:gd name="connsiteX17" fmla="*/ 1236 w 9880"/>
                <a:gd name="connsiteY17" fmla="*/ 7004 h 10000"/>
                <a:gd name="connsiteX18" fmla="*/ 1108 w 9880"/>
                <a:gd name="connsiteY18" fmla="*/ 7161 h 10000"/>
                <a:gd name="connsiteX19" fmla="*/ 884 w 9880"/>
                <a:gd name="connsiteY19" fmla="*/ 6913 h 10000"/>
                <a:gd name="connsiteX20" fmla="*/ 844 w 9880"/>
                <a:gd name="connsiteY20" fmla="*/ 7363 h 10000"/>
                <a:gd name="connsiteX21" fmla="*/ 924 w 9880"/>
                <a:gd name="connsiteY21" fmla="*/ 7428 h 10000"/>
                <a:gd name="connsiteX22" fmla="*/ 1245 w 9880"/>
                <a:gd name="connsiteY22" fmla="*/ 7460 h 10000"/>
                <a:gd name="connsiteX23" fmla="*/ 1286 w 9880"/>
                <a:gd name="connsiteY23" fmla="*/ 7588 h 10000"/>
                <a:gd name="connsiteX24" fmla="*/ 1647 w 9880"/>
                <a:gd name="connsiteY24" fmla="*/ 7621 h 10000"/>
                <a:gd name="connsiteX25" fmla="*/ 1848 w 9880"/>
                <a:gd name="connsiteY25" fmla="*/ 7749 h 10000"/>
                <a:gd name="connsiteX26" fmla="*/ 1888 w 9880"/>
                <a:gd name="connsiteY26" fmla="*/ 7974 h 10000"/>
                <a:gd name="connsiteX27" fmla="*/ 2531 w 9880"/>
                <a:gd name="connsiteY27" fmla="*/ 8360 h 10000"/>
                <a:gd name="connsiteX28" fmla="*/ 2691 w 9880"/>
                <a:gd name="connsiteY28" fmla="*/ 8746 h 10000"/>
                <a:gd name="connsiteX29" fmla="*/ 3133 w 9880"/>
                <a:gd name="connsiteY29" fmla="*/ 8939 h 10000"/>
                <a:gd name="connsiteX30" fmla="*/ 3294 w 9880"/>
                <a:gd name="connsiteY30" fmla="*/ 9196 h 10000"/>
                <a:gd name="connsiteX31" fmla="*/ 3615 w 9880"/>
                <a:gd name="connsiteY31" fmla="*/ 9518 h 10000"/>
                <a:gd name="connsiteX32" fmla="*/ 3856 w 9880"/>
                <a:gd name="connsiteY32" fmla="*/ 9614 h 10000"/>
                <a:gd name="connsiteX33" fmla="*/ 4017 w 9880"/>
                <a:gd name="connsiteY33" fmla="*/ 9518 h 10000"/>
                <a:gd name="connsiteX34" fmla="*/ 4418 w 9880"/>
                <a:gd name="connsiteY34" fmla="*/ 9550 h 10000"/>
                <a:gd name="connsiteX35" fmla="*/ 4579 w 9880"/>
                <a:gd name="connsiteY35" fmla="*/ 9486 h 10000"/>
                <a:gd name="connsiteX36" fmla="*/ 5302 w 9880"/>
                <a:gd name="connsiteY36" fmla="*/ 9968 h 10000"/>
                <a:gd name="connsiteX37" fmla="*/ 5342 w 9880"/>
                <a:gd name="connsiteY37" fmla="*/ 9968 h 10000"/>
                <a:gd name="connsiteX38" fmla="*/ 5422 w 9880"/>
                <a:gd name="connsiteY38" fmla="*/ 9904 h 10000"/>
                <a:gd name="connsiteX39" fmla="*/ 5944 w 9880"/>
                <a:gd name="connsiteY39" fmla="*/ 9904 h 10000"/>
                <a:gd name="connsiteX40" fmla="*/ 6025 w 9880"/>
                <a:gd name="connsiteY40" fmla="*/ 10000 h 10000"/>
                <a:gd name="connsiteX41" fmla="*/ 6466 w 9880"/>
                <a:gd name="connsiteY41" fmla="*/ 9871 h 10000"/>
                <a:gd name="connsiteX42" fmla="*/ 6868 w 9880"/>
                <a:gd name="connsiteY42" fmla="*/ 9871 h 10000"/>
                <a:gd name="connsiteX43" fmla="*/ 7149 w 9880"/>
                <a:gd name="connsiteY43" fmla="*/ 9743 h 10000"/>
                <a:gd name="connsiteX44" fmla="*/ 7470 w 9880"/>
                <a:gd name="connsiteY44" fmla="*/ 9486 h 10000"/>
                <a:gd name="connsiteX45" fmla="*/ 8314 w 9880"/>
                <a:gd name="connsiteY45" fmla="*/ 9486 h 10000"/>
                <a:gd name="connsiteX46" fmla="*/ 8314 w 9880"/>
                <a:gd name="connsiteY46" fmla="*/ 9132 h 10000"/>
                <a:gd name="connsiteX47" fmla="*/ 7872 w 9880"/>
                <a:gd name="connsiteY47" fmla="*/ 8971 h 10000"/>
                <a:gd name="connsiteX48" fmla="*/ 7631 w 9880"/>
                <a:gd name="connsiteY48" fmla="*/ 8457 h 10000"/>
                <a:gd name="connsiteX49" fmla="*/ 7310 w 9880"/>
                <a:gd name="connsiteY49" fmla="*/ 8264 h 10000"/>
                <a:gd name="connsiteX50" fmla="*/ 7109 w 9880"/>
                <a:gd name="connsiteY50" fmla="*/ 8006 h 10000"/>
                <a:gd name="connsiteX51" fmla="*/ 6587 w 9880"/>
                <a:gd name="connsiteY51" fmla="*/ 7814 h 10000"/>
                <a:gd name="connsiteX52" fmla="*/ 6707 w 9880"/>
                <a:gd name="connsiteY52" fmla="*/ 7749 h 10000"/>
                <a:gd name="connsiteX53" fmla="*/ 6707 w 9880"/>
                <a:gd name="connsiteY53" fmla="*/ 7588 h 10000"/>
                <a:gd name="connsiteX54" fmla="*/ 7069 w 9880"/>
                <a:gd name="connsiteY54" fmla="*/ 7588 h 10000"/>
                <a:gd name="connsiteX55" fmla="*/ 7270 w 9880"/>
                <a:gd name="connsiteY55" fmla="*/ 7460 h 10000"/>
                <a:gd name="connsiteX56" fmla="*/ 7310 w 9880"/>
                <a:gd name="connsiteY56" fmla="*/ 6527 h 10000"/>
                <a:gd name="connsiteX57" fmla="*/ 7350 w 9880"/>
                <a:gd name="connsiteY57" fmla="*/ 6559 h 10000"/>
                <a:gd name="connsiteX58" fmla="*/ 7470 w 9880"/>
                <a:gd name="connsiteY58" fmla="*/ 6367 h 10000"/>
                <a:gd name="connsiteX59" fmla="*/ 7711 w 9880"/>
                <a:gd name="connsiteY59" fmla="*/ 6270 h 10000"/>
                <a:gd name="connsiteX60" fmla="*/ 7832 w 9880"/>
                <a:gd name="connsiteY60" fmla="*/ 5916 h 10000"/>
                <a:gd name="connsiteX61" fmla="*/ 8193 w 9880"/>
                <a:gd name="connsiteY61" fmla="*/ 5498 h 10000"/>
                <a:gd name="connsiteX62" fmla="*/ 8474 w 9880"/>
                <a:gd name="connsiteY62" fmla="*/ 5305 h 10000"/>
                <a:gd name="connsiteX63" fmla="*/ 8675 w 9880"/>
                <a:gd name="connsiteY63" fmla="*/ 4759 h 10000"/>
                <a:gd name="connsiteX64" fmla="*/ 8675 w 9880"/>
                <a:gd name="connsiteY64" fmla="*/ 4630 h 10000"/>
                <a:gd name="connsiteX65" fmla="*/ 8635 w 9880"/>
                <a:gd name="connsiteY65" fmla="*/ 4309 h 10000"/>
                <a:gd name="connsiteX66" fmla="*/ 9037 w 9880"/>
                <a:gd name="connsiteY66" fmla="*/ 3151 h 10000"/>
                <a:gd name="connsiteX67" fmla="*/ 9157 w 9880"/>
                <a:gd name="connsiteY67" fmla="*/ 3151 h 10000"/>
                <a:gd name="connsiteX68" fmla="*/ 9318 w 9880"/>
                <a:gd name="connsiteY68" fmla="*/ 3055 h 10000"/>
                <a:gd name="connsiteX69" fmla="*/ 9800 w 9880"/>
                <a:gd name="connsiteY69" fmla="*/ 2894 h 10000"/>
                <a:gd name="connsiteX70" fmla="*/ 9880 w 9880"/>
                <a:gd name="connsiteY70" fmla="*/ 2637 h 10000"/>
                <a:gd name="connsiteX71" fmla="*/ 9840 w 9880"/>
                <a:gd name="connsiteY71" fmla="*/ 2572 h 10000"/>
                <a:gd name="connsiteX72" fmla="*/ 9679 w 9880"/>
                <a:gd name="connsiteY72" fmla="*/ 2572 h 10000"/>
                <a:gd name="connsiteX73" fmla="*/ 9559 w 9880"/>
                <a:gd name="connsiteY73" fmla="*/ 2412 h 10000"/>
                <a:gd name="connsiteX74" fmla="*/ 9318 w 9880"/>
                <a:gd name="connsiteY74" fmla="*/ 2347 h 10000"/>
                <a:gd name="connsiteX75" fmla="*/ 9197 w 9880"/>
                <a:gd name="connsiteY75" fmla="*/ 2219 h 10000"/>
                <a:gd name="connsiteX76" fmla="*/ 9117 w 9880"/>
                <a:gd name="connsiteY76" fmla="*/ 1736 h 10000"/>
                <a:gd name="connsiteX77" fmla="*/ 9117 w 9880"/>
                <a:gd name="connsiteY77" fmla="*/ 1061 h 10000"/>
                <a:gd name="connsiteX78" fmla="*/ 8916 w 9880"/>
                <a:gd name="connsiteY78" fmla="*/ 836 h 10000"/>
                <a:gd name="connsiteX79" fmla="*/ 8876 w 9880"/>
                <a:gd name="connsiteY79" fmla="*/ 611 h 10000"/>
                <a:gd name="connsiteX80" fmla="*/ 8555 w 9880"/>
                <a:gd name="connsiteY80" fmla="*/ 289 h 10000"/>
                <a:gd name="connsiteX81" fmla="*/ 8274 w 9880"/>
                <a:gd name="connsiteY81" fmla="*/ 161 h 10000"/>
                <a:gd name="connsiteX82" fmla="*/ 8113 w 9880"/>
                <a:gd name="connsiteY82" fmla="*/ 0 h 10000"/>
                <a:gd name="connsiteX83" fmla="*/ 7872 w 9880"/>
                <a:gd name="connsiteY83" fmla="*/ 161 h 10000"/>
                <a:gd name="connsiteX84" fmla="*/ 7711 w 9880"/>
                <a:gd name="connsiteY84" fmla="*/ 129 h 10000"/>
                <a:gd name="connsiteX85" fmla="*/ 7591 w 9880"/>
                <a:gd name="connsiteY85" fmla="*/ 418 h 10000"/>
                <a:gd name="connsiteX86" fmla="*/ 7270 w 9880"/>
                <a:gd name="connsiteY86" fmla="*/ 482 h 10000"/>
                <a:gd name="connsiteX87" fmla="*/ 7189 w 9880"/>
                <a:gd name="connsiteY87" fmla="*/ 707 h 10000"/>
                <a:gd name="connsiteX88" fmla="*/ 6908 w 9880"/>
                <a:gd name="connsiteY88" fmla="*/ 707 h 10000"/>
                <a:gd name="connsiteX89" fmla="*/ 6667 w 9880"/>
                <a:gd name="connsiteY89" fmla="*/ 611 h 10000"/>
                <a:gd name="connsiteX90" fmla="*/ 6145 w 9880"/>
                <a:gd name="connsiteY90" fmla="*/ 611 h 10000"/>
                <a:gd name="connsiteX91" fmla="*/ 5623 w 9880"/>
                <a:gd name="connsiteY91" fmla="*/ 611 h 10000"/>
                <a:gd name="connsiteX92" fmla="*/ 5663 w 9880"/>
                <a:gd name="connsiteY92" fmla="*/ 482 h 10000"/>
                <a:gd name="connsiteX93" fmla="*/ 5583 w 9880"/>
                <a:gd name="connsiteY93" fmla="*/ 482 h 10000"/>
                <a:gd name="connsiteX94" fmla="*/ 5543 w 9880"/>
                <a:gd name="connsiteY94" fmla="*/ 611 h 10000"/>
                <a:gd name="connsiteX95" fmla="*/ 5061 w 9880"/>
                <a:gd name="connsiteY95" fmla="*/ 611 h 10000"/>
                <a:gd name="connsiteX96" fmla="*/ 4579 w 9880"/>
                <a:gd name="connsiteY96" fmla="*/ 611 h 10000"/>
                <a:gd name="connsiteX97" fmla="*/ 4097 w 9880"/>
                <a:gd name="connsiteY97" fmla="*/ 611 h 10000"/>
                <a:gd name="connsiteX98" fmla="*/ 3615 w 9880"/>
                <a:gd name="connsiteY98" fmla="*/ 611 h 10000"/>
                <a:gd name="connsiteX99" fmla="*/ 3173 w 9880"/>
                <a:gd name="connsiteY99" fmla="*/ 611 h 10000"/>
                <a:gd name="connsiteX100" fmla="*/ 2691 w 9880"/>
                <a:gd name="connsiteY100" fmla="*/ 611 h 10000"/>
                <a:gd name="connsiteX101" fmla="*/ 2249 w 9880"/>
                <a:gd name="connsiteY101" fmla="*/ 611 h 10000"/>
                <a:gd name="connsiteX102" fmla="*/ 1768 w 9880"/>
                <a:gd name="connsiteY102" fmla="*/ 611 h 10000"/>
                <a:gd name="connsiteX103" fmla="*/ 1768 w 9880"/>
                <a:gd name="connsiteY103" fmla="*/ 1061 h 10000"/>
                <a:gd name="connsiteX104" fmla="*/ 1768 w 9880"/>
                <a:gd name="connsiteY104" fmla="*/ 1640 h 10000"/>
                <a:gd name="connsiteX105" fmla="*/ 1165 w 9880"/>
                <a:gd name="connsiteY105" fmla="*/ 1640 h 10000"/>
                <a:gd name="connsiteX106" fmla="*/ 1165 w 9880"/>
                <a:gd name="connsiteY106" fmla="*/ 1897 h 10000"/>
                <a:gd name="connsiteX0" fmla="*/ 1179 w 10000"/>
                <a:gd name="connsiteY0" fmla="*/ 1897 h 10000"/>
                <a:gd name="connsiteX1" fmla="*/ 1179 w 10000"/>
                <a:gd name="connsiteY1" fmla="*/ 2412 h 10000"/>
                <a:gd name="connsiteX2" fmla="*/ 1179 w 10000"/>
                <a:gd name="connsiteY2" fmla="*/ 2894 h 10000"/>
                <a:gd name="connsiteX3" fmla="*/ 1179 w 10000"/>
                <a:gd name="connsiteY3" fmla="*/ 3376 h 10000"/>
                <a:gd name="connsiteX4" fmla="*/ 1179 w 10000"/>
                <a:gd name="connsiteY4" fmla="*/ 3826 h 10000"/>
                <a:gd name="connsiteX5" fmla="*/ 529 w 10000"/>
                <a:gd name="connsiteY5" fmla="*/ 3923 h 10000"/>
                <a:gd name="connsiteX6" fmla="*/ 407 w 10000"/>
                <a:gd name="connsiteY6" fmla="*/ 4180 h 10000"/>
                <a:gd name="connsiteX7" fmla="*/ 122 w 10000"/>
                <a:gd name="connsiteY7" fmla="*/ 4502 h 10000"/>
                <a:gd name="connsiteX8" fmla="*/ 122 w 10000"/>
                <a:gd name="connsiteY8" fmla="*/ 4759 h 10000"/>
                <a:gd name="connsiteX9" fmla="*/ 0 w 10000"/>
                <a:gd name="connsiteY9" fmla="*/ 4823 h 10000"/>
                <a:gd name="connsiteX10" fmla="*/ 3155 w 10000"/>
                <a:gd name="connsiteY10" fmla="*/ 7095 h 10000"/>
                <a:gd name="connsiteX11" fmla="*/ 2967 w 10000"/>
                <a:gd name="connsiteY11" fmla="*/ 7195 h 10000"/>
                <a:gd name="connsiteX12" fmla="*/ 2499 w 10000"/>
                <a:gd name="connsiteY12" fmla="*/ 6973 h 10000"/>
                <a:gd name="connsiteX13" fmla="*/ 2293 w 10000"/>
                <a:gd name="connsiteY13" fmla="*/ 6638 h 10000"/>
                <a:gd name="connsiteX14" fmla="*/ 1949 w 10000"/>
                <a:gd name="connsiteY14" fmla="*/ 6729 h 10000"/>
                <a:gd name="connsiteX15" fmla="*/ 1856 w 10000"/>
                <a:gd name="connsiteY15" fmla="*/ 6927 h 10000"/>
                <a:gd name="connsiteX16" fmla="*/ 1490 w 10000"/>
                <a:gd name="connsiteY16" fmla="*/ 7011 h 10000"/>
                <a:gd name="connsiteX17" fmla="*/ 1251 w 10000"/>
                <a:gd name="connsiteY17" fmla="*/ 7004 h 10000"/>
                <a:gd name="connsiteX18" fmla="*/ 1121 w 10000"/>
                <a:gd name="connsiteY18" fmla="*/ 7161 h 10000"/>
                <a:gd name="connsiteX19" fmla="*/ 895 w 10000"/>
                <a:gd name="connsiteY19" fmla="*/ 6913 h 10000"/>
                <a:gd name="connsiteX20" fmla="*/ 854 w 10000"/>
                <a:gd name="connsiteY20" fmla="*/ 7363 h 10000"/>
                <a:gd name="connsiteX21" fmla="*/ 935 w 10000"/>
                <a:gd name="connsiteY21" fmla="*/ 7428 h 10000"/>
                <a:gd name="connsiteX22" fmla="*/ 1260 w 10000"/>
                <a:gd name="connsiteY22" fmla="*/ 7460 h 10000"/>
                <a:gd name="connsiteX23" fmla="*/ 1302 w 10000"/>
                <a:gd name="connsiteY23" fmla="*/ 7588 h 10000"/>
                <a:gd name="connsiteX24" fmla="*/ 1667 w 10000"/>
                <a:gd name="connsiteY24" fmla="*/ 7621 h 10000"/>
                <a:gd name="connsiteX25" fmla="*/ 1870 w 10000"/>
                <a:gd name="connsiteY25" fmla="*/ 7749 h 10000"/>
                <a:gd name="connsiteX26" fmla="*/ 1911 w 10000"/>
                <a:gd name="connsiteY26" fmla="*/ 7974 h 10000"/>
                <a:gd name="connsiteX27" fmla="*/ 2562 w 10000"/>
                <a:gd name="connsiteY27" fmla="*/ 8360 h 10000"/>
                <a:gd name="connsiteX28" fmla="*/ 2724 w 10000"/>
                <a:gd name="connsiteY28" fmla="*/ 8746 h 10000"/>
                <a:gd name="connsiteX29" fmla="*/ 3171 w 10000"/>
                <a:gd name="connsiteY29" fmla="*/ 8939 h 10000"/>
                <a:gd name="connsiteX30" fmla="*/ 3334 w 10000"/>
                <a:gd name="connsiteY30" fmla="*/ 9196 h 10000"/>
                <a:gd name="connsiteX31" fmla="*/ 3659 w 10000"/>
                <a:gd name="connsiteY31" fmla="*/ 9518 h 10000"/>
                <a:gd name="connsiteX32" fmla="*/ 3903 w 10000"/>
                <a:gd name="connsiteY32" fmla="*/ 9614 h 10000"/>
                <a:gd name="connsiteX33" fmla="*/ 4066 w 10000"/>
                <a:gd name="connsiteY33" fmla="*/ 9518 h 10000"/>
                <a:gd name="connsiteX34" fmla="*/ 4472 w 10000"/>
                <a:gd name="connsiteY34" fmla="*/ 9550 h 10000"/>
                <a:gd name="connsiteX35" fmla="*/ 4635 w 10000"/>
                <a:gd name="connsiteY35" fmla="*/ 9486 h 10000"/>
                <a:gd name="connsiteX36" fmla="*/ 5366 w 10000"/>
                <a:gd name="connsiteY36" fmla="*/ 9968 h 10000"/>
                <a:gd name="connsiteX37" fmla="*/ 5407 w 10000"/>
                <a:gd name="connsiteY37" fmla="*/ 9968 h 10000"/>
                <a:gd name="connsiteX38" fmla="*/ 5488 w 10000"/>
                <a:gd name="connsiteY38" fmla="*/ 9904 h 10000"/>
                <a:gd name="connsiteX39" fmla="*/ 6016 w 10000"/>
                <a:gd name="connsiteY39" fmla="*/ 9904 h 10000"/>
                <a:gd name="connsiteX40" fmla="*/ 6098 w 10000"/>
                <a:gd name="connsiteY40" fmla="*/ 10000 h 10000"/>
                <a:gd name="connsiteX41" fmla="*/ 6545 w 10000"/>
                <a:gd name="connsiteY41" fmla="*/ 9871 h 10000"/>
                <a:gd name="connsiteX42" fmla="*/ 6951 w 10000"/>
                <a:gd name="connsiteY42" fmla="*/ 9871 h 10000"/>
                <a:gd name="connsiteX43" fmla="*/ 7236 w 10000"/>
                <a:gd name="connsiteY43" fmla="*/ 9743 h 10000"/>
                <a:gd name="connsiteX44" fmla="*/ 7561 w 10000"/>
                <a:gd name="connsiteY44" fmla="*/ 9486 h 10000"/>
                <a:gd name="connsiteX45" fmla="*/ 8415 w 10000"/>
                <a:gd name="connsiteY45" fmla="*/ 9486 h 10000"/>
                <a:gd name="connsiteX46" fmla="*/ 8415 w 10000"/>
                <a:gd name="connsiteY46" fmla="*/ 9132 h 10000"/>
                <a:gd name="connsiteX47" fmla="*/ 7968 w 10000"/>
                <a:gd name="connsiteY47" fmla="*/ 8971 h 10000"/>
                <a:gd name="connsiteX48" fmla="*/ 7724 w 10000"/>
                <a:gd name="connsiteY48" fmla="*/ 8457 h 10000"/>
                <a:gd name="connsiteX49" fmla="*/ 7399 w 10000"/>
                <a:gd name="connsiteY49" fmla="*/ 8264 h 10000"/>
                <a:gd name="connsiteX50" fmla="*/ 7195 w 10000"/>
                <a:gd name="connsiteY50" fmla="*/ 8006 h 10000"/>
                <a:gd name="connsiteX51" fmla="*/ 6667 w 10000"/>
                <a:gd name="connsiteY51" fmla="*/ 7814 h 10000"/>
                <a:gd name="connsiteX52" fmla="*/ 6788 w 10000"/>
                <a:gd name="connsiteY52" fmla="*/ 7749 h 10000"/>
                <a:gd name="connsiteX53" fmla="*/ 6788 w 10000"/>
                <a:gd name="connsiteY53" fmla="*/ 7588 h 10000"/>
                <a:gd name="connsiteX54" fmla="*/ 7155 w 10000"/>
                <a:gd name="connsiteY54" fmla="*/ 7588 h 10000"/>
                <a:gd name="connsiteX55" fmla="*/ 7358 w 10000"/>
                <a:gd name="connsiteY55" fmla="*/ 7460 h 10000"/>
                <a:gd name="connsiteX56" fmla="*/ 7399 w 10000"/>
                <a:gd name="connsiteY56" fmla="*/ 6527 h 10000"/>
                <a:gd name="connsiteX57" fmla="*/ 7439 w 10000"/>
                <a:gd name="connsiteY57" fmla="*/ 6559 h 10000"/>
                <a:gd name="connsiteX58" fmla="*/ 7561 w 10000"/>
                <a:gd name="connsiteY58" fmla="*/ 6367 h 10000"/>
                <a:gd name="connsiteX59" fmla="*/ 7805 w 10000"/>
                <a:gd name="connsiteY59" fmla="*/ 6270 h 10000"/>
                <a:gd name="connsiteX60" fmla="*/ 7927 w 10000"/>
                <a:gd name="connsiteY60" fmla="*/ 5916 h 10000"/>
                <a:gd name="connsiteX61" fmla="*/ 8293 w 10000"/>
                <a:gd name="connsiteY61" fmla="*/ 5498 h 10000"/>
                <a:gd name="connsiteX62" fmla="*/ 8577 w 10000"/>
                <a:gd name="connsiteY62" fmla="*/ 5305 h 10000"/>
                <a:gd name="connsiteX63" fmla="*/ 8780 w 10000"/>
                <a:gd name="connsiteY63" fmla="*/ 4759 h 10000"/>
                <a:gd name="connsiteX64" fmla="*/ 8780 w 10000"/>
                <a:gd name="connsiteY64" fmla="*/ 4630 h 10000"/>
                <a:gd name="connsiteX65" fmla="*/ 8740 w 10000"/>
                <a:gd name="connsiteY65" fmla="*/ 4309 h 10000"/>
                <a:gd name="connsiteX66" fmla="*/ 9147 w 10000"/>
                <a:gd name="connsiteY66" fmla="*/ 3151 h 10000"/>
                <a:gd name="connsiteX67" fmla="*/ 9268 w 10000"/>
                <a:gd name="connsiteY67" fmla="*/ 3151 h 10000"/>
                <a:gd name="connsiteX68" fmla="*/ 9431 w 10000"/>
                <a:gd name="connsiteY68" fmla="*/ 3055 h 10000"/>
                <a:gd name="connsiteX69" fmla="*/ 9919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7 w 10000"/>
                <a:gd name="connsiteY72" fmla="*/ 2572 h 10000"/>
                <a:gd name="connsiteX73" fmla="*/ 9675 w 10000"/>
                <a:gd name="connsiteY73" fmla="*/ 2412 h 10000"/>
                <a:gd name="connsiteX74" fmla="*/ 9431 w 10000"/>
                <a:gd name="connsiteY74" fmla="*/ 2347 h 10000"/>
                <a:gd name="connsiteX75" fmla="*/ 9309 w 10000"/>
                <a:gd name="connsiteY75" fmla="*/ 2219 h 10000"/>
                <a:gd name="connsiteX76" fmla="*/ 9228 w 10000"/>
                <a:gd name="connsiteY76" fmla="*/ 1736 h 10000"/>
                <a:gd name="connsiteX77" fmla="*/ 9228 w 10000"/>
                <a:gd name="connsiteY77" fmla="*/ 1061 h 10000"/>
                <a:gd name="connsiteX78" fmla="*/ 9024 w 10000"/>
                <a:gd name="connsiteY78" fmla="*/ 836 h 10000"/>
                <a:gd name="connsiteX79" fmla="*/ 8984 w 10000"/>
                <a:gd name="connsiteY79" fmla="*/ 611 h 10000"/>
                <a:gd name="connsiteX80" fmla="*/ 8659 w 10000"/>
                <a:gd name="connsiteY80" fmla="*/ 289 h 10000"/>
                <a:gd name="connsiteX81" fmla="*/ 8374 w 10000"/>
                <a:gd name="connsiteY81" fmla="*/ 161 h 10000"/>
                <a:gd name="connsiteX82" fmla="*/ 8212 w 10000"/>
                <a:gd name="connsiteY82" fmla="*/ 0 h 10000"/>
                <a:gd name="connsiteX83" fmla="*/ 7968 w 10000"/>
                <a:gd name="connsiteY83" fmla="*/ 161 h 10000"/>
                <a:gd name="connsiteX84" fmla="*/ 7805 w 10000"/>
                <a:gd name="connsiteY84" fmla="*/ 129 h 10000"/>
                <a:gd name="connsiteX85" fmla="*/ 7683 w 10000"/>
                <a:gd name="connsiteY85" fmla="*/ 418 h 10000"/>
                <a:gd name="connsiteX86" fmla="*/ 7358 w 10000"/>
                <a:gd name="connsiteY86" fmla="*/ 482 h 10000"/>
                <a:gd name="connsiteX87" fmla="*/ 7276 w 10000"/>
                <a:gd name="connsiteY87" fmla="*/ 707 h 10000"/>
                <a:gd name="connsiteX88" fmla="*/ 6992 w 10000"/>
                <a:gd name="connsiteY88" fmla="*/ 707 h 10000"/>
                <a:gd name="connsiteX89" fmla="*/ 6748 w 10000"/>
                <a:gd name="connsiteY89" fmla="*/ 611 h 10000"/>
                <a:gd name="connsiteX90" fmla="*/ 6220 w 10000"/>
                <a:gd name="connsiteY90" fmla="*/ 611 h 10000"/>
                <a:gd name="connsiteX91" fmla="*/ 5691 w 10000"/>
                <a:gd name="connsiteY91" fmla="*/ 611 h 10000"/>
                <a:gd name="connsiteX92" fmla="*/ 5732 w 10000"/>
                <a:gd name="connsiteY92" fmla="*/ 482 h 10000"/>
                <a:gd name="connsiteX93" fmla="*/ 5651 w 10000"/>
                <a:gd name="connsiteY93" fmla="*/ 482 h 10000"/>
                <a:gd name="connsiteX94" fmla="*/ 5610 w 10000"/>
                <a:gd name="connsiteY94" fmla="*/ 611 h 10000"/>
                <a:gd name="connsiteX95" fmla="*/ 5122 w 10000"/>
                <a:gd name="connsiteY95" fmla="*/ 611 h 10000"/>
                <a:gd name="connsiteX96" fmla="*/ 4635 w 10000"/>
                <a:gd name="connsiteY96" fmla="*/ 611 h 10000"/>
                <a:gd name="connsiteX97" fmla="*/ 4147 w 10000"/>
                <a:gd name="connsiteY97" fmla="*/ 611 h 10000"/>
                <a:gd name="connsiteX98" fmla="*/ 3659 w 10000"/>
                <a:gd name="connsiteY98" fmla="*/ 611 h 10000"/>
                <a:gd name="connsiteX99" fmla="*/ 3212 w 10000"/>
                <a:gd name="connsiteY99" fmla="*/ 611 h 10000"/>
                <a:gd name="connsiteX100" fmla="*/ 2724 w 10000"/>
                <a:gd name="connsiteY100" fmla="*/ 611 h 10000"/>
                <a:gd name="connsiteX101" fmla="*/ 2276 w 10000"/>
                <a:gd name="connsiteY101" fmla="*/ 611 h 10000"/>
                <a:gd name="connsiteX102" fmla="*/ 1789 w 10000"/>
                <a:gd name="connsiteY102" fmla="*/ 611 h 10000"/>
                <a:gd name="connsiteX103" fmla="*/ 1789 w 10000"/>
                <a:gd name="connsiteY103" fmla="*/ 1061 h 10000"/>
                <a:gd name="connsiteX104" fmla="*/ 1789 w 10000"/>
                <a:gd name="connsiteY104" fmla="*/ 1640 h 10000"/>
                <a:gd name="connsiteX105" fmla="*/ 1179 w 10000"/>
                <a:gd name="connsiteY105" fmla="*/ 1640 h 10000"/>
                <a:gd name="connsiteX106" fmla="*/ 1179 w 10000"/>
                <a:gd name="connsiteY106" fmla="*/ 1897 h 10000"/>
                <a:gd name="connsiteX0" fmla="*/ 1098 w 9919"/>
                <a:gd name="connsiteY0" fmla="*/ 1897 h 10000"/>
                <a:gd name="connsiteX1" fmla="*/ 1098 w 9919"/>
                <a:gd name="connsiteY1" fmla="*/ 2412 h 10000"/>
                <a:gd name="connsiteX2" fmla="*/ 1098 w 9919"/>
                <a:gd name="connsiteY2" fmla="*/ 2894 h 10000"/>
                <a:gd name="connsiteX3" fmla="*/ 1098 w 9919"/>
                <a:gd name="connsiteY3" fmla="*/ 3376 h 10000"/>
                <a:gd name="connsiteX4" fmla="*/ 1098 w 9919"/>
                <a:gd name="connsiteY4" fmla="*/ 3826 h 10000"/>
                <a:gd name="connsiteX5" fmla="*/ 448 w 9919"/>
                <a:gd name="connsiteY5" fmla="*/ 3923 h 10000"/>
                <a:gd name="connsiteX6" fmla="*/ 326 w 9919"/>
                <a:gd name="connsiteY6" fmla="*/ 4180 h 10000"/>
                <a:gd name="connsiteX7" fmla="*/ 41 w 9919"/>
                <a:gd name="connsiteY7" fmla="*/ 4502 h 10000"/>
                <a:gd name="connsiteX8" fmla="*/ 41 w 9919"/>
                <a:gd name="connsiteY8" fmla="*/ 4759 h 10000"/>
                <a:gd name="connsiteX9" fmla="*/ 3775 w 9919"/>
                <a:gd name="connsiteY9" fmla="*/ 7279 h 10000"/>
                <a:gd name="connsiteX10" fmla="*/ 3074 w 9919"/>
                <a:gd name="connsiteY10" fmla="*/ 7095 h 10000"/>
                <a:gd name="connsiteX11" fmla="*/ 2886 w 9919"/>
                <a:gd name="connsiteY11" fmla="*/ 7195 h 10000"/>
                <a:gd name="connsiteX12" fmla="*/ 2418 w 9919"/>
                <a:gd name="connsiteY12" fmla="*/ 6973 h 10000"/>
                <a:gd name="connsiteX13" fmla="*/ 2212 w 9919"/>
                <a:gd name="connsiteY13" fmla="*/ 6638 h 10000"/>
                <a:gd name="connsiteX14" fmla="*/ 1868 w 9919"/>
                <a:gd name="connsiteY14" fmla="*/ 6729 h 10000"/>
                <a:gd name="connsiteX15" fmla="*/ 1775 w 9919"/>
                <a:gd name="connsiteY15" fmla="*/ 6927 h 10000"/>
                <a:gd name="connsiteX16" fmla="*/ 1409 w 9919"/>
                <a:gd name="connsiteY16" fmla="*/ 7011 h 10000"/>
                <a:gd name="connsiteX17" fmla="*/ 1170 w 9919"/>
                <a:gd name="connsiteY17" fmla="*/ 7004 h 10000"/>
                <a:gd name="connsiteX18" fmla="*/ 1040 w 9919"/>
                <a:gd name="connsiteY18" fmla="*/ 7161 h 10000"/>
                <a:gd name="connsiteX19" fmla="*/ 814 w 9919"/>
                <a:gd name="connsiteY19" fmla="*/ 6913 h 10000"/>
                <a:gd name="connsiteX20" fmla="*/ 773 w 9919"/>
                <a:gd name="connsiteY20" fmla="*/ 7363 h 10000"/>
                <a:gd name="connsiteX21" fmla="*/ 854 w 9919"/>
                <a:gd name="connsiteY21" fmla="*/ 7428 h 10000"/>
                <a:gd name="connsiteX22" fmla="*/ 1179 w 9919"/>
                <a:gd name="connsiteY22" fmla="*/ 7460 h 10000"/>
                <a:gd name="connsiteX23" fmla="*/ 1221 w 9919"/>
                <a:gd name="connsiteY23" fmla="*/ 7588 h 10000"/>
                <a:gd name="connsiteX24" fmla="*/ 1586 w 9919"/>
                <a:gd name="connsiteY24" fmla="*/ 7621 h 10000"/>
                <a:gd name="connsiteX25" fmla="*/ 1789 w 9919"/>
                <a:gd name="connsiteY25" fmla="*/ 7749 h 10000"/>
                <a:gd name="connsiteX26" fmla="*/ 1830 w 9919"/>
                <a:gd name="connsiteY26" fmla="*/ 7974 h 10000"/>
                <a:gd name="connsiteX27" fmla="*/ 2481 w 9919"/>
                <a:gd name="connsiteY27" fmla="*/ 8360 h 10000"/>
                <a:gd name="connsiteX28" fmla="*/ 2643 w 9919"/>
                <a:gd name="connsiteY28" fmla="*/ 8746 h 10000"/>
                <a:gd name="connsiteX29" fmla="*/ 3090 w 9919"/>
                <a:gd name="connsiteY29" fmla="*/ 8939 h 10000"/>
                <a:gd name="connsiteX30" fmla="*/ 3253 w 9919"/>
                <a:gd name="connsiteY30" fmla="*/ 9196 h 10000"/>
                <a:gd name="connsiteX31" fmla="*/ 3578 w 9919"/>
                <a:gd name="connsiteY31" fmla="*/ 9518 h 10000"/>
                <a:gd name="connsiteX32" fmla="*/ 3822 w 9919"/>
                <a:gd name="connsiteY32" fmla="*/ 9614 h 10000"/>
                <a:gd name="connsiteX33" fmla="*/ 3985 w 9919"/>
                <a:gd name="connsiteY33" fmla="*/ 9518 h 10000"/>
                <a:gd name="connsiteX34" fmla="*/ 4391 w 9919"/>
                <a:gd name="connsiteY34" fmla="*/ 9550 h 10000"/>
                <a:gd name="connsiteX35" fmla="*/ 4554 w 9919"/>
                <a:gd name="connsiteY35" fmla="*/ 9486 h 10000"/>
                <a:gd name="connsiteX36" fmla="*/ 5285 w 9919"/>
                <a:gd name="connsiteY36" fmla="*/ 9968 h 10000"/>
                <a:gd name="connsiteX37" fmla="*/ 5326 w 9919"/>
                <a:gd name="connsiteY37" fmla="*/ 9968 h 10000"/>
                <a:gd name="connsiteX38" fmla="*/ 5407 w 9919"/>
                <a:gd name="connsiteY38" fmla="*/ 9904 h 10000"/>
                <a:gd name="connsiteX39" fmla="*/ 5935 w 9919"/>
                <a:gd name="connsiteY39" fmla="*/ 9904 h 10000"/>
                <a:gd name="connsiteX40" fmla="*/ 6017 w 9919"/>
                <a:gd name="connsiteY40" fmla="*/ 10000 h 10000"/>
                <a:gd name="connsiteX41" fmla="*/ 6464 w 9919"/>
                <a:gd name="connsiteY41" fmla="*/ 9871 h 10000"/>
                <a:gd name="connsiteX42" fmla="*/ 6870 w 9919"/>
                <a:gd name="connsiteY42" fmla="*/ 9871 h 10000"/>
                <a:gd name="connsiteX43" fmla="*/ 7155 w 9919"/>
                <a:gd name="connsiteY43" fmla="*/ 9743 h 10000"/>
                <a:gd name="connsiteX44" fmla="*/ 7480 w 9919"/>
                <a:gd name="connsiteY44" fmla="*/ 9486 h 10000"/>
                <a:gd name="connsiteX45" fmla="*/ 8334 w 9919"/>
                <a:gd name="connsiteY45" fmla="*/ 9486 h 10000"/>
                <a:gd name="connsiteX46" fmla="*/ 8334 w 9919"/>
                <a:gd name="connsiteY46" fmla="*/ 9132 h 10000"/>
                <a:gd name="connsiteX47" fmla="*/ 7887 w 9919"/>
                <a:gd name="connsiteY47" fmla="*/ 8971 h 10000"/>
                <a:gd name="connsiteX48" fmla="*/ 7643 w 9919"/>
                <a:gd name="connsiteY48" fmla="*/ 8457 h 10000"/>
                <a:gd name="connsiteX49" fmla="*/ 7318 w 9919"/>
                <a:gd name="connsiteY49" fmla="*/ 8264 h 10000"/>
                <a:gd name="connsiteX50" fmla="*/ 7114 w 9919"/>
                <a:gd name="connsiteY50" fmla="*/ 8006 h 10000"/>
                <a:gd name="connsiteX51" fmla="*/ 6586 w 9919"/>
                <a:gd name="connsiteY51" fmla="*/ 7814 h 10000"/>
                <a:gd name="connsiteX52" fmla="*/ 6707 w 9919"/>
                <a:gd name="connsiteY52" fmla="*/ 7749 h 10000"/>
                <a:gd name="connsiteX53" fmla="*/ 6707 w 9919"/>
                <a:gd name="connsiteY53" fmla="*/ 7588 h 10000"/>
                <a:gd name="connsiteX54" fmla="*/ 7074 w 9919"/>
                <a:gd name="connsiteY54" fmla="*/ 7588 h 10000"/>
                <a:gd name="connsiteX55" fmla="*/ 7277 w 9919"/>
                <a:gd name="connsiteY55" fmla="*/ 7460 h 10000"/>
                <a:gd name="connsiteX56" fmla="*/ 7318 w 9919"/>
                <a:gd name="connsiteY56" fmla="*/ 6527 h 10000"/>
                <a:gd name="connsiteX57" fmla="*/ 7358 w 9919"/>
                <a:gd name="connsiteY57" fmla="*/ 6559 h 10000"/>
                <a:gd name="connsiteX58" fmla="*/ 7480 w 9919"/>
                <a:gd name="connsiteY58" fmla="*/ 6367 h 10000"/>
                <a:gd name="connsiteX59" fmla="*/ 7724 w 9919"/>
                <a:gd name="connsiteY59" fmla="*/ 6270 h 10000"/>
                <a:gd name="connsiteX60" fmla="*/ 7846 w 9919"/>
                <a:gd name="connsiteY60" fmla="*/ 5916 h 10000"/>
                <a:gd name="connsiteX61" fmla="*/ 8212 w 9919"/>
                <a:gd name="connsiteY61" fmla="*/ 5498 h 10000"/>
                <a:gd name="connsiteX62" fmla="*/ 8496 w 9919"/>
                <a:gd name="connsiteY62" fmla="*/ 5305 h 10000"/>
                <a:gd name="connsiteX63" fmla="*/ 8699 w 9919"/>
                <a:gd name="connsiteY63" fmla="*/ 4759 h 10000"/>
                <a:gd name="connsiteX64" fmla="*/ 8699 w 9919"/>
                <a:gd name="connsiteY64" fmla="*/ 4630 h 10000"/>
                <a:gd name="connsiteX65" fmla="*/ 8659 w 9919"/>
                <a:gd name="connsiteY65" fmla="*/ 4309 h 10000"/>
                <a:gd name="connsiteX66" fmla="*/ 9066 w 9919"/>
                <a:gd name="connsiteY66" fmla="*/ 3151 h 10000"/>
                <a:gd name="connsiteX67" fmla="*/ 9187 w 9919"/>
                <a:gd name="connsiteY67" fmla="*/ 3151 h 10000"/>
                <a:gd name="connsiteX68" fmla="*/ 9350 w 9919"/>
                <a:gd name="connsiteY68" fmla="*/ 3055 h 10000"/>
                <a:gd name="connsiteX69" fmla="*/ 9838 w 9919"/>
                <a:gd name="connsiteY69" fmla="*/ 2894 h 10000"/>
                <a:gd name="connsiteX70" fmla="*/ 9919 w 9919"/>
                <a:gd name="connsiteY70" fmla="*/ 2637 h 10000"/>
                <a:gd name="connsiteX71" fmla="*/ 9879 w 9919"/>
                <a:gd name="connsiteY71" fmla="*/ 2572 h 10000"/>
                <a:gd name="connsiteX72" fmla="*/ 9716 w 9919"/>
                <a:gd name="connsiteY72" fmla="*/ 2572 h 10000"/>
                <a:gd name="connsiteX73" fmla="*/ 9594 w 9919"/>
                <a:gd name="connsiteY73" fmla="*/ 2412 h 10000"/>
                <a:gd name="connsiteX74" fmla="*/ 9350 w 9919"/>
                <a:gd name="connsiteY74" fmla="*/ 2347 h 10000"/>
                <a:gd name="connsiteX75" fmla="*/ 9228 w 9919"/>
                <a:gd name="connsiteY75" fmla="*/ 2219 h 10000"/>
                <a:gd name="connsiteX76" fmla="*/ 9147 w 9919"/>
                <a:gd name="connsiteY76" fmla="*/ 1736 h 10000"/>
                <a:gd name="connsiteX77" fmla="*/ 9147 w 9919"/>
                <a:gd name="connsiteY77" fmla="*/ 1061 h 10000"/>
                <a:gd name="connsiteX78" fmla="*/ 8943 w 9919"/>
                <a:gd name="connsiteY78" fmla="*/ 836 h 10000"/>
                <a:gd name="connsiteX79" fmla="*/ 8903 w 9919"/>
                <a:gd name="connsiteY79" fmla="*/ 611 h 10000"/>
                <a:gd name="connsiteX80" fmla="*/ 8578 w 9919"/>
                <a:gd name="connsiteY80" fmla="*/ 289 h 10000"/>
                <a:gd name="connsiteX81" fmla="*/ 8293 w 9919"/>
                <a:gd name="connsiteY81" fmla="*/ 161 h 10000"/>
                <a:gd name="connsiteX82" fmla="*/ 8131 w 9919"/>
                <a:gd name="connsiteY82" fmla="*/ 0 h 10000"/>
                <a:gd name="connsiteX83" fmla="*/ 7887 w 9919"/>
                <a:gd name="connsiteY83" fmla="*/ 161 h 10000"/>
                <a:gd name="connsiteX84" fmla="*/ 7724 w 9919"/>
                <a:gd name="connsiteY84" fmla="*/ 129 h 10000"/>
                <a:gd name="connsiteX85" fmla="*/ 7602 w 9919"/>
                <a:gd name="connsiteY85" fmla="*/ 418 h 10000"/>
                <a:gd name="connsiteX86" fmla="*/ 7277 w 9919"/>
                <a:gd name="connsiteY86" fmla="*/ 482 h 10000"/>
                <a:gd name="connsiteX87" fmla="*/ 7195 w 9919"/>
                <a:gd name="connsiteY87" fmla="*/ 707 h 10000"/>
                <a:gd name="connsiteX88" fmla="*/ 6911 w 9919"/>
                <a:gd name="connsiteY88" fmla="*/ 707 h 10000"/>
                <a:gd name="connsiteX89" fmla="*/ 6667 w 9919"/>
                <a:gd name="connsiteY89" fmla="*/ 611 h 10000"/>
                <a:gd name="connsiteX90" fmla="*/ 6139 w 9919"/>
                <a:gd name="connsiteY90" fmla="*/ 611 h 10000"/>
                <a:gd name="connsiteX91" fmla="*/ 5610 w 9919"/>
                <a:gd name="connsiteY91" fmla="*/ 611 h 10000"/>
                <a:gd name="connsiteX92" fmla="*/ 5651 w 9919"/>
                <a:gd name="connsiteY92" fmla="*/ 482 h 10000"/>
                <a:gd name="connsiteX93" fmla="*/ 5570 w 9919"/>
                <a:gd name="connsiteY93" fmla="*/ 482 h 10000"/>
                <a:gd name="connsiteX94" fmla="*/ 5529 w 9919"/>
                <a:gd name="connsiteY94" fmla="*/ 611 h 10000"/>
                <a:gd name="connsiteX95" fmla="*/ 5041 w 9919"/>
                <a:gd name="connsiteY95" fmla="*/ 611 h 10000"/>
                <a:gd name="connsiteX96" fmla="*/ 4554 w 9919"/>
                <a:gd name="connsiteY96" fmla="*/ 611 h 10000"/>
                <a:gd name="connsiteX97" fmla="*/ 4066 w 9919"/>
                <a:gd name="connsiteY97" fmla="*/ 611 h 10000"/>
                <a:gd name="connsiteX98" fmla="*/ 3578 w 9919"/>
                <a:gd name="connsiteY98" fmla="*/ 611 h 10000"/>
                <a:gd name="connsiteX99" fmla="*/ 3131 w 9919"/>
                <a:gd name="connsiteY99" fmla="*/ 611 h 10000"/>
                <a:gd name="connsiteX100" fmla="*/ 2643 w 9919"/>
                <a:gd name="connsiteY100" fmla="*/ 611 h 10000"/>
                <a:gd name="connsiteX101" fmla="*/ 2195 w 9919"/>
                <a:gd name="connsiteY101" fmla="*/ 611 h 10000"/>
                <a:gd name="connsiteX102" fmla="*/ 1708 w 9919"/>
                <a:gd name="connsiteY102" fmla="*/ 611 h 10000"/>
                <a:gd name="connsiteX103" fmla="*/ 1708 w 9919"/>
                <a:gd name="connsiteY103" fmla="*/ 1061 h 10000"/>
                <a:gd name="connsiteX104" fmla="*/ 1708 w 9919"/>
                <a:gd name="connsiteY104" fmla="*/ 1640 h 10000"/>
                <a:gd name="connsiteX105" fmla="*/ 1098 w 9919"/>
                <a:gd name="connsiteY105" fmla="*/ 1640 h 10000"/>
                <a:gd name="connsiteX106" fmla="*/ 1098 w 9919"/>
                <a:gd name="connsiteY106" fmla="*/ 1897 h 10000"/>
                <a:gd name="connsiteX0" fmla="*/ 1066 w 9959"/>
                <a:gd name="connsiteY0" fmla="*/ 1897 h 10000"/>
                <a:gd name="connsiteX1" fmla="*/ 1066 w 9959"/>
                <a:gd name="connsiteY1" fmla="*/ 2412 h 10000"/>
                <a:gd name="connsiteX2" fmla="*/ 1066 w 9959"/>
                <a:gd name="connsiteY2" fmla="*/ 2894 h 10000"/>
                <a:gd name="connsiteX3" fmla="*/ 1066 w 9959"/>
                <a:gd name="connsiteY3" fmla="*/ 3376 h 10000"/>
                <a:gd name="connsiteX4" fmla="*/ 1066 w 9959"/>
                <a:gd name="connsiteY4" fmla="*/ 3826 h 10000"/>
                <a:gd name="connsiteX5" fmla="*/ 411 w 9959"/>
                <a:gd name="connsiteY5" fmla="*/ 3923 h 10000"/>
                <a:gd name="connsiteX6" fmla="*/ 288 w 9959"/>
                <a:gd name="connsiteY6" fmla="*/ 4180 h 10000"/>
                <a:gd name="connsiteX7" fmla="*/ 0 w 9959"/>
                <a:gd name="connsiteY7" fmla="*/ 4502 h 10000"/>
                <a:gd name="connsiteX8" fmla="*/ 4089 w 9959"/>
                <a:gd name="connsiteY8" fmla="*/ 7281 h 10000"/>
                <a:gd name="connsiteX9" fmla="*/ 3765 w 9959"/>
                <a:gd name="connsiteY9" fmla="*/ 7279 h 10000"/>
                <a:gd name="connsiteX10" fmla="*/ 3058 w 9959"/>
                <a:gd name="connsiteY10" fmla="*/ 7095 h 10000"/>
                <a:gd name="connsiteX11" fmla="*/ 2869 w 9959"/>
                <a:gd name="connsiteY11" fmla="*/ 7195 h 10000"/>
                <a:gd name="connsiteX12" fmla="*/ 2397 w 9959"/>
                <a:gd name="connsiteY12" fmla="*/ 6973 h 10000"/>
                <a:gd name="connsiteX13" fmla="*/ 2189 w 9959"/>
                <a:gd name="connsiteY13" fmla="*/ 6638 h 10000"/>
                <a:gd name="connsiteX14" fmla="*/ 1842 w 9959"/>
                <a:gd name="connsiteY14" fmla="*/ 6729 h 10000"/>
                <a:gd name="connsiteX15" fmla="*/ 1748 w 9959"/>
                <a:gd name="connsiteY15" fmla="*/ 6927 h 10000"/>
                <a:gd name="connsiteX16" fmla="*/ 1380 w 9959"/>
                <a:gd name="connsiteY16" fmla="*/ 7011 h 10000"/>
                <a:gd name="connsiteX17" fmla="*/ 1139 w 9959"/>
                <a:gd name="connsiteY17" fmla="*/ 7004 h 10000"/>
                <a:gd name="connsiteX18" fmla="*/ 1007 w 9959"/>
                <a:gd name="connsiteY18" fmla="*/ 7161 h 10000"/>
                <a:gd name="connsiteX19" fmla="*/ 780 w 9959"/>
                <a:gd name="connsiteY19" fmla="*/ 6913 h 10000"/>
                <a:gd name="connsiteX20" fmla="*/ 738 w 9959"/>
                <a:gd name="connsiteY20" fmla="*/ 7363 h 10000"/>
                <a:gd name="connsiteX21" fmla="*/ 820 w 9959"/>
                <a:gd name="connsiteY21" fmla="*/ 7428 h 10000"/>
                <a:gd name="connsiteX22" fmla="*/ 1148 w 9959"/>
                <a:gd name="connsiteY22" fmla="*/ 7460 h 10000"/>
                <a:gd name="connsiteX23" fmla="*/ 1190 w 9959"/>
                <a:gd name="connsiteY23" fmla="*/ 7588 h 10000"/>
                <a:gd name="connsiteX24" fmla="*/ 1558 w 9959"/>
                <a:gd name="connsiteY24" fmla="*/ 7621 h 10000"/>
                <a:gd name="connsiteX25" fmla="*/ 1763 w 9959"/>
                <a:gd name="connsiteY25" fmla="*/ 7749 h 10000"/>
                <a:gd name="connsiteX26" fmla="*/ 1804 w 9959"/>
                <a:gd name="connsiteY26" fmla="*/ 7974 h 10000"/>
                <a:gd name="connsiteX27" fmla="*/ 2460 w 9959"/>
                <a:gd name="connsiteY27" fmla="*/ 8360 h 10000"/>
                <a:gd name="connsiteX28" fmla="*/ 2624 w 9959"/>
                <a:gd name="connsiteY28" fmla="*/ 8746 h 10000"/>
                <a:gd name="connsiteX29" fmla="*/ 3074 w 9959"/>
                <a:gd name="connsiteY29" fmla="*/ 8939 h 10000"/>
                <a:gd name="connsiteX30" fmla="*/ 3239 w 9959"/>
                <a:gd name="connsiteY30" fmla="*/ 9196 h 10000"/>
                <a:gd name="connsiteX31" fmla="*/ 3566 w 9959"/>
                <a:gd name="connsiteY31" fmla="*/ 9518 h 10000"/>
                <a:gd name="connsiteX32" fmla="*/ 3812 w 9959"/>
                <a:gd name="connsiteY32" fmla="*/ 9614 h 10000"/>
                <a:gd name="connsiteX33" fmla="*/ 3977 w 9959"/>
                <a:gd name="connsiteY33" fmla="*/ 9518 h 10000"/>
                <a:gd name="connsiteX34" fmla="*/ 4386 w 9959"/>
                <a:gd name="connsiteY34" fmla="*/ 9550 h 10000"/>
                <a:gd name="connsiteX35" fmla="*/ 4550 w 9959"/>
                <a:gd name="connsiteY35" fmla="*/ 9486 h 10000"/>
                <a:gd name="connsiteX36" fmla="*/ 5287 w 9959"/>
                <a:gd name="connsiteY36" fmla="*/ 9968 h 10000"/>
                <a:gd name="connsiteX37" fmla="*/ 5328 w 9959"/>
                <a:gd name="connsiteY37" fmla="*/ 9968 h 10000"/>
                <a:gd name="connsiteX38" fmla="*/ 5410 w 9959"/>
                <a:gd name="connsiteY38" fmla="*/ 9904 h 10000"/>
                <a:gd name="connsiteX39" fmla="*/ 5942 w 9959"/>
                <a:gd name="connsiteY39" fmla="*/ 9904 h 10000"/>
                <a:gd name="connsiteX40" fmla="*/ 6025 w 9959"/>
                <a:gd name="connsiteY40" fmla="*/ 10000 h 10000"/>
                <a:gd name="connsiteX41" fmla="*/ 6476 w 9959"/>
                <a:gd name="connsiteY41" fmla="*/ 9871 h 10000"/>
                <a:gd name="connsiteX42" fmla="*/ 6885 w 9959"/>
                <a:gd name="connsiteY42" fmla="*/ 9871 h 10000"/>
                <a:gd name="connsiteX43" fmla="*/ 7172 w 9959"/>
                <a:gd name="connsiteY43" fmla="*/ 9743 h 10000"/>
                <a:gd name="connsiteX44" fmla="*/ 7500 w 9959"/>
                <a:gd name="connsiteY44" fmla="*/ 9486 h 10000"/>
                <a:gd name="connsiteX45" fmla="*/ 8361 w 9959"/>
                <a:gd name="connsiteY45" fmla="*/ 9486 h 10000"/>
                <a:gd name="connsiteX46" fmla="*/ 8361 w 9959"/>
                <a:gd name="connsiteY46" fmla="*/ 9132 h 10000"/>
                <a:gd name="connsiteX47" fmla="*/ 7910 w 9959"/>
                <a:gd name="connsiteY47" fmla="*/ 8971 h 10000"/>
                <a:gd name="connsiteX48" fmla="*/ 7664 w 9959"/>
                <a:gd name="connsiteY48" fmla="*/ 8457 h 10000"/>
                <a:gd name="connsiteX49" fmla="*/ 7337 w 9959"/>
                <a:gd name="connsiteY49" fmla="*/ 8264 h 10000"/>
                <a:gd name="connsiteX50" fmla="*/ 7131 w 9959"/>
                <a:gd name="connsiteY50" fmla="*/ 8006 h 10000"/>
                <a:gd name="connsiteX51" fmla="*/ 6599 w 9959"/>
                <a:gd name="connsiteY51" fmla="*/ 7814 h 10000"/>
                <a:gd name="connsiteX52" fmla="*/ 6721 w 9959"/>
                <a:gd name="connsiteY52" fmla="*/ 7749 h 10000"/>
                <a:gd name="connsiteX53" fmla="*/ 6721 w 9959"/>
                <a:gd name="connsiteY53" fmla="*/ 7588 h 10000"/>
                <a:gd name="connsiteX54" fmla="*/ 7091 w 9959"/>
                <a:gd name="connsiteY54" fmla="*/ 7588 h 10000"/>
                <a:gd name="connsiteX55" fmla="*/ 7295 w 9959"/>
                <a:gd name="connsiteY55" fmla="*/ 7460 h 10000"/>
                <a:gd name="connsiteX56" fmla="*/ 7337 w 9959"/>
                <a:gd name="connsiteY56" fmla="*/ 6527 h 10000"/>
                <a:gd name="connsiteX57" fmla="*/ 7377 w 9959"/>
                <a:gd name="connsiteY57" fmla="*/ 6559 h 10000"/>
                <a:gd name="connsiteX58" fmla="*/ 7500 w 9959"/>
                <a:gd name="connsiteY58" fmla="*/ 6367 h 10000"/>
                <a:gd name="connsiteX59" fmla="*/ 7746 w 9959"/>
                <a:gd name="connsiteY59" fmla="*/ 6270 h 10000"/>
                <a:gd name="connsiteX60" fmla="*/ 7869 w 9959"/>
                <a:gd name="connsiteY60" fmla="*/ 5916 h 10000"/>
                <a:gd name="connsiteX61" fmla="*/ 8238 w 9959"/>
                <a:gd name="connsiteY61" fmla="*/ 5498 h 10000"/>
                <a:gd name="connsiteX62" fmla="*/ 8524 w 9959"/>
                <a:gd name="connsiteY62" fmla="*/ 5305 h 10000"/>
                <a:gd name="connsiteX63" fmla="*/ 8729 w 9959"/>
                <a:gd name="connsiteY63" fmla="*/ 4759 h 10000"/>
                <a:gd name="connsiteX64" fmla="*/ 8729 w 9959"/>
                <a:gd name="connsiteY64" fmla="*/ 4630 h 10000"/>
                <a:gd name="connsiteX65" fmla="*/ 8689 w 9959"/>
                <a:gd name="connsiteY65" fmla="*/ 4309 h 10000"/>
                <a:gd name="connsiteX66" fmla="*/ 9099 w 9959"/>
                <a:gd name="connsiteY66" fmla="*/ 3151 h 10000"/>
                <a:gd name="connsiteX67" fmla="*/ 9221 w 9959"/>
                <a:gd name="connsiteY67" fmla="*/ 3151 h 10000"/>
                <a:gd name="connsiteX68" fmla="*/ 9385 w 9959"/>
                <a:gd name="connsiteY68" fmla="*/ 3055 h 10000"/>
                <a:gd name="connsiteX69" fmla="*/ 9877 w 9959"/>
                <a:gd name="connsiteY69" fmla="*/ 2894 h 10000"/>
                <a:gd name="connsiteX70" fmla="*/ 9959 w 9959"/>
                <a:gd name="connsiteY70" fmla="*/ 2637 h 10000"/>
                <a:gd name="connsiteX71" fmla="*/ 9919 w 9959"/>
                <a:gd name="connsiteY71" fmla="*/ 2572 h 10000"/>
                <a:gd name="connsiteX72" fmla="*/ 9754 w 9959"/>
                <a:gd name="connsiteY72" fmla="*/ 2572 h 10000"/>
                <a:gd name="connsiteX73" fmla="*/ 9631 w 9959"/>
                <a:gd name="connsiteY73" fmla="*/ 2412 h 10000"/>
                <a:gd name="connsiteX74" fmla="*/ 9385 w 9959"/>
                <a:gd name="connsiteY74" fmla="*/ 2347 h 10000"/>
                <a:gd name="connsiteX75" fmla="*/ 9262 w 9959"/>
                <a:gd name="connsiteY75" fmla="*/ 2219 h 10000"/>
                <a:gd name="connsiteX76" fmla="*/ 9181 w 9959"/>
                <a:gd name="connsiteY76" fmla="*/ 1736 h 10000"/>
                <a:gd name="connsiteX77" fmla="*/ 9181 w 9959"/>
                <a:gd name="connsiteY77" fmla="*/ 1061 h 10000"/>
                <a:gd name="connsiteX78" fmla="*/ 8975 w 9959"/>
                <a:gd name="connsiteY78" fmla="*/ 836 h 10000"/>
                <a:gd name="connsiteX79" fmla="*/ 8935 w 9959"/>
                <a:gd name="connsiteY79" fmla="*/ 611 h 10000"/>
                <a:gd name="connsiteX80" fmla="*/ 8607 w 9959"/>
                <a:gd name="connsiteY80" fmla="*/ 289 h 10000"/>
                <a:gd name="connsiteX81" fmla="*/ 8320 w 9959"/>
                <a:gd name="connsiteY81" fmla="*/ 161 h 10000"/>
                <a:gd name="connsiteX82" fmla="*/ 8156 w 9959"/>
                <a:gd name="connsiteY82" fmla="*/ 0 h 10000"/>
                <a:gd name="connsiteX83" fmla="*/ 7910 w 9959"/>
                <a:gd name="connsiteY83" fmla="*/ 161 h 10000"/>
                <a:gd name="connsiteX84" fmla="*/ 7746 w 9959"/>
                <a:gd name="connsiteY84" fmla="*/ 129 h 10000"/>
                <a:gd name="connsiteX85" fmla="*/ 7623 w 9959"/>
                <a:gd name="connsiteY85" fmla="*/ 418 h 10000"/>
                <a:gd name="connsiteX86" fmla="*/ 7295 w 9959"/>
                <a:gd name="connsiteY86" fmla="*/ 482 h 10000"/>
                <a:gd name="connsiteX87" fmla="*/ 7213 w 9959"/>
                <a:gd name="connsiteY87" fmla="*/ 707 h 10000"/>
                <a:gd name="connsiteX88" fmla="*/ 6926 w 9959"/>
                <a:gd name="connsiteY88" fmla="*/ 707 h 10000"/>
                <a:gd name="connsiteX89" fmla="*/ 6680 w 9959"/>
                <a:gd name="connsiteY89" fmla="*/ 611 h 10000"/>
                <a:gd name="connsiteX90" fmla="*/ 6148 w 9959"/>
                <a:gd name="connsiteY90" fmla="*/ 611 h 10000"/>
                <a:gd name="connsiteX91" fmla="*/ 5615 w 9959"/>
                <a:gd name="connsiteY91" fmla="*/ 611 h 10000"/>
                <a:gd name="connsiteX92" fmla="*/ 5656 w 9959"/>
                <a:gd name="connsiteY92" fmla="*/ 482 h 10000"/>
                <a:gd name="connsiteX93" fmla="*/ 5574 w 9959"/>
                <a:gd name="connsiteY93" fmla="*/ 482 h 10000"/>
                <a:gd name="connsiteX94" fmla="*/ 5533 w 9959"/>
                <a:gd name="connsiteY94" fmla="*/ 611 h 10000"/>
                <a:gd name="connsiteX95" fmla="*/ 5041 w 9959"/>
                <a:gd name="connsiteY95" fmla="*/ 611 h 10000"/>
                <a:gd name="connsiteX96" fmla="*/ 4550 w 9959"/>
                <a:gd name="connsiteY96" fmla="*/ 611 h 10000"/>
                <a:gd name="connsiteX97" fmla="*/ 4058 w 9959"/>
                <a:gd name="connsiteY97" fmla="*/ 611 h 10000"/>
                <a:gd name="connsiteX98" fmla="*/ 3566 w 9959"/>
                <a:gd name="connsiteY98" fmla="*/ 611 h 10000"/>
                <a:gd name="connsiteX99" fmla="*/ 3116 w 9959"/>
                <a:gd name="connsiteY99" fmla="*/ 611 h 10000"/>
                <a:gd name="connsiteX100" fmla="*/ 2624 w 9959"/>
                <a:gd name="connsiteY100" fmla="*/ 611 h 10000"/>
                <a:gd name="connsiteX101" fmla="*/ 2172 w 9959"/>
                <a:gd name="connsiteY101" fmla="*/ 611 h 10000"/>
                <a:gd name="connsiteX102" fmla="*/ 1681 w 9959"/>
                <a:gd name="connsiteY102" fmla="*/ 611 h 10000"/>
                <a:gd name="connsiteX103" fmla="*/ 1681 w 9959"/>
                <a:gd name="connsiteY103" fmla="*/ 1061 h 10000"/>
                <a:gd name="connsiteX104" fmla="*/ 1681 w 9959"/>
                <a:gd name="connsiteY104" fmla="*/ 1640 h 10000"/>
                <a:gd name="connsiteX105" fmla="*/ 1066 w 9959"/>
                <a:gd name="connsiteY105" fmla="*/ 1640 h 10000"/>
                <a:gd name="connsiteX106" fmla="*/ 1066 w 9959"/>
                <a:gd name="connsiteY106" fmla="*/ 1897 h 10000"/>
                <a:gd name="connsiteX0" fmla="*/ 781 w 9711"/>
                <a:gd name="connsiteY0" fmla="*/ 1897 h 10000"/>
                <a:gd name="connsiteX1" fmla="*/ 781 w 9711"/>
                <a:gd name="connsiteY1" fmla="*/ 2412 h 10000"/>
                <a:gd name="connsiteX2" fmla="*/ 781 w 9711"/>
                <a:gd name="connsiteY2" fmla="*/ 2894 h 10000"/>
                <a:gd name="connsiteX3" fmla="*/ 781 w 9711"/>
                <a:gd name="connsiteY3" fmla="*/ 3376 h 10000"/>
                <a:gd name="connsiteX4" fmla="*/ 781 w 9711"/>
                <a:gd name="connsiteY4" fmla="*/ 3826 h 10000"/>
                <a:gd name="connsiteX5" fmla="*/ 124 w 9711"/>
                <a:gd name="connsiteY5" fmla="*/ 3923 h 10000"/>
                <a:gd name="connsiteX6" fmla="*/ 0 w 9711"/>
                <a:gd name="connsiteY6" fmla="*/ 4180 h 10000"/>
                <a:gd name="connsiteX7" fmla="*/ 4324 w 9711"/>
                <a:gd name="connsiteY7" fmla="*/ 7064 h 10000"/>
                <a:gd name="connsiteX8" fmla="*/ 3817 w 9711"/>
                <a:gd name="connsiteY8" fmla="*/ 7281 h 10000"/>
                <a:gd name="connsiteX9" fmla="*/ 3492 w 9711"/>
                <a:gd name="connsiteY9" fmla="*/ 7279 h 10000"/>
                <a:gd name="connsiteX10" fmla="*/ 2782 w 9711"/>
                <a:gd name="connsiteY10" fmla="*/ 7095 h 10000"/>
                <a:gd name="connsiteX11" fmla="*/ 2592 w 9711"/>
                <a:gd name="connsiteY11" fmla="*/ 7195 h 10000"/>
                <a:gd name="connsiteX12" fmla="*/ 2118 w 9711"/>
                <a:gd name="connsiteY12" fmla="*/ 6973 h 10000"/>
                <a:gd name="connsiteX13" fmla="*/ 1909 w 9711"/>
                <a:gd name="connsiteY13" fmla="*/ 6638 h 10000"/>
                <a:gd name="connsiteX14" fmla="*/ 1561 w 9711"/>
                <a:gd name="connsiteY14" fmla="*/ 6729 h 10000"/>
                <a:gd name="connsiteX15" fmla="*/ 1466 w 9711"/>
                <a:gd name="connsiteY15" fmla="*/ 6927 h 10000"/>
                <a:gd name="connsiteX16" fmla="*/ 1097 w 9711"/>
                <a:gd name="connsiteY16" fmla="*/ 7011 h 10000"/>
                <a:gd name="connsiteX17" fmla="*/ 855 w 9711"/>
                <a:gd name="connsiteY17" fmla="*/ 7004 h 10000"/>
                <a:gd name="connsiteX18" fmla="*/ 722 w 9711"/>
                <a:gd name="connsiteY18" fmla="*/ 7161 h 10000"/>
                <a:gd name="connsiteX19" fmla="*/ 494 w 9711"/>
                <a:gd name="connsiteY19" fmla="*/ 6913 h 10000"/>
                <a:gd name="connsiteX20" fmla="*/ 452 w 9711"/>
                <a:gd name="connsiteY20" fmla="*/ 7363 h 10000"/>
                <a:gd name="connsiteX21" fmla="*/ 534 w 9711"/>
                <a:gd name="connsiteY21" fmla="*/ 7428 h 10000"/>
                <a:gd name="connsiteX22" fmla="*/ 864 w 9711"/>
                <a:gd name="connsiteY22" fmla="*/ 7460 h 10000"/>
                <a:gd name="connsiteX23" fmla="*/ 906 w 9711"/>
                <a:gd name="connsiteY23" fmla="*/ 7588 h 10000"/>
                <a:gd name="connsiteX24" fmla="*/ 1275 w 9711"/>
                <a:gd name="connsiteY24" fmla="*/ 7621 h 10000"/>
                <a:gd name="connsiteX25" fmla="*/ 1481 w 9711"/>
                <a:gd name="connsiteY25" fmla="*/ 7749 h 10000"/>
                <a:gd name="connsiteX26" fmla="*/ 1522 w 9711"/>
                <a:gd name="connsiteY26" fmla="*/ 7974 h 10000"/>
                <a:gd name="connsiteX27" fmla="*/ 2181 w 9711"/>
                <a:gd name="connsiteY27" fmla="*/ 8360 h 10000"/>
                <a:gd name="connsiteX28" fmla="*/ 2346 w 9711"/>
                <a:gd name="connsiteY28" fmla="*/ 8746 h 10000"/>
                <a:gd name="connsiteX29" fmla="*/ 2798 w 9711"/>
                <a:gd name="connsiteY29" fmla="*/ 8939 h 10000"/>
                <a:gd name="connsiteX30" fmla="*/ 2963 w 9711"/>
                <a:gd name="connsiteY30" fmla="*/ 9196 h 10000"/>
                <a:gd name="connsiteX31" fmla="*/ 3292 w 9711"/>
                <a:gd name="connsiteY31" fmla="*/ 9518 h 10000"/>
                <a:gd name="connsiteX32" fmla="*/ 3539 w 9711"/>
                <a:gd name="connsiteY32" fmla="*/ 9614 h 10000"/>
                <a:gd name="connsiteX33" fmla="*/ 3704 w 9711"/>
                <a:gd name="connsiteY33" fmla="*/ 9518 h 10000"/>
                <a:gd name="connsiteX34" fmla="*/ 4115 w 9711"/>
                <a:gd name="connsiteY34" fmla="*/ 9550 h 10000"/>
                <a:gd name="connsiteX35" fmla="*/ 4280 w 9711"/>
                <a:gd name="connsiteY35" fmla="*/ 9486 h 10000"/>
                <a:gd name="connsiteX36" fmla="*/ 5020 w 9711"/>
                <a:gd name="connsiteY36" fmla="*/ 9968 h 10000"/>
                <a:gd name="connsiteX37" fmla="*/ 5061 w 9711"/>
                <a:gd name="connsiteY37" fmla="*/ 9968 h 10000"/>
                <a:gd name="connsiteX38" fmla="*/ 5143 w 9711"/>
                <a:gd name="connsiteY38" fmla="*/ 9904 h 10000"/>
                <a:gd name="connsiteX39" fmla="*/ 5677 w 9711"/>
                <a:gd name="connsiteY39" fmla="*/ 9904 h 10000"/>
                <a:gd name="connsiteX40" fmla="*/ 5761 w 9711"/>
                <a:gd name="connsiteY40" fmla="*/ 10000 h 10000"/>
                <a:gd name="connsiteX41" fmla="*/ 6214 w 9711"/>
                <a:gd name="connsiteY41" fmla="*/ 9871 h 10000"/>
                <a:gd name="connsiteX42" fmla="*/ 6624 w 9711"/>
                <a:gd name="connsiteY42" fmla="*/ 9871 h 10000"/>
                <a:gd name="connsiteX43" fmla="*/ 6913 w 9711"/>
                <a:gd name="connsiteY43" fmla="*/ 9743 h 10000"/>
                <a:gd name="connsiteX44" fmla="*/ 7242 w 9711"/>
                <a:gd name="connsiteY44" fmla="*/ 9486 h 10000"/>
                <a:gd name="connsiteX45" fmla="*/ 8106 w 9711"/>
                <a:gd name="connsiteY45" fmla="*/ 9486 h 10000"/>
                <a:gd name="connsiteX46" fmla="*/ 8106 w 9711"/>
                <a:gd name="connsiteY46" fmla="*/ 9132 h 10000"/>
                <a:gd name="connsiteX47" fmla="*/ 7654 w 9711"/>
                <a:gd name="connsiteY47" fmla="*/ 8971 h 10000"/>
                <a:gd name="connsiteX48" fmla="*/ 7407 w 9711"/>
                <a:gd name="connsiteY48" fmla="*/ 8457 h 10000"/>
                <a:gd name="connsiteX49" fmla="*/ 7078 w 9711"/>
                <a:gd name="connsiteY49" fmla="*/ 8264 h 10000"/>
                <a:gd name="connsiteX50" fmla="*/ 6871 w 9711"/>
                <a:gd name="connsiteY50" fmla="*/ 8006 h 10000"/>
                <a:gd name="connsiteX51" fmla="*/ 6337 w 9711"/>
                <a:gd name="connsiteY51" fmla="*/ 7814 h 10000"/>
                <a:gd name="connsiteX52" fmla="*/ 6460 w 9711"/>
                <a:gd name="connsiteY52" fmla="*/ 7749 h 10000"/>
                <a:gd name="connsiteX53" fmla="*/ 6460 w 9711"/>
                <a:gd name="connsiteY53" fmla="*/ 7588 h 10000"/>
                <a:gd name="connsiteX54" fmla="*/ 6831 w 9711"/>
                <a:gd name="connsiteY54" fmla="*/ 7588 h 10000"/>
                <a:gd name="connsiteX55" fmla="*/ 7036 w 9711"/>
                <a:gd name="connsiteY55" fmla="*/ 7460 h 10000"/>
                <a:gd name="connsiteX56" fmla="*/ 7078 w 9711"/>
                <a:gd name="connsiteY56" fmla="*/ 6527 h 10000"/>
                <a:gd name="connsiteX57" fmla="*/ 7118 w 9711"/>
                <a:gd name="connsiteY57" fmla="*/ 6559 h 10000"/>
                <a:gd name="connsiteX58" fmla="*/ 7242 w 9711"/>
                <a:gd name="connsiteY58" fmla="*/ 6367 h 10000"/>
                <a:gd name="connsiteX59" fmla="*/ 7489 w 9711"/>
                <a:gd name="connsiteY59" fmla="*/ 6270 h 10000"/>
                <a:gd name="connsiteX60" fmla="*/ 7612 w 9711"/>
                <a:gd name="connsiteY60" fmla="*/ 5916 h 10000"/>
                <a:gd name="connsiteX61" fmla="*/ 7983 w 9711"/>
                <a:gd name="connsiteY61" fmla="*/ 5498 h 10000"/>
                <a:gd name="connsiteX62" fmla="*/ 8270 w 9711"/>
                <a:gd name="connsiteY62" fmla="*/ 5305 h 10000"/>
                <a:gd name="connsiteX63" fmla="*/ 8476 w 9711"/>
                <a:gd name="connsiteY63" fmla="*/ 4759 h 10000"/>
                <a:gd name="connsiteX64" fmla="*/ 8476 w 9711"/>
                <a:gd name="connsiteY64" fmla="*/ 4630 h 10000"/>
                <a:gd name="connsiteX65" fmla="*/ 8436 w 9711"/>
                <a:gd name="connsiteY65" fmla="*/ 4309 h 10000"/>
                <a:gd name="connsiteX66" fmla="*/ 8847 w 9711"/>
                <a:gd name="connsiteY66" fmla="*/ 3151 h 10000"/>
                <a:gd name="connsiteX67" fmla="*/ 8970 w 9711"/>
                <a:gd name="connsiteY67" fmla="*/ 3151 h 10000"/>
                <a:gd name="connsiteX68" fmla="*/ 9135 w 9711"/>
                <a:gd name="connsiteY68" fmla="*/ 3055 h 10000"/>
                <a:gd name="connsiteX69" fmla="*/ 9629 w 9711"/>
                <a:gd name="connsiteY69" fmla="*/ 2894 h 10000"/>
                <a:gd name="connsiteX70" fmla="*/ 9711 w 9711"/>
                <a:gd name="connsiteY70" fmla="*/ 2637 h 10000"/>
                <a:gd name="connsiteX71" fmla="*/ 9671 w 9711"/>
                <a:gd name="connsiteY71" fmla="*/ 2572 h 10000"/>
                <a:gd name="connsiteX72" fmla="*/ 9505 w 9711"/>
                <a:gd name="connsiteY72" fmla="*/ 2572 h 10000"/>
                <a:gd name="connsiteX73" fmla="*/ 9382 w 9711"/>
                <a:gd name="connsiteY73" fmla="*/ 2412 h 10000"/>
                <a:gd name="connsiteX74" fmla="*/ 9135 w 9711"/>
                <a:gd name="connsiteY74" fmla="*/ 2347 h 10000"/>
                <a:gd name="connsiteX75" fmla="*/ 9011 w 9711"/>
                <a:gd name="connsiteY75" fmla="*/ 2219 h 10000"/>
                <a:gd name="connsiteX76" fmla="*/ 8930 w 9711"/>
                <a:gd name="connsiteY76" fmla="*/ 1736 h 10000"/>
                <a:gd name="connsiteX77" fmla="*/ 8930 w 9711"/>
                <a:gd name="connsiteY77" fmla="*/ 1061 h 10000"/>
                <a:gd name="connsiteX78" fmla="*/ 8723 w 9711"/>
                <a:gd name="connsiteY78" fmla="*/ 836 h 10000"/>
                <a:gd name="connsiteX79" fmla="*/ 8683 w 9711"/>
                <a:gd name="connsiteY79" fmla="*/ 611 h 10000"/>
                <a:gd name="connsiteX80" fmla="*/ 8353 w 9711"/>
                <a:gd name="connsiteY80" fmla="*/ 289 h 10000"/>
                <a:gd name="connsiteX81" fmla="*/ 8065 w 9711"/>
                <a:gd name="connsiteY81" fmla="*/ 161 h 10000"/>
                <a:gd name="connsiteX82" fmla="*/ 7901 w 9711"/>
                <a:gd name="connsiteY82" fmla="*/ 0 h 10000"/>
                <a:gd name="connsiteX83" fmla="*/ 7654 w 9711"/>
                <a:gd name="connsiteY83" fmla="*/ 161 h 10000"/>
                <a:gd name="connsiteX84" fmla="*/ 7489 w 9711"/>
                <a:gd name="connsiteY84" fmla="*/ 129 h 10000"/>
                <a:gd name="connsiteX85" fmla="*/ 7365 w 9711"/>
                <a:gd name="connsiteY85" fmla="*/ 418 h 10000"/>
                <a:gd name="connsiteX86" fmla="*/ 7036 w 9711"/>
                <a:gd name="connsiteY86" fmla="*/ 482 h 10000"/>
                <a:gd name="connsiteX87" fmla="*/ 6954 w 9711"/>
                <a:gd name="connsiteY87" fmla="*/ 707 h 10000"/>
                <a:gd name="connsiteX88" fmla="*/ 6666 w 9711"/>
                <a:gd name="connsiteY88" fmla="*/ 707 h 10000"/>
                <a:gd name="connsiteX89" fmla="*/ 6419 w 9711"/>
                <a:gd name="connsiteY89" fmla="*/ 611 h 10000"/>
                <a:gd name="connsiteX90" fmla="*/ 5884 w 9711"/>
                <a:gd name="connsiteY90" fmla="*/ 611 h 10000"/>
                <a:gd name="connsiteX91" fmla="*/ 5349 w 9711"/>
                <a:gd name="connsiteY91" fmla="*/ 611 h 10000"/>
                <a:gd name="connsiteX92" fmla="*/ 5390 w 9711"/>
                <a:gd name="connsiteY92" fmla="*/ 482 h 10000"/>
                <a:gd name="connsiteX93" fmla="*/ 5308 w 9711"/>
                <a:gd name="connsiteY93" fmla="*/ 482 h 10000"/>
                <a:gd name="connsiteX94" fmla="*/ 5267 w 9711"/>
                <a:gd name="connsiteY94" fmla="*/ 611 h 10000"/>
                <a:gd name="connsiteX95" fmla="*/ 4773 w 9711"/>
                <a:gd name="connsiteY95" fmla="*/ 611 h 10000"/>
                <a:gd name="connsiteX96" fmla="*/ 4280 w 9711"/>
                <a:gd name="connsiteY96" fmla="*/ 611 h 10000"/>
                <a:gd name="connsiteX97" fmla="*/ 3786 w 9711"/>
                <a:gd name="connsiteY97" fmla="*/ 611 h 10000"/>
                <a:gd name="connsiteX98" fmla="*/ 3292 w 9711"/>
                <a:gd name="connsiteY98" fmla="*/ 611 h 10000"/>
                <a:gd name="connsiteX99" fmla="*/ 2840 w 9711"/>
                <a:gd name="connsiteY99" fmla="*/ 611 h 10000"/>
                <a:gd name="connsiteX100" fmla="*/ 2346 w 9711"/>
                <a:gd name="connsiteY100" fmla="*/ 611 h 10000"/>
                <a:gd name="connsiteX101" fmla="*/ 1892 w 9711"/>
                <a:gd name="connsiteY101" fmla="*/ 611 h 10000"/>
                <a:gd name="connsiteX102" fmla="*/ 1399 w 9711"/>
                <a:gd name="connsiteY102" fmla="*/ 611 h 10000"/>
                <a:gd name="connsiteX103" fmla="*/ 1399 w 9711"/>
                <a:gd name="connsiteY103" fmla="*/ 1061 h 10000"/>
                <a:gd name="connsiteX104" fmla="*/ 1399 w 9711"/>
                <a:gd name="connsiteY104" fmla="*/ 1640 h 10000"/>
                <a:gd name="connsiteX105" fmla="*/ 781 w 9711"/>
                <a:gd name="connsiteY105" fmla="*/ 1640 h 10000"/>
                <a:gd name="connsiteX106" fmla="*/ 781 w 9711"/>
                <a:gd name="connsiteY106" fmla="*/ 1897 h 10000"/>
                <a:gd name="connsiteX0" fmla="*/ 719 w 9915"/>
                <a:gd name="connsiteY0" fmla="*/ 1897 h 10000"/>
                <a:gd name="connsiteX1" fmla="*/ 719 w 9915"/>
                <a:gd name="connsiteY1" fmla="*/ 2412 h 10000"/>
                <a:gd name="connsiteX2" fmla="*/ 719 w 9915"/>
                <a:gd name="connsiteY2" fmla="*/ 2894 h 10000"/>
                <a:gd name="connsiteX3" fmla="*/ 719 w 9915"/>
                <a:gd name="connsiteY3" fmla="*/ 3376 h 10000"/>
                <a:gd name="connsiteX4" fmla="*/ 719 w 9915"/>
                <a:gd name="connsiteY4" fmla="*/ 3826 h 10000"/>
                <a:gd name="connsiteX5" fmla="*/ 43 w 9915"/>
                <a:gd name="connsiteY5" fmla="*/ 3923 h 10000"/>
                <a:gd name="connsiteX6" fmla="*/ 4578 w 9915"/>
                <a:gd name="connsiteY6" fmla="*/ 6781 h 10000"/>
                <a:gd name="connsiteX7" fmla="*/ 4368 w 9915"/>
                <a:gd name="connsiteY7" fmla="*/ 7064 h 10000"/>
                <a:gd name="connsiteX8" fmla="*/ 3846 w 9915"/>
                <a:gd name="connsiteY8" fmla="*/ 7281 h 10000"/>
                <a:gd name="connsiteX9" fmla="*/ 3511 w 9915"/>
                <a:gd name="connsiteY9" fmla="*/ 7279 h 10000"/>
                <a:gd name="connsiteX10" fmla="*/ 2780 w 9915"/>
                <a:gd name="connsiteY10" fmla="*/ 7095 h 10000"/>
                <a:gd name="connsiteX11" fmla="*/ 2584 w 9915"/>
                <a:gd name="connsiteY11" fmla="*/ 7195 h 10000"/>
                <a:gd name="connsiteX12" fmla="*/ 2096 w 9915"/>
                <a:gd name="connsiteY12" fmla="*/ 6973 h 10000"/>
                <a:gd name="connsiteX13" fmla="*/ 1881 w 9915"/>
                <a:gd name="connsiteY13" fmla="*/ 6638 h 10000"/>
                <a:gd name="connsiteX14" fmla="*/ 1522 w 9915"/>
                <a:gd name="connsiteY14" fmla="*/ 6729 h 10000"/>
                <a:gd name="connsiteX15" fmla="*/ 1425 w 9915"/>
                <a:gd name="connsiteY15" fmla="*/ 6927 h 10000"/>
                <a:gd name="connsiteX16" fmla="*/ 1045 w 9915"/>
                <a:gd name="connsiteY16" fmla="*/ 7011 h 10000"/>
                <a:gd name="connsiteX17" fmla="*/ 795 w 9915"/>
                <a:gd name="connsiteY17" fmla="*/ 7004 h 10000"/>
                <a:gd name="connsiteX18" fmla="*/ 658 w 9915"/>
                <a:gd name="connsiteY18" fmla="*/ 7161 h 10000"/>
                <a:gd name="connsiteX19" fmla="*/ 424 w 9915"/>
                <a:gd name="connsiteY19" fmla="*/ 6913 h 10000"/>
                <a:gd name="connsiteX20" fmla="*/ 380 w 9915"/>
                <a:gd name="connsiteY20" fmla="*/ 7363 h 10000"/>
                <a:gd name="connsiteX21" fmla="*/ 465 w 9915"/>
                <a:gd name="connsiteY21" fmla="*/ 7428 h 10000"/>
                <a:gd name="connsiteX22" fmla="*/ 805 w 9915"/>
                <a:gd name="connsiteY22" fmla="*/ 7460 h 10000"/>
                <a:gd name="connsiteX23" fmla="*/ 848 w 9915"/>
                <a:gd name="connsiteY23" fmla="*/ 7588 h 10000"/>
                <a:gd name="connsiteX24" fmla="*/ 1228 w 9915"/>
                <a:gd name="connsiteY24" fmla="*/ 7621 h 10000"/>
                <a:gd name="connsiteX25" fmla="*/ 1440 w 9915"/>
                <a:gd name="connsiteY25" fmla="*/ 7749 h 10000"/>
                <a:gd name="connsiteX26" fmla="*/ 1482 w 9915"/>
                <a:gd name="connsiteY26" fmla="*/ 7974 h 10000"/>
                <a:gd name="connsiteX27" fmla="*/ 2161 w 9915"/>
                <a:gd name="connsiteY27" fmla="*/ 8360 h 10000"/>
                <a:gd name="connsiteX28" fmla="*/ 2331 w 9915"/>
                <a:gd name="connsiteY28" fmla="*/ 8746 h 10000"/>
                <a:gd name="connsiteX29" fmla="*/ 2796 w 9915"/>
                <a:gd name="connsiteY29" fmla="*/ 8939 h 10000"/>
                <a:gd name="connsiteX30" fmla="*/ 2966 w 9915"/>
                <a:gd name="connsiteY30" fmla="*/ 9196 h 10000"/>
                <a:gd name="connsiteX31" fmla="*/ 3305 w 9915"/>
                <a:gd name="connsiteY31" fmla="*/ 9518 h 10000"/>
                <a:gd name="connsiteX32" fmla="*/ 3559 w 9915"/>
                <a:gd name="connsiteY32" fmla="*/ 9614 h 10000"/>
                <a:gd name="connsiteX33" fmla="*/ 3729 w 9915"/>
                <a:gd name="connsiteY33" fmla="*/ 9518 h 10000"/>
                <a:gd name="connsiteX34" fmla="*/ 4152 w 9915"/>
                <a:gd name="connsiteY34" fmla="*/ 9550 h 10000"/>
                <a:gd name="connsiteX35" fmla="*/ 4322 w 9915"/>
                <a:gd name="connsiteY35" fmla="*/ 9486 h 10000"/>
                <a:gd name="connsiteX36" fmla="*/ 5084 w 9915"/>
                <a:gd name="connsiteY36" fmla="*/ 9968 h 10000"/>
                <a:gd name="connsiteX37" fmla="*/ 5127 w 9915"/>
                <a:gd name="connsiteY37" fmla="*/ 9968 h 10000"/>
                <a:gd name="connsiteX38" fmla="*/ 5211 w 9915"/>
                <a:gd name="connsiteY38" fmla="*/ 9904 h 10000"/>
                <a:gd name="connsiteX39" fmla="*/ 5761 w 9915"/>
                <a:gd name="connsiteY39" fmla="*/ 9904 h 10000"/>
                <a:gd name="connsiteX40" fmla="*/ 5847 w 9915"/>
                <a:gd name="connsiteY40" fmla="*/ 10000 h 10000"/>
                <a:gd name="connsiteX41" fmla="*/ 6314 w 9915"/>
                <a:gd name="connsiteY41" fmla="*/ 9871 h 10000"/>
                <a:gd name="connsiteX42" fmla="*/ 6736 w 9915"/>
                <a:gd name="connsiteY42" fmla="*/ 9871 h 10000"/>
                <a:gd name="connsiteX43" fmla="*/ 7034 w 9915"/>
                <a:gd name="connsiteY43" fmla="*/ 9743 h 10000"/>
                <a:gd name="connsiteX44" fmla="*/ 7373 w 9915"/>
                <a:gd name="connsiteY44" fmla="*/ 9486 h 10000"/>
                <a:gd name="connsiteX45" fmla="*/ 8262 w 9915"/>
                <a:gd name="connsiteY45" fmla="*/ 9486 h 10000"/>
                <a:gd name="connsiteX46" fmla="*/ 8262 w 9915"/>
                <a:gd name="connsiteY46" fmla="*/ 9132 h 10000"/>
                <a:gd name="connsiteX47" fmla="*/ 7797 w 9915"/>
                <a:gd name="connsiteY47" fmla="*/ 8971 h 10000"/>
                <a:gd name="connsiteX48" fmla="*/ 7542 w 9915"/>
                <a:gd name="connsiteY48" fmla="*/ 8457 h 10000"/>
                <a:gd name="connsiteX49" fmla="*/ 7204 w 9915"/>
                <a:gd name="connsiteY49" fmla="*/ 8264 h 10000"/>
                <a:gd name="connsiteX50" fmla="*/ 6990 w 9915"/>
                <a:gd name="connsiteY50" fmla="*/ 8006 h 10000"/>
                <a:gd name="connsiteX51" fmla="*/ 6441 w 9915"/>
                <a:gd name="connsiteY51" fmla="*/ 7814 h 10000"/>
                <a:gd name="connsiteX52" fmla="*/ 6567 w 9915"/>
                <a:gd name="connsiteY52" fmla="*/ 7749 h 10000"/>
                <a:gd name="connsiteX53" fmla="*/ 6567 w 9915"/>
                <a:gd name="connsiteY53" fmla="*/ 7588 h 10000"/>
                <a:gd name="connsiteX54" fmla="*/ 6949 w 9915"/>
                <a:gd name="connsiteY54" fmla="*/ 7588 h 10000"/>
                <a:gd name="connsiteX55" fmla="*/ 7160 w 9915"/>
                <a:gd name="connsiteY55" fmla="*/ 7460 h 10000"/>
                <a:gd name="connsiteX56" fmla="*/ 7204 w 9915"/>
                <a:gd name="connsiteY56" fmla="*/ 6527 h 10000"/>
                <a:gd name="connsiteX57" fmla="*/ 7245 w 9915"/>
                <a:gd name="connsiteY57" fmla="*/ 6559 h 10000"/>
                <a:gd name="connsiteX58" fmla="*/ 7373 w 9915"/>
                <a:gd name="connsiteY58" fmla="*/ 6367 h 10000"/>
                <a:gd name="connsiteX59" fmla="*/ 7627 w 9915"/>
                <a:gd name="connsiteY59" fmla="*/ 6270 h 10000"/>
                <a:gd name="connsiteX60" fmla="*/ 7754 w 9915"/>
                <a:gd name="connsiteY60" fmla="*/ 5916 h 10000"/>
                <a:gd name="connsiteX61" fmla="*/ 8136 w 9915"/>
                <a:gd name="connsiteY61" fmla="*/ 5498 h 10000"/>
                <a:gd name="connsiteX62" fmla="*/ 8431 w 9915"/>
                <a:gd name="connsiteY62" fmla="*/ 5305 h 10000"/>
                <a:gd name="connsiteX63" fmla="*/ 8643 w 9915"/>
                <a:gd name="connsiteY63" fmla="*/ 4759 h 10000"/>
                <a:gd name="connsiteX64" fmla="*/ 8643 w 9915"/>
                <a:gd name="connsiteY64" fmla="*/ 4630 h 10000"/>
                <a:gd name="connsiteX65" fmla="*/ 8602 w 9915"/>
                <a:gd name="connsiteY65" fmla="*/ 4309 h 10000"/>
                <a:gd name="connsiteX66" fmla="*/ 9025 w 9915"/>
                <a:gd name="connsiteY66" fmla="*/ 3151 h 10000"/>
                <a:gd name="connsiteX67" fmla="*/ 9152 w 9915"/>
                <a:gd name="connsiteY67" fmla="*/ 3151 h 10000"/>
                <a:gd name="connsiteX68" fmla="*/ 9322 w 9915"/>
                <a:gd name="connsiteY68" fmla="*/ 3055 h 10000"/>
                <a:gd name="connsiteX69" fmla="*/ 9831 w 9915"/>
                <a:gd name="connsiteY69" fmla="*/ 2894 h 10000"/>
                <a:gd name="connsiteX70" fmla="*/ 9915 w 9915"/>
                <a:gd name="connsiteY70" fmla="*/ 2637 h 10000"/>
                <a:gd name="connsiteX71" fmla="*/ 9874 w 9915"/>
                <a:gd name="connsiteY71" fmla="*/ 2572 h 10000"/>
                <a:gd name="connsiteX72" fmla="*/ 9703 w 9915"/>
                <a:gd name="connsiteY72" fmla="*/ 2572 h 10000"/>
                <a:gd name="connsiteX73" fmla="*/ 9576 w 9915"/>
                <a:gd name="connsiteY73" fmla="*/ 2412 h 10000"/>
                <a:gd name="connsiteX74" fmla="*/ 9322 w 9915"/>
                <a:gd name="connsiteY74" fmla="*/ 2347 h 10000"/>
                <a:gd name="connsiteX75" fmla="*/ 9194 w 9915"/>
                <a:gd name="connsiteY75" fmla="*/ 2219 h 10000"/>
                <a:gd name="connsiteX76" fmla="*/ 9111 w 9915"/>
                <a:gd name="connsiteY76" fmla="*/ 1736 h 10000"/>
                <a:gd name="connsiteX77" fmla="*/ 9111 w 9915"/>
                <a:gd name="connsiteY77" fmla="*/ 1061 h 10000"/>
                <a:gd name="connsiteX78" fmla="*/ 8898 w 9915"/>
                <a:gd name="connsiteY78" fmla="*/ 836 h 10000"/>
                <a:gd name="connsiteX79" fmla="*/ 8856 w 9915"/>
                <a:gd name="connsiteY79" fmla="*/ 611 h 10000"/>
                <a:gd name="connsiteX80" fmla="*/ 8517 w 9915"/>
                <a:gd name="connsiteY80" fmla="*/ 289 h 10000"/>
                <a:gd name="connsiteX81" fmla="*/ 8220 w 9915"/>
                <a:gd name="connsiteY81" fmla="*/ 161 h 10000"/>
                <a:gd name="connsiteX82" fmla="*/ 8051 w 9915"/>
                <a:gd name="connsiteY82" fmla="*/ 0 h 10000"/>
                <a:gd name="connsiteX83" fmla="*/ 7797 w 9915"/>
                <a:gd name="connsiteY83" fmla="*/ 161 h 10000"/>
                <a:gd name="connsiteX84" fmla="*/ 7627 w 9915"/>
                <a:gd name="connsiteY84" fmla="*/ 129 h 10000"/>
                <a:gd name="connsiteX85" fmla="*/ 7499 w 9915"/>
                <a:gd name="connsiteY85" fmla="*/ 418 h 10000"/>
                <a:gd name="connsiteX86" fmla="*/ 7160 w 9915"/>
                <a:gd name="connsiteY86" fmla="*/ 482 h 10000"/>
                <a:gd name="connsiteX87" fmla="*/ 7076 w 9915"/>
                <a:gd name="connsiteY87" fmla="*/ 707 h 10000"/>
                <a:gd name="connsiteX88" fmla="*/ 6779 w 9915"/>
                <a:gd name="connsiteY88" fmla="*/ 707 h 10000"/>
                <a:gd name="connsiteX89" fmla="*/ 6525 w 9915"/>
                <a:gd name="connsiteY89" fmla="*/ 611 h 10000"/>
                <a:gd name="connsiteX90" fmla="*/ 5974 w 9915"/>
                <a:gd name="connsiteY90" fmla="*/ 611 h 10000"/>
                <a:gd name="connsiteX91" fmla="*/ 5423 w 9915"/>
                <a:gd name="connsiteY91" fmla="*/ 611 h 10000"/>
                <a:gd name="connsiteX92" fmla="*/ 5465 w 9915"/>
                <a:gd name="connsiteY92" fmla="*/ 482 h 10000"/>
                <a:gd name="connsiteX93" fmla="*/ 5381 w 9915"/>
                <a:gd name="connsiteY93" fmla="*/ 482 h 10000"/>
                <a:gd name="connsiteX94" fmla="*/ 5339 w 9915"/>
                <a:gd name="connsiteY94" fmla="*/ 611 h 10000"/>
                <a:gd name="connsiteX95" fmla="*/ 4830 w 9915"/>
                <a:gd name="connsiteY95" fmla="*/ 611 h 10000"/>
                <a:gd name="connsiteX96" fmla="*/ 4322 w 9915"/>
                <a:gd name="connsiteY96" fmla="*/ 611 h 10000"/>
                <a:gd name="connsiteX97" fmla="*/ 3814 w 9915"/>
                <a:gd name="connsiteY97" fmla="*/ 611 h 10000"/>
                <a:gd name="connsiteX98" fmla="*/ 3305 w 9915"/>
                <a:gd name="connsiteY98" fmla="*/ 611 h 10000"/>
                <a:gd name="connsiteX99" fmla="*/ 2840 w 9915"/>
                <a:gd name="connsiteY99" fmla="*/ 611 h 10000"/>
                <a:gd name="connsiteX100" fmla="*/ 2331 w 9915"/>
                <a:gd name="connsiteY100" fmla="*/ 611 h 10000"/>
                <a:gd name="connsiteX101" fmla="*/ 1863 w 9915"/>
                <a:gd name="connsiteY101" fmla="*/ 611 h 10000"/>
                <a:gd name="connsiteX102" fmla="*/ 1356 w 9915"/>
                <a:gd name="connsiteY102" fmla="*/ 611 h 10000"/>
                <a:gd name="connsiteX103" fmla="*/ 1356 w 9915"/>
                <a:gd name="connsiteY103" fmla="*/ 1061 h 10000"/>
                <a:gd name="connsiteX104" fmla="*/ 1356 w 9915"/>
                <a:gd name="connsiteY104" fmla="*/ 1640 h 10000"/>
                <a:gd name="connsiteX105" fmla="*/ 719 w 9915"/>
                <a:gd name="connsiteY105" fmla="*/ 1640 h 10000"/>
                <a:gd name="connsiteX106" fmla="*/ 719 w 9915"/>
                <a:gd name="connsiteY106" fmla="*/ 1897 h 10000"/>
                <a:gd name="connsiteX0" fmla="*/ 342 w 9617"/>
                <a:gd name="connsiteY0" fmla="*/ 1897 h 10000"/>
                <a:gd name="connsiteX1" fmla="*/ 342 w 9617"/>
                <a:gd name="connsiteY1" fmla="*/ 2412 h 10000"/>
                <a:gd name="connsiteX2" fmla="*/ 342 w 9617"/>
                <a:gd name="connsiteY2" fmla="*/ 2894 h 10000"/>
                <a:gd name="connsiteX3" fmla="*/ 342 w 9617"/>
                <a:gd name="connsiteY3" fmla="*/ 3376 h 10000"/>
                <a:gd name="connsiteX4" fmla="*/ 342 w 9617"/>
                <a:gd name="connsiteY4" fmla="*/ 3826 h 10000"/>
                <a:gd name="connsiteX5" fmla="*/ 4662 w 9617"/>
                <a:gd name="connsiteY5" fmla="*/ 6907 h 10000"/>
                <a:gd name="connsiteX6" fmla="*/ 4234 w 9617"/>
                <a:gd name="connsiteY6" fmla="*/ 6781 h 10000"/>
                <a:gd name="connsiteX7" fmla="*/ 4022 w 9617"/>
                <a:gd name="connsiteY7" fmla="*/ 7064 h 10000"/>
                <a:gd name="connsiteX8" fmla="*/ 3496 w 9617"/>
                <a:gd name="connsiteY8" fmla="*/ 7281 h 10000"/>
                <a:gd name="connsiteX9" fmla="*/ 3158 w 9617"/>
                <a:gd name="connsiteY9" fmla="*/ 7279 h 10000"/>
                <a:gd name="connsiteX10" fmla="*/ 2421 w 9617"/>
                <a:gd name="connsiteY10" fmla="*/ 7095 h 10000"/>
                <a:gd name="connsiteX11" fmla="*/ 2223 w 9617"/>
                <a:gd name="connsiteY11" fmla="*/ 7195 h 10000"/>
                <a:gd name="connsiteX12" fmla="*/ 1731 w 9617"/>
                <a:gd name="connsiteY12" fmla="*/ 6973 h 10000"/>
                <a:gd name="connsiteX13" fmla="*/ 1514 w 9617"/>
                <a:gd name="connsiteY13" fmla="*/ 6638 h 10000"/>
                <a:gd name="connsiteX14" fmla="*/ 1152 w 9617"/>
                <a:gd name="connsiteY14" fmla="*/ 6729 h 10000"/>
                <a:gd name="connsiteX15" fmla="*/ 1054 w 9617"/>
                <a:gd name="connsiteY15" fmla="*/ 6927 h 10000"/>
                <a:gd name="connsiteX16" fmla="*/ 671 w 9617"/>
                <a:gd name="connsiteY16" fmla="*/ 7011 h 10000"/>
                <a:gd name="connsiteX17" fmla="*/ 419 w 9617"/>
                <a:gd name="connsiteY17" fmla="*/ 7004 h 10000"/>
                <a:gd name="connsiteX18" fmla="*/ 281 w 9617"/>
                <a:gd name="connsiteY18" fmla="*/ 7161 h 10000"/>
                <a:gd name="connsiteX19" fmla="*/ 45 w 9617"/>
                <a:gd name="connsiteY19" fmla="*/ 6913 h 10000"/>
                <a:gd name="connsiteX20" fmla="*/ 0 w 9617"/>
                <a:gd name="connsiteY20" fmla="*/ 7363 h 10000"/>
                <a:gd name="connsiteX21" fmla="*/ 86 w 9617"/>
                <a:gd name="connsiteY21" fmla="*/ 7428 h 10000"/>
                <a:gd name="connsiteX22" fmla="*/ 429 w 9617"/>
                <a:gd name="connsiteY22" fmla="*/ 7460 h 10000"/>
                <a:gd name="connsiteX23" fmla="*/ 472 w 9617"/>
                <a:gd name="connsiteY23" fmla="*/ 7588 h 10000"/>
                <a:gd name="connsiteX24" fmla="*/ 856 w 9617"/>
                <a:gd name="connsiteY24" fmla="*/ 7621 h 10000"/>
                <a:gd name="connsiteX25" fmla="*/ 1069 w 9617"/>
                <a:gd name="connsiteY25" fmla="*/ 7749 h 10000"/>
                <a:gd name="connsiteX26" fmla="*/ 1112 w 9617"/>
                <a:gd name="connsiteY26" fmla="*/ 7974 h 10000"/>
                <a:gd name="connsiteX27" fmla="*/ 1797 w 9617"/>
                <a:gd name="connsiteY27" fmla="*/ 8360 h 10000"/>
                <a:gd name="connsiteX28" fmla="*/ 1968 w 9617"/>
                <a:gd name="connsiteY28" fmla="*/ 8746 h 10000"/>
                <a:gd name="connsiteX29" fmla="*/ 2437 w 9617"/>
                <a:gd name="connsiteY29" fmla="*/ 8939 h 10000"/>
                <a:gd name="connsiteX30" fmla="*/ 2608 w 9617"/>
                <a:gd name="connsiteY30" fmla="*/ 9196 h 10000"/>
                <a:gd name="connsiteX31" fmla="*/ 2950 w 9617"/>
                <a:gd name="connsiteY31" fmla="*/ 9518 h 10000"/>
                <a:gd name="connsiteX32" fmla="*/ 3207 w 9617"/>
                <a:gd name="connsiteY32" fmla="*/ 9614 h 10000"/>
                <a:gd name="connsiteX33" fmla="*/ 3378 w 9617"/>
                <a:gd name="connsiteY33" fmla="*/ 9518 h 10000"/>
                <a:gd name="connsiteX34" fmla="*/ 3805 w 9617"/>
                <a:gd name="connsiteY34" fmla="*/ 9550 h 10000"/>
                <a:gd name="connsiteX35" fmla="*/ 3976 w 9617"/>
                <a:gd name="connsiteY35" fmla="*/ 9486 h 10000"/>
                <a:gd name="connsiteX36" fmla="*/ 4745 w 9617"/>
                <a:gd name="connsiteY36" fmla="*/ 9968 h 10000"/>
                <a:gd name="connsiteX37" fmla="*/ 4788 w 9617"/>
                <a:gd name="connsiteY37" fmla="*/ 9968 h 10000"/>
                <a:gd name="connsiteX38" fmla="*/ 4873 w 9617"/>
                <a:gd name="connsiteY38" fmla="*/ 9904 h 10000"/>
                <a:gd name="connsiteX39" fmla="*/ 5427 w 9617"/>
                <a:gd name="connsiteY39" fmla="*/ 9904 h 10000"/>
                <a:gd name="connsiteX40" fmla="*/ 5514 w 9617"/>
                <a:gd name="connsiteY40" fmla="*/ 10000 h 10000"/>
                <a:gd name="connsiteX41" fmla="*/ 5985 w 9617"/>
                <a:gd name="connsiteY41" fmla="*/ 9871 h 10000"/>
                <a:gd name="connsiteX42" fmla="*/ 6411 w 9617"/>
                <a:gd name="connsiteY42" fmla="*/ 9871 h 10000"/>
                <a:gd name="connsiteX43" fmla="*/ 6711 w 9617"/>
                <a:gd name="connsiteY43" fmla="*/ 9743 h 10000"/>
                <a:gd name="connsiteX44" fmla="*/ 7053 w 9617"/>
                <a:gd name="connsiteY44" fmla="*/ 9486 h 10000"/>
                <a:gd name="connsiteX45" fmla="*/ 7950 w 9617"/>
                <a:gd name="connsiteY45" fmla="*/ 9486 h 10000"/>
                <a:gd name="connsiteX46" fmla="*/ 7950 w 9617"/>
                <a:gd name="connsiteY46" fmla="*/ 9132 h 10000"/>
                <a:gd name="connsiteX47" fmla="*/ 7481 w 9617"/>
                <a:gd name="connsiteY47" fmla="*/ 8971 h 10000"/>
                <a:gd name="connsiteX48" fmla="*/ 7224 w 9617"/>
                <a:gd name="connsiteY48" fmla="*/ 8457 h 10000"/>
                <a:gd name="connsiteX49" fmla="*/ 6883 w 9617"/>
                <a:gd name="connsiteY49" fmla="*/ 8264 h 10000"/>
                <a:gd name="connsiteX50" fmla="*/ 6667 w 9617"/>
                <a:gd name="connsiteY50" fmla="*/ 8006 h 10000"/>
                <a:gd name="connsiteX51" fmla="*/ 6113 w 9617"/>
                <a:gd name="connsiteY51" fmla="*/ 7814 h 10000"/>
                <a:gd name="connsiteX52" fmla="*/ 6240 w 9617"/>
                <a:gd name="connsiteY52" fmla="*/ 7749 h 10000"/>
                <a:gd name="connsiteX53" fmla="*/ 6240 w 9617"/>
                <a:gd name="connsiteY53" fmla="*/ 7588 h 10000"/>
                <a:gd name="connsiteX54" fmla="*/ 6626 w 9617"/>
                <a:gd name="connsiteY54" fmla="*/ 7588 h 10000"/>
                <a:gd name="connsiteX55" fmla="*/ 6838 w 9617"/>
                <a:gd name="connsiteY55" fmla="*/ 7460 h 10000"/>
                <a:gd name="connsiteX56" fmla="*/ 6883 w 9617"/>
                <a:gd name="connsiteY56" fmla="*/ 6527 h 10000"/>
                <a:gd name="connsiteX57" fmla="*/ 6924 w 9617"/>
                <a:gd name="connsiteY57" fmla="*/ 6559 h 10000"/>
                <a:gd name="connsiteX58" fmla="*/ 7053 w 9617"/>
                <a:gd name="connsiteY58" fmla="*/ 6367 h 10000"/>
                <a:gd name="connsiteX59" fmla="*/ 7309 w 9617"/>
                <a:gd name="connsiteY59" fmla="*/ 6270 h 10000"/>
                <a:gd name="connsiteX60" fmla="*/ 7437 w 9617"/>
                <a:gd name="connsiteY60" fmla="*/ 5916 h 10000"/>
                <a:gd name="connsiteX61" fmla="*/ 7823 w 9617"/>
                <a:gd name="connsiteY61" fmla="*/ 5498 h 10000"/>
                <a:gd name="connsiteX62" fmla="*/ 8120 w 9617"/>
                <a:gd name="connsiteY62" fmla="*/ 5305 h 10000"/>
                <a:gd name="connsiteX63" fmla="*/ 8334 w 9617"/>
                <a:gd name="connsiteY63" fmla="*/ 4759 h 10000"/>
                <a:gd name="connsiteX64" fmla="*/ 8334 w 9617"/>
                <a:gd name="connsiteY64" fmla="*/ 4630 h 10000"/>
                <a:gd name="connsiteX65" fmla="*/ 8293 w 9617"/>
                <a:gd name="connsiteY65" fmla="*/ 4309 h 10000"/>
                <a:gd name="connsiteX66" fmla="*/ 8719 w 9617"/>
                <a:gd name="connsiteY66" fmla="*/ 3151 h 10000"/>
                <a:gd name="connsiteX67" fmla="*/ 8847 w 9617"/>
                <a:gd name="connsiteY67" fmla="*/ 3151 h 10000"/>
                <a:gd name="connsiteX68" fmla="*/ 9019 w 9617"/>
                <a:gd name="connsiteY68" fmla="*/ 3055 h 10000"/>
                <a:gd name="connsiteX69" fmla="*/ 9532 w 9617"/>
                <a:gd name="connsiteY69" fmla="*/ 2894 h 10000"/>
                <a:gd name="connsiteX70" fmla="*/ 9617 w 9617"/>
                <a:gd name="connsiteY70" fmla="*/ 2637 h 10000"/>
                <a:gd name="connsiteX71" fmla="*/ 9576 w 9617"/>
                <a:gd name="connsiteY71" fmla="*/ 2572 h 10000"/>
                <a:gd name="connsiteX72" fmla="*/ 9403 w 9617"/>
                <a:gd name="connsiteY72" fmla="*/ 2572 h 10000"/>
                <a:gd name="connsiteX73" fmla="*/ 9275 w 9617"/>
                <a:gd name="connsiteY73" fmla="*/ 2412 h 10000"/>
                <a:gd name="connsiteX74" fmla="*/ 9019 w 9617"/>
                <a:gd name="connsiteY74" fmla="*/ 2347 h 10000"/>
                <a:gd name="connsiteX75" fmla="*/ 8890 w 9617"/>
                <a:gd name="connsiteY75" fmla="*/ 2219 h 10000"/>
                <a:gd name="connsiteX76" fmla="*/ 8806 w 9617"/>
                <a:gd name="connsiteY76" fmla="*/ 1736 h 10000"/>
                <a:gd name="connsiteX77" fmla="*/ 8806 w 9617"/>
                <a:gd name="connsiteY77" fmla="*/ 1061 h 10000"/>
                <a:gd name="connsiteX78" fmla="*/ 8591 w 9617"/>
                <a:gd name="connsiteY78" fmla="*/ 836 h 10000"/>
                <a:gd name="connsiteX79" fmla="*/ 8549 w 9617"/>
                <a:gd name="connsiteY79" fmla="*/ 611 h 10000"/>
                <a:gd name="connsiteX80" fmla="*/ 8207 w 9617"/>
                <a:gd name="connsiteY80" fmla="*/ 289 h 10000"/>
                <a:gd name="connsiteX81" fmla="*/ 7907 w 9617"/>
                <a:gd name="connsiteY81" fmla="*/ 161 h 10000"/>
                <a:gd name="connsiteX82" fmla="*/ 7737 w 9617"/>
                <a:gd name="connsiteY82" fmla="*/ 0 h 10000"/>
                <a:gd name="connsiteX83" fmla="*/ 7481 w 9617"/>
                <a:gd name="connsiteY83" fmla="*/ 161 h 10000"/>
                <a:gd name="connsiteX84" fmla="*/ 7309 w 9617"/>
                <a:gd name="connsiteY84" fmla="*/ 129 h 10000"/>
                <a:gd name="connsiteX85" fmla="*/ 7180 w 9617"/>
                <a:gd name="connsiteY85" fmla="*/ 418 h 10000"/>
                <a:gd name="connsiteX86" fmla="*/ 6838 w 9617"/>
                <a:gd name="connsiteY86" fmla="*/ 482 h 10000"/>
                <a:gd name="connsiteX87" fmla="*/ 6754 w 9617"/>
                <a:gd name="connsiteY87" fmla="*/ 707 h 10000"/>
                <a:gd name="connsiteX88" fmla="*/ 6454 w 9617"/>
                <a:gd name="connsiteY88" fmla="*/ 707 h 10000"/>
                <a:gd name="connsiteX89" fmla="*/ 6198 w 9617"/>
                <a:gd name="connsiteY89" fmla="*/ 611 h 10000"/>
                <a:gd name="connsiteX90" fmla="*/ 5642 w 9617"/>
                <a:gd name="connsiteY90" fmla="*/ 611 h 10000"/>
                <a:gd name="connsiteX91" fmla="*/ 5086 w 9617"/>
                <a:gd name="connsiteY91" fmla="*/ 611 h 10000"/>
                <a:gd name="connsiteX92" fmla="*/ 5129 w 9617"/>
                <a:gd name="connsiteY92" fmla="*/ 482 h 10000"/>
                <a:gd name="connsiteX93" fmla="*/ 5044 w 9617"/>
                <a:gd name="connsiteY93" fmla="*/ 482 h 10000"/>
                <a:gd name="connsiteX94" fmla="*/ 5002 w 9617"/>
                <a:gd name="connsiteY94" fmla="*/ 611 h 10000"/>
                <a:gd name="connsiteX95" fmla="*/ 4488 w 9617"/>
                <a:gd name="connsiteY95" fmla="*/ 611 h 10000"/>
                <a:gd name="connsiteX96" fmla="*/ 3976 w 9617"/>
                <a:gd name="connsiteY96" fmla="*/ 611 h 10000"/>
                <a:gd name="connsiteX97" fmla="*/ 3464 w 9617"/>
                <a:gd name="connsiteY97" fmla="*/ 611 h 10000"/>
                <a:gd name="connsiteX98" fmla="*/ 2950 w 9617"/>
                <a:gd name="connsiteY98" fmla="*/ 611 h 10000"/>
                <a:gd name="connsiteX99" fmla="*/ 2481 w 9617"/>
                <a:gd name="connsiteY99" fmla="*/ 611 h 10000"/>
                <a:gd name="connsiteX100" fmla="*/ 1968 w 9617"/>
                <a:gd name="connsiteY100" fmla="*/ 611 h 10000"/>
                <a:gd name="connsiteX101" fmla="*/ 1496 w 9617"/>
                <a:gd name="connsiteY101" fmla="*/ 611 h 10000"/>
                <a:gd name="connsiteX102" fmla="*/ 985 w 9617"/>
                <a:gd name="connsiteY102" fmla="*/ 611 h 10000"/>
                <a:gd name="connsiteX103" fmla="*/ 985 w 9617"/>
                <a:gd name="connsiteY103" fmla="*/ 1061 h 10000"/>
                <a:gd name="connsiteX104" fmla="*/ 985 w 9617"/>
                <a:gd name="connsiteY104" fmla="*/ 1640 h 10000"/>
                <a:gd name="connsiteX105" fmla="*/ 342 w 9617"/>
                <a:gd name="connsiteY105" fmla="*/ 1640 h 10000"/>
                <a:gd name="connsiteX106" fmla="*/ 342 w 9617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356 w 10000"/>
                <a:gd name="connsiteY2" fmla="*/ 2894 h 10000"/>
                <a:gd name="connsiteX3" fmla="*/ 356 w 10000"/>
                <a:gd name="connsiteY3" fmla="*/ 3376 h 10000"/>
                <a:gd name="connsiteX4" fmla="*/ 5155 w 10000"/>
                <a:gd name="connsiteY4" fmla="*/ 7114 h 10000"/>
                <a:gd name="connsiteX5" fmla="*/ 4848 w 10000"/>
                <a:gd name="connsiteY5" fmla="*/ 6907 h 10000"/>
                <a:gd name="connsiteX6" fmla="*/ 4403 w 10000"/>
                <a:gd name="connsiteY6" fmla="*/ 6781 h 10000"/>
                <a:gd name="connsiteX7" fmla="*/ 4182 w 10000"/>
                <a:gd name="connsiteY7" fmla="*/ 7064 h 10000"/>
                <a:gd name="connsiteX8" fmla="*/ 3635 w 10000"/>
                <a:gd name="connsiteY8" fmla="*/ 7281 h 10000"/>
                <a:gd name="connsiteX9" fmla="*/ 3284 w 10000"/>
                <a:gd name="connsiteY9" fmla="*/ 7279 h 10000"/>
                <a:gd name="connsiteX10" fmla="*/ 2517 w 10000"/>
                <a:gd name="connsiteY10" fmla="*/ 7095 h 10000"/>
                <a:gd name="connsiteX11" fmla="*/ 2312 w 10000"/>
                <a:gd name="connsiteY11" fmla="*/ 7195 h 10000"/>
                <a:gd name="connsiteX12" fmla="*/ 1800 w 10000"/>
                <a:gd name="connsiteY12" fmla="*/ 6973 h 10000"/>
                <a:gd name="connsiteX13" fmla="*/ 1574 w 10000"/>
                <a:gd name="connsiteY13" fmla="*/ 6638 h 10000"/>
                <a:gd name="connsiteX14" fmla="*/ 1198 w 10000"/>
                <a:gd name="connsiteY14" fmla="*/ 6729 h 10000"/>
                <a:gd name="connsiteX15" fmla="*/ 1096 w 10000"/>
                <a:gd name="connsiteY15" fmla="*/ 6927 h 10000"/>
                <a:gd name="connsiteX16" fmla="*/ 698 w 10000"/>
                <a:gd name="connsiteY16" fmla="*/ 7011 h 10000"/>
                <a:gd name="connsiteX17" fmla="*/ 436 w 10000"/>
                <a:gd name="connsiteY17" fmla="*/ 7004 h 10000"/>
                <a:gd name="connsiteX18" fmla="*/ 292 w 10000"/>
                <a:gd name="connsiteY18" fmla="*/ 7161 h 10000"/>
                <a:gd name="connsiteX19" fmla="*/ 47 w 10000"/>
                <a:gd name="connsiteY19" fmla="*/ 6913 h 10000"/>
                <a:gd name="connsiteX20" fmla="*/ 0 w 10000"/>
                <a:gd name="connsiteY20" fmla="*/ 7363 h 10000"/>
                <a:gd name="connsiteX21" fmla="*/ 89 w 10000"/>
                <a:gd name="connsiteY21" fmla="*/ 7428 h 10000"/>
                <a:gd name="connsiteX22" fmla="*/ 446 w 10000"/>
                <a:gd name="connsiteY22" fmla="*/ 7460 h 10000"/>
                <a:gd name="connsiteX23" fmla="*/ 491 w 10000"/>
                <a:gd name="connsiteY23" fmla="*/ 7588 h 10000"/>
                <a:gd name="connsiteX24" fmla="*/ 890 w 10000"/>
                <a:gd name="connsiteY24" fmla="*/ 7621 h 10000"/>
                <a:gd name="connsiteX25" fmla="*/ 1112 w 10000"/>
                <a:gd name="connsiteY25" fmla="*/ 7749 h 10000"/>
                <a:gd name="connsiteX26" fmla="*/ 1156 w 10000"/>
                <a:gd name="connsiteY26" fmla="*/ 7974 h 10000"/>
                <a:gd name="connsiteX27" fmla="*/ 1869 w 10000"/>
                <a:gd name="connsiteY27" fmla="*/ 8360 h 10000"/>
                <a:gd name="connsiteX28" fmla="*/ 2046 w 10000"/>
                <a:gd name="connsiteY28" fmla="*/ 8746 h 10000"/>
                <a:gd name="connsiteX29" fmla="*/ 2534 w 10000"/>
                <a:gd name="connsiteY29" fmla="*/ 8939 h 10000"/>
                <a:gd name="connsiteX30" fmla="*/ 2712 w 10000"/>
                <a:gd name="connsiteY30" fmla="*/ 9196 h 10000"/>
                <a:gd name="connsiteX31" fmla="*/ 3067 w 10000"/>
                <a:gd name="connsiteY31" fmla="*/ 9518 h 10000"/>
                <a:gd name="connsiteX32" fmla="*/ 3335 w 10000"/>
                <a:gd name="connsiteY32" fmla="*/ 9614 h 10000"/>
                <a:gd name="connsiteX33" fmla="*/ 3513 w 10000"/>
                <a:gd name="connsiteY33" fmla="*/ 9518 h 10000"/>
                <a:gd name="connsiteX34" fmla="*/ 3957 w 10000"/>
                <a:gd name="connsiteY34" fmla="*/ 9550 h 10000"/>
                <a:gd name="connsiteX35" fmla="*/ 4134 w 10000"/>
                <a:gd name="connsiteY35" fmla="*/ 9486 h 10000"/>
                <a:gd name="connsiteX36" fmla="*/ 4934 w 10000"/>
                <a:gd name="connsiteY36" fmla="*/ 9968 h 10000"/>
                <a:gd name="connsiteX37" fmla="*/ 4979 w 10000"/>
                <a:gd name="connsiteY37" fmla="*/ 9968 h 10000"/>
                <a:gd name="connsiteX38" fmla="*/ 5067 w 10000"/>
                <a:gd name="connsiteY38" fmla="*/ 9904 h 10000"/>
                <a:gd name="connsiteX39" fmla="*/ 5643 w 10000"/>
                <a:gd name="connsiteY39" fmla="*/ 9904 h 10000"/>
                <a:gd name="connsiteX40" fmla="*/ 5734 w 10000"/>
                <a:gd name="connsiteY40" fmla="*/ 10000 h 10000"/>
                <a:gd name="connsiteX41" fmla="*/ 6223 w 10000"/>
                <a:gd name="connsiteY41" fmla="*/ 9871 h 10000"/>
                <a:gd name="connsiteX42" fmla="*/ 6666 w 10000"/>
                <a:gd name="connsiteY42" fmla="*/ 9871 h 10000"/>
                <a:gd name="connsiteX43" fmla="*/ 6978 w 10000"/>
                <a:gd name="connsiteY43" fmla="*/ 9743 h 10000"/>
                <a:gd name="connsiteX44" fmla="*/ 7334 w 10000"/>
                <a:gd name="connsiteY44" fmla="*/ 9486 h 10000"/>
                <a:gd name="connsiteX45" fmla="*/ 8267 w 10000"/>
                <a:gd name="connsiteY45" fmla="*/ 9486 h 10000"/>
                <a:gd name="connsiteX46" fmla="*/ 8267 w 10000"/>
                <a:gd name="connsiteY46" fmla="*/ 9132 h 10000"/>
                <a:gd name="connsiteX47" fmla="*/ 7779 w 10000"/>
                <a:gd name="connsiteY47" fmla="*/ 8971 h 10000"/>
                <a:gd name="connsiteX48" fmla="*/ 7512 w 10000"/>
                <a:gd name="connsiteY48" fmla="*/ 8457 h 10000"/>
                <a:gd name="connsiteX49" fmla="*/ 7157 w 10000"/>
                <a:gd name="connsiteY49" fmla="*/ 8264 h 10000"/>
                <a:gd name="connsiteX50" fmla="*/ 6933 w 10000"/>
                <a:gd name="connsiteY50" fmla="*/ 8006 h 10000"/>
                <a:gd name="connsiteX51" fmla="*/ 6356 w 10000"/>
                <a:gd name="connsiteY51" fmla="*/ 7814 h 10000"/>
                <a:gd name="connsiteX52" fmla="*/ 6489 w 10000"/>
                <a:gd name="connsiteY52" fmla="*/ 7749 h 10000"/>
                <a:gd name="connsiteX53" fmla="*/ 6489 w 10000"/>
                <a:gd name="connsiteY53" fmla="*/ 7588 h 10000"/>
                <a:gd name="connsiteX54" fmla="*/ 6890 w 10000"/>
                <a:gd name="connsiteY54" fmla="*/ 7588 h 10000"/>
                <a:gd name="connsiteX55" fmla="*/ 7110 w 10000"/>
                <a:gd name="connsiteY55" fmla="*/ 7460 h 10000"/>
                <a:gd name="connsiteX56" fmla="*/ 7157 w 10000"/>
                <a:gd name="connsiteY56" fmla="*/ 6527 h 10000"/>
                <a:gd name="connsiteX57" fmla="*/ 7200 w 10000"/>
                <a:gd name="connsiteY57" fmla="*/ 6559 h 10000"/>
                <a:gd name="connsiteX58" fmla="*/ 7334 w 10000"/>
                <a:gd name="connsiteY58" fmla="*/ 6367 h 10000"/>
                <a:gd name="connsiteX59" fmla="*/ 7600 w 10000"/>
                <a:gd name="connsiteY59" fmla="*/ 6270 h 10000"/>
                <a:gd name="connsiteX60" fmla="*/ 7733 w 10000"/>
                <a:gd name="connsiteY60" fmla="*/ 5916 h 10000"/>
                <a:gd name="connsiteX61" fmla="*/ 8135 w 10000"/>
                <a:gd name="connsiteY61" fmla="*/ 5498 h 10000"/>
                <a:gd name="connsiteX62" fmla="*/ 8443 w 10000"/>
                <a:gd name="connsiteY62" fmla="*/ 5305 h 10000"/>
                <a:gd name="connsiteX63" fmla="*/ 8666 w 10000"/>
                <a:gd name="connsiteY63" fmla="*/ 4759 h 10000"/>
                <a:gd name="connsiteX64" fmla="*/ 8666 w 10000"/>
                <a:gd name="connsiteY64" fmla="*/ 4630 h 10000"/>
                <a:gd name="connsiteX65" fmla="*/ 8623 w 10000"/>
                <a:gd name="connsiteY65" fmla="*/ 4309 h 10000"/>
                <a:gd name="connsiteX66" fmla="*/ 9066 w 10000"/>
                <a:gd name="connsiteY66" fmla="*/ 3151 h 10000"/>
                <a:gd name="connsiteX67" fmla="*/ 9199 w 10000"/>
                <a:gd name="connsiteY67" fmla="*/ 3151 h 10000"/>
                <a:gd name="connsiteX68" fmla="*/ 9378 w 10000"/>
                <a:gd name="connsiteY68" fmla="*/ 3055 h 10000"/>
                <a:gd name="connsiteX69" fmla="*/ 9912 w 10000"/>
                <a:gd name="connsiteY69" fmla="*/ 2894 h 10000"/>
                <a:gd name="connsiteX70" fmla="*/ 10000 w 10000"/>
                <a:gd name="connsiteY70" fmla="*/ 2637 h 10000"/>
                <a:gd name="connsiteX71" fmla="*/ 9957 w 10000"/>
                <a:gd name="connsiteY71" fmla="*/ 2572 h 10000"/>
                <a:gd name="connsiteX72" fmla="*/ 9777 w 10000"/>
                <a:gd name="connsiteY72" fmla="*/ 2572 h 10000"/>
                <a:gd name="connsiteX73" fmla="*/ 9644 w 10000"/>
                <a:gd name="connsiteY73" fmla="*/ 2412 h 10000"/>
                <a:gd name="connsiteX74" fmla="*/ 9378 w 10000"/>
                <a:gd name="connsiteY74" fmla="*/ 2347 h 10000"/>
                <a:gd name="connsiteX75" fmla="*/ 9244 w 10000"/>
                <a:gd name="connsiteY75" fmla="*/ 2219 h 10000"/>
                <a:gd name="connsiteX76" fmla="*/ 9157 w 10000"/>
                <a:gd name="connsiteY76" fmla="*/ 1736 h 10000"/>
                <a:gd name="connsiteX77" fmla="*/ 9157 w 10000"/>
                <a:gd name="connsiteY77" fmla="*/ 1061 h 10000"/>
                <a:gd name="connsiteX78" fmla="*/ 8933 w 10000"/>
                <a:gd name="connsiteY78" fmla="*/ 836 h 10000"/>
                <a:gd name="connsiteX79" fmla="*/ 8889 w 10000"/>
                <a:gd name="connsiteY79" fmla="*/ 611 h 10000"/>
                <a:gd name="connsiteX80" fmla="*/ 8534 w 10000"/>
                <a:gd name="connsiteY80" fmla="*/ 289 h 10000"/>
                <a:gd name="connsiteX81" fmla="*/ 8222 w 10000"/>
                <a:gd name="connsiteY81" fmla="*/ 161 h 10000"/>
                <a:gd name="connsiteX82" fmla="*/ 8045 w 10000"/>
                <a:gd name="connsiteY82" fmla="*/ 0 h 10000"/>
                <a:gd name="connsiteX83" fmla="*/ 7779 w 10000"/>
                <a:gd name="connsiteY83" fmla="*/ 161 h 10000"/>
                <a:gd name="connsiteX84" fmla="*/ 7600 w 10000"/>
                <a:gd name="connsiteY84" fmla="*/ 129 h 10000"/>
                <a:gd name="connsiteX85" fmla="*/ 7466 w 10000"/>
                <a:gd name="connsiteY85" fmla="*/ 418 h 10000"/>
                <a:gd name="connsiteX86" fmla="*/ 7110 w 10000"/>
                <a:gd name="connsiteY86" fmla="*/ 482 h 10000"/>
                <a:gd name="connsiteX87" fmla="*/ 7023 w 10000"/>
                <a:gd name="connsiteY87" fmla="*/ 707 h 10000"/>
                <a:gd name="connsiteX88" fmla="*/ 6711 w 10000"/>
                <a:gd name="connsiteY88" fmla="*/ 707 h 10000"/>
                <a:gd name="connsiteX89" fmla="*/ 6445 w 10000"/>
                <a:gd name="connsiteY89" fmla="*/ 611 h 10000"/>
                <a:gd name="connsiteX90" fmla="*/ 5867 w 10000"/>
                <a:gd name="connsiteY90" fmla="*/ 611 h 10000"/>
                <a:gd name="connsiteX91" fmla="*/ 5289 w 10000"/>
                <a:gd name="connsiteY91" fmla="*/ 611 h 10000"/>
                <a:gd name="connsiteX92" fmla="*/ 5333 w 10000"/>
                <a:gd name="connsiteY92" fmla="*/ 482 h 10000"/>
                <a:gd name="connsiteX93" fmla="*/ 5245 w 10000"/>
                <a:gd name="connsiteY93" fmla="*/ 482 h 10000"/>
                <a:gd name="connsiteX94" fmla="*/ 5201 w 10000"/>
                <a:gd name="connsiteY94" fmla="*/ 611 h 10000"/>
                <a:gd name="connsiteX95" fmla="*/ 4667 w 10000"/>
                <a:gd name="connsiteY95" fmla="*/ 611 h 10000"/>
                <a:gd name="connsiteX96" fmla="*/ 4134 w 10000"/>
                <a:gd name="connsiteY96" fmla="*/ 611 h 10000"/>
                <a:gd name="connsiteX97" fmla="*/ 3602 w 10000"/>
                <a:gd name="connsiteY97" fmla="*/ 611 h 10000"/>
                <a:gd name="connsiteX98" fmla="*/ 3067 w 10000"/>
                <a:gd name="connsiteY98" fmla="*/ 611 h 10000"/>
                <a:gd name="connsiteX99" fmla="*/ 2580 w 10000"/>
                <a:gd name="connsiteY99" fmla="*/ 611 h 10000"/>
                <a:gd name="connsiteX100" fmla="*/ 2046 w 10000"/>
                <a:gd name="connsiteY100" fmla="*/ 611 h 10000"/>
                <a:gd name="connsiteX101" fmla="*/ 1556 w 10000"/>
                <a:gd name="connsiteY101" fmla="*/ 611 h 10000"/>
                <a:gd name="connsiteX102" fmla="*/ 1024 w 10000"/>
                <a:gd name="connsiteY102" fmla="*/ 611 h 10000"/>
                <a:gd name="connsiteX103" fmla="*/ 1024 w 10000"/>
                <a:gd name="connsiteY103" fmla="*/ 1061 h 10000"/>
                <a:gd name="connsiteX104" fmla="*/ 1024 w 10000"/>
                <a:gd name="connsiteY104" fmla="*/ 1640 h 10000"/>
                <a:gd name="connsiteX105" fmla="*/ 356 w 10000"/>
                <a:gd name="connsiteY105" fmla="*/ 1640 h 10000"/>
                <a:gd name="connsiteX106" fmla="*/ 356 w 10000"/>
                <a:gd name="connsiteY106" fmla="*/ 1897 h 10000"/>
                <a:gd name="connsiteX0" fmla="*/ 861 w 10505"/>
                <a:gd name="connsiteY0" fmla="*/ 1897 h 10000"/>
                <a:gd name="connsiteX1" fmla="*/ 861 w 10505"/>
                <a:gd name="connsiteY1" fmla="*/ 2412 h 10000"/>
                <a:gd name="connsiteX2" fmla="*/ 861 w 10505"/>
                <a:gd name="connsiteY2" fmla="*/ 2894 h 10000"/>
                <a:gd name="connsiteX3" fmla="*/ 6025 w 10505"/>
                <a:gd name="connsiteY3" fmla="*/ 6915 h 10000"/>
                <a:gd name="connsiteX4" fmla="*/ 5660 w 10505"/>
                <a:gd name="connsiteY4" fmla="*/ 7114 h 10000"/>
                <a:gd name="connsiteX5" fmla="*/ 5353 w 10505"/>
                <a:gd name="connsiteY5" fmla="*/ 6907 h 10000"/>
                <a:gd name="connsiteX6" fmla="*/ 4908 w 10505"/>
                <a:gd name="connsiteY6" fmla="*/ 6781 h 10000"/>
                <a:gd name="connsiteX7" fmla="*/ 4687 w 10505"/>
                <a:gd name="connsiteY7" fmla="*/ 7064 h 10000"/>
                <a:gd name="connsiteX8" fmla="*/ 4140 w 10505"/>
                <a:gd name="connsiteY8" fmla="*/ 7281 h 10000"/>
                <a:gd name="connsiteX9" fmla="*/ 3789 w 10505"/>
                <a:gd name="connsiteY9" fmla="*/ 7279 h 10000"/>
                <a:gd name="connsiteX10" fmla="*/ 3022 w 10505"/>
                <a:gd name="connsiteY10" fmla="*/ 7095 h 10000"/>
                <a:gd name="connsiteX11" fmla="*/ 2817 w 10505"/>
                <a:gd name="connsiteY11" fmla="*/ 7195 h 10000"/>
                <a:gd name="connsiteX12" fmla="*/ 2305 w 10505"/>
                <a:gd name="connsiteY12" fmla="*/ 6973 h 10000"/>
                <a:gd name="connsiteX13" fmla="*/ 2079 w 10505"/>
                <a:gd name="connsiteY13" fmla="*/ 6638 h 10000"/>
                <a:gd name="connsiteX14" fmla="*/ 1703 w 10505"/>
                <a:gd name="connsiteY14" fmla="*/ 6729 h 10000"/>
                <a:gd name="connsiteX15" fmla="*/ 1601 w 10505"/>
                <a:gd name="connsiteY15" fmla="*/ 6927 h 10000"/>
                <a:gd name="connsiteX16" fmla="*/ 1203 w 10505"/>
                <a:gd name="connsiteY16" fmla="*/ 7011 h 10000"/>
                <a:gd name="connsiteX17" fmla="*/ 941 w 10505"/>
                <a:gd name="connsiteY17" fmla="*/ 7004 h 10000"/>
                <a:gd name="connsiteX18" fmla="*/ 797 w 10505"/>
                <a:gd name="connsiteY18" fmla="*/ 7161 h 10000"/>
                <a:gd name="connsiteX19" fmla="*/ 552 w 10505"/>
                <a:gd name="connsiteY19" fmla="*/ 6913 h 10000"/>
                <a:gd name="connsiteX20" fmla="*/ 505 w 10505"/>
                <a:gd name="connsiteY20" fmla="*/ 7363 h 10000"/>
                <a:gd name="connsiteX21" fmla="*/ 594 w 10505"/>
                <a:gd name="connsiteY21" fmla="*/ 7428 h 10000"/>
                <a:gd name="connsiteX22" fmla="*/ 951 w 10505"/>
                <a:gd name="connsiteY22" fmla="*/ 7460 h 10000"/>
                <a:gd name="connsiteX23" fmla="*/ 996 w 10505"/>
                <a:gd name="connsiteY23" fmla="*/ 7588 h 10000"/>
                <a:gd name="connsiteX24" fmla="*/ 1395 w 10505"/>
                <a:gd name="connsiteY24" fmla="*/ 7621 h 10000"/>
                <a:gd name="connsiteX25" fmla="*/ 1617 w 10505"/>
                <a:gd name="connsiteY25" fmla="*/ 7749 h 10000"/>
                <a:gd name="connsiteX26" fmla="*/ 1661 w 10505"/>
                <a:gd name="connsiteY26" fmla="*/ 7974 h 10000"/>
                <a:gd name="connsiteX27" fmla="*/ 2374 w 10505"/>
                <a:gd name="connsiteY27" fmla="*/ 8360 h 10000"/>
                <a:gd name="connsiteX28" fmla="*/ 2551 w 10505"/>
                <a:gd name="connsiteY28" fmla="*/ 8746 h 10000"/>
                <a:gd name="connsiteX29" fmla="*/ 3039 w 10505"/>
                <a:gd name="connsiteY29" fmla="*/ 8939 h 10000"/>
                <a:gd name="connsiteX30" fmla="*/ 3217 w 10505"/>
                <a:gd name="connsiteY30" fmla="*/ 9196 h 10000"/>
                <a:gd name="connsiteX31" fmla="*/ 3572 w 10505"/>
                <a:gd name="connsiteY31" fmla="*/ 9518 h 10000"/>
                <a:gd name="connsiteX32" fmla="*/ 3840 w 10505"/>
                <a:gd name="connsiteY32" fmla="*/ 9614 h 10000"/>
                <a:gd name="connsiteX33" fmla="*/ 4018 w 10505"/>
                <a:gd name="connsiteY33" fmla="*/ 9518 h 10000"/>
                <a:gd name="connsiteX34" fmla="*/ 4462 w 10505"/>
                <a:gd name="connsiteY34" fmla="*/ 9550 h 10000"/>
                <a:gd name="connsiteX35" fmla="*/ 4639 w 10505"/>
                <a:gd name="connsiteY35" fmla="*/ 9486 h 10000"/>
                <a:gd name="connsiteX36" fmla="*/ 5439 w 10505"/>
                <a:gd name="connsiteY36" fmla="*/ 9968 h 10000"/>
                <a:gd name="connsiteX37" fmla="*/ 5484 w 10505"/>
                <a:gd name="connsiteY37" fmla="*/ 9968 h 10000"/>
                <a:gd name="connsiteX38" fmla="*/ 5572 w 10505"/>
                <a:gd name="connsiteY38" fmla="*/ 9904 h 10000"/>
                <a:gd name="connsiteX39" fmla="*/ 6148 w 10505"/>
                <a:gd name="connsiteY39" fmla="*/ 9904 h 10000"/>
                <a:gd name="connsiteX40" fmla="*/ 6239 w 10505"/>
                <a:gd name="connsiteY40" fmla="*/ 10000 h 10000"/>
                <a:gd name="connsiteX41" fmla="*/ 6728 w 10505"/>
                <a:gd name="connsiteY41" fmla="*/ 9871 h 10000"/>
                <a:gd name="connsiteX42" fmla="*/ 7171 w 10505"/>
                <a:gd name="connsiteY42" fmla="*/ 9871 h 10000"/>
                <a:gd name="connsiteX43" fmla="*/ 7483 w 10505"/>
                <a:gd name="connsiteY43" fmla="*/ 9743 h 10000"/>
                <a:gd name="connsiteX44" fmla="*/ 7839 w 10505"/>
                <a:gd name="connsiteY44" fmla="*/ 9486 h 10000"/>
                <a:gd name="connsiteX45" fmla="*/ 8772 w 10505"/>
                <a:gd name="connsiteY45" fmla="*/ 9486 h 10000"/>
                <a:gd name="connsiteX46" fmla="*/ 8772 w 10505"/>
                <a:gd name="connsiteY46" fmla="*/ 9132 h 10000"/>
                <a:gd name="connsiteX47" fmla="*/ 8284 w 10505"/>
                <a:gd name="connsiteY47" fmla="*/ 8971 h 10000"/>
                <a:gd name="connsiteX48" fmla="*/ 8017 w 10505"/>
                <a:gd name="connsiteY48" fmla="*/ 8457 h 10000"/>
                <a:gd name="connsiteX49" fmla="*/ 7662 w 10505"/>
                <a:gd name="connsiteY49" fmla="*/ 8264 h 10000"/>
                <a:gd name="connsiteX50" fmla="*/ 7438 w 10505"/>
                <a:gd name="connsiteY50" fmla="*/ 8006 h 10000"/>
                <a:gd name="connsiteX51" fmla="*/ 6861 w 10505"/>
                <a:gd name="connsiteY51" fmla="*/ 7814 h 10000"/>
                <a:gd name="connsiteX52" fmla="*/ 6994 w 10505"/>
                <a:gd name="connsiteY52" fmla="*/ 7749 h 10000"/>
                <a:gd name="connsiteX53" fmla="*/ 6994 w 10505"/>
                <a:gd name="connsiteY53" fmla="*/ 7588 h 10000"/>
                <a:gd name="connsiteX54" fmla="*/ 7395 w 10505"/>
                <a:gd name="connsiteY54" fmla="*/ 7588 h 10000"/>
                <a:gd name="connsiteX55" fmla="*/ 7615 w 10505"/>
                <a:gd name="connsiteY55" fmla="*/ 7460 h 10000"/>
                <a:gd name="connsiteX56" fmla="*/ 7662 w 10505"/>
                <a:gd name="connsiteY56" fmla="*/ 6527 h 10000"/>
                <a:gd name="connsiteX57" fmla="*/ 7705 w 10505"/>
                <a:gd name="connsiteY57" fmla="*/ 6559 h 10000"/>
                <a:gd name="connsiteX58" fmla="*/ 7839 w 10505"/>
                <a:gd name="connsiteY58" fmla="*/ 6367 h 10000"/>
                <a:gd name="connsiteX59" fmla="*/ 8105 w 10505"/>
                <a:gd name="connsiteY59" fmla="*/ 6270 h 10000"/>
                <a:gd name="connsiteX60" fmla="*/ 8238 w 10505"/>
                <a:gd name="connsiteY60" fmla="*/ 5916 h 10000"/>
                <a:gd name="connsiteX61" fmla="*/ 8640 w 10505"/>
                <a:gd name="connsiteY61" fmla="*/ 5498 h 10000"/>
                <a:gd name="connsiteX62" fmla="*/ 8948 w 10505"/>
                <a:gd name="connsiteY62" fmla="*/ 5305 h 10000"/>
                <a:gd name="connsiteX63" fmla="*/ 9171 w 10505"/>
                <a:gd name="connsiteY63" fmla="*/ 4759 h 10000"/>
                <a:gd name="connsiteX64" fmla="*/ 9171 w 10505"/>
                <a:gd name="connsiteY64" fmla="*/ 4630 h 10000"/>
                <a:gd name="connsiteX65" fmla="*/ 9128 w 10505"/>
                <a:gd name="connsiteY65" fmla="*/ 4309 h 10000"/>
                <a:gd name="connsiteX66" fmla="*/ 9571 w 10505"/>
                <a:gd name="connsiteY66" fmla="*/ 3151 h 10000"/>
                <a:gd name="connsiteX67" fmla="*/ 9704 w 10505"/>
                <a:gd name="connsiteY67" fmla="*/ 3151 h 10000"/>
                <a:gd name="connsiteX68" fmla="*/ 9883 w 10505"/>
                <a:gd name="connsiteY68" fmla="*/ 3055 h 10000"/>
                <a:gd name="connsiteX69" fmla="*/ 10417 w 10505"/>
                <a:gd name="connsiteY69" fmla="*/ 2894 h 10000"/>
                <a:gd name="connsiteX70" fmla="*/ 10505 w 10505"/>
                <a:gd name="connsiteY70" fmla="*/ 2637 h 10000"/>
                <a:gd name="connsiteX71" fmla="*/ 10462 w 10505"/>
                <a:gd name="connsiteY71" fmla="*/ 2572 h 10000"/>
                <a:gd name="connsiteX72" fmla="*/ 10282 w 10505"/>
                <a:gd name="connsiteY72" fmla="*/ 2572 h 10000"/>
                <a:gd name="connsiteX73" fmla="*/ 10149 w 10505"/>
                <a:gd name="connsiteY73" fmla="*/ 2412 h 10000"/>
                <a:gd name="connsiteX74" fmla="*/ 9883 w 10505"/>
                <a:gd name="connsiteY74" fmla="*/ 2347 h 10000"/>
                <a:gd name="connsiteX75" fmla="*/ 9749 w 10505"/>
                <a:gd name="connsiteY75" fmla="*/ 2219 h 10000"/>
                <a:gd name="connsiteX76" fmla="*/ 9662 w 10505"/>
                <a:gd name="connsiteY76" fmla="*/ 1736 h 10000"/>
                <a:gd name="connsiteX77" fmla="*/ 9662 w 10505"/>
                <a:gd name="connsiteY77" fmla="*/ 1061 h 10000"/>
                <a:gd name="connsiteX78" fmla="*/ 9438 w 10505"/>
                <a:gd name="connsiteY78" fmla="*/ 836 h 10000"/>
                <a:gd name="connsiteX79" fmla="*/ 9394 w 10505"/>
                <a:gd name="connsiteY79" fmla="*/ 611 h 10000"/>
                <a:gd name="connsiteX80" fmla="*/ 9039 w 10505"/>
                <a:gd name="connsiteY80" fmla="*/ 289 h 10000"/>
                <a:gd name="connsiteX81" fmla="*/ 8727 w 10505"/>
                <a:gd name="connsiteY81" fmla="*/ 161 h 10000"/>
                <a:gd name="connsiteX82" fmla="*/ 8550 w 10505"/>
                <a:gd name="connsiteY82" fmla="*/ 0 h 10000"/>
                <a:gd name="connsiteX83" fmla="*/ 8284 w 10505"/>
                <a:gd name="connsiteY83" fmla="*/ 161 h 10000"/>
                <a:gd name="connsiteX84" fmla="*/ 8105 w 10505"/>
                <a:gd name="connsiteY84" fmla="*/ 129 h 10000"/>
                <a:gd name="connsiteX85" fmla="*/ 7971 w 10505"/>
                <a:gd name="connsiteY85" fmla="*/ 418 h 10000"/>
                <a:gd name="connsiteX86" fmla="*/ 7615 w 10505"/>
                <a:gd name="connsiteY86" fmla="*/ 482 h 10000"/>
                <a:gd name="connsiteX87" fmla="*/ 7528 w 10505"/>
                <a:gd name="connsiteY87" fmla="*/ 707 h 10000"/>
                <a:gd name="connsiteX88" fmla="*/ 7216 w 10505"/>
                <a:gd name="connsiteY88" fmla="*/ 707 h 10000"/>
                <a:gd name="connsiteX89" fmla="*/ 6950 w 10505"/>
                <a:gd name="connsiteY89" fmla="*/ 611 h 10000"/>
                <a:gd name="connsiteX90" fmla="*/ 6372 w 10505"/>
                <a:gd name="connsiteY90" fmla="*/ 611 h 10000"/>
                <a:gd name="connsiteX91" fmla="*/ 5794 w 10505"/>
                <a:gd name="connsiteY91" fmla="*/ 611 h 10000"/>
                <a:gd name="connsiteX92" fmla="*/ 5838 w 10505"/>
                <a:gd name="connsiteY92" fmla="*/ 482 h 10000"/>
                <a:gd name="connsiteX93" fmla="*/ 5750 w 10505"/>
                <a:gd name="connsiteY93" fmla="*/ 482 h 10000"/>
                <a:gd name="connsiteX94" fmla="*/ 5706 w 10505"/>
                <a:gd name="connsiteY94" fmla="*/ 611 h 10000"/>
                <a:gd name="connsiteX95" fmla="*/ 5172 w 10505"/>
                <a:gd name="connsiteY95" fmla="*/ 611 h 10000"/>
                <a:gd name="connsiteX96" fmla="*/ 4639 w 10505"/>
                <a:gd name="connsiteY96" fmla="*/ 611 h 10000"/>
                <a:gd name="connsiteX97" fmla="*/ 4107 w 10505"/>
                <a:gd name="connsiteY97" fmla="*/ 611 h 10000"/>
                <a:gd name="connsiteX98" fmla="*/ 3572 w 10505"/>
                <a:gd name="connsiteY98" fmla="*/ 611 h 10000"/>
                <a:gd name="connsiteX99" fmla="*/ 3085 w 10505"/>
                <a:gd name="connsiteY99" fmla="*/ 611 h 10000"/>
                <a:gd name="connsiteX100" fmla="*/ 2551 w 10505"/>
                <a:gd name="connsiteY100" fmla="*/ 611 h 10000"/>
                <a:gd name="connsiteX101" fmla="*/ 2061 w 10505"/>
                <a:gd name="connsiteY101" fmla="*/ 611 h 10000"/>
                <a:gd name="connsiteX102" fmla="*/ 1529 w 10505"/>
                <a:gd name="connsiteY102" fmla="*/ 611 h 10000"/>
                <a:gd name="connsiteX103" fmla="*/ 1529 w 10505"/>
                <a:gd name="connsiteY103" fmla="*/ 1061 h 10000"/>
                <a:gd name="connsiteX104" fmla="*/ 1529 w 10505"/>
                <a:gd name="connsiteY104" fmla="*/ 1640 h 10000"/>
                <a:gd name="connsiteX105" fmla="*/ 861 w 10505"/>
                <a:gd name="connsiteY105" fmla="*/ 1640 h 10000"/>
                <a:gd name="connsiteX106" fmla="*/ 861 w 10505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4973 w 10000"/>
                <a:gd name="connsiteY2" fmla="*/ 5205 h 10000"/>
                <a:gd name="connsiteX3" fmla="*/ 5520 w 10000"/>
                <a:gd name="connsiteY3" fmla="*/ 6915 h 10000"/>
                <a:gd name="connsiteX4" fmla="*/ 5155 w 10000"/>
                <a:gd name="connsiteY4" fmla="*/ 7114 h 10000"/>
                <a:gd name="connsiteX5" fmla="*/ 4848 w 10000"/>
                <a:gd name="connsiteY5" fmla="*/ 6907 h 10000"/>
                <a:gd name="connsiteX6" fmla="*/ 4403 w 10000"/>
                <a:gd name="connsiteY6" fmla="*/ 6781 h 10000"/>
                <a:gd name="connsiteX7" fmla="*/ 4182 w 10000"/>
                <a:gd name="connsiteY7" fmla="*/ 7064 h 10000"/>
                <a:gd name="connsiteX8" fmla="*/ 3635 w 10000"/>
                <a:gd name="connsiteY8" fmla="*/ 7281 h 10000"/>
                <a:gd name="connsiteX9" fmla="*/ 3284 w 10000"/>
                <a:gd name="connsiteY9" fmla="*/ 7279 h 10000"/>
                <a:gd name="connsiteX10" fmla="*/ 2517 w 10000"/>
                <a:gd name="connsiteY10" fmla="*/ 7095 h 10000"/>
                <a:gd name="connsiteX11" fmla="*/ 2312 w 10000"/>
                <a:gd name="connsiteY11" fmla="*/ 7195 h 10000"/>
                <a:gd name="connsiteX12" fmla="*/ 1800 w 10000"/>
                <a:gd name="connsiteY12" fmla="*/ 6973 h 10000"/>
                <a:gd name="connsiteX13" fmla="*/ 1574 w 10000"/>
                <a:gd name="connsiteY13" fmla="*/ 6638 h 10000"/>
                <a:gd name="connsiteX14" fmla="*/ 1198 w 10000"/>
                <a:gd name="connsiteY14" fmla="*/ 6729 h 10000"/>
                <a:gd name="connsiteX15" fmla="*/ 1096 w 10000"/>
                <a:gd name="connsiteY15" fmla="*/ 6927 h 10000"/>
                <a:gd name="connsiteX16" fmla="*/ 698 w 10000"/>
                <a:gd name="connsiteY16" fmla="*/ 7011 h 10000"/>
                <a:gd name="connsiteX17" fmla="*/ 436 w 10000"/>
                <a:gd name="connsiteY17" fmla="*/ 7004 h 10000"/>
                <a:gd name="connsiteX18" fmla="*/ 292 w 10000"/>
                <a:gd name="connsiteY18" fmla="*/ 7161 h 10000"/>
                <a:gd name="connsiteX19" fmla="*/ 47 w 10000"/>
                <a:gd name="connsiteY19" fmla="*/ 6913 h 10000"/>
                <a:gd name="connsiteX20" fmla="*/ 0 w 10000"/>
                <a:gd name="connsiteY20" fmla="*/ 7363 h 10000"/>
                <a:gd name="connsiteX21" fmla="*/ 89 w 10000"/>
                <a:gd name="connsiteY21" fmla="*/ 7428 h 10000"/>
                <a:gd name="connsiteX22" fmla="*/ 446 w 10000"/>
                <a:gd name="connsiteY22" fmla="*/ 7460 h 10000"/>
                <a:gd name="connsiteX23" fmla="*/ 491 w 10000"/>
                <a:gd name="connsiteY23" fmla="*/ 7588 h 10000"/>
                <a:gd name="connsiteX24" fmla="*/ 890 w 10000"/>
                <a:gd name="connsiteY24" fmla="*/ 7621 h 10000"/>
                <a:gd name="connsiteX25" fmla="*/ 1112 w 10000"/>
                <a:gd name="connsiteY25" fmla="*/ 7749 h 10000"/>
                <a:gd name="connsiteX26" fmla="*/ 1156 w 10000"/>
                <a:gd name="connsiteY26" fmla="*/ 7974 h 10000"/>
                <a:gd name="connsiteX27" fmla="*/ 1869 w 10000"/>
                <a:gd name="connsiteY27" fmla="*/ 8360 h 10000"/>
                <a:gd name="connsiteX28" fmla="*/ 2046 w 10000"/>
                <a:gd name="connsiteY28" fmla="*/ 8746 h 10000"/>
                <a:gd name="connsiteX29" fmla="*/ 2534 w 10000"/>
                <a:gd name="connsiteY29" fmla="*/ 8939 h 10000"/>
                <a:gd name="connsiteX30" fmla="*/ 2712 w 10000"/>
                <a:gd name="connsiteY30" fmla="*/ 9196 h 10000"/>
                <a:gd name="connsiteX31" fmla="*/ 3067 w 10000"/>
                <a:gd name="connsiteY31" fmla="*/ 9518 h 10000"/>
                <a:gd name="connsiteX32" fmla="*/ 3335 w 10000"/>
                <a:gd name="connsiteY32" fmla="*/ 9614 h 10000"/>
                <a:gd name="connsiteX33" fmla="*/ 3513 w 10000"/>
                <a:gd name="connsiteY33" fmla="*/ 9518 h 10000"/>
                <a:gd name="connsiteX34" fmla="*/ 3957 w 10000"/>
                <a:gd name="connsiteY34" fmla="*/ 9550 h 10000"/>
                <a:gd name="connsiteX35" fmla="*/ 4134 w 10000"/>
                <a:gd name="connsiteY35" fmla="*/ 9486 h 10000"/>
                <a:gd name="connsiteX36" fmla="*/ 4934 w 10000"/>
                <a:gd name="connsiteY36" fmla="*/ 9968 h 10000"/>
                <a:gd name="connsiteX37" fmla="*/ 4979 w 10000"/>
                <a:gd name="connsiteY37" fmla="*/ 9968 h 10000"/>
                <a:gd name="connsiteX38" fmla="*/ 5067 w 10000"/>
                <a:gd name="connsiteY38" fmla="*/ 9904 h 10000"/>
                <a:gd name="connsiteX39" fmla="*/ 5643 w 10000"/>
                <a:gd name="connsiteY39" fmla="*/ 9904 h 10000"/>
                <a:gd name="connsiteX40" fmla="*/ 5734 w 10000"/>
                <a:gd name="connsiteY40" fmla="*/ 10000 h 10000"/>
                <a:gd name="connsiteX41" fmla="*/ 6223 w 10000"/>
                <a:gd name="connsiteY41" fmla="*/ 9871 h 10000"/>
                <a:gd name="connsiteX42" fmla="*/ 6666 w 10000"/>
                <a:gd name="connsiteY42" fmla="*/ 9871 h 10000"/>
                <a:gd name="connsiteX43" fmla="*/ 6978 w 10000"/>
                <a:gd name="connsiteY43" fmla="*/ 9743 h 10000"/>
                <a:gd name="connsiteX44" fmla="*/ 7334 w 10000"/>
                <a:gd name="connsiteY44" fmla="*/ 9486 h 10000"/>
                <a:gd name="connsiteX45" fmla="*/ 8267 w 10000"/>
                <a:gd name="connsiteY45" fmla="*/ 9486 h 10000"/>
                <a:gd name="connsiteX46" fmla="*/ 8267 w 10000"/>
                <a:gd name="connsiteY46" fmla="*/ 9132 h 10000"/>
                <a:gd name="connsiteX47" fmla="*/ 7779 w 10000"/>
                <a:gd name="connsiteY47" fmla="*/ 8971 h 10000"/>
                <a:gd name="connsiteX48" fmla="*/ 7512 w 10000"/>
                <a:gd name="connsiteY48" fmla="*/ 8457 h 10000"/>
                <a:gd name="connsiteX49" fmla="*/ 7157 w 10000"/>
                <a:gd name="connsiteY49" fmla="*/ 8264 h 10000"/>
                <a:gd name="connsiteX50" fmla="*/ 6933 w 10000"/>
                <a:gd name="connsiteY50" fmla="*/ 8006 h 10000"/>
                <a:gd name="connsiteX51" fmla="*/ 6356 w 10000"/>
                <a:gd name="connsiteY51" fmla="*/ 7814 h 10000"/>
                <a:gd name="connsiteX52" fmla="*/ 6489 w 10000"/>
                <a:gd name="connsiteY52" fmla="*/ 7749 h 10000"/>
                <a:gd name="connsiteX53" fmla="*/ 6489 w 10000"/>
                <a:gd name="connsiteY53" fmla="*/ 7588 h 10000"/>
                <a:gd name="connsiteX54" fmla="*/ 6890 w 10000"/>
                <a:gd name="connsiteY54" fmla="*/ 7588 h 10000"/>
                <a:gd name="connsiteX55" fmla="*/ 7110 w 10000"/>
                <a:gd name="connsiteY55" fmla="*/ 7460 h 10000"/>
                <a:gd name="connsiteX56" fmla="*/ 7157 w 10000"/>
                <a:gd name="connsiteY56" fmla="*/ 6527 h 10000"/>
                <a:gd name="connsiteX57" fmla="*/ 7200 w 10000"/>
                <a:gd name="connsiteY57" fmla="*/ 6559 h 10000"/>
                <a:gd name="connsiteX58" fmla="*/ 7334 w 10000"/>
                <a:gd name="connsiteY58" fmla="*/ 6367 h 10000"/>
                <a:gd name="connsiteX59" fmla="*/ 7600 w 10000"/>
                <a:gd name="connsiteY59" fmla="*/ 6270 h 10000"/>
                <a:gd name="connsiteX60" fmla="*/ 7733 w 10000"/>
                <a:gd name="connsiteY60" fmla="*/ 5916 h 10000"/>
                <a:gd name="connsiteX61" fmla="*/ 8135 w 10000"/>
                <a:gd name="connsiteY61" fmla="*/ 5498 h 10000"/>
                <a:gd name="connsiteX62" fmla="*/ 8443 w 10000"/>
                <a:gd name="connsiteY62" fmla="*/ 5305 h 10000"/>
                <a:gd name="connsiteX63" fmla="*/ 8666 w 10000"/>
                <a:gd name="connsiteY63" fmla="*/ 4759 h 10000"/>
                <a:gd name="connsiteX64" fmla="*/ 8666 w 10000"/>
                <a:gd name="connsiteY64" fmla="*/ 4630 h 10000"/>
                <a:gd name="connsiteX65" fmla="*/ 8623 w 10000"/>
                <a:gd name="connsiteY65" fmla="*/ 4309 h 10000"/>
                <a:gd name="connsiteX66" fmla="*/ 9066 w 10000"/>
                <a:gd name="connsiteY66" fmla="*/ 3151 h 10000"/>
                <a:gd name="connsiteX67" fmla="*/ 9199 w 10000"/>
                <a:gd name="connsiteY67" fmla="*/ 3151 h 10000"/>
                <a:gd name="connsiteX68" fmla="*/ 9378 w 10000"/>
                <a:gd name="connsiteY68" fmla="*/ 3055 h 10000"/>
                <a:gd name="connsiteX69" fmla="*/ 9912 w 10000"/>
                <a:gd name="connsiteY69" fmla="*/ 2894 h 10000"/>
                <a:gd name="connsiteX70" fmla="*/ 10000 w 10000"/>
                <a:gd name="connsiteY70" fmla="*/ 2637 h 10000"/>
                <a:gd name="connsiteX71" fmla="*/ 9957 w 10000"/>
                <a:gd name="connsiteY71" fmla="*/ 2572 h 10000"/>
                <a:gd name="connsiteX72" fmla="*/ 9777 w 10000"/>
                <a:gd name="connsiteY72" fmla="*/ 2572 h 10000"/>
                <a:gd name="connsiteX73" fmla="*/ 9644 w 10000"/>
                <a:gd name="connsiteY73" fmla="*/ 2412 h 10000"/>
                <a:gd name="connsiteX74" fmla="*/ 9378 w 10000"/>
                <a:gd name="connsiteY74" fmla="*/ 2347 h 10000"/>
                <a:gd name="connsiteX75" fmla="*/ 9244 w 10000"/>
                <a:gd name="connsiteY75" fmla="*/ 2219 h 10000"/>
                <a:gd name="connsiteX76" fmla="*/ 9157 w 10000"/>
                <a:gd name="connsiteY76" fmla="*/ 1736 h 10000"/>
                <a:gd name="connsiteX77" fmla="*/ 9157 w 10000"/>
                <a:gd name="connsiteY77" fmla="*/ 1061 h 10000"/>
                <a:gd name="connsiteX78" fmla="*/ 8933 w 10000"/>
                <a:gd name="connsiteY78" fmla="*/ 836 h 10000"/>
                <a:gd name="connsiteX79" fmla="*/ 8889 w 10000"/>
                <a:gd name="connsiteY79" fmla="*/ 611 h 10000"/>
                <a:gd name="connsiteX80" fmla="*/ 8534 w 10000"/>
                <a:gd name="connsiteY80" fmla="*/ 289 h 10000"/>
                <a:gd name="connsiteX81" fmla="*/ 8222 w 10000"/>
                <a:gd name="connsiteY81" fmla="*/ 161 h 10000"/>
                <a:gd name="connsiteX82" fmla="*/ 8045 w 10000"/>
                <a:gd name="connsiteY82" fmla="*/ 0 h 10000"/>
                <a:gd name="connsiteX83" fmla="*/ 7779 w 10000"/>
                <a:gd name="connsiteY83" fmla="*/ 161 h 10000"/>
                <a:gd name="connsiteX84" fmla="*/ 7600 w 10000"/>
                <a:gd name="connsiteY84" fmla="*/ 129 h 10000"/>
                <a:gd name="connsiteX85" fmla="*/ 7466 w 10000"/>
                <a:gd name="connsiteY85" fmla="*/ 418 h 10000"/>
                <a:gd name="connsiteX86" fmla="*/ 7110 w 10000"/>
                <a:gd name="connsiteY86" fmla="*/ 482 h 10000"/>
                <a:gd name="connsiteX87" fmla="*/ 7023 w 10000"/>
                <a:gd name="connsiteY87" fmla="*/ 707 h 10000"/>
                <a:gd name="connsiteX88" fmla="*/ 6711 w 10000"/>
                <a:gd name="connsiteY88" fmla="*/ 707 h 10000"/>
                <a:gd name="connsiteX89" fmla="*/ 6445 w 10000"/>
                <a:gd name="connsiteY89" fmla="*/ 611 h 10000"/>
                <a:gd name="connsiteX90" fmla="*/ 5867 w 10000"/>
                <a:gd name="connsiteY90" fmla="*/ 611 h 10000"/>
                <a:gd name="connsiteX91" fmla="*/ 5289 w 10000"/>
                <a:gd name="connsiteY91" fmla="*/ 611 h 10000"/>
                <a:gd name="connsiteX92" fmla="*/ 5333 w 10000"/>
                <a:gd name="connsiteY92" fmla="*/ 482 h 10000"/>
                <a:gd name="connsiteX93" fmla="*/ 5245 w 10000"/>
                <a:gd name="connsiteY93" fmla="*/ 482 h 10000"/>
                <a:gd name="connsiteX94" fmla="*/ 5201 w 10000"/>
                <a:gd name="connsiteY94" fmla="*/ 611 h 10000"/>
                <a:gd name="connsiteX95" fmla="*/ 4667 w 10000"/>
                <a:gd name="connsiteY95" fmla="*/ 611 h 10000"/>
                <a:gd name="connsiteX96" fmla="*/ 4134 w 10000"/>
                <a:gd name="connsiteY96" fmla="*/ 611 h 10000"/>
                <a:gd name="connsiteX97" fmla="*/ 3602 w 10000"/>
                <a:gd name="connsiteY97" fmla="*/ 611 h 10000"/>
                <a:gd name="connsiteX98" fmla="*/ 3067 w 10000"/>
                <a:gd name="connsiteY98" fmla="*/ 611 h 10000"/>
                <a:gd name="connsiteX99" fmla="*/ 2580 w 10000"/>
                <a:gd name="connsiteY99" fmla="*/ 611 h 10000"/>
                <a:gd name="connsiteX100" fmla="*/ 2046 w 10000"/>
                <a:gd name="connsiteY100" fmla="*/ 611 h 10000"/>
                <a:gd name="connsiteX101" fmla="*/ 1556 w 10000"/>
                <a:gd name="connsiteY101" fmla="*/ 611 h 10000"/>
                <a:gd name="connsiteX102" fmla="*/ 1024 w 10000"/>
                <a:gd name="connsiteY102" fmla="*/ 611 h 10000"/>
                <a:gd name="connsiteX103" fmla="*/ 1024 w 10000"/>
                <a:gd name="connsiteY103" fmla="*/ 1061 h 10000"/>
                <a:gd name="connsiteX104" fmla="*/ 1024 w 10000"/>
                <a:gd name="connsiteY104" fmla="*/ 1640 h 10000"/>
                <a:gd name="connsiteX105" fmla="*/ 356 w 10000"/>
                <a:gd name="connsiteY105" fmla="*/ 1640 h 10000"/>
                <a:gd name="connsiteX106" fmla="*/ 356 w 10000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5520 w 10000"/>
                <a:gd name="connsiteY2" fmla="*/ 6915 h 10000"/>
                <a:gd name="connsiteX3" fmla="*/ 5155 w 10000"/>
                <a:gd name="connsiteY3" fmla="*/ 7114 h 10000"/>
                <a:gd name="connsiteX4" fmla="*/ 4848 w 10000"/>
                <a:gd name="connsiteY4" fmla="*/ 6907 h 10000"/>
                <a:gd name="connsiteX5" fmla="*/ 4403 w 10000"/>
                <a:gd name="connsiteY5" fmla="*/ 6781 h 10000"/>
                <a:gd name="connsiteX6" fmla="*/ 4182 w 10000"/>
                <a:gd name="connsiteY6" fmla="*/ 7064 h 10000"/>
                <a:gd name="connsiteX7" fmla="*/ 3635 w 10000"/>
                <a:gd name="connsiteY7" fmla="*/ 7281 h 10000"/>
                <a:gd name="connsiteX8" fmla="*/ 3284 w 10000"/>
                <a:gd name="connsiteY8" fmla="*/ 7279 h 10000"/>
                <a:gd name="connsiteX9" fmla="*/ 2517 w 10000"/>
                <a:gd name="connsiteY9" fmla="*/ 7095 h 10000"/>
                <a:gd name="connsiteX10" fmla="*/ 2312 w 10000"/>
                <a:gd name="connsiteY10" fmla="*/ 7195 h 10000"/>
                <a:gd name="connsiteX11" fmla="*/ 1800 w 10000"/>
                <a:gd name="connsiteY11" fmla="*/ 6973 h 10000"/>
                <a:gd name="connsiteX12" fmla="*/ 1574 w 10000"/>
                <a:gd name="connsiteY12" fmla="*/ 6638 h 10000"/>
                <a:gd name="connsiteX13" fmla="*/ 1198 w 10000"/>
                <a:gd name="connsiteY13" fmla="*/ 6729 h 10000"/>
                <a:gd name="connsiteX14" fmla="*/ 1096 w 10000"/>
                <a:gd name="connsiteY14" fmla="*/ 6927 h 10000"/>
                <a:gd name="connsiteX15" fmla="*/ 698 w 10000"/>
                <a:gd name="connsiteY15" fmla="*/ 7011 h 10000"/>
                <a:gd name="connsiteX16" fmla="*/ 436 w 10000"/>
                <a:gd name="connsiteY16" fmla="*/ 7004 h 10000"/>
                <a:gd name="connsiteX17" fmla="*/ 292 w 10000"/>
                <a:gd name="connsiteY17" fmla="*/ 7161 h 10000"/>
                <a:gd name="connsiteX18" fmla="*/ 47 w 10000"/>
                <a:gd name="connsiteY18" fmla="*/ 6913 h 10000"/>
                <a:gd name="connsiteX19" fmla="*/ 0 w 10000"/>
                <a:gd name="connsiteY19" fmla="*/ 7363 h 10000"/>
                <a:gd name="connsiteX20" fmla="*/ 89 w 10000"/>
                <a:gd name="connsiteY20" fmla="*/ 7428 h 10000"/>
                <a:gd name="connsiteX21" fmla="*/ 446 w 10000"/>
                <a:gd name="connsiteY21" fmla="*/ 7460 h 10000"/>
                <a:gd name="connsiteX22" fmla="*/ 491 w 10000"/>
                <a:gd name="connsiteY22" fmla="*/ 7588 h 10000"/>
                <a:gd name="connsiteX23" fmla="*/ 890 w 10000"/>
                <a:gd name="connsiteY23" fmla="*/ 7621 h 10000"/>
                <a:gd name="connsiteX24" fmla="*/ 1112 w 10000"/>
                <a:gd name="connsiteY24" fmla="*/ 7749 h 10000"/>
                <a:gd name="connsiteX25" fmla="*/ 1156 w 10000"/>
                <a:gd name="connsiteY25" fmla="*/ 7974 h 10000"/>
                <a:gd name="connsiteX26" fmla="*/ 1869 w 10000"/>
                <a:gd name="connsiteY26" fmla="*/ 8360 h 10000"/>
                <a:gd name="connsiteX27" fmla="*/ 2046 w 10000"/>
                <a:gd name="connsiteY27" fmla="*/ 8746 h 10000"/>
                <a:gd name="connsiteX28" fmla="*/ 2534 w 10000"/>
                <a:gd name="connsiteY28" fmla="*/ 8939 h 10000"/>
                <a:gd name="connsiteX29" fmla="*/ 2712 w 10000"/>
                <a:gd name="connsiteY29" fmla="*/ 9196 h 10000"/>
                <a:gd name="connsiteX30" fmla="*/ 3067 w 10000"/>
                <a:gd name="connsiteY30" fmla="*/ 9518 h 10000"/>
                <a:gd name="connsiteX31" fmla="*/ 3335 w 10000"/>
                <a:gd name="connsiteY31" fmla="*/ 9614 h 10000"/>
                <a:gd name="connsiteX32" fmla="*/ 3513 w 10000"/>
                <a:gd name="connsiteY32" fmla="*/ 9518 h 10000"/>
                <a:gd name="connsiteX33" fmla="*/ 3957 w 10000"/>
                <a:gd name="connsiteY33" fmla="*/ 9550 h 10000"/>
                <a:gd name="connsiteX34" fmla="*/ 4134 w 10000"/>
                <a:gd name="connsiteY34" fmla="*/ 9486 h 10000"/>
                <a:gd name="connsiteX35" fmla="*/ 4934 w 10000"/>
                <a:gd name="connsiteY35" fmla="*/ 9968 h 10000"/>
                <a:gd name="connsiteX36" fmla="*/ 4979 w 10000"/>
                <a:gd name="connsiteY36" fmla="*/ 9968 h 10000"/>
                <a:gd name="connsiteX37" fmla="*/ 5067 w 10000"/>
                <a:gd name="connsiteY37" fmla="*/ 9904 h 10000"/>
                <a:gd name="connsiteX38" fmla="*/ 5643 w 10000"/>
                <a:gd name="connsiteY38" fmla="*/ 9904 h 10000"/>
                <a:gd name="connsiteX39" fmla="*/ 5734 w 10000"/>
                <a:gd name="connsiteY39" fmla="*/ 10000 h 10000"/>
                <a:gd name="connsiteX40" fmla="*/ 6223 w 10000"/>
                <a:gd name="connsiteY40" fmla="*/ 9871 h 10000"/>
                <a:gd name="connsiteX41" fmla="*/ 6666 w 10000"/>
                <a:gd name="connsiteY41" fmla="*/ 9871 h 10000"/>
                <a:gd name="connsiteX42" fmla="*/ 6978 w 10000"/>
                <a:gd name="connsiteY42" fmla="*/ 9743 h 10000"/>
                <a:gd name="connsiteX43" fmla="*/ 7334 w 10000"/>
                <a:gd name="connsiteY43" fmla="*/ 9486 h 10000"/>
                <a:gd name="connsiteX44" fmla="*/ 8267 w 10000"/>
                <a:gd name="connsiteY44" fmla="*/ 9486 h 10000"/>
                <a:gd name="connsiteX45" fmla="*/ 8267 w 10000"/>
                <a:gd name="connsiteY45" fmla="*/ 9132 h 10000"/>
                <a:gd name="connsiteX46" fmla="*/ 7779 w 10000"/>
                <a:gd name="connsiteY46" fmla="*/ 8971 h 10000"/>
                <a:gd name="connsiteX47" fmla="*/ 7512 w 10000"/>
                <a:gd name="connsiteY47" fmla="*/ 8457 h 10000"/>
                <a:gd name="connsiteX48" fmla="*/ 7157 w 10000"/>
                <a:gd name="connsiteY48" fmla="*/ 8264 h 10000"/>
                <a:gd name="connsiteX49" fmla="*/ 6933 w 10000"/>
                <a:gd name="connsiteY49" fmla="*/ 8006 h 10000"/>
                <a:gd name="connsiteX50" fmla="*/ 6356 w 10000"/>
                <a:gd name="connsiteY50" fmla="*/ 7814 h 10000"/>
                <a:gd name="connsiteX51" fmla="*/ 6489 w 10000"/>
                <a:gd name="connsiteY51" fmla="*/ 7749 h 10000"/>
                <a:gd name="connsiteX52" fmla="*/ 6489 w 10000"/>
                <a:gd name="connsiteY52" fmla="*/ 7588 h 10000"/>
                <a:gd name="connsiteX53" fmla="*/ 6890 w 10000"/>
                <a:gd name="connsiteY53" fmla="*/ 7588 h 10000"/>
                <a:gd name="connsiteX54" fmla="*/ 7110 w 10000"/>
                <a:gd name="connsiteY54" fmla="*/ 7460 h 10000"/>
                <a:gd name="connsiteX55" fmla="*/ 7157 w 10000"/>
                <a:gd name="connsiteY55" fmla="*/ 6527 h 10000"/>
                <a:gd name="connsiteX56" fmla="*/ 7200 w 10000"/>
                <a:gd name="connsiteY56" fmla="*/ 6559 h 10000"/>
                <a:gd name="connsiteX57" fmla="*/ 7334 w 10000"/>
                <a:gd name="connsiteY57" fmla="*/ 6367 h 10000"/>
                <a:gd name="connsiteX58" fmla="*/ 7600 w 10000"/>
                <a:gd name="connsiteY58" fmla="*/ 6270 h 10000"/>
                <a:gd name="connsiteX59" fmla="*/ 7733 w 10000"/>
                <a:gd name="connsiteY59" fmla="*/ 5916 h 10000"/>
                <a:gd name="connsiteX60" fmla="*/ 8135 w 10000"/>
                <a:gd name="connsiteY60" fmla="*/ 5498 h 10000"/>
                <a:gd name="connsiteX61" fmla="*/ 8443 w 10000"/>
                <a:gd name="connsiteY61" fmla="*/ 5305 h 10000"/>
                <a:gd name="connsiteX62" fmla="*/ 8666 w 10000"/>
                <a:gd name="connsiteY62" fmla="*/ 4759 h 10000"/>
                <a:gd name="connsiteX63" fmla="*/ 8666 w 10000"/>
                <a:gd name="connsiteY63" fmla="*/ 4630 h 10000"/>
                <a:gd name="connsiteX64" fmla="*/ 8623 w 10000"/>
                <a:gd name="connsiteY64" fmla="*/ 4309 h 10000"/>
                <a:gd name="connsiteX65" fmla="*/ 9066 w 10000"/>
                <a:gd name="connsiteY65" fmla="*/ 3151 h 10000"/>
                <a:gd name="connsiteX66" fmla="*/ 9199 w 10000"/>
                <a:gd name="connsiteY66" fmla="*/ 3151 h 10000"/>
                <a:gd name="connsiteX67" fmla="*/ 9378 w 10000"/>
                <a:gd name="connsiteY67" fmla="*/ 3055 h 10000"/>
                <a:gd name="connsiteX68" fmla="*/ 9912 w 10000"/>
                <a:gd name="connsiteY68" fmla="*/ 2894 h 10000"/>
                <a:gd name="connsiteX69" fmla="*/ 10000 w 10000"/>
                <a:gd name="connsiteY69" fmla="*/ 2637 h 10000"/>
                <a:gd name="connsiteX70" fmla="*/ 9957 w 10000"/>
                <a:gd name="connsiteY70" fmla="*/ 2572 h 10000"/>
                <a:gd name="connsiteX71" fmla="*/ 9777 w 10000"/>
                <a:gd name="connsiteY71" fmla="*/ 2572 h 10000"/>
                <a:gd name="connsiteX72" fmla="*/ 9644 w 10000"/>
                <a:gd name="connsiteY72" fmla="*/ 2412 h 10000"/>
                <a:gd name="connsiteX73" fmla="*/ 9378 w 10000"/>
                <a:gd name="connsiteY73" fmla="*/ 2347 h 10000"/>
                <a:gd name="connsiteX74" fmla="*/ 9244 w 10000"/>
                <a:gd name="connsiteY74" fmla="*/ 2219 h 10000"/>
                <a:gd name="connsiteX75" fmla="*/ 9157 w 10000"/>
                <a:gd name="connsiteY75" fmla="*/ 1736 h 10000"/>
                <a:gd name="connsiteX76" fmla="*/ 9157 w 10000"/>
                <a:gd name="connsiteY76" fmla="*/ 1061 h 10000"/>
                <a:gd name="connsiteX77" fmla="*/ 8933 w 10000"/>
                <a:gd name="connsiteY77" fmla="*/ 836 h 10000"/>
                <a:gd name="connsiteX78" fmla="*/ 8889 w 10000"/>
                <a:gd name="connsiteY78" fmla="*/ 611 h 10000"/>
                <a:gd name="connsiteX79" fmla="*/ 8534 w 10000"/>
                <a:gd name="connsiteY79" fmla="*/ 289 h 10000"/>
                <a:gd name="connsiteX80" fmla="*/ 8222 w 10000"/>
                <a:gd name="connsiteY80" fmla="*/ 161 h 10000"/>
                <a:gd name="connsiteX81" fmla="*/ 8045 w 10000"/>
                <a:gd name="connsiteY81" fmla="*/ 0 h 10000"/>
                <a:gd name="connsiteX82" fmla="*/ 7779 w 10000"/>
                <a:gd name="connsiteY82" fmla="*/ 161 h 10000"/>
                <a:gd name="connsiteX83" fmla="*/ 7600 w 10000"/>
                <a:gd name="connsiteY83" fmla="*/ 129 h 10000"/>
                <a:gd name="connsiteX84" fmla="*/ 7466 w 10000"/>
                <a:gd name="connsiteY84" fmla="*/ 418 h 10000"/>
                <a:gd name="connsiteX85" fmla="*/ 7110 w 10000"/>
                <a:gd name="connsiteY85" fmla="*/ 482 h 10000"/>
                <a:gd name="connsiteX86" fmla="*/ 7023 w 10000"/>
                <a:gd name="connsiteY86" fmla="*/ 707 h 10000"/>
                <a:gd name="connsiteX87" fmla="*/ 6711 w 10000"/>
                <a:gd name="connsiteY87" fmla="*/ 707 h 10000"/>
                <a:gd name="connsiteX88" fmla="*/ 6445 w 10000"/>
                <a:gd name="connsiteY88" fmla="*/ 611 h 10000"/>
                <a:gd name="connsiteX89" fmla="*/ 5867 w 10000"/>
                <a:gd name="connsiteY89" fmla="*/ 611 h 10000"/>
                <a:gd name="connsiteX90" fmla="*/ 5289 w 10000"/>
                <a:gd name="connsiteY90" fmla="*/ 611 h 10000"/>
                <a:gd name="connsiteX91" fmla="*/ 5333 w 10000"/>
                <a:gd name="connsiteY91" fmla="*/ 482 h 10000"/>
                <a:gd name="connsiteX92" fmla="*/ 5245 w 10000"/>
                <a:gd name="connsiteY92" fmla="*/ 482 h 10000"/>
                <a:gd name="connsiteX93" fmla="*/ 5201 w 10000"/>
                <a:gd name="connsiteY93" fmla="*/ 611 h 10000"/>
                <a:gd name="connsiteX94" fmla="*/ 4667 w 10000"/>
                <a:gd name="connsiteY94" fmla="*/ 611 h 10000"/>
                <a:gd name="connsiteX95" fmla="*/ 4134 w 10000"/>
                <a:gd name="connsiteY95" fmla="*/ 611 h 10000"/>
                <a:gd name="connsiteX96" fmla="*/ 3602 w 10000"/>
                <a:gd name="connsiteY96" fmla="*/ 611 h 10000"/>
                <a:gd name="connsiteX97" fmla="*/ 3067 w 10000"/>
                <a:gd name="connsiteY97" fmla="*/ 611 h 10000"/>
                <a:gd name="connsiteX98" fmla="*/ 2580 w 10000"/>
                <a:gd name="connsiteY98" fmla="*/ 611 h 10000"/>
                <a:gd name="connsiteX99" fmla="*/ 2046 w 10000"/>
                <a:gd name="connsiteY99" fmla="*/ 611 h 10000"/>
                <a:gd name="connsiteX100" fmla="*/ 1556 w 10000"/>
                <a:gd name="connsiteY100" fmla="*/ 611 h 10000"/>
                <a:gd name="connsiteX101" fmla="*/ 1024 w 10000"/>
                <a:gd name="connsiteY101" fmla="*/ 611 h 10000"/>
                <a:gd name="connsiteX102" fmla="*/ 1024 w 10000"/>
                <a:gd name="connsiteY102" fmla="*/ 1061 h 10000"/>
                <a:gd name="connsiteX103" fmla="*/ 1024 w 10000"/>
                <a:gd name="connsiteY103" fmla="*/ 1640 h 10000"/>
                <a:gd name="connsiteX104" fmla="*/ 356 w 10000"/>
                <a:gd name="connsiteY104" fmla="*/ 1640 h 10000"/>
                <a:gd name="connsiteX105" fmla="*/ 356 w 10000"/>
                <a:gd name="connsiteY105" fmla="*/ 1897 h 10000"/>
                <a:gd name="connsiteX0" fmla="*/ 356 w 10000"/>
                <a:gd name="connsiteY0" fmla="*/ 1897 h 10000"/>
                <a:gd name="connsiteX1" fmla="*/ 5484 w 10000"/>
                <a:gd name="connsiteY1" fmla="*/ 5713 h 10000"/>
                <a:gd name="connsiteX2" fmla="*/ 5520 w 10000"/>
                <a:gd name="connsiteY2" fmla="*/ 6915 h 10000"/>
                <a:gd name="connsiteX3" fmla="*/ 5155 w 10000"/>
                <a:gd name="connsiteY3" fmla="*/ 7114 h 10000"/>
                <a:gd name="connsiteX4" fmla="*/ 4848 w 10000"/>
                <a:gd name="connsiteY4" fmla="*/ 6907 h 10000"/>
                <a:gd name="connsiteX5" fmla="*/ 4403 w 10000"/>
                <a:gd name="connsiteY5" fmla="*/ 6781 h 10000"/>
                <a:gd name="connsiteX6" fmla="*/ 4182 w 10000"/>
                <a:gd name="connsiteY6" fmla="*/ 7064 h 10000"/>
                <a:gd name="connsiteX7" fmla="*/ 3635 w 10000"/>
                <a:gd name="connsiteY7" fmla="*/ 7281 h 10000"/>
                <a:gd name="connsiteX8" fmla="*/ 3284 w 10000"/>
                <a:gd name="connsiteY8" fmla="*/ 7279 h 10000"/>
                <a:gd name="connsiteX9" fmla="*/ 2517 w 10000"/>
                <a:gd name="connsiteY9" fmla="*/ 7095 h 10000"/>
                <a:gd name="connsiteX10" fmla="*/ 2312 w 10000"/>
                <a:gd name="connsiteY10" fmla="*/ 7195 h 10000"/>
                <a:gd name="connsiteX11" fmla="*/ 1800 w 10000"/>
                <a:gd name="connsiteY11" fmla="*/ 6973 h 10000"/>
                <a:gd name="connsiteX12" fmla="*/ 1574 w 10000"/>
                <a:gd name="connsiteY12" fmla="*/ 6638 h 10000"/>
                <a:gd name="connsiteX13" fmla="*/ 1198 w 10000"/>
                <a:gd name="connsiteY13" fmla="*/ 6729 h 10000"/>
                <a:gd name="connsiteX14" fmla="*/ 1096 w 10000"/>
                <a:gd name="connsiteY14" fmla="*/ 6927 h 10000"/>
                <a:gd name="connsiteX15" fmla="*/ 698 w 10000"/>
                <a:gd name="connsiteY15" fmla="*/ 7011 h 10000"/>
                <a:gd name="connsiteX16" fmla="*/ 436 w 10000"/>
                <a:gd name="connsiteY16" fmla="*/ 7004 h 10000"/>
                <a:gd name="connsiteX17" fmla="*/ 292 w 10000"/>
                <a:gd name="connsiteY17" fmla="*/ 7161 h 10000"/>
                <a:gd name="connsiteX18" fmla="*/ 47 w 10000"/>
                <a:gd name="connsiteY18" fmla="*/ 6913 h 10000"/>
                <a:gd name="connsiteX19" fmla="*/ 0 w 10000"/>
                <a:gd name="connsiteY19" fmla="*/ 7363 h 10000"/>
                <a:gd name="connsiteX20" fmla="*/ 89 w 10000"/>
                <a:gd name="connsiteY20" fmla="*/ 7428 h 10000"/>
                <a:gd name="connsiteX21" fmla="*/ 446 w 10000"/>
                <a:gd name="connsiteY21" fmla="*/ 7460 h 10000"/>
                <a:gd name="connsiteX22" fmla="*/ 491 w 10000"/>
                <a:gd name="connsiteY22" fmla="*/ 7588 h 10000"/>
                <a:gd name="connsiteX23" fmla="*/ 890 w 10000"/>
                <a:gd name="connsiteY23" fmla="*/ 7621 h 10000"/>
                <a:gd name="connsiteX24" fmla="*/ 1112 w 10000"/>
                <a:gd name="connsiteY24" fmla="*/ 7749 h 10000"/>
                <a:gd name="connsiteX25" fmla="*/ 1156 w 10000"/>
                <a:gd name="connsiteY25" fmla="*/ 7974 h 10000"/>
                <a:gd name="connsiteX26" fmla="*/ 1869 w 10000"/>
                <a:gd name="connsiteY26" fmla="*/ 8360 h 10000"/>
                <a:gd name="connsiteX27" fmla="*/ 2046 w 10000"/>
                <a:gd name="connsiteY27" fmla="*/ 8746 h 10000"/>
                <a:gd name="connsiteX28" fmla="*/ 2534 w 10000"/>
                <a:gd name="connsiteY28" fmla="*/ 8939 h 10000"/>
                <a:gd name="connsiteX29" fmla="*/ 2712 w 10000"/>
                <a:gd name="connsiteY29" fmla="*/ 9196 h 10000"/>
                <a:gd name="connsiteX30" fmla="*/ 3067 w 10000"/>
                <a:gd name="connsiteY30" fmla="*/ 9518 h 10000"/>
                <a:gd name="connsiteX31" fmla="*/ 3335 w 10000"/>
                <a:gd name="connsiteY31" fmla="*/ 9614 h 10000"/>
                <a:gd name="connsiteX32" fmla="*/ 3513 w 10000"/>
                <a:gd name="connsiteY32" fmla="*/ 9518 h 10000"/>
                <a:gd name="connsiteX33" fmla="*/ 3957 w 10000"/>
                <a:gd name="connsiteY33" fmla="*/ 9550 h 10000"/>
                <a:gd name="connsiteX34" fmla="*/ 4134 w 10000"/>
                <a:gd name="connsiteY34" fmla="*/ 9486 h 10000"/>
                <a:gd name="connsiteX35" fmla="*/ 4934 w 10000"/>
                <a:gd name="connsiteY35" fmla="*/ 9968 h 10000"/>
                <a:gd name="connsiteX36" fmla="*/ 4979 w 10000"/>
                <a:gd name="connsiteY36" fmla="*/ 9968 h 10000"/>
                <a:gd name="connsiteX37" fmla="*/ 5067 w 10000"/>
                <a:gd name="connsiteY37" fmla="*/ 9904 h 10000"/>
                <a:gd name="connsiteX38" fmla="*/ 5643 w 10000"/>
                <a:gd name="connsiteY38" fmla="*/ 9904 h 10000"/>
                <a:gd name="connsiteX39" fmla="*/ 5734 w 10000"/>
                <a:gd name="connsiteY39" fmla="*/ 10000 h 10000"/>
                <a:gd name="connsiteX40" fmla="*/ 6223 w 10000"/>
                <a:gd name="connsiteY40" fmla="*/ 9871 h 10000"/>
                <a:gd name="connsiteX41" fmla="*/ 6666 w 10000"/>
                <a:gd name="connsiteY41" fmla="*/ 9871 h 10000"/>
                <a:gd name="connsiteX42" fmla="*/ 6978 w 10000"/>
                <a:gd name="connsiteY42" fmla="*/ 9743 h 10000"/>
                <a:gd name="connsiteX43" fmla="*/ 7334 w 10000"/>
                <a:gd name="connsiteY43" fmla="*/ 9486 h 10000"/>
                <a:gd name="connsiteX44" fmla="*/ 8267 w 10000"/>
                <a:gd name="connsiteY44" fmla="*/ 9486 h 10000"/>
                <a:gd name="connsiteX45" fmla="*/ 8267 w 10000"/>
                <a:gd name="connsiteY45" fmla="*/ 9132 h 10000"/>
                <a:gd name="connsiteX46" fmla="*/ 7779 w 10000"/>
                <a:gd name="connsiteY46" fmla="*/ 8971 h 10000"/>
                <a:gd name="connsiteX47" fmla="*/ 7512 w 10000"/>
                <a:gd name="connsiteY47" fmla="*/ 8457 h 10000"/>
                <a:gd name="connsiteX48" fmla="*/ 7157 w 10000"/>
                <a:gd name="connsiteY48" fmla="*/ 8264 h 10000"/>
                <a:gd name="connsiteX49" fmla="*/ 6933 w 10000"/>
                <a:gd name="connsiteY49" fmla="*/ 8006 h 10000"/>
                <a:gd name="connsiteX50" fmla="*/ 6356 w 10000"/>
                <a:gd name="connsiteY50" fmla="*/ 7814 h 10000"/>
                <a:gd name="connsiteX51" fmla="*/ 6489 w 10000"/>
                <a:gd name="connsiteY51" fmla="*/ 7749 h 10000"/>
                <a:gd name="connsiteX52" fmla="*/ 6489 w 10000"/>
                <a:gd name="connsiteY52" fmla="*/ 7588 h 10000"/>
                <a:gd name="connsiteX53" fmla="*/ 6890 w 10000"/>
                <a:gd name="connsiteY53" fmla="*/ 7588 h 10000"/>
                <a:gd name="connsiteX54" fmla="*/ 7110 w 10000"/>
                <a:gd name="connsiteY54" fmla="*/ 7460 h 10000"/>
                <a:gd name="connsiteX55" fmla="*/ 7157 w 10000"/>
                <a:gd name="connsiteY55" fmla="*/ 6527 h 10000"/>
                <a:gd name="connsiteX56" fmla="*/ 7200 w 10000"/>
                <a:gd name="connsiteY56" fmla="*/ 6559 h 10000"/>
                <a:gd name="connsiteX57" fmla="*/ 7334 w 10000"/>
                <a:gd name="connsiteY57" fmla="*/ 6367 h 10000"/>
                <a:gd name="connsiteX58" fmla="*/ 7600 w 10000"/>
                <a:gd name="connsiteY58" fmla="*/ 6270 h 10000"/>
                <a:gd name="connsiteX59" fmla="*/ 7733 w 10000"/>
                <a:gd name="connsiteY59" fmla="*/ 5916 h 10000"/>
                <a:gd name="connsiteX60" fmla="*/ 8135 w 10000"/>
                <a:gd name="connsiteY60" fmla="*/ 5498 h 10000"/>
                <a:gd name="connsiteX61" fmla="*/ 8443 w 10000"/>
                <a:gd name="connsiteY61" fmla="*/ 5305 h 10000"/>
                <a:gd name="connsiteX62" fmla="*/ 8666 w 10000"/>
                <a:gd name="connsiteY62" fmla="*/ 4759 h 10000"/>
                <a:gd name="connsiteX63" fmla="*/ 8666 w 10000"/>
                <a:gd name="connsiteY63" fmla="*/ 4630 h 10000"/>
                <a:gd name="connsiteX64" fmla="*/ 8623 w 10000"/>
                <a:gd name="connsiteY64" fmla="*/ 4309 h 10000"/>
                <a:gd name="connsiteX65" fmla="*/ 9066 w 10000"/>
                <a:gd name="connsiteY65" fmla="*/ 3151 h 10000"/>
                <a:gd name="connsiteX66" fmla="*/ 9199 w 10000"/>
                <a:gd name="connsiteY66" fmla="*/ 3151 h 10000"/>
                <a:gd name="connsiteX67" fmla="*/ 9378 w 10000"/>
                <a:gd name="connsiteY67" fmla="*/ 3055 h 10000"/>
                <a:gd name="connsiteX68" fmla="*/ 9912 w 10000"/>
                <a:gd name="connsiteY68" fmla="*/ 2894 h 10000"/>
                <a:gd name="connsiteX69" fmla="*/ 10000 w 10000"/>
                <a:gd name="connsiteY69" fmla="*/ 2637 h 10000"/>
                <a:gd name="connsiteX70" fmla="*/ 9957 w 10000"/>
                <a:gd name="connsiteY70" fmla="*/ 2572 h 10000"/>
                <a:gd name="connsiteX71" fmla="*/ 9777 w 10000"/>
                <a:gd name="connsiteY71" fmla="*/ 2572 h 10000"/>
                <a:gd name="connsiteX72" fmla="*/ 9644 w 10000"/>
                <a:gd name="connsiteY72" fmla="*/ 2412 h 10000"/>
                <a:gd name="connsiteX73" fmla="*/ 9378 w 10000"/>
                <a:gd name="connsiteY73" fmla="*/ 2347 h 10000"/>
                <a:gd name="connsiteX74" fmla="*/ 9244 w 10000"/>
                <a:gd name="connsiteY74" fmla="*/ 2219 h 10000"/>
                <a:gd name="connsiteX75" fmla="*/ 9157 w 10000"/>
                <a:gd name="connsiteY75" fmla="*/ 1736 h 10000"/>
                <a:gd name="connsiteX76" fmla="*/ 9157 w 10000"/>
                <a:gd name="connsiteY76" fmla="*/ 1061 h 10000"/>
                <a:gd name="connsiteX77" fmla="*/ 8933 w 10000"/>
                <a:gd name="connsiteY77" fmla="*/ 836 h 10000"/>
                <a:gd name="connsiteX78" fmla="*/ 8889 w 10000"/>
                <a:gd name="connsiteY78" fmla="*/ 611 h 10000"/>
                <a:gd name="connsiteX79" fmla="*/ 8534 w 10000"/>
                <a:gd name="connsiteY79" fmla="*/ 289 h 10000"/>
                <a:gd name="connsiteX80" fmla="*/ 8222 w 10000"/>
                <a:gd name="connsiteY80" fmla="*/ 161 h 10000"/>
                <a:gd name="connsiteX81" fmla="*/ 8045 w 10000"/>
                <a:gd name="connsiteY81" fmla="*/ 0 h 10000"/>
                <a:gd name="connsiteX82" fmla="*/ 7779 w 10000"/>
                <a:gd name="connsiteY82" fmla="*/ 161 h 10000"/>
                <a:gd name="connsiteX83" fmla="*/ 7600 w 10000"/>
                <a:gd name="connsiteY83" fmla="*/ 129 h 10000"/>
                <a:gd name="connsiteX84" fmla="*/ 7466 w 10000"/>
                <a:gd name="connsiteY84" fmla="*/ 418 h 10000"/>
                <a:gd name="connsiteX85" fmla="*/ 7110 w 10000"/>
                <a:gd name="connsiteY85" fmla="*/ 482 h 10000"/>
                <a:gd name="connsiteX86" fmla="*/ 7023 w 10000"/>
                <a:gd name="connsiteY86" fmla="*/ 707 h 10000"/>
                <a:gd name="connsiteX87" fmla="*/ 6711 w 10000"/>
                <a:gd name="connsiteY87" fmla="*/ 707 h 10000"/>
                <a:gd name="connsiteX88" fmla="*/ 6445 w 10000"/>
                <a:gd name="connsiteY88" fmla="*/ 611 h 10000"/>
                <a:gd name="connsiteX89" fmla="*/ 5867 w 10000"/>
                <a:gd name="connsiteY89" fmla="*/ 611 h 10000"/>
                <a:gd name="connsiteX90" fmla="*/ 5289 w 10000"/>
                <a:gd name="connsiteY90" fmla="*/ 611 h 10000"/>
                <a:gd name="connsiteX91" fmla="*/ 5333 w 10000"/>
                <a:gd name="connsiteY91" fmla="*/ 482 h 10000"/>
                <a:gd name="connsiteX92" fmla="*/ 5245 w 10000"/>
                <a:gd name="connsiteY92" fmla="*/ 482 h 10000"/>
                <a:gd name="connsiteX93" fmla="*/ 5201 w 10000"/>
                <a:gd name="connsiteY93" fmla="*/ 611 h 10000"/>
                <a:gd name="connsiteX94" fmla="*/ 4667 w 10000"/>
                <a:gd name="connsiteY94" fmla="*/ 611 h 10000"/>
                <a:gd name="connsiteX95" fmla="*/ 4134 w 10000"/>
                <a:gd name="connsiteY95" fmla="*/ 611 h 10000"/>
                <a:gd name="connsiteX96" fmla="*/ 3602 w 10000"/>
                <a:gd name="connsiteY96" fmla="*/ 611 h 10000"/>
                <a:gd name="connsiteX97" fmla="*/ 3067 w 10000"/>
                <a:gd name="connsiteY97" fmla="*/ 611 h 10000"/>
                <a:gd name="connsiteX98" fmla="*/ 2580 w 10000"/>
                <a:gd name="connsiteY98" fmla="*/ 611 h 10000"/>
                <a:gd name="connsiteX99" fmla="*/ 2046 w 10000"/>
                <a:gd name="connsiteY99" fmla="*/ 611 h 10000"/>
                <a:gd name="connsiteX100" fmla="*/ 1556 w 10000"/>
                <a:gd name="connsiteY100" fmla="*/ 611 h 10000"/>
                <a:gd name="connsiteX101" fmla="*/ 1024 w 10000"/>
                <a:gd name="connsiteY101" fmla="*/ 611 h 10000"/>
                <a:gd name="connsiteX102" fmla="*/ 1024 w 10000"/>
                <a:gd name="connsiteY102" fmla="*/ 1061 h 10000"/>
                <a:gd name="connsiteX103" fmla="*/ 1024 w 10000"/>
                <a:gd name="connsiteY103" fmla="*/ 1640 h 10000"/>
                <a:gd name="connsiteX104" fmla="*/ 356 w 10000"/>
                <a:gd name="connsiteY104" fmla="*/ 1640 h 10000"/>
                <a:gd name="connsiteX105" fmla="*/ 356 w 10000"/>
                <a:gd name="connsiteY105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334 w 10000"/>
                <a:gd name="connsiteY56" fmla="*/ 6367 h 10000"/>
                <a:gd name="connsiteX57" fmla="*/ 7600 w 10000"/>
                <a:gd name="connsiteY57" fmla="*/ 6270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7600 w 10000"/>
                <a:gd name="connsiteY57" fmla="*/ 6270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66 w 10000"/>
                <a:gd name="connsiteY60" fmla="*/ 4759 h 10000"/>
                <a:gd name="connsiteX61" fmla="*/ 8666 w 10000"/>
                <a:gd name="connsiteY61" fmla="*/ 4630 h 10000"/>
                <a:gd name="connsiteX62" fmla="*/ 8623 w 10000"/>
                <a:gd name="connsiteY62" fmla="*/ 4309 h 10000"/>
                <a:gd name="connsiteX63" fmla="*/ 9066 w 10000"/>
                <a:gd name="connsiteY63" fmla="*/ 3151 h 10000"/>
                <a:gd name="connsiteX64" fmla="*/ 9199 w 10000"/>
                <a:gd name="connsiteY64" fmla="*/ 3151 h 10000"/>
                <a:gd name="connsiteX65" fmla="*/ 9378 w 10000"/>
                <a:gd name="connsiteY65" fmla="*/ 3055 h 10000"/>
                <a:gd name="connsiteX66" fmla="*/ 9912 w 10000"/>
                <a:gd name="connsiteY66" fmla="*/ 2894 h 10000"/>
                <a:gd name="connsiteX67" fmla="*/ 10000 w 10000"/>
                <a:gd name="connsiteY67" fmla="*/ 2637 h 10000"/>
                <a:gd name="connsiteX68" fmla="*/ 9957 w 10000"/>
                <a:gd name="connsiteY68" fmla="*/ 2572 h 10000"/>
                <a:gd name="connsiteX69" fmla="*/ 9777 w 10000"/>
                <a:gd name="connsiteY69" fmla="*/ 2572 h 10000"/>
                <a:gd name="connsiteX70" fmla="*/ 9644 w 10000"/>
                <a:gd name="connsiteY70" fmla="*/ 2412 h 10000"/>
                <a:gd name="connsiteX71" fmla="*/ 9378 w 10000"/>
                <a:gd name="connsiteY71" fmla="*/ 2347 h 10000"/>
                <a:gd name="connsiteX72" fmla="*/ 9244 w 10000"/>
                <a:gd name="connsiteY72" fmla="*/ 2219 h 10000"/>
                <a:gd name="connsiteX73" fmla="*/ 9157 w 10000"/>
                <a:gd name="connsiteY73" fmla="*/ 1736 h 10000"/>
                <a:gd name="connsiteX74" fmla="*/ 9157 w 10000"/>
                <a:gd name="connsiteY74" fmla="*/ 1061 h 10000"/>
                <a:gd name="connsiteX75" fmla="*/ 8933 w 10000"/>
                <a:gd name="connsiteY75" fmla="*/ 836 h 10000"/>
                <a:gd name="connsiteX76" fmla="*/ 8889 w 10000"/>
                <a:gd name="connsiteY76" fmla="*/ 611 h 10000"/>
                <a:gd name="connsiteX77" fmla="*/ 8534 w 10000"/>
                <a:gd name="connsiteY77" fmla="*/ 289 h 10000"/>
                <a:gd name="connsiteX78" fmla="*/ 8222 w 10000"/>
                <a:gd name="connsiteY78" fmla="*/ 161 h 10000"/>
                <a:gd name="connsiteX79" fmla="*/ 8045 w 10000"/>
                <a:gd name="connsiteY79" fmla="*/ 0 h 10000"/>
                <a:gd name="connsiteX80" fmla="*/ 7779 w 10000"/>
                <a:gd name="connsiteY80" fmla="*/ 161 h 10000"/>
                <a:gd name="connsiteX81" fmla="*/ 7600 w 10000"/>
                <a:gd name="connsiteY81" fmla="*/ 129 h 10000"/>
                <a:gd name="connsiteX82" fmla="*/ 7466 w 10000"/>
                <a:gd name="connsiteY82" fmla="*/ 418 h 10000"/>
                <a:gd name="connsiteX83" fmla="*/ 7110 w 10000"/>
                <a:gd name="connsiteY83" fmla="*/ 482 h 10000"/>
                <a:gd name="connsiteX84" fmla="*/ 7023 w 10000"/>
                <a:gd name="connsiteY84" fmla="*/ 707 h 10000"/>
                <a:gd name="connsiteX85" fmla="*/ 6711 w 10000"/>
                <a:gd name="connsiteY85" fmla="*/ 707 h 10000"/>
                <a:gd name="connsiteX86" fmla="*/ 6445 w 10000"/>
                <a:gd name="connsiteY86" fmla="*/ 611 h 10000"/>
                <a:gd name="connsiteX87" fmla="*/ 5867 w 10000"/>
                <a:gd name="connsiteY87" fmla="*/ 611 h 10000"/>
                <a:gd name="connsiteX88" fmla="*/ 5289 w 10000"/>
                <a:gd name="connsiteY88" fmla="*/ 611 h 10000"/>
                <a:gd name="connsiteX89" fmla="*/ 5333 w 10000"/>
                <a:gd name="connsiteY89" fmla="*/ 482 h 10000"/>
                <a:gd name="connsiteX90" fmla="*/ 5245 w 10000"/>
                <a:gd name="connsiteY90" fmla="*/ 482 h 10000"/>
                <a:gd name="connsiteX91" fmla="*/ 5201 w 10000"/>
                <a:gd name="connsiteY91" fmla="*/ 611 h 10000"/>
                <a:gd name="connsiteX92" fmla="*/ 4667 w 10000"/>
                <a:gd name="connsiteY92" fmla="*/ 611 h 10000"/>
                <a:gd name="connsiteX93" fmla="*/ 4134 w 10000"/>
                <a:gd name="connsiteY93" fmla="*/ 611 h 10000"/>
                <a:gd name="connsiteX94" fmla="*/ 3602 w 10000"/>
                <a:gd name="connsiteY94" fmla="*/ 611 h 10000"/>
                <a:gd name="connsiteX95" fmla="*/ 3067 w 10000"/>
                <a:gd name="connsiteY95" fmla="*/ 611 h 10000"/>
                <a:gd name="connsiteX96" fmla="*/ 2580 w 10000"/>
                <a:gd name="connsiteY96" fmla="*/ 611 h 10000"/>
                <a:gd name="connsiteX97" fmla="*/ 2046 w 10000"/>
                <a:gd name="connsiteY97" fmla="*/ 611 h 10000"/>
                <a:gd name="connsiteX98" fmla="*/ 1556 w 10000"/>
                <a:gd name="connsiteY98" fmla="*/ 611 h 10000"/>
                <a:gd name="connsiteX99" fmla="*/ 1024 w 10000"/>
                <a:gd name="connsiteY99" fmla="*/ 611 h 10000"/>
                <a:gd name="connsiteX100" fmla="*/ 1024 w 10000"/>
                <a:gd name="connsiteY100" fmla="*/ 1061 h 10000"/>
                <a:gd name="connsiteX101" fmla="*/ 1024 w 10000"/>
                <a:gd name="connsiteY101" fmla="*/ 1640 h 10000"/>
                <a:gd name="connsiteX102" fmla="*/ 356 w 10000"/>
                <a:gd name="connsiteY102" fmla="*/ 1640 h 10000"/>
                <a:gd name="connsiteX103" fmla="*/ 356 w 10000"/>
                <a:gd name="connsiteY103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66 w 10000"/>
                <a:gd name="connsiteY60" fmla="*/ 4630 h 10000"/>
                <a:gd name="connsiteX61" fmla="*/ 8623 w 10000"/>
                <a:gd name="connsiteY61" fmla="*/ 4309 h 10000"/>
                <a:gd name="connsiteX62" fmla="*/ 9066 w 10000"/>
                <a:gd name="connsiteY62" fmla="*/ 3151 h 10000"/>
                <a:gd name="connsiteX63" fmla="*/ 9199 w 10000"/>
                <a:gd name="connsiteY63" fmla="*/ 3151 h 10000"/>
                <a:gd name="connsiteX64" fmla="*/ 9378 w 10000"/>
                <a:gd name="connsiteY64" fmla="*/ 3055 h 10000"/>
                <a:gd name="connsiteX65" fmla="*/ 9912 w 10000"/>
                <a:gd name="connsiteY65" fmla="*/ 2894 h 10000"/>
                <a:gd name="connsiteX66" fmla="*/ 10000 w 10000"/>
                <a:gd name="connsiteY66" fmla="*/ 2637 h 10000"/>
                <a:gd name="connsiteX67" fmla="*/ 9957 w 10000"/>
                <a:gd name="connsiteY67" fmla="*/ 2572 h 10000"/>
                <a:gd name="connsiteX68" fmla="*/ 9777 w 10000"/>
                <a:gd name="connsiteY68" fmla="*/ 2572 h 10000"/>
                <a:gd name="connsiteX69" fmla="*/ 9644 w 10000"/>
                <a:gd name="connsiteY69" fmla="*/ 2412 h 10000"/>
                <a:gd name="connsiteX70" fmla="*/ 9378 w 10000"/>
                <a:gd name="connsiteY70" fmla="*/ 2347 h 10000"/>
                <a:gd name="connsiteX71" fmla="*/ 9244 w 10000"/>
                <a:gd name="connsiteY71" fmla="*/ 2219 h 10000"/>
                <a:gd name="connsiteX72" fmla="*/ 9157 w 10000"/>
                <a:gd name="connsiteY72" fmla="*/ 1736 h 10000"/>
                <a:gd name="connsiteX73" fmla="*/ 9157 w 10000"/>
                <a:gd name="connsiteY73" fmla="*/ 1061 h 10000"/>
                <a:gd name="connsiteX74" fmla="*/ 8933 w 10000"/>
                <a:gd name="connsiteY74" fmla="*/ 836 h 10000"/>
                <a:gd name="connsiteX75" fmla="*/ 8889 w 10000"/>
                <a:gd name="connsiteY75" fmla="*/ 611 h 10000"/>
                <a:gd name="connsiteX76" fmla="*/ 8534 w 10000"/>
                <a:gd name="connsiteY76" fmla="*/ 289 h 10000"/>
                <a:gd name="connsiteX77" fmla="*/ 8222 w 10000"/>
                <a:gd name="connsiteY77" fmla="*/ 161 h 10000"/>
                <a:gd name="connsiteX78" fmla="*/ 8045 w 10000"/>
                <a:gd name="connsiteY78" fmla="*/ 0 h 10000"/>
                <a:gd name="connsiteX79" fmla="*/ 7779 w 10000"/>
                <a:gd name="connsiteY79" fmla="*/ 161 h 10000"/>
                <a:gd name="connsiteX80" fmla="*/ 7600 w 10000"/>
                <a:gd name="connsiteY80" fmla="*/ 129 h 10000"/>
                <a:gd name="connsiteX81" fmla="*/ 7466 w 10000"/>
                <a:gd name="connsiteY81" fmla="*/ 418 h 10000"/>
                <a:gd name="connsiteX82" fmla="*/ 7110 w 10000"/>
                <a:gd name="connsiteY82" fmla="*/ 482 h 10000"/>
                <a:gd name="connsiteX83" fmla="*/ 7023 w 10000"/>
                <a:gd name="connsiteY83" fmla="*/ 707 h 10000"/>
                <a:gd name="connsiteX84" fmla="*/ 6711 w 10000"/>
                <a:gd name="connsiteY84" fmla="*/ 707 h 10000"/>
                <a:gd name="connsiteX85" fmla="*/ 6445 w 10000"/>
                <a:gd name="connsiteY85" fmla="*/ 611 h 10000"/>
                <a:gd name="connsiteX86" fmla="*/ 5867 w 10000"/>
                <a:gd name="connsiteY86" fmla="*/ 611 h 10000"/>
                <a:gd name="connsiteX87" fmla="*/ 5289 w 10000"/>
                <a:gd name="connsiteY87" fmla="*/ 611 h 10000"/>
                <a:gd name="connsiteX88" fmla="*/ 5333 w 10000"/>
                <a:gd name="connsiteY88" fmla="*/ 482 h 10000"/>
                <a:gd name="connsiteX89" fmla="*/ 5245 w 10000"/>
                <a:gd name="connsiteY89" fmla="*/ 482 h 10000"/>
                <a:gd name="connsiteX90" fmla="*/ 5201 w 10000"/>
                <a:gd name="connsiteY90" fmla="*/ 611 h 10000"/>
                <a:gd name="connsiteX91" fmla="*/ 4667 w 10000"/>
                <a:gd name="connsiteY91" fmla="*/ 611 h 10000"/>
                <a:gd name="connsiteX92" fmla="*/ 4134 w 10000"/>
                <a:gd name="connsiteY92" fmla="*/ 611 h 10000"/>
                <a:gd name="connsiteX93" fmla="*/ 3602 w 10000"/>
                <a:gd name="connsiteY93" fmla="*/ 611 h 10000"/>
                <a:gd name="connsiteX94" fmla="*/ 3067 w 10000"/>
                <a:gd name="connsiteY94" fmla="*/ 611 h 10000"/>
                <a:gd name="connsiteX95" fmla="*/ 2580 w 10000"/>
                <a:gd name="connsiteY95" fmla="*/ 611 h 10000"/>
                <a:gd name="connsiteX96" fmla="*/ 2046 w 10000"/>
                <a:gd name="connsiteY96" fmla="*/ 611 h 10000"/>
                <a:gd name="connsiteX97" fmla="*/ 1556 w 10000"/>
                <a:gd name="connsiteY97" fmla="*/ 611 h 10000"/>
                <a:gd name="connsiteX98" fmla="*/ 1024 w 10000"/>
                <a:gd name="connsiteY98" fmla="*/ 611 h 10000"/>
                <a:gd name="connsiteX99" fmla="*/ 1024 w 10000"/>
                <a:gd name="connsiteY99" fmla="*/ 1061 h 10000"/>
                <a:gd name="connsiteX100" fmla="*/ 1024 w 10000"/>
                <a:gd name="connsiteY100" fmla="*/ 1640 h 10000"/>
                <a:gd name="connsiteX101" fmla="*/ 356 w 10000"/>
                <a:gd name="connsiteY101" fmla="*/ 1640 h 10000"/>
                <a:gd name="connsiteX102" fmla="*/ 356 w 10000"/>
                <a:gd name="connsiteY102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23 w 10000"/>
                <a:gd name="connsiteY60" fmla="*/ 4309 h 10000"/>
                <a:gd name="connsiteX61" fmla="*/ 9066 w 10000"/>
                <a:gd name="connsiteY61" fmla="*/ 3151 h 10000"/>
                <a:gd name="connsiteX62" fmla="*/ 9199 w 10000"/>
                <a:gd name="connsiteY62" fmla="*/ 3151 h 10000"/>
                <a:gd name="connsiteX63" fmla="*/ 9378 w 10000"/>
                <a:gd name="connsiteY63" fmla="*/ 3055 h 10000"/>
                <a:gd name="connsiteX64" fmla="*/ 9912 w 10000"/>
                <a:gd name="connsiteY64" fmla="*/ 2894 h 10000"/>
                <a:gd name="connsiteX65" fmla="*/ 10000 w 10000"/>
                <a:gd name="connsiteY65" fmla="*/ 2637 h 10000"/>
                <a:gd name="connsiteX66" fmla="*/ 9957 w 10000"/>
                <a:gd name="connsiteY66" fmla="*/ 2572 h 10000"/>
                <a:gd name="connsiteX67" fmla="*/ 9777 w 10000"/>
                <a:gd name="connsiteY67" fmla="*/ 2572 h 10000"/>
                <a:gd name="connsiteX68" fmla="*/ 9644 w 10000"/>
                <a:gd name="connsiteY68" fmla="*/ 2412 h 10000"/>
                <a:gd name="connsiteX69" fmla="*/ 9378 w 10000"/>
                <a:gd name="connsiteY69" fmla="*/ 2347 h 10000"/>
                <a:gd name="connsiteX70" fmla="*/ 9244 w 10000"/>
                <a:gd name="connsiteY70" fmla="*/ 2219 h 10000"/>
                <a:gd name="connsiteX71" fmla="*/ 9157 w 10000"/>
                <a:gd name="connsiteY71" fmla="*/ 1736 h 10000"/>
                <a:gd name="connsiteX72" fmla="*/ 9157 w 10000"/>
                <a:gd name="connsiteY72" fmla="*/ 1061 h 10000"/>
                <a:gd name="connsiteX73" fmla="*/ 8933 w 10000"/>
                <a:gd name="connsiteY73" fmla="*/ 836 h 10000"/>
                <a:gd name="connsiteX74" fmla="*/ 8889 w 10000"/>
                <a:gd name="connsiteY74" fmla="*/ 611 h 10000"/>
                <a:gd name="connsiteX75" fmla="*/ 8534 w 10000"/>
                <a:gd name="connsiteY75" fmla="*/ 289 h 10000"/>
                <a:gd name="connsiteX76" fmla="*/ 8222 w 10000"/>
                <a:gd name="connsiteY76" fmla="*/ 161 h 10000"/>
                <a:gd name="connsiteX77" fmla="*/ 8045 w 10000"/>
                <a:gd name="connsiteY77" fmla="*/ 0 h 10000"/>
                <a:gd name="connsiteX78" fmla="*/ 7779 w 10000"/>
                <a:gd name="connsiteY78" fmla="*/ 161 h 10000"/>
                <a:gd name="connsiteX79" fmla="*/ 7600 w 10000"/>
                <a:gd name="connsiteY79" fmla="*/ 129 h 10000"/>
                <a:gd name="connsiteX80" fmla="*/ 7466 w 10000"/>
                <a:gd name="connsiteY80" fmla="*/ 418 h 10000"/>
                <a:gd name="connsiteX81" fmla="*/ 7110 w 10000"/>
                <a:gd name="connsiteY81" fmla="*/ 482 h 10000"/>
                <a:gd name="connsiteX82" fmla="*/ 7023 w 10000"/>
                <a:gd name="connsiteY82" fmla="*/ 707 h 10000"/>
                <a:gd name="connsiteX83" fmla="*/ 6711 w 10000"/>
                <a:gd name="connsiteY83" fmla="*/ 707 h 10000"/>
                <a:gd name="connsiteX84" fmla="*/ 6445 w 10000"/>
                <a:gd name="connsiteY84" fmla="*/ 611 h 10000"/>
                <a:gd name="connsiteX85" fmla="*/ 5867 w 10000"/>
                <a:gd name="connsiteY85" fmla="*/ 611 h 10000"/>
                <a:gd name="connsiteX86" fmla="*/ 5289 w 10000"/>
                <a:gd name="connsiteY86" fmla="*/ 611 h 10000"/>
                <a:gd name="connsiteX87" fmla="*/ 5333 w 10000"/>
                <a:gd name="connsiteY87" fmla="*/ 482 h 10000"/>
                <a:gd name="connsiteX88" fmla="*/ 5245 w 10000"/>
                <a:gd name="connsiteY88" fmla="*/ 482 h 10000"/>
                <a:gd name="connsiteX89" fmla="*/ 5201 w 10000"/>
                <a:gd name="connsiteY89" fmla="*/ 611 h 10000"/>
                <a:gd name="connsiteX90" fmla="*/ 4667 w 10000"/>
                <a:gd name="connsiteY90" fmla="*/ 611 h 10000"/>
                <a:gd name="connsiteX91" fmla="*/ 4134 w 10000"/>
                <a:gd name="connsiteY91" fmla="*/ 611 h 10000"/>
                <a:gd name="connsiteX92" fmla="*/ 3602 w 10000"/>
                <a:gd name="connsiteY92" fmla="*/ 611 h 10000"/>
                <a:gd name="connsiteX93" fmla="*/ 3067 w 10000"/>
                <a:gd name="connsiteY93" fmla="*/ 611 h 10000"/>
                <a:gd name="connsiteX94" fmla="*/ 2580 w 10000"/>
                <a:gd name="connsiteY94" fmla="*/ 611 h 10000"/>
                <a:gd name="connsiteX95" fmla="*/ 2046 w 10000"/>
                <a:gd name="connsiteY95" fmla="*/ 611 h 10000"/>
                <a:gd name="connsiteX96" fmla="*/ 1556 w 10000"/>
                <a:gd name="connsiteY96" fmla="*/ 611 h 10000"/>
                <a:gd name="connsiteX97" fmla="*/ 1024 w 10000"/>
                <a:gd name="connsiteY97" fmla="*/ 611 h 10000"/>
                <a:gd name="connsiteX98" fmla="*/ 1024 w 10000"/>
                <a:gd name="connsiteY98" fmla="*/ 1061 h 10000"/>
                <a:gd name="connsiteX99" fmla="*/ 1024 w 10000"/>
                <a:gd name="connsiteY99" fmla="*/ 1640 h 10000"/>
                <a:gd name="connsiteX100" fmla="*/ 356 w 10000"/>
                <a:gd name="connsiteY100" fmla="*/ 1640 h 10000"/>
                <a:gd name="connsiteX101" fmla="*/ 356 w 10000"/>
                <a:gd name="connsiteY101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066 w 10000"/>
                <a:gd name="connsiteY61" fmla="*/ 3151 h 10000"/>
                <a:gd name="connsiteX62" fmla="*/ 9199 w 10000"/>
                <a:gd name="connsiteY62" fmla="*/ 3151 h 10000"/>
                <a:gd name="connsiteX63" fmla="*/ 9378 w 10000"/>
                <a:gd name="connsiteY63" fmla="*/ 3055 h 10000"/>
                <a:gd name="connsiteX64" fmla="*/ 9912 w 10000"/>
                <a:gd name="connsiteY64" fmla="*/ 2894 h 10000"/>
                <a:gd name="connsiteX65" fmla="*/ 10000 w 10000"/>
                <a:gd name="connsiteY65" fmla="*/ 2637 h 10000"/>
                <a:gd name="connsiteX66" fmla="*/ 9957 w 10000"/>
                <a:gd name="connsiteY66" fmla="*/ 2572 h 10000"/>
                <a:gd name="connsiteX67" fmla="*/ 9777 w 10000"/>
                <a:gd name="connsiteY67" fmla="*/ 2572 h 10000"/>
                <a:gd name="connsiteX68" fmla="*/ 9644 w 10000"/>
                <a:gd name="connsiteY68" fmla="*/ 2412 h 10000"/>
                <a:gd name="connsiteX69" fmla="*/ 9378 w 10000"/>
                <a:gd name="connsiteY69" fmla="*/ 2347 h 10000"/>
                <a:gd name="connsiteX70" fmla="*/ 9244 w 10000"/>
                <a:gd name="connsiteY70" fmla="*/ 2219 h 10000"/>
                <a:gd name="connsiteX71" fmla="*/ 9157 w 10000"/>
                <a:gd name="connsiteY71" fmla="*/ 1736 h 10000"/>
                <a:gd name="connsiteX72" fmla="*/ 9157 w 10000"/>
                <a:gd name="connsiteY72" fmla="*/ 1061 h 10000"/>
                <a:gd name="connsiteX73" fmla="*/ 8933 w 10000"/>
                <a:gd name="connsiteY73" fmla="*/ 836 h 10000"/>
                <a:gd name="connsiteX74" fmla="*/ 8889 w 10000"/>
                <a:gd name="connsiteY74" fmla="*/ 611 h 10000"/>
                <a:gd name="connsiteX75" fmla="*/ 8534 w 10000"/>
                <a:gd name="connsiteY75" fmla="*/ 289 h 10000"/>
                <a:gd name="connsiteX76" fmla="*/ 8222 w 10000"/>
                <a:gd name="connsiteY76" fmla="*/ 161 h 10000"/>
                <a:gd name="connsiteX77" fmla="*/ 8045 w 10000"/>
                <a:gd name="connsiteY77" fmla="*/ 0 h 10000"/>
                <a:gd name="connsiteX78" fmla="*/ 7779 w 10000"/>
                <a:gd name="connsiteY78" fmla="*/ 161 h 10000"/>
                <a:gd name="connsiteX79" fmla="*/ 7600 w 10000"/>
                <a:gd name="connsiteY79" fmla="*/ 129 h 10000"/>
                <a:gd name="connsiteX80" fmla="*/ 7466 w 10000"/>
                <a:gd name="connsiteY80" fmla="*/ 418 h 10000"/>
                <a:gd name="connsiteX81" fmla="*/ 7110 w 10000"/>
                <a:gd name="connsiteY81" fmla="*/ 482 h 10000"/>
                <a:gd name="connsiteX82" fmla="*/ 7023 w 10000"/>
                <a:gd name="connsiteY82" fmla="*/ 707 h 10000"/>
                <a:gd name="connsiteX83" fmla="*/ 6711 w 10000"/>
                <a:gd name="connsiteY83" fmla="*/ 707 h 10000"/>
                <a:gd name="connsiteX84" fmla="*/ 6445 w 10000"/>
                <a:gd name="connsiteY84" fmla="*/ 611 h 10000"/>
                <a:gd name="connsiteX85" fmla="*/ 5867 w 10000"/>
                <a:gd name="connsiteY85" fmla="*/ 611 h 10000"/>
                <a:gd name="connsiteX86" fmla="*/ 5289 w 10000"/>
                <a:gd name="connsiteY86" fmla="*/ 611 h 10000"/>
                <a:gd name="connsiteX87" fmla="*/ 5333 w 10000"/>
                <a:gd name="connsiteY87" fmla="*/ 482 h 10000"/>
                <a:gd name="connsiteX88" fmla="*/ 5245 w 10000"/>
                <a:gd name="connsiteY88" fmla="*/ 482 h 10000"/>
                <a:gd name="connsiteX89" fmla="*/ 5201 w 10000"/>
                <a:gd name="connsiteY89" fmla="*/ 611 h 10000"/>
                <a:gd name="connsiteX90" fmla="*/ 4667 w 10000"/>
                <a:gd name="connsiteY90" fmla="*/ 611 h 10000"/>
                <a:gd name="connsiteX91" fmla="*/ 4134 w 10000"/>
                <a:gd name="connsiteY91" fmla="*/ 611 h 10000"/>
                <a:gd name="connsiteX92" fmla="*/ 3602 w 10000"/>
                <a:gd name="connsiteY92" fmla="*/ 611 h 10000"/>
                <a:gd name="connsiteX93" fmla="*/ 3067 w 10000"/>
                <a:gd name="connsiteY93" fmla="*/ 611 h 10000"/>
                <a:gd name="connsiteX94" fmla="*/ 2580 w 10000"/>
                <a:gd name="connsiteY94" fmla="*/ 611 h 10000"/>
                <a:gd name="connsiteX95" fmla="*/ 2046 w 10000"/>
                <a:gd name="connsiteY95" fmla="*/ 611 h 10000"/>
                <a:gd name="connsiteX96" fmla="*/ 1556 w 10000"/>
                <a:gd name="connsiteY96" fmla="*/ 611 h 10000"/>
                <a:gd name="connsiteX97" fmla="*/ 1024 w 10000"/>
                <a:gd name="connsiteY97" fmla="*/ 611 h 10000"/>
                <a:gd name="connsiteX98" fmla="*/ 1024 w 10000"/>
                <a:gd name="connsiteY98" fmla="*/ 1061 h 10000"/>
                <a:gd name="connsiteX99" fmla="*/ 1024 w 10000"/>
                <a:gd name="connsiteY99" fmla="*/ 1640 h 10000"/>
                <a:gd name="connsiteX100" fmla="*/ 356 w 10000"/>
                <a:gd name="connsiteY100" fmla="*/ 1640 h 10000"/>
                <a:gd name="connsiteX101" fmla="*/ 356 w 10000"/>
                <a:gd name="connsiteY101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199 w 10000"/>
                <a:gd name="connsiteY61" fmla="*/ 3151 h 10000"/>
                <a:gd name="connsiteX62" fmla="*/ 9378 w 10000"/>
                <a:gd name="connsiteY62" fmla="*/ 3055 h 10000"/>
                <a:gd name="connsiteX63" fmla="*/ 9912 w 10000"/>
                <a:gd name="connsiteY63" fmla="*/ 2894 h 10000"/>
                <a:gd name="connsiteX64" fmla="*/ 10000 w 10000"/>
                <a:gd name="connsiteY64" fmla="*/ 2637 h 10000"/>
                <a:gd name="connsiteX65" fmla="*/ 9957 w 10000"/>
                <a:gd name="connsiteY65" fmla="*/ 2572 h 10000"/>
                <a:gd name="connsiteX66" fmla="*/ 9777 w 10000"/>
                <a:gd name="connsiteY66" fmla="*/ 2572 h 10000"/>
                <a:gd name="connsiteX67" fmla="*/ 9644 w 10000"/>
                <a:gd name="connsiteY67" fmla="*/ 2412 h 10000"/>
                <a:gd name="connsiteX68" fmla="*/ 9378 w 10000"/>
                <a:gd name="connsiteY68" fmla="*/ 2347 h 10000"/>
                <a:gd name="connsiteX69" fmla="*/ 9244 w 10000"/>
                <a:gd name="connsiteY69" fmla="*/ 2219 h 10000"/>
                <a:gd name="connsiteX70" fmla="*/ 9157 w 10000"/>
                <a:gd name="connsiteY70" fmla="*/ 1736 h 10000"/>
                <a:gd name="connsiteX71" fmla="*/ 9157 w 10000"/>
                <a:gd name="connsiteY71" fmla="*/ 1061 h 10000"/>
                <a:gd name="connsiteX72" fmla="*/ 8933 w 10000"/>
                <a:gd name="connsiteY72" fmla="*/ 836 h 10000"/>
                <a:gd name="connsiteX73" fmla="*/ 8889 w 10000"/>
                <a:gd name="connsiteY73" fmla="*/ 611 h 10000"/>
                <a:gd name="connsiteX74" fmla="*/ 8534 w 10000"/>
                <a:gd name="connsiteY74" fmla="*/ 289 h 10000"/>
                <a:gd name="connsiteX75" fmla="*/ 8222 w 10000"/>
                <a:gd name="connsiteY75" fmla="*/ 161 h 10000"/>
                <a:gd name="connsiteX76" fmla="*/ 8045 w 10000"/>
                <a:gd name="connsiteY76" fmla="*/ 0 h 10000"/>
                <a:gd name="connsiteX77" fmla="*/ 7779 w 10000"/>
                <a:gd name="connsiteY77" fmla="*/ 161 h 10000"/>
                <a:gd name="connsiteX78" fmla="*/ 7600 w 10000"/>
                <a:gd name="connsiteY78" fmla="*/ 129 h 10000"/>
                <a:gd name="connsiteX79" fmla="*/ 7466 w 10000"/>
                <a:gd name="connsiteY79" fmla="*/ 418 h 10000"/>
                <a:gd name="connsiteX80" fmla="*/ 7110 w 10000"/>
                <a:gd name="connsiteY80" fmla="*/ 482 h 10000"/>
                <a:gd name="connsiteX81" fmla="*/ 7023 w 10000"/>
                <a:gd name="connsiteY81" fmla="*/ 707 h 10000"/>
                <a:gd name="connsiteX82" fmla="*/ 6711 w 10000"/>
                <a:gd name="connsiteY82" fmla="*/ 707 h 10000"/>
                <a:gd name="connsiteX83" fmla="*/ 6445 w 10000"/>
                <a:gd name="connsiteY83" fmla="*/ 611 h 10000"/>
                <a:gd name="connsiteX84" fmla="*/ 5867 w 10000"/>
                <a:gd name="connsiteY84" fmla="*/ 611 h 10000"/>
                <a:gd name="connsiteX85" fmla="*/ 5289 w 10000"/>
                <a:gd name="connsiteY85" fmla="*/ 611 h 10000"/>
                <a:gd name="connsiteX86" fmla="*/ 5333 w 10000"/>
                <a:gd name="connsiteY86" fmla="*/ 482 h 10000"/>
                <a:gd name="connsiteX87" fmla="*/ 5245 w 10000"/>
                <a:gd name="connsiteY87" fmla="*/ 482 h 10000"/>
                <a:gd name="connsiteX88" fmla="*/ 5201 w 10000"/>
                <a:gd name="connsiteY88" fmla="*/ 611 h 10000"/>
                <a:gd name="connsiteX89" fmla="*/ 4667 w 10000"/>
                <a:gd name="connsiteY89" fmla="*/ 611 h 10000"/>
                <a:gd name="connsiteX90" fmla="*/ 4134 w 10000"/>
                <a:gd name="connsiteY90" fmla="*/ 611 h 10000"/>
                <a:gd name="connsiteX91" fmla="*/ 3602 w 10000"/>
                <a:gd name="connsiteY91" fmla="*/ 611 h 10000"/>
                <a:gd name="connsiteX92" fmla="*/ 3067 w 10000"/>
                <a:gd name="connsiteY92" fmla="*/ 611 h 10000"/>
                <a:gd name="connsiteX93" fmla="*/ 2580 w 10000"/>
                <a:gd name="connsiteY93" fmla="*/ 611 h 10000"/>
                <a:gd name="connsiteX94" fmla="*/ 2046 w 10000"/>
                <a:gd name="connsiteY94" fmla="*/ 611 h 10000"/>
                <a:gd name="connsiteX95" fmla="*/ 1556 w 10000"/>
                <a:gd name="connsiteY95" fmla="*/ 611 h 10000"/>
                <a:gd name="connsiteX96" fmla="*/ 1024 w 10000"/>
                <a:gd name="connsiteY96" fmla="*/ 611 h 10000"/>
                <a:gd name="connsiteX97" fmla="*/ 1024 w 10000"/>
                <a:gd name="connsiteY97" fmla="*/ 1061 h 10000"/>
                <a:gd name="connsiteX98" fmla="*/ 1024 w 10000"/>
                <a:gd name="connsiteY98" fmla="*/ 1640 h 10000"/>
                <a:gd name="connsiteX99" fmla="*/ 356 w 10000"/>
                <a:gd name="connsiteY99" fmla="*/ 1640 h 10000"/>
                <a:gd name="connsiteX100" fmla="*/ 356 w 10000"/>
                <a:gd name="connsiteY100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378 w 10000"/>
                <a:gd name="connsiteY61" fmla="*/ 3055 h 10000"/>
                <a:gd name="connsiteX62" fmla="*/ 9912 w 10000"/>
                <a:gd name="connsiteY62" fmla="*/ 2894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6093 w 10000"/>
                <a:gd name="connsiteY61" fmla="*/ 6462 h 10000"/>
                <a:gd name="connsiteX62" fmla="*/ 9912 w 10000"/>
                <a:gd name="connsiteY62" fmla="*/ 2894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6093 w 10000"/>
                <a:gd name="connsiteY61" fmla="*/ 6462 h 10000"/>
                <a:gd name="connsiteX62" fmla="*/ 5751 w 10000"/>
                <a:gd name="connsiteY62" fmla="*/ 6670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9957"/>
                <a:gd name="connsiteY0" fmla="*/ 1897 h 10000"/>
                <a:gd name="connsiteX1" fmla="*/ 5520 w 9957"/>
                <a:gd name="connsiteY1" fmla="*/ 6915 h 10000"/>
                <a:gd name="connsiteX2" fmla="*/ 5155 w 9957"/>
                <a:gd name="connsiteY2" fmla="*/ 7114 h 10000"/>
                <a:gd name="connsiteX3" fmla="*/ 4848 w 9957"/>
                <a:gd name="connsiteY3" fmla="*/ 6907 h 10000"/>
                <a:gd name="connsiteX4" fmla="*/ 4403 w 9957"/>
                <a:gd name="connsiteY4" fmla="*/ 6781 h 10000"/>
                <a:gd name="connsiteX5" fmla="*/ 4182 w 9957"/>
                <a:gd name="connsiteY5" fmla="*/ 7064 h 10000"/>
                <a:gd name="connsiteX6" fmla="*/ 3635 w 9957"/>
                <a:gd name="connsiteY6" fmla="*/ 7281 h 10000"/>
                <a:gd name="connsiteX7" fmla="*/ 3284 w 9957"/>
                <a:gd name="connsiteY7" fmla="*/ 7279 h 10000"/>
                <a:gd name="connsiteX8" fmla="*/ 2517 w 9957"/>
                <a:gd name="connsiteY8" fmla="*/ 7095 h 10000"/>
                <a:gd name="connsiteX9" fmla="*/ 2312 w 9957"/>
                <a:gd name="connsiteY9" fmla="*/ 7195 h 10000"/>
                <a:gd name="connsiteX10" fmla="*/ 1800 w 9957"/>
                <a:gd name="connsiteY10" fmla="*/ 6973 h 10000"/>
                <a:gd name="connsiteX11" fmla="*/ 1574 w 9957"/>
                <a:gd name="connsiteY11" fmla="*/ 6638 h 10000"/>
                <a:gd name="connsiteX12" fmla="*/ 1198 w 9957"/>
                <a:gd name="connsiteY12" fmla="*/ 6729 h 10000"/>
                <a:gd name="connsiteX13" fmla="*/ 1096 w 9957"/>
                <a:gd name="connsiteY13" fmla="*/ 6927 h 10000"/>
                <a:gd name="connsiteX14" fmla="*/ 698 w 9957"/>
                <a:gd name="connsiteY14" fmla="*/ 7011 h 10000"/>
                <a:gd name="connsiteX15" fmla="*/ 436 w 9957"/>
                <a:gd name="connsiteY15" fmla="*/ 7004 h 10000"/>
                <a:gd name="connsiteX16" fmla="*/ 292 w 9957"/>
                <a:gd name="connsiteY16" fmla="*/ 7161 h 10000"/>
                <a:gd name="connsiteX17" fmla="*/ 47 w 9957"/>
                <a:gd name="connsiteY17" fmla="*/ 6913 h 10000"/>
                <a:gd name="connsiteX18" fmla="*/ 0 w 9957"/>
                <a:gd name="connsiteY18" fmla="*/ 7363 h 10000"/>
                <a:gd name="connsiteX19" fmla="*/ 89 w 9957"/>
                <a:gd name="connsiteY19" fmla="*/ 7428 h 10000"/>
                <a:gd name="connsiteX20" fmla="*/ 446 w 9957"/>
                <a:gd name="connsiteY20" fmla="*/ 7460 h 10000"/>
                <a:gd name="connsiteX21" fmla="*/ 491 w 9957"/>
                <a:gd name="connsiteY21" fmla="*/ 7588 h 10000"/>
                <a:gd name="connsiteX22" fmla="*/ 890 w 9957"/>
                <a:gd name="connsiteY22" fmla="*/ 7621 h 10000"/>
                <a:gd name="connsiteX23" fmla="*/ 1112 w 9957"/>
                <a:gd name="connsiteY23" fmla="*/ 7749 h 10000"/>
                <a:gd name="connsiteX24" fmla="*/ 1156 w 9957"/>
                <a:gd name="connsiteY24" fmla="*/ 7974 h 10000"/>
                <a:gd name="connsiteX25" fmla="*/ 1869 w 9957"/>
                <a:gd name="connsiteY25" fmla="*/ 8360 h 10000"/>
                <a:gd name="connsiteX26" fmla="*/ 2046 w 9957"/>
                <a:gd name="connsiteY26" fmla="*/ 8746 h 10000"/>
                <a:gd name="connsiteX27" fmla="*/ 2534 w 9957"/>
                <a:gd name="connsiteY27" fmla="*/ 8939 h 10000"/>
                <a:gd name="connsiteX28" fmla="*/ 2712 w 9957"/>
                <a:gd name="connsiteY28" fmla="*/ 9196 h 10000"/>
                <a:gd name="connsiteX29" fmla="*/ 3067 w 9957"/>
                <a:gd name="connsiteY29" fmla="*/ 9518 h 10000"/>
                <a:gd name="connsiteX30" fmla="*/ 3335 w 9957"/>
                <a:gd name="connsiteY30" fmla="*/ 9614 h 10000"/>
                <a:gd name="connsiteX31" fmla="*/ 3513 w 9957"/>
                <a:gd name="connsiteY31" fmla="*/ 9518 h 10000"/>
                <a:gd name="connsiteX32" fmla="*/ 3957 w 9957"/>
                <a:gd name="connsiteY32" fmla="*/ 9550 h 10000"/>
                <a:gd name="connsiteX33" fmla="*/ 4134 w 9957"/>
                <a:gd name="connsiteY33" fmla="*/ 9486 h 10000"/>
                <a:gd name="connsiteX34" fmla="*/ 4934 w 9957"/>
                <a:gd name="connsiteY34" fmla="*/ 9968 h 10000"/>
                <a:gd name="connsiteX35" fmla="*/ 4979 w 9957"/>
                <a:gd name="connsiteY35" fmla="*/ 9968 h 10000"/>
                <a:gd name="connsiteX36" fmla="*/ 5067 w 9957"/>
                <a:gd name="connsiteY36" fmla="*/ 9904 h 10000"/>
                <a:gd name="connsiteX37" fmla="*/ 5643 w 9957"/>
                <a:gd name="connsiteY37" fmla="*/ 9904 h 10000"/>
                <a:gd name="connsiteX38" fmla="*/ 5734 w 9957"/>
                <a:gd name="connsiteY38" fmla="*/ 10000 h 10000"/>
                <a:gd name="connsiteX39" fmla="*/ 6223 w 9957"/>
                <a:gd name="connsiteY39" fmla="*/ 9871 h 10000"/>
                <a:gd name="connsiteX40" fmla="*/ 6666 w 9957"/>
                <a:gd name="connsiteY40" fmla="*/ 9871 h 10000"/>
                <a:gd name="connsiteX41" fmla="*/ 6978 w 9957"/>
                <a:gd name="connsiteY41" fmla="*/ 9743 h 10000"/>
                <a:gd name="connsiteX42" fmla="*/ 7334 w 9957"/>
                <a:gd name="connsiteY42" fmla="*/ 9486 h 10000"/>
                <a:gd name="connsiteX43" fmla="*/ 8267 w 9957"/>
                <a:gd name="connsiteY43" fmla="*/ 9486 h 10000"/>
                <a:gd name="connsiteX44" fmla="*/ 8267 w 9957"/>
                <a:gd name="connsiteY44" fmla="*/ 9132 h 10000"/>
                <a:gd name="connsiteX45" fmla="*/ 7779 w 9957"/>
                <a:gd name="connsiteY45" fmla="*/ 8971 h 10000"/>
                <a:gd name="connsiteX46" fmla="*/ 7512 w 9957"/>
                <a:gd name="connsiteY46" fmla="*/ 8457 h 10000"/>
                <a:gd name="connsiteX47" fmla="*/ 7157 w 9957"/>
                <a:gd name="connsiteY47" fmla="*/ 8264 h 10000"/>
                <a:gd name="connsiteX48" fmla="*/ 6933 w 9957"/>
                <a:gd name="connsiteY48" fmla="*/ 8006 h 10000"/>
                <a:gd name="connsiteX49" fmla="*/ 6356 w 9957"/>
                <a:gd name="connsiteY49" fmla="*/ 7814 h 10000"/>
                <a:gd name="connsiteX50" fmla="*/ 6489 w 9957"/>
                <a:gd name="connsiteY50" fmla="*/ 7749 h 10000"/>
                <a:gd name="connsiteX51" fmla="*/ 6489 w 9957"/>
                <a:gd name="connsiteY51" fmla="*/ 7588 h 10000"/>
                <a:gd name="connsiteX52" fmla="*/ 6890 w 9957"/>
                <a:gd name="connsiteY52" fmla="*/ 7588 h 10000"/>
                <a:gd name="connsiteX53" fmla="*/ 7110 w 9957"/>
                <a:gd name="connsiteY53" fmla="*/ 7460 h 10000"/>
                <a:gd name="connsiteX54" fmla="*/ 7157 w 9957"/>
                <a:gd name="connsiteY54" fmla="*/ 6527 h 10000"/>
                <a:gd name="connsiteX55" fmla="*/ 7200 w 9957"/>
                <a:gd name="connsiteY55" fmla="*/ 6559 h 10000"/>
                <a:gd name="connsiteX56" fmla="*/ 7042 w 9957"/>
                <a:gd name="connsiteY56" fmla="*/ 6618 h 10000"/>
                <a:gd name="connsiteX57" fmla="*/ 6980 w 9957"/>
                <a:gd name="connsiteY57" fmla="*/ 6745 h 10000"/>
                <a:gd name="connsiteX58" fmla="*/ 6583 w 9957"/>
                <a:gd name="connsiteY58" fmla="*/ 6497 h 10000"/>
                <a:gd name="connsiteX59" fmla="*/ 6511 w 9957"/>
                <a:gd name="connsiteY59" fmla="*/ 5828 h 10000"/>
                <a:gd name="connsiteX60" fmla="*/ 6086 w 9957"/>
                <a:gd name="connsiteY60" fmla="*/ 6118 h 10000"/>
                <a:gd name="connsiteX61" fmla="*/ 6093 w 9957"/>
                <a:gd name="connsiteY61" fmla="*/ 6462 h 10000"/>
                <a:gd name="connsiteX62" fmla="*/ 5751 w 9957"/>
                <a:gd name="connsiteY62" fmla="*/ 6670 h 10000"/>
                <a:gd name="connsiteX63" fmla="*/ 9957 w 9957"/>
                <a:gd name="connsiteY63" fmla="*/ 2572 h 10000"/>
                <a:gd name="connsiteX64" fmla="*/ 9777 w 9957"/>
                <a:gd name="connsiteY64" fmla="*/ 2572 h 10000"/>
                <a:gd name="connsiteX65" fmla="*/ 9644 w 9957"/>
                <a:gd name="connsiteY65" fmla="*/ 2412 h 10000"/>
                <a:gd name="connsiteX66" fmla="*/ 9378 w 9957"/>
                <a:gd name="connsiteY66" fmla="*/ 2347 h 10000"/>
                <a:gd name="connsiteX67" fmla="*/ 9244 w 9957"/>
                <a:gd name="connsiteY67" fmla="*/ 2219 h 10000"/>
                <a:gd name="connsiteX68" fmla="*/ 9157 w 9957"/>
                <a:gd name="connsiteY68" fmla="*/ 1736 h 10000"/>
                <a:gd name="connsiteX69" fmla="*/ 9157 w 9957"/>
                <a:gd name="connsiteY69" fmla="*/ 1061 h 10000"/>
                <a:gd name="connsiteX70" fmla="*/ 8933 w 9957"/>
                <a:gd name="connsiteY70" fmla="*/ 836 h 10000"/>
                <a:gd name="connsiteX71" fmla="*/ 8889 w 9957"/>
                <a:gd name="connsiteY71" fmla="*/ 611 h 10000"/>
                <a:gd name="connsiteX72" fmla="*/ 8534 w 9957"/>
                <a:gd name="connsiteY72" fmla="*/ 289 h 10000"/>
                <a:gd name="connsiteX73" fmla="*/ 8222 w 9957"/>
                <a:gd name="connsiteY73" fmla="*/ 161 h 10000"/>
                <a:gd name="connsiteX74" fmla="*/ 8045 w 9957"/>
                <a:gd name="connsiteY74" fmla="*/ 0 h 10000"/>
                <a:gd name="connsiteX75" fmla="*/ 7779 w 9957"/>
                <a:gd name="connsiteY75" fmla="*/ 161 h 10000"/>
                <a:gd name="connsiteX76" fmla="*/ 7600 w 9957"/>
                <a:gd name="connsiteY76" fmla="*/ 129 h 10000"/>
                <a:gd name="connsiteX77" fmla="*/ 7466 w 9957"/>
                <a:gd name="connsiteY77" fmla="*/ 418 h 10000"/>
                <a:gd name="connsiteX78" fmla="*/ 7110 w 9957"/>
                <a:gd name="connsiteY78" fmla="*/ 482 h 10000"/>
                <a:gd name="connsiteX79" fmla="*/ 7023 w 9957"/>
                <a:gd name="connsiteY79" fmla="*/ 707 h 10000"/>
                <a:gd name="connsiteX80" fmla="*/ 6711 w 9957"/>
                <a:gd name="connsiteY80" fmla="*/ 707 h 10000"/>
                <a:gd name="connsiteX81" fmla="*/ 6445 w 9957"/>
                <a:gd name="connsiteY81" fmla="*/ 611 h 10000"/>
                <a:gd name="connsiteX82" fmla="*/ 5867 w 9957"/>
                <a:gd name="connsiteY82" fmla="*/ 611 h 10000"/>
                <a:gd name="connsiteX83" fmla="*/ 5289 w 9957"/>
                <a:gd name="connsiteY83" fmla="*/ 611 h 10000"/>
                <a:gd name="connsiteX84" fmla="*/ 5333 w 9957"/>
                <a:gd name="connsiteY84" fmla="*/ 482 h 10000"/>
                <a:gd name="connsiteX85" fmla="*/ 5245 w 9957"/>
                <a:gd name="connsiteY85" fmla="*/ 482 h 10000"/>
                <a:gd name="connsiteX86" fmla="*/ 5201 w 9957"/>
                <a:gd name="connsiteY86" fmla="*/ 611 h 10000"/>
                <a:gd name="connsiteX87" fmla="*/ 4667 w 9957"/>
                <a:gd name="connsiteY87" fmla="*/ 611 h 10000"/>
                <a:gd name="connsiteX88" fmla="*/ 4134 w 9957"/>
                <a:gd name="connsiteY88" fmla="*/ 611 h 10000"/>
                <a:gd name="connsiteX89" fmla="*/ 3602 w 9957"/>
                <a:gd name="connsiteY89" fmla="*/ 611 h 10000"/>
                <a:gd name="connsiteX90" fmla="*/ 3067 w 9957"/>
                <a:gd name="connsiteY90" fmla="*/ 611 h 10000"/>
                <a:gd name="connsiteX91" fmla="*/ 2580 w 9957"/>
                <a:gd name="connsiteY91" fmla="*/ 611 h 10000"/>
                <a:gd name="connsiteX92" fmla="*/ 2046 w 9957"/>
                <a:gd name="connsiteY92" fmla="*/ 611 h 10000"/>
                <a:gd name="connsiteX93" fmla="*/ 1556 w 9957"/>
                <a:gd name="connsiteY93" fmla="*/ 611 h 10000"/>
                <a:gd name="connsiteX94" fmla="*/ 1024 w 9957"/>
                <a:gd name="connsiteY94" fmla="*/ 611 h 10000"/>
                <a:gd name="connsiteX95" fmla="*/ 1024 w 9957"/>
                <a:gd name="connsiteY95" fmla="*/ 1061 h 10000"/>
                <a:gd name="connsiteX96" fmla="*/ 1024 w 9957"/>
                <a:gd name="connsiteY96" fmla="*/ 1640 h 10000"/>
                <a:gd name="connsiteX97" fmla="*/ 356 w 9957"/>
                <a:gd name="connsiteY97" fmla="*/ 1640 h 10000"/>
                <a:gd name="connsiteX98" fmla="*/ 356 w 9957"/>
                <a:gd name="connsiteY98" fmla="*/ 1897 h 10000"/>
                <a:gd name="connsiteX0" fmla="*/ 358 w 9819"/>
                <a:gd name="connsiteY0" fmla="*/ 1897 h 10000"/>
                <a:gd name="connsiteX1" fmla="*/ 5544 w 9819"/>
                <a:gd name="connsiteY1" fmla="*/ 6915 h 10000"/>
                <a:gd name="connsiteX2" fmla="*/ 5177 w 9819"/>
                <a:gd name="connsiteY2" fmla="*/ 7114 h 10000"/>
                <a:gd name="connsiteX3" fmla="*/ 4869 w 9819"/>
                <a:gd name="connsiteY3" fmla="*/ 6907 h 10000"/>
                <a:gd name="connsiteX4" fmla="*/ 4422 w 9819"/>
                <a:gd name="connsiteY4" fmla="*/ 6781 h 10000"/>
                <a:gd name="connsiteX5" fmla="*/ 4200 w 9819"/>
                <a:gd name="connsiteY5" fmla="*/ 7064 h 10000"/>
                <a:gd name="connsiteX6" fmla="*/ 3651 w 9819"/>
                <a:gd name="connsiteY6" fmla="*/ 7281 h 10000"/>
                <a:gd name="connsiteX7" fmla="*/ 3298 w 9819"/>
                <a:gd name="connsiteY7" fmla="*/ 7279 h 10000"/>
                <a:gd name="connsiteX8" fmla="*/ 2528 w 9819"/>
                <a:gd name="connsiteY8" fmla="*/ 7095 h 10000"/>
                <a:gd name="connsiteX9" fmla="*/ 2322 w 9819"/>
                <a:gd name="connsiteY9" fmla="*/ 7195 h 10000"/>
                <a:gd name="connsiteX10" fmla="*/ 1808 w 9819"/>
                <a:gd name="connsiteY10" fmla="*/ 6973 h 10000"/>
                <a:gd name="connsiteX11" fmla="*/ 1581 w 9819"/>
                <a:gd name="connsiteY11" fmla="*/ 6638 h 10000"/>
                <a:gd name="connsiteX12" fmla="*/ 1203 w 9819"/>
                <a:gd name="connsiteY12" fmla="*/ 6729 h 10000"/>
                <a:gd name="connsiteX13" fmla="*/ 1101 w 9819"/>
                <a:gd name="connsiteY13" fmla="*/ 6927 h 10000"/>
                <a:gd name="connsiteX14" fmla="*/ 701 w 9819"/>
                <a:gd name="connsiteY14" fmla="*/ 7011 h 10000"/>
                <a:gd name="connsiteX15" fmla="*/ 438 w 9819"/>
                <a:gd name="connsiteY15" fmla="*/ 7004 h 10000"/>
                <a:gd name="connsiteX16" fmla="*/ 293 w 9819"/>
                <a:gd name="connsiteY16" fmla="*/ 7161 h 10000"/>
                <a:gd name="connsiteX17" fmla="*/ 47 w 9819"/>
                <a:gd name="connsiteY17" fmla="*/ 6913 h 10000"/>
                <a:gd name="connsiteX18" fmla="*/ 0 w 9819"/>
                <a:gd name="connsiteY18" fmla="*/ 7363 h 10000"/>
                <a:gd name="connsiteX19" fmla="*/ 89 w 9819"/>
                <a:gd name="connsiteY19" fmla="*/ 7428 h 10000"/>
                <a:gd name="connsiteX20" fmla="*/ 448 w 9819"/>
                <a:gd name="connsiteY20" fmla="*/ 7460 h 10000"/>
                <a:gd name="connsiteX21" fmla="*/ 493 w 9819"/>
                <a:gd name="connsiteY21" fmla="*/ 7588 h 10000"/>
                <a:gd name="connsiteX22" fmla="*/ 894 w 9819"/>
                <a:gd name="connsiteY22" fmla="*/ 7621 h 10000"/>
                <a:gd name="connsiteX23" fmla="*/ 1117 w 9819"/>
                <a:gd name="connsiteY23" fmla="*/ 7749 h 10000"/>
                <a:gd name="connsiteX24" fmla="*/ 1161 w 9819"/>
                <a:gd name="connsiteY24" fmla="*/ 7974 h 10000"/>
                <a:gd name="connsiteX25" fmla="*/ 1877 w 9819"/>
                <a:gd name="connsiteY25" fmla="*/ 8360 h 10000"/>
                <a:gd name="connsiteX26" fmla="*/ 2055 w 9819"/>
                <a:gd name="connsiteY26" fmla="*/ 8746 h 10000"/>
                <a:gd name="connsiteX27" fmla="*/ 2545 w 9819"/>
                <a:gd name="connsiteY27" fmla="*/ 8939 h 10000"/>
                <a:gd name="connsiteX28" fmla="*/ 2724 w 9819"/>
                <a:gd name="connsiteY28" fmla="*/ 9196 h 10000"/>
                <a:gd name="connsiteX29" fmla="*/ 3080 w 9819"/>
                <a:gd name="connsiteY29" fmla="*/ 9518 h 10000"/>
                <a:gd name="connsiteX30" fmla="*/ 3349 w 9819"/>
                <a:gd name="connsiteY30" fmla="*/ 9614 h 10000"/>
                <a:gd name="connsiteX31" fmla="*/ 3528 w 9819"/>
                <a:gd name="connsiteY31" fmla="*/ 9518 h 10000"/>
                <a:gd name="connsiteX32" fmla="*/ 3974 w 9819"/>
                <a:gd name="connsiteY32" fmla="*/ 9550 h 10000"/>
                <a:gd name="connsiteX33" fmla="*/ 4152 w 9819"/>
                <a:gd name="connsiteY33" fmla="*/ 9486 h 10000"/>
                <a:gd name="connsiteX34" fmla="*/ 4955 w 9819"/>
                <a:gd name="connsiteY34" fmla="*/ 9968 h 10000"/>
                <a:gd name="connsiteX35" fmla="*/ 5001 w 9819"/>
                <a:gd name="connsiteY35" fmla="*/ 9968 h 10000"/>
                <a:gd name="connsiteX36" fmla="*/ 5089 w 9819"/>
                <a:gd name="connsiteY36" fmla="*/ 9904 h 10000"/>
                <a:gd name="connsiteX37" fmla="*/ 5667 w 9819"/>
                <a:gd name="connsiteY37" fmla="*/ 9904 h 10000"/>
                <a:gd name="connsiteX38" fmla="*/ 5759 w 9819"/>
                <a:gd name="connsiteY38" fmla="*/ 10000 h 10000"/>
                <a:gd name="connsiteX39" fmla="*/ 6250 w 9819"/>
                <a:gd name="connsiteY39" fmla="*/ 9871 h 10000"/>
                <a:gd name="connsiteX40" fmla="*/ 6695 w 9819"/>
                <a:gd name="connsiteY40" fmla="*/ 9871 h 10000"/>
                <a:gd name="connsiteX41" fmla="*/ 7008 w 9819"/>
                <a:gd name="connsiteY41" fmla="*/ 9743 h 10000"/>
                <a:gd name="connsiteX42" fmla="*/ 7366 w 9819"/>
                <a:gd name="connsiteY42" fmla="*/ 9486 h 10000"/>
                <a:gd name="connsiteX43" fmla="*/ 8303 w 9819"/>
                <a:gd name="connsiteY43" fmla="*/ 9486 h 10000"/>
                <a:gd name="connsiteX44" fmla="*/ 8303 w 9819"/>
                <a:gd name="connsiteY44" fmla="*/ 9132 h 10000"/>
                <a:gd name="connsiteX45" fmla="*/ 7813 w 9819"/>
                <a:gd name="connsiteY45" fmla="*/ 8971 h 10000"/>
                <a:gd name="connsiteX46" fmla="*/ 7544 w 9819"/>
                <a:gd name="connsiteY46" fmla="*/ 8457 h 10000"/>
                <a:gd name="connsiteX47" fmla="*/ 7188 w 9819"/>
                <a:gd name="connsiteY47" fmla="*/ 8264 h 10000"/>
                <a:gd name="connsiteX48" fmla="*/ 6963 w 9819"/>
                <a:gd name="connsiteY48" fmla="*/ 8006 h 10000"/>
                <a:gd name="connsiteX49" fmla="*/ 6383 w 9819"/>
                <a:gd name="connsiteY49" fmla="*/ 7814 h 10000"/>
                <a:gd name="connsiteX50" fmla="*/ 6517 w 9819"/>
                <a:gd name="connsiteY50" fmla="*/ 7749 h 10000"/>
                <a:gd name="connsiteX51" fmla="*/ 6517 w 9819"/>
                <a:gd name="connsiteY51" fmla="*/ 7588 h 10000"/>
                <a:gd name="connsiteX52" fmla="*/ 6920 w 9819"/>
                <a:gd name="connsiteY52" fmla="*/ 7588 h 10000"/>
                <a:gd name="connsiteX53" fmla="*/ 7141 w 9819"/>
                <a:gd name="connsiteY53" fmla="*/ 7460 h 10000"/>
                <a:gd name="connsiteX54" fmla="*/ 7188 w 9819"/>
                <a:gd name="connsiteY54" fmla="*/ 6527 h 10000"/>
                <a:gd name="connsiteX55" fmla="*/ 7231 w 9819"/>
                <a:gd name="connsiteY55" fmla="*/ 6559 h 10000"/>
                <a:gd name="connsiteX56" fmla="*/ 7072 w 9819"/>
                <a:gd name="connsiteY56" fmla="*/ 6618 h 10000"/>
                <a:gd name="connsiteX57" fmla="*/ 7010 w 9819"/>
                <a:gd name="connsiteY57" fmla="*/ 6745 h 10000"/>
                <a:gd name="connsiteX58" fmla="*/ 6611 w 9819"/>
                <a:gd name="connsiteY58" fmla="*/ 6497 h 10000"/>
                <a:gd name="connsiteX59" fmla="*/ 6539 w 9819"/>
                <a:gd name="connsiteY59" fmla="*/ 5828 h 10000"/>
                <a:gd name="connsiteX60" fmla="*/ 6112 w 9819"/>
                <a:gd name="connsiteY60" fmla="*/ 6118 h 10000"/>
                <a:gd name="connsiteX61" fmla="*/ 6119 w 9819"/>
                <a:gd name="connsiteY61" fmla="*/ 6462 h 10000"/>
                <a:gd name="connsiteX62" fmla="*/ 5776 w 9819"/>
                <a:gd name="connsiteY62" fmla="*/ 6670 h 10000"/>
                <a:gd name="connsiteX63" fmla="*/ 9819 w 9819"/>
                <a:gd name="connsiteY63" fmla="*/ 2572 h 10000"/>
                <a:gd name="connsiteX64" fmla="*/ 9686 w 9819"/>
                <a:gd name="connsiteY64" fmla="*/ 2412 h 10000"/>
                <a:gd name="connsiteX65" fmla="*/ 9418 w 9819"/>
                <a:gd name="connsiteY65" fmla="*/ 2347 h 10000"/>
                <a:gd name="connsiteX66" fmla="*/ 9284 w 9819"/>
                <a:gd name="connsiteY66" fmla="*/ 2219 h 10000"/>
                <a:gd name="connsiteX67" fmla="*/ 9197 w 9819"/>
                <a:gd name="connsiteY67" fmla="*/ 1736 h 10000"/>
                <a:gd name="connsiteX68" fmla="*/ 9197 w 9819"/>
                <a:gd name="connsiteY68" fmla="*/ 1061 h 10000"/>
                <a:gd name="connsiteX69" fmla="*/ 8972 w 9819"/>
                <a:gd name="connsiteY69" fmla="*/ 836 h 10000"/>
                <a:gd name="connsiteX70" fmla="*/ 8927 w 9819"/>
                <a:gd name="connsiteY70" fmla="*/ 611 h 10000"/>
                <a:gd name="connsiteX71" fmla="*/ 8571 w 9819"/>
                <a:gd name="connsiteY71" fmla="*/ 289 h 10000"/>
                <a:gd name="connsiteX72" fmla="*/ 8258 w 9819"/>
                <a:gd name="connsiteY72" fmla="*/ 161 h 10000"/>
                <a:gd name="connsiteX73" fmla="*/ 8080 w 9819"/>
                <a:gd name="connsiteY73" fmla="*/ 0 h 10000"/>
                <a:gd name="connsiteX74" fmla="*/ 7813 w 9819"/>
                <a:gd name="connsiteY74" fmla="*/ 161 h 10000"/>
                <a:gd name="connsiteX75" fmla="*/ 7633 w 9819"/>
                <a:gd name="connsiteY75" fmla="*/ 129 h 10000"/>
                <a:gd name="connsiteX76" fmla="*/ 7498 w 9819"/>
                <a:gd name="connsiteY76" fmla="*/ 418 h 10000"/>
                <a:gd name="connsiteX77" fmla="*/ 7141 w 9819"/>
                <a:gd name="connsiteY77" fmla="*/ 482 h 10000"/>
                <a:gd name="connsiteX78" fmla="*/ 7053 w 9819"/>
                <a:gd name="connsiteY78" fmla="*/ 707 h 10000"/>
                <a:gd name="connsiteX79" fmla="*/ 6740 w 9819"/>
                <a:gd name="connsiteY79" fmla="*/ 707 h 10000"/>
                <a:gd name="connsiteX80" fmla="*/ 6473 w 9819"/>
                <a:gd name="connsiteY80" fmla="*/ 611 h 10000"/>
                <a:gd name="connsiteX81" fmla="*/ 5892 w 9819"/>
                <a:gd name="connsiteY81" fmla="*/ 611 h 10000"/>
                <a:gd name="connsiteX82" fmla="*/ 5312 w 9819"/>
                <a:gd name="connsiteY82" fmla="*/ 611 h 10000"/>
                <a:gd name="connsiteX83" fmla="*/ 5356 w 9819"/>
                <a:gd name="connsiteY83" fmla="*/ 482 h 10000"/>
                <a:gd name="connsiteX84" fmla="*/ 5268 w 9819"/>
                <a:gd name="connsiteY84" fmla="*/ 482 h 10000"/>
                <a:gd name="connsiteX85" fmla="*/ 5223 w 9819"/>
                <a:gd name="connsiteY85" fmla="*/ 611 h 10000"/>
                <a:gd name="connsiteX86" fmla="*/ 4687 w 9819"/>
                <a:gd name="connsiteY86" fmla="*/ 611 h 10000"/>
                <a:gd name="connsiteX87" fmla="*/ 4152 w 9819"/>
                <a:gd name="connsiteY87" fmla="*/ 611 h 10000"/>
                <a:gd name="connsiteX88" fmla="*/ 3618 w 9819"/>
                <a:gd name="connsiteY88" fmla="*/ 611 h 10000"/>
                <a:gd name="connsiteX89" fmla="*/ 3080 w 9819"/>
                <a:gd name="connsiteY89" fmla="*/ 611 h 10000"/>
                <a:gd name="connsiteX90" fmla="*/ 2591 w 9819"/>
                <a:gd name="connsiteY90" fmla="*/ 611 h 10000"/>
                <a:gd name="connsiteX91" fmla="*/ 2055 w 9819"/>
                <a:gd name="connsiteY91" fmla="*/ 611 h 10000"/>
                <a:gd name="connsiteX92" fmla="*/ 1563 w 9819"/>
                <a:gd name="connsiteY92" fmla="*/ 611 h 10000"/>
                <a:gd name="connsiteX93" fmla="*/ 1028 w 9819"/>
                <a:gd name="connsiteY93" fmla="*/ 611 h 10000"/>
                <a:gd name="connsiteX94" fmla="*/ 1028 w 9819"/>
                <a:gd name="connsiteY94" fmla="*/ 1061 h 10000"/>
                <a:gd name="connsiteX95" fmla="*/ 1028 w 9819"/>
                <a:gd name="connsiteY95" fmla="*/ 1640 h 10000"/>
                <a:gd name="connsiteX96" fmla="*/ 358 w 9819"/>
                <a:gd name="connsiteY96" fmla="*/ 1640 h 10000"/>
                <a:gd name="connsiteX97" fmla="*/ 358 w 9819"/>
                <a:gd name="connsiteY97" fmla="*/ 1897 h 10000"/>
                <a:gd name="connsiteX0" fmla="*/ 365 w 9865"/>
                <a:gd name="connsiteY0" fmla="*/ 1897 h 10000"/>
                <a:gd name="connsiteX1" fmla="*/ 5646 w 9865"/>
                <a:gd name="connsiteY1" fmla="*/ 6915 h 10000"/>
                <a:gd name="connsiteX2" fmla="*/ 5272 w 9865"/>
                <a:gd name="connsiteY2" fmla="*/ 7114 h 10000"/>
                <a:gd name="connsiteX3" fmla="*/ 4959 w 9865"/>
                <a:gd name="connsiteY3" fmla="*/ 6907 h 10000"/>
                <a:gd name="connsiteX4" fmla="*/ 4504 w 9865"/>
                <a:gd name="connsiteY4" fmla="*/ 6781 h 10000"/>
                <a:gd name="connsiteX5" fmla="*/ 4277 w 9865"/>
                <a:gd name="connsiteY5" fmla="*/ 7064 h 10000"/>
                <a:gd name="connsiteX6" fmla="*/ 3718 w 9865"/>
                <a:gd name="connsiteY6" fmla="*/ 7281 h 10000"/>
                <a:gd name="connsiteX7" fmla="*/ 3359 w 9865"/>
                <a:gd name="connsiteY7" fmla="*/ 7279 h 10000"/>
                <a:gd name="connsiteX8" fmla="*/ 2575 w 9865"/>
                <a:gd name="connsiteY8" fmla="*/ 7095 h 10000"/>
                <a:gd name="connsiteX9" fmla="*/ 2365 w 9865"/>
                <a:gd name="connsiteY9" fmla="*/ 7195 h 10000"/>
                <a:gd name="connsiteX10" fmla="*/ 1841 w 9865"/>
                <a:gd name="connsiteY10" fmla="*/ 6973 h 10000"/>
                <a:gd name="connsiteX11" fmla="*/ 1610 w 9865"/>
                <a:gd name="connsiteY11" fmla="*/ 6638 h 10000"/>
                <a:gd name="connsiteX12" fmla="*/ 1225 w 9865"/>
                <a:gd name="connsiteY12" fmla="*/ 6729 h 10000"/>
                <a:gd name="connsiteX13" fmla="*/ 1121 w 9865"/>
                <a:gd name="connsiteY13" fmla="*/ 6927 h 10000"/>
                <a:gd name="connsiteX14" fmla="*/ 714 w 9865"/>
                <a:gd name="connsiteY14" fmla="*/ 7011 h 10000"/>
                <a:gd name="connsiteX15" fmla="*/ 446 w 9865"/>
                <a:gd name="connsiteY15" fmla="*/ 7004 h 10000"/>
                <a:gd name="connsiteX16" fmla="*/ 298 w 9865"/>
                <a:gd name="connsiteY16" fmla="*/ 7161 h 10000"/>
                <a:gd name="connsiteX17" fmla="*/ 48 w 9865"/>
                <a:gd name="connsiteY17" fmla="*/ 6913 h 10000"/>
                <a:gd name="connsiteX18" fmla="*/ 0 w 9865"/>
                <a:gd name="connsiteY18" fmla="*/ 7363 h 10000"/>
                <a:gd name="connsiteX19" fmla="*/ 91 w 9865"/>
                <a:gd name="connsiteY19" fmla="*/ 7428 h 10000"/>
                <a:gd name="connsiteX20" fmla="*/ 456 w 9865"/>
                <a:gd name="connsiteY20" fmla="*/ 7460 h 10000"/>
                <a:gd name="connsiteX21" fmla="*/ 502 w 9865"/>
                <a:gd name="connsiteY21" fmla="*/ 7588 h 10000"/>
                <a:gd name="connsiteX22" fmla="*/ 910 w 9865"/>
                <a:gd name="connsiteY22" fmla="*/ 7621 h 10000"/>
                <a:gd name="connsiteX23" fmla="*/ 1138 w 9865"/>
                <a:gd name="connsiteY23" fmla="*/ 7749 h 10000"/>
                <a:gd name="connsiteX24" fmla="*/ 1182 w 9865"/>
                <a:gd name="connsiteY24" fmla="*/ 7974 h 10000"/>
                <a:gd name="connsiteX25" fmla="*/ 1912 w 9865"/>
                <a:gd name="connsiteY25" fmla="*/ 8360 h 10000"/>
                <a:gd name="connsiteX26" fmla="*/ 2093 w 9865"/>
                <a:gd name="connsiteY26" fmla="*/ 8746 h 10000"/>
                <a:gd name="connsiteX27" fmla="*/ 2592 w 9865"/>
                <a:gd name="connsiteY27" fmla="*/ 8939 h 10000"/>
                <a:gd name="connsiteX28" fmla="*/ 2774 w 9865"/>
                <a:gd name="connsiteY28" fmla="*/ 9196 h 10000"/>
                <a:gd name="connsiteX29" fmla="*/ 3137 w 9865"/>
                <a:gd name="connsiteY29" fmla="*/ 9518 h 10000"/>
                <a:gd name="connsiteX30" fmla="*/ 3411 w 9865"/>
                <a:gd name="connsiteY30" fmla="*/ 9614 h 10000"/>
                <a:gd name="connsiteX31" fmla="*/ 3593 w 9865"/>
                <a:gd name="connsiteY31" fmla="*/ 9518 h 10000"/>
                <a:gd name="connsiteX32" fmla="*/ 4047 w 9865"/>
                <a:gd name="connsiteY32" fmla="*/ 9550 h 10000"/>
                <a:gd name="connsiteX33" fmla="*/ 4229 w 9865"/>
                <a:gd name="connsiteY33" fmla="*/ 9486 h 10000"/>
                <a:gd name="connsiteX34" fmla="*/ 5046 w 9865"/>
                <a:gd name="connsiteY34" fmla="*/ 9968 h 10000"/>
                <a:gd name="connsiteX35" fmla="*/ 5093 w 9865"/>
                <a:gd name="connsiteY35" fmla="*/ 9968 h 10000"/>
                <a:gd name="connsiteX36" fmla="*/ 5183 w 9865"/>
                <a:gd name="connsiteY36" fmla="*/ 9904 h 10000"/>
                <a:gd name="connsiteX37" fmla="*/ 5771 w 9865"/>
                <a:gd name="connsiteY37" fmla="*/ 9904 h 10000"/>
                <a:gd name="connsiteX38" fmla="*/ 5865 w 9865"/>
                <a:gd name="connsiteY38" fmla="*/ 10000 h 10000"/>
                <a:gd name="connsiteX39" fmla="*/ 6365 w 9865"/>
                <a:gd name="connsiteY39" fmla="*/ 9871 h 10000"/>
                <a:gd name="connsiteX40" fmla="*/ 6818 w 9865"/>
                <a:gd name="connsiteY40" fmla="*/ 9871 h 10000"/>
                <a:gd name="connsiteX41" fmla="*/ 7137 w 9865"/>
                <a:gd name="connsiteY41" fmla="*/ 9743 h 10000"/>
                <a:gd name="connsiteX42" fmla="*/ 7502 w 9865"/>
                <a:gd name="connsiteY42" fmla="*/ 9486 h 10000"/>
                <a:gd name="connsiteX43" fmla="*/ 8456 w 9865"/>
                <a:gd name="connsiteY43" fmla="*/ 9486 h 10000"/>
                <a:gd name="connsiteX44" fmla="*/ 8456 w 9865"/>
                <a:gd name="connsiteY44" fmla="*/ 9132 h 10000"/>
                <a:gd name="connsiteX45" fmla="*/ 7957 w 9865"/>
                <a:gd name="connsiteY45" fmla="*/ 8971 h 10000"/>
                <a:gd name="connsiteX46" fmla="*/ 7683 w 9865"/>
                <a:gd name="connsiteY46" fmla="*/ 8457 h 10000"/>
                <a:gd name="connsiteX47" fmla="*/ 7321 w 9865"/>
                <a:gd name="connsiteY47" fmla="*/ 8264 h 10000"/>
                <a:gd name="connsiteX48" fmla="*/ 7091 w 9865"/>
                <a:gd name="connsiteY48" fmla="*/ 8006 h 10000"/>
                <a:gd name="connsiteX49" fmla="*/ 6501 w 9865"/>
                <a:gd name="connsiteY49" fmla="*/ 7814 h 10000"/>
                <a:gd name="connsiteX50" fmla="*/ 6637 w 9865"/>
                <a:gd name="connsiteY50" fmla="*/ 7749 h 10000"/>
                <a:gd name="connsiteX51" fmla="*/ 6637 w 9865"/>
                <a:gd name="connsiteY51" fmla="*/ 7588 h 10000"/>
                <a:gd name="connsiteX52" fmla="*/ 7048 w 9865"/>
                <a:gd name="connsiteY52" fmla="*/ 7588 h 10000"/>
                <a:gd name="connsiteX53" fmla="*/ 7273 w 9865"/>
                <a:gd name="connsiteY53" fmla="*/ 7460 h 10000"/>
                <a:gd name="connsiteX54" fmla="*/ 7321 w 9865"/>
                <a:gd name="connsiteY54" fmla="*/ 6527 h 10000"/>
                <a:gd name="connsiteX55" fmla="*/ 7364 w 9865"/>
                <a:gd name="connsiteY55" fmla="*/ 6559 h 10000"/>
                <a:gd name="connsiteX56" fmla="*/ 7202 w 9865"/>
                <a:gd name="connsiteY56" fmla="*/ 6618 h 10000"/>
                <a:gd name="connsiteX57" fmla="*/ 7139 w 9865"/>
                <a:gd name="connsiteY57" fmla="*/ 6745 h 10000"/>
                <a:gd name="connsiteX58" fmla="*/ 6733 w 9865"/>
                <a:gd name="connsiteY58" fmla="*/ 6497 h 10000"/>
                <a:gd name="connsiteX59" fmla="*/ 6660 w 9865"/>
                <a:gd name="connsiteY59" fmla="*/ 5828 h 10000"/>
                <a:gd name="connsiteX60" fmla="*/ 6225 w 9865"/>
                <a:gd name="connsiteY60" fmla="*/ 6118 h 10000"/>
                <a:gd name="connsiteX61" fmla="*/ 6232 w 9865"/>
                <a:gd name="connsiteY61" fmla="*/ 6462 h 10000"/>
                <a:gd name="connsiteX62" fmla="*/ 5882 w 9865"/>
                <a:gd name="connsiteY62" fmla="*/ 6670 h 10000"/>
                <a:gd name="connsiteX63" fmla="*/ 9865 w 9865"/>
                <a:gd name="connsiteY63" fmla="*/ 2412 h 10000"/>
                <a:gd name="connsiteX64" fmla="*/ 9592 w 9865"/>
                <a:gd name="connsiteY64" fmla="*/ 2347 h 10000"/>
                <a:gd name="connsiteX65" fmla="*/ 9455 w 9865"/>
                <a:gd name="connsiteY65" fmla="*/ 2219 h 10000"/>
                <a:gd name="connsiteX66" fmla="*/ 9367 w 9865"/>
                <a:gd name="connsiteY66" fmla="*/ 1736 h 10000"/>
                <a:gd name="connsiteX67" fmla="*/ 9367 w 9865"/>
                <a:gd name="connsiteY67" fmla="*/ 1061 h 10000"/>
                <a:gd name="connsiteX68" fmla="*/ 9137 w 9865"/>
                <a:gd name="connsiteY68" fmla="*/ 836 h 10000"/>
                <a:gd name="connsiteX69" fmla="*/ 9092 w 9865"/>
                <a:gd name="connsiteY69" fmla="*/ 611 h 10000"/>
                <a:gd name="connsiteX70" fmla="*/ 8729 w 9865"/>
                <a:gd name="connsiteY70" fmla="*/ 289 h 10000"/>
                <a:gd name="connsiteX71" fmla="*/ 8410 w 9865"/>
                <a:gd name="connsiteY71" fmla="*/ 161 h 10000"/>
                <a:gd name="connsiteX72" fmla="*/ 8229 w 9865"/>
                <a:gd name="connsiteY72" fmla="*/ 0 h 10000"/>
                <a:gd name="connsiteX73" fmla="*/ 7957 w 9865"/>
                <a:gd name="connsiteY73" fmla="*/ 161 h 10000"/>
                <a:gd name="connsiteX74" fmla="*/ 7774 w 9865"/>
                <a:gd name="connsiteY74" fmla="*/ 129 h 10000"/>
                <a:gd name="connsiteX75" fmla="*/ 7636 w 9865"/>
                <a:gd name="connsiteY75" fmla="*/ 418 h 10000"/>
                <a:gd name="connsiteX76" fmla="*/ 7273 w 9865"/>
                <a:gd name="connsiteY76" fmla="*/ 482 h 10000"/>
                <a:gd name="connsiteX77" fmla="*/ 7183 w 9865"/>
                <a:gd name="connsiteY77" fmla="*/ 707 h 10000"/>
                <a:gd name="connsiteX78" fmla="*/ 6864 w 9865"/>
                <a:gd name="connsiteY78" fmla="*/ 707 h 10000"/>
                <a:gd name="connsiteX79" fmla="*/ 6592 w 9865"/>
                <a:gd name="connsiteY79" fmla="*/ 611 h 10000"/>
                <a:gd name="connsiteX80" fmla="*/ 6001 w 9865"/>
                <a:gd name="connsiteY80" fmla="*/ 611 h 10000"/>
                <a:gd name="connsiteX81" fmla="*/ 5410 w 9865"/>
                <a:gd name="connsiteY81" fmla="*/ 611 h 10000"/>
                <a:gd name="connsiteX82" fmla="*/ 5455 w 9865"/>
                <a:gd name="connsiteY82" fmla="*/ 482 h 10000"/>
                <a:gd name="connsiteX83" fmla="*/ 5365 w 9865"/>
                <a:gd name="connsiteY83" fmla="*/ 482 h 10000"/>
                <a:gd name="connsiteX84" fmla="*/ 5319 w 9865"/>
                <a:gd name="connsiteY84" fmla="*/ 611 h 10000"/>
                <a:gd name="connsiteX85" fmla="*/ 4773 w 9865"/>
                <a:gd name="connsiteY85" fmla="*/ 611 h 10000"/>
                <a:gd name="connsiteX86" fmla="*/ 4229 w 9865"/>
                <a:gd name="connsiteY86" fmla="*/ 611 h 10000"/>
                <a:gd name="connsiteX87" fmla="*/ 3685 w 9865"/>
                <a:gd name="connsiteY87" fmla="*/ 611 h 10000"/>
                <a:gd name="connsiteX88" fmla="*/ 3137 w 9865"/>
                <a:gd name="connsiteY88" fmla="*/ 611 h 10000"/>
                <a:gd name="connsiteX89" fmla="*/ 2639 w 9865"/>
                <a:gd name="connsiteY89" fmla="*/ 611 h 10000"/>
                <a:gd name="connsiteX90" fmla="*/ 2093 w 9865"/>
                <a:gd name="connsiteY90" fmla="*/ 611 h 10000"/>
                <a:gd name="connsiteX91" fmla="*/ 1592 w 9865"/>
                <a:gd name="connsiteY91" fmla="*/ 611 h 10000"/>
                <a:gd name="connsiteX92" fmla="*/ 1047 w 9865"/>
                <a:gd name="connsiteY92" fmla="*/ 611 h 10000"/>
                <a:gd name="connsiteX93" fmla="*/ 1047 w 9865"/>
                <a:gd name="connsiteY93" fmla="*/ 1061 h 10000"/>
                <a:gd name="connsiteX94" fmla="*/ 1047 w 9865"/>
                <a:gd name="connsiteY94" fmla="*/ 1640 h 10000"/>
                <a:gd name="connsiteX95" fmla="*/ 365 w 9865"/>
                <a:gd name="connsiteY95" fmla="*/ 1640 h 10000"/>
                <a:gd name="connsiteX96" fmla="*/ 365 w 9865"/>
                <a:gd name="connsiteY96" fmla="*/ 1897 h 10000"/>
                <a:gd name="connsiteX0" fmla="*/ 370 w 9723"/>
                <a:gd name="connsiteY0" fmla="*/ 1897 h 10000"/>
                <a:gd name="connsiteX1" fmla="*/ 5723 w 9723"/>
                <a:gd name="connsiteY1" fmla="*/ 6915 h 10000"/>
                <a:gd name="connsiteX2" fmla="*/ 5344 w 9723"/>
                <a:gd name="connsiteY2" fmla="*/ 7114 h 10000"/>
                <a:gd name="connsiteX3" fmla="*/ 5027 w 9723"/>
                <a:gd name="connsiteY3" fmla="*/ 6907 h 10000"/>
                <a:gd name="connsiteX4" fmla="*/ 4566 w 9723"/>
                <a:gd name="connsiteY4" fmla="*/ 6781 h 10000"/>
                <a:gd name="connsiteX5" fmla="*/ 4336 w 9723"/>
                <a:gd name="connsiteY5" fmla="*/ 7064 h 10000"/>
                <a:gd name="connsiteX6" fmla="*/ 3769 w 9723"/>
                <a:gd name="connsiteY6" fmla="*/ 7281 h 10000"/>
                <a:gd name="connsiteX7" fmla="*/ 3405 w 9723"/>
                <a:gd name="connsiteY7" fmla="*/ 7279 h 10000"/>
                <a:gd name="connsiteX8" fmla="*/ 2610 w 9723"/>
                <a:gd name="connsiteY8" fmla="*/ 7095 h 10000"/>
                <a:gd name="connsiteX9" fmla="*/ 2397 w 9723"/>
                <a:gd name="connsiteY9" fmla="*/ 7195 h 10000"/>
                <a:gd name="connsiteX10" fmla="*/ 1866 w 9723"/>
                <a:gd name="connsiteY10" fmla="*/ 6973 h 10000"/>
                <a:gd name="connsiteX11" fmla="*/ 1632 w 9723"/>
                <a:gd name="connsiteY11" fmla="*/ 6638 h 10000"/>
                <a:gd name="connsiteX12" fmla="*/ 1242 w 9723"/>
                <a:gd name="connsiteY12" fmla="*/ 6729 h 10000"/>
                <a:gd name="connsiteX13" fmla="*/ 1136 w 9723"/>
                <a:gd name="connsiteY13" fmla="*/ 6927 h 10000"/>
                <a:gd name="connsiteX14" fmla="*/ 724 w 9723"/>
                <a:gd name="connsiteY14" fmla="*/ 7011 h 10000"/>
                <a:gd name="connsiteX15" fmla="*/ 452 w 9723"/>
                <a:gd name="connsiteY15" fmla="*/ 7004 h 10000"/>
                <a:gd name="connsiteX16" fmla="*/ 302 w 9723"/>
                <a:gd name="connsiteY16" fmla="*/ 7161 h 10000"/>
                <a:gd name="connsiteX17" fmla="*/ 49 w 9723"/>
                <a:gd name="connsiteY17" fmla="*/ 6913 h 10000"/>
                <a:gd name="connsiteX18" fmla="*/ 0 w 9723"/>
                <a:gd name="connsiteY18" fmla="*/ 7363 h 10000"/>
                <a:gd name="connsiteX19" fmla="*/ 92 w 9723"/>
                <a:gd name="connsiteY19" fmla="*/ 7428 h 10000"/>
                <a:gd name="connsiteX20" fmla="*/ 462 w 9723"/>
                <a:gd name="connsiteY20" fmla="*/ 7460 h 10000"/>
                <a:gd name="connsiteX21" fmla="*/ 509 w 9723"/>
                <a:gd name="connsiteY21" fmla="*/ 7588 h 10000"/>
                <a:gd name="connsiteX22" fmla="*/ 922 w 9723"/>
                <a:gd name="connsiteY22" fmla="*/ 7621 h 10000"/>
                <a:gd name="connsiteX23" fmla="*/ 1154 w 9723"/>
                <a:gd name="connsiteY23" fmla="*/ 7749 h 10000"/>
                <a:gd name="connsiteX24" fmla="*/ 1198 w 9723"/>
                <a:gd name="connsiteY24" fmla="*/ 7974 h 10000"/>
                <a:gd name="connsiteX25" fmla="*/ 1938 w 9723"/>
                <a:gd name="connsiteY25" fmla="*/ 8360 h 10000"/>
                <a:gd name="connsiteX26" fmla="*/ 2122 w 9723"/>
                <a:gd name="connsiteY26" fmla="*/ 8746 h 10000"/>
                <a:gd name="connsiteX27" fmla="*/ 2627 w 9723"/>
                <a:gd name="connsiteY27" fmla="*/ 8939 h 10000"/>
                <a:gd name="connsiteX28" fmla="*/ 2812 w 9723"/>
                <a:gd name="connsiteY28" fmla="*/ 9196 h 10000"/>
                <a:gd name="connsiteX29" fmla="*/ 3180 w 9723"/>
                <a:gd name="connsiteY29" fmla="*/ 9518 h 10000"/>
                <a:gd name="connsiteX30" fmla="*/ 3458 w 9723"/>
                <a:gd name="connsiteY30" fmla="*/ 9614 h 10000"/>
                <a:gd name="connsiteX31" fmla="*/ 3642 w 9723"/>
                <a:gd name="connsiteY31" fmla="*/ 9518 h 10000"/>
                <a:gd name="connsiteX32" fmla="*/ 4102 w 9723"/>
                <a:gd name="connsiteY32" fmla="*/ 9550 h 10000"/>
                <a:gd name="connsiteX33" fmla="*/ 4287 w 9723"/>
                <a:gd name="connsiteY33" fmla="*/ 9486 h 10000"/>
                <a:gd name="connsiteX34" fmla="*/ 5115 w 9723"/>
                <a:gd name="connsiteY34" fmla="*/ 9968 h 10000"/>
                <a:gd name="connsiteX35" fmla="*/ 5163 w 9723"/>
                <a:gd name="connsiteY35" fmla="*/ 9968 h 10000"/>
                <a:gd name="connsiteX36" fmla="*/ 5254 w 9723"/>
                <a:gd name="connsiteY36" fmla="*/ 9904 h 10000"/>
                <a:gd name="connsiteX37" fmla="*/ 5850 w 9723"/>
                <a:gd name="connsiteY37" fmla="*/ 9904 h 10000"/>
                <a:gd name="connsiteX38" fmla="*/ 5945 w 9723"/>
                <a:gd name="connsiteY38" fmla="*/ 10000 h 10000"/>
                <a:gd name="connsiteX39" fmla="*/ 6452 w 9723"/>
                <a:gd name="connsiteY39" fmla="*/ 9871 h 10000"/>
                <a:gd name="connsiteX40" fmla="*/ 6911 w 9723"/>
                <a:gd name="connsiteY40" fmla="*/ 9871 h 10000"/>
                <a:gd name="connsiteX41" fmla="*/ 7235 w 9723"/>
                <a:gd name="connsiteY41" fmla="*/ 9743 h 10000"/>
                <a:gd name="connsiteX42" fmla="*/ 7605 w 9723"/>
                <a:gd name="connsiteY42" fmla="*/ 9486 h 10000"/>
                <a:gd name="connsiteX43" fmla="*/ 8572 w 9723"/>
                <a:gd name="connsiteY43" fmla="*/ 9486 h 10000"/>
                <a:gd name="connsiteX44" fmla="*/ 8572 w 9723"/>
                <a:gd name="connsiteY44" fmla="*/ 9132 h 10000"/>
                <a:gd name="connsiteX45" fmla="*/ 8066 w 9723"/>
                <a:gd name="connsiteY45" fmla="*/ 8971 h 10000"/>
                <a:gd name="connsiteX46" fmla="*/ 7788 w 9723"/>
                <a:gd name="connsiteY46" fmla="*/ 8457 h 10000"/>
                <a:gd name="connsiteX47" fmla="*/ 7421 w 9723"/>
                <a:gd name="connsiteY47" fmla="*/ 8264 h 10000"/>
                <a:gd name="connsiteX48" fmla="*/ 7188 w 9723"/>
                <a:gd name="connsiteY48" fmla="*/ 8006 h 10000"/>
                <a:gd name="connsiteX49" fmla="*/ 6590 w 9723"/>
                <a:gd name="connsiteY49" fmla="*/ 7814 h 10000"/>
                <a:gd name="connsiteX50" fmla="*/ 6728 w 9723"/>
                <a:gd name="connsiteY50" fmla="*/ 7749 h 10000"/>
                <a:gd name="connsiteX51" fmla="*/ 6728 w 9723"/>
                <a:gd name="connsiteY51" fmla="*/ 7588 h 10000"/>
                <a:gd name="connsiteX52" fmla="*/ 7144 w 9723"/>
                <a:gd name="connsiteY52" fmla="*/ 7588 h 10000"/>
                <a:gd name="connsiteX53" fmla="*/ 7373 w 9723"/>
                <a:gd name="connsiteY53" fmla="*/ 7460 h 10000"/>
                <a:gd name="connsiteX54" fmla="*/ 7421 w 9723"/>
                <a:gd name="connsiteY54" fmla="*/ 6527 h 10000"/>
                <a:gd name="connsiteX55" fmla="*/ 7465 w 9723"/>
                <a:gd name="connsiteY55" fmla="*/ 6559 h 10000"/>
                <a:gd name="connsiteX56" fmla="*/ 7301 w 9723"/>
                <a:gd name="connsiteY56" fmla="*/ 6618 h 10000"/>
                <a:gd name="connsiteX57" fmla="*/ 7237 w 9723"/>
                <a:gd name="connsiteY57" fmla="*/ 6745 h 10000"/>
                <a:gd name="connsiteX58" fmla="*/ 6825 w 9723"/>
                <a:gd name="connsiteY58" fmla="*/ 6497 h 10000"/>
                <a:gd name="connsiteX59" fmla="*/ 6751 w 9723"/>
                <a:gd name="connsiteY59" fmla="*/ 5828 h 10000"/>
                <a:gd name="connsiteX60" fmla="*/ 6310 w 9723"/>
                <a:gd name="connsiteY60" fmla="*/ 6118 h 10000"/>
                <a:gd name="connsiteX61" fmla="*/ 6317 w 9723"/>
                <a:gd name="connsiteY61" fmla="*/ 6462 h 10000"/>
                <a:gd name="connsiteX62" fmla="*/ 5962 w 9723"/>
                <a:gd name="connsiteY62" fmla="*/ 6670 h 10000"/>
                <a:gd name="connsiteX63" fmla="*/ 9723 w 9723"/>
                <a:gd name="connsiteY63" fmla="*/ 2347 h 10000"/>
                <a:gd name="connsiteX64" fmla="*/ 9584 w 9723"/>
                <a:gd name="connsiteY64" fmla="*/ 2219 h 10000"/>
                <a:gd name="connsiteX65" fmla="*/ 9495 w 9723"/>
                <a:gd name="connsiteY65" fmla="*/ 1736 h 10000"/>
                <a:gd name="connsiteX66" fmla="*/ 9495 w 9723"/>
                <a:gd name="connsiteY66" fmla="*/ 1061 h 10000"/>
                <a:gd name="connsiteX67" fmla="*/ 9262 w 9723"/>
                <a:gd name="connsiteY67" fmla="*/ 836 h 10000"/>
                <a:gd name="connsiteX68" fmla="*/ 9216 w 9723"/>
                <a:gd name="connsiteY68" fmla="*/ 611 h 10000"/>
                <a:gd name="connsiteX69" fmla="*/ 8848 w 9723"/>
                <a:gd name="connsiteY69" fmla="*/ 289 h 10000"/>
                <a:gd name="connsiteX70" fmla="*/ 8525 w 9723"/>
                <a:gd name="connsiteY70" fmla="*/ 161 h 10000"/>
                <a:gd name="connsiteX71" fmla="*/ 8342 w 9723"/>
                <a:gd name="connsiteY71" fmla="*/ 0 h 10000"/>
                <a:gd name="connsiteX72" fmla="*/ 8066 w 9723"/>
                <a:gd name="connsiteY72" fmla="*/ 161 h 10000"/>
                <a:gd name="connsiteX73" fmla="*/ 7880 w 9723"/>
                <a:gd name="connsiteY73" fmla="*/ 129 h 10000"/>
                <a:gd name="connsiteX74" fmla="*/ 7740 w 9723"/>
                <a:gd name="connsiteY74" fmla="*/ 418 h 10000"/>
                <a:gd name="connsiteX75" fmla="*/ 7373 w 9723"/>
                <a:gd name="connsiteY75" fmla="*/ 482 h 10000"/>
                <a:gd name="connsiteX76" fmla="*/ 7281 w 9723"/>
                <a:gd name="connsiteY76" fmla="*/ 707 h 10000"/>
                <a:gd name="connsiteX77" fmla="*/ 6958 w 9723"/>
                <a:gd name="connsiteY77" fmla="*/ 707 h 10000"/>
                <a:gd name="connsiteX78" fmla="*/ 6682 w 9723"/>
                <a:gd name="connsiteY78" fmla="*/ 611 h 10000"/>
                <a:gd name="connsiteX79" fmla="*/ 6083 w 9723"/>
                <a:gd name="connsiteY79" fmla="*/ 611 h 10000"/>
                <a:gd name="connsiteX80" fmla="*/ 5484 w 9723"/>
                <a:gd name="connsiteY80" fmla="*/ 611 h 10000"/>
                <a:gd name="connsiteX81" fmla="*/ 5530 w 9723"/>
                <a:gd name="connsiteY81" fmla="*/ 482 h 10000"/>
                <a:gd name="connsiteX82" fmla="*/ 5438 w 9723"/>
                <a:gd name="connsiteY82" fmla="*/ 482 h 10000"/>
                <a:gd name="connsiteX83" fmla="*/ 5392 w 9723"/>
                <a:gd name="connsiteY83" fmla="*/ 611 h 10000"/>
                <a:gd name="connsiteX84" fmla="*/ 4838 w 9723"/>
                <a:gd name="connsiteY84" fmla="*/ 611 h 10000"/>
                <a:gd name="connsiteX85" fmla="*/ 4287 w 9723"/>
                <a:gd name="connsiteY85" fmla="*/ 611 h 10000"/>
                <a:gd name="connsiteX86" fmla="*/ 3735 w 9723"/>
                <a:gd name="connsiteY86" fmla="*/ 611 h 10000"/>
                <a:gd name="connsiteX87" fmla="*/ 3180 w 9723"/>
                <a:gd name="connsiteY87" fmla="*/ 611 h 10000"/>
                <a:gd name="connsiteX88" fmla="*/ 2675 w 9723"/>
                <a:gd name="connsiteY88" fmla="*/ 611 h 10000"/>
                <a:gd name="connsiteX89" fmla="*/ 2122 w 9723"/>
                <a:gd name="connsiteY89" fmla="*/ 611 h 10000"/>
                <a:gd name="connsiteX90" fmla="*/ 1614 w 9723"/>
                <a:gd name="connsiteY90" fmla="*/ 611 h 10000"/>
                <a:gd name="connsiteX91" fmla="*/ 1061 w 9723"/>
                <a:gd name="connsiteY91" fmla="*/ 611 h 10000"/>
                <a:gd name="connsiteX92" fmla="*/ 1061 w 9723"/>
                <a:gd name="connsiteY92" fmla="*/ 1061 h 10000"/>
                <a:gd name="connsiteX93" fmla="*/ 1061 w 9723"/>
                <a:gd name="connsiteY93" fmla="*/ 1640 h 10000"/>
                <a:gd name="connsiteX94" fmla="*/ 370 w 9723"/>
                <a:gd name="connsiteY94" fmla="*/ 1640 h 10000"/>
                <a:gd name="connsiteX95" fmla="*/ 370 w 9723"/>
                <a:gd name="connsiteY95" fmla="*/ 1897 h 10000"/>
                <a:gd name="connsiteX0" fmla="*/ 381 w 9857"/>
                <a:gd name="connsiteY0" fmla="*/ 1897 h 10000"/>
                <a:gd name="connsiteX1" fmla="*/ 5886 w 9857"/>
                <a:gd name="connsiteY1" fmla="*/ 6915 h 10000"/>
                <a:gd name="connsiteX2" fmla="*/ 5496 w 9857"/>
                <a:gd name="connsiteY2" fmla="*/ 7114 h 10000"/>
                <a:gd name="connsiteX3" fmla="*/ 5170 w 9857"/>
                <a:gd name="connsiteY3" fmla="*/ 6907 h 10000"/>
                <a:gd name="connsiteX4" fmla="*/ 4696 w 9857"/>
                <a:gd name="connsiteY4" fmla="*/ 6781 h 10000"/>
                <a:gd name="connsiteX5" fmla="*/ 4460 w 9857"/>
                <a:gd name="connsiteY5" fmla="*/ 7064 h 10000"/>
                <a:gd name="connsiteX6" fmla="*/ 3876 w 9857"/>
                <a:gd name="connsiteY6" fmla="*/ 7281 h 10000"/>
                <a:gd name="connsiteX7" fmla="*/ 3502 w 9857"/>
                <a:gd name="connsiteY7" fmla="*/ 7279 h 10000"/>
                <a:gd name="connsiteX8" fmla="*/ 2684 w 9857"/>
                <a:gd name="connsiteY8" fmla="*/ 7095 h 10000"/>
                <a:gd name="connsiteX9" fmla="*/ 2465 w 9857"/>
                <a:gd name="connsiteY9" fmla="*/ 7195 h 10000"/>
                <a:gd name="connsiteX10" fmla="*/ 1919 w 9857"/>
                <a:gd name="connsiteY10" fmla="*/ 6973 h 10000"/>
                <a:gd name="connsiteX11" fmla="*/ 1678 w 9857"/>
                <a:gd name="connsiteY11" fmla="*/ 6638 h 10000"/>
                <a:gd name="connsiteX12" fmla="*/ 1277 w 9857"/>
                <a:gd name="connsiteY12" fmla="*/ 6729 h 10000"/>
                <a:gd name="connsiteX13" fmla="*/ 1168 w 9857"/>
                <a:gd name="connsiteY13" fmla="*/ 6927 h 10000"/>
                <a:gd name="connsiteX14" fmla="*/ 745 w 9857"/>
                <a:gd name="connsiteY14" fmla="*/ 7011 h 10000"/>
                <a:gd name="connsiteX15" fmla="*/ 465 w 9857"/>
                <a:gd name="connsiteY15" fmla="*/ 7004 h 10000"/>
                <a:gd name="connsiteX16" fmla="*/ 311 w 9857"/>
                <a:gd name="connsiteY16" fmla="*/ 7161 h 10000"/>
                <a:gd name="connsiteX17" fmla="*/ 50 w 9857"/>
                <a:gd name="connsiteY17" fmla="*/ 6913 h 10000"/>
                <a:gd name="connsiteX18" fmla="*/ 0 w 9857"/>
                <a:gd name="connsiteY18" fmla="*/ 7363 h 10000"/>
                <a:gd name="connsiteX19" fmla="*/ 95 w 9857"/>
                <a:gd name="connsiteY19" fmla="*/ 7428 h 10000"/>
                <a:gd name="connsiteX20" fmla="*/ 475 w 9857"/>
                <a:gd name="connsiteY20" fmla="*/ 7460 h 10000"/>
                <a:gd name="connsiteX21" fmla="*/ 524 w 9857"/>
                <a:gd name="connsiteY21" fmla="*/ 7588 h 10000"/>
                <a:gd name="connsiteX22" fmla="*/ 948 w 9857"/>
                <a:gd name="connsiteY22" fmla="*/ 7621 h 10000"/>
                <a:gd name="connsiteX23" fmla="*/ 1187 w 9857"/>
                <a:gd name="connsiteY23" fmla="*/ 7749 h 10000"/>
                <a:gd name="connsiteX24" fmla="*/ 1232 w 9857"/>
                <a:gd name="connsiteY24" fmla="*/ 7974 h 10000"/>
                <a:gd name="connsiteX25" fmla="*/ 1993 w 9857"/>
                <a:gd name="connsiteY25" fmla="*/ 8360 h 10000"/>
                <a:gd name="connsiteX26" fmla="*/ 2182 w 9857"/>
                <a:gd name="connsiteY26" fmla="*/ 8746 h 10000"/>
                <a:gd name="connsiteX27" fmla="*/ 2702 w 9857"/>
                <a:gd name="connsiteY27" fmla="*/ 8939 h 10000"/>
                <a:gd name="connsiteX28" fmla="*/ 2892 w 9857"/>
                <a:gd name="connsiteY28" fmla="*/ 9196 h 10000"/>
                <a:gd name="connsiteX29" fmla="*/ 3271 w 9857"/>
                <a:gd name="connsiteY29" fmla="*/ 9518 h 10000"/>
                <a:gd name="connsiteX30" fmla="*/ 3557 w 9857"/>
                <a:gd name="connsiteY30" fmla="*/ 9614 h 10000"/>
                <a:gd name="connsiteX31" fmla="*/ 3746 w 9857"/>
                <a:gd name="connsiteY31" fmla="*/ 9518 h 10000"/>
                <a:gd name="connsiteX32" fmla="*/ 4219 w 9857"/>
                <a:gd name="connsiteY32" fmla="*/ 9550 h 10000"/>
                <a:gd name="connsiteX33" fmla="*/ 4409 w 9857"/>
                <a:gd name="connsiteY33" fmla="*/ 9486 h 10000"/>
                <a:gd name="connsiteX34" fmla="*/ 5261 w 9857"/>
                <a:gd name="connsiteY34" fmla="*/ 9968 h 10000"/>
                <a:gd name="connsiteX35" fmla="*/ 5310 w 9857"/>
                <a:gd name="connsiteY35" fmla="*/ 9968 h 10000"/>
                <a:gd name="connsiteX36" fmla="*/ 5404 w 9857"/>
                <a:gd name="connsiteY36" fmla="*/ 9904 h 10000"/>
                <a:gd name="connsiteX37" fmla="*/ 6017 w 9857"/>
                <a:gd name="connsiteY37" fmla="*/ 9904 h 10000"/>
                <a:gd name="connsiteX38" fmla="*/ 6114 w 9857"/>
                <a:gd name="connsiteY38" fmla="*/ 10000 h 10000"/>
                <a:gd name="connsiteX39" fmla="*/ 6636 w 9857"/>
                <a:gd name="connsiteY39" fmla="*/ 9871 h 10000"/>
                <a:gd name="connsiteX40" fmla="*/ 7108 w 9857"/>
                <a:gd name="connsiteY40" fmla="*/ 9871 h 10000"/>
                <a:gd name="connsiteX41" fmla="*/ 7441 w 9857"/>
                <a:gd name="connsiteY41" fmla="*/ 9743 h 10000"/>
                <a:gd name="connsiteX42" fmla="*/ 7822 w 9857"/>
                <a:gd name="connsiteY42" fmla="*/ 9486 h 10000"/>
                <a:gd name="connsiteX43" fmla="*/ 8816 w 9857"/>
                <a:gd name="connsiteY43" fmla="*/ 9486 h 10000"/>
                <a:gd name="connsiteX44" fmla="*/ 8816 w 9857"/>
                <a:gd name="connsiteY44" fmla="*/ 9132 h 10000"/>
                <a:gd name="connsiteX45" fmla="*/ 8296 w 9857"/>
                <a:gd name="connsiteY45" fmla="*/ 8971 h 10000"/>
                <a:gd name="connsiteX46" fmla="*/ 8010 w 9857"/>
                <a:gd name="connsiteY46" fmla="*/ 8457 h 10000"/>
                <a:gd name="connsiteX47" fmla="*/ 7632 w 9857"/>
                <a:gd name="connsiteY47" fmla="*/ 8264 h 10000"/>
                <a:gd name="connsiteX48" fmla="*/ 7393 w 9857"/>
                <a:gd name="connsiteY48" fmla="*/ 8006 h 10000"/>
                <a:gd name="connsiteX49" fmla="*/ 6778 w 9857"/>
                <a:gd name="connsiteY49" fmla="*/ 7814 h 10000"/>
                <a:gd name="connsiteX50" fmla="*/ 6920 w 9857"/>
                <a:gd name="connsiteY50" fmla="*/ 7749 h 10000"/>
                <a:gd name="connsiteX51" fmla="*/ 6920 w 9857"/>
                <a:gd name="connsiteY51" fmla="*/ 7588 h 10000"/>
                <a:gd name="connsiteX52" fmla="*/ 7348 w 9857"/>
                <a:gd name="connsiteY52" fmla="*/ 7588 h 10000"/>
                <a:gd name="connsiteX53" fmla="*/ 7583 w 9857"/>
                <a:gd name="connsiteY53" fmla="*/ 7460 h 10000"/>
                <a:gd name="connsiteX54" fmla="*/ 7632 w 9857"/>
                <a:gd name="connsiteY54" fmla="*/ 6527 h 10000"/>
                <a:gd name="connsiteX55" fmla="*/ 7678 w 9857"/>
                <a:gd name="connsiteY55" fmla="*/ 6559 h 10000"/>
                <a:gd name="connsiteX56" fmla="*/ 7509 w 9857"/>
                <a:gd name="connsiteY56" fmla="*/ 6618 h 10000"/>
                <a:gd name="connsiteX57" fmla="*/ 7443 w 9857"/>
                <a:gd name="connsiteY57" fmla="*/ 6745 h 10000"/>
                <a:gd name="connsiteX58" fmla="*/ 7019 w 9857"/>
                <a:gd name="connsiteY58" fmla="*/ 6497 h 10000"/>
                <a:gd name="connsiteX59" fmla="*/ 6943 w 9857"/>
                <a:gd name="connsiteY59" fmla="*/ 5828 h 10000"/>
                <a:gd name="connsiteX60" fmla="*/ 6490 w 9857"/>
                <a:gd name="connsiteY60" fmla="*/ 6118 h 10000"/>
                <a:gd name="connsiteX61" fmla="*/ 6497 w 9857"/>
                <a:gd name="connsiteY61" fmla="*/ 6462 h 10000"/>
                <a:gd name="connsiteX62" fmla="*/ 6132 w 9857"/>
                <a:gd name="connsiteY62" fmla="*/ 6670 h 10000"/>
                <a:gd name="connsiteX63" fmla="*/ 9857 w 9857"/>
                <a:gd name="connsiteY63" fmla="*/ 2219 h 10000"/>
                <a:gd name="connsiteX64" fmla="*/ 9766 w 9857"/>
                <a:gd name="connsiteY64" fmla="*/ 1736 h 10000"/>
                <a:gd name="connsiteX65" fmla="*/ 9766 w 9857"/>
                <a:gd name="connsiteY65" fmla="*/ 1061 h 10000"/>
                <a:gd name="connsiteX66" fmla="*/ 9526 w 9857"/>
                <a:gd name="connsiteY66" fmla="*/ 836 h 10000"/>
                <a:gd name="connsiteX67" fmla="*/ 9479 w 9857"/>
                <a:gd name="connsiteY67" fmla="*/ 611 h 10000"/>
                <a:gd name="connsiteX68" fmla="*/ 9100 w 9857"/>
                <a:gd name="connsiteY68" fmla="*/ 289 h 10000"/>
                <a:gd name="connsiteX69" fmla="*/ 8768 w 9857"/>
                <a:gd name="connsiteY69" fmla="*/ 161 h 10000"/>
                <a:gd name="connsiteX70" fmla="*/ 8580 w 9857"/>
                <a:gd name="connsiteY70" fmla="*/ 0 h 10000"/>
                <a:gd name="connsiteX71" fmla="*/ 8296 w 9857"/>
                <a:gd name="connsiteY71" fmla="*/ 161 h 10000"/>
                <a:gd name="connsiteX72" fmla="*/ 8104 w 9857"/>
                <a:gd name="connsiteY72" fmla="*/ 129 h 10000"/>
                <a:gd name="connsiteX73" fmla="*/ 7961 w 9857"/>
                <a:gd name="connsiteY73" fmla="*/ 418 h 10000"/>
                <a:gd name="connsiteX74" fmla="*/ 7583 w 9857"/>
                <a:gd name="connsiteY74" fmla="*/ 482 h 10000"/>
                <a:gd name="connsiteX75" fmla="*/ 7488 w 9857"/>
                <a:gd name="connsiteY75" fmla="*/ 707 h 10000"/>
                <a:gd name="connsiteX76" fmla="*/ 7156 w 9857"/>
                <a:gd name="connsiteY76" fmla="*/ 707 h 10000"/>
                <a:gd name="connsiteX77" fmla="*/ 6872 w 9857"/>
                <a:gd name="connsiteY77" fmla="*/ 611 h 10000"/>
                <a:gd name="connsiteX78" fmla="*/ 6256 w 9857"/>
                <a:gd name="connsiteY78" fmla="*/ 611 h 10000"/>
                <a:gd name="connsiteX79" fmla="*/ 5640 w 9857"/>
                <a:gd name="connsiteY79" fmla="*/ 611 h 10000"/>
                <a:gd name="connsiteX80" fmla="*/ 5688 w 9857"/>
                <a:gd name="connsiteY80" fmla="*/ 482 h 10000"/>
                <a:gd name="connsiteX81" fmla="*/ 5593 w 9857"/>
                <a:gd name="connsiteY81" fmla="*/ 482 h 10000"/>
                <a:gd name="connsiteX82" fmla="*/ 5546 w 9857"/>
                <a:gd name="connsiteY82" fmla="*/ 611 h 10000"/>
                <a:gd name="connsiteX83" fmla="*/ 4976 w 9857"/>
                <a:gd name="connsiteY83" fmla="*/ 611 h 10000"/>
                <a:gd name="connsiteX84" fmla="*/ 4409 w 9857"/>
                <a:gd name="connsiteY84" fmla="*/ 611 h 10000"/>
                <a:gd name="connsiteX85" fmla="*/ 3841 w 9857"/>
                <a:gd name="connsiteY85" fmla="*/ 611 h 10000"/>
                <a:gd name="connsiteX86" fmla="*/ 3271 w 9857"/>
                <a:gd name="connsiteY86" fmla="*/ 611 h 10000"/>
                <a:gd name="connsiteX87" fmla="*/ 2751 w 9857"/>
                <a:gd name="connsiteY87" fmla="*/ 611 h 10000"/>
                <a:gd name="connsiteX88" fmla="*/ 2182 w 9857"/>
                <a:gd name="connsiteY88" fmla="*/ 611 h 10000"/>
                <a:gd name="connsiteX89" fmla="*/ 1660 w 9857"/>
                <a:gd name="connsiteY89" fmla="*/ 611 h 10000"/>
                <a:gd name="connsiteX90" fmla="*/ 1091 w 9857"/>
                <a:gd name="connsiteY90" fmla="*/ 611 h 10000"/>
                <a:gd name="connsiteX91" fmla="*/ 1091 w 9857"/>
                <a:gd name="connsiteY91" fmla="*/ 1061 h 10000"/>
                <a:gd name="connsiteX92" fmla="*/ 1091 w 9857"/>
                <a:gd name="connsiteY92" fmla="*/ 1640 h 10000"/>
                <a:gd name="connsiteX93" fmla="*/ 381 w 9857"/>
                <a:gd name="connsiteY93" fmla="*/ 1640 h 10000"/>
                <a:gd name="connsiteX94" fmla="*/ 381 w 9857"/>
                <a:gd name="connsiteY94" fmla="*/ 1897 h 10000"/>
                <a:gd name="connsiteX0" fmla="*/ 387 w 9908"/>
                <a:gd name="connsiteY0" fmla="*/ 1897 h 10000"/>
                <a:gd name="connsiteX1" fmla="*/ 5971 w 9908"/>
                <a:gd name="connsiteY1" fmla="*/ 6915 h 10000"/>
                <a:gd name="connsiteX2" fmla="*/ 5576 w 9908"/>
                <a:gd name="connsiteY2" fmla="*/ 7114 h 10000"/>
                <a:gd name="connsiteX3" fmla="*/ 5245 w 9908"/>
                <a:gd name="connsiteY3" fmla="*/ 6907 h 10000"/>
                <a:gd name="connsiteX4" fmla="*/ 4764 w 9908"/>
                <a:gd name="connsiteY4" fmla="*/ 6781 h 10000"/>
                <a:gd name="connsiteX5" fmla="*/ 4525 w 9908"/>
                <a:gd name="connsiteY5" fmla="*/ 7064 h 10000"/>
                <a:gd name="connsiteX6" fmla="*/ 3932 w 9908"/>
                <a:gd name="connsiteY6" fmla="*/ 7281 h 10000"/>
                <a:gd name="connsiteX7" fmla="*/ 3553 w 9908"/>
                <a:gd name="connsiteY7" fmla="*/ 7279 h 10000"/>
                <a:gd name="connsiteX8" fmla="*/ 2723 w 9908"/>
                <a:gd name="connsiteY8" fmla="*/ 7095 h 10000"/>
                <a:gd name="connsiteX9" fmla="*/ 2501 w 9908"/>
                <a:gd name="connsiteY9" fmla="*/ 7195 h 10000"/>
                <a:gd name="connsiteX10" fmla="*/ 1947 w 9908"/>
                <a:gd name="connsiteY10" fmla="*/ 6973 h 10000"/>
                <a:gd name="connsiteX11" fmla="*/ 1702 w 9908"/>
                <a:gd name="connsiteY11" fmla="*/ 6638 h 10000"/>
                <a:gd name="connsiteX12" fmla="*/ 1296 w 9908"/>
                <a:gd name="connsiteY12" fmla="*/ 6729 h 10000"/>
                <a:gd name="connsiteX13" fmla="*/ 1185 w 9908"/>
                <a:gd name="connsiteY13" fmla="*/ 6927 h 10000"/>
                <a:gd name="connsiteX14" fmla="*/ 756 w 9908"/>
                <a:gd name="connsiteY14" fmla="*/ 7011 h 10000"/>
                <a:gd name="connsiteX15" fmla="*/ 472 w 9908"/>
                <a:gd name="connsiteY15" fmla="*/ 7004 h 10000"/>
                <a:gd name="connsiteX16" fmla="*/ 316 w 9908"/>
                <a:gd name="connsiteY16" fmla="*/ 7161 h 10000"/>
                <a:gd name="connsiteX17" fmla="*/ 51 w 9908"/>
                <a:gd name="connsiteY17" fmla="*/ 6913 h 10000"/>
                <a:gd name="connsiteX18" fmla="*/ 0 w 9908"/>
                <a:gd name="connsiteY18" fmla="*/ 7363 h 10000"/>
                <a:gd name="connsiteX19" fmla="*/ 96 w 9908"/>
                <a:gd name="connsiteY19" fmla="*/ 7428 h 10000"/>
                <a:gd name="connsiteX20" fmla="*/ 482 w 9908"/>
                <a:gd name="connsiteY20" fmla="*/ 7460 h 10000"/>
                <a:gd name="connsiteX21" fmla="*/ 532 w 9908"/>
                <a:gd name="connsiteY21" fmla="*/ 7588 h 10000"/>
                <a:gd name="connsiteX22" fmla="*/ 962 w 9908"/>
                <a:gd name="connsiteY22" fmla="*/ 7621 h 10000"/>
                <a:gd name="connsiteX23" fmla="*/ 1204 w 9908"/>
                <a:gd name="connsiteY23" fmla="*/ 7749 h 10000"/>
                <a:gd name="connsiteX24" fmla="*/ 1250 w 9908"/>
                <a:gd name="connsiteY24" fmla="*/ 7974 h 10000"/>
                <a:gd name="connsiteX25" fmla="*/ 2022 w 9908"/>
                <a:gd name="connsiteY25" fmla="*/ 8360 h 10000"/>
                <a:gd name="connsiteX26" fmla="*/ 2214 w 9908"/>
                <a:gd name="connsiteY26" fmla="*/ 8746 h 10000"/>
                <a:gd name="connsiteX27" fmla="*/ 2741 w 9908"/>
                <a:gd name="connsiteY27" fmla="*/ 8939 h 10000"/>
                <a:gd name="connsiteX28" fmla="*/ 2934 w 9908"/>
                <a:gd name="connsiteY28" fmla="*/ 9196 h 10000"/>
                <a:gd name="connsiteX29" fmla="*/ 3318 w 9908"/>
                <a:gd name="connsiteY29" fmla="*/ 9518 h 10000"/>
                <a:gd name="connsiteX30" fmla="*/ 3609 w 9908"/>
                <a:gd name="connsiteY30" fmla="*/ 9614 h 10000"/>
                <a:gd name="connsiteX31" fmla="*/ 3800 w 9908"/>
                <a:gd name="connsiteY31" fmla="*/ 9518 h 10000"/>
                <a:gd name="connsiteX32" fmla="*/ 4280 w 9908"/>
                <a:gd name="connsiteY32" fmla="*/ 9550 h 10000"/>
                <a:gd name="connsiteX33" fmla="*/ 4473 w 9908"/>
                <a:gd name="connsiteY33" fmla="*/ 9486 h 10000"/>
                <a:gd name="connsiteX34" fmla="*/ 5337 w 9908"/>
                <a:gd name="connsiteY34" fmla="*/ 9968 h 10000"/>
                <a:gd name="connsiteX35" fmla="*/ 5387 w 9908"/>
                <a:gd name="connsiteY35" fmla="*/ 9968 h 10000"/>
                <a:gd name="connsiteX36" fmla="*/ 5482 w 9908"/>
                <a:gd name="connsiteY36" fmla="*/ 9904 h 10000"/>
                <a:gd name="connsiteX37" fmla="*/ 6104 w 9908"/>
                <a:gd name="connsiteY37" fmla="*/ 9904 h 10000"/>
                <a:gd name="connsiteX38" fmla="*/ 6203 w 9908"/>
                <a:gd name="connsiteY38" fmla="*/ 10000 h 10000"/>
                <a:gd name="connsiteX39" fmla="*/ 6732 w 9908"/>
                <a:gd name="connsiteY39" fmla="*/ 9871 h 10000"/>
                <a:gd name="connsiteX40" fmla="*/ 7211 w 9908"/>
                <a:gd name="connsiteY40" fmla="*/ 9871 h 10000"/>
                <a:gd name="connsiteX41" fmla="*/ 7549 w 9908"/>
                <a:gd name="connsiteY41" fmla="*/ 9743 h 10000"/>
                <a:gd name="connsiteX42" fmla="*/ 7935 w 9908"/>
                <a:gd name="connsiteY42" fmla="*/ 9486 h 10000"/>
                <a:gd name="connsiteX43" fmla="*/ 8944 w 9908"/>
                <a:gd name="connsiteY43" fmla="*/ 9486 h 10000"/>
                <a:gd name="connsiteX44" fmla="*/ 8944 w 9908"/>
                <a:gd name="connsiteY44" fmla="*/ 9132 h 10000"/>
                <a:gd name="connsiteX45" fmla="*/ 8416 w 9908"/>
                <a:gd name="connsiteY45" fmla="*/ 8971 h 10000"/>
                <a:gd name="connsiteX46" fmla="*/ 8126 w 9908"/>
                <a:gd name="connsiteY46" fmla="*/ 8457 h 10000"/>
                <a:gd name="connsiteX47" fmla="*/ 7743 w 9908"/>
                <a:gd name="connsiteY47" fmla="*/ 8264 h 10000"/>
                <a:gd name="connsiteX48" fmla="*/ 7500 w 9908"/>
                <a:gd name="connsiteY48" fmla="*/ 8006 h 10000"/>
                <a:gd name="connsiteX49" fmla="*/ 6876 w 9908"/>
                <a:gd name="connsiteY49" fmla="*/ 7814 h 10000"/>
                <a:gd name="connsiteX50" fmla="*/ 7020 w 9908"/>
                <a:gd name="connsiteY50" fmla="*/ 7749 h 10000"/>
                <a:gd name="connsiteX51" fmla="*/ 7020 w 9908"/>
                <a:gd name="connsiteY51" fmla="*/ 7588 h 10000"/>
                <a:gd name="connsiteX52" fmla="*/ 7455 w 9908"/>
                <a:gd name="connsiteY52" fmla="*/ 7588 h 10000"/>
                <a:gd name="connsiteX53" fmla="*/ 7693 w 9908"/>
                <a:gd name="connsiteY53" fmla="*/ 7460 h 10000"/>
                <a:gd name="connsiteX54" fmla="*/ 7743 w 9908"/>
                <a:gd name="connsiteY54" fmla="*/ 6527 h 10000"/>
                <a:gd name="connsiteX55" fmla="*/ 7789 w 9908"/>
                <a:gd name="connsiteY55" fmla="*/ 6559 h 10000"/>
                <a:gd name="connsiteX56" fmla="*/ 7618 w 9908"/>
                <a:gd name="connsiteY56" fmla="*/ 6618 h 10000"/>
                <a:gd name="connsiteX57" fmla="*/ 7551 w 9908"/>
                <a:gd name="connsiteY57" fmla="*/ 6745 h 10000"/>
                <a:gd name="connsiteX58" fmla="*/ 7121 w 9908"/>
                <a:gd name="connsiteY58" fmla="*/ 6497 h 10000"/>
                <a:gd name="connsiteX59" fmla="*/ 7044 w 9908"/>
                <a:gd name="connsiteY59" fmla="*/ 5828 h 10000"/>
                <a:gd name="connsiteX60" fmla="*/ 6584 w 9908"/>
                <a:gd name="connsiteY60" fmla="*/ 6118 h 10000"/>
                <a:gd name="connsiteX61" fmla="*/ 6591 w 9908"/>
                <a:gd name="connsiteY61" fmla="*/ 6462 h 10000"/>
                <a:gd name="connsiteX62" fmla="*/ 6221 w 9908"/>
                <a:gd name="connsiteY62" fmla="*/ 6670 h 10000"/>
                <a:gd name="connsiteX63" fmla="*/ 9908 w 9908"/>
                <a:gd name="connsiteY63" fmla="*/ 1736 h 10000"/>
                <a:gd name="connsiteX64" fmla="*/ 9908 w 9908"/>
                <a:gd name="connsiteY64" fmla="*/ 1061 h 10000"/>
                <a:gd name="connsiteX65" fmla="*/ 9664 w 9908"/>
                <a:gd name="connsiteY65" fmla="*/ 836 h 10000"/>
                <a:gd name="connsiteX66" fmla="*/ 9617 w 9908"/>
                <a:gd name="connsiteY66" fmla="*/ 611 h 10000"/>
                <a:gd name="connsiteX67" fmla="*/ 9232 w 9908"/>
                <a:gd name="connsiteY67" fmla="*/ 289 h 10000"/>
                <a:gd name="connsiteX68" fmla="*/ 8895 w 9908"/>
                <a:gd name="connsiteY68" fmla="*/ 161 h 10000"/>
                <a:gd name="connsiteX69" fmla="*/ 8704 w 9908"/>
                <a:gd name="connsiteY69" fmla="*/ 0 h 10000"/>
                <a:gd name="connsiteX70" fmla="*/ 8416 w 9908"/>
                <a:gd name="connsiteY70" fmla="*/ 161 h 10000"/>
                <a:gd name="connsiteX71" fmla="*/ 8222 w 9908"/>
                <a:gd name="connsiteY71" fmla="*/ 129 h 10000"/>
                <a:gd name="connsiteX72" fmla="*/ 8076 w 9908"/>
                <a:gd name="connsiteY72" fmla="*/ 418 h 10000"/>
                <a:gd name="connsiteX73" fmla="*/ 7693 w 9908"/>
                <a:gd name="connsiteY73" fmla="*/ 482 h 10000"/>
                <a:gd name="connsiteX74" fmla="*/ 7597 w 9908"/>
                <a:gd name="connsiteY74" fmla="*/ 707 h 10000"/>
                <a:gd name="connsiteX75" fmla="*/ 7260 w 9908"/>
                <a:gd name="connsiteY75" fmla="*/ 707 h 10000"/>
                <a:gd name="connsiteX76" fmla="*/ 6972 w 9908"/>
                <a:gd name="connsiteY76" fmla="*/ 611 h 10000"/>
                <a:gd name="connsiteX77" fmla="*/ 6347 w 9908"/>
                <a:gd name="connsiteY77" fmla="*/ 611 h 10000"/>
                <a:gd name="connsiteX78" fmla="*/ 5722 w 9908"/>
                <a:gd name="connsiteY78" fmla="*/ 611 h 10000"/>
                <a:gd name="connsiteX79" fmla="*/ 5771 w 9908"/>
                <a:gd name="connsiteY79" fmla="*/ 482 h 10000"/>
                <a:gd name="connsiteX80" fmla="*/ 5674 w 9908"/>
                <a:gd name="connsiteY80" fmla="*/ 482 h 10000"/>
                <a:gd name="connsiteX81" fmla="*/ 5626 w 9908"/>
                <a:gd name="connsiteY81" fmla="*/ 611 h 10000"/>
                <a:gd name="connsiteX82" fmla="*/ 5048 w 9908"/>
                <a:gd name="connsiteY82" fmla="*/ 611 h 10000"/>
                <a:gd name="connsiteX83" fmla="*/ 4473 w 9908"/>
                <a:gd name="connsiteY83" fmla="*/ 611 h 10000"/>
                <a:gd name="connsiteX84" fmla="*/ 3897 w 9908"/>
                <a:gd name="connsiteY84" fmla="*/ 611 h 10000"/>
                <a:gd name="connsiteX85" fmla="*/ 3318 w 9908"/>
                <a:gd name="connsiteY85" fmla="*/ 611 h 10000"/>
                <a:gd name="connsiteX86" fmla="*/ 2791 w 9908"/>
                <a:gd name="connsiteY86" fmla="*/ 611 h 10000"/>
                <a:gd name="connsiteX87" fmla="*/ 2214 w 9908"/>
                <a:gd name="connsiteY87" fmla="*/ 611 h 10000"/>
                <a:gd name="connsiteX88" fmla="*/ 1684 w 9908"/>
                <a:gd name="connsiteY88" fmla="*/ 611 h 10000"/>
                <a:gd name="connsiteX89" fmla="*/ 1107 w 9908"/>
                <a:gd name="connsiteY89" fmla="*/ 611 h 10000"/>
                <a:gd name="connsiteX90" fmla="*/ 1107 w 9908"/>
                <a:gd name="connsiteY90" fmla="*/ 1061 h 10000"/>
                <a:gd name="connsiteX91" fmla="*/ 1107 w 9908"/>
                <a:gd name="connsiteY91" fmla="*/ 1640 h 10000"/>
                <a:gd name="connsiteX92" fmla="*/ 387 w 9908"/>
                <a:gd name="connsiteY92" fmla="*/ 1640 h 10000"/>
                <a:gd name="connsiteX93" fmla="*/ 387 w 9908"/>
                <a:gd name="connsiteY93" fmla="*/ 1897 h 10000"/>
                <a:gd name="connsiteX0" fmla="*/ 391 w 10000"/>
                <a:gd name="connsiteY0" fmla="*/ 1897 h 10000"/>
                <a:gd name="connsiteX1" fmla="*/ 6026 w 10000"/>
                <a:gd name="connsiteY1" fmla="*/ 6915 h 10000"/>
                <a:gd name="connsiteX2" fmla="*/ 5628 w 10000"/>
                <a:gd name="connsiteY2" fmla="*/ 7114 h 10000"/>
                <a:gd name="connsiteX3" fmla="*/ 5294 w 10000"/>
                <a:gd name="connsiteY3" fmla="*/ 6907 h 10000"/>
                <a:gd name="connsiteX4" fmla="*/ 4808 w 10000"/>
                <a:gd name="connsiteY4" fmla="*/ 6781 h 10000"/>
                <a:gd name="connsiteX5" fmla="*/ 4567 w 10000"/>
                <a:gd name="connsiteY5" fmla="*/ 7064 h 10000"/>
                <a:gd name="connsiteX6" fmla="*/ 3969 w 10000"/>
                <a:gd name="connsiteY6" fmla="*/ 7281 h 10000"/>
                <a:gd name="connsiteX7" fmla="*/ 3586 w 10000"/>
                <a:gd name="connsiteY7" fmla="*/ 7279 h 10000"/>
                <a:gd name="connsiteX8" fmla="*/ 2748 w 10000"/>
                <a:gd name="connsiteY8" fmla="*/ 7095 h 10000"/>
                <a:gd name="connsiteX9" fmla="*/ 2524 w 10000"/>
                <a:gd name="connsiteY9" fmla="*/ 7195 h 10000"/>
                <a:gd name="connsiteX10" fmla="*/ 1965 w 10000"/>
                <a:gd name="connsiteY10" fmla="*/ 6973 h 10000"/>
                <a:gd name="connsiteX11" fmla="*/ 1718 w 10000"/>
                <a:gd name="connsiteY11" fmla="*/ 6638 h 10000"/>
                <a:gd name="connsiteX12" fmla="*/ 1308 w 10000"/>
                <a:gd name="connsiteY12" fmla="*/ 6729 h 10000"/>
                <a:gd name="connsiteX13" fmla="*/ 1196 w 10000"/>
                <a:gd name="connsiteY13" fmla="*/ 6927 h 10000"/>
                <a:gd name="connsiteX14" fmla="*/ 763 w 10000"/>
                <a:gd name="connsiteY14" fmla="*/ 7011 h 10000"/>
                <a:gd name="connsiteX15" fmla="*/ 476 w 10000"/>
                <a:gd name="connsiteY15" fmla="*/ 7004 h 10000"/>
                <a:gd name="connsiteX16" fmla="*/ 319 w 10000"/>
                <a:gd name="connsiteY16" fmla="*/ 7161 h 10000"/>
                <a:gd name="connsiteX17" fmla="*/ 51 w 10000"/>
                <a:gd name="connsiteY17" fmla="*/ 6913 h 10000"/>
                <a:gd name="connsiteX18" fmla="*/ 0 w 10000"/>
                <a:gd name="connsiteY18" fmla="*/ 7363 h 10000"/>
                <a:gd name="connsiteX19" fmla="*/ 97 w 10000"/>
                <a:gd name="connsiteY19" fmla="*/ 7428 h 10000"/>
                <a:gd name="connsiteX20" fmla="*/ 486 w 10000"/>
                <a:gd name="connsiteY20" fmla="*/ 7460 h 10000"/>
                <a:gd name="connsiteX21" fmla="*/ 537 w 10000"/>
                <a:gd name="connsiteY21" fmla="*/ 7588 h 10000"/>
                <a:gd name="connsiteX22" fmla="*/ 971 w 10000"/>
                <a:gd name="connsiteY22" fmla="*/ 7621 h 10000"/>
                <a:gd name="connsiteX23" fmla="*/ 1215 w 10000"/>
                <a:gd name="connsiteY23" fmla="*/ 7749 h 10000"/>
                <a:gd name="connsiteX24" fmla="*/ 1262 w 10000"/>
                <a:gd name="connsiteY24" fmla="*/ 7974 h 10000"/>
                <a:gd name="connsiteX25" fmla="*/ 2041 w 10000"/>
                <a:gd name="connsiteY25" fmla="*/ 8360 h 10000"/>
                <a:gd name="connsiteX26" fmla="*/ 2235 w 10000"/>
                <a:gd name="connsiteY26" fmla="*/ 8746 h 10000"/>
                <a:gd name="connsiteX27" fmla="*/ 2766 w 10000"/>
                <a:gd name="connsiteY27" fmla="*/ 8939 h 10000"/>
                <a:gd name="connsiteX28" fmla="*/ 2961 w 10000"/>
                <a:gd name="connsiteY28" fmla="*/ 9196 h 10000"/>
                <a:gd name="connsiteX29" fmla="*/ 3349 w 10000"/>
                <a:gd name="connsiteY29" fmla="*/ 9518 h 10000"/>
                <a:gd name="connsiteX30" fmla="*/ 3643 w 10000"/>
                <a:gd name="connsiteY30" fmla="*/ 9614 h 10000"/>
                <a:gd name="connsiteX31" fmla="*/ 3835 w 10000"/>
                <a:gd name="connsiteY31" fmla="*/ 9518 h 10000"/>
                <a:gd name="connsiteX32" fmla="*/ 4320 w 10000"/>
                <a:gd name="connsiteY32" fmla="*/ 9550 h 10000"/>
                <a:gd name="connsiteX33" fmla="*/ 4515 w 10000"/>
                <a:gd name="connsiteY33" fmla="*/ 9486 h 10000"/>
                <a:gd name="connsiteX34" fmla="*/ 5387 w 10000"/>
                <a:gd name="connsiteY34" fmla="*/ 9968 h 10000"/>
                <a:gd name="connsiteX35" fmla="*/ 5437 w 10000"/>
                <a:gd name="connsiteY35" fmla="*/ 9968 h 10000"/>
                <a:gd name="connsiteX36" fmla="*/ 5533 w 10000"/>
                <a:gd name="connsiteY36" fmla="*/ 9904 h 10000"/>
                <a:gd name="connsiteX37" fmla="*/ 6161 w 10000"/>
                <a:gd name="connsiteY37" fmla="*/ 9904 h 10000"/>
                <a:gd name="connsiteX38" fmla="*/ 6261 w 10000"/>
                <a:gd name="connsiteY38" fmla="*/ 10000 h 10000"/>
                <a:gd name="connsiteX39" fmla="*/ 6795 w 10000"/>
                <a:gd name="connsiteY39" fmla="*/ 9871 h 10000"/>
                <a:gd name="connsiteX40" fmla="*/ 7278 w 10000"/>
                <a:gd name="connsiteY40" fmla="*/ 9871 h 10000"/>
                <a:gd name="connsiteX41" fmla="*/ 7619 w 10000"/>
                <a:gd name="connsiteY41" fmla="*/ 9743 h 10000"/>
                <a:gd name="connsiteX42" fmla="*/ 8009 w 10000"/>
                <a:gd name="connsiteY42" fmla="*/ 9486 h 10000"/>
                <a:gd name="connsiteX43" fmla="*/ 9027 w 10000"/>
                <a:gd name="connsiteY43" fmla="*/ 9486 h 10000"/>
                <a:gd name="connsiteX44" fmla="*/ 9027 w 10000"/>
                <a:gd name="connsiteY44" fmla="*/ 9132 h 10000"/>
                <a:gd name="connsiteX45" fmla="*/ 8494 w 10000"/>
                <a:gd name="connsiteY45" fmla="*/ 8971 h 10000"/>
                <a:gd name="connsiteX46" fmla="*/ 8201 w 10000"/>
                <a:gd name="connsiteY46" fmla="*/ 8457 h 10000"/>
                <a:gd name="connsiteX47" fmla="*/ 7815 w 10000"/>
                <a:gd name="connsiteY47" fmla="*/ 8264 h 10000"/>
                <a:gd name="connsiteX48" fmla="*/ 7570 w 10000"/>
                <a:gd name="connsiteY48" fmla="*/ 8006 h 10000"/>
                <a:gd name="connsiteX49" fmla="*/ 6940 w 10000"/>
                <a:gd name="connsiteY49" fmla="*/ 7814 h 10000"/>
                <a:gd name="connsiteX50" fmla="*/ 7085 w 10000"/>
                <a:gd name="connsiteY50" fmla="*/ 7749 h 10000"/>
                <a:gd name="connsiteX51" fmla="*/ 7085 w 10000"/>
                <a:gd name="connsiteY51" fmla="*/ 7588 h 10000"/>
                <a:gd name="connsiteX52" fmla="*/ 7524 w 10000"/>
                <a:gd name="connsiteY52" fmla="*/ 7588 h 10000"/>
                <a:gd name="connsiteX53" fmla="*/ 7764 w 10000"/>
                <a:gd name="connsiteY53" fmla="*/ 7460 h 10000"/>
                <a:gd name="connsiteX54" fmla="*/ 7815 w 10000"/>
                <a:gd name="connsiteY54" fmla="*/ 6527 h 10000"/>
                <a:gd name="connsiteX55" fmla="*/ 7861 w 10000"/>
                <a:gd name="connsiteY55" fmla="*/ 6559 h 10000"/>
                <a:gd name="connsiteX56" fmla="*/ 7689 w 10000"/>
                <a:gd name="connsiteY56" fmla="*/ 6618 h 10000"/>
                <a:gd name="connsiteX57" fmla="*/ 7621 w 10000"/>
                <a:gd name="connsiteY57" fmla="*/ 6745 h 10000"/>
                <a:gd name="connsiteX58" fmla="*/ 7187 w 10000"/>
                <a:gd name="connsiteY58" fmla="*/ 6497 h 10000"/>
                <a:gd name="connsiteX59" fmla="*/ 7109 w 10000"/>
                <a:gd name="connsiteY59" fmla="*/ 5828 h 10000"/>
                <a:gd name="connsiteX60" fmla="*/ 6645 w 10000"/>
                <a:gd name="connsiteY60" fmla="*/ 6118 h 10000"/>
                <a:gd name="connsiteX61" fmla="*/ 6652 w 10000"/>
                <a:gd name="connsiteY61" fmla="*/ 6462 h 10000"/>
                <a:gd name="connsiteX62" fmla="*/ 6279 w 10000"/>
                <a:gd name="connsiteY62" fmla="*/ 6670 h 10000"/>
                <a:gd name="connsiteX63" fmla="*/ 10000 w 10000"/>
                <a:gd name="connsiteY63" fmla="*/ 1061 h 10000"/>
                <a:gd name="connsiteX64" fmla="*/ 9754 w 10000"/>
                <a:gd name="connsiteY64" fmla="*/ 836 h 10000"/>
                <a:gd name="connsiteX65" fmla="*/ 9706 w 10000"/>
                <a:gd name="connsiteY65" fmla="*/ 611 h 10000"/>
                <a:gd name="connsiteX66" fmla="*/ 9318 w 10000"/>
                <a:gd name="connsiteY66" fmla="*/ 289 h 10000"/>
                <a:gd name="connsiteX67" fmla="*/ 8978 w 10000"/>
                <a:gd name="connsiteY67" fmla="*/ 161 h 10000"/>
                <a:gd name="connsiteX68" fmla="*/ 8785 w 10000"/>
                <a:gd name="connsiteY68" fmla="*/ 0 h 10000"/>
                <a:gd name="connsiteX69" fmla="*/ 8494 w 10000"/>
                <a:gd name="connsiteY69" fmla="*/ 161 h 10000"/>
                <a:gd name="connsiteX70" fmla="*/ 8298 w 10000"/>
                <a:gd name="connsiteY70" fmla="*/ 129 h 10000"/>
                <a:gd name="connsiteX71" fmla="*/ 8151 w 10000"/>
                <a:gd name="connsiteY71" fmla="*/ 418 h 10000"/>
                <a:gd name="connsiteX72" fmla="*/ 7764 w 10000"/>
                <a:gd name="connsiteY72" fmla="*/ 482 h 10000"/>
                <a:gd name="connsiteX73" fmla="*/ 7668 w 10000"/>
                <a:gd name="connsiteY73" fmla="*/ 707 h 10000"/>
                <a:gd name="connsiteX74" fmla="*/ 7327 w 10000"/>
                <a:gd name="connsiteY74" fmla="*/ 707 h 10000"/>
                <a:gd name="connsiteX75" fmla="*/ 7037 w 10000"/>
                <a:gd name="connsiteY75" fmla="*/ 611 h 10000"/>
                <a:gd name="connsiteX76" fmla="*/ 6406 w 10000"/>
                <a:gd name="connsiteY76" fmla="*/ 611 h 10000"/>
                <a:gd name="connsiteX77" fmla="*/ 5775 w 10000"/>
                <a:gd name="connsiteY77" fmla="*/ 611 h 10000"/>
                <a:gd name="connsiteX78" fmla="*/ 5825 w 10000"/>
                <a:gd name="connsiteY78" fmla="*/ 482 h 10000"/>
                <a:gd name="connsiteX79" fmla="*/ 5727 w 10000"/>
                <a:gd name="connsiteY79" fmla="*/ 482 h 10000"/>
                <a:gd name="connsiteX80" fmla="*/ 5678 w 10000"/>
                <a:gd name="connsiteY80" fmla="*/ 611 h 10000"/>
                <a:gd name="connsiteX81" fmla="*/ 5095 w 10000"/>
                <a:gd name="connsiteY81" fmla="*/ 611 h 10000"/>
                <a:gd name="connsiteX82" fmla="*/ 4515 w 10000"/>
                <a:gd name="connsiteY82" fmla="*/ 611 h 10000"/>
                <a:gd name="connsiteX83" fmla="*/ 3933 w 10000"/>
                <a:gd name="connsiteY83" fmla="*/ 611 h 10000"/>
                <a:gd name="connsiteX84" fmla="*/ 3349 w 10000"/>
                <a:gd name="connsiteY84" fmla="*/ 611 h 10000"/>
                <a:gd name="connsiteX85" fmla="*/ 2817 w 10000"/>
                <a:gd name="connsiteY85" fmla="*/ 611 h 10000"/>
                <a:gd name="connsiteX86" fmla="*/ 2235 w 10000"/>
                <a:gd name="connsiteY86" fmla="*/ 611 h 10000"/>
                <a:gd name="connsiteX87" fmla="*/ 1700 w 10000"/>
                <a:gd name="connsiteY87" fmla="*/ 611 h 10000"/>
                <a:gd name="connsiteX88" fmla="*/ 1117 w 10000"/>
                <a:gd name="connsiteY88" fmla="*/ 611 h 10000"/>
                <a:gd name="connsiteX89" fmla="*/ 1117 w 10000"/>
                <a:gd name="connsiteY89" fmla="*/ 1061 h 10000"/>
                <a:gd name="connsiteX90" fmla="*/ 1117 w 10000"/>
                <a:gd name="connsiteY90" fmla="*/ 1640 h 10000"/>
                <a:gd name="connsiteX91" fmla="*/ 391 w 10000"/>
                <a:gd name="connsiteY91" fmla="*/ 1640 h 10000"/>
                <a:gd name="connsiteX92" fmla="*/ 391 w 10000"/>
                <a:gd name="connsiteY92" fmla="*/ 1897 h 10000"/>
                <a:gd name="connsiteX0" fmla="*/ 391 w 9754"/>
                <a:gd name="connsiteY0" fmla="*/ 1897 h 10000"/>
                <a:gd name="connsiteX1" fmla="*/ 6026 w 9754"/>
                <a:gd name="connsiteY1" fmla="*/ 6915 h 10000"/>
                <a:gd name="connsiteX2" fmla="*/ 5628 w 9754"/>
                <a:gd name="connsiteY2" fmla="*/ 7114 h 10000"/>
                <a:gd name="connsiteX3" fmla="*/ 5294 w 9754"/>
                <a:gd name="connsiteY3" fmla="*/ 6907 h 10000"/>
                <a:gd name="connsiteX4" fmla="*/ 4808 w 9754"/>
                <a:gd name="connsiteY4" fmla="*/ 6781 h 10000"/>
                <a:gd name="connsiteX5" fmla="*/ 4567 w 9754"/>
                <a:gd name="connsiteY5" fmla="*/ 7064 h 10000"/>
                <a:gd name="connsiteX6" fmla="*/ 3969 w 9754"/>
                <a:gd name="connsiteY6" fmla="*/ 7281 h 10000"/>
                <a:gd name="connsiteX7" fmla="*/ 3586 w 9754"/>
                <a:gd name="connsiteY7" fmla="*/ 7279 h 10000"/>
                <a:gd name="connsiteX8" fmla="*/ 2748 w 9754"/>
                <a:gd name="connsiteY8" fmla="*/ 7095 h 10000"/>
                <a:gd name="connsiteX9" fmla="*/ 2524 w 9754"/>
                <a:gd name="connsiteY9" fmla="*/ 7195 h 10000"/>
                <a:gd name="connsiteX10" fmla="*/ 1965 w 9754"/>
                <a:gd name="connsiteY10" fmla="*/ 6973 h 10000"/>
                <a:gd name="connsiteX11" fmla="*/ 1718 w 9754"/>
                <a:gd name="connsiteY11" fmla="*/ 6638 h 10000"/>
                <a:gd name="connsiteX12" fmla="*/ 1308 w 9754"/>
                <a:gd name="connsiteY12" fmla="*/ 6729 h 10000"/>
                <a:gd name="connsiteX13" fmla="*/ 1196 w 9754"/>
                <a:gd name="connsiteY13" fmla="*/ 6927 h 10000"/>
                <a:gd name="connsiteX14" fmla="*/ 763 w 9754"/>
                <a:gd name="connsiteY14" fmla="*/ 7011 h 10000"/>
                <a:gd name="connsiteX15" fmla="*/ 476 w 9754"/>
                <a:gd name="connsiteY15" fmla="*/ 7004 h 10000"/>
                <a:gd name="connsiteX16" fmla="*/ 319 w 9754"/>
                <a:gd name="connsiteY16" fmla="*/ 7161 h 10000"/>
                <a:gd name="connsiteX17" fmla="*/ 51 w 9754"/>
                <a:gd name="connsiteY17" fmla="*/ 6913 h 10000"/>
                <a:gd name="connsiteX18" fmla="*/ 0 w 9754"/>
                <a:gd name="connsiteY18" fmla="*/ 7363 h 10000"/>
                <a:gd name="connsiteX19" fmla="*/ 97 w 9754"/>
                <a:gd name="connsiteY19" fmla="*/ 7428 h 10000"/>
                <a:gd name="connsiteX20" fmla="*/ 486 w 9754"/>
                <a:gd name="connsiteY20" fmla="*/ 7460 h 10000"/>
                <a:gd name="connsiteX21" fmla="*/ 537 w 9754"/>
                <a:gd name="connsiteY21" fmla="*/ 7588 h 10000"/>
                <a:gd name="connsiteX22" fmla="*/ 971 w 9754"/>
                <a:gd name="connsiteY22" fmla="*/ 7621 h 10000"/>
                <a:gd name="connsiteX23" fmla="*/ 1215 w 9754"/>
                <a:gd name="connsiteY23" fmla="*/ 7749 h 10000"/>
                <a:gd name="connsiteX24" fmla="*/ 1262 w 9754"/>
                <a:gd name="connsiteY24" fmla="*/ 7974 h 10000"/>
                <a:gd name="connsiteX25" fmla="*/ 2041 w 9754"/>
                <a:gd name="connsiteY25" fmla="*/ 8360 h 10000"/>
                <a:gd name="connsiteX26" fmla="*/ 2235 w 9754"/>
                <a:gd name="connsiteY26" fmla="*/ 8746 h 10000"/>
                <a:gd name="connsiteX27" fmla="*/ 2766 w 9754"/>
                <a:gd name="connsiteY27" fmla="*/ 8939 h 10000"/>
                <a:gd name="connsiteX28" fmla="*/ 2961 w 9754"/>
                <a:gd name="connsiteY28" fmla="*/ 9196 h 10000"/>
                <a:gd name="connsiteX29" fmla="*/ 3349 w 9754"/>
                <a:gd name="connsiteY29" fmla="*/ 9518 h 10000"/>
                <a:gd name="connsiteX30" fmla="*/ 3643 w 9754"/>
                <a:gd name="connsiteY30" fmla="*/ 9614 h 10000"/>
                <a:gd name="connsiteX31" fmla="*/ 3835 w 9754"/>
                <a:gd name="connsiteY31" fmla="*/ 9518 h 10000"/>
                <a:gd name="connsiteX32" fmla="*/ 4320 w 9754"/>
                <a:gd name="connsiteY32" fmla="*/ 9550 h 10000"/>
                <a:gd name="connsiteX33" fmla="*/ 4515 w 9754"/>
                <a:gd name="connsiteY33" fmla="*/ 9486 h 10000"/>
                <a:gd name="connsiteX34" fmla="*/ 5387 w 9754"/>
                <a:gd name="connsiteY34" fmla="*/ 9968 h 10000"/>
                <a:gd name="connsiteX35" fmla="*/ 5437 w 9754"/>
                <a:gd name="connsiteY35" fmla="*/ 9968 h 10000"/>
                <a:gd name="connsiteX36" fmla="*/ 5533 w 9754"/>
                <a:gd name="connsiteY36" fmla="*/ 9904 h 10000"/>
                <a:gd name="connsiteX37" fmla="*/ 6161 w 9754"/>
                <a:gd name="connsiteY37" fmla="*/ 9904 h 10000"/>
                <a:gd name="connsiteX38" fmla="*/ 6261 w 9754"/>
                <a:gd name="connsiteY38" fmla="*/ 10000 h 10000"/>
                <a:gd name="connsiteX39" fmla="*/ 6795 w 9754"/>
                <a:gd name="connsiteY39" fmla="*/ 9871 h 10000"/>
                <a:gd name="connsiteX40" fmla="*/ 7278 w 9754"/>
                <a:gd name="connsiteY40" fmla="*/ 9871 h 10000"/>
                <a:gd name="connsiteX41" fmla="*/ 7619 w 9754"/>
                <a:gd name="connsiteY41" fmla="*/ 9743 h 10000"/>
                <a:gd name="connsiteX42" fmla="*/ 8009 w 9754"/>
                <a:gd name="connsiteY42" fmla="*/ 9486 h 10000"/>
                <a:gd name="connsiteX43" fmla="*/ 9027 w 9754"/>
                <a:gd name="connsiteY43" fmla="*/ 9486 h 10000"/>
                <a:gd name="connsiteX44" fmla="*/ 9027 w 9754"/>
                <a:gd name="connsiteY44" fmla="*/ 9132 h 10000"/>
                <a:gd name="connsiteX45" fmla="*/ 8494 w 9754"/>
                <a:gd name="connsiteY45" fmla="*/ 8971 h 10000"/>
                <a:gd name="connsiteX46" fmla="*/ 8201 w 9754"/>
                <a:gd name="connsiteY46" fmla="*/ 8457 h 10000"/>
                <a:gd name="connsiteX47" fmla="*/ 7815 w 9754"/>
                <a:gd name="connsiteY47" fmla="*/ 8264 h 10000"/>
                <a:gd name="connsiteX48" fmla="*/ 7570 w 9754"/>
                <a:gd name="connsiteY48" fmla="*/ 8006 h 10000"/>
                <a:gd name="connsiteX49" fmla="*/ 6940 w 9754"/>
                <a:gd name="connsiteY49" fmla="*/ 7814 h 10000"/>
                <a:gd name="connsiteX50" fmla="*/ 7085 w 9754"/>
                <a:gd name="connsiteY50" fmla="*/ 7749 h 10000"/>
                <a:gd name="connsiteX51" fmla="*/ 7085 w 9754"/>
                <a:gd name="connsiteY51" fmla="*/ 7588 h 10000"/>
                <a:gd name="connsiteX52" fmla="*/ 7524 w 9754"/>
                <a:gd name="connsiteY52" fmla="*/ 7588 h 10000"/>
                <a:gd name="connsiteX53" fmla="*/ 7764 w 9754"/>
                <a:gd name="connsiteY53" fmla="*/ 7460 h 10000"/>
                <a:gd name="connsiteX54" fmla="*/ 7815 w 9754"/>
                <a:gd name="connsiteY54" fmla="*/ 6527 h 10000"/>
                <a:gd name="connsiteX55" fmla="*/ 7861 w 9754"/>
                <a:gd name="connsiteY55" fmla="*/ 6559 h 10000"/>
                <a:gd name="connsiteX56" fmla="*/ 7689 w 9754"/>
                <a:gd name="connsiteY56" fmla="*/ 6618 h 10000"/>
                <a:gd name="connsiteX57" fmla="*/ 7621 w 9754"/>
                <a:gd name="connsiteY57" fmla="*/ 6745 h 10000"/>
                <a:gd name="connsiteX58" fmla="*/ 7187 w 9754"/>
                <a:gd name="connsiteY58" fmla="*/ 6497 h 10000"/>
                <a:gd name="connsiteX59" fmla="*/ 7109 w 9754"/>
                <a:gd name="connsiteY59" fmla="*/ 5828 h 10000"/>
                <a:gd name="connsiteX60" fmla="*/ 6645 w 9754"/>
                <a:gd name="connsiteY60" fmla="*/ 6118 h 10000"/>
                <a:gd name="connsiteX61" fmla="*/ 6652 w 9754"/>
                <a:gd name="connsiteY61" fmla="*/ 6462 h 10000"/>
                <a:gd name="connsiteX62" fmla="*/ 6279 w 9754"/>
                <a:gd name="connsiteY62" fmla="*/ 6670 h 10000"/>
                <a:gd name="connsiteX63" fmla="*/ 9754 w 9754"/>
                <a:gd name="connsiteY63" fmla="*/ 836 h 10000"/>
                <a:gd name="connsiteX64" fmla="*/ 9706 w 9754"/>
                <a:gd name="connsiteY64" fmla="*/ 611 h 10000"/>
                <a:gd name="connsiteX65" fmla="*/ 9318 w 9754"/>
                <a:gd name="connsiteY65" fmla="*/ 289 h 10000"/>
                <a:gd name="connsiteX66" fmla="*/ 8978 w 9754"/>
                <a:gd name="connsiteY66" fmla="*/ 161 h 10000"/>
                <a:gd name="connsiteX67" fmla="*/ 8785 w 9754"/>
                <a:gd name="connsiteY67" fmla="*/ 0 h 10000"/>
                <a:gd name="connsiteX68" fmla="*/ 8494 w 9754"/>
                <a:gd name="connsiteY68" fmla="*/ 161 h 10000"/>
                <a:gd name="connsiteX69" fmla="*/ 8298 w 9754"/>
                <a:gd name="connsiteY69" fmla="*/ 129 h 10000"/>
                <a:gd name="connsiteX70" fmla="*/ 8151 w 9754"/>
                <a:gd name="connsiteY70" fmla="*/ 418 h 10000"/>
                <a:gd name="connsiteX71" fmla="*/ 7764 w 9754"/>
                <a:gd name="connsiteY71" fmla="*/ 482 h 10000"/>
                <a:gd name="connsiteX72" fmla="*/ 7668 w 9754"/>
                <a:gd name="connsiteY72" fmla="*/ 707 h 10000"/>
                <a:gd name="connsiteX73" fmla="*/ 7327 w 9754"/>
                <a:gd name="connsiteY73" fmla="*/ 707 h 10000"/>
                <a:gd name="connsiteX74" fmla="*/ 7037 w 9754"/>
                <a:gd name="connsiteY74" fmla="*/ 611 h 10000"/>
                <a:gd name="connsiteX75" fmla="*/ 6406 w 9754"/>
                <a:gd name="connsiteY75" fmla="*/ 611 h 10000"/>
                <a:gd name="connsiteX76" fmla="*/ 5775 w 9754"/>
                <a:gd name="connsiteY76" fmla="*/ 611 h 10000"/>
                <a:gd name="connsiteX77" fmla="*/ 5825 w 9754"/>
                <a:gd name="connsiteY77" fmla="*/ 482 h 10000"/>
                <a:gd name="connsiteX78" fmla="*/ 5727 w 9754"/>
                <a:gd name="connsiteY78" fmla="*/ 482 h 10000"/>
                <a:gd name="connsiteX79" fmla="*/ 5678 w 9754"/>
                <a:gd name="connsiteY79" fmla="*/ 611 h 10000"/>
                <a:gd name="connsiteX80" fmla="*/ 5095 w 9754"/>
                <a:gd name="connsiteY80" fmla="*/ 611 h 10000"/>
                <a:gd name="connsiteX81" fmla="*/ 4515 w 9754"/>
                <a:gd name="connsiteY81" fmla="*/ 611 h 10000"/>
                <a:gd name="connsiteX82" fmla="*/ 3933 w 9754"/>
                <a:gd name="connsiteY82" fmla="*/ 611 h 10000"/>
                <a:gd name="connsiteX83" fmla="*/ 3349 w 9754"/>
                <a:gd name="connsiteY83" fmla="*/ 611 h 10000"/>
                <a:gd name="connsiteX84" fmla="*/ 2817 w 9754"/>
                <a:gd name="connsiteY84" fmla="*/ 611 h 10000"/>
                <a:gd name="connsiteX85" fmla="*/ 2235 w 9754"/>
                <a:gd name="connsiteY85" fmla="*/ 611 h 10000"/>
                <a:gd name="connsiteX86" fmla="*/ 1700 w 9754"/>
                <a:gd name="connsiteY86" fmla="*/ 611 h 10000"/>
                <a:gd name="connsiteX87" fmla="*/ 1117 w 9754"/>
                <a:gd name="connsiteY87" fmla="*/ 611 h 10000"/>
                <a:gd name="connsiteX88" fmla="*/ 1117 w 9754"/>
                <a:gd name="connsiteY88" fmla="*/ 1061 h 10000"/>
                <a:gd name="connsiteX89" fmla="*/ 1117 w 9754"/>
                <a:gd name="connsiteY89" fmla="*/ 1640 h 10000"/>
                <a:gd name="connsiteX90" fmla="*/ 391 w 9754"/>
                <a:gd name="connsiteY90" fmla="*/ 1640 h 10000"/>
                <a:gd name="connsiteX91" fmla="*/ 391 w 9754"/>
                <a:gd name="connsiteY91" fmla="*/ 1897 h 10000"/>
                <a:gd name="connsiteX0" fmla="*/ 401 w 9951"/>
                <a:gd name="connsiteY0" fmla="*/ 1897 h 10000"/>
                <a:gd name="connsiteX1" fmla="*/ 6178 w 9951"/>
                <a:gd name="connsiteY1" fmla="*/ 6915 h 10000"/>
                <a:gd name="connsiteX2" fmla="*/ 5770 w 9951"/>
                <a:gd name="connsiteY2" fmla="*/ 7114 h 10000"/>
                <a:gd name="connsiteX3" fmla="*/ 5428 w 9951"/>
                <a:gd name="connsiteY3" fmla="*/ 6907 h 10000"/>
                <a:gd name="connsiteX4" fmla="*/ 4929 w 9951"/>
                <a:gd name="connsiteY4" fmla="*/ 6781 h 10000"/>
                <a:gd name="connsiteX5" fmla="*/ 4682 w 9951"/>
                <a:gd name="connsiteY5" fmla="*/ 7064 h 10000"/>
                <a:gd name="connsiteX6" fmla="*/ 4069 w 9951"/>
                <a:gd name="connsiteY6" fmla="*/ 7281 h 10000"/>
                <a:gd name="connsiteX7" fmla="*/ 3676 w 9951"/>
                <a:gd name="connsiteY7" fmla="*/ 7279 h 10000"/>
                <a:gd name="connsiteX8" fmla="*/ 2817 w 9951"/>
                <a:gd name="connsiteY8" fmla="*/ 7095 h 10000"/>
                <a:gd name="connsiteX9" fmla="*/ 2588 w 9951"/>
                <a:gd name="connsiteY9" fmla="*/ 7195 h 10000"/>
                <a:gd name="connsiteX10" fmla="*/ 2015 w 9951"/>
                <a:gd name="connsiteY10" fmla="*/ 6973 h 10000"/>
                <a:gd name="connsiteX11" fmla="*/ 1761 w 9951"/>
                <a:gd name="connsiteY11" fmla="*/ 6638 h 10000"/>
                <a:gd name="connsiteX12" fmla="*/ 1341 w 9951"/>
                <a:gd name="connsiteY12" fmla="*/ 6729 h 10000"/>
                <a:gd name="connsiteX13" fmla="*/ 1226 w 9951"/>
                <a:gd name="connsiteY13" fmla="*/ 6927 h 10000"/>
                <a:gd name="connsiteX14" fmla="*/ 782 w 9951"/>
                <a:gd name="connsiteY14" fmla="*/ 7011 h 10000"/>
                <a:gd name="connsiteX15" fmla="*/ 488 w 9951"/>
                <a:gd name="connsiteY15" fmla="*/ 7004 h 10000"/>
                <a:gd name="connsiteX16" fmla="*/ 327 w 9951"/>
                <a:gd name="connsiteY16" fmla="*/ 7161 h 10000"/>
                <a:gd name="connsiteX17" fmla="*/ 52 w 9951"/>
                <a:gd name="connsiteY17" fmla="*/ 6913 h 10000"/>
                <a:gd name="connsiteX18" fmla="*/ 0 w 9951"/>
                <a:gd name="connsiteY18" fmla="*/ 7363 h 10000"/>
                <a:gd name="connsiteX19" fmla="*/ 99 w 9951"/>
                <a:gd name="connsiteY19" fmla="*/ 7428 h 10000"/>
                <a:gd name="connsiteX20" fmla="*/ 498 w 9951"/>
                <a:gd name="connsiteY20" fmla="*/ 7460 h 10000"/>
                <a:gd name="connsiteX21" fmla="*/ 551 w 9951"/>
                <a:gd name="connsiteY21" fmla="*/ 7588 h 10000"/>
                <a:gd name="connsiteX22" fmla="*/ 995 w 9951"/>
                <a:gd name="connsiteY22" fmla="*/ 7621 h 10000"/>
                <a:gd name="connsiteX23" fmla="*/ 1246 w 9951"/>
                <a:gd name="connsiteY23" fmla="*/ 7749 h 10000"/>
                <a:gd name="connsiteX24" fmla="*/ 1294 w 9951"/>
                <a:gd name="connsiteY24" fmla="*/ 7974 h 10000"/>
                <a:gd name="connsiteX25" fmla="*/ 2092 w 9951"/>
                <a:gd name="connsiteY25" fmla="*/ 8360 h 10000"/>
                <a:gd name="connsiteX26" fmla="*/ 2291 w 9951"/>
                <a:gd name="connsiteY26" fmla="*/ 8746 h 10000"/>
                <a:gd name="connsiteX27" fmla="*/ 2836 w 9951"/>
                <a:gd name="connsiteY27" fmla="*/ 8939 h 10000"/>
                <a:gd name="connsiteX28" fmla="*/ 3036 w 9951"/>
                <a:gd name="connsiteY28" fmla="*/ 9196 h 10000"/>
                <a:gd name="connsiteX29" fmla="*/ 3433 w 9951"/>
                <a:gd name="connsiteY29" fmla="*/ 9518 h 10000"/>
                <a:gd name="connsiteX30" fmla="*/ 3735 w 9951"/>
                <a:gd name="connsiteY30" fmla="*/ 9614 h 10000"/>
                <a:gd name="connsiteX31" fmla="*/ 3932 w 9951"/>
                <a:gd name="connsiteY31" fmla="*/ 9518 h 10000"/>
                <a:gd name="connsiteX32" fmla="*/ 4429 w 9951"/>
                <a:gd name="connsiteY32" fmla="*/ 9550 h 10000"/>
                <a:gd name="connsiteX33" fmla="*/ 4629 w 9951"/>
                <a:gd name="connsiteY33" fmla="*/ 9486 h 10000"/>
                <a:gd name="connsiteX34" fmla="*/ 5523 w 9951"/>
                <a:gd name="connsiteY34" fmla="*/ 9968 h 10000"/>
                <a:gd name="connsiteX35" fmla="*/ 5574 w 9951"/>
                <a:gd name="connsiteY35" fmla="*/ 9968 h 10000"/>
                <a:gd name="connsiteX36" fmla="*/ 5673 w 9951"/>
                <a:gd name="connsiteY36" fmla="*/ 9904 h 10000"/>
                <a:gd name="connsiteX37" fmla="*/ 6316 w 9951"/>
                <a:gd name="connsiteY37" fmla="*/ 9904 h 10000"/>
                <a:gd name="connsiteX38" fmla="*/ 6419 w 9951"/>
                <a:gd name="connsiteY38" fmla="*/ 10000 h 10000"/>
                <a:gd name="connsiteX39" fmla="*/ 6966 w 9951"/>
                <a:gd name="connsiteY39" fmla="*/ 9871 h 10000"/>
                <a:gd name="connsiteX40" fmla="*/ 7462 w 9951"/>
                <a:gd name="connsiteY40" fmla="*/ 9871 h 10000"/>
                <a:gd name="connsiteX41" fmla="*/ 7811 w 9951"/>
                <a:gd name="connsiteY41" fmla="*/ 9743 h 10000"/>
                <a:gd name="connsiteX42" fmla="*/ 8211 w 9951"/>
                <a:gd name="connsiteY42" fmla="*/ 9486 h 10000"/>
                <a:gd name="connsiteX43" fmla="*/ 9255 w 9951"/>
                <a:gd name="connsiteY43" fmla="*/ 9486 h 10000"/>
                <a:gd name="connsiteX44" fmla="*/ 9255 w 9951"/>
                <a:gd name="connsiteY44" fmla="*/ 9132 h 10000"/>
                <a:gd name="connsiteX45" fmla="*/ 8708 w 9951"/>
                <a:gd name="connsiteY45" fmla="*/ 8971 h 10000"/>
                <a:gd name="connsiteX46" fmla="*/ 8408 w 9951"/>
                <a:gd name="connsiteY46" fmla="*/ 8457 h 10000"/>
                <a:gd name="connsiteX47" fmla="*/ 8012 w 9951"/>
                <a:gd name="connsiteY47" fmla="*/ 8264 h 10000"/>
                <a:gd name="connsiteX48" fmla="*/ 7761 w 9951"/>
                <a:gd name="connsiteY48" fmla="*/ 8006 h 10000"/>
                <a:gd name="connsiteX49" fmla="*/ 7115 w 9951"/>
                <a:gd name="connsiteY49" fmla="*/ 7814 h 10000"/>
                <a:gd name="connsiteX50" fmla="*/ 7264 w 9951"/>
                <a:gd name="connsiteY50" fmla="*/ 7749 h 10000"/>
                <a:gd name="connsiteX51" fmla="*/ 7264 w 9951"/>
                <a:gd name="connsiteY51" fmla="*/ 7588 h 10000"/>
                <a:gd name="connsiteX52" fmla="*/ 7714 w 9951"/>
                <a:gd name="connsiteY52" fmla="*/ 7588 h 10000"/>
                <a:gd name="connsiteX53" fmla="*/ 7960 w 9951"/>
                <a:gd name="connsiteY53" fmla="*/ 7460 h 10000"/>
                <a:gd name="connsiteX54" fmla="*/ 8012 w 9951"/>
                <a:gd name="connsiteY54" fmla="*/ 6527 h 10000"/>
                <a:gd name="connsiteX55" fmla="*/ 8059 w 9951"/>
                <a:gd name="connsiteY55" fmla="*/ 6559 h 10000"/>
                <a:gd name="connsiteX56" fmla="*/ 7883 w 9951"/>
                <a:gd name="connsiteY56" fmla="*/ 6618 h 10000"/>
                <a:gd name="connsiteX57" fmla="*/ 7813 w 9951"/>
                <a:gd name="connsiteY57" fmla="*/ 6745 h 10000"/>
                <a:gd name="connsiteX58" fmla="*/ 7368 w 9951"/>
                <a:gd name="connsiteY58" fmla="*/ 6497 h 10000"/>
                <a:gd name="connsiteX59" fmla="*/ 7288 w 9951"/>
                <a:gd name="connsiteY59" fmla="*/ 5828 h 10000"/>
                <a:gd name="connsiteX60" fmla="*/ 6813 w 9951"/>
                <a:gd name="connsiteY60" fmla="*/ 6118 h 10000"/>
                <a:gd name="connsiteX61" fmla="*/ 6820 w 9951"/>
                <a:gd name="connsiteY61" fmla="*/ 6462 h 10000"/>
                <a:gd name="connsiteX62" fmla="*/ 6437 w 9951"/>
                <a:gd name="connsiteY62" fmla="*/ 6670 h 10000"/>
                <a:gd name="connsiteX63" fmla="*/ 9951 w 9951"/>
                <a:gd name="connsiteY63" fmla="*/ 611 h 10000"/>
                <a:gd name="connsiteX64" fmla="*/ 9553 w 9951"/>
                <a:gd name="connsiteY64" fmla="*/ 289 h 10000"/>
                <a:gd name="connsiteX65" fmla="*/ 9204 w 9951"/>
                <a:gd name="connsiteY65" fmla="*/ 161 h 10000"/>
                <a:gd name="connsiteX66" fmla="*/ 9007 w 9951"/>
                <a:gd name="connsiteY66" fmla="*/ 0 h 10000"/>
                <a:gd name="connsiteX67" fmla="*/ 8708 w 9951"/>
                <a:gd name="connsiteY67" fmla="*/ 161 h 10000"/>
                <a:gd name="connsiteX68" fmla="*/ 8507 w 9951"/>
                <a:gd name="connsiteY68" fmla="*/ 129 h 10000"/>
                <a:gd name="connsiteX69" fmla="*/ 8357 w 9951"/>
                <a:gd name="connsiteY69" fmla="*/ 418 h 10000"/>
                <a:gd name="connsiteX70" fmla="*/ 7960 w 9951"/>
                <a:gd name="connsiteY70" fmla="*/ 482 h 10000"/>
                <a:gd name="connsiteX71" fmla="*/ 7861 w 9951"/>
                <a:gd name="connsiteY71" fmla="*/ 707 h 10000"/>
                <a:gd name="connsiteX72" fmla="*/ 7512 w 9951"/>
                <a:gd name="connsiteY72" fmla="*/ 707 h 10000"/>
                <a:gd name="connsiteX73" fmla="*/ 7214 w 9951"/>
                <a:gd name="connsiteY73" fmla="*/ 611 h 10000"/>
                <a:gd name="connsiteX74" fmla="*/ 6568 w 9951"/>
                <a:gd name="connsiteY74" fmla="*/ 611 h 10000"/>
                <a:gd name="connsiteX75" fmla="*/ 5921 w 9951"/>
                <a:gd name="connsiteY75" fmla="*/ 611 h 10000"/>
                <a:gd name="connsiteX76" fmla="*/ 5972 w 9951"/>
                <a:gd name="connsiteY76" fmla="*/ 482 h 10000"/>
                <a:gd name="connsiteX77" fmla="*/ 5871 w 9951"/>
                <a:gd name="connsiteY77" fmla="*/ 482 h 10000"/>
                <a:gd name="connsiteX78" fmla="*/ 5821 w 9951"/>
                <a:gd name="connsiteY78" fmla="*/ 611 h 10000"/>
                <a:gd name="connsiteX79" fmla="*/ 5223 w 9951"/>
                <a:gd name="connsiteY79" fmla="*/ 611 h 10000"/>
                <a:gd name="connsiteX80" fmla="*/ 4629 w 9951"/>
                <a:gd name="connsiteY80" fmla="*/ 611 h 10000"/>
                <a:gd name="connsiteX81" fmla="*/ 4032 w 9951"/>
                <a:gd name="connsiteY81" fmla="*/ 611 h 10000"/>
                <a:gd name="connsiteX82" fmla="*/ 3433 w 9951"/>
                <a:gd name="connsiteY82" fmla="*/ 611 h 10000"/>
                <a:gd name="connsiteX83" fmla="*/ 2888 w 9951"/>
                <a:gd name="connsiteY83" fmla="*/ 611 h 10000"/>
                <a:gd name="connsiteX84" fmla="*/ 2291 w 9951"/>
                <a:gd name="connsiteY84" fmla="*/ 611 h 10000"/>
                <a:gd name="connsiteX85" fmla="*/ 1743 w 9951"/>
                <a:gd name="connsiteY85" fmla="*/ 611 h 10000"/>
                <a:gd name="connsiteX86" fmla="*/ 1145 w 9951"/>
                <a:gd name="connsiteY86" fmla="*/ 611 h 10000"/>
                <a:gd name="connsiteX87" fmla="*/ 1145 w 9951"/>
                <a:gd name="connsiteY87" fmla="*/ 1061 h 10000"/>
                <a:gd name="connsiteX88" fmla="*/ 1145 w 9951"/>
                <a:gd name="connsiteY88" fmla="*/ 1640 h 10000"/>
                <a:gd name="connsiteX89" fmla="*/ 401 w 9951"/>
                <a:gd name="connsiteY89" fmla="*/ 1640 h 10000"/>
                <a:gd name="connsiteX90" fmla="*/ 401 w 9951"/>
                <a:gd name="connsiteY90" fmla="*/ 1897 h 10000"/>
                <a:gd name="connsiteX0" fmla="*/ 403 w 9600"/>
                <a:gd name="connsiteY0" fmla="*/ 1897 h 10000"/>
                <a:gd name="connsiteX1" fmla="*/ 6208 w 9600"/>
                <a:gd name="connsiteY1" fmla="*/ 6915 h 10000"/>
                <a:gd name="connsiteX2" fmla="*/ 5798 w 9600"/>
                <a:gd name="connsiteY2" fmla="*/ 7114 h 10000"/>
                <a:gd name="connsiteX3" fmla="*/ 5455 w 9600"/>
                <a:gd name="connsiteY3" fmla="*/ 6907 h 10000"/>
                <a:gd name="connsiteX4" fmla="*/ 4953 w 9600"/>
                <a:gd name="connsiteY4" fmla="*/ 6781 h 10000"/>
                <a:gd name="connsiteX5" fmla="*/ 4705 w 9600"/>
                <a:gd name="connsiteY5" fmla="*/ 7064 h 10000"/>
                <a:gd name="connsiteX6" fmla="*/ 4089 w 9600"/>
                <a:gd name="connsiteY6" fmla="*/ 7281 h 10000"/>
                <a:gd name="connsiteX7" fmla="*/ 3694 w 9600"/>
                <a:gd name="connsiteY7" fmla="*/ 7279 h 10000"/>
                <a:gd name="connsiteX8" fmla="*/ 2831 w 9600"/>
                <a:gd name="connsiteY8" fmla="*/ 7095 h 10000"/>
                <a:gd name="connsiteX9" fmla="*/ 2601 w 9600"/>
                <a:gd name="connsiteY9" fmla="*/ 7195 h 10000"/>
                <a:gd name="connsiteX10" fmla="*/ 2025 w 9600"/>
                <a:gd name="connsiteY10" fmla="*/ 6973 h 10000"/>
                <a:gd name="connsiteX11" fmla="*/ 1770 w 9600"/>
                <a:gd name="connsiteY11" fmla="*/ 6638 h 10000"/>
                <a:gd name="connsiteX12" fmla="*/ 1348 w 9600"/>
                <a:gd name="connsiteY12" fmla="*/ 6729 h 10000"/>
                <a:gd name="connsiteX13" fmla="*/ 1232 w 9600"/>
                <a:gd name="connsiteY13" fmla="*/ 6927 h 10000"/>
                <a:gd name="connsiteX14" fmla="*/ 786 w 9600"/>
                <a:gd name="connsiteY14" fmla="*/ 7011 h 10000"/>
                <a:gd name="connsiteX15" fmla="*/ 490 w 9600"/>
                <a:gd name="connsiteY15" fmla="*/ 7004 h 10000"/>
                <a:gd name="connsiteX16" fmla="*/ 329 w 9600"/>
                <a:gd name="connsiteY16" fmla="*/ 7161 h 10000"/>
                <a:gd name="connsiteX17" fmla="*/ 52 w 9600"/>
                <a:gd name="connsiteY17" fmla="*/ 6913 h 10000"/>
                <a:gd name="connsiteX18" fmla="*/ 0 w 9600"/>
                <a:gd name="connsiteY18" fmla="*/ 7363 h 10000"/>
                <a:gd name="connsiteX19" fmla="*/ 99 w 9600"/>
                <a:gd name="connsiteY19" fmla="*/ 7428 h 10000"/>
                <a:gd name="connsiteX20" fmla="*/ 500 w 9600"/>
                <a:gd name="connsiteY20" fmla="*/ 7460 h 10000"/>
                <a:gd name="connsiteX21" fmla="*/ 554 w 9600"/>
                <a:gd name="connsiteY21" fmla="*/ 7588 h 10000"/>
                <a:gd name="connsiteX22" fmla="*/ 1000 w 9600"/>
                <a:gd name="connsiteY22" fmla="*/ 7621 h 10000"/>
                <a:gd name="connsiteX23" fmla="*/ 1252 w 9600"/>
                <a:gd name="connsiteY23" fmla="*/ 7749 h 10000"/>
                <a:gd name="connsiteX24" fmla="*/ 1300 w 9600"/>
                <a:gd name="connsiteY24" fmla="*/ 7974 h 10000"/>
                <a:gd name="connsiteX25" fmla="*/ 2102 w 9600"/>
                <a:gd name="connsiteY25" fmla="*/ 8360 h 10000"/>
                <a:gd name="connsiteX26" fmla="*/ 2302 w 9600"/>
                <a:gd name="connsiteY26" fmla="*/ 8746 h 10000"/>
                <a:gd name="connsiteX27" fmla="*/ 2850 w 9600"/>
                <a:gd name="connsiteY27" fmla="*/ 8939 h 10000"/>
                <a:gd name="connsiteX28" fmla="*/ 3051 w 9600"/>
                <a:gd name="connsiteY28" fmla="*/ 9196 h 10000"/>
                <a:gd name="connsiteX29" fmla="*/ 3450 w 9600"/>
                <a:gd name="connsiteY29" fmla="*/ 9518 h 10000"/>
                <a:gd name="connsiteX30" fmla="*/ 3753 w 9600"/>
                <a:gd name="connsiteY30" fmla="*/ 9614 h 10000"/>
                <a:gd name="connsiteX31" fmla="*/ 3951 w 9600"/>
                <a:gd name="connsiteY31" fmla="*/ 9518 h 10000"/>
                <a:gd name="connsiteX32" fmla="*/ 4451 w 9600"/>
                <a:gd name="connsiteY32" fmla="*/ 9550 h 10000"/>
                <a:gd name="connsiteX33" fmla="*/ 4652 w 9600"/>
                <a:gd name="connsiteY33" fmla="*/ 9486 h 10000"/>
                <a:gd name="connsiteX34" fmla="*/ 5550 w 9600"/>
                <a:gd name="connsiteY34" fmla="*/ 9968 h 10000"/>
                <a:gd name="connsiteX35" fmla="*/ 5601 w 9600"/>
                <a:gd name="connsiteY35" fmla="*/ 9968 h 10000"/>
                <a:gd name="connsiteX36" fmla="*/ 5701 w 9600"/>
                <a:gd name="connsiteY36" fmla="*/ 9904 h 10000"/>
                <a:gd name="connsiteX37" fmla="*/ 6347 w 9600"/>
                <a:gd name="connsiteY37" fmla="*/ 9904 h 10000"/>
                <a:gd name="connsiteX38" fmla="*/ 6451 w 9600"/>
                <a:gd name="connsiteY38" fmla="*/ 10000 h 10000"/>
                <a:gd name="connsiteX39" fmla="*/ 7000 w 9600"/>
                <a:gd name="connsiteY39" fmla="*/ 9871 h 10000"/>
                <a:gd name="connsiteX40" fmla="*/ 7499 w 9600"/>
                <a:gd name="connsiteY40" fmla="*/ 9871 h 10000"/>
                <a:gd name="connsiteX41" fmla="*/ 7849 w 9600"/>
                <a:gd name="connsiteY41" fmla="*/ 9743 h 10000"/>
                <a:gd name="connsiteX42" fmla="*/ 8251 w 9600"/>
                <a:gd name="connsiteY42" fmla="*/ 9486 h 10000"/>
                <a:gd name="connsiteX43" fmla="*/ 9301 w 9600"/>
                <a:gd name="connsiteY43" fmla="*/ 9486 h 10000"/>
                <a:gd name="connsiteX44" fmla="*/ 9301 w 9600"/>
                <a:gd name="connsiteY44" fmla="*/ 9132 h 10000"/>
                <a:gd name="connsiteX45" fmla="*/ 8751 w 9600"/>
                <a:gd name="connsiteY45" fmla="*/ 8971 h 10000"/>
                <a:gd name="connsiteX46" fmla="*/ 8449 w 9600"/>
                <a:gd name="connsiteY46" fmla="*/ 8457 h 10000"/>
                <a:gd name="connsiteX47" fmla="*/ 8051 w 9600"/>
                <a:gd name="connsiteY47" fmla="*/ 8264 h 10000"/>
                <a:gd name="connsiteX48" fmla="*/ 7799 w 9600"/>
                <a:gd name="connsiteY48" fmla="*/ 8006 h 10000"/>
                <a:gd name="connsiteX49" fmla="*/ 7150 w 9600"/>
                <a:gd name="connsiteY49" fmla="*/ 7814 h 10000"/>
                <a:gd name="connsiteX50" fmla="*/ 7300 w 9600"/>
                <a:gd name="connsiteY50" fmla="*/ 7749 h 10000"/>
                <a:gd name="connsiteX51" fmla="*/ 7300 w 9600"/>
                <a:gd name="connsiteY51" fmla="*/ 7588 h 10000"/>
                <a:gd name="connsiteX52" fmla="*/ 7752 w 9600"/>
                <a:gd name="connsiteY52" fmla="*/ 7588 h 10000"/>
                <a:gd name="connsiteX53" fmla="*/ 7999 w 9600"/>
                <a:gd name="connsiteY53" fmla="*/ 7460 h 10000"/>
                <a:gd name="connsiteX54" fmla="*/ 8051 w 9600"/>
                <a:gd name="connsiteY54" fmla="*/ 6527 h 10000"/>
                <a:gd name="connsiteX55" fmla="*/ 8099 w 9600"/>
                <a:gd name="connsiteY55" fmla="*/ 6559 h 10000"/>
                <a:gd name="connsiteX56" fmla="*/ 7922 w 9600"/>
                <a:gd name="connsiteY56" fmla="*/ 6618 h 10000"/>
                <a:gd name="connsiteX57" fmla="*/ 7851 w 9600"/>
                <a:gd name="connsiteY57" fmla="*/ 6745 h 10000"/>
                <a:gd name="connsiteX58" fmla="*/ 7404 w 9600"/>
                <a:gd name="connsiteY58" fmla="*/ 6497 h 10000"/>
                <a:gd name="connsiteX59" fmla="*/ 7324 w 9600"/>
                <a:gd name="connsiteY59" fmla="*/ 5828 h 10000"/>
                <a:gd name="connsiteX60" fmla="*/ 6847 w 9600"/>
                <a:gd name="connsiteY60" fmla="*/ 6118 h 10000"/>
                <a:gd name="connsiteX61" fmla="*/ 6854 w 9600"/>
                <a:gd name="connsiteY61" fmla="*/ 6462 h 10000"/>
                <a:gd name="connsiteX62" fmla="*/ 6469 w 9600"/>
                <a:gd name="connsiteY62" fmla="*/ 6670 h 10000"/>
                <a:gd name="connsiteX63" fmla="*/ 9600 w 9600"/>
                <a:gd name="connsiteY63" fmla="*/ 289 h 10000"/>
                <a:gd name="connsiteX64" fmla="*/ 9249 w 9600"/>
                <a:gd name="connsiteY64" fmla="*/ 161 h 10000"/>
                <a:gd name="connsiteX65" fmla="*/ 9051 w 9600"/>
                <a:gd name="connsiteY65" fmla="*/ 0 h 10000"/>
                <a:gd name="connsiteX66" fmla="*/ 8751 w 9600"/>
                <a:gd name="connsiteY66" fmla="*/ 161 h 10000"/>
                <a:gd name="connsiteX67" fmla="*/ 8549 w 9600"/>
                <a:gd name="connsiteY67" fmla="*/ 129 h 10000"/>
                <a:gd name="connsiteX68" fmla="*/ 8398 w 9600"/>
                <a:gd name="connsiteY68" fmla="*/ 418 h 10000"/>
                <a:gd name="connsiteX69" fmla="*/ 7999 w 9600"/>
                <a:gd name="connsiteY69" fmla="*/ 482 h 10000"/>
                <a:gd name="connsiteX70" fmla="*/ 7900 w 9600"/>
                <a:gd name="connsiteY70" fmla="*/ 707 h 10000"/>
                <a:gd name="connsiteX71" fmla="*/ 7549 w 9600"/>
                <a:gd name="connsiteY71" fmla="*/ 707 h 10000"/>
                <a:gd name="connsiteX72" fmla="*/ 7250 w 9600"/>
                <a:gd name="connsiteY72" fmla="*/ 611 h 10000"/>
                <a:gd name="connsiteX73" fmla="*/ 6600 w 9600"/>
                <a:gd name="connsiteY73" fmla="*/ 611 h 10000"/>
                <a:gd name="connsiteX74" fmla="*/ 5950 w 9600"/>
                <a:gd name="connsiteY74" fmla="*/ 611 h 10000"/>
                <a:gd name="connsiteX75" fmla="*/ 6001 w 9600"/>
                <a:gd name="connsiteY75" fmla="*/ 482 h 10000"/>
                <a:gd name="connsiteX76" fmla="*/ 5900 w 9600"/>
                <a:gd name="connsiteY76" fmla="*/ 482 h 10000"/>
                <a:gd name="connsiteX77" fmla="*/ 5850 w 9600"/>
                <a:gd name="connsiteY77" fmla="*/ 611 h 10000"/>
                <a:gd name="connsiteX78" fmla="*/ 5249 w 9600"/>
                <a:gd name="connsiteY78" fmla="*/ 611 h 10000"/>
                <a:gd name="connsiteX79" fmla="*/ 4652 w 9600"/>
                <a:gd name="connsiteY79" fmla="*/ 611 h 10000"/>
                <a:gd name="connsiteX80" fmla="*/ 4052 w 9600"/>
                <a:gd name="connsiteY80" fmla="*/ 611 h 10000"/>
                <a:gd name="connsiteX81" fmla="*/ 3450 w 9600"/>
                <a:gd name="connsiteY81" fmla="*/ 611 h 10000"/>
                <a:gd name="connsiteX82" fmla="*/ 2902 w 9600"/>
                <a:gd name="connsiteY82" fmla="*/ 611 h 10000"/>
                <a:gd name="connsiteX83" fmla="*/ 2302 w 9600"/>
                <a:gd name="connsiteY83" fmla="*/ 611 h 10000"/>
                <a:gd name="connsiteX84" fmla="*/ 1752 w 9600"/>
                <a:gd name="connsiteY84" fmla="*/ 611 h 10000"/>
                <a:gd name="connsiteX85" fmla="*/ 1151 w 9600"/>
                <a:gd name="connsiteY85" fmla="*/ 611 h 10000"/>
                <a:gd name="connsiteX86" fmla="*/ 1151 w 9600"/>
                <a:gd name="connsiteY86" fmla="*/ 1061 h 10000"/>
                <a:gd name="connsiteX87" fmla="*/ 1151 w 9600"/>
                <a:gd name="connsiteY87" fmla="*/ 1640 h 10000"/>
                <a:gd name="connsiteX88" fmla="*/ 403 w 9600"/>
                <a:gd name="connsiteY88" fmla="*/ 1640 h 10000"/>
                <a:gd name="connsiteX89" fmla="*/ 403 w 9600"/>
                <a:gd name="connsiteY89" fmla="*/ 1897 h 10000"/>
                <a:gd name="connsiteX0" fmla="*/ 420 w 9689"/>
                <a:gd name="connsiteY0" fmla="*/ 1897 h 10000"/>
                <a:gd name="connsiteX1" fmla="*/ 6467 w 9689"/>
                <a:gd name="connsiteY1" fmla="*/ 6915 h 10000"/>
                <a:gd name="connsiteX2" fmla="*/ 6040 w 9689"/>
                <a:gd name="connsiteY2" fmla="*/ 7114 h 10000"/>
                <a:gd name="connsiteX3" fmla="*/ 5682 w 9689"/>
                <a:gd name="connsiteY3" fmla="*/ 6907 h 10000"/>
                <a:gd name="connsiteX4" fmla="*/ 5159 w 9689"/>
                <a:gd name="connsiteY4" fmla="*/ 6781 h 10000"/>
                <a:gd name="connsiteX5" fmla="*/ 4901 w 9689"/>
                <a:gd name="connsiteY5" fmla="*/ 7064 h 10000"/>
                <a:gd name="connsiteX6" fmla="*/ 4259 w 9689"/>
                <a:gd name="connsiteY6" fmla="*/ 7281 h 10000"/>
                <a:gd name="connsiteX7" fmla="*/ 3848 w 9689"/>
                <a:gd name="connsiteY7" fmla="*/ 7279 h 10000"/>
                <a:gd name="connsiteX8" fmla="*/ 2949 w 9689"/>
                <a:gd name="connsiteY8" fmla="*/ 7095 h 10000"/>
                <a:gd name="connsiteX9" fmla="*/ 2709 w 9689"/>
                <a:gd name="connsiteY9" fmla="*/ 7195 h 10000"/>
                <a:gd name="connsiteX10" fmla="*/ 2109 w 9689"/>
                <a:gd name="connsiteY10" fmla="*/ 6973 h 10000"/>
                <a:gd name="connsiteX11" fmla="*/ 1844 w 9689"/>
                <a:gd name="connsiteY11" fmla="*/ 6638 h 10000"/>
                <a:gd name="connsiteX12" fmla="*/ 1404 w 9689"/>
                <a:gd name="connsiteY12" fmla="*/ 6729 h 10000"/>
                <a:gd name="connsiteX13" fmla="*/ 1283 w 9689"/>
                <a:gd name="connsiteY13" fmla="*/ 6927 h 10000"/>
                <a:gd name="connsiteX14" fmla="*/ 819 w 9689"/>
                <a:gd name="connsiteY14" fmla="*/ 7011 h 10000"/>
                <a:gd name="connsiteX15" fmla="*/ 510 w 9689"/>
                <a:gd name="connsiteY15" fmla="*/ 7004 h 10000"/>
                <a:gd name="connsiteX16" fmla="*/ 343 w 9689"/>
                <a:gd name="connsiteY16" fmla="*/ 7161 h 10000"/>
                <a:gd name="connsiteX17" fmla="*/ 54 w 9689"/>
                <a:gd name="connsiteY17" fmla="*/ 6913 h 10000"/>
                <a:gd name="connsiteX18" fmla="*/ 0 w 9689"/>
                <a:gd name="connsiteY18" fmla="*/ 7363 h 10000"/>
                <a:gd name="connsiteX19" fmla="*/ 103 w 9689"/>
                <a:gd name="connsiteY19" fmla="*/ 7428 h 10000"/>
                <a:gd name="connsiteX20" fmla="*/ 521 w 9689"/>
                <a:gd name="connsiteY20" fmla="*/ 7460 h 10000"/>
                <a:gd name="connsiteX21" fmla="*/ 577 w 9689"/>
                <a:gd name="connsiteY21" fmla="*/ 7588 h 10000"/>
                <a:gd name="connsiteX22" fmla="*/ 1042 w 9689"/>
                <a:gd name="connsiteY22" fmla="*/ 7621 h 10000"/>
                <a:gd name="connsiteX23" fmla="*/ 1304 w 9689"/>
                <a:gd name="connsiteY23" fmla="*/ 7749 h 10000"/>
                <a:gd name="connsiteX24" fmla="*/ 1354 w 9689"/>
                <a:gd name="connsiteY24" fmla="*/ 7974 h 10000"/>
                <a:gd name="connsiteX25" fmla="*/ 2190 w 9689"/>
                <a:gd name="connsiteY25" fmla="*/ 8360 h 10000"/>
                <a:gd name="connsiteX26" fmla="*/ 2398 w 9689"/>
                <a:gd name="connsiteY26" fmla="*/ 8746 h 10000"/>
                <a:gd name="connsiteX27" fmla="*/ 2969 w 9689"/>
                <a:gd name="connsiteY27" fmla="*/ 8939 h 10000"/>
                <a:gd name="connsiteX28" fmla="*/ 3178 w 9689"/>
                <a:gd name="connsiteY28" fmla="*/ 9196 h 10000"/>
                <a:gd name="connsiteX29" fmla="*/ 3594 w 9689"/>
                <a:gd name="connsiteY29" fmla="*/ 9518 h 10000"/>
                <a:gd name="connsiteX30" fmla="*/ 3909 w 9689"/>
                <a:gd name="connsiteY30" fmla="*/ 9614 h 10000"/>
                <a:gd name="connsiteX31" fmla="*/ 4116 w 9689"/>
                <a:gd name="connsiteY31" fmla="*/ 9518 h 10000"/>
                <a:gd name="connsiteX32" fmla="*/ 4636 w 9689"/>
                <a:gd name="connsiteY32" fmla="*/ 9550 h 10000"/>
                <a:gd name="connsiteX33" fmla="*/ 4846 w 9689"/>
                <a:gd name="connsiteY33" fmla="*/ 9486 h 10000"/>
                <a:gd name="connsiteX34" fmla="*/ 5781 w 9689"/>
                <a:gd name="connsiteY34" fmla="*/ 9968 h 10000"/>
                <a:gd name="connsiteX35" fmla="*/ 5834 w 9689"/>
                <a:gd name="connsiteY35" fmla="*/ 9968 h 10000"/>
                <a:gd name="connsiteX36" fmla="*/ 5939 w 9689"/>
                <a:gd name="connsiteY36" fmla="*/ 9904 h 10000"/>
                <a:gd name="connsiteX37" fmla="*/ 6611 w 9689"/>
                <a:gd name="connsiteY37" fmla="*/ 9904 h 10000"/>
                <a:gd name="connsiteX38" fmla="*/ 6720 w 9689"/>
                <a:gd name="connsiteY38" fmla="*/ 10000 h 10000"/>
                <a:gd name="connsiteX39" fmla="*/ 7292 w 9689"/>
                <a:gd name="connsiteY39" fmla="*/ 9871 h 10000"/>
                <a:gd name="connsiteX40" fmla="*/ 7811 w 9689"/>
                <a:gd name="connsiteY40" fmla="*/ 9871 h 10000"/>
                <a:gd name="connsiteX41" fmla="*/ 8176 w 9689"/>
                <a:gd name="connsiteY41" fmla="*/ 9743 h 10000"/>
                <a:gd name="connsiteX42" fmla="*/ 8595 w 9689"/>
                <a:gd name="connsiteY42" fmla="*/ 9486 h 10000"/>
                <a:gd name="connsiteX43" fmla="*/ 9689 w 9689"/>
                <a:gd name="connsiteY43" fmla="*/ 9486 h 10000"/>
                <a:gd name="connsiteX44" fmla="*/ 9689 w 9689"/>
                <a:gd name="connsiteY44" fmla="*/ 9132 h 10000"/>
                <a:gd name="connsiteX45" fmla="*/ 9116 w 9689"/>
                <a:gd name="connsiteY45" fmla="*/ 8971 h 10000"/>
                <a:gd name="connsiteX46" fmla="*/ 8801 w 9689"/>
                <a:gd name="connsiteY46" fmla="*/ 8457 h 10000"/>
                <a:gd name="connsiteX47" fmla="*/ 8386 w 9689"/>
                <a:gd name="connsiteY47" fmla="*/ 8264 h 10000"/>
                <a:gd name="connsiteX48" fmla="*/ 8124 w 9689"/>
                <a:gd name="connsiteY48" fmla="*/ 8006 h 10000"/>
                <a:gd name="connsiteX49" fmla="*/ 7448 w 9689"/>
                <a:gd name="connsiteY49" fmla="*/ 7814 h 10000"/>
                <a:gd name="connsiteX50" fmla="*/ 7604 w 9689"/>
                <a:gd name="connsiteY50" fmla="*/ 7749 h 10000"/>
                <a:gd name="connsiteX51" fmla="*/ 7604 w 9689"/>
                <a:gd name="connsiteY51" fmla="*/ 7588 h 10000"/>
                <a:gd name="connsiteX52" fmla="*/ 8075 w 9689"/>
                <a:gd name="connsiteY52" fmla="*/ 7588 h 10000"/>
                <a:gd name="connsiteX53" fmla="*/ 8332 w 9689"/>
                <a:gd name="connsiteY53" fmla="*/ 7460 h 10000"/>
                <a:gd name="connsiteX54" fmla="*/ 8386 w 9689"/>
                <a:gd name="connsiteY54" fmla="*/ 6527 h 10000"/>
                <a:gd name="connsiteX55" fmla="*/ 8436 w 9689"/>
                <a:gd name="connsiteY55" fmla="*/ 6559 h 10000"/>
                <a:gd name="connsiteX56" fmla="*/ 8252 w 9689"/>
                <a:gd name="connsiteY56" fmla="*/ 6618 h 10000"/>
                <a:gd name="connsiteX57" fmla="*/ 8178 w 9689"/>
                <a:gd name="connsiteY57" fmla="*/ 6745 h 10000"/>
                <a:gd name="connsiteX58" fmla="*/ 7713 w 9689"/>
                <a:gd name="connsiteY58" fmla="*/ 6497 h 10000"/>
                <a:gd name="connsiteX59" fmla="*/ 7629 w 9689"/>
                <a:gd name="connsiteY59" fmla="*/ 5828 h 10000"/>
                <a:gd name="connsiteX60" fmla="*/ 7132 w 9689"/>
                <a:gd name="connsiteY60" fmla="*/ 6118 h 10000"/>
                <a:gd name="connsiteX61" fmla="*/ 7140 w 9689"/>
                <a:gd name="connsiteY61" fmla="*/ 6462 h 10000"/>
                <a:gd name="connsiteX62" fmla="*/ 6739 w 9689"/>
                <a:gd name="connsiteY62" fmla="*/ 6670 h 10000"/>
                <a:gd name="connsiteX63" fmla="*/ 9634 w 9689"/>
                <a:gd name="connsiteY63" fmla="*/ 161 h 10000"/>
                <a:gd name="connsiteX64" fmla="*/ 9428 w 9689"/>
                <a:gd name="connsiteY64" fmla="*/ 0 h 10000"/>
                <a:gd name="connsiteX65" fmla="*/ 9116 w 9689"/>
                <a:gd name="connsiteY65" fmla="*/ 161 h 10000"/>
                <a:gd name="connsiteX66" fmla="*/ 8905 w 9689"/>
                <a:gd name="connsiteY66" fmla="*/ 129 h 10000"/>
                <a:gd name="connsiteX67" fmla="*/ 8748 w 9689"/>
                <a:gd name="connsiteY67" fmla="*/ 418 h 10000"/>
                <a:gd name="connsiteX68" fmla="*/ 8332 w 9689"/>
                <a:gd name="connsiteY68" fmla="*/ 482 h 10000"/>
                <a:gd name="connsiteX69" fmla="*/ 8229 w 9689"/>
                <a:gd name="connsiteY69" fmla="*/ 707 h 10000"/>
                <a:gd name="connsiteX70" fmla="*/ 7864 w 9689"/>
                <a:gd name="connsiteY70" fmla="*/ 707 h 10000"/>
                <a:gd name="connsiteX71" fmla="*/ 7552 w 9689"/>
                <a:gd name="connsiteY71" fmla="*/ 611 h 10000"/>
                <a:gd name="connsiteX72" fmla="*/ 6875 w 9689"/>
                <a:gd name="connsiteY72" fmla="*/ 611 h 10000"/>
                <a:gd name="connsiteX73" fmla="*/ 6198 w 9689"/>
                <a:gd name="connsiteY73" fmla="*/ 611 h 10000"/>
                <a:gd name="connsiteX74" fmla="*/ 6251 w 9689"/>
                <a:gd name="connsiteY74" fmla="*/ 482 h 10000"/>
                <a:gd name="connsiteX75" fmla="*/ 6146 w 9689"/>
                <a:gd name="connsiteY75" fmla="*/ 482 h 10000"/>
                <a:gd name="connsiteX76" fmla="*/ 6094 w 9689"/>
                <a:gd name="connsiteY76" fmla="*/ 611 h 10000"/>
                <a:gd name="connsiteX77" fmla="*/ 5468 w 9689"/>
                <a:gd name="connsiteY77" fmla="*/ 611 h 10000"/>
                <a:gd name="connsiteX78" fmla="*/ 4846 w 9689"/>
                <a:gd name="connsiteY78" fmla="*/ 611 h 10000"/>
                <a:gd name="connsiteX79" fmla="*/ 4221 w 9689"/>
                <a:gd name="connsiteY79" fmla="*/ 611 h 10000"/>
                <a:gd name="connsiteX80" fmla="*/ 3594 w 9689"/>
                <a:gd name="connsiteY80" fmla="*/ 611 h 10000"/>
                <a:gd name="connsiteX81" fmla="*/ 3023 w 9689"/>
                <a:gd name="connsiteY81" fmla="*/ 611 h 10000"/>
                <a:gd name="connsiteX82" fmla="*/ 2398 w 9689"/>
                <a:gd name="connsiteY82" fmla="*/ 611 h 10000"/>
                <a:gd name="connsiteX83" fmla="*/ 1825 w 9689"/>
                <a:gd name="connsiteY83" fmla="*/ 611 h 10000"/>
                <a:gd name="connsiteX84" fmla="*/ 1199 w 9689"/>
                <a:gd name="connsiteY84" fmla="*/ 611 h 10000"/>
                <a:gd name="connsiteX85" fmla="*/ 1199 w 9689"/>
                <a:gd name="connsiteY85" fmla="*/ 1061 h 10000"/>
                <a:gd name="connsiteX86" fmla="*/ 1199 w 9689"/>
                <a:gd name="connsiteY86" fmla="*/ 1640 h 10000"/>
                <a:gd name="connsiteX87" fmla="*/ 420 w 9689"/>
                <a:gd name="connsiteY87" fmla="*/ 1640 h 10000"/>
                <a:gd name="connsiteX88" fmla="*/ 420 w 9689"/>
                <a:gd name="connsiteY88" fmla="*/ 1897 h 10000"/>
                <a:gd name="connsiteX0" fmla="*/ 433 w 10000"/>
                <a:gd name="connsiteY0" fmla="*/ 1897 h 10000"/>
                <a:gd name="connsiteX1" fmla="*/ 6675 w 10000"/>
                <a:gd name="connsiteY1" fmla="*/ 6915 h 10000"/>
                <a:gd name="connsiteX2" fmla="*/ 6234 w 10000"/>
                <a:gd name="connsiteY2" fmla="*/ 7114 h 10000"/>
                <a:gd name="connsiteX3" fmla="*/ 5864 w 10000"/>
                <a:gd name="connsiteY3" fmla="*/ 6907 h 10000"/>
                <a:gd name="connsiteX4" fmla="*/ 5325 w 10000"/>
                <a:gd name="connsiteY4" fmla="*/ 6781 h 10000"/>
                <a:gd name="connsiteX5" fmla="*/ 5058 w 10000"/>
                <a:gd name="connsiteY5" fmla="*/ 7064 h 10000"/>
                <a:gd name="connsiteX6" fmla="*/ 4396 w 10000"/>
                <a:gd name="connsiteY6" fmla="*/ 7281 h 10000"/>
                <a:gd name="connsiteX7" fmla="*/ 3972 w 10000"/>
                <a:gd name="connsiteY7" fmla="*/ 7279 h 10000"/>
                <a:gd name="connsiteX8" fmla="*/ 3044 w 10000"/>
                <a:gd name="connsiteY8" fmla="*/ 7095 h 10000"/>
                <a:gd name="connsiteX9" fmla="*/ 2796 w 10000"/>
                <a:gd name="connsiteY9" fmla="*/ 7195 h 10000"/>
                <a:gd name="connsiteX10" fmla="*/ 2177 w 10000"/>
                <a:gd name="connsiteY10" fmla="*/ 6973 h 10000"/>
                <a:gd name="connsiteX11" fmla="*/ 1903 w 10000"/>
                <a:gd name="connsiteY11" fmla="*/ 6638 h 10000"/>
                <a:gd name="connsiteX12" fmla="*/ 1449 w 10000"/>
                <a:gd name="connsiteY12" fmla="*/ 6729 h 10000"/>
                <a:gd name="connsiteX13" fmla="*/ 1324 w 10000"/>
                <a:gd name="connsiteY13" fmla="*/ 6927 h 10000"/>
                <a:gd name="connsiteX14" fmla="*/ 845 w 10000"/>
                <a:gd name="connsiteY14" fmla="*/ 7011 h 10000"/>
                <a:gd name="connsiteX15" fmla="*/ 526 w 10000"/>
                <a:gd name="connsiteY15" fmla="*/ 7004 h 10000"/>
                <a:gd name="connsiteX16" fmla="*/ 354 w 10000"/>
                <a:gd name="connsiteY16" fmla="*/ 7161 h 10000"/>
                <a:gd name="connsiteX17" fmla="*/ 56 w 10000"/>
                <a:gd name="connsiteY17" fmla="*/ 6913 h 10000"/>
                <a:gd name="connsiteX18" fmla="*/ 0 w 10000"/>
                <a:gd name="connsiteY18" fmla="*/ 7363 h 10000"/>
                <a:gd name="connsiteX19" fmla="*/ 106 w 10000"/>
                <a:gd name="connsiteY19" fmla="*/ 7428 h 10000"/>
                <a:gd name="connsiteX20" fmla="*/ 538 w 10000"/>
                <a:gd name="connsiteY20" fmla="*/ 7460 h 10000"/>
                <a:gd name="connsiteX21" fmla="*/ 596 w 10000"/>
                <a:gd name="connsiteY21" fmla="*/ 7588 h 10000"/>
                <a:gd name="connsiteX22" fmla="*/ 1075 w 10000"/>
                <a:gd name="connsiteY22" fmla="*/ 7621 h 10000"/>
                <a:gd name="connsiteX23" fmla="*/ 1346 w 10000"/>
                <a:gd name="connsiteY23" fmla="*/ 7749 h 10000"/>
                <a:gd name="connsiteX24" fmla="*/ 1397 w 10000"/>
                <a:gd name="connsiteY24" fmla="*/ 7974 h 10000"/>
                <a:gd name="connsiteX25" fmla="*/ 2260 w 10000"/>
                <a:gd name="connsiteY25" fmla="*/ 8360 h 10000"/>
                <a:gd name="connsiteX26" fmla="*/ 2475 w 10000"/>
                <a:gd name="connsiteY26" fmla="*/ 8746 h 10000"/>
                <a:gd name="connsiteX27" fmla="*/ 3064 w 10000"/>
                <a:gd name="connsiteY27" fmla="*/ 8939 h 10000"/>
                <a:gd name="connsiteX28" fmla="*/ 3280 w 10000"/>
                <a:gd name="connsiteY28" fmla="*/ 9196 h 10000"/>
                <a:gd name="connsiteX29" fmla="*/ 3709 w 10000"/>
                <a:gd name="connsiteY29" fmla="*/ 9518 h 10000"/>
                <a:gd name="connsiteX30" fmla="*/ 4034 w 10000"/>
                <a:gd name="connsiteY30" fmla="*/ 9614 h 10000"/>
                <a:gd name="connsiteX31" fmla="*/ 4248 w 10000"/>
                <a:gd name="connsiteY31" fmla="*/ 9518 h 10000"/>
                <a:gd name="connsiteX32" fmla="*/ 4785 w 10000"/>
                <a:gd name="connsiteY32" fmla="*/ 9550 h 10000"/>
                <a:gd name="connsiteX33" fmla="*/ 5002 w 10000"/>
                <a:gd name="connsiteY33" fmla="*/ 9486 h 10000"/>
                <a:gd name="connsiteX34" fmla="*/ 5967 w 10000"/>
                <a:gd name="connsiteY34" fmla="*/ 9968 h 10000"/>
                <a:gd name="connsiteX35" fmla="*/ 6021 w 10000"/>
                <a:gd name="connsiteY35" fmla="*/ 9968 h 10000"/>
                <a:gd name="connsiteX36" fmla="*/ 6130 w 10000"/>
                <a:gd name="connsiteY36" fmla="*/ 9904 h 10000"/>
                <a:gd name="connsiteX37" fmla="*/ 6823 w 10000"/>
                <a:gd name="connsiteY37" fmla="*/ 9904 h 10000"/>
                <a:gd name="connsiteX38" fmla="*/ 6936 w 10000"/>
                <a:gd name="connsiteY38" fmla="*/ 10000 h 10000"/>
                <a:gd name="connsiteX39" fmla="*/ 7526 w 10000"/>
                <a:gd name="connsiteY39" fmla="*/ 9871 h 10000"/>
                <a:gd name="connsiteX40" fmla="*/ 8062 w 10000"/>
                <a:gd name="connsiteY40" fmla="*/ 9871 h 10000"/>
                <a:gd name="connsiteX41" fmla="*/ 8438 w 10000"/>
                <a:gd name="connsiteY41" fmla="*/ 9743 h 10000"/>
                <a:gd name="connsiteX42" fmla="*/ 8871 w 10000"/>
                <a:gd name="connsiteY42" fmla="*/ 9486 h 10000"/>
                <a:gd name="connsiteX43" fmla="*/ 10000 w 10000"/>
                <a:gd name="connsiteY43" fmla="*/ 9486 h 10000"/>
                <a:gd name="connsiteX44" fmla="*/ 10000 w 10000"/>
                <a:gd name="connsiteY44" fmla="*/ 9132 h 10000"/>
                <a:gd name="connsiteX45" fmla="*/ 9409 w 10000"/>
                <a:gd name="connsiteY45" fmla="*/ 8971 h 10000"/>
                <a:gd name="connsiteX46" fmla="*/ 9083 w 10000"/>
                <a:gd name="connsiteY46" fmla="*/ 8457 h 10000"/>
                <a:gd name="connsiteX47" fmla="*/ 8655 w 10000"/>
                <a:gd name="connsiteY47" fmla="*/ 8264 h 10000"/>
                <a:gd name="connsiteX48" fmla="*/ 8385 w 10000"/>
                <a:gd name="connsiteY48" fmla="*/ 8006 h 10000"/>
                <a:gd name="connsiteX49" fmla="*/ 7687 w 10000"/>
                <a:gd name="connsiteY49" fmla="*/ 7814 h 10000"/>
                <a:gd name="connsiteX50" fmla="*/ 7848 w 10000"/>
                <a:gd name="connsiteY50" fmla="*/ 7749 h 10000"/>
                <a:gd name="connsiteX51" fmla="*/ 7848 w 10000"/>
                <a:gd name="connsiteY51" fmla="*/ 7588 h 10000"/>
                <a:gd name="connsiteX52" fmla="*/ 8334 w 10000"/>
                <a:gd name="connsiteY52" fmla="*/ 7588 h 10000"/>
                <a:gd name="connsiteX53" fmla="*/ 8599 w 10000"/>
                <a:gd name="connsiteY53" fmla="*/ 7460 h 10000"/>
                <a:gd name="connsiteX54" fmla="*/ 8655 w 10000"/>
                <a:gd name="connsiteY54" fmla="*/ 6527 h 10000"/>
                <a:gd name="connsiteX55" fmla="*/ 8707 w 10000"/>
                <a:gd name="connsiteY55" fmla="*/ 6559 h 10000"/>
                <a:gd name="connsiteX56" fmla="*/ 8517 w 10000"/>
                <a:gd name="connsiteY56" fmla="*/ 6618 h 10000"/>
                <a:gd name="connsiteX57" fmla="*/ 8440 w 10000"/>
                <a:gd name="connsiteY57" fmla="*/ 6745 h 10000"/>
                <a:gd name="connsiteX58" fmla="*/ 7961 w 10000"/>
                <a:gd name="connsiteY58" fmla="*/ 6497 h 10000"/>
                <a:gd name="connsiteX59" fmla="*/ 7874 w 10000"/>
                <a:gd name="connsiteY59" fmla="*/ 5828 h 10000"/>
                <a:gd name="connsiteX60" fmla="*/ 7361 w 10000"/>
                <a:gd name="connsiteY60" fmla="*/ 6118 h 10000"/>
                <a:gd name="connsiteX61" fmla="*/ 7369 w 10000"/>
                <a:gd name="connsiteY61" fmla="*/ 6462 h 10000"/>
                <a:gd name="connsiteX62" fmla="*/ 6955 w 10000"/>
                <a:gd name="connsiteY62" fmla="*/ 6670 h 10000"/>
                <a:gd name="connsiteX63" fmla="*/ 9731 w 10000"/>
                <a:gd name="connsiteY63" fmla="*/ 0 h 10000"/>
                <a:gd name="connsiteX64" fmla="*/ 9409 w 10000"/>
                <a:gd name="connsiteY64" fmla="*/ 161 h 10000"/>
                <a:gd name="connsiteX65" fmla="*/ 9191 w 10000"/>
                <a:gd name="connsiteY65" fmla="*/ 129 h 10000"/>
                <a:gd name="connsiteX66" fmla="*/ 9029 w 10000"/>
                <a:gd name="connsiteY66" fmla="*/ 418 h 10000"/>
                <a:gd name="connsiteX67" fmla="*/ 8599 w 10000"/>
                <a:gd name="connsiteY67" fmla="*/ 482 h 10000"/>
                <a:gd name="connsiteX68" fmla="*/ 8493 w 10000"/>
                <a:gd name="connsiteY68" fmla="*/ 707 h 10000"/>
                <a:gd name="connsiteX69" fmla="*/ 8116 w 10000"/>
                <a:gd name="connsiteY69" fmla="*/ 707 h 10000"/>
                <a:gd name="connsiteX70" fmla="*/ 7794 w 10000"/>
                <a:gd name="connsiteY70" fmla="*/ 611 h 10000"/>
                <a:gd name="connsiteX71" fmla="*/ 7096 w 10000"/>
                <a:gd name="connsiteY71" fmla="*/ 611 h 10000"/>
                <a:gd name="connsiteX72" fmla="*/ 6397 w 10000"/>
                <a:gd name="connsiteY72" fmla="*/ 611 h 10000"/>
                <a:gd name="connsiteX73" fmla="*/ 6452 w 10000"/>
                <a:gd name="connsiteY73" fmla="*/ 482 h 10000"/>
                <a:gd name="connsiteX74" fmla="*/ 6343 w 10000"/>
                <a:gd name="connsiteY74" fmla="*/ 482 h 10000"/>
                <a:gd name="connsiteX75" fmla="*/ 6290 w 10000"/>
                <a:gd name="connsiteY75" fmla="*/ 611 h 10000"/>
                <a:gd name="connsiteX76" fmla="*/ 5644 w 10000"/>
                <a:gd name="connsiteY76" fmla="*/ 611 h 10000"/>
                <a:gd name="connsiteX77" fmla="*/ 5002 w 10000"/>
                <a:gd name="connsiteY77" fmla="*/ 611 h 10000"/>
                <a:gd name="connsiteX78" fmla="*/ 4356 w 10000"/>
                <a:gd name="connsiteY78" fmla="*/ 611 h 10000"/>
                <a:gd name="connsiteX79" fmla="*/ 3709 w 10000"/>
                <a:gd name="connsiteY79" fmla="*/ 611 h 10000"/>
                <a:gd name="connsiteX80" fmla="*/ 3120 w 10000"/>
                <a:gd name="connsiteY80" fmla="*/ 611 h 10000"/>
                <a:gd name="connsiteX81" fmla="*/ 2475 w 10000"/>
                <a:gd name="connsiteY81" fmla="*/ 611 h 10000"/>
                <a:gd name="connsiteX82" fmla="*/ 1884 w 10000"/>
                <a:gd name="connsiteY82" fmla="*/ 611 h 10000"/>
                <a:gd name="connsiteX83" fmla="*/ 1237 w 10000"/>
                <a:gd name="connsiteY83" fmla="*/ 611 h 10000"/>
                <a:gd name="connsiteX84" fmla="*/ 1237 w 10000"/>
                <a:gd name="connsiteY84" fmla="*/ 1061 h 10000"/>
                <a:gd name="connsiteX85" fmla="*/ 1237 w 10000"/>
                <a:gd name="connsiteY85" fmla="*/ 1640 h 10000"/>
                <a:gd name="connsiteX86" fmla="*/ 433 w 10000"/>
                <a:gd name="connsiteY86" fmla="*/ 1640 h 10000"/>
                <a:gd name="connsiteX87" fmla="*/ 433 w 10000"/>
                <a:gd name="connsiteY87" fmla="*/ 1897 h 10000"/>
                <a:gd name="connsiteX0" fmla="*/ 433 w 10000"/>
                <a:gd name="connsiteY0" fmla="*/ 1768 h 9871"/>
                <a:gd name="connsiteX1" fmla="*/ 6675 w 10000"/>
                <a:gd name="connsiteY1" fmla="*/ 6786 h 9871"/>
                <a:gd name="connsiteX2" fmla="*/ 6234 w 10000"/>
                <a:gd name="connsiteY2" fmla="*/ 6985 h 9871"/>
                <a:gd name="connsiteX3" fmla="*/ 5864 w 10000"/>
                <a:gd name="connsiteY3" fmla="*/ 6778 h 9871"/>
                <a:gd name="connsiteX4" fmla="*/ 5325 w 10000"/>
                <a:gd name="connsiteY4" fmla="*/ 6652 h 9871"/>
                <a:gd name="connsiteX5" fmla="*/ 5058 w 10000"/>
                <a:gd name="connsiteY5" fmla="*/ 6935 h 9871"/>
                <a:gd name="connsiteX6" fmla="*/ 4396 w 10000"/>
                <a:gd name="connsiteY6" fmla="*/ 7152 h 9871"/>
                <a:gd name="connsiteX7" fmla="*/ 3972 w 10000"/>
                <a:gd name="connsiteY7" fmla="*/ 7150 h 9871"/>
                <a:gd name="connsiteX8" fmla="*/ 3044 w 10000"/>
                <a:gd name="connsiteY8" fmla="*/ 6966 h 9871"/>
                <a:gd name="connsiteX9" fmla="*/ 2796 w 10000"/>
                <a:gd name="connsiteY9" fmla="*/ 7066 h 9871"/>
                <a:gd name="connsiteX10" fmla="*/ 2177 w 10000"/>
                <a:gd name="connsiteY10" fmla="*/ 6844 h 9871"/>
                <a:gd name="connsiteX11" fmla="*/ 1903 w 10000"/>
                <a:gd name="connsiteY11" fmla="*/ 6509 h 9871"/>
                <a:gd name="connsiteX12" fmla="*/ 1449 w 10000"/>
                <a:gd name="connsiteY12" fmla="*/ 6600 h 9871"/>
                <a:gd name="connsiteX13" fmla="*/ 1324 w 10000"/>
                <a:gd name="connsiteY13" fmla="*/ 6798 h 9871"/>
                <a:gd name="connsiteX14" fmla="*/ 845 w 10000"/>
                <a:gd name="connsiteY14" fmla="*/ 6882 h 9871"/>
                <a:gd name="connsiteX15" fmla="*/ 526 w 10000"/>
                <a:gd name="connsiteY15" fmla="*/ 6875 h 9871"/>
                <a:gd name="connsiteX16" fmla="*/ 354 w 10000"/>
                <a:gd name="connsiteY16" fmla="*/ 7032 h 9871"/>
                <a:gd name="connsiteX17" fmla="*/ 56 w 10000"/>
                <a:gd name="connsiteY17" fmla="*/ 6784 h 9871"/>
                <a:gd name="connsiteX18" fmla="*/ 0 w 10000"/>
                <a:gd name="connsiteY18" fmla="*/ 7234 h 9871"/>
                <a:gd name="connsiteX19" fmla="*/ 106 w 10000"/>
                <a:gd name="connsiteY19" fmla="*/ 7299 h 9871"/>
                <a:gd name="connsiteX20" fmla="*/ 538 w 10000"/>
                <a:gd name="connsiteY20" fmla="*/ 7331 h 9871"/>
                <a:gd name="connsiteX21" fmla="*/ 596 w 10000"/>
                <a:gd name="connsiteY21" fmla="*/ 7459 h 9871"/>
                <a:gd name="connsiteX22" fmla="*/ 1075 w 10000"/>
                <a:gd name="connsiteY22" fmla="*/ 7492 h 9871"/>
                <a:gd name="connsiteX23" fmla="*/ 1346 w 10000"/>
                <a:gd name="connsiteY23" fmla="*/ 7620 h 9871"/>
                <a:gd name="connsiteX24" fmla="*/ 1397 w 10000"/>
                <a:gd name="connsiteY24" fmla="*/ 7845 h 9871"/>
                <a:gd name="connsiteX25" fmla="*/ 2260 w 10000"/>
                <a:gd name="connsiteY25" fmla="*/ 8231 h 9871"/>
                <a:gd name="connsiteX26" fmla="*/ 2475 w 10000"/>
                <a:gd name="connsiteY26" fmla="*/ 8617 h 9871"/>
                <a:gd name="connsiteX27" fmla="*/ 3064 w 10000"/>
                <a:gd name="connsiteY27" fmla="*/ 8810 h 9871"/>
                <a:gd name="connsiteX28" fmla="*/ 3280 w 10000"/>
                <a:gd name="connsiteY28" fmla="*/ 9067 h 9871"/>
                <a:gd name="connsiteX29" fmla="*/ 3709 w 10000"/>
                <a:gd name="connsiteY29" fmla="*/ 9389 h 9871"/>
                <a:gd name="connsiteX30" fmla="*/ 4034 w 10000"/>
                <a:gd name="connsiteY30" fmla="*/ 9485 h 9871"/>
                <a:gd name="connsiteX31" fmla="*/ 4248 w 10000"/>
                <a:gd name="connsiteY31" fmla="*/ 9389 h 9871"/>
                <a:gd name="connsiteX32" fmla="*/ 4785 w 10000"/>
                <a:gd name="connsiteY32" fmla="*/ 9421 h 9871"/>
                <a:gd name="connsiteX33" fmla="*/ 5002 w 10000"/>
                <a:gd name="connsiteY33" fmla="*/ 9357 h 9871"/>
                <a:gd name="connsiteX34" fmla="*/ 5967 w 10000"/>
                <a:gd name="connsiteY34" fmla="*/ 9839 h 9871"/>
                <a:gd name="connsiteX35" fmla="*/ 6021 w 10000"/>
                <a:gd name="connsiteY35" fmla="*/ 9839 h 9871"/>
                <a:gd name="connsiteX36" fmla="*/ 6130 w 10000"/>
                <a:gd name="connsiteY36" fmla="*/ 9775 h 9871"/>
                <a:gd name="connsiteX37" fmla="*/ 6823 w 10000"/>
                <a:gd name="connsiteY37" fmla="*/ 9775 h 9871"/>
                <a:gd name="connsiteX38" fmla="*/ 6936 w 10000"/>
                <a:gd name="connsiteY38" fmla="*/ 9871 h 9871"/>
                <a:gd name="connsiteX39" fmla="*/ 7526 w 10000"/>
                <a:gd name="connsiteY39" fmla="*/ 9742 h 9871"/>
                <a:gd name="connsiteX40" fmla="*/ 8062 w 10000"/>
                <a:gd name="connsiteY40" fmla="*/ 9742 h 9871"/>
                <a:gd name="connsiteX41" fmla="*/ 8438 w 10000"/>
                <a:gd name="connsiteY41" fmla="*/ 9614 h 9871"/>
                <a:gd name="connsiteX42" fmla="*/ 8871 w 10000"/>
                <a:gd name="connsiteY42" fmla="*/ 9357 h 9871"/>
                <a:gd name="connsiteX43" fmla="*/ 10000 w 10000"/>
                <a:gd name="connsiteY43" fmla="*/ 9357 h 9871"/>
                <a:gd name="connsiteX44" fmla="*/ 10000 w 10000"/>
                <a:gd name="connsiteY44" fmla="*/ 9003 h 9871"/>
                <a:gd name="connsiteX45" fmla="*/ 9409 w 10000"/>
                <a:gd name="connsiteY45" fmla="*/ 8842 h 9871"/>
                <a:gd name="connsiteX46" fmla="*/ 9083 w 10000"/>
                <a:gd name="connsiteY46" fmla="*/ 8328 h 9871"/>
                <a:gd name="connsiteX47" fmla="*/ 8655 w 10000"/>
                <a:gd name="connsiteY47" fmla="*/ 8135 h 9871"/>
                <a:gd name="connsiteX48" fmla="*/ 8385 w 10000"/>
                <a:gd name="connsiteY48" fmla="*/ 7877 h 9871"/>
                <a:gd name="connsiteX49" fmla="*/ 7687 w 10000"/>
                <a:gd name="connsiteY49" fmla="*/ 7685 h 9871"/>
                <a:gd name="connsiteX50" fmla="*/ 7848 w 10000"/>
                <a:gd name="connsiteY50" fmla="*/ 7620 h 9871"/>
                <a:gd name="connsiteX51" fmla="*/ 7848 w 10000"/>
                <a:gd name="connsiteY51" fmla="*/ 7459 h 9871"/>
                <a:gd name="connsiteX52" fmla="*/ 8334 w 10000"/>
                <a:gd name="connsiteY52" fmla="*/ 7459 h 9871"/>
                <a:gd name="connsiteX53" fmla="*/ 8599 w 10000"/>
                <a:gd name="connsiteY53" fmla="*/ 7331 h 9871"/>
                <a:gd name="connsiteX54" fmla="*/ 8655 w 10000"/>
                <a:gd name="connsiteY54" fmla="*/ 6398 h 9871"/>
                <a:gd name="connsiteX55" fmla="*/ 8707 w 10000"/>
                <a:gd name="connsiteY55" fmla="*/ 6430 h 9871"/>
                <a:gd name="connsiteX56" fmla="*/ 8517 w 10000"/>
                <a:gd name="connsiteY56" fmla="*/ 6489 h 9871"/>
                <a:gd name="connsiteX57" fmla="*/ 8440 w 10000"/>
                <a:gd name="connsiteY57" fmla="*/ 6616 h 9871"/>
                <a:gd name="connsiteX58" fmla="*/ 7961 w 10000"/>
                <a:gd name="connsiteY58" fmla="*/ 6368 h 9871"/>
                <a:gd name="connsiteX59" fmla="*/ 7874 w 10000"/>
                <a:gd name="connsiteY59" fmla="*/ 5699 h 9871"/>
                <a:gd name="connsiteX60" fmla="*/ 7361 w 10000"/>
                <a:gd name="connsiteY60" fmla="*/ 5989 h 9871"/>
                <a:gd name="connsiteX61" fmla="*/ 7369 w 10000"/>
                <a:gd name="connsiteY61" fmla="*/ 6333 h 9871"/>
                <a:gd name="connsiteX62" fmla="*/ 6955 w 10000"/>
                <a:gd name="connsiteY62" fmla="*/ 6541 h 9871"/>
                <a:gd name="connsiteX63" fmla="*/ 9409 w 10000"/>
                <a:gd name="connsiteY63" fmla="*/ 32 h 9871"/>
                <a:gd name="connsiteX64" fmla="*/ 9191 w 10000"/>
                <a:gd name="connsiteY64" fmla="*/ 0 h 9871"/>
                <a:gd name="connsiteX65" fmla="*/ 9029 w 10000"/>
                <a:gd name="connsiteY65" fmla="*/ 289 h 9871"/>
                <a:gd name="connsiteX66" fmla="*/ 8599 w 10000"/>
                <a:gd name="connsiteY66" fmla="*/ 353 h 9871"/>
                <a:gd name="connsiteX67" fmla="*/ 8493 w 10000"/>
                <a:gd name="connsiteY67" fmla="*/ 578 h 9871"/>
                <a:gd name="connsiteX68" fmla="*/ 8116 w 10000"/>
                <a:gd name="connsiteY68" fmla="*/ 578 h 9871"/>
                <a:gd name="connsiteX69" fmla="*/ 7794 w 10000"/>
                <a:gd name="connsiteY69" fmla="*/ 482 h 9871"/>
                <a:gd name="connsiteX70" fmla="*/ 7096 w 10000"/>
                <a:gd name="connsiteY70" fmla="*/ 482 h 9871"/>
                <a:gd name="connsiteX71" fmla="*/ 6397 w 10000"/>
                <a:gd name="connsiteY71" fmla="*/ 482 h 9871"/>
                <a:gd name="connsiteX72" fmla="*/ 6452 w 10000"/>
                <a:gd name="connsiteY72" fmla="*/ 353 h 9871"/>
                <a:gd name="connsiteX73" fmla="*/ 6343 w 10000"/>
                <a:gd name="connsiteY73" fmla="*/ 353 h 9871"/>
                <a:gd name="connsiteX74" fmla="*/ 6290 w 10000"/>
                <a:gd name="connsiteY74" fmla="*/ 482 h 9871"/>
                <a:gd name="connsiteX75" fmla="*/ 5644 w 10000"/>
                <a:gd name="connsiteY75" fmla="*/ 482 h 9871"/>
                <a:gd name="connsiteX76" fmla="*/ 5002 w 10000"/>
                <a:gd name="connsiteY76" fmla="*/ 482 h 9871"/>
                <a:gd name="connsiteX77" fmla="*/ 4356 w 10000"/>
                <a:gd name="connsiteY77" fmla="*/ 482 h 9871"/>
                <a:gd name="connsiteX78" fmla="*/ 3709 w 10000"/>
                <a:gd name="connsiteY78" fmla="*/ 482 h 9871"/>
                <a:gd name="connsiteX79" fmla="*/ 3120 w 10000"/>
                <a:gd name="connsiteY79" fmla="*/ 482 h 9871"/>
                <a:gd name="connsiteX80" fmla="*/ 2475 w 10000"/>
                <a:gd name="connsiteY80" fmla="*/ 482 h 9871"/>
                <a:gd name="connsiteX81" fmla="*/ 1884 w 10000"/>
                <a:gd name="connsiteY81" fmla="*/ 482 h 9871"/>
                <a:gd name="connsiteX82" fmla="*/ 1237 w 10000"/>
                <a:gd name="connsiteY82" fmla="*/ 482 h 9871"/>
                <a:gd name="connsiteX83" fmla="*/ 1237 w 10000"/>
                <a:gd name="connsiteY83" fmla="*/ 932 h 9871"/>
                <a:gd name="connsiteX84" fmla="*/ 1237 w 10000"/>
                <a:gd name="connsiteY84" fmla="*/ 1511 h 9871"/>
                <a:gd name="connsiteX85" fmla="*/ 433 w 10000"/>
                <a:gd name="connsiteY85" fmla="*/ 1511 h 9871"/>
                <a:gd name="connsiteX86" fmla="*/ 433 w 10000"/>
                <a:gd name="connsiteY86" fmla="*/ 1768 h 9871"/>
                <a:gd name="connsiteX0" fmla="*/ 433 w 10000"/>
                <a:gd name="connsiteY0" fmla="*/ 1791 h 10000"/>
                <a:gd name="connsiteX1" fmla="*/ 6675 w 10000"/>
                <a:gd name="connsiteY1" fmla="*/ 6875 h 10000"/>
                <a:gd name="connsiteX2" fmla="*/ 6234 w 10000"/>
                <a:gd name="connsiteY2" fmla="*/ 7076 h 10000"/>
                <a:gd name="connsiteX3" fmla="*/ 5864 w 10000"/>
                <a:gd name="connsiteY3" fmla="*/ 6867 h 10000"/>
                <a:gd name="connsiteX4" fmla="*/ 5325 w 10000"/>
                <a:gd name="connsiteY4" fmla="*/ 6739 h 10000"/>
                <a:gd name="connsiteX5" fmla="*/ 5058 w 10000"/>
                <a:gd name="connsiteY5" fmla="*/ 7026 h 10000"/>
                <a:gd name="connsiteX6" fmla="*/ 4396 w 10000"/>
                <a:gd name="connsiteY6" fmla="*/ 7245 h 10000"/>
                <a:gd name="connsiteX7" fmla="*/ 3972 w 10000"/>
                <a:gd name="connsiteY7" fmla="*/ 7243 h 10000"/>
                <a:gd name="connsiteX8" fmla="*/ 3044 w 10000"/>
                <a:gd name="connsiteY8" fmla="*/ 7057 h 10000"/>
                <a:gd name="connsiteX9" fmla="*/ 2796 w 10000"/>
                <a:gd name="connsiteY9" fmla="*/ 7158 h 10000"/>
                <a:gd name="connsiteX10" fmla="*/ 2177 w 10000"/>
                <a:gd name="connsiteY10" fmla="*/ 6933 h 10000"/>
                <a:gd name="connsiteX11" fmla="*/ 1903 w 10000"/>
                <a:gd name="connsiteY11" fmla="*/ 6594 h 10000"/>
                <a:gd name="connsiteX12" fmla="*/ 1449 w 10000"/>
                <a:gd name="connsiteY12" fmla="*/ 6686 h 10000"/>
                <a:gd name="connsiteX13" fmla="*/ 1324 w 10000"/>
                <a:gd name="connsiteY13" fmla="*/ 6887 h 10000"/>
                <a:gd name="connsiteX14" fmla="*/ 845 w 10000"/>
                <a:gd name="connsiteY14" fmla="*/ 6972 h 10000"/>
                <a:gd name="connsiteX15" fmla="*/ 526 w 10000"/>
                <a:gd name="connsiteY15" fmla="*/ 6965 h 10000"/>
                <a:gd name="connsiteX16" fmla="*/ 354 w 10000"/>
                <a:gd name="connsiteY16" fmla="*/ 7124 h 10000"/>
                <a:gd name="connsiteX17" fmla="*/ 56 w 10000"/>
                <a:gd name="connsiteY17" fmla="*/ 6873 h 10000"/>
                <a:gd name="connsiteX18" fmla="*/ 0 w 10000"/>
                <a:gd name="connsiteY18" fmla="*/ 7329 h 10000"/>
                <a:gd name="connsiteX19" fmla="*/ 106 w 10000"/>
                <a:gd name="connsiteY19" fmla="*/ 7394 h 10000"/>
                <a:gd name="connsiteX20" fmla="*/ 538 w 10000"/>
                <a:gd name="connsiteY20" fmla="*/ 7427 h 10000"/>
                <a:gd name="connsiteX21" fmla="*/ 596 w 10000"/>
                <a:gd name="connsiteY21" fmla="*/ 7556 h 10000"/>
                <a:gd name="connsiteX22" fmla="*/ 1075 w 10000"/>
                <a:gd name="connsiteY22" fmla="*/ 7590 h 10000"/>
                <a:gd name="connsiteX23" fmla="*/ 1346 w 10000"/>
                <a:gd name="connsiteY23" fmla="*/ 7720 h 10000"/>
                <a:gd name="connsiteX24" fmla="*/ 1397 w 10000"/>
                <a:gd name="connsiteY24" fmla="*/ 7948 h 10000"/>
                <a:gd name="connsiteX25" fmla="*/ 2260 w 10000"/>
                <a:gd name="connsiteY25" fmla="*/ 8339 h 10000"/>
                <a:gd name="connsiteX26" fmla="*/ 2475 w 10000"/>
                <a:gd name="connsiteY26" fmla="*/ 8730 h 10000"/>
                <a:gd name="connsiteX27" fmla="*/ 3064 w 10000"/>
                <a:gd name="connsiteY27" fmla="*/ 8925 h 10000"/>
                <a:gd name="connsiteX28" fmla="*/ 3280 w 10000"/>
                <a:gd name="connsiteY28" fmla="*/ 9185 h 10000"/>
                <a:gd name="connsiteX29" fmla="*/ 3709 w 10000"/>
                <a:gd name="connsiteY29" fmla="*/ 9512 h 10000"/>
                <a:gd name="connsiteX30" fmla="*/ 4034 w 10000"/>
                <a:gd name="connsiteY30" fmla="*/ 9609 h 10000"/>
                <a:gd name="connsiteX31" fmla="*/ 4248 w 10000"/>
                <a:gd name="connsiteY31" fmla="*/ 9512 h 10000"/>
                <a:gd name="connsiteX32" fmla="*/ 4785 w 10000"/>
                <a:gd name="connsiteY32" fmla="*/ 9544 h 10000"/>
                <a:gd name="connsiteX33" fmla="*/ 5002 w 10000"/>
                <a:gd name="connsiteY33" fmla="*/ 9479 h 10000"/>
                <a:gd name="connsiteX34" fmla="*/ 5967 w 10000"/>
                <a:gd name="connsiteY34" fmla="*/ 9968 h 10000"/>
                <a:gd name="connsiteX35" fmla="*/ 6021 w 10000"/>
                <a:gd name="connsiteY35" fmla="*/ 9968 h 10000"/>
                <a:gd name="connsiteX36" fmla="*/ 6130 w 10000"/>
                <a:gd name="connsiteY36" fmla="*/ 9903 h 10000"/>
                <a:gd name="connsiteX37" fmla="*/ 6823 w 10000"/>
                <a:gd name="connsiteY37" fmla="*/ 9903 h 10000"/>
                <a:gd name="connsiteX38" fmla="*/ 6936 w 10000"/>
                <a:gd name="connsiteY38" fmla="*/ 10000 h 10000"/>
                <a:gd name="connsiteX39" fmla="*/ 7526 w 10000"/>
                <a:gd name="connsiteY39" fmla="*/ 9869 h 10000"/>
                <a:gd name="connsiteX40" fmla="*/ 8062 w 10000"/>
                <a:gd name="connsiteY40" fmla="*/ 9869 h 10000"/>
                <a:gd name="connsiteX41" fmla="*/ 8438 w 10000"/>
                <a:gd name="connsiteY41" fmla="*/ 9740 h 10000"/>
                <a:gd name="connsiteX42" fmla="*/ 8871 w 10000"/>
                <a:gd name="connsiteY42" fmla="*/ 9479 h 10000"/>
                <a:gd name="connsiteX43" fmla="*/ 10000 w 10000"/>
                <a:gd name="connsiteY43" fmla="*/ 9479 h 10000"/>
                <a:gd name="connsiteX44" fmla="*/ 10000 w 10000"/>
                <a:gd name="connsiteY44" fmla="*/ 9121 h 10000"/>
                <a:gd name="connsiteX45" fmla="*/ 9409 w 10000"/>
                <a:gd name="connsiteY45" fmla="*/ 8958 h 10000"/>
                <a:gd name="connsiteX46" fmla="*/ 9083 w 10000"/>
                <a:gd name="connsiteY46" fmla="*/ 8437 h 10000"/>
                <a:gd name="connsiteX47" fmla="*/ 8655 w 10000"/>
                <a:gd name="connsiteY47" fmla="*/ 8241 h 10000"/>
                <a:gd name="connsiteX48" fmla="*/ 8385 w 10000"/>
                <a:gd name="connsiteY48" fmla="*/ 7980 h 10000"/>
                <a:gd name="connsiteX49" fmla="*/ 7687 w 10000"/>
                <a:gd name="connsiteY49" fmla="*/ 7785 h 10000"/>
                <a:gd name="connsiteX50" fmla="*/ 7848 w 10000"/>
                <a:gd name="connsiteY50" fmla="*/ 7720 h 10000"/>
                <a:gd name="connsiteX51" fmla="*/ 7848 w 10000"/>
                <a:gd name="connsiteY51" fmla="*/ 7556 h 10000"/>
                <a:gd name="connsiteX52" fmla="*/ 8334 w 10000"/>
                <a:gd name="connsiteY52" fmla="*/ 7556 h 10000"/>
                <a:gd name="connsiteX53" fmla="*/ 8599 w 10000"/>
                <a:gd name="connsiteY53" fmla="*/ 7427 h 10000"/>
                <a:gd name="connsiteX54" fmla="*/ 8655 w 10000"/>
                <a:gd name="connsiteY54" fmla="*/ 6482 h 10000"/>
                <a:gd name="connsiteX55" fmla="*/ 8707 w 10000"/>
                <a:gd name="connsiteY55" fmla="*/ 6514 h 10000"/>
                <a:gd name="connsiteX56" fmla="*/ 8517 w 10000"/>
                <a:gd name="connsiteY56" fmla="*/ 6574 h 10000"/>
                <a:gd name="connsiteX57" fmla="*/ 8440 w 10000"/>
                <a:gd name="connsiteY57" fmla="*/ 6702 h 10000"/>
                <a:gd name="connsiteX58" fmla="*/ 7961 w 10000"/>
                <a:gd name="connsiteY58" fmla="*/ 6451 h 10000"/>
                <a:gd name="connsiteX59" fmla="*/ 7874 w 10000"/>
                <a:gd name="connsiteY59" fmla="*/ 5773 h 10000"/>
                <a:gd name="connsiteX60" fmla="*/ 7361 w 10000"/>
                <a:gd name="connsiteY60" fmla="*/ 6067 h 10000"/>
                <a:gd name="connsiteX61" fmla="*/ 7369 w 10000"/>
                <a:gd name="connsiteY61" fmla="*/ 6416 h 10000"/>
                <a:gd name="connsiteX62" fmla="*/ 6955 w 10000"/>
                <a:gd name="connsiteY62" fmla="*/ 6626 h 10000"/>
                <a:gd name="connsiteX63" fmla="*/ 9191 w 10000"/>
                <a:gd name="connsiteY63" fmla="*/ 0 h 10000"/>
                <a:gd name="connsiteX64" fmla="*/ 9029 w 10000"/>
                <a:gd name="connsiteY64" fmla="*/ 293 h 10000"/>
                <a:gd name="connsiteX65" fmla="*/ 8599 w 10000"/>
                <a:gd name="connsiteY65" fmla="*/ 358 h 10000"/>
                <a:gd name="connsiteX66" fmla="*/ 8493 w 10000"/>
                <a:gd name="connsiteY66" fmla="*/ 586 h 10000"/>
                <a:gd name="connsiteX67" fmla="*/ 8116 w 10000"/>
                <a:gd name="connsiteY67" fmla="*/ 586 h 10000"/>
                <a:gd name="connsiteX68" fmla="*/ 7794 w 10000"/>
                <a:gd name="connsiteY68" fmla="*/ 488 h 10000"/>
                <a:gd name="connsiteX69" fmla="*/ 7096 w 10000"/>
                <a:gd name="connsiteY69" fmla="*/ 488 h 10000"/>
                <a:gd name="connsiteX70" fmla="*/ 6397 w 10000"/>
                <a:gd name="connsiteY70" fmla="*/ 488 h 10000"/>
                <a:gd name="connsiteX71" fmla="*/ 6452 w 10000"/>
                <a:gd name="connsiteY71" fmla="*/ 358 h 10000"/>
                <a:gd name="connsiteX72" fmla="*/ 6343 w 10000"/>
                <a:gd name="connsiteY72" fmla="*/ 358 h 10000"/>
                <a:gd name="connsiteX73" fmla="*/ 6290 w 10000"/>
                <a:gd name="connsiteY73" fmla="*/ 488 h 10000"/>
                <a:gd name="connsiteX74" fmla="*/ 5644 w 10000"/>
                <a:gd name="connsiteY74" fmla="*/ 488 h 10000"/>
                <a:gd name="connsiteX75" fmla="*/ 5002 w 10000"/>
                <a:gd name="connsiteY75" fmla="*/ 488 h 10000"/>
                <a:gd name="connsiteX76" fmla="*/ 4356 w 10000"/>
                <a:gd name="connsiteY76" fmla="*/ 488 h 10000"/>
                <a:gd name="connsiteX77" fmla="*/ 3709 w 10000"/>
                <a:gd name="connsiteY77" fmla="*/ 488 h 10000"/>
                <a:gd name="connsiteX78" fmla="*/ 3120 w 10000"/>
                <a:gd name="connsiteY78" fmla="*/ 488 h 10000"/>
                <a:gd name="connsiteX79" fmla="*/ 2475 w 10000"/>
                <a:gd name="connsiteY79" fmla="*/ 488 h 10000"/>
                <a:gd name="connsiteX80" fmla="*/ 1884 w 10000"/>
                <a:gd name="connsiteY80" fmla="*/ 488 h 10000"/>
                <a:gd name="connsiteX81" fmla="*/ 1237 w 10000"/>
                <a:gd name="connsiteY81" fmla="*/ 488 h 10000"/>
                <a:gd name="connsiteX82" fmla="*/ 1237 w 10000"/>
                <a:gd name="connsiteY82" fmla="*/ 944 h 10000"/>
                <a:gd name="connsiteX83" fmla="*/ 1237 w 10000"/>
                <a:gd name="connsiteY83" fmla="*/ 1531 h 10000"/>
                <a:gd name="connsiteX84" fmla="*/ 433 w 10000"/>
                <a:gd name="connsiteY84" fmla="*/ 1531 h 10000"/>
                <a:gd name="connsiteX85" fmla="*/ 433 w 10000"/>
                <a:gd name="connsiteY85" fmla="*/ 1791 h 10000"/>
                <a:gd name="connsiteX0" fmla="*/ 433 w 10000"/>
                <a:gd name="connsiteY0" fmla="*/ 1498 h 9707"/>
                <a:gd name="connsiteX1" fmla="*/ 6675 w 10000"/>
                <a:gd name="connsiteY1" fmla="*/ 6582 h 9707"/>
                <a:gd name="connsiteX2" fmla="*/ 6234 w 10000"/>
                <a:gd name="connsiteY2" fmla="*/ 6783 h 9707"/>
                <a:gd name="connsiteX3" fmla="*/ 5864 w 10000"/>
                <a:gd name="connsiteY3" fmla="*/ 6574 h 9707"/>
                <a:gd name="connsiteX4" fmla="*/ 5325 w 10000"/>
                <a:gd name="connsiteY4" fmla="*/ 6446 h 9707"/>
                <a:gd name="connsiteX5" fmla="*/ 5058 w 10000"/>
                <a:gd name="connsiteY5" fmla="*/ 6733 h 9707"/>
                <a:gd name="connsiteX6" fmla="*/ 4396 w 10000"/>
                <a:gd name="connsiteY6" fmla="*/ 6952 h 9707"/>
                <a:gd name="connsiteX7" fmla="*/ 3972 w 10000"/>
                <a:gd name="connsiteY7" fmla="*/ 6950 h 9707"/>
                <a:gd name="connsiteX8" fmla="*/ 3044 w 10000"/>
                <a:gd name="connsiteY8" fmla="*/ 6764 h 9707"/>
                <a:gd name="connsiteX9" fmla="*/ 2796 w 10000"/>
                <a:gd name="connsiteY9" fmla="*/ 6865 h 9707"/>
                <a:gd name="connsiteX10" fmla="*/ 2177 w 10000"/>
                <a:gd name="connsiteY10" fmla="*/ 6640 h 9707"/>
                <a:gd name="connsiteX11" fmla="*/ 1903 w 10000"/>
                <a:gd name="connsiteY11" fmla="*/ 6301 h 9707"/>
                <a:gd name="connsiteX12" fmla="*/ 1449 w 10000"/>
                <a:gd name="connsiteY12" fmla="*/ 6393 h 9707"/>
                <a:gd name="connsiteX13" fmla="*/ 1324 w 10000"/>
                <a:gd name="connsiteY13" fmla="*/ 6594 h 9707"/>
                <a:gd name="connsiteX14" fmla="*/ 845 w 10000"/>
                <a:gd name="connsiteY14" fmla="*/ 6679 h 9707"/>
                <a:gd name="connsiteX15" fmla="*/ 526 w 10000"/>
                <a:gd name="connsiteY15" fmla="*/ 6672 h 9707"/>
                <a:gd name="connsiteX16" fmla="*/ 354 w 10000"/>
                <a:gd name="connsiteY16" fmla="*/ 6831 h 9707"/>
                <a:gd name="connsiteX17" fmla="*/ 56 w 10000"/>
                <a:gd name="connsiteY17" fmla="*/ 6580 h 9707"/>
                <a:gd name="connsiteX18" fmla="*/ 0 w 10000"/>
                <a:gd name="connsiteY18" fmla="*/ 7036 h 9707"/>
                <a:gd name="connsiteX19" fmla="*/ 106 w 10000"/>
                <a:gd name="connsiteY19" fmla="*/ 7101 h 9707"/>
                <a:gd name="connsiteX20" fmla="*/ 538 w 10000"/>
                <a:gd name="connsiteY20" fmla="*/ 7134 h 9707"/>
                <a:gd name="connsiteX21" fmla="*/ 596 w 10000"/>
                <a:gd name="connsiteY21" fmla="*/ 7263 h 9707"/>
                <a:gd name="connsiteX22" fmla="*/ 1075 w 10000"/>
                <a:gd name="connsiteY22" fmla="*/ 7297 h 9707"/>
                <a:gd name="connsiteX23" fmla="*/ 1346 w 10000"/>
                <a:gd name="connsiteY23" fmla="*/ 7427 h 9707"/>
                <a:gd name="connsiteX24" fmla="*/ 1397 w 10000"/>
                <a:gd name="connsiteY24" fmla="*/ 7655 h 9707"/>
                <a:gd name="connsiteX25" fmla="*/ 2260 w 10000"/>
                <a:gd name="connsiteY25" fmla="*/ 8046 h 9707"/>
                <a:gd name="connsiteX26" fmla="*/ 2475 w 10000"/>
                <a:gd name="connsiteY26" fmla="*/ 8437 h 9707"/>
                <a:gd name="connsiteX27" fmla="*/ 3064 w 10000"/>
                <a:gd name="connsiteY27" fmla="*/ 8632 h 9707"/>
                <a:gd name="connsiteX28" fmla="*/ 3280 w 10000"/>
                <a:gd name="connsiteY28" fmla="*/ 8892 h 9707"/>
                <a:gd name="connsiteX29" fmla="*/ 3709 w 10000"/>
                <a:gd name="connsiteY29" fmla="*/ 9219 h 9707"/>
                <a:gd name="connsiteX30" fmla="*/ 4034 w 10000"/>
                <a:gd name="connsiteY30" fmla="*/ 9316 h 9707"/>
                <a:gd name="connsiteX31" fmla="*/ 4248 w 10000"/>
                <a:gd name="connsiteY31" fmla="*/ 9219 h 9707"/>
                <a:gd name="connsiteX32" fmla="*/ 4785 w 10000"/>
                <a:gd name="connsiteY32" fmla="*/ 9251 h 9707"/>
                <a:gd name="connsiteX33" fmla="*/ 5002 w 10000"/>
                <a:gd name="connsiteY33" fmla="*/ 9186 h 9707"/>
                <a:gd name="connsiteX34" fmla="*/ 5967 w 10000"/>
                <a:gd name="connsiteY34" fmla="*/ 9675 h 9707"/>
                <a:gd name="connsiteX35" fmla="*/ 6021 w 10000"/>
                <a:gd name="connsiteY35" fmla="*/ 9675 h 9707"/>
                <a:gd name="connsiteX36" fmla="*/ 6130 w 10000"/>
                <a:gd name="connsiteY36" fmla="*/ 9610 h 9707"/>
                <a:gd name="connsiteX37" fmla="*/ 6823 w 10000"/>
                <a:gd name="connsiteY37" fmla="*/ 9610 h 9707"/>
                <a:gd name="connsiteX38" fmla="*/ 6936 w 10000"/>
                <a:gd name="connsiteY38" fmla="*/ 9707 h 9707"/>
                <a:gd name="connsiteX39" fmla="*/ 7526 w 10000"/>
                <a:gd name="connsiteY39" fmla="*/ 9576 h 9707"/>
                <a:gd name="connsiteX40" fmla="*/ 8062 w 10000"/>
                <a:gd name="connsiteY40" fmla="*/ 9576 h 9707"/>
                <a:gd name="connsiteX41" fmla="*/ 8438 w 10000"/>
                <a:gd name="connsiteY41" fmla="*/ 9447 h 9707"/>
                <a:gd name="connsiteX42" fmla="*/ 8871 w 10000"/>
                <a:gd name="connsiteY42" fmla="*/ 9186 h 9707"/>
                <a:gd name="connsiteX43" fmla="*/ 10000 w 10000"/>
                <a:gd name="connsiteY43" fmla="*/ 9186 h 9707"/>
                <a:gd name="connsiteX44" fmla="*/ 10000 w 10000"/>
                <a:gd name="connsiteY44" fmla="*/ 8828 h 9707"/>
                <a:gd name="connsiteX45" fmla="*/ 9409 w 10000"/>
                <a:gd name="connsiteY45" fmla="*/ 8665 h 9707"/>
                <a:gd name="connsiteX46" fmla="*/ 9083 w 10000"/>
                <a:gd name="connsiteY46" fmla="*/ 8144 h 9707"/>
                <a:gd name="connsiteX47" fmla="*/ 8655 w 10000"/>
                <a:gd name="connsiteY47" fmla="*/ 7948 h 9707"/>
                <a:gd name="connsiteX48" fmla="*/ 8385 w 10000"/>
                <a:gd name="connsiteY48" fmla="*/ 7687 h 9707"/>
                <a:gd name="connsiteX49" fmla="*/ 7687 w 10000"/>
                <a:gd name="connsiteY49" fmla="*/ 7492 h 9707"/>
                <a:gd name="connsiteX50" fmla="*/ 7848 w 10000"/>
                <a:gd name="connsiteY50" fmla="*/ 7427 h 9707"/>
                <a:gd name="connsiteX51" fmla="*/ 7848 w 10000"/>
                <a:gd name="connsiteY51" fmla="*/ 7263 h 9707"/>
                <a:gd name="connsiteX52" fmla="*/ 8334 w 10000"/>
                <a:gd name="connsiteY52" fmla="*/ 7263 h 9707"/>
                <a:gd name="connsiteX53" fmla="*/ 8599 w 10000"/>
                <a:gd name="connsiteY53" fmla="*/ 7134 h 9707"/>
                <a:gd name="connsiteX54" fmla="*/ 8655 w 10000"/>
                <a:gd name="connsiteY54" fmla="*/ 6189 h 9707"/>
                <a:gd name="connsiteX55" fmla="*/ 8707 w 10000"/>
                <a:gd name="connsiteY55" fmla="*/ 6221 h 9707"/>
                <a:gd name="connsiteX56" fmla="*/ 8517 w 10000"/>
                <a:gd name="connsiteY56" fmla="*/ 6281 h 9707"/>
                <a:gd name="connsiteX57" fmla="*/ 8440 w 10000"/>
                <a:gd name="connsiteY57" fmla="*/ 6409 h 9707"/>
                <a:gd name="connsiteX58" fmla="*/ 7961 w 10000"/>
                <a:gd name="connsiteY58" fmla="*/ 6158 h 9707"/>
                <a:gd name="connsiteX59" fmla="*/ 7874 w 10000"/>
                <a:gd name="connsiteY59" fmla="*/ 5480 h 9707"/>
                <a:gd name="connsiteX60" fmla="*/ 7361 w 10000"/>
                <a:gd name="connsiteY60" fmla="*/ 5774 h 9707"/>
                <a:gd name="connsiteX61" fmla="*/ 7369 w 10000"/>
                <a:gd name="connsiteY61" fmla="*/ 6123 h 9707"/>
                <a:gd name="connsiteX62" fmla="*/ 6955 w 10000"/>
                <a:gd name="connsiteY62" fmla="*/ 6333 h 9707"/>
                <a:gd name="connsiteX63" fmla="*/ 9029 w 10000"/>
                <a:gd name="connsiteY63" fmla="*/ 0 h 9707"/>
                <a:gd name="connsiteX64" fmla="*/ 8599 w 10000"/>
                <a:gd name="connsiteY64" fmla="*/ 65 h 9707"/>
                <a:gd name="connsiteX65" fmla="*/ 8493 w 10000"/>
                <a:gd name="connsiteY65" fmla="*/ 293 h 9707"/>
                <a:gd name="connsiteX66" fmla="*/ 8116 w 10000"/>
                <a:gd name="connsiteY66" fmla="*/ 293 h 9707"/>
                <a:gd name="connsiteX67" fmla="*/ 7794 w 10000"/>
                <a:gd name="connsiteY67" fmla="*/ 195 h 9707"/>
                <a:gd name="connsiteX68" fmla="*/ 7096 w 10000"/>
                <a:gd name="connsiteY68" fmla="*/ 195 h 9707"/>
                <a:gd name="connsiteX69" fmla="*/ 6397 w 10000"/>
                <a:gd name="connsiteY69" fmla="*/ 195 h 9707"/>
                <a:gd name="connsiteX70" fmla="*/ 6452 w 10000"/>
                <a:gd name="connsiteY70" fmla="*/ 65 h 9707"/>
                <a:gd name="connsiteX71" fmla="*/ 6343 w 10000"/>
                <a:gd name="connsiteY71" fmla="*/ 65 h 9707"/>
                <a:gd name="connsiteX72" fmla="*/ 6290 w 10000"/>
                <a:gd name="connsiteY72" fmla="*/ 195 h 9707"/>
                <a:gd name="connsiteX73" fmla="*/ 5644 w 10000"/>
                <a:gd name="connsiteY73" fmla="*/ 195 h 9707"/>
                <a:gd name="connsiteX74" fmla="*/ 5002 w 10000"/>
                <a:gd name="connsiteY74" fmla="*/ 195 h 9707"/>
                <a:gd name="connsiteX75" fmla="*/ 4356 w 10000"/>
                <a:gd name="connsiteY75" fmla="*/ 195 h 9707"/>
                <a:gd name="connsiteX76" fmla="*/ 3709 w 10000"/>
                <a:gd name="connsiteY76" fmla="*/ 195 h 9707"/>
                <a:gd name="connsiteX77" fmla="*/ 3120 w 10000"/>
                <a:gd name="connsiteY77" fmla="*/ 195 h 9707"/>
                <a:gd name="connsiteX78" fmla="*/ 2475 w 10000"/>
                <a:gd name="connsiteY78" fmla="*/ 195 h 9707"/>
                <a:gd name="connsiteX79" fmla="*/ 1884 w 10000"/>
                <a:gd name="connsiteY79" fmla="*/ 195 h 9707"/>
                <a:gd name="connsiteX80" fmla="*/ 1237 w 10000"/>
                <a:gd name="connsiteY80" fmla="*/ 195 h 9707"/>
                <a:gd name="connsiteX81" fmla="*/ 1237 w 10000"/>
                <a:gd name="connsiteY81" fmla="*/ 651 h 9707"/>
                <a:gd name="connsiteX82" fmla="*/ 1237 w 10000"/>
                <a:gd name="connsiteY82" fmla="*/ 1238 h 9707"/>
                <a:gd name="connsiteX83" fmla="*/ 433 w 10000"/>
                <a:gd name="connsiteY83" fmla="*/ 1238 h 9707"/>
                <a:gd name="connsiteX84" fmla="*/ 433 w 10000"/>
                <a:gd name="connsiteY84" fmla="*/ 1498 h 9707"/>
                <a:gd name="connsiteX0" fmla="*/ 433 w 10000"/>
                <a:gd name="connsiteY0" fmla="*/ 1476 h 9933"/>
                <a:gd name="connsiteX1" fmla="*/ 6675 w 10000"/>
                <a:gd name="connsiteY1" fmla="*/ 6714 h 9933"/>
                <a:gd name="connsiteX2" fmla="*/ 6234 w 10000"/>
                <a:gd name="connsiteY2" fmla="*/ 6921 h 9933"/>
                <a:gd name="connsiteX3" fmla="*/ 5864 w 10000"/>
                <a:gd name="connsiteY3" fmla="*/ 6705 h 9933"/>
                <a:gd name="connsiteX4" fmla="*/ 5325 w 10000"/>
                <a:gd name="connsiteY4" fmla="*/ 6574 h 9933"/>
                <a:gd name="connsiteX5" fmla="*/ 5058 w 10000"/>
                <a:gd name="connsiteY5" fmla="*/ 6869 h 9933"/>
                <a:gd name="connsiteX6" fmla="*/ 4396 w 10000"/>
                <a:gd name="connsiteY6" fmla="*/ 7095 h 9933"/>
                <a:gd name="connsiteX7" fmla="*/ 3972 w 10000"/>
                <a:gd name="connsiteY7" fmla="*/ 7093 h 9933"/>
                <a:gd name="connsiteX8" fmla="*/ 3044 w 10000"/>
                <a:gd name="connsiteY8" fmla="*/ 6901 h 9933"/>
                <a:gd name="connsiteX9" fmla="*/ 2796 w 10000"/>
                <a:gd name="connsiteY9" fmla="*/ 7005 h 9933"/>
                <a:gd name="connsiteX10" fmla="*/ 2177 w 10000"/>
                <a:gd name="connsiteY10" fmla="*/ 6773 h 9933"/>
                <a:gd name="connsiteX11" fmla="*/ 1903 w 10000"/>
                <a:gd name="connsiteY11" fmla="*/ 6424 h 9933"/>
                <a:gd name="connsiteX12" fmla="*/ 1449 w 10000"/>
                <a:gd name="connsiteY12" fmla="*/ 6519 h 9933"/>
                <a:gd name="connsiteX13" fmla="*/ 1324 w 10000"/>
                <a:gd name="connsiteY13" fmla="*/ 6726 h 9933"/>
                <a:gd name="connsiteX14" fmla="*/ 845 w 10000"/>
                <a:gd name="connsiteY14" fmla="*/ 6814 h 9933"/>
                <a:gd name="connsiteX15" fmla="*/ 526 w 10000"/>
                <a:gd name="connsiteY15" fmla="*/ 6806 h 9933"/>
                <a:gd name="connsiteX16" fmla="*/ 354 w 10000"/>
                <a:gd name="connsiteY16" fmla="*/ 6970 h 9933"/>
                <a:gd name="connsiteX17" fmla="*/ 56 w 10000"/>
                <a:gd name="connsiteY17" fmla="*/ 6712 h 9933"/>
                <a:gd name="connsiteX18" fmla="*/ 0 w 10000"/>
                <a:gd name="connsiteY18" fmla="*/ 7181 h 9933"/>
                <a:gd name="connsiteX19" fmla="*/ 106 w 10000"/>
                <a:gd name="connsiteY19" fmla="*/ 7248 h 9933"/>
                <a:gd name="connsiteX20" fmla="*/ 538 w 10000"/>
                <a:gd name="connsiteY20" fmla="*/ 7282 h 9933"/>
                <a:gd name="connsiteX21" fmla="*/ 596 w 10000"/>
                <a:gd name="connsiteY21" fmla="*/ 7415 h 9933"/>
                <a:gd name="connsiteX22" fmla="*/ 1075 w 10000"/>
                <a:gd name="connsiteY22" fmla="*/ 7450 h 9933"/>
                <a:gd name="connsiteX23" fmla="*/ 1346 w 10000"/>
                <a:gd name="connsiteY23" fmla="*/ 7584 h 9933"/>
                <a:gd name="connsiteX24" fmla="*/ 1397 w 10000"/>
                <a:gd name="connsiteY24" fmla="*/ 7819 h 9933"/>
                <a:gd name="connsiteX25" fmla="*/ 2260 w 10000"/>
                <a:gd name="connsiteY25" fmla="*/ 8222 h 9933"/>
                <a:gd name="connsiteX26" fmla="*/ 2475 w 10000"/>
                <a:gd name="connsiteY26" fmla="*/ 8625 h 9933"/>
                <a:gd name="connsiteX27" fmla="*/ 3064 w 10000"/>
                <a:gd name="connsiteY27" fmla="*/ 8826 h 9933"/>
                <a:gd name="connsiteX28" fmla="*/ 3280 w 10000"/>
                <a:gd name="connsiteY28" fmla="*/ 9093 h 9933"/>
                <a:gd name="connsiteX29" fmla="*/ 3709 w 10000"/>
                <a:gd name="connsiteY29" fmla="*/ 9430 h 9933"/>
                <a:gd name="connsiteX30" fmla="*/ 4034 w 10000"/>
                <a:gd name="connsiteY30" fmla="*/ 9530 h 9933"/>
                <a:gd name="connsiteX31" fmla="*/ 4248 w 10000"/>
                <a:gd name="connsiteY31" fmla="*/ 9430 h 9933"/>
                <a:gd name="connsiteX32" fmla="*/ 4785 w 10000"/>
                <a:gd name="connsiteY32" fmla="*/ 9463 h 9933"/>
                <a:gd name="connsiteX33" fmla="*/ 5002 w 10000"/>
                <a:gd name="connsiteY33" fmla="*/ 9396 h 9933"/>
                <a:gd name="connsiteX34" fmla="*/ 5967 w 10000"/>
                <a:gd name="connsiteY34" fmla="*/ 9900 h 9933"/>
                <a:gd name="connsiteX35" fmla="*/ 6021 w 10000"/>
                <a:gd name="connsiteY35" fmla="*/ 9900 h 9933"/>
                <a:gd name="connsiteX36" fmla="*/ 6130 w 10000"/>
                <a:gd name="connsiteY36" fmla="*/ 9833 h 9933"/>
                <a:gd name="connsiteX37" fmla="*/ 6823 w 10000"/>
                <a:gd name="connsiteY37" fmla="*/ 9833 h 9933"/>
                <a:gd name="connsiteX38" fmla="*/ 6936 w 10000"/>
                <a:gd name="connsiteY38" fmla="*/ 9933 h 9933"/>
                <a:gd name="connsiteX39" fmla="*/ 7526 w 10000"/>
                <a:gd name="connsiteY39" fmla="*/ 9798 h 9933"/>
                <a:gd name="connsiteX40" fmla="*/ 8062 w 10000"/>
                <a:gd name="connsiteY40" fmla="*/ 9798 h 9933"/>
                <a:gd name="connsiteX41" fmla="*/ 8438 w 10000"/>
                <a:gd name="connsiteY41" fmla="*/ 9665 h 9933"/>
                <a:gd name="connsiteX42" fmla="*/ 8871 w 10000"/>
                <a:gd name="connsiteY42" fmla="*/ 9396 h 9933"/>
                <a:gd name="connsiteX43" fmla="*/ 10000 w 10000"/>
                <a:gd name="connsiteY43" fmla="*/ 9396 h 9933"/>
                <a:gd name="connsiteX44" fmla="*/ 10000 w 10000"/>
                <a:gd name="connsiteY44" fmla="*/ 9027 h 9933"/>
                <a:gd name="connsiteX45" fmla="*/ 9409 w 10000"/>
                <a:gd name="connsiteY45" fmla="*/ 8860 h 9933"/>
                <a:gd name="connsiteX46" fmla="*/ 9083 w 10000"/>
                <a:gd name="connsiteY46" fmla="*/ 8323 h 9933"/>
                <a:gd name="connsiteX47" fmla="*/ 8655 w 10000"/>
                <a:gd name="connsiteY47" fmla="*/ 8121 h 9933"/>
                <a:gd name="connsiteX48" fmla="*/ 8385 w 10000"/>
                <a:gd name="connsiteY48" fmla="*/ 7852 h 9933"/>
                <a:gd name="connsiteX49" fmla="*/ 7687 w 10000"/>
                <a:gd name="connsiteY49" fmla="*/ 7651 h 9933"/>
                <a:gd name="connsiteX50" fmla="*/ 7848 w 10000"/>
                <a:gd name="connsiteY50" fmla="*/ 7584 h 9933"/>
                <a:gd name="connsiteX51" fmla="*/ 7848 w 10000"/>
                <a:gd name="connsiteY51" fmla="*/ 7415 h 9933"/>
                <a:gd name="connsiteX52" fmla="*/ 8334 w 10000"/>
                <a:gd name="connsiteY52" fmla="*/ 7415 h 9933"/>
                <a:gd name="connsiteX53" fmla="*/ 8599 w 10000"/>
                <a:gd name="connsiteY53" fmla="*/ 7282 h 9933"/>
                <a:gd name="connsiteX54" fmla="*/ 8655 w 10000"/>
                <a:gd name="connsiteY54" fmla="*/ 6309 h 9933"/>
                <a:gd name="connsiteX55" fmla="*/ 8707 w 10000"/>
                <a:gd name="connsiteY55" fmla="*/ 6342 h 9933"/>
                <a:gd name="connsiteX56" fmla="*/ 8517 w 10000"/>
                <a:gd name="connsiteY56" fmla="*/ 6404 h 9933"/>
                <a:gd name="connsiteX57" fmla="*/ 8440 w 10000"/>
                <a:gd name="connsiteY57" fmla="*/ 6535 h 9933"/>
                <a:gd name="connsiteX58" fmla="*/ 7961 w 10000"/>
                <a:gd name="connsiteY58" fmla="*/ 6277 h 9933"/>
                <a:gd name="connsiteX59" fmla="*/ 7874 w 10000"/>
                <a:gd name="connsiteY59" fmla="*/ 5578 h 9933"/>
                <a:gd name="connsiteX60" fmla="*/ 7361 w 10000"/>
                <a:gd name="connsiteY60" fmla="*/ 5881 h 9933"/>
                <a:gd name="connsiteX61" fmla="*/ 7369 w 10000"/>
                <a:gd name="connsiteY61" fmla="*/ 6241 h 9933"/>
                <a:gd name="connsiteX62" fmla="*/ 6955 w 10000"/>
                <a:gd name="connsiteY62" fmla="*/ 6457 h 9933"/>
                <a:gd name="connsiteX63" fmla="*/ 8599 w 10000"/>
                <a:gd name="connsiteY63" fmla="*/ 0 h 9933"/>
                <a:gd name="connsiteX64" fmla="*/ 8493 w 10000"/>
                <a:gd name="connsiteY64" fmla="*/ 235 h 9933"/>
                <a:gd name="connsiteX65" fmla="*/ 8116 w 10000"/>
                <a:gd name="connsiteY65" fmla="*/ 235 h 9933"/>
                <a:gd name="connsiteX66" fmla="*/ 7794 w 10000"/>
                <a:gd name="connsiteY66" fmla="*/ 134 h 9933"/>
                <a:gd name="connsiteX67" fmla="*/ 7096 w 10000"/>
                <a:gd name="connsiteY67" fmla="*/ 134 h 9933"/>
                <a:gd name="connsiteX68" fmla="*/ 6397 w 10000"/>
                <a:gd name="connsiteY68" fmla="*/ 134 h 9933"/>
                <a:gd name="connsiteX69" fmla="*/ 6452 w 10000"/>
                <a:gd name="connsiteY69" fmla="*/ 0 h 9933"/>
                <a:gd name="connsiteX70" fmla="*/ 6343 w 10000"/>
                <a:gd name="connsiteY70" fmla="*/ 0 h 9933"/>
                <a:gd name="connsiteX71" fmla="*/ 6290 w 10000"/>
                <a:gd name="connsiteY71" fmla="*/ 134 h 9933"/>
                <a:gd name="connsiteX72" fmla="*/ 5644 w 10000"/>
                <a:gd name="connsiteY72" fmla="*/ 134 h 9933"/>
                <a:gd name="connsiteX73" fmla="*/ 5002 w 10000"/>
                <a:gd name="connsiteY73" fmla="*/ 134 h 9933"/>
                <a:gd name="connsiteX74" fmla="*/ 4356 w 10000"/>
                <a:gd name="connsiteY74" fmla="*/ 134 h 9933"/>
                <a:gd name="connsiteX75" fmla="*/ 3709 w 10000"/>
                <a:gd name="connsiteY75" fmla="*/ 134 h 9933"/>
                <a:gd name="connsiteX76" fmla="*/ 3120 w 10000"/>
                <a:gd name="connsiteY76" fmla="*/ 134 h 9933"/>
                <a:gd name="connsiteX77" fmla="*/ 2475 w 10000"/>
                <a:gd name="connsiteY77" fmla="*/ 134 h 9933"/>
                <a:gd name="connsiteX78" fmla="*/ 1884 w 10000"/>
                <a:gd name="connsiteY78" fmla="*/ 134 h 9933"/>
                <a:gd name="connsiteX79" fmla="*/ 1237 w 10000"/>
                <a:gd name="connsiteY79" fmla="*/ 134 h 9933"/>
                <a:gd name="connsiteX80" fmla="*/ 1237 w 10000"/>
                <a:gd name="connsiteY80" fmla="*/ 604 h 9933"/>
                <a:gd name="connsiteX81" fmla="*/ 1237 w 10000"/>
                <a:gd name="connsiteY81" fmla="*/ 1208 h 9933"/>
                <a:gd name="connsiteX82" fmla="*/ 433 w 10000"/>
                <a:gd name="connsiteY82" fmla="*/ 1208 h 9933"/>
                <a:gd name="connsiteX83" fmla="*/ 433 w 10000"/>
                <a:gd name="connsiteY83" fmla="*/ 1476 h 9933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8493 w 10000"/>
                <a:gd name="connsiteY63" fmla="*/ 237 h 10000"/>
                <a:gd name="connsiteX64" fmla="*/ 8116 w 10000"/>
                <a:gd name="connsiteY64" fmla="*/ 237 h 10000"/>
                <a:gd name="connsiteX65" fmla="*/ 7794 w 10000"/>
                <a:gd name="connsiteY65" fmla="*/ 135 h 10000"/>
                <a:gd name="connsiteX66" fmla="*/ 7096 w 10000"/>
                <a:gd name="connsiteY66" fmla="*/ 135 h 10000"/>
                <a:gd name="connsiteX67" fmla="*/ 6397 w 10000"/>
                <a:gd name="connsiteY67" fmla="*/ 135 h 10000"/>
                <a:gd name="connsiteX68" fmla="*/ 6452 w 10000"/>
                <a:gd name="connsiteY68" fmla="*/ 0 h 10000"/>
                <a:gd name="connsiteX69" fmla="*/ 6343 w 10000"/>
                <a:gd name="connsiteY69" fmla="*/ 0 h 10000"/>
                <a:gd name="connsiteX70" fmla="*/ 6290 w 10000"/>
                <a:gd name="connsiteY70" fmla="*/ 135 h 10000"/>
                <a:gd name="connsiteX71" fmla="*/ 5644 w 10000"/>
                <a:gd name="connsiteY71" fmla="*/ 135 h 10000"/>
                <a:gd name="connsiteX72" fmla="*/ 5002 w 10000"/>
                <a:gd name="connsiteY72" fmla="*/ 135 h 10000"/>
                <a:gd name="connsiteX73" fmla="*/ 4356 w 10000"/>
                <a:gd name="connsiteY73" fmla="*/ 135 h 10000"/>
                <a:gd name="connsiteX74" fmla="*/ 3709 w 10000"/>
                <a:gd name="connsiteY74" fmla="*/ 135 h 10000"/>
                <a:gd name="connsiteX75" fmla="*/ 3120 w 10000"/>
                <a:gd name="connsiteY75" fmla="*/ 135 h 10000"/>
                <a:gd name="connsiteX76" fmla="*/ 2475 w 10000"/>
                <a:gd name="connsiteY76" fmla="*/ 135 h 10000"/>
                <a:gd name="connsiteX77" fmla="*/ 1884 w 10000"/>
                <a:gd name="connsiteY77" fmla="*/ 135 h 10000"/>
                <a:gd name="connsiteX78" fmla="*/ 1237 w 10000"/>
                <a:gd name="connsiteY78" fmla="*/ 135 h 10000"/>
                <a:gd name="connsiteX79" fmla="*/ 1237 w 10000"/>
                <a:gd name="connsiteY79" fmla="*/ 608 h 10000"/>
                <a:gd name="connsiteX80" fmla="*/ 1237 w 10000"/>
                <a:gd name="connsiteY80" fmla="*/ 1216 h 10000"/>
                <a:gd name="connsiteX81" fmla="*/ 433 w 10000"/>
                <a:gd name="connsiteY81" fmla="*/ 1216 h 10000"/>
                <a:gd name="connsiteX82" fmla="*/ 433 w 10000"/>
                <a:gd name="connsiteY82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8116 w 10000"/>
                <a:gd name="connsiteY63" fmla="*/ 237 h 10000"/>
                <a:gd name="connsiteX64" fmla="*/ 7794 w 10000"/>
                <a:gd name="connsiteY64" fmla="*/ 135 h 10000"/>
                <a:gd name="connsiteX65" fmla="*/ 7096 w 10000"/>
                <a:gd name="connsiteY65" fmla="*/ 135 h 10000"/>
                <a:gd name="connsiteX66" fmla="*/ 6397 w 10000"/>
                <a:gd name="connsiteY66" fmla="*/ 135 h 10000"/>
                <a:gd name="connsiteX67" fmla="*/ 6452 w 10000"/>
                <a:gd name="connsiteY67" fmla="*/ 0 h 10000"/>
                <a:gd name="connsiteX68" fmla="*/ 6343 w 10000"/>
                <a:gd name="connsiteY68" fmla="*/ 0 h 10000"/>
                <a:gd name="connsiteX69" fmla="*/ 6290 w 10000"/>
                <a:gd name="connsiteY69" fmla="*/ 135 h 10000"/>
                <a:gd name="connsiteX70" fmla="*/ 5644 w 10000"/>
                <a:gd name="connsiteY70" fmla="*/ 135 h 10000"/>
                <a:gd name="connsiteX71" fmla="*/ 5002 w 10000"/>
                <a:gd name="connsiteY71" fmla="*/ 135 h 10000"/>
                <a:gd name="connsiteX72" fmla="*/ 4356 w 10000"/>
                <a:gd name="connsiteY72" fmla="*/ 135 h 10000"/>
                <a:gd name="connsiteX73" fmla="*/ 3709 w 10000"/>
                <a:gd name="connsiteY73" fmla="*/ 135 h 10000"/>
                <a:gd name="connsiteX74" fmla="*/ 3120 w 10000"/>
                <a:gd name="connsiteY74" fmla="*/ 135 h 10000"/>
                <a:gd name="connsiteX75" fmla="*/ 2475 w 10000"/>
                <a:gd name="connsiteY75" fmla="*/ 135 h 10000"/>
                <a:gd name="connsiteX76" fmla="*/ 1884 w 10000"/>
                <a:gd name="connsiteY76" fmla="*/ 135 h 10000"/>
                <a:gd name="connsiteX77" fmla="*/ 1237 w 10000"/>
                <a:gd name="connsiteY77" fmla="*/ 135 h 10000"/>
                <a:gd name="connsiteX78" fmla="*/ 1237 w 10000"/>
                <a:gd name="connsiteY78" fmla="*/ 608 h 10000"/>
                <a:gd name="connsiteX79" fmla="*/ 1237 w 10000"/>
                <a:gd name="connsiteY79" fmla="*/ 1216 h 10000"/>
                <a:gd name="connsiteX80" fmla="*/ 433 w 10000"/>
                <a:gd name="connsiteY80" fmla="*/ 1216 h 10000"/>
                <a:gd name="connsiteX81" fmla="*/ 433 w 10000"/>
                <a:gd name="connsiteY81" fmla="*/ 1486 h 10000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7794 w 10000"/>
                <a:gd name="connsiteY63" fmla="*/ 1061 h 10926"/>
                <a:gd name="connsiteX64" fmla="*/ 7096 w 10000"/>
                <a:gd name="connsiteY64" fmla="*/ 1061 h 10926"/>
                <a:gd name="connsiteX65" fmla="*/ 6397 w 10000"/>
                <a:gd name="connsiteY65" fmla="*/ 1061 h 10926"/>
                <a:gd name="connsiteX66" fmla="*/ 6452 w 10000"/>
                <a:gd name="connsiteY66" fmla="*/ 926 h 10926"/>
                <a:gd name="connsiteX67" fmla="*/ 6343 w 10000"/>
                <a:gd name="connsiteY67" fmla="*/ 926 h 10926"/>
                <a:gd name="connsiteX68" fmla="*/ 6290 w 10000"/>
                <a:gd name="connsiteY68" fmla="*/ 1061 h 10926"/>
                <a:gd name="connsiteX69" fmla="*/ 5644 w 10000"/>
                <a:gd name="connsiteY69" fmla="*/ 1061 h 10926"/>
                <a:gd name="connsiteX70" fmla="*/ 5002 w 10000"/>
                <a:gd name="connsiteY70" fmla="*/ 1061 h 10926"/>
                <a:gd name="connsiteX71" fmla="*/ 4356 w 10000"/>
                <a:gd name="connsiteY71" fmla="*/ 1061 h 10926"/>
                <a:gd name="connsiteX72" fmla="*/ 3709 w 10000"/>
                <a:gd name="connsiteY72" fmla="*/ 1061 h 10926"/>
                <a:gd name="connsiteX73" fmla="*/ 3120 w 10000"/>
                <a:gd name="connsiteY73" fmla="*/ 1061 h 10926"/>
                <a:gd name="connsiteX74" fmla="*/ 2475 w 10000"/>
                <a:gd name="connsiteY74" fmla="*/ 1061 h 10926"/>
                <a:gd name="connsiteX75" fmla="*/ 1884 w 10000"/>
                <a:gd name="connsiteY75" fmla="*/ 1061 h 10926"/>
                <a:gd name="connsiteX76" fmla="*/ 1237 w 10000"/>
                <a:gd name="connsiteY76" fmla="*/ 1061 h 10926"/>
                <a:gd name="connsiteX77" fmla="*/ 1237 w 10000"/>
                <a:gd name="connsiteY77" fmla="*/ 1534 h 10926"/>
                <a:gd name="connsiteX78" fmla="*/ 1237 w 10000"/>
                <a:gd name="connsiteY78" fmla="*/ 2142 h 10926"/>
                <a:gd name="connsiteX79" fmla="*/ 433 w 10000"/>
                <a:gd name="connsiteY79" fmla="*/ 2142 h 10926"/>
                <a:gd name="connsiteX80" fmla="*/ 433 w 10000"/>
                <a:gd name="connsiteY80" fmla="*/ 2412 h 10926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7096 w 10000"/>
                <a:gd name="connsiteY63" fmla="*/ 135 h 10000"/>
                <a:gd name="connsiteX64" fmla="*/ 6397 w 10000"/>
                <a:gd name="connsiteY64" fmla="*/ 135 h 10000"/>
                <a:gd name="connsiteX65" fmla="*/ 6452 w 10000"/>
                <a:gd name="connsiteY65" fmla="*/ 0 h 10000"/>
                <a:gd name="connsiteX66" fmla="*/ 6343 w 10000"/>
                <a:gd name="connsiteY66" fmla="*/ 0 h 10000"/>
                <a:gd name="connsiteX67" fmla="*/ 6290 w 10000"/>
                <a:gd name="connsiteY67" fmla="*/ 135 h 10000"/>
                <a:gd name="connsiteX68" fmla="*/ 5644 w 10000"/>
                <a:gd name="connsiteY68" fmla="*/ 135 h 10000"/>
                <a:gd name="connsiteX69" fmla="*/ 5002 w 10000"/>
                <a:gd name="connsiteY69" fmla="*/ 135 h 10000"/>
                <a:gd name="connsiteX70" fmla="*/ 4356 w 10000"/>
                <a:gd name="connsiteY70" fmla="*/ 135 h 10000"/>
                <a:gd name="connsiteX71" fmla="*/ 3709 w 10000"/>
                <a:gd name="connsiteY71" fmla="*/ 135 h 10000"/>
                <a:gd name="connsiteX72" fmla="*/ 3120 w 10000"/>
                <a:gd name="connsiteY72" fmla="*/ 135 h 10000"/>
                <a:gd name="connsiteX73" fmla="*/ 2475 w 10000"/>
                <a:gd name="connsiteY73" fmla="*/ 135 h 10000"/>
                <a:gd name="connsiteX74" fmla="*/ 1884 w 10000"/>
                <a:gd name="connsiteY74" fmla="*/ 135 h 10000"/>
                <a:gd name="connsiteX75" fmla="*/ 1237 w 10000"/>
                <a:gd name="connsiteY75" fmla="*/ 135 h 10000"/>
                <a:gd name="connsiteX76" fmla="*/ 1237 w 10000"/>
                <a:gd name="connsiteY76" fmla="*/ 608 h 10000"/>
                <a:gd name="connsiteX77" fmla="*/ 1237 w 10000"/>
                <a:gd name="connsiteY77" fmla="*/ 1216 h 10000"/>
                <a:gd name="connsiteX78" fmla="*/ 433 w 10000"/>
                <a:gd name="connsiteY78" fmla="*/ 1216 h 10000"/>
                <a:gd name="connsiteX79" fmla="*/ 433 w 10000"/>
                <a:gd name="connsiteY79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397 w 10000"/>
                <a:gd name="connsiteY63" fmla="*/ 135 h 10000"/>
                <a:gd name="connsiteX64" fmla="*/ 6452 w 10000"/>
                <a:gd name="connsiteY64" fmla="*/ 0 h 10000"/>
                <a:gd name="connsiteX65" fmla="*/ 6343 w 10000"/>
                <a:gd name="connsiteY65" fmla="*/ 0 h 10000"/>
                <a:gd name="connsiteX66" fmla="*/ 6290 w 10000"/>
                <a:gd name="connsiteY66" fmla="*/ 135 h 10000"/>
                <a:gd name="connsiteX67" fmla="*/ 5644 w 10000"/>
                <a:gd name="connsiteY67" fmla="*/ 135 h 10000"/>
                <a:gd name="connsiteX68" fmla="*/ 5002 w 10000"/>
                <a:gd name="connsiteY68" fmla="*/ 135 h 10000"/>
                <a:gd name="connsiteX69" fmla="*/ 4356 w 10000"/>
                <a:gd name="connsiteY69" fmla="*/ 135 h 10000"/>
                <a:gd name="connsiteX70" fmla="*/ 3709 w 10000"/>
                <a:gd name="connsiteY70" fmla="*/ 135 h 10000"/>
                <a:gd name="connsiteX71" fmla="*/ 3120 w 10000"/>
                <a:gd name="connsiteY71" fmla="*/ 135 h 10000"/>
                <a:gd name="connsiteX72" fmla="*/ 2475 w 10000"/>
                <a:gd name="connsiteY72" fmla="*/ 135 h 10000"/>
                <a:gd name="connsiteX73" fmla="*/ 1884 w 10000"/>
                <a:gd name="connsiteY73" fmla="*/ 135 h 10000"/>
                <a:gd name="connsiteX74" fmla="*/ 1237 w 10000"/>
                <a:gd name="connsiteY74" fmla="*/ 135 h 10000"/>
                <a:gd name="connsiteX75" fmla="*/ 1237 w 10000"/>
                <a:gd name="connsiteY75" fmla="*/ 608 h 10000"/>
                <a:gd name="connsiteX76" fmla="*/ 1237 w 10000"/>
                <a:gd name="connsiteY76" fmla="*/ 1216 h 10000"/>
                <a:gd name="connsiteX77" fmla="*/ 433 w 10000"/>
                <a:gd name="connsiteY77" fmla="*/ 1216 h 10000"/>
                <a:gd name="connsiteX78" fmla="*/ 433 w 10000"/>
                <a:gd name="connsiteY78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6343 w 10000"/>
                <a:gd name="connsiteY64" fmla="*/ 0 h 10000"/>
                <a:gd name="connsiteX65" fmla="*/ 6290 w 10000"/>
                <a:gd name="connsiteY65" fmla="*/ 135 h 10000"/>
                <a:gd name="connsiteX66" fmla="*/ 5644 w 10000"/>
                <a:gd name="connsiteY66" fmla="*/ 135 h 10000"/>
                <a:gd name="connsiteX67" fmla="*/ 5002 w 10000"/>
                <a:gd name="connsiteY67" fmla="*/ 135 h 10000"/>
                <a:gd name="connsiteX68" fmla="*/ 4356 w 10000"/>
                <a:gd name="connsiteY68" fmla="*/ 135 h 10000"/>
                <a:gd name="connsiteX69" fmla="*/ 3709 w 10000"/>
                <a:gd name="connsiteY69" fmla="*/ 135 h 10000"/>
                <a:gd name="connsiteX70" fmla="*/ 3120 w 10000"/>
                <a:gd name="connsiteY70" fmla="*/ 135 h 10000"/>
                <a:gd name="connsiteX71" fmla="*/ 2475 w 10000"/>
                <a:gd name="connsiteY71" fmla="*/ 135 h 10000"/>
                <a:gd name="connsiteX72" fmla="*/ 1884 w 10000"/>
                <a:gd name="connsiteY72" fmla="*/ 135 h 10000"/>
                <a:gd name="connsiteX73" fmla="*/ 1237 w 10000"/>
                <a:gd name="connsiteY73" fmla="*/ 135 h 10000"/>
                <a:gd name="connsiteX74" fmla="*/ 1237 w 10000"/>
                <a:gd name="connsiteY74" fmla="*/ 608 h 10000"/>
                <a:gd name="connsiteX75" fmla="*/ 1237 w 10000"/>
                <a:gd name="connsiteY75" fmla="*/ 1216 h 10000"/>
                <a:gd name="connsiteX76" fmla="*/ 433 w 10000"/>
                <a:gd name="connsiteY76" fmla="*/ 1216 h 10000"/>
                <a:gd name="connsiteX77" fmla="*/ 433 w 10000"/>
                <a:gd name="connsiteY77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6343 w 10000"/>
                <a:gd name="connsiteY64" fmla="*/ 0 h 10000"/>
                <a:gd name="connsiteX65" fmla="*/ 5644 w 10000"/>
                <a:gd name="connsiteY65" fmla="*/ 135 h 10000"/>
                <a:gd name="connsiteX66" fmla="*/ 5002 w 10000"/>
                <a:gd name="connsiteY66" fmla="*/ 135 h 10000"/>
                <a:gd name="connsiteX67" fmla="*/ 4356 w 10000"/>
                <a:gd name="connsiteY67" fmla="*/ 135 h 10000"/>
                <a:gd name="connsiteX68" fmla="*/ 3709 w 10000"/>
                <a:gd name="connsiteY68" fmla="*/ 135 h 10000"/>
                <a:gd name="connsiteX69" fmla="*/ 3120 w 10000"/>
                <a:gd name="connsiteY69" fmla="*/ 135 h 10000"/>
                <a:gd name="connsiteX70" fmla="*/ 2475 w 10000"/>
                <a:gd name="connsiteY70" fmla="*/ 135 h 10000"/>
                <a:gd name="connsiteX71" fmla="*/ 1884 w 10000"/>
                <a:gd name="connsiteY71" fmla="*/ 135 h 10000"/>
                <a:gd name="connsiteX72" fmla="*/ 1237 w 10000"/>
                <a:gd name="connsiteY72" fmla="*/ 135 h 10000"/>
                <a:gd name="connsiteX73" fmla="*/ 1237 w 10000"/>
                <a:gd name="connsiteY73" fmla="*/ 608 h 10000"/>
                <a:gd name="connsiteX74" fmla="*/ 1237 w 10000"/>
                <a:gd name="connsiteY74" fmla="*/ 1216 h 10000"/>
                <a:gd name="connsiteX75" fmla="*/ 433 w 10000"/>
                <a:gd name="connsiteY75" fmla="*/ 1216 h 10000"/>
                <a:gd name="connsiteX76" fmla="*/ 433 w 10000"/>
                <a:gd name="connsiteY76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5644 w 10000"/>
                <a:gd name="connsiteY64" fmla="*/ 135 h 10000"/>
                <a:gd name="connsiteX65" fmla="*/ 5002 w 10000"/>
                <a:gd name="connsiteY65" fmla="*/ 135 h 10000"/>
                <a:gd name="connsiteX66" fmla="*/ 4356 w 10000"/>
                <a:gd name="connsiteY66" fmla="*/ 135 h 10000"/>
                <a:gd name="connsiteX67" fmla="*/ 3709 w 10000"/>
                <a:gd name="connsiteY67" fmla="*/ 135 h 10000"/>
                <a:gd name="connsiteX68" fmla="*/ 3120 w 10000"/>
                <a:gd name="connsiteY68" fmla="*/ 135 h 10000"/>
                <a:gd name="connsiteX69" fmla="*/ 2475 w 10000"/>
                <a:gd name="connsiteY69" fmla="*/ 135 h 10000"/>
                <a:gd name="connsiteX70" fmla="*/ 1884 w 10000"/>
                <a:gd name="connsiteY70" fmla="*/ 135 h 10000"/>
                <a:gd name="connsiteX71" fmla="*/ 1237 w 10000"/>
                <a:gd name="connsiteY71" fmla="*/ 135 h 10000"/>
                <a:gd name="connsiteX72" fmla="*/ 1237 w 10000"/>
                <a:gd name="connsiteY72" fmla="*/ 608 h 10000"/>
                <a:gd name="connsiteX73" fmla="*/ 1237 w 10000"/>
                <a:gd name="connsiteY73" fmla="*/ 1216 h 10000"/>
                <a:gd name="connsiteX74" fmla="*/ 433 w 10000"/>
                <a:gd name="connsiteY74" fmla="*/ 1216 h 10000"/>
                <a:gd name="connsiteX75" fmla="*/ 433 w 10000"/>
                <a:gd name="connsiteY75" fmla="*/ 1486 h 10000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5644 w 10000"/>
                <a:gd name="connsiteY63" fmla="*/ 1061 h 10926"/>
                <a:gd name="connsiteX64" fmla="*/ 5002 w 10000"/>
                <a:gd name="connsiteY64" fmla="*/ 1061 h 10926"/>
                <a:gd name="connsiteX65" fmla="*/ 4356 w 10000"/>
                <a:gd name="connsiteY65" fmla="*/ 1061 h 10926"/>
                <a:gd name="connsiteX66" fmla="*/ 3709 w 10000"/>
                <a:gd name="connsiteY66" fmla="*/ 1061 h 10926"/>
                <a:gd name="connsiteX67" fmla="*/ 3120 w 10000"/>
                <a:gd name="connsiteY67" fmla="*/ 1061 h 10926"/>
                <a:gd name="connsiteX68" fmla="*/ 2475 w 10000"/>
                <a:gd name="connsiteY68" fmla="*/ 1061 h 10926"/>
                <a:gd name="connsiteX69" fmla="*/ 1884 w 10000"/>
                <a:gd name="connsiteY69" fmla="*/ 1061 h 10926"/>
                <a:gd name="connsiteX70" fmla="*/ 1237 w 10000"/>
                <a:gd name="connsiteY70" fmla="*/ 1061 h 10926"/>
                <a:gd name="connsiteX71" fmla="*/ 1237 w 10000"/>
                <a:gd name="connsiteY71" fmla="*/ 1534 h 10926"/>
                <a:gd name="connsiteX72" fmla="*/ 1237 w 10000"/>
                <a:gd name="connsiteY72" fmla="*/ 2142 h 10926"/>
                <a:gd name="connsiteX73" fmla="*/ 433 w 10000"/>
                <a:gd name="connsiteY73" fmla="*/ 2142 h 10926"/>
                <a:gd name="connsiteX74" fmla="*/ 433 w 10000"/>
                <a:gd name="connsiteY74" fmla="*/ 2412 h 10926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5002 w 10000"/>
                <a:gd name="connsiteY63" fmla="*/ 1061 h 10926"/>
                <a:gd name="connsiteX64" fmla="*/ 4356 w 10000"/>
                <a:gd name="connsiteY64" fmla="*/ 1061 h 10926"/>
                <a:gd name="connsiteX65" fmla="*/ 3709 w 10000"/>
                <a:gd name="connsiteY65" fmla="*/ 1061 h 10926"/>
                <a:gd name="connsiteX66" fmla="*/ 3120 w 10000"/>
                <a:gd name="connsiteY66" fmla="*/ 1061 h 10926"/>
                <a:gd name="connsiteX67" fmla="*/ 2475 w 10000"/>
                <a:gd name="connsiteY67" fmla="*/ 1061 h 10926"/>
                <a:gd name="connsiteX68" fmla="*/ 1884 w 10000"/>
                <a:gd name="connsiteY68" fmla="*/ 1061 h 10926"/>
                <a:gd name="connsiteX69" fmla="*/ 1237 w 10000"/>
                <a:gd name="connsiteY69" fmla="*/ 1061 h 10926"/>
                <a:gd name="connsiteX70" fmla="*/ 1237 w 10000"/>
                <a:gd name="connsiteY70" fmla="*/ 1534 h 10926"/>
                <a:gd name="connsiteX71" fmla="*/ 1237 w 10000"/>
                <a:gd name="connsiteY71" fmla="*/ 2142 h 10926"/>
                <a:gd name="connsiteX72" fmla="*/ 433 w 10000"/>
                <a:gd name="connsiteY72" fmla="*/ 2142 h 10926"/>
                <a:gd name="connsiteX73" fmla="*/ 433 w 10000"/>
                <a:gd name="connsiteY73" fmla="*/ 2412 h 10926"/>
                <a:gd name="connsiteX0" fmla="*/ 433 w 10000"/>
                <a:gd name="connsiteY0" fmla="*/ 1351 h 9865"/>
                <a:gd name="connsiteX1" fmla="*/ 6675 w 10000"/>
                <a:gd name="connsiteY1" fmla="*/ 6624 h 9865"/>
                <a:gd name="connsiteX2" fmla="*/ 6234 w 10000"/>
                <a:gd name="connsiteY2" fmla="*/ 6833 h 9865"/>
                <a:gd name="connsiteX3" fmla="*/ 5864 w 10000"/>
                <a:gd name="connsiteY3" fmla="*/ 6615 h 9865"/>
                <a:gd name="connsiteX4" fmla="*/ 5325 w 10000"/>
                <a:gd name="connsiteY4" fmla="*/ 6483 h 9865"/>
                <a:gd name="connsiteX5" fmla="*/ 5058 w 10000"/>
                <a:gd name="connsiteY5" fmla="*/ 6780 h 9865"/>
                <a:gd name="connsiteX6" fmla="*/ 4396 w 10000"/>
                <a:gd name="connsiteY6" fmla="*/ 7008 h 9865"/>
                <a:gd name="connsiteX7" fmla="*/ 3972 w 10000"/>
                <a:gd name="connsiteY7" fmla="*/ 7006 h 9865"/>
                <a:gd name="connsiteX8" fmla="*/ 3044 w 10000"/>
                <a:gd name="connsiteY8" fmla="*/ 6813 h 9865"/>
                <a:gd name="connsiteX9" fmla="*/ 2796 w 10000"/>
                <a:gd name="connsiteY9" fmla="*/ 6917 h 9865"/>
                <a:gd name="connsiteX10" fmla="*/ 2177 w 10000"/>
                <a:gd name="connsiteY10" fmla="*/ 6684 h 9865"/>
                <a:gd name="connsiteX11" fmla="*/ 1903 w 10000"/>
                <a:gd name="connsiteY11" fmla="*/ 6332 h 9865"/>
                <a:gd name="connsiteX12" fmla="*/ 1449 w 10000"/>
                <a:gd name="connsiteY12" fmla="*/ 6428 h 9865"/>
                <a:gd name="connsiteX13" fmla="*/ 1324 w 10000"/>
                <a:gd name="connsiteY13" fmla="*/ 6636 h 9865"/>
                <a:gd name="connsiteX14" fmla="*/ 845 w 10000"/>
                <a:gd name="connsiteY14" fmla="*/ 6725 h 9865"/>
                <a:gd name="connsiteX15" fmla="*/ 526 w 10000"/>
                <a:gd name="connsiteY15" fmla="*/ 6717 h 9865"/>
                <a:gd name="connsiteX16" fmla="*/ 354 w 10000"/>
                <a:gd name="connsiteY16" fmla="*/ 6882 h 9865"/>
                <a:gd name="connsiteX17" fmla="*/ 56 w 10000"/>
                <a:gd name="connsiteY17" fmla="*/ 6622 h 9865"/>
                <a:gd name="connsiteX18" fmla="*/ 0 w 10000"/>
                <a:gd name="connsiteY18" fmla="*/ 7094 h 9865"/>
                <a:gd name="connsiteX19" fmla="*/ 106 w 10000"/>
                <a:gd name="connsiteY19" fmla="*/ 7162 h 9865"/>
                <a:gd name="connsiteX20" fmla="*/ 538 w 10000"/>
                <a:gd name="connsiteY20" fmla="*/ 7196 h 9865"/>
                <a:gd name="connsiteX21" fmla="*/ 596 w 10000"/>
                <a:gd name="connsiteY21" fmla="*/ 7330 h 9865"/>
                <a:gd name="connsiteX22" fmla="*/ 1075 w 10000"/>
                <a:gd name="connsiteY22" fmla="*/ 7365 h 9865"/>
                <a:gd name="connsiteX23" fmla="*/ 1346 w 10000"/>
                <a:gd name="connsiteY23" fmla="*/ 7500 h 9865"/>
                <a:gd name="connsiteX24" fmla="*/ 1397 w 10000"/>
                <a:gd name="connsiteY24" fmla="*/ 7737 h 9865"/>
                <a:gd name="connsiteX25" fmla="*/ 2260 w 10000"/>
                <a:gd name="connsiteY25" fmla="*/ 8142 h 9865"/>
                <a:gd name="connsiteX26" fmla="*/ 2475 w 10000"/>
                <a:gd name="connsiteY26" fmla="*/ 8548 h 9865"/>
                <a:gd name="connsiteX27" fmla="*/ 3064 w 10000"/>
                <a:gd name="connsiteY27" fmla="*/ 8751 h 9865"/>
                <a:gd name="connsiteX28" fmla="*/ 3280 w 10000"/>
                <a:gd name="connsiteY28" fmla="*/ 9019 h 9865"/>
                <a:gd name="connsiteX29" fmla="*/ 3709 w 10000"/>
                <a:gd name="connsiteY29" fmla="*/ 9359 h 9865"/>
                <a:gd name="connsiteX30" fmla="*/ 4034 w 10000"/>
                <a:gd name="connsiteY30" fmla="*/ 9459 h 9865"/>
                <a:gd name="connsiteX31" fmla="*/ 4248 w 10000"/>
                <a:gd name="connsiteY31" fmla="*/ 9359 h 9865"/>
                <a:gd name="connsiteX32" fmla="*/ 4785 w 10000"/>
                <a:gd name="connsiteY32" fmla="*/ 9392 h 9865"/>
                <a:gd name="connsiteX33" fmla="*/ 5002 w 10000"/>
                <a:gd name="connsiteY33" fmla="*/ 9324 h 9865"/>
                <a:gd name="connsiteX34" fmla="*/ 5967 w 10000"/>
                <a:gd name="connsiteY34" fmla="*/ 9832 h 9865"/>
                <a:gd name="connsiteX35" fmla="*/ 6021 w 10000"/>
                <a:gd name="connsiteY35" fmla="*/ 9832 h 9865"/>
                <a:gd name="connsiteX36" fmla="*/ 6130 w 10000"/>
                <a:gd name="connsiteY36" fmla="*/ 9764 h 9865"/>
                <a:gd name="connsiteX37" fmla="*/ 6823 w 10000"/>
                <a:gd name="connsiteY37" fmla="*/ 9764 h 9865"/>
                <a:gd name="connsiteX38" fmla="*/ 6936 w 10000"/>
                <a:gd name="connsiteY38" fmla="*/ 9865 h 9865"/>
                <a:gd name="connsiteX39" fmla="*/ 7526 w 10000"/>
                <a:gd name="connsiteY39" fmla="*/ 9729 h 9865"/>
                <a:gd name="connsiteX40" fmla="*/ 8062 w 10000"/>
                <a:gd name="connsiteY40" fmla="*/ 9729 h 9865"/>
                <a:gd name="connsiteX41" fmla="*/ 8438 w 10000"/>
                <a:gd name="connsiteY41" fmla="*/ 9595 h 9865"/>
                <a:gd name="connsiteX42" fmla="*/ 8871 w 10000"/>
                <a:gd name="connsiteY42" fmla="*/ 9324 h 9865"/>
                <a:gd name="connsiteX43" fmla="*/ 10000 w 10000"/>
                <a:gd name="connsiteY43" fmla="*/ 9324 h 9865"/>
                <a:gd name="connsiteX44" fmla="*/ 10000 w 10000"/>
                <a:gd name="connsiteY44" fmla="*/ 8953 h 9865"/>
                <a:gd name="connsiteX45" fmla="*/ 9409 w 10000"/>
                <a:gd name="connsiteY45" fmla="*/ 8785 h 9865"/>
                <a:gd name="connsiteX46" fmla="*/ 9083 w 10000"/>
                <a:gd name="connsiteY46" fmla="*/ 8244 h 9865"/>
                <a:gd name="connsiteX47" fmla="*/ 8655 w 10000"/>
                <a:gd name="connsiteY47" fmla="*/ 8041 h 9865"/>
                <a:gd name="connsiteX48" fmla="*/ 8385 w 10000"/>
                <a:gd name="connsiteY48" fmla="*/ 7770 h 9865"/>
                <a:gd name="connsiteX49" fmla="*/ 7687 w 10000"/>
                <a:gd name="connsiteY49" fmla="*/ 7568 h 9865"/>
                <a:gd name="connsiteX50" fmla="*/ 7848 w 10000"/>
                <a:gd name="connsiteY50" fmla="*/ 7500 h 9865"/>
                <a:gd name="connsiteX51" fmla="*/ 7848 w 10000"/>
                <a:gd name="connsiteY51" fmla="*/ 7330 h 9865"/>
                <a:gd name="connsiteX52" fmla="*/ 8334 w 10000"/>
                <a:gd name="connsiteY52" fmla="*/ 7330 h 9865"/>
                <a:gd name="connsiteX53" fmla="*/ 8599 w 10000"/>
                <a:gd name="connsiteY53" fmla="*/ 7196 h 9865"/>
                <a:gd name="connsiteX54" fmla="*/ 8655 w 10000"/>
                <a:gd name="connsiteY54" fmla="*/ 6217 h 9865"/>
                <a:gd name="connsiteX55" fmla="*/ 8707 w 10000"/>
                <a:gd name="connsiteY55" fmla="*/ 6250 h 9865"/>
                <a:gd name="connsiteX56" fmla="*/ 8517 w 10000"/>
                <a:gd name="connsiteY56" fmla="*/ 6312 h 9865"/>
                <a:gd name="connsiteX57" fmla="*/ 8440 w 10000"/>
                <a:gd name="connsiteY57" fmla="*/ 6444 h 9865"/>
                <a:gd name="connsiteX58" fmla="*/ 7961 w 10000"/>
                <a:gd name="connsiteY58" fmla="*/ 6184 h 9865"/>
                <a:gd name="connsiteX59" fmla="*/ 7874 w 10000"/>
                <a:gd name="connsiteY59" fmla="*/ 5481 h 9865"/>
                <a:gd name="connsiteX60" fmla="*/ 7361 w 10000"/>
                <a:gd name="connsiteY60" fmla="*/ 5786 h 9865"/>
                <a:gd name="connsiteX61" fmla="*/ 7369 w 10000"/>
                <a:gd name="connsiteY61" fmla="*/ 6148 h 9865"/>
                <a:gd name="connsiteX62" fmla="*/ 6955 w 10000"/>
                <a:gd name="connsiteY62" fmla="*/ 6366 h 9865"/>
                <a:gd name="connsiteX63" fmla="*/ 4356 w 10000"/>
                <a:gd name="connsiteY63" fmla="*/ 0 h 9865"/>
                <a:gd name="connsiteX64" fmla="*/ 3709 w 10000"/>
                <a:gd name="connsiteY64" fmla="*/ 0 h 9865"/>
                <a:gd name="connsiteX65" fmla="*/ 3120 w 10000"/>
                <a:gd name="connsiteY65" fmla="*/ 0 h 9865"/>
                <a:gd name="connsiteX66" fmla="*/ 2475 w 10000"/>
                <a:gd name="connsiteY66" fmla="*/ 0 h 9865"/>
                <a:gd name="connsiteX67" fmla="*/ 1884 w 10000"/>
                <a:gd name="connsiteY67" fmla="*/ 0 h 9865"/>
                <a:gd name="connsiteX68" fmla="*/ 1237 w 10000"/>
                <a:gd name="connsiteY68" fmla="*/ 0 h 9865"/>
                <a:gd name="connsiteX69" fmla="*/ 1237 w 10000"/>
                <a:gd name="connsiteY69" fmla="*/ 473 h 9865"/>
                <a:gd name="connsiteX70" fmla="*/ 1237 w 10000"/>
                <a:gd name="connsiteY70" fmla="*/ 1081 h 9865"/>
                <a:gd name="connsiteX71" fmla="*/ 433 w 10000"/>
                <a:gd name="connsiteY71" fmla="*/ 1081 h 9865"/>
                <a:gd name="connsiteX72" fmla="*/ 433 w 10000"/>
                <a:gd name="connsiteY72" fmla="*/ 1351 h 9865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3709 w 10000"/>
                <a:gd name="connsiteY63" fmla="*/ 0 h 10000"/>
                <a:gd name="connsiteX64" fmla="*/ 3120 w 10000"/>
                <a:gd name="connsiteY64" fmla="*/ 0 h 10000"/>
                <a:gd name="connsiteX65" fmla="*/ 2475 w 10000"/>
                <a:gd name="connsiteY65" fmla="*/ 0 h 10000"/>
                <a:gd name="connsiteX66" fmla="*/ 1884 w 10000"/>
                <a:gd name="connsiteY66" fmla="*/ 0 h 10000"/>
                <a:gd name="connsiteX67" fmla="*/ 1237 w 10000"/>
                <a:gd name="connsiteY67" fmla="*/ 0 h 10000"/>
                <a:gd name="connsiteX68" fmla="*/ 1237 w 10000"/>
                <a:gd name="connsiteY68" fmla="*/ 479 h 10000"/>
                <a:gd name="connsiteX69" fmla="*/ 1237 w 10000"/>
                <a:gd name="connsiteY69" fmla="*/ 1096 h 10000"/>
                <a:gd name="connsiteX70" fmla="*/ 433 w 10000"/>
                <a:gd name="connsiteY70" fmla="*/ 1096 h 10000"/>
                <a:gd name="connsiteX71" fmla="*/ 433 w 10000"/>
                <a:gd name="connsiteY71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3120 w 10000"/>
                <a:gd name="connsiteY63" fmla="*/ 0 h 10000"/>
                <a:gd name="connsiteX64" fmla="*/ 2475 w 10000"/>
                <a:gd name="connsiteY64" fmla="*/ 0 h 10000"/>
                <a:gd name="connsiteX65" fmla="*/ 1884 w 10000"/>
                <a:gd name="connsiteY65" fmla="*/ 0 h 10000"/>
                <a:gd name="connsiteX66" fmla="*/ 1237 w 10000"/>
                <a:gd name="connsiteY66" fmla="*/ 0 h 10000"/>
                <a:gd name="connsiteX67" fmla="*/ 1237 w 10000"/>
                <a:gd name="connsiteY67" fmla="*/ 479 h 10000"/>
                <a:gd name="connsiteX68" fmla="*/ 1237 w 10000"/>
                <a:gd name="connsiteY68" fmla="*/ 1096 h 10000"/>
                <a:gd name="connsiteX69" fmla="*/ 433 w 10000"/>
                <a:gd name="connsiteY69" fmla="*/ 1096 h 10000"/>
                <a:gd name="connsiteX70" fmla="*/ 433 w 10000"/>
                <a:gd name="connsiteY70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2475 w 10000"/>
                <a:gd name="connsiteY63" fmla="*/ 0 h 10000"/>
                <a:gd name="connsiteX64" fmla="*/ 1884 w 10000"/>
                <a:gd name="connsiteY64" fmla="*/ 0 h 10000"/>
                <a:gd name="connsiteX65" fmla="*/ 1237 w 10000"/>
                <a:gd name="connsiteY65" fmla="*/ 0 h 10000"/>
                <a:gd name="connsiteX66" fmla="*/ 1237 w 10000"/>
                <a:gd name="connsiteY66" fmla="*/ 479 h 10000"/>
                <a:gd name="connsiteX67" fmla="*/ 1237 w 10000"/>
                <a:gd name="connsiteY67" fmla="*/ 1096 h 10000"/>
                <a:gd name="connsiteX68" fmla="*/ 433 w 10000"/>
                <a:gd name="connsiteY68" fmla="*/ 1096 h 10000"/>
                <a:gd name="connsiteX69" fmla="*/ 433 w 10000"/>
                <a:gd name="connsiteY69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1884 w 10000"/>
                <a:gd name="connsiteY63" fmla="*/ 0 h 10000"/>
                <a:gd name="connsiteX64" fmla="*/ 1237 w 10000"/>
                <a:gd name="connsiteY64" fmla="*/ 0 h 10000"/>
                <a:gd name="connsiteX65" fmla="*/ 1237 w 10000"/>
                <a:gd name="connsiteY65" fmla="*/ 479 h 10000"/>
                <a:gd name="connsiteX66" fmla="*/ 1237 w 10000"/>
                <a:gd name="connsiteY66" fmla="*/ 1096 h 10000"/>
                <a:gd name="connsiteX67" fmla="*/ 433 w 10000"/>
                <a:gd name="connsiteY67" fmla="*/ 1096 h 10000"/>
                <a:gd name="connsiteX68" fmla="*/ 433 w 10000"/>
                <a:gd name="connsiteY68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1237 w 10000"/>
                <a:gd name="connsiteY63" fmla="*/ 0 h 10000"/>
                <a:gd name="connsiteX64" fmla="*/ 1237 w 10000"/>
                <a:gd name="connsiteY64" fmla="*/ 479 h 10000"/>
                <a:gd name="connsiteX65" fmla="*/ 1237 w 10000"/>
                <a:gd name="connsiteY65" fmla="*/ 1096 h 10000"/>
                <a:gd name="connsiteX66" fmla="*/ 433 w 10000"/>
                <a:gd name="connsiteY66" fmla="*/ 1096 h 10000"/>
                <a:gd name="connsiteX67" fmla="*/ 433 w 10000"/>
                <a:gd name="connsiteY67" fmla="*/ 1369 h 10000"/>
                <a:gd name="connsiteX0" fmla="*/ 433 w 10000"/>
                <a:gd name="connsiteY0" fmla="*/ 890 h 9521"/>
                <a:gd name="connsiteX1" fmla="*/ 6675 w 10000"/>
                <a:gd name="connsiteY1" fmla="*/ 6236 h 9521"/>
                <a:gd name="connsiteX2" fmla="*/ 6234 w 10000"/>
                <a:gd name="connsiteY2" fmla="*/ 6448 h 9521"/>
                <a:gd name="connsiteX3" fmla="*/ 5864 w 10000"/>
                <a:gd name="connsiteY3" fmla="*/ 6227 h 9521"/>
                <a:gd name="connsiteX4" fmla="*/ 5325 w 10000"/>
                <a:gd name="connsiteY4" fmla="*/ 6093 h 9521"/>
                <a:gd name="connsiteX5" fmla="*/ 5058 w 10000"/>
                <a:gd name="connsiteY5" fmla="*/ 6394 h 9521"/>
                <a:gd name="connsiteX6" fmla="*/ 4396 w 10000"/>
                <a:gd name="connsiteY6" fmla="*/ 6625 h 9521"/>
                <a:gd name="connsiteX7" fmla="*/ 3972 w 10000"/>
                <a:gd name="connsiteY7" fmla="*/ 6623 h 9521"/>
                <a:gd name="connsiteX8" fmla="*/ 3044 w 10000"/>
                <a:gd name="connsiteY8" fmla="*/ 6427 h 9521"/>
                <a:gd name="connsiteX9" fmla="*/ 2796 w 10000"/>
                <a:gd name="connsiteY9" fmla="*/ 6533 h 9521"/>
                <a:gd name="connsiteX10" fmla="*/ 2177 w 10000"/>
                <a:gd name="connsiteY10" fmla="*/ 6296 h 9521"/>
                <a:gd name="connsiteX11" fmla="*/ 1903 w 10000"/>
                <a:gd name="connsiteY11" fmla="*/ 5940 h 9521"/>
                <a:gd name="connsiteX12" fmla="*/ 1449 w 10000"/>
                <a:gd name="connsiteY12" fmla="*/ 6037 h 9521"/>
                <a:gd name="connsiteX13" fmla="*/ 1324 w 10000"/>
                <a:gd name="connsiteY13" fmla="*/ 6248 h 9521"/>
                <a:gd name="connsiteX14" fmla="*/ 845 w 10000"/>
                <a:gd name="connsiteY14" fmla="*/ 6338 h 9521"/>
                <a:gd name="connsiteX15" fmla="*/ 526 w 10000"/>
                <a:gd name="connsiteY15" fmla="*/ 6330 h 9521"/>
                <a:gd name="connsiteX16" fmla="*/ 354 w 10000"/>
                <a:gd name="connsiteY16" fmla="*/ 6497 h 9521"/>
                <a:gd name="connsiteX17" fmla="*/ 56 w 10000"/>
                <a:gd name="connsiteY17" fmla="*/ 6234 h 9521"/>
                <a:gd name="connsiteX18" fmla="*/ 0 w 10000"/>
                <a:gd name="connsiteY18" fmla="*/ 6712 h 9521"/>
                <a:gd name="connsiteX19" fmla="*/ 106 w 10000"/>
                <a:gd name="connsiteY19" fmla="*/ 6781 h 9521"/>
                <a:gd name="connsiteX20" fmla="*/ 538 w 10000"/>
                <a:gd name="connsiteY20" fmla="*/ 6815 h 9521"/>
                <a:gd name="connsiteX21" fmla="*/ 596 w 10000"/>
                <a:gd name="connsiteY21" fmla="*/ 6951 h 9521"/>
                <a:gd name="connsiteX22" fmla="*/ 1075 w 10000"/>
                <a:gd name="connsiteY22" fmla="*/ 6987 h 9521"/>
                <a:gd name="connsiteX23" fmla="*/ 1346 w 10000"/>
                <a:gd name="connsiteY23" fmla="*/ 7124 h 9521"/>
                <a:gd name="connsiteX24" fmla="*/ 1397 w 10000"/>
                <a:gd name="connsiteY24" fmla="*/ 7364 h 9521"/>
                <a:gd name="connsiteX25" fmla="*/ 2260 w 10000"/>
                <a:gd name="connsiteY25" fmla="*/ 7774 h 9521"/>
                <a:gd name="connsiteX26" fmla="*/ 2475 w 10000"/>
                <a:gd name="connsiteY26" fmla="*/ 8186 h 9521"/>
                <a:gd name="connsiteX27" fmla="*/ 3064 w 10000"/>
                <a:gd name="connsiteY27" fmla="*/ 8392 h 9521"/>
                <a:gd name="connsiteX28" fmla="*/ 3280 w 10000"/>
                <a:gd name="connsiteY28" fmla="*/ 8663 h 9521"/>
                <a:gd name="connsiteX29" fmla="*/ 3709 w 10000"/>
                <a:gd name="connsiteY29" fmla="*/ 9008 h 9521"/>
                <a:gd name="connsiteX30" fmla="*/ 4034 w 10000"/>
                <a:gd name="connsiteY30" fmla="*/ 9109 h 9521"/>
                <a:gd name="connsiteX31" fmla="*/ 4248 w 10000"/>
                <a:gd name="connsiteY31" fmla="*/ 9008 h 9521"/>
                <a:gd name="connsiteX32" fmla="*/ 4785 w 10000"/>
                <a:gd name="connsiteY32" fmla="*/ 9042 h 9521"/>
                <a:gd name="connsiteX33" fmla="*/ 5002 w 10000"/>
                <a:gd name="connsiteY33" fmla="*/ 8973 h 9521"/>
                <a:gd name="connsiteX34" fmla="*/ 5967 w 10000"/>
                <a:gd name="connsiteY34" fmla="*/ 9488 h 9521"/>
                <a:gd name="connsiteX35" fmla="*/ 6021 w 10000"/>
                <a:gd name="connsiteY35" fmla="*/ 9488 h 9521"/>
                <a:gd name="connsiteX36" fmla="*/ 6130 w 10000"/>
                <a:gd name="connsiteY36" fmla="*/ 9419 h 9521"/>
                <a:gd name="connsiteX37" fmla="*/ 6823 w 10000"/>
                <a:gd name="connsiteY37" fmla="*/ 9419 h 9521"/>
                <a:gd name="connsiteX38" fmla="*/ 6936 w 10000"/>
                <a:gd name="connsiteY38" fmla="*/ 9521 h 9521"/>
                <a:gd name="connsiteX39" fmla="*/ 7526 w 10000"/>
                <a:gd name="connsiteY39" fmla="*/ 9383 h 9521"/>
                <a:gd name="connsiteX40" fmla="*/ 8062 w 10000"/>
                <a:gd name="connsiteY40" fmla="*/ 9383 h 9521"/>
                <a:gd name="connsiteX41" fmla="*/ 8438 w 10000"/>
                <a:gd name="connsiteY41" fmla="*/ 9247 h 9521"/>
                <a:gd name="connsiteX42" fmla="*/ 8871 w 10000"/>
                <a:gd name="connsiteY42" fmla="*/ 8973 h 9521"/>
                <a:gd name="connsiteX43" fmla="*/ 10000 w 10000"/>
                <a:gd name="connsiteY43" fmla="*/ 8973 h 9521"/>
                <a:gd name="connsiteX44" fmla="*/ 10000 w 10000"/>
                <a:gd name="connsiteY44" fmla="*/ 8597 h 9521"/>
                <a:gd name="connsiteX45" fmla="*/ 9409 w 10000"/>
                <a:gd name="connsiteY45" fmla="*/ 8426 h 9521"/>
                <a:gd name="connsiteX46" fmla="*/ 9083 w 10000"/>
                <a:gd name="connsiteY46" fmla="*/ 7878 h 9521"/>
                <a:gd name="connsiteX47" fmla="*/ 8655 w 10000"/>
                <a:gd name="connsiteY47" fmla="*/ 7672 h 9521"/>
                <a:gd name="connsiteX48" fmla="*/ 8385 w 10000"/>
                <a:gd name="connsiteY48" fmla="*/ 7397 h 9521"/>
                <a:gd name="connsiteX49" fmla="*/ 7687 w 10000"/>
                <a:gd name="connsiteY49" fmla="*/ 7193 h 9521"/>
                <a:gd name="connsiteX50" fmla="*/ 7848 w 10000"/>
                <a:gd name="connsiteY50" fmla="*/ 7124 h 9521"/>
                <a:gd name="connsiteX51" fmla="*/ 7848 w 10000"/>
                <a:gd name="connsiteY51" fmla="*/ 6951 h 9521"/>
                <a:gd name="connsiteX52" fmla="*/ 8334 w 10000"/>
                <a:gd name="connsiteY52" fmla="*/ 6951 h 9521"/>
                <a:gd name="connsiteX53" fmla="*/ 8599 w 10000"/>
                <a:gd name="connsiteY53" fmla="*/ 6815 h 9521"/>
                <a:gd name="connsiteX54" fmla="*/ 8655 w 10000"/>
                <a:gd name="connsiteY54" fmla="*/ 5823 h 9521"/>
                <a:gd name="connsiteX55" fmla="*/ 8707 w 10000"/>
                <a:gd name="connsiteY55" fmla="*/ 5857 h 9521"/>
                <a:gd name="connsiteX56" fmla="*/ 8517 w 10000"/>
                <a:gd name="connsiteY56" fmla="*/ 5919 h 9521"/>
                <a:gd name="connsiteX57" fmla="*/ 8440 w 10000"/>
                <a:gd name="connsiteY57" fmla="*/ 6053 h 9521"/>
                <a:gd name="connsiteX58" fmla="*/ 7961 w 10000"/>
                <a:gd name="connsiteY58" fmla="*/ 5790 h 9521"/>
                <a:gd name="connsiteX59" fmla="*/ 7874 w 10000"/>
                <a:gd name="connsiteY59" fmla="*/ 5077 h 9521"/>
                <a:gd name="connsiteX60" fmla="*/ 7361 w 10000"/>
                <a:gd name="connsiteY60" fmla="*/ 5386 h 9521"/>
                <a:gd name="connsiteX61" fmla="*/ 7369 w 10000"/>
                <a:gd name="connsiteY61" fmla="*/ 5753 h 9521"/>
                <a:gd name="connsiteX62" fmla="*/ 6955 w 10000"/>
                <a:gd name="connsiteY62" fmla="*/ 5974 h 9521"/>
                <a:gd name="connsiteX63" fmla="*/ 1237 w 10000"/>
                <a:gd name="connsiteY63" fmla="*/ 0 h 9521"/>
                <a:gd name="connsiteX64" fmla="*/ 1237 w 10000"/>
                <a:gd name="connsiteY64" fmla="*/ 617 h 9521"/>
                <a:gd name="connsiteX65" fmla="*/ 433 w 10000"/>
                <a:gd name="connsiteY65" fmla="*/ 617 h 9521"/>
                <a:gd name="connsiteX66" fmla="*/ 433 w 10000"/>
                <a:gd name="connsiteY66" fmla="*/ 890 h 9521"/>
                <a:gd name="connsiteX0" fmla="*/ 433 w 10000"/>
                <a:gd name="connsiteY0" fmla="*/ 287 h 9352"/>
                <a:gd name="connsiteX1" fmla="*/ 6675 w 10000"/>
                <a:gd name="connsiteY1" fmla="*/ 5902 h 9352"/>
                <a:gd name="connsiteX2" fmla="*/ 6234 w 10000"/>
                <a:gd name="connsiteY2" fmla="*/ 6124 h 9352"/>
                <a:gd name="connsiteX3" fmla="*/ 5864 w 10000"/>
                <a:gd name="connsiteY3" fmla="*/ 5892 h 9352"/>
                <a:gd name="connsiteX4" fmla="*/ 5325 w 10000"/>
                <a:gd name="connsiteY4" fmla="*/ 5752 h 9352"/>
                <a:gd name="connsiteX5" fmla="*/ 5058 w 10000"/>
                <a:gd name="connsiteY5" fmla="*/ 6068 h 9352"/>
                <a:gd name="connsiteX6" fmla="*/ 4396 w 10000"/>
                <a:gd name="connsiteY6" fmla="*/ 6310 h 9352"/>
                <a:gd name="connsiteX7" fmla="*/ 3972 w 10000"/>
                <a:gd name="connsiteY7" fmla="*/ 6308 h 9352"/>
                <a:gd name="connsiteX8" fmla="*/ 3044 w 10000"/>
                <a:gd name="connsiteY8" fmla="*/ 6102 h 9352"/>
                <a:gd name="connsiteX9" fmla="*/ 2796 w 10000"/>
                <a:gd name="connsiteY9" fmla="*/ 6214 h 9352"/>
                <a:gd name="connsiteX10" fmla="*/ 2177 w 10000"/>
                <a:gd name="connsiteY10" fmla="*/ 5965 h 9352"/>
                <a:gd name="connsiteX11" fmla="*/ 1903 w 10000"/>
                <a:gd name="connsiteY11" fmla="*/ 5591 h 9352"/>
                <a:gd name="connsiteX12" fmla="*/ 1449 w 10000"/>
                <a:gd name="connsiteY12" fmla="*/ 5693 h 9352"/>
                <a:gd name="connsiteX13" fmla="*/ 1324 w 10000"/>
                <a:gd name="connsiteY13" fmla="*/ 5914 h 9352"/>
                <a:gd name="connsiteX14" fmla="*/ 845 w 10000"/>
                <a:gd name="connsiteY14" fmla="*/ 6009 h 9352"/>
                <a:gd name="connsiteX15" fmla="*/ 526 w 10000"/>
                <a:gd name="connsiteY15" fmla="*/ 6000 h 9352"/>
                <a:gd name="connsiteX16" fmla="*/ 354 w 10000"/>
                <a:gd name="connsiteY16" fmla="*/ 6176 h 9352"/>
                <a:gd name="connsiteX17" fmla="*/ 56 w 10000"/>
                <a:gd name="connsiteY17" fmla="*/ 5900 h 9352"/>
                <a:gd name="connsiteX18" fmla="*/ 0 w 10000"/>
                <a:gd name="connsiteY18" fmla="*/ 6402 h 9352"/>
                <a:gd name="connsiteX19" fmla="*/ 106 w 10000"/>
                <a:gd name="connsiteY19" fmla="*/ 6474 h 9352"/>
                <a:gd name="connsiteX20" fmla="*/ 538 w 10000"/>
                <a:gd name="connsiteY20" fmla="*/ 6510 h 9352"/>
                <a:gd name="connsiteX21" fmla="*/ 596 w 10000"/>
                <a:gd name="connsiteY21" fmla="*/ 6653 h 9352"/>
                <a:gd name="connsiteX22" fmla="*/ 1075 w 10000"/>
                <a:gd name="connsiteY22" fmla="*/ 6691 h 9352"/>
                <a:gd name="connsiteX23" fmla="*/ 1346 w 10000"/>
                <a:gd name="connsiteY23" fmla="*/ 6834 h 9352"/>
                <a:gd name="connsiteX24" fmla="*/ 1397 w 10000"/>
                <a:gd name="connsiteY24" fmla="*/ 7086 h 9352"/>
                <a:gd name="connsiteX25" fmla="*/ 2260 w 10000"/>
                <a:gd name="connsiteY25" fmla="*/ 7517 h 9352"/>
                <a:gd name="connsiteX26" fmla="*/ 2475 w 10000"/>
                <a:gd name="connsiteY26" fmla="*/ 7950 h 9352"/>
                <a:gd name="connsiteX27" fmla="*/ 3064 w 10000"/>
                <a:gd name="connsiteY27" fmla="*/ 8166 h 9352"/>
                <a:gd name="connsiteX28" fmla="*/ 3280 w 10000"/>
                <a:gd name="connsiteY28" fmla="*/ 8451 h 9352"/>
                <a:gd name="connsiteX29" fmla="*/ 3709 w 10000"/>
                <a:gd name="connsiteY29" fmla="*/ 8813 h 9352"/>
                <a:gd name="connsiteX30" fmla="*/ 4034 w 10000"/>
                <a:gd name="connsiteY30" fmla="*/ 8919 h 9352"/>
                <a:gd name="connsiteX31" fmla="*/ 4248 w 10000"/>
                <a:gd name="connsiteY31" fmla="*/ 8813 h 9352"/>
                <a:gd name="connsiteX32" fmla="*/ 4785 w 10000"/>
                <a:gd name="connsiteY32" fmla="*/ 8849 h 9352"/>
                <a:gd name="connsiteX33" fmla="*/ 5002 w 10000"/>
                <a:gd name="connsiteY33" fmla="*/ 8776 h 9352"/>
                <a:gd name="connsiteX34" fmla="*/ 5967 w 10000"/>
                <a:gd name="connsiteY34" fmla="*/ 9317 h 9352"/>
                <a:gd name="connsiteX35" fmla="*/ 6021 w 10000"/>
                <a:gd name="connsiteY35" fmla="*/ 9317 h 9352"/>
                <a:gd name="connsiteX36" fmla="*/ 6130 w 10000"/>
                <a:gd name="connsiteY36" fmla="*/ 9245 h 9352"/>
                <a:gd name="connsiteX37" fmla="*/ 6823 w 10000"/>
                <a:gd name="connsiteY37" fmla="*/ 9245 h 9352"/>
                <a:gd name="connsiteX38" fmla="*/ 6936 w 10000"/>
                <a:gd name="connsiteY38" fmla="*/ 9352 h 9352"/>
                <a:gd name="connsiteX39" fmla="*/ 7526 w 10000"/>
                <a:gd name="connsiteY39" fmla="*/ 9207 h 9352"/>
                <a:gd name="connsiteX40" fmla="*/ 8062 w 10000"/>
                <a:gd name="connsiteY40" fmla="*/ 9207 h 9352"/>
                <a:gd name="connsiteX41" fmla="*/ 8438 w 10000"/>
                <a:gd name="connsiteY41" fmla="*/ 9064 h 9352"/>
                <a:gd name="connsiteX42" fmla="*/ 8871 w 10000"/>
                <a:gd name="connsiteY42" fmla="*/ 8776 h 9352"/>
                <a:gd name="connsiteX43" fmla="*/ 10000 w 10000"/>
                <a:gd name="connsiteY43" fmla="*/ 8776 h 9352"/>
                <a:gd name="connsiteX44" fmla="*/ 10000 w 10000"/>
                <a:gd name="connsiteY44" fmla="*/ 8382 h 9352"/>
                <a:gd name="connsiteX45" fmla="*/ 9409 w 10000"/>
                <a:gd name="connsiteY45" fmla="*/ 8202 h 9352"/>
                <a:gd name="connsiteX46" fmla="*/ 9083 w 10000"/>
                <a:gd name="connsiteY46" fmla="*/ 7626 h 9352"/>
                <a:gd name="connsiteX47" fmla="*/ 8655 w 10000"/>
                <a:gd name="connsiteY47" fmla="*/ 7410 h 9352"/>
                <a:gd name="connsiteX48" fmla="*/ 8385 w 10000"/>
                <a:gd name="connsiteY48" fmla="*/ 7121 h 9352"/>
                <a:gd name="connsiteX49" fmla="*/ 7687 w 10000"/>
                <a:gd name="connsiteY49" fmla="*/ 6907 h 9352"/>
                <a:gd name="connsiteX50" fmla="*/ 7848 w 10000"/>
                <a:gd name="connsiteY50" fmla="*/ 6834 h 9352"/>
                <a:gd name="connsiteX51" fmla="*/ 7848 w 10000"/>
                <a:gd name="connsiteY51" fmla="*/ 6653 h 9352"/>
                <a:gd name="connsiteX52" fmla="*/ 8334 w 10000"/>
                <a:gd name="connsiteY52" fmla="*/ 6653 h 9352"/>
                <a:gd name="connsiteX53" fmla="*/ 8599 w 10000"/>
                <a:gd name="connsiteY53" fmla="*/ 6510 h 9352"/>
                <a:gd name="connsiteX54" fmla="*/ 8655 w 10000"/>
                <a:gd name="connsiteY54" fmla="*/ 5468 h 9352"/>
                <a:gd name="connsiteX55" fmla="*/ 8707 w 10000"/>
                <a:gd name="connsiteY55" fmla="*/ 5504 h 9352"/>
                <a:gd name="connsiteX56" fmla="*/ 8517 w 10000"/>
                <a:gd name="connsiteY56" fmla="*/ 5569 h 9352"/>
                <a:gd name="connsiteX57" fmla="*/ 8440 w 10000"/>
                <a:gd name="connsiteY57" fmla="*/ 5710 h 9352"/>
                <a:gd name="connsiteX58" fmla="*/ 7961 w 10000"/>
                <a:gd name="connsiteY58" fmla="*/ 5433 h 9352"/>
                <a:gd name="connsiteX59" fmla="*/ 7874 w 10000"/>
                <a:gd name="connsiteY59" fmla="*/ 4684 h 9352"/>
                <a:gd name="connsiteX60" fmla="*/ 7361 w 10000"/>
                <a:gd name="connsiteY60" fmla="*/ 5009 h 9352"/>
                <a:gd name="connsiteX61" fmla="*/ 7369 w 10000"/>
                <a:gd name="connsiteY61" fmla="*/ 5394 h 9352"/>
                <a:gd name="connsiteX62" fmla="*/ 6955 w 10000"/>
                <a:gd name="connsiteY62" fmla="*/ 5627 h 9352"/>
                <a:gd name="connsiteX63" fmla="*/ 1237 w 10000"/>
                <a:gd name="connsiteY63" fmla="*/ 0 h 9352"/>
                <a:gd name="connsiteX64" fmla="*/ 433 w 10000"/>
                <a:gd name="connsiteY64" fmla="*/ 0 h 9352"/>
                <a:gd name="connsiteX65" fmla="*/ 433 w 10000"/>
                <a:gd name="connsiteY65" fmla="*/ 287 h 9352"/>
                <a:gd name="connsiteX0" fmla="*/ 433 w 10000"/>
                <a:gd name="connsiteY0" fmla="*/ 307 h 10000"/>
                <a:gd name="connsiteX1" fmla="*/ 6675 w 10000"/>
                <a:gd name="connsiteY1" fmla="*/ 6311 h 10000"/>
                <a:gd name="connsiteX2" fmla="*/ 6234 w 10000"/>
                <a:gd name="connsiteY2" fmla="*/ 6548 h 10000"/>
                <a:gd name="connsiteX3" fmla="*/ 5864 w 10000"/>
                <a:gd name="connsiteY3" fmla="*/ 6300 h 10000"/>
                <a:gd name="connsiteX4" fmla="*/ 5325 w 10000"/>
                <a:gd name="connsiteY4" fmla="*/ 6151 h 10000"/>
                <a:gd name="connsiteX5" fmla="*/ 5058 w 10000"/>
                <a:gd name="connsiteY5" fmla="*/ 6488 h 10000"/>
                <a:gd name="connsiteX6" fmla="*/ 4396 w 10000"/>
                <a:gd name="connsiteY6" fmla="*/ 6747 h 10000"/>
                <a:gd name="connsiteX7" fmla="*/ 3972 w 10000"/>
                <a:gd name="connsiteY7" fmla="*/ 6745 h 10000"/>
                <a:gd name="connsiteX8" fmla="*/ 3044 w 10000"/>
                <a:gd name="connsiteY8" fmla="*/ 6525 h 10000"/>
                <a:gd name="connsiteX9" fmla="*/ 2796 w 10000"/>
                <a:gd name="connsiteY9" fmla="*/ 6645 h 10000"/>
                <a:gd name="connsiteX10" fmla="*/ 2177 w 10000"/>
                <a:gd name="connsiteY10" fmla="*/ 6378 h 10000"/>
                <a:gd name="connsiteX11" fmla="*/ 1903 w 10000"/>
                <a:gd name="connsiteY11" fmla="*/ 5978 h 10000"/>
                <a:gd name="connsiteX12" fmla="*/ 1449 w 10000"/>
                <a:gd name="connsiteY12" fmla="*/ 6087 h 10000"/>
                <a:gd name="connsiteX13" fmla="*/ 1324 w 10000"/>
                <a:gd name="connsiteY13" fmla="*/ 6324 h 10000"/>
                <a:gd name="connsiteX14" fmla="*/ 845 w 10000"/>
                <a:gd name="connsiteY14" fmla="*/ 6425 h 10000"/>
                <a:gd name="connsiteX15" fmla="*/ 526 w 10000"/>
                <a:gd name="connsiteY15" fmla="*/ 6416 h 10000"/>
                <a:gd name="connsiteX16" fmla="*/ 354 w 10000"/>
                <a:gd name="connsiteY16" fmla="*/ 6604 h 10000"/>
                <a:gd name="connsiteX17" fmla="*/ 56 w 10000"/>
                <a:gd name="connsiteY17" fmla="*/ 6309 h 10000"/>
                <a:gd name="connsiteX18" fmla="*/ 0 w 10000"/>
                <a:gd name="connsiteY18" fmla="*/ 6846 h 10000"/>
                <a:gd name="connsiteX19" fmla="*/ 106 w 10000"/>
                <a:gd name="connsiteY19" fmla="*/ 6923 h 10000"/>
                <a:gd name="connsiteX20" fmla="*/ 538 w 10000"/>
                <a:gd name="connsiteY20" fmla="*/ 6961 h 10000"/>
                <a:gd name="connsiteX21" fmla="*/ 596 w 10000"/>
                <a:gd name="connsiteY21" fmla="*/ 7114 h 10000"/>
                <a:gd name="connsiteX22" fmla="*/ 1075 w 10000"/>
                <a:gd name="connsiteY22" fmla="*/ 7155 h 10000"/>
                <a:gd name="connsiteX23" fmla="*/ 1346 w 10000"/>
                <a:gd name="connsiteY23" fmla="*/ 7308 h 10000"/>
                <a:gd name="connsiteX24" fmla="*/ 1397 w 10000"/>
                <a:gd name="connsiteY24" fmla="*/ 7577 h 10000"/>
                <a:gd name="connsiteX25" fmla="*/ 2260 w 10000"/>
                <a:gd name="connsiteY25" fmla="*/ 8038 h 10000"/>
                <a:gd name="connsiteX26" fmla="*/ 2475 w 10000"/>
                <a:gd name="connsiteY26" fmla="*/ 8501 h 10000"/>
                <a:gd name="connsiteX27" fmla="*/ 3064 w 10000"/>
                <a:gd name="connsiteY27" fmla="*/ 8732 h 10000"/>
                <a:gd name="connsiteX28" fmla="*/ 3280 w 10000"/>
                <a:gd name="connsiteY28" fmla="*/ 9037 h 10000"/>
                <a:gd name="connsiteX29" fmla="*/ 3709 w 10000"/>
                <a:gd name="connsiteY29" fmla="*/ 9424 h 10000"/>
                <a:gd name="connsiteX30" fmla="*/ 4034 w 10000"/>
                <a:gd name="connsiteY30" fmla="*/ 9537 h 10000"/>
                <a:gd name="connsiteX31" fmla="*/ 4248 w 10000"/>
                <a:gd name="connsiteY31" fmla="*/ 9424 h 10000"/>
                <a:gd name="connsiteX32" fmla="*/ 4785 w 10000"/>
                <a:gd name="connsiteY32" fmla="*/ 9462 h 10000"/>
                <a:gd name="connsiteX33" fmla="*/ 5002 w 10000"/>
                <a:gd name="connsiteY33" fmla="*/ 9384 h 10000"/>
                <a:gd name="connsiteX34" fmla="*/ 5967 w 10000"/>
                <a:gd name="connsiteY34" fmla="*/ 9963 h 10000"/>
                <a:gd name="connsiteX35" fmla="*/ 6021 w 10000"/>
                <a:gd name="connsiteY35" fmla="*/ 9963 h 10000"/>
                <a:gd name="connsiteX36" fmla="*/ 6130 w 10000"/>
                <a:gd name="connsiteY36" fmla="*/ 9886 h 10000"/>
                <a:gd name="connsiteX37" fmla="*/ 6823 w 10000"/>
                <a:gd name="connsiteY37" fmla="*/ 9886 h 10000"/>
                <a:gd name="connsiteX38" fmla="*/ 6936 w 10000"/>
                <a:gd name="connsiteY38" fmla="*/ 10000 h 10000"/>
                <a:gd name="connsiteX39" fmla="*/ 7526 w 10000"/>
                <a:gd name="connsiteY39" fmla="*/ 9845 h 10000"/>
                <a:gd name="connsiteX40" fmla="*/ 8062 w 10000"/>
                <a:gd name="connsiteY40" fmla="*/ 9845 h 10000"/>
                <a:gd name="connsiteX41" fmla="*/ 8438 w 10000"/>
                <a:gd name="connsiteY41" fmla="*/ 9692 h 10000"/>
                <a:gd name="connsiteX42" fmla="*/ 8871 w 10000"/>
                <a:gd name="connsiteY42" fmla="*/ 9384 h 10000"/>
                <a:gd name="connsiteX43" fmla="*/ 10000 w 10000"/>
                <a:gd name="connsiteY43" fmla="*/ 9384 h 10000"/>
                <a:gd name="connsiteX44" fmla="*/ 10000 w 10000"/>
                <a:gd name="connsiteY44" fmla="*/ 8963 h 10000"/>
                <a:gd name="connsiteX45" fmla="*/ 9409 w 10000"/>
                <a:gd name="connsiteY45" fmla="*/ 8770 h 10000"/>
                <a:gd name="connsiteX46" fmla="*/ 9083 w 10000"/>
                <a:gd name="connsiteY46" fmla="*/ 8154 h 10000"/>
                <a:gd name="connsiteX47" fmla="*/ 8655 w 10000"/>
                <a:gd name="connsiteY47" fmla="*/ 7923 h 10000"/>
                <a:gd name="connsiteX48" fmla="*/ 8385 w 10000"/>
                <a:gd name="connsiteY48" fmla="*/ 7614 h 10000"/>
                <a:gd name="connsiteX49" fmla="*/ 7687 w 10000"/>
                <a:gd name="connsiteY49" fmla="*/ 7386 h 10000"/>
                <a:gd name="connsiteX50" fmla="*/ 7848 w 10000"/>
                <a:gd name="connsiteY50" fmla="*/ 7308 h 10000"/>
                <a:gd name="connsiteX51" fmla="*/ 7848 w 10000"/>
                <a:gd name="connsiteY51" fmla="*/ 7114 h 10000"/>
                <a:gd name="connsiteX52" fmla="*/ 8334 w 10000"/>
                <a:gd name="connsiteY52" fmla="*/ 7114 h 10000"/>
                <a:gd name="connsiteX53" fmla="*/ 8599 w 10000"/>
                <a:gd name="connsiteY53" fmla="*/ 6961 h 10000"/>
                <a:gd name="connsiteX54" fmla="*/ 8655 w 10000"/>
                <a:gd name="connsiteY54" fmla="*/ 5847 h 10000"/>
                <a:gd name="connsiteX55" fmla="*/ 8707 w 10000"/>
                <a:gd name="connsiteY55" fmla="*/ 5885 h 10000"/>
                <a:gd name="connsiteX56" fmla="*/ 8517 w 10000"/>
                <a:gd name="connsiteY56" fmla="*/ 5955 h 10000"/>
                <a:gd name="connsiteX57" fmla="*/ 8440 w 10000"/>
                <a:gd name="connsiteY57" fmla="*/ 6106 h 10000"/>
                <a:gd name="connsiteX58" fmla="*/ 7961 w 10000"/>
                <a:gd name="connsiteY58" fmla="*/ 5809 h 10000"/>
                <a:gd name="connsiteX59" fmla="*/ 7874 w 10000"/>
                <a:gd name="connsiteY59" fmla="*/ 5009 h 10000"/>
                <a:gd name="connsiteX60" fmla="*/ 7361 w 10000"/>
                <a:gd name="connsiteY60" fmla="*/ 5356 h 10000"/>
                <a:gd name="connsiteX61" fmla="*/ 7369 w 10000"/>
                <a:gd name="connsiteY61" fmla="*/ 5768 h 10000"/>
                <a:gd name="connsiteX62" fmla="*/ 6955 w 10000"/>
                <a:gd name="connsiteY62" fmla="*/ 6017 h 10000"/>
                <a:gd name="connsiteX63" fmla="*/ 433 w 10000"/>
                <a:gd name="connsiteY63" fmla="*/ 0 h 10000"/>
                <a:gd name="connsiteX64" fmla="*/ 433 w 10000"/>
                <a:gd name="connsiteY64" fmla="*/ 307 h 10000"/>
                <a:gd name="connsiteX0" fmla="*/ 433 w 10000"/>
                <a:gd name="connsiteY0" fmla="*/ 49 h 9742"/>
                <a:gd name="connsiteX1" fmla="*/ 6675 w 10000"/>
                <a:gd name="connsiteY1" fmla="*/ 6053 h 9742"/>
                <a:gd name="connsiteX2" fmla="*/ 6234 w 10000"/>
                <a:gd name="connsiteY2" fmla="*/ 6290 h 9742"/>
                <a:gd name="connsiteX3" fmla="*/ 5864 w 10000"/>
                <a:gd name="connsiteY3" fmla="*/ 6042 h 9742"/>
                <a:gd name="connsiteX4" fmla="*/ 5325 w 10000"/>
                <a:gd name="connsiteY4" fmla="*/ 5893 h 9742"/>
                <a:gd name="connsiteX5" fmla="*/ 5058 w 10000"/>
                <a:gd name="connsiteY5" fmla="*/ 6230 h 9742"/>
                <a:gd name="connsiteX6" fmla="*/ 4396 w 10000"/>
                <a:gd name="connsiteY6" fmla="*/ 6489 h 9742"/>
                <a:gd name="connsiteX7" fmla="*/ 3972 w 10000"/>
                <a:gd name="connsiteY7" fmla="*/ 6487 h 9742"/>
                <a:gd name="connsiteX8" fmla="*/ 3044 w 10000"/>
                <a:gd name="connsiteY8" fmla="*/ 6267 h 9742"/>
                <a:gd name="connsiteX9" fmla="*/ 2796 w 10000"/>
                <a:gd name="connsiteY9" fmla="*/ 6387 h 9742"/>
                <a:gd name="connsiteX10" fmla="*/ 2177 w 10000"/>
                <a:gd name="connsiteY10" fmla="*/ 6120 h 9742"/>
                <a:gd name="connsiteX11" fmla="*/ 1903 w 10000"/>
                <a:gd name="connsiteY11" fmla="*/ 5720 h 9742"/>
                <a:gd name="connsiteX12" fmla="*/ 1449 w 10000"/>
                <a:gd name="connsiteY12" fmla="*/ 5829 h 9742"/>
                <a:gd name="connsiteX13" fmla="*/ 1324 w 10000"/>
                <a:gd name="connsiteY13" fmla="*/ 6066 h 9742"/>
                <a:gd name="connsiteX14" fmla="*/ 845 w 10000"/>
                <a:gd name="connsiteY14" fmla="*/ 6167 h 9742"/>
                <a:gd name="connsiteX15" fmla="*/ 526 w 10000"/>
                <a:gd name="connsiteY15" fmla="*/ 6158 h 9742"/>
                <a:gd name="connsiteX16" fmla="*/ 354 w 10000"/>
                <a:gd name="connsiteY16" fmla="*/ 6346 h 9742"/>
                <a:gd name="connsiteX17" fmla="*/ 56 w 10000"/>
                <a:gd name="connsiteY17" fmla="*/ 6051 h 9742"/>
                <a:gd name="connsiteX18" fmla="*/ 0 w 10000"/>
                <a:gd name="connsiteY18" fmla="*/ 6588 h 9742"/>
                <a:gd name="connsiteX19" fmla="*/ 106 w 10000"/>
                <a:gd name="connsiteY19" fmla="*/ 6665 h 9742"/>
                <a:gd name="connsiteX20" fmla="*/ 538 w 10000"/>
                <a:gd name="connsiteY20" fmla="*/ 6703 h 9742"/>
                <a:gd name="connsiteX21" fmla="*/ 596 w 10000"/>
                <a:gd name="connsiteY21" fmla="*/ 6856 h 9742"/>
                <a:gd name="connsiteX22" fmla="*/ 1075 w 10000"/>
                <a:gd name="connsiteY22" fmla="*/ 6897 h 9742"/>
                <a:gd name="connsiteX23" fmla="*/ 1346 w 10000"/>
                <a:gd name="connsiteY23" fmla="*/ 7050 h 9742"/>
                <a:gd name="connsiteX24" fmla="*/ 1397 w 10000"/>
                <a:gd name="connsiteY24" fmla="*/ 7319 h 9742"/>
                <a:gd name="connsiteX25" fmla="*/ 2260 w 10000"/>
                <a:gd name="connsiteY25" fmla="*/ 7780 h 9742"/>
                <a:gd name="connsiteX26" fmla="*/ 2475 w 10000"/>
                <a:gd name="connsiteY26" fmla="*/ 8243 h 9742"/>
                <a:gd name="connsiteX27" fmla="*/ 3064 w 10000"/>
                <a:gd name="connsiteY27" fmla="*/ 8474 h 9742"/>
                <a:gd name="connsiteX28" fmla="*/ 3280 w 10000"/>
                <a:gd name="connsiteY28" fmla="*/ 8779 h 9742"/>
                <a:gd name="connsiteX29" fmla="*/ 3709 w 10000"/>
                <a:gd name="connsiteY29" fmla="*/ 9166 h 9742"/>
                <a:gd name="connsiteX30" fmla="*/ 4034 w 10000"/>
                <a:gd name="connsiteY30" fmla="*/ 9279 h 9742"/>
                <a:gd name="connsiteX31" fmla="*/ 4248 w 10000"/>
                <a:gd name="connsiteY31" fmla="*/ 9166 h 9742"/>
                <a:gd name="connsiteX32" fmla="*/ 4785 w 10000"/>
                <a:gd name="connsiteY32" fmla="*/ 9204 h 9742"/>
                <a:gd name="connsiteX33" fmla="*/ 5002 w 10000"/>
                <a:gd name="connsiteY33" fmla="*/ 9126 h 9742"/>
                <a:gd name="connsiteX34" fmla="*/ 5967 w 10000"/>
                <a:gd name="connsiteY34" fmla="*/ 9705 h 9742"/>
                <a:gd name="connsiteX35" fmla="*/ 6021 w 10000"/>
                <a:gd name="connsiteY35" fmla="*/ 9705 h 9742"/>
                <a:gd name="connsiteX36" fmla="*/ 6130 w 10000"/>
                <a:gd name="connsiteY36" fmla="*/ 9628 h 9742"/>
                <a:gd name="connsiteX37" fmla="*/ 6823 w 10000"/>
                <a:gd name="connsiteY37" fmla="*/ 9628 h 9742"/>
                <a:gd name="connsiteX38" fmla="*/ 6936 w 10000"/>
                <a:gd name="connsiteY38" fmla="*/ 9742 h 9742"/>
                <a:gd name="connsiteX39" fmla="*/ 7526 w 10000"/>
                <a:gd name="connsiteY39" fmla="*/ 9587 h 9742"/>
                <a:gd name="connsiteX40" fmla="*/ 8062 w 10000"/>
                <a:gd name="connsiteY40" fmla="*/ 9587 h 9742"/>
                <a:gd name="connsiteX41" fmla="*/ 8438 w 10000"/>
                <a:gd name="connsiteY41" fmla="*/ 9434 h 9742"/>
                <a:gd name="connsiteX42" fmla="*/ 8871 w 10000"/>
                <a:gd name="connsiteY42" fmla="*/ 9126 h 9742"/>
                <a:gd name="connsiteX43" fmla="*/ 10000 w 10000"/>
                <a:gd name="connsiteY43" fmla="*/ 9126 h 9742"/>
                <a:gd name="connsiteX44" fmla="*/ 10000 w 10000"/>
                <a:gd name="connsiteY44" fmla="*/ 8705 h 9742"/>
                <a:gd name="connsiteX45" fmla="*/ 9409 w 10000"/>
                <a:gd name="connsiteY45" fmla="*/ 8512 h 9742"/>
                <a:gd name="connsiteX46" fmla="*/ 9083 w 10000"/>
                <a:gd name="connsiteY46" fmla="*/ 7896 h 9742"/>
                <a:gd name="connsiteX47" fmla="*/ 8655 w 10000"/>
                <a:gd name="connsiteY47" fmla="*/ 7665 h 9742"/>
                <a:gd name="connsiteX48" fmla="*/ 8385 w 10000"/>
                <a:gd name="connsiteY48" fmla="*/ 7356 h 9742"/>
                <a:gd name="connsiteX49" fmla="*/ 7687 w 10000"/>
                <a:gd name="connsiteY49" fmla="*/ 7128 h 9742"/>
                <a:gd name="connsiteX50" fmla="*/ 7848 w 10000"/>
                <a:gd name="connsiteY50" fmla="*/ 7050 h 9742"/>
                <a:gd name="connsiteX51" fmla="*/ 7848 w 10000"/>
                <a:gd name="connsiteY51" fmla="*/ 6856 h 9742"/>
                <a:gd name="connsiteX52" fmla="*/ 8334 w 10000"/>
                <a:gd name="connsiteY52" fmla="*/ 6856 h 9742"/>
                <a:gd name="connsiteX53" fmla="*/ 8599 w 10000"/>
                <a:gd name="connsiteY53" fmla="*/ 6703 h 9742"/>
                <a:gd name="connsiteX54" fmla="*/ 8655 w 10000"/>
                <a:gd name="connsiteY54" fmla="*/ 5589 h 9742"/>
                <a:gd name="connsiteX55" fmla="*/ 8707 w 10000"/>
                <a:gd name="connsiteY55" fmla="*/ 5627 h 9742"/>
                <a:gd name="connsiteX56" fmla="*/ 8517 w 10000"/>
                <a:gd name="connsiteY56" fmla="*/ 5697 h 9742"/>
                <a:gd name="connsiteX57" fmla="*/ 8440 w 10000"/>
                <a:gd name="connsiteY57" fmla="*/ 5848 h 9742"/>
                <a:gd name="connsiteX58" fmla="*/ 7961 w 10000"/>
                <a:gd name="connsiteY58" fmla="*/ 5551 h 9742"/>
                <a:gd name="connsiteX59" fmla="*/ 7874 w 10000"/>
                <a:gd name="connsiteY59" fmla="*/ 4751 h 9742"/>
                <a:gd name="connsiteX60" fmla="*/ 7361 w 10000"/>
                <a:gd name="connsiteY60" fmla="*/ 5098 h 9742"/>
                <a:gd name="connsiteX61" fmla="*/ 7369 w 10000"/>
                <a:gd name="connsiteY61" fmla="*/ 5510 h 9742"/>
                <a:gd name="connsiteX62" fmla="*/ 6955 w 10000"/>
                <a:gd name="connsiteY62" fmla="*/ 5759 h 9742"/>
                <a:gd name="connsiteX63" fmla="*/ 433 w 10000"/>
                <a:gd name="connsiteY63" fmla="*/ 49 h 9742"/>
                <a:gd name="connsiteX0" fmla="*/ 6955 w 10000"/>
                <a:gd name="connsiteY0" fmla="*/ 1035 h 5123"/>
                <a:gd name="connsiteX1" fmla="*/ 6675 w 10000"/>
                <a:gd name="connsiteY1" fmla="*/ 1336 h 5123"/>
                <a:gd name="connsiteX2" fmla="*/ 6234 w 10000"/>
                <a:gd name="connsiteY2" fmla="*/ 1580 h 5123"/>
                <a:gd name="connsiteX3" fmla="*/ 5864 w 10000"/>
                <a:gd name="connsiteY3" fmla="*/ 1325 h 5123"/>
                <a:gd name="connsiteX4" fmla="*/ 5325 w 10000"/>
                <a:gd name="connsiteY4" fmla="*/ 1172 h 5123"/>
                <a:gd name="connsiteX5" fmla="*/ 5058 w 10000"/>
                <a:gd name="connsiteY5" fmla="*/ 1518 h 5123"/>
                <a:gd name="connsiteX6" fmla="*/ 4396 w 10000"/>
                <a:gd name="connsiteY6" fmla="*/ 1784 h 5123"/>
                <a:gd name="connsiteX7" fmla="*/ 3972 w 10000"/>
                <a:gd name="connsiteY7" fmla="*/ 1782 h 5123"/>
                <a:gd name="connsiteX8" fmla="*/ 3044 w 10000"/>
                <a:gd name="connsiteY8" fmla="*/ 1556 h 5123"/>
                <a:gd name="connsiteX9" fmla="*/ 2796 w 10000"/>
                <a:gd name="connsiteY9" fmla="*/ 1679 h 5123"/>
                <a:gd name="connsiteX10" fmla="*/ 2177 w 10000"/>
                <a:gd name="connsiteY10" fmla="*/ 1405 h 5123"/>
                <a:gd name="connsiteX11" fmla="*/ 1903 w 10000"/>
                <a:gd name="connsiteY11" fmla="*/ 994 h 5123"/>
                <a:gd name="connsiteX12" fmla="*/ 1449 w 10000"/>
                <a:gd name="connsiteY12" fmla="*/ 1106 h 5123"/>
                <a:gd name="connsiteX13" fmla="*/ 1324 w 10000"/>
                <a:gd name="connsiteY13" fmla="*/ 1350 h 5123"/>
                <a:gd name="connsiteX14" fmla="*/ 845 w 10000"/>
                <a:gd name="connsiteY14" fmla="*/ 1453 h 5123"/>
                <a:gd name="connsiteX15" fmla="*/ 526 w 10000"/>
                <a:gd name="connsiteY15" fmla="*/ 1444 h 5123"/>
                <a:gd name="connsiteX16" fmla="*/ 354 w 10000"/>
                <a:gd name="connsiteY16" fmla="*/ 1637 h 5123"/>
                <a:gd name="connsiteX17" fmla="*/ 56 w 10000"/>
                <a:gd name="connsiteY17" fmla="*/ 1334 h 5123"/>
                <a:gd name="connsiteX18" fmla="*/ 0 w 10000"/>
                <a:gd name="connsiteY18" fmla="*/ 1885 h 5123"/>
                <a:gd name="connsiteX19" fmla="*/ 106 w 10000"/>
                <a:gd name="connsiteY19" fmla="*/ 1965 h 5123"/>
                <a:gd name="connsiteX20" fmla="*/ 538 w 10000"/>
                <a:gd name="connsiteY20" fmla="*/ 2004 h 5123"/>
                <a:gd name="connsiteX21" fmla="*/ 596 w 10000"/>
                <a:gd name="connsiteY21" fmla="*/ 2161 h 5123"/>
                <a:gd name="connsiteX22" fmla="*/ 1075 w 10000"/>
                <a:gd name="connsiteY22" fmla="*/ 2203 h 5123"/>
                <a:gd name="connsiteX23" fmla="*/ 1346 w 10000"/>
                <a:gd name="connsiteY23" fmla="*/ 2360 h 5123"/>
                <a:gd name="connsiteX24" fmla="*/ 1397 w 10000"/>
                <a:gd name="connsiteY24" fmla="*/ 2636 h 5123"/>
                <a:gd name="connsiteX25" fmla="*/ 2260 w 10000"/>
                <a:gd name="connsiteY25" fmla="*/ 3109 h 5123"/>
                <a:gd name="connsiteX26" fmla="*/ 2475 w 10000"/>
                <a:gd name="connsiteY26" fmla="*/ 3584 h 5123"/>
                <a:gd name="connsiteX27" fmla="*/ 3064 w 10000"/>
                <a:gd name="connsiteY27" fmla="*/ 3821 h 5123"/>
                <a:gd name="connsiteX28" fmla="*/ 3280 w 10000"/>
                <a:gd name="connsiteY28" fmla="*/ 4134 h 5123"/>
                <a:gd name="connsiteX29" fmla="*/ 3709 w 10000"/>
                <a:gd name="connsiteY29" fmla="*/ 4532 h 5123"/>
                <a:gd name="connsiteX30" fmla="*/ 4034 w 10000"/>
                <a:gd name="connsiteY30" fmla="*/ 4648 h 5123"/>
                <a:gd name="connsiteX31" fmla="*/ 4248 w 10000"/>
                <a:gd name="connsiteY31" fmla="*/ 4532 h 5123"/>
                <a:gd name="connsiteX32" fmla="*/ 4785 w 10000"/>
                <a:gd name="connsiteY32" fmla="*/ 4571 h 5123"/>
                <a:gd name="connsiteX33" fmla="*/ 5002 w 10000"/>
                <a:gd name="connsiteY33" fmla="*/ 4491 h 5123"/>
                <a:gd name="connsiteX34" fmla="*/ 5967 w 10000"/>
                <a:gd name="connsiteY34" fmla="*/ 5085 h 5123"/>
                <a:gd name="connsiteX35" fmla="*/ 6021 w 10000"/>
                <a:gd name="connsiteY35" fmla="*/ 5085 h 5123"/>
                <a:gd name="connsiteX36" fmla="*/ 6130 w 10000"/>
                <a:gd name="connsiteY36" fmla="*/ 5006 h 5123"/>
                <a:gd name="connsiteX37" fmla="*/ 6823 w 10000"/>
                <a:gd name="connsiteY37" fmla="*/ 5006 h 5123"/>
                <a:gd name="connsiteX38" fmla="*/ 6936 w 10000"/>
                <a:gd name="connsiteY38" fmla="*/ 5123 h 5123"/>
                <a:gd name="connsiteX39" fmla="*/ 7526 w 10000"/>
                <a:gd name="connsiteY39" fmla="*/ 4964 h 5123"/>
                <a:gd name="connsiteX40" fmla="*/ 8062 w 10000"/>
                <a:gd name="connsiteY40" fmla="*/ 4964 h 5123"/>
                <a:gd name="connsiteX41" fmla="*/ 8438 w 10000"/>
                <a:gd name="connsiteY41" fmla="*/ 4807 h 5123"/>
                <a:gd name="connsiteX42" fmla="*/ 8871 w 10000"/>
                <a:gd name="connsiteY42" fmla="*/ 4491 h 5123"/>
                <a:gd name="connsiteX43" fmla="*/ 10000 w 10000"/>
                <a:gd name="connsiteY43" fmla="*/ 4491 h 5123"/>
                <a:gd name="connsiteX44" fmla="*/ 10000 w 10000"/>
                <a:gd name="connsiteY44" fmla="*/ 4059 h 5123"/>
                <a:gd name="connsiteX45" fmla="*/ 9409 w 10000"/>
                <a:gd name="connsiteY45" fmla="*/ 3860 h 5123"/>
                <a:gd name="connsiteX46" fmla="*/ 9083 w 10000"/>
                <a:gd name="connsiteY46" fmla="*/ 3228 h 5123"/>
                <a:gd name="connsiteX47" fmla="*/ 8655 w 10000"/>
                <a:gd name="connsiteY47" fmla="*/ 2991 h 5123"/>
                <a:gd name="connsiteX48" fmla="*/ 8385 w 10000"/>
                <a:gd name="connsiteY48" fmla="*/ 2674 h 5123"/>
                <a:gd name="connsiteX49" fmla="*/ 7687 w 10000"/>
                <a:gd name="connsiteY49" fmla="*/ 2440 h 5123"/>
                <a:gd name="connsiteX50" fmla="*/ 7848 w 10000"/>
                <a:gd name="connsiteY50" fmla="*/ 2360 h 5123"/>
                <a:gd name="connsiteX51" fmla="*/ 7848 w 10000"/>
                <a:gd name="connsiteY51" fmla="*/ 2161 h 5123"/>
                <a:gd name="connsiteX52" fmla="*/ 8334 w 10000"/>
                <a:gd name="connsiteY52" fmla="*/ 2161 h 5123"/>
                <a:gd name="connsiteX53" fmla="*/ 8599 w 10000"/>
                <a:gd name="connsiteY53" fmla="*/ 2004 h 5123"/>
                <a:gd name="connsiteX54" fmla="*/ 8655 w 10000"/>
                <a:gd name="connsiteY54" fmla="*/ 860 h 5123"/>
                <a:gd name="connsiteX55" fmla="*/ 8707 w 10000"/>
                <a:gd name="connsiteY55" fmla="*/ 899 h 5123"/>
                <a:gd name="connsiteX56" fmla="*/ 8517 w 10000"/>
                <a:gd name="connsiteY56" fmla="*/ 971 h 5123"/>
                <a:gd name="connsiteX57" fmla="*/ 8440 w 10000"/>
                <a:gd name="connsiteY57" fmla="*/ 1126 h 5123"/>
                <a:gd name="connsiteX58" fmla="*/ 7961 w 10000"/>
                <a:gd name="connsiteY58" fmla="*/ 821 h 5123"/>
                <a:gd name="connsiteX59" fmla="*/ 7874 w 10000"/>
                <a:gd name="connsiteY59" fmla="*/ 0 h 5123"/>
                <a:gd name="connsiteX60" fmla="*/ 7361 w 10000"/>
                <a:gd name="connsiteY60" fmla="*/ 356 h 5123"/>
                <a:gd name="connsiteX61" fmla="*/ 7369 w 10000"/>
                <a:gd name="connsiteY61" fmla="*/ 779 h 5123"/>
                <a:gd name="connsiteX62" fmla="*/ 6955 w 10000"/>
                <a:gd name="connsiteY62" fmla="*/ 1035 h 5123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34 w 10000"/>
                <a:gd name="connsiteY2" fmla="*/ 3084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96 w 10000"/>
                <a:gd name="connsiteY9" fmla="*/ 3277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34 w 10000"/>
                <a:gd name="connsiteY2" fmla="*/ 3084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329 w 10000"/>
                <a:gd name="connsiteY61" fmla="*/ 1075 h 10000"/>
                <a:gd name="connsiteX62" fmla="*/ 7237 w 10000"/>
                <a:gd name="connsiteY62" fmla="*/ 1489 h 10000"/>
                <a:gd name="connsiteX63" fmla="*/ 6955 w 10000"/>
                <a:gd name="connsiteY63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237 w 10000"/>
                <a:gd name="connsiteY62" fmla="*/ 1489 h 10000"/>
                <a:gd name="connsiteX63" fmla="*/ 6955 w 10000"/>
                <a:gd name="connsiteY63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840 w 10000"/>
                <a:gd name="connsiteY7" fmla="*/ 3351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840 w 10000"/>
                <a:gd name="connsiteY7" fmla="*/ 3351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38 w 10000"/>
                <a:gd name="connsiteY60" fmla="*/ 316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0000" h="10000">
                  <a:moveTo>
                    <a:pt x="6955" y="2020"/>
                  </a:moveTo>
                  <a:cubicBezTo>
                    <a:pt x="6839" y="2202"/>
                    <a:pt x="6795" y="2430"/>
                    <a:pt x="6675" y="2608"/>
                  </a:cubicBezTo>
                  <a:lnTo>
                    <a:pt x="6212" y="2957"/>
                  </a:lnTo>
                  <a:lnTo>
                    <a:pt x="5864" y="2586"/>
                  </a:lnTo>
                  <a:cubicBezTo>
                    <a:pt x="5808" y="2795"/>
                    <a:pt x="5376" y="2079"/>
                    <a:pt x="5325" y="2288"/>
                  </a:cubicBezTo>
                  <a:lnTo>
                    <a:pt x="5058" y="2963"/>
                  </a:lnTo>
                  <a:lnTo>
                    <a:pt x="4396" y="3482"/>
                  </a:lnTo>
                  <a:cubicBezTo>
                    <a:pt x="4343" y="3535"/>
                    <a:pt x="3891" y="3301"/>
                    <a:pt x="3840" y="3351"/>
                  </a:cubicBezTo>
                  <a:lnTo>
                    <a:pt x="3044" y="3037"/>
                  </a:lnTo>
                  <a:lnTo>
                    <a:pt x="2774" y="3182"/>
                  </a:lnTo>
                  <a:lnTo>
                    <a:pt x="2177" y="2743"/>
                  </a:lnTo>
                  <a:cubicBezTo>
                    <a:pt x="2086" y="2475"/>
                    <a:pt x="1994" y="2208"/>
                    <a:pt x="1903" y="1940"/>
                  </a:cubicBezTo>
                  <a:cubicBezTo>
                    <a:pt x="1921" y="2173"/>
                    <a:pt x="1434" y="1931"/>
                    <a:pt x="1449" y="2159"/>
                  </a:cubicBezTo>
                  <a:cubicBezTo>
                    <a:pt x="1409" y="2317"/>
                    <a:pt x="1369" y="2479"/>
                    <a:pt x="1324" y="2635"/>
                  </a:cubicBezTo>
                  <a:lnTo>
                    <a:pt x="845" y="2836"/>
                  </a:lnTo>
                  <a:lnTo>
                    <a:pt x="526" y="2819"/>
                  </a:lnTo>
                  <a:cubicBezTo>
                    <a:pt x="469" y="2946"/>
                    <a:pt x="411" y="3069"/>
                    <a:pt x="354" y="3195"/>
                  </a:cubicBezTo>
                  <a:cubicBezTo>
                    <a:pt x="373" y="3326"/>
                    <a:pt x="37" y="2475"/>
                    <a:pt x="56" y="2604"/>
                  </a:cubicBezTo>
                  <a:cubicBezTo>
                    <a:pt x="37" y="2961"/>
                    <a:pt x="17" y="3322"/>
                    <a:pt x="0" y="3679"/>
                  </a:cubicBezTo>
                  <a:cubicBezTo>
                    <a:pt x="36" y="3732"/>
                    <a:pt x="73" y="3785"/>
                    <a:pt x="106" y="3836"/>
                  </a:cubicBezTo>
                  <a:lnTo>
                    <a:pt x="538" y="3912"/>
                  </a:lnTo>
                  <a:cubicBezTo>
                    <a:pt x="559" y="4013"/>
                    <a:pt x="575" y="4117"/>
                    <a:pt x="596" y="4218"/>
                  </a:cubicBezTo>
                  <a:lnTo>
                    <a:pt x="1075" y="4300"/>
                  </a:lnTo>
                  <a:lnTo>
                    <a:pt x="1346" y="4607"/>
                  </a:lnTo>
                  <a:cubicBezTo>
                    <a:pt x="1361" y="4784"/>
                    <a:pt x="1382" y="4964"/>
                    <a:pt x="1397" y="5145"/>
                  </a:cubicBezTo>
                  <a:lnTo>
                    <a:pt x="2260" y="6069"/>
                  </a:lnTo>
                  <a:cubicBezTo>
                    <a:pt x="2330" y="6377"/>
                    <a:pt x="2404" y="6686"/>
                    <a:pt x="2475" y="6996"/>
                  </a:cubicBezTo>
                  <a:lnTo>
                    <a:pt x="3064" y="7459"/>
                  </a:lnTo>
                  <a:lnTo>
                    <a:pt x="3280" y="8069"/>
                  </a:lnTo>
                  <a:lnTo>
                    <a:pt x="3709" y="8846"/>
                  </a:lnTo>
                  <a:lnTo>
                    <a:pt x="4034" y="9073"/>
                  </a:lnTo>
                  <a:lnTo>
                    <a:pt x="4248" y="8846"/>
                  </a:lnTo>
                  <a:lnTo>
                    <a:pt x="4785" y="8923"/>
                  </a:lnTo>
                  <a:lnTo>
                    <a:pt x="5002" y="8766"/>
                  </a:lnTo>
                  <a:lnTo>
                    <a:pt x="5967" y="9926"/>
                  </a:lnTo>
                  <a:lnTo>
                    <a:pt x="6021" y="9926"/>
                  </a:lnTo>
                  <a:cubicBezTo>
                    <a:pt x="6057" y="9871"/>
                    <a:pt x="6094" y="9822"/>
                    <a:pt x="6130" y="9772"/>
                  </a:cubicBezTo>
                  <a:lnTo>
                    <a:pt x="6823" y="9772"/>
                  </a:lnTo>
                  <a:cubicBezTo>
                    <a:pt x="6863" y="9848"/>
                    <a:pt x="6901" y="9926"/>
                    <a:pt x="6936" y="10000"/>
                  </a:cubicBezTo>
                  <a:lnTo>
                    <a:pt x="7526" y="9690"/>
                  </a:lnTo>
                  <a:lnTo>
                    <a:pt x="8062" y="9690"/>
                  </a:lnTo>
                  <a:lnTo>
                    <a:pt x="8438" y="9383"/>
                  </a:lnTo>
                  <a:lnTo>
                    <a:pt x="8871" y="8766"/>
                  </a:lnTo>
                  <a:lnTo>
                    <a:pt x="10000" y="8766"/>
                  </a:lnTo>
                  <a:lnTo>
                    <a:pt x="10000" y="7923"/>
                  </a:lnTo>
                  <a:lnTo>
                    <a:pt x="9409" y="7535"/>
                  </a:lnTo>
                  <a:cubicBezTo>
                    <a:pt x="9299" y="7125"/>
                    <a:pt x="9193" y="6711"/>
                    <a:pt x="9083" y="6301"/>
                  </a:cubicBezTo>
                  <a:lnTo>
                    <a:pt x="8655" y="5838"/>
                  </a:lnTo>
                  <a:lnTo>
                    <a:pt x="8385" y="5220"/>
                  </a:lnTo>
                  <a:lnTo>
                    <a:pt x="7687" y="4763"/>
                  </a:lnTo>
                  <a:cubicBezTo>
                    <a:pt x="7740" y="4706"/>
                    <a:pt x="7794" y="4657"/>
                    <a:pt x="7848" y="4607"/>
                  </a:cubicBezTo>
                  <a:lnTo>
                    <a:pt x="7848" y="4218"/>
                  </a:lnTo>
                  <a:lnTo>
                    <a:pt x="8334" y="4218"/>
                  </a:lnTo>
                  <a:lnTo>
                    <a:pt x="8599" y="3912"/>
                  </a:lnTo>
                  <a:cubicBezTo>
                    <a:pt x="8620" y="3168"/>
                    <a:pt x="8640" y="2424"/>
                    <a:pt x="8655" y="1679"/>
                  </a:cubicBezTo>
                  <a:cubicBezTo>
                    <a:pt x="8673" y="1704"/>
                    <a:pt x="8690" y="1726"/>
                    <a:pt x="8707" y="1755"/>
                  </a:cubicBezTo>
                  <a:cubicBezTo>
                    <a:pt x="8758" y="1599"/>
                    <a:pt x="8463" y="2050"/>
                    <a:pt x="8517" y="1895"/>
                  </a:cubicBezTo>
                  <a:cubicBezTo>
                    <a:pt x="8491" y="1993"/>
                    <a:pt x="8467" y="2098"/>
                    <a:pt x="8440" y="2198"/>
                  </a:cubicBezTo>
                  <a:cubicBezTo>
                    <a:pt x="8494" y="1917"/>
                    <a:pt x="7910" y="1888"/>
                    <a:pt x="7961" y="1603"/>
                  </a:cubicBezTo>
                  <a:cubicBezTo>
                    <a:pt x="7933" y="1068"/>
                    <a:pt x="7903" y="533"/>
                    <a:pt x="7874" y="0"/>
                  </a:cubicBezTo>
                  <a:lnTo>
                    <a:pt x="7538" y="316"/>
                  </a:lnTo>
                  <a:cubicBezTo>
                    <a:pt x="7447" y="495"/>
                    <a:pt x="7563" y="700"/>
                    <a:pt x="7506" y="885"/>
                  </a:cubicBezTo>
                  <a:cubicBezTo>
                    <a:pt x="7468" y="1038"/>
                    <a:pt x="7396" y="1196"/>
                    <a:pt x="7351" y="1297"/>
                  </a:cubicBezTo>
                  <a:cubicBezTo>
                    <a:pt x="7306" y="1398"/>
                    <a:pt x="7303" y="1368"/>
                    <a:pt x="7237" y="1489"/>
                  </a:cubicBezTo>
                  <a:lnTo>
                    <a:pt x="6955" y="202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4450" tIns="44450" rIns="44450" bIns="44450"/>
            <a:lstStyle/>
            <a:p>
              <a:pPr algn="ctr"/>
              <a:endParaRPr lang="en-US" sz="3200" dirty="0"/>
            </a:p>
          </p:txBody>
        </p:sp>
        <p:sp>
          <p:nvSpPr>
            <p:cNvPr id="6" name="Freeform 441"/>
            <p:cNvSpPr>
              <a:spLocks/>
            </p:cNvSpPr>
            <p:nvPr>
              <p:custDataLst>
                <p:tags r:id="rId199"/>
              </p:custDataLst>
            </p:nvPr>
          </p:nvSpPr>
          <p:spPr bwMode="gray">
            <a:xfrm>
              <a:off x="4867845" y="3953787"/>
              <a:ext cx="379071" cy="407680"/>
            </a:xfrm>
            <a:custGeom>
              <a:avLst/>
              <a:gdLst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5564 w 10000"/>
                <a:gd name="connsiteY41" fmla="*/ 7085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5272 w 10000"/>
                <a:gd name="connsiteY39" fmla="*/ 9204 h 10000"/>
                <a:gd name="connsiteX40" fmla="*/ 6145 w 10000"/>
                <a:gd name="connsiteY40" fmla="*/ 10000 h 10000"/>
                <a:gd name="connsiteX41" fmla="*/ 5564 w 10000"/>
                <a:gd name="connsiteY41" fmla="*/ 7085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9968"/>
                <a:gd name="connsiteX1" fmla="*/ 1285 w 10000"/>
                <a:gd name="connsiteY1" fmla="*/ 2412 h 9968"/>
                <a:gd name="connsiteX2" fmla="*/ 1285 w 10000"/>
                <a:gd name="connsiteY2" fmla="*/ 2894 h 9968"/>
                <a:gd name="connsiteX3" fmla="*/ 1285 w 10000"/>
                <a:gd name="connsiteY3" fmla="*/ 3376 h 9968"/>
                <a:gd name="connsiteX4" fmla="*/ 1285 w 10000"/>
                <a:gd name="connsiteY4" fmla="*/ 3826 h 9968"/>
                <a:gd name="connsiteX5" fmla="*/ 643 w 10000"/>
                <a:gd name="connsiteY5" fmla="*/ 3923 h 9968"/>
                <a:gd name="connsiteX6" fmla="*/ 522 w 10000"/>
                <a:gd name="connsiteY6" fmla="*/ 4180 h 9968"/>
                <a:gd name="connsiteX7" fmla="*/ 241 w 10000"/>
                <a:gd name="connsiteY7" fmla="*/ 4502 h 9968"/>
                <a:gd name="connsiteX8" fmla="*/ 241 w 10000"/>
                <a:gd name="connsiteY8" fmla="*/ 4759 h 9968"/>
                <a:gd name="connsiteX9" fmla="*/ 120 w 10000"/>
                <a:gd name="connsiteY9" fmla="*/ 4823 h 9968"/>
                <a:gd name="connsiteX10" fmla="*/ 120 w 10000"/>
                <a:gd name="connsiteY10" fmla="*/ 5048 h 9968"/>
                <a:gd name="connsiteX11" fmla="*/ 0 w 10000"/>
                <a:gd name="connsiteY11" fmla="*/ 5241 h 9968"/>
                <a:gd name="connsiteX12" fmla="*/ 0 w 10000"/>
                <a:gd name="connsiteY12" fmla="*/ 5402 h 9968"/>
                <a:gd name="connsiteX13" fmla="*/ 241 w 10000"/>
                <a:gd name="connsiteY13" fmla="*/ 5370 h 9968"/>
                <a:gd name="connsiteX14" fmla="*/ 281 w 10000"/>
                <a:gd name="connsiteY14" fmla="*/ 5659 h 9968"/>
                <a:gd name="connsiteX15" fmla="*/ 602 w 10000"/>
                <a:gd name="connsiteY15" fmla="*/ 6174 h 9968"/>
                <a:gd name="connsiteX16" fmla="*/ 602 w 10000"/>
                <a:gd name="connsiteY16" fmla="*/ 6206 h 9968"/>
                <a:gd name="connsiteX17" fmla="*/ 482 w 10000"/>
                <a:gd name="connsiteY17" fmla="*/ 6238 h 9968"/>
                <a:gd name="connsiteX18" fmla="*/ 964 w 10000"/>
                <a:gd name="connsiteY18" fmla="*/ 6752 h 9968"/>
                <a:gd name="connsiteX19" fmla="*/ 1004 w 10000"/>
                <a:gd name="connsiteY19" fmla="*/ 6913 h 9968"/>
                <a:gd name="connsiteX20" fmla="*/ 964 w 10000"/>
                <a:gd name="connsiteY20" fmla="*/ 7363 h 9968"/>
                <a:gd name="connsiteX21" fmla="*/ 1044 w 10000"/>
                <a:gd name="connsiteY21" fmla="*/ 7428 h 9968"/>
                <a:gd name="connsiteX22" fmla="*/ 1365 w 10000"/>
                <a:gd name="connsiteY22" fmla="*/ 7460 h 9968"/>
                <a:gd name="connsiteX23" fmla="*/ 1406 w 10000"/>
                <a:gd name="connsiteY23" fmla="*/ 7588 h 9968"/>
                <a:gd name="connsiteX24" fmla="*/ 1767 w 10000"/>
                <a:gd name="connsiteY24" fmla="*/ 7621 h 9968"/>
                <a:gd name="connsiteX25" fmla="*/ 1968 w 10000"/>
                <a:gd name="connsiteY25" fmla="*/ 7749 h 9968"/>
                <a:gd name="connsiteX26" fmla="*/ 2008 w 10000"/>
                <a:gd name="connsiteY26" fmla="*/ 7974 h 9968"/>
                <a:gd name="connsiteX27" fmla="*/ 2651 w 10000"/>
                <a:gd name="connsiteY27" fmla="*/ 8360 h 9968"/>
                <a:gd name="connsiteX28" fmla="*/ 2811 w 10000"/>
                <a:gd name="connsiteY28" fmla="*/ 8746 h 9968"/>
                <a:gd name="connsiteX29" fmla="*/ 3253 w 10000"/>
                <a:gd name="connsiteY29" fmla="*/ 8939 h 9968"/>
                <a:gd name="connsiteX30" fmla="*/ 3414 w 10000"/>
                <a:gd name="connsiteY30" fmla="*/ 9196 h 9968"/>
                <a:gd name="connsiteX31" fmla="*/ 3735 w 10000"/>
                <a:gd name="connsiteY31" fmla="*/ 9518 h 9968"/>
                <a:gd name="connsiteX32" fmla="*/ 3976 w 10000"/>
                <a:gd name="connsiteY32" fmla="*/ 9614 h 9968"/>
                <a:gd name="connsiteX33" fmla="*/ 4137 w 10000"/>
                <a:gd name="connsiteY33" fmla="*/ 9518 h 9968"/>
                <a:gd name="connsiteX34" fmla="*/ 4538 w 10000"/>
                <a:gd name="connsiteY34" fmla="*/ 9550 h 9968"/>
                <a:gd name="connsiteX35" fmla="*/ 4699 w 10000"/>
                <a:gd name="connsiteY35" fmla="*/ 9486 h 9968"/>
                <a:gd name="connsiteX36" fmla="*/ 5422 w 10000"/>
                <a:gd name="connsiteY36" fmla="*/ 9968 h 9968"/>
                <a:gd name="connsiteX37" fmla="*/ 5462 w 10000"/>
                <a:gd name="connsiteY37" fmla="*/ 9968 h 9968"/>
                <a:gd name="connsiteX38" fmla="*/ 5542 w 10000"/>
                <a:gd name="connsiteY38" fmla="*/ 9904 h 9968"/>
                <a:gd name="connsiteX39" fmla="*/ 5272 w 10000"/>
                <a:gd name="connsiteY39" fmla="*/ 9204 h 9968"/>
                <a:gd name="connsiteX40" fmla="*/ 5337 w 10000"/>
                <a:gd name="connsiteY40" fmla="*/ 6963 h 9968"/>
                <a:gd name="connsiteX41" fmla="*/ 5564 w 10000"/>
                <a:gd name="connsiteY41" fmla="*/ 7085 h 9968"/>
                <a:gd name="connsiteX42" fmla="*/ 5768 w 10000"/>
                <a:gd name="connsiteY42" fmla="*/ 7006 h 9968"/>
                <a:gd name="connsiteX43" fmla="*/ 5933 w 10000"/>
                <a:gd name="connsiteY43" fmla="*/ 6931 h 9968"/>
                <a:gd name="connsiteX44" fmla="*/ 6089 w 10000"/>
                <a:gd name="connsiteY44" fmla="*/ 6766 h 9968"/>
                <a:gd name="connsiteX45" fmla="*/ 6274 w 10000"/>
                <a:gd name="connsiteY45" fmla="*/ 6541 h 9968"/>
                <a:gd name="connsiteX46" fmla="*/ 6389 w 10000"/>
                <a:gd name="connsiteY46" fmla="*/ 6438 h 9968"/>
                <a:gd name="connsiteX47" fmla="*/ 6524 w 10000"/>
                <a:gd name="connsiteY47" fmla="*/ 6396 h 9968"/>
                <a:gd name="connsiteX48" fmla="*/ 6531 w 10000"/>
                <a:gd name="connsiteY48" fmla="*/ 6265 h 9968"/>
                <a:gd name="connsiteX49" fmla="*/ 6424 w 10000"/>
                <a:gd name="connsiteY49" fmla="*/ 5966 h 9968"/>
                <a:gd name="connsiteX50" fmla="*/ 6602 w 10000"/>
                <a:gd name="connsiteY50" fmla="*/ 5973 h 9968"/>
                <a:gd name="connsiteX51" fmla="*/ 6707 w 10000"/>
                <a:gd name="connsiteY51" fmla="*/ 5860 h 9968"/>
                <a:gd name="connsiteX52" fmla="*/ 6876 w 10000"/>
                <a:gd name="connsiteY52" fmla="*/ 5861 h 9968"/>
                <a:gd name="connsiteX53" fmla="*/ 6827 w 10000"/>
                <a:gd name="connsiteY53" fmla="*/ 6558 h 9968"/>
                <a:gd name="connsiteX54" fmla="*/ 6991 w 10000"/>
                <a:gd name="connsiteY54" fmla="*/ 6637 h 9968"/>
                <a:gd name="connsiteX55" fmla="*/ 7275 w 10000"/>
                <a:gd name="connsiteY55" fmla="*/ 6839 h 9968"/>
                <a:gd name="connsiteX56" fmla="*/ 7430 w 10000"/>
                <a:gd name="connsiteY56" fmla="*/ 6527 h 9968"/>
                <a:gd name="connsiteX57" fmla="*/ 7470 w 10000"/>
                <a:gd name="connsiteY57" fmla="*/ 6559 h 9968"/>
                <a:gd name="connsiteX58" fmla="*/ 7590 w 10000"/>
                <a:gd name="connsiteY58" fmla="*/ 6367 h 9968"/>
                <a:gd name="connsiteX59" fmla="*/ 7831 w 10000"/>
                <a:gd name="connsiteY59" fmla="*/ 6270 h 9968"/>
                <a:gd name="connsiteX60" fmla="*/ 7952 w 10000"/>
                <a:gd name="connsiteY60" fmla="*/ 5916 h 9968"/>
                <a:gd name="connsiteX61" fmla="*/ 8313 w 10000"/>
                <a:gd name="connsiteY61" fmla="*/ 5498 h 9968"/>
                <a:gd name="connsiteX62" fmla="*/ 8594 w 10000"/>
                <a:gd name="connsiteY62" fmla="*/ 5305 h 9968"/>
                <a:gd name="connsiteX63" fmla="*/ 8795 w 10000"/>
                <a:gd name="connsiteY63" fmla="*/ 4759 h 9968"/>
                <a:gd name="connsiteX64" fmla="*/ 8795 w 10000"/>
                <a:gd name="connsiteY64" fmla="*/ 4630 h 9968"/>
                <a:gd name="connsiteX65" fmla="*/ 8755 w 10000"/>
                <a:gd name="connsiteY65" fmla="*/ 4309 h 9968"/>
                <a:gd name="connsiteX66" fmla="*/ 9157 w 10000"/>
                <a:gd name="connsiteY66" fmla="*/ 3151 h 9968"/>
                <a:gd name="connsiteX67" fmla="*/ 9277 w 10000"/>
                <a:gd name="connsiteY67" fmla="*/ 3151 h 9968"/>
                <a:gd name="connsiteX68" fmla="*/ 9438 w 10000"/>
                <a:gd name="connsiteY68" fmla="*/ 3055 h 9968"/>
                <a:gd name="connsiteX69" fmla="*/ 9920 w 10000"/>
                <a:gd name="connsiteY69" fmla="*/ 2894 h 9968"/>
                <a:gd name="connsiteX70" fmla="*/ 10000 w 10000"/>
                <a:gd name="connsiteY70" fmla="*/ 2637 h 9968"/>
                <a:gd name="connsiteX71" fmla="*/ 9960 w 10000"/>
                <a:gd name="connsiteY71" fmla="*/ 2572 h 9968"/>
                <a:gd name="connsiteX72" fmla="*/ 9799 w 10000"/>
                <a:gd name="connsiteY72" fmla="*/ 2572 h 9968"/>
                <a:gd name="connsiteX73" fmla="*/ 9679 w 10000"/>
                <a:gd name="connsiteY73" fmla="*/ 2412 h 9968"/>
                <a:gd name="connsiteX74" fmla="*/ 9438 w 10000"/>
                <a:gd name="connsiteY74" fmla="*/ 2347 h 9968"/>
                <a:gd name="connsiteX75" fmla="*/ 9317 w 10000"/>
                <a:gd name="connsiteY75" fmla="*/ 2219 h 9968"/>
                <a:gd name="connsiteX76" fmla="*/ 9237 w 10000"/>
                <a:gd name="connsiteY76" fmla="*/ 1736 h 9968"/>
                <a:gd name="connsiteX77" fmla="*/ 9237 w 10000"/>
                <a:gd name="connsiteY77" fmla="*/ 1061 h 9968"/>
                <a:gd name="connsiteX78" fmla="*/ 9036 w 10000"/>
                <a:gd name="connsiteY78" fmla="*/ 836 h 9968"/>
                <a:gd name="connsiteX79" fmla="*/ 8996 w 10000"/>
                <a:gd name="connsiteY79" fmla="*/ 611 h 9968"/>
                <a:gd name="connsiteX80" fmla="*/ 8675 w 10000"/>
                <a:gd name="connsiteY80" fmla="*/ 289 h 9968"/>
                <a:gd name="connsiteX81" fmla="*/ 8394 w 10000"/>
                <a:gd name="connsiteY81" fmla="*/ 161 h 9968"/>
                <a:gd name="connsiteX82" fmla="*/ 8233 w 10000"/>
                <a:gd name="connsiteY82" fmla="*/ 0 h 9968"/>
                <a:gd name="connsiteX83" fmla="*/ 7992 w 10000"/>
                <a:gd name="connsiteY83" fmla="*/ 161 h 9968"/>
                <a:gd name="connsiteX84" fmla="*/ 7831 w 10000"/>
                <a:gd name="connsiteY84" fmla="*/ 129 h 9968"/>
                <a:gd name="connsiteX85" fmla="*/ 7711 w 10000"/>
                <a:gd name="connsiteY85" fmla="*/ 418 h 9968"/>
                <a:gd name="connsiteX86" fmla="*/ 7390 w 10000"/>
                <a:gd name="connsiteY86" fmla="*/ 482 h 9968"/>
                <a:gd name="connsiteX87" fmla="*/ 7309 w 10000"/>
                <a:gd name="connsiteY87" fmla="*/ 707 h 9968"/>
                <a:gd name="connsiteX88" fmla="*/ 7028 w 10000"/>
                <a:gd name="connsiteY88" fmla="*/ 707 h 9968"/>
                <a:gd name="connsiteX89" fmla="*/ 6787 w 10000"/>
                <a:gd name="connsiteY89" fmla="*/ 611 h 9968"/>
                <a:gd name="connsiteX90" fmla="*/ 6265 w 10000"/>
                <a:gd name="connsiteY90" fmla="*/ 611 h 9968"/>
                <a:gd name="connsiteX91" fmla="*/ 5743 w 10000"/>
                <a:gd name="connsiteY91" fmla="*/ 611 h 9968"/>
                <a:gd name="connsiteX92" fmla="*/ 5783 w 10000"/>
                <a:gd name="connsiteY92" fmla="*/ 482 h 9968"/>
                <a:gd name="connsiteX93" fmla="*/ 5703 w 10000"/>
                <a:gd name="connsiteY93" fmla="*/ 482 h 9968"/>
                <a:gd name="connsiteX94" fmla="*/ 5663 w 10000"/>
                <a:gd name="connsiteY94" fmla="*/ 611 h 9968"/>
                <a:gd name="connsiteX95" fmla="*/ 5181 w 10000"/>
                <a:gd name="connsiteY95" fmla="*/ 611 h 9968"/>
                <a:gd name="connsiteX96" fmla="*/ 4699 w 10000"/>
                <a:gd name="connsiteY96" fmla="*/ 611 h 9968"/>
                <a:gd name="connsiteX97" fmla="*/ 4217 w 10000"/>
                <a:gd name="connsiteY97" fmla="*/ 611 h 9968"/>
                <a:gd name="connsiteX98" fmla="*/ 3735 w 10000"/>
                <a:gd name="connsiteY98" fmla="*/ 611 h 9968"/>
                <a:gd name="connsiteX99" fmla="*/ 3293 w 10000"/>
                <a:gd name="connsiteY99" fmla="*/ 611 h 9968"/>
                <a:gd name="connsiteX100" fmla="*/ 2811 w 10000"/>
                <a:gd name="connsiteY100" fmla="*/ 611 h 9968"/>
                <a:gd name="connsiteX101" fmla="*/ 2369 w 10000"/>
                <a:gd name="connsiteY101" fmla="*/ 611 h 9968"/>
                <a:gd name="connsiteX102" fmla="*/ 1888 w 10000"/>
                <a:gd name="connsiteY102" fmla="*/ 611 h 9968"/>
                <a:gd name="connsiteX103" fmla="*/ 1888 w 10000"/>
                <a:gd name="connsiteY103" fmla="*/ 1061 h 9968"/>
                <a:gd name="connsiteX104" fmla="*/ 1888 w 10000"/>
                <a:gd name="connsiteY104" fmla="*/ 1640 h 9968"/>
                <a:gd name="connsiteX105" fmla="*/ 1285 w 10000"/>
                <a:gd name="connsiteY105" fmla="*/ 1640 h 9968"/>
                <a:gd name="connsiteX106" fmla="*/ 1285 w 10000"/>
                <a:gd name="connsiteY106" fmla="*/ 1897 h 9968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5140 w 10000"/>
                <a:gd name="connsiteY39" fmla="*/ 695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92 w 10000"/>
                <a:gd name="connsiteY39" fmla="*/ 6837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877 w 10000"/>
                <a:gd name="connsiteY39" fmla="*/ 7830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877 w 10000"/>
                <a:gd name="connsiteY39" fmla="*/ 7830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080 w 10000"/>
                <a:gd name="connsiteY38" fmla="*/ 6889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4901 w 10000"/>
                <a:gd name="connsiteY37" fmla="*/ 6794 h 10000"/>
                <a:gd name="connsiteX38" fmla="*/ 5080 w 10000"/>
                <a:gd name="connsiteY38" fmla="*/ 6889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9645"/>
                <a:gd name="connsiteX1" fmla="*/ 1285 w 10000"/>
                <a:gd name="connsiteY1" fmla="*/ 2420 h 9645"/>
                <a:gd name="connsiteX2" fmla="*/ 1285 w 10000"/>
                <a:gd name="connsiteY2" fmla="*/ 2903 h 9645"/>
                <a:gd name="connsiteX3" fmla="*/ 1285 w 10000"/>
                <a:gd name="connsiteY3" fmla="*/ 3387 h 9645"/>
                <a:gd name="connsiteX4" fmla="*/ 1285 w 10000"/>
                <a:gd name="connsiteY4" fmla="*/ 3838 h 9645"/>
                <a:gd name="connsiteX5" fmla="*/ 643 w 10000"/>
                <a:gd name="connsiteY5" fmla="*/ 3936 h 9645"/>
                <a:gd name="connsiteX6" fmla="*/ 522 w 10000"/>
                <a:gd name="connsiteY6" fmla="*/ 4193 h 9645"/>
                <a:gd name="connsiteX7" fmla="*/ 241 w 10000"/>
                <a:gd name="connsiteY7" fmla="*/ 4516 h 9645"/>
                <a:gd name="connsiteX8" fmla="*/ 241 w 10000"/>
                <a:gd name="connsiteY8" fmla="*/ 4774 h 9645"/>
                <a:gd name="connsiteX9" fmla="*/ 120 w 10000"/>
                <a:gd name="connsiteY9" fmla="*/ 4838 h 9645"/>
                <a:gd name="connsiteX10" fmla="*/ 120 w 10000"/>
                <a:gd name="connsiteY10" fmla="*/ 5064 h 9645"/>
                <a:gd name="connsiteX11" fmla="*/ 0 w 10000"/>
                <a:gd name="connsiteY11" fmla="*/ 5258 h 9645"/>
                <a:gd name="connsiteX12" fmla="*/ 0 w 10000"/>
                <a:gd name="connsiteY12" fmla="*/ 5419 h 9645"/>
                <a:gd name="connsiteX13" fmla="*/ 241 w 10000"/>
                <a:gd name="connsiteY13" fmla="*/ 5387 h 9645"/>
                <a:gd name="connsiteX14" fmla="*/ 281 w 10000"/>
                <a:gd name="connsiteY14" fmla="*/ 5677 h 9645"/>
                <a:gd name="connsiteX15" fmla="*/ 602 w 10000"/>
                <a:gd name="connsiteY15" fmla="*/ 6194 h 9645"/>
                <a:gd name="connsiteX16" fmla="*/ 602 w 10000"/>
                <a:gd name="connsiteY16" fmla="*/ 6226 h 9645"/>
                <a:gd name="connsiteX17" fmla="*/ 482 w 10000"/>
                <a:gd name="connsiteY17" fmla="*/ 6258 h 9645"/>
                <a:gd name="connsiteX18" fmla="*/ 964 w 10000"/>
                <a:gd name="connsiteY18" fmla="*/ 6774 h 9645"/>
                <a:gd name="connsiteX19" fmla="*/ 1004 w 10000"/>
                <a:gd name="connsiteY19" fmla="*/ 6935 h 9645"/>
                <a:gd name="connsiteX20" fmla="*/ 964 w 10000"/>
                <a:gd name="connsiteY20" fmla="*/ 7387 h 9645"/>
                <a:gd name="connsiteX21" fmla="*/ 1044 w 10000"/>
                <a:gd name="connsiteY21" fmla="*/ 7452 h 9645"/>
                <a:gd name="connsiteX22" fmla="*/ 1365 w 10000"/>
                <a:gd name="connsiteY22" fmla="*/ 7484 h 9645"/>
                <a:gd name="connsiteX23" fmla="*/ 1406 w 10000"/>
                <a:gd name="connsiteY23" fmla="*/ 7612 h 9645"/>
                <a:gd name="connsiteX24" fmla="*/ 1767 w 10000"/>
                <a:gd name="connsiteY24" fmla="*/ 7645 h 9645"/>
                <a:gd name="connsiteX25" fmla="*/ 1968 w 10000"/>
                <a:gd name="connsiteY25" fmla="*/ 7774 h 9645"/>
                <a:gd name="connsiteX26" fmla="*/ 2008 w 10000"/>
                <a:gd name="connsiteY26" fmla="*/ 8000 h 9645"/>
                <a:gd name="connsiteX27" fmla="*/ 2651 w 10000"/>
                <a:gd name="connsiteY27" fmla="*/ 8387 h 9645"/>
                <a:gd name="connsiteX28" fmla="*/ 2811 w 10000"/>
                <a:gd name="connsiteY28" fmla="*/ 8774 h 9645"/>
                <a:gd name="connsiteX29" fmla="*/ 3253 w 10000"/>
                <a:gd name="connsiteY29" fmla="*/ 8968 h 9645"/>
                <a:gd name="connsiteX30" fmla="*/ 3414 w 10000"/>
                <a:gd name="connsiteY30" fmla="*/ 9226 h 9645"/>
                <a:gd name="connsiteX31" fmla="*/ 3735 w 10000"/>
                <a:gd name="connsiteY31" fmla="*/ 9549 h 9645"/>
                <a:gd name="connsiteX32" fmla="*/ 3976 w 10000"/>
                <a:gd name="connsiteY32" fmla="*/ 9645 h 9645"/>
                <a:gd name="connsiteX33" fmla="*/ 4137 w 10000"/>
                <a:gd name="connsiteY33" fmla="*/ 9549 h 9645"/>
                <a:gd name="connsiteX34" fmla="*/ 4538 w 10000"/>
                <a:gd name="connsiteY34" fmla="*/ 9581 h 9645"/>
                <a:gd name="connsiteX35" fmla="*/ 4699 w 10000"/>
                <a:gd name="connsiteY35" fmla="*/ 9516 h 9645"/>
                <a:gd name="connsiteX36" fmla="*/ 4762 w 10000"/>
                <a:gd name="connsiteY36" fmla="*/ 6927 h 9645"/>
                <a:gd name="connsiteX37" fmla="*/ 4901 w 10000"/>
                <a:gd name="connsiteY37" fmla="*/ 6794 h 9645"/>
                <a:gd name="connsiteX38" fmla="*/ 5080 w 10000"/>
                <a:gd name="connsiteY38" fmla="*/ 6889 h 9645"/>
                <a:gd name="connsiteX39" fmla="*/ 5337 w 10000"/>
                <a:gd name="connsiteY39" fmla="*/ 6985 h 9645"/>
                <a:gd name="connsiteX40" fmla="*/ 5564 w 10000"/>
                <a:gd name="connsiteY40" fmla="*/ 7108 h 9645"/>
                <a:gd name="connsiteX41" fmla="*/ 5768 w 10000"/>
                <a:gd name="connsiteY41" fmla="*/ 7028 h 9645"/>
                <a:gd name="connsiteX42" fmla="*/ 5933 w 10000"/>
                <a:gd name="connsiteY42" fmla="*/ 6953 h 9645"/>
                <a:gd name="connsiteX43" fmla="*/ 6089 w 10000"/>
                <a:gd name="connsiteY43" fmla="*/ 6788 h 9645"/>
                <a:gd name="connsiteX44" fmla="*/ 6274 w 10000"/>
                <a:gd name="connsiteY44" fmla="*/ 6562 h 9645"/>
                <a:gd name="connsiteX45" fmla="*/ 6389 w 10000"/>
                <a:gd name="connsiteY45" fmla="*/ 6459 h 9645"/>
                <a:gd name="connsiteX46" fmla="*/ 6524 w 10000"/>
                <a:gd name="connsiteY46" fmla="*/ 6417 h 9645"/>
                <a:gd name="connsiteX47" fmla="*/ 6531 w 10000"/>
                <a:gd name="connsiteY47" fmla="*/ 6285 h 9645"/>
                <a:gd name="connsiteX48" fmla="*/ 6424 w 10000"/>
                <a:gd name="connsiteY48" fmla="*/ 5985 h 9645"/>
                <a:gd name="connsiteX49" fmla="*/ 6602 w 10000"/>
                <a:gd name="connsiteY49" fmla="*/ 5992 h 9645"/>
                <a:gd name="connsiteX50" fmla="*/ 6707 w 10000"/>
                <a:gd name="connsiteY50" fmla="*/ 5879 h 9645"/>
                <a:gd name="connsiteX51" fmla="*/ 6876 w 10000"/>
                <a:gd name="connsiteY51" fmla="*/ 5880 h 9645"/>
                <a:gd name="connsiteX52" fmla="*/ 6827 w 10000"/>
                <a:gd name="connsiteY52" fmla="*/ 6579 h 9645"/>
                <a:gd name="connsiteX53" fmla="*/ 6991 w 10000"/>
                <a:gd name="connsiteY53" fmla="*/ 6658 h 9645"/>
                <a:gd name="connsiteX54" fmla="*/ 7275 w 10000"/>
                <a:gd name="connsiteY54" fmla="*/ 6861 h 9645"/>
                <a:gd name="connsiteX55" fmla="*/ 7430 w 10000"/>
                <a:gd name="connsiteY55" fmla="*/ 6548 h 9645"/>
                <a:gd name="connsiteX56" fmla="*/ 7470 w 10000"/>
                <a:gd name="connsiteY56" fmla="*/ 6580 h 9645"/>
                <a:gd name="connsiteX57" fmla="*/ 7590 w 10000"/>
                <a:gd name="connsiteY57" fmla="*/ 6387 h 9645"/>
                <a:gd name="connsiteX58" fmla="*/ 7831 w 10000"/>
                <a:gd name="connsiteY58" fmla="*/ 6290 h 9645"/>
                <a:gd name="connsiteX59" fmla="*/ 7952 w 10000"/>
                <a:gd name="connsiteY59" fmla="*/ 5935 h 9645"/>
                <a:gd name="connsiteX60" fmla="*/ 8313 w 10000"/>
                <a:gd name="connsiteY60" fmla="*/ 5516 h 9645"/>
                <a:gd name="connsiteX61" fmla="*/ 8594 w 10000"/>
                <a:gd name="connsiteY61" fmla="*/ 5322 h 9645"/>
                <a:gd name="connsiteX62" fmla="*/ 8795 w 10000"/>
                <a:gd name="connsiteY62" fmla="*/ 4774 h 9645"/>
                <a:gd name="connsiteX63" fmla="*/ 8795 w 10000"/>
                <a:gd name="connsiteY63" fmla="*/ 4645 h 9645"/>
                <a:gd name="connsiteX64" fmla="*/ 8755 w 10000"/>
                <a:gd name="connsiteY64" fmla="*/ 4323 h 9645"/>
                <a:gd name="connsiteX65" fmla="*/ 9157 w 10000"/>
                <a:gd name="connsiteY65" fmla="*/ 3161 h 9645"/>
                <a:gd name="connsiteX66" fmla="*/ 9277 w 10000"/>
                <a:gd name="connsiteY66" fmla="*/ 3161 h 9645"/>
                <a:gd name="connsiteX67" fmla="*/ 9438 w 10000"/>
                <a:gd name="connsiteY67" fmla="*/ 3065 h 9645"/>
                <a:gd name="connsiteX68" fmla="*/ 9920 w 10000"/>
                <a:gd name="connsiteY68" fmla="*/ 2903 h 9645"/>
                <a:gd name="connsiteX69" fmla="*/ 10000 w 10000"/>
                <a:gd name="connsiteY69" fmla="*/ 2645 h 9645"/>
                <a:gd name="connsiteX70" fmla="*/ 9960 w 10000"/>
                <a:gd name="connsiteY70" fmla="*/ 2580 h 9645"/>
                <a:gd name="connsiteX71" fmla="*/ 9799 w 10000"/>
                <a:gd name="connsiteY71" fmla="*/ 2580 h 9645"/>
                <a:gd name="connsiteX72" fmla="*/ 9679 w 10000"/>
                <a:gd name="connsiteY72" fmla="*/ 2420 h 9645"/>
                <a:gd name="connsiteX73" fmla="*/ 9438 w 10000"/>
                <a:gd name="connsiteY73" fmla="*/ 2355 h 9645"/>
                <a:gd name="connsiteX74" fmla="*/ 9317 w 10000"/>
                <a:gd name="connsiteY74" fmla="*/ 2226 h 9645"/>
                <a:gd name="connsiteX75" fmla="*/ 9237 w 10000"/>
                <a:gd name="connsiteY75" fmla="*/ 1742 h 9645"/>
                <a:gd name="connsiteX76" fmla="*/ 9237 w 10000"/>
                <a:gd name="connsiteY76" fmla="*/ 1064 h 9645"/>
                <a:gd name="connsiteX77" fmla="*/ 9036 w 10000"/>
                <a:gd name="connsiteY77" fmla="*/ 839 h 9645"/>
                <a:gd name="connsiteX78" fmla="*/ 8996 w 10000"/>
                <a:gd name="connsiteY78" fmla="*/ 613 h 9645"/>
                <a:gd name="connsiteX79" fmla="*/ 8675 w 10000"/>
                <a:gd name="connsiteY79" fmla="*/ 290 h 9645"/>
                <a:gd name="connsiteX80" fmla="*/ 8394 w 10000"/>
                <a:gd name="connsiteY80" fmla="*/ 162 h 9645"/>
                <a:gd name="connsiteX81" fmla="*/ 8233 w 10000"/>
                <a:gd name="connsiteY81" fmla="*/ 0 h 9645"/>
                <a:gd name="connsiteX82" fmla="*/ 7992 w 10000"/>
                <a:gd name="connsiteY82" fmla="*/ 162 h 9645"/>
                <a:gd name="connsiteX83" fmla="*/ 7831 w 10000"/>
                <a:gd name="connsiteY83" fmla="*/ 129 h 9645"/>
                <a:gd name="connsiteX84" fmla="*/ 7711 w 10000"/>
                <a:gd name="connsiteY84" fmla="*/ 419 h 9645"/>
                <a:gd name="connsiteX85" fmla="*/ 7390 w 10000"/>
                <a:gd name="connsiteY85" fmla="*/ 484 h 9645"/>
                <a:gd name="connsiteX86" fmla="*/ 7309 w 10000"/>
                <a:gd name="connsiteY86" fmla="*/ 709 h 9645"/>
                <a:gd name="connsiteX87" fmla="*/ 7028 w 10000"/>
                <a:gd name="connsiteY87" fmla="*/ 709 h 9645"/>
                <a:gd name="connsiteX88" fmla="*/ 6787 w 10000"/>
                <a:gd name="connsiteY88" fmla="*/ 613 h 9645"/>
                <a:gd name="connsiteX89" fmla="*/ 6265 w 10000"/>
                <a:gd name="connsiteY89" fmla="*/ 613 h 9645"/>
                <a:gd name="connsiteX90" fmla="*/ 5743 w 10000"/>
                <a:gd name="connsiteY90" fmla="*/ 613 h 9645"/>
                <a:gd name="connsiteX91" fmla="*/ 5783 w 10000"/>
                <a:gd name="connsiteY91" fmla="*/ 484 h 9645"/>
                <a:gd name="connsiteX92" fmla="*/ 5703 w 10000"/>
                <a:gd name="connsiteY92" fmla="*/ 484 h 9645"/>
                <a:gd name="connsiteX93" fmla="*/ 5663 w 10000"/>
                <a:gd name="connsiteY93" fmla="*/ 613 h 9645"/>
                <a:gd name="connsiteX94" fmla="*/ 5181 w 10000"/>
                <a:gd name="connsiteY94" fmla="*/ 613 h 9645"/>
                <a:gd name="connsiteX95" fmla="*/ 4699 w 10000"/>
                <a:gd name="connsiteY95" fmla="*/ 613 h 9645"/>
                <a:gd name="connsiteX96" fmla="*/ 4217 w 10000"/>
                <a:gd name="connsiteY96" fmla="*/ 613 h 9645"/>
                <a:gd name="connsiteX97" fmla="*/ 3735 w 10000"/>
                <a:gd name="connsiteY97" fmla="*/ 613 h 9645"/>
                <a:gd name="connsiteX98" fmla="*/ 3293 w 10000"/>
                <a:gd name="connsiteY98" fmla="*/ 613 h 9645"/>
                <a:gd name="connsiteX99" fmla="*/ 2811 w 10000"/>
                <a:gd name="connsiteY99" fmla="*/ 613 h 9645"/>
                <a:gd name="connsiteX100" fmla="*/ 2369 w 10000"/>
                <a:gd name="connsiteY100" fmla="*/ 613 h 9645"/>
                <a:gd name="connsiteX101" fmla="*/ 1888 w 10000"/>
                <a:gd name="connsiteY101" fmla="*/ 613 h 9645"/>
                <a:gd name="connsiteX102" fmla="*/ 1888 w 10000"/>
                <a:gd name="connsiteY102" fmla="*/ 1064 h 9645"/>
                <a:gd name="connsiteX103" fmla="*/ 1888 w 10000"/>
                <a:gd name="connsiteY103" fmla="*/ 1645 h 9645"/>
                <a:gd name="connsiteX104" fmla="*/ 1285 w 10000"/>
                <a:gd name="connsiteY104" fmla="*/ 1645 h 9645"/>
                <a:gd name="connsiteX105" fmla="*/ 1285 w 10000"/>
                <a:gd name="connsiteY105" fmla="*/ 1903 h 9645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37 w 10000"/>
                <a:gd name="connsiteY33" fmla="*/ 9900 h 10000"/>
                <a:gd name="connsiteX34" fmla="*/ 4538 w 10000"/>
                <a:gd name="connsiteY34" fmla="*/ 9934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37 w 10000"/>
                <a:gd name="connsiteY33" fmla="*/ 9900 h 10000"/>
                <a:gd name="connsiteX34" fmla="*/ 4406 w 10000"/>
                <a:gd name="connsiteY34" fmla="*/ 7531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53 w 10000"/>
                <a:gd name="connsiteY33" fmla="*/ 7579 h 10000"/>
                <a:gd name="connsiteX34" fmla="*/ 4406 w 10000"/>
                <a:gd name="connsiteY34" fmla="*/ 7531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9900"/>
                <a:gd name="connsiteX1" fmla="*/ 1285 w 10000"/>
                <a:gd name="connsiteY1" fmla="*/ 2509 h 9900"/>
                <a:gd name="connsiteX2" fmla="*/ 1285 w 10000"/>
                <a:gd name="connsiteY2" fmla="*/ 3010 h 9900"/>
                <a:gd name="connsiteX3" fmla="*/ 1285 w 10000"/>
                <a:gd name="connsiteY3" fmla="*/ 3512 h 9900"/>
                <a:gd name="connsiteX4" fmla="*/ 1285 w 10000"/>
                <a:gd name="connsiteY4" fmla="*/ 3979 h 9900"/>
                <a:gd name="connsiteX5" fmla="*/ 643 w 10000"/>
                <a:gd name="connsiteY5" fmla="*/ 4081 h 9900"/>
                <a:gd name="connsiteX6" fmla="*/ 522 w 10000"/>
                <a:gd name="connsiteY6" fmla="*/ 4347 h 9900"/>
                <a:gd name="connsiteX7" fmla="*/ 241 w 10000"/>
                <a:gd name="connsiteY7" fmla="*/ 4682 h 9900"/>
                <a:gd name="connsiteX8" fmla="*/ 241 w 10000"/>
                <a:gd name="connsiteY8" fmla="*/ 4950 h 9900"/>
                <a:gd name="connsiteX9" fmla="*/ 120 w 10000"/>
                <a:gd name="connsiteY9" fmla="*/ 5016 h 9900"/>
                <a:gd name="connsiteX10" fmla="*/ 120 w 10000"/>
                <a:gd name="connsiteY10" fmla="*/ 5250 h 9900"/>
                <a:gd name="connsiteX11" fmla="*/ 0 w 10000"/>
                <a:gd name="connsiteY11" fmla="*/ 5452 h 9900"/>
                <a:gd name="connsiteX12" fmla="*/ 0 w 10000"/>
                <a:gd name="connsiteY12" fmla="*/ 5618 h 9900"/>
                <a:gd name="connsiteX13" fmla="*/ 241 w 10000"/>
                <a:gd name="connsiteY13" fmla="*/ 5585 h 9900"/>
                <a:gd name="connsiteX14" fmla="*/ 281 w 10000"/>
                <a:gd name="connsiteY14" fmla="*/ 5886 h 9900"/>
                <a:gd name="connsiteX15" fmla="*/ 602 w 10000"/>
                <a:gd name="connsiteY15" fmla="*/ 6422 h 9900"/>
                <a:gd name="connsiteX16" fmla="*/ 602 w 10000"/>
                <a:gd name="connsiteY16" fmla="*/ 6455 h 9900"/>
                <a:gd name="connsiteX17" fmla="*/ 482 w 10000"/>
                <a:gd name="connsiteY17" fmla="*/ 6488 h 9900"/>
                <a:gd name="connsiteX18" fmla="*/ 964 w 10000"/>
                <a:gd name="connsiteY18" fmla="*/ 7023 h 9900"/>
                <a:gd name="connsiteX19" fmla="*/ 1004 w 10000"/>
                <a:gd name="connsiteY19" fmla="*/ 7190 h 9900"/>
                <a:gd name="connsiteX20" fmla="*/ 964 w 10000"/>
                <a:gd name="connsiteY20" fmla="*/ 7659 h 9900"/>
                <a:gd name="connsiteX21" fmla="*/ 1044 w 10000"/>
                <a:gd name="connsiteY21" fmla="*/ 7726 h 9900"/>
                <a:gd name="connsiteX22" fmla="*/ 1365 w 10000"/>
                <a:gd name="connsiteY22" fmla="*/ 7759 h 9900"/>
                <a:gd name="connsiteX23" fmla="*/ 1406 w 10000"/>
                <a:gd name="connsiteY23" fmla="*/ 7892 h 9900"/>
                <a:gd name="connsiteX24" fmla="*/ 1767 w 10000"/>
                <a:gd name="connsiteY24" fmla="*/ 7926 h 9900"/>
                <a:gd name="connsiteX25" fmla="*/ 1968 w 10000"/>
                <a:gd name="connsiteY25" fmla="*/ 8060 h 9900"/>
                <a:gd name="connsiteX26" fmla="*/ 2008 w 10000"/>
                <a:gd name="connsiteY26" fmla="*/ 8294 h 9900"/>
                <a:gd name="connsiteX27" fmla="*/ 2651 w 10000"/>
                <a:gd name="connsiteY27" fmla="*/ 8696 h 9900"/>
                <a:gd name="connsiteX28" fmla="*/ 2811 w 10000"/>
                <a:gd name="connsiteY28" fmla="*/ 9097 h 9900"/>
                <a:gd name="connsiteX29" fmla="*/ 3253 w 10000"/>
                <a:gd name="connsiteY29" fmla="*/ 9298 h 9900"/>
                <a:gd name="connsiteX30" fmla="*/ 3414 w 10000"/>
                <a:gd name="connsiteY30" fmla="*/ 9566 h 9900"/>
                <a:gd name="connsiteX31" fmla="*/ 3735 w 10000"/>
                <a:gd name="connsiteY31" fmla="*/ 9900 h 9900"/>
                <a:gd name="connsiteX32" fmla="*/ 3795 w 10000"/>
                <a:gd name="connsiteY32" fmla="*/ 7514 h 9900"/>
                <a:gd name="connsiteX33" fmla="*/ 4153 w 10000"/>
                <a:gd name="connsiteY33" fmla="*/ 7579 h 9900"/>
                <a:gd name="connsiteX34" fmla="*/ 4406 w 10000"/>
                <a:gd name="connsiteY34" fmla="*/ 7531 h 9900"/>
                <a:gd name="connsiteX35" fmla="*/ 4600 w 10000"/>
                <a:gd name="connsiteY35" fmla="*/ 7408 h 9900"/>
                <a:gd name="connsiteX36" fmla="*/ 4762 w 10000"/>
                <a:gd name="connsiteY36" fmla="*/ 7182 h 9900"/>
                <a:gd name="connsiteX37" fmla="*/ 4901 w 10000"/>
                <a:gd name="connsiteY37" fmla="*/ 7044 h 9900"/>
                <a:gd name="connsiteX38" fmla="*/ 5080 w 10000"/>
                <a:gd name="connsiteY38" fmla="*/ 7143 h 9900"/>
                <a:gd name="connsiteX39" fmla="*/ 5337 w 10000"/>
                <a:gd name="connsiteY39" fmla="*/ 7242 h 9900"/>
                <a:gd name="connsiteX40" fmla="*/ 5564 w 10000"/>
                <a:gd name="connsiteY40" fmla="*/ 7370 h 9900"/>
                <a:gd name="connsiteX41" fmla="*/ 5768 w 10000"/>
                <a:gd name="connsiteY41" fmla="*/ 7287 h 9900"/>
                <a:gd name="connsiteX42" fmla="*/ 5933 w 10000"/>
                <a:gd name="connsiteY42" fmla="*/ 7209 h 9900"/>
                <a:gd name="connsiteX43" fmla="*/ 6089 w 10000"/>
                <a:gd name="connsiteY43" fmla="*/ 7038 h 9900"/>
                <a:gd name="connsiteX44" fmla="*/ 6274 w 10000"/>
                <a:gd name="connsiteY44" fmla="*/ 6804 h 9900"/>
                <a:gd name="connsiteX45" fmla="*/ 6389 w 10000"/>
                <a:gd name="connsiteY45" fmla="*/ 6697 h 9900"/>
                <a:gd name="connsiteX46" fmla="*/ 6524 w 10000"/>
                <a:gd name="connsiteY46" fmla="*/ 6653 h 9900"/>
                <a:gd name="connsiteX47" fmla="*/ 6531 w 10000"/>
                <a:gd name="connsiteY47" fmla="*/ 6516 h 9900"/>
                <a:gd name="connsiteX48" fmla="*/ 6424 w 10000"/>
                <a:gd name="connsiteY48" fmla="*/ 6205 h 9900"/>
                <a:gd name="connsiteX49" fmla="*/ 6602 w 10000"/>
                <a:gd name="connsiteY49" fmla="*/ 6213 h 9900"/>
                <a:gd name="connsiteX50" fmla="*/ 6707 w 10000"/>
                <a:gd name="connsiteY50" fmla="*/ 6095 h 9900"/>
                <a:gd name="connsiteX51" fmla="*/ 6876 w 10000"/>
                <a:gd name="connsiteY51" fmla="*/ 6096 h 9900"/>
                <a:gd name="connsiteX52" fmla="*/ 6827 w 10000"/>
                <a:gd name="connsiteY52" fmla="*/ 6821 h 9900"/>
                <a:gd name="connsiteX53" fmla="*/ 6991 w 10000"/>
                <a:gd name="connsiteY53" fmla="*/ 6903 h 9900"/>
                <a:gd name="connsiteX54" fmla="*/ 7275 w 10000"/>
                <a:gd name="connsiteY54" fmla="*/ 7114 h 9900"/>
                <a:gd name="connsiteX55" fmla="*/ 7430 w 10000"/>
                <a:gd name="connsiteY55" fmla="*/ 6789 h 9900"/>
                <a:gd name="connsiteX56" fmla="*/ 7470 w 10000"/>
                <a:gd name="connsiteY56" fmla="*/ 6822 h 9900"/>
                <a:gd name="connsiteX57" fmla="*/ 7590 w 10000"/>
                <a:gd name="connsiteY57" fmla="*/ 6622 h 9900"/>
                <a:gd name="connsiteX58" fmla="*/ 7831 w 10000"/>
                <a:gd name="connsiteY58" fmla="*/ 6522 h 9900"/>
                <a:gd name="connsiteX59" fmla="*/ 7952 w 10000"/>
                <a:gd name="connsiteY59" fmla="*/ 6153 h 9900"/>
                <a:gd name="connsiteX60" fmla="*/ 8313 w 10000"/>
                <a:gd name="connsiteY60" fmla="*/ 5719 h 9900"/>
                <a:gd name="connsiteX61" fmla="*/ 8594 w 10000"/>
                <a:gd name="connsiteY61" fmla="*/ 5518 h 9900"/>
                <a:gd name="connsiteX62" fmla="*/ 8795 w 10000"/>
                <a:gd name="connsiteY62" fmla="*/ 4950 h 9900"/>
                <a:gd name="connsiteX63" fmla="*/ 8795 w 10000"/>
                <a:gd name="connsiteY63" fmla="*/ 4816 h 9900"/>
                <a:gd name="connsiteX64" fmla="*/ 8755 w 10000"/>
                <a:gd name="connsiteY64" fmla="*/ 4482 h 9900"/>
                <a:gd name="connsiteX65" fmla="*/ 9157 w 10000"/>
                <a:gd name="connsiteY65" fmla="*/ 3277 h 9900"/>
                <a:gd name="connsiteX66" fmla="*/ 9277 w 10000"/>
                <a:gd name="connsiteY66" fmla="*/ 3277 h 9900"/>
                <a:gd name="connsiteX67" fmla="*/ 9438 w 10000"/>
                <a:gd name="connsiteY67" fmla="*/ 3178 h 9900"/>
                <a:gd name="connsiteX68" fmla="*/ 9920 w 10000"/>
                <a:gd name="connsiteY68" fmla="*/ 3010 h 9900"/>
                <a:gd name="connsiteX69" fmla="*/ 10000 w 10000"/>
                <a:gd name="connsiteY69" fmla="*/ 2742 h 9900"/>
                <a:gd name="connsiteX70" fmla="*/ 9960 w 10000"/>
                <a:gd name="connsiteY70" fmla="*/ 2675 h 9900"/>
                <a:gd name="connsiteX71" fmla="*/ 9799 w 10000"/>
                <a:gd name="connsiteY71" fmla="*/ 2675 h 9900"/>
                <a:gd name="connsiteX72" fmla="*/ 9679 w 10000"/>
                <a:gd name="connsiteY72" fmla="*/ 2509 h 9900"/>
                <a:gd name="connsiteX73" fmla="*/ 9438 w 10000"/>
                <a:gd name="connsiteY73" fmla="*/ 2442 h 9900"/>
                <a:gd name="connsiteX74" fmla="*/ 9317 w 10000"/>
                <a:gd name="connsiteY74" fmla="*/ 2308 h 9900"/>
                <a:gd name="connsiteX75" fmla="*/ 9237 w 10000"/>
                <a:gd name="connsiteY75" fmla="*/ 1806 h 9900"/>
                <a:gd name="connsiteX76" fmla="*/ 9237 w 10000"/>
                <a:gd name="connsiteY76" fmla="*/ 1103 h 9900"/>
                <a:gd name="connsiteX77" fmla="*/ 9036 w 10000"/>
                <a:gd name="connsiteY77" fmla="*/ 870 h 9900"/>
                <a:gd name="connsiteX78" fmla="*/ 8996 w 10000"/>
                <a:gd name="connsiteY78" fmla="*/ 636 h 9900"/>
                <a:gd name="connsiteX79" fmla="*/ 8675 w 10000"/>
                <a:gd name="connsiteY79" fmla="*/ 301 h 9900"/>
                <a:gd name="connsiteX80" fmla="*/ 8394 w 10000"/>
                <a:gd name="connsiteY80" fmla="*/ 168 h 9900"/>
                <a:gd name="connsiteX81" fmla="*/ 8233 w 10000"/>
                <a:gd name="connsiteY81" fmla="*/ 0 h 9900"/>
                <a:gd name="connsiteX82" fmla="*/ 7992 w 10000"/>
                <a:gd name="connsiteY82" fmla="*/ 168 h 9900"/>
                <a:gd name="connsiteX83" fmla="*/ 7831 w 10000"/>
                <a:gd name="connsiteY83" fmla="*/ 134 h 9900"/>
                <a:gd name="connsiteX84" fmla="*/ 7711 w 10000"/>
                <a:gd name="connsiteY84" fmla="*/ 434 h 9900"/>
                <a:gd name="connsiteX85" fmla="*/ 7390 w 10000"/>
                <a:gd name="connsiteY85" fmla="*/ 502 h 9900"/>
                <a:gd name="connsiteX86" fmla="*/ 7309 w 10000"/>
                <a:gd name="connsiteY86" fmla="*/ 735 h 9900"/>
                <a:gd name="connsiteX87" fmla="*/ 7028 w 10000"/>
                <a:gd name="connsiteY87" fmla="*/ 735 h 9900"/>
                <a:gd name="connsiteX88" fmla="*/ 6787 w 10000"/>
                <a:gd name="connsiteY88" fmla="*/ 636 h 9900"/>
                <a:gd name="connsiteX89" fmla="*/ 6265 w 10000"/>
                <a:gd name="connsiteY89" fmla="*/ 636 h 9900"/>
                <a:gd name="connsiteX90" fmla="*/ 5743 w 10000"/>
                <a:gd name="connsiteY90" fmla="*/ 636 h 9900"/>
                <a:gd name="connsiteX91" fmla="*/ 5783 w 10000"/>
                <a:gd name="connsiteY91" fmla="*/ 502 h 9900"/>
                <a:gd name="connsiteX92" fmla="*/ 5703 w 10000"/>
                <a:gd name="connsiteY92" fmla="*/ 502 h 9900"/>
                <a:gd name="connsiteX93" fmla="*/ 5663 w 10000"/>
                <a:gd name="connsiteY93" fmla="*/ 636 h 9900"/>
                <a:gd name="connsiteX94" fmla="*/ 5181 w 10000"/>
                <a:gd name="connsiteY94" fmla="*/ 636 h 9900"/>
                <a:gd name="connsiteX95" fmla="*/ 4699 w 10000"/>
                <a:gd name="connsiteY95" fmla="*/ 636 h 9900"/>
                <a:gd name="connsiteX96" fmla="*/ 4217 w 10000"/>
                <a:gd name="connsiteY96" fmla="*/ 636 h 9900"/>
                <a:gd name="connsiteX97" fmla="*/ 3735 w 10000"/>
                <a:gd name="connsiteY97" fmla="*/ 636 h 9900"/>
                <a:gd name="connsiteX98" fmla="*/ 3293 w 10000"/>
                <a:gd name="connsiteY98" fmla="*/ 636 h 9900"/>
                <a:gd name="connsiteX99" fmla="*/ 2811 w 10000"/>
                <a:gd name="connsiteY99" fmla="*/ 636 h 9900"/>
                <a:gd name="connsiteX100" fmla="*/ 2369 w 10000"/>
                <a:gd name="connsiteY100" fmla="*/ 636 h 9900"/>
                <a:gd name="connsiteX101" fmla="*/ 1888 w 10000"/>
                <a:gd name="connsiteY101" fmla="*/ 636 h 9900"/>
                <a:gd name="connsiteX102" fmla="*/ 1888 w 10000"/>
                <a:gd name="connsiteY102" fmla="*/ 1103 h 9900"/>
                <a:gd name="connsiteX103" fmla="*/ 1888 w 10000"/>
                <a:gd name="connsiteY103" fmla="*/ 1706 h 9900"/>
                <a:gd name="connsiteX104" fmla="*/ 1285 w 10000"/>
                <a:gd name="connsiteY104" fmla="*/ 1706 h 9900"/>
                <a:gd name="connsiteX105" fmla="*/ 1285 w 10000"/>
                <a:gd name="connsiteY105" fmla="*/ 1973 h 9900"/>
                <a:gd name="connsiteX0" fmla="*/ 1285 w 10000"/>
                <a:gd name="connsiteY0" fmla="*/ 1993 h 9663"/>
                <a:gd name="connsiteX1" fmla="*/ 1285 w 10000"/>
                <a:gd name="connsiteY1" fmla="*/ 2534 h 9663"/>
                <a:gd name="connsiteX2" fmla="*/ 1285 w 10000"/>
                <a:gd name="connsiteY2" fmla="*/ 3040 h 9663"/>
                <a:gd name="connsiteX3" fmla="*/ 1285 w 10000"/>
                <a:gd name="connsiteY3" fmla="*/ 3547 h 9663"/>
                <a:gd name="connsiteX4" fmla="*/ 1285 w 10000"/>
                <a:gd name="connsiteY4" fmla="*/ 4019 h 9663"/>
                <a:gd name="connsiteX5" fmla="*/ 643 w 10000"/>
                <a:gd name="connsiteY5" fmla="*/ 4122 h 9663"/>
                <a:gd name="connsiteX6" fmla="*/ 522 w 10000"/>
                <a:gd name="connsiteY6" fmla="*/ 4391 h 9663"/>
                <a:gd name="connsiteX7" fmla="*/ 241 w 10000"/>
                <a:gd name="connsiteY7" fmla="*/ 4729 h 9663"/>
                <a:gd name="connsiteX8" fmla="*/ 241 w 10000"/>
                <a:gd name="connsiteY8" fmla="*/ 5000 h 9663"/>
                <a:gd name="connsiteX9" fmla="*/ 120 w 10000"/>
                <a:gd name="connsiteY9" fmla="*/ 5067 h 9663"/>
                <a:gd name="connsiteX10" fmla="*/ 120 w 10000"/>
                <a:gd name="connsiteY10" fmla="*/ 5303 h 9663"/>
                <a:gd name="connsiteX11" fmla="*/ 0 w 10000"/>
                <a:gd name="connsiteY11" fmla="*/ 5507 h 9663"/>
                <a:gd name="connsiteX12" fmla="*/ 0 w 10000"/>
                <a:gd name="connsiteY12" fmla="*/ 5675 h 9663"/>
                <a:gd name="connsiteX13" fmla="*/ 241 w 10000"/>
                <a:gd name="connsiteY13" fmla="*/ 5641 h 9663"/>
                <a:gd name="connsiteX14" fmla="*/ 281 w 10000"/>
                <a:gd name="connsiteY14" fmla="*/ 5945 h 9663"/>
                <a:gd name="connsiteX15" fmla="*/ 602 w 10000"/>
                <a:gd name="connsiteY15" fmla="*/ 6487 h 9663"/>
                <a:gd name="connsiteX16" fmla="*/ 602 w 10000"/>
                <a:gd name="connsiteY16" fmla="*/ 6520 h 9663"/>
                <a:gd name="connsiteX17" fmla="*/ 482 w 10000"/>
                <a:gd name="connsiteY17" fmla="*/ 6554 h 9663"/>
                <a:gd name="connsiteX18" fmla="*/ 964 w 10000"/>
                <a:gd name="connsiteY18" fmla="*/ 7094 h 9663"/>
                <a:gd name="connsiteX19" fmla="*/ 1004 w 10000"/>
                <a:gd name="connsiteY19" fmla="*/ 7263 h 9663"/>
                <a:gd name="connsiteX20" fmla="*/ 964 w 10000"/>
                <a:gd name="connsiteY20" fmla="*/ 7736 h 9663"/>
                <a:gd name="connsiteX21" fmla="*/ 1044 w 10000"/>
                <a:gd name="connsiteY21" fmla="*/ 7804 h 9663"/>
                <a:gd name="connsiteX22" fmla="*/ 1365 w 10000"/>
                <a:gd name="connsiteY22" fmla="*/ 7837 h 9663"/>
                <a:gd name="connsiteX23" fmla="*/ 1406 w 10000"/>
                <a:gd name="connsiteY23" fmla="*/ 7972 h 9663"/>
                <a:gd name="connsiteX24" fmla="*/ 1767 w 10000"/>
                <a:gd name="connsiteY24" fmla="*/ 8006 h 9663"/>
                <a:gd name="connsiteX25" fmla="*/ 1968 w 10000"/>
                <a:gd name="connsiteY25" fmla="*/ 8141 h 9663"/>
                <a:gd name="connsiteX26" fmla="*/ 2008 w 10000"/>
                <a:gd name="connsiteY26" fmla="*/ 8378 h 9663"/>
                <a:gd name="connsiteX27" fmla="*/ 2651 w 10000"/>
                <a:gd name="connsiteY27" fmla="*/ 8784 h 9663"/>
                <a:gd name="connsiteX28" fmla="*/ 2811 w 10000"/>
                <a:gd name="connsiteY28" fmla="*/ 9189 h 9663"/>
                <a:gd name="connsiteX29" fmla="*/ 3253 w 10000"/>
                <a:gd name="connsiteY29" fmla="*/ 9392 h 9663"/>
                <a:gd name="connsiteX30" fmla="*/ 3414 w 10000"/>
                <a:gd name="connsiteY30" fmla="*/ 9663 h 9663"/>
                <a:gd name="connsiteX31" fmla="*/ 3537 w 10000"/>
                <a:gd name="connsiteY31" fmla="*/ 7420 h 9663"/>
                <a:gd name="connsiteX32" fmla="*/ 3795 w 10000"/>
                <a:gd name="connsiteY32" fmla="*/ 7590 h 9663"/>
                <a:gd name="connsiteX33" fmla="*/ 4153 w 10000"/>
                <a:gd name="connsiteY33" fmla="*/ 7656 h 9663"/>
                <a:gd name="connsiteX34" fmla="*/ 4406 w 10000"/>
                <a:gd name="connsiteY34" fmla="*/ 7607 h 9663"/>
                <a:gd name="connsiteX35" fmla="*/ 4600 w 10000"/>
                <a:gd name="connsiteY35" fmla="*/ 7483 h 9663"/>
                <a:gd name="connsiteX36" fmla="*/ 4762 w 10000"/>
                <a:gd name="connsiteY36" fmla="*/ 7255 h 9663"/>
                <a:gd name="connsiteX37" fmla="*/ 4901 w 10000"/>
                <a:gd name="connsiteY37" fmla="*/ 7115 h 9663"/>
                <a:gd name="connsiteX38" fmla="*/ 5080 w 10000"/>
                <a:gd name="connsiteY38" fmla="*/ 7215 h 9663"/>
                <a:gd name="connsiteX39" fmla="*/ 5337 w 10000"/>
                <a:gd name="connsiteY39" fmla="*/ 7315 h 9663"/>
                <a:gd name="connsiteX40" fmla="*/ 5564 w 10000"/>
                <a:gd name="connsiteY40" fmla="*/ 7444 h 9663"/>
                <a:gd name="connsiteX41" fmla="*/ 5768 w 10000"/>
                <a:gd name="connsiteY41" fmla="*/ 7361 h 9663"/>
                <a:gd name="connsiteX42" fmla="*/ 5933 w 10000"/>
                <a:gd name="connsiteY42" fmla="*/ 7282 h 9663"/>
                <a:gd name="connsiteX43" fmla="*/ 6089 w 10000"/>
                <a:gd name="connsiteY43" fmla="*/ 7109 h 9663"/>
                <a:gd name="connsiteX44" fmla="*/ 6274 w 10000"/>
                <a:gd name="connsiteY44" fmla="*/ 6873 h 9663"/>
                <a:gd name="connsiteX45" fmla="*/ 6389 w 10000"/>
                <a:gd name="connsiteY45" fmla="*/ 6765 h 9663"/>
                <a:gd name="connsiteX46" fmla="*/ 6524 w 10000"/>
                <a:gd name="connsiteY46" fmla="*/ 6720 h 9663"/>
                <a:gd name="connsiteX47" fmla="*/ 6531 w 10000"/>
                <a:gd name="connsiteY47" fmla="*/ 6582 h 9663"/>
                <a:gd name="connsiteX48" fmla="*/ 6424 w 10000"/>
                <a:gd name="connsiteY48" fmla="*/ 6268 h 9663"/>
                <a:gd name="connsiteX49" fmla="*/ 6602 w 10000"/>
                <a:gd name="connsiteY49" fmla="*/ 6276 h 9663"/>
                <a:gd name="connsiteX50" fmla="*/ 6707 w 10000"/>
                <a:gd name="connsiteY50" fmla="*/ 6157 h 9663"/>
                <a:gd name="connsiteX51" fmla="*/ 6876 w 10000"/>
                <a:gd name="connsiteY51" fmla="*/ 6158 h 9663"/>
                <a:gd name="connsiteX52" fmla="*/ 6827 w 10000"/>
                <a:gd name="connsiteY52" fmla="*/ 6890 h 9663"/>
                <a:gd name="connsiteX53" fmla="*/ 6991 w 10000"/>
                <a:gd name="connsiteY53" fmla="*/ 6973 h 9663"/>
                <a:gd name="connsiteX54" fmla="*/ 7275 w 10000"/>
                <a:gd name="connsiteY54" fmla="*/ 7186 h 9663"/>
                <a:gd name="connsiteX55" fmla="*/ 7430 w 10000"/>
                <a:gd name="connsiteY55" fmla="*/ 6858 h 9663"/>
                <a:gd name="connsiteX56" fmla="*/ 7470 w 10000"/>
                <a:gd name="connsiteY56" fmla="*/ 6891 h 9663"/>
                <a:gd name="connsiteX57" fmla="*/ 7590 w 10000"/>
                <a:gd name="connsiteY57" fmla="*/ 6689 h 9663"/>
                <a:gd name="connsiteX58" fmla="*/ 7831 w 10000"/>
                <a:gd name="connsiteY58" fmla="*/ 6588 h 9663"/>
                <a:gd name="connsiteX59" fmla="*/ 7952 w 10000"/>
                <a:gd name="connsiteY59" fmla="*/ 6215 h 9663"/>
                <a:gd name="connsiteX60" fmla="*/ 8313 w 10000"/>
                <a:gd name="connsiteY60" fmla="*/ 5777 h 9663"/>
                <a:gd name="connsiteX61" fmla="*/ 8594 w 10000"/>
                <a:gd name="connsiteY61" fmla="*/ 5574 h 9663"/>
                <a:gd name="connsiteX62" fmla="*/ 8795 w 10000"/>
                <a:gd name="connsiteY62" fmla="*/ 5000 h 9663"/>
                <a:gd name="connsiteX63" fmla="*/ 8795 w 10000"/>
                <a:gd name="connsiteY63" fmla="*/ 4865 h 9663"/>
                <a:gd name="connsiteX64" fmla="*/ 8755 w 10000"/>
                <a:gd name="connsiteY64" fmla="*/ 4527 h 9663"/>
                <a:gd name="connsiteX65" fmla="*/ 9157 w 10000"/>
                <a:gd name="connsiteY65" fmla="*/ 3310 h 9663"/>
                <a:gd name="connsiteX66" fmla="*/ 9277 w 10000"/>
                <a:gd name="connsiteY66" fmla="*/ 3310 h 9663"/>
                <a:gd name="connsiteX67" fmla="*/ 9438 w 10000"/>
                <a:gd name="connsiteY67" fmla="*/ 3210 h 9663"/>
                <a:gd name="connsiteX68" fmla="*/ 9920 w 10000"/>
                <a:gd name="connsiteY68" fmla="*/ 3040 h 9663"/>
                <a:gd name="connsiteX69" fmla="*/ 10000 w 10000"/>
                <a:gd name="connsiteY69" fmla="*/ 2770 h 9663"/>
                <a:gd name="connsiteX70" fmla="*/ 9960 w 10000"/>
                <a:gd name="connsiteY70" fmla="*/ 2702 h 9663"/>
                <a:gd name="connsiteX71" fmla="*/ 9799 w 10000"/>
                <a:gd name="connsiteY71" fmla="*/ 2702 h 9663"/>
                <a:gd name="connsiteX72" fmla="*/ 9679 w 10000"/>
                <a:gd name="connsiteY72" fmla="*/ 2534 h 9663"/>
                <a:gd name="connsiteX73" fmla="*/ 9438 w 10000"/>
                <a:gd name="connsiteY73" fmla="*/ 2467 h 9663"/>
                <a:gd name="connsiteX74" fmla="*/ 9317 w 10000"/>
                <a:gd name="connsiteY74" fmla="*/ 2331 h 9663"/>
                <a:gd name="connsiteX75" fmla="*/ 9237 w 10000"/>
                <a:gd name="connsiteY75" fmla="*/ 1824 h 9663"/>
                <a:gd name="connsiteX76" fmla="*/ 9237 w 10000"/>
                <a:gd name="connsiteY76" fmla="*/ 1114 h 9663"/>
                <a:gd name="connsiteX77" fmla="*/ 9036 w 10000"/>
                <a:gd name="connsiteY77" fmla="*/ 879 h 9663"/>
                <a:gd name="connsiteX78" fmla="*/ 8996 w 10000"/>
                <a:gd name="connsiteY78" fmla="*/ 642 h 9663"/>
                <a:gd name="connsiteX79" fmla="*/ 8675 w 10000"/>
                <a:gd name="connsiteY79" fmla="*/ 304 h 9663"/>
                <a:gd name="connsiteX80" fmla="*/ 8394 w 10000"/>
                <a:gd name="connsiteY80" fmla="*/ 170 h 9663"/>
                <a:gd name="connsiteX81" fmla="*/ 8233 w 10000"/>
                <a:gd name="connsiteY81" fmla="*/ 0 h 9663"/>
                <a:gd name="connsiteX82" fmla="*/ 7992 w 10000"/>
                <a:gd name="connsiteY82" fmla="*/ 170 h 9663"/>
                <a:gd name="connsiteX83" fmla="*/ 7831 w 10000"/>
                <a:gd name="connsiteY83" fmla="*/ 135 h 9663"/>
                <a:gd name="connsiteX84" fmla="*/ 7711 w 10000"/>
                <a:gd name="connsiteY84" fmla="*/ 438 h 9663"/>
                <a:gd name="connsiteX85" fmla="*/ 7390 w 10000"/>
                <a:gd name="connsiteY85" fmla="*/ 507 h 9663"/>
                <a:gd name="connsiteX86" fmla="*/ 7309 w 10000"/>
                <a:gd name="connsiteY86" fmla="*/ 742 h 9663"/>
                <a:gd name="connsiteX87" fmla="*/ 7028 w 10000"/>
                <a:gd name="connsiteY87" fmla="*/ 742 h 9663"/>
                <a:gd name="connsiteX88" fmla="*/ 6787 w 10000"/>
                <a:gd name="connsiteY88" fmla="*/ 642 h 9663"/>
                <a:gd name="connsiteX89" fmla="*/ 6265 w 10000"/>
                <a:gd name="connsiteY89" fmla="*/ 642 h 9663"/>
                <a:gd name="connsiteX90" fmla="*/ 5743 w 10000"/>
                <a:gd name="connsiteY90" fmla="*/ 642 h 9663"/>
                <a:gd name="connsiteX91" fmla="*/ 5783 w 10000"/>
                <a:gd name="connsiteY91" fmla="*/ 507 h 9663"/>
                <a:gd name="connsiteX92" fmla="*/ 5703 w 10000"/>
                <a:gd name="connsiteY92" fmla="*/ 507 h 9663"/>
                <a:gd name="connsiteX93" fmla="*/ 5663 w 10000"/>
                <a:gd name="connsiteY93" fmla="*/ 642 h 9663"/>
                <a:gd name="connsiteX94" fmla="*/ 5181 w 10000"/>
                <a:gd name="connsiteY94" fmla="*/ 642 h 9663"/>
                <a:gd name="connsiteX95" fmla="*/ 4699 w 10000"/>
                <a:gd name="connsiteY95" fmla="*/ 642 h 9663"/>
                <a:gd name="connsiteX96" fmla="*/ 4217 w 10000"/>
                <a:gd name="connsiteY96" fmla="*/ 642 h 9663"/>
                <a:gd name="connsiteX97" fmla="*/ 3735 w 10000"/>
                <a:gd name="connsiteY97" fmla="*/ 642 h 9663"/>
                <a:gd name="connsiteX98" fmla="*/ 3293 w 10000"/>
                <a:gd name="connsiteY98" fmla="*/ 642 h 9663"/>
                <a:gd name="connsiteX99" fmla="*/ 2811 w 10000"/>
                <a:gd name="connsiteY99" fmla="*/ 642 h 9663"/>
                <a:gd name="connsiteX100" fmla="*/ 2369 w 10000"/>
                <a:gd name="connsiteY100" fmla="*/ 642 h 9663"/>
                <a:gd name="connsiteX101" fmla="*/ 1888 w 10000"/>
                <a:gd name="connsiteY101" fmla="*/ 642 h 9663"/>
                <a:gd name="connsiteX102" fmla="*/ 1888 w 10000"/>
                <a:gd name="connsiteY102" fmla="*/ 1114 h 9663"/>
                <a:gd name="connsiteX103" fmla="*/ 1888 w 10000"/>
                <a:gd name="connsiteY103" fmla="*/ 1723 h 9663"/>
                <a:gd name="connsiteX104" fmla="*/ 1285 w 10000"/>
                <a:gd name="connsiteY104" fmla="*/ 1723 h 9663"/>
                <a:gd name="connsiteX105" fmla="*/ 1285 w 10000"/>
                <a:gd name="connsiteY105" fmla="*/ 1993 h 9663"/>
                <a:gd name="connsiteX0" fmla="*/ 1285 w 10000"/>
                <a:gd name="connsiteY0" fmla="*/ 2063 h 9813"/>
                <a:gd name="connsiteX1" fmla="*/ 1285 w 10000"/>
                <a:gd name="connsiteY1" fmla="*/ 2622 h 9813"/>
                <a:gd name="connsiteX2" fmla="*/ 1285 w 10000"/>
                <a:gd name="connsiteY2" fmla="*/ 3146 h 9813"/>
                <a:gd name="connsiteX3" fmla="*/ 1285 w 10000"/>
                <a:gd name="connsiteY3" fmla="*/ 3671 h 9813"/>
                <a:gd name="connsiteX4" fmla="*/ 1285 w 10000"/>
                <a:gd name="connsiteY4" fmla="*/ 4159 h 9813"/>
                <a:gd name="connsiteX5" fmla="*/ 643 w 10000"/>
                <a:gd name="connsiteY5" fmla="*/ 4266 h 9813"/>
                <a:gd name="connsiteX6" fmla="*/ 522 w 10000"/>
                <a:gd name="connsiteY6" fmla="*/ 4544 h 9813"/>
                <a:gd name="connsiteX7" fmla="*/ 241 w 10000"/>
                <a:gd name="connsiteY7" fmla="*/ 4894 h 9813"/>
                <a:gd name="connsiteX8" fmla="*/ 241 w 10000"/>
                <a:gd name="connsiteY8" fmla="*/ 5174 h 9813"/>
                <a:gd name="connsiteX9" fmla="*/ 120 w 10000"/>
                <a:gd name="connsiteY9" fmla="*/ 5244 h 9813"/>
                <a:gd name="connsiteX10" fmla="*/ 120 w 10000"/>
                <a:gd name="connsiteY10" fmla="*/ 5488 h 9813"/>
                <a:gd name="connsiteX11" fmla="*/ 0 w 10000"/>
                <a:gd name="connsiteY11" fmla="*/ 5699 h 9813"/>
                <a:gd name="connsiteX12" fmla="*/ 0 w 10000"/>
                <a:gd name="connsiteY12" fmla="*/ 5873 h 9813"/>
                <a:gd name="connsiteX13" fmla="*/ 241 w 10000"/>
                <a:gd name="connsiteY13" fmla="*/ 5838 h 9813"/>
                <a:gd name="connsiteX14" fmla="*/ 281 w 10000"/>
                <a:gd name="connsiteY14" fmla="*/ 6152 h 9813"/>
                <a:gd name="connsiteX15" fmla="*/ 602 w 10000"/>
                <a:gd name="connsiteY15" fmla="*/ 6713 h 9813"/>
                <a:gd name="connsiteX16" fmla="*/ 602 w 10000"/>
                <a:gd name="connsiteY16" fmla="*/ 6747 h 9813"/>
                <a:gd name="connsiteX17" fmla="*/ 482 w 10000"/>
                <a:gd name="connsiteY17" fmla="*/ 6783 h 9813"/>
                <a:gd name="connsiteX18" fmla="*/ 964 w 10000"/>
                <a:gd name="connsiteY18" fmla="*/ 7341 h 9813"/>
                <a:gd name="connsiteX19" fmla="*/ 1004 w 10000"/>
                <a:gd name="connsiteY19" fmla="*/ 7516 h 9813"/>
                <a:gd name="connsiteX20" fmla="*/ 964 w 10000"/>
                <a:gd name="connsiteY20" fmla="*/ 8006 h 9813"/>
                <a:gd name="connsiteX21" fmla="*/ 1044 w 10000"/>
                <a:gd name="connsiteY21" fmla="*/ 8076 h 9813"/>
                <a:gd name="connsiteX22" fmla="*/ 1365 w 10000"/>
                <a:gd name="connsiteY22" fmla="*/ 8110 h 9813"/>
                <a:gd name="connsiteX23" fmla="*/ 1406 w 10000"/>
                <a:gd name="connsiteY23" fmla="*/ 8250 h 9813"/>
                <a:gd name="connsiteX24" fmla="*/ 1767 w 10000"/>
                <a:gd name="connsiteY24" fmla="*/ 8285 h 9813"/>
                <a:gd name="connsiteX25" fmla="*/ 1968 w 10000"/>
                <a:gd name="connsiteY25" fmla="*/ 8425 h 9813"/>
                <a:gd name="connsiteX26" fmla="*/ 2008 w 10000"/>
                <a:gd name="connsiteY26" fmla="*/ 8670 h 9813"/>
                <a:gd name="connsiteX27" fmla="*/ 2651 w 10000"/>
                <a:gd name="connsiteY27" fmla="*/ 9090 h 9813"/>
                <a:gd name="connsiteX28" fmla="*/ 2811 w 10000"/>
                <a:gd name="connsiteY28" fmla="*/ 9509 h 9813"/>
                <a:gd name="connsiteX29" fmla="*/ 3253 w 10000"/>
                <a:gd name="connsiteY29" fmla="*/ 9720 h 9813"/>
                <a:gd name="connsiteX30" fmla="*/ 3167 w 10000"/>
                <a:gd name="connsiteY30" fmla="*/ 7732 h 9813"/>
                <a:gd name="connsiteX31" fmla="*/ 3537 w 10000"/>
                <a:gd name="connsiteY31" fmla="*/ 7679 h 9813"/>
                <a:gd name="connsiteX32" fmla="*/ 3795 w 10000"/>
                <a:gd name="connsiteY32" fmla="*/ 7855 h 9813"/>
                <a:gd name="connsiteX33" fmla="*/ 4153 w 10000"/>
                <a:gd name="connsiteY33" fmla="*/ 7923 h 9813"/>
                <a:gd name="connsiteX34" fmla="*/ 4406 w 10000"/>
                <a:gd name="connsiteY34" fmla="*/ 7872 h 9813"/>
                <a:gd name="connsiteX35" fmla="*/ 4600 w 10000"/>
                <a:gd name="connsiteY35" fmla="*/ 7744 h 9813"/>
                <a:gd name="connsiteX36" fmla="*/ 4762 w 10000"/>
                <a:gd name="connsiteY36" fmla="*/ 7508 h 9813"/>
                <a:gd name="connsiteX37" fmla="*/ 4901 w 10000"/>
                <a:gd name="connsiteY37" fmla="*/ 7363 h 9813"/>
                <a:gd name="connsiteX38" fmla="*/ 5080 w 10000"/>
                <a:gd name="connsiteY38" fmla="*/ 7467 h 9813"/>
                <a:gd name="connsiteX39" fmla="*/ 5337 w 10000"/>
                <a:gd name="connsiteY39" fmla="*/ 7570 h 9813"/>
                <a:gd name="connsiteX40" fmla="*/ 5564 w 10000"/>
                <a:gd name="connsiteY40" fmla="*/ 7704 h 9813"/>
                <a:gd name="connsiteX41" fmla="*/ 5768 w 10000"/>
                <a:gd name="connsiteY41" fmla="*/ 7618 h 9813"/>
                <a:gd name="connsiteX42" fmla="*/ 5933 w 10000"/>
                <a:gd name="connsiteY42" fmla="*/ 7536 h 9813"/>
                <a:gd name="connsiteX43" fmla="*/ 6089 w 10000"/>
                <a:gd name="connsiteY43" fmla="*/ 7357 h 9813"/>
                <a:gd name="connsiteX44" fmla="*/ 6274 w 10000"/>
                <a:gd name="connsiteY44" fmla="*/ 7113 h 9813"/>
                <a:gd name="connsiteX45" fmla="*/ 6389 w 10000"/>
                <a:gd name="connsiteY45" fmla="*/ 7001 h 9813"/>
                <a:gd name="connsiteX46" fmla="*/ 6524 w 10000"/>
                <a:gd name="connsiteY46" fmla="*/ 6954 h 9813"/>
                <a:gd name="connsiteX47" fmla="*/ 6531 w 10000"/>
                <a:gd name="connsiteY47" fmla="*/ 6812 h 9813"/>
                <a:gd name="connsiteX48" fmla="*/ 6424 w 10000"/>
                <a:gd name="connsiteY48" fmla="*/ 6487 h 9813"/>
                <a:gd name="connsiteX49" fmla="*/ 6602 w 10000"/>
                <a:gd name="connsiteY49" fmla="*/ 6495 h 9813"/>
                <a:gd name="connsiteX50" fmla="*/ 6707 w 10000"/>
                <a:gd name="connsiteY50" fmla="*/ 6372 h 9813"/>
                <a:gd name="connsiteX51" fmla="*/ 6876 w 10000"/>
                <a:gd name="connsiteY51" fmla="*/ 6373 h 9813"/>
                <a:gd name="connsiteX52" fmla="*/ 6827 w 10000"/>
                <a:gd name="connsiteY52" fmla="*/ 7130 h 9813"/>
                <a:gd name="connsiteX53" fmla="*/ 6991 w 10000"/>
                <a:gd name="connsiteY53" fmla="*/ 7216 h 9813"/>
                <a:gd name="connsiteX54" fmla="*/ 7275 w 10000"/>
                <a:gd name="connsiteY54" fmla="*/ 7437 h 9813"/>
                <a:gd name="connsiteX55" fmla="*/ 7430 w 10000"/>
                <a:gd name="connsiteY55" fmla="*/ 7097 h 9813"/>
                <a:gd name="connsiteX56" fmla="*/ 7470 w 10000"/>
                <a:gd name="connsiteY56" fmla="*/ 7131 h 9813"/>
                <a:gd name="connsiteX57" fmla="*/ 7590 w 10000"/>
                <a:gd name="connsiteY57" fmla="*/ 6922 h 9813"/>
                <a:gd name="connsiteX58" fmla="*/ 7831 w 10000"/>
                <a:gd name="connsiteY58" fmla="*/ 6818 h 9813"/>
                <a:gd name="connsiteX59" fmla="*/ 7952 w 10000"/>
                <a:gd name="connsiteY59" fmla="*/ 6432 h 9813"/>
                <a:gd name="connsiteX60" fmla="*/ 8313 w 10000"/>
                <a:gd name="connsiteY60" fmla="*/ 5978 h 9813"/>
                <a:gd name="connsiteX61" fmla="*/ 8594 w 10000"/>
                <a:gd name="connsiteY61" fmla="*/ 5768 h 9813"/>
                <a:gd name="connsiteX62" fmla="*/ 8795 w 10000"/>
                <a:gd name="connsiteY62" fmla="*/ 5174 h 9813"/>
                <a:gd name="connsiteX63" fmla="*/ 8795 w 10000"/>
                <a:gd name="connsiteY63" fmla="*/ 5035 h 9813"/>
                <a:gd name="connsiteX64" fmla="*/ 8755 w 10000"/>
                <a:gd name="connsiteY64" fmla="*/ 4685 h 9813"/>
                <a:gd name="connsiteX65" fmla="*/ 9157 w 10000"/>
                <a:gd name="connsiteY65" fmla="*/ 3425 h 9813"/>
                <a:gd name="connsiteX66" fmla="*/ 9277 w 10000"/>
                <a:gd name="connsiteY66" fmla="*/ 3425 h 9813"/>
                <a:gd name="connsiteX67" fmla="*/ 9438 w 10000"/>
                <a:gd name="connsiteY67" fmla="*/ 3322 h 9813"/>
                <a:gd name="connsiteX68" fmla="*/ 9920 w 10000"/>
                <a:gd name="connsiteY68" fmla="*/ 3146 h 9813"/>
                <a:gd name="connsiteX69" fmla="*/ 10000 w 10000"/>
                <a:gd name="connsiteY69" fmla="*/ 2867 h 9813"/>
                <a:gd name="connsiteX70" fmla="*/ 9960 w 10000"/>
                <a:gd name="connsiteY70" fmla="*/ 2796 h 9813"/>
                <a:gd name="connsiteX71" fmla="*/ 9799 w 10000"/>
                <a:gd name="connsiteY71" fmla="*/ 2796 h 9813"/>
                <a:gd name="connsiteX72" fmla="*/ 9679 w 10000"/>
                <a:gd name="connsiteY72" fmla="*/ 2622 h 9813"/>
                <a:gd name="connsiteX73" fmla="*/ 9438 w 10000"/>
                <a:gd name="connsiteY73" fmla="*/ 2553 h 9813"/>
                <a:gd name="connsiteX74" fmla="*/ 9317 w 10000"/>
                <a:gd name="connsiteY74" fmla="*/ 2412 h 9813"/>
                <a:gd name="connsiteX75" fmla="*/ 9237 w 10000"/>
                <a:gd name="connsiteY75" fmla="*/ 1888 h 9813"/>
                <a:gd name="connsiteX76" fmla="*/ 9237 w 10000"/>
                <a:gd name="connsiteY76" fmla="*/ 1153 h 9813"/>
                <a:gd name="connsiteX77" fmla="*/ 9036 w 10000"/>
                <a:gd name="connsiteY77" fmla="*/ 910 h 9813"/>
                <a:gd name="connsiteX78" fmla="*/ 8996 w 10000"/>
                <a:gd name="connsiteY78" fmla="*/ 664 h 9813"/>
                <a:gd name="connsiteX79" fmla="*/ 8675 w 10000"/>
                <a:gd name="connsiteY79" fmla="*/ 315 h 9813"/>
                <a:gd name="connsiteX80" fmla="*/ 8394 w 10000"/>
                <a:gd name="connsiteY80" fmla="*/ 176 h 9813"/>
                <a:gd name="connsiteX81" fmla="*/ 8233 w 10000"/>
                <a:gd name="connsiteY81" fmla="*/ 0 h 9813"/>
                <a:gd name="connsiteX82" fmla="*/ 7992 w 10000"/>
                <a:gd name="connsiteY82" fmla="*/ 176 h 9813"/>
                <a:gd name="connsiteX83" fmla="*/ 7831 w 10000"/>
                <a:gd name="connsiteY83" fmla="*/ 140 h 9813"/>
                <a:gd name="connsiteX84" fmla="*/ 7711 w 10000"/>
                <a:gd name="connsiteY84" fmla="*/ 453 h 9813"/>
                <a:gd name="connsiteX85" fmla="*/ 7390 w 10000"/>
                <a:gd name="connsiteY85" fmla="*/ 525 h 9813"/>
                <a:gd name="connsiteX86" fmla="*/ 7309 w 10000"/>
                <a:gd name="connsiteY86" fmla="*/ 768 h 9813"/>
                <a:gd name="connsiteX87" fmla="*/ 7028 w 10000"/>
                <a:gd name="connsiteY87" fmla="*/ 768 h 9813"/>
                <a:gd name="connsiteX88" fmla="*/ 6787 w 10000"/>
                <a:gd name="connsiteY88" fmla="*/ 664 h 9813"/>
                <a:gd name="connsiteX89" fmla="*/ 6265 w 10000"/>
                <a:gd name="connsiteY89" fmla="*/ 664 h 9813"/>
                <a:gd name="connsiteX90" fmla="*/ 5743 w 10000"/>
                <a:gd name="connsiteY90" fmla="*/ 664 h 9813"/>
                <a:gd name="connsiteX91" fmla="*/ 5783 w 10000"/>
                <a:gd name="connsiteY91" fmla="*/ 525 h 9813"/>
                <a:gd name="connsiteX92" fmla="*/ 5703 w 10000"/>
                <a:gd name="connsiteY92" fmla="*/ 525 h 9813"/>
                <a:gd name="connsiteX93" fmla="*/ 5663 w 10000"/>
                <a:gd name="connsiteY93" fmla="*/ 664 h 9813"/>
                <a:gd name="connsiteX94" fmla="*/ 5181 w 10000"/>
                <a:gd name="connsiteY94" fmla="*/ 664 h 9813"/>
                <a:gd name="connsiteX95" fmla="*/ 4699 w 10000"/>
                <a:gd name="connsiteY95" fmla="*/ 664 h 9813"/>
                <a:gd name="connsiteX96" fmla="*/ 4217 w 10000"/>
                <a:gd name="connsiteY96" fmla="*/ 664 h 9813"/>
                <a:gd name="connsiteX97" fmla="*/ 3735 w 10000"/>
                <a:gd name="connsiteY97" fmla="*/ 664 h 9813"/>
                <a:gd name="connsiteX98" fmla="*/ 3293 w 10000"/>
                <a:gd name="connsiteY98" fmla="*/ 664 h 9813"/>
                <a:gd name="connsiteX99" fmla="*/ 2811 w 10000"/>
                <a:gd name="connsiteY99" fmla="*/ 664 h 9813"/>
                <a:gd name="connsiteX100" fmla="*/ 2369 w 10000"/>
                <a:gd name="connsiteY100" fmla="*/ 664 h 9813"/>
                <a:gd name="connsiteX101" fmla="*/ 1888 w 10000"/>
                <a:gd name="connsiteY101" fmla="*/ 664 h 9813"/>
                <a:gd name="connsiteX102" fmla="*/ 1888 w 10000"/>
                <a:gd name="connsiteY102" fmla="*/ 1153 h 9813"/>
                <a:gd name="connsiteX103" fmla="*/ 1888 w 10000"/>
                <a:gd name="connsiteY103" fmla="*/ 1783 h 9813"/>
                <a:gd name="connsiteX104" fmla="*/ 1285 w 10000"/>
                <a:gd name="connsiteY104" fmla="*/ 1783 h 9813"/>
                <a:gd name="connsiteX105" fmla="*/ 1285 w 10000"/>
                <a:gd name="connsiteY105" fmla="*/ 2063 h 9813"/>
                <a:gd name="connsiteX0" fmla="*/ 1285 w 10000"/>
                <a:gd name="connsiteY0" fmla="*/ 2102 h 9690"/>
                <a:gd name="connsiteX1" fmla="*/ 1285 w 10000"/>
                <a:gd name="connsiteY1" fmla="*/ 2672 h 9690"/>
                <a:gd name="connsiteX2" fmla="*/ 1285 w 10000"/>
                <a:gd name="connsiteY2" fmla="*/ 3206 h 9690"/>
                <a:gd name="connsiteX3" fmla="*/ 1285 w 10000"/>
                <a:gd name="connsiteY3" fmla="*/ 3741 h 9690"/>
                <a:gd name="connsiteX4" fmla="*/ 1285 w 10000"/>
                <a:gd name="connsiteY4" fmla="*/ 4238 h 9690"/>
                <a:gd name="connsiteX5" fmla="*/ 643 w 10000"/>
                <a:gd name="connsiteY5" fmla="*/ 4347 h 9690"/>
                <a:gd name="connsiteX6" fmla="*/ 522 w 10000"/>
                <a:gd name="connsiteY6" fmla="*/ 4631 h 9690"/>
                <a:gd name="connsiteX7" fmla="*/ 241 w 10000"/>
                <a:gd name="connsiteY7" fmla="*/ 4987 h 9690"/>
                <a:gd name="connsiteX8" fmla="*/ 241 w 10000"/>
                <a:gd name="connsiteY8" fmla="*/ 5273 h 9690"/>
                <a:gd name="connsiteX9" fmla="*/ 120 w 10000"/>
                <a:gd name="connsiteY9" fmla="*/ 5344 h 9690"/>
                <a:gd name="connsiteX10" fmla="*/ 120 w 10000"/>
                <a:gd name="connsiteY10" fmla="*/ 5593 h 9690"/>
                <a:gd name="connsiteX11" fmla="*/ 0 w 10000"/>
                <a:gd name="connsiteY11" fmla="*/ 5808 h 9690"/>
                <a:gd name="connsiteX12" fmla="*/ 0 w 10000"/>
                <a:gd name="connsiteY12" fmla="*/ 5985 h 9690"/>
                <a:gd name="connsiteX13" fmla="*/ 241 w 10000"/>
                <a:gd name="connsiteY13" fmla="*/ 5949 h 9690"/>
                <a:gd name="connsiteX14" fmla="*/ 281 w 10000"/>
                <a:gd name="connsiteY14" fmla="*/ 6269 h 9690"/>
                <a:gd name="connsiteX15" fmla="*/ 602 w 10000"/>
                <a:gd name="connsiteY15" fmla="*/ 6841 h 9690"/>
                <a:gd name="connsiteX16" fmla="*/ 602 w 10000"/>
                <a:gd name="connsiteY16" fmla="*/ 6876 h 9690"/>
                <a:gd name="connsiteX17" fmla="*/ 482 w 10000"/>
                <a:gd name="connsiteY17" fmla="*/ 6912 h 9690"/>
                <a:gd name="connsiteX18" fmla="*/ 964 w 10000"/>
                <a:gd name="connsiteY18" fmla="*/ 7481 h 9690"/>
                <a:gd name="connsiteX19" fmla="*/ 1004 w 10000"/>
                <a:gd name="connsiteY19" fmla="*/ 7659 h 9690"/>
                <a:gd name="connsiteX20" fmla="*/ 964 w 10000"/>
                <a:gd name="connsiteY20" fmla="*/ 8159 h 9690"/>
                <a:gd name="connsiteX21" fmla="*/ 1044 w 10000"/>
                <a:gd name="connsiteY21" fmla="*/ 8230 h 9690"/>
                <a:gd name="connsiteX22" fmla="*/ 1365 w 10000"/>
                <a:gd name="connsiteY22" fmla="*/ 8265 h 9690"/>
                <a:gd name="connsiteX23" fmla="*/ 1406 w 10000"/>
                <a:gd name="connsiteY23" fmla="*/ 8407 h 9690"/>
                <a:gd name="connsiteX24" fmla="*/ 1767 w 10000"/>
                <a:gd name="connsiteY24" fmla="*/ 8443 h 9690"/>
                <a:gd name="connsiteX25" fmla="*/ 1968 w 10000"/>
                <a:gd name="connsiteY25" fmla="*/ 8586 h 9690"/>
                <a:gd name="connsiteX26" fmla="*/ 2008 w 10000"/>
                <a:gd name="connsiteY26" fmla="*/ 8835 h 9690"/>
                <a:gd name="connsiteX27" fmla="*/ 2651 w 10000"/>
                <a:gd name="connsiteY27" fmla="*/ 9263 h 9690"/>
                <a:gd name="connsiteX28" fmla="*/ 2811 w 10000"/>
                <a:gd name="connsiteY28" fmla="*/ 9690 h 9690"/>
                <a:gd name="connsiteX29" fmla="*/ 2890 w 10000"/>
                <a:gd name="connsiteY29" fmla="*/ 7871 h 9690"/>
                <a:gd name="connsiteX30" fmla="*/ 3167 w 10000"/>
                <a:gd name="connsiteY30" fmla="*/ 7879 h 9690"/>
                <a:gd name="connsiteX31" fmla="*/ 3537 w 10000"/>
                <a:gd name="connsiteY31" fmla="*/ 7825 h 9690"/>
                <a:gd name="connsiteX32" fmla="*/ 3795 w 10000"/>
                <a:gd name="connsiteY32" fmla="*/ 8005 h 9690"/>
                <a:gd name="connsiteX33" fmla="*/ 4153 w 10000"/>
                <a:gd name="connsiteY33" fmla="*/ 8074 h 9690"/>
                <a:gd name="connsiteX34" fmla="*/ 4406 w 10000"/>
                <a:gd name="connsiteY34" fmla="*/ 8022 h 9690"/>
                <a:gd name="connsiteX35" fmla="*/ 4600 w 10000"/>
                <a:gd name="connsiteY35" fmla="*/ 7892 h 9690"/>
                <a:gd name="connsiteX36" fmla="*/ 4762 w 10000"/>
                <a:gd name="connsiteY36" fmla="*/ 7651 h 9690"/>
                <a:gd name="connsiteX37" fmla="*/ 4901 w 10000"/>
                <a:gd name="connsiteY37" fmla="*/ 7503 h 9690"/>
                <a:gd name="connsiteX38" fmla="*/ 5080 w 10000"/>
                <a:gd name="connsiteY38" fmla="*/ 7609 h 9690"/>
                <a:gd name="connsiteX39" fmla="*/ 5337 w 10000"/>
                <a:gd name="connsiteY39" fmla="*/ 7714 h 9690"/>
                <a:gd name="connsiteX40" fmla="*/ 5564 w 10000"/>
                <a:gd name="connsiteY40" fmla="*/ 7851 h 9690"/>
                <a:gd name="connsiteX41" fmla="*/ 5768 w 10000"/>
                <a:gd name="connsiteY41" fmla="*/ 7763 h 9690"/>
                <a:gd name="connsiteX42" fmla="*/ 5933 w 10000"/>
                <a:gd name="connsiteY42" fmla="*/ 7680 h 9690"/>
                <a:gd name="connsiteX43" fmla="*/ 6089 w 10000"/>
                <a:gd name="connsiteY43" fmla="*/ 7497 h 9690"/>
                <a:gd name="connsiteX44" fmla="*/ 6274 w 10000"/>
                <a:gd name="connsiteY44" fmla="*/ 7249 h 9690"/>
                <a:gd name="connsiteX45" fmla="*/ 6389 w 10000"/>
                <a:gd name="connsiteY45" fmla="*/ 7134 h 9690"/>
                <a:gd name="connsiteX46" fmla="*/ 6524 w 10000"/>
                <a:gd name="connsiteY46" fmla="*/ 7087 h 9690"/>
                <a:gd name="connsiteX47" fmla="*/ 6531 w 10000"/>
                <a:gd name="connsiteY47" fmla="*/ 6942 h 9690"/>
                <a:gd name="connsiteX48" fmla="*/ 6424 w 10000"/>
                <a:gd name="connsiteY48" fmla="*/ 6611 h 9690"/>
                <a:gd name="connsiteX49" fmla="*/ 6602 w 10000"/>
                <a:gd name="connsiteY49" fmla="*/ 6619 h 9690"/>
                <a:gd name="connsiteX50" fmla="*/ 6707 w 10000"/>
                <a:gd name="connsiteY50" fmla="*/ 6493 h 9690"/>
                <a:gd name="connsiteX51" fmla="*/ 6876 w 10000"/>
                <a:gd name="connsiteY51" fmla="*/ 6494 h 9690"/>
                <a:gd name="connsiteX52" fmla="*/ 6827 w 10000"/>
                <a:gd name="connsiteY52" fmla="*/ 7266 h 9690"/>
                <a:gd name="connsiteX53" fmla="*/ 6991 w 10000"/>
                <a:gd name="connsiteY53" fmla="*/ 7354 h 9690"/>
                <a:gd name="connsiteX54" fmla="*/ 7275 w 10000"/>
                <a:gd name="connsiteY54" fmla="*/ 7579 h 9690"/>
                <a:gd name="connsiteX55" fmla="*/ 7430 w 10000"/>
                <a:gd name="connsiteY55" fmla="*/ 7232 h 9690"/>
                <a:gd name="connsiteX56" fmla="*/ 7470 w 10000"/>
                <a:gd name="connsiteY56" fmla="*/ 7267 h 9690"/>
                <a:gd name="connsiteX57" fmla="*/ 7590 w 10000"/>
                <a:gd name="connsiteY57" fmla="*/ 7054 h 9690"/>
                <a:gd name="connsiteX58" fmla="*/ 7831 w 10000"/>
                <a:gd name="connsiteY58" fmla="*/ 6948 h 9690"/>
                <a:gd name="connsiteX59" fmla="*/ 7952 w 10000"/>
                <a:gd name="connsiteY59" fmla="*/ 6555 h 9690"/>
                <a:gd name="connsiteX60" fmla="*/ 8313 w 10000"/>
                <a:gd name="connsiteY60" fmla="*/ 6092 h 9690"/>
                <a:gd name="connsiteX61" fmla="*/ 8594 w 10000"/>
                <a:gd name="connsiteY61" fmla="*/ 5878 h 9690"/>
                <a:gd name="connsiteX62" fmla="*/ 8795 w 10000"/>
                <a:gd name="connsiteY62" fmla="*/ 5273 h 9690"/>
                <a:gd name="connsiteX63" fmla="*/ 8795 w 10000"/>
                <a:gd name="connsiteY63" fmla="*/ 5131 h 9690"/>
                <a:gd name="connsiteX64" fmla="*/ 8755 w 10000"/>
                <a:gd name="connsiteY64" fmla="*/ 4774 h 9690"/>
                <a:gd name="connsiteX65" fmla="*/ 9157 w 10000"/>
                <a:gd name="connsiteY65" fmla="*/ 3490 h 9690"/>
                <a:gd name="connsiteX66" fmla="*/ 9277 w 10000"/>
                <a:gd name="connsiteY66" fmla="*/ 3490 h 9690"/>
                <a:gd name="connsiteX67" fmla="*/ 9438 w 10000"/>
                <a:gd name="connsiteY67" fmla="*/ 3385 h 9690"/>
                <a:gd name="connsiteX68" fmla="*/ 9920 w 10000"/>
                <a:gd name="connsiteY68" fmla="*/ 3206 h 9690"/>
                <a:gd name="connsiteX69" fmla="*/ 10000 w 10000"/>
                <a:gd name="connsiteY69" fmla="*/ 2922 h 9690"/>
                <a:gd name="connsiteX70" fmla="*/ 9960 w 10000"/>
                <a:gd name="connsiteY70" fmla="*/ 2849 h 9690"/>
                <a:gd name="connsiteX71" fmla="*/ 9799 w 10000"/>
                <a:gd name="connsiteY71" fmla="*/ 2849 h 9690"/>
                <a:gd name="connsiteX72" fmla="*/ 9679 w 10000"/>
                <a:gd name="connsiteY72" fmla="*/ 2672 h 9690"/>
                <a:gd name="connsiteX73" fmla="*/ 9438 w 10000"/>
                <a:gd name="connsiteY73" fmla="*/ 2602 h 9690"/>
                <a:gd name="connsiteX74" fmla="*/ 9317 w 10000"/>
                <a:gd name="connsiteY74" fmla="*/ 2458 h 9690"/>
                <a:gd name="connsiteX75" fmla="*/ 9237 w 10000"/>
                <a:gd name="connsiteY75" fmla="*/ 1924 h 9690"/>
                <a:gd name="connsiteX76" fmla="*/ 9237 w 10000"/>
                <a:gd name="connsiteY76" fmla="*/ 1175 h 9690"/>
                <a:gd name="connsiteX77" fmla="*/ 9036 w 10000"/>
                <a:gd name="connsiteY77" fmla="*/ 927 h 9690"/>
                <a:gd name="connsiteX78" fmla="*/ 8996 w 10000"/>
                <a:gd name="connsiteY78" fmla="*/ 677 h 9690"/>
                <a:gd name="connsiteX79" fmla="*/ 8675 w 10000"/>
                <a:gd name="connsiteY79" fmla="*/ 321 h 9690"/>
                <a:gd name="connsiteX80" fmla="*/ 8394 w 10000"/>
                <a:gd name="connsiteY80" fmla="*/ 179 h 9690"/>
                <a:gd name="connsiteX81" fmla="*/ 8233 w 10000"/>
                <a:gd name="connsiteY81" fmla="*/ 0 h 9690"/>
                <a:gd name="connsiteX82" fmla="*/ 7992 w 10000"/>
                <a:gd name="connsiteY82" fmla="*/ 179 h 9690"/>
                <a:gd name="connsiteX83" fmla="*/ 7831 w 10000"/>
                <a:gd name="connsiteY83" fmla="*/ 143 h 9690"/>
                <a:gd name="connsiteX84" fmla="*/ 7711 w 10000"/>
                <a:gd name="connsiteY84" fmla="*/ 462 h 9690"/>
                <a:gd name="connsiteX85" fmla="*/ 7390 w 10000"/>
                <a:gd name="connsiteY85" fmla="*/ 535 h 9690"/>
                <a:gd name="connsiteX86" fmla="*/ 7309 w 10000"/>
                <a:gd name="connsiteY86" fmla="*/ 783 h 9690"/>
                <a:gd name="connsiteX87" fmla="*/ 7028 w 10000"/>
                <a:gd name="connsiteY87" fmla="*/ 783 h 9690"/>
                <a:gd name="connsiteX88" fmla="*/ 6787 w 10000"/>
                <a:gd name="connsiteY88" fmla="*/ 677 h 9690"/>
                <a:gd name="connsiteX89" fmla="*/ 6265 w 10000"/>
                <a:gd name="connsiteY89" fmla="*/ 677 h 9690"/>
                <a:gd name="connsiteX90" fmla="*/ 5743 w 10000"/>
                <a:gd name="connsiteY90" fmla="*/ 677 h 9690"/>
                <a:gd name="connsiteX91" fmla="*/ 5783 w 10000"/>
                <a:gd name="connsiteY91" fmla="*/ 535 h 9690"/>
                <a:gd name="connsiteX92" fmla="*/ 5703 w 10000"/>
                <a:gd name="connsiteY92" fmla="*/ 535 h 9690"/>
                <a:gd name="connsiteX93" fmla="*/ 5663 w 10000"/>
                <a:gd name="connsiteY93" fmla="*/ 677 h 9690"/>
                <a:gd name="connsiteX94" fmla="*/ 5181 w 10000"/>
                <a:gd name="connsiteY94" fmla="*/ 677 h 9690"/>
                <a:gd name="connsiteX95" fmla="*/ 4699 w 10000"/>
                <a:gd name="connsiteY95" fmla="*/ 677 h 9690"/>
                <a:gd name="connsiteX96" fmla="*/ 4217 w 10000"/>
                <a:gd name="connsiteY96" fmla="*/ 677 h 9690"/>
                <a:gd name="connsiteX97" fmla="*/ 3735 w 10000"/>
                <a:gd name="connsiteY97" fmla="*/ 677 h 9690"/>
                <a:gd name="connsiteX98" fmla="*/ 3293 w 10000"/>
                <a:gd name="connsiteY98" fmla="*/ 677 h 9690"/>
                <a:gd name="connsiteX99" fmla="*/ 2811 w 10000"/>
                <a:gd name="connsiteY99" fmla="*/ 677 h 9690"/>
                <a:gd name="connsiteX100" fmla="*/ 2369 w 10000"/>
                <a:gd name="connsiteY100" fmla="*/ 677 h 9690"/>
                <a:gd name="connsiteX101" fmla="*/ 1888 w 10000"/>
                <a:gd name="connsiteY101" fmla="*/ 677 h 9690"/>
                <a:gd name="connsiteX102" fmla="*/ 1888 w 10000"/>
                <a:gd name="connsiteY102" fmla="*/ 1175 h 9690"/>
                <a:gd name="connsiteX103" fmla="*/ 1888 w 10000"/>
                <a:gd name="connsiteY103" fmla="*/ 1817 h 9690"/>
                <a:gd name="connsiteX104" fmla="*/ 1285 w 10000"/>
                <a:gd name="connsiteY104" fmla="*/ 1817 h 9690"/>
                <a:gd name="connsiteX105" fmla="*/ 1285 w 10000"/>
                <a:gd name="connsiteY105" fmla="*/ 2102 h 9690"/>
                <a:gd name="connsiteX0" fmla="*/ 1285 w 10000"/>
                <a:gd name="connsiteY0" fmla="*/ 2169 h 9707"/>
                <a:gd name="connsiteX1" fmla="*/ 1285 w 10000"/>
                <a:gd name="connsiteY1" fmla="*/ 2757 h 9707"/>
                <a:gd name="connsiteX2" fmla="*/ 1285 w 10000"/>
                <a:gd name="connsiteY2" fmla="*/ 3309 h 9707"/>
                <a:gd name="connsiteX3" fmla="*/ 1285 w 10000"/>
                <a:gd name="connsiteY3" fmla="*/ 3861 h 9707"/>
                <a:gd name="connsiteX4" fmla="*/ 1285 w 10000"/>
                <a:gd name="connsiteY4" fmla="*/ 4374 h 9707"/>
                <a:gd name="connsiteX5" fmla="*/ 643 w 10000"/>
                <a:gd name="connsiteY5" fmla="*/ 4486 h 9707"/>
                <a:gd name="connsiteX6" fmla="*/ 522 w 10000"/>
                <a:gd name="connsiteY6" fmla="*/ 4779 h 9707"/>
                <a:gd name="connsiteX7" fmla="*/ 241 w 10000"/>
                <a:gd name="connsiteY7" fmla="*/ 5147 h 9707"/>
                <a:gd name="connsiteX8" fmla="*/ 241 w 10000"/>
                <a:gd name="connsiteY8" fmla="*/ 5442 h 9707"/>
                <a:gd name="connsiteX9" fmla="*/ 120 w 10000"/>
                <a:gd name="connsiteY9" fmla="*/ 5515 h 9707"/>
                <a:gd name="connsiteX10" fmla="*/ 120 w 10000"/>
                <a:gd name="connsiteY10" fmla="*/ 5772 h 9707"/>
                <a:gd name="connsiteX11" fmla="*/ 0 w 10000"/>
                <a:gd name="connsiteY11" fmla="*/ 5994 h 9707"/>
                <a:gd name="connsiteX12" fmla="*/ 0 w 10000"/>
                <a:gd name="connsiteY12" fmla="*/ 6176 h 9707"/>
                <a:gd name="connsiteX13" fmla="*/ 241 w 10000"/>
                <a:gd name="connsiteY13" fmla="*/ 6139 h 9707"/>
                <a:gd name="connsiteX14" fmla="*/ 281 w 10000"/>
                <a:gd name="connsiteY14" fmla="*/ 6470 h 9707"/>
                <a:gd name="connsiteX15" fmla="*/ 602 w 10000"/>
                <a:gd name="connsiteY15" fmla="*/ 7060 h 9707"/>
                <a:gd name="connsiteX16" fmla="*/ 602 w 10000"/>
                <a:gd name="connsiteY16" fmla="*/ 7096 h 9707"/>
                <a:gd name="connsiteX17" fmla="*/ 482 w 10000"/>
                <a:gd name="connsiteY17" fmla="*/ 7133 h 9707"/>
                <a:gd name="connsiteX18" fmla="*/ 964 w 10000"/>
                <a:gd name="connsiteY18" fmla="*/ 7720 h 9707"/>
                <a:gd name="connsiteX19" fmla="*/ 1004 w 10000"/>
                <a:gd name="connsiteY19" fmla="*/ 7904 h 9707"/>
                <a:gd name="connsiteX20" fmla="*/ 964 w 10000"/>
                <a:gd name="connsiteY20" fmla="*/ 8420 h 9707"/>
                <a:gd name="connsiteX21" fmla="*/ 1044 w 10000"/>
                <a:gd name="connsiteY21" fmla="*/ 8493 h 9707"/>
                <a:gd name="connsiteX22" fmla="*/ 1365 w 10000"/>
                <a:gd name="connsiteY22" fmla="*/ 8529 h 9707"/>
                <a:gd name="connsiteX23" fmla="*/ 1406 w 10000"/>
                <a:gd name="connsiteY23" fmla="*/ 8676 h 9707"/>
                <a:gd name="connsiteX24" fmla="*/ 1767 w 10000"/>
                <a:gd name="connsiteY24" fmla="*/ 8713 h 9707"/>
                <a:gd name="connsiteX25" fmla="*/ 1968 w 10000"/>
                <a:gd name="connsiteY25" fmla="*/ 8861 h 9707"/>
                <a:gd name="connsiteX26" fmla="*/ 2008 w 10000"/>
                <a:gd name="connsiteY26" fmla="*/ 9118 h 9707"/>
                <a:gd name="connsiteX27" fmla="*/ 2651 w 10000"/>
                <a:gd name="connsiteY27" fmla="*/ 9559 h 9707"/>
                <a:gd name="connsiteX28" fmla="*/ 2679 w 10000"/>
                <a:gd name="connsiteY28" fmla="*/ 8143 h 9707"/>
                <a:gd name="connsiteX29" fmla="*/ 2890 w 10000"/>
                <a:gd name="connsiteY29" fmla="*/ 8123 h 9707"/>
                <a:gd name="connsiteX30" fmla="*/ 3167 w 10000"/>
                <a:gd name="connsiteY30" fmla="*/ 8131 h 9707"/>
                <a:gd name="connsiteX31" fmla="*/ 3537 w 10000"/>
                <a:gd name="connsiteY31" fmla="*/ 8075 h 9707"/>
                <a:gd name="connsiteX32" fmla="*/ 3795 w 10000"/>
                <a:gd name="connsiteY32" fmla="*/ 8261 h 9707"/>
                <a:gd name="connsiteX33" fmla="*/ 4153 w 10000"/>
                <a:gd name="connsiteY33" fmla="*/ 8332 h 9707"/>
                <a:gd name="connsiteX34" fmla="*/ 4406 w 10000"/>
                <a:gd name="connsiteY34" fmla="*/ 8279 h 9707"/>
                <a:gd name="connsiteX35" fmla="*/ 4600 w 10000"/>
                <a:gd name="connsiteY35" fmla="*/ 8144 h 9707"/>
                <a:gd name="connsiteX36" fmla="*/ 4762 w 10000"/>
                <a:gd name="connsiteY36" fmla="*/ 7896 h 9707"/>
                <a:gd name="connsiteX37" fmla="*/ 4901 w 10000"/>
                <a:gd name="connsiteY37" fmla="*/ 7743 h 9707"/>
                <a:gd name="connsiteX38" fmla="*/ 5080 w 10000"/>
                <a:gd name="connsiteY38" fmla="*/ 7852 h 9707"/>
                <a:gd name="connsiteX39" fmla="*/ 5337 w 10000"/>
                <a:gd name="connsiteY39" fmla="*/ 7961 h 9707"/>
                <a:gd name="connsiteX40" fmla="*/ 5564 w 10000"/>
                <a:gd name="connsiteY40" fmla="*/ 8102 h 9707"/>
                <a:gd name="connsiteX41" fmla="*/ 5768 w 10000"/>
                <a:gd name="connsiteY41" fmla="*/ 8011 h 9707"/>
                <a:gd name="connsiteX42" fmla="*/ 5933 w 10000"/>
                <a:gd name="connsiteY42" fmla="*/ 7926 h 9707"/>
                <a:gd name="connsiteX43" fmla="*/ 6089 w 10000"/>
                <a:gd name="connsiteY43" fmla="*/ 7737 h 9707"/>
                <a:gd name="connsiteX44" fmla="*/ 6274 w 10000"/>
                <a:gd name="connsiteY44" fmla="*/ 7481 h 9707"/>
                <a:gd name="connsiteX45" fmla="*/ 6389 w 10000"/>
                <a:gd name="connsiteY45" fmla="*/ 7362 h 9707"/>
                <a:gd name="connsiteX46" fmla="*/ 6524 w 10000"/>
                <a:gd name="connsiteY46" fmla="*/ 7314 h 9707"/>
                <a:gd name="connsiteX47" fmla="*/ 6531 w 10000"/>
                <a:gd name="connsiteY47" fmla="*/ 7164 h 9707"/>
                <a:gd name="connsiteX48" fmla="*/ 6424 w 10000"/>
                <a:gd name="connsiteY48" fmla="*/ 6822 h 9707"/>
                <a:gd name="connsiteX49" fmla="*/ 6602 w 10000"/>
                <a:gd name="connsiteY49" fmla="*/ 6831 h 9707"/>
                <a:gd name="connsiteX50" fmla="*/ 6707 w 10000"/>
                <a:gd name="connsiteY50" fmla="*/ 6701 h 9707"/>
                <a:gd name="connsiteX51" fmla="*/ 6876 w 10000"/>
                <a:gd name="connsiteY51" fmla="*/ 6702 h 9707"/>
                <a:gd name="connsiteX52" fmla="*/ 6827 w 10000"/>
                <a:gd name="connsiteY52" fmla="*/ 7498 h 9707"/>
                <a:gd name="connsiteX53" fmla="*/ 6991 w 10000"/>
                <a:gd name="connsiteY53" fmla="*/ 7589 h 9707"/>
                <a:gd name="connsiteX54" fmla="*/ 7275 w 10000"/>
                <a:gd name="connsiteY54" fmla="*/ 7821 h 9707"/>
                <a:gd name="connsiteX55" fmla="*/ 7430 w 10000"/>
                <a:gd name="connsiteY55" fmla="*/ 7463 h 9707"/>
                <a:gd name="connsiteX56" fmla="*/ 7470 w 10000"/>
                <a:gd name="connsiteY56" fmla="*/ 7499 h 9707"/>
                <a:gd name="connsiteX57" fmla="*/ 7590 w 10000"/>
                <a:gd name="connsiteY57" fmla="*/ 7280 h 9707"/>
                <a:gd name="connsiteX58" fmla="*/ 7831 w 10000"/>
                <a:gd name="connsiteY58" fmla="*/ 7170 h 9707"/>
                <a:gd name="connsiteX59" fmla="*/ 7952 w 10000"/>
                <a:gd name="connsiteY59" fmla="*/ 6765 h 9707"/>
                <a:gd name="connsiteX60" fmla="*/ 8313 w 10000"/>
                <a:gd name="connsiteY60" fmla="*/ 6287 h 9707"/>
                <a:gd name="connsiteX61" fmla="*/ 8594 w 10000"/>
                <a:gd name="connsiteY61" fmla="*/ 6066 h 9707"/>
                <a:gd name="connsiteX62" fmla="*/ 8795 w 10000"/>
                <a:gd name="connsiteY62" fmla="*/ 5442 h 9707"/>
                <a:gd name="connsiteX63" fmla="*/ 8795 w 10000"/>
                <a:gd name="connsiteY63" fmla="*/ 5295 h 9707"/>
                <a:gd name="connsiteX64" fmla="*/ 8755 w 10000"/>
                <a:gd name="connsiteY64" fmla="*/ 4927 h 9707"/>
                <a:gd name="connsiteX65" fmla="*/ 9157 w 10000"/>
                <a:gd name="connsiteY65" fmla="*/ 3602 h 9707"/>
                <a:gd name="connsiteX66" fmla="*/ 9277 w 10000"/>
                <a:gd name="connsiteY66" fmla="*/ 3602 h 9707"/>
                <a:gd name="connsiteX67" fmla="*/ 9438 w 10000"/>
                <a:gd name="connsiteY67" fmla="*/ 3493 h 9707"/>
                <a:gd name="connsiteX68" fmla="*/ 9920 w 10000"/>
                <a:gd name="connsiteY68" fmla="*/ 3309 h 9707"/>
                <a:gd name="connsiteX69" fmla="*/ 10000 w 10000"/>
                <a:gd name="connsiteY69" fmla="*/ 3015 h 9707"/>
                <a:gd name="connsiteX70" fmla="*/ 9960 w 10000"/>
                <a:gd name="connsiteY70" fmla="*/ 2940 h 9707"/>
                <a:gd name="connsiteX71" fmla="*/ 9799 w 10000"/>
                <a:gd name="connsiteY71" fmla="*/ 2940 h 9707"/>
                <a:gd name="connsiteX72" fmla="*/ 9679 w 10000"/>
                <a:gd name="connsiteY72" fmla="*/ 2757 h 9707"/>
                <a:gd name="connsiteX73" fmla="*/ 9438 w 10000"/>
                <a:gd name="connsiteY73" fmla="*/ 2685 h 9707"/>
                <a:gd name="connsiteX74" fmla="*/ 9317 w 10000"/>
                <a:gd name="connsiteY74" fmla="*/ 2537 h 9707"/>
                <a:gd name="connsiteX75" fmla="*/ 9237 w 10000"/>
                <a:gd name="connsiteY75" fmla="*/ 1986 h 9707"/>
                <a:gd name="connsiteX76" fmla="*/ 9237 w 10000"/>
                <a:gd name="connsiteY76" fmla="*/ 1213 h 9707"/>
                <a:gd name="connsiteX77" fmla="*/ 9036 w 10000"/>
                <a:gd name="connsiteY77" fmla="*/ 957 h 9707"/>
                <a:gd name="connsiteX78" fmla="*/ 8996 w 10000"/>
                <a:gd name="connsiteY78" fmla="*/ 699 h 9707"/>
                <a:gd name="connsiteX79" fmla="*/ 8675 w 10000"/>
                <a:gd name="connsiteY79" fmla="*/ 331 h 9707"/>
                <a:gd name="connsiteX80" fmla="*/ 8394 w 10000"/>
                <a:gd name="connsiteY80" fmla="*/ 185 h 9707"/>
                <a:gd name="connsiteX81" fmla="*/ 8233 w 10000"/>
                <a:gd name="connsiteY81" fmla="*/ 0 h 9707"/>
                <a:gd name="connsiteX82" fmla="*/ 7992 w 10000"/>
                <a:gd name="connsiteY82" fmla="*/ 185 h 9707"/>
                <a:gd name="connsiteX83" fmla="*/ 7831 w 10000"/>
                <a:gd name="connsiteY83" fmla="*/ 148 h 9707"/>
                <a:gd name="connsiteX84" fmla="*/ 7711 w 10000"/>
                <a:gd name="connsiteY84" fmla="*/ 477 h 9707"/>
                <a:gd name="connsiteX85" fmla="*/ 7390 w 10000"/>
                <a:gd name="connsiteY85" fmla="*/ 552 h 9707"/>
                <a:gd name="connsiteX86" fmla="*/ 7309 w 10000"/>
                <a:gd name="connsiteY86" fmla="*/ 808 h 9707"/>
                <a:gd name="connsiteX87" fmla="*/ 7028 w 10000"/>
                <a:gd name="connsiteY87" fmla="*/ 808 h 9707"/>
                <a:gd name="connsiteX88" fmla="*/ 6787 w 10000"/>
                <a:gd name="connsiteY88" fmla="*/ 699 h 9707"/>
                <a:gd name="connsiteX89" fmla="*/ 6265 w 10000"/>
                <a:gd name="connsiteY89" fmla="*/ 699 h 9707"/>
                <a:gd name="connsiteX90" fmla="*/ 5743 w 10000"/>
                <a:gd name="connsiteY90" fmla="*/ 699 h 9707"/>
                <a:gd name="connsiteX91" fmla="*/ 5783 w 10000"/>
                <a:gd name="connsiteY91" fmla="*/ 552 h 9707"/>
                <a:gd name="connsiteX92" fmla="*/ 5703 w 10000"/>
                <a:gd name="connsiteY92" fmla="*/ 552 h 9707"/>
                <a:gd name="connsiteX93" fmla="*/ 5663 w 10000"/>
                <a:gd name="connsiteY93" fmla="*/ 699 h 9707"/>
                <a:gd name="connsiteX94" fmla="*/ 5181 w 10000"/>
                <a:gd name="connsiteY94" fmla="*/ 699 h 9707"/>
                <a:gd name="connsiteX95" fmla="*/ 4699 w 10000"/>
                <a:gd name="connsiteY95" fmla="*/ 699 h 9707"/>
                <a:gd name="connsiteX96" fmla="*/ 4217 w 10000"/>
                <a:gd name="connsiteY96" fmla="*/ 699 h 9707"/>
                <a:gd name="connsiteX97" fmla="*/ 3735 w 10000"/>
                <a:gd name="connsiteY97" fmla="*/ 699 h 9707"/>
                <a:gd name="connsiteX98" fmla="*/ 3293 w 10000"/>
                <a:gd name="connsiteY98" fmla="*/ 699 h 9707"/>
                <a:gd name="connsiteX99" fmla="*/ 2811 w 10000"/>
                <a:gd name="connsiteY99" fmla="*/ 699 h 9707"/>
                <a:gd name="connsiteX100" fmla="*/ 2369 w 10000"/>
                <a:gd name="connsiteY100" fmla="*/ 699 h 9707"/>
                <a:gd name="connsiteX101" fmla="*/ 1888 w 10000"/>
                <a:gd name="connsiteY101" fmla="*/ 699 h 9707"/>
                <a:gd name="connsiteX102" fmla="*/ 1888 w 10000"/>
                <a:gd name="connsiteY102" fmla="*/ 1213 h 9707"/>
                <a:gd name="connsiteX103" fmla="*/ 1888 w 10000"/>
                <a:gd name="connsiteY103" fmla="*/ 1875 h 9707"/>
                <a:gd name="connsiteX104" fmla="*/ 1285 w 10000"/>
                <a:gd name="connsiteY104" fmla="*/ 1875 h 9707"/>
                <a:gd name="connsiteX105" fmla="*/ 1285 w 10000"/>
                <a:gd name="connsiteY105" fmla="*/ 2169 h 9707"/>
                <a:gd name="connsiteX0" fmla="*/ 1285 w 10000"/>
                <a:gd name="connsiteY0" fmla="*/ 2234 h 9424"/>
                <a:gd name="connsiteX1" fmla="*/ 1285 w 10000"/>
                <a:gd name="connsiteY1" fmla="*/ 2840 h 9424"/>
                <a:gd name="connsiteX2" fmla="*/ 1285 w 10000"/>
                <a:gd name="connsiteY2" fmla="*/ 3409 h 9424"/>
                <a:gd name="connsiteX3" fmla="*/ 1285 w 10000"/>
                <a:gd name="connsiteY3" fmla="*/ 3978 h 9424"/>
                <a:gd name="connsiteX4" fmla="*/ 1285 w 10000"/>
                <a:gd name="connsiteY4" fmla="*/ 4506 h 9424"/>
                <a:gd name="connsiteX5" fmla="*/ 643 w 10000"/>
                <a:gd name="connsiteY5" fmla="*/ 4621 h 9424"/>
                <a:gd name="connsiteX6" fmla="*/ 522 w 10000"/>
                <a:gd name="connsiteY6" fmla="*/ 4923 h 9424"/>
                <a:gd name="connsiteX7" fmla="*/ 241 w 10000"/>
                <a:gd name="connsiteY7" fmla="*/ 5302 h 9424"/>
                <a:gd name="connsiteX8" fmla="*/ 241 w 10000"/>
                <a:gd name="connsiteY8" fmla="*/ 5606 h 9424"/>
                <a:gd name="connsiteX9" fmla="*/ 120 w 10000"/>
                <a:gd name="connsiteY9" fmla="*/ 5681 h 9424"/>
                <a:gd name="connsiteX10" fmla="*/ 120 w 10000"/>
                <a:gd name="connsiteY10" fmla="*/ 5946 h 9424"/>
                <a:gd name="connsiteX11" fmla="*/ 0 w 10000"/>
                <a:gd name="connsiteY11" fmla="*/ 6175 h 9424"/>
                <a:gd name="connsiteX12" fmla="*/ 0 w 10000"/>
                <a:gd name="connsiteY12" fmla="*/ 6362 h 9424"/>
                <a:gd name="connsiteX13" fmla="*/ 241 w 10000"/>
                <a:gd name="connsiteY13" fmla="*/ 6324 h 9424"/>
                <a:gd name="connsiteX14" fmla="*/ 281 w 10000"/>
                <a:gd name="connsiteY14" fmla="*/ 6665 h 9424"/>
                <a:gd name="connsiteX15" fmla="*/ 602 w 10000"/>
                <a:gd name="connsiteY15" fmla="*/ 7273 h 9424"/>
                <a:gd name="connsiteX16" fmla="*/ 602 w 10000"/>
                <a:gd name="connsiteY16" fmla="*/ 7310 h 9424"/>
                <a:gd name="connsiteX17" fmla="*/ 482 w 10000"/>
                <a:gd name="connsiteY17" fmla="*/ 7348 h 9424"/>
                <a:gd name="connsiteX18" fmla="*/ 964 w 10000"/>
                <a:gd name="connsiteY18" fmla="*/ 7953 h 9424"/>
                <a:gd name="connsiteX19" fmla="*/ 1004 w 10000"/>
                <a:gd name="connsiteY19" fmla="*/ 8143 h 9424"/>
                <a:gd name="connsiteX20" fmla="*/ 964 w 10000"/>
                <a:gd name="connsiteY20" fmla="*/ 8674 h 9424"/>
                <a:gd name="connsiteX21" fmla="*/ 1044 w 10000"/>
                <a:gd name="connsiteY21" fmla="*/ 8749 h 9424"/>
                <a:gd name="connsiteX22" fmla="*/ 1365 w 10000"/>
                <a:gd name="connsiteY22" fmla="*/ 8786 h 9424"/>
                <a:gd name="connsiteX23" fmla="*/ 1406 w 10000"/>
                <a:gd name="connsiteY23" fmla="*/ 8938 h 9424"/>
                <a:gd name="connsiteX24" fmla="*/ 1767 w 10000"/>
                <a:gd name="connsiteY24" fmla="*/ 8976 h 9424"/>
                <a:gd name="connsiteX25" fmla="*/ 1968 w 10000"/>
                <a:gd name="connsiteY25" fmla="*/ 9128 h 9424"/>
                <a:gd name="connsiteX26" fmla="*/ 2008 w 10000"/>
                <a:gd name="connsiteY26" fmla="*/ 9393 h 9424"/>
                <a:gd name="connsiteX27" fmla="*/ 2519 w 10000"/>
                <a:gd name="connsiteY27" fmla="*/ 7935 h 9424"/>
                <a:gd name="connsiteX28" fmla="*/ 2679 w 10000"/>
                <a:gd name="connsiteY28" fmla="*/ 8389 h 9424"/>
                <a:gd name="connsiteX29" fmla="*/ 2890 w 10000"/>
                <a:gd name="connsiteY29" fmla="*/ 8368 h 9424"/>
                <a:gd name="connsiteX30" fmla="*/ 3167 w 10000"/>
                <a:gd name="connsiteY30" fmla="*/ 8376 h 9424"/>
                <a:gd name="connsiteX31" fmla="*/ 3537 w 10000"/>
                <a:gd name="connsiteY31" fmla="*/ 8319 h 9424"/>
                <a:gd name="connsiteX32" fmla="*/ 3795 w 10000"/>
                <a:gd name="connsiteY32" fmla="*/ 8510 h 9424"/>
                <a:gd name="connsiteX33" fmla="*/ 4153 w 10000"/>
                <a:gd name="connsiteY33" fmla="*/ 8583 h 9424"/>
                <a:gd name="connsiteX34" fmla="*/ 4406 w 10000"/>
                <a:gd name="connsiteY34" fmla="*/ 8529 h 9424"/>
                <a:gd name="connsiteX35" fmla="*/ 4600 w 10000"/>
                <a:gd name="connsiteY35" fmla="*/ 8390 h 9424"/>
                <a:gd name="connsiteX36" fmla="*/ 4762 w 10000"/>
                <a:gd name="connsiteY36" fmla="*/ 8134 h 9424"/>
                <a:gd name="connsiteX37" fmla="*/ 4901 w 10000"/>
                <a:gd name="connsiteY37" fmla="*/ 7977 h 9424"/>
                <a:gd name="connsiteX38" fmla="*/ 5080 w 10000"/>
                <a:gd name="connsiteY38" fmla="*/ 8089 h 9424"/>
                <a:gd name="connsiteX39" fmla="*/ 5337 w 10000"/>
                <a:gd name="connsiteY39" fmla="*/ 8201 h 9424"/>
                <a:gd name="connsiteX40" fmla="*/ 5564 w 10000"/>
                <a:gd name="connsiteY40" fmla="*/ 8347 h 9424"/>
                <a:gd name="connsiteX41" fmla="*/ 5768 w 10000"/>
                <a:gd name="connsiteY41" fmla="*/ 8253 h 9424"/>
                <a:gd name="connsiteX42" fmla="*/ 5933 w 10000"/>
                <a:gd name="connsiteY42" fmla="*/ 8165 h 9424"/>
                <a:gd name="connsiteX43" fmla="*/ 6089 w 10000"/>
                <a:gd name="connsiteY43" fmla="*/ 7971 h 9424"/>
                <a:gd name="connsiteX44" fmla="*/ 6274 w 10000"/>
                <a:gd name="connsiteY44" fmla="*/ 7707 h 9424"/>
                <a:gd name="connsiteX45" fmla="*/ 6389 w 10000"/>
                <a:gd name="connsiteY45" fmla="*/ 7584 h 9424"/>
                <a:gd name="connsiteX46" fmla="*/ 6524 w 10000"/>
                <a:gd name="connsiteY46" fmla="*/ 7535 h 9424"/>
                <a:gd name="connsiteX47" fmla="*/ 6531 w 10000"/>
                <a:gd name="connsiteY47" fmla="*/ 7380 h 9424"/>
                <a:gd name="connsiteX48" fmla="*/ 6424 w 10000"/>
                <a:gd name="connsiteY48" fmla="*/ 7028 h 9424"/>
                <a:gd name="connsiteX49" fmla="*/ 6602 w 10000"/>
                <a:gd name="connsiteY49" fmla="*/ 7037 h 9424"/>
                <a:gd name="connsiteX50" fmla="*/ 6707 w 10000"/>
                <a:gd name="connsiteY50" fmla="*/ 6903 h 9424"/>
                <a:gd name="connsiteX51" fmla="*/ 6876 w 10000"/>
                <a:gd name="connsiteY51" fmla="*/ 6904 h 9424"/>
                <a:gd name="connsiteX52" fmla="*/ 6827 w 10000"/>
                <a:gd name="connsiteY52" fmla="*/ 7724 h 9424"/>
                <a:gd name="connsiteX53" fmla="*/ 6991 w 10000"/>
                <a:gd name="connsiteY53" fmla="*/ 7818 h 9424"/>
                <a:gd name="connsiteX54" fmla="*/ 7275 w 10000"/>
                <a:gd name="connsiteY54" fmla="*/ 8057 h 9424"/>
                <a:gd name="connsiteX55" fmla="*/ 7430 w 10000"/>
                <a:gd name="connsiteY55" fmla="*/ 7688 h 9424"/>
                <a:gd name="connsiteX56" fmla="*/ 7470 w 10000"/>
                <a:gd name="connsiteY56" fmla="*/ 7725 h 9424"/>
                <a:gd name="connsiteX57" fmla="*/ 7590 w 10000"/>
                <a:gd name="connsiteY57" fmla="*/ 7500 h 9424"/>
                <a:gd name="connsiteX58" fmla="*/ 7831 w 10000"/>
                <a:gd name="connsiteY58" fmla="*/ 7386 h 9424"/>
                <a:gd name="connsiteX59" fmla="*/ 7952 w 10000"/>
                <a:gd name="connsiteY59" fmla="*/ 6969 h 9424"/>
                <a:gd name="connsiteX60" fmla="*/ 8313 w 10000"/>
                <a:gd name="connsiteY60" fmla="*/ 6477 h 9424"/>
                <a:gd name="connsiteX61" fmla="*/ 8594 w 10000"/>
                <a:gd name="connsiteY61" fmla="*/ 6249 h 9424"/>
                <a:gd name="connsiteX62" fmla="*/ 8795 w 10000"/>
                <a:gd name="connsiteY62" fmla="*/ 5606 h 9424"/>
                <a:gd name="connsiteX63" fmla="*/ 8795 w 10000"/>
                <a:gd name="connsiteY63" fmla="*/ 5455 h 9424"/>
                <a:gd name="connsiteX64" fmla="*/ 8755 w 10000"/>
                <a:gd name="connsiteY64" fmla="*/ 5076 h 9424"/>
                <a:gd name="connsiteX65" fmla="*/ 9157 w 10000"/>
                <a:gd name="connsiteY65" fmla="*/ 3711 h 9424"/>
                <a:gd name="connsiteX66" fmla="*/ 9277 w 10000"/>
                <a:gd name="connsiteY66" fmla="*/ 3711 h 9424"/>
                <a:gd name="connsiteX67" fmla="*/ 9438 w 10000"/>
                <a:gd name="connsiteY67" fmla="*/ 3598 h 9424"/>
                <a:gd name="connsiteX68" fmla="*/ 9920 w 10000"/>
                <a:gd name="connsiteY68" fmla="*/ 3409 h 9424"/>
                <a:gd name="connsiteX69" fmla="*/ 10000 w 10000"/>
                <a:gd name="connsiteY69" fmla="*/ 3106 h 9424"/>
                <a:gd name="connsiteX70" fmla="*/ 9960 w 10000"/>
                <a:gd name="connsiteY70" fmla="*/ 3029 h 9424"/>
                <a:gd name="connsiteX71" fmla="*/ 9799 w 10000"/>
                <a:gd name="connsiteY71" fmla="*/ 3029 h 9424"/>
                <a:gd name="connsiteX72" fmla="*/ 9679 w 10000"/>
                <a:gd name="connsiteY72" fmla="*/ 2840 h 9424"/>
                <a:gd name="connsiteX73" fmla="*/ 9438 w 10000"/>
                <a:gd name="connsiteY73" fmla="*/ 2766 h 9424"/>
                <a:gd name="connsiteX74" fmla="*/ 9317 w 10000"/>
                <a:gd name="connsiteY74" fmla="*/ 2614 h 9424"/>
                <a:gd name="connsiteX75" fmla="*/ 9237 w 10000"/>
                <a:gd name="connsiteY75" fmla="*/ 2046 h 9424"/>
                <a:gd name="connsiteX76" fmla="*/ 9237 w 10000"/>
                <a:gd name="connsiteY76" fmla="*/ 1250 h 9424"/>
                <a:gd name="connsiteX77" fmla="*/ 9036 w 10000"/>
                <a:gd name="connsiteY77" fmla="*/ 986 h 9424"/>
                <a:gd name="connsiteX78" fmla="*/ 8996 w 10000"/>
                <a:gd name="connsiteY78" fmla="*/ 720 h 9424"/>
                <a:gd name="connsiteX79" fmla="*/ 8675 w 10000"/>
                <a:gd name="connsiteY79" fmla="*/ 341 h 9424"/>
                <a:gd name="connsiteX80" fmla="*/ 8394 w 10000"/>
                <a:gd name="connsiteY80" fmla="*/ 191 h 9424"/>
                <a:gd name="connsiteX81" fmla="*/ 8233 w 10000"/>
                <a:gd name="connsiteY81" fmla="*/ 0 h 9424"/>
                <a:gd name="connsiteX82" fmla="*/ 7992 w 10000"/>
                <a:gd name="connsiteY82" fmla="*/ 191 h 9424"/>
                <a:gd name="connsiteX83" fmla="*/ 7831 w 10000"/>
                <a:gd name="connsiteY83" fmla="*/ 152 h 9424"/>
                <a:gd name="connsiteX84" fmla="*/ 7711 w 10000"/>
                <a:gd name="connsiteY84" fmla="*/ 491 h 9424"/>
                <a:gd name="connsiteX85" fmla="*/ 7390 w 10000"/>
                <a:gd name="connsiteY85" fmla="*/ 569 h 9424"/>
                <a:gd name="connsiteX86" fmla="*/ 7309 w 10000"/>
                <a:gd name="connsiteY86" fmla="*/ 832 h 9424"/>
                <a:gd name="connsiteX87" fmla="*/ 7028 w 10000"/>
                <a:gd name="connsiteY87" fmla="*/ 832 h 9424"/>
                <a:gd name="connsiteX88" fmla="*/ 6787 w 10000"/>
                <a:gd name="connsiteY88" fmla="*/ 720 h 9424"/>
                <a:gd name="connsiteX89" fmla="*/ 6265 w 10000"/>
                <a:gd name="connsiteY89" fmla="*/ 720 h 9424"/>
                <a:gd name="connsiteX90" fmla="*/ 5743 w 10000"/>
                <a:gd name="connsiteY90" fmla="*/ 720 h 9424"/>
                <a:gd name="connsiteX91" fmla="*/ 5783 w 10000"/>
                <a:gd name="connsiteY91" fmla="*/ 569 h 9424"/>
                <a:gd name="connsiteX92" fmla="*/ 5703 w 10000"/>
                <a:gd name="connsiteY92" fmla="*/ 569 h 9424"/>
                <a:gd name="connsiteX93" fmla="*/ 5663 w 10000"/>
                <a:gd name="connsiteY93" fmla="*/ 720 h 9424"/>
                <a:gd name="connsiteX94" fmla="*/ 5181 w 10000"/>
                <a:gd name="connsiteY94" fmla="*/ 720 h 9424"/>
                <a:gd name="connsiteX95" fmla="*/ 4699 w 10000"/>
                <a:gd name="connsiteY95" fmla="*/ 720 h 9424"/>
                <a:gd name="connsiteX96" fmla="*/ 4217 w 10000"/>
                <a:gd name="connsiteY96" fmla="*/ 720 h 9424"/>
                <a:gd name="connsiteX97" fmla="*/ 3735 w 10000"/>
                <a:gd name="connsiteY97" fmla="*/ 720 h 9424"/>
                <a:gd name="connsiteX98" fmla="*/ 3293 w 10000"/>
                <a:gd name="connsiteY98" fmla="*/ 720 h 9424"/>
                <a:gd name="connsiteX99" fmla="*/ 2811 w 10000"/>
                <a:gd name="connsiteY99" fmla="*/ 720 h 9424"/>
                <a:gd name="connsiteX100" fmla="*/ 2369 w 10000"/>
                <a:gd name="connsiteY100" fmla="*/ 720 h 9424"/>
                <a:gd name="connsiteX101" fmla="*/ 1888 w 10000"/>
                <a:gd name="connsiteY101" fmla="*/ 720 h 9424"/>
                <a:gd name="connsiteX102" fmla="*/ 1888 w 10000"/>
                <a:gd name="connsiteY102" fmla="*/ 1250 h 9424"/>
                <a:gd name="connsiteX103" fmla="*/ 1888 w 10000"/>
                <a:gd name="connsiteY103" fmla="*/ 1932 h 9424"/>
                <a:gd name="connsiteX104" fmla="*/ 1285 w 10000"/>
                <a:gd name="connsiteY104" fmla="*/ 1932 h 9424"/>
                <a:gd name="connsiteX105" fmla="*/ 1285 w 10000"/>
                <a:gd name="connsiteY105" fmla="*/ 2234 h 9424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9525 h 10000"/>
                <a:gd name="connsiteX25" fmla="*/ 1968 w 10000"/>
                <a:gd name="connsiteY25" fmla="*/ 9686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9525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13 w 10000"/>
                <a:gd name="connsiteY28" fmla="*/ 8588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13 w 10000"/>
                <a:gd name="connsiteY28" fmla="*/ 8588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890 w 10000"/>
                <a:gd name="connsiteY28" fmla="*/ 8879 h 10000"/>
                <a:gd name="connsiteX29" fmla="*/ 3167 w 10000"/>
                <a:gd name="connsiteY29" fmla="*/ 8888 h 10000"/>
                <a:gd name="connsiteX30" fmla="*/ 3537 w 10000"/>
                <a:gd name="connsiteY30" fmla="*/ 8827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424 w 10000"/>
                <a:gd name="connsiteY47" fmla="*/ 7458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3167 w 10000"/>
                <a:gd name="connsiteY29" fmla="*/ 8888 h 10000"/>
                <a:gd name="connsiteX30" fmla="*/ 3537 w 10000"/>
                <a:gd name="connsiteY30" fmla="*/ 8827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424 w 10000"/>
                <a:gd name="connsiteY47" fmla="*/ 7458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60 w 10000"/>
                <a:gd name="connsiteY29" fmla="*/ 8802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572 w 10000"/>
                <a:gd name="connsiteY48" fmla="*/ 7640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572 w 10000"/>
                <a:gd name="connsiteY47" fmla="*/ 7640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9707"/>
                <a:gd name="connsiteX1" fmla="*/ 1285 w 10000"/>
                <a:gd name="connsiteY1" fmla="*/ 3014 h 9707"/>
                <a:gd name="connsiteX2" fmla="*/ 1285 w 10000"/>
                <a:gd name="connsiteY2" fmla="*/ 3617 h 9707"/>
                <a:gd name="connsiteX3" fmla="*/ 1285 w 10000"/>
                <a:gd name="connsiteY3" fmla="*/ 4221 h 9707"/>
                <a:gd name="connsiteX4" fmla="*/ 1285 w 10000"/>
                <a:gd name="connsiteY4" fmla="*/ 4781 h 9707"/>
                <a:gd name="connsiteX5" fmla="*/ 643 w 10000"/>
                <a:gd name="connsiteY5" fmla="*/ 4903 h 9707"/>
                <a:gd name="connsiteX6" fmla="*/ 522 w 10000"/>
                <a:gd name="connsiteY6" fmla="*/ 5224 h 9707"/>
                <a:gd name="connsiteX7" fmla="*/ 241 w 10000"/>
                <a:gd name="connsiteY7" fmla="*/ 5626 h 9707"/>
                <a:gd name="connsiteX8" fmla="*/ 241 w 10000"/>
                <a:gd name="connsiteY8" fmla="*/ 5949 h 9707"/>
                <a:gd name="connsiteX9" fmla="*/ 120 w 10000"/>
                <a:gd name="connsiteY9" fmla="*/ 6028 h 9707"/>
                <a:gd name="connsiteX10" fmla="*/ 120 w 10000"/>
                <a:gd name="connsiteY10" fmla="*/ 6309 h 9707"/>
                <a:gd name="connsiteX11" fmla="*/ 0 w 10000"/>
                <a:gd name="connsiteY11" fmla="*/ 6552 h 9707"/>
                <a:gd name="connsiteX12" fmla="*/ 0 w 10000"/>
                <a:gd name="connsiteY12" fmla="*/ 6751 h 9707"/>
                <a:gd name="connsiteX13" fmla="*/ 241 w 10000"/>
                <a:gd name="connsiteY13" fmla="*/ 6711 h 9707"/>
                <a:gd name="connsiteX14" fmla="*/ 281 w 10000"/>
                <a:gd name="connsiteY14" fmla="*/ 7072 h 9707"/>
                <a:gd name="connsiteX15" fmla="*/ 602 w 10000"/>
                <a:gd name="connsiteY15" fmla="*/ 7718 h 9707"/>
                <a:gd name="connsiteX16" fmla="*/ 602 w 10000"/>
                <a:gd name="connsiteY16" fmla="*/ 7757 h 9707"/>
                <a:gd name="connsiteX17" fmla="*/ 482 w 10000"/>
                <a:gd name="connsiteY17" fmla="*/ 7797 h 9707"/>
                <a:gd name="connsiteX18" fmla="*/ 964 w 10000"/>
                <a:gd name="connsiteY18" fmla="*/ 8439 h 9707"/>
                <a:gd name="connsiteX19" fmla="*/ 1004 w 10000"/>
                <a:gd name="connsiteY19" fmla="*/ 8641 h 9707"/>
                <a:gd name="connsiteX20" fmla="*/ 964 w 10000"/>
                <a:gd name="connsiteY20" fmla="*/ 9204 h 9707"/>
                <a:gd name="connsiteX21" fmla="*/ 1192 w 10000"/>
                <a:gd name="connsiteY21" fmla="*/ 9317 h 9707"/>
                <a:gd name="connsiteX22" fmla="*/ 1332 w 10000"/>
                <a:gd name="connsiteY22" fmla="*/ 8762 h 9707"/>
                <a:gd name="connsiteX23" fmla="*/ 1439 w 10000"/>
                <a:gd name="connsiteY23" fmla="*/ 8857 h 9707"/>
                <a:gd name="connsiteX24" fmla="*/ 1767 w 10000"/>
                <a:gd name="connsiteY24" fmla="*/ 8782 h 9707"/>
                <a:gd name="connsiteX25" fmla="*/ 1951 w 10000"/>
                <a:gd name="connsiteY25" fmla="*/ 8680 h 9707"/>
                <a:gd name="connsiteX26" fmla="*/ 2025 w 10000"/>
                <a:gd name="connsiteY26" fmla="*/ 8433 h 9707"/>
                <a:gd name="connsiteX27" fmla="*/ 2338 w 10000"/>
                <a:gd name="connsiteY27" fmla="*/ 8354 h 9707"/>
                <a:gd name="connsiteX28" fmla="*/ 2643 w 10000"/>
                <a:gd name="connsiteY28" fmla="*/ 8747 h 9707"/>
                <a:gd name="connsiteX29" fmla="*/ 2911 w 10000"/>
                <a:gd name="connsiteY29" fmla="*/ 8918 h 9707"/>
                <a:gd name="connsiteX30" fmla="*/ 3167 w 10000"/>
                <a:gd name="connsiteY30" fmla="*/ 8888 h 9707"/>
                <a:gd name="connsiteX31" fmla="*/ 3795 w 10000"/>
                <a:gd name="connsiteY31" fmla="*/ 9030 h 9707"/>
                <a:gd name="connsiteX32" fmla="*/ 4153 w 10000"/>
                <a:gd name="connsiteY32" fmla="*/ 9108 h 9707"/>
                <a:gd name="connsiteX33" fmla="*/ 4600 w 10000"/>
                <a:gd name="connsiteY33" fmla="*/ 8903 h 9707"/>
                <a:gd name="connsiteX34" fmla="*/ 4762 w 10000"/>
                <a:gd name="connsiteY34" fmla="*/ 8631 h 9707"/>
                <a:gd name="connsiteX35" fmla="*/ 4901 w 10000"/>
                <a:gd name="connsiteY35" fmla="*/ 8465 h 9707"/>
                <a:gd name="connsiteX36" fmla="*/ 5080 w 10000"/>
                <a:gd name="connsiteY36" fmla="*/ 8583 h 9707"/>
                <a:gd name="connsiteX37" fmla="*/ 5337 w 10000"/>
                <a:gd name="connsiteY37" fmla="*/ 8702 h 9707"/>
                <a:gd name="connsiteX38" fmla="*/ 5564 w 10000"/>
                <a:gd name="connsiteY38" fmla="*/ 8857 h 9707"/>
                <a:gd name="connsiteX39" fmla="*/ 5768 w 10000"/>
                <a:gd name="connsiteY39" fmla="*/ 8757 h 9707"/>
                <a:gd name="connsiteX40" fmla="*/ 5933 w 10000"/>
                <a:gd name="connsiteY40" fmla="*/ 8664 h 9707"/>
                <a:gd name="connsiteX41" fmla="*/ 6089 w 10000"/>
                <a:gd name="connsiteY41" fmla="*/ 8458 h 9707"/>
                <a:gd name="connsiteX42" fmla="*/ 6274 w 10000"/>
                <a:gd name="connsiteY42" fmla="*/ 8178 h 9707"/>
                <a:gd name="connsiteX43" fmla="*/ 6389 w 10000"/>
                <a:gd name="connsiteY43" fmla="*/ 8048 h 9707"/>
                <a:gd name="connsiteX44" fmla="*/ 6524 w 10000"/>
                <a:gd name="connsiteY44" fmla="*/ 7996 h 9707"/>
                <a:gd name="connsiteX45" fmla="*/ 6531 w 10000"/>
                <a:gd name="connsiteY45" fmla="*/ 7831 h 9707"/>
                <a:gd name="connsiteX46" fmla="*/ 6572 w 10000"/>
                <a:gd name="connsiteY46" fmla="*/ 7640 h 9707"/>
                <a:gd name="connsiteX47" fmla="*/ 6602 w 10000"/>
                <a:gd name="connsiteY47" fmla="*/ 7467 h 9707"/>
                <a:gd name="connsiteX48" fmla="*/ 6707 w 10000"/>
                <a:gd name="connsiteY48" fmla="*/ 7325 h 9707"/>
                <a:gd name="connsiteX49" fmla="*/ 6876 w 10000"/>
                <a:gd name="connsiteY49" fmla="*/ 7326 h 9707"/>
                <a:gd name="connsiteX50" fmla="*/ 6827 w 10000"/>
                <a:gd name="connsiteY50" fmla="*/ 8196 h 9707"/>
                <a:gd name="connsiteX51" fmla="*/ 6991 w 10000"/>
                <a:gd name="connsiteY51" fmla="*/ 8296 h 9707"/>
                <a:gd name="connsiteX52" fmla="*/ 7275 w 10000"/>
                <a:gd name="connsiteY52" fmla="*/ 8549 h 9707"/>
                <a:gd name="connsiteX53" fmla="*/ 7430 w 10000"/>
                <a:gd name="connsiteY53" fmla="*/ 8158 h 9707"/>
                <a:gd name="connsiteX54" fmla="*/ 7470 w 10000"/>
                <a:gd name="connsiteY54" fmla="*/ 8197 h 9707"/>
                <a:gd name="connsiteX55" fmla="*/ 7590 w 10000"/>
                <a:gd name="connsiteY55" fmla="*/ 7958 h 9707"/>
                <a:gd name="connsiteX56" fmla="*/ 7831 w 10000"/>
                <a:gd name="connsiteY56" fmla="*/ 7837 h 9707"/>
                <a:gd name="connsiteX57" fmla="*/ 7952 w 10000"/>
                <a:gd name="connsiteY57" fmla="*/ 7395 h 9707"/>
                <a:gd name="connsiteX58" fmla="*/ 8313 w 10000"/>
                <a:gd name="connsiteY58" fmla="*/ 6873 h 9707"/>
                <a:gd name="connsiteX59" fmla="*/ 8594 w 10000"/>
                <a:gd name="connsiteY59" fmla="*/ 6631 h 9707"/>
                <a:gd name="connsiteX60" fmla="*/ 8795 w 10000"/>
                <a:gd name="connsiteY60" fmla="*/ 5949 h 9707"/>
                <a:gd name="connsiteX61" fmla="*/ 8795 w 10000"/>
                <a:gd name="connsiteY61" fmla="*/ 5788 h 9707"/>
                <a:gd name="connsiteX62" fmla="*/ 8755 w 10000"/>
                <a:gd name="connsiteY62" fmla="*/ 5386 h 9707"/>
                <a:gd name="connsiteX63" fmla="*/ 9157 w 10000"/>
                <a:gd name="connsiteY63" fmla="*/ 3938 h 9707"/>
                <a:gd name="connsiteX64" fmla="*/ 9277 w 10000"/>
                <a:gd name="connsiteY64" fmla="*/ 3938 h 9707"/>
                <a:gd name="connsiteX65" fmla="*/ 9438 w 10000"/>
                <a:gd name="connsiteY65" fmla="*/ 3818 h 9707"/>
                <a:gd name="connsiteX66" fmla="*/ 9920 w 10000"/>
                <a:gd name="connsiteY66" fmla="*/ 3617 h 9707"/>
                <a:gd name="connsiteX67" fmla="*/ 10000 w 10000"/>
                <a:gd name="connsiteY67" fmla="*/ 3296 h 9707"/>
                <a:gd name="connsiteX68" fmla="*/ 9960 w 10000"/>
                <a:gd name="connsiteY68" fmla="*/ 3214 h 9707"/>
                <a:gd name="connsiteX69" fmla="*/ 9799 w 10000"/>
                <a:gd name="connsiteY69" fmla="*/ 3214 h 9707"/>
                <a:gd name="connsiteX70" fmla="*/ 9679 w 10000"/>
                <a:gd name="connsiteY70" fmla="*/ 3014 h 9707"/>
                <a:gd name="connsiteX71" fmla="*/ 9438 w 10000"/>
                <a:gd name="connsiteY71" fmla="*/ 2935 h 9707"/>
                <a:gd name="connsiteX72" fmla="*/ 9317 w 10000"/>
                <a:gd name="connsiteY72" fmla="*/ 2774 h 9707"/>
                <a:gd name="connsiteX73" fmla="*/ 9237 w 10000"/>
                <a:gd name="connsiteY73" fmla="*/ 2171 h 9707"/>
                <a:gd name="connsiteX74" fmla="*/ 9237 w 10000"/>
                <a:gd name="connsiteY74" fmla="*/ 1326 h 9707"/>
                <a:gd name="connsiteX75" fmla="*/ 9036 w 10000"/>
                <a:gd name="connsiteY75" fmla="*/ 1046 h 9707"/>
                <a:gd name="connsiteX76" fmla="*/ 8996 w 10000"/>
                <a:gd name="connsiteY76" fmla="*/ 764 h 9707"/>
                <a:gd name="connsiteX77" fmla="*/ 8675 w 10000"/>
                <a:gd name="connsiteY77" fmla="*/ 362 h 9707"/>
                <a:gd name="connsiteX78" fmla="*/ 8394 w 10000"/>
                <a:gd name="connsiteY78" fmla="*/ 203 h 9707"/>
                <a:gd name="connsiteX79" fmla="*/ 8233 w 10000"/>
                <a:gd name="connsiteY79" fmla="*/ 0 h 9707"/>
                <a:gd name="connsiteX80" fmla="*/ 7992 w 10000"/>
                <a:gd name="connsiteY80" fmla="*/ 203 h 9707"/>
                <a:gd name="connsiteX81" fmla="*/ 7831 w 10000"/>
                <a:gd name="connsiteY81" fmla="*/ 161 h 9707"/>
                <a:gd name="connsiteX82" fmla="*/ 7711 w 10000"/>
                <a:gd name="connsiteY82" fmla="*/ 521 h 9707"/>
                <a:gd name="connsiteX83" fmla="*/ 7390 w 10000"/>
                <a:gd name="connsiteY83" fmla="*/ 604 h 9707"/>
                <a:gd name="connsiteX84" fmla="*/ 7309 w 10000"/>
                <a:gd name="connsiteY84" fmla="*/ 883 h 9707"/>
                <a:gd name="connsiteX85" fmla="*/ 7028 w 10000"/>
                <a:gd name="connsiteY85" fmla="*/ 883 h 9707"/>
                <a:gd name="connsiteX86" fmla="*/ 6787 w 10000"/>
                <a:gd name="connsiteY86" fmla="*/ 764 h 9707"/>
                <a:gd name="connsiteX87" fmla="*/ 6265 w 10000"/>
                <a:gd name="connsiteY87" fmla="*/ 764 h 9707"/>
                <a:gd name="connsiteX88" fmla="*/ 5743 w 10000"/>
                <a:gd name="connsiteY88" fmla="*/ 764 h 9707"/>
                <a:gd name="connsiteX89" fmla="*/ 5783 w 10000"/>
                <a:gd name="connsiteY89" fmla="*/ 604 h 9707"/>
                <a:gd name="connsiteX90" fmla="*/ 5703 w 10000"/>
                <a:gd name="connsiteY90" fmla="*/ 604 h 9707"/>
                <a:gd name="connsiteX91" fmla="*/ 5663 w 10000"/>
                <a:gd name="connsiteY91" fmla="*/ 764 h 9707"/>
                <a:gd name="connsiteX92" fmla="*/ 5181 w 10000"/>
                <a:gd name="connsiteY92" fmla="*/ 764 h 9707"/>
                <a:gd name="connsiteX93" fmla="*/ 4699 w 10000"/>
                <a:gd name="connsiteY93" fmla="*/ 764 h 9707"/>
                <a:gd name="connsiteX94" fmla="*/ 4217 w 10000"/>
                <a:gd name="connsiteY94" fmla="*/ 764 h 9707"/>
                <a:gd name="connsiteX95" fmla="*/ 3735 w 10000"/>
                <a:gd name="connsiteY95" fmla="*/ 764 h 9707"/>
                <a:gd name="connsiteX96" fmla="*/ 3293 w 10000"/>
                <a:gd name="connsiteY96" fmla="*/ 764 h 9707"/>
                <a:gd name="connsiteX97" fmla="*/ 2811 w 10000"/>
                <a:gd name="connsiteY97" fmla="*/ 764 h 9707"/>
                <a:gd name="connsiteX98" fmla="*/ 2369 w 10000"/>
                <a:gd name="connsiteY98" fmla="*/ 764 h 9707"/>
                <a:gd name="connsiteX99" fmla="*/ 1888 w 10000"/>
                <a:gd name="connsiteY99" fmla="*/ 764 h 9707"/>
                <a:gd name="connsiteX100" fmla="*/ 1888 w 10000"/>
                <a:gd name="connsiteY100" fmla="*/ 1326 h 9707"/>
                <a:gd name="connsiteX101" fmla="*/ 1888 w 10000"/>
                <a:gd name="connsiteY101" fmla="*/ 2050 h 9707"/>
                <a:gd name="connsiteX102" fmla="*/ 1285 w 10000"/>
                <a:gd name="connsiteY102" fmla="*/ 2050 h 9707"/>
                <a:gd name="connsiteX103" fmla="*/ 1285 w 10000"/>
                <a:gd name="connsiteY103" fmla="*/ 2371 h 9707"/>
                <a:gd name="connsiteX0" fmla="*/ 1285 w 10000"/>
                <a:gd name="connsiteY0" fmla="*/ 2443 h 9598"/>
                <a:gd name="connsiteX1" fmla="*/ 1285 w 10000"/>
                <a:gd name="connsiteY1" fmla="*/ 3105 h 9598"/>
                <a:gd name="connsiteX2" fmla="*/ 1285 w 10000"/>
                <a:gd name="connsiteY2" fmla="*/ 3726 h 9598"/>
                <a:gd name="connsiteX3" fmla="*/ 1285 w 10000"/>
                <a:gd name="connsiteY3" fmla="*/ 4348 h 9598"/>
                <a:gd name="connsiteX4" fmla="*/ 1285 w 10000"/>
                <a:gd name="connsiteY4" fmla="*/ 4925 h 9598"/>
                <a:gd name="connsiteX5" fmla="*/ 643 w 10000"/>
                <a:gd name="connsiteY5" fmla="*/ 5051 h 9598"/>
                <a:gd name="connsiteX6" fmla="*/ 522 w 10000"/>
                <a:gd name="connsiteY6" fmla="*/ 5382 h 9598"/>
                <a:gd name="connsiteX7" fmla="*/ 241 w 10000"/>
                <a:gd name="connsiteY7" fmla="*/ 5796 h 9598"/>
                <a:gd name="connsiteX8" fmla="*/ 241 w 10000"/>
                <a:gd name="connsiteY8" fmla="*/ 6129 h 9598"/>
                <a:gd name="connsiteX9" fmla="*/ 120 w 10000"/>
                <a:gd name="connsiteY9" fmla="*/ 6210 h 9598"/>
                <a:gd name="connsiteX10" fmla="*/ 120 w 10000"/>
                <a:gd name="connsiteY10" fmla="*/ 6499 h 9598"/>
                <a:gd name="connsiteX11" fmla="*/ 0 w 10000"/>
                <a:gd name="connsiteY11" fmla="*/ 6750 h 9598"/>
                <a:gd name="connsiteX12" fmla="*/ 0 w 10000"/>
                <a:gd name="connsiteY12" fmla="*/ 6955 h 9598"/>
                <a:gd name="connsiteX13" fmla="*/ 241 w 10000"/>
                <a:gd name="connsiteY13" fmla="*/ 6914 h 9598"/>
                <a:gd name="connsiteX14" fmla="*/ 281 w 10000"/>
                <a:gd name="connsiteY14" fmla="*/ 7285 h 9598"/>
                <a:gd name="connsiteX15" fmla="*/ 602 w 10000"/>
                <a:gd name="connsiteY15" fmla="*/ 7951 h 9598"/>
                <a:gd name="connsiteX16" fmla="*/ 602 w 10000"/>
                <a:gd name="connsiteY16" fmla="*/ 7991 h 9598"/>
                <a:gd name="connsiteX17" fmla="*/ 482 w 10000"/>
                <a:gd name="connsiteY17" fmla="*/ 8032 h 9598"/>
                <a:gd name="connsiteX18" fmla="*/ 964 w 10000"/>
                <a:gd name="connsiteY18" fmla="*/ 8694 h 9598"/>
                <a:gd name="connsiteX19" fmla="*/ 1004 w 10000"/>
                <a:gd name="connsiteY19" fmla="*/ 8902 h 9598"/>
                <a:gd name="connsiteX20" fmla="*/ 964 w 10000"/>
                <a:gd name="connsiteY20" fmla="*/ 9482 h 9598"/>
                <a:gd name="connsiteX21" fmla="*/ 1192 w 10000"/>
                <a:gd name="connsiteY21" fmla="*/ 9598 h 9598"/>
                <a:gd name="connsiteX22" fmla="*/ 1332 w 10000"/>
                <a:gd name="connsiteY22" fmla="*/ 9026 h 9598"/>
                <a:gd name="connsiteX23" fmla="*/ 1439 w 10000"/>
                <a:gd name="connsiteY23" fmla="*/ 9124 h 9598"/>
                <a:gd name="connsiteX24" fmla="*/ 1767 w 10000"/>
                <a:gd name="connsiteY24" fmla="*/ 9047 h 9598"/>
                <a:gd name="connsiteX25" fmla="*/ 1951 w 10000"/>
                <a:gd name="connsiteY25" fmla="*/ 8942 h 9598"/>
                <a:gd name="connsiteX26" fmla="*/ 2025 w 10000"/>
                <a:gd name="connsiteY26" fmla="*/ 8688 h 9598"/>
                <a:gd name="connsiteX27" fmla="*/ 2338 w 10000"/>
                <a:gd name="connsiteY27" fmla="*/ 8606 h 9598"/>
                <a:gd name="connsiteX28" fmla="*/ 2643 w 10000"/>
                <a:gd name="connsiteY28" fmla="*/ 9011 h 9598"/>
                <a:gd name="connsiteX29" fmla="*/ 2911 w 10000"/>
                <a:gd name="connsiteY29" fmla="*/ 9187 h 9598"/>
                <a:gd name="connsiteX30" fmla="*/ 3167 w 10000"/>
                <a:gd name="connsiteY30" fmla="*/ 9156 h 9598"/>
                <a:gd name="connsiteX31" fmla="*/ 3795 w 10000"/>
                <a:gd name="connsiteY31" fmla="*/ 9303 h 9598"/>
                <a:gd name="connsiteX32" fmla="*/ 4153 w 10000"/>
                <a:gd name="connsiteY32" fmla="*/ 9383 h 9598"/>
                <a:gd name="connsiteX33" fmla="*/ 4600 w 10000"/>
                <a:gd name="connsiteY33" fmla="*/ 9172 h 9598"/>
                <a:gd name="connsiteX34" fmla="*/ 4901 w 10000"/>
                <a:gd name="connsiteY34" fmla="*/ 8721 h 9598"/>
                <a:gd name="connsiteX35" fmla="*/ 5080 w 10000"/>
                <a:gd name="connsiteY35" fmla="*/ 8842 h 9598"/>
                <a:gd name="connsiteX36" fmla="*/ 5337 w 10000"/>
                <a:gd name="connsiteY36" fmla="*/ 8965 h 9598"/>
                <a:gd name="connsiteX37" fmla="*/ 5564 w 10000"/>
                <a:gd name="connsiteY37" fmla="*/ 9124 h 9598"/>
                <a:gd name="connsiteX38" fmla="*/ 5768 w 10000"/>
                <a:gd name="connsiteY38" fmla="*/ 9021 h 9598"/>
                <a:gd name="connsiteX39" fmla="*/ 5933 w 10000"/>
                <a:gd name="connsiteY39" fmla="*/ 8926 h 9598"/>
                <a:gd name="connsiteX40" fmla="*/ 6089 w 10000"/>
                <a:gd name="connsiteY40" fmla="*/ 8713 h 9598"/>
                <a:gd name="connsiteX41" fmla="*/ 6274 w 10000"/>
                <a:gd name="connsiteY41" fmla="*/ 8425 h 9598"/>
                <a:gd name="connsiteX42" fmla="*/ 6389 w 10000"/>
                <a:gd name="connsiteY42" fmla="*/ 8291 h 9598"/>
                <a:gd name="connsiteX43" fmla="*/ 6524 w 10000"/>
                <a:gd name="connsiteY43" fmla="*/ 8237 h 9598"/>
                <a:gd name="connsiteX44" fmla="*/ 6531 w 10000"/>
                <a:gd name="connsiteY44" fmla="*/ 8067 h 9598"/>
                <a:gd name="connsiteX45" fmla="*/ 6572 w 10000"/>
                <a:gd name="connsiteY45" fmla="*/ 7871 h 9598"/>
                <a:gd name="connsiteX46" fmla="*/ 6602 w 10000"/>
                <a:gd name="connsiteY46" fmla="*/ 7692 h 9598"/>
                <a:gd name="connsiteX47" fmla="*/ 6707 w 10000"/>
                <a:gd name="connsiteY47" fmla="*/ 7546 h 9598"/>
                <a:gd name="connsiteX48" fmla="*/ 6876 w 10000"/>
                <a:gd name="connsiteY48" fmla="*/ 7547 h 9598"/>
                <a:gd name="connsiteX49" fmla="*/ 6827 w 10000"/>
                <a:gd name="connsiteY49" fmla="*/ 8443 h 9598"/>
                <a:gd name="connsiteX50" fmla="*/ 6991 w 10000"/>
                <a:gd name="connsiteY50" fmla="*/ 8546 h 9598"/>
                <a:gd name="connsiteX51" fmla="*/ 7275 w 10000"/>
                <a:gd name="connsiteY51" fmla="*/ 8807 h 9598"/>
                <a:gd name="connsiteX52" fmla="*/ 7430 w 10000"/>
                <a:gd name="connsiteY52" fmla="*/ 8404 h 9598"/>
                <a:gd name="connsiteX53" fmla="*/ 7470 w 10000"/>
                <a:gd name="connsiteY53" fmla="*/ 8444 h 9598"/>
                <a:gd name="connsiteX54" fmla="*/ 7590 w 10000"/>
                <a:gd name="connsiteY54" fmla="*/ 8198 h 9598"/>
                <a:gd name="connsiteX55" fmla="*/ 7831 w 10000"/>
                <a:gd name="connsiteY55" fmla="*/ 8074 h 9598"/>
                <a:gd name="connsiteX56" fmla="*/ 7952 w 10000"/>
                <a:gd name="connsiteY56" fmla="*/ 7618 h 9598"/>
                <a:gd name="connsiteX57" fmla="*/ 8313 w 10000"/>
                <a:gd name="connsiteY57" fmla="*/ 7080 h 9598"/>
                <a:gd name="connsiteX58" fmla="*/ 8594 w 10000"/>
                <a:gd name="connsiteY58" fmla="*/ 6831 h 9598"/>
                <a:gd name="connsiteX59" fmla="*/ 8795 w 10000"/>
                <a:gd name="connsiteY59" fmla="*/ 6129 h 9598"/>
                <a:gd name="connsiteX60" fmla="*/ 8795 w 10000"/>
                <a:gd name="connsiteY60" fmla="*/ 5963 h 9598"/>
                <a:gd name="connsiteX61" fmla="*/ 8755 w 10000"/>
                <a:gd name="connsiteY61" fmla="*/ 5549 h 9598"/>
                <a:gd name="connsiteX62" fmla="*/ 9157 w 10000"/>
                <a:gd name="connsiteY62" fmla="*/ 4057 h 9598"/>
                <a:gd name="connsiteX63" fmla="*/ 9277 w 10000"/>
                <a:gd name="connsiteY63" fmla="*/ 4057 h 9598"/>
                <a:gd name="connsiteX64" fmla="*/ 9438 w 10000"/>
                <a:gd name="connsiteY64" fmla="*/ 3933 h 9598"/>
                <a:gd name="connsiteX65" fmla="*/ 9920 w 10000"/>
                <a:gd name="connsiteY65" fmla="*/ 3726 h 9598"/>
                <a:gd name="connsiteX66" fmla="*/ 10000 w 10000"/>
                <a:gd name="connsiteY66" fmla="*/ 3395 h 9598"/>
                <a:gd name="connsiteX67" fmla="*/ 9960 w 10000"/>
                <a:gd name="connsiteY67" fmla="*/ 3311 h 9598"/>
                <a:gd name="connsiteX68" fmla="*/ 9799 w 10000"/>
                <a:gd name="connsiteY68" fmla="*/ 3311 h 9598"/>
                <a:gd name="connsiteX69" fmla="*/ 9679 w 10000"/>
                <a:gd name="connsiteY69" fmla="*/ 3105 h 9598"/>
                <a:gd name="connsiteX70" fmla="*/ 9438 w 10000"/>
                <a:gd name="connsiteY70" fmla="*/ 3024 h 9598"/>
                <a:gd name="connsiteX71" fmla="*/ 9317 w 10000"/>
                <a:gd name="connsiteY71" fmla="*/ 2858 h 9598"/>
                <a:gd name="connsiteX72" fmla="*/ 9237 w 10000"/>
                <a:gd name="connsiteY72" fmla="*/ 2237 h 9598"/>
                <a:gd name="connsiteX73" fmla="*/ 9237 w 10000"/>
                <a:gd name="connsiteY73" fmla="*/ 1366 h 9598"/>
                <a:gd name="connsiteX74" fmla="*/ 9036 w 10000"/>
                <a:gd name="connsiteY74" fmla="*/ 1078 h 9598"/>
                <a:gd name="connsiteX75" fmla="*/ 8996 w 10000"/>
                <a:gd name="connsiteY75" fmla="*/ 787 h 9598"/>
                <a:gd name="connsiteX76" fmla="*/ 8675 w 10000"/>
                <a:gd name="connsiteY76" fmla="*/ 373 h 9598"/>
                <a:gd name="connsiteX77" fmla="*/ 8394 w 10000"/>
                <a:gd name="connsiteY77" fmla="*/ 209 h 9598"/>
                <a:gd name="connsiteX78" fmla="*/ 8233 w 10000"/>
                <a:gd name="connsiteY78" fmla="*/ 0 h 9598"/>
                <a:gd name="connsiteX79" fmla="*/ 7992 w 10000"/>
                <a:gd name="connsiteY79" fmla="*/ 209 h 9598"/>
                <a:gd name="connsiteX80" fmla="*/ 7831 w 10000"/>
                <a:gd name="connsiteY80" fmla="*/ 166 h 9598"/>
                <a:gd name="connsiteX81" fmla="*/ 7711 w 10000"/>
                <a:gd name="connsiteY81" fmla="*/ 537 h 9598"/>
                <a:gd name="connsiteX82" fmla="*/ 7390 w 10000"/>
                <a:gd name="connsiteY82" fmla="*/ 622 h 9598"/>
                <a:gd name="connsiteX83" fmla="*/ 7309 w 10000"/>
                <a:gd name="connsiteY83" fmla="*/ 910 h 9598"/>
                <a:gd name="connsiteX84" fmla="*/ 7028 w 10000"/>
                <a:gd name="connsiteY84" fmla="*/ 910 h 9598"/>
                <a:gd name="connsiteX85" fmla="*/ 6787 w 10000"/>
                <a:gd name="connsiteY85" fmla="*/ 787 h 9598"/>
                <a:gd name="connsiteX86" fmla="*/ 6265 w 10000"/>
                <a:gd name="connsiteY86" fmla="*/ 787 h 9598"/>
                <a:gd name="connsiteX87" fmla="*/ 5743 w 10000"/>
                <a:gd name="connsiteY87" fmla="*/ 787 h 9598"/>
                <a:gd name="connsiteX88" fmla="*/ 5783 w 10000"/>
                <a:gd name="connsiteY88" fmla="*/ 622 h 9598"/>
                <a:gd name="connsiteX89" fmla="*/ 5703 w 10000"/>
                <a:gd name="connsiteY89" fmla="*/ 622 h 9598"/>
                <a:gd name="connsiteX90" fmla="*/ 5663 w 10000"/>
                <a:gd name="connsiteY90" fmla="*/ 787 h 9598"/>
                <a:gd name="connsiteX91" fmla="*/ 5181 w 10000"/>
                <a:gd name="connsiteY91" fmla="*/ 787 h 9598"/>
                <a:gd name="connsiteX92" fmla="*/ 4699 w 10000"/>
                <a:gd name="connsiteY92" fmla="*/ 787 h 9598"/>
                <a:gd name="connsiteX93" fmla="*/ 4217 w 10000"/>
                <a:gd name="connsiteY93" fmla="*/ 787 h 9598"/>
                <a:gd name="connsiteX94" fmla="*/ 3735 w 10000"/>
                <a:gd name="connsiteY94" fmla="*/ 787 h 9598"/>
                <a:gd name="connsiteX95" fmla="*/ 3293 w 10000"/>
                <a:gd name="connsiteY95" fmla="*/ 787 h 9598"/>
                <a:gd name="connsiteX96" fmla="*/ 2811 w 10000"/>
                <a:gd name="connsiteY96" fmla="*/ 787 h 9598"/>
                <a:gd name="connsiteX97" fmla="*/ 2369 w 10000"/>
                <a:gd name="connsiteY97" fmla="*/ 787 h 9598"/>
                <a:gd name="connsiteX98" fmla="*/ 1888 w 10000"/>
                <a:gd name="connsiteY98" fmla="*/ 787 h 9598"/>
                <a:gd name="connsiteX99" fmla="*/ 1888 w 10000"/>
                <a:gd name="connsiteY99" fmla="*/ 1366 h 9598"/>
                <a:gd name="connsiteX100" fmla="*/ 1888 w 10000"/>
                <a:gd name="connsiteY100" fmla="*/ 2112 h 9598"/>
                <a:gd name="connsiteX101" fmla="*/ 1285 w 10000"/>
                <a:gd name="connsiteY101" fmla="*/ 2112 h 9598"/>
                <a:gd name="connsiteX102" fmla="*/ 1285 w 10000"/>
                <a:gd name="connsiteY102" fmla="*/ 2443 h 9598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76 w 10000"/>
                <a:gd name="connsiteY47" fmla="*/ 7863 h 10000"/>
                <a:gd name="connsiteX48" fmla="*/ 6827 w 10000"/>
                <a:gd name="connsiteY48" fmla="*/ 8797 h 10000"/>
                <a:gd name="connsiteX49" fmla="*/ 6991 w 10000"/>
                <a:gd name="connsiteY49" fmla="*/ 8904 h 10000"/>
                <a:gd name="connsiteX50" fmla="*/ 7275 w 10000"/>
                <a:gd name="connsiteY50" fmla="*/ 9176 h 10000"/>
                <a:gd name="connsiteX51" fmla="*/ 7430 w 10000"/>
                <a:gd name="connsiteY51" fmla="*/ 8756 h 10000"/>
                <a:gd name="connsiteX52" fmla="*/ 7470 w 10000"/>
                <a:gd name="connsiteY52" fmla="*/ 8798 h 10000"/>
                <a:gd name="connsiteX53" fmla="*/ 7590 w 10000"/>
                <a:gd name="connsiteY53" fmla="*/ 8541 h 10000"/>
                <a:gd name="connsiteX54" fmla="*/ 7831 w 10000"/>
                <a:gd name="connsiteY54" fmla="*/ 8412 h 10000"/>
                <a:gd name="connsiteX55" fmla="*/ 7952 w 10000"/>
                <a:gd name="connsiteY55" fmla="*/ 7937 h 10000"/>
                <a:gd name="connsiteX56" fmla="*/ 8313 w 10000"/>
                <a:gd name="connsiteY56" fmla="*/ 7377 h 10000"/>
                <a:gd name="connsiteX57" fmla="*/ 8594 w 10000"/>
                <a:gd name="connsiteY57" fmla="*/ 7117 h 10000"/>
                <a:gd name="connsiteX58" fmla="*/ 8795 w 10000"/>
                <a:gd name="connsiteY58" fmla="*/ 6386 h 10000"/>
                <a:gd name="connsiteX59" fmla="*/ 8795 w 10000"/>
                <a:gd name="connsiteY59" fmla="*/ 6213 h 10000"/>
                <a:gd name="connsiteX60" fmla="*/ 8755 w 10000"/>
                <a:gd name="connsiteY60" fmla="*/ 5781 h 10000"/>
                <a:gd name="connsiteX61" fmla="*/ 9157 w 10000"/>
                <a:gd name="connsiteY61" fmla="*/ 4227 h 10000"/>
                <a:gd name="connsiteX62" fmla="*/ 9277 w 10000"/>
                <a:gd name="connsiteY62" fmla="*/ 4227 h 10000"/>
                <a:gd name="connsiteX63" fmla="*/ 9438 w 10000"/>
                <a:gd name="connsiteY63" fmla="*/ 4098 h 10000"/>
                <a:gd name="connsiteX64" fmla="*/ 9920 w 10000"/>
                <a:gd name="connsiteY64" fmla="*/ 3882 h 10000"/>
                <a:gd name="connsiteX65" fmla="*/ 10000 w 10000"/>
                <a:gd name="connsiteY65" fmla="*/ 3537 h 10000"/>
                <a:gd name="connsiteX66" fmla="*/ 9960 w 10000"/>
                <a:gd name="connsiteY66" fmla="*/ 3450 h 10000"/>
                <a:gd name="connsiteX67" fmla="*/ 9799 w 10000"/>
                <a:gd name="connsiteY67" fmla="*/ 3450 h 10000"/>
                <a:gd name="connsiteX68" fmla="*/ 9679 w 10000"/>
                <a:gd name="connsiteY68" fmla="*/ 3235 h 10000"/>
                <a:gd name="connsiteX69" fmla="*/ 9438 w 10000"/>
                <a:gd name="connsiteY69" fmla="*/ 3151 h 10000"/>
                <a:gd name="connsiteX70" fmla="*/ 9317 w 10000"/>
                <a:gd name="connsiteY70" fmla="*/ 2978 h 10000"/>
                <a:gd name="connsiteX71" fmla="*/ 9237 w 10000"/>
                <a:gd name="connsiteY71" fmla="*/ 2331 h 10000"/>
                <a:gd name="connsiteX72" fmla="*/ 9237 w 10000"/>
                <a:gd name="connsiteY72" fmla="*/ 1423 h 10000"/>
                <a:gd name="connsiteX73" fmla="*/ 9036 w 10000"/>
                <a:gd name="connsiteY73" fmla="*/ 1123 h 10000"/>
                <a:gd name="connsiteX74" fmla="*/ 8996 w 10000"/>
                <a:gd name="connsiteY74" fmla="*/ 820 h 10000"/>
                <a:gd name="connsiteX75" fmla="*/ 8675 w 10000"/>
                <a:gd name="connsiteY75" fmla="*/ 389 h 10000"/>
                <a:gd name="connsiteX76" fmla="*/ 8394 w 10000"/>
                <a:gd name="connsiteY76" fmla="*/ 218 h 10000"/>
                <a:gd name="connsiteX77" fmla="*/ 8233 w 10000"/>
                <a:gd name="connsiteY77" fmla="*/ 0 h 10000"/>
                <a:gd name="connsiteX78" fmla="*/ 7992 w 10000"/>
                <a:gd name="connsiteY78" fmla="*/ 218 h 10000"/>
                <a:gd name="connsiteX79" fmla="*/ 7831 w 10000"/>
                <a:gd name="connsiteY79" fmla="*/ 173 h 10000"/>
                <a:gd name="connsiteX80" fmla="*/ 7711 w 10000"/>
                <a:gd name="connsiteY80" fmla="*/ 559 h 10000"/>
                <a:gd name="connsiteX81" fmla="*/ 7390 w 10000"/>
                <a:gd name="connsiteY81" fmla="*/ 648 h 10000"/>
                <a:gd name="connsiteX82" fmla="*/ 7309 w 10000"/>
                <a:gd name="connsiteY82" fmla="*/ 948 h 10000"/>
                <a:gd name="connsiteX83" fmla="*/ 7028 w 10000"/>
                <a:gd name="connsiteY83" fmla="*/ 948 h 10000"/>
                <a:gd name="connsiteX84" fmla="*/ 6787 w 10000"/>
                <a:gd name="connsiteY84" fmla="*/ 820 h 10000"/>
                <a:gd name="connsiteX85" fmla="*/ 6265 w 10000"/>
                <a:gd name="connsiteY85" fmla="*/ 820 h 10000"/>
                <a:gd name="connsiteX86" fmla="*/ 5743 w 10000"/>
                <a:gd name="connsiteY86" fmla="*/ 820 h 10000"/>
                <a:gd name="connsiteX87" fmla="*/ 5783 w 10000"/>
                <a:gd name="connsiteY87" fmla="*/ 648 h 10000"/>
                <a:gd name="connsiteX88" fmla="*/ 5703 w 10000"/>
                <a:gd name="connsiteY88" fmla="*/ 648 h 10000"/>
                <a:gd name="connsiteX89" fmla="*/ 5663 w 10000"/>
                <a:gd name="connsiteY89" fmla="*/ 820 h 10000"/>
                <a:gd name="connsiteX90" fmla="*/ 5181 w 10000"/>
                <a:gd name="connsiteY90" fmla="*/ 820 h 10000"/>
                <a:gd name="connsiteX91" fmla="*/ 4699 w 10000"/>
                <a:gd name="connsiteY91" fmla="*/ 820 h 10000"/>
                <a:gd name="connsiteX92" fmla="*/ 4217 w 10000"/>
                <a:gd name="connsiteY92" fmla="*/ 820 h 10000"/>
                <a:gd name="connsiteX93" fmla="*/ 3735 w 10000"/>
                <a:gd name="connsiteY93" fmla="*/ 820 h 10000"/>
                <a:gd name="connsiteX94" fmla="*/ 3293 w 10000"/>
                <a:gd name="connsiteY94" fmla="*/ 820 h 10000"/>
                <a:gd name="connsiteX95" fmla="*/ 2811 w 10000"/>
                <a:gd name="connsiteY95" fmla="*/ 820 h 10000"/>
                <a:gd name="connsiteX96" fmla="*/ 2369 w 10000"/>
                <a:gd name="connsiteY96" fmla="*/ 820 h 10000"/>
                <a:gd name="connsiteX97" fmla="*/ 1888 w 10000"/>
                <a:gd name="connsiteY97" fmla="*/ 820 h 10000"/>
                <a:gd name="connsiteX98" fmla="*/ 1888 w 10000"/>
                <a:gd name="connsiteY98" fmla="*/ 1423 h 10000"/>
                <a:gd name="connsiteX99" fmla="*/ 1888 w 10000"/>
                <a:gd name="connsiteY99" fmla="*/ 2200 h 10000"/>
                <a:gd name="connsiteX100" fmla="*/ 1285 w 10000"/>
                <a:gd name="connsiteY100" fmla="*/ 2200 h 10000"/>
                <a:gd name="connsiteX101" fmla="*/ 1285 w 10000"/>
                <a:gd name="connsiteY101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27 w 10000"/>
                <a:gd name="connsiteY47" fmla="*/ 8797 h 10000"/>
                <a:gd name="connsiteX48" fmla="*/ 6991 w 10000"/>
                <a:gd name="connsiteY48" fmla="*/ 8904 h 10000"/>
                <a:gd name="connsiteX49" fmla="*/ 7275 w 10000"/>
                <a:gd name="connsiteY49" fmla="*/ 9176 h 10000"/>
                <a:gd name="connsiteX50" fmla="*/ 7430 w 10000"/>
                <a:gd name="connsiteY50" fmla="*/ 8756 h 10000"/>
                <a:gd name="connsiteX51" fmla="*/ 7470 w 10000"/>
                <a:gd name="connsiteY51" fmla="*/ 8798 h 10000"/>
                <a:gd name="connsiteX52" fmla="*/ 7590 w 10000"/>
                <a:gd name="connsiteY52" fmla="*/ 8541 h 10000"/>
                <a:gd name="connsiteX53" fmla="*/ 7831 w 10000"/>
                <a:gd name="connsiteY53" fmla="*/ 8412 h 10000"/>
                <a:gd name="connsiteX54" fmla="*/ 7952 w 10000"/>
                <a:gd name="connsiteY54" fmla="*/ 7937 h 10000"/>
                <a:gd name="connsiteX55" fmla="*/ 8313 w 10000"/>
                <a:gd name="connsiteY55" fmla="*/ 7377 h 10000"/>
                <a:gd name="connsiteX56" fmla="*/ 8594 w 10000"/>
                <a:gd name="connsiteY56" fmla="*/ 7117 h 10000"/>
                <a:gd name="connsiteX57" fmla="*/ 8795 w 10000"/>
                <a:gd name="connsiteY57" fmla="*/ 6386 h 10000"/>
                <a:gd name="connsiteX58" fmla="*/ 8795 w 10000"/>
                <a:gd name="connsiteY58" fmla="*/ 6213 h 10000"/>
                <a:gd name="connsiteX59" fmla="*/ 8755 w 10000"/>
                <a:gd name="connsiteY59" fmla="*/ 5781 h 10000"/>
                <a:gd name="connsiteX60" fmla="*/ 9157 w 10000"/>
                <a:gd name="connsiteY60" fmla="*/ 4227 h 10000"/>
                <a:gd name="connsiteX61" fmla="*/ 9277 w 10000"/>
                <a:gd name="connsiteY61" fmla="*/ 4227 h 10000"/>
                <a:gd name="connsiteX62" fmla="*/ 9438 w 10000"/>
                <a:gd name="connsiteY62" fmla="*/ 4098 h 10000"/>
                <a:gd name="connsiteX63" fmla="*/ 9920 w 10000"/>
                <a:gd name="connsiteY63" fmla="*/ 3882 h 10000"/>
                <a:gd name="connsiteX64" fmla="*/ 10000 w 10000"/>
                <a:gd name="connsiteY64" fmla="*/ 3537 h 10000"/>
                <a:gd name="connsiteX65" fmla="*/ 9960 w 10000"/>
                <a:gd name="connsiteY65" fmla="*/ 3450 h 10000"/>
                <a:gd name="connsiteX66" fmla="*/ 9799 w 10000"/>
                <a:gd name="connsiteY66" fmla="*/ 3450 h 10000"/>
                <a:gd name="connsiteX67" fmla="*/ 9679 w 10000"/>
                <a:gd name="connsiteY67" fmla="*/ 3235 h 10000"/>
                <a:gd name="connsiteX68" fmla="*/ 9438 w 10000"/>
                <a:gd name="connsiteY68" fmla="*/ 3151 h 10000"/>
                <a:gd name="connsiteX69" fmla="*/ 9317 w 10000"/>
                <a:gd name="connsiteY69" fmla="*/ 2978 h 10000"/>
                <a:gd name="connsiteX70" fmla="*/ 9237 w 10000"/>
                <a:gd name="connsiteY70" fmla="*/ 2331 h 10000"/>
                <a:gd name="connsiteX71" fmla="*/ 9237 w 10000"/>
                <a:gd name="connsiteY71" fmla="*/ 1423 h 10000"/>
                <a:gd name="connsiteX72" fmla="*/ 9036 w 10000"/>
                <a:gd name="connsiteY72" fmla="*/ 1123 h 10000"/>
                <a:gd name="connsiteX73" fmla="*/ 8996 w 10000"/>
                <a:gd name="connsiteY73" fmla="*/ 820 h 10000"/>
                <a:gd name="connsiteX74" fmla="*/ 8675 w 10000"/>
                <a:gd name="connsiteY74" fmla="*/ 389 h 10000"/>
                <a:gd name="connsiteX75" fmla="*/ 8394 w 10000"/>
                <a:gd name="connsiteY75" fmla="*/ 218 h 10000"/>
                <a:gd name="connsiteX76" fmla="*/ 8233 w 10000"/>
                <a:gd name="connsiteY76" fmla="*/ 0 h 10000"/>
                <a:gd name="connsiteX77" fmla="*/ 7992 w 10000"/>
                <a:gd name="connsiteY77" fmla="*/ 218 h 10000"/>
                <a:gd name="connsiteX78" fmla="*/ 7831 w 10000"/>
                <a:gd name="connsiteY78" fmla="*/ 173 h 10000"/>
                <a:gd name="connsiteX79" fmla="*/ 7711 w 10000"/>
                <a:gd name="connsiteY79" fmla="*/ 559 h 10000"/>
                <a:gd name="connsiteX80" fmla="*/ 7390 w 10000"/>
                <a:gd name="connsiteY80" fmla="*/ 648 h 10000"/>
                <a:gd name="connsiteX81" fmla="*/ 7309 w 10000"/>
                <a:gd name="connsiteY81" fmla="*/ 948 h 10000"/>
                <a:gd name="connsiteX82" fmla="*/ 7028 w 10000"/>
                <a:gd name="connsiteY82" fmla="*/ 948 h 10000"/>
                <a:gd name="connsiteX83" fmla="*/ 6787 w 10000"/>
                <a:gd name="connsiteY83" fmla="*/ 820 h 10000"/>
                <a:gd name="connsiteX84" fmla="*/ 6265 w 10000"/>
                <a:gd name="connsiteY84" fmla="*/ 820 h 10000"/>
                <a:gd name="connsiteX85" fmla="*/ 5743 w 10000"/>
                <a:gd name="connsiteY85" fmla="*/ 820 h 10000"/>
                <a:gd name="connsiteX86" fmla="*/ 5783 w 10000"/>
                <a:gd name="connsiteY86" fmla="*/ 648 h 10000"/>
                <a:gd name="connsiteX87" fmla="*/ 5703 w 10000"/>
                <a:gd name="connsiteY87" fmla="*/ 648 h 10000"/>
                <a:gd name="connsiteX88" fmla="*/ 5663 w 10000"/>
                <a:gd name="connsiteY88" fmla="*/ 820 h 10000"/>
                <a:gd name="connsiteX89" fmla="*/ 5181 w 10000"/>
                <a:gd name="connsiteY89" fmla="*/ 820 h 10000"/>
                <a:gd name="connsiteX90" fmla="*/ 4699 w 10000"/>
                <a:gd name="connsiteY90" fmla="*/ 820 h 10000"/>
                <a:gd name="connsiteX91" fmla="*/ 4217 w 10000"/>
                <a:gd name="connsiteY91" fmla="*/ 820 h 10000"/>
                <a:gd name="connsiteX92" fmla="*/ 3735 w 10000"/>
                <a:gd name="connsiteY92" fmla="*/ 820 h 10000"/>
                <a:gd name="connsiteX93" fmla="*/ 3293 w 10000"/>
                <a:gd name="connsiteY93" fmla="*/ 820 h 10000"/>
                <a:gd name="connsiteX94" fmla="*/ 2811 w 10000"/>
                <a:gd name="connsiteY94" fmla="*/ 820 h 10000"/>
                <a:gd name="connsiteX95" fmla="*/ 2369 w 10000"/>
                <a:gd name="connsiteY95" fmla="*/ 820 h 10000"/>
                <a:gd name="connsiteX96" fmla="*/ 1888 w 10000"/>
                <a:gd name="connsiteY96" fmla="*/ 820 h 10000"/>
                <a:gd name="connsiteX97" fmla="*/ 1888 w 10000"/>
                <a:gd name="connsiteY97" fmla="*/ 1423 h 10000"/>
                <a:gd name="connsiteX98" fmla="*/ 1888 w 10000"/>
                <a:gd name="connsiteY98" fmla="*/ 2200 h 10000"/>
                <a:gd name="connsiteX99" fmla="*/ 1285 w 10000"/>
                <a:gd name="connsiteY99" fmla="*/ 2200 h 10000"/>
                <a:gd name="connsiteX100" fmla="*/ 1285 w 10000"/>
                <a:gd name="connsiteY100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27 w 10000"/>
                <a:gd name="connsiteY47" fmla="*/ 8797 h 10000"/>
                <a:gd name="connsiteX48" fmla="*/ 7275 w 10000"/>
                <a:gd name="connsiteY48" fmla="*/ 9176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93 w 10000"/>
                <a:gd name="connsiteY47" fmla="*/ 8708 h 10000"/>
                <a:gd name="connsiteX48" fmla="*/ 7275 w 10000"/>
                <a:gd name="connsiteY48" fmla="*/ 9176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93 w 10000"/>
                <a:gd name="connsiteY47" fmla="*/ 8708 h 10000"/>
                <a:gd name="connsiteX48" fmla="*/ 7308 w 10000"/>
                <a:gd name="connsiteY48" fmla="*/ 9034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855 w 10000"/>
                <a:gd name="connsiteY46" fmla="*/ 7773 h 10000"/>
                <a:gd name="connsiteX47" fmla="*/ 6893 w 10000"/>
                <a:gd name="connsiteY47" fmla="*/ 8708 h 10000"/>
                <a:gd name="connsiteX48" fmla="*/ 7308 w 10000"/>
                <a:gd name="connsiteY48" fmla="*/ 9034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439 w 10000"/>
                <a:gd name="connsiteY22" fmla="*/ 9506 h 10000"/>
                <a:gd name="connsiteX23" fmla="*/ 1767 w 10000"/>
                <a:gd name="connsiteY23" fmla="*/ 9426 h 10000"/>
                <a:gd name="connsiteX24" fmla="*/ 1951 w 10000"/>
                <a:gd name="connsiteY24" fmla="*/ 9317 h 10000"/>
                <a:gd name="connsiteX25" fmla="*/ 2025 w 10000"/>
                <a:gd name="connsiteY25" fmla="*/ 9052 h 10000"/>
                <a:gd name="connsiteX26" fmla="*/ 2338 w 10000"/>
                <a:gd name="connsiteY26" fmla="*/ 8966 h 10000"/>
                <a:gd name="connsiteX27" fmla="*/ 2643 w 10000"/>
                <a:gd name="connsiteY27" fmla="*/ 9388 h 10000"/>
                <a:gd name="connsiteX28" fmla="*/ 2911 w 10000"/>
                <a:gd name="connsiteY28" fmla="*/ 9572 h 10000"/>
                <a:gd name="connsiteX29" fmla="*/ 3167 w 10000"/>
                <a:gd name="connsiteY29" fmla="*/ 9539 h 10000"/>
                <a:gd name="connsiteX30" fmla="*/ 3795 w 10000"/>
                <a:gd name="connsiteY30" fmla="*/ 9693 h 10000"/>
                <a:gd name="connsiteX31" fmla="*/ 4153 w 10000"/>
                <a:gd name="connsiteY31" fmla="*/ 9776 h 10000"/>
                <a:gd name="connsiteX32" fmla="*/ 4600 w 10000"/>
                <a:gd name="connsiteY32" fmla="*/ 9556 h 10000"/>
                <a:gd name="connsiteX33" fmla="*/ 4901 w 10000"/>
                <a:gd name="connsiteY33" fmla="*/ 9086 h 10000"/>
                <a:gd name="connsiteX34" fmla="*/ 5337 w 10000"/>
                <a:gd name="connsiteY34" fmla="*/ 9340 h 10000"/>
                <a:gd name="connsiteX35" fmla="*/ 5564 w 10000"/>
                <a:gd name="connsiteY35" fmla="*/ 9506 h 10000"/>
                <a:gd name="connsiteX36" fmla="*/ 5768 w 10000"/>
                <a:gd name="connsiteY36" fmla="*/ 9399 h 10000"/>
                <a:gd name="connsiteX37" fmla="*/ 5933 w 10000"/>
                <a:gd name="connsiteY37" fmla="*/ 9300 h 10000"/>
                <a:gd name="connsiteX38" fmla="*/ 6089 w 10000"/>
                <a:gd name="connsiteY38" fmla="*/ 9078 h 10000"/>
                <a:gd name="connsiteX39" fmla="*/ 6274 w 10000"/>
                <a:gd name="connsiteY39" fmla="*/ 8778 h 10000"/>
                <a:gd name="connsiteX40" fmla="*/ 6389 w 10000"/>
                <a:gd name="connsiteY40" fmla="*/ 8638 h 10000"/>
                <a:gd name="connsiteX41" fmla="*/ 6524 w 10000"/>
                <a:gd name="connsiteY41" fmla="*/ 8582 h 10000"/>
                <a:gd name="connsiteX42" fmla="*/ 6531 w 10000"/>
                <a:gd name="connsiteY42" fmla="*/ 8405 h 10000"/>
                <a:gd name="connsiteX43" fmla="*/ 6572 w 10000"/>
                <a:gd name="connsiteY43" fmla="*/ 8201 h 10000"/>
                <a:gd name="connsiteX44" fmla="*/ 6602 w 10000"/>
                <a:gd name="connsiteY44" fmla="*/ 8014 h 10000"/>
                <a:gd name="connsiteX45" fmla="*/ 6855 w 10000"/>
                <a:gd name="connsiteY45" fmla="*/ 7773 h 10000"/>
                <a:gd name="connsiteX46" fmla="*/ 6893 w 10000"/>
                <a:gd name="connsiteY46" fmla="*/ 8708 h 10000"/>
                <a:gd name="connsiteX47" fmla="*/ 7308 w 10000"/>
                <a:gd name="connsiteY47" fmla="*/ 9034 h 10000"/>
                <a:gd name="connsiteX48" fmla="*/ 7430 w 10000"/>
                <a:gd name="connsiteY48" fmla="*/ 8756 h 10000"/>
                <a:gd name="connsiteX49" fmla="*/ 7470 w 10000"/>
                <a:gd name="connsiteY49" fmla="*/ 8798 h 10000"/>
                <a:gd name="connsiteX50" fmla="*/ 7590 w 10000"/>
                <a:gd name="connsiteY50" fmla="*/ 8541 h 10000"/>
                <a:gd name="connsiteX51" fmla="*/ 7831 w 10000"/>
                <a:gd name="connsiteY51" fmla="*/ 8412 h 10000"/>
                <a:gd name="connsiteX52" fmla="*/ 7952 w 10000"/>
                <a:gd name="connsiteY52" fmla="*/ 7937 h 10000"/>
                <a:gd name="connsiteX53" fmla="*/ 8313 w 10000"/>
                <a:gd name="connsiteY53" fmla="*/ 7377 h 10000"/>
                <a:gd name="connsiteX54" fmla="*/ 8594 w 10000"/>
                <a:gd name="connsiteY54" fmla="*/ 7117 h 10000"/>
                <a:gd name="connsiteX55" fmla="*/ 8795 w 10000"/>
                <a:gd name="connsiteY55" fmla="*/ 6386 h 10000"/>
                <a:gd name="connsiteX56" fmla="*/ 8795 w 10000"/>
                <a:gd name="connsiteY56" fmla="*/ 6213 h 10000"/>
                <a:gd name="connsiteX57" fmla="*/ 8755 w 10000"/>
                <a:gd name="connsiteY57" fmla="*/ 5781 h 10000"/>
                <a:gd name="connsiteX58" fmla="*/ 9157 w 10000"/>
                <a:gd name="connsiteY58" fmla="*/ 4227 h 10000"/>
                <a:gd name="connsiteX59" fmla="*/ 9277 w 10000"/>
                <a:gd name="connsiteY59" fmla="*/ 4227 h 10000"/>
                <a:gd name="connsiteX60" fmla="*/ 9438 w 10000"/>
                <a:gd name="connsiteY60" fmla="*/ 4098 h 10000"/>
                <a:gd name="connsiteX61" fmla="*/ 9920 w 10000"/>
                <a:gd name="connsiteY61" fmla="*/ 3882 h 10000"/>
                <a:gd name="connsiteX62" fmla="*/ 10000 w 10000"/>
                <a:gd name="connsiteY62" fmla="*/ 3537 h 10000"/>
                <a:gd name="connsiteX63" fmla="*/ 9960 w 10000"/>
                <a:gd name="connsiteY63" fmla="*/ 3450 h 10000"/>
                <a:gd name="connsiteX64" fmla="*/ 9799 w 10000"/>
                <a:gd name="connsiteY64" fmla="*/ 3450 h 10000"/>
                <a:gd name="connsiteX65" fmla="*/ 9679 w 10000"/>
                <a:gd name="connsiteY65" fmla="*/ 3235 h 10000"/>
                <a:gd name="connsiteX66" fmla="*/ 9438 w 10000"/>
                <a:gd name="connsiteY66" fmla="*/ 3151 h 10000"/>
                <a:gd name="connsiteX67" fmla="*/ 9317 w 10000"/>
                <a:gd name="connsiteY67" fmla="*/ 2978 h 10000"/>
                <a:gd name="connsiteX68" fmla="*/ 9237 w 10000"/>
                <a:gd name="connsiteY68" fmla="*/ 2331 h 10000"/>
                <a:gd name="connsiteX69" fmla="*/ 9237 w 10000"/>
                <a:gd name="connsiteY69" fmla="*/ 1423 h 10000"/>
                <a:gd name="connsiteX70" fmla="*/ 9036 w 10000"/>
                <a:gd name="connsiteY70" fmla="*/ 1123 h 10000"/>
                <a:gd name="connsiteX71" fmla="*/ 8996 w 10000"/>
                <a:gd name="connsiteY71" fmla="*/ 820 h 10000"/>
                <a:gd name="connsiteX72" fmla="*/ 8675 w 10000"/>
                <a:gd name="connsiteY72" fmla="*/ 389 h 10000"/>
                <a:gd name="connsiteX73" fmla="*/ 8394 w 10000"/>
                <a:gd name="connsiteY73" fmla="*/ 218 h 10000"/>
                <a:gd name="connsiteX74" fmla="*/ 8233 w 10000"/>
                <a:gd name="connsiteY74" fmla="*/ 0 h 10000"/>
                <a:gd name="connsiteX75" fmla="*/ 7992 w 10000"/>
                <a:gd name="connsiteY75" fmla="*/ 218 h 10000"/>
                <a:gd name="connsiteX76" fmla="*/ 7831 w 10000"/>
                <a:gd name="connsiteY76" fmla="*/ 173 h 10000"/>
                <a:gd name="connsiteX77" fmla="*/ 7711 w 10000"/>
                <a:gd name="connsiteY77" fmla="*/ 559 h 10000"/>
                <a:gd name="connsiteX78" fmla="*/ 7390 w 10000"/>
                <a:gd name="connsiteY78" fmla="*/ 648 h 10000"/>
                <a:gd name="connsiteX79" fmla="*/ 7309 w 10000"/>
                <a:gd name="connsiteY79" fmla="*/ 948 h 10000"/>
                <a:gd name="connsiteX80" fmla="*/ 7028 w 10000"/>
                <a:gd name="connsiteY80" fmla="*/ 948 h 10000"/>
                <a:gd name="connsiteX81" fmla="*/ 6787 w 10000"/>
                <a:gd name="connsiteY81" fmla="*/ 820 h 10000"/>
                <a:gd name="connsiteX82" fmla="*/ 6265 w 10000"/>
                <a:gd name="connsiteY82" fmla="*/ 820 h 10000"/>
                <a:gd name="connsiteX83" fmla="*/ 5743 w 10000"/>
                <a:gd name="connsiteY83" fmla="*/ 820 h 10000"/>
                <a:gd name="connsiteX84" fmla="*/ 5783 w 10000"/>
                <a:gd name="connsiteY84" fmla="*/ 648 h 10000"/>
                <a:gd name="connsiteX85" fmla="*/ 5703 w 10000"/>
                <a:gd name="connsiteY85" fmla="*/ 648 h 10000"/>
                <a:gd name="connsiteX86" fmla="*/ 5663 w 10000"/>
                <a:gd name="connsiteY86" fmla="*/ 820 h 10000"/>
                <a:gd name="connsiteX87" fmla="*/ 5181 w 10000"/>
                <a:gd name="connsiteY87" fmla="*/ 820 h 10000"/>
                <a:gd name="connsiteX88" fmla="*/ 4699 w 10000"/>
                <a:gd name="connsiteY88" fmla="*/ 820 h 10000"/>
                <a:gd name="connsiteX89" fmla="*/ 4217 w 10000"/>
                <a:gd name="connsiteY89" fmla="*/ 820 h 10000"/>
                <a:gd name="connsiteX90" fmla="*/ 3735 w 10000"/>
                <a:gd name="connsiteY90" fmla="*/ 820 h 10000"/>
                <a:gd name="connsiteX91" fmla="*/ 3293 w 10000"/>
                <a:gd name="connsiteY91" fmla="*/ 820 h 10000"/>
                <a:gd name="connsiteX92" fmla="*/ 2811 w 10000"/>
                <a:gd name="connsiteY92" fmla="*/ 820 h 10000"/>
                <a:gd name="connsiteX93" fmla="*/ 2369 w 10000"/>
                <a:gd name="connsiteY93" fmla="*/ 820 h 10000"/>
                <a:gd name="connsiteX94" fmla="*/ 1888 w 10000"/>
                <a:gd name="connsiteY94" fmla="*/ 820 h 10000"/>
                <a:gd name="connsiteX95" fmla="*/ 1888 w 10000"/>
                <a:gd name="connsiteY95" fmla="*/ 1423 h 10000"/>
                <a:gd name="connsiteX96" fmla="*/ 1888 w 10000"/>
                <a:gd name="connsiteY96" fmla="*/ 2200 h 10000"/>
                <a:gd name="connsiteX97" fmla="*/ 1285 w 10000"/>
                <a:gd name="connsiteY97" fmla="*/ 2200 h 10000"/>
                <a:gd name="connsiteX98" fmla="*/ 1285 w 10000"/>
                <a:gd name="connsiteY98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767 w 10000"/>
                <a:gd name="connsiteY22" fmla="*/ 9426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454 w 10000"/>
                <a:gd name="connsiteY22" fmla="*/ 9337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1178 w 10000"/>
                <a:gd name="connsiteY20" fmla="*/ 9631 h 10000"/>
                <a:gd name="connsiteX21" fmla="*/ 1192 w 10000"/>
                <a:gd name="connsiteY21" fmla="*/ 10000 h 10000"/>
                <a:gd name="connsiteX22" fmla="*/ 1454 w 10000"/>
                <a:gd name="connsiteY22" fmla="*/ 9337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1178 w 10000"/>
                <a:gd name="connsiteY20" fmla="*/ 9631 h 10000"/>
                <a:gd name="connsiteX21" fmla="*/ 1192 w 10000"/>
                <a:gd name="connsiteY21" fmla="*/ 10000 h 10000"/>
                <a:gd name="connsiteX22" fmla="*/ 1652 w 10000"/>
                <a:gd name="connsiteY22" fmla="*/ 9372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9819"/>
                <a:gd name="connsiteX1" fmla="*/ 1285 w 10000"/>
                <a:gd name="connsiteY1" fmla="*/ 3235 h 9819"/>
                <a:gd name="connsiteX2" fmla="*/ 1285 w 10000"/>
                <a:gd name="connsiteY2" fmla="*/ 3882 h 9819"/>
                <a:gd name="connsiteX3" fmla="*/ 1285 w 10000"/>
                <a:gd name="connsiteY3" fmla="*/ 4530 h 9819"/>
                <a:gd name="connsiteX4" fmla="*/ 1285 w 10000"/>
                <a:gd name="connsiteY4" fmla="*/ 5131 h 9819"/>
                <a:gd name="connsiteX5" fmla="*/ 643 w 10000"/>
                <a:gd name="connsiteY5" fmla="*/ 5263 h 9819"/>
                <a:gd name="connsiteX6" fmla="*/ 522 w 10000"/>
                <a:gd name="connsiteY6" fmla="*/ 5607 h 9819"/>
                <a:gd name="connsiteX7" fmla="*/ 241 w 10000"/>
                <a:gd name="connsiteY7" fmla="*/ 6039 h 9819"/>
                <a:gd name="connsiteX8" fmla="*/ 241 w 10000"/>
                <a:gd name="connsiteY8" fmla="*/ 6386 h 9819"/>
                <a:gd name="connsiteX9" fmla="*/ 120 w 10000"/>
                <a:gd name="connsiteY9" fmla="*/ 6470 h 9819"/>
                <a:gd name="connsiteX10" fmla="*/ 120 w 10000"/>
                <a:gd name="connsiteY10" fmla="*/ 6771 h 9819"/>
                <a:gd name="connsiteX11" fmla="*/ 0 w 10000"/>
                <a:gd name="connsiteY11" fmla="*/ 7033 h 9819"/>
                <a:gd name="connsiteX12" fmla="*/ 0 w 10000"/>
                <a:gd name="connsiteY12" fmla="*/ 7246 h 9819"/>
                <a:gd name="connsiteX13" fmla="*/ 241 w 10000"/>
                <a:gd name="connsiteY13" fmla="*/ 7204 h 9819"/>
                <a:gd name="connsiteX14" fmla="*/ 281 w 10000"/>
                <a:gd name="connsiteY14" fmla="*/ 7590 h 9819"/>
                <a:gd name="connsiteX15" fmla="*/ 602 w 10000"/>
                <a:gd name="connsiteY15" fmla="*/ 8284 h 9819"/>
                <a:gd name="connsiteX16" fmla="*/ 602 w 10000"/>
                <a:gd name="connsiteY16" fmla="*/ 8326 h 9819"/>
                <a:gd name="connsiteX17" fmla="*/ 482 w 10000"/>
                <a:gd name="connsiteY17" fmla="*/ 8368 h 9819"/>
                <a:gd name="connsiteX18" fmla="*/ 964 w 10000"/>
                <a:gd name="connsiteY18" fmla="*/ 9058 h 9819"/>
                <a:gd name="connsiteX19" fmla="*/ 1004 w 10000"/>
                <a:gd name="connsiteY19" fmla="*/ 9275 h 9819"/>
                <a:gd name="connsiteX20" fmla="*/ 1178 w 10000"/>
                <a:gd name="connsiteY20" fmla="*/ 9631 h 9819"/>
                <a:gd name="connsiteX21" fmla="*/ 1357 w 10000"/>
                <a:gd name="connsiteY21" fmla="*/ 9433 h 9819"/>
                <a:gd name="connsiteX22" fmla="*/ 1652 w 10000"/>
                <a:gd name="connsiteY22" fmla="*/ 9372 h 9819"/>
                <a:gd name="connsiteX23" fmla="*/ 1951 w 10000"/>
                <a:gd name="connsiteY23" fmla="*/ 9317 h 9819"/>
                <a:gd name="connsiteX24" fmla="*/ 2025 w 10000"/>
                <a:gd name="connsiteY24" fmla="*/ 9052 h 9819"/>
                <a:gd name="connsiteX25" fmla="*/ 2338 w 10000"/>
                <a:gd name="connsiteY25" fmla="*/ 8966 h 9819"/>
                <a:gd name="connsiteX26" fmla="*/ 2643 w 10000"/>
                <a:gd name="connsiteY26" fmla="*/ 9388 h 9819"/>
                <a:gd name="connsiteX27" fmla="*/ 2911 w 10000"/>
                <a:gd name="connsiteY27" fmla="*/ 9572 h 9819"/>
                <a:gd name="connsiteX28" fmla="*/ 3167 w 10000"/>
                <a:gd name="connsiteY28" fmla="*/ 9539 h 9819"/>
                <a:gd name="connsiteX29" fmla="*/ 3795 w 10000"/>
                <a:gd name="connsiteY29" fmla="*/ 9693 h 9819"/>
                <a:gd name="connsiteX30" fmla="*/ 4153 w 10000"/>
                <a:gd name="connsiteY30" fmla="*/ 9776 h 9819"/>
                <a:gd name="connsiteX31" fmla="*/ 4600 w 10000"/>
                <a:gd name="connsiteY31" fmla="*/ 9556 h 9819"/>
                <a:gd name="connsiteX32" fmla="*/ 4901 w 10000"/>
                <a:gd name="connsiteY32" fmla="*/ 9086 h 9819"/>
                <a:gd name="connsiteX33" fmla="*/ 5337 w 10000"/>
                <a:gd name="connsiteY33" fmla="*/ 9340 h 9819"/>
                <a:gd name="connsiteX34" fmla="*/ 5564 w 10000"/>
                <a:gd name="connsiteY34" fmla="*/ 9506 h 9819"/>
                <a:gd name="connsiteX35" fmla="*/ 5768 w 10000"/>
                <a:gd name="connsiteY35" fmla="*/ 9399 h 9819"/>
                <a:gd name="connsiteX36" fmla="*/ 5933 w 10000"/>
                <a:gd name="connsiteY36" fmla="*/ 9300 h 9819"/>
                <a:gd name="connsiteX37" fmla="*/ 6089 w 10000"/>
                <a:gd name="connsiteY37" fmla="*/ 9078 h 9819"/>
                <a:gd name="connsiteX38" fmla="*/ 6274 w 10000"/>
                <a:gd name="connsiteY38" fmla="*/ 8778 h 9819"/>
                <a:gd name="connsiteX39" fmla="*/ 6389 w 10000"/>
                <a:gd name="connsiteY39" fmla="*/ 8638 h 9819"/>
                <a:gd name="connsiteX40" fmla="*/ 6524 w 10000"/>
                <a:gd name="connsiteY40" fmla="*/ 8582 h 9819"/>
                <a:gd name="connsiteX41" fmla="*/ 6531 w 10000"/>
                <a:gd name="connsiteY41" fmla="*/ 8405 h 9819"/>
                <a:gd name="connsiteX42" fmla="*/ 6572 w 10000"/>
                <a:gd name="connsiteY42" fmla="*/ 8201 h 9819"/>
                <a:gd name="connsiteX43" fmla="*/ 6602 w 10000"/>
                <a:gd name="connsiteY43" fmla="*/ 8014 h 9819"/>
                <a:gd name="connsiteX44" fmla="*/ 6855 w 10000"/>
                <a:gd name="connsiteY44" fmla="*/ 7773 h 9819"/>
                <a:gd name="connsiteX45" fmla="*/ 6893 w 10000"/>
                <a:gd name="connsiteY45" fmla="*/ 8708 h 9819"/>
                <a:gd name="connsiteX46" fmla="*/ 7308 w 10000"/>
                <a:gd name="connsiteY46" fmla="*/ 9034 h 9819"/>
                <a:gd name="connsiteX47" fmla="*/ 7430 w 10000"/>
                <a:gd name="connsiteY47" fmla="*/ 8756 h 9819"/>
                <a:gd name="connsiteX48" fmla="*/ 7470 w 10000"/>
                <a:gd name="connsiteY48" fmla="*/ 8798 h 9819"/>
                <a:gd name="connsiteX49" fmla="*/ 7590 w 10000"/>
                <a:gd name="connsiteY49" fmla="*/ 8541 h 9819"/>
                <a:gd name="connsiteX50" fmla="*/ 7831 w 10000"/>
                <a:gd name="connsiteY50" fmla="*/ 8412 h 9819"/>
                <a:gd name="connsiteX51" fmla="*/ 7952 w 10000"/>
                <a:gd name="connsiteY51" fmla="*/ 7937 h 9819"/>
                <a:gd name="connsiteX52" fmla="*/ 8313 w 10000"/>
                <a:gd name="connsiteY52" fmla="*/ 7377 h 9819"/>
                <a:gd name="connsiteX53" fmla="*/ 8594 w 10000"/>
                <a:gd name="connsiteY53" fmla="*/ 7117 h 9819"/>
                <a:gd name="connsiteX54" fmla="*/ 8795 w 10000"/>
                <a:gd name="connsiteY54" fmla="*/ 6386 h 9819"/>
                <a:gd name="connsiteX55" fmla="*/ 8795 w 10000"/>
                <a:gd name="connsiteY55" fmla="*/ 6213 h 9819"/>
                <a:gd name="connsiteX56" fmla="*/ 8755 w 10000"/>
                <a:gd name="connsiteY56" fmla="*/ 5781 h 9819"/>
                <a:gd name="connsiteX57" fmla="*/ 9157 w 10000"/>
                <a:gd name="connsiteY57" fmla="*/ 4227 h 9819"/>
                <a:gd name="connsiteX58" fmla="*/ 9277 w 10000"/>
                <a:gd name="connsiteY58" fmla="*/ 4227 h 9819"/>
                <a:gd name="connsiteX59" fmla="*/ 9438 w 10000"/>
                <a:gd name="connsiteY59" fmla="*/ 4098 h 9819"/>
                <a:gd name="connsiteX60" fmla="*/ 9920 w 10000"/>
                <a:gd name="connsiteY60" fmla="*/ 3882 h 9819"/>
                <a:gd name="connsiteX61" fmla="*/ 10000 w 10000"/>
                <a:gd name="connsiteY61" fmla="*/ 3537 h 9819"/>
                <a:gd name="connsiteX62" fmla="*/ 9960 w 10000"/>
                <a:gd name="connsiteY62" fmla="*/ 3450 h 9819"/>
                <a:gd name="connsiteX63" fmla="*/ 9799 w 10000"/>
                <a:gd name="connsiteY63" fmla="*/ 3450 h 9819"/>
                <a:gd name="connsiteX64" fmla="*/ 9679 w 10000"/>
                <a:gd name="connsiteY64" fmla="*/ 3235 h 9819"/>
                <a:gd name="connsiteX65" fmla="*/ 9438 w 10000"/>
                <a:gd name="connsiteY65" fmla="*/ 3151 h 9819"/>
                <a:gd name="connsiteX66" fmla="*/ 9317 w 10000"/>
                <a:gd name="connsiteY66" fmla="*/ 2978 h 9819"/>
                <a:gd name="connsiteX67" fmla="*/ 9237 w 10000"/>
                <a:gd name="connsiteY67" fmla="*/ 2331 h 9819"/>
                <a:gd name="connsiteX68" fmla="*/ 9237 w 10000"/>
                <a:gd name="connsiteY68" fmla="*/ 1423 h 9819"/>
                <a:gd name="connsiteX69" fmla="*/ 9036 w 10000"/>
                <a:gd name="connsiteY69" fmla="*/ 1123 h 9819"/>
                <a:gd name="connsiteX70" fmla="*/ 8996 w 10000"/>
                <a:gd name="connsiteY70" fmla="*/ 820 h 9819"/>
                <a:gd name="connsiteX71" fmla="*/ 8675 w 10000"/>
                <a:gd name="connsiteY71" fmla="*/ 389 h 9819"/>
                <a:gd name="connsiteX72" fmla="*/ 8394 w 10000"/>
                <a:gd name="connsiteY72" fmla="*/ 218 h 9819"/>
                <a:gd name="connsiteX73" fmla="*/ 8233 w 10000"/>
                <a:gd name="connsiteY73" fmla="*/ 0 h 9819"/>
                <a:gd name="connsiteX74" fmla="*/ 7992 w 10000"/>
                <a:gd name="connsiteY74" fmla="*/ 218 h 9819"/>
                <a:gd name="connsiteX75" fmla="*/ 7831 w 10000"/>
                <a:gd name="connsiteY75" fmla="*/ 173 h 9819"/>
                <a:gd name="connsiteX76" fmla="*/ 7711 w 10000"/>
                <a:gd name="connsiteY76" fmla="*/ 559 h 9819"/>
                <a:gd name="connsiteX77" fmla="*/ 7390 w 10000"/>
                <a:gd name="connsiteY77" fmla="*/ 648 h 9819"/>
                <a:gd name="connsiteX78" fmla="*/ 7309 w 10000"/>
                <a:gd name="connsiteY78" fmla="*/ 948 h 9819"/>
                <a:gd name="connsiteX79" fmla="*/ 7028 w 10000"/>
                <a:gd name="connsiteY79" fmla="*/ 948 h 9819"/>
                <a:gd name="connsiteX80" fmla="*/ 6787 w 10000"/>
                <a:gd name="connsiteY80" fmla="*/ 820 h 9819"/>
                <a:gd name="connsiteX81" fmla="*/ 6265 w 10000"/>
                <a:gd name="connsiteY81" fmla="*/ 820 h 9819"/>
                <a:gd name="connsiteX82" fmla="*/ 5743 w 10000"/>
                <a:gd name="connsiteY82" fmla="*/ 820 h 9819"/>
                <a:gd name="connsiteX83" fmla="*/ 5783 w 10000"/>
                <a:gd name="connsiteY83" fmla="*/ 648 h 9819"/>
                <a:gd name="connsiteX84" fmla="*/ 5703 w 10000"/>
                <a:gd name="connsiteY84" fmla="*/ 648 h 9819"/>
                <a:gd name="connsiteX85" fmla="*/ 5663 w 10000"/>
                <a:gd name="connsiteY85" fmla="*/ 820 h 9819"/>
                <a:gd name="connsiteX86" fmla="*/ 5181 w 10000"/>
                <a:gd name="connsiteY86" fmla="*/ 820 h 9819"/>
                <a:gd name="connsiteX87" fmla="*/ 4699 w 10000"/>
                <a:gd name="connsiteY87" fmla="*/ 820 h 9819"/>
                <a:gd name="connsiteX88" fmla="*/ 4217 w 10000"/>
                <a:gd name="connsiteY88" fmla="*/ 820 h 9819"/>
                <a:gd name="connsiteX89" fmla="*/ 3735 w 10000"/>
                <a:gd name="connsiteY89" fmla="*/ 820 h 9819"/>
                <a:gd name="connsiteX90" fmla="*/ 3293 w 10000"/>
                <a:gd name="connsiteY90" fmla="*/ 820 h 9819"/>
                <a:gd name="connsiteX91" fmla="*/ 2811 w 10000"/>
                <a:gd name="connsiteY91" fmla="*/ 820 h 9819"/>
                <a:gd name="connsiteX92" fmla="*/ 2369 w 10000"/>
                <a:gd name="connsiteY92" fmla="*/ 820 h 9819"/>
                <a:gd name="connsiteX93" fmla="*/ 1888 w 10000"/>
                <a:gd name="connsiteY93" fmla="*/ 820 h 9819"/>
                <a:gd name="connsiteX94" fmla="*/ 1888 w 10000"/>
                <a:gd name="connsiteY94" fmla="*/ 1423 h 9819"/>
                <a:gd name="connsiteX95" fmla="*/ 1888 w 10000"/>
                <a:gd name="connsiteY95" fmla="*/ 2200 h 9819"/>
                <a:gd name="connsiteX96" fmla="*/ 1285 w 10000"/>
                <a:gd name="connsiteY96" fmla="*/ 2200 h 9819"/>
                <a:gd name="connsiteX97" fmla="*/ 1285 w 10000"/>
                <a:gd name="connsiteY97" fmla="*/ 2545 h 9819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11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01 w 10000"/>
                <a:gd name="connsiteY32" fmla="*/ 9253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11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83 w 10000"/>
                <a:gd name="connsiteY32" fmla="*/ 9289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77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83 w 10000"/>
                <a:gd name="connsiteY32" fmla="*/ 9289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10000" h="10000">
                  <a:moveTo>
                    <a:pt x="1285" y="2592"/>
                  </a:moveTo>
                  <a:lnTo>
                    <a:pt x="1285" y="3295"/>
                  </a:lnTo>
                  <a:lnTo>
                    <a:pt x="1285" y="3954"/>
                  </a:lnTo>
                  <a:lnTo>
                    <a:pt x="1285" y="4614"/>
                  </a:lnTo>
                  <a:lnTo>
                    <a:pt x="1285" y="5226"/>
                  </a:lnTo>
                  <a:lnTo>
                    <a:pt x="643" y="5360"/>
                  </a:lnTo>
                  <a:cubicBezTo>
                    <a:pt x="603" y="5477"/>
                    <a:pt x="562" y="5593"/>
                    <a:pt x="522" y="5710"/>
                  </a:cubicBezTo>
                  <a:lnTo>
                    <a:pt x="241" y="6150"/>
                  </a:lnTo>
                  <a:lnTo>
                    <a:pt x="241" y="6504"/>
                  </a:lnTo>
                  <a:lnTo>
                    <a:pt x="120" y="6589"/>
                  </a:lnTo>
                  <a:lnTo>
                    <a:pt x="120" y="6896"/>
                  </a:lnTo>
                  <a:lnTo>
                    <a:pt x="0" y="7163"/>
                  </a:lnTo>
                  <a:lnTo>
                    <a:pt x="0" y="7380"/>
                  </a:lnTo>
                  <a:lnTo>
                    <a:pt x="241" y="7337"/>
                  </a:lnTo>
                  <a:cubicBezTo>
                    <a:pt x="254" y="7469"/>
                    <a:pt x="268" y="7600"/>
                    <a:pt x="281" y="7730"/>
                  </a:cubicBezTo>
                  <a:lnTo>
                    <a:pt x="602" y="8437"/>
                  </a:lnTo>
                  <a:lnTo>
                    <a:pt x="602" y="8479"/>
                  </a:lnTo>
                  <a:lnTo>
                    <a:pt x="482" y="8522"/>
                  </a:lnTo>
                  <a:lnTo>
                    <a:pt x="964" y="9225"/>
                  </a:lnTo>
                  <a:cubicBezTo>
                    <a:pt x="977" y="9299"/>
                    <a:pt x="991" y="9372"/>
                    <a:pt x="1004" y="9446"/>
                  </a:cubicBezTo>
                  <a:cubicBezTo>
                    <a:pt x="991" y="9651"/>
                    <a:pt x="1191" y="9602"/>
                    <a:pt x="1178" y="9809"/>
                  </a:cubicBezTo>
                  <a:cubicBezTo>
                    <a:pt x="1205" y="9838"/>
                    <a:pt x="1330" y="9578"/>
                    <a:pt x="1357" y="9607"/>
                  </a:cubicBezTo>
                  <a:cubicBezTo>
                    <a:pt x="1491" y="9531"/>
                    <a:pt x="1526" y="9661"/>
                    <a:pt x="1652" y="9545"/>
                  </a:cubicBezTo>
                  <a:lnTo>
                    <a:pt x="1951" y="9489"/>
                  </a:lnTo>
                  <a:cubicBezTo>
                    <a:pt x="1964" y="9591"/>
                    <a:pt x="2012" y="9117"/>
                    <a:pt x="2025" y="9219"/>
                  </a:cubicBezTo>
                  <a:lnTo>
                    <a:pt x="2338" y="9131"/>
                  </a:lnTo>
                  <a:cubicBezTo>
                    <a:pt x="2482" y="9213"/>
                    <a:pt x="2505" y="9464"/>
                    <a:pt x="2643" y="9561"/>
                  </a:cubicBezTo>
                  <a:cubicBezTo>
                    <a:pt x="2747" y="9644"/>
                    <a:pt x="2890" y="9723"/>
                    <a:pt x="2977" y="9748"/>
                  </a:cubicBezTo>
                  <a:cubicBezTo>
                    <a:pt x="3064" y="9775"/>
                    <a:pt x="3071" y="9711"/>
                    <a:pt x="3167" y="9715"/>
                  </a:cubicBezTo>
                  <a:lnTo>
                    <a:pt x="3795" y="9872"/>
                  </a:lnTo>
                  <a:cubicBezTo>
                    <a:pt x="3849" y="9828"/>
                    <a:pt x="4099" y="10000"/>
                    <a:pt x="4153" y="9956"/>
                  </a:cubicBezTo>
                  <a:cubicBezTo>
                    <a:pt x="4287" y="9933"/>
                    <a:pt x="4581" y="9819"/>
                    <a:pt x="4682" y="9732"/>
                  </a:cubicBezTo>
                  <a:cubicBezTo>
                    <a:pt x="4806" y="9616"/>
                    <a:pt x="4903" y="9349"/>
                    <a:pt x="4983" y="9289"/>
                  </a:cubicBezTo>
                  <a:cubicBezTo>
                    <a:pt x="5106" y="9253"/>
                    <a:pt x="5227" y="9441"/>
                    <a:pt x="5337" y="9512"/>
                  </a:cubicBezTo>
                  <a:cubicBezTo>
                    <a:pt x="5340" y="9373"/>
                    <a:pt x="5492" y="9671"/>
                    <a:pt x="5564" y="9681"/>
                  </a:cubicBezTo>
                  <a:lnTo>
                    <a:pt x="5768" y="9572"/>
                  </a:lnTo>
                  <a:lnTo>
                    <a:pt x="5933" y="9471"/>
                  </a:lnTo>
                  <a:lnTo>
                    <a:pt x="6089" y="9245"/>
                  </a:lnTo>
                  <a:lnTo>
                    <a:pt x="6274" y="8940"/>
                  </a:lnTo>
                  <a:cubicBezTo>
                    <a:pt x="6312" y="8890"/>
                    <a:pt x="6351" y="8843"/>
                    <a:pt x="6389" y="8797"/>
                  </a:cubicBezTo>
                  <a:lnTo>
                    <a:pt x="6524" y="8740"/>
                  </a:lnTo>
                  <a:cubicBezTo>
                    <a:pt x="6526" y="8680"/>
                    <a:pt x="6529" y="8620"/>
                    <a:pt x="6531" y="8560"/>
                  </a:cubicBezTo>
                  <a:cubicBezTo>
                    <a:pt x="6495" y="8427"/>
                    <a:pt x="6608" y="8487"/>
                    <a:pt x="6572" y="8352"/>
                  </a:cubicBezTo>
                  <a:cubicBezTo>
                    <a:pt x="6582" y="8288"/>
                    <a:pt x="6592" y="8226"/>
                    <a:pt x="6602" y="8162"/>
                  </a:cubicBezTo>
                  <a:lnTo>
                    <a:pt x="6855" y="7916"/>
                  </a:lnTo>
                  <a:cubicBezTo>
                    <a:pt x="6892" y="8049"/>
                    <a:pt x="6846" y="8691"/>
                    <a:pt x="6893" y="8869"/>
                  </a:cubicBezTo>
                  <a:cubicBezTo>
                    <a:pt x="6988" y="9092"/>
                    <a:pt x="7208" y="9208"/>
                    <a:pt x="7308" y="9201"/>
                  </a:cubicBezTo>
                  <a:cubicBezTo>
                    <a:pt x="7321" y="8774"/>
                    <a:pt x="7417" y="9343"/>
                    <a:pt x="7430" y="8917"/>
                  </a:cubicBezTo>
                  <a:cubicBezTo>
                    <a:pt x="7443" y="8935"/>
                    <a:pt x="7457" y="8947"/>
                    <a:pt x="7470" y="8960"/>
                  </a:cubicBezTo>
                  <a:lnTo>
                    <a:pt x="7590" y="8698"/>
                  </a:lnTo>
                  <a:lnTo>
                    <a:pt x="7831" y="8567"/>
                  </a:lnTo>
                  <a:cubicBezTo>
                    <a:pt x="7871" y="8405"/>
                    <a:pt x="7912" y="8243"/>
                    <a:pt x="7952" y="8083"/>
                  </a:cubicBezTo>
                  <a:lnTo>
                    <a:pt x="8313" y="7513"/>
                  </a:lnTo>
                  <a:lnTo>
                    <a:pt x="8594" y="7248"/>
                  </a:lnTo>
                  <a:lnTo>
                    <a:pt x="8795" y="6504"/>
                  </a:lnTo>
                  <a:lnTo>
                    <a:pt x="8795" y="6328"/>
                  </a:lnTo>
                  <a:cubicBezTo>
                    <a:pt x="8782" y="6182"/>
                    <a:pt x="8768" y="6033"/>
                    <a:pt x="8755" y="5888"/>
                  </a:cubicBezTo>
                  <a:lnTo>
                    <a:pt x="9157" y="4305"/>
                  </a:lnTo>
                  <a:lnTo>
                    <a:pt x="9277" y="4305"/>
                  </a:lnTo>
                  <a:cubicBezTo>
                    <a:pt x="9331" y="4263"/>
                    <a:pt x="9384" y="4216"/>
                    <a:pt x="9438" y="4174"/>
                  </a:cubicBezTo>
                  <a:lnTo>
                    <a:pt x="9920" y="3954"/>
                  </a:lnTo>
                  <a:cubicBezTo>
                    <a:pt x="9947" y="3837"/>
                    <a:pt x="9973" y="3722"/>
                    <a:pt x="10000" y="3602"/>
                  </a:cubicBezTo>
                  <a:cubicBezTo>
                    <a:pt x="9987" y="3573"/>
                    <a:pt x="9973" y="3545"/>
                    <a:pt x="9960" y="3514"/>
                  </a:cubicBezTo>
                  <a:lnTo>
                    <a:pt x="9799" y="3514"/>
                  </a:lnTo>
                  <a:lnTo>
                    <a:pt x="9679" y="3295"/>
                  </a:lnTo>
                  <a:lnTo>
                    <a:pt x="9438" y="3209"/>
                  </a:lnTo>
                  <a:cubicBezTo>
                    <a:pt x="9398" y="3148"/>
                    <a:pt x="9357" y="3091"/>
                    <a:pt x="9317" y="3033"/>
                  </a:cubicBezTo>
                  <a:cubicBezTo>
                    <a:pt x="9290" y="2813"/>
                    <a:pt x="9264" y="2592"/>
                    <a:pt x="9237" y="2374"/>
                  </a:cubicBezTo>
                  <a:lnTo>
                    <a:pt x="9237" y="1449"/>
                  </a:lnTo>
                  <a:lnTo>
                    <a:pt x="9036" y="1144"/>
                  </a:lnTo>
                  <a:cubicBezTo>
                    <a:pt x="9023" y="1040"/>
                    <a:pt x="9009" y="936"/>
                    <a:pt x="8996" y="835"/>
                  </a:cubicBezTo>
                  <a:lnTo>
                    <a:pt x="8675" y="396"/>
                  </a:lnTo>
                  <a:lnTo>
                    <a:pt x="8394" y="222"/>
                  </a:lnTo>
                  <a:lnTo>
                    <a:pt x="8233" y="0"/>
                  </a:lnTo>
                  <a:lnTo>
                    <a:pt x="7992" y="222"/>
                  </a:lnTo>
                  <a:lnTo>
                    <a:pt x="7831" y="176"/>
                  </a:lnTo>
                  <a:lnTo>
                    <a:pt x="7711" y="569"/>
                  </a:lnTo>
                  <a:lnTo>
                    <a:pt x="7390" y="660"/>
                  </a:lnTo>
                  <a:cubicBezTo>
                    <a:pt x="7363" y="762"/>
                    <a:pt x="7336" y="863"/>
                    <a:pt x="7309" y="965"/>
                  </a:cubicBezTo>
                  <a:lnTo>
                    <a:pt x="7028" y="965"/>
                  </a:lnTo>
                  <a:lnTo>
                    <a:pt x="6787" y="835"/>
                  </a:lnTo>
                  <a:lnTo>
                    <a:pt x="6265" y="835"/>
                  </a:lnTo>
                  <a:lnTo>
                    <a:pt x="5743" y="835"/>
                  </a:lnTo>
                  <a:cubicBezTo>
                    <a:pt x="5756" y="777"/>
                    <a:pt x="5770" y="718"/>
                    <a:pt x="5783" y="660"/>
                  </a:cubicBezTo>
                  <a:lnTo>
                    <a:pt x="5703" y="660"/>
                  </a:lnTo>
                  <a:cubicBezTo>
                    <a:pt x="5690" y="718"/>
                    <a:pt x="5676" y="777"/>
                    <a:pt x="5663" y="835"/>
                  </a:cubicBezTo>
                  <a:lnTo>
                    <a:pt x="5181" y="835"/>
                  </a:lnTo>
                  <a:lnTo>
                    <a:pt x="4699" y="835"/>
                  </a:lnTo>
                  <a:lnTo>
                    <a:pt x="4217" y="835"/>
                  </a:lnTo>
                  <a:lnTo>
                    <a:pt x="3735" y="835"/>
                  </a:lnTo>
                  <a:lnTo>
                    <a:pt x="3293" y="835"/>
                  </a:lnTo>
                  <a:lnTo>
                    <a:pt x="2811" y="835"/>
                  </a:lnTo>
                  <a:lnTo>
                    <a:pt x="2369" y="835"/>
                  </a:lnTo>
                  <a:lnTo>
                    <a:pt x="1888" y="835"/>
                  </a:lnTo>
                  <a:lnTo>
                    <a:pt x="1888" y="1449"/>
                  </a:lnTo>
                  <a:lnTo>
                    <a:pt x="1888" y="2241"/>
                  </a:lnTo>
                  <a:lnTo>
                    <a:pt x="1285" y="2241"/>
                  </a:lnTo>
                  <a:lnTo>
                    <a:pt x="1285" y="259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44450" tIns="44450" rIns="44450" bIns="44450"/>
            <a:lstStyle/>
            <a:p>
              <a:pPr algn="ctr"/>
              <a:endParaRPr lang="en-US" sz="3200" dirty="0"/>
            </a:p>
          </p:txBody>
        </p:sp>
        <p:sp>
          <p:nvSpPr>
            <p:cNvPr id="7" name="Freeform 4"/>
            <p:cNvSpPr>
              <a:spLocks/>
            </p:cNvSpPr>
            <p:nvPr>
              <p:custDataLst>
                <p:tags r:id="rId200"/>
              </p:custDataLst>
            </p:nvPr>
          </p:nvSpPr>
          <p:spPr bwMode="gray">
            <a:xfrm>
              <a:off x="5736031" y="3508868"/>
              <a:ext cx="318858" cy="272884"/>
            </a:xfrm>
            <a:custGeom>
              <a:avLst/>
              <a:gdLst/>
              <a:ahLst/>
              <a:cxnLst>
                <a:cxn ang="0">
                  <a:pos x="20" y="64"/>
                </a:cxn>
                <a:cxn ang="0">
                  <a:pos x="32" y="68"/>
                </a:cxn>
                <a:cxn ang="0">
                  <a:pos x="36" y="60"/>
                </a:cxn>
                <a:cxn ang="0">
                  <a:pos x="40" y="56"/>
                </a:cxn>
                <a:cxn ang="0">
                  <a:pos x="52" y="48"/>
                </a:cxn>
                <a:cxn ang="0">
                  <a:pos x="60" y="40"/>
                </a:cxn>
                <a:cxn ang="0">
                  <a:pos x="64" y="28"/>
                </a:cxn>
                <a:cxn ang="0">
                  <a:pos x="76" y="24"/>
                </a:cxn>
                <a:cxn ang="0">
                  <a:pos x="84" y="24"/>
                </a:cxn>
                <a:cxn ang="0">
                  <a:pos x="100" y="24"/>
                </a:cxn>
                <a:cxn ang="0">
                  <a:pos x="108" y="28"/>
                </a:cxn>
                <a:cxn ang="0">
                  <a:pos x="120" y="28"/>
                </a:cxn>
                <a:cxn ang="0">
                  <a:pos x="132" y="28"/>
                </a:cxn>
                <a:cxn ang="0">
                  <a:pos x="144" y="20"/>
                </a:cxn>
                <a:cxn ang="0">
                  <a:pos x="144" y="12"/>
                </a:cxn>
                <a:cxn ang="0">
                  <a:pos x="156" y="0"/>
                </a:cxn>
                <a:cxn ang="0">
                  <a:pos x="160" y="12"/>
                </a:cxn>
                <a:cxn ang="0">
                  <a:pos x="164" y="16"/>
                </a:cxn>
                <a:cxn ang="0">
                  <a:pos x="164" y="32"/>
                </a:cxn>
                <a:cxn ang="0">
                  <a:pos x="176" y="32"/>
                </a:cxn>
                <a:cxn ang="0">
                  <a:pos x="188" y="28"/>
                </a:cxn>
                <a:cxn ang="0">
                  <a:pos x="196" y="24"/>
                </a:cxn>
                <a:cxn ang="0">
                  <a:pos x="200" y="28"/>
                </a:cxn>
                <a:cxn ang="0">
                  <a:pos x="215" y="24"/>
                </a:cxn>
                <a:cxn ang="0">
                  <a:pos x="208" y="28"/>
                </a:cxn>
                <a:cxn ang="0">
                  <a:pos x="200" y="32"/>
                </a:cxn>
                <a:cxn ang="0">
                  <a:pos x="184" y="36"/>
                </a:cxn>
                <a:cxn ang="0">
                  <a:pos x="172" y="40"/>
                </a:cxn>
                <a:cxn ang="0">
                  <a:pos x="160" y="52"/>
                </a:cxn>
                <a:cxn ang="0">
                  <a:pos x="164" y="60"/>
                </a:cxn>
                <a:cxn ang="0">
                  <a:pos x="164" y="72"/>
                </a:cxn>
                <a:cxn ang="0">
                  <a:pos x="156" y="80"/>
                </a:cxn>
                <a:cxn ang="0">
                  <a:pos x="160" y="92"/>
                </a:cxn>
                <a:cxn ang="0">
                  <a:pos x="144" y="92"/>
                </a:cxn>
                <a:cxn ang="0">
                  <a:pos x="144" y="100"/>
                </a:cxn>
                <a:cxn ang="0">
                  <a:pos x="144" y="108"/>
                </a:cxn>
                <a:cxn ang="0">
                  <a:pos x="132" y="116"/>
                </a:cxn>
                <a:cxn ang="0">
                  <a:pos x="132" y="124"/>
                </a:cxn>
                <a:cxn ang="0">
                  <a:pos x="128" y="136"/>
                </a:cxn>
                <a:cxn ang="0">
                  <a:pos x="120" y="136"/>
                </a:cxn>
                <a:cxn ang="0">
                  <a:pos x="104" y="140"/>
                </a:cxn>
                <a:cxn ang="0">
                  <a:pos x="100" y="148"/>
                </a:cxn>
                <a:cxn ang="0">
                  <a:pos x="92" y="148"/>
                </a:cxn>
                <a:cxn ang="0">
                  <a:pos x="88" y="164"/>
                </a:cxn>
                <a:cxn ang="0">
                  <a:pos x="88" y="172"/>
                </a:cxn>
                <a:cxn ang="0">
                  <a:pos x="72" y="180"/>
                </a:cxn>
                <a:cxn ang="0">
                  <a:pos x="56" y="180"/>
                </a:cxn>
                <a:cxn ang="0">
                  <a:pos x="40" y="180"/>
                </a:cxn>
                <a:cxn ang="0">
                  <a:pos x="16" y="180"/>
                </a:cxn>
                <a:cxn ang="0">
                  <a:pos x="8" y="172"/>
                </a:cxn>
                <a:cxn ang="0">
                  <a:pos x="20" y="152"/>
                </a:cxn>
                <a:cxn ang="0">
                  <a:pos x="12" y="144"/>
                </a:cxn>
                <a:cxn ang="0">
                  <a:pos x="4" y="132"/>
                </a:cxn>
                <a:cxn ang="0">
                  <a:pos x="0" y="116"/>
                </a:cxn>
                <a:cxn ang="0">
                  <a:pos x="4" y="104"/>
                </a:cxn>
                <a:cxn ang="0">
                  <a:pos x="0" y="92"/>
                </a:cxn>
                <a:cxn ang="0">
                  <a:pos x="0" y="80"/>
                </a:cxn>
                <a:cxn ang="0">
                  <a:pos x="8" y="68"/>
                </a:cxn>
              </a:cxnLst>
              <a:rect l="0" t="0" r="r" b="b"/>
              <a:pathLst>
                <a:path w="215" h="184">
                  <a:moveTo>
                    <a:pt x="12" y="60"/>
                  </a:moveTo>
                  <a:lnTo>
                    <a:pt x="12" y="64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6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36" y="56"/>
                  </a:lnTo>
                  <a:lnTo>
                    <a:pt x="40" y="56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60" y="48"/>
                  </a:lnTo>
                  <a:lnTo>
                    <a:pt x="60" y="44"/>
                  </a:lnTo>
                  <a:lnTo>
                    <a:pt x="60" y="40"/>
                  </a:lnTo>
                  <a:lnTo>
                    <a:pt x="60" y="36"/>
                  </a:lnTo>
                  <a:lnTo>
                    <a:pt x="64" y="36"/>
                  </a:lnTo>
                  <a:lnTo>
                    <a:pt x="64" y="32"/>
                  </a:lnTo>
                  <a:lnTo>
                    <a:pt x="64" y="28"/>
                  </a:lnTo>
                  <a:lnTo>
                    <a:pt x="68" y="28"/>
                  </a:lnTo>
                  <a:lnTo>
                    <a:pt x="72" y="28"/>
                  </a:lnTo>
                  <a:lnTo>
                    <a:pt x="76" y="28"/>
                  </a:lnTo>
                  <a:lnTo>
                    <a:pt x="76" y="24"/>
                  </a:lnTo>
                  <a:lnTo>
                    <a:pt x="76" y="20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4" y="24"/>
                  </a:lnTo>
                  <a:lnTo>
                    <a:pt x="108" y="28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16" y="28"/>
                  </a:lnTo>
                  <a:lnTo>
                    <a:pt x="120" y="28"/>
                  </a:lnTo>
                  <a:lnTo>
                    <a:pt x="124" y="24"/>
                  </a:lnTo>
                  <a:lnTo>
                    <a:pt x="128" y="24"/>
                  </a:lnTo>
                  <a:lnTo>
                    <a:pt x="128" y="28"/>
                  </a:lnTo>
                  <a:lnTo>
                    <a:pt x="132" y="28"/>
                  </a:lnTo>
                  <a:lnTo>
                    <a:pt x="132" y="24"/>
                  </a:lnTo>
                  <a:lnTo>
                    <a:pt x="136" y="20"/>
                  </a:lnTo>
                  <a:lnTo>
                    <a:pt x="140" y="20"/>
                  </a:lnTo>
                  <a:lnTo>
                    <a:pt x="144" y="20"/>
                  </a:lnTo>
                  <a:lnTo>
                    <a:pt x="148" y="20"/>
                  </a:lnTo>
                  <a:lnTo>
                    <a:pt x="148" y="16"/>
                  </a:lnTo>
                  <a:lnTo>
                    <a:pt x="144" y="16"/>
                  </a:lnTo>
                  <a:lnTo>
                    <a:pt x="144" y="12"/>
                  </a:lnTo>
                  <a:lnTo>
                    <a:pt x="148" y="12"/>
                  </a:lnTo>
                  <a:lnTo>
                    <a:pt x="152" y="8"/>
                  </a:lnTo>
                  <a:lnTo>
                    <a:pt x="152" y="4"/>
                  </a:lnTo>
                  <a:lnTo>
                    <a:pt x="156" y="0"/>
                  </a:lnTo>
                  <a:lnTo>
                    <a:pt x="160" y="4"/>
                  </a:lnTo>
                  <a:lnTo>
                    <a:pt x="164" y="4"/>
                  </a:lnTo>
                  <a:lnTo>
                    <a:pt x="164" y="8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8" y="12"/>
                  </a:lnTo>
                  <a:lnTo>
                    <a:pt x="168" y="16"/>
                  </a:lnTo>
                  <a:lnTo>
                    <a:pt x="164" y="16"/>
                  </a:lnTo>
                  <a:lnTo>
                    <a:pt x="164" y="20"/>
                  </a:lnTo>
                  <a:lnTo>
                    <a:pt x="164" y="24"/>
                  </a:lnTo>
                  <a:lnTo>
                    <a:pt x="164" y="28"/>
                  </a:lnTo>
                  <a:lnTo>
                    <a:pt x="164" y="32"/>
                  </a:lnTo>
                  <a:lnTo>
                    <a:pt x="168" y="36"/>
                  </a:lnTo>
                  <a:lnTo>
                    <a:pt x="168" y="40"/>
                  </a:lnTo>
                  <a:lnTo>
                    <a:pt x="172" y="36"/>
                  </a:lnTo>
                  <a:lnTo>
                    <a:pt x="176" y="32"/>
                  </a:lnTo>
                  <a:lnTo>
                    <a:pt x="180" y="32"/>
                  </a:lnTo>
                  <a:lnTo>
                    <a:pt x="184" y="32"/>
                  </a:lnTo>
                  <a:lnTo>
                    <a:pt x="184" y="28"/>
                  </a:lnTo>
                  <a:lnTo>
                    <a:pt x="188" y="28"/>
                  </a:lnTo>
                  <a:lnTo>
                    <a:pt x="188" y="24"/>
                  </a:lnTo>
                  <a:lnTo>
                    <a:pt x="192" y="24"/>
                  </a:lnTo>
                  <a:lnTo>
                    <a:pt x="196" y="20"/>
                  </a:lnTo>
                  <a:lnTo>
                    <a:pt x="196" y="24"/>
                  </a:lnTo>
                  <a:lnTo>
                    <a:pt x="200" y="24"/>
                  </a:lnTo>
                  <a:lnTo>
                    <a:pt x="196" y="24"/>
                  </a:lnTo>
                  <a:lnTo>
                    <a:pt x="196" y="28"/>
                  </a:lnTo>
                  <a:lnTo>
                    <a:pt x="200" y="28"/>
                  </a:lnTo>
                  <a:lnTo>
                    <a:pt x="204" y="24"/>
                  </a:lnTo>
                  <a:lnTo>
                    <a:pt x="208" y="24"/>
                  </a:lnTo>
                  <a:lnTo>
                    <a:pt x="212" y="24"/>
                  </a:lnTo>
                  <a:lnTo>
                    <a:pt x="215" y="24"/>
                  </a:lnTo>
                  <a:lnTo>
                    <a:pt x="215" y="28"/>
                  </a:lnTo>
                  <a:lnTo>
                    <a:pt x="215" y="24"/>
                  </a:lnTo>
                  <a:lnTo>
                    <a:pt x="212" y="28"/>
                  </a:lnTo>
                  <a:lnTo>
                    <a:pt x="208" y="28"/>
                  </a:lnTo>
                  <a:lnTo>
                    <a:pt x="212" y="32"/>
                  </a:lnTo>
                  <a:lnTo>
                    <a:pt x="208" y="32"/>
                  </a:lnTo>
                  <a:lnTo>
                    <a:pt x="204" y="36"/>
                  </a:lnTo>
                  <a:lnTo>
                    <a:pt x="200" y="32"/>
                  </a:lnTo>
                  <a:lnTo>
                    <a:pt x="196" y="32"/>
                  </a:lnTo>
                  <a:lnTo>
                    <a:pt x="192" y="32"/>
                  </a:lnTo>
                  <a:lnTo>
                    <a:pt x="188" y="36"/>
                  </a:lnTo>
                  <a:lnTo>
                    <a:pt x="184" y="36"/>
                  </a:lnTo>
                  <a:lnTo>
                    <a:pt x="180" y="36"/>
                  </a:lnTo>
                  <a:lnTo>
                    <a:pt x="176" y="36"/>
                  </a:lnTo>
                  <a:lnTo>
                    <a:pt x="176" y="40"/>
                  </a:lnTo>
                  <a:lnTo>
                    <a:pt x="172" y="40"/>
                  </a:lnTo>
                  <a:lnTo>
                    <a:pt x="168" y="44"/>
                  </a:lnTo>
                  <a:lnTo>
                    <a:pt x="164" y="48"/>
                  </a:lnTo>
                  <a:lnTo>
                    <a:pt x="160" y="48"/>
                  </a:lnTo>
                  <a:lnTo>
                    <a:pt x="160" y="52"/>
                  </a:lnTo>
                  <a:lnTo>
                    <a:pt x="164" y="52"/>
                  </a:lnTo>
                  <a:lnTo>
                    <a:pt x="164" y="56"/>
                  </a:lnTo>
                  <a:lnTo>
                    <a:pt x="168" y="56"/>
                  </a:lnTo>
                  <a:lnTo>
                    <a:pt x="164" y="60"/>
                  </a:lnTo>
                  <a:lnTo>
                    <a:pt x="168" y="60"/>
                  </a:lnTo>
                  <a:lnTo>
                    <a:pt x="168" y="64"/>
                  </a:lnTo>
                  <a:lnTo>
                    <a:pt x="168" y="68"/>
                  </a:lnTo>
                  <a:lnTo>
                    <a:pt x="164" y="72"/>
                  </a:lnTo>
                  <a:lnTo>
                    <a:pt x="164" y="76"/>
                  </a:lnTo>
                  <a:lnTo>
                    <a:pt x="160" y="76"/>
                  </a:lnTo>
                  <a:lnTo>
                    <a:pt x="160" y="80"/>
                  </a:lnTo>
                  <a:lnTo>
                    <a:pt x="156" y="80"/>
                  </a:lnTo>
                  <a:lnTo>
                    <a:pt x="156" y="84"/>
                  </a:lnTo>
                  <a:lnTo>
                    <a:pt x="160" y="84"/>
                  </a:lnTo>
                  <a:lnTo>
                    <a:pt x="160" y="88"/>
                  </a:lnTo>
                  <a:lnTo>
                    <a:pt x="160" y="92"/>
                  </a:lnTo>
                  <a:lnTo>
                    <a:pt x="156" y="92"/>
                  </a:lnTo>
                  <a:lnTo>
                    <a:pt x="152" y="92"/>
                  </a:lnTo>
                  <a:lnTo>
                    <a:pt x="148" y="92"/>
                  </a:lnTo>
                  <a:lnTo>
                    <a:pt x="144" y="92"/>
                  </a:lnTo>
                  <a:lnTo>
                    <a:pt x="140" y="92"/>
                  </a:lnTo>
                  <a:lnTo>
                    <a:pt x="140" y="96"/>
                  </a:lnTo>
                  <a:lnTo>
                    <a:pt x="144" y="96"/>
                  </a:lnTo>
                  <a:lnTo>
                    <a:pt x="144" y="100"/>
                  </a:lnTo>
                  <a:lnTo>
                    <a:pt x="144" y="104"/>
                  </a:lnTo>
                  <a:lnTo>
                    <a:pt x="148" y="104"/>
                  </a:lnTo>
                  <a:lnTo>
                    <a:pt x="148" y="108"/>
                  </a:lnTo>
                  <a:lnTo>
                    <a:pt x="144" y="108"/>
                  </a:lnTo>
                  <a:lnTo>
                    <a:pt x="140" y="112"/>
                  </a:lnTo>
                  <a:lnTo>
                    <a:pt x="136" y="112"/>
                  </a:lnTo>
                  <a:lnTo>
                    <a:pt x="136" y="116"/>
                  </a:lnTo>
                  <a:lnTo>
                    <a:pt x="132" y="116"/>
                  </a:lnTo>
                  <a:lnTo>
                    <a:pt x="136" y="116"/>
                  </a:lnTo>
                  <a:lnTo>
                    <a:pt x="136" y="120"/>
                  </a:lnTo>
                  <a:lnTo>
                    <a:pt x="132" y="120"/>
                  </a:lnTo>
                  <a:lnTo>
                    <a:pt x="132" y="124"/>
                  </a:lnTo>
                  <a:lnTo>
                    <a:pt x="132" y="128"/>
                  </a:lnTo>
                  <a:lnTo>
                    <a:pt x="132" y="132"/>
                  </a:lnTo>
                  <a:lnTo>
                    <a:pt x="132" y="136"/>
                  </a:lnTo>
                  <a:lnTo>
                    <a:pt x="128" y="136"/>
                  </a:lnTo>
                  <a:lnTo>
                    <a:pt x="128" y="140"/>
                  </a:lnTo>
                  <a:lnTo>
                    <a:pt x="124" y="140"/>
                  </a:lnTo>
                  <a:lnTo>
                    <a:pt x="124" y="136"/>
                  </a:lnTo>
                  <a:lnTo>
                    <a:pt x="120" y="136"/>
                  </a:lnTo>
                  <a:lnTo>
                    <a:pt x="116" y="136"/>
                  </a:lnTo>
                  <a:lnTo>
                    <a:pt x="112" y="140"/>
                  </a:lnTo>
                  <a:lnTo>
                    <a:pt x="108" y="140"/>
                  </a:lnTo>
                  <a:lnTo>
                    <a:pt x="104" y="140"/>
                  </a:lnTo>
                  <a:lnTo>
                    <a:pt x="108" y="144"/>
                  </a:lnTo>
                  <a:lnTo>
                    <a:pt x="108" y="148"/>
                  </a:lnTo>
                  <a:lnTo>
                    <a:pt x="104" y="148"/>
                  </a:lnTo>
                  <a:lnTo>
                    <a:pt x="100" y="148"/>
                  </a:lnTo>
                  <a:lnTo>
                    <a:pt x="96" y="148"/>
                  </a:lnTo>
                  <a:lnTo>
                    <a:pt x="96" y="144"/>
                  </a:lnTo>
                  <a:lnTo>
                    <a:pt x="96" y="148"/>
                  </a:lnTo>
                  <a:lnTo>
                    <a:pt x="92" y="148"/>
                  </a:lnTo>
                  <a:lnTo>
                    <a:pt x="92" y="152"/>
                  </a:lnTo>
                  <a:lnTo>
                    <a:pt x="88" y="152"/>
                  </a:lnTo>
                  <a:lnTo>
                    <a:pt x="88" y="160"/>
                  </a:lnTo>
                  <a:lnTo>
                    <a:pt x="88" y="164"/>
                  </a:lnTo>
                  <a:lnTo>
                    <a:pt x="88" y="168"/>
                  </a:lnTo>
                  <a:lnTo>
                    <a:pt x="84" y="168"/>
                  </a:lnTo>
                  <a:lnTo>
                    <a:pt x="84" y="172"/>
                  </a:lnTo>
                  <a:lnTo>
                    <a:pt x="88" y="172"/>
                  </a:lnTo>
                  <a:lnTo>
                    <a:pt x="84" y="176"/>
                  </a:lnTo>
                  <a:lnTo>
                    <a:pt x="80" y="176"/>
                  </a:lnTo>
                  <a:lnTo>
                    <a:pt x="76" y="176"/>
                  </a:lnTo>
                  <a:lnTo>
                    <a:pt x="72" y="180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0" y="180"/>
                  </a:lnTo>
                  <a:lnTo>
                    <a:pt x="56" y="180"/>
                  </a:lnTo>
                  <a:lnTo>
                    <a:pt x="52" y="184"/>
                  </a:lnTo>
                  <a:lnTo>
                    <a:pt x="48" y="180"/>
                  </a:lnTo>
                  <a:lnTo>
                    <a:pt x="44" y="180"/>
                  </a:lnTo>
                  <a:lnTo>
                    <a:pt x="40" y="180"/>
                  </a:lnTo>
                  <a:lnTo>
                    <a:pt x="28" y="184"/>
                  </a:lnTo>
                  <a:lnTo>
                    <a:pt x="24" y="180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8" y="176"/>
                  </a:lnTo>
                  <a:lnTo>
                    <a:pt x="4" y="176"/>
                  </a:lnTo>
                  <a:lnTo>
                    <a:pt x="4" y="172"/>
                  </a:lnTo>
                  <a:lnTo>
                    <a:pt x="8" y="172"/>
                  </a:lnTo>
                  <a:lnTo>
                    <a:pt x="8" y="168"/>
                  </a:lnTo>
                  <a:lnTo>
                    <a:pt x="12" y="164"/>
                  </a:lnTo>
                  <a:lnTo>
                    <a:pt x="16" y="156"/>
                  </a:lnTo>
                  <a:lnTo>
                    <a:pt x="20" y="152"/>
                  </a:lnTo>
                  <a:lnTo>
                    <a:pt x="20" y="148"/>
                  </a:lnTo>
                  <a:lnTo>
                    <a:pt x="16" y="148"/>
                  </a:lnTo>
                  <a:lnTo>
                    <a:pt x="16" y="144"/>
                  </a:lnTo>
                  <a:lnTo>
                    <a:pt x="12" y="144"/>
                  </a:lnTo>
                  <a:lnTo>
                    <a:pt x="8" y="144"/>
                  </a:lnTo>
                  <a:lnTo>
                    <a:pt x="4" y="140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4" y="128"/>
                  </a:lnTo>
                  <a:lnTo>
                    <a:pt x="4" y="124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4" y="104"/>
                  </a:lnTo>
                  <a:lnTo>
                    <a:pt x="4" y="100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4" y="84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12" y="6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" name="Freeform 5"/>
            <p:cNvSpPr>
              <a:spLocks noEditPoints="1"/>
            </p:cNvSpPr>
            <p:nvPr>
              <p:custDataLst>
                <p:tags r:id="rId201"/>
              </p:custDataLst>
            </p:nvPr>
          </p:nvSpPr>
          <p:spPr bwMode="gray">
            <a:xfrm>
              <a:off x="5351917" y="3425817"/>
              <a:ext cx="71187" cy="71187"/>
            </a:xfrm>
            <a:custGeom>
              <a:avLst/>
              <a:gdLst/>
              <a:ahLst/>
              <a:cxnLst>
                <a:cxn ang="0">
                  <a:pos x="44" y="48"/>
                </a:cxn>
                <a:cxn ang="0">
                  <a:pos x="40" y="48"/>
                </a:cxn>
                <a:cxn ang="0">
                  <a:pos x="40" y="48"/>
                </a:cxn>
                <a:cxn ang="0">
                  <a:pos x="40" y="40"/>
                </a:cxn>
                <a:cxn ang="0">
                  <a:pos x="36" y="36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24" y="32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16" y="28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32" y="8"/>
                </a:cxn>
                <a:cxn ang="0">
                  <a:pos x="28" y="12"/>
                </a:cxn>
                <a:cxn ang="0">
                  <a:pos x="32" y="16"/>
                </a:cxn>
                <a:cxn ang="0">
                  <a:pos x="36" y="20"/>
                </a:cxn>
                <a:cxn ang="0">
                  <a:pos x="36" y="24"/>
                </a:cxn>
                <a:cxn ang="0">
                  <a:pos x="36" y="24"/>
                </a:cxn>
                <a:cxn ang="0">
                  <a:pos x="32" y="24"/>
                </a:cxn>
                <a:cxn ang="0">
                  <a:pos x="36" y="28"/>
                </a:cxn>
                <a:cxn ang="0">
                  <a:pos x="36" y="28"/>
                </a:cxn>
                <a:cxn ang="0">
                  <a:pos x="36" y="32"/>
                </a:cxn>
                <a:cxn ang="0">
                  <a:pos x="40" y="32"/>
                </a:cxn>
                <a:cxn ang="0">
                  <a:pos x="40" y="36"/>
                </a:cxn>
                <a:cxn ang="0">
                  <a:pos x="44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8" y="40"/>
                </a:cxn>
                <a:cxn ang="0">
                  <a:pos x="44" y="44"/>
                </a:cxn>
                <a:cxn ang="0">
                  <a:pos x="44" y="44"/>
                </a:cxn>
                <a:cxn ang="0">
                  <a:pos x="44" y="48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2" y="12"/>
                </a:cxn>
                <a:cxn ang="0">
                  <a:pos x="32" y="12"/>
                </a:cxn>
              </a:cxnLst>
              <a:rect l="0" t="0" r="r" b="b"/>
              <a:pathLst>
                <a:path w="48" h="48">
                  <a:moveTo>
                    <a:pt x="48" y="48"/>
                  </a:moveTo>
                  <a:lnTo>
                    <a:pt x="48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0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8" y="48"/>
                  </a:lnTo>
                  <a:close/>
                  <a:moveTo>
                    <a:pt x="24" y="4"/>
                  </a:move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  <a:moveTo>
                    <a:pt x="28" y="4"/>
                  </a:move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close/>
                  <a:moveTo>
                    <a:pt x="32" y="12"/>
                  </a:move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" name="Freeform 6"/>
            <p:cNvSpPr>
              <a:spLocks noEditPoints="1"/>
            </p:cNvSpPr>
            <p:nvPr>
              <p:custDataLst>
                <p:tags r:id="rId202"/>
              </p:custDataLst>
            </p:nvPr>
          </p:nvSpPr>
          <p:spPr bwMode="gray">
            <a:xfrm>
              <a:off x="5381578" y="3379842"/>
              <a:ext cx="152755" cy="134958"/>
            </a:xfrm>
            <a:custGeom>
              <a:avLst/>
              <a:gdLst/>
              <a:ahLst/>
              <a:cxnLst>
                <a:cxn ang="0">
                  <a:pos x="84" y="91"/>
                </a:cxn>
                <a:cxn ang="0">
                  <a:pos x="60" y="87"/>
                </a:cxn>
                <a:cxn ang="0">
                  <a:pos x="56" y="87"/>
                </a:cxn>
                <a:cxn ang="0">
                  <a:pos x="52" y="83"/>
                </a:cxn>
                <a:cxn ang="0">
                  <a:pos x="48" y="79"/>
                </a:cxn>
                <a:cxn ang="0">
                  <a:pos x="52" y="79"/>
                </a:cxn>
                <a:cxn ang="0">
                  <a:pos x="52" y="75"/>
                </a:cxn>
                <a:cxn ang="0">
                  <a:pos x="52" y="71"/>
                </a:cxn>
                <a:cxn ang="0">
                  <a:pos x="52" y="67"/>
                </a:cxn>
                <a:cxn ang="0">
                  <a:pos x="48" y="63"/>
                </a:cxn>
                <a:cxn ang="0">
                  <a:pos x="40" y="67"/>
                </a:cxn>
                <a:cxn ang="0">
                  <a:pos x="36" y="71"/>
                </a:cxn>
                <a:cxn ang="0">
                  <a:pos x="32" y="75"/>
                </a:cxn>
                <a:cxn ang="0">
                  <a:pos x="28" y="79"/>
                </a:cxn>
                <a:cxn ang="0">
                  <a:pos x="24" y="75"/>
                </a:cxn>
                <a:cxn ang="0">
                  <a:pos x="24" y="75"/>
                </a:cxn>
                <a:cxn ang="0">
                  <a:pos x="24" y="71"/>
                </a:cxn>
                <a:cxn ang="0">
                  <a:pos x="28" y="67"/>
                </a:cxn>
                <a:cxn ang="0">
                  <a:pos x="20" y="67"/>
                </a:cxn>
                <a:cxn ang="0">
                  <a:pos x="20" y="63"/>
                </a:cxn>
                <a:cxn ang="0">
                  <a:pos x="16" y="59"/>
                </a:cxn>
                <a:cxn ang="0">
                  <a:pos x="12" y="59"/>
                </a:cxn>
                <a:cxn ang="0">
                  <a:pos x="16" y="55"/>
                </a:cxn>
                <a:cxn ang="0">
                  <a:pos x="20" y="51"/>
                </a:cxn>
                <a:cxn ang="0">
                  <a:pos x="12" y="47"/>
                </a:cxn>
                <a:cxn ang="0">
                  <a:pos x="12" y="39"/>
                </a:cxn>
                <a:cxn ang="0">
                  <a:pos x="4" y="35"/>
                </a:cxn>
                <a:cxn ang="0">
                  <a:pos x="8" y="35"/>
                </a:cxn>
                <a:cxn ang="0">
                  <a:pos x="4" y="31"/>
                </a:cxn>
                <a:cxn ang="0">
                  <a:pos x="8" y="27"/>
                </a:cxn>
                <a:cxn ang="0">
                  <a:pos x="16" y="31"/>
                </a:cxn>
                <a:cxn ang="0">
                  <a:pos x="20" y="31"/>
                </a:cxn>
                <a:cxn ang="0">
                  <a:pos x="24" y="31"/>
                </a:cxn>
                <a:cxn ang="0">
                  <a:pos x="28" y="35"/>
                </a:cxn>
                <a:cxn ang="0">
                  <a:pos x="28" y="27"/>
                </a:cxn>
                <a:cxn ang="0">
                  <a:pos x="20" y="23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32" y="19"/>
                </a:cxn>
                <a:cxn ang="0">
                  <a:pos x="36" y="23"/>
                </a:cxn>
                <a:cxn ang="0">
                  <a:pos x="44" y="31"/>
                </a:cxn>
                <a:cxn ang="0">
                  <a:pos x="44" y="31"/>
                </a:cxn>
                <a:cxn ang="0">
                  <a:pos x="48" y="27"/>
                </a:cxn>
                <a:cxn ang="0">
                  <a:pos x="56" y="23"/>
                </a:cxn>
                <a:cxn ang="0">
                  <a:pos x="60" y="15"/>
                </a:cxn>
                <a:cxn ang="0">
                  <a:pos x="88" y="15"/>
                </a:cxn>
                <a:cxn ang="0">
                  <a:pos x="103" y="39"/>
                </a:cxn>
                <a:cxn ang="0">
                  <a:pos x="103" y="63"/>
                </a:cxn>
                <a:cxn ang="0">
                  <a:pos x="100" y="79"/>
                </a:cxn>
                <a:cxn ang="0">
                  <a:pos x="12" y="43"/>
                </a:cxn>
                <a:cxn ang="0">
                  <a:pos x="4" y="35"/>
                </a:cxn>
                <a:cxn ang="0">
                  <a:pos x="8" y="35"/>
                </a:cxn>
                <a:cxn ang="0">
                  <a:pos x="0" y="63"/>
                </a:cxn>
                <a:cxn ang="0">
                  <a:pos x="0" y="63"/>
                </a:cxn>
                <a:cxn ang="0">
                  <a:pos x="8" y="63"/>
                </a:cxn>
                <a:cxn ang="0">
                  <a:pos x="12" y="67"/>
                </a:cxn>
                <a:cxn ang="0">
                  <a:pos x="16" y="71"/>
                </a:cxn>
                <a:cxn ang="0">
                  <a:pos x="20" y="79"/>
                </a:cxn>
                <a:cxn ang="0">
                  <a:pos x="12" y="79"/>
                </a:cxn>
                <a:cxn ang="0">
                  <a:pos x="8" y="75"/>
                </a:cxn>
                <a:cxn ang="0">
                  <a:pos x="4" y="71"/>
                </a:cxn>
                <a:cxn ang="0">
                  <a:pos x="4" y="67"/>
                </a:cxn>
                <a:cxn ang="0">
                  <a:pos x="0" y="63"/>
                </a:cxn>
              </a:cxnLst>
              <a:rect l="0" t="0" r="r" b="b"/>
              <a:pathLst>
                <a:path w="103" h="91">
                  <a:moveTo>
                    <a:pt x="100" y="83"/>
                  </a:moveTo>
                  <a:lnTo>
                    <a:pt x="96" y="87"/>
                  </a:lnTo>
                  <a:lnTo>
                    <a:pt x="92" y="87"/>
                  </a:lnTo>
                  <a:lnTo>
                    <a:pt x="88" y="87"/>
                  </a:lnTo>
                  <a:lnTo>
                    <a:pt x="88" y="87"/>
                  </a:lnTo>
                  <a:lnTo>
                    <a:pt x="84" y="91"/>
                  </a:lnTo>
                  <a:lnTo>
                    <a:pt x="84" y="91"/>
                  </a:lnTo>
                  <a:lnTo>
                    <a:pt x="80" y="91"/>
                  </a:lnTo>
                  <a:lnTo>
                    <a:pt x="76" y="91"/>
                  </a:lnTo>
                  <a:lnTo>
                    <a:pt x="64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56" y="91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2" y="87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6" y="71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1"/>
                  </a:lnTo>
                  <a:lnTo>
                    <a:pt x="24" y="75"/>
                  </a:lnTo>
                  <a:lnTo>
                    <a:pt x="28" y="75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4" y="71"/>
                  </a:lnTo>
                  <a:lnTo>
                    <a:pt x="24" y="71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0" y="67"/>
                  </a:lnTo>
                  <a:lnTo>
                    <a:pt x="20" y="67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20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12" y="43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8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23"/>
                  </a:lnTo>
                  <a:lnTo>
                    <a:pt x="32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31"/>
                  </a:lnTo>
                  <a:lnTo>
                    <a:pt x="40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60" y="15"/>
                  </a:lnTo>
                  <a:lnTo>
                    <a:pt x="64" y="11"/>
                  </a:lnTo>
                  <a:lnTo>
                    <a:pt x="68" y="7"/>
                  </a:lnTo>
                  <a:lnTo>
                    <a:pt x="76" y="0"/>
                  </a:lnTo>
                  <a:lnTo>
                    <a:pt x="80" y="7"/>
                  </a:lnTo>
                  <a:lnTo>
                    <a:pt x="84" y="11"/>
                  </a:lnTo>
                  <a:lnTo>
                    <a:pt x="88" y="15"/>
                  </a:lnTo>
                  <a:lnTo>
                    <a:pt x="88" y="19"/>
                  </a:lnTo>
                  <a:lnTo>
                    <a:pt x="92" y="23"/>
                  </a:lnTo>
                  <a:lnTo>
                    <a:pt x="96" y="27"/>
                  </a:lnTo>
                  <a:lnTo>
                    <a:pt x="96" y="31"/>
                  </a:lnTo>
                  <a:lnTo>
                    <a:pt x="100" y="35"/>
                  </a:lnTo>
                  <a:lnTo>
                    <a:pt x="103" y="39"/>
                  </a:lnTo>
                  <a:lnTo>
                    <a:pt x="103" y="39"/>
                  </a:lnTo>
                  <a:lnTo>
                    <a:pt x="103" y="43"/>
                  </a:lnTo>
                  <a:lnTo>
                    <a:pt x="103" y="47"/>
                  </a:lnTo>
                  <a:lnTo>
                    <a:pt x="103" y="51"/>
                  </a:lnTo>
                  <a:lnTo>
                    <a:pt x="103" y="59"/>
                  </a:lnTo>
                  <a:lnTo>
                    <a:pt x="103" y="63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71"/>
                  </a:lnTo>
                  <a:lnTo>
                    <a:pt x="100" y="75"/>
                  </a:lnTo>
                  <a:lnTo>
                    <a:pt x="100" y="79"/>
                  </a:lnTo>
                  <a:lnTo>
                    <a:pt x="100" y="83"/>
                  </a:lnTo>
                  <a:close/>
                  <a:moveTo>
                    <a:pt x="12" y="43"/>
                  </a:move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close/>
                  <a:moveTo>
                    <a:pt x="4" y="35"/>
                  </a:move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close/>
                  <a:moveTo>
                    <a:pt x="8" y="35"/>
                  </a:move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close/>
                  <a:moveTo>
                    <a:pt x="0" y="63"/>
                  </a:move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8" y="63"/>
                  </a:lnTo>
                  <a:lnTo>
                    <a:pt x="8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71"/>
                  </a:lnTo>
                  <a:lnTo>
                    <a:pt x="20" y="71"/>
                  </a:lnTo>
                  <a:lnTo>
                    <a:pt x="20" y="71"/>
                  </a:lnTo>
                  <a:lnTo>
                    <a:pt x="20" y="71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8" y="79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" name="Freeform 7"/>
            <p:cNvSpPr>
              <a:spLocks noEditPoints="1"/>
            </p:cNvSpPr>
            <p:nvPr>
              <p:custDataLst>
                <p:tags r:id="rId203"/>
              </p:custDataLst>
            </p:nvPr>
          </p:nvSpPr>
          <p:spPr bwMode="gray">
            <a:xfrm>
              <a:off x="5506155" y="3870736"/>
              <a:ext cx="11865" cy="17797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</a:cxnLst>
              <a:rect l="0" t="0" r="r" b="b"/>
              <a:pathLst>
                <a:path w="8" h="12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close/>
                  <a:moveTo>
                    <a:pt x="8" y="12"/>
                  </a:move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" name="Freeform 8"/>
            <p:cNvSpPr>
              <a:spLocks noEditPoints="1"/>
            </p:cNvSpPr>
            <p:nvPr>
              <p:custDataLst>
                <p:tags r:id="rId204"/>
              </p:custDataLst>
            </p:nvPr>
          </p:nvSpPr>
          <p:spPr bwMode="gray">
            <a:xfrm>
              <a:off x="6351502" y="3858871"/>
              <a:ext cx="106781" cy="166103"/>
            </a:xfrm>
            <a:custGeom>
              <a:avLst/>
              <a:gdLst/>
              <a:ahLst/>
              <a:cxnLst>
                <a:cxn ang="0">
                  <a:pos x="40" y="80"/>
                </a:cxn>
                <a:cxn ang="0">
                  <a:pos x="36" y="84"/>
                </a:cxn>
                <a:cxn ang="0">
                  <a:pos x="32" y="88"/>
                </a:cxn>
                <a:cxn ang="0">
                  <a:pos x="28" y="92"/>
                </a:cxn>
                <a:cxn ang="0">
                  <a:pos x="32" y="80"/>
                </a:cxn>
                <a:cxn ang="0">
                  <a:pos x="28" y="92"/>
                </a:cxn>
                <a:cxn ang="0">
                  <a:pos x="24" y="88"/>
                </a:cxn>
                <a:cxn ang="0">
                  <a:pos x="24" y="88"/>
                </a:cxn>
                <a:cxn ang="0">
                  <a:pos x="24" y="92"/>
                </a:cxn>
                <a:cxn ang="0">
                  <a:pos x="20" y="96"/>
                </a:cxn>
                <a:cxn ang="0">
                  <a:pos x="12" y="72"/>
                </a:cxn>
                <a:cxn ang="0">
                  <a:pos x="12" y="64"/>
                </a:cxn>
                <a:cxn ang="0">
                  <a:pos x="12" y="52"/>
                </a:cxn>
                <a:cxn ang="0">
                  <a:pos x="8" y="48"/>
                </a:cxn>
                <a:cxn ang="0">
                  <a:pos x="0" y="36"/>
                </a:cxn>
                <a:cxn ang="0">
                  <a:pos x="4" y="36"/>
                </a:cxn>
                <a:cxn ang="0">
                  <a:pos x="12" y="28"/>
                </a:cxn>
                <a:cxn ang="0">
                  <a:pos x="8" y="24"/>
                </a:cxn>
                <a:cxn ang="0">
                  <a:pos x="4" y="12"/>
                </a:cxn>
                <a:cxn ang="0">
                  <a:pos x="4" y="4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4" y="12"/>
                </a:cxn>
                <a:cxn ang="0">
                  <a:pos x="28" y="16"/>
                </a:cxn>
                <a:cxn ang="0">
                  <a:pos x="32" y="28"/>
                </a:cxn>
                <a:cxn ang="0">
                  <a:pos x="48" y="28"/>
                </a:cxn>
                <a:cxn ang="0">
                  <a:pos x="64" y="28"/>
                </a:cxn>
                <a:cxn ang="0">
                  <a:pos x="64" y="36"/>
                </a:cxn>
                <a:cxn ang="0">
                  <a:pos x="60" y="48"/>
                </a:cxn>
                <a:cxn ang="0">
                  <a:pos x="52" y="48"/>
                </a:cxn>
                <a:cxn ang="0">
                  <a:pos x="48" y="64"/>
                </a:cxn>
                <a:cxn ang="0">
                  <a:pos x="52" y="72"/>
                </a:cxn>
                <a:cxn ang="0">
                  <a:pos x="60" y="64"/>
                </a:cxn>
                <a:cxn ang="0">
                  <a:pos x="64" y="56"/>
                </a:cxn>
                <a:cxn ang="0">
                  <a:pos x="68" y="68"/>
                </a:cxn>
                <a:cxn ang="0">
                  <a:pos x="68" y="80"/>
                </a:cxn>
                <a:cxn ang="0">
                  <a:pos x="68" y="96"/>
                </a:cxn>
                <a:cxn ang="0">
                  <a:pos x="68" y="104"/>
                </a:cxn>
                <a:cxn ang="0">
                  <a:pos x="64" y="108"/>
                </a:cxn>
                <a:cxn ang="0">
                  <a:pos x="60" y="104"/>
                </a:cxn>
                <a:cxn ang="0">
                  <a:pos x="60" y="96"/>
                </a:cxn>
                <a:cxn ang="0">
                  <a:pos x="56" y="84"/>
                </a:cxn>
                <a:cxn ang="0">
                  <a:pos x="48" y="80"/>
                </a:cxn>
                <a:cxn ang="0">
                  <a:pos x="40" y="72"/>
                </a:cxn>
                <a:cxn ang="0">
                  <a:pos x="36" y="60"/>
                </a:cxn>
                <a:cxn ang="0">
                  <a:pos x="40" y="64"/>
                </a:cxn>
                <a:cxn ang="0">
                  <a:pos x="36" y="76"/>
                </a:cxn>
                <a:cxn ang="0">
                  <a:pos x="40" y="92"/>
                </a:cxn>
                <a:cxn ang="0">
                  <a:pos x="40" y="92"/>
                </a:cxn>
                <a:cxn ang="0">
                  <a:pos x="40" y="80"/>
                </a:cxn>
                <a:cxn ang="0">
                  <a:pos x="44" y="88"/>
                </a:cxn>
                <a:cxn ang="0">
                  <a:pos x="52" y="80"/>
                </a:cxn>
                <a:cxn ang="0">
                  <a:pos x="48" y="84"/>
                </a:cxn>
                <a:cxn ang="0">
                  <a:pos x="44" y="88"/>
                </a:cxn>
              </a:cxnLst>
              <a:rect l="0" t="0" r="r" b="b"/>
              <a:pathLst>
                <a:path w="72" h="112">
                  <a:moveTo>
                    <a:pt x="36" y="68"/>
                  </a:moveTo>
                  <a:lnTo>
                    <a:pt x="36" y="72"/>
                  </a:lnTo>
                  <a:lnTo>
                    <a:pt x="36" y="76"/>
                  </a:lnTo>
                  <a:lnTo>
                    <a:pt x="40" y="80"/>
                  </a:lnTo>
                  <a:lnTo>
                    <a:pt x="40" y="84"/>
                  </a:lnTo>
                  <a:lnTo>
                    <a:pt x="40" y="88"/>
                  </a:lnTo>
                  <a:lnTo>
                    <a:pt x="36" y="88"/>
                  </a:lnTo>
                  <a:lnTo>
                    <a:pt x="36" y="84"/>
                  </a:lnTo>
                  <a:lnTo>
                    <a:pt x="36" y="88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28" y="88"/>
                  </a:lnTo>
                  <a:lnTo>
                    <a:pt x="28" y="92"/>
                  </a:lnTo>
                  <a:lnTo>
                    <a:pt x="28" y="88"/>
                  </a:lnTo>
                  <a:lnTo>
                    <a:pt x="28" y="84"/>
                  </a:lnTo>
                  <a:lnTo>
                    <a:pt x="28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8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4" y="88"/>
                  </a:lnTo>
                  <a:lnTo>
                    <a:pt x="24" y="92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4" y="88"/>
                  </a:lnTo>
                  <a:lnTo>
                    <a:pt x="24" y="92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4" y="12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6" y="28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4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2" y="48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8" y="64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2" y="68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60" y="60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68" y="80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8" y="100"/>
                  </a:lnTo>
                  <a:lnTo>
                    <a:pt x="72" y="100"/>
                  </a:lnTo>
                  <a:lnTo>
                    <a:pt x="72" y="104"/>
                  </a:lnTo>
                  <a:lnTo>
                    <a:pt x="68" y="104"/>
                  </a:lnTo>
                  <a:lnTo>
                    <a:pt x="68" y="100"/>
                  </a:lnTo>
                  <a:lnTo>
                    <a:pt x="64" y="100"/>
                  </a:lnTo>
                  <a:lnTo>
                    <a:pt x="64" y="104"/>
                  </a:lnTo>
                  <a:lnTo>
                    <a:pt x="64" y="108"/>
                  </a:lnTo>
                  <a:lnTo>
                    <a:pt x="64" y="112"/>
                  </a:lnTo>
                  <a:lnTo>
                    <a:pt x="64" y="108"/>
                  </a:lnTo>
                  <a:lnTo>
                    <a:pt x="60" y="108"/>
                  </a:lnTo>
                  <a:lnTo>
                    <a:pt x="60" y="104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88"/>
                  </a:lnTo>
                  <a:lnTo>
                    <a:pt x="56" y="88"/>
                  </a:lnTo>
                  <a:lnTo>
                    <a:pt x="56" y="84"/>
                  </a:lnTo>
                  <a:lnTo>
                    <a:pt x="56" y="80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80"/>
                  </a:lnTo>
                  <a:lnTo>
                    <a:pt x="44" y="80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36" y="68"/>
                  </a:lnTo>
                  <a:close/>
                  <a:moveTo>
                    <a:pt x="40" y="76"/>
                  </a:moveTo>
                  <a:lnTo>
                    <a:pt x="36" y="76"/>
                  </a:lnTo>
                  <a:lnTo>
                    <a:pt x="36" y="72"/>
                  </a:lnTo>
                  <a:lnTo>
                    <a:pt x="40" y="72"/>
                  </a:lnTo>
                  <a:lnTo>
                    <a:pt x="40" y="76"/>
                  </a:lnTo>
                  <a:close/>
                  <a:moveTo>
                    <a:pt x="40" y="92"/>
                  </a:moveTo>
                  <a:lnTo>
                    <a:pt x="36" y="92"/>
                  </a:lnTo>
                  <a:lnTo>
                    <a:pt x="36" y="88"/>
                  </a:lnTo>
                  <a:lnTo>
                    <a:pt x="40" y="88"/>
                  </a:lnTo>
                  <a:lnTo>
                    <a:pt x="40" y="92"/>
                  </a:lnTo>
                  <a:close/>
                  <a:moveTo>
                    <a:pt x="40" y="92"/>
                  </a:moveTo>
                  <a:lnTo>
                    <a:pt x="40" y="88"/>
                  </a:lnTo>
                  <a:lnTo>
                    <a:pt x="40" y="84"/>
                  </a:lnTo>
                  <a:lnTo>
                    <a:pt x="40" y="80"/>
                  </a:lnTo>
                  <a:lnTo>
                    <a:pt x="40" y="76"/>
                  </a:lnTo>
                  <a:lnTo>
                    <a:pt x="44" y="80"/>
                  </a:lnTo>
                  <a:lnTo>
                    <a:pt x="44" y="84"/>
                  </a:lnTo>
                  <a:lnTo>
                    <a:pt x="44" y="88"/>
                  </a:lnTo>
                  <a:lnTo>
                    <a:pt x="40" y="88"/>
                  </a:lnTo>
                  <a:lnTo>
                    <a:pt x="40" y="92"/>
                  </a:lnTo>
                  <a:close/>
                  <a:moveTo>
                    <a:pt x="52" y="84"/>
                  </a:moveTo>
                  <a:lnTo>
                    <a:pt x="52" y="80"/>
                  </a:lnTo>
                  <a:lnTo>
                    <a:pt x="52" y="84"/>
                  </a:lnTo>
                  <a:close/>
                  <a:moveTo>
                    <a:pt x="44" y="88"/>
                  </a:moveTo>
                  <a:lnTo>
                    <a:pt x="48" y="88"/>
                  </a:lnTo>
                  <a:lnTo>
                    <a:pt x="48" y="84"/>
                  </a:lnTo>
                  <a:lnTo>
                    <a:pt x="48" y="80"/>
                  </a:lnTo>
                  <a:lnTo>
                    <a:pt x="48" y="84"/>
                  </a:lnTo>
                  <a:lnTo>
                    <a:pt x="48" y="88"/>
                  </a:lnTo>
                  <a:lnTo>
                    <a:pt x="44" y="88"/>
                  </a:lnTo>
                  <a:close/>
                  <a:moveTo>
                    <a:pt x="60" y="100"/>
                  </a:moveTo>
                  <a:lnTo>
                    <a:pt x="60" y="96"/>
                  </a:lnTo>
                  <a:lnTo>
                    <a:pt x="60" y="1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" name="Freeform 9"/>
            <p:cNvSpPr>
              <a:spLocks/>
            </p:cNvSpPr>
            <p:nvPr>
              <p:custDataLst>
                <p:tags r:id="rId205"/>
              </p:custDataLst>
            </p:nvPr>
          </p:nvSpPr>
          <p:spPr bwMode="gray">
            <a:xfrm>
              <a:off x="6369299" y="3811413"/>
              <a:ext cx="77119" cy="47458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40" y="28"/>
                </a:cxn>
                <a:cxn ang="0">
                  <a:pos x="40" y="28"/>
                </a:cxn>
                <a:cxn ang="0">
                  <a:pos x="40" y="32"/>
                </a:cxn>
                <a:cxn ang="0">
                  <a:pos x="36" y="28"/>
                </a:cxn>
                <a:cxn ang="0">
                  <a:pos x="32" y="32"/>
                </a:cxn>
                <a:cxn ang="0">
                  <a:pos x="28" y="32"/>
                </a:cxn>
                <a:cxn ang="0">
                  <a:pos x="24" y="28"/>
                </a:cxn>
                <a:cxn ang="0">
                  <a:pos x="20" y="28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2" y="8"/>
                </a:cxn>
                <a:cxn ang="0">
                  <a:pos x="36" y="8"/>
                </a:cxn>
                <a:cxn ang="0">
                  <a:pos x="40" y="4"/>
                </a:cxn>
                <a:cxn ang="0">
                  <a:pos x="40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52" y="20"/>
                </a:cxn>
                <a:cxn ang="0">
                  <a:pos x="48" y="24"/>
                </a:cxn>
                <a:cxn ang="0">
                  <a:pos x="52" y="28"/>
                </a:cxn>
                <a:cxn ang="0">
                  <a:pos x="48" y="28"/>
                </a:cxn>
              </a:cxnLst>
              <a:rect l="0" t="0" r="r" b="b"/>
              <a:pathLst>
                <a:path w="52" h="32">
                  <a:moveTo>
                    <a:pt x="48" y="28"/>
                  </a:move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8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" name="Freeform 10"/>
            <p:cNvSpPr>
              <a:spLocks noEditPoints="1"/>
            </p:cNvSpPr>
            <p:nvPr>
              <p:custDataLst>
                <p:tags r:id="rId206"/>
              </p:custDataLst>
            </p:nvPr>
          </p:nvSpPr>
          <p:spPr bwMode="gray">
            <a:xfrm>
              <a:off x="6937312" y="4456547"/>
              <a:ext cx="29661" cy="29661"/>
            </a:xfrm>
            <a:custGeom>
              <a:avLst/>
              <a:gdLst/>
              <a:ahLst/>
              <a:cxnLst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12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8"/>
                </a:cxn>
                <a:cxn ang="0">
                  <a:pos x="12" y="8"/>
                </a:cxn>
              </a:cxnLst>
              <a:rect l="0" t="0" r="r" b="b"/>
              <a:pathLst>
                <a:path w="20" h="20"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close/>
                  <a:moveTo>
                    <a:pt x="16" y="4"/>
                  </a:moveTo>
                  <a:lnTo>
                    <a:pt x="16" y="4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" name="Freeform 11"/>
            <p:cNvSpPr>
              <a:spLocks/>
            </p:cNvSpPr>
            <p:nvPr>
              <p:custDataLst>
                <p:tags r:id="rId207"/>
              </p:custDataLst>
            </p:nvPr>
          </p:nvSpPr>
          <p:spPr bwMode="gray">
            <a:xfrm>
              <a:off x="6670361" y="4195527"/>
              <a:ext cx="118645" cy="118645"/>
            </a:xfrm>
            <a:custGeom>
              <a:avLst/>
              <a:gdLst/>
              <a:ahLst/>
              <a:cxnLst>
                <a:cxn ang="0">
                  <a:pos x="44" y="72"/>
                </a:cxn>
                <a:cxn ang="0">
                  <a:pos x="40" y="76"/>
                </a:cxn>
                <a:cxn ang="0">
                  <a:pos x="40" y="76"/>
                </a:cxn>
                <a:cxn ang="0">
                  <a:pos x="36" y="76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20" y="72"/>
                </a:cxn>
                <a:cxn ang="0">
                  <a:pos x="24" y="68"/>
                </a:cxn>
                <a:cxn ang="0">
                  <a:pos x="20" y="68"/>
                </a:cxn>
                <a:cxn ang="0">
                  <a:pos x="12" y="68"/>
                </a:cxn>
                <a:cxn ang="0">
                  <a:pos x="12" y="60"/>
                </a:cxn>
                <a:cxn ang="0">
                  <a:pos x="12" y="56"/>
                </a:cxn>
                <a:cxn ang="0">
                  <a:pos x="12" y="56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2" y="56"/>
                </a:cxn>
                <a:cxn ang="0">
                  <a:pos x="8" y="52"/>
                </a:cxn>
                <a:cxn ang="0">
                  <a:pos x="8" y="40"/>
                </a:cxn>
                <a:cxn ang="0">
                  <a:pos x="4" y="36"/>
                </a:cxn>
                <a:cxn ang="0">
                  <a:pos x="4" y="28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8" y="4"/>
                </a:cxn>
                <a:cxn ang="0">
                  <a:pos x="36" y="4"/>
                </a:cxn>
                <a:cxn ang="0">
                  <a:pos x="40" y="4"/>
                </a:cxn>
                <a:cxn ang="0">
                  <a:pos x="44" y="8"/>
                </a:cxn>
                <a:cxn ang="0">
                  <a:pos x="44" y="4"/>
                </a:cxn>
                <a:cxn ang="0">
                  <a:pos x="52" y="8"/>
                </a:cxn>
                <a:cxn ang="0">
                  <a:pos x="56" y="12"/>
                </a:cxn>
                <a:cxn ang="0">
                  <a:pos x="60" y="8"/>
                </a:cxn>
                <a:cxn ang="0">
                  <a:pos x="60" y="4"/>
                </a:cxn>
                <a:cxn ang="0">
                  <a:pos x="60" y="4"/>
                </a:cxn>
                <a:cxn ang="0">
                  <a:pos x="64" y="0"/>
                </a:cxn>
                <a:cxn ang="0">
                  <a:pos x="68" y="4"/>
                </a:cxn>
                <a:cxn ang="0">
                  <a:pos x="76" y="0"/>
                </a:cxn>
                <a:cxn ang="0">
                  <a:pos x="80" y="4"/>
                </a:cxn>
                <a:cxn ang="0">
                  <a:pos x="80" y="8"/>
                </a:cxn>
                <a:cxn ang="0">
                  <a:pos x="80" y="12"/>
                </a:cxn>
                <a:cxn ang="0">
                  <a:pos x="80" y="24"/>
                </a:cxn>
                <a:cxn ang="0">
                  <a:pos x="80" y="40"/>
                </a:cxn>
                <a:cxn ang="0">
                  <a:pos x="80" y="44"/>
                </a:cxn>
                <a:cxn ang="0">
                  <a:pos x="76" y="44"/>
                </a:cxn>
                <a:cxn ang="0">
                  <a:pos x="72" y="48"/>
                </a:cxn>
                <a:cxn ang="0">
                  <a:pos x="68" y="48"/>
                </a:cxn>
                <a:cxn ang="0">
                  <a:pos x="64" y="52"/>
                </a:cxn>
                <a:cxn ang="0">
                  <a:pos x="60" y="52"/>
                </a:cxn>
                <a:cxn ang="0">
                  <a:pos x="56" y="56"/>
                </a:cxn>
                <a:cxn ang="0">
                  <a:pos x="56" y="60"/>
                </a:cxn>
                <a:cxn ang="0">
                  <a:pos x="60" y="68"/>
                </a:cxn>
                <a:cxn ang="0">
                  <a:pos x="60" y="68"/>
                </a:cxn>
                <a:cxn ang="0">
                  <a:pos x="52" y="68"/>
                </a:cxn>
                <a:cxn ang="0">
                  <a:pos x="52" y="68"/>
                </a:cxn>
                <a:cxn ang="0">
                  <a:pos x="48" y="72"/>
                </a:cxn>
              </a:cxnLst>
              <a:rect l="0" t="0" r="r" b="b"/>
              <a:pathLst>
                <a:path w="80" h="80">
                  <a:moveTo>
                    <a:pt x="44" y="68"/>
                  </a:move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76" y="4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2" y="44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8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" name="Freeform 12"/>
            <p:cNvSpPr>
              <a:spLocks noEditPoints="1"/>
            </p:cNvSpPr>
            <p:nvPr>
              <p:custDataLst>
                <p:tags r:id="rId208"/>
              </p:custDataLst>
            </p:nvPr>
          </p:nvSpPr>
          <p:spPr bwMode="gray">
            <a:xfrm>
              <a:off x="6026711" y="3029839"/>
              <a:ext cx="1371834" cy="1070772"/>
            </a:xfrm>
            <a:custGeom>
              <a:avLst/>
              <a:gdLst/>
              <a:ahLst/>
              <a:cxnLst>
                <a:cxn ang="0">
                  <a:pos x="382" y="555"/>
                </a:cxn>
                <a:cxn ang="0">
                  <a:pos x="351" y="519"/>
                </a:cxn>
                <a:cxn ang="0">
                  <a:pos x="303" y="519"/>
                </a:cxn>
                <a:cxn ang="0">
                  <a:pos x="243" y="531"/>
                </a:cxn>
                <a:cxn ang="0">
                  <a:pos x="195" y="535"/>
                </a:cxn>
                <a:cxn ang="0">
                  <a:pos x="147" y="503"/>
                </a:cxn>
                <a:cxn ang="0">
                  <a:pos x="91" y="475"/>
                </a:cxn>
                <a:cxn ang="0">
                  <a:pos x="83" y="431"/>
                </a:cxn>
                <a:cxn ang="0">
                  <a:pos x="47" y="379"/>
                </a:cxn>
                <a:cxn ang="0">
                  <a:pos x="23" y="339"/>
                </a:cxn>
                <a:cxn ang="0">
                  <a:pos x="19" y="287"/>
                </a:cxn>
                <a:cxn ang="0">
                  <a:pos x="79" y="259"/>
                </a:cxn>
                <a:cxn ang="0">
                  <a:pos x="103" y="208"/>
                </a:cxn>
                <a:cxn ang="0">
                  <a:pos x="131" y="176"/>
                </a:cxn>
                <a:cxn ang="0">
                  <a:pos x="183" y="128"/>
                </a:cxn>
                <a:cxn ang="0">
                  <a:pos x="235" y="120"/>
                </a:cxn>
                <a:cxn ang="0">
                  <a:pos x="259" y="180"/>
                </a:cxn>
                <a:cxn ang="0">
                  <a:pos x="335" y="212"/>
                </a:cxn>
                <a:cxn ang="0">
                  <a:pos x="414" y="236"/>
                </a:cxn>
                <a:cxn ang="0">
                  <a:pos x="510" y="243"/>
                </a:cxn>
                <a:cxn ang="0">
                  <a:pos x="582" y="212"/>
                </a:cxn>
                <a:cxn ang="0">
                  <a:pos x="642" y="176"/>
                </a:cxn>
                <a:cxn ang="0">
                  <a:pos x="702" y="148"/>
                </a:cxn>
                <a:cxn ang="0">
                  <a:pos x="642" y="116"/>
                </a:cxn>
                <a:cxn ang="0">
                  <a:pos x="694" y="68"/>
                </a:cxn>
                <a:cxn ang="0">
                  <a:pos x="725" y="4"/>
                </a:cxn>
                <a:cxn ang="0">
                  <a:pos x="797" y="20"/>
                </a:cxn>
                <a:cxn ang="0">
                  <a:pos x="817" y="84"/>
                </a:cxn>
                <a:cxn ang="0">
                  <a:pos x="873" y="128"/>
                </a:cxn>
                <a:cxn ang="0">
                  <a:pos x="917" y="148"/>
                </a:cxn>
                <a:cxn ang="0">
                  <a:pos x="873" y="192"/>
                </a:cxn>
                <a:cxn ang="0">
                  <a:pos x="853" y="236"/>
                </a:cxn>
                <a:cxn ang="0">
                  <a:pos x="801" y="259"/>
                </a:cxn>
                <a:cxn ang="0">
                  <a:pos x="745" y="303"/>
                </a:cxn>
                <a:cxn ang="0">
                  <a:pos x="737" y="287"/>
                </a:cxn>
                <a:cxn ang="0">
                  <a:pos x="674" y="307"/>
                </a:cxn>
                <a:cxn ang="0">
                  <a:pos x="710" y="343"/>
                </a:cxn>
                <a:cxn ang="0">
                  <a:pos x="714" y="363"/>
                </a:cxn>
                <a:cxn ang="0">
                  <a:pos x="710" y="411"/>
                </a:cxn>
                <a:cxn ang="0">
                  <a:pos x="710" y="455"/>
                </a:cxn>
                <a:cxn ang="0">
                  <a:pos x="725" y="479"/>
                </a:cxn>
                <a:cxn ang="0">
                  <a:pos x="729" y="503"/>
                </a:cxn>
                <a:cxn ang="0">
                  <a:pos x="718" y="531"/>
                </a:cxn>
                <a:cxn ang="0">
                  <a:pos x="706" y="559"/>
                </a:cxn>
                <a:cxn ang="0">
                  <a:pos x="694" y="579"/>
                </a:cxn>
                <a:cxn ang="0">
                  <a:pos x="670" y="603"/>
                </a:cxn>
                <a:cxn ang="0">
                  <a:pos x="630" y="635"/>
                </a:cxn>
                <a:cxn ang="0">
                  <a:pos x="602" y="635"/>
                </a:cxn>
                <a:cxn ang="0">
                  <a:pos x="574" y="659"/>
                </a:cxn>
                <a:cxn ang="0">
                  <a:pos x="550" y="663"/>
                </a:cxn>
                <a:cxn ang="0">
                  <a:pos x="522" y="659"/>
                </a:cxn>
                <a:cxn ang="0">
                  <a:pos x="462" y="635"/>
                </a:cxn>
                <a:cxn ang="0">
                  <a:pos x="430" y="663"/>
                </a:cxn>
                <a:cxn ang="0">
                  <a:pos x="390" y="627"/>
                </a:cxn>
                <a:cxn ang="0">
                  <a:pos x="722" y="591"/>
                </a:cxn>
                <a:cxn ang="0">
                  <a:pos x="718" y="651"/>
                </a:cxn>
                <a:cxn ang="0">
                  <a:pos x="530" y="698"/>
                </a:cxn>
                <a:cxn ang="0">
                  <a:pos x="554" y="714"/>
                </a:cxn>
                <a:cxn ang="0">
                  <a:pos x="698" y="583"/>
                </a:cxn>
                <a:cxn ang="0">
                  <a:pos x="698" y="451"/>
                </a:cxn>
                <a:cxn ang="0">
                  <a:pos x="558" y="663"/>
                </a:cxn>
              </a:cxnLst>
              <a:rect l="0" t="0" r="r" b="b"/>
              <a:pathLst>
                <a:path w="925" h="722">
                  <a:moveTo>
                    <a:pt x="367" y="615"/>
                  </a:moveTo>
                  <a:lnTo>
                    <a:pt x="367" y="611"/>
                  </a:lnTo>
                  <a:lnTo>
                    <a:pt x="363" y="611"/>
                  </a:lnTo>
                  <a:lnTo>
                    <a:pt x="367" y="611"/>
                  </a:lnTo>
                  <a:lnTo>
                    <a:pt x="367" y="607"/>
                  </a:lnTo>
                  <a:lnTo>
                    <a:pt x="367" y="603"/>
                  </a:lnTo>
                  <a:lnTo>
                    <a:pt x="363" y="603"/>
                  </a:lnTo>
                  <a:lnTo>
                    <a:pt x="363" y="599"/>
                  </a:lnTo>
                  <a:lnTo>
                    <a:pt x="363" y="595"/>
                  </a:lnTo>
                  <a:lnTo>
                    <a:pt x="367" y="595"/>
                  </a:lnTo>
                  <a:lnTo>
                    <a:pt x="367" y="591"/>
                  </a:lnTo>
                  <a:lnTo>
                    <a:pt x="367" y="587"/>
                  </a:lnTo>
                  <a:lnTo>
                    <a:pt x="371" y="587"/>
                  </a:lnTo>
                  <a:lnTo>
                    <a:pt x="371" y="583"/>
                  </a:lnTo>
                  <a:lnTo>
                    <a:pt x="374" y="579"/>
                  </a:lnTo>
                  <a:lnTo>
                    <a:pt x="378" y="579"/>
                  </a:lnTo>
                  <a:lnTo>
                    <a:pt x="378" y="575"/>
                  </a:lnTo>
                  <a:lnTo>
                    <a:pt x="382" y="575"/>
                  </a:lnTo>
                  <a:lnTo>
                    <a:pt x="378" y="575"/>
                  </a:lnTo>
                  <a:lnTo>
                    <a:pt x="378" y="571"/>
                  </a:lnTo>
                  <a:lnTo>
                    <a:pt x="382" y="571"/>
                  </a:lnTo>
                  <a:lnTo>
                    <a:pt x="382" y="567"/>
                  </a:lnTo>
                  <a:lnTo>
                    <a:pt x="382" y="563"/>
                  </a:lnTo>
                  <a:lnTo>
                    <a:pt x="382" y="559"/>
                  </a:lnTo>
                  <a:lnTo>
                    <a:pt x="382" y="555"/>
                  </a:lnTo>
                  <a:lnTo>
                    <a:pt x="382" y="551"/>
                  </a:lnTo>
                  <a:lnTo>
                    <a:pt x="382" y="547"/>
                  </a:lnTo>
                  <a:lnTo>
                    <a:pt x="382" y="543"/>
                  </a:lnTo>
                  <a:lnTo>
                    <a:pt x="378" y="543"/>
                  </a:lnTo>
                  <a:lnTo>
                    <a:pt x="378" y="539"/>
                  </a:lnTo>
                  <a:lnTo>
                    <a:pt x="378" y="543"/>
                  </a:lnTo>
                  <a:lnTo>
                    <a:pt x="374" y="543"/>
                  </a:lnTo>
                  <a:lnTo>
                    <a:pt x="374" y="539"/>
                  </a:lnTo>
                  <a:lnTo>
                    <a:pt x="374" y="535"/>
                  </a:lnTo>
                  <a:lnTo>
                    <a:pt x="371" y="535"/>
                  </a:lnTo>
                  <a:lnTo>
                    <a:pt x="371" y="531"/>
                  </a:lnTo>
                  <a:lnTo>
                    <a:pt x="371" y="527"/>
                  </a:lnTo>
                  <a:lnTo>
                    <a:pt x="367" y="527"/>
                  </a:lnTo>
                  <a:lnTo>
                    <a:pt x="367" y="523"/>
                  </a:lnTo>
                  <a:lnTo>
                    <a:pt x="363" y="523"/>
                  </a:lnTo>
                  <a:lnTo>
                    <a:pt x="363" y="527"/>
                  </a:lnTo>
                  <a:lnTo>
                    <a:pt x="359" y="527"/>
                  </a:lnTo>
                  <a:lnTo>
                    <a:pt x="359" y="531"/>
                  </a:lnTo>
                  <a:lnTo>
                    <a:pt x="359" y="527"/>
                  </a:lnTo>
                  <a:lnTo>
                    <a:pt x="355" y="527"/>
                  </a:lnTo>
                  <a:lnTo>
                    <a:pt x="351" y="527"/>
                  </a:lnTo>
                  <a:lnTo>
                    <a:pt x="351" y="523"/>
                  </a:lnTo>
                  <a:lnTo>
                    <a:pt x="347" y="527"/>
                  </a:lnTo>
                  <a:lnTo>
                    <a:pt x="347" y="523"/>
                  </a:lnTo>
                  <a:lnTo>
                    <a:pt x="351" y="519"/>
                  </a:lnTo>
                  <a:lnTo>
                    <a:pt x="347" y="515"/>
                  </a:lnTo>
                  <a:lnTo>
                    <a:pt x="347" y="511"/>
                  </a:lnTo>
                  <a:lnTo>
                    <a:pt x="347" y="515"/>
                  </a:lnTo>
                  <a:lnTo>
                    <a:pt x="343" y="515"/>
                  </a:lnTo>
                  <a:lnTo>
                    <a:pt x="343" y="511"/>
                  </a:lnTo>
                  <a:lnTo>
                    <a:pt x="347" y="511"/>
                  </a:lnTo>
                  <a:lnTo>
                    <a:pt x="347" y="507"/>
                  </a:lnTo>
                  <a:lnTo>
                    <a:pt x="343" y="511"/>
                  </a:lnTo>
                  <a:lnTo>
                    <a:pt x="343" y="507"/>
                  </a:lnTo>
                  <a:lnTo>
                    <a:pt x="343" y="503"/>
                  </a:lnTo>
                  <a:lnTo>
                    <a:pt x="339" y="507"/>
                  </a:lnTo>
                  <a:lnTo>
                    <a:pt x="335" y="507"/>
                  </a:lnTo>
                  <a:lnTo>
                    <a:pt x="335" y="511"/>
                  </a:lnTo>
                  <a:lnTo>
                    <a:pt x="331" y="511"/>
                  </a:lnTo>
                  <a:lnTo>
                    <a:pt x="331" y="515"/>
                  </a:lnTo>
                  <a:lnTo>
                    <a:pt x="327" y="511"/>
                  </a:lnTo>
                  <a:lnTo>
                    <a:pt x="323" y="511"/>
                  </a:lnTo>
                  <a:lnTo>
                    <a:pt x="323" y="507"/>
                  </a:lnTo>
                  <a:lnTo>
                    <a:pt x="319" y="507"/>
                  </a:lnTo>
                  <a:lnTo>
                    <a:pt x="319" y="511"/>
                  </a:lnTo>
                  <a:lnTo>
                    <a:pt x="315" y="511"/>
                  </a:lnTo>
                  <a:lnTo>
                    <a:pt x="311" y="515"/>
                  </a:lnTo>
                  <a:lnTo>
                    <a:pt x="311" y="519"/>
                  </a:lnTo>
                  <a:lnTo>
                    <a:pt x="307" y="519"/>
                  </a:lnTo>
                  <a:lnTo>
                    <a:pt x="303" y="519"/>
                  </a:lnTo>
                  <a:lnTo>
                    <a:pt x="299" y="523"/>
                  </a:lnTo>
                  <a:lnTo>
                    <a:pt x="299" y="527"/>
                  </a:lnTo>
                  <a:lnTo>
                    <a:pt x="295" y="527"/>
                  </a:lnTo>
                  <a:lnTo>
                    <a:pt x="291" y="531"/>
                  </a:lnTo>
                  <a:lnTo>
                    <a:pt x="291" y="535"/>
                  </a:lnTo>
                  <a:lnTo>
                    <a:pt x="287" y="535"/>
                  </a:lnTo>
                  <a:lnTo>
                    <a:pt x="283" y="539"/>
                  </a:lnTo>
                  <a:lnTo>
                    <a:pt x="283" y="535"/>
                  </a:lnTo>
                  <a:lnTo>
                    <a:pt x="283" y="539"/>
                  </a:lnTo>
                  <a:lnTo>
                    <a:pt x="279" y="539"/>
                  </a:lnTo>
                  <a:lnTo>
                    <a:pt x="275" y="539"/>
                  </a:lnTo>
                  <a:lnTo>
                    <a:pt x="275" y="535"/>
                  </a:lnTo>
                  <a:lnTo>
                    <a:pt x="271" y="535"/>
                  </a:lnTo>
                  <a:lnTo>
                    <a:pt x="271" y="531"/>
                  </a:lnTo>
                  <a:lnTo>
                    <a:pt x="267" y="531"/>
                  </a:lnTo>
                  <a:lnTo>
                    <a:pt x="267" y="535"/>
                  </a:lnTo>
                  <a:lnTo>
                    <a:pt x="263" y="535"/>
                  </a:lnTo>
                  <a:lnTo>
                    <a:pt x="263" y="531"/>
                  </a:lnTo>
                  <a:lnTo>
                    <a:pt x="259" y="531"/>
                  </a:lnTo>
                  <a:lnTo>
                    <a:pt x="255" y="531"/>
                  </a:lnTo>
                  <a:lnTo>
                    <a:pt x="255" y="527"/>
                  </a:lnTo>
                  <a:lnTo>
                    <a:pt x="251" y="527"/>
                  </a:lnTo>
                  <a:lnTo>
                    <a:pt x="247" y="527"/>
                  </a:lnTo>
                  <a:lnTo>
                    <a:pt x="247" y="531"/>
                  </a:lnTo>
                  <a:lnTo>
                    <a:pt x="243" y="531"/>
                  </a:lnTo>
                  <a:lnTo>
                    <a:pt x="239" y="535"/>
                  </a:lnTo>
                  <a:lnTo>
                    <a:pt x="239" y="539"/>
                  </a:lnTo>
                  <a:lnTo>
                    <a:pt x="235" y="539"/>
                  </a:lnTo>
                  <a:lnTo>
                    <a:pt x="235" y="543"/>
                  </a:lnTo>
                  <a:lnTo>
                    <a:pt x="235" y="547"/>
                  </a:lnTo>
                  <a:lnTo>
                    <a:pt x="231" y="547"/>
                  </a:lnTo>
                  <a:lnTo>
                    <a:pt x="231" y="543"/>
                  </a:lnTo>
                  <a:lnTo>
                    <a:pt x="231" y="539"/>
                  </a:lnTo>
                  <a:lnTo>
                    <a:pt x="231" y="535"/>
                  </a:lnTo>
                  <a:lnTo>
                    <a:pt x="231" y="531"/>
                  </a:lnTo>
                  <a:lnTo>
                    <a:pt x="227" y="531"/>
                  </a:lnTo>
                  <a:lnTo>
                    <a:pt x="223" y="535"/>
                  </a:lnTo>
                  <a:lnTo>
                    <a:pt x="219" y="535"/>
                  </a:lnTo>
                  <a:lnTo>
                    <a:pt x="215" y="535"/>
                  </a:lnTo>
                  <a:lnTo>
                    <a:pt x="215" y="539"/>
                  </a:lnTo>
                  <a:lnTo>
                    <a:pt x="215" y="535"/>
                  </a:lnTo>
                  <a:lnTo>
                    <a:pt x="215" y="539"/>
                  </a:lnTo>
                  <a:lnTo>
                    <a:pt x="211" y="539"/>
                  </a:lnTo>
                  <a:lnTo>
                    <a:pt x="211" y="535"/>
                  </a:lnTo>
                  <a:lnTo>
                    <a:pt x="207" y="535"/>
                  </a:lnTo>
                  <a:lnTo>
                    <a:pt x="207" y="539"/>
                  </a:lnTo>
                  <a:lnTo>
                    <a:pt x="207" y="535"/>
                  </a:lnTo>
                  <a:lnTo>
                    <a:pt x="203" y="535"/>
                  </a:lnTo>
                  <a:lnTo>
                    <a:pt x="199" y="531"/>
                  </a:lnTo>
                  <a:lnTo>
                    <a:pt x="195" y="535"/>
                  </a:lnTo>
                  <a:lnTo>
                    <a:pt x="191" y="535"/>
                  </a:lnTo>
                  <a:lnTo>
                    <a:pt x="191" y="531"/>
                  </a:lnTo>
                  <a:lnTo>
                    <a:pt x="191" y="535"/>
                  </a:lnTo>
                  <a:lnTo>
                    <a:pt x="187" y="535"/>
                  </a:lnTo>
                  <a:lnTo>
                    <a:pt x="187" y="531"/>
                  </a:lnTo>
                  <a:lnTo>
                    <a:pt x="183" y="527"/>
                  </a:lnTo>
                  <a:lnTo>
                    <a:pt x="179" y="527"/>
                  </a:lnTo>
                  <a:lnTo>
                    <a:pt x="175" y="527"/>
                  </a:lnTo>
                  <a:lnTo>
                    <a:pt x="175" y="523"/>
                  </a:lnTo>
                  <a:lnTo>
                    <a:pt x="175" y="519"/>
                  </a:lnTo>
                  <a:lnTo>
                    <a:pt x="175" y="523"/>
                  </a:lnTo>
                  <a:lnTo>
                    <a:pt x="171" y="523"/>
                  </a:lnTo>
                  <a:lnTo>
                    <a:pt x="167" y="523"/>
                  </a:lnTo>
                  <a:lnTo>
                    <a:pt x="167" y="519"/>
                  </a:lnTo>
                  <a:lnTo>
                    <a:pt x="163" y="519"/>
                  </a:lnTo>
                  <a:lnTo>
                    <a:pt x="163" y="515"/>
                  </a:lnTo>
                  <a:lnTo>
                    <a:pt x="163" y="511"/>
                  </a:lnTo>
                  <a:lnTo>
                    <a:pt x="159" y="511"/>
                  </a:lnTo>
                  <a:lnTo>
                    <a:pt x="159" y="507"/>
                  </a:lnTo>
                  <a:lnTo>
                    <a:pt x="155" y="507"/>
                  </a:lnTo>
                  <a:lnTo>
                    <a:pt x="155" y="511"/>
                  </a:lnTo>
                  <a:lnTo>
                    <a:pt x="151" y="511"/>
                  </a:lnTo>
                  <a:lnTo>
                    <a:pt x="151" y="507"/>
                  </a:lnTo>
                  <a:lnTo>
                    <a:pt x="147" y="507"/>
                  </a:lnTo>
                  <a:lnTo>
                    <a:pt x="147" y="503"/>
                  </a:lnTo>
                  <a:lnTo>
                    <a:pt x="143" y="503"/>
                  </a:lnTo>
                  <a:lnTo>
                    <a:pt x="143" y="499"/>
                  </a:lnTo>
                  <a:lnTo>
                    <a:pt x="139" y="499"/>
                  </a:lnTo>
                  <a:lnTo>
                    <a:pt x="135" y="495"/>
                  </a:lnTo>
                  <a:lnTo>
                    <a:pt x="131" y="491"/>
                  </a:lnTo>
                  <a:lnTo>
                    <a:pt x="131" y="495"/>
                  </a:lnTo>
                  <a:lnTo>
                    <a:pt x="131" y="491"/>
                  </a:lnTo>
                  <a:lnTo>
                    <a:pt x="131" y="487"/>
                  </a:lnTo>
                  <a:lnTo>
                    <a:pt x="127" y="487"/>
                  </a:lnTo>
                  <a:lnTo>
                    <a:pt x="123" y="487"/>
                  </a:lnTo>
                  <a:lnTo>
                    <a:pt x="119" y="487"/>
                  </a:lnTo>
                  <a:lnTo>
                    <a:pt x="119" y="491"/>
                  </a:lnTo>
                  <a:lnTo>
                    <a:pt x="115" y="495"/>
                  </a:lnTo>
                  <a:lnTo>
                    <a:pt x="115" y="491"/>
                  </a:lnTo>
                  <a:lnTo>
                    <a:pt x="111" y="491"/>
                  </a:lnTo>
                  <a:lnTo>
                    <a:pt x="115" y="491"/>
                  </a:lnTo>
                  <a:lnTo>
                    <a:pt x="111" y="491"/>
                  </a:lnTo>
                  <a:lnTo>
                    <a:pt x="111" y="487"/>
                  </a:lnTo>
                  <a:lnTo>
                    <a:pt x="107" y="487"/>
                  </a:lnTo>
                  <a:lnTo>
                    <a:pt x="103" y="483"/>
                  </a:lnTo>
                  <a:lnTo>
                    <a:pt x="99" y="483"/>
                  </a:lnTo>
                  <a:lnTo>
                    <a:pt x="103" y="479"/>
                  </a:lnTo>
                  <a:lnTo>
                    <a:pt x="99" y="479"/>
                  </a:lnTo>
                  <a:lnTo>
                    <a:pt x="95" y="475"/>
                  </a:lnTo>
                  <a:lnTo>
                    <a:pt x="91" y="475"/>
                  </a:lnTo>
                  <a:lnTo>
                    <a:pt x="87" y="475"/>
                  </a:lnTo>
                  <a:lnTo>
                    <a:pt x="87" y="471"/>
                  </a:lnTo>
                  <a:lnTo>
                    <a:pt x="87" y="467"/>
                  </a:lnTo>
                  <a:lnTo>
                    <a:pt x="83" y="467"/>
                  </a:lnTo>
                  <a:lnTo>
                    <a:pt x="79" y="467"/>
                  </a:lnTo>
                  <a:lnTo>
                    <a:pt x="79" y="471"/>
                  </a:lnTo>
                  <a:lnTo>
                    <a:pt x="79" y="467"/>
                  </a:lnTo>
                  <a:lnTo>
                    <a:pt x="79" y="463"/>
                  </a:lnTo>
                  <a:lnTo>
                    <a:pt x="79" y="459"/>
                  </a:lnTo>
                  <a:lnTo>
                    <a:pt x="79" y="455"/>
                  </a:lnTo>
                  <a:lnTo>
                    <a:pt x="75" y="455"/>
                  </a:lnTo>
                  <a:lnTo>
                    <a:pt x="75" y="451"/>
                  </a:lnTo>
                  <a:lnTo>
                    <a:pt x="75" y="447"/>
                  </a:lnTo>
                  <a:lnTo>
                    <a:pt x="75" y="443"/>
                  </a:lnTo>
                  <a:lnTo>
                    <a:pt x="79" y="443"/>
                  </a:lnTo>
                  <a:lnTo>
                    <a:pt x="79" y="447"/>
                  </a:lnTo>
                  <a:lnTo>
                    <a:pt x="83" y="447"/>
                  </a:lnTo>
                  <a:lnTo>
                    <a:pt x="87" y="443"/>
                  </a:lnTo>
                  <a:lnTo>
                    <a:pt x="87" y="447"/>
                  </a:lnTo>
                  <a:lnTo>
                    <a:pt x="91" y="443"/>
                  </a:lnTo>
                  <a:lnTo>
                    <a:pt x="91" y="439"/>
                  </a:lnTo>
                  <a:lnTo>
                    <a:pt x="87" y="439"/>
                  </a:lnTo>
                  <a:lnTo>
                    <a:pt x="87" y="435"/>
                  </a:lnTo>
                  <a:lnTo>
                    <a:pt x="87" y="431"/>
                  </a:lnTo>
                  <a:lnTo>
                    <a:pt x="83" y="431"/>
                  </a:lnTo>
                  <a:lnTo>
                    <a:pt x="83" y="427"/>
                  </a:lnTo>
                  <a:lnTo>
                    <a:pt x="79" y="427"/>
                  </a:lnTo>
                  <a:lnTo>
                    <a:pt x="79" y="423"/>
                  </a:lnTo>
                  <a:lnTo>
                    <a:pt x="79" y="419"/>
                  </a:lnTo>
                  <a:lnTo>
                    <a:pt x="79" y="415"/>
                  </a:lnTo>
                  <a:lnTo>
                    <a:pt x="79" y="411"/>
                  </a:lnTo>
                  <a:lnTo>
                    <a:pt x="83" y="411"/>
                  </a:lnTo>
                  <a:lnTo>
                    <a:pt x="83" y="407"/>
                  </a:lnTo>
                  <a:lnTo>
                    <a:pt x="79" y="403"/>
                  </a:lnTo>
                  <a:lnTo>
                    <a:pt x="75" y="403"/>
                  </a:lnTo>
                  <a:lnTo>
                    <a:pt x="71" y="403"/>
                  </a:lnTo>
                  <a:lnTo>
                    <a:pt x="71" y="399"/>
                  </a:lnTo>
                  <a:lnTo>
                    <a:pt x="71" y="395"/>
                  </a:lnTo>
                  <a:lnTo>
                    <a:pt x="67" y="391"/>
                  </a:lnTo>
                  <a:lnTo>
                    <a:pt x="67" y="387"/>
                  </a:lnTo>
                  <a:lnTo>
                    <a:pt x="67" y="383"/>
                  </a:lnTo>
                  <a:lnTo>
                    <a:pt x="67" y="387"/>
                  </a:lnTo>
                  <a:lnTo>
                    <a:pt x="63" y="387"/>
                  </a:lnTo>
                  <a:lnTo>
                    <a:pt x="63" y="383"/>
                  </a:lnTo>
                  <a:lnTo>
                    <a:pt x="63" y="387"/>
                  </a:lnTo>
                  <a:lnTo>
                    <a:pt x="59" y="387"/>
                  </a:lnTo>
                  <a:lnTo>
                    <a:pt x="55" y="383"/>
                  </a:lnTo>
                  <a:lnTo>
                    <a:pt x="51" y="383"/>
                  </a:lnTo>
                  <a:lnTo>
                    <a:pt x="47" y="383"/>
                  </a:lnTo>
                  <a:lnTo>
                    <a:pt x="47" y="379"/>
                  </a:lnTo>
                  <a:lnTo>
                    <a:pt x="47" y="375"/>
                  </a:lnTo>
                  <a:lnTo>
                    <a:pt x="43" y="379"/>
                  </a:lnTo>
                  <a:lnTo>
                    <a:pt x="39" y="379"/>
                  </a:lnTo>
                  <a:lnTo>
                    <a:pt x="39" y="375"/>
                  </a:lnTo>
                  <a:lnTo>
                    <a:pt x="35" y="375"/>
                  </a:lnTo>
                  <a:lnTo>
                    <a:pt x="35" y="371"/>
                  </a:lnTo>
                  <a:lnTo>
                    <a:pt x="39" y="371"/>
                  </a:lnTo>
                  <a:lnTo>
                    <a:pt x="35" y="367"/>
                  </a:lnTo>
                  <a:lnTo>
                    <a:pt x="35" y="363"/>
                  </a:lnTo>
                  <a:lnTo>
                    <a:pt x="35" y="359"/>
                  </a:lnTo>
                  <a:lnTo>
                    <a:pt x="31" y="359"/>
                  </a:lnTo>
                  <a:lnTo>
                    <a:pt x="27" y="359"/>
                  </a:lnTo>
                  <a:lnTo>
                    <a:pt x="27" y="355"/>
                  </a:lnTo>
                  <a:lnTo>
                    <a:pt x="23" y="355"/>
                  </a:lnTo>
                  <a:lnTo>
                    <a:pt x="19" y="355"/>
                  </a:lnTo>
                  <a:lnTo>
                    <a:pt x="16" y="355"/>
                  </a:lnTo>
                  <a:lnTo>
                    <a:pt x="12" y="351"/>
                  </a:lnTo>
                  <a:lnTo>
                    <a:pt x="16" y="351"/>
                  </a:lnTo>
                  <a:lnTo>
                    <a:pt x="19" y="347"/>
                  </a:lnTo>
                  <a:lnTo>
                    <a:pt x="19" y="351"/>
                  </a:lnTo>
                  <a:lnTo>
                    <a:pt x="23" y="347"/>
                  </a:lnTo>
                  <a:lnTo>
                    <a:pt x="23" y="343"/>
                  </a:lnTo>
                  <a:lnTo>
                    <a:pt x="19" y="343"/>
                  </a:lnTo>
                  <a:lnTo>
                    <a:pt x="19" y="339"/>
                  </a:lnTo>
                  <a:lnTo>
                    <a:pt x="23" y="339"/>
                  </a:lnTo>
                  <a:lnTo>
                    <a:pt x="19" y="339"/>
                  </a:lnTo>
                  <a:lnTo>
                    <a:pt x="19" y="335"/>
                  </a:lnTo>
                  <a:lnTo>
                    <a:pt x="19" y="331"/>
                  </a:lnTo>
                  <a:lnTo>
                    <a:pt x="19" y="327"/>
                  </a:lnTo>
                  <a:lnTo>
                    <a:pt x="19" y="323"/>
                  </a:lnTo>
                  <a:lnTo>
                    <a:pt x="16" y="323"/>
                  </a:lnTo>
                  <a:lnTo>
                    <a:pt x="12" y="319"/>
                  </a:lnTo>
                  <a:lnTo>
                    <a:pt x="8" y="319"/>
                  </a:lnTo>
                  <a:lnTo>
                    <a:pt x="8" y="323"/>
                  </a:lnTo>
                  <a:lnTo>
                    <a:pt x="4" y="323"/>
                  </a:lnTo>
                  <a:lnTo>
                    <a:pt x="4" y="319"/>
                  </a:lnTo>
                  <a:lnTo>
                    <a:pt x="4" y="315"/>
                  </a:lnTo>
                  <a:lnTo>
                    <a:pt x="4" y="311"/>
                  </a:lnTo>
                  <a:lnTo>
                    <a:pt x="0" y="307"/>
                  </a:lnTo>
                  <a:lnTo>
                    <a:pt x="4" y="307"/>
                  </a:lnTo>
                  <a:lnTo>
                    <a:pt x="4" y="303"/>
                  </a:lnTo>
                  <a:lnTo>
                    <a:pt x="8" y="303"/>
                  </a:lnTo>
                  <a:lnTo>
                    <a:pt x="8" y="299"/>
                  </a:lnTo>
                  <a:lnTo>
                    <a:pt x="4" y="299"/>
                  </a:lnTo>
                  <a:lnTo>
                    <a:pt x="4" y="295"/>
                  </a:lnTo>
                  <a:lnTo>
                    <a:pt x="8" y="291"/>
                  </a:lnTo>
                  <a:lnTo>
                    <a:pt x="12" y="291"/>
                  </a:lnTo>
                  <a:lnTo>
                    <a:pt x="16" y="291"/>
                  </a:lnTo>
                  <a:lnTo>
                    <a:pt x="16" y="287"/>
                  </a:lnTo>
                  <a:lnTo>
                    <a:pt x="19" y="287"/>
                  </a:lnTo>
                  <a:lnTo>
                    <a:pt x="19" y="283"/>
                  </a:lnTo>
                  <a:lnTo>
                    <a:pt x="23" y="283"/>
                  </a:lnTo>
                  <a:lnTo>
                    <a:pt x="27" y="283"/>
                  </a:lnTo>
                  <a:lnTo>
                    <a:pt x="27" y="279"/>
                  </a:lnTo>
                  <a:lnTo>
                    <a:pt x="31" y="279"/>
                  </a:lnTo>
                  <a:lnTo>
                    <a:pt x="31" y="283"/>
                  </a:lnTo>
                  <a:lnTo>
                    <a:pt x="31" y="287"/>
                  </a:lnTo>
                  <a:lnTo>
                    <a:pt x="35" y="287"/>
                  </a:lnTo>
                  <a:lnTo>
                    <a:pt x="39" y="283"/>
                  </a:lnTo>
                  <a:lnTo>
                    <a:pt x="43" y="283"/>
                  </a:lnTo>
                  <a:lnTo>
                    <a:pt x="43" y="287"/>
                  </a:lnTo>
                  <a:lnTo>
                    <a:pt x="43" y="283"/>
                  </a:lnTo>
                  <a:lnTo>
                    <a:pt x="47" y="283"/>
                  </a:lnTo>
                  <a:lnTo>
                    <a:pt x="47" y="279"/>
                  </a:lnTo>
                  <a:lnTo>
                    <a:pt x="47" y="271"/>
                  </a:lnTo>
                  <a:lnTo>
                    <a:pt x="51" y="271"/>
                  </a:lnTo>
                  <a:lnTo>
                    <a:pt x="55" y="271"/>
                  </a:lnTo>
                  <a:lnTo>
                    <a:pt x="59" y="271"/>
                  </a:lnTo>
                  <a:lnTo>
                    <a:pt x="63" y="271"/>
                  </a:lnTo>
                  <a:lnTo>
                    <a:pt x="67" y="271"/>
                  </a:lnTo>
                  <a:lnTo>
                    <a:pt x="71" y="271"/>
                  </a:lnTo>
                  <a:lnTo>
                    <a:pt x="71" y="267"/>
                  </a:lnTo>
                  <a:lnTo>
                    <a:pt x="71" y="263"/>
                  </a:lnTo>
                  <a:lnTo>
                    <a:pt x="75" y="263"/>
                  </a:lnTo>
                  <a:lnTo>
                    <a:pt x="79" y="259"/>
                  </a:lnTo>
                  <a:lnTo>
                    <a:pt x="83" y="259"/>
                  </a:lnTo>
                  <a:lnTo>
                    <a:pt x="83" y="255"/>
                  </a:lnTo>
                  <a:lnTo>
                    <a:pt x="87" y="255"/>
                  </a:lnTo>
                  <a:lnTo>
                    <a:pt x="91" y="255"/>
                  </a:lnTo>
                  <a:lnTo>
                    <a:pt x="95" y="255"/>
                  </a:lnTo>
                  <a:lnTo>
                    <a:pt x="95" y="251"/>
                  </a:lnTo>
                  <a:lnTo>
                    <a:pt x="99" y="251"/>
                  </a:lnTo>
                  <a:lnTo>
                    <a:pt x="103" y="251"/>
                  </a:lnTo>
                  <a:lnTo>
                    <a:pt x="103" y="247"/>
                  </a:lnTo>
                  <a:lnTo>
                    <a:pt x="99" y="247"/>
                  </a:lnTo>
                  <a:lnTo>
                    <a:pt x="103" y="247"/>
                  </a:lnTo>
                  <a:lnTo>
                    <a:pt x="103" y="243"/>
                  </a:lnTo>
                  <a:lnTo>
                    <a:pt x="99" y="243"/>
                  </a:lnTo>
                  <a:lnTo>
                    <a:pt x="99" y="240"/>
                  </a:lnTo>
                  <a:lnTo>
                    <a:pt x="103" y="236"/>
                  </a:lnTo>
                  <a:lnTo>
                    <a:pt x="107" y="232"/>
                  </a:lnTo>
                  <a:lnTo>
                    <a:pt x="103" y="232"/>
                  </a:lnTo>
                  <a:lnTo>
                    <a:pt x="107" y="228"/>
                  </a:lnTo>
                  <a:lnTo>
                    <a:pt x="111" y="228"/>
                  </a:lnTo>
                  <a:lnTo>
                    <a:pt x="111" y="224"/>
                  </a:lnTo>
                  <a:lnTo>
                    <a:pt x="107" y="220"/>
                  </a:lnTo>
                  <a:lnTo>
                    <a:pt x="107" y="216"/>
                  </a:lnTo>
                  <a:lnTo>
                    <a:pt x="107" y="212"/>
                  </a:lnTo>
                  <a:lnTo>
                    <a:pt x="103" y="212"/>
                  </a:lnTo>
                  <a:lnTo>
                    <a:pt x="103" y="208"/>
                  </a:lnTo>
                  <a:lnTo>
                    <a:pt x="103" y="204"/>
                  </a:lnTo>
                  <a:lnTo>
                    <a:pt x="103" y="200"/>
                  </a:lnTo>
                  <a:lnTo>
                    <a:pt x="103" y="196"/>
                  </a:lnTo>
                  <a:lnTo>
                    <a:pt x="107" y="196"/>
                  </a:lnTo>
                  <a:lnTo>
                    <a:pt x="107" y="192"/>
                  </a:lnTo>
                  <a:lnTo>
                    <a:pt x="103" y="192"/>
                  </a:lnTo>
                  <a:lnTo>
                    <a:pt x="99" y="192"/>
                  </a:lnTo>
                  <a:lnTo>
                    <a:pt x="95" y="192"/>
                  </a:lnTo>
                  <a:lnTo>
                    <a:pt x="99" y="188"/>
                  </a:lnTo>
                  <a:lnTo>
                    <a:pt x="103" y="188"/>
                  </a:lnTo>
                  <a:lnTo>
                    <a:pt x="107" y="184"/>
                  </a:lnTo>
                  <a:lnTo>
                    <a:pt x="111" y="184"/>
                  </a:lnTo>
                  <a:lnTo>
                    <a:pt x="115" y="184"/>
                  </a:lnTo>
                  <a:lnTo>
                    <a:pt x="119" y="184"/>
                  </a:lnTo>
                  <a:lnTo>
                    <a:pt x="119" y="180"/>
                  </a:lnTo>
                  <a:lnTo>
                    <a:pt x="123" y="180"/>
                  </a:lnTo>
                  <a:lnTo>
                    <a:pt x="123" y="184"/>
                  </a:lnTo>
                  <a:lnTo>
                    <a:pt x="127" y="184"/>
                  </a:lnTo>
                  <a:lnTo>
                    <a:pt x="131" y="184"/>
                  </a:lnTo>
                  <a:lnTo>
                    <a:pt x="135" y="184"/>
                  </a:lnTo>
                  <a:lnTo>
                    <a:pt x="139" y="184"/>
                  </a:lnTo>
                  <a:lnTo>
                    <a:pt x="139" y="180"/>
                  </a:lnTo>
                  <a:lnTo>
                    <a:pt x="135" y="180"/>
                  </a:lnTo>
                  <a:lnTo>
                    <a:pt x="135" y="176"/>
                  </a:lnTo>
                  <a:lnTo>
                    <a:pt x="131" y="176"/>
                  </a:lnTo>
                  <a:lnTo>
                    <a:pt x="135" y="172"/>
                  </a:lnTo>
                  <a:lnTo>
                    <a:pt x="135" y="168"/>
                  </a:lnTo>
                  <a:lnTo>
                    <a:pt x="135" y="164"/>
                  </a:lnTo>
                  <a:lnTo>
                    <a:pt x="135" y="160"/>
                  </a:lnTo>
                  <a:lnTo>
                    <a:pt x="139" y="160"/>
                  </a:lnTo>
                  <a:lnTo>
                    <a:pt x="139" y="156"/>
                  </a:lnTo>
                  <a:lnTo>
                    <a:pt x="139" y="152"/>
                  </a:lnTo>
                  <a:lnTo>
                    <a:pt x="143" y="148"/>
                  </a:lnTo>
                  <a:lnTo>
                    <a:pt x="143" y="144"/>
                  </a:lnTo>
                  <a:lnTo>
                    <a:pt x="143" y="140"/>
                  </a:lnTo>
                  <a:lnTo>
                    <a:pt x="147" y="140"/>
                  </a:lnTo>
                  <a:lnTo>
                    <a:pt x="151" y="144"/>
                  </a:lnTo>
                  <a:lnTo>
                    <a:pt x="155" y="144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67" y="144"/>
                  </a:lnTo>
                  <a:lnTo>
                    <a:pt x="171" y="148"/>
                  </a:lnTo>
                  <a:lnTo>
                    <a:pt x="175" y="148"/>
                  </a:lnTo>
                  <a:lnTo>
                    <a:pt x="175" y="144"/>
                  </a:lnTo>
                  <a:lnTo>
                    <a:pt x="179" y="144"/>
                  </a:lnTo>
                  <a:lnTo>
                    <a:pt x="183" y="144"/>
                  </a:lnTo>
                  <a:lnTo>
                    <a:pt x="183" y="140"/>
                  </a:lnTo>
                  <a:lnTo>
                    <a:pt x="183" y="136"/>
                  </a:lnTo>
                  <a:lnTo>
                    <a:pt x="183" y="132"/>
                  </a:lnTo>
                  <a:lnTo>
                    <a:pt x="183" y="128"/>
                  </a:lnTo>
                  <a:lnTo>
                    <a:pt x="183" y="124"/>
                  </a:lnTo>
                  <a:lnTo>
                    <a:pt x="183" y="120"/>
                  </a:lnTo>
                  <a:lnTo>
                    <a:pt x="183" y="116"/>
                  </a:lnTo>
                  <a:lnTo>
                    <a:pt x="187" y="116"/>
                  </a:lnTo>
                  <a:lnTo>
                    <a:pt x="187" y="112"/>
                  </a:lnTo>
                  <a:lnTo>
                    <a:pt x="191" y="112"/>
                  </a:lnTo>
                  <a:lnTo>
                    <a:pt x="195" y="112"/>
                  </a:lnTo>
                  <a:lnTo>
                    <a:pt x="199" y="112"/>
                  </a:lnTo>
                  <a:lnTo>
                    <a:pt x="199" y="108"/>
                  </a:lnTo>
                  <a:lnTo>
                    <a:pt x="199" y="104"/>
                  </a:lnTo>
                  <a:lnTo>
                    <a:pt x="199" y="100"/>
                  </a:lnTo>
                  <a:lnTo>
                    <a:pt x="203" y="100"/>
                  </a:lnTo>
                  <a:lnTo>
                    <a:pt x="207" y="100"/>
                  </a:lnTo>
                  <a:lnTo>
                    <a:pt x="211" y="100"/>
                  </a:lnTo>
                  <a:lnTo>
                    <a:pt x="215" y="96"/>
                  </a:lnTo>
                  <a:lnTo>
                    <a:pt x="215" y="100"/>
                  </a:lnTo>
                  <a:lnTo>
                    <a:pt x="219" y="100"/>
                  </a:lnTo>
                  <a:lnTo>
                    <a:pt x="215" y="104"/>
                  </a:lnTo>
                  <a:lnTo>
                    <a:pt x="219" y="108"/>
                  </a:lnTo>
                  <a:lnTo>
                    <a:pt x="219" y="112"/>
                  </a:lnTo>
                  <a:lnTo>
                    <a:pt x="223" y="112"/>
                  </a:lnTo>
                  <a:lnTo>
                    <a:pt x="227" y="116"/>
                  </a:lnTo>
                  <a:lnTo>
                    <a:pt x="227" y="120"/>
                  </a:lnTo>
                  <a:lnTo>
                    <a:pt x="231" y="120"/>
                  </a:lnTo>
                  <a:lnTo>
                    <a:pt x="235" y="120"/>
                  </a:lnTo>
                  <a:lnTo>
                    <a:pt x="235" y="124"/>
                  </a:lnTo>
                  <a:lnTo>
                    <a:pt x="239" y="124"/>
                  </a:lnTo>
                  <a:lnTo>
                    <a:pt x="243" y="124"/>
                  </a:lnTo>
                  <a:lnTo>
                    <a:pt x="247" y="128"/>
                  </a:lnTo>
                  <a:lnTo>
                    <a:pt x="247" y="124"/>
                  </a:lnTo>
                  <a:lnTo>
                    <a:pt x="251" y="124"/>
                  </a:lnTo>
                  <a:lnTo>
                    <a:pt x="251" y="128"/>
                  </a:lnTo>
                  <a:lnTo>
                    <a:pt x="255" y="128"/>
                  </a:lnTo>
                  <a:lnTo>
                    <a:pt x="255" y="132"/>
                  </a:lnTo>
                  <a:lnTo>
                    <a:pt x="255" y="136"/>
                  </a:lnTo>
                  <a:lnTo>
                    <a:pt x="255" y="140"/>
                  </a:lnTo>
                  <a:lnTo>
                    <a:pt x="259" y="140"/>
                  </a:lnTo>
                  <a:lnTo>
                    <a:pt x="259" y="144"/>
                  </a:lnTo>
                  <a:lnTo>
                    <a:pt x="263" y="144"/>
                  </a:lnTo>
                  <a:lnTo>
                    <a:pt x="263" y="148"/>
                  </a:lnTo>
                  <a:lnTo>
                    <a:pt x="263" y="152"/>
                  </a:lnTo>
                  <a:lnTo>
                    <a:pt x="267" y="152"/>
                  </a:lnTo>
                  <a:lnTo>
                    <a:pt x="263" y="152"/>
                  </a:lnTo>
                  <a:lnTo>
                    <a:pt x="267" y="156"/>
                  </a:lnTo>
                  <a:lnTo>
                    <a:pt x="263" y="160"/>
                  </a:lnTo>
                  <a:lnTo>
                    <a:pt x="263" y="164"/>
                  </a:lnTo>
                  <a:lnTo>
                    <a:pt x="263" y="168"/>
                  </a:lnTo>
                  <a:lnTo>
                    <a:pt x="259" y="172"/>
                  </a:lnTo>
                  <a:lnTo>
                    <a:pt x="259" y="176"/>
                  </a:lnTo>
                  <a:lnTo>
                    <a:pt x="259" y="180"/>
                  </a:lnTo>
                  <a:lnTo>
                    <a:pt x="263" y="180"/>
                  </a:lnTo>
                  <a:lnTo>
                    <a:pt x="263" y="184"/>
                  </a:lnTo>
                  <a:lnTo>
                    <a:pt x="267" y="184"/>
                  </a:lnTo>
                  <a:lnTo>
                    <a:pt x="271" y="184"/>
                  </a:lnTo>
                  <a:lnTo>
                    <a:pt x="271" y="188"/>
                  </a:lnTo>
                  <a:lnTo>
                    <a:pt x="279" y="188"/>
                  </a:lnTo>
                  <a:lnTo>
                    <a:pt x="283" y="188"/>
                  </a:lnTo>
                  <a:lnTo>
                    <a:pt x="287" y="188"/>
                  </a:lnTo>
                  <a:lnTo>
                    <a:pt x="291" y="188"/>
                  </a:lnTo>
                  <a:lnTo>
                    <a:pt x="295" y="188"/>
                  </a:lnTo>
                  <a:lnTo>
                    <a:pt x="299" y="188"/>
                  </a:lnTo>
                  <a:lnTo>
                    <a:pt x="303" y="188"/>
                  </a:lnTo>
                  <a:lnTo>
                    <a:pt x="303" y="192"/>
                  </a:lnTo>
                  <a:lnTo>
                    <a:pt x="307" y="192"/>
                  </a:lnTo>
                  <a:lnTo>
                    <a:pt x="311" y="192"/>
                  </a:lnTo>
                  <a:lnTo>
                    <a:pt x="311" y="196"/>
                  </a:lnTo>
                  <a:lnTo>
                    <a:pt x="315" y="196"/>
                  </a:lnTo>
                  <a:lnTo>
                    <a:pt x="315" y="200"/>
                  </a:lnTo>
                  <a:lnTo>
                    <a:pt x="319" y="200"/>
                  </a:lnTo>
                  <a:lnTo>
                    <a:pt x="319" y="204"/>
                  </a:lnTo>
                  <a:lnTo>
                    <a:pt x="327" y="204"/>
                  </a:lnTo>
                  <a:lnTo>
                    <a:pt x="331" y="204"/>
                  </a:lnTo>
                  <a:lnTo>
                    <a:pt x="331" y="208"/>
                  </a:lnTo>
                  <a:lnTo>
                    <a:pt x="335" y="208"/>
                  </a:lnTo>
                  <a:lnTo>
                    <a:pt x="335" y="212"/>
                  </a:lnTo>
                  <a:lnTo>
                    <a:pt x="335" y="216"/>
                  </a:lnTo>
                  <a:lnTo>
                    <a:pt x="335" y="220"/>
                  </a:lnTo>
                  <a:lnTo>
                    <a:pt x="339" y="220"/>
                  </a:lnTo>
                  <a:lnTo>
                    <a:pt x="339" y="224"/>
                  </a:lnTo>
                  <a:lnTo>
                    <a:pt x="339" y="228"/>
                  </a:lnTo>
                  <a:lnTo>
                    <a:pt x="343" y="228"/>
                  </a:lnTo>
                  <a:lnTo>
                    <a:pt x="347" y="232"/>
                  </a:lnTo>
                  <a:lnTo>
                    <a:pt x="347" y="236"/>
                  </a:lnTo>
                  <a:lnTo>
                    <a:pt x="351" y="236"/>
                  </a:lnTo>
                  <a:lnTo>
                    <a:pt x="355" y="236"/>
                  </a:lnTo>
                  <a:lnTo>
                    <a:pt x="359" y="236"/>
                  </a:lnTo>
                  <a:lnTo>
                    <a:pt x="363" y="236"/>
                  </a:lnTo>
                  <a:lnTo>
                    <a:pt x="367" y="236"/>
                  </a:lnTo>
                  <a:lnTo>
                    <a:pt x="371" y="236"/>
                  </a:lnTo>
                  <a:lnTo>
                    <a:pt x="374" y="240"/>
                  </a:lnTo>
                  <a:lnTo>
                    <a:pt x="378" y="240"/>
                  </a:lnTo>
                  <a:lnTo>
                    <a:pt x="382" y="240"/>
                  </a:lnTo>
                  <a:lnTo>
                    <a:pt x="386" y="240"/>
                  </a:lnTo>
                  <a:lnTo>
                    <a:pt x="390" y="240"/>
                  </a:lnTo>
                  <a:lnTo>
                    <a:pt x="394" y="240"/>
                  </a:lnTo>
                  <a:lnTo>
                    <a:pt x="398" y="240"/>
                  </a:lnTo>
                  <a:lnTo>
                    <a:pt x="402" y="240"/>
                  </a:lnTo>
                  <a:lnTo>
                    <a:pt x="406" y="236"/>
                  </a:lnTo>
                  <a:lnTo>
                    <a:pt x="410" y="236"/>
                  </a:lnTo>
                  <a:lnTo>
                    <a:pt x="414" y="236"/>
                  </a:lnTo>
                  <a:lnTo>
                    <a:pt x="414" y="240"/>
                  </a:lnTo>
                  <a:lnTo>
                    <a:pt x="418" y="240"/>
                  </a:lnTo>
                  <a:lnTo>
                    <a:pt x="422" y="240"/>
                  </a:lnTo>
                  <a:lnTo>
                    <a:pt x="426" y="240"/>
                  </a:lnTo>
                  <a:lnTo>
                    <a:pt x="430" y="243"/>
                  </a:lnTo>
                  <a:lnTo>
                    <a:pt x="430" y="247"/>
                  </a:lnTo>
                  <a:lnTo>
                    <a:pt x="438" y="247"/>
                  </a:lnTo>
                  <a:lnTo>
                    <a:pt x="442" y="247"/>
                  </a:lnTo>
                  <a:lnTo>
                    <a:pt x="446" y="251"/>
                  </a:lnTo>
                  <a:lnTo>
                    <a:pt x="450" y="251"/>
                  </a:lnTo>
                  <a:lnTo>
                    <a:pt x="450" y="255"/>
                  </a:lnTo>
                  <a:lnTo>
                    <a:pt x="458" y="255"/>
                  </a:lnTo>
                  <a:lnTo>
                    <a:pt x="462" y="255"/>
                  </a:lnTo>
                  <a:lnTo>
                    <a:pt x="470" y="255"/>
                  </a:lnTo>
                  <a:lnTo>
                    <a:pt x="470" y="259"/>
                  </a:lnTo>
                  <a:lnTo>
                    <a:pt x="474" y="259"/>
                  </a:lnTo>
                  <a:lnTo>
                    <a:pt x="478" y="255"/>
                  </a:lnTo>
                  <a:lnTo>
                    <a:pt x="482" y="255"/>
                  </a:lnTo>
                  <a:lnTo>
                    <a:pt x="486" y="255"/>
                  </a:lnTo>
                  <a:lnTo>
                    <a:pt x="490" y="251"/>
                  </a:lnTo>
                  <a:lnTo>
                    <a:pt x="494" y="251"/>
                  </a:lnTo>
                  <a:lnTo>
                    <a:pt x="498" y="247"/>
                  </a:lnTo>
                  <a:lnTo>
                    <a:pt x="502" y="243"/>
                  </a:lnTo>
                  <a:lnTo>
                    <a:pt x="506" y="243"/>
                  </a:lnTo>
                  <a:lnTo>
                    <a:pt x="510" y="243"/>
                  </a:lnTo>
                  <a:lnTo>
                    <a:pt x="514" y="243"/>
                  </a:lnTo>
                  <a:lnTo>
                    <a:pt x="518" y="243"/>
                  </a:lnTo>
                  <a:lnTo>
                    <a:pt x="526" y="243"/>
                  </a:lnTo>
                  <a:lnTo>
                    <a:pt x="530" y="243"/>
                  </a:lnTo>
                  <a:lnTo>
                    <a:pt x="534" y="243"/>
                  </a:lnTo>
                  <a:lnTo>
                    <a:pt x="538" y="243"/>
                  </a:lnTo>
                  <a:lnTo>
                    <a:pt x="542" y="243"/>
                  </a:lnTo>
                  <a:lnTo>
                    <a:pt x="546" y="243"/>
                  </a:lnTo>
                  <a:lnTo>
                    <a:pt x="546" y="240"/>
                  </a:lnTo>
                  <a:lnTo>
                    <a:pt x="550" y="240"/>
                  </a:lnTo>
                  <a:lnTo>
                    <a:pt x="554" y="240"/>
                  </a:lnTo>
                  <a:lnTo>
                    <a:pt x="554" y="236"/>
                  </a:lnTo>
                  <a:lnTo>
                    <a:pt x="558" y="236"/>
                  </a:lnTo>
                  <a:lnTo>
                    <a:pt x="558" y="232"/>
                  </a:lnTo>
                  <a:lnTo>
                    <a:pt x="562" y="232"/>
                  </a:lnTo>
                  <a:lnTo>
                    <a:pt x="562" y="228"/>
                  </a:lnTo>
                  <a:lnTo>
                    <a:pt x="566" y="228"/>
                  </a:lnTo>
                  <a:lnTo>
                    <a:pt x="566" y="224"/>
                  </a:lnTo>
                  <a:lnTo>
                    <a:pt x="570" y="224"/>
                  </a:lnTo>
                  <a:lnTo>
                    <a:pt x="570" y="220"/>
                  </a:lnTo>
                  <a:lnTo>
                    <a:pt x="574" y="220"/>
                  </a:lnTo>
                  <a:lnTo>
                    <a:pt x="578" y="220"/>
                  </a:lnTo>
                  <a:lnTo>
                    <a:pt x="578" y="216"/>
                  </a:lnTo>
                  <a:lnTo>
                    <a:pt x="582" y="216"/>
                  </a:lnTo>
                  <a:lnTo>
                    <a:pt x="582" y="212"/>
                  </a:lnTo>
                  <a:lnTo>
                    <a:pt x="578" y="208"/>
                  </a:lnTo>
                  <a:lnTo>
                    <a:pt x="574" y="204"/>
                  </a:lnTo>
                  <a:lnTo>
                    <a:pt x="574" y="200"/>
                  </a:lnTo>
                  <a:lnTo>
                    <a:pt x="574" y="196"/>
                  </a:lnTo>
                  <a:lnTo>
                    <a:pt x="578" y="192"/>
                  </a:lnTo>
                  <a:lnTo>
                    <a:pt x="578" y="188"/>
                  </a:lnTo>
                  <a:lnTo>
                    <a:pt x="582" y="188"/>
                  </a:lnTo>
                  <a:lnTo>
                    <a:pt x="586" y="188"/>
                  </a:lnTo>
                  <a:lnTo>
                    <a:pt x="590" y="188"/>
                  </a:lnTo>
                  <a:lnTo>
                    <a:pt x="594" y="192"/>
                  </a:lnTo>
                  <a:lnTo>
                    <a:pt x="598" y="192"/>
                  </a:lnTo>
                  <a:lnTo>
                    <a:pt x="602" y="192"/>
                  </a:lnTo>
                  <a:lnTo>
                    <a:pt x="606" y="192"/>
                  </a:lnTo>
                  <a:lnTo>
                    <a:pt x="610" y="192"/>
                  </a:lnTo>
                  <a:lnTo>
                    <a:pt x="610" y="188"/>
                  </a:lnTo>
                  <a:lnTo>
                    <a:pt x="614" y="188"/>
                  </a:lnTo>
                  <a:lnTo>
                    <a:pt x="618" y="188"/>
                  </a:lnTo>
                  <a:lnTo>
                    <a:pt x="618" y="184"/>
                  </a:lnTo>
                  <a:lnTo>
                    <a:pt x="622" y="180"/>
                  </a:lnTo>
                  <a:lnTo>
                    <a:pt x="626" y="180"/>
                  </a:lnTo>
                  <a:lnTo>
                    <a:pt x="630" y="180"/>
                  </a:lnTo>
                  <a:lnTo>
                    <a:pt x="634" y="180"/>
                  </a:lnTo>
                  <a:lnTo>
                    <a:pt x="638" y="180"/>
                  </a:lnTo>
                  <a:lnTo>
                    <a:pt x="638" y="176"/>
                  </a:lnTo>
                  <a:lnTo>
                    <a:pt x="642" y="176"/>
                  </a:lnTo>
                  <a:lnTo>
                    <a:pt x="642" y="172"/>
                  </a:lnTo>
                  <a:lnTo>
                    <a:pt x="646" y="172"/>
                  </a:lnTo>
                  <a:lnTo>
                    <a:pt x="646" y="168"/>
                  </a:lnTo>
                  <a:lnTo>
                    <a:pt x="650" y="164"/>
                  </a:lnTo>
                  <a:lnTo>
                    <a:pt x="650" y="160"/>
                  </a:lnTo>
                  <a:lnTo>
                    <a:pt x="654" y="160"/>
                  </a:lnTo>
                  <a:lnTo>
                    <a:pt x="658" y="160"/>
                  </a:lnTo>
                  <a:lnTo>
                    <a:pt x="662" y="160"/>
                  </a:lnTo>
                  <a:lnTo>
                    <a:pt x="662" y="156"/>
                  </a:lnTo>
                  <a:lnTo>
                    <a:pt x="666" y="156"/>
                  </a:lnTo>
                  <a:lnTo>
                    <a:pt x="666" y="152"/>
                  </a:lnTo>
                  <a:lnTo>
                    <a:pt x="666" y="156"/>
                  </a:lnTo>
                  <a:lnTo>
                    <a:pt x="670" y="156"/>
                  </a:lnTo>
                  <a:lnTo>
                    <a:pt x="670" y="152"/>
                  </a:lnTo>
                  <a:lnTo>
                    <a:pt x="674" y="152"/>
                  </a:lnTo>
                  <a:lnTo>
                    <a:pt x="678" y="152"/>
                  </a:lnTo>
                  <a:lnTo>
                    <a:pt x="682" y="152"/>
                  </a:lnTo>
                  <a:lnTo>
                    <a:pt x="686" y="152"/>
                  </a:lnTo>
                  <a:lnTo>
                    <a:pt x="686" y="148"/>
                  </a:lnTo>
                  <a:lnTo>
                    <a:pt x="686" y="152"/>
                  </a:lnTo>
                  <a:lnTo>
                    <a:pt x="690" y="152"/>
                  </a:lnTo>
                  <a:lnTo>
                    <a:pt x="694" y="152"/>
                  </a:lnTo>
                  <a:lnTo>
                    <a:pt x="698" y="152"/>
                  </a:lnTo>
                  <a:lnTo>
                    <a:pt x="702" y="152"/>
                  </a:lnTo>
                  <a:lnTo>
                    <a:pt x="702" y="148"/>
                  </a:lnTo>
                  <a:lnTo>
                    <a:pt x="702" y="144"/>
                  </a:lnTo>
                  <a:lnTo>
                    <a:pt x="698" y="140"/>
                  </a:lnTo>
                  <a:lnTo>
                    <a:pt x="694" y="140"/>
                  </a:lnTo>
                  <a:lnTo>
                    <a:pt x="694" y="136"/>
                  </a:lnTo>
                  <a:lnTo>
                    <a:pt x="694" y="132"/>
                  </a:lnTo>
                  <a:lnTo>
                    <a:pt x="690" y="132"/>
                  </a:lnTo>
                  <a:lnTo>
                    <a:pt x="686" y="128"/>
                  </a:lnTo>
                  <a:lnTo>
                    <a:pt x="682" y="124"/>
                  </a:lnTo>
                  <a:lnTo>
                    <a:pt x="678" y="124"/>
                  </a:lnTo>
                  <a:lnTo>
                    <a:pt x="674" y="124"/>
                  </a:lnTo>
                  <a:lnTo>
                    <a:pt x="670" y="124"/>
                  </a:lnTo>
                  <a:lnTo>
                    <a:pt x="666" y="124"/>
                  </a:lnTo>
                  <a:lnTo>
                    <a:pt x="666" y="128"/>
                  </a:lnTo>
                  <a:lnTo>
                    <a:pt x="662" y="132"/>
                  </a:lnTo>
                  <a:lnTo>
                    <a:pt x="658" y="128"/>
                  </a:lnTo>
                  <a:lnTo>
                    <a:pt x="658" y="124"/>
                  </a:lnTo>
                  <a:lnTo>
                    <a:pt x="654" y="124"/>
                  </a:lnTo>
                  <a:lnTo>
                    <a:pt x="650" y="128"/>
                  </a:lnTo>
                  <a:lnTo>
                    <a:pt x="646" y="124"/>
                  </a:lnTo>
                  <a:lnTo>
                    <a:pt x="646" y="128"/>
                  </a:lnTo>
                  <a:lnTo>
                    <a:pt x="642" y="128"/>
                  </a:lnTo>
                  <a:lnTo>
                    <a:pt x="638" y="124"/>
                  </a:lnTo>
                  <a:lnTo>
                    <a:pt x="634" y="120"/>
                  </a:lnTo>
                  <a:lnTo>
                    <a:pt x="638" y="120"/>
                  </a:lnTo>
                  <a:lnTo>
                    <a:pt x="642" y="116"/>
                  </a:lnTo>
                  <a:lnTo>
                    <a:pt x="638" y="112"/>
                  </a:lnTo>
                  <a:lnTo>
                    <a:pt x="642" y="108"/>
                  </a:lnTo>
                  <a:lnTo>
                    <a:pt x="646" y="104"/>
                  </a:lnTo>
                  <a:lnTo>
                    <a:pt x="642" y="104"/>
                  </a:lnTo>
                  <a:lnTo>
                    <a:pt x="646" y="100"/>
                  </a:lnTo>
                  <a:lnTo>
                    <a:pt x="646" y="96"/>
                  </a:lnTo>
                  <a:lnTo>
                    <a:pt x="650" y="96"/>
                  </a:lnTo>
                  <a:lnTo>
                    <a:pt x="650" y="92"/>
                  </a:lnTo>
                  <a:lnTo>
                    <a:pt x="650" y="88"/>
                  </a:lnTo>
                  <a:lnTo>
                    <a:pt x="654" y="84"/>
                  </a:lnTo>
                  <a:lnTo>
                    <a:pt x="658" y="84"/>
                  </a:lnTo>
                  <a:lnTo>
                    <a:pt x="662" y="88"/>
                  </a:lnTo>
                  <a:lnTo>
                    <a:pt x="666" y="88"/>
                  </a:lnTo>
                  <a:lnTo>
                    <a:pt x="670" y="88"/>
                  </a:lnTo>
                  <a:lnTo>
                    <a:pt x="674" y="88"/>
                  </a:lnTo>
                  <a:lnTo>
                    <a:pt x="678" y="84"/>
                  </a:lnTo>
                  <a:lnTo>
                    <a:pt x="682" y="84"/>
                  </a:lnTo>
                  <a:lnTo>
                    <a:pt x="682" y="80"/>
                  </a:lnTo>
                  <a:lnTo>
                    <a:pt x="686" y="80"/>
                  </a:lnTo>
                  <a:lnTo>
                    <a:pt x="690" y="80"/>
                  </a:lnTo>
                  <a:lnTo>
                    <a:pt x="694" y="76"/>
                  </a:lnTo>
                  <a:lnTo>
                    <a:pt x="694" y="72"/>
                  </a:lnTo>
                  <a:lnTo>
                    <a:pt x="690" y="72"/>
                  </a:lnTo>
                  <a:lnTo>
                    <a:pt x="690" y="68"/>
                  </a:lnTo>
                  <a:lnTo>
                    <a:pt x="694" y="68"/>
                  </a:lnTo>
                  <a:lnTo>
                    <a:pt x="694" y="64"/>
                  </a:lnTo>
                  <a:lnTo>
                    <a:pt x="698" y="64"/>
                  </a:lnTo>
                  <a:lnTo>
                    <a:pt x="698" y="60"/>
                  </a:lnTo>
                  <a:lnTo>
                    <a:pt x="698" y="56"/>
                  </a:lnTo>
                  <a:lnTo>
                    <a:pt x="702" y="52"/>
                  </a:lnTo>
                  <a:lnTo>
                    <a:pt x="702" y="48"/>
                  </a:lnTo>
                  <a:lnTo>
                    <a:pt x="702" y="44"/>
                  </a:lnTo>
                  <a:lnTo>
                    <a:pt x="706" y="44"/>
                  </a:lnTo>
                  <a:lnTo>
                    <a:pt x="706" y="40"/>
                  </a:lnTo>
                  <a:lnTo>
                    <a:pt x="710" y="40"/>
                  </a:lnTo>
                  <a:lnTo>
                    <a:pt x="710" y="36"/>
                  </a:lnTo>
                  <a:lnTo>
                    <a:pt x="714" y="36"/>
                  </a:lnTo>
                  <a:lnTo>
                    <a:pt x="714" y="32"/>
                  </a:lnTo>
                  <a:lnTo>
                    <a:pt x="714" y="28"/>
                  </a:lnTo>
                  <a:lnTo>
                    <a:pt x="714" y="24"/>
                  </a:lnTo>
                  <a:lnTo>
                    <a:pt x="714" y="20"/>
                  </a:lnTo>
                  <a:lnTo>
                    <a:pt x="710" y="20"/>
                  </a:lnTo>
                  <a:lnTo>
                    <a:pt x="706" y="20"/>
                  </a:lnTo>
                  <a:lnTo>
                    <a:pt x="702" y="20"/>
                  </a:lnTo>
                  <a:lnTo>
                    <a:pt x="706" y="16"/>
                  </a:lnTo>
                  <a:lnTo>
                    <a:pt x="710" y="12"/>
                  </a:lnTo>
                  <a:lnTo>
                    <a:pt x="714" y="8"/>
                  </a:lnTo>
                  <a:lnTo>
                    <a:pt x="718" y="4"/>
                  </a:lnTo>
                  <a:lnTo>
                    <a:pt x="722" y="4"/>
                  </a:lnTo>
                  <a:lnTo>
                    <a:pt x="725" y="4"/>
                  </a:lnTo>
                  <a:lnTo>
                    <a:pt x="729" y="4"/>
                  </a:lnTo>
                  <a:lnTo>
                    <a:pt x="729" y="0"/>
                  </a:lnTo>
                  <a:lnTo>
                    <a:pt x="733" y="0"/>
                  </a:lnTo>
                  <a:lnTo>
                    <a:pt x="737" y="0"/>
                  </a:lnTo>
                  <a:lnTo>
                    <a:pt x="741" y="0"/>
                  </a:lnTo>
                  <a:lnTo>
                    <a:pt x="745" y="0"/>
                  </a:lnTo>
                  <a:lnTo>
                    <a:pt x="749" y="0"/>
                  </a:lnTo>
                  <a:lnTo>
                    <a:pt x="753" y="0"/>
                  </a:lnTo>
                  <a:lnTo>
                    <a:pt x="757" y="0"/>
                  </a:lnTo>
                  <a:lnTo>
                    <a:pt x="761" y="0"/>
                  </a:lnTo>
                  <a:lnTo>
                    <a:pt x="765" y="0"/>
                  </a:lnTo>
                  <a:lnTo>
                    <a:pt x="765" y="4"/>
                  </a:lnTo>
                  <a:lnTo>
                    <a:pt x="769" y="4"/>
                  </a:lnTo>
                  <a:lnTo>
                    <a:pt x="769" y="8"/>
                  </a:lnTo>
                  <a:lnTo>
                    <a:pt x="773" y="8"/>
                  </a:lnTo>
                  <a:lnTo>
                    <a:pt x="777" y="8"/>
                  </a:lnTo>
                  <a:lnTo>
                    <a:pt x="781" y="8"/>
                  </a:lnTo>
                  <a:lnTo>
                    <a:pt x="785" y="8"/>
                  </a:lnTo>
                  <a:lnTo>
                    <a:pt x="789" y="8"/>
                  </a:lnTo>
                  <a:lnTo>
                    <a:pt x="789" y="12"/>
                  </a:lnTo>
                  <a:lnTo>
                    <a:pt x="793" y="16"/>
                  </a:lnTo>
                  <a:lnTo>
                    <a:pt x="797" y="16"/>
                  </a:lnTo>
                  <a:lnTo>
                    <a:pt x="793" y="16"/>
                  </a:lnTo>
                  <a:lnTo>
                    <a:pt x="793" y="20"/>
                  </a:lnTo>
                  <a:lnTo>
                    <a:pt x="797" y="20"/>
                  </a:lnTo>
                  <a:lnTo>
                    <a:pt x="797" y="24"/>
                  </a:lnTo>
                  <a:lnTo>
                    <a:pt x="797" y="28"/>
                  </a:lnTo>
                  <a:lnTo>
                    <a:pt x="801" y="28"/>
                  </a:lnTo>
                  <a:lnTo>
                    <a:pt x="801" y="32"/>
                  </a:lnTo>
                  <a:lnTo>
                    <a:pt x="801" y="36"/>
                  </a:lnTo>
                  <a:lnTo>
                    <a:pt x="801" y="40"/>
                  </a:lnTo>
                  <a:lnTo>
                    <a:pt x="805" y="40"/>
                  </a:lnTo>
                  <a:lnTo>
                    <a:pt x="805" y="44"/>
                  </a:lnTo>
                  <a:lnTo>
                    <a:pt x="805" y="48"/>
                  </a:lnTo>
                  <a:lnTo>
                    <a:pt x="809" y="48"/>
                  </a:lnTo>
                  <a:lnTo>
                    <a:pt x="805" y="48"/>
                  </a:lnTo>
                  <a:lnTo>
                    <a:pt x="805" y="52"/>
                  </a:lnTo>
                  <a:lnTo>
                    <a:pt x="809" y="52"/>
                  </a:lnTo>
                  <a:lnTo>
                    <a:pt x="809" y="48"/>
                  </a:lnTo>
                  <a:lnTo>
                    <a:pt x="809" y="52"/>
                  </a:lnTo>
                  <a:lnTo>
                    <a:pt x="809" y="56"/>
                  </a:lnTo>
                  <a:lnTo>
                    <a:pt x="809" y="60"/>
                  </a:lnTo>
                  <a:lnTo>
                    <a:pt x="813" y="60"/>
                  </a:lnTo>
                  <a:lnTo>
                    <a:pt x="813" y="64"/>
                  </a:lnTo>
                  <a:lnTo>
                    <a:pt x="813" y="68"/>
                  </a:lnTo>
                  <a:lnTo>
                    <a:pt x="813" y="72"/>
                  </a:lnTo>
                  <a:lnTo>
                    <a:pt x="817" y="72"/>
                  </a:lnTo>
                  <a:lnTo>
                    <a:pt x="817" y="76"/>
                  </a:lnTo>
                  <a:lnTo>
                    <a:pt x="817" y="80"/>
                  </a:lnTo>
                  <a:lnTo>
                    <a:pt x="817" y="84"/>
                  </a:lnTo>
                  <a:lnTo>
                    <a:pt x="821" y="84"/>
                  </a:lnTo>
                  <a:lnTo>
                    <a:pt x="821" y="88"/>
                  </a:lnTo>
                  <a:lnTo>
                    <a:pt x="825" y="88"/>
                  </a:lnTo>
                  <a:lnTo>
                    <a:pt x="829" y="88"/>
                  </a:lnTo>
                  <a:lnTo>
                    <a:pt x="833" y="88"/>
                  </a:lnTo>
                  <a:lnTo>
                    <a:pt x="837" y="88"/>
                  </a:lnTo>
                  <a:lnTo>
                    <a:pt x="837" y="92"/>
                  </a:lnTo>
                  <a:lnTo>
                    <a:pt x="841" y="92"/>
                  </a:lnTo>
                  <a:lnTo>
                    <a:pt x="845" y="92"/>
                  </a:lnTo>
                  <a:lnTo>
                    <a:pt x="849" y="92"/>
                  </a:lnTo>
                  <a:lnTo>
                    <a:pt x="849" y="96"/>
                  </a:lnTo>
                  <a:lnTo>
                    <a:pt x="853" y="100"/>
                  </a:lnTo>
                  <a:lnTo>
                    <a:pt x="857" y="104"/>
                  </a:lnTo>
                  <a:lnTo>
                    <a:pt x="861" y="104"/>
                  </a:lnTo>
                  <a:lnTo>
                    <a:pt x="865" y="104"/>
                  </a:lnTo>
                  <a:lnTo>
                    <a:pt x="865" y="108"/>
                  </a:lnTo>
                  <a:lnTo>
                    <a:pt x="861" y="108"/>
                  </a:lnTo>
                  <a:lnTo>
                    <a:pt x="865" y="112"/>
                  </a:lnTo>
                  <a:lnTo>
                    <a:pt x="865" y="116"/>
                  </a:lnTo>
                  <a:lnTo>
                    <a:pt x="865" y="120"/>
                  </a:lnTo>
                  <a:lnTo>
                    <a:pt x="865" y="124"/>
                  </a:lnTo>
                  <a:lnTo>
                    <a:pt x="869" y="124"/>
                  </a:lnTo>
                  <a:lnTo>
                    <a:pt x="869" y="128"/>
                  </a:lnTo>
                  <a:lnTo>
                    <a:pt x="869" y="132"/>
                  </a:lnTo>
                  <a:lnTo>
                    <a:pt x="873" y="128"/>
                  </a:lnTo>
                  <a:lnTo>
                    <a:pt x="877" y="128"/>
                  </a:lnTo>
                  <a:lnTo>
                    <a:pt x="877" y="132"/>
                  </a:lnTo>
                  <a:lnTo>
                    <a:pt x="881" y="132"/>
                  </a:lnTo>
                  <a:lnTo>
                    <a:pt x="885" y="132"/>
                  </a:lnTo>
                  <a:lnTo>
                    <a:pt x="885" y="128"/>
                  </a:lnTo>
                  <a:lnTo>
                    <a:pt x="889" y="128"/>
                  </a:lnTo>
                  <a:lnTo>
                    <a:pt x="893" y="128"/>
                  </a:lnTo>
                  <a:lnTo>
                    <a:pt x="893" y="124"/>
                  </a:lnTo>
                  <a:lnTo>
                    <a:pt x="897" y="124"/>
                  </a:lnTo>
                  <a:lnTo>
                    <a:pt x="901" y="120"/>
                  </a:lnTo>
                  <a:lnTo>
                    <a:pt x="905" y="120"/>
                  </a:lnTo>
                  <a:lnTo>
                    <a:pt x="909" y="120"/>
                  </a:lnTo>
                  <a:lnTo>
                    <a:pt x="913" y="116"/>
                  </a:lnTo>
                  <a:lnTo>
                    <a:pt x="917" y="116"/>
                  </a:lnTo>
                  <a:lnTo>
                    <a:pt x="921" y="116"/>
                  </a:lnTo>
                  <a:lnTo>
                    <a:pt x="925" y="116"/>
                  </a:lnTo>
                  <a:lnTo>
                    <a:pt x="925" y="120"/>
                  </a:lnTo>
                  <a:lnTo>
                    <a:pt x="925" y="124"/>
                  </a:lnTo>
                  <a:lnTo>
                    <a:pt x="925" y="128"/>
                  </a:lnTo>
                  <a:lnTo>
                    <a:pt x="925" y="136"/>
                  </a:lnTo>
                  <a:lnTo>
                    <a:pt x="921" y="136"/>
                  </a:lnTo>
                  <a:lnTo>
                    <a:pt x="917" y="136"/>
                  </a:lnTo>
                  <a:lnTo>
                    <a:pt x="917" y="140"/>
                  </a:lnTo>
                  <a:lnTo>
                    <a:pt x="917" y="144"/>
                  </a:lnTo>
                  <a:lnTo>
                    <a:pt x="917" y="148"/>
                  </a:lnTo>
                  <a:lnTo>
                    <a:pt x="917" y="152"/>
                  </a:lnTo>
                  <a:lnTo>
                    <a:pt x="913" y="152"/>
                  </a:lnTo>
                  <a:lnTo>
                    <a:pt x="913" y="156"/>
                  </a:lnTo>
                  <a:lnTo>
                    <a:pt x="913" y="160"/>
                  </a:lnTo>
                  <a:lnTo>
                    <a:pt x="913" y="164"/>
                  </a:lnTo>
                  <a:lnTo>
                    <a:pt x="909" y="164"/>
                  </a:lnTo>
                  <a:lnTo>
                    <a:pt x="909" y="168"/>
                  </a:lnTo>
                  <a:lnTo>
                    <a:pt x="909" y="172"/>
                  </a:lnTo>
                  <a:lnTo>
                    <a:pt x="909" y="176"/>
                  </a:lnTo>
                  <a:lnTo>
                    <a:pt x="905" y="176"/>
                  </a:lnTo>
                  <a:lnTo>
                    <a:pt x="901" y="176"/>
                  </a:lnTo>
                  <a:lnTo>
                    <a:pt x="901" y="180"/>
                  </a:lnTo>
                  <a:lnTo>
                    <a:pt x="901" y="184"/>
                  </a:lnTo>
                  <a:lnTo>
                    <a:pt x="901" y="188"/>
                  </a:lnTo>
                  <a:lnTo>
                    <a:pt x="897" y="188"/>
                  </a:lnTo>
                  <a:lnTo>
                    <a:pt x="893" y="184"/>
                  </a:lnTo>
                  <a:lnTo>
                    <a:pt x="889" y="184"/>
                  </a:lnTo>
                  <a:lnTo>
                    <a:pt x="885" y="184"/>
                  </a:lnTo>
                  <a:lnTo>
                    <a:pt x="885" y="180"/>
                  </a:lnTo>
                  <a:lnTo>
                    <a:pt x="881" y="180"/>
                  </a:lnTo>
                  <a:lnTo>
                    <a:pt x="881" y="184"/>
                  </a:lnTo>
                  <a:lnTo>
                    <a:pt x="881" y="188"/>
                  </a:lnTo>
                  <a:lnTo>
                    <a:pt x="877" y="188"/>
                  </a:lnTo>
                  <a:lnTo>
                    <a:pt x="873" y="188"/>
                  </a:lnTo>
                  <a:lnTo>
                    <a:pt x="873" y="192"/>
                  </a:lnTo>
                  <a:lnTo>
                    <a:pt x="873" y="188"/>
                  </a:lnTo>
                  <a:lnTo>
                    <a:pt x="869" y="192"/>
                  </a:lnTo>
                  <a:lnTo>
                    <a:pt x="869" y="196"/>
                  </a:lnTo>
                  <a:lnTo>
                    <a:pt x="873" y="196"/>
                  </a:lnTo>
                  <a:lnTo>
                    <a:pt x="873" y="204"/>
                  </a:lnTo>
                  <a:lnTo>
                    <a:pt x="873" y="208"/>
                  </a:lnTo>
                  <a:lnTo>
                    <a:pt x="873" y="212"/>
                  </a:lnTo>
                  <a:lnTo>
                    <a:pt x="873" y="220"/>
                  </a:lnTo>
                  <a:lnTo>
                    <a:pt x="873" y="224"/>
                  </a:lnTo>
                  <a:lnTo>
                    <a:pt x="873" y="228"/>
                  </a:lnTo>
                  <a:lnTo>
                    <a:pt x="873" y="232"/>
                  </a:lnTo>
                  <a:lnTo>
                    <a:pt x="869" y="232"/>
                  </a:lnTo>
                  <a:lnTo>
                    <a:pt x="869" y="236"/>
                  </a:lnTo>
                  <a:lnTo>
                    <a:pt x="869" y="232"/>
                  </a:lnTo>
                  <a:lnTo>
                    <a:pt x="865" y="232"/>
                  </a:lnTo>
                  <a:lnTo>
                    <a:pt x="865" y="236"/>
                  </a:lnTo>
                  <a:lnTo>
                    <a:pt x="861" y="236"/>
                  </a:lnTo>
                  <a:lnTo>
                    <a:pt x="865" y="240"/>
                  </a:lnTo>
                  <a:lnTo>
                    <a:pt x="865" y="243"/>
                  </a:lnTo>
                  <a:lnTo>
                    <a:pt x="861" y="243"/>
                  </a:lnTo>
                  <a:lnTo>
                    <a:pt x="861" y="240"/>
                  </a:lnTo>
                  <a:lnTo>
                    <a:pt x="857" y="236"/>
                  </a:lnTo>
                  <a:lnTo>
                    <a:pt x="857" y="232"/>
                  </a:lnTo>
                  <a:lnTo>
                    <a:pt x="853" y="232"/>
                  </a:lnTo>
                  <a:lnTo>
                    <a:pt x="853" y="236"/>
                  </a:lnTo>
                  <a:lnTo>
                    <a:pt x="849" y="236"/>
                  </a:lnTo>
                  <a:lnTo>
                    <a:pt x="849" y="240"/>
                  </a:lnTo>
                  <a:lnTo>
                    <a:pt x="849" y="243"/>
                  </a:lnTo>
                  <a:lnTo>
                    <a:pt x="845" y="243"/>
                  </a:lnTo>
                  <a:lnTo>
                    <a:pt x="841" y="243"/>
                  </a:lnTo>
                  <a:lnTo>
                    <a:pt x="841" y="247"/>
                  </a:lnTo>
                  <a:lnTo>
                    <a:pt x="841" y="251"/>
                  </a:lnTo>
                  <a:lnTo>
                    <a:pt x="837" y="251"/>
                  </a:lnTo>
                  <a:lnTo>
                    <a:pt x="833" y="251"/>
                  </a:lnTo>
                  <a:lnTo>
                    <a:pt x="829" y="251"/>
                  </a:lnTo>
                  <a:lnTo>
                    <a:pt x="825" y="251"/>
                  </a:lnTo>
                  <a:lnTo>
                    <a:pt x="825" y="255"/>
                  </a:lnTo>
                  <a:lnTo>
                    <a:pt x="825" y="259"/>
                  </a:lnTo>
                  <a:lnTo>
                    <a:pt x="829" y="259"/>
                  </a:lnTo>
                  <a:lnTo>
                    <a:pt x="829" y="263"/>
                  </a:lnTo>
                  <a:lnTo>
                    <a:pt x="825" y="263"/>
                  </a:lnTo>
                  <a:lnTo>
                    <a:pt x="821" y="263"/>
                  </a:lnTo>
                  <a:lnTo>
                    <a:pt x="817" y="263"/>
                  </a:lnTo>
                  <a:lnTo>
                    <a:pt x="813" y="263"/>
                  </a:lnTo>
                  <a:lnTo>
                    <a:pt x="813" y="259"/>
                  </a:lnTo>
                  <a:lnTo>
                    <a:pt x="809" y="259"/>
                  </a:lnTo>
                  <a:lnTo>
                    <a:pt x="809" y="255"/>
                  </a:lnTo>
                  <a:lnTo>
                    <a:pt x="805" y="255"/>
                  </a:lnTo>
                  <a:lnTo>
                    <a:pt x="805" y="259"/>
                  </a:lnTo>
                  <a:lnTo>
                    <a:pt x="801" y="259"/>
                  </a:lnTo>
                  <a:lnTo>
                    <a:pt x="801" y="263"/>
                  </a:lnTo>
                  <a:lnTo>
                    <a:pt x="801" y="267"/>
                  </a:lnTo>
                  <a:lnTo>
                    <a:pt x="797" y="267"/>
                  </a:lnTo>
                  <a:lnTo>
                    <a:pt x="797" y="271"/>
                  </a:lnTo>
                  <a:lnTo>
                    <a:pt x="793" y="275"/>
                  </a:lnTo>
                  <a:lnTo>
                    <a:pt x="789" y="275"/>
                  </a:lnTo>
                  <a:lnTo>
                    <a:pt x="789" y="279"/>
                  </a:lnTo>
                  <a:lnTo>
                    <a:pt x="785" y="279"/>
                  </a:lnTo>
                  <a:lnTo>
                    <a:pt x="781" y="279"/>
                  </a:lnTo>
                  <a:lnTo>
                    <a:pt x="781" y="283"/>
                  </a:lnTo>
                  <a:lnTo>
                    <a:pt x="777" y="283"/>
                  </a:lnTo>
                  <a:lnTo>
                    <a:pt x="781" y="283"/>
                  </a:lnTo>
                  <a:lnTo>
                    <a:pt x="777" y="283"/>
                  </a:lnTo>
                  <a:lnTo>
                    <a:pt x="773" y="287"/>
                  </a:lnTo>
                  <a:lnTo>
                    <a:pt x="769" y="291"/>
                  </a:lnTo>
                  <a:lnTo>
                    <a:pt x="769" y="295"/>
                  </a:lnTo>
                  <a:lnTo>
                    <a:pt x="765" y="295"/>
                  </a:lnTo>
                  <a:lnTo>
                    <a:pt x="761" y="295"/>
                  </a:lnTo>
                  <a:lnTo>
                    <a:pt x="757" y="295"/>
                  </a:lnTo>
                  <a:lnTo>
                    <a:pt x="757" y="299"/>
                  </a:lnTo>
                  <a:lnTo>
                    <a:pt x="753" y="299"/>
                  </a:lnTo>
                  <a:lnTo>
                    <a:pt x="753" y="295"/>
                  </a:lnTo>
                  <a:lnTo>
                    <a:pt x="753" y="299"/>
                  </a:lnTo>
                  <a:lnTo>
                    <a:pt x="749" y="299"/>
                  </a:lnTo>
                  <a:lnTo>
                    <a:pt x="745" y="303"/>
                  </a:lnTo>
                  <a:lnTo>
                    <a:pt x="741" y="303"/>
                  </a:lnTo>
                  <a:lnTo>
                    <a:pt x="741" y="307"/>
                  </a:lnTo>
                  <a:lnTo>
                    <a:pt x="737" y="303"/>
                  </a:lnTo>
                  <a:lnTo>
                    <a:pt x="737" y="307"/>
                  </a:lnTo>
                  <a:lnTo>
                    <a:pt x="733" y="311"/>
                  </a:lnTo>
                  <a:lnTo>
                    <a:pt x="729" y="311"/>
                  </a:lnTo>
                  <a:lnTo>
                    <a:pt x="729" y="315"/>
                  </a:lnTo>
                  <a:lnTo>
                    <a:pt x="725" y="319"/>
                  </a:lnTo>
                  <a:lnTo>
                    <a:pt x="722" y="319"/>
                  </a:lnTo>
                  <a:lnTo>
                    <a:pt x="722" y="315"/>
                  </a:lnTo>
                  <a:lnTo>
                    <a:pt x="725" y="315"/>
                  </a:lnTo>
                  <a:lnTo>
                    <a:pt x="725" y="311"/>
                  </a:lnTo>
                  <a:lnTo>
                    <a:pt x="729" y="311"/>
                  </a:lnTo>
                  <a:lnTo>
                    <a:pt x="725" y="311"/>
                  </a:lnTo>
                  <a:lnTo>
                    <a:pt x="725" y="307"/>
                  </a:lnTo>
                  <a:lnTo>
                    <a:pt x="729" y="307"/>
                  </a:lnTo>
                  <a:lnTo>
                    <a:pt x="725" y="307"/>
                  </a:lnTo>
                  <a:lnTo>
                    <a:pt x="725" y="303"/>
                  </a:lnTo>
                  <a:lnTo>
                    <a:pt x="722" y="303"/>
                  </a:lnTo>
                  <a:lnTo>
                    <a:pt x="725" y="299"/>
                  </a:lnTo>
                  <a:lnTo>
                    <a:pt x="725" y="295"/>
                  </a:lnTo>
                  <a:lnTo>
                    <a:pt x="729" y="295"/>
                  </a:lnTo>
                  <a:lnTo>
                    <a:pt x="733" y="291"/>
                  </a:lnTo>
                  <a:lnTo>
                    <a:pt x="733" y="287"/>
                  </a:lnTo>
                  <a:lnTo>
                    <a:pt x="737" y="287"/>
                  </a:lnTo>
                  <a:lnTo>
                    <a:pt x="737" y="283"/>
                  </a:lnTo>
                  <a:lnTo>
                    <a:pt x="733" y="279"/>
                  </a:lnTo>
                  <a:lnTo>
                    <a:pt x="733" y="275"/>
                  </a:lnTo>
                  <a:lnTo>
                    <a:pt x="729" y="275"/>
                  </a:lnTo>
                  <a:lnTo>
                    <a:pt x="725" y="275"/>
                  </a:lnTo>
                  <a:lnTo>
                    <a:pt x="722" y="275"/>
                  </a:lnTo>
                  <a:lnTo>
                    <a:pt x="718" y="275"/>
                  </a:lnTo>
                  <a:lnTo>
                    <a:pt x="718" y="279"/>
                  </a:lnTo>
                  <a:lnTo>
                    <a:pt x="714" y="283"/>
                  </a:lnTo>
                  <a:lnTo>
                    <a:pt x="710" y="283"/>
                  </a:lnTo>
                  <a:lnTo>
                    <a:pt x="710" y="287"/>
                  </a:lnTo>
                  <a:lnTo>
                    <a:pt x="706" y="291"/>
                  </a:lnTo>
                  <a:lnTo>
                    <a:pt x="702" y="291"/>
                  </a:lnTo>
                  <a:lnTo>
                    <a:pt x="702" y="295"/>
                  </a:lnTo>
                  <a:lnTo>
                    <a:pt x="698" y="295"/>
                  </a:lnTo>
                  <a:lnTo>
                    <a:pt x="694" y="299"/>
                  </a:lnTo>
                  <a:lnTo>
                    <a:pt x="694" y="303"/>
                  </a:lnTo>
                  <a:lnTo>
                    <a:pt x="694" y="307"/>
                  </a:lnTo>
                  <a:lnTo>
                    <a:pt x="690" y="307"/>
                  </a:lnTo>
                  <a:lnTo>
                    <a:pt x="690" y="311"/>
                  </a:lnTo>
                  <a:lnTo>
                    <a:pt x="686" y="311"/>
                  </a:lnTo>
                  <a:lnTo>
                    <a:pt x="682" y="311"/>
                  </a:lnTo>
                  <a:lnTo>
                    <a:pt x="678" y="311"/>
                  </a:lnTo>
                  <a:lnTo>
                    <a:pt x="674" y="311"/>
                  </a:lnTo>
                  <a:lnTo>
                    <a:pt x="674" y="307"/>
                  </a:lnTo>
                  <a:lnTo>
                    <a:pt x="670" y="311"/>
                  </a:lnTo>
                  <a:lnTo>
                    <a:pt x="666" y="315"/>
                  </a:lnTo>
                  <a:lnTo>
                    <a:pt x="666" y="319"/>
                  </a:lnTo>
                  <a:lnTo>
                    <a:pt x="666" y="323"/>
                  </a:lnTo>
                  <a:lnTo>
                    <a:pt x="666" y="327"/>
                  </a:lnTo>
                  <a:lnTo>
                    <a:pt x="670" y="327"/>
                  </a:lnTo>
                  <a:lnTo>
                    <a:pt x="670" y="331"/>
                  </a:lnTo>
                  <a:lnTo>
                    <a:pt x="674" y="331"/>
                  </a:lnTo>
                  <a:lnTo>
                    <a:pt x="678" y="331"/>
                  </a:lnTo>
                  <a:lnTo>
                    <a:pt x="682" y="331"/>
                  </a:lnTo>
                  <a:lnTo>
                    <a:pt x="686" y="331"/>
                  </a:lnTo>
                  <a:lnTo>
                    <a:pt x="686" y="335"/>
                  </a:lnTo>
                  <a:lnTo>
                    <a:pt x="690" y="335"/>
                  </a:lnTo>
                  <a:lnTo>
                    <a:pt x="690" y="339"/>
                  </a:lnTo>
                  <a:lnTo>
                    <a:pt x="690" y="343"/>
                  </a:lnTo>
                  <a:lnTo>
                    <a:pt x="686" y="343"/>
                  </a:lnTo>
                  <a:lnTo>
                    <a:pt x="686" y="347"/>
                  </a:lnTo>
                  <a:lnTo>
                    <a:pt x="690" y="351"/>
                  </a:lnTo>
                  <a:lnTo>
                    <a:pt x="694" y="351"/>
                  </a:lnTo>
                  <a:lnTo>
                    <a:pt x="698" y="351"/>
                  </a:lnTo>
                  <a:lnTo>
                    <a:pt x="702" y="351"/>
                  </a:lnTo>
                  <a:lnTo>
                    <a:pt x="702" y="347"/>
                  </a:lnTo>
                  <a:lnTo>
                    <a:pt x="706" y="347"/>
                  </a:lnTo>
                  <a:lnTo>
                    <a:pt x="706" y="343"/>
                  </a:lnTo>
                  <a:lnTo>
                    <a:pt x="710" y="343"/>
                  </a:lnTo>
                  <a:lnTo>
                    <a:pt x="710" y="339"/>
                  </a:lnTo>
                  <a:lnTo>
                    <a:pt x="714" y="339"/>
                  </a:lnTo>
                  <a:lnTo>
                    <a:pt x="718" y="339"/>
                  </a:lnTo>
                  <a:lnTo>
                    <a:pt x="722" y="343"/>
                  </a:lnTo>
                  <a:lnTo>
                    <a:pt x="725" y="343"/>
                  </a:lnTo>
                  <a:lnTo>
                    <a:pt x="725" y="347"/>
                  </a:lnTo>
                  <a:lnTo>
                    <a:pt x="729" y="347"/>
                  </a:lnTo>
                  <a:lnTo>
                    <a:pt x="733" y="347"/>
                  </a:lnTo>
                  <a:lnTo>
                    <a:pt x="733" y="343"/>
                  </a:lnTo>
                  <a:lnTo>
                    <a:pt x="737" y="343"/>
                  </a:lnTo>
                  <a:lnTo>
                    <a:pt x="733" y="343"/>
                  </a:lnTo>
                  <a:lnTo>
                    <a:pt x="737" y="347"/>
                  </a:lnTo>
                  <a:lnTo>
                    <a:pt x="741" y="347"/>
                  </a:lnTo>
                  <a:lnTo>
                    <a:pt x="741" y="351"/>
                  </a:lnTo>
                  <a:lnTo>
                    <a:pt x="737" y="355"/>
                  </a:lnTo>
                  <a:lnTo>
                    <a:pt x="741" y="355"/>
                  </a:lnTo>
                  <a:lnTo>
                    <a:pt x="737" y="359"/>
                  </a:lnTo>
                  <a:lnTo>
                    <a:pt x="737" y="355"/>
                  </a:lnTo>
                  <a:lnTo>
                    <a:pt x="733" y="355"/>
                  </a:lnTo>
                  <a:lnTo>
                    <a:pt x="729" y="359"/>
                  </a:lnTo>
                  <a:lnTo>
                    <a:pt x="725" y="359"/>
                  </a:lnTo>
                  <a:lnTo>
                    <a:pt x="722" y="359"/>
                  </a:lnTo>
                  <a:lnTo>
                    <a:pt x="722" y="363"/>
                  </a:lnTo>
                  <a:lnTo>
                    <a:pt x="718" y="363"/>
                  </a:lnTo>
                  <a:lnTo>
                    <a:pt x="714" y="363"/>
                  </a:lnTo>
                  <a:lnTo>
                    <a:pt x="718" y="363"/>
                  </a:lnTo>
                  <a:lnTo>
                    <a:pt x="718" y="367"/>
                  </a:lnTo>
                  <a:lnTo>
                    <a:pt x="714" y="367"/>
                  </a:lnTo>
                  <a:lnTo>
                    <a:pt x="714" y="371"/>
                  </a:lnTo>
                  <a:lnTo>
                    <a:pt x="710" y="375"/>
                  </a:lnTo>
                  <a:lnTo>
                    <a:pt x="706" y="375"/>
                  </a:lnTo>
                  <a:lnTo>
                    <a:pt x="710" y="371"/>
                  </a:lnTo>
                  <a:lnTo>
                    <a:pt x="706" y="371"/>
                  </a:lnTo>
                  <a:lnTo>
                    <a:pt x="706" y="375"/>
                  </a:lnTo>
                  <a:lnTo>
                    <a:pt x="706" y="379"/>
                  </a:lnTo>
                  <a:lnTo>
                    <a:pt x="702" y="379"/>
                  </a:lnTo>
                  <a:lnTo>
                    <a:pt x="702" y="383"/>
                  </a:lnTo>
                  <a:lnTo>
                    <a:pt x="698" y="383"/>
                  </a:lnTo>
                  <a:lnTo>
                    <a:pt x="698" y="387"/>
                  </a:lnTo>
                  <a:lnTo>
                    <a:pt x="694" y="387"/>
                  </a:lnTo>
                  <a:lnTo>
                    <a:pt x="694" y="391"/>
                  </a:lnTo>
                  <a:lnTo>
                    <a:pt x="694" y="395"/>
                  </a:lnTo>
                  <a:lnTo>
                    <a:pt x="690" y="395"/>
                  </a:lnTo>
                  <a:lnTo>
                    <a:pt x="690" y="399"/>
                  </a:lnTo>
                  <a:lnTo>
                    <a:pt x="694" y="399"/>
                  </a:lnTo>
                  <a:lnTo>
                    <a:pt x="694" y="403"/>
                  </a:lnTo>
                  <a:lnTo>
                    <a:pt x="698" y="403"/>
                  </a:lnTo>
                  <a:lnTo>
                    <a:pt x="702" y="407"/>
                  </a:lnTo>
                  <a:lnTo>
                    <a:pt x="706" y="407"/>
                  </a:lnTo>
                  <a:lnTo>
                    <a:pt x="710" y="411"/>
                  </a:lnTo>
                  <a:lnTo>
                    <a:pt x="710" y="415"/>
                  </a:lnTo>
                  <a:lnTo>
                    <a:pt x="710" y="419"/>
                  </a:lnTo>
                  <a:lnTo>
                    <a:pt x="710" y="423"/>
                  </a:lnTo>
                  <a:lnTo>
                    <a:pt x="714" y="427"/>
                  </a:lnTo>
                  <a:lnTo>
                    <a:pt x="714" y="431"/>
                  </a:lnTo>
                  <a:lnTo>
                    <a:pt x="718" y="435"/>
                  </a:lnTo>
                  <a:lnTo>
                    <a:pt x="718" y="439"/>
                  </a:lnTo>
                  <a:lnTo>
                    <a:pt x="718" y="443"/>
                  </a:lnTo>
                  <a:lnTo>
                    <a:pt x="722" y="443"/>
                  </a:lnTo>
                  <a:lnTo>
                    <a:pt x="722" y="447"/>
                  </a:lnTo>
                  <a:lnTo>
                    <a:pt x="725" y="447"/>
                  </a:lnTo>
                  <a:lnTo>
                    <a:pt x="725" y="451"/>
                  </a:lnTo>
                  <a:lnTo>
                    <a:pt x="729" y="455"/>
                  </a:lnTo>
                  <a:lnTo>
                    <a:pt x="729" y="459"/>
                  </a:lnTo>
                  <a:lnTo>
                    <a:pt x="733" y="459"/>
                  </a:lnTo>
                  <a:lnTo>
                    <a:pt x="733" y="463"/>
                  </a:lnTo>
                  <a:lnTo>
                    <a:pt x="729" y="463"/>
                  </a:lnTo>
                  <a:lnTo>
                    <a:pt x="729" y="459"/>
                  </a:lnTo>
                  <a:lnTo>
                    <a:pt x="725" y="459"/>
                  </a:lnTo>
                  <a:lnTo>
                    <a:pt x="722" y="459"/>
                  </a:lnTo>
                  <a:lnTo>
                    <a:pt x="718" y="459"/>
                  </a:lnTo>
                  <a:lnTo>
                    <a:pt x="718" y="455"/>
                  </a:lnTo>
                  <a:lnTo>
                    <a:pt x="714" y="455"/>
                  </a:lnTo>
                  <a:lnTo>
                    <a:pt x="710" y="451"/>
                  </a:lnTo>
                  <a:lnTo>
                    <a:pt x="710" y="455"/>
                  </a:lnTo>
                  <a:lnTo>
                    <a:pt x="706" y="455"/>
                  </a:lnTo>
                  <a:lnTo>
                    <a:pt x="702" y="455"/>
                  </a:lnTo>
                  <a:lnTo>
                    <a:pt x="702" y="451"/>
                  </a:lnTo>
                  <a:lnTo>
                    <a:pt x="702" y="447"/>
                  </a:lnTo>
                  <a:lnTo>
                    <a:pt x="698" y="447"/>
                  </a:lnTo>
                  <a:lnTo>
                    <a:pt x="698" y="451"/>
                  </a:lnTo>
                  <a:lnTo>
                    <a:pt x="702" y="451"/>
                  </a:lnTo>
                  <a:lnTo>
                    <a:pt x="698" y="451"/>
                  </a:lnTo>
                  <a:lnTo>
                    <a:pt x="702" y="451"/>
                  </a:lnTo>
                  <a:lnTo>
                    <a:pt x="702" y="455"/>
                  </a:lnTo>
                  <a:lnTo>
                    <a:pt x="706" y="455"/>
                  </a:lnTo>
                  <a:lnTo>
                    <a:pt x="710" y="455"/>
                  </a:lnTo>
                  <a:lnTo>
                    <a:pt x="714" y="455"/>
                  </a:lnTo>
                  <a:lnTo>
                    <a:pt x="714" y="459"/>
                  </a:lnTo>
                  <a:lnTo>
                    <a:pt x="718" y="459"/>
                  </a:lnTo>
                  <a:lnTo>
                    <a:pt x="722" y="459"/>
                  </a:lnTo>
                  <a:lnTo>
                    <a:pt x="722" y="463"/>
                  </a:lnTo>
                  <a:lnTo>
                    <a:pt x="725" y="467"/>
                  </a:lnTo>
                  <a:lnTo>
                    <a:pt x="729" y="467"/>
                  </a:lnTo>
                  <a:lnTo>
                    <a:pt x="729" y="471"/>
                  </a:lnTo>
                  <a:lnTo>
                    <a:pt x="729" y="475"/>
                  </a:lnTo>
                  <a:lnTo>
                    <a:pt x="733" y="475"/>
                  </a:lnTo>
                  <a:lnTo>
                    <a:pt x="733" y="479"/>
                  </a:lnTo>
                  <a:lnTo>
                    <a:pt x="729" y="479"/>
                  </a:lnTo>
                  <a:lnTo>
                    <a:pt x="725" y="479"/>
                  </a:lnTo>
                  <a:lnTo>
                    <a:pt x="722" y="479"/>
                  </a:lnTo>
                  <a:lnTo>
                    <a:pt x="722" y="483"/>
                  </a:lnTo>
                  <a:lnTo>
                    <a:pt x="718" y="483"/>
                  </a:lnTo>
                  <a:lnTo>
                    <a:pt x="718" y="487"/>
                  </a:lnTo>
                  <a:lnTo>
                    <a:pt x="714" y="487"/>
                  </a:lnTo>
                  <a:lnTo>
                    <a:pt x="710" y="487"/>
                  </a:lnTo>
                  <a:lnTo>
                    <a:pt x="706" y="491"/>
                  </a:lnTo>
                  <a:lnTo>
                    <a:pt x="710" y="491"/>
                  </a:lnTo>
                  <a:lnTo>
                    <a:pt x="710" y="487"/>
                  </a:lnTo>
                  <a:lnTo>
                    <a:pt x="714" y="491"/>
                  </a:lnTo>
                  <a:lnTo>
                    <a:pt x="714" y="495"/>
                  </a:lnTo>
                  <a:lnTo>
                    <a:pt x="714" y="491"/>
                  </a:lnTo>
                  <a:lnTo>
                    <a:pt x="718" y="491"/>
                  </a:lnTo>
                  <a:lnTo>
                    <a:pt x="722" y="487"/>
                  </a:lnTo>
                  <a:lnTo>
                    <a:pt x="725" y="487"/>
                  </a:lnTo>
                  <a:lnTo>
                    <a:pt x="725" y="491"/>
                  </a:lnTo>
                  <a:lnTo>
                    <a:pt x="729" y="495"/>
                  </a:lnTo>
                  <a:lnTo>
                    <a:pt x="733" y="495"/>
                  </a:lnTo>
                  <a:lnTo>
                    <a:pt x="733" y="499"/>
                  </a:lnTo>
                  <a:lnTo>
                    <a:pt x="729" y="499"/>
                  </a:lnTo>
                  <a:lnTo>
                    <a:pt x="729" y="503"/>
                  </a:lnTo>
                  <a:lnTo>
                    <a:pt x="725" y="503"/>
                  </a:lnTo>
                  <a:lnTo>
                    <a:pt x="725" y="507"/>
                  </a:lnTo>
                  <a:lnTo>
                    <a:pt x="725" y="503"/>
                  </a:lnTo>
                  <a:lnTo>
                    <a:pt x="729" y="503"/>
                  </a:lnTo>
                  <a:lnTo>
                    <a:pt x="733" y="503"/>
                  </a:lnTo>
                  <a:lnTo>
                    <a:pt x="733" y="507"/>
                  </a:lnTo>
                  <a:lnTo>
                    <a:pt x="733" y="511"/>
                  </a:lnTo>
                  <a:lnTo>
                    <a:pt x="729" y="511"/>
                  </a:lnTo>
                  <a:lnTo>
                    <a:pt x="729" y="507"/>
                  </a:lnTo>
                  <a:lnTo>
                    <a:pt x="729" y="511"/>
                  </a:lnTo>
                  <a:lnTo>
                    <a:pt x="725" y="511"/>
                  </a:lnTo>
                  <a:lnTo>
                    <a:pt x="725" y="507"/>
                  </a:lnTo>
                  <a:lnTo>
                    <a:pt x="725" y="511"/>
                  </a:lnTo>
                  <a:lnTo>
                    <a:pt x="729" y="511"/>
                  </a:lnTo>
                  <a:lnTo>
                    <a:pt x="729" y="515"/>
                  </a:lnTo>
                  <a:lnTo>
                    <a:pt x="725" y="515"/>
                  </a:lnTo>
                  <a:lnTo>
                    <a:pt x="729" y="519"/>
                  </a:lnTo>
                  <a:lnTo>
                    <a:pt x="725" y="519"/>
                  </a:lnTo>
                  <a:lnTo>
                    <a:pt x="722" y="519"/>
                  </a:lnTo>
                  <a:lnTo>
                    <a:pt x="725" y="519"/>
                  </a:lnTo>
                  <a:lnTo>
                    <a:pt x="725" y="523"/>
                  </a:lnTo>
                  <a:lnTo>
                    <a:pt x="725" y="527"/>
                  </a:lnTo>
                  <a:lnTo>
                    <a:pt x="729" y="527"/>
                  </a:lnTo>
                  <a:lnTo>
                    <a:pt x="725" y="527"/>
                  </a:lnTo>
                  <a:lnTo>
                    <a:pt x="725" y="531"/>
                  </a:lnTo>
                  <a:lnTo>
                    <a:pt x="722" y="531"/>
                  </a:lnTo>
                  <a:lnTo>
                    <a:pt x="722" y="527"/>
                  </a:lnTo>
                  <a:lnTo>
                    <a:pt x="722" y="531"/>
                  </a:lnTo>
                  <a:lnTo>
                    <a:pt x="718" y="531"/>
                  </a:lnTo>
                  <a:lnTo>
                    <a:pt x="718" y="535"/>
                  </a:lnTo>
                  <a:lnTo>
                    <a:pt x="714" y="531"/>
                  </a:lnTo>
                  <a:lnTo>
                    <a:pt x="714" y="535"/>
                  </a:lnTo>
                  <a:lnTo>
                    <a:pt x="718" y="535"/>
                  </a:lnTo>
                  <a:lnTo>
                    <a:pt x="714" y="535"/>
                  </a:lnTo>
                  <a:lnTo>
                    <a:pt x="714" y="539"/>
                  </a:lnTo>
                  <a:lnTo>
                    <a:pt x="714" y="543"/>
                  </a:lnTo>
                  <a:lnTo>
                    <a:pt x="714" y="547"/>
                  </a:lnTo>
                  <a:lnTo>
                    <a:pt x="710" y="547"/>
                  </a:lnTo>
                  <a:lnTo>
                    <a:pt x="710" y="551"/>
                  </a:lnTo>
                  <a:lnTo>
                    <a:pt x="710" y="547"/>
                  </a:lnTo>
                  <a:lnTo>
                    <a:pt x="710" y="551"/>
                  </a:lnTo>
                  <a:lnTo>
                    <a:pt x="710" y="547"/>
                  </a:lnTo>
                  <a:lnTo>
                    <a:pt x="706" y="547"/>
                  </a:lnTo>
                  <a:lnTo>
                    <a:pt x="710" y="547"/>
                  </a:lnTo>
                  <a:lnTo>
                    <a:pt x="710" y="551"/>
                  </a:lnTo>
                  <a:lnTo>
                    <a:pt x="706" y="551"/>
                  </a:lnTo>
                  <a:lnTo>
                    <a:pt x="706" y="555"/>
                  </a:lnTo>
                  <a:lnTo>
                    <a:pt x="702" y="555"/>
                  </a:lnTo>
                  <a:lnTo>
                    <a:pt x="706" y="555"/>
                  </a:lnTo>
                  <a:lnTo>
                    <a:pt x="706" y="559"/>
                  </a:lnTo>
                  <a:lnTo>
                    <a:pt x="702" y="559"/>
                  </a:lnTo>
                  <a:lnTo>
                    <a:pt x="702" y="563"/>
                  </a:lnTo>
                  <a:lnTo>
                    <a:pt x="702" y="559"/>
                  </a:lnTo>
                  <a:lnTo>
                    <a:pt x="706" y="559"/>
                  </a:lnTo>
                  <a:lnTo>
                    <a:pt x="702" y="555"/>
                  </a:lnTo>
                  <a:lnTo>
                    <a:pt x="702" y="559"/>
                  </a:lnTo>
                  <a:lnTo>
                    <a:pt x="702" y="555"/>
                  </a:lnTo>
                  <a:lnTo>
                    <a:pt x="698" y="555"/>
                  </a:lnTo>
                  <a:lnTo>
                    <a:pt x="698" y="559"/>
                  </a:lnTo>
                  <a:lnTo>
                    <a:pt x="698" y="555"/>
                  </a:lnTo>
                  <a:lnTo>
                    <a:pt x="698" y="559"/>
                  </a:lnTo>
                  <a:lnTo>
                    <a:pt x="698" y="563"/>
                  </a:lnTo>
                  <a:lnTo>
                    <a:pt x="698" y="559"/>
                  </a:lnTo>
                  <a:lnTo>
                    <a:pt x="702" y="563"/>
                  </a:lnTo>
                  <a:lnTo>
                    <a:pt x="698" y="563"/>
                  </a:lnTo>
                  <a:lnTo>
                    <a:pt x="698" y="567"/>
                  </a:lnTo>
                  <a:lnTo>
                    <a:pt x="702" y="563"/>
                  </a:lnTo>
                  <a:lnTo>
                    <a:pt x="702" y="567"/>
                  </a:lnTo>
                  <a:lnTo>
                    <a:pt x="698" y="567"/>
                  </a:lnTo>
                  <a:lnTo>
                    <a:pt x="698" y="571"/>
                  </a:lnTo>
                  <a:lnTo>
                    <a:pt x="694" y="571"/>
                  </a:lnTo>
                  <a:lnTo>
                    <a:pt x="690" y="571"/>
                  </a:lnTo>
                  <a:lnTo>
                    <a:pt x="694" y="571"/>
                  </a:lnTo>
                  <a:lnTo>
                    <a:pt x="694" y="575"/>
                  </a:lnTo>
                  <a:lnTo>
                    <a:pt x="694" y="571"/>
                  </a:lnTo>
                  <a:lnTo>
                    <a:pt x="698" y="571"/>
                  </a:lnTo>
                  <a:lnTo>
                    <a:pt x="698" y="575"/>
                  </a:lnTo>
                  <a:lnTo>
                    <a:pt x="698" y="579"/>
                  </a:lnTo>
                  <a:lnTo>
                    <a:pt x="694" y="579"/>
                  </a:lnTo>
                  <a:lnTo>
                    <a:pt x="698" y="579"/>
                  </a:lnTo>
                  <a:lnTo>
                    <a:pt x="698" y="583"/>
                  </a:lnTo>
                  <a:lnTo>
                    <a:pt x="698" y="587"/>
                  </a:lnTo>
                  <a:lnTo>
                    <a:pt x="698" y="583"/>
                  </a:lnTo>
                  <a:lnTo>
                    <a:pt x="694" y="583"/>
                  </a:lnTo>
                  <a:lnTo>
                    <a:pt x="694" y="579"/>
                  </a:lnTo>
                  <a:lnTo>
                    <a:pt x="694" y="583"/>
                  </a:lnTo>
                  <a:lnTo>
                    <a:pt x="690" y="583"/>
                  </a:lnTo>
                  <a:lnTo>
                    <a:pt x="694" y="587"/>
                  </a:lnTo>
                  <a:lnTo>
                    <a:pt x="690" y="591"/>
                  </a:lnTo>
                  <a:lnTo>
                    <a:pt x="690" y="587"/>
                  </a:lnTo>
                  <a:lnTo>
                    <a:pt x="686" y="587"/>
                  </a:lnTo>
                  <a:lnTo>
                    <a:pt x="686" y="591"/>
                  </a:lnTo>
                  <a:lnTo>
                    <a:pt x="690" y="591"/>
                  </a:lnTo>
                  <a:lnTo>
                    <a:pt x="686" y="595"/>
                  </a:lnTo>
                  <a:lnTo>
                    <a:pt x="682" y="595"/>
                  </a:lnTo>
                  <a:lnTo>
                    <a:pt x="686" y="595"/>
                  </a:lnTo>
                  <a:lnTo>
                    <a:pt x="682" y="591"/>
                  </a:lnTo>
                  <a:lnTo>
                    <a:pt x="682" y="595"/>
                  </a:lnTo>
                  <a:lnTo>
                    <a:pt x="686" y="595"/>
                  </a:lnTo>
                  <a:lnTo>
                    <a:pt x="682" y="599"/>
                  </a:lnTo>
                  <a:lnTo>
                    <a:pt x="678" y="599"/>
                  </a:lnTo>
                  <a:lnTo>
                    <a:pt x="674" y="599"/>
                  </a:lnTo>
                  <a:lnTo>
                    <a:pt x="674" y="603"/>
                  </a:lnTo>
                  <a:lnTo>
                    <a:pt x="670" y="603"/>
                  </a:lnTo>
                  <a:lnTo>
                    <a:pt x="674" y="603"/>
                  </a:lnTo>
                  <a:lnTo>
                    <a:pt x="674" y="607"/>
                  </a:lnTo>
                  <a:lnTo>
                    <a:pt x="670" y="611"/>
                  </a:lnTo>
                  <a:lnTo>
                    <a:pt x="666" y="611"/>
                  </a:lnTo>
                  <a:lnTo>
                    <a:pt x="666" y="615"/>
                  </a:lnTo>
                  <a:lnTo>
                    <a:pt x="662" y="615"/>
                  </a:lnTo>
                  <a:lnTo>
                    <a:pt x="662" y="619"/>
                  </a:lnTo>
                  <a:lnTo>
                    <a:pt x="658" y="619"/>
                  </a:lnTo>
                  <a:lnTo>
                    <a:pt x="654" y="619"/>
                  </a:lnTo>
                  <a:lnTo>
                    <a:pt x="654" y="623"/>
                  </a:lnTo>
                  <a:lnTo>
                    <a:pt x="650" y="623"/>
                  </a:lnTo>
                  <a:lnTo>
                    <a:pt x="654" y="623"/>
                  </a:lnTo>
                  <a:lnTo>
                    <a:pt x="654" y="627"/>
                  </a:lnTo>
                  <a:lnTo>
                    <a:pt x="650" y="627"/>
                  </a:lnTo>
                  <a:lnTo>
                    <a:pt x="650" y="631"/>
                  </a:lnTo>
                  <a:lnTo>
                    <a:pt x="646" y="631"/>
                  </a:lnTo>
                  <a:lnTo>
                    <a:pt x="646" y="635"/>
                  </a:lnTo>
                  <a:lnTo>
                    <a:pt x="642" y="631"/>
                  </a:lnTo>
                  <a:lnTo>
                    <a:pt x="642" y="635"/>
                  </a:lnTo>
                  <a:lnTo>
                    <a:pt x="638" y="635"/>
                  </a:lnTo>
                  <a:lnTo>
                    <a:pt x="638" y="631"/>
                  </a:lnTo>
                  <a:lnTo>
                    <a:pt x="634" y="635"/>
                  </a:lnTo>
                  <a:lnTo>
                    <a:pt x="638" y="635"/>
                  </a:lnTo>
                  <a:lnTo>
                    <a:pt x="634" y="635"/>
                  </a:lnTo>
                  <a:lnTo>
                    <a:pt x="630" y="635"/>
                  </a:lnTo>
                  <a:lnTo>
                    <a:pt x="626" y="635"/>
                  </a:lnTo>
                  <a:lnTo>
                    <a:pt x="626" y="639"/>
                  </a:lnTo>
                  <a:lnTo>
                    <a:pt x="622" y="639"/>
                  </a:lnTo>
                  <a:lnTo>
                    <a:pt x="622" y="635"/>
                  </a:lnTo>
                  <a:lnTo>
                    <a:pt x="626" y="635"/>
                  </a:lnTo>
                  <a:lnTo>
                    <a:pt x="622" y="635"/>
                  </a:lnTo>
                  <a:lnTo>
                    <a:pt x="622" y="639"/>
                  </a:lnTo>
                  <a:lnTo>
                    <a:pt x="618" y="639"/>
                  </a:lnTo>
                  <a:lnTo>
                    <a:pt x="614" y="639"/>
                  </a:lnTo>
                  <a:lnTo>
                    <a:pt x="618" y="639"/>
                  </a:lnTo>
                  <a:lnTo>
                    <a:pt x="618" y="643"/>
                  </a:lnTo>
                  <a:lnTo>
                    <a:pt x="614" y="643"/>
                  </a:lnTo>
                  <a:lnTo>
                    <a:pt x="610" y="643"/>
                  </a:lnTo>
                  <a:lnTo>
                    <a:pt x="610" y="639"/>
                  </a:lnTo>
                  <a:lnTo>
                    <a:pt x="614" y="639"/>
                  </a:lnTo>
                  <a:lnTo>
                    <a:pt x="610" y="639"/>
                  </a:lnTo>
                  <a:lnTo>
                    <a:pt x="610" y="635"/>
                  </a:lnTo>
                  <a:lnTo>
                    <a:pt x="606" y="631"/>
                  </a:lnTo>
                  <a:lnTo>
                    <a:pt x="606" y="627"/>
                  </a:lnTo>
                  <a:lnTo>
                    <a:pt x="610" y="627"/>
                  </a:lnTo>
                  <a:lnTo>
                    <a:pt x="606" y="627"/>
                  </a:lnTo>
                  <a:lnTo>
                    <a:pt x="606" y="631"/>
                  </a:lnTo>
                  <a:lnTo>
                    <a:pt x="602" y="631"/>
                  </a:lnTo>
                  <a:lnTo>
                    <a:pt x="606" y="635"/>
                  </a:lnTo>
                  <a:lnTo>
                    <a:pt x="602" y="635"/>
                  </a:lnTo>
                  <a:lnTo>
                    <a:pt x="606" y="635"/>
                  </a:lnTo>
                  <a:lnTo>
                    <a:pt x="606" y="639"/>
                  </a:lnTo>
                  <a:lnTo>
                    <a:pt x="606" y="643"/>
                  </a:lnTo>
                  <a:lnTo>
                    <a:pt x="606" y="647"/>
                  </a:lnTo>
                  <a:lnTo>
                    <a:pt x="602" y="647"/>
                  </a:lnTo>
                  <a:lnTo>
                    <a:pt x="602" y="643"/>
                  </a:lnTo>
                  <a:lnTo>
                    <a:pt x="602" y="639"/>
                  </a:lnTo>
                  <a:lnTo>
                    <a:pt x="598" y="639"/>
                  </a:lnTo>
                  <a:lnTo>
                    <a:pt x="602" y="639"/>
                  </a:lnTo>
                  <a:lnTo>
                    <a:pt x="602" y="643"/>
                  </a:lnTo>
                  <a:lnTo>
                    <a:pt x="602" y="647"/>
                  </a:lnTo>
                  <a:lnTo>
                    <a:pt x="598" y="647"/>
                  </a:lnTo>
                  <a:lnTo>
                    <a:pt x="598" y="643"/>
                  </a:lnTo>
                  <a:lnTo>
                    <a:pt x="598" y="647"/>
                  </a:lnTo>
                  <a:lnTo>
                    <a:pt x="598" y="651"/>
                  </a:lnTo>
                  <a:lnTo>
                    <a:pt x="594" y="651"/>
                  </a:lnTo>
                  <a:lnTo>
                    <a:pt x="590" y="651"/>
                  </a:lnTo>
                  <a:lnTo>
                    <a:pt x="590" y="655"/>
                  </a:lnTo>
                  <a:lnTo>
                    <a:pt x="590" y="651"/>
                  </a:lnTo>
                  <a:lnTo>
                    <a:pt x="586" y="655"/>
                  </a:lnTo>
                  <a:lnTo>
                    <a:pt x="582" y="651"/>
                  </a:lnTo>
                  <a:lnTo>
                    <a:pt x="582" y="655"/>
                  </a:lnTo>
                  <a:lnTo>
                    <a:pt x="578" y="655"/>
                  </a:lnTo>
                  <a:lnTo>
                    <a:pt x="578" y="659"/>
                  </a:lnTo>
                  <a:lnTo>
                    <a:pt x="574" y="659"/>
                  </a:lnTo>
                  <a:lnTo>
                    <a:pt x="570" y="659"/>
                  </a:lnTo>
                  <a:lnTo>
                    <a:pt x="566" y="659"/>
                  </a:lnTo>
                  <a:lnTo>
                    <a:pt x="562" y="659"/>
                  </a:lnTo>
                  <a:lnTo>
                    <a:pt x="562" y="663"/>
                  </a:lnTo>
                  <a:lnTo>
                    <a:pt x="562" y="659"/>
                  </a:lnTo>
                  <a:lnTo>
                    <a:pt x="562" y="663"/>
                  </a:lnTo>
                  <a:lnTo>
                    <a:pt x="558" y="663"/>
                  </a:lnTo>
                  <a:lnTo>
                    <a:pt x="558" y="659"/>
                  </a:lnTo>
                  <a:lnTo>
                    <a:pt x="558" y="663"/>
                  </a:lnTo>
                  <a:lnTo>
                    <a:pt x="558" y="667"/>
                  </a:lnTo>
                  <a:lnTo>
                    <a:pt x="554" y="667"/>
                  </a:lnTo>
                  <a:lnTo>
                    <a:pt x="554" y="671"/>
                  </a:lnTo>
                  <a:lnTo>
                    <a:pt x="558" y="671"/>
                  </a:lnTo>
                  <a:lnTo>
                    <a:pt x="558" y="675"/>
                  </a:lnTo>
                  <a:lnTo>
                    <a:pt x="558" y="671"/>
                  </a:lnTo>
                  <a:lnTo>
                    <a:pt x="558" y="675"/>
                  </a:lnTo>
                  <a:lnTo>
                    <a:pt x="558" y="678"/>
                  </a:lnTo>
                  <a:lnTo>
                    <a:pt x="558" y="682"/>
                  </a:lnTo>
                  <a:lnTo>
                    <a:pt x="554" y="682"/>
                  </a:lnTo>
                  <a:lnTo>
                    <a:pt x="550" y="682"/>
                  </a:lnTo>
                  <a:lnTo>
                    <a:pt x="550" y="678"/>
                  </a:lnTo>
                  <a:lnTo>
                    <a:pt x="546" y="675"/>
                  </a:lnTo>
                  <a:lnTo>
                    <a:pt x="546" y="671"/>
                  </a:lnTo>
                  <a:lnTo>
                    <a:pt x="546" y="667"/>
                  </a:lnTo>
                  <a:lnTo>
                    <a:pt x="550" y="663"/>
                  </a:lnTo>
                  <a:lnTo>
                    <a:pt x="550" y="659"/>
                  </a:lnTo>
                  <a:lnTo>
                    <a:pt x="550" y="655"/>
                  </a:lnTo>
                  <a:lnTo>
                    <a:pt x="546" y="655"/>
                  </a:lnTo>
                  <a:lnTo>
                    <a:pt x="546" y="659"/>
                  </a:lnTo>
                  <a:lnTo>
                    <a:pt x="550" y="659"/>
                  </a:lnTo>
                  <a:lnTo>
                    <a:pt x="546" y="659"/>
                  </a:lnTo>
                  <a:lnTo>
                    <a:pt x="546" y="655"/>
                  </a:lnTo>
                  <a:lnTo>
                    <a:pt x="546" y="659"/>
                  </a:lnTo>
                  <a:lnTo>
                    <a:pt x="542" y="659"/>
                  </a:lnTo>
                  <a:lnTo>
                    <a:pt x="538" y="659"/>
                  </a:lnTo>
                  <a:lnTo>
                    <a:pt x="538" y="655"/>
                  </a:lnTo>
                  <a:lnTo>
                    <a:pt x="534" y="655"/>
                  </a:lnTo>
                  <a:lnTo>
                    <a:pt x="534" y="651"/>
                  </a:lnTo>
                  <a:lnTo>
                    <a:pt x="534" y="655"/>
                  </a:lnTo>
                  <a:lnTo>
                    <a:pt x="530" y="655"/>
                  </a:lnTo>
                  <a:lnTo>
                    <a:pt x="530" y="651"/>
                  </a:lnTo>
                  <a:lnTo>
                    <a:pt x="530" y="655"/>
                  </a:lnTo>
                  <a:lnTo>
                    <a:pt x="530" y="659"/>
                  </a:lnTo>
                  <a:lnTo>
                    <a:pt x="526" y="659"/>
                  </a:lnTo>
                  <a:lnTo>
                    <a:pt x="526" y="655"/>
                  </a:lnTo>
                  <a:lnTo>
                    <a:pt x="530" y="655"/>
                  </a:lnTo>
                  <a:lnTo>
                    <a:pt x="526" y="655"/>
                  </a:lnTo>
                  <a:lnTo>
                    <a:pt x="526" y="659"/>
                  </a:lnTo>
                  <a:lnTo>
                    <a:pt x="526" y="655"/>
                  </a:lnTo>
                  <a:lnTo>
                    <a:pt x="522" y="659"/>
                  </a:lnTo>
                  <a:lnTo>
                    <a:pt x="522" y="655"/>
                  </a:lnTo>
                  <a:lnTo>
                    <a:pt x="518" y="655"/>
                  </a:lnTo>
                  <a:lnTo>
                    <a:pt x="514" y="655"/>
                  </a:lnTo>
                  <a:lnTo>
                    <a:pt x="510" y="655"/>
                  </a:lnTo>
                  <a:lnTo>
                    <a:pt x="506" y="651"/>
                  </a:lnTo>
                  <a:lnTo>
                    <a:pt x="502" y="647"/>
                  </a:lnTo>
                  <a:lnTo>
                    <a:pt x="502" y="643"/>
                  </a:lnTo>
                  <a:lnTo>
                    <a:pt x="498" y="643"/>
                  </a:lnTo>
                  <a:lnTo>
                    <a:pt x="498" y="639"/>
                  </a:lnTo>
                  <a:lnTo>
                    <a:pt x="502" y="639"/>
                  </a:lnTo>
                  <a:lnTo>
                    <a:pt x="502" y="635"/>
                  </a:lnTo>
                  <a:lnTo>
                    <a:pt x="502" y="631"/>
                  </a:lnTo>
                  <a:lnTo>
                    <a:pt x="498" y="631"/>
                  </a:lnTo>
                  <a:lnTo>
                    <a:pt x="494" y="631"/>
                  </a:lnTo>
                  <a:lnTo>
                    <a:pt x="490" y="631"/>
                  </a:lnTo>
                  <a:lnTo>
                    <a:pt x="486" y="631"/>
                  </a:lnTo>
                  <a:lnTo>
                    <a:pt x="486" y="627"/>
                  </a:lnTo>
                  <a:lnTo>
                    <a:pt x="482" y="627"/>
                  </a:lnTo>
                  <a:lnTo>
                    <a:pt x="482" y="623"/>
                  </a:lnTo>
                  <a:lnTo>
                    <a:pt x="478" y="623"/>
                  </a:lnTo>
                  <a:lnTo>
                    <a:pt x="474" y="627"/>
                  </a:lnTo>
                  <a:lnTo>
                    <a:pt x="474" y="631"/>
                  </a:lnTo>
                  <a:lnTo>
                    <a:pt x="470" y="635"/>
                  </a:lnTo>
                  <a:lnTo>
                    <a:pt x="466" y="635"/>
                  </a:lnTo>
                  <a:lnTo>
                    <a:pt x="462" y="635"/>
                  </a:lnTo>
                  <a:lnTo>
                    <a:pt x="462" y="639"/>
                  </a:lnTo>
                  <a:lnTo>
                    <a:pt x="458" y="639"/>
                  </a:lnTo>
                  <a:lnTo>
                    <a:pt x="458" y="635"/>
                  </a:lnTo>
                  <a:lnTo>
                    <a:pt x="454" y="635"/>
                  </a:lnTo>
                  <a:lnTo>
                    <a:pt x="454" y="639"/>
                  </a:lnTo>
                  <a:lnTo>
                    <a:pt x="454" y="635"/>
                  </a:lnTo>
                  <a:lnTo>
                    <a:pt x="450" y="635"/>
                  </a:lnTo>
                  <a:lnTo>
                    <a:pt x="450" y="639"/>
                  </a:lnTo>
                  <a:lnTo>
                    <a:pt x="446" y="639"/>
                  </a:lnTo>
                  <a:lnTo>
                    <a:pt x="442" y="639"/>
                  </a:lnTo>
                  <a:lnTo>
                    <a:pt x="442" y="635"/>
                  </a:lnTo>
                  <a:lnTo>
                    <a:pt x="438" y="635"/>
                  </a:lnTo>
                  <a:lnTo>
                    <a:pt x="438" y="639"/>
                  </a:lnTo>
                  <a:lnTo>
                    <a:pt x="434" y="639"/>
                  </a:lnTo>
                  <a:lnTo>
                    <a:pt x="434" y="643"/>
                  </a:lnTo>
                  <a:lnTo>
                    <a:pt x="434" y="639"/>
                  </a:lnTo>
                  <a:lnTo>
                    <a:pt x="430" y="639"/>
                  </a:lnTo>
                  <a:lnTo>
                    <a:pt x="426" y="639"/>
                  </a:lnTo>
                  <a:lnTo>
                    <a:pt x="426" y="643"/>
                  </a:lnTo>
                  <a:lnTo>
                    <a:pt x="422" y="643"/>
                  </a:lnTo>
                  <a:lnTo>
                    <a:pt x="426" y="651"/>
                  </a:lnTo>
                  <a:lnTo>
                    <a:pt x="426" y="655"/>
                  </a:lnTo>
                  <a:lnTo>
                    <a:pt x="426" y="659"/>
                  </a:lnTo>
                  <a:lnTo>
                    <a:pt x="426" y="663"/>
                  </a:lnTo>
                  <a:lnTo>
                    <a:pt x="430" y="663"/>
                  </a:lnTo>
                  <a:lnTo>
                    <a:pt x="426" y="663"/>
                  </a:lnTo>
                  <a:lnTo>
                    <a:pt x="426" y="667"/>
                  </a:lnTo>
                  <a:lnTo>
                    <a:pt x="426" y="663"/>
                  </a:lnTo>
                  <a:lnTo>
                    <a:pt x="422" y="663"/>
                  </a:lnTo>
                  <a:lnTo>
                    <a:pt x="418" y="663"/>
                  </a:lnTo>
                  <a:lnTo>
                    <a:pt x="418" y="659"/>
                  </a:lnTo>
                  <a:lnTo>
                    <a:pt x="418" y="655"/>
                  </a:lnTo>
                  <a:lnTo>
                    <a:pt x="414" y="655"/>
                  </a:lnTo>
                  <a:lnTo>
                    <a:pt x="410" y="659"/>
                  </a:lnTo>
                  <a:lnTo>
                    <a:pt x="406" y="659"/>
                  </a:lnTo>
                  <a:lnTo>
                    <a:pt x="402" y="659"/>
                  </a:lnTo>
                  <a:lnTo>
                    <a:pt x="402" y="655"/>
                  </a:lnTo>
                  <a:lnTo>
                    <a:pt x="398" y="655"/>
                  </a:lnTo>
                  <a:lnTo>
                    <a:pt x="398" y="651"/>
                  </a:lnTo>
                  <a:lnTo>
                    <a:pt x="398" y="647"/>
                  </a:lnTo>
                  <a:lnTo>
                    <a:pt x="394" y="647"/>
                  </a:lnTo>
                  <a:lnTo>
                    <a:pt x="390" y="647"/>
                  </a:lnTo>
                  <a:lnTo>
                    <a:pt x="386" y="647"/>
                  </a:lnTo>
                  <a:lnTo>
                    <a:pt x="390" y="643"/>
                  </a:lnTo>
                  <a:lnTo>
                    <a:pt x="390" y="639"/>
                  </a:lnTo>
                  <a:lnTo>
                    <a:pt x="390" y="635"/>
                  </a:lnTo>
                  <a:lnTo>
                    <a:pt x="390" y="631"/>
                  </a:lnTo>
                  <a:lnTo>
                    <a:pt x="394" y="631"/>
                  </a:lnTo>
                  <a:lnTo>
                    <a:pt x="394" y="627"/>
                  </a:lnTo>
                  <a:lnTo>
                    <a:pt x="390" y="627"/>
                  </a:lnTo>
                  <a:lnTo>
                    <a:pt x="386" y="627"/>
                  </a:lnTo>
                  <a:lnTo>
                    <a:pt x="382" y="627"/>
                  </a:lnTo>
                  <a:lnTo>
                    <a:pt x="382" y="623"/>
                  </a:lnTo>
                  <a:lnTo>
                    <a:pt x="382" y="619"/>
                  </a:lnTo>
                  <a:lnTo>
                    <a:pt x="382" y="615"/>
                  </a:lnTo>
                  <a:lnTo>
                    <a:pt x="378" y="611"/>
                  </a:lnTo>
                  <a:lnTo>
                    <a:pt x="382" y="611"/>
                  </a:lnTo>
                  <a:lnTo>
                    <a:pt x="382" y="607"/>
                  </a:lnTo>
                  <a:lnTo>
                    <a:pt x="378" y="607"/>
                  </a:lnTo>
                  <a:lnTo>
                    <a:pt x="374" y="607"/>
                  </a:lnTo>
                  <a:lnTo>
                    <a:pt x="371" y="607"/>
                  </a:lnTo>
                  <a:lnTo>
                    <a:pt x="371" y="611"/>
                  </a:lnTo>
                  <a:lnTo>
                    <a:pt x="367" y="611"/>
                  </a:lnTo>
                  <a:lnTo>
                    <a:pt x="367" y="615"/>
                  </a:lnTo>
                  <a:close/>
                  <a:moveTo>
                    <a:pt x="706" y="619"/>
                  </a:moveTo>
                  <a:lnTo>
                    <a:pt x="706" y="615"/>
                  </a:lnTo>
                  <a:lnTo>
                    <a:pt x="706" y="611"/>
                  </a:lnTo>
                  <a:lnTo>
                    <a:pt x="710" y="611"/>
                  </a:lnTo>
                  <a:lnTo>
                    <a:pt x="710" y="607"/>
                  </a:lnTo>
                  <a:lnTo>
                    <a:pt x="710" y="603"/>
                  </a:lnTo>
                  <a:lnTo>
                    <a:pt x="714" y="603"/>
                  </a:lnTo>
                  <a:lnTo>
                    <a:pt x="714" y="599"/>
                  </a:lnTo>
                  <a:lnTo>
                    <a:pt x="718" y="595"/>
                  </a:lnTo>
                  <a:lnTo>
                    <a:pt x="718" y="591"/>
                  </a:lnTo>
                  <a:lnTo>
                    <a:pt x="722" y="591"/>
                  </a:lnTo>
                  <a:lnTo>
                    <a:pt x="722" y="587"/>
                  </a:lnTo>
                  <a:lnTo>
                    <a:pt x="725" y="587"/>
                  </a:lnTo>
                  <a:lnTo>
                    <a:pt x="725" y="591"/>
                  </a:lnTo>
                  <a:lnTo>
                    <a:pt x="725" y="587"/>
                  </a:lnTo>
                  <a:lnTo>
                    <a:pt x="729" y="587"/>
                  </a:lnTo>
                  <a:lnTo>
                    <a:pt x="729" y="591"/>
                  </a:lnTo>
                  <a:lnTo>
                    <a:pt x="733" y="591"/>
                  </a:lnTo>
                  <a:lnTo>
                    <a:pt x="729" y="595"/>
                  </a:lnTo>
                  <a:lnTo>
                    <a:pt x="729" y="599"/>
                  </a:lnTo>
                  <a:lnTo>
                    <a:pt x="729" y="603"/>
                  </a:lnTo>
                  <a:lnTo>
                    <a:pt x="729" y="607"/>
                  </a:lnTo>
                  <a:lnTo>
                    <a:pt x="725" y="611"/>
                  </a:lnTo>
                  <a:lnTo>
                    <a:pt x="729" y="611"/>
                  </a:lnTo>
                  <a:lnTo>
                    <a:pt x="725" y="611"/>
                  </a:lnTo>
                  <a:lnTo>
                    <a:pt x="725" y="615"/>
                  </a:lnTo>
                  <a:lnTo>
                    <a:pt x="725" y="619"/>
                  </a:lnTo>
                  <a:lnTo>
                    <a:pt x="725" y="623"/>
                  </a:lnTo>
                  <a:lnTo>
                    <a:pt x="725" y="627"/>
                  </a:lnTo>
                  <a:lnTo>
                    <a:pt x="722" y="631"/>
                  </a:lnTo>
                  <a:lnTo>
                    <a:pt x="722" y="635"/>
                  </a:lnTo>
                  <a:lnTo>
                    <a:pt x="718" y="635"/>
                  </a:lnTo>
                  <a:lnTo>
                    <a:pt x="718" y="639"/>
                  </a:lnTo>
                  <a:lnTo>
                    <a:pt x="718" y="643"/>
                  </a:lnTo>
                  <a:lnTo>
                    <a:pt x="718" y="647"/>
                  </a:lnTo>
                  <a:lnTo>
                    <a:pt x="718" y="651"/>
                  </a:lnTo>
                  <a:lnTo>
                    <a:pt x="714" y="651"/>
                  </a:lnTo>
                  <a:lnTo>
                    <a:pt x="714" y="647"/>
                  </a:lnTo>
                  <a:lnTo>
                    <a:pt x="714" y="643"/>
                  </a:lnTo>
                  <a:lnTo>
                    <a:pt x="710" y="643"/>
                  </a:lnTo>
                  <a:lnTo>
                    <a:pt x="710" y="639"/>
                  </a:lnTo>
                  <a:lnTo>
                    <a:pt x="706" y="639"/>
                  </a:lnTo>
                  <a:lnTo>
                    <a:pt x="706" y="635"/>
                  </a:lnTo>
                  <a:lnTo>
                    <a:pt x="706" y="631"/>
                  </a:lnTo>
                  <a:lnTo>
                    <a:pt x="706" y="627"/>
                  </a:lnTo>
                  <a:lnTo>
                    <a:pt x="706" y="623"/>
                  </a:lnTo>
                  <a:lnTo>
                    <a:pt x="706" y="619"/>
                  </a:lnTo>
                  <a:close/>
                  <a:moveTo>
                    <a:pt x="546" y="718"/>
                  </a:moveTo>
                  <a:lnTo>
                    <a:pt x="546" y="722"/>
                  </a:lnTo>
                  <a:lnTo>
                    <a:pt x="546" y="718"/>
                  </a:lnTo>
                  <a:lnTo>
                    <a:pt x="542" y="718"/>
                  </a:lnTo>
                  <a:lnTo>
                    <a:pt x="538" y="718"/>
                  </a:lnTo>
                  <a:lnTo>
                    <a:pt x="534" y="718"/>
                  </a:lnTo>
                  <a:lnTo>
                    <a:pt x="534" y="714"/>
                  </a:lnTo>
                  <a:lnTo>
                    <a:pt x="530" y="714"/>
                  </a:lnTo>
                  <a:lnTo>
                    <a:pt x="530" y="710"/>
                  </a:lnTo>
                  <a:lnTo>
                    <a:pt x="534" y="710"/>
                  </a:lnTo>
                  <a:lnTo>
                    <a:pt x="530" y="710"/>
                  </a:lnTo>
                  <a:lnTo>
                    <a:pt x="530" y="706"/>
                  </a:lnTo>
                  <a:lnTo>
                    <a:pt x="530" y="702"/>
                  </a:lnTo>
                  <a:lnTo>
                    <a:pt x="530" y="698"/>
                  </a:lnTo>
                  <a:lnTo>
                    <a:pt x="534" y="698"/>
                  </a:lnTo>
                  <a:lnTo>
                    <a:pt x="534" y="694"/>
                  </a:lnTo>
                  <a:lnTo>
                    <a:pt x="538" y="694"/>
                  </a:lnTo>
                  <a:lnTo>
                    <a:pt x="542" y="690"/>
                  </a:lnTo>
                  <a:lnTo>
                    <a:pt x="538" y="690"/>
                  </a:lnTo>
                  <a:lnTo>
                    <a:pt x="542" y="686"/>
                  </a:lnTo>
                  <a:lnTo>
                    <a:pt x="542" y="690"/>
                  </a:lnTo>
                  <a:lnTo>
                    <a:pt x="546" y="690"/>
                  </a:lnTo>
                  <a:lnTo>
                    <a:pt x="546" y="686"/>
                  </a:lnTo>
                  <a:lnTo>
                    <a:pt x="550" y="686"/>
                  </a:lnTo>
                  <a:lnTo>
                    <a:pt x="554" y="686"/>
                  </a:lnTo>
                  <a:lnTo>
                    <a:pt x="558" y="686"/>
                  </a:lnTo>
                  <a:lnTo>
                    <a:pt x="562" y="686"/>
                  </a:lnTo>
                  <a:lnTo>
                    <a:pt x="562" y="682"/>
                  </a:lnTo>
                  <a:lnTo>
                    <a:pt x="562" y="686"/>
                  </a:lnTo>
                  <a:lnTo>
                    <a:pt x="566" y="686"/>
                  </a:lnTo>
                  <a:lnTo>
                    <a:pt x="566" y="694"/>
                  </a:lnTo>
                  <a:lnTo>
                    <a:pt x="562" y="698"/>
                  </a:lnTo>
                  <a:lnTo>
                    <a:pt x="562" y="702"/>
                  </a:lnTo>
                  <a:lnTo>
                    <a:pt x="558" y="702"/>
                  </a:lnTo>
                  <a:lnTo>
                    <a:pt x="562" y="702"/>
                  </a:lnTo>
                  <a:lnTo>
                    <a:pt x="558" y="706"/>
                  </a:lnTo>
                  <a:lnTo>
                    <a:pt x="558" y="710"/>
                  </a:lnTo>
                  <a:lnTo>
                    <a:pt x="554" y="710"/>
                  </a:lnTo>
                  <a:lnTo>
                    <a:pt x="554" y="714"/>
                  </a:lnTo>
                  <a:lnTo>
                    <a:pt x="554" y="718"/>
                  </a:lnTo>
                  <a:lnTo>
                    <a:pt x="550" y="718"/>
                  </a:lnTo>
                  <a:lnTo>
                    <a:pt x="550" y="714"/>
                  </a:lnTo>
                  <a:lnTo>
                    <a:pt x="550" y="718"/>
                  </a:lnTo>
                  <a:lnTo>
                    <a:pt x="546" y="718"/>
                  </a:lnTo>
                  <a:close/>
                  <a:moveTo>
                    <a:pt x="722" y="459"/>
                  </a:moveTo>
                  <a:lnTo>
                    <a:pt x="725" y="459"/>
                  </a:lnTo>
                  <a:lnTo>
                    <a:pt x="725" y="463"/>
                  </a:lnTo>
                  <a:lnTo>
                    <a:pt x="729" y="463"/>
                  </a:lnTo>
                  <a:lnTo>
                    <a:pt x="733" y="463"/>
                  </a:lnTo>
                  <a:lnTo>
                    <a:pt x="729" y="463"/>
                  </a:lnTo>
                  <a:lnTo>
                    <a:pt x="729" y="467"/>
                  </a:lnTo>
                  <a:lnTo>
                    <a:pt x="725" y="463"/>
                  </a:lnTo>
                  <a:lnTo>
                    <a:pt x="722" y="463"/>
                  </a:lnTo>
                  <a:lnTo>
                    <a:pt x="722" y="459"/>
                  </a:lnTo>
                  <a:close/>
                  <a:moveTo>
                    <a:pt x="733" y="495"/>
                  </a:moveTo>
                  <a:lnTo>
                    <a:pt x="733" y="491"/>
                  </a:lnTo>
                  <a:lnTo>
                    <a:pt x="737" y="491"/>
                  </a:lnTo>
                  <a:lnTo>
                    <a:pt x="737" y="495"/>
                  </a:lnTo>
                  <a:lnTo>
                    <a:pt x="733" y="495"/>
                  </a:lnTo>
                  <a:close/>
                  <a:moveTo>
                    <a:pt x="698" y="583"/>
                  </a:moveTo>
                  <a:lnTo>
                    <a:pt x="698" y="579"/>
                  </a:lnTo>
                  <a:lnTo>
                    <a:pt x="702" y="579"/>
                  </a:lnTo>
                  <a:lnTo>
                    <a:pt x="702" y="583"/>
                  </a:lnTo>
                  <a:lnTo>
                    <a:pt x="698" y="583"/>
                  </a:lnTo>
                  <a:close/>
                  <a:moveTo>
                    <a:pt x="666" y="615"/>
                  </a:moveTo>
                  <a:lnTo>
                    <a:pt x="666" y="619"/>
                  </a:lnTo>
                  <a:lnTo>
                    <a:pt x="662" y="619"/>
                  </a:lnTo>
                  <a:lnTo>
                    <a:pt x="662" y="615"/>
                  </a:lnTo>
                  <a:lnTo>
                    <a:pt x="666" y="615"/>
                  </a:lnTo>
                  <a:close/>
                  <a:moveTo>
                    <a:pt x="558" y="667"/>
                  </a:moveTo>
                  <a:lnTo>
                    <a:pt x="562" y="667"/>
                  </a:lnTo>
                  <a:lnTo>
                    <a:pt x="558" y="667"/>
                  </a:lnTo>
                  <a:lnTo>
                    <a:pt x="554" y="667"/>
                  </a:lnTo>
                  <a:lnTo>
                    <a:pt x="558" y="667"/>
                  </a:lnTo>
                  <a:close/>
                  <a:moveTo>
                    <a:pt x="725" y="307"/>
                  </a:moveTo>
                  <a:lnTo>
                    <a:pt x="722" y="307"/>
                  </a:lnTo>
                  <a:lnTo>
                    <a:pt x="722" y="303"/>
                  </a:lnTo>
                  <a:lnTo>
                    <a:pt x="725" y="303"/>
                  </a:lnTo>
                  <a:lnTo>
                    <a:pt x="725" y="307"/>
                  </a:lnTo>
                  <a:close/>
                  <a:moveTo>
                    <a:pt x="614" y="643"/>
                  </a:moveTo>
                  <a:lnTo>
                    <a:pt x="610" y="643"/>
                  </a:lnTo>
                  <a:lnTo>
                    <a:pt x="610" y="647"/>
                  </a:lnTo>
                  <a:lnTo>
                    <a:pt x="610" y="643"/>
                  </a:lnTo>
                  <a:lnTo>
                    <a:pt x="614" y="643"/>
                  </a:lnTo>
                  <a:close/>
                  <a:moveTo>
                    <a:pt x="698" y="451"/>
                  </a:moveTo>
                  <a:lnTo>
                    <a:pt x="702" y="451"/>
                  </a:lnTo>
                  <a:lnTo>
                    <a:pt x="702" y="455"/>
                  </a:lnTo>
                  <a:lnTo>
                    <a:pt x="702" y="451"/>
                  </a:lnTo>
                  <a:lnTo>
                    <a:pt x="698" y="451"/>
                  </a:lnTo>
                  <a:close/>
                  <a:moveTo>
                    <a:pt x="606" y="635"/>
                  </a:moveTo>
                  <a:lnTo>
                    <a:pt x="602" y="631"/>
                  </a:lnTo>
                  <a:lnTo>
                    <a:pt x="606" y="631"/>
                  </a:lnTo>
                  <a:lnTo>
                    <a:pt x="606" y="635"/>
                  </a:lnTo>
                  <a:close/>
                  <a:moveTo>
                    <a:pt x="678" y="603"/>
                  </a:moveTo>
                  <a:lnTo>
                    <a:pt x="678" y="599"/>
                  </a:lnTo>
                  <a:lnTo>
                    <a:pt x="678" y="603"/>
                  </a:lnTo>
                  <a:lnTo>
                    <a:pt x="682" y="603"/>
                  </a:lnTo>
                  <a:lnTo>
                    <a:pt x="678" y="603"/>
                  </a:lnTo>
                  <a:close/>
                  <a:moveTo>
                    <a:pt x="658" y="619"/>
                  </a:moveTo>
                  <a:lnTo>
                    <a:pt x="658" y="623"/>
                  </a:lnTo>
                  <a:lnTo>
                    <a:pt x="658" y="619"/>
                  </a:lnTo>
                  <a:close/>
                  <a:moveTo>
                    <a:pt x="578" y="659"/>
                  </a:moveTo>
                  <a:lnTo>
                    <a:pt x="578" y="655"/>
                  </a:lnTo>
                  <a:lnTo>
                    <a:pt x="582" y="655"/>
                  </a:lnTo>
                  <a:lnTo>
                    <a:pt x="578" y="659"/>
                  </a:lnTo>
                  <a:close/>
                  <a:moveTo>
                    <a:pt x="674" y="603"/>
                  </a:moveTo>
                  <a:lnTo>
                    <a:pt x="674" y="599"/>
                  </a:lnTo>
                  <a:lnTo>
                    <a:pt x="678" y="603"/>
                  </a:lnTo>
                  <a:lnTo>
                    <a:pt x="674" y="603"/>
                  </a:lnTo>
                  <a:close/>
                  <a:moveTo>
                    <a:pt x="558" y="663"/>
                  </a:moveTo>
                  <a:lnTo>
                    <a:pt x="562" y="663"/>
                  </a:lnTo>
                  <a:lnTo>
                    <a:pt x="562" y="667"/>
                  </a:lnTo>
                  <a:lnTo>
                    <a:pt x="558" y="667"/>
                  </a:lnTo>
                  <a:lnTo>
                    <a:pt x="558" y="663"/>
                  </a:lnTo>
                  <a:close/>
                  <a:moveTo>
                    <a:pt x="733" y="487"/>
                  </a:moveTo>
                  <a:lnTo>
                    <a:pt x="737" y="487"/>
                  </a:lnTo>
                  <a:lnTo>
                    <a:pt x="737" y="491"/>
                  </a:lnTo>
                  <a:lnTo>
                    <a:pt x="733" y="491"/>
                  </a:lnTo>
                  <a:lnTo>
                    <a:pt x="733" y="487"/>
                  </a:lnTo>
                  <a:close/>
                  <a:moveTo>
                    <a:pt x="733" y="499"/>
                  </a:moveTo>
                  <a:lnTo>
                    <a:pt x="737" y="499"/>
                  </a:lnTo>
                  <a:lnTo>
                    <a:pt x="737" y="503"/>
                  </a:lnTo>
                  <a:lnTo>
                    <a:pt x="733" y="499"/>
                  </a:lnTo>
                  <a:close/>
                  <a:moveTo>
                    <a:pt x="614" y="643"/>
                  </a:moveTo>
                  <a:lnTo>
                    <a:pt x="618" y="643"/>
                  </a:lnTo>
                  <a:lnTo>
                    <a:pt x="618" y="647"/>
                  </a:lnTo>
                  <a:lnTo>
                    <a:pt x="614" y="643"/>
                  </a:lnTo>
                  <a:lnTo>
                    <a:pt x="614" y="647"/>
                  </a:lnTo>
                  <a:lnTo>
                    <a:pt x="614" y="6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" name="Freeform 13"/>
            <p:cNvSpPr>
              <a:spLocks/>
            </p:cNvSpPr>
            <p:nvPr>
              <p:custDataLst>
                <p:tags r:id="rId209"/>
              </p:custDataLst>
            </p:nvPr>
          </p:nvSpPr>
          <p:spPr bwMode="gray">
            <a:xfrm>
              <a:off x="5096830" y="3597852"/>
              <a:ext cx="53390" cy="29661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6" y="0"/>
                </a:cxn>
                <a:cxn ang="0">
                  <a:pos x="36" y="0"/>
                </a:cxn>
                <a:cxn ang="0">
                  <a:pos x="32" y="4"/>
                </a:cxn>
                <a:cxn ang="0">
                  <a:pos x="28" y="4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6"/>
                </a:cxn>
                <a:cxn ang="0">
                  <a:pos x="20" y="16"/>
                </a:cxn>
              </a:cxnLst>
              <a:rect l="0" t="0" r="r" b="b"/>
              <a:pathLst>
                <a:path w="36" h="20">
                  <a:moveTo>
                    <a:pt x="16" y="16"/>
                  </a:move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" name="Freeform 14"/>
            <p:cNvSpPr>
              <a:spLocks/>
            </p:cNvSpPr>
            <p:nvPr>
              <p:custDataLst>
                <p:tags r:id="rId210"/>
              </p:custDataLst>
            </p:nvPr>
          </p:nvSpPr>
          <p:spPr bwMode="gray">
            <a:xfrm>
              <a:off x="5144288" y="3716497"/>
              <a:ext cx="5932" cy="1186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4" h="8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" name="Freeform 15"/>
            <p:cNvSpPr>
              <a:spLocks/>
            </p:cNvSpPr>
            <p:nvPr>
              <p:custDataLst>
                <p:tags r:id="rId211"/>
              </p:custDataLst>
            </p:nvPr>
          </p:nvSpPr>
          <p:spPr bwMode="gray">
            <a:xfrm>
              <a:off x="5274797" y="3356113"/>
              <a:ext cx="148306" cy="75636"/>
            </a:xfrm>
            <a:custGeom>
              <a:avLst/>
              <a:gdLst/>
              <a:ahLst/>
              <a:cxnLst>
                <a:cxn ang="0">
                  <a:pos x="36" y="43"/>
                </a:cxn>
                <a:cxn ang="0">
                  <a:pos x="32" y="43"/>
                </a:cxn>
                <a:cxn ang="0">
                  <a:pos x="28" y="43"/>
                </a:cxn>
                <a:cxn ang="0">
                  <a:pos x="24" y="39"/>
                </a:cxn>
                <a:cxn ang="0">
                  <a:pos x="28" y="35"/>
                </a:cxn>
                <a:cxn ang="0">
                  <a:pos x="24" y="27"/>
                </a:cxn>
                <a:cxn ang="0">
                  <a:pos x="24" y="23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2" y="8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4"/>
                </a:cxn>
                <a:cxn ang="0">
                  <a:pos x="24" y="8"/>
                </a:cxn>
                <a:cxn ang="0">
                  <a:pos x="32" y="4"/>
                </a:cxn>
                <a:cxn ang="0">
                  <a:pos x="36" y="8"/>
                </a:cxn>
                <a:cxn ang="0">
                  <a:pos x="40" y="8"/>
                </a:cxn>
                <a:cxn ang="0">
                  <a:pos x="48" y="12"/>
                </a:cxn>
                <a:cxn ang="0">
                  <a:pos x="52" y="12"/>
                </a:cxn>
                <a:cxn ang="0">
                  <a:pos x="56" y="16"/>
                </a:cxn>
                <a:cxn ang="0">
                  <a:pos x="56" y="16"/>
                </a:cxn>
                <a:cxn ang="0">
                  <a:pos x="60" y="20"/>
                </a:cxn>
                <a:cxn ang="0">
                  <a:pos x="68" y="16"/>
                </a:cxn>
                <a:cxn ang="0">
                  <a:pos x="68" y="16"/>
                </a:cxn>
                <a:cxn ang="0">
                  <a:pos x="72" y="16"/>
                </a:cxn>
                <a:cxn ang="0">
                  <a:pos x="76" y="16"/>
                </a:cxn>
                <a:cxn ang="0">
                  <a:pos x="76" y="16"/>
                </a:cxn>
                <a:cxn ang="0">
                  <a:pos x="80" y="20"/>
                </a:cxn>
                <a:cxn ang="0">
                  <a:pos x="80" y="20"/>
                </a:cxn>
                <a:cxn ang="0">
                  <a:pos x="84" y="20"/>
                </a:cxn>
                <a:cxn ang="0">
                  <a:pos x="84" y="23"/>
                </a:cxn>
                <a:cxn ang="0">
                  <a:pos x="92" y="31"/>
                </a:cxn>
                <a:cxn ang="0">
                  <a:pos x="96" y="35"/>
                </a:cxn>
                <a:cxn ang="0">
                  <a:pos x="96" y="35"/>
                </a:cxn>
                <a:cxn ang="0">
                  <a:pos x="92" y="35"/>
                </a:cxn>
                <a:cxn ang="0">
                  <a:pos x="96" y="43"/>
                </a:cxn>
                <a:cxn ang="0">
                  <a:pos x="100" y="47"/>
                </a:cxn>
                <a:cxn ang="0">
                  <a:pos x="100" y="51"/>
                </a:cxn>
                <a:cxn ang="0">
                  <a:pos x="96" y="47"/>
                </a:cxn>
                <a:cxn ang="0">
                  <a:pos x="92" y="47"/>
                </a:cxn>
                <a:cxn ang="0">
                  <a:pos x="88" y="47"/>
                </a:cxn>
                <a:cxn ang="0">
                  <a:pos x="84" y="47"/>
                </a:cxn>
                <a:cxn ang="0">
                  <a:pos x="80" y="43"/>
                </a:cxn>
                <a:cxn ang="0">
                  <a:pos x="76" y="47"/>
                </a:cxn>
                <a:cxn ang="0">
                  <a:pos x="72" y="47"/>
                </a:cxn>
                <a:cxn ang="0">
                  <a:pos x="64" y="47"/>
                </a:cxn>
                <a:cxn ang="0">
                  <a:pos x="60" y="47"/>
                </a:cxn>
                <a:cxn ang="0">
                  <a:pos x="56" y="51"/>
                </a:cxn>
                <a:cxn ang="0">
                  <a:pos x="52" y="51"/>
                </a:cxn>
                <a:cxn ang="0">
                  <a:pos x="52" y="47"/>
                </a:cxn>
                <a:cxn ang="0">
                  <a:pos x="44" y="43"/>
                </a:cxn>
                <a:cxn ang="0">
                  <a:pos x="40" y="39"/>
                </a:cxn>
              </a:cxnLst>
              <a:rect l="0" t="0" r="r" b="b"/>
              <a:pathLst>
                <a:path w="100" h="51">
                  <a:moveTo>
                    <a:pt x="40" y="39"/>
                  </a:moveTo>
                  <a:lnTo>
                    <a:pt x="40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4" y="31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3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6" y="31"/>
                  </a:lnTo>
                  <a:lnTo>
                    <a:pt x="96" y="31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6" y="43"/>
                  </a:lnTo>
                  <a:lnTo>
                    <a:pt x="96" y="43"/>
                  </a:lnTo>
                  <a:lnTo>
                    <a:pt x="100" y="43"/>
                  </a:lnTo>
                  <a:lnTo>
                    <a:pt x="100" y="43"/>
                  </a:lnTo>
                  <a:lnTo>
                    <a:pt x="100" y="43"/>
                  </a:lnTo>
                  <a:lnTo>
                    <a:pt x="100" y="47"/>
                  </a:lnTo>
                  <a:lnTo>
                    <a:pt x="100" y="47"/>
                  </a:lnTo>
                  <a:lnTo>
                    <a:pt x="100" y="47"/>
                  </a:lnTo>
                  <a:lnTo>
                    <a:pt x="100" y="47"/>
                  </a:lnTo>
                  <a:lnTo>
                    <a:pt x="100" y="51"/>
                  </a:lnTo>
                  <a:lnTo>
                    <a:pt x="100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76" y="43"/>
                  </a:lnTo>
                  <a:lnTo>
                    <a:pt x="76" y="43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68" y="47"/>
                  </a:lnTo>
                  <a:lnTo>
                    <a:pt x="68" y="47"/>
                  </a:lnTo>
                  <a:lnTo>
                    <a:pt x="68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0" y="47"/>
                  </a:lnTo>
                  <a:lnTo>
                    <a:pt x="60" y="47"/>
                  </a:lnTo>
                  <a:lnTo>
                    <a:pt x="60" y="47"/>
                  </a:lnTo>
                  <a:lnTo>
                    <a:pt x="56" y="47"/>
                  </a:lnTo>
                  <a:lnTo>
                    <a:pt x="56" y="47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48" y="47"/>
                  </a:lnTo>
                  <a:lnTo>
                    <a:pt x="48" y="47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4" y="39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3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" name="Freeform 16"/>
            <p:cNvSpPr>
              <a:spLocks noEditPoints="1"/>
            </p:cNvSpPr>
            <p:nvPr>
              <p:custDataLst>
                <p:tags r:id="rId212"/>
              </p:custDataLst>
            </p:nvPr>
          </p:nvSpPr>
          <p:spPr bwMode="gray">
            <a:xfrm>
              <a:off x="5908066" y="3597852"/>
              <a:ext cx="656997" cy="817168"/>
            </a:xfrm>
            <a:custGeom>
              <a:avLst/>
              <a:gdLst/>
              <a:ahLst/>
              <a:cxnLst>
                <a:cxn ang="0">
                  <a:pos x="32" y="220"/>
                </a:cxn>
                <a:cxn ang="0">
                  <a:pos x="36" y="196"/>
                </a:cxn>
                <a:cxn ang="0">
                  <a:pos x="28" y="160"/>
                </a:cxn>
                <a:cxn ang="0">
                  <a:pos x="56" y="148"/>
                </a:cxn>
                <a:cxn ang="0">
                  <a:pos x="88" y="104"/>
                </a:cxn>
                <a:cxn ang="0">
                  <a:pos x="99" y="72"/>
                </a:cxn>
                <a:cxn ang="0">
                  <a:pos x="88" y="40"/>
                </a:cxn>
                <a:cxn ang="0">
                  <a:pos x="103" y="20"/>
                </a:cxn>
                <a:cxn ang="0">
                  <a:pos x="139" y="8"/>
                </a:cxn>
                <a:cxn ang="0">
                  <a:pos x="163" y="24"/>
                </a:cxn>
                <a:cxn ang="0">
                  <a:pos x="167" y="64"/>
                </a:cxn>
                <a:cxn ang="0">
                  <a:pos x="159" y="84"/>
                </a:cxn>
                <a:cxn ang="0">
                  <a:pos x="195" y="108"/>
                </a:cxn>
                <a:cxn ang="0">
                  <a:pos x="187" y="140"/>
                </a:cxn>
                <a:cxn ang="0">
                  <a:pos x="227" y="160"/>
                </a:cxn>
                <a:cxn ang="0">
                  <a:pos x="255" y="176"/>
                </a:cxn>
                <a:cxn ang="0">
                  <a:pos x="291" y="180"/>
                </a:cxn>
                <a:cxn ang="0">
                  <a:pos x="303" y="152"/>
                </a:cxn>
                <a:cxn ang="0">
                  <a:pos x="331" y="176"/>
                </a:cxn>
                <a:cxn ang="0">
                  <a:pos x="363" y="164"/>
                </a:cxn>
                <a:cxn ang="0">
                  <a:pos x="379" y="140"/>
                </a:cxn>
                <a:cxn ang="0">
                  <a:pos x="415" y="124"/>
                </a:cxn>
                <a:cxn ang="0">
                  <a:pos x="427" y="144"/>
                </a:cxn>
                <a:cxn ang="0">
                  <a:pos x="435" y="164"/>
                </a:cxn>
                <a:cxn ang="0">
                  <a:pos x="403" y="196"/>
                </a:cxn>
                <a:cxn ang="0">
                  <a:pos x="379" y="228"/>
                </a:cxn>
                <a:cxn ang="0">
                  <a:pos x="379" y="260"/>
                </a:cxn>
                <a:cxn ang="0">
                  <a:pos x="367" y="240"/>
                </a:cxn>
                <a:cxn ang="0">
                  <a:pos x="351" y="244"/>
                </a:cxn>
                <a:cxn ang="0">
                  <a:pos x="367" y="212"/>
                </a:cxn>
                <a:cxn ang="0">
                  <a:pos x="327" y="196"/>
                </a:cxn>
                <a:cxn ang="0">
                  <a:pos x="311" y="180"/>
                </a:cxn>
                <a:cxn ang="0">
                  <a:pos x="315" y="204"/>
                </a:cxn>
                <a:cxn ang="0">
                  <a:pos x="307" y="220"/>
                </a:cxn>
                <a:cxn ang="0">
                  <a:pos x="315" y="268"/>
                </a:cxn>
                <a:cxn ang="0">
                  <a:pos x="307" y="276"/>
                </a:cxn>
                <a:cxn ang="0">
                  <a:pos x="299" y="260"/>
                </a:cxn>
                <a:cxn ang="0">
                  <a:pos x="279" y="295"/>
                </a:cxn>
                <a:cxn ang="0">
                  <a:pos x="259" y="307"/>
                </a:cxn>
                <a:cxn ang="0">
                  <a:pos x="239" y="335"/>
                </a:cxn>
                <a:cxn ang="0">
                  <a:pos x="215" y="363"/>
                </a:cxn>
                <a:cxn ang="0">
                  <a:pos x="191" y="379"/>
                </a:cxn>
                <a:cxn ang="0">
                  <a:pos x="179" y="423"/>
                </a:cxn>
                <a:cxn ang="0">
                  <a:pos x="175" y="455"/>
                </a:cxn>
                <a:cxn ang="0">
                  <a:pos x="163" y="491"/>
                </a:cxn>
                <a:cxn ang="0">
                  <a:pos x="139" y="523"/>
                </a:cxn>
                <a:cxn ang="0">
                  <a:pos x="119" y="491"/>
                </a:cxn>
                <a:cxn ang="0">
                  <a:pos x="111" y="459"/>
                </a:cxn>
                <a:cxn ang="0">
                  <a:pos x="92" y="411"/>
                </a:cxn>
                <a:cxn ang="0">
                  <a:pos x="80" y="383"/>
                </a:cxn>
                <a:cxn ang="0">
                  <a:pos x="72" y="331"/>
                </a:cxn>
                <a:cxn ang="0">
                  <a:pos x="68" y="307"/>
                </a:cxn>
                <a:cxn ang="0">
                  <a:pos x="68" y="272"/>
                </a:cxn>
                <a:cxn ang="0">
                  <a:pos x="68" y="260"/>
                </a:cxn>
                <a:cxn ang="0">
                  <a:pos x="56" y="284"/>
                </a:cxn>
                <a:cxn ang="0">
                  <a:pos x="12" y="264"/>
                </a:cxn>
                <a:cxn ang="0">
                  <a:pos x="36" y="244"/>
                </a:cxn>
                <a:cxn ang="0">
                  <a:pos x="8" y="232"/>
                </a:cxn>
                <a:cxn ang="0">
                  <a:pos x="367" y="463"/>
                </a:cxn>
                <a:cxn ang="0">
                  <a:pos x="387" y="539"/>
                </a:cxn>
                <a:cxn ang="0">
                  <a:pos x="371" y="435"/>
                </a:cxn>
                <a:cxn ang="0">
                  <a:pos x="371" y="459"/>
                </a:cxn>
                <a:cxn ang="0">
                  <a:pos x="367" y="475"/>
                </a:cxn>
              </a:cxnLst>
              <a:rect l="0" t="0" r="r" b="b"/>
              <a:pathLst>
                <a:path w="443" h="551">
                  <a:moveTo>
                    <a:pt x="0" y="232"/>
                  </a:moveTo>
                  <a:lnTo>
                    <a:pt x="0" y="228"/>
                  </a:lnTo>
                  <a:lnTo>
                    <a:pt x="4" y="228"/>
                  </a:lnTo>
                  <a:lnTo>
                    <a:pt x="8" y="228"/>
                  </a:lnTo>
                  <a:lnTo>
                    <a:pt x="8" y="224"/>
                  </a:lnTo>
                  <a:lnTo>
                    <a:pt x="8" y="220"/>
                  </a:lnTo>
                  <a:lnTo>
                    <a:pt x="12" y="220"/>
                  </a:lnTo>
                  <a:lnTo>
                    <a:pt x="12" y="224"/>
                  </a:lnTo>
                  <a:lnTo>
                    <a:pt x="16" y="224"/>
                  </a:lnTo>
                  <a:lnTo>
                    <a:pt x="20" y="224"/>
                  </a:lnTo>
                  <a:lnTo>
                    <a:pt x="24" y="224"/>
                  </a:lnTo>
                  <a:lnTo>
                    <a:pt x="28" y="224"/>
                  </a:lnTo>
                  <a:lnTo>
                    <a:pt x="28" y="220"/>
                  </a:lnTo>
                  <a:lnTo>
                    <a:pt x="32" y="220"/>
                  </a:lnTo>
                  <a:lnTo>
                    <a:pt x="36" y="220"/>
                  </a:lnTo>
                  <a:lnTo>
                    <a:pt x="36" y="224"/>
                  </a:lnTo>
                  <a:lnTo>
                    <a:pt x="40" y="224"/>
                  </a:lnTo>
                  <a:lnTo>
                    <a:pt x="40" y="220"/>
                  </a:lnTo>
                  <a:lnTo>
                    <a:pt x="44" y="220"/>
                  </a:lnTo>
                  <a:lnTo>
                    <a:pt x="40" y="220"/>
                  </a:lnTo>
                  <a:lnTo>
                    <a:pt x="40" y="216"/>
                  </a:lnTo>
                  <a:lnTo>
                    <a:pt x="44" y="216"/>
                  </a:lnTo>
                  <a:lnTo>
                    <a:pt x="40" y="212"/>
                  </a:lnTo>
                  <a:lnTo>
                    <a:pt x="40" y="208"/>
                  </a:lnTo>
                  <a:lnTo>
                    <a:pt x="40" y="204"/>
                  </a:lnTo>
                  <a:lnTo>
                    <a:pt x="36" y="204"/>
                  </a:lnTo>
                  <a:lnTo>
                    <a:pt x="36" y="200"/>
                  </a:lnTo>
                  <a:lnTo>
                    <a:pt x="36" y="196"/>
                  </a:lnTo>
                  <a:lnTo>
                    <a:pt x="32" y="196"/>
                  </a:lnTo>
                  <a:lnTo>
                    <a:pt x="28" y="192"/>
                  </a:lnTo>
                  <a:lnTo>
                    <a:pt x="28" y="188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8" y="176"/>
                  </a:lnTo>
                  <a:lnTo>
                    <a:pt x="24" y="176"/>
                  </a:lnTo>
                  <a:lnTo>
                    <a:pt x="20" y="176"/>
                  </a:lnTo>
                  <a:lnTo>
                    <a:pt x="20" y="172"/>
                  </a:lnTo>
                  <a:lnTo>
                    <a:pt x="20" y="168"/>
                  </a:lnTo>
                  <a:lnTo>
                    <a:pt x="20" y="164"/>
                  </a:lnTo>
                  <a:lnTo>
                    <a:pt x="24" y="164"/>
                  </a:lnTo>
                  <a:lnTo>
                    <a:pt x="24" y="160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8" y="152"/>
                  </a:lnTo>
                  <a:lnTo>
                    <a:pt x="32" y="152"/>
                  </a:lnTo>
                  <a:lnTo>
                    <a:pt x="32" y="148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36" y="156"/>
                  </a:lnTo>
                  <a:lnTo>
                    <a:pt x="40" y="156"/>
                  </a:lnTo>
                  <a:lnTo>
                    <a:pt x="44" y="156"/>
                  </a:lnTo>
                  <a:lnTo>
                    <a:pt x="44" y="152"/>
                  </a:lnTo>
                  <a:lnTo>
                    <a:pt x="48" y="152"/>
                  </a:lnTo>
                  <a:lnTo>
                    <a:pt x="52" y="152"/>
                  </a:lnTo>
                  <a:lnTo>
                    <a:pt x="56" y="152"/>
                  </a:lnTo>
                  <a:lnTo>
                    <a:pt x="56" y="148"/>
                  </a:lnTo>
                  <a:lnTo>
                    <a:pt x="60" y="144"/>
                  </a:lnTo>
                  <a:lnTo>
                    <a:pt x="60" y="140"/>
                  </a:lnTo>
                  <a:lnTo>
                    <a:pt x="60" y="136"/>
                  </a:lnTo>
                  <a:lnTo>
                    <a:pt x="64" y="136"/>
                  </a:lnTo>
                  <a:lnTo>
                    <a:pt x="64" y="132"/>
                  </a:lnTo>
                  <a:lnTo>
                    <a:pt x="68" y="132"/>
                  </a:lnTo>
                  <a:lnTo>
                    <a:pt x="72" y="132"/>
                  </a:lnTo>
                  <a:lnTo>
                    <a:pt x="72" y="128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80" y="112"/>
                  </a:lnTo>
                  <a:lnTo>
                    <a:pt x="84" y="112"/>
                  </a:lnTo>
                  <a:lnTo>
                    <a:pt x="88" y="108"/>
                  </a:lnTo>
                  <a:lnTo>
                    <a:pt x="88" y="104"/>
                  </a:lnTo>
                  <a:lnTo>
                    <a:pt x="84" y="104"/>
                  </a:lnTo>
                  <a:lnTo>
                    <a:pt x="88" y="100"/>
                  </a:lnTo>
                  <a:lnTo>
                    <a:pt x="92" y="96"/>
                  </a:lnTo>
                  <a:lnTo>
                    <a:pt x="92" y="92"/>
                  </a:lnTo>
                  <a:lnTo>
                    <a:pt x="96" y="92"/>
                  </a:lnTo>
                  <a:lnTo>
                    <a:pt x="99" y="88"/>
                  </a:lnTo>
                  <a:lnTo>
                    <a:pt x="96" y="88"/>
                  </a:lnTo>
                  <a:lnTo>
                    <a:pt x="96" y="92"/>
                  </a:lnTo>
                  <a:lnTo>
                    <a:pt x="96" y="88"/>
                  </a:lnTo>
                  <a:lnTo>
                    <a:pt x="96" y="84"/>
                  </a:lnTo>
                  <a:lnTo>
                    <a:pt x="96" y="80"/>
                  </a:lnTo>
                  <a:lnTo>
                    <a:pt x="96" y="76"/>
                  </a:lnTo>
                  <a:lnTo>
                    <a:pt x="96" y="72"/>
                  </a:lnTo>
                  <a:lnTo>
                    <a:pt x="99" y="72"/>
                  </a:lnTo>
                  <a:lnTo>
                    <a:pt x="103" y="72"/>
                  </a:lnTo>
                  <a:lnTo>
                    <a:pt x="107" y="72"/>
                  </a:lnTo>
                  <a:lnTo>
                    <a:pt x="107" y="68"/>
                  </a:lnTo>
                  <a:lnTo>
                    <a:pt x="107" y="64"/>
                  </a:lnTo>
                  <a:lnTo>
                    <a:pt x="103" y="64"/>
                  </a:lnTo>
                  <a:lnTo>
                    <a:pt x="99" y="64"/>
                  </a:lnTo>
                  <a:lnTo>
                    <a:pt x="96" y="60"/>
                  </a:lnTo>
                  <a:lnTo>
                    <a:pt x="96" y="56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88" y="48"/>
                  </a:lnTo>
                  <a:lnTo>
                    <a:pt x="88" y="44"/>
                  </a:lnTo>
                  <a:lnTo>
                    <a:pt x="92" y="40"/>
                  </a:lnTo>
                  <a:lnTo>
                    <a:pt x="88" y="40"/>
                  </a:lnTo>
                  <a:lnTo>
                    <a:pt x="88" y="36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8" y="28"/>
                  </a:lnTo>
                  <a:lnTo>
                    <a:pt x="88" y="24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92" y="16"/>
                  </a:lnTo>
                  <a:lnTo>
                    <a:pt x="96" y="16"/>
                  </a:lnTo>
                  <a:lnTo>
                    <a:pt x="96" y="20"/>
                  </a:lnTo>
                  <a:lnTo>
                    <a:pt x="103" y="20"/>
                  </a:lnTo>
                  <a:lnTo>
                    <a:pt x="107" y="20"/>
                  </a:lnTo>
                  <a:lnTo>
                    <a:pt x="111" y="20"/>
                  </a:lnTo>
                  <a:lnTo>
                    <a:pt x="111" y="24"/>
                  </a:lnTo>
                  <a:lnTo>
                    <a:pt x="115" y="20"/>
                  </a:lnTo>
                  <a:lnTo>
                    <a:pt x="119" y="20"/>
                  </a:lnTo>
                  <a:lnTo>
                    <a:pt x="123" y="16"/>
                  </a:lnTo>
                  <a:lnTo>
                    <a:pt x="127" y="16"/>
                  </a:lnTo>
                  <a:lnTo>
                    <a:pt x="127" y="20"/>
                  </a:lnTo>
                  <a:lnTo>
                    <a:pt x="131" y="20"/>
                  </a:lnTo>
                  <a:lnTo>
                    <a:pt x="131" y="16"/>
                  </a:lnTo>
                  <a:lnTo>
                    <a:pt x="131" y="12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39" y="4"/>
                  </a:lnTo>
                  <a:lnTo>
                    <a:pt x="143" y="4"/>
                  </a:lnTo>
                  <a:lnTo>
                    <a:pt x="143" y="0"/>
                  </a:lnTo>
                  <a:lnTo>
                    <a:pt x="143" y="4"/>
                  </a:lnTo>
                  <a:lnTo>
                    <a:pt x="147" y="4"/>
                  </a:lnTo>
                  <a:lnTo>
                    <a:pt x="147" y="0"/>
                  </a:lnTo>
                  <a:lnTo>
                    <a:pt x="147" y="4"/>
                  </a:lnTo>
                  <a:lnTo>
                    <a:pt x="147" y="8"/>
                  </a:lnTo>
                  <a:lnTo>
                    <a:pt x="151" y="12"/>
                  </a:lnTo>
                  <a:lnTo>
                    <a:pt x="151" y="16"/>
                  </a:lnTo>
                  <a:lnTo>
                    <a:pt x="151" y="20"/>
                  </a:lnTo>
                  <a:lnTo>
                    <a:pt x="155" y="20"/>
                  </a:lnTo>
                  <a:lnTo>
                    <a:pt x="159" y="20"/>
                  </a:lnTo>
                  <a:lnTo>
                    <a:pt x="163" y="24"/>
                  </a:lnTo>
                  <a:lnTo>
                    <a:pt x="163" y="28"/>
                  </a:lnTo>
                  <a:lnTo>
                    <a:pt x="159" y="28"/>
                  </a:lnTo>
                  <a:lnTo>
                    <a:pt x="159" y="32"/>
                  </a:lnTo>
                  <a:lnTo>
                    <a:pt x="159" y="36"/>
                  </a:lnTo>
                  <a:lnTo>
                    <a:pt x="159" y="40"/>
                  </a:lnTo>
                  <a:lnTo>
                    <a:pt x="159" y="44"/>
                  </a:lnTo>
                  <a:lnTo>
                    <a:pt x="163" y="44"/>
                  </a:lnTo>
                  <a:lnTo>
                    <a:pt x="163" y="48"/>
                  </a:lnTo>
                  <a:lnTo>
                    <a:pt x="167" y="48"/>
                  </a:lnTo>
                  <a:lnTo>
                    <a:pt x="167" y="52"/>
                  </a:lnTo>
                  <a:lnTo>
                    <a:pt x="167" y="56"/>
                  </a:lnTo>
                  <a:lnTo>
                    <a:pt x="171" y="56"/>
                  </a:lnTo>
                  <a:lnTo>
                    <a:pt x="171" y="60"/>
                  </a:lnTo>
                  <a:lnTo>
                    <a:pt x="167" y="64"/>
                  </a:lnTo>
                  <a:lnTo>
                    <a:pt x="167" y="60"/>
                  </a:lnTo>
                  <a:lnTo>
                    <a:pt x="163" y="64"/>
                  </a:lnTo>
                  <a:lnTo>
                    <a:pt x="159" y="64"/>
                  </a:lnTo>
                  <a:lnTo>
                    <a:pt x="159" y="60"/>
                  </a:lnTo>
                  <a:lnTo>
                    <a:pt x="155" y="60"/>
                  </a:lnTo>
                  <a:lnTo>
                    <a:pt x="155" y="64"/>
                  </a:lnTo>
                  <a:lnTo>
                    <a:pt x="155" y="68"/>
                  </a:lnTo>
                  <a:lnTo>
                    <a:pt x="155" y="72"/>
                  </a:lnTo>
                  <a:lnTo>
                    <a:pt x="159" y="72"/>
                  </a:lnTo>
                  <a:lnTo>
                    <a:pt x="159" y="76"/>
                  </a:lnTo>
                  <a:lnTo>
                    <a:pt x="159" y="80"/>
                  </a:lnTo>
                  <a:lnTo>
                    <a:pt x="159" y="84"/>
                  </a:lnTo>
                  <a:lnTo>
                    <a:pt x="159" y="88"/>
                  </a:lnTo>
                  <a:lnTo>
                    <a:pt x="159" y="84"/>
                  </a:lnTo>
                  <a:lnTo>
                    <a:pt x="163" y="84"/>
                  </a:lnTo>
                  <a:lnTo>
                    <a:pt x="167" y="84"/>
                  </a:lnTo>
                  <a:lnTo>
                    <a:pt x="167" y="88"/>
                  </a:lnTo>
                  <a:lnTo>
                    <a:pt x="167" y="92"/>
                  </a:lnTo>
                  <a:lnTo>
                    <a:pt x="171" y="92"/>
                  </a:lnTo>
                  <a:lnTo>
                    <a:pt x="175" y="92"/>
                  </a:lnTo>
                  <a:lnTo>
                    <a:pt x="179" y="96"/>
                  </a:lnTo>
                  <a:lnTo>
                    <a:pt x="183" y="96"/>
                  </a:lnTo>
                  <a:lnTo>
                    <a:pt x="179" y="100"/>
                  </a:lnTo>
                  <a:lnTo>
                    <a:pt x="183" y="100"/>
                  </a:lnTo>
                  <a:lnTo>
                    <a:pt x="187" y="104"/>
                  </a:lnTo>
                  <a:lnTo>
                    <a:pt x="191" y="104"/>
                  </a:lnTo>
                  <a:lnTo>
                    <a:pt x="191" y="108"/>
                  </a:lnTo>
                  <a:lnTo>
                    <a:pt x="195" y="108"/>
                  </a:lnTo>
                  <a:lnTo>
                    <a:pt x="191" y="108"/>
                  </a:lnTo>
                  <a:lnTo>
                    <a:pt x="187" y="112"/>
                  </a:lnTo>
                  <a:lnTo>
                    <a:pt x="187" y="116"/>
                  </a:lnTo>
                  <a:lnTo>
                    <a:pt x="183" y="116"/>
                  </a:lnTo>
                  <a:lnTo>
                    <a:pt x="183" y="120"/>
                  </a:lnTo>
                  <a:lnTo>
                    <a:pt x="179" y="124"/>
                  </a:lnTo>
                  <a:lnTo>
                    <a:pt x="183" y="124"/>
                  </a:lnTo>
                  <a:lnTo>
                    <a:pt x="183" y="128"/>
                  </a:lnTo>
                  <a:lnTo>
                    <a:pt x="179" y="128"/>
                  </a:lnTo>
                  <a:lnTo>
                    <a:pt x="179" y="132"/>
                  </a:lnTo>
                  <a:lnTo>
                    <a:pt x="179" y="136"/>
                  </a:lnTo>
                  <a:lnTo>
                    <a:pt x="183" y="136"/>
                  </a:lnTo>
                  <a:lnTo>
                    <a:pt x="183" y="140"/>
                  </a:lnTo>
                  <a:lnTo>
                    <a:pt x="187" y="140"/>
                  </a:lnTo>
                  <a:lnTo>
                    <a:pt x="187" y="136"/>
                  </a:lnTo>
                  <a:lnTo>
                    <a:pt x="187" y="140"/>
                  </a:lnTo>
                  <a:lnTo>
                    <a:pt x="191" y="140"/>
                  </a:lnTo>
                  <a:lnTo>
                    <a:pt x="195" y="144"/>
                  </a:lnTo>
                  <a:lnTo>
                    <a:pt x="199" y="148"/>
                  </a:lnTo>
                  <a:lnTo>
                    <a:pt x="203" y="152"/>
                  </a:lnTo>
                  <a:lnTo>
                    <a:pt x="207" y="152"/>
                  </a:lnTo>
                  <a:lnTo>
                    <a:pt x="211" y="152"/>
                  </a:lnTo>
                  <a:lnTo>
                    <a:pt x="211" y="156"/>
                  </a:lnTo>
                  <a:lnTo>
                    <a:pt x="215" y="156"/>
                  </a:lnTo>
                  <a:lnTo>
                    <a:pt x="219" y="156"/>
                  </a:lnTo>
                  <a:lnTo>
                    <a:pt x="219" y="160"/>
                  </a:lnTo>
                  <a:lnTo>
                    <a:pt x="223" y="160"/>
                  </a:lnTo>
                  <a:lnTo>
                    <a:pt x="227" y="160"/>
                  </a:lnTo>
                  <a:lnTo>
                    <a:pt x="227" y="164"/>
                  </a:lnTo>
                  <a:lnTo>
                    <a:pt x="227" y="160"/>
                  </a:lnTo>
                  <a:lnTo>
                    <a:pt x="231" y="160"/>
                  </a:lnTo>
                  <a:lnTo>
                    <a:pt x="235" y="160"/>
                  </a:lnTo>
                  <a:lnTo>
                    <a:pt x="235" y="164"/>
                  </a:lnTo>
                  <a:lnTo>
                    <a:pt x="235" y="160"/>
                  </a:lnTo>
                  <a:lnTo>
                    <a:pt x="239" y="160"/>
                  </a:lnTo>
                  <a:lnTo>
                    <a:pt x="243" y="164"/>
                  </a:lnTo>
                  <a:lnTo>
                    <a:pt x="247" y="164"/>
                  </a:lnTo>
                  <a:lnTo>
                    <a:pt x="247" y="168"/>
                  </a:lnTo>
                  <a:lnTo>
                    <a:pt x="251" y="168"/>
                  </a:lnTo>
                  <a:lnTo>
                    <a:pt x="251" y="172"/>
                  </a:lnTo>
                  <a:lnTo>
                    <a:pt x="255" y="172"/>
                  </a:lnTo>
                  <a:lnTo>
                    <a:pt x="255" y="176"/>
                  </a:lnTo>
                  <a:lnTo>
                    <a:pt x="259" y="176"/>
                  </a:lnTo>
                  <a:lnTo>
                    <a:pt x="259" y="172"/>
                  </a:lnTo>
                  <a:lnTo>
                    <a:pt x="263" y="172"/>
                  </a:lnTo>
                  <a:lnTo>
                    <a:pt x="263" y="176"/>
                  </a:lnTo>
                  <a:lnTo>
                    <a:pt x="267" y="180"/>
                  </a:lnTo>
                  <a:lnTo>
                    <a:pt x="267" y="176"/>
                  </a:lnTo>
                  <a:lnTo>
                    <a:pt x="271" y="176"/>
                  </a:lnTo>
                  <a:lnTo>
                    <a:pt x="275" y="176"/>
                  </a:lnTo>
                  <a:lnTo>
                    <a:pt x="275" y="180"/>
                  </a:lnTo>
                  <a:lnTo>
                    <a:pt x="279" y="180"/>
                  </a:lnTo>
                  <a:lnTo>
                    <a:pt x="283" y="180"/>
                  </a:lnTo>
                  <a:lnTo>
                    <a:pt x="287" y="180"/>
                  </a:lnTo>
                  <a:lnTo>
                    <a:pt x="287" y="184"/>
                  </a:lnTo>
                  <a:lnTo>
                    <a:pt x="291" y="180"/>
                  </a:lnTo>
                  <a:lnTo>
                    <a:pt x="295" y="180"/>
                  </a:lnTo>
                  <a:lnTo>
                    <a:pt x="299" y="180"/>
                  </a:lnTo>
                  <a:lnTo>
                    <a:pt x="299" y="184"/>
                  </a:lnTo>
                  <a:lnTo>
                    <a:pt x="299" y="180"/>
                  </a:lnTo>
                  <a:lnTo>
                    <a:pt x="303" y="176"/>
                  </a:lnTo>
                  <a:lnTo>
                    <a:pt x="303" y="172"/>
                  </a:lnTo>
                  <a:lnTo>
                    <a:pt x="299" y="172"/>
                  </a:lnTo>
                  <a:lnTo>
                    <a:pt x="299" y="168"/>
                  </a:lnTo>
                  <a:lnTo>
                    <a:pt x="299" y="164"/>
                  </a:lnTo>
                  <a:lnTo>
                    <a:pt x="299" y="160"/>
                  </a:lnTo>
                  <a:lnTo>
                    <a:pt x="303" y="156"/>
                  </a:lnTo>
                  <a:lnTo>
                    <a:pt x="303" y="152"/>
                  </a:lnTo>
                  <a:lnTo>
                    <a:pt x="299" y="152"/>
                  </a:lnTo>
                  <a:lnTo>
                    <a:pt x="303" y="152"/>
                  </a:lnTo>
                  <a:lnTo>
                    <a:pt x="307" y="148"/>
                  </a:lnTo>
                  <a:lnTo>
                    <a:pt x="311" y="148"/>
                  </a:lnTo>
                  <a:lnTo>
                    <a:pt x="311" y="152"/>
                  </a:lnTo>
                  <a:lnTo>
                    <a:pt x="311" y="156"/>
                  </a:lnTo>
                  <a:lnTo>
                    <a:pt x="311" y="160"/>
                  </a:lnTo>
                  <a:lnTo>
                    <a:pt x="311" y="164"/>
                  </a:lnTo>
                  <a:lnTo>
                    <a:pt x="311" y="168"/>
                  </a:lnTo>
                  <a:lnTo>
                    <a:pt x="311" y="172"/>
                  </a:lnTo>
                  <a:lnTo>
                    <a:pt x="315" y="172"/>
                  </a:lnTo>
                  <a:lnTo>
                    <a:pt x="319" y="172"/>
                  </a:lnTo>
                  <a:lnTo>
                    <a:pt x="323" y="172"/>
                  </a:lnTo>
                  <a:lnTo>
                    <a:pt x="323" y="176"/>
                  </a:lnTo>
                  <a:lnTo>
                    <a:pt x="327" y="176"/>
                  </a:lnTo>
                  <a:lnTo>
                    <a:pt x="331" y="176"/>
                  </a:lnTo>
                  <a:lnTo>
                    <a:pt x="331" y="172"/>
                  </a:lnTo>
                  <a:lnTo>
                    <a:pt x="335" y="172"/>
                  </a:lnTo>
                  <a:lnTo>
                    <a:pt x="339" y="172"/>
                  </a:lnTo>
                  <a:lnTo>
                    <a:pt x="339" y="176"/>
                  </a:lnTo>
                  <a:lnTo>
                    <a:pt x="343" y="176"/>
                  </a:lnTo>
                  <a:lnTo>
                    <a:pt x="347" y="172"/>
                  </a:lnTo>
                  <a:lnTo>
                    <a:pt x="347" y="176"/>
                  </a:lnTo>
                  <a:lnTo>
                    <a:pt x="351" y="176"/>
                  </a:lnTo>
                  <a:lnTo>
                    <a:pt x="351" y="172"/>
                  </a:lnTo>
                  <a:lnTo>
                    <a:pt x="355" y="172"/>
                  </a:lnTo>
                  <a:lnTo>
                    <a:pt x="359" y="172"/>
                  </a:lnTo>
                  <a:lnTo>
                    <a:pt x="363" y="172"/>
                  </a:lnTo>
                  <a:lnTo>
                    <a:pt x="359" y="168"/>
                  </a:lnTo>
                  <a:lnTo>
                    <a:pt x="363" y="164"/>
                  </a:lnTo>
                  <a:lnTo>
                    <a:pt x="359" y="164"/>
                  </a:lnTo>
                  <a:lnTo>
                    <a:pt x="359" y="160"/>
                  </a:lnTo>
                  <a:lnTo>
                    <a:pt x="355" y="160"/>
                  </a:lnTo>
                  <a:lnTo>
                    <a:pt x="355" y="156"/>
                  </a:lnTo>
                  <a:lnTo>
                    <a:pt x="359" y="156"/>
                  </a:lnTo>
                  <a:lnTo>
                    <a:pt x="363" y="156"/>
                  </a:lnTo>
                  <a:lnTo>
                    <a:pt x="363" y="152"/>
                  </a:lnTo>
                  <a:lnTo>
                    <a:pt x="363" y="156"/>
                  </a:lnTo>
                  <a:lnTo>
                    <a:pt x="367" y="152"/>
                  </a:lnTo>
                  <a:lnTo>
                    <a:pt x="371" y="152"/>
                  </a:lnTo>
                  <a:lnTo>
                    <a:pt x="371" y="148"/>
                  </a:lnTo>
                  <a:lnTo>
                    <a:pt x="375" y="144"/>
                  </a:lnTo>
                  <a:lnTo>
                    <a:pt x="379" y="144"/>
                  </a:lnTo>
                  <a:lnTo>
                    <a:pt x="379" y="140"/>
                  </a:lnTo>
                  <a:lnTo>
                    <a:pt x="383" y="136"/>
                  </a:lnTo>
                  <a:lnTo>
                    <a:pt x="387" y="136"/>
                  </a:lnTo>
                  <a:lnTo>
                    <a:pt x="391" y="136"/>
                  </a:lnTo>
                  <a:lnTo>
                    <a:pt x="391" y="132"/>
                  </a:lnTo>
                  <a:lnTo>
                    <a:pt x="395" y="128"/>
                  </a:lnTo>
                  <a:lnTo>
                    <a:pt x="399" y="128"/>
                  </a:lnTo>
                  <a:lnTo>
                    <a:pt x="399" y="124"/>
                  </a:lnTo>
                  <a:lnTo>
                    <a:pt x="403" y="124"/>
                  </a:lnTo>
                  <a:lnTo>
                    <a:pt x="403" y="128"/>
                  </a:lnTo>
                  <a:lnTo>
                    <a:pt x="407" y="128"/>
                  </a:lnTo>
                  <a:lnTo>
                    <a:pt x="411" y="132"/>
                  </a:lnTo>
                  <a:lnTo>
                    <a:pt x="411" y="128"/>
                  </a:lnTo>
                  <a:lnTo>
                    <a:pt x="415" y="128"/>
                  </a:lnTo>
                  <a:lnTo>
                    <a:pt x="415" y="124"/>
                  </a:lnTo>
                  <a:lnTo>
                    <a:pt x="419" y="124"/>
                  </a:lnTo>
                  <a:lnTo>
                    <a:pt x="423" y="120"/>
                  </a:lnTo>
                  <a:lnTo>
                    <a:pt x="423" y="124"/>
                  </a:lnTo>
                  <a:lnTo>
                    <a:pt x="423" y="128"/>
                  </a:lnTo>
                  <a:lnTo>
                    <a:pt x="427" y="124"/>
                  </a:lnTo>
                  <a:lnTo>
                    <a:pt x="427" y="128"/>
                  </a:lnTo>
                  <a:lnTo>
                    <a:pt x="423" y="128"/>
                  </a:lnTo>
                  <a:lnTo>
                    <a:pt x="423" y="132"/>
                  </a:lnTo>
                  <a:lnTo>
                    <a:pt x="427" y="132"/>
                  </a:lnTo>
                  <a:lnTo>
                    <a:pt x="427" y="128"/>
                  </a:lnTo>
                  <a:lnTo>
                    <a:pt x="427" y="132"/>
                  </a:lnTo>
                  <a:lnTo>
                    <a:pt x="431" y="136"/>
                  </a:lnTo>
                  <a:lnTo>
                    <a:pt x="427" y="140"/>
                  </a:lnTo>
                  <a:lnTo>
                    <a:pt x="427" y="144"/>
                  </a:lnTo>
                  <a:lnTo>
                    <a:pt x="431" y="140"/>
                  </a:lnTo>
                  <a:lnTo>
                    <a:pt x="431" y="144"/>
                  </a:lnTo>
                  <a:lnTo>
                    <a:pt x="435" y="144"/>
                  </a:lnTo>
                  <a:lnTo>
                    <a:pt x="439" y="144"/>
                  </a:lnTo>
                  <a:lnTo>
                    <a:pt x="439" y="148"/>
                  </a:lnTo>
                  <a:lnTo>
                    <a:pt x="443" y="152"/>
                  </a:lnTo>
                  <a:lnTo>
                    <a:pt x="439" y="152"/>
                  </a:lnTo>
                  <a:lnTo>
                    <a:pt x="439" y="156"/>
                  </a:lnTo>
                  <a:lnTo>
                    <a:pt x="435" y="156"/>
                  </a:lnTo>
                  <a:lnTo>
                    <a:pt x="435" y="160"/>
                  </a:lnTo>
                  <a:lnTo>
                    <a:pt x="435" y="164"/>
                  </a:lnTo>
                  <a:lnTo>
                    <a:pt x="439" y="168"/>
                  </a:lnTo>
                  <a:lnTo>
                    <a:pt x="435" y="168"/>
                  </a:lnTo>
                  <a:lnTo>
                    <a:pt x="435" y="164"/>
                  </a:lnTo>
                  <a:lnTo>
                    <a:pt x="431" y="164"/>
                  </a:lnTo>
                  <a:lnTo>
                    <a:pt x="427" y="164"/>
                  </a:lnTo>
                  <a:lnTo>
                    <a:pt x="423" y="164"/>
                  </a:lnTo>
                  <a:lnTo>
                    <a:pt x="419" y="168"/>
                  </a:lnTo>
                  <a:lnTo>
                    <a:pt x="415" y="172"/>
                  </a:lnTo>
                  <a:lnTo>
                    <a:pt x="411" y="172"/>
                  </a:lnTo>
                  <a:lnTo>
                    <a:pt x="411" y="176"/>
                  </a:lnTo>
                  <a:lnTo>
                    <a:pt x="407" y="176"/>
                  </a:lnTo>
                  <a:lnTo>
                    <a:pt x="407" y="180"/>
                  </a:lnTo>
                  <a:lnTo>
                    <a:pt x="407" y="184"/>
                  </a:lnTo>
                  <a:lnTo>
                    <a:pt x="407" y="188"/>
                  </a:lnTo>
                  <a:lnTo>
                    <a:pt x="407" y="192"/>
                  </a:lnTo>
                  <a:lnTo>
                    <a:pt x="407" y="196"/>
                  </a:lnTo>
                  <a:lnTo>
                    <a:pt x="403" y="196"/>
                  </a:lnTo>
                  <a:lnTo>
                    <a:pt x="403" y="200"/>
                  </a:lnTo>
                  <a:lnTo>
                    <a:pt x="399" y="200"/>
                  </a:lnTo>
                  <a:lnTo>
                    <a:pt x="399" y="204"/>
                  </a:lnTo>
                  <a:lnTo>
                    <a:pt x="403" y="208"/>
                  </a:lnTo>
                  <a:lnTo>
                    <a:pt x="399" y="212"/>
                  </a:lnTo>
                  <a:lnTo>
                    <a:pt x="399" y="216"/>
                  </a:lnTo>
                  <a:lnTo>
                    <a:pt x="395" y="220"/>
                  </a:lnTo>
                  <a:lnTo>
                    <a:pt x="395" y="224"/>
                  </a:lnTo>
                  <a:lnTo>
                    <a:pt x="395" y="228"/>
                  </a:lnTo>
                  <a:lnTo>
                    <a:pt x="391" y="232"/>
                  </a:lnTo>
                  <a:lnTo>
                    <a:pt x="391" y="228"/>
                  </a:lnTo>
                  <a:lnTo>
                    <a:pt x="387" y="228"/>
                  </a:lnTo>
                  <a:lnTo>
                    <a:pt x="383" y="228"/>
                  </a:lnTo>
                  <a:lnTo>
                    <a:pt x="379" y="228"/>
                  </a:lnTo>
                  <a:lnTo>
                    <a:pt x="379" y="224"/>
                  </a:lnTo>
                  <a:lnTo>
                    <a:pt x="379" y="228"/>
                  </a:lnTo>
                  <a:lnTo>
                    <a:pt x="379" y="232"/>
                  </a:lnTo>
                  <a:lnTo>
                    <a:pt x="383" y="236"/>
                  </a:lnTo>
                  <a:lnTo>
                    <a:pt x="379" y="240"/>
                  </a:lnTo>
                  <a:lnTo>
                    <a:pt x="379" y="244"/>
                  </a:lnTo>
                  <a:lnTo>
                    <a:pt x="379" y="248"/>
                  </a:lnTo>
                  <a:lnTo>
                    <a:pt x="379" y="244"/>
                  </a:lnTo>
                  <a:lnTo>
                    <a:pt x="375" y="244"/>
                  </a:lnTo>
                  <a:lnTo>
                    <a:pt x="375" y="248"/>
                  </a:lnTo>
                  <a:lnTo>
                    <a:pt x="375" y="252"/>
                  </a:lnTo>
                  <a:lnTo>
                    <a:pt x="375" y="256"/>
                  </a:lnTo>
                  <a:lnTo>
                    <a:pt x="379" y="256"/>
                  </a:lnTo>
                  <a:lnTo>
                    <a:pt x="379" y="260"/>
                  </a:lnTo>
                  <a:lnTo>
                    <a:pt x="379" y="264"/>
                  </a:lnTo>
                  <a:lnTo>
                    <a:pt x="375" y="264"/>
                  </a:lnTo>
                  <a:lnTo>
                    <a:pt x="375" y="260"/>
                  </a:lnTo>
                  <a:lnTo>
                    <a:pt x="375" y="264"/>
                  </a:lnTo>
                  <a:lnTo>
                    <a:pt x="371" y="264"/>
                  </a:lnTo>
                  <a:lnTo>
                    <a:pt x="367" y="268"/>
                  </a:lnTo>
                  <a:lnTo>
                    <a:pt x="367" y="264"/>
                  </a:lnTo>
                  <a:lnTo>
                    <a:pt x="367" y="260"/>
                  </a:lnTo>
                  <a:lnTo>
                    <a:pt x="367" y="256"/>
                  </a:lnTo>
                  <a:lnTo>
                    <a:pt x="367" y="252"/>
                  </a:lnTo>
                  <a:lnTo>
                    <a:pt x="367" y="248"/>
                  </a:lnTo>
                  <a:lnTo>
                    <a:pt x="363" y="244"/>
                  </a:lnTo>
                  <a:lnTo>
                    <a:pt x="367" y="244"/>
                  </a:lnTo>
                  <a:lnTo>
                    <a:pt x="367" y="240"/>
                  </a:lnTo>
                  <a:lnTo>
                    <a:pt x="363" y="240"/>
                  </a:lnTo>
                  <a:lnTo>
                    <a:pt x="363" y="236"/>
                  </a:lnTo>
                  <a:lnTo>
                    <a:pt x="363" y="232"/>
                  </a:lnTo>
                  <a:lnTo>
                    <a:pt x="359" y="236"/>
                  </a:lnTo>
                  <a:lnTo>
                    <a:pt x="359" y="232"/>
                  </a:lnTo>
                  <a:lnTo>
                    <a:pt x="359" y="236"/>
                  </a:lnTo>
                  <a:lnTo>
                    <a:pt x="359" y="240"/>
                  </a:lnTo>
                  <a:lnTo>
                    <a:pt x="355" y="240"/>
                  </a:lnTo>
                  <a:lnTo>
                    <a:pt x="355" y="244"/>
                  </a:lnTo>
                  <a:lnTo>
                    <a:pt x="355" y="248"/>
                  </a:lnTo>
                  <a:lnTo>
                    <a:pt x="351" y="248"/>
                  </a:lnTo>
                  <a:lnTo>
                    <a:pt x="351" y="244"/>
                  </a:lnTo>
                  <a:lnTo>
                    <a:pt x="351" y="240"/>
                  </a:lnTo>
                  <a:lnTo>
                    <a:pt x="351" y="244"/>
                  </a:lnTo>
                  <a:lnTo>
                    <a:pt x="347" y="240"/>
                  </a:lnTo>
                  <a:lnTo>
                    <a:pt x="347" y="236"/>
                  </a:lnTo>
                  <a:lnTo>
                    <a:pt x="347" y="232"/>
                  </a:lnTo>
                  <a:lnTo>
                    <a:pt x="347" y="228"/>
                  </a:lnTo>
                  <a:lnTo>
                    <a:pt x="351" y="224"/>
                  </a:lnTo>
                  <a:lnTo>
                    <a:pt x="351" y="228"/>
                  </a:lnTo>
                  <a:lnTo>
                    <a:pt x="351" y="224"/>
                  </a:lnTo>
                  <a:lnTo>
                    <a:pt x="355" y="224"/>
                  </a:lnTo>
                  <a:lnTo>
                    <a:pt x="359" y="224"/>
                  </a:lnTo>
                  <a:lnTo>
                    <a:pt x="359" y="220"/>
                  </a:lnTo>
                  <a:lnTo>
                    <a:pt x="363" y="220"/>
                  </a:lnTo>
                  <a:lnTo>
                    <a:pt x="363" y="216"/>
                  </a:lnTo>
                  <a:lnTo>
                    <a:pt x="363" y="212"/>
                  </a:lnTo>
                  <a:lnTo>
                    <a:pt x="367" y="212"/>
                  </a:lnTo>
                  <a:lnTo>
                    <a:pt x="367" y="208"/>
                  </a:lnTo>
                  <a:lnTo>
                    <a:pt x="363" y="208"/>
                  </a:lnTo>
                  <a:lnTo>
                    <a:pt x="363" y="204"/>
                  </a:lnTo>
                  <a:lnTo>
                    <a:pt x="359" y="204"/>
                  </a:lnTo>
                  <a:lnTo>
                    <a:pt x="355" y="204"/>
                  </a:lnTo>
                  <a:lnTo>
                    <a:pt x="351" y="204"/>
                  </a:lnTo>
                  <a:lnTo>
                    <a:pt x="347" y="204"/>
                  </a:lnTo>
                  <a:lnTo>
                    <a:pt x="343" y="204"/>
                  </a:lnTo>
                  <a:lnTo>
                    <a:pt x="339" y="204"/>
                  </a:lnTo>
                  <a:lnTo>
                    <a:pt x="335" y="204"/>
                  </a:lnTo>
                  <a:lnTo>
                    <a:pt x="331" y="204"/>
                  </a:lnTo>
                  <a:lnTo>
                    <a:pt x="327" y="204"/>
                  </a:lnTo>
                  <a:lnTo>
                    <a:pt x="327" y="200"/>
                  </a:lnTo>
                  <a:lnTo>
                    <a:pt x="327" y="196"/>
                  </a:lnTo>
                  <a:lnTo>
                    <a:pt x="327" y="192"/>
                  </a:lnTo>
                  <a:lnTo>
                    <a:pt x="327" y="188"/>
                  </a:lnTo>
                  <a:lnTo>
                    <a:pt x="323" y="188"/>
                  </a:lnTo>
                  <a:lnTo>
                    <a:pt x="323" y="184"/>
                  </a:lnTo>
                  <a:lnTo>
                    <a:pt x="323" y="188"/>
                  </a:lnTo>
                  <a:lnTo>
                    <a:pt x="319" y="188"/>
                  </a:lnTo>
                  <a:lnTo>
                    <a:pt x="315" y="188"/>
                  </a:lnTo>
                  <a:lnTo>
                    <a:pt x="315" y="184"/>
                  </a:lnTo>
                  <a:lnTo>
                    <a:pt x="315" y="180"/>
                  </a:lnTo>
                  <a:lnTo>
                    <a:pt x="311" y="180"/>
                  </a:lnTo>
                  <a:lnTo>
                    <a:pt x="311" y="184"/>
                  </a:lnTo>
                  <a:lnTo>
                    <a:pt x="315" y="184"/>
                  </a:lnTo>
                  <a:lnTo>
                    <a:pt x="311" y="184"/>
                  </a:lnTo>
                  <a:lnTo>
                    <a:pt x="311" y="180"/>
                  </a:lnTo>
                  <a:lnTo>
                    <a:pt x="307" y="180"/>
                  </a:lnTo>
                  <a:lnTo>
                    <a:pt x="307" y="176"/>
                  </a:lnTo>
                  <a:lnTo>
                    <a:pt x="303" y="180"/>
                  </a:lnTo>
                  <a:lnTo>
                    <a:pt x="307" y="180"/>
                  </a:lnTo>
                  <a:lnTo>
                    <a:pt x="307" y="184"/>
                  </a:lnTo>
                  <a:lnTo>
                    <a:pt x="303" y="184"/>
                  </a:lnTo>
                  <a:lnTo>
                    <a:pt x="303" y="188"/>
                  </a:lnTo>
                  <a:lnTo>
                    <a:pt x="299" y="192"/>
                  </a:lnTo>
                  <a:lnTo>
                    <a:pt x="303" y="192"/>
                  </a:lnTo>
                  <a:lnTo>
                    <a:pt x="307" y="196"/>
                  </a:lnTo>
                  <a:lnTo>
                    <a:pt x="307" y="200"/>
                  </a:lnTo>
                  <a:lnTo>
                    <a:pt x="311" y="200"/>
                  </a:lnTo>
                  <a:lnTo>
                    <a:pt x="311" y="204"/>
                  </a:lnTo>
                  <a:lnTo>
                    <a:pt x="315" y="204"/>
                  </a:lnTo>
                  <a:lnTo>
                    <a:pt x="311" y="204"/>
                  </a:lnTo>
                  <a:lnTo>
                    <a:pt x="307" y="204"/>
                  </a:lnTo>
                  <a:lnTo>
                    <a:pt x="307" y="208"/>
                  </a:lnTo>
                  <a:lnTo>
                    <a:pt x="303" y="208"/>
                  </a:lnTo>
                  <a:lnTo>
                    <a:pt x="303" y="212"/>
                  </a:lnTo>
                  <a:lnTo>
                    <a:pt x="303" y="208"/>
                  </a:lnTo>
                  <a:lnTo>
                    <a:pt x="299" y="212"/>
                  </a:lnTo>
                  <a:lnTo>
                    <a:pt x="303" y="212"/>
                  </a:lnTo>
                  <a:lnTo>
                    <a:pt x="299" y="212"/>
                  </a:lnTo>
                  <a:lnTo>
                    <a:pt x="299" y="216"/>
                  </a:lnTo>
                  <a:lnTo>
                    <a:pt x="303" y="220"/>
                  </a:lnTo>
                  <a:lnTo>
                    <a:pt x="307" y="220"/>
                  </a:lnTo>
                  <a:lnTo>
                    <a:pt x="307" y="224"/>
                  </a:lnTo>
                  <a:lnTo>
                    <a:pt x="307" y="220"/>
                  </a:lnTo>
                  <a:lnTo>
                    <a:pt x="311" y="220"/>
                  </a:lnTo>
                  <a:lnTo>
                    <a:pt x="311" y="224"/>
                  </a:lnTo>
                  <a:lnTo>
                    <a:pt x="311" y="228"/>
                  </a:lnTo>
                  <a:lnTo>
                    <a:pt x="307" y="232"/>
                  </a:lnTo>
                  <a:lnTo>
                    <a:pt x="307" y="236"/>
                  </a:lnTo>
                  <a:lnTo>
                    <a:pt x="311" y="236"/>
                  </a:lnTo>
                  <a:lnTo>
                    <a:pt x="311" y="240"/>
                  </a:lnTo>
                  <a:lnTo>
                    <a:pt x="311" y="244"/>
                  </a:lnTo>
                  <a:lnTo>
                    <a:pt x="315" y="244"/>
                  </a:lnTo>
                  <a:lnTo>
                    <a:pt x="311" y="244"/>
                  </a:lnTo>
                  <a:lnTo>
                    <a:pt x="311" y="248"/>
                  </a:lnTo>
                  <a:lnTo>
                    <a:pt x="315" y="260"/>
                  </a:lnTo>
                  <a:lnTo>
                    <a:pt x="315" y="264"/>
                  </a:lnTo>
                  <a:lnTo>
                    <a:pt x="315" y="268"/>
                  </a:lnTo>
                  <a:lnTo>
                    <a:pt x="315" y="272"/>
                  </a:lnTo>
                  <a:lnTo>
                    <a:pt x="311" y="272"/>
                  </a:lnTo>
                  <a:lnTo>
                    <a:pt x="311" y="276"/>
                  </a:lnTo>
                  <a:lnTo>
                    <a:pt x="311" y="272"/>
                  </a:lnTo>
                  <a:lnTo>
                    <a:pt x="311" y="268"/>
                  </a:lnTo>
                  <a:lnTo>
                    <a:pt x="311" y="264"/>
                  </a:lnTo>
                  <a:lnTo>
                    <a:pt x="311" y="268"/>
                  </a:lnTo>
                  <a:lnTo>
                    <a:pt x="307" y="268"/>
                  </a:lnTo>
                  <a:lnTo>
                    <a:pt x="307" y="264"/>
                  </a:lnTo>
                  <a:lnTo>
                    <a:pt x="311" y="264"/>
                  </a:lnTo>
                  <a:lnTo>
                    <a:pt x="307" y="264"/>
                  </a:lnTo>
                  <a:lnTo>
                    <a:pt x="307" y="268"/>
                  </a:lnTo>
                  <a:lnTo>
                    <a:pt x="307" y="272"/>
                  </a:lnTo>
                  <a:lnTo>
                    <a:pt x="307" y="276"/>
                  </a:lnTo>
                  <a:lnTo>
                    <a:pt x="307" y="272"/>
                  </a:lnTo>
                  <a:lnTo>
                    <a:pt x="307" y="268"/>
                  </a:lnTo>
                  <a:lnTo>
                    <a:pt x="307" y="272"/>
                  </a:lnTo>
                  <a:lnTo>
                    <a:pt x="303" y="272"/>
                  </a:lnTo>
                  <a:lnTo>
                    <a:pt x="303" y="268"/>
                  </a:lnTo>
                  <a:lnTo>
                    <a:pt x="303" y="272"/>
                  </a:lnTo>
                  <a:lnTo>
                    <a:pt x="303" y="276"/>
                  </a:lnTo>
                  <a:lnTo>
                    <a:pt x="303" y="272"/>
                  </a:lnTo>
                  <a:lnTo>
                    <a:pt x="303" y="268"/>
                  </a:lnTo>
                  <a:lnTo>
                    <a:pt x="299" y="268"/>
                  </a:lnTo>
                  <a:lnTo>
                    <a:pt x="303" y="264"/>
                  </a:lnTo>
                  <a:lnTo>
                    <a:pt x="299" y="260"/>
                  </a:lnTo>
                  <a:lnTo>
                    <a:pt x="299" y="256"/>
                  </a:lnTo>
                  <a:lnTo>
                    <a:pt x="299" y="260"/>
                  </a:lnTo>
                  <a:lnTo>
                    <a:pt x="299" y="264"/>
                  </a:lnTo>
                  <a:lnTo>
                    <a:pt x="303" y="264"/>
                  </a:lnTo>
                  <a:lnTo>
                    <a:pt x="299" y="264"/>
                  </a:lnTo>
                  <a:lnTo>
                    <a:pt x="299" y="268"/>
                  </a:lnTo>
                  <a:lnTo>
                    <a:pt x="295" y="272"/>
                  </a:lnTo>
                  <a:lnTo>
                    <a:pt x="291" y="272"/>
                  </a:lnTo>
                  <a:lnTo>
                    <a:pt x="287" y="276"/>
                  </a:lnTo>
                  <a:lnTo>
                    <a:pt x="283" y="276"/>
                  </a:lnTo>
                  <a:lnTo>
                    <a:pt x="283" y="280"/>
                  </a:lnTo>
                  <a:lnTo>
                    <a:pt x="283" y="284"/>
                  </a:lnTo>
                  <a:lnTo>
                    <a:pt x="283" y="288"/>
                  </a:lnTo>
                  <a:lnTo>
                    <a:pt x="283" y="292"/>
                  </a:lnTo>
                  <a:lnTo>
                    <a:pt x="279" y="292"/>
                  </a:lnTo>
                  <a:lnTo>
                    <a:pt x="279" y="295"/>
                  </a:lnTo>
                  <a:lnTo>
                    <a:pt x="279" y="299"/>
                  </a:lnTo>
                  <a:lnTo>
                    <a:pt x="275" y="299"/>
                  </a:lnTo>
                  <a:lnTo>
                    <a:pt x="275" y="303"/>
                  </a:lnTo>
                  <a:lnTo>
                    <a:pt x="271" y="303"/>
                  </a:lnTo>
                  <a:lnTo>
                    <a:pt x="275" y="303"/>
                  </a:lnTo>
                  <a:lnTo>
                    <a:pt x="271" y="303"/>
                  </a:lnTo>
                  <a:lnTo>
                    <a:pt x="271" y="307"/>
                  </a:lnTo>
                  <a:lnTo>
                    <a:pt x="267" y="307"/>
                  </a:lnTo>
                  <a:lnTo>
                    <a:pt x="263" y="307"/>
                  </a:lnTo>
                  <a:lnTo>
                    <a:pt x="259" y="311"/>
                  </a:lnTo>
                  <a:lnTo>
                    <a:pt x="259" y="307"/>
                  </a:lnTo>
                  <a:lnTo>
                    <a:pt x="263" y="307"/>
                  </a:lnTo>
                  <a:lnTo>
                    <a:pt x="259" y="303"/>
                  </a:lnTo>
                  <a:lnTo>
                    <a:pt x="259" y="307"/>
                  </a:lnTo>
                  <a:lnTo>
                    <a:pt x="255" y="307"/>
                  </a:lnTo>
                  <a:lnTo>
                    <a:pt x="255" y="311"/>
                  </a:lnTo>
                  <a:lnTo>
                    <a:pt x="259" y="311"/>
                  </a:lnTo>
                  <a:lnTo>
                    <a:pt x="259" y="307"/>
                  </a:lnTo>
                  <a:lnTo>
                    <a:pt x="259" y="311"/>
                  </a:lnTo>
                  <a:lnTo>
                    <a:pt x="255" y="311"/>
                  </a:lnTo>
                  <a:lnTo>
                    <a:pt x="255" y="315"/>
                  </a:lnTo>
                  <a:lnTo>
                    <a:pt x="251" y="319"/>
                  </a:lnTo>
                  <a:lnTo>
                    <a:pt x="247" y="319"/>
                  </a:lnTo>
                  <a:lnTo>
                    <a:pt x="251" y="319"/>
                  </a:lnTo>
                  <a:lnTo>
                    <a:pt x="247" y="323"/>
                  </a:lnTo>
                  <a:lnTo>
                    <a:pt x="247" y="327"/>
                  </a:lnTo>
                  <a:lnTo>
                    <a:pt x="243" y="331"/>
                  </a:lnTo>
                  <a:lnTo>
                    <a:pt x="239" y="335"/>
                  </a:lnTo>
                  <a:lnTo>
                    <a:pt x="235" y="335"/>
                  </a:lnTo>
                  <a:lnTo>
                    <a:pt x="235" y="339"/>
                  </a:lnTo>
                  <a:lnTo>
                    <a:pt x="231" y="339"/>
                  </a:lnTo>
                  <a:lnTo>
                    <a:pt x="231" y="343"/>
                  </a:lnTo>
                  <a:lnTo>
                    <a:pt x="227" y="343"/>
                  </a:lnTo>
                  <a:lnTo>
                    <a:pt x="227" y="347"/>
                  </a:lnTo>
                  <a:lnTo>
                    <a:pt x="223" y="351"/>
                  </a:lnTo>
                  <a:lnTo>
                    <a:pt x="219" y="351"/>
                  </a:lnTo>
                  <a:lnTo>
                    <a:pt x="219" y="355"/>
                  </a:lnTo>
                  <a:lnTo>
                    <a:pt x="215" y="355"/>
                  </a:lnTo>
                  <a:lnTo>
                    <a:pt x="215" y="359"/>
                  </a:lnTo>
                  <a:lnTo>
                    <a:pt x="211" y="359"/>
                  </a:lnTo>
                  <a:lnTo>
                    <a:pt x="211" y="363"/>
                  </a:lnTo>
                  <a:lnTo>
                    <a:pt x="215" y="363"/>
                  </a:lnTo>
                  <a:lnTo>
                    <a:pt x="211" y="363"/>
                  </a:lnTo>
                  <a:lnTo>
                    <a:pt x="211" y="367"/>
                  </a:lnTo>
                  <a:lnTo>
                    <a:pt x="211" y="371"/>
                  </a:lnTo>
                  <a:lnTo>
                    <a:pt x="207" y="371"/>
                  </a:lnTo>
                  <a:lnTo>
                    <a:pt x="203" y="371"/>
                  </a:lnTo>
                  <a:lnTo>
                    <a:pt x="199" y="371"/>
                  </a:lnTo>
                  <a:lnTo>
                    <a:pt x="195" y="371"/>
                  </a:lnTo>
                  <a:lnTo>
                    <a:pt x="195" y="375"/>
                  </a:lnTo>
                  <a:lnTo>
                    <a:pt x="195" y="379"/>
                  </a:lnTo>
                  <a:lnTo>
                    <a:pt x="191" y="379"/>
                  </a:lnTo>
                  <a:lnTo>
                    <a:pt x="191" y="383"/>
                  </a:lnTo>
                  <a:lnTo>
                    <a:pt x="191" y="379"/>
                  </a:lnTo>
                  <a:lnTo>
                    <a:pt x="191" y="383"/>
                  </a:lnTo>
                  <a:lnTo>
                    <a:pt x="191" y="379"/>
                  </a:lnTo>
                  <a:lnTo>
                    <a:pt x="187" y="379"/>
                  </a:lnTo>
                  <a:lnTo>
                    <a:pt x="183" y="383"/>
                  </a:lnTo>
                  <a:lnTo>
                    <a:pt x="179" y="387"/>
                  </a:lnTo>
                  <a:lnTo>
                    <a:pt x="179" y="391"/>
                  </a:lnTo>
                  <a:lnTo>
                    <a:pt x="179" y="395"/>
                  </a:lnTo>
                  <a:lnTo>
                    <a:pt x="179" y="399"/>
                  </a:lnTo>
                  <a:lnTo>
                    <a:pt x="179" y="403"/>
                  </a:lnTo>
                  <a:lnTo>
                    <a:pt x="179" y="407"/>
                  </a:lnTo>
                  <a:lnTo>
                    <a:pt x="179" y="411"/>
                  </a:lnTo>
                  <a:lnTo>
                    <a:pt x="179" y="415"/>
                  </a:lnTo>
                  <a:lnTo>
                    <a:pt x="179" y="419"/>
                  </a:lnTo>
                  <a:lnTo>
                    <a:pt x="183" y="419"/>
                  </a:lnTo>
                  <a:lnTo>
                    <a:pt x="179" y="419"/>
                  </a:lnTo>
                  <a:lnTo>
                    <a:pt x="179" y="423"/>
                  </a:lnTo>
                  <a:lnTo>
                    <a:pt x="183" y="423"/>
                  </a:lnTo>
                  <a:lnTo>
                    <a:pt x="183" y="427"/>
                  </a:lnTo>
                  <a:lnTo>
                    <a:pt x="183" y="423"/>
                  </a:lnTo>
                  <a:lnTo>
                    <a:pt x="179" y="419"/>
                  </a:lnTo>
                  <a:lnTo>
                    <a:pt x="179" y="423"/>
                  </a:lnTo>
                  <a:lnTo>
                    <a:pt x="183" y="427"/>
                  </a:lnTo>
                  <a:lnTo>
                    <a:pt x="183" y="431"/>
                  </a:lnTo>
                  <a:lnTo>
                    <a:pt x="183" y="435"/>
                  </a:lnTo>
                  <a:lnTo>
                    <a:pt x="183" y="439"/>
                  </a:lnTo>
                  <a:lnTo>
                    <a:pt x="179" y="439"/>
                  </a:lnTo>
                  <a:lnTo>
                    <a:pt x="179" y="443"/>
                  </a:lnTo>
                  <a:lnTo>
                    <a:pt x="179" y="447"/>
                  </a:lnTo>
                  <a:lnTo>
                    <a:pt x="175" y="451"/>
                  </a:lnTo>
                  <a:lnTo>
                    <a:pt x="175" y="455"/>
                  </a:lnTo>
                  <a:lnTo>
                    <a:pt x="175" y="459"/>
                  </a:lnTo>
                  <a:lnTo>
                    <a:pt x="175" y="463"/>
                  </a:lnTo>
                  <a:lnTo>
                    <a:pt x="175" y="467"/>
                  </a:lnTo>
                  <a:lnTo>
                    <a:pt x="175" y="471"/>
                  </a:lnTo>
                  <a:lnTo>
                    <a:pt x="175" y="475"/>
                  </a:lnTo>
                  <a:lnTo>
                    <a:pt x="175" y="479"/>
                  </a:lnTo>
                  <a:lnTo>
                    <a:pt x="175" y="483"/>
                  </a:lnTo>
                  <a:lnTo>
                    <a:pt x="171" y="483"/>
                  </a:lnTo>
                  <a:lnTo>
                    <a:pt x="175" y="483"/>
                  </a:lnTo>
                  <a:lnTo>
                    <a:pt x="171" y="483"/>
                  </a:lnTo>
                  <a:lnTo>
                    <a:pt x="167" y="483"/>
                  </a:lnTo>
                  <a:lnTo>
                    <a:pt x="167" y="487"/>
                  </a:lnTo>
                  <a:lnTo>
                    <a:pt x="167" y="491"/>
                  </a:lnTo>
                  <a:lnTo>
                    <a:pt x="163" y="491"/>
                  </a:lnTo>
                  <a:lnTo>
                    <a:pt x="163" y="495"/>
                  </a:lnTo>
                  <a:lnTo>
                    <a:pt x="159" y="499"/>
                  </a:lnTo>
                  <a:lnTo>
                    <a:pt x="163" y="499"/>
                  </a:lnTo>
                  <a:lnTo>
                    <a:pt x="163" y="503"/>
                  </a:lnTo>
                  <a:lnTo>
                    <a:pt x="167" y="503"/>
                  </a:lnTo>
                  <a:lnTo>
                    <a:pt x="163" y="503"/>
                  </a:lnTo>
                  <a:lnTo>
                    <a:pt x="159" y="503"/>
                  </a:lnTo>
                  <a:lnTo>
                    <a:pt x="155" y="507"/>
                  </a:lnTo>
                  <a:lnTo>
                    <a:pt x="151" y="507"/>
                  </a:lnTo>
                  <a:lnTo>
                    <a:pt x="151" y="511"/>
                  </a:lnTo>
                  <a:lnTo>
                    <a:pt x="151" y="515"/>
                  </a:lnTo>
                  <a:lnTo>
                    <a:pt x="147" y="519"/>
                  </a:lnTo>
                  <a:lnTo>
                    <a:pt x="143" y="523"/>
                  </a:lnTo>
                  <a:lnTo>
                    <a:pt x="139" y="523"/>
                  </a:lnTo>
                  <a:lnTo>
                    <a:pt x="135" y="523"/>
                  </a:lnTo>
                  <a:lnTo>
                    <a:pt x="135" y="519"/>
                  </a:lnTo>
                  <a:lnTo>
                    <a:pt x="131" y="519"/>
                  </a:lnTo>
                  <a:lnTo>
                    <a:pt x="131" y="515"/>
                  </a:lnTo>
                  <a:lnTo>
                    <a:pt x="127" y="515"/>
                  </a:lnTo>
                  <a:lnTo>
                    <a:pt x="127" y="511"/>
                  </a:lnTo>
                  <a:lnTo>
                    <a:pt x="127" y="507"/>
                  </a:lnTo>
                  <a:lnTo>
                    <a:pt x="123" y="507"/>
                  </a:lnTo>
                  <a:lnTo>
                    <a:pt x="123" y="503"/>
                  </a:lnTo>
                  <a:lnTo>
                    <a:pt x="123" y="499"/>
                  </a:lnTo>
                  <a:lnTo>
                    <a:pt x="123" y="495"/>
                  </a:lnTo>
                  <a:lnTo>
                    <a:pt x="119" y="491"/>
                  </a:lnTo>
                  <a:lnTo>
                    <a:pt x="123" y="491"/>
                  </a:lnTo>
                  <a:lnTo>
                    <a:pt x="119" y="491"/>
                  </a:lnTo>
                  <a:lnTo>
                    <a:pt x="123" y="495"/>
                  </a:lnTo>
                  <a:lnTo>
                    <a:pt x="123" y="499"/>
                  </a:lnTo>
                  <a:lnTo>
                    <a:pt x="123" y="495"/>
                  </a:lnTo>
                  <a:lnTo>
                    <a:pt x="123" y="491"/>
                  </a:lnTo>
                  <a:lnTo>
                    <a:pt x="119" y="491"/>
                  </a:lnTo>
                  <a:lnTo>
                    <a:pt x="119" y="487"/>
                  </a:lnTo>
                  <a:lnTo>
                    <a:pt x="119" y="491"/>
                  </a:lnTo>
                  <a:lnTo>
                    <a:pt x="119" y="487"/>
                  </a:lnTo>
                  <a:lnTo>
                    <a:pt x="119" y="483"/>
                  </a:lnTo>
                  <a:lnTo>
                    <a:pt x="119" y="479"/>
                  </a:lnTo>
                  <a:lnTo>
                    <a:pt x="115" y="475"/>
                  </a:lnTo>
                  <a:lnTo>
                    <a:pt x="115" y="471"/>
                  </a:lnTo>
                  <a:lnTo>
                    <a:pt x="111" y="463"/>
                  </a:lnTo>
                  <a:lnTo>
                    <a:pt x="111" y="459"/>
                  </a:lnTo>
                  <a:lnTo>
                    <a:pt x="107" y="455"/>
                  </a:lnTo>
                  <a:lnTo>
                    <a:pt x="107" y="451"/>
                  </a:lnTo>
                  <a:lnTo>
                    <a:pt x="103" y="451"/>
                  </a:lnTo>
                  <a:lnTo>
                    <a:pt x="103" y="447"/>
                  </a:lnTo>
                  <a:lnTo>
                    <a:pt x="103" y="443"/>
                  </a:lnTo>
                  <a:lnTo>
                    <a:pt x="99" y="439"/>
                  </a:lnTo>
                  <a:lnTo>
                    <a:pt x="99" y="435"/>
                  </a:lnTo>
                  <a:lnTo>
                    <a:pt x="99" y="431"/>
                  </a:lnTo>
                  <a:lnTo>
                    <a:pt x="99" y="427"/>
                  </a:lnTo>
                  <a:lnTo>
                    <a:pt x="96" y="423"/>
                  </a:lnTo>
                  <a:lnTo>
                    <a:pt x="96" y="419"/>
                  </a:lnTo>
                  <a:lnTo>
                    <a:pt x="96" y="415"/>
                  </a:lnTo>
                  <a:lnTo>
                    <a:pt x="96" y="411"/>
                  </a:lnTo>
                  <a:lnTo>
                    <a:pt x="92" y="411"/>
                  </a:lnTo>
                  <a:lnTo>
                    <a:pt x="92" y="407"/>
                  </a:lnTo>
                  <a:lnTo>
                    <a:pt x="92" y="403"/>
                  </a:lnTo>
                  <a:lnTo>
                    <a:pt x="92" y="407"/>
                  </a:lnTo>
                  <a:lnTo>
                    <a:pt x="92" y="403"/>
                  </a:lnTo>
                  <a:lnTo>
                    <a:pt x="88" y="403"/>
                  </a:lnTo>
                  <a:lnTo>
                    <a:pt x="88" y="399"/>
                  </a:lnTo>
                  <a:lnTo>
                    <a:pt x="88" y="395"/>
                  </a:lnTo>
                  <a:lnTo>
                    <a:pt x="84" y="391"/>
                  </a:lnTo>
                  <a:lnTo>
                    <a:pt x="84" y="387"/>
                  </a:lnTo>
                  <a:lnTo>
                    <a:pt x="88" y="391"/>
                  </a:lnTo>
                  <a:lnTo>
                    <a:pt x="88" y="387"/>
                  </a:lnTo>
                  <a:lnTo>
                    <a:pt x="84" y="387"/>
                  </a:lnTo>
                  <a:lnTo>
                    <a:pt x="84" y="383"/>
                  </a:lnTo>
                  <a:lnTo>
                    <a:pt x="80" y="383"/>
                  </a:lnTo>
                  <a:lnTo>
                    <a:pt x="80" y="379"/>
                  </a:lnTo>
                  <a:lnTo>
                    <a:pt x="80" y="375"/>
                  </a:lnTo>
                  <a:lnTo>
                    <a:pt x="76" y="371"/>
                  </a:lnTo>
                  <a:lnTo>
                    <a:pt x="76" y="367"/>
                  </a:lnTo>
                  <a:lnTo>
                    <a:pt x="76" y="363"/>
                  </a:lnTo>
                  <a:lnTo>
                    <a:pt x="76" y="359"/>
                  </a:lnTo>
                  <a:lnTo>
                    <a:pt x="76" y="355"/>
                  </a:lnTo>
                  <a:lnTo>
                    <a:pt x="76" y="351"/>
                  </a:lnTo>
                  <a:lnTo>
                    <a:pt x="76" y="347"/>
                  </a:lnTo>
                  <a:lnTo>
                    <a:pt x="72" y="347"/>
                  </a:lnTo>
                  <a:lnTo>
                    <a:pt x="72" y="343"/>
                  </a:lnTo>
                  <a:lnTo>
                    <a:pt x="72" y="339"/>
                  </a:lnTo>
                  <a:lnTo>
                    <a:pt x="72" y="335"/>
                  </a:lnTo>
                  <a:lnTo>
                    <a:pt x="72" y="331"/>
                  </a:lnTo>
                  <a:lnTo>
                    <a:pt x="68" y="327"/>
                  </a:lnTo>
                  <a:lnTo>
                    <a:pt x="72" y="327"/>
                  </a:lnTo>
                  <a:lnTo>
                    <a:pt x="72" y="323"/>
                  </a:lnTo>
                  <a:lnTo>
                    <a:pt x="72" y="319"/>
                  </a:lnTo>
                  <a:lnTo>
                    <a:pt x="72" y="323"/>
                  </a:lnTo>
                  <a:lnTo>
                    <a:pt x="68" y="323"/>
                  </a:lnTo>
                  <a:lnTo>
                    <a:pt x="68" y="319"/>
                  </a:lnTo>
                  <a:lnTo>
                    <a:pt x="68" y="315"/>
                  </a:lnTo>
                  <a:lnTo>
                    <a:pt x="72" y="315"/>
                  </a:lnTo>
                  <a:lnTo>
                    <a:pt x="72" y="319"/>
                  </a:lnTo>
                  <a:lnTo>
                    <a:pt x="72" y="315"/>
                  </a:lnTo>
                  <a:lnTo>
                    <a:pt x="68" y="315"/>
                  </a:lnTo>
                  <a:lnTo>
                    <a:pt x="68" y="311"/>
                  </a:lnTo>
                  <a:lnTo>
                    <a:pt x="68" y="307"/>
                  </a:lnTo>
                  <a:lnTo>
                    <a:pt x="68" y="303"/>
                  </a:lnTo>
                  <a:lnTo>
                    <a:pt x="68" y="299"/>
                  </a:lnTo>
                  <a:lnTo>
                    <a:pt x="68" y="295"/>
                  </a:lnTo>
                  <a:lnTo>
                    <a:pt x="72" y="295"/>
                  </a:lnTo>
                  <a:lnTo>
                    <a:pt x="72" y="288"/>
                  </a:lnTo>
                  <a:lnTo>
                    <a:pt x="68" y="288"/>
                  </a:lnTo>
                  <a:lnTo>
                    <a:pt x="68" y="284"/>
                  </a:lnTo>
                  <a:lnTo>
                    <a:pt x="68" y="280"/>
                  </a:lnTo>
                  <a:lnTo>
                    <a:pt x="64" y="280"/>
                  </a:lnTo>
                  <a:lnTo>
                    <a:pt x="64" y="276"/>
                  </a:lnTo>
                  <a:lnTo>
                    <a:pt x="68" y="276"/>
                  </a:lnTo>
                  <a:lnTo>
                    <a:pt x="64" y="276"/>
                  </a:lnTo>
                  <a:lnTo>
                    <a:pt x="68" y="276"/>
                  </a:lnTo>
                  <a:lnTo>
                    <a:pt x="68" y="272"/>
                  </a:lnTo>
                  <a:lnTo>
                    <a:pt x="72" y="272"/>
                  </a:lnTo>
                  <a:lnTo>
                    <a:pt x="76" y="272"/>
                  </a:lnTo>
                  <a:lnTo>
                    <a:pt x="72" y="272"/>
                  </a:lnTo>
                  <a:lnTo>
                    <a:pt x="68" y="272"/>
                  </a:lnTo>
                  <a:lnTo>
                    <a:pt x="64" y="272"/>
                  </a:lnTo>
                  <a:lnTo>
                    <a:pt x="64" y="268"/>
                  </a:lnTo>
                  <a:lnTo>
                    <a:pt x="68" y="268"/>
                  </a:lnTo>
                  <a:lnTo>
                    <a:pt x="64" y="268"/>
                  </a:lnTo>
                  <a:lnTo>
                    <a:pt x="64" y="264"/>
                  </a:lnTo>
                  <a:lnTo>
                    <a:pt x="68" y="260"/>
                  </a:lnTo>
                  <a:lnTo>
                    <a:pt x="68" y="264"/>
                  </a:lnTo>
                  <a:lnTo>
                    <a:pt x="68" y="260"/>
                  </a:lnTo>
                  <a:lnTo>
                    <a:pt x="72" y="260"/>
                  </a:lnTo>
                  <a:lnTo>
                    <a:pt x="68" y="260"/>
                  </a:lnTo>
                  <a:lnTo>
                    <a:pt x="64" y="260"/>
                  </a:lnTo>
                  <a:lnTo>
                    <a:pt x="60" y="260"/>
                  </a:lnTo>
                  <a:lnTo>
                    <a:pt x="60" y="264"/>
                  </a:lnTo>
                  <a:lnTo>
                    <a:pt x="60" y="268"/>
                  </a:lnTo>
                  <a:lnTo>
                    <a:pt x="56" y="268"/>
                  </a:lnTo>
                  <a:lnTo>
                    <a:pt x="60" y="268"/>
                  </a:lnTo>
                  <a:lnTo>
                    <a:pt x="56" y="268"/>
                  </a:lnTo>
                  <a:lnTo>
                    <a:pt x="56" y="272"/>
                  </a:lnTo>
                  <a:lnTo>
                    <a:pt x="60" y="268"/>
                  </a:lnTo>
                  <a:lnTo>
                    <a:pt x="60" y="272"/>
                  </a:lnTo>
                  <a:lnTo>
                    <a:pt x="60" y="276"/>
                  </a:lnTo>
                  <a:lnTo>
                    <a:pt x="60" y="280"/>
                  </a:lnTo>
                  <a:lnTo>
                    <a:pt x="56" y="280"/>
                  </a:lnTo>
                  <a:lnTo>
                    <a:pt x="56" y="284"/>
                  </a:lnTo>
                  <a:lnTo>
                    <a:pt x="52" y="284"/>
                  </a:lnTo>
                  <a:lnTo>
                    <a:pt x="48" y="288"/>
                  </a:lnTo>
                  <a:lnTo>
                    <a:pt x="44" y="288"/>
                  </a:lnTo>
                  <a:lnTo>
                    <a:pt x="40" y="292"/>
                  </a:lnTo>
                  <a:lnTo>
                    <a:pt x="36" y="288"/>
                  </a:lnTo>
                  <a:lnTo>
                    <a:pt x="32" y="288"/>
                  </a:lnTo>
                  <a:lnTo>
                    <a:pt x="32" y="284"/>
                  </a:lnTo>
                  <a:lnTo>
                    <a:pt x="28" y="284"/>
                  </a:lnTo>
                  <a:lnTo>
                    <a:pt x="28" y="280"/>
                  </a:lnTo>
                  <a:lnTo>
                    <a:pt x="24" y="280"/>
                  </a:lnTo>
                  <a:lnTo>
                    <a:pt x="24" y="276"/>
                  </a:lnTo>
                  <a:lnTo>
                    <a:pt x="20" y="272"/>
                  </a:lnTo>
                  <a:lnTo>
                    <a:pt x="16" y="268"/>
                  </a:lnTo>
                  <a:lnTo>
                    <a:pt x="12" y="264"/>
                  </a:lnTo>
                  <a:lnTo>
                    <a:pt x="12" y="260"/>
                  </a:lnTo>
                  <a:lnTo>
                    <a:pt x="12" y="256"/>
                  </a:lnTo>
                  <a:lnTo>
                    <a:pt x="12" y="260"/>
                  </a:lnTo>
                  <a:lnTo>
                    <a:pt x="16" y="260"/>
                  </a:lnTo>
                  <a:lnTo>
                    <a:pt x="12" y="260"/>
                  </a:lnTo>
                  <a:lnTo>
                    <a:pt x="16" y="260"/>
                  </a:lnTo>
                  <a:lnTo>
                    <a:pt x="20" y="260"/>
                  </a:lnTo>
                  <a:lnTo>
                    <a:pt x="24" y="260"/>
                  </a:lnTo>
                  <a:lnTo>
                    <a:pt x="24" y="256"/>
                  </a:lnTo>
                  <a:lnTo>
                    <a:pt x="28" y="256"/>
                  </a:lnTo>
                  <a:lnTo>
                    <a:pt x="32" y="252"/>
                  </a:lnTo>
                  <a:lnTo>
                    <a:pt x="32" y="248"/>
                  </a:lnTo>
                  <a:lnTo>
                    <a:pt x="36" y="248"/>
                  </a:lnTo>
                  <a:lnTo>
                    <a:pt x="36" y="244"/>
                  </a:lnTo>
                  <a:lnTo>
                    <a:pt x="32" y="244"/>
                  </a:lnTo>
                  <a:lnTo>
                    <a:pt x="32" y="248"/>
                  </a:lnTo>
                  <a:lnTo>
                    <a:pt x="24" y="248"/>
                  </a:lnTo>
                  <a:lnTo>
                    <a:pt x="24" y="252"/>
                  </a:lnTo>
                  <a:lnTo>
                    <a:pt x="20" y="252"/>
                  </a:lnTo>
                  <a:lnTo>
                    <a:pt x="16" y="252"/>
                  </a:lnTo>
                  <a:lnTo>
                    <a:pt x="16" y="248"/>
                  </a:lnTo>
                  <a:lnTo>
                    <a:pt x="12" y="248"/>
                  </a:lnTo>
                  <a:lnTo>
                    <a:pt x="8" y="248"/>
                  </a:lnTo>
                  <a:lnTo>
                    <a:pt x="8" y="244"/>
                  </a:lnTo>
                  <a:lnTo>
                    <a:pt x="4" y="240"/>
                  </a:lnTo>
                  <a:lnTo>
                    <a:pt x="4" y="236"/>
                  </a:lnTo>
                  <a:lnTo>
                    <a:pt x="4" y="232"/>
                  </a:lnTo>
                  <a:lnTo>
                    <a:pt x="8" y="232"/>
                  </a:lnTo>
                  <a:lnTo>
                    <a:pt x="4" y="232"/>
                  </a:lnTo>
                  <a:lnTo>
                    <a:pt x="0" y="236"/>
                  </a:lnTo>
                  <a:lnTo>
                    <a:pt x="0" y="232"/>
                  </a:lnTo>
                  <a:close/>
                  <a:moveTo>
                    <a:pt x="303" y="268"/>
                  </a:moveTo>
                  <a:lnTo>
                    <a:pt x="303" y="272"/>
                  </a:lnTo>
                  <a:lnTo>
                    <a:pt x="299" y="272"/>
                  </a:lnTo>
                  <a:lnTo>
                    <a:pt x="299" y="268"/>
                  </a:lnTo>
                  <a:lnTo>
                    <a:pt x="303" y="268"/>
                  </a:lnTo>
                  <a:close/>
                  <a:moveTo>
                    <a:pt x="371" y="451"/>
                  </a:moveTo>
                  <a:lnTo>
                    <a:pt x="371" y="447"/>
                  </a:lnTo>
                  <a:lnTo>
                    <a:pt x="375" y="447"/>
                  </a:lnTo>
                  <a:lnTo>
                    <a:pt x="371" y="451"/>
                  </a:lnTo>
                  <a:close/>
                  <a:moveTo>
                    <a:pt x="371" y="463"/>
                  </a:moveTo>
                  <a:lnTo>
                    <a:pt x="367" y="463"/>
                  </a:lnTo>
                  <a:lnTo>
                    <a:pt x="371" y="463"/>
                  </a:lnTo>
                  <a:close/>
                  <a:moveTo>
                    <a:pt x="371" y="503"/>
                  </a:moveTo>
                  <a:lnTo>
                    <a:pt x="371" y="507"/>
                  </a:lnTo>
                  <a:lnTo>
                    <a:pt x="371" y="503"/>
                  </a:lnTo>
                  <a:close/>
                  <a:moveTo>
                    <a:pt x="72" y="519"/>
                  </a:moveTo>
                  <a:lnTo>
                    <a:pt x="72" y="523"/>
                  </a:lnTo>
                  <a:lnTo>
                    <a:pt x="72" y="519"/>
                  </a:lnTo>
                  <a:close/>
                  <a:moveTo>
                    <a:pt x="383" y="523"/>
                  </a:moveTo>
                  <a:lnTo>
                    <a:pt x="383" y="527"/>
                  </a:lnTo>
                  <a:lnTo>
                    <a:pt x="383" y="523"/>
                  </a:lnTo>
                  <a:close/>
                  <a:moveTo>
                    <a:pt x="379" y="527"/>
                  </a:moveTo>
                  <a:lnTo>
                    <a:pt x="383" y="527"/>
                  </a:lnTo>
                  <a:lnTo>
                    <a:pt x="379" y="527"/>
                  </a:lnTo>
                  <a:close/>
                  <a:moveTo>
                    <a:pt x="387" y="539"/>
                  </a:moveTo>
                  <a:lnTo>
                    <a:pt x="383" y="539"/>
                  </a:lnTo>
                  <a:lnTo>
                    <a:pt x="387" y="539"/>
                  </a:lnTo>
                  <a:lnTo>
                    <a:pt x="387" y="535"/>
                  </a:lnTo>
                  <a:lnTo>
                    <a:pt x="387" y="539"/>
                  </a:lnTo>
                  <a:close/>
                  <a:moveTo>
                    <a:pt x="371" y="435"/>
                  </a:moveTo>
                  <a:lnTo>
                    <a:pt x="371" y="431"/>
                  </a:lnTo>
                  <a:lnTo>
                    <a:pt x="371" y="427"/>
                  </a:lnTo>
                  <a:lnTo>
                    <a:pt x="375" y="427"/>
                  </a:lnTo>
                  <a:lnTo>
                    <a:pt x="375" y="423"/>
                  </a:lnTo>
                  <a:lnTo>
                    <a:pt x="375" y="427"/>
                  </a:lnTo>
                  <a:lnTo>
                    <a:pt x="375" y="431"/>
                  </a:lnTo>
                  <a:lnTo>
                    <a:pt x="375" y="435"/>
                  </a:lnTo>
                  <a:lnTo>
                    <a:pt x="375" y="431"/>
                  </a:lnTo>
                  <a:lnTo>
                    <a:pt x="371" y="435"/>
                  </a:lnTo>
                  <a:close/>
                  <a:moveTo>
                    <a:pt x="371" y="447"/>
                  </a:moveTo>
                  <a:lnTo>
                    <a:pt x="371" y="443"/>
                  </a:lnTo>
                  <a:lnTo>
                    <a:pt x="371" y="439"/>
                  </a:lnTo>
                  <a:lnTo>
                    <a:pt x="371" y="435"/>
                  </a:lnTo>
                  <a:lnTo>
                    <a:pt x="375" y="435"/>
                  </a:lnTo>
                  <a:lnTo>
                    <a:pt x="375" y="439"/>
                  </a:lnTo>
                  <a:lnTo>
                    <a:pt x="375" y="443"/>
                  </a:lnTo>
                  <a:lnTo>
                    <a:pt x="371" y="443"/>
                  </a:lnTo>
                  <a:lnTo>
                    <a:pt x="371" y="447"/>
                  </a:lnTo>
                  <a:lnTo>
                    <a:pt x="375" y="447"/>
                  </a:lnTo>
                  <a:lnTo>
                    <a:pt x="371" y="447"/>
                  </a:lnTo>
                  <a:close/>
                  <a:moveTo>
                    <a:pt x="371" y="451"/>
                  </a:moveTo>
                  <a:lnTo>
                    <a:pt x="371" y="455"/>
                  </a:lnTo>
                  <a:lnTo>
                    <a:pt x="371" y="459"/>
                  </a:lnTo>
                  <a:lnTo>
                    <a:pt x="371" y="463"/>
                  </a:lnTo>
                  <a:lnTo>
                    <a:pt x="367" y="459"/>
                  </a:lnTo>
                  <a:lnTo>
                    <a:pt x="367" y="455"/>
                  </a:lnTo>
                  <a:lnTo>
                    <a:pt x="371" y="455"/>
                  </a:lnTo>
                  <a:lnTo>
                    <a:pt x="371" y="451"/>
                  </a:lnTo>
                  <a:lnTo>
                    <a:pt x="371" y="447"/>
                  </a:lnTo>
                  <a:lnTo>
                    <a:pt x="371" y="451"/>
                  </a:lnTo>
                  <a:lnTo>
                    <a:pt x="371" y="447"/>
                  </a:lnTo>
                  <a:lnTo>
                    <a:pt x="371" y="451"/>
                  </a:lnTo>
                  <a:close/>
                  <a:moveTo>
                    <a:pt x="367" y="475"/>
                  </a:moveTo>
                  <a:lnTo>
                    <a:pt x="367" y="479"/>
                  </a:lnTo>
                  <a:lnTo>
                    <a:pt x="363" y="479"/>
                  </a:lnTo>
                  <a:lnTo>
                    <a:pt x="363" y="475"/>
                  </a:lnTo>
                  <a:lnTo>
                    <a:pt x="367" y="475"/>
                  </a:lnTo>
                  <a:lnTo>
                    <a:pt x="367" y="471"/>
                  </a:lnTo>
                  <a:lnTo>
                    <a:pt x="367" y="475"/>
                  </a:lnTo>
                  <a:close/>
                  <a:moveTo>
                    <a:pt x="387" y="543"/>
                  </a:moveTo>
                  <a:lnTo>
                    <a:pt x="387" y="547"/>
                  </a:lnTo>
                  <a:lnTo>
                    <a:pt x="387" y="551"/>
                  </a:lnTo>
                  <a:lnTo>
                    <a:pt x="387" y="547"/>
                  </a:lnTo>
                  <a:lnTo>
                    <a:pt x="387" y="543"/>
                  </a:lnTo>
                  <a:lnTo>
                    <a:pt x="383" y="543"/>
                  </a:lnTo>
                  <a:lnTo>
                    <a:pt x="387" y="539"/>
                  </a:lnTo>
                  <a:lnTo>
                    <a:pt x="387" y="5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" name="Freeform 17"/>
            <p:cNvSpPr>
              <a:spLocks noEditPoints="1"/>
            </p:cNvSpPr>
            <p:nvPr>
              <p:custDataLst>
                <p:tags r:id="rId213"/>
              </p:custDataLst>
            </p:nvPr>
          </p:nvSpPr>
          <p:spPr bwMode="gray">
            <a:xfrm>
              <a:off x="6511673" y="4432818"/>
              <a:ext cx="1029246" cy="461232"/>
            </a:xfrm>
            <a:custGeom>
              <a:avLst/>
              <a:gdLst/>
              <a:ahLst/>
              <a:cxnLst>
                <a:cxn ang="0">
                  <a:pos x="462" y="44"/>
                </a:cxn>
                <a:cxn ang="0">
                  <a:pos x="486" y="120"/>
                </a:cxn>
                <a:cxn ang="0">
                  <a:pos x="590" y="219"/>
                </a:cxn>
                <a:cxn ang="0">
                  <a:pos x="546" y="243"/>
                </a:cxn>
                <a:cxn ang="0">
                  <a:pos x="139" y="136"/>
                </a:cxn>
                <a:cxn ang="0">
                  <a:pos x="163" y="215"/>
                </a:cxn>
                <a:cxn ang="0">
                  <a:pos x="103" y="175"/>
                </a:cxn>
                <a:cxn ang="0">
                  <a:pos x="51" y="76"/>
                </a:cxn>
                <a:cxn ang="0">
                  <a:pos x="24" y="16"/>
                </a:cxn>
                <a:cxn ang="0">
                  <a:pos x="83" y="72"/>
                </a:cxn>
                <a:cxn ang="0">
                  <a:pos x="131" y="104"/>
                </a:cxn>
                <a:cxn ang="0">
                  <a:pos x="267" y="80"/>
                </a:cxn>
                <a:cxn ang="0">
                  <a:pos x="339" y="32"/>
                </a:cxn>
                <a:cxn ang="0">
                  <a:pos x="359" y="96"/>
                </a:cxn>
                <a:cxn ang="0">
                  <a:pos x="323" y="148"/>
                </a:cxn>
                <a:cxn ang="0">
                  <a:pos x="279" y="167"/>
                </a:cxn>
                <a:cxn ang="0">
                  <a:pos x="223" y="140"/>
                </a:cxn>
                <a:cxn ang="0">
                  <a:pos x="195" y="40"/>
                </a:cxn>
                <a:cxn ang="0">
                  <a:pos x="506" y="64"/>
                </a:cxn>
                <a:cxn ang="0">
                  <a:pos x="490" y="92"/>
                </a:cxn>
                <a:cxn ang="0">
                  <a:pos x="498" y="120"/>
                </a:cxn>
                <a:cxn ang="0">
                  <a:pos x="410" y="171"/>
                </a:cxn>
                <a:cxn ang="0">
                  <a:pos x="379" y="167"/>
                </a:cxn>
                <a:cxn ang="0">
                  <a:pos x="363" y="175"/>
                </a:cxn>
                <a:cxn ang="0">
                  <a:pos x="375" y="112"/>
                </a:cxn>
                <a:cxn ang="0">
                  <a:pos x="438" y="92"/>
                </a:cxn>
                <a:cxn ang="0">
                  <a:pos x="391" y="100"/>
                </a:cxn>
                <a:cxn ang="0">
                  <a:pos x="426" y="124"/>
                </a:cxn>
                <a:cxn ang="0">
                  <a:pos x="143" y="88"/>
                </a:cxn>
                <a:cxn ang="0">
                  <a:pos x="135" y="96"/>
                </a:cxn>
                <a:cxn ang="0">
                  <a:pos x="534" y="116"/>
                </a:cxn>
                <a:cxn ang="0">
                  <a:pos x="143" y="116"/>
                </a:cxn>
                <a:cxn ang="0">
                  <a:pos x="634" y="199"/>
                </a:cxn>
                <a:cxn ang="0">
                  <a:pos x="574" y="183"/>
                </a:cxn>
                <a:cxn ang="0">
                  <a:pos x="558" y="148"/>
                </a:cxn>
                <a:cxn ang="0">
                  <a:pos x="590" y="156"/>
                </a:cxn>
                <a:cxn ang="0">
                  <a:pos x="650" y="136"/>
                </a:cxn>
                <a:cxn ang="0">
                  <a:pos x="678" y="259"/>
                </a:cxn>
                <a:cxn ang="0">
                  <a:pos x="614" y="124"/>
                </a:cxn>
                <a:cxn ang="0">
                  <a:pos x="215" y="128"/>
                </a:cxn>
                <a:cxn ang="0">
                  <a:pos x="163" y="152"/>
                </a:cxn>
                <a:cxn ang="0">
                  <a:pos x="630" y="144"/>
                </a:cxn>
                <a:cxn ang="0">
                  <a:pos x="470" y="144"/>
                </a:cxn>
                <a:cxn ang="0">
                  <a:pos x="79" y="167"/>
                </a:cxn>
                <a:cxn ang="0">
                  <a:pos x="526" y="164"/>
                </a:cxn>
                <a:cxn ang="0">
                  <a:pos x="315" y="171"/>
                </a:cxn>
                <a:cxn ang="0">
                  <a:pos x="418" y="207"/>
                </a:cxn>
                <a:cxn ang="0">
                  <a:pos x="111" y="211"/>
                </a:cxn>
                <a:cxn ang="0">
                  <a:pos x="191" y="247"/>
                </a:cxn>
                <a:cxn ang="0">
                  <a:pos x="191" y="223"/>
                </a:cxn>
                <a:cxn ang="0">
                  <a:pos x="267" y="243"/>
                </a:cxn>
                <a:cxn ang="0">
                  <a:pos x="243" y="259"/>
                </a:cxn>
                <a:cxn ang="0">
                  <a:pos x="287" y="235"/>
                </a:cxn>
                <a:cxn ang="0">
                  <a:pos x="650" y="263"/>
                </a:cxn>
                <a:cxn ang="0">
                  <a:pos x="414" y="271"/>
                </a:cxn>
                <a:cxn ang="0">
                  <a:pos x="418" y="263"/>
                </a:cxn>
                <a:cxn ang="0">
                  <a:pos x="347" y="259"/>
                </a:cxn>
                <a:cxn ang="0">
                  <a:pos x="319" y="271"/>
                </a:cxn>
                <a:cxn ang="0">
                  <a:pos x="375" y="279"/>
                </a:cxn>
                <a:cxn ang="0">
                  <a:pos x="422" y="311"/>
                </a:cxn>
                <a:cxn ang="0">
                  <a:pos x="426" y="267"/>
                </a:cxn>
                <a:cxn ang="0">
                  <a:pos x="442" y="279"/>
                </a:cxn>
              </a:cxnLst>
              <a:rect l="0" t="0" r="r" b="b"/>
              <a:pathLst>
                <a:path w="694" h="311">
                  <a:moveTo>
                    <a:pt x="123" y="100"/>
                  </a:moveTo>
                  <a:lnTo>
                    <a:pt x="119" y="100"/>
                  </a:lnTo>
                  <a:lnTo>
                    <a:pt x="119" y="96"/>
                  </a:lnTo>
                  <a:lnTo>
                    <a:pt x="123" y="96"/>
                  </a:lnTo>
                  <a:lnTo>
                    <a:pt x="123" y="100"/>
                  </a:lnTo>
                  <a:close/>
                  <a:moveTo>
                    <a:pt x="494" y="167"/>
                  </a:moveTo>
                  <a:lnTo>
                    <a:pt x="490" y="167"/>
                  </a:lnTo>
                  <a:lnTo>
                    <a:pt x="494" y="167"/>
                  </a:lnTo>
                  <a:close/>
                  <a:moveTo>
                    <a:pt x="323" y="171"/>
                  </a:moveTo>
                  <a:lnTo>
                    <a:pt x="323" y="175"/>
                  </a:lnTo>
                  <a:lnTo>
                    <a:pt x="319" y="175"/>
                  </a:lnTo>
                  <a:lnTo>
                    <a:pt x="323" y="171"/>
                  </a:lnTo>
                  <a:close/>
                  <a:moveTo>
                    <a:pt x="478" y="36"/>
                  </a:moveTo>
                  <a:lnTo>
                    <a:pt x="478" y="32"/>
                  </a:lnTo>
                  <a:lnTo>
                    <a:pt x="478" y="28"/>
                  </a:lnTo>
                  <a:lnTo>
                    <a:pt x="482" y="32"/>
                  </a:lnTo>
                  <a:lnTo>
                    <a:pt x="478" y="32"/>
                  </a:lnTo>
                  <a:lnTo>
                    <a:pt x="478" y="36"/>
                  </a:lnTo>
                  <a:close/>
                  <a:moveTo>
                    <a:pt x="343" y="32"/>
                  </a:moveTo>
                  <a:lnTo>
                    <a:pt x="343" y="36"/>
                  </a:lnTo>
                  <a:lnTo>
                    <a:pt x="347" y="36"/>
                  </a:lnTo>
                  <a:lnTo>
                    <a:pt x="343" y="36"/>
                  </a:lnTo>
                  <a:lnTo>
                    <a:pt x="343" y="32"/>
                  </a:lnTo>
                  <a:close/>
                  <a:moveTo>
                    <a:pt x="339" y="36"/>
                  </a:moveTo>
                  <a:lnTo>
                    <a:pt x="343" y="36"/>
                  </a:lnTo>
                  <a:lnTo>
                    <a:pt x="339" y="36"/>
                  </a:lnTo>
                  <a:close/>
                  <a:moveTo>
                    <a:pt x="478" y="40"/>
                  </a:moveTo>
                  <a:lnTo>
                    <a:pt x="474" y="36"/>
                  </a:lnTo>
                  <a:lnTo>
                    <a:pt x="478" y="36"/>
                  </a:lnTo>
                  <a:lnTo>
                    <a:pt x="478" y="40"/>
                  </a:lnTo>
                  <a:close/>
                  <a:moveTo>
                    <a:pt x="466" y="48"/>
                  </a:moveTo>
                  <a:lnTo>
                    <a:pt x="462" y="48"/>
                  </a:lnTo>
                  <a:lnTo>
                    <a:pt x="462" y="44"/>
                  </a:lnTo>
                  <a:lnTo>
                    <a:pt x="462" y="40"/>
                  </a:lnTo>
                  <a:lnTo>
                    <a:pt x="462" y="44"/>
                  </a:lnTo>
                  <a:lnTo>
                    <a:pt x="466" y="48"/>
                  </a:lnTo>
                  <a:close/>
                  <a:moveTo>
                    <a:pt x="335" y="44"/>
                  </a:moveTo>
                  <a:lnTo>
                    <a:pt x="339" y="48"/>
                  </a:lnTo>
                  <a:lnTo>
                    <a:pt x="335" y="48"/>
                  </a:lnTo>
                  <a:lnTo>
                    <a:pt x="335" y="44"/>
                  </a:lnTo>
                  <a:close/>
                  <a:moveTo>
                    <a:pt x="339" y="48"/>
                  </a:moveTo>
                  <a:lnTo>
                    <a:pt x="343" y="48"/>
                  </a:lnTo>
                  <a:lnTo>
                    <a:pt x="339" y="52"/>
                  </a:lnTo>
                  <a:lnTo>
                    <a:pt x="339" y="48"/>
                  </a:lnTo>
                  <a:close/>
                  <a:moveTo>
                    <a:pt x="522" y="116"/>
                  </a:moveTo>
                  <a:lnTo>
                    <a:pt x="518" y="112"/>
                  </a:lnTo>
                  <a:lnTo>
                    <a:pt x="518" y="108"/>
                  </a:lnTo>
                  <a:lnTo>
                    <a:pt x="522" y="112"/>
                  </a:lnTo>
                  <a:lnTo>
                    <a:pt x="522" y="116"/>
                  </a:lnTo>
                  <a:close/>
                  <a:moveTo>
                    <a:pt x="131" y="116"/>
                  </a:moveTo>
                  <a:lnTo>
                    <a:pt x="127" y="116"/>
                  </a:lnTo>
                  <a:lnTo>
                    <a:pt x="131" y="116"/>
                  </a:lnTo>
                  <a:close/>
                  <a:moveTo>
                    <a:pt x="486" y="116"/>
                  </a:moveTo>
                  <a:lnTo>
                    <a:pt x="486" y="120"/>
                  </a:lnTo>
                  <a:lnTo>
                    <a:pt x="482" y="120"/>
                  </a:lnTo>
                  <a:lnTo>
                    <a:pt x="482" y="116"/>
                  </a:lnTo>
                  <a:lnTo>
                    <a:pt x="486" y="116"/>
                  </a:lnTo>
                  <a:close/>
                  <a:moveTo>
                    <a:pt x="406" y="116"/>
                  </a:moveTo>
                  <a:lnTo>
                    <a:pt x="402" y="116"/>
                  </a:lnTo>
                  <a:lnTo>
                    <a:pt x="406" y="116"/>
                  </a:lnTo>
                  <a:close/>
                  <a:moveTo>
                    <a:pt x="406" y="120"/>
                  </a:moveTo>
                  <a:lnTo>
                    <a:pt x="402" y="120"/>
                  </a:lnTo>
                  <a:lnTo>
                    <a:pt x="402" y="116"/>
                  </a:lnTo>
                  <a:lnTo>
                    <a:pt x="406" y="116"/>
                  </a:lnTo>
                  <a:lnTo>
                    <a:pt x="406" y="120"/>
                  </a:lnTo>
                  <a:close/>
                  <a:moveTo>
                    <a:pt x="486" y="120"/>
                  </a:moveTo>
                  <a:lnTo>
                    <a:pt x="486" y="124"/>
                  </a:lnTo>
                  <a:lnTo>
                    <a:pt x="486" y="120"/>
                  </a:lnTo>
                  <a:close/>
                  <a:moveTo>
                    <a:pt x="602" y="128"/>
                  </a:moveTo>
                  <a:lnTo>
                    <a:pt x="602" y="132"/>
                  </a:lnTo>
                  <a:lnTo>
                    <a:pt x="602" y="128"/>
                  </a:lnTo>
                  <a:close/>
                  <a:moveTo>
                    <a:pt x="466" y="148"/>
                  </a:moveTo>
                  <a:lnTo>
                    <a:pt x="466" y="152"/>
                  </a:lnTo>
                  <a:lnTo>
                    <a:pt x="466" y="156"/>
                  </a:lnTo>
                  <a:lnTo>
                    <a:pt x="466" y="152"/>
                  </a:lnTo>
                  <a:lnTo>
                    <a:pt x="466" y="148"/>
                  </a:lnTo>
                  <a:close/>
                  <a:moveTo>
                    <a:pt x="506" y="175"/>
                  </a:moveTo>
                  <a:lnTo>
                    <a:pt x="510" y="175"/>
                  </a:lnTo>
                  <a:lnTo>
                    <a:pt x="506" y="175"/>
                  </a:lnTo>
                  <a:close/>
                  <a:moveTo>
                    <a:pt x="578" y="183"/>
                  </a:moveTo>
                  <a:lnTo>
                    <a:pt x="578" y="187"/>
                  </a:lnTo>
                  <a:lnTo>
                    <a:pt x="582" y="187"/>
                  </a:lnTo>
                  <a:lnTo>
                    <a:pt x="578" y="187"/>
                  </a:lnTo>
                  <a:lnTo>
                    <a:pt x="578" y="183"/>
                  </a:lnTo>
                  <a:close/>
                  <a:moveTo>
                    <a:pt x="574" y="207"/>
                  </a:moveTo>
                  <a:lnTo>
                    <a:pt x="574" y="211"/>
                  </a:lnTo>
                  <a:lnTo>
                    <a:pt x="574" y="215"/>
                  </a:lnTo>
                  <a:lnTo>
                    <a:pt x="570" y="219"/>
                  </a:lnTo>
                  <a:lnTo>
                    <a:pt x="570" y="215"/>
                  </a:lnTo>
                  <a:lnTo>
                    <a:pt x="574" y="211"/>
                  </a:lnTo>
                  <a:lnTo>
                    <a:pt x="574" y="207"/>
                  </a:lnTo>
                  <a:close/>
                  <a:moveTo>
                    <a:pt x="570" y="215"/>
                  </a:moveTo>
                  <a:lnTo>
                    <a:pt x="570" y="219"/>
                  </a:lnTo>
                  <a:lnTo>
                    <a:pt x="566" y="219"/>
                  </a:lnTo>
                  <a:lnTo>
                    <a:pt x="566" y="215"/>
                  </a:lnTo>
                  <a:lnTo>
                    <a:pt x="566" y="211"/>
                  </a:lnTo>
                  <a:lnTo>
                    <a:pt x="570" y="211"/>
                  </a:lnTo>
                  <a:lnTo>
                    <a:pt x="570" y="215"/>
                  </a:lnTo>
                  <a:close/>
                  <a:moveTo>
                    <a:pt x="590" y="219"/>
                  </a:moveTo>
                  <a:lnTo>
                    <a:pt x="590" y="223"/>
                  </a:lnTo>
                  <a:lnTo>
                    <a:pt x="594" y="223"/>
                  </a:lnTo>
                  <a:lnTo>
                    <a:pt x="594" y="227"/>
                  </a:lnTo>
                  <a:lnTo>
                    <a:pt x="590" y="223"/>
                  </a:lnTo>
                  <a:lnTo>
                    <a:pt x="590" y="219"/>
                  </a:lnTo>
                  <a:close/>
                  <a:moveTo>
                    <a:pt x="594" y="223"/>
                  </a:moveTo>
                  <a:lnTo>
                    <a:pt x="598" y="227"/>
                  </a:lnTo>
                  <a:lnTo>
                    <a:pt x="594" y="227"/>
                  </a:lnTo>
                  <a:lnTo>
                    <a:pt x="594" y="223"/>
                  </a:lnTo>
                  <a:close/>
                  <a:moveTo>
                    <a:pt x="602" y="223"/>
                  </a:moveTo>
                  <a:lnTo>
                    <a:pt x="602" y="227"/>
                  </a:lnTo>
                  <a:lnTo>
                    <a:pt x="602" y="223"/>
                  </a:lnTo>
                  <a:close/>
                  <a:moveTo>
                    <a:pt x="598" y="231"/>
                  </a:moveTo>
                  <a:lnTo>
                    <a:pt x="598" y="235"/>
                  </a:lnTo>
                  <a:lnTo>
                    <a:pt x="598" y="231"/>
                  </a:lnTo>
                  <a:close/>
                  <a:moveTo>
                    <a:pt x="658" y="231"/>
                  </a:moveTo>
                  <a:lnTo>
                    <a:pt x="658" y="235"/>
                  </a:lnTo>
                  <a:lnTo>
                    <a:pt x="662" y="235"/>
                  </a:lnTo>
                  <a:lnTo>
                    <a:pt x="658" y="235"/>
                  </a:lnTo>
                  <a:lnTo>
                    <a:pt x="658" y="231"/>
                  </a:lnTo>
                  <a:close/>
                  <a:moveTo>
                    <a:pt x="506" y="239"/>
                  </a:moveTo>
                  <a:lnTo>
                    <a:pt x="506" y="243"/>
                  </a:lnTo>
                  <a:lnTo>
                    <a:pt x="506" y="239"/>
                  </a:lnTo>
                  <a:close/>
                  <a:moveTo>
                    <a:pt x="558" y="239"/>
                  </a:moveTo>
                  <a:lnTo>
                    <a:pt x="558" y="243"/>
                  </a:lnTo>
                  <a:lnTo>
                    <a:pt x="558" y="239"/>
                  </a:lnTo>
                  <a:lnTo>
                    <a:pt x="554" y="239"/>
                  </a:lnTo>
                  <a:lnTo>
                    <a:pt x="558" y="239"/>
                  </a:lnTo>
                  <a:close/>
                  <a:moveTo>
                    <a:pt x="391" y="243"/>
                  </a:moveTo>
                  <a:lnTo>
                    <a:pt x="387" y="243"/>
                  </a:lnTo>
                  <a:lnTo>
                    <a:pt x="391" y="243"/>
                  </a:lnTo>
                  <a:close/>
                  <a:moveTo>
                    <a:pt x="542" y="247"/>
                  </a:moveTo>
                  <a:lnTo>
                    <a:pt x="546" y="243"/>
                  </a:lnTo>
                  <a:lnTo>
                    <a:pt x="546" y="247"/>
                  </a:lnTo>
                  <a:lnTo>
                    <a:pt x="542" y="247"/>
                  </a:lnTo>
                  <a:close/>
                  <a:moveTo>
                    <a:pt x="490" y="247"/>
                  </a:moveTo>
                  <a:lnTo>
                    <a:pt x="486" y="251"/>
                  </a:lnTo>
                  <a:lnTo>
                    <a:pt x="486" y="247"/>
                  </a:lnTo>
                  <a:lnTo>
                    <a:pt x="490" y="247"/>
                  </a:lnTo>
                  <a:close/>
                  <a:moveTo>
                    <a:pt x="538" y="263"/>
                  </a:moveTo>
                  <a:lnTo>
                    <a:pt x="542" y="259"/>
                  </a:lnTo>
                  <a:lnTo>
                    <a:pt x="546" y="259"/>
                  </a:lnTo>
                  <a:lnTo>
                    <a:pt x="542" y="259"/>
                  </a:lnTo>
                  <a:lnTo>
                    <a:pt x="542" y="263"/>
                  </a:lnTo>
                  <a:lnTo>
                    <a:pt x="538" y="263"/>
                  </a:lnTo>
                  <a:close/>
                  <a:moveTo>
                    <a:pt x="311" y="271"/>
                  </a:moveTo>
                  <a:lnTo>
                    <a:pt x="307" y="271"/>
                  </a:lnTo>
                  <a:lnTo>
                    <a:pt x="307" y="267"/>
                  </a:lnTo>
                  <a:lnTo>
                    <a:pt x="311" y="267"/>
                  </a:lnTo>
                  <a:lnTo>
                    <a:pt x="311" y="271"/>
                  </a:lnTo>
                  <a:close/>
                  <a:moveTo>
                    <a:pt x="426" y="295"/>
                  </a:moveTo>
                  <a:lnTo>
                    <a:pt x="430" y="295"/>
                  </a:lnTo>
                  <a:lnTo>
                    <a:pt x="426" y="299"/>
                  </a:lnTo>
                  <a:lnTo>
                    <a:pt x="426" y="295"/>
                  </a:lnTo>
                  <a:close/>
                  <a:moveTo>
                    <a:pt x="4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4"/>
                  </a:lnTo>
                  <a:close/>
                  <a:moveTo>
                    <a:pt x="127" y="124"/>
                  </a:moveTo>
                  <a:lnTo>
                    <a:pt x="127" y="128"/>
                  </a:lnTo>
                  <a:lnTo>
                    <a:pt x="131" y="128"/>
                  </a:lnTo>
                  <a:lnTo>
                    <a:pt x="135" y="128"/>
                  </a:lnTo>
                  <a:lnTo>
                    <a:pt x="139" y="128"/>
                  </a:lnTo>
                  <a:lnTo>
                    <a:pt x="139" y="132"/>
                  </a:lnTo>
                  <a:lnTo>
                    <a:pt x="139" y="136"/>
                  </a:lnTo>
                  <a:lnTo>
                    <a:pt x="139" y="140"/>
                  </a:lnTo>
                  <a:lnTo>
                    <a:pt x="143" y="140"/>
                  </a:lnTo>
                  <a:lnTo>
                    <a:pt x="143" y="144"/>
                  </a:lnTo>
                  <a:lnTo>
                    <a:pt x="139" y="144"/>
                  </a:lnTo>
                  <a:lnTo>
                    <a:pt x="143" y="144"/>
                  </a:lnTo>
                  <a:lnTo>
                    <a:pt x="147" y="148"/>
                  </a:lnTo>
                  <a:lnTo>
                    <a:pt x="147" y="152"/>
                  </a:lnTo>
                  <a:lnTo>
                    <a:pt x="143" y="152"/>
                  </a:lnTo>
                  <a:lnTo>
                    <a:pt x="143" y="156"/>
                  </a:lnTo>
                  <a:lnTo>
                    <a:pt x="143" y="160"/>
                  </a:lnTo>
                  <a:lnTo>
                    <a:pt x="143" y="156"/>
                  </a:lnTo>
                  <a:lnTo>
                    <a:pt x="147" y="156"/>
                  </a:lnTo>
                  <a:lnTo>
                    <a:pt x="147" y="152"/>
                  </a:lnTo>
                  <a:lnTo>
                    <a:pt x="151" y="152"/>
                  </a:lnTo>
                  <a:lnTo>
                    <a:pt x="155" y="152"/>
                  </a:lnTo>
                  <a:lnTo>
                    <a:pt x="159" y="152"/>
                  </a:lnTo>
                  <a:lnTo>
                    <a:pt x="159" y="156"/>
                  </a:lnTo>
                  <a:lnTo>
                    <a:pt x="159" y="160"/>
                  </a:lnTo>
                  <a:lnTo>
                    <a:pt x="159" y="164"/>
                  </a:lnTo>
                  <a:lnTo>
                    <a:pt x="163" y="164"/>
                  </a:lnTo>
                  <a:lnTo>
                    <a:pt x="167" y="167"/>
                  </a:lnTo>
                  <a:lnTo>
                    <a:pt x="163" y="167"/>
                  </a:lnTo>
                  <a:lnTo>
                    <a:pt x="163" y="171"/>
                  </a:lnTo>
                  <a:lnTo>
                    <a:pt x="163" y="175"/>
                  </a:lnTo>
                  <a:lnTo>
                    <a:pt x="163" y="179"/>
                  </a:lnTo>
                  <a:lnTo>
                    <a:pt x="163" y="183"/>
                  </a:lnTo>
                  <a:lnTo>
                    <a:pt x="163" y="187"/>
                  </a:lnTo>
                  <a:lnTo>
                    <a:pt x="163" y="191"/>
                  </a:lnTo>
                  <a:lnTo>
                    <a:pt x="163" y="195"/>
                  </a:lnTo>
                  <a:lnTo>
                    <a:pt x="163" y="199"/>
                  </a:lnTo>
                  <a:lnTo>
                    <a:pt x="163" y="203"/>
                  </a:lnTo>
                  <a:lnTo>
                    <a:pt x="163" y="211"/>
                  </a:lnTo>
                  <a:lnTo>
                    <a:pt x="163" y="215"/>
                  </a:lnTo>
                  <a:lnTo>
                    <a:pt x="159" y="215"/>
                  </a:lnTo>
                  <a:lnTo>
                    <a:pt x="159" y="219"/>
                  </a:lnTo>
                  <a:lnTo>
                    <a:pt x="159" y="215"/>
                  </a:lnTo>
                  <a:lnTo>
                    <a:pt x="155" y="211"/>
                  </a:lnTo>
                  <a:lnTo>
                    <a:pt x="155" y="207"/>
                  </a:lnTo>
                  <a:lnTo>
                    <a:pt x="151" y="207"/>
                  </a:lnTo>
                  <a:lnTo>
                    <a:pt x="151" y="211"/>
                  </a:lnTo>
                  <a:lnTo>
                    <a:pt x="151" y="215"/>
                  </a:lnTo>
                  <a:lnTo>
                    <a:pt x="147" y="215"/>
                  </a:lnTo>
                  <a:lnTo>
                    <a:pt x="147" y="211"/>
                  </a:lnTo>
                  <a:lnTo>
                    <a:pt x="143" y="211"/>
                  </a:lnTo>
                  <a:lnTo>
                    <a:pt x="143" y="215"/>
                  </a:lnTo>
                  <a:lnTo>
                    <a:pt x="143" y="219"/>
                  </a:lnTo>
                  <a:lnTo>
                    <a:pt x="143" y="215"/>
                  </a:lnTo>
                  <a:lnTo>
                    <a:pt x="139" y="215"/>
                  </a:lnTo>
                  <a:lnTo>
                    <a:pt x="139" y="211"/>
                  </a:lnTo>
                  <a:lnTo>
                    <a:pt x="135" y="211"/>
                  </a:lnTo>
                  <a:lnTo>
                    <a:pt x="135" y="207"/>
                  </a:lnTo>
                  <a:lnTo>
                    <a:pt x="131" y="203"/>
                  </a:lnTo>
                  <a:lnTo>
                    <a:pt x="131" y="199"/>
                  </a:lnTo>
                  <a:lnTo>
                    <a:pt x="127" y="199"/>
                  </a:lnTo>
                  <a:lnTo>
                    <a:pt x="123" y="199"/>
                  </a:lnTo>
                  <a:lnTo>
                    <a:pt x="123" y="195"/>
                  </a:lnTo>
                  <a:lnTo>
                    <a:pt x="119" y="195"/>
                  </a:lnTo>
                  <a:lnTo>
                    <a:pt x="119" y="191"/>
                  </a:lnTo>
                  <a:lnTo>
                    <a:pt x="115" y="191"/>
                  </a:lnTo>
                  <a:lnTo>
                    <a:pt x="115" y="187"/>
                  </a:lnTo>
                  <a:lnTo>
                    <a:pt x="111" y="187"/>
                  </a:lnTo>
                  <a:lnTo>
                    <a:pt x="111" y="183"/>
                  </a:lnTo>
                  <a:lnTo>
                    <a:pt x="107" y="183"/>
                  </a:lnTo>
                  <a:lnTo>
                    <a:pt x="107" y="179"/>
                  </a:lnTo>
                  <a:lnTo>
                    <a:pt x="107" y="175"/>
                  </a:lnTo>
                  <a:lnTo>
                    <a:pt x="103" y="175"/>
                  </a:lnTo>
                  <a:lnTo>
                    <a:pt x="103" y="171"/>
                  </a:lnTo>
                  <a:lnTo>
                    <a:pt x="99" y="167"/>
                  </a:lnTo>
                  <a:lnTo>
                    <a:pt x="95" y="167"/>
                  </a:lnTo>
                  <a:lnTo>
                    <a:pt x="95" y="164"/>
                  </a:lnTo>
                  <a:lnTo>
                    <a:pt x="95" y="160"/>
                  </a:lnTo>
                  <a:lnTo>
                    <a:pt x="91" y="160"/>
                  </a:lnTo>
                  <a:lnTo>
                    <a:pt x="91" y="156"/>
                  </a:lnTo>
                  <a:lnTo>
                    <a:pt x="87" y="156"/>
                  </a:lnTo>
                  <a:lnTo>
                    <a:pt x="87" y="152"/>
                  </a:lnTo>
                  <a:lnTo>
                    <a:pt x="87" y="148"/>
                  </a:lnTo>
                  <a:lnTo>
                    <a:pt x="87" y="144"/>
                  </a:lnTo>
                  <a:lnTo>
                    <a:pt x="83" y="140"/>
                  </a:lnTo>
                  <a:lnTo>
                    <a:pt x="83" y="136"/>
                  </a:lnTo>
                  <a:lnTo>
                    <a:pt x="79" y="132"/>
                  </a:lnTo>
                  <a:lnTo>
                    <a:pt x="79" y="128"/>
                  </a:lnTo>
                  <a:lnTo>
                    <a:pt x="79" y="124"/>
                  </a:lnTo>
                  <a:lnTo>
                    <a:pt x="75" y="124"/>
                  </a:lnTo>
                  <a:lnTo>
                    <a:pt x="75" y="120"/>
                  </a:lnTo>
                  <a:lnTo>
                    <a:pt x="71" y="120"/>
                  </a:lnTo>
                  <a:lnTo>
                    <a:pt x="71" y="116"/>
                  </a:lnTo>
                  <a:lnTo>
                    <a:pt x="71" y="112"/>
                  </a:lnTo>
                  <a:lnTo>
                    <a:pt x="67" y="108"/>
                  </a:lnTo>
                  <a:lnTo>
                    <a:pt x="63" y="104"/>
                  </a:lnTo>
                  <a:lnTo>
                    <a:pt x="63" y="108"/>
                  </a:lnTo>
                  <a:lnTo>
                    <a:pt x="59" y="104"/>
                  </a:lnTo>
                  <a:lnTo>
                    <a:pt x="59" y="100"/>
                  </a:lnTo>
                  <a:lnTo>
                    <a:pt x="59" y="96"/>
                  </a:lnTo>
                  <a:lnTo>
                    <a:pt x="59" y="92"/>
                  </a:lnTo>
                  <a:lnTo>
                    <a:pt x="55" y="88"/>
                  </a:lnTo>
                  <a:lnTo>
                    <a:pt x="55" y="84"/>
                  </a:lnTo>
                  <a:lnTo>
                    <a:pt x="55" y="80"/>
                  </a:lnTo>
                  <a:lnTo>
                    <a:pt x="55" y="76"/>
                  </a:lnTo>
                  <a:lnTo>
                    <a:pt x="51" y="76"/>
                  </a:lnTo>
                  <a:lnTo>
                    <a:pt x="51" y="72"/>
                  </a:lnTo>
                  <a:lnTo>
                    <a:pt x="47" y="72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56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28" y="48"/>
                  </a:lnTo>
                  <a:lnTo>
                    <a:pt x="28" y="44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7" y="28"/>
                  </a:lnTo>
                  <a:lnTo>
                    <a:pt x="47" y="32"/>
                  </a:lnTo>
                  <a:lnTo>
                    <a:pt x="47" y="36"/>
                  </a:lnTo>
                  <a:lnTo>
                    <a:pt x="51" y="36"/>
                  </a:lnTo>
                  <a:lnTo>
                    <a:pt x="51" y="40"/>
                  </a:lnTo>
                  <a:lnTo>
                    <a:pt x="55" y="40"/>
                  </a:lnTo>
                  <a:lnTo>
                    <a:pt x="55" y="44"/>
                  </a:lnTo>
                  <a:lnTo>
                    <a:pt x="59" y="44"/>
                  </a:lnTo>
                  <a:lnTo>
                    <a:pt x="63" y="44"/>
                  </a:lnTo>
                  <a:lnTo>
                    <a:pt x="67" y="52"/>
                  </a:lnTo>
                  <a:lnTo>
                    <a:pt x="71" y="52"/>
                  </a:lnTo>
                  <a:lnTo>
                    <a:pt x="71" y="56"/>
                  </a:lnTo>
                  <a:lnTo>
                    <a:pt x="71" y="60"/>
                  </a:lnTo>
                  <a:lnTo>
                    <a:pt x="75" y="64"/>
                  </a:lnTo>
                  <a:lnTo>
                    <a:pt x="75" y="60"/>
                  </a:lnTo>
                  <a:lnTo>
                    <a:pt x="71" y="60"/>
                  </a:lnTo>
                  <a:lnTo>
                    <a:pt x="75" y="60"/>
                  </a:lnTo>
                  <a:lnTo>
                    <a:pt x="75" y="64"/>
                  </a:lnTo>
                  <a:lnTo>
                    <a:pt x="75" y="60"/>
                  </a:lnTo>
                  <a:lnTo>
                    <a:pt x="79" y="64"/>
                  </a:lnTo>
                  <a:lnTo>
                    <a:pt x="79" y="68"/>
                  </a:lnTo>
                  <a:lnTo>
                    <a:pt x="83" y="72"/>
                  </a:lnTo>
                  <a:lnTo>
                    <a:pt x="87" y="72"/>
                  </a:lnTo>
                  <a:lnTo>
                    <a:pt x="87" y="76"/>
                  </a:lnTo>
                  <a:lnTo>
                    <a:pt x="87" y="72"/>
                  </a:lnTo>
                  <a:lnTo>
                    <a:pt x="87" y="68"/>
                  </a:lnTo>
                  <a:lnTo>
                    <a:pt x="91" y="68"/>
                  </a:lnTo>
                  <a:lnTo>
                    <a:pt x="87" y="68"/>
                  </a:lnTo>
                  <a:lnTo>
                    <a:pt x="91" y="68"/>
                  </a:lnTo>
                  <a:lnTo>
                    <a:pt x="91" y="72"/>
                  </a:lnTo>
                  <a:lnTo>
                    <a:pt x="95" y="72"/>
                  </a:lnTo>
                  <a:lnTo>
                    <a:pt x="95" y="76"/>
                  </a:lnTo>
                  <a:lnTo>
                    <a:pt x="95" y="80"/>
                  </a:lnTo>
                  <a:lnTo>
                    <a:pt x="99" y="80"/>
                  </a:lnTo>
                  <a:lnTo>
                    <a:pt x="103" y="80"/>
                  </a:lnTo>
                  <a:lnTo>
                    <a:pt x="103" y="84"/>
                  </a:lnTo>
                  <a:lnTo>
                    <a:pt x="107" y="84"/>
                  </a:lnTo>
                  <a:lnTo>
                    <a:pt x="107" y="88"/>
                  </a:lnTo>
                  <a:lnTo>
                    <a:pt x="107" y="92"/>
                  </a:lnTo>
                  <a:lnTo>
                    <a:pt x="111" y="96"/>
                  </a:lnTo>
                  <a:lnTo>
                    <a:pt x="115" y="96"/>
                  </a:lnTo>
                  <a:lnTo>
                    <a:pt x="119" y="96"/>
                  </a:lnTo>
                  <a:lnTo>
                    <a:pt x="119" y="100"/>
                  </a:lnTo>
                  <a:lnTo>
                    <a:pt x="119" y="104"/>
                  </a:lnTo>
                  <a:lnTo>
                    <a:pt x="115" y="104"/>
                  </a:lnTo>
                  <a:lnTo>
                    <a:pt x="111" y="108"/>
                  </a:lnTo>
                  <a:lnTo>
                    <a:pt x="111" y="104"/>
                  </a:lnTo>
                  <a:lnTo>
                    <a:pt x="111" y="108"/>
                  </a:lnTo>
                  <a:lnTo>
                    <a:pt x="115" y="108"/>
                  </a:lnTo>
                  <a:lnTo>
                    <a:pt x="115" y="104"/>
                  </a:lnTo>
                  <a:lnTo>
                    <a:pt x="119" y="104"/>
                  </a:lnTo>
                  <a:lnTo>
                    <a:pt x="123" y="104"/>
                  </a:lnTo>
                  <a:lnTo>
                    <a:pt x="123" y="100"/>
                  </a:lnTo>
                  <a:lnTo>
                    <a:pt x="127" y="100"/>
                  </a:lnTo>
                  <a:lnTo>
                    <a:pt x="131" y="104"/>
                  </a:lnTo>
                  <a:lnTo>
                    <a:pt x="131" y="108"/>
                  </a:lnTo>
                  <a:lnTo>
                    <a:pt x="131" y="112"/>
                  </a:lnTo>
                  <a:lnTo>
                    <a:pt x="127" y="112"/>
                  </a:lnTo>
                  <a:lnTo>
                    <a:pt x="123" y="112"/>
                  </a:lnTo>
                  <a:lnTo>
                    <a:pt x="123" y="116"/>
                  </a:lnTo>
                  <a:lnTo>
                    <a:pt x="127" y="112"/>
                  </a:lnTo>
                  <a:lnTo>
                    <a:pt x="127" y="116"/>
                  </a:lnTo>
                  <a:lnTo>
                    <a:pt x="123" y="116"/>
                  </a:lnTo>
                  <a:lnTo>
                    <a:pt x="127" y="116"/>
                  </a:lnTo>
                  <a:lnTo>
                    <a:pt x="127" y="120"/>
                  </a:lnTo>
                  <a:lnTo>
                    <a:pt x="123" y="120"/>
                  </a:lnTo>
                  <a:lnTo>
                    <a:pt x="123" y="124"/>
                  </a:lnTo>
                  <a:lnTo>
                    <a:pt x="127" y="124"/>
                  </a:lnTo>
                  <a:close/>
                  <a:moveTo>
                    <a:pt x="219" y="72"/>
                  </a:moveTo>
                  <a:lnTo>
                    <a:pt x="219" y="76"/>
                  </a:lnTo>
                  <a:lnTo>
                    <a:pt x="219" y="80"/>
                  </a:lnTo>
                  <a:lnTo>
                    <a:pt x="223" y="84"/>
                  </a:lnTo>
                  <a:lnTo>
                    <a:pt x="223" y="88"/>
                  </a:lnTo>
                  <a:lnTo>
                    <a:pt x="227" y="88"/>
                  </a:lnTo>
                  <a:lnTo>
                    <a:pt x="231" y="92"/>
                  </a:lnTo>
                  <a:lnTo>
                    <a:pt x="231" y="96"/>
                  </a:lnTo>
                  <a:lnTo>
                    <a:pt x="235" y="96"/>
                  </a:lnTo>
                  <a:lnTo>
                    <a:pt x="235" y="92"/>
                  </a:lnTo>
                  <a:lnTo>
                    <a:pt x="239" y="92"/>
                  </a:lnTo>
                  <a:lnTo>
                    <a:pt x="243" y="92"/>
                  </a:lnTo>
                  <a:lnTo>
                    <a:pt x="247" y="92"/>
                  </a:lnTo>
                  <a:lnTo>
                    <a:pt x="251" y="92"/>
                  </a:lnTo>
                  <a:lnTo>
                    <a:pt x="255" y="92"/>
                  </a:lnTo>
                  <a:lnTo>
                    <a:pt x="255" y="88"/>
                  </a:lnTo>
                  <a:lnTo>
                    <a:pt x="259" y="88"/>
                  </a:lnTo>
                  <a:lnTo>
                    <a:pt x="259" y="84"/>
                  </a:lnTo>
                  <a:lnTo>
                    <a:pt x="263" y="80"/>
                  </a:lnTo>
                  <a:lnTo>
                    <a:pt x="267" y="80"/>
                  </a:lnTo>
                  <a:lnTo>
                    <a:pt x="271" y="80"/>
                  </a:lnTo>
                  <a:lnTo>
                    <a:pt x="271" y="84"/>
                  </a:lnTo>
                  <a:lnTo>
                    <a:pt x="275" y="84"/>
                  </a:lnTo>
                  <a:lnTo>
                    <a:pt x="279" y="88"/>
                  </a:lnTo>
                  <a:lnTo>
                    <a:pt x="283" y="88"/>
                  </a:lnTo>
                  <a:lnTo>
                    <a:pt x="283" y="84"/>
                  </a:lnTo>
                  <a:lnTo>
                    <a:pt x="287" y="84"/>
                  </a:lnTo>
                  <a:lnTo>
                    <a:pt x="291" y="84"/>
                  </a:lnTo>
                  <a:lnTo>
                    <a:pt x="295" y="84"/>
                  </a:lnTo>
                  <a:lnTo>
                    <a:pt x="295" y="80"/>
                  </a:lnTo>
                  <a:lnTo>
                    <a:pt x="295" y="76"/>
                  </a:lnTo>
                  <a:lnTo>
                    <a:pt x="299" y="76"/>
                  </a:lnTo>
                  <a:lnTo>
                    <a:pt x="299" y="72"/>
                  </a:lnTo>
                  <a:lnTo>
                    <a:pt x="299" y="68"/>
                  </a:lnTo>
                  <a:lnTo>
                    <a:pt x="303" y="64"/>
                  </a:lnTo>
                  <a:lnTo>
                    <a:pt x="303" y="56"/>
                  </a:lnTo>
                  <a:lnTo>
                    <a:pt x="307" y="56"/>
                  </a:lnTo>
                  <a:lnTo>
                    <a:pt x="307" y="52"/>
                  </a:lnTo>
                  <a:lnTo>
                    <a:pt x="307" y="48"/>
                  </a:lnTo>
                  <a:lnTo>
                    <a:pt x="311" y="48"/>
                  </a:lnTo>
                  <a:lnTo>
                    <a:pt x="311" y="44"/>
                  </a:lnTo>
                  <a:lnTo>
                    <a:pt x="311" y="40"/>
                  </a:lnTo>
                  <a:lnTo>
                    <a:pt x="311" y="36"/>
                  </a:lnTo>
                  <a:lnTo>
                    <a:pt x="311" y="32"/>
                  </a:lnTo>
                  <a:lnTo>
                    <a:pt x="315" y="32"/>
                  </a:lnTo>
                  <a:lnTo>
                    <a:pt x="315" y="28"/>
                  </a:lnTo>
                  <a:lnTo>
                    <a:pt x="315" y="32"/>
                  </a:lnTo>
                  <a:lnTo>
                    <a:pt x="319" y="32"/>
                  </a:lnTo>
                  <a:lnTo>
                    <a:pt x="323" y="32"/>
                  </a:lnTo>
                  <a:lnTo>
                    <a:pt x="327" y="32"/>
                  </a:lnTo>
                  <a:lnTo>
                    <a:pt x="331" y="32"/>
                  </a:lnTo>
                  <a:lnTo>
                    <a:pt x="335" y="32"/>
                  </a:lnTo>
                  <a:lnTo>
                    <a:pt x="339" y="32"/>
                  </a:lnTo>
                  <a:lnTo>
                    <a:pt x="339" y="36"/>
                  </a:lnTo>
                  <a:lnTo>
                    <a:pt x="339" y="32"/>
                  </a:lnTo>
                  <a:lnTo>
                    <a:pt x="335" y="36"/>
                  </a:lnTo>
                  <a:lnTo>
                    <a:pt x="339" y="36"/>
                  </a:lnTo>
                  <a:lnTo>
                    <a:pt x="339" y="40"/>
                  </a:lnTo>
                  <a:lnTo>
                    <a:pt x="343" y="40"/>
                  </a:lnTo>
                  <a:lnTo>
                    <a:pt x="343" y="44"/>
                  </a:lnTo>
                  <a:lnTo>
                    <a:pt x="339" y="44"/>
                  </a:lnTo>
                  <a:lnTo>
                    <a:pt x="335" y="44"/>
                  </a:lnTo>
                  <a:lnTo>
                    <a:pt x="331" y="44"/>
                  </a:lnTo>
                  <a:lnTo>
                    <a:pt x="335" y="44"/>
                  </a:lnTo>
                  <a:lnTo>
                    <a:pt x="335" y="48"/>
                  </a:lnTo>
                  <a:lnTo>
                    <a:pt x="339" y="48"/>
                  </a:lnTo>
                  <a:lnTo>
                    <a:pt x="335" y="48"/>
                  </a:lnTo>
                  <a:lnTo>
                    <a:pt x="335" y="52"/>
                  </a:lnTo>
                  <a:lnTo>
                    <a:pt x="339" y="52"/>
                  </a:lnTo>
                  <a:lnTo>
                    <a:pt x="343" y="56"/>
                  </a:lnTo>
                  <a:lnTo>
                    <a:pt x="343" y="60"/>
                  </a:lnTo>
                  <a:lnTo>
                    <a:pt x="343" y="64"/>
                  </a:lnTo>
                  <a:lnTo>
                    <a:pt x="347" y="64"/>
                  </a:lnTo>
                  <a:lnTo>
                    <a:pt x="347" y="68"/>
                  </a:lnTo>
                  <a:lnTo>
                    <a:pt x="347" y="72"/>
                  </a:lnTo>
                  <a:lnTo>
                    <a:pt x="343" y="72"/>
                  </a:lnTo>
                  <a:lnTo>
                    <a:pt x="343" y="76"/>
                  </a:lnTo>
                  <a:lnTo>
                    <a:pt x="347" y="80"/>
                  </a:lnTo>
                  <a:lnTo>
                    <a:pt x="351" y="80"/>
                  </a:lnTo>
                  <a:lnTo>
                    <a:pt x="351" y="84"/>
                  </a:lnTo>
                  <a:lnTo>
                    <a:pt x="355" y="84"/>
                  </a:lnTo>
                  <a:lnTo>
                    <a:pt x="359" y="88"/>
                  </a:lnTo>
                  <a:lnTo>
                    <a:pt x="359" y="92"/>
                  </a:lnTo>
                  <a:lnTo>
                    <a:pt x="363" y="92"/>
                  </a:lnTo>
                  <a:lnTo>
                    <a:pt x="359" y="92"/>
                  </a:lnTo>
                  <a:lnTo>
                    <a:pt x="359" y="96"/>
                  </a:lnTo>
                  <a:lnTo>
                    <a:pt x="355" y="96"/>
                  </a:lnTo>
                  <a:lnTo>
                    <a:pt x="351" y="96"/>
                  </a:lnTo>
                  <a:lnTo>
                    <a:pt x="347" y="92"/>
                  </a:lnTo>
                  <a:lnTo>
                    <a:pt x="347" y="88"/>
                  </a:lnTo>
                  <a:lnTo>
                    <a:pt x="343" y="88"/>
                  </a:lnTo>
                  <a:lnTo>
                    <a:pt x="343" y="92"/>
                  </a:lnTo>
                  <a:lnTo>
                    <a:pt x="347" y="92"/>
                  </a:lnTo>
                  <a:lnTo>
                    <a:pt x="347" y="96"/>
                  </a:lnTo>
                  <a:lnTo>
                    <a:pt x="343" y="96"/>
                  </a:lnTo>
                  <a:lnTo>
                    <a:pt x="343" y="100"/>
                  </a:lnTo>
                  <a:lnTo>
                    <a:pt x="339" y="100"/>
                  </a:lnTo>
                  <a:lnTo>
                    <a:pt x="339" y="104"/>
                  </a:lnTo>
                  <a:lnTo>
                    <a:pt x="339" y="108"/>
                  </a:lnTo>
                  <a:lnTo>
                    <a:pt x="339" y="112"/>
                  </a:lnTo>
                  <a:lnTo>
                    <a:pt x="339" y="116"/>
                  </a:lnTo>
                  <a:lnTo>
                    <a:pt x="339" y="120"/>
                  </a:lnTo>
                  <a:lnTo>
                    <a:pt x="339" y="116"/>
                  </a:lnTo>
                  <a:lnTo>
                    <a:pt x="339" y="120"/>
                  </a:lnTo>
                  <a:lnTo>
                    <a:pt x="339" y="124"/>
                  </a:lnTo>
                  <a:lnTo>
                    <a:pt x="335" y="124"/>
                  </a:lnTo>
                  <a:lnTo>
                    <a:pt x="335" y="128"/>
                  </a:lnTo>
                  <a:lnTo>
                    <a:pt x="331" y="128"/>
                  </a:lnTo>
                  <a:lnTo>
                    <a:pt x="331" y="132"/>
                  </a:lnTo>
                  <a:lnTo>
                    <a:pt x="327" y="132"/>
                  </a:lnTo>
                  <a:lnTo>
                    <a:pt x="327" y="128"/>
                  </a:lnTo>
                  <a:lnTo>
                    <a:pt x="327" y="132"/>
                  </a:lnTo>
                  <a:lnTo>
                    <a:pt x="327" y="136"/>
                  </a:lnTo>
                  <a:lnTo>
                    <a:pt x="323" y="136"/>
                  </a:lnTo>
                  <a:lnTo>
                    <a:pt x="323" y="140"/>
                  </a:lnTo>
                  <a:lnTo>
                    <a:pt x="319" y="140"/>
                  </a:lnTo>
                  <a:lnTo>
                    <a:pt x="319" y="144"/>
                  </a:lnTo>
                  <a:lnTo>
                    <a:pt x="323" y="144"/>
                  </a:lnTo>
                  <a:lnTo>
                    <a:pt x="323" y="148"/>
                  </a:lnTo>
                  <a:lnTo>
                    <a:pt x="319" y="148"/>
                  </a:lnTo>
                  <a:lnTo>
                    <a:pt x="323" y="152"/>
                  </a:lnTo>
                  <a:lnTo>
                    <a:pt x="323" y="148"/>
                  </a:lnTo>
                  <a:lnTo>
                    <a:pt x="323" y="152"/>
                  </a:lnTo>
                  <a:lnTo>
                    <a:pt x="327" y="152"/>
                  </a:lnTo>
                  <a:lnTo>
                    <a:pt x="323" y="152"/>
                  </a:lnTo>
                  <a:lnTo>
                    <a:pt x="323" y="156"/>
                  </a:lnTo>
                  <a:lnTo>
                    <a:pt x="319" y="156"/>
                  </a:lnTo>
                  <a:lnTo>
                    <a:pt x="323" y="160"/>
                  </a:lnTo>
                  <a:lnTo>
                    <a:pt x="323" y="164"/>
                  </a:lnTo>
                  <a:lnTo>
                    <a:pt x="319" y="164"/>
                  </a:lnTo>
                  <a:lnTo>
                    <a:pt x="319" y="160"/>
                  </a:lnTo>
                  <a:lnTo>
                    <a:pt x="319" y="164"/>
                  </a:lnTo>
                  <a:lnTo>
                    <a:pt x="319" y="167"/>
                  </a:lnTo>
                  <a:lnTo>
                    <a:pt x="319" y="171"/>
                  </a:lnTo>
                  <a:lnTo>
                    <a:pt x="315" y="171"/>
                  </a:lnTo>
                  <a:lnTo>
                    <a:pt x="315" y="175"/>
                  </a:lnTo>
                  <a:lnTo>
                    <a:pt x="311" y="175"/>
                  </a:lnTo>
                  <a:lnTo>
                    <a:pt x="311" y="179"/>
                  </a:lnTo>
                  <a:lnTo>
                    <a:pt x="307" y="179"/>
                  </a:lnTo>
                  <a:lnTo>
                    <a:pt x="303" y="179"/>
                  </a:lnTo>
                  <a:lnTo>
                    <a:pt x="303" y="183"/>
                  </a:lnTo>
                  <a:lnTo>
                    <a:pt x="299" y="183"/>
                  </a:lnTo>
                  <a:lnTo>
                    <a:pt x="295" y="187"/>
                  </a:lnTo>
                  <a:lnTo>
                    <a:pt x="295" y="183"/>
                  </a:lnTo>
                  <a:lnTo>
                    <a:pt x="295" y="179"/>
                  </a:lnTo>
                  <a:lnTo>
                    <a:pt x="295" y="175"/>
                  </a:lnTo>
                  <a:lnTo>
                    <a:pt x="291" y="175"/>
                  </a:lnTo>
                  <a:lnTo>
                    <a:pt x="291" y="171"/>
                  </a:lnTo>
                  <a:lnTo>
                    <a:pt x="287" y="171"/>
                  </a:lnTo>
                  <a:lnTo>
                    <a:pt x="283" y="171"/>
                  </a:lnTo>
                  <a:lnTo>
                    <a:pt x="279" y="171"/>
                  </a:lnTo>
                  <a:lnTo>
                    <a:pt x="279" y="167"/>
                  </a:lnTo>
                  <a:lnTo>
                    <a:pt x="275" y="167"/>
                  </a:lnTo>
                  <a:lnTo>
                    <a:pt x="271" y="167"/>
                  </a:lnTo>
                  <a:lnTo>
                    <a:pt x="271" y="164"/>
                  </a:lnTo>
                  <a:lnTo>
                    <a:pt x="271" y="167"/>
                  </a:lnTo>
                  <a:lnTo>
                    <a:pt x="267" y="171"/>
                  </a:lnTo>
                  <a:lnTo>
                    <a:pt x="263" y="171"/>
                  </a:lnTo>
                  <a:lnTo>
                    <a:pt x="259" y="171"/>
                  </a:lnTo>
                  <a:lnTo>
                    <a:pt x="255" y="171"/>
                  </a:lnTo>
                  <a:lnTo>
                    <a:pt x="255" y="175"/>
                  </a:lnTo>
                  <a:lnTo>
                    <a:pt x="251" y="175"/>
                  </a:lnTo>
                  <a:lnTo>
                    <a:pt x="251" y="171"/>
                  </a:lnTo>
                  <a:lnTo>
                    <a:pt x="251" y="167"/>
                  </a:lnTo>
                  <a:lnTo>
                    <a:pt x="251" y="164"/>
                  </a:lnTo>
                  <a:lnTo>
                    <a:pt x="251" y="160"/>
                  </a:lnTo>
                  <a:lnTo>
                    <a:pt x="251" y="164"/>
                  </a:lnTo>
                  <a:lnTo>
                    <a:pt x="247" y="164"/>
                  </a:lnTo>
                  <a:lnTo>
                    <a:pt x="243" y="164"/>
                  </a:lnTo>
                  <a:lnTo>
                    <a:pt x="243" y="167"/>
                  </a:lnTo>
                  <a:lnTo>
                    <a:pt x="239" y="167"/>
                  </a:lnTo>
                  <a:lnTo>
                    <a:pt x="235" y="164"/>
                  </a:lnTo>
                  <a:lnTo>
                    <a:pt x="239" y="164"/>
                  </a:lnTo>
                  <a:lnTo>
                    <a:pt x="235" y="164"/>
                  </a:lnTo>
                  <a:lnTo>
                    <a:pt x="235" y="167"/>
                  </a:lnTo>
                  <a:lnTo>
                    <a:pt x="235" y="164"/>
                  </a:lnTo>
                  <a:lnTo>
                    <a:pt x="231" y="164"/>
                  </a:lnTo>
                  <a:lnTo>
                    <a:pt x="227" y="164"/>
                  </a:lnTo>
                  <a:lnTo>
                    <a:pt x="227" y="160"/>
                  </a:lnTo>
                  <a:lnTo>
                    <a:pt x="227" y="156"/>
                  </a:lnTo>
                  <a:lnTo>
                    <a:pt x="227" y="152"/>
                  </a:lnTo>
                  <a:lnTo>
                    <a:pt x="227" y="148"/>
                  </a:lnTo>
                  <a:lnTo>
                    <a:pt x="227" y="144"/>
                  </a:lnTo>
                  <a:lnTo>
                    <a:pt x="223" y="144"/>
                  </a:lnTo>
                  <a:lnTo>
                    <a:pt x="223" y="140"/>
                  </a:lnTo>
                  <a:lnTo>
                    <a:pt x="227" y="140"/>
                  </a:lnTo>
                  <a:lnTo>
                    <a:pt x="227" y="136"/>
                  </a:lnTo>
                  <a:lnTo>
                    <a:pt x="227" y="132"/>
                  </a:lnTo>
                  <a:lnTo>
                    <a:pt x="223" y="132"/>
                  </a:lnTo>
                  <a:lnTo>
                    <a:pt x="223" y="128"/>
                  </a:lnTo>
                  <a:lnTo>
                    <a:pt x="219" y="128"/>
                  </a:lnTo>
                  <a:lnTo>
                    <a:pt x="215" y="124"/>
                  </a:lnTo>
                  <a:lnTo>
                    <a:pt x="215" y="128"/>
                  </a:lnTo>
                  <a:lnTo>
                    <a:pt x="215" y="124"/>
                  </a:lnTo>
                  <a:lnTo>
                    <a:pt x="219" y="124"/>
                  </a:lnTo>
                  <a:lnTo>
                    <a:pt x="215" y="120"/>
                  </a:lnTo>
                  <a:lnTo>
                    <a:pt x="211" y="120"/>
                  </a:lnTo>
                  <a:lnTo>
                    <a:pt x="211" y="116"/>
                  </a:lnTo>
                  <a:lnTo>
                    <a:pt x="211" y="112"/>
                  </a:lnTo>
                  <a:lnTo>
                    <a:pt x="211" y="108"/>
                  </a:lnTo>
                  <a:lnTo>
                    <a:pt x="211" y="104"/>
                  </a:lnTo>
                  <a:lnTo>
                    <a:pt x="207" y="104"/>
                  </a:lnTo>
                  <a:lnTo>
                    <a:pt x="207" y="100"/>
                  </a:lnTo>
                  <a:lnTo>
                    <a:pt x="207" y="96"/>
                  </a:lnTo>
                  <a:lnTo>
                    <a:pt x="207" y="92"/>
                  </a:lnTo>
                  <a:lnTo>
                    <a:pt x="211" y="92"/>
                  </a:lnTo>
                  <a:lnTo>
                    <a:pt x="207" y="92"/>
                  </a:lnTo>
                  <a:lnTo>
                    <a:pt x="207" y="88"/>
                  </a:lnTo>
                  <a:lnTo>
                    <a:pt x="211" y="88"/>
                  </a:lnTo>
                  <a:lnTo>
                    <a:pt x="215" y="84"/>
                  </a:lnTo>
                  <a:lnTo>
                    <a:pt x="211" y="84"/>
                  </a:lnTo>
                  <a:lnTo>
                    <a:pt x="211" y="88"/>
                  </a:lnTo>
                  <a:lnTo>
                    <a:pt x="211" y="84"/>
                  </a:lnTo>
                  <a:lnTo>
                    <a:pt x="211" y="80"/>
                  </a:lnTo>
                  <a:lnTo>
                    <a:pt x="215" y="80"/>
                  </a:lnTo>
                  <a:lnTo>
                    <a:pt x="215" y="76"/>
                  </a:lnTo>
                  <a:lnTo>
                    <a:pt x="219" y="72"/>
                  </a:lnTo>
                  <a:close/>
                  <a:moveTo>
                    <a:pt x="195" y="40"/>
                  </a:moveTo>
                  <a:lnTo>
                    <a:pt x="195" y="36"/>
                  </a:lnTo>
                  <a:lnTo>
                    <a:pt x="195" y="32"/>
                  </a:lnTo>
                  <a:lnTo>
                    <a:pt x="199" y="32"/>
                  </a:lnTo>
                  <a:lnTo>
                    <a:pt x="199" y="36"/>
                  </a:lnTo>
                  <a:lnTo>
                    <a:pt x="199" y="40"/>
                  </a:lnTo>
                  <a:lnTo>
                    <a:pt x="199" y="44"/>
                  </a:lnTo>
                  <a:lnTo>
                    <a:pt x="195" y="44"/>
                  </a:lnTo>
                  <a:lnTo>
                    <a:pt x="195" y="40"/>
                  </a:lnTo>
                  <a:lnTo>
                    <a:pt x="199" y="40"/>
                  </a:lnTo>
                  <a:lnTo>
                    <a:pt x="195" y="40"/>
                  </a:lnTo>
                  <a:close/>
                  <a:moveTo>
                    <a:pt x="159" y="56"/>
                  </a:moveTo>
                  <a:lnTo>
                    <a:pt x="159" y="52"/>
                  </a:lnTo>
                  <a:lnTo>
                    <a:pt x="163" y="56"/>
                  </a:lnTo>
                  <a:lnTo>
                    <a:pt x="159" y="56"/>
                  </a:lnTo>
                  <a:lnTo>
                    <a:pt x="159" y="60"/>
                  </a:lnTo>
                  <a:lnTo>
                    <a:pt x="159" y="56"/>
                  </a:lnTo>
                  <a:close/>
                  <a:moveTo>
                    <a:pt x="20" y="68"/>
                  </a:moveTo>
                  <a:lnTo>
                    <a:pt x="16" y="68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8" y="60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6" y="60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0" y="68"/>
                  </a:lnTo>
                  <a:close/>
                  <a:moveTo>
                    <a:pt x="502" y="72"/>
                  </a:moveTo>
                  <a:lnTo>
                    <a:pt x="502" y="68"/>
                  </a:lnTo>
                  <a:lnTo>
                    <a:pt x="502" y="64"/>
                  </a:lnTo>
                  <a:lnTo>
                    <a:pt x="506" y="60"/>
                  </a:lnTo>
                  <a:lnTo>
                    <a:pt x="506" y="64"/>
                  </a:lnTo>
                  <a:lnTo>
                    <a:pt x="506" y="68"/>
                  </a:lnTo>
                  <a:lnTo>
                    <a:pt x="506" y="72"/>
                  </a:lnTo>
                  <a:lnTo>
                    <a:pt x="502" y="72"/>
                  </a:lnTo>
                  <a:close/>
                  <a:moveTo>
                    <a:pt x="32" y="72"/>
                  </a:moveTo>
                  <a:lnTo>
                    <a:pt x="32" y="68"/>
                  </a:lnTo>
                  <a:lnTo>
                    <a:pt x="28" y="68"/>
                  </a:lnTo>
                  <a:lnTo>
                    <a:pt x="32" y="68"/>
                  </a:lnTo>
                  <a:lnTo>
                    <a:pt x="32" y="72"/>
                  </a:lnTo>
                  <a:close/>
                  <a:moveTo>
                    <a:pt x="494" y="120"/>
                  </a:moveTo>
                  <a:lnTo>
                    <a:pt x="494" y="116"/>
                  </a:lnTo>
                  <a:lnTo>
                    <a:pt x="490" y="112"/>
                  </a:lnTo>
                  <a:lnTo>
                    <a:pt x="494" y="112"/>
                  </a:lnTo>
                  <a:lnTo>
                    <a:pt x="494" y="108"/>
                  </a:lnTo>
                  <a:lnTo>
                    <a:pt x="490" y="104"/>
                  </a:lnTo>
                  <a:lnTo>
                    <a:pt x="490" y="100"/>
                  </a:lnTo>
                  <a:lnTo>
                    <a:pt x="490" y="96"/>
                  </a:lnTo>
                  <a:lnTo>
                    <a:pt x="490" y="92"/>
                  </a:lnTo>
                  <a:lnTo>
                    <a:pt x="486" y="92"/>
                  </a:lnTo>
                  <a:lnTo>
                    <a:pt x="486" y="88"/>
                  </a:lnTo>
                  <a:lnTo>
                    <a:pt x="490" y="88"/>
                  </a:lnTo>
                  <a:lnTo>
                    <a:pt x="490" y="84"/>
                  </a:lnTo>
                  <a:lnTo>
                    <a:pt x="490" y="80"/>
                  </a:lnTo>
                  <a:lnTo>
                    <a:pt x="490" y="76"/>
                  </a:lnTo>
                  <a:lnTo>
                    <a:pt x="494" y="76"/>
                  </a:lnTo>
                  <a:lnTo>
                    <a:pt x="494" y="72"/>
                  </a:lnTo>
                  <a:lnTo>
                    <a:pt x="498" y="68"/>
                  </a:lnTo>
                  <a:lnTo>
                    <a:pt x="498" y="72"/>
                  </a:lnTo>
                  <a:lnTo>
                    <a:pt x="494" y="76"/>
                  </a:lnTo>
                  <a:lnTo>
                    <a:pt x="498" y="76"/>
                  </a:lnTo>
                  <a:lnTo>
                    <a:pt x="498" y="80"/>
                  </a:lnTo>
                  <a:lnTo>
                    <a:pt x="498" y="84"/>
                  </a:lnTo>
                  <a:lnTo>
                    <a:pt x="494" y="88"/>
                  </a:lnTo>
                  <a:lnTo>
                    <a:pt x="490" y="92"/>
                  </a:lnTo>
                  <a:lnTo>
                    <a:pt x="494" y="96"/>
                  </a:lnTo>
                  <a:lnTo>
                    <a:pt x="494" y="92"/>
                  </a:lnTo>
                  <a:lnTo>
                    <a:pt x="498" y="92"/>
                  </a:lnTo>
                  <a:lnTo>
                    <a:pt x="498" y="88"/>
                  </a:lnTo>
                  <a:lnTo>
                    <a:pt x="498" y="84"/>
                  </a:lnTo>
                  <a:lnTo>
                    <a:pt x="502" y="84"/>
                  </a:lnTo>
                  <a:lnTo>
                    <a:pt x="502" y="80"/>
                  </a:lnTo>
                  <a:lnTo>
                    <a:pt x="506" y="80"/>
                  </a:lnTo>
                  <a:lnTo>
                    <a:pt x="506" y="88"/>
                  </a:lnTo>
                  <a:lnTo>
                    <a:pt x="506" y="92"/>
                  </a:lnTo>
                  <a:lnTo>
                    <a:pt x="502" y="92"/>
                  </a:lnTo>
                  <a:lnTo>
                    <a:pt x="502" y="96"/>
                  </a:lnTo>
                  <a:lnTo>
                    <a:pt x="502" y="100"/>
                  </a:lnTo>
                  <a:lnTo>
                    <a:pt x="506" y="100"/>
                  </a:lnTo>
                  <a:lnTo>
                    <a:pt x="506" y="104"/>
                  </a:lnTo>
                  <a:lnTo>
                    <a:pt x="510" y="104"/>
                  </a:lnTo>
                  <a:lnTo>
                    <a:pt x="510" y="108"/>
                  </a:lnTo>
                  <a:lnTo>
                    <a:pt x="510" y="104"/>
                  </a:lnTo>
                  <a:lnTo>
                    <a:pt x="506" y="104"/>
                  </a:lnTo>
                  <a:lnTo>
                    <a:pt x="502" y="104"/>
                  </a:lnTo>
                  <a:lnTo>
                    <a:pt x="498" y="104"/>
                  </a:lnTo>
                  <a:lnTo>
                    <a:pt x="498" y="100"/>
                  </a:lnTo>
                  <a:lnTo>
                    <a:pt x="494" y="100"/>
                  </a:lnTo>
                  <a:lnTo>
                    <a:pt x="494" y="104"/>
                  </a:lnTo>
                  <a:lnTo>
                    <a:pt x="494" y="108"/>
                  </a:lnTo>
                  <a:lnTo>
                    <a:pt x="494" y="112"/>
                  </a:lnTo>
                  <a:lnTo>
                    <a:pt x="498" y="116"/>
                  </a:lnTo>
                  <a:lnTo>
                    <a:pt x="498" y="120"/>
                  </a:lnTo>
                  <a:lnTo>
                    <a:pt x="502" y="124"/>
                  </a:lnTo>
                  <a:lnTo>
                    <a:pt x="502" y="128"/>
                  </a:lnTo>
                  <a:lnTo>
                    <a:pt x="502" y="124"/>
                  </a:lnTo>
                  <a:lnTo>
                    <a:pt x="498" y="124"/>
                  </a:lnTo>
                  <a:lnTo>
                    <a:pt x="498" y="120"/>
                  </a:lnTo>
                  <a:lnTo>
                    <a:pt x="494" y="120"/>
                  </a:lnTo>
                  <a:close/>
                  <a:moveTo>
                    <a:pt x="99" y="76"/>
                  </a:moveTo>
                  <a:lnTo>
                    <a:pt x="99" y="80"/>
                  </a:lnTo>
                  <a:lnTo>
                    <a:pt x="95" y="80"/>
                  </a:lnTo>
                  <a:lnTo>
                    <a:pt x="95" y="76"/>
                  </a:lnTo>
                  <a:lnTo>
                    <a:pt x="95" y="72"/>
                  </a:lnTo>
                  <a:lnTo>
                    <a:pt x="99" y="72"/>
                  </a:lnTo>
                  <a:lnTo>
                    <a:pt x="99" y="76"/>
                  </a:lnTo>
                  <a:close/>
                  <a:moveTo>
                    <a:pt x="426" y="128"/>
                  </a:moveTo>
                  <a:lnTo>
                    <a:pt x="422" y="128"/>
                  </a:lnTo>
                  <a:lnTo>
                    <a:pt x="418" y="128"/>
                  </a:lnTo>
                  <a:lnTo>
                    <a:pt x="418" y="132"/>
                  </a:lnTo>
                  <a:lnTo>
                    <a:pt x="414" y="132"/>
                  </a:lnTo>
                  <a:lnTo>
                    <a:pt x="414" y="136"/>
                  </a:lnTo>
                  <a:lnTo>
                    <a:pt x="410" y="136"/>
                  </a:lnTo>
                  <a:lnTo>
                    <a:pt x="410" y="140"/>
                  </a:lnTo>
                  <a:lnTo>
                    <a:pt x="406" y="140"/>
                  </a:lnTo>
                  <a:lnTo>
                    <a:pt x="402" y="140"/>
                  </a:lnTo>
                  <a:lnTo>
                    <a:pt x="402" y="144"/>
                  </a:lnTo>
                  <a:lnTo>
                    <a:pt x="398" y="144"/>
                  </a:lnTo>
                  <a:lnTo>
                    <a:pt x="395" y="144"/>
                  </a:lnTo>
                  <a:lnTo>
                    <a:pt x="395" y="148"/>
                  </a:lnTo>
                  <a:lnTo>
                    <a:pt x="398" y="148"/>
                  </a:lnTo>
                  <a:lnTo>
                    <a:pt x="402" y="148"/>
                  </a:lnTo>
                  <a:lnTo>
                    <a:pt x="402" y="152"/>
                  </a:lnTo>
                  <a:lnTo>
                    <a:pt x="406" y="156"/>
                  </a:lnTo>
                  <a:lnTo>
                    <a:pt x="406" y="160"/>
                  </a:lnTo>
                  <a:lnTo>
                    <a:pt x="410" y="160"/>
                  </a:lnTo>
                  <a:lnTo>
                    <a:pt x="410" y="164"/>
                  </a:lnTo>
                  <a:lnTo>
                    <a:pt x="410" y="167"/>
                  </a:lnTo>
                  <a:lnTo>
                    <a:pt x="414" y="167"/>
                  </a:lnTo>
                  <a:lnTo>
                    <a:pt x="410" y="167"/>
                  </a:lnTo>
                  <a:lnTo>
                    <a:pt x="410" y="171"/>
                  </a:lnTo>
                  <a:lnTo>
                    <a:pt x="410" y="175"/>
                  </a:lnTo>
                  <a:lnTo>
                    <a:pt x="410" y="179"/>
                  </a:lnTo>
                  <a:lnTo>
                    <a:pt x="414" y="179"/>
                  </a:lnTo>
                  <a:lnTo>
                    <a:pt x="414" y="183"/>
                  </a:lnTo>
                  <a:lnTo>
                    <a:pt x="418" y="183"/>
                  </a:lnTo>
                  <a:lnTo>
                    <a:pt x="418" y="187"/>
                  </a:lnTo>
                  <a:lnTo>
                    <a:pt x="418" y="183"/>
                  </a:lnTo>
                  <a:lnTo>
                    <a:pt x="418" y="187"/>
                  </a:lnTo>
                  <a:lnTo>
                    <a:pt x="418" y="191"/>
                  </a:lnTo>
                  <a:lnTo>
                    <a:pt x="414" y="191"/>
                  </a:lnTo>
                  <a:lnTo>
                    <a:pt x="410" y="191"/>
                  </a:lnTo>
                  <a:lnTo>
                    <a:pt x="406" y="191"/>
                  </a:lnTo>
                  <a:lnTo>
                    <a:pt x="406" y="195"/>
                  </a:lnTo>
                  <a:lnTo>
                    <a:pt x="406" y="199"/>
                  </a:lnTo>
                  <a:lnTo>
                    <a:pt x="402" y="199"/>
                  </a:lnTo>
                  <a:lnTo>
                    <a:pt x="398" y="195"/>
                  </a:lnTo>
                  <a:lnTo>
                    <a:pt x="398" y="191"/>
                  </a:lnTo>
                  <a:lnTo>
                    <a:pt x="398" y="187"/>
                  </a:lnTo>
                  <a:lnTo>
                    <a:pt x="402" y="187"/>
                  </a:lnTo>
                  <a:lnTo>
                    <a:pt x="402" y="183"/>
                  </a:lnTo>
                  <a:lnTo>
                    <a:pt x="398" y="183"/>
                  </a:lnTo>
                  <a:lnTo>
                    <a:pt x="395" y="183"/>
                  </a:lnTo>
                  <a:lnTo>
                    <a:pt x="395" y="179"/>
                  </a:lnTo>
                  <a:lnTo>
                    <a:pt x="391" y="175"/>
                  </a:lnTo>
                  <a:lnTo>
                    <a:pt x="391" y="171"/>
                  </a:lnTo>
                  <a:lnTo>
                    <a:pt x="391" y="167"/>
                  </a:lnTo>
                  <a:lnTo>
                    <a:pt x="391" y="164"/>
                  </a:lnTo>
                  <a:lnTo>
                    <a:pt x="391" y="160"/>
                  </a:lnTo>
                  <a:lnTo>
                    <a:pt x="387" y="156"/>
                  </a:lnTo>
                  <a:lnTo>
                    <a:pt x="387" y="160"/>
                  </a:lnTo>
                  <a:lnTo>
                    <a:pt x="383" y="164"/>
                  </a:lnTo>
                  <a:lnTo>
                    <a:pt x="379" y="164"/>
                  </a:lnTo>
                  <a:lnTo>
                    <a:pt x="379" y="167"/>
                  </a:lnTo>
                  <a:lnTo>
                    <a:pt x="383" y="167"/>
                  </a:lnTo>
                  <a:lnTo>
                    <a:pt x="383" y="171"/>
                  </a:lnTo>
                  <a:lnTo>
                    <a:pt x="383" y="175"/>
                  </a:lnTo>
                  <a:lnTo>
                    <a:pt x="383" y="179"/>
                  </a:lnTo>
                  <a:lnTo>
                    <a:pt x="383" y="183"/>
                  </a:lnTo>
                  <a:lnTo>
                    <a:pt x="383" y="187"/>
                  </a:lnTo>
                  <a:lnTo>
                    <a:pt x="383" y="191"/>
                  </a:lnTo>
                  <a:lnTo>
                    <a:pt x="383" y="195"/>
                  </a:lnTo>
                  <a:lnTo>
                    <a:pt x="383" y="199"/>
                  </a:lnTo>
                  <a:lnTo>
                    <a:pt x="379" y="203"/>
                  </a:lnTo>
                  <a:lnTo>
                    <a:pt x="383" y="207"/>
                  </a:lnTo>
                  <a:lnTo>
                    <a:pt x="383" y="211"/>
                  </a:lnTo>
                  <a:lnTo>
                    <a:pt x="379" y="211"/>
                  </a:lnTo>
                  <a:lnTo>
                    <a:pt x="375" y="211"/>
                  </a:lnTo>
                  <a:lnTo>
                    <a:pt x="375" y="215"/>
                  </a:lnTo>
                  <a:lnTo>
                    <a:pt x="371" y="215"/>
                  </a:lnTo>
                  <a:lnTo>
                    <a:pt x="371" y="211"/>
                  </a:lnTo>
                  <a:lnTo>
                    <a:pt x="367" y="211"/>
                  </a:lnTo>
                  <a:lnTo>
                    <a:pt x="367" y="207"/>
                  </a:lnTo>
                  <a:lnTo>
                    <a:pt x="367" y="203"/>
                  </a:lnTo>
                  <a:lnTo>
                    <a:pt x="371" y="199"/>
                  </a:lnTo>
                  <a:lnTo>
                    <a:pt x="367" y="199"/>
                  </a:lnTo>
                  <a:lnTo>
                    <a:pt x="367" y="195"/>
                  </a:lnTo>
                  <a:lnTo>
                    <a:pt x="371" y="195"/>
                  </a:lnTo>
                  <a:lnTo>
                    <a:pt x="371" y="191"/>
                  </a:lnTo>
                  <a:lnTo>
                    <a:pt x="371" y="187"/>
                  </a:lnTo>
                  <a:lnTo>
                    <a:pt x="371" y="183"/>
                  </a:lnTo>
                  <a:lnTo>
                    <a:pt x="371" y="179"/>
                  </a:lnTo>
                  <a:lnTo>
                    <a:pt x="367" y="175"/>
                  </a:lnTo>
                  <a:lnTo>
                    <a:pt x="371" y="175"/>
                  </a:lnTo>
                  <a:lnTo>
                    <a:pt x="367" y="171"/>
                  </a:lnTo>
                  <a:lnTo>
                    <a:pt x="363" y="171"/>
                  </a:lnTo>
                  <a:lnTo>
                    <a:pt x="363" y="175"/>
                  </a:lnTo>
                  <a:lnTo>
                    <a:pt x="363" y="171"/>
                  </a:lnTo>
                  <a:lnTo>
                    <a:pt x="363" y="175"/>
                  </a:lnTo>
                  <a:lnTo>
                    <a:pt x="359" y="175"/>
                  </a:lnTo>
                  <a:lnTo>
                    <a:pt x="359" y="171"/>
                  </a:lnTo>
                  <a:lnTo>
                    <a:pt x="359" y="167"/>
                  </a:lnTo>
                  <a:lnTo>
                    <a:pt x="359" y="164"/>
                  </a:lnTo>
                  <a:lnTo>
                    <a:pt x="359" y="160"/>
                  </a:lnTo>
                  <a:lnTo>
                    <a:pt x="363" y="156"/>
                  </a:lnTo>
                  <a:lnTo>
                    <a:pt x="363" y="152"/>
                  </a:lnTo>
                  <a:lnTo>
                    <a:pt x="363" y="148"/>
                  </a:lnTo>
                  <a:lnTo>
                    <a:pt x="367" y="148"/>
                  </a:lnTo>
                  <a:lnTo>
                    <a:pt x="367" y="144"/>
                  </a:lnTo>
                  <a:lnTo>
                    <a:pt x="367" y="148"/>
                  </a:lnTo>
                  <a:lnTo>
                    <a:pt x="367" y="144"/>
                  </a:lnTo>
                  <a:lnTo>
                    <a:pt x="367" y="140"/>
                  </a:lnTo>
                  <a:lnTo>
                    <a:pt x="367" y="136"/>
                  </a:lnTo>
                  <a:lnTo>
                    <a:pt x="367" y="132"/>
                  </a:lnTo>
                  <a:lnTo>
                    <a:pt x="367" y="128"/>
                  </a:lnTo>
                  <a:lnTo>
                    <a:pt x="371" y="128"/>
                  </a:lnTo>
                  <a:lnTo>
                    <a:pt x="371" y="124"/>
                  </a:lnTo>
                  <a:lnTo>
                    <a:pt x="371" y="120"/>
                  </a:lnTo>
                  <a:lnTo>
                    <a:pt x="375" y="124"/>
                  </a:lnTo>
                  <a:lnTo>
                    <a:pt x="375" y="128"/>
                  </a:lnTo>
                  <a:lnTo>
                    <a:pt x="375" y="124"/>
                  </a:lnTo>
                  <a:lnTo>
                    <a:pt x="375" y="120"/>
                  </a:lnTo>
                  <a:lnTo>
                    <a:pt x="371" y="120"/>
                  </a:lnTo>
                  <a:lnTo>
                    <a:pt x="371" y="116"/>
                  </a:lnTo>
                  <a:lnTo>
                    <a:pt x="375" y="116"/>
                  </a:lnTo>
                  <a:lnTo>
                    <a:pt x="375" y="112"/>
                  </a:lnTo>
                  <a:lnTo>
                    <a:pt x="371" y="112"/>
                  </a:lnTo>
                  <a:lnTo>
                    <a:pt x="371" y="108"/>
                  </a:lnTo>
                  <a:lnTo>
                    <a:pt x="371" y="112"/>
                  </a:lnTo>
                  <a:lnTo>
                    <a:pt x="375" y="112"/>
                  </a:lnTo>
                  <a:lnTo>
                    <a:pt x="375" y="108"/>
                  </a:lnTo>
                  <a:lnTo>
                    <a:pt x="375" y="104"/>
                  </a:lnTo>
                  <a:lnTo>
                    <a:pt x="375" y="100"/>
                  </a:lnTo>
                  <a:lnTo>
                    <a:pt x="379" y="100"/>
                  </a:lnTo>
                  <a:lnTo>
                    <a:pt x="375" y="100"/>
                  </a:lnTo>
                  <a:lnTo>
                    <a:pt x="375" y="96"/>
                  </a:lnTo>
                  <a:lnTo>
                    <a:pt x="379" y="96"/>
                  </a:lnTo>
                  <a:lnTo>
                    <a:pt x="379" y="92"/>
                  </a:lnTo>
                  <a:lnTo>
                    <a:pt x="383" y="92"/>
                  </a:lnTo>
                  <a:lnTo>
                    <a:pt x="383" y="96"/>
                  </a:lnTo>
                  <a:lnTo>
                    <a:pt x="387" y="96"/>
                  </a:lnTo>
                  <a:lnTo>
                    <a:pt x="387" y="92"/>
                  </a:lnTo>
                  <a:lnTo>
                    <a:pt x="391" y="88"/>
                  </a:lnTo>
                  <a:lnTo>
                    <a:pt x="387" y="88"/>
                  </a:lnTo>
                  <a:lnTo>
                    <a:pt x="391" y="84"/>
                  </a:lnTo>
                  <a:lnTo>
                    <a:pt x="395" y="84"/>
                  </a:lnTo>
                  <a:lnTo>
                    <a:pt x="395" y="88"/>
                  </a:lnTo>
                  <a:lnTo>
                    <a:pt x="398" y="88"/>
                  </a:lnTo>
                  <a:lnTo>
                    <a:pt x="398" y="92"/>
                  </a:lnTo>
                  <a:lnTo>
                    <a:pt x="402" y="92"/>
                  </a:lnTo>
                  <a:lnTo>
                    <a:pt x="406" y="88"/>
                  </a:lnTo>
                  <a:lnTo>
                    <a:pt x="406" y="92"/>
                  </a:lnTo>
                  <a:lnTo>
                    <a:pt x="410" y="92"/>
                  </a:lnTo>
                  <a:lnTo>
                    <a:pt x="414" y="92"/>
                  </a:lnTo>
                  <a:lnTo>
                    <a:pt x="418" y="92"/>
                  </a:lnTo>
                  <a:lnTo>
                    <a:pt x="418" y="96"/>
                  </a:lnTo>
                  <a:lnTo>
                    <a:pt x="422" y="92"/>
                  </a:lnTo>
                  <a:lnTo>
                    <a:pt x="426" y="92"/>
                  </a:lnTo>
                  <a:lnTo>
                    <a:pt x="430" y="92"/>
                  </a:lnTo>
                  <a:lnTo>
                    <a:pt x="430" y="96"/>
                  </a:lnTo>
                  <a:lnTo>
                    <a:pt x="430" y="92"/>
                  </a:lnTo>
                  <a:lnTo>
                    <a:pt x="434" y="96"/>
                  </a:lnTo>
                  <a:lnTo>
                    <a:pt x="438" y="92"/>
                  </a:lnTo>
                  <a:lnTo>
                    <a:pt x="442" y="92"/>
                  </a:lnTo>
                  <a:lnTo>
                    <a:pt x="442" y="88"/>
                  </a:lnTo>
                  <a:lnTo>
                    <a:pt x="446" y="88"/>
                  </a:lnTo>
                  <a:lnTo>
                    <a:pt x="446" y="84"/>
                  </a:lnTo>
                  <a:lnTo>
                    <a:pt x="450" y="84"/>
                  </a:lnTo>
                  <a:lnTo>
                    <a:pt x="450" y="80"/>
                  </a:lnTo>
                  <a:lnTo>
                    <a:pt x="454" y="80"/>
                  </a:lnTo>
                  <a:lnTo>
                    <a:pt x="454" y="84"/>
                  </a:lnTo>
                  <a:lnTo>
                    <a:pt x="454" y="88"/>
                  </a:lnTo>
                  <a:lnTo>
                    <a:pt x="450" y="88"/>
                  </a:lnTo>
                  <a:lnTo>
                    <a:pt x="450" y="92"/>
                  </a:lnTo>
                  <a:lnTo>
                    <a:pt x="446" y="96"/>
                  </a:lnTo>
                  <a:lnTo>
                    <a:pt x="446" y="100"/>
                  </a:lnTo>
                  <a:lnTo>
                    <a:pt x="442" y="100"/>
                  </a:lnTo>
                  <a:lnTo>
                    <a:pt x="442" y="104"/>
                  </a:lnTo>
                  <a:lnTo>
                    <a:pt x="438" y="104"/>
                  </a:lnTo>
                  <a:lnTo>
                    <a:pt x="434" y="104"/>
                  </a:lnTo>
                  <a:lnTo>
                    <a:pt x="430" y="104"/>
                  </a:lnTo>
                  <a:lnTo>
                    <a:pt x="426" y="104"/>
                  </a:lnTo>
                  <a:lnTo>
                    <a:pt x="422" y="104"/>
                  </a:lnTo>
                  <a:lnTo>
                    <a:pt x="422" y="100"/>
                  </a:lnTo>
                  <a:lnTo>
                    <a:pt x="418" y="100"/>
                  </a:lnTo>
                  <a:lnTo>
                    <a:pt x="414" y="100"/>
                  </a:lnTo>
                  <a:lnTo>
                    <a:pt x="410" y="100"/>
                  </a:lnTo>
                  <a:lnTo>
                    <a:pt x="406" y="100"/>
                  </a:lnTo>
                  <a:lnTo>
                    <a:pt x="406" y="104"/>
                  </a:lnTo>
                  <a:lnTo>
                    <a:pt x="402" y="104"/>
                  </a:lnTo>
                  <a:lnTo>
                    <a:pt x="402" y="100"/>
                  </a:lnTo>
                  <a:lnTo>
                    <a:pt x="398" y="100"/>
                  </a:lnTo>
                  <a:lnTo>
                    <a:pt x="395" y="100"/>
                  </a:lnTo>
                  <a:lnTo>
                    <a:pt x="395" y="104"/>
                  </a:lnTo>
                  <a:lnTo>
                    <a:pt x="391" y="104"/>
                  </a:lnTo>
                  <a:lnTo>
                    <a:pt x="391" y="100"/>
                  </a:lnTo>
                  <a:lnTo>
                    <a:pt x="387" y="100"/>
                  </a:lnTo>
                  <a:lnTo>
                    <a:pt x="383" y="100"/>
                  </a:lnTo>
                  <a:lnTo>
                    <a:pt x="383" y="104"/>
                  </a:lnTo>
                  <a:lnTo>
                    <a:pt x="379" y="104"/>
                  </a:lnTo>
                  <a:lnTo>
                    <a:pt x="379" y="108"/>
                  </a:lnTo>
                  <a:lnTo>
                    <a:pt x="379" y="112"/>
                  </a:lnTo>
                  <a:lnTo>
                    <a:pt x="375" y="112"/>
                  </a:lnTo>
                  <a:lnTo>
                    <a:pt x="375" y="116"/>
                  </a:lnTo>
                  <a:lnTo>
                    <a:pt x="379" y="120"/>
                  </a:lnTo>
                  <a:lnTo>
                    <a:pt x="379" y="124"/>
                  </a:lnTo>
                  <a:lnTo>
                    <a:pt x="379" y="128"/>
                  </a:lnTo>
                  <a:lnTo>
                    <a:pt x="383" y="128"/>
                  </a:lnTo>
                  <a:lnTo>
                    <a:pt x="387" y="128"/>
                  </a:lnTo>
                  <a:lnTo>
                    <a:pt x="387" y="132"/>
                  </a:lnTo>
                  <a:lnTo>
                    <a:pt x="387" y="136"/>
                  </a:lnTo>
                  <a:lnTo>
                    <a:pt x="391" y="136"/>
                  </a:lnTo>
                  <a:lnTo>
                    <a:pt x="395" y="136"/>
                  </a:lnTo>
                  <a:lnTo>
                    <a:pt x="395" y="132"/>
                  </a:lnTo>
                  <a:lnTo>
                    <a:pt x="398" y="128"/>
                  </a:lnTo>
                  <a:lnTo>
                    <a:pt x="398" y="124"/>
                  </a:lnTo>
                  <a:lnTo>
                    <a:pt x="402" y="124"/>
                  </a:lnTo>
                  <a:lnTo>
                    <a:pt x="402" y="128"/>
                  </a:lnTo>
                  <a:lnTo>
                    <a:pt x="406" y="128"/>
                  </a:lnTo>
                  <a:lnTo>
                    <a:pt x="410" y="128"/>
                  </a:lnTo>
                  <a:lnTo>
                    <a:pt x="410" y="124"/>
                  </a:lnTo>
                  <a:lnTo>
                    <a:pt x="414" y="124"/>
                  </a:lnTo>
                  <a:lnTo>
                    <a:pt x="418" y="124"/>
                  </a:lnTo>
                  <a:lnTo>
                    <a:pt x="422" y="124"/>
                  </a:lnTo>
                  <a:lnTo>
                    <a:pt x="418" y="124"/>
                  </a:lnTo>
                  <a:lnTo>
                    <a:pt x="418" y="120"/>
                  </a:lnTo>
                  <a:lnTo>
                    <a:pt x="422" y="120"/>
                  </a:lnTo>
                  <a:lnTo>
                    <a:pt x="426" y="120"/>
                  </a:lnTo>
                  <a:lnTo>
                    <a:pt x="426" y="124"/>
                  </a:lnTo>
                  <a:lnTo>
                    <a:pt x="426" y="128"/>
                  </a:lnTo>
                  <a:close/>
                  <a:moveTo>
                    <a:pt x="111" y="84"/>
                  </a:moveTo>
                  <a:lnTo>
                    <a:pt x="111" y="88"/>
                  </a:lnTo>
                  <a:lnTo>
                    <a:pt x="111" y="84"/>
                  </a:lnTo>
                  <a:lnTo>
                    <a:pt x="107" y="84"/>
                  </a:lnTo>
                  <a:lnTo>
                    <a:pt x="103" y="84"/>
                  </a:lnTo>
                  <a:lnTo>
                    <a:pt x="103" y="80"/>
                  </a:lnTo>
                  <a:lnTo>
                    <a:pt x="107" y="80"/>
                  </a:lnTo>
                  <a:lnTo>
                    <a:pt x="111" y="84"/>
                  </a:lnTo>
                  <a:close/>
                  <a:moveTo>
                    <a:pt x="40" y="100"/>
                  </a:moveTo>
                  <a:lnTo>
                    <a:pt x="40" y="96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36" y="84"/>
                  </a:lnTo>
                  <a:lnTo>
                    <a:pt x="40" y="88"/>
                  </a:lnTo>
                  <a:lnTo>
                    <a:pt x="44" y="92"/>
                  </a:lnTo>
                  <a:lnTo>
                    <a:pt x="40" y="96"/>
                  </a:lnTo>
                  <a:lnTo>
                    <a:pt x="40" y="100"/>
                  </a:lnTo>
                  <a:close/>
                  <a:moveTo>
                    <a:pt x="111" y="88"/>
                  </a:moveTo>
                  <a:lnTo>
                    <a:pt x="111" y="92"/>
                  </a:lnTo>
                  <a:lnTo>
                    <a:pt x="107" y="92"/>
                  </a:lnTo>
                  <a:lnTo>
                    <a:pt x="107" y="88"/>
                  </a:lnTo>
                  <a:lnTo>
                    <a:pt x="107" y="84"/>
                  </a:lnTo>
                  <a:lnTo>
                    <a:pt x="111" y="88"/>
                  </a:lnTo>
                  <a:close/>
                  <a:moveTo>
                    <a:pt x="143" y="92"/>
                  </a:moveTo>
                  <a:lnTo>
                    <a:pt x="143" y="96"/>
                  </a:lnTo>
                  <a:lnTo>
                    <a:pt x="143" y="92"/>
                  </a:lnTo>
                  <a:lnTo>
                    <a:pt x="139" y="92"/>
                  </a:lnTo>
                  <a:lnTo>
                    <a:pt x="139" y="88"/>
                  </a:lnTo>
                  <a:lnTo>
                    <a:pt x="143" y="88"/>
                  </a:lnTo>
                  <a:lnTo>
                    <a:pt x="143" y="92"/>
                  </a:lnTo>
                  <a:close/>
                  <a:moveTo>
                    <a:pt x="135" y="88"/>
                  </a:moveTo>
                  <a:lnTo>
                    <a:pt x="135" y="92"/>
                  </a:lnTo>
                  <a:lnTo>
                    <a:pt x="131" y="92"/>
                  </a:lnTo>
                  <a:lnTo>
                    <a:pt x="131" y="88"/>
                  </a:lnTo>
                  <a:lnTo>
                    <a:pt x="135" y="88"/>
                  </a:lnTo>
                  <a:close/>
                  <a:moveTo>
                    <a:pt x="119" y="96"/>
                  </a:moveTo>
                  <a:lnTo>
                    <a:pt x="119" y="92"/>
                  </a:lnTo>
                  <a:lnTo>
                    <a:pt x="115" y="92"/>
                  </a:lnTo>
                  <a:lnTo>
                    <a:pt x="115" y="88"/>
                  </a:lnTo>
                  <a:lnTo>
                    <a:pt x="119" y="88"/>
                  </a:lnTo>
                  <a:lnTo>
                    <a:pt x="119" y="92"/>
                  </a:lnTo>
                  <a:lnTo>
                    <a:pt x="123" y="92"/>
                  </a:lnTo>
                  <a:lnTo>
                    <a:pt x="123" y="96"/>
                  </a:lnTo>
                  <a:lnTo>
                    <a:pt x="119" y="96"/>
                  </a:lnTo>
                  <a:close/>
                  <a:moveTo>
                    <a:pt x="119" y="96"/>
                  </a:moveTo>
                  <a:lnTo>
                    <a:pt x="115" y="96"/>
                  </a:lnTo>
                  <a:lnTo>
                    <a:pt x="111" y="96"/>
                  </a:lnTo>
                  <a:lnTo>
                    <a:pt x="111" y="92"/>
                  </a:lnTo>
                  <a:lnTo>
                    <a:pt x="111" y="88"/>
                  </a:lnTo>
                  <a:lnTo>
                    <a:pt x="111" y="92"/>
                  </a:lnTo>
                  <a:lnTo>
                    <a:pt x="115" y="92"/>
                  </a:lnTo>
                  <a:lnTo>
                    <a:pt x="119" y="92"/>
                  </a:lnTo>
                  <a:lnTo>
                    <a:pt x="119" y="96"/>
                  </a:lnTo>
                  <a:close/>
                  <a:moveTo>
                    <a:pt x="127" y="92"/>
                  </a:moveTo>
                  <a:lnTo>
                    <a:pt x="123" y="92"/>
                  </a:lnTo>
                  <a:lnTo>
                    <a:pt x="123" y="88"/>
                  </a:lnTo>
                  <a:lnTo>
                    <a:pt x="123" y="92"/>
                  </a:lnTo>
                  <a:lnTo>
                    <a:pt x="127" y="92"/>
                  </a:lnTo>
                  <a:close/>
                  <a:moveTo>
                    <a:pt x="135" y="96"/>
                  </a:moveTo>
                  <a:lnTo>
                    <a:pt x="135" y="92"/>
                  </a:lnTo>
                  <a:lnTo>
                    <a:pt x="139" y="96"/>
                  </a:lnTo>
                  <a:lnTo>
                    <a:pt x="135" y="96"/>
                  </a:lnTo>
                  <a:close/>
                  <a:moveTo>
                    <a:pt x="127" y="96"/>
                  </a:moveTo>
                  <a:lnTo>
                    <a:pt x="127" y="100"/>
                  </a:lnTo>
                  <a:lnTo>
                    <a:pt x="123" y="100"/>
                  </a:lnTo>
                  <a:lnTo>
                    <a:pt x="123" y="96"/>
                  </a:lnTo>
                  <a:lnTo>
                    <a:pt x="123" y="92"/>
                  </a:lnTo>
                  <a:lnTo>
                    <a:pt x="123" y="96"/>
                  </a:lnTo>
                  <a:lnTo>
                    <a:pt x="127" y="96"/>
                  </a:lnTo>
                  <a:close/>
                  <a:moveTo>
                    <a:pt x="143" y="108"/>
                  </a:moveTo>
                  <a:lnTo>
                    <a:pt x="143" y="104"/>
                  </a:lnTo>
                  <a:lnTo>
                    <a:pt x="143" y="108"/>
                  </a:lnTo>
                  <a:close/>
                  <a:moveTo>
                    <a:pt x="55" y="108"/>
                  </a:moveTo>
                  <a:lnTo>
                    <a:pt x="51" y="108"/>
                  </a:lnTo>
                  <a:lnTo>
                    <a:pt x="55" y="108"/>
                  </a:lnTo>
                  <a:close/>
                  <a:moveTo>
                    <a:pt x="147" y="116"/>
                  </a:moveTo>
                  <a:lnTo>
                    <a:pt x="143" y="116"/>
                  </a:lnTo>
                  <a:lnTo>
                    <a:pt x="143" y="112"/>
                  </a:lnTo>
                  <a:lnTo>
                    <a:pt x="143" y="116"/>
                  </a:lnTo>
                  <a:lnTo>
                    <a:pt x="139" y="116"/>
                  </a:lnTo>
                  <a:lnTo>
                    <a:pt x="139" y="112"/>
                  </a:lnTo>
                  <a:lnTo>
                    <a:pt x="143" y="112"/>
                  </a:lnTo>
                  <a:lnTo>
                    <a:pt x="143" y="108"/>
                  </a:lnTo>
                  <a:lnTo>
                    <a:pt x="143" y="112"/>
                  </a:lnTo>
                  <a:lnTo>
                    <a:pt x="147" y="112"/>
                  </a:lnTo>
                  <a:lnTo>
                    <a:pt x="147" y="116"/>
                  </a:lnTo>
                  <a:close/>
                  <a:moveTo>
                    <a:pt x="51" y="116"/>
                  </a:moveTo>
                  <a:lnTo>
                    <a:pt x="47" y="112"/>
                  </a:lnTo>
                  <a:lnTo>
                    <a:pt x="47" y="108"/>
                  </a:lnTo>
                  <a:lnTo>
                    <a:pt x="47" y="112"/>
                  </a:lnTo>
                  <a:lnTo>
                    <a:pt x="51" y="112"/>
                  </a:lnTo>
                  <a:lnTo>
                    <a:pt x="51" y="116"/>
                  </a:lnTo>
                  <a:close/>
                  <a:moveTo>
                    <a:pt x="538" y="120"/>
                  </a:moveTo>
                  <a:lnTo>
                    <a:pt x="538" y="116"/>
                  </a:lnTo>
                  <a:lnTo>
                    <a:pt x="534" y="116"/>
                  </a:lnTo>
                  <a:lnTo>
                    <a:pt x="530" y="116"/>
                  </a:lnTo>
                  <a:lnTo>
                    <a:pt x="530" y="112"/>
                  </a:lnTo>
                  <a:lnTo>
                    <a:pt x="534" y="116"/>
                  </a:lnTo>
                  <a:lnTo>
                    <a:pt x="534" y="112"/>
                  </a:lnTo>
                  <a:lnTo>
                    <a:pt x="530" y="112"/>
                  </a:lnTo>
                  <a:lnTo>
                    <a:pt x="534" y="112"/>
                  </a:lnTo>
                  <a:lnTo>
                    <a:pt x="538" y="112"/>
                  </a:lnTo>
                  <a:lnTo>
                    <a:pt x="542" y="112"/>
                  </a:lnTo>
                  <a:lnTo>
                    <a:pt x="546" y="112"/>
                  </a:lnTo>
                  <a:lnTo>
                    <a:pt x="546" y="116"/>
                  </a:lnTo>
                  <a:lnTo>
                    <a:pt x="542" y="116"/>
                  </a:lnTo>
                  <a:lnTo>
                    <a:pt x="538" y="112"/>
                  </a:lnTo>
                  <a:lnTo>
                    <a:pt x="538" y="116"/>
                  </a:lnTo>
                  <a:lnTo>
                    <a:pt x="542" y="116"/>
                  </a:lnTo>
                  <a:lnTo>
                    <a:pt x="542" y="120"/>
                  </a:lnTo>
                  <a:lnTo>
                    <a:pt x="538" y="120"/>
                  </a:lnTo>
                  <a:close/>
                  <a:moveTo>
                    <a:pt x="51" y="120"/>
                  </a:moveTo>
                  <a:lnTo>
                    <a:pt x="47" y="120"/>
                  </a:lnTo>
                  <a:lnTo>
                    <a:pt x="47" y="116"/>
                  </a:lnTo>
                  <a:lnTo>
                    <a:pt x="51" y="116"/>
                  </a:lnTo>
                  <a:lnTo>
                    <a:pt x="51" y="120"/>
                  </a:lnTo>
                  <a:close/>
                  <a:moveTo>
                    <a:pt x="490" y="116"/>
                  </a:moveTo>
                  <a:lnTo>
                    <a:pt x="494" y="120"/>
                  </a:lnTo>
                  <a:lnTo>
                    <a:pt x="490" y="120"/>
                  </a:lnTo>
                  <a:lnTo>
                    <a:pt x="490" y="124"/>
                  </a:lnTo>
                  <a:lnTo>
                    <a:pt x="494" y="124"/>
                  </a:lnTo>
                  <a:lnTo>
                    <a:pt x="494" y="128"/>
                  </a:lnTo>
                  <a:lnTo>
                    <a:pt x="494" y="124"/>
                  </a:lnTo>
                  <a:lnTo>
                    <a:pt x="490" y="124"/>
                  </a:lnTo>
                  <a:lnTo>
                    <a:pt x="486" y="120"/>
                  </a:lnTo>
                  <a:lnTo>
                    <a:pt x="486" y="116"/>
                  </a:lnTo>
                  <a:lnTo>
                    <a:pt x="490" y="116"/>
                  </a:lnTo>
                  <a:close/>
                  <a:moveTo>
                    <a:pt x="143" y="116"/>
                  </a:moveTo>
                  <a:lnTo>
                    <a:pt x="143" y="120"/>
                  </a:lnTo>
                  <a:lnTo>
                    <a:pt x="139" y="120"/>
                  </a:lnTo>
                  <a:lnTo>
                    <a:pt x="139" y="116"/>
                  </a:lnTo>
                  <a:lnTo>
                    <a:pt x="143" y="116"/>
                  </a:lnTo>
                  <a:close/>
                  <a:moveTo>
                    <a:pt x="666" y="243"/>
                  </a:moveTo>
                  <a:lnTo>
                    <a:pt x="666" y="239"/>
                  </a:lnTo>
                  <a:lnTo>
                    <a:pt x="666" y="243"/>
                  </a:lnTo>
                  <a:lnTo>
                    <a:pt x="662" y="239"/>
                  </a:lnTo>
                  <a:lnTo>
                    <a:pt x="658" y="235"/>
                  </a:lnTo>
                  <a:lnTo>
                    <a:pt x="662" y="235"/>
                  </a:lnTo>
                  <a:lnTo>
                    <a:pt x="666" y="235"/>
                  </a:lnTo>
                  <a:lnTo>
                    <a:pt x="666" y="239"/>
                  </a:lnTo>
                  <a:lnTo>
                    <a:pt x="666" y="235"/>
                  </a:lnTo>
                  <a:lnTo>
                    <a:pt x="662" y="235"/>
                  </a:lnTo>
                  <a:lnTo>
                    <a:pt x="658" y="231"/>
                  </a:lnTo>
                  <a:lnTo>
                    <a:pt x="658" y="227"/>
                  </a:lnTo>
                  <a:lnTo>
                    <a:pt x="654" y="227"/>
                  </a:lnTo>
                  <a:lnTo>
                    <a:pt x="654" y="223"/>
                  </a:lnTo>
                  <a:lnTo>
                    <a:pt x="654" y="219"/>
                  </a:lnTo>
                  <a:lnTo>
                    <a:pt x="654" y="215"/>
                  </a:lnTo>
                  <a:lnTo>
                    <a:pt x="650" y="215"/>
                  </a:lnTo>
                  <a:lnTo>
                    <a:pt x="654" y="215"/>
                  </a:lnTo>
                  <a:lnTo>
                    <a:pt x="654" y="211"/>
                  </a:lnTo>
                  <a:lnTo>
                    <a:pt x="654" y="215"/>
                  </a:lnTo>
                  <a:lnTo>
                    <a:pt x="650" y="215"/>
                  </a:lnTo>
                  <a:lnTo>
                    <a:pt x="650" y="211"/>
                  </a:lnTo>
                  <a:lnTo>
                    <a:pt x="650" y="207"/>
                  </a:lnTo>
                  <a:lnTo>
                    <a:pt x="650" y="211"/>
                  </a:lnTo>
                  <a:lnTo>
                    <a:pt x="646" y="207"/>
                  </a:lnTo>
                  <a:lnTo>
                    <a:pt x="642" y="203"/>
                  </a:lnTo>
                  <a:lnTo>
                    <a:pt x="638" y="203"/>
                  </a:lnTo>
                  <a:lnTo>
                    <a:pt x="638" y="199"/>
                  </a:lnTo>
                  <a:lnTo>
                    <a:pt x="634" y="199"/>
                  </a:lnTo>
                  <a:lnTo>
                    <a:pt x="630" y="199"/>
                  </a:lnTo>
                  <a:lnTo>
                    <a:pt x="626" y="195"/>
                  </a:lnTo>
                  <a:lnTo>
                    <a:pt x="622" y="195"/>
                  </a:lnTo>
                  <a:lnTo>
                    <a:pt x="618" y="195"/>
                  </a:lnTo>
                  <a:lnTo>
                    <a:pt x="618" y="191"/>
                  </a:lnTo>
                  <a:lnTo>
                    <a:pt x="614" y="191"/>
                  </a:lnTo>
                  <a:lnTo>
                    <a:pt x="610" y="191"/>
                  </a:lnTo>
                  <a:lnTo>
                    <a:pt x="606" y="191"/>
                  </a:lnTo>
                  <a:lnTo>
                    <a:pt x="602" y="187"/>
                  </a:lnTo>
                  <a:lnTo>
                    <a:pt x="598" y="187"/>
                  </a:lnTo>
                  <a:lnTo>
                    <a:pt x="598" y="183"/>
                  </a:lnTo>
                  <a:lnTo>
                    <a:pt x="602" y="183"/>
                  </a:lnTo>
                  <a:lnTo>
                    <a:pt x="598" y="179"/>
                  </a:lnTo>
                  <a:lnTo>
                    <a:pt x="598" y="183"/>
                  </a:lnTo>
                  <a:lnTo>
                    <a:pt x="594" y="183"/>
                  </a:lnTo>
                  <a:lnTo>
                    <a:pt x="594" y="179"/>
                  </a:lnTo>
                  <a:lnTo>
                    <a:pt x="594" y="183"/>
                  </a:lnTo>
                  <a:lnTo>
                    <a:pt x="590" y="183"/>
                  </a:lnTo>
                  <a:lnTo>
                    <a:pt x="590" y="179"/>
                  </a:lnTo>
                  <a:lnTo>
                    <a:pt x="586" y="179"/>
                  </a:lnTo>
                  <a:lnTo>
                    <a:pt x="586" y="175"/>
                  </a:lnTo>
                  <a:lnTo>
                    <a:pt x="582" y="175"/>
                  </a:lnTo>
                  <a:lnTo>
                    <a:pt x="582" y="171"/>
                  </a:lnTo>
                  <a:lnTo>
                    <a:pt x="582" y="167"/>
                  </a:lnTo>
                  <a:lnTo>
                    <a:pt x="586" y="167"/>
                  </a:lnTo>
                  <a:lnTo>
                    <a:pt x="586" y="164"/>
                  </a:lnTo>
                  <a:lnTo>
                    <a:pt x="582" y="164"/>
                  </a:lnTo>
                  <a:lnTo>
                    <a:pt x="582" y="167"/>
                  </a:lnTo>
                  <a:lnTo>
                    <a:pt x="582" y="171"/>
                  </a:lnTo>
                  <a:lnTo>
                    <a:pt x="582" y="175"/>
                  </a:lnTo>
                  <a:lnTo>
                    <a:pt x="578" y="179"/>
                  </a:lnTo>
                  <a:lnTo>
                    <a:pt x="578" y="183"/>
                  </a:lnTo>
                  <a:lnTo>
                    <a:pt x="574" y="183"/>
                  </a:lnTo>
                  <a:lnTo>
                    <a:pt x="570" y="183"/>
                  </a:lnTo>
                  <a:lnTo>
                    <a:pt x="570" y="179"/>
                  </a:lnTo>
                  <a:lnTo>
                    <a:pt x="570" y="175"/>
                  </a:lnTo>
                  <a:lnTo>
                    <a:pt x="570" y="171"/>
                  </a:lnTo>
                  <a:lnTo>
                    <a:pt x="570" y="167"/>
                  </a:lnTo>
                  <a:lnTo>
                    <a:pt x="570" y="171"/>
                  </a:lnTo>
                  <a:lnTo>
                    <a:pt x="566" y="171"/>
                  </a:lnTo>
                  <a:lnTo>
                    <a:pt x="566" y="167"/>
                  </a:lnTo>
                  <a:lnTo>
                    <a:pt x="566" y="164"/>
                  </a:lnTo>
                  <a:lnTo>
                    <a:pt x="562" y="164"/>
                  </a:lnTo>
                  <a:lnTo>
                    <a:pt x="558" y="164"/>
                  </a:lnTo>
                  <a:lnTo>
                    <a:pt x="558" y="160"/>
                  </a:lnTo>
                  <a:lnTo>
                    <a:pt x="562" y="160"/>
                  </a:lnTo>
                  <a:lnTo>
                    <a:pt x="566" y="160"/>
                  </a:lnTo>
                  <a:lnTo>
                    <a:pt x="570" y="160"/>
                  </a:lnTo>
                  <a:lnTo>
                    <a:pt x="574" y="156"/>
                  </a:lnTo>
                  <a:lnTo>
                    <a:pt x="578" y="156"/>
                  </a:lnTo>
                  <a:lnTo>
                    <a:pt x="582" y="156"/>
                  </a:lnTo>
                  <a:lnTo>
                    <a:pt x="582" y="160"/>
                  </a:lnTo>
                  <a:lnTo>
                    <a:pt x="582" y="156"/>
                  </a:lnTo>
                  <a:lnTo>
                    <a:pt x="586" y="156"/>
                  </a:lnTo>
                  <a:lnTo>
                    <a:pt x="586" y="160"/>
                  </a:lnTo>
                  <a:lnTo>
                    <a:pt x="586" y="156"/>
                  </a:lnTo>
                  <a:lnTo>
                    <a:pt x="586" y="152"/>
                  </a:lnTo>
                  <a:lnTo>
                    <a:pt x="586" y="148"/>
                  </a:lnTo>
                  <a:lnTo>
                    <a:pt x="582" y="152"/>
                  </a:lnTo>
                  <a:lnTo>
                    <a:pt x="578" y="152"/>
                  </a:lnTo>
                  <a:lnTo>
                    <a:pt x="574" y="152"/>
                  </a:lnTo>
                  <a:lnTo>
                    <a:pt x="570" y="152"/>
                  </a:lnTo>
                  <a:lnTo>
                    <a:pt x="566" y="152"/>
                  </a:lnTo>
                  <a:lnTo>
                    <a:pt x="562" y="152"/>
                  </a:lnTo>
                  <a:lnTo>
                    <a:pt x="562" y="148"/>
                  </a:lnTo>
                  <a:lnTo>
                    <a:pt x="558" y="148"/>
                  </a:lnTo>
                  <a:lnTo>
                    <a:pt x="558" y="144"/>
                  </a:lnTo>
                  <a:lnTo>
                    <a:pt x="558" y="140"/>
                  </a:lnTo>
                  <a:lnTo>
                    <a:pt x="554" y="140"/>
                  </a:lnTo>
                  <a:lnTo>
                    <a:pt x="550" y="136"/>
                  </a:lnTo>
                  <a:lnTo>
                    <a:pt x="546" y="136"/>
                  </a:lnTo>
                  <a:lnTo>
                    <a:pt x="542" y="136"/>
                  </a:lnTo>
                  <a:lnTo>
                    <a:pt x="542" y="132"/>
                  </a:lnTo>
                  <a:lnTo>
                    <a:pt x="546" y="132"/>
                  </a:lnTo>
                  <a:lnTo>
                    <a:pt x="546" y="128"/>
                  </a:lnTo>
                  <a:lnTo>
                    <a:pt x="546" y="124"/>
                  </a:lnTo>
                  <a:lnTo>
                    <a:pt x="550" y="124"/>
                  </a:lnTo>
                  <a:lnTo>
                    <a:pt x="554" y="124"/>
                  </a:lnTo>
                  <a:lnTo>
                    <a:pt x="558" y="124"/>
                  </a:lnTo>
                  <a:lnTo>
                    <a:pt x="558" y="120"/>
                  </a:lnTo>
                  <a:lnTo>
                    <a:pt x="562" y="116"/>
                  </a:lnTo>
                  <a:lnTo>
                    <a:pt x="566" y="116"/>
                  </a:lnTo>
                  <a:lnTo>
                    <a:pt x="570" y="116"/>
                  </a:lnTo>
                  <a:lnTo>
                    <a:pt x="570" y="120"/>
                  </a:lnTo>
                  <a:lnTo>
                    <a:pt x="574" y="120"/>
                  </a:lnTo>
                  <a:lnTo>
                    <a:pt x="578" y="120"/>
                  </a:lnTo>
                  <a:lnTo>
                    <a:pt x="578" y="124"/>
                  </a:lnTo>
                  <a:lnTo>
                    <a:pt x="582" y="124"/>
                  </a:lnTo>
                  <a:lnTo>
                    <a:pt x="586" y="124"/>
                  </a:lnTo>
                  <a:lnTo>
                    <a:pt x="590" y="124"/>
                  </a:lnTo>
                  <a:lnTo>
                    <a:pt x="590" y="128"/>
                  </a:lnTo>
                  <a:lnTo>
                    <a:pt x="590" y="132"/>
                  </a:lnTo>
                  <a:lnTo>
                    <a:pt x="594" y="136"/>
                  </a:lnTo>
                  <a:lnTo>
                    <a:pt x="590" y="136"/>
                  </a:lnTo>
                  <a:lnTo>
                    <a:pt x="590" y="140"/>
                  </a:lnTo>
                  <a:lnTo>
                    <a:pt x="590" y="144"/>
                  </a:lnTo>
                  <a:lnTo>
                    <a:pt x="590" y="148"/>
                  </a:lnTo>
                  <a:lnTo>
                    <a:pt x="590" y="152"/>
                  </a:lnTo>
                  <a:lnTo>
                    <a:pt x="590" y="156"/>
                  </a:lnTo>
                  <a:lnTo>
                    <a:pt x="594" y="156"/>
                  </a:lnTo>
                  <a:lnTo>
                    <a:pt x="594" y="160"/>
                  </a:lnTo>
                  <a:lnTo>
                    <a:pt x="594" y="164"/>
                  </a:lnTo>
                  <a:lnTo>
                    <a:pt x="598" y="160"/>
                  </a:lnTo>
                  <a:lnTo>
                    <a:pt x="594" y="160"/>
                  </a:lnTo>
                  <a:lnTo>
                    <a:pt x="594" y="156"/>
                  </a:lnTo>
                  <a:lnTo>
                    <a:pt x="598" y="156"/>
                  </a:lnTo>
                  <a:lnTo>
                    <a:pt x="598" y="160"/>
                  </a:lnTo>
                  <a:lnTo>
                    <a:pt x="598" y="164"/>
                  </a:lnTo>
                  <a:lnTo>
                    <a:pt x="602" y="164"/>
                  </a:lnTo>
                  <a:lnTo>
                    <a:pt x="602" y="167"/>
                  </a:lnTo>
                  <a:lnTo>
                    <a:pt x="602" y="171"/>
                  </a:lnTo>
                  <a:lnTo>
                    <a:pt x="606" y="171"/>
                  </a:lnTo>
                  <a:lnTo>
                    <a:pt x="610" y="171"/>
                  </a:lnTo>
                  <a:lnTo>
                    <a:pt x="610" y="167"/>
                  </a:lnTo>
                  <a:lnTo>
                    <a:pt x="614" y="167"/>
                  </a:lnTo>
                  <a:lnTo>
                    <a:pt x="614" y="164"/>
                  </a:lnTo>
                  <a:lnTo>
                    <a:pt x="618" y="164"/>
                  </a:lnTo>
                  <a:lnTo>
                    <a:pt x="618" y="160"/>
                  </a:lnTo>
                  <a:lnTo>
                    <a:pt x="622" y="160"/>
                  </a:lnTo>
                  <a:lnTo>
                    <a:pt x="622" y="156"/>
                  </a:lnTo>
                  <a:lnTo>
                    <a:pt x="622" y="152"/>
                  </a:lnTo>
                  <a:lnTo>
                    <a:pt x="626" y="152"/>
                  </a:lnTo>
                  <a:lnTo>
                    <a:pt x="630" y="152"/>
                  </a:lnTo>
                  <a:lnTo>
                    <a:pt x="634" y="148"/>
                  </a:lnTo>
                  <a:lnTo>
                    <a:pt x="638" y="148"/>
                  </a:lnTo>
                  <a:lnTo>
                    <a:pt x="638" y="144"/>
                  </a:lnTo>
                  <a:lnTo>
                    <a:pt x="634" y="144"/>
                  </a:lnTo>
                  <a:lnTo>
                    <a:pt x="638" y="144"/>
                  </a:lnTo>
                  <a:lnTo>
                    <a:pt x="638" y="140"/>
                  </a:lnTo>
                  <a:lnTo>
                    <a:pt x="642" y="140"/>
                  </a:lnTo>
                  <a:lnTo>
                    <a:pt x="646" y="136"/>
                  </a:lnTo>
                  <a:lnTo>
                    <a:pt x="650" y="136"/>
                  </a:lnTo>
                  <a:lnTo>
                    <a:pt x="650" y="140"/>
                  </a:lnTo>
                  <a:lnTo>
                    <a:pt x="654" y="140"/>
                  </a:lnTo>
                  <a:lnTo>
                    <a:pt x="658" y="144"/>
                  </a:lnTo>
                  <a:lnTo>
                    <a:pt x="662" y="144"/>
                  </a:lnTo>
                  <a:lnTo>
                    <a:pt x="662" y="148"/>
                  </a:lnTo>
                  <a:lnTo>
                    <a:pt x="666" y="148"/>
                  </a:lnTo>
                  <a:lnTo>
                    <a:pt x="670" y="148"/>
                  </a:lnTo>
                  <a:lnTo>
                    <a:pt x="670" y="152"/>
                  </a:lnTo>
                  <a:lnTo>
                    <a:pt x="674" y="152"/>
                  </a:lnTo>
                  <a:lnTo>
                    <a:pt x="678" y="152"/>
                  </a:lnTo>
                  <a:lnTo>
                    <a:pt x="682" y="152"/>
                  </a:lnTo>
                  <a:lnTo>
                    <a:pt x="682" y="156"/>
                  </a:lnTo>
                  <a:lnTo>
                    <a:pt x="686" y="156"/>
                  </a:lnTo>
                  <a:lnTo>
                    <a:pt x="690" y="156"/>
                  </a:lnTo>
                  <a:lnTo>
                    <a:pt x="690" y="160"/>
                  </a:lnTo>
                  <a:lnTo>
                    <a:pt x="690" y="156"/>
                  </a:lnTo>
                  <a:lnTo>
                    <a:pt x="694" y="156"/>
                  </a:lnTo>
                  <a:lnTo>
                    <a:pt x="694" y="199"/>
                  </a:lnTo>
                  <a:lnTo>
                    <a:pt x="694" y="219"/>
                  </a:lnTo>
                  <a:lnTo>
                    <a:pt x="694" y="227"/>
                  </a:lnTo>
                  <a:lnTo>
                    <a:pt x="694" y="231"/>
                  </a:lnTo>
                  <a:lnTo>
                    <a:pt x="694" y="235"/>
                  </a:lnTo>
                  <a:lnTo>
                    <a:pt x="694" y="275"/>
                  </a:lnTo>
                  <a:lnTo>
                    <a:pt x="690" y="275"/>
                  </a:lnTo>
                  <a:lnTo>
                    <a:pt x="690" y="271"/>
                  </a:lnTo>
                  <a:lnTo>
                    <a:pt x="686" y="267"/>
                  </a:lnTo>
                  <a:lnTo>
                    <a:pt x="686" y="263"/>
                  </a:lnTo>
                  <a:lnTo>
                    <a:pt x="682" y="263"/>
                  </a:lnTo>
                  <a:lnTo>
                    <a:pt x="678" y="259"/>
                  </a:lnTo>
                  <a:lnTo>
                    <a:pt x="682" y="259"/>
                  </a:lnTo>
                  <a:lnTo>
                    <a:pt x="682" y="255"/>
                  </a:lnTo>
                  <a:lnTo>
                    <a:pt x="678" y="255"/>
                  </a:lnTo>
                  <a:lnTo>
                    <a:pt x="678" y="259"/>
                  </a:lnTo>
                  <a:lnTo>
                    <a:pt x="674" y="259"/>
                  </a:lnTo>
                  <a:lnTo>
                    <a:pt x="670" y="259"/>
                  </a:lnTo>
                  <a:lnTo>
                    <a:pt x="666" y="259"/>
                  </a:lnTo>
                  <a:lnTo>
                    <a:pt x="662" y="259"/>
                  </a:lnTo>
                  <a:lnTo>
                    <a:pt x="662" y="263"/>
                  </a:lnTo>
                  <a:lnTo>
                    <a:pt x="662" y="259"/>
                  </a:lnTo>
                  <a:lnTo>
                    <a:pt x="662" y="255"/>
                  </a:lnTo>
                  <a:lnTo>
                    <a:pt x="666" y="251"/>
                  </a:lnTo>
                  <a:lnTo>
                    <a:pt x="662" y="251"/>
                  </a:lnTo>
                  <a:lnTo>
                    <a:pt x="666" y="251"/>
                  </a:lnTo>
                  <a:lnTo>
                    <a:pt x="666" y="247"/>
                  </a:lnTo>
                  <a:lnTo>
                    <a:pt x="662" y="247"/>
                  </a:lnTo>
                  <a:lnTo>
                    <a:pt x="662" y="243"/>
                  </a:lnTo>
                  <a:lnTo>
                    <a:pt x="658" y="243"/>
                  </a:lnTo>
                  <a:lnTo>
                    <a:pt x="658" y="239"/>
                  </a:lnTo>
                  <a:lnTo>
                    <a:pt x="662" y="243"/>
                  </a:lnTo>
                  <a:lnTo>
                    <a:pt x="666" y="243"/>
                  </a:lnTo>
                  <a:close/>
                  <a:moveTo>
                    <a:pt x="538" y="116"/>
                  </a:moveTo>
                  <a:lnTo>
                    <a:pt x="538" y="120"/>
                  </a:lnTo>
                  <a:lnTo>
                    <a:pt x="534" y="120"/>
                  </a:lnTo>
                  <a:lnTo>
                    <a:pt x="538" y="116"/>
                  </a:lnTo>
                  <a:close/>
                  <a:moveTo>
                    <a:pt x="610" y="124"/>
                  </a:moveTo>
                  <a:lnTo>
                    <a:pt x="614" y="124"/>
                  </a:lnTo>
                  <a:lnTo>
                    <a:pt x="618" y="124"/>
                  </a:lnTo>
                  <a:lnTo>
                    <a:pt x="618" y="128"/>
                  </a:lnTo>
                  <a:lnTo>
                    <a:pt x="622" y="128"/>
                  </a:lnTo>
                  <a:lnTo>
                    <a:pt x="622" y="132"/>
                  </a:lnTo>
                  <a:lnTo>
                    <a:pt x="626" y="132"/>
                  </a:lnTo>
                  <a:lnTo>
                    <a:pt x="622" y="132"/>
                  </a:lnTo>
                  <a:lnTo>
                    <a:pt x="618" y="132"/>
                  </a:lnTo>
                  <a:lnTo>
                    <a:pt x="614" y="132"/>
                  </a:lnTo>
                  <a:lnTo>
                    <a:pt x="614" y="128"/>
                  </a:lnTo>
                  <a:lnTo>
                    <a:pt x="614" y="124"/>
                  </a:lnTo>
                  <a:lnTo>
                    <a:pt x="610" y="124"/>
                  </a:lnTo>
                  <a:lnTo>
                    <a:pt x="610" y="120"/>
                  </a:lnTo>
                  <a:lnTo>
                    <a:pt x="610" y="124"/>
                  </a:lnTo>
                  <a:close/>
                  <a:moveTo>
                    <a:pt x="542" y="124"/>
                  </a:moveTo>
                  <a:lnTo>
                    <a:pt x="538" y="128"/>
                  </a:lnTo>
                  <a:lnTo>
                    <a:pt x="534" y="128"/>
                  </a:lnTo>
                  <a:lnTo>
                    <a:pt x="534" y="124"/>
                  </a:lnTo>
                  <a:lnTo>
                    <a:pt x="538" y="124"/>
                  </a:lnTo>
                  <a:lnTo>
                    <a:pt x="542" y="124"/>
                  </a:lnTo>
                  <a:close/>
                  <a:moveTo>
                    <a:pt x="542" y="128"/>
                  </a:moveTo>
                  <a:lnTo>
                    <a:pt x="542" y="132"/>
                  </a:lnTo>
                  <a:lnTo>
                    <a:pt x="542" y="136"/>
                  </a:lnTo>
                  <a:lnTo>
                    <a:pt x="538" y="132"/>
                  </a:lnTo>
                  <a:lnTo>
                    <a:pt x="538" y="128"/>
                  </a:lnTo>
                  <a:lnTo>
                    <a:pt x="542" y="128"/>
                  </a:lnTo>
                  <a:close/>
                  <a:moveTo>
                    <a:pt x="63" y="140"/>
                  </a:moveTo>
                  <a:lnTo>
                    <a:pt x="59" y="140"/>
                  </a:lnTo>
                  <a:lnTo>
                    <a:pt x="63" y="140"/>
                  </a:lnTo>
                  <a:lnTo>
                    <a:pt x="63" y="144"/>
                  </a:lnTo>
                  <a:lnTo>
                    <a:pt x="59" y="144"/>
                  </a:lnTo>
                  <a:lnTo>
                    <a:pt x="55" y="140"/>
                  </a:lnTo>
                  <a:lnTo>
                    <a:pt x="55" y="136"/>
                  </a:lnTo>
                  <a:lnTo>
                    <a:pt x="51" y="132"/>
                  </a:lnTo>
                  <a:lnTo>
                    <a:pt x="51" y="128"/>
                  </a:lnTo>
                  <a:lnTo>
                    <a:pt x="55" y="128"/>
                  </a:lnTo>
                  <a:lnTo>
                    <a:pt x="59" y="132"/>
                  </a:lnTo>
                  <a:lnTo>
                    <a:pt x="59" y="136"/>
                  </a:lnTo>
                  <a:lnTo>
                    <a:pt x="63" y="140"/>
                  </a:lnTo>
                  <a:close/>
                  <a:moveTo>
                    <a:pt x="223" y="128"/>
                  </a:moveTo>
                  <a:lnTo>
                    <a:pt x="223" y="132"/>
                  </a:lnTo>
                  <a:lnTo>
                    <a:pt x="219" y="132"/>
                  </a:lnTo>
                  <a:lnTo>
                    <a:pt x="215" y="132"/>
                  </a:lnTo>
                  <a:lnTo>
                    <a:pt x="215" y="128"/>
                  </a:lnTo>
                  <a:lnTo>
                    <a:pt x="219" y="128"/>
                  </a:lnTo>
                  <a:lnTo>
                    <a:pt x="223" y="128"/>
                  </a:lnTo>
                  <a:close/>
                  <a:moveTo>
                    <a:pt x="526" y="132"/>
                  </a:moveTo>
                  <a:lnTo>
                    <a:pt x="522" y="132"/>
                  </a:lnTo>
                  <a:lnTo>
                    <a:pt x="526" y="132"/>
                  </a:lnTo>
                  <a:close/>
                  <a:moveTo>
                    <a:pt x="430" y="132"/>
                  </a:moveTo>
                  <a:lnTo>
                    <a:pt x="430" y="136"/>
                  </a:lnTo>
                  <a:lnTo>
                    <a:pt x="426" y="136"/>
                  </a:lnTo>
                  <a:lnTo>
                    <a:pt x="426" y="140"/>
                  </a:lnTo>
                  <a:lnTo>
                    <a:pt x="422" y="140"/>
                  </a:lnTo>
                  <a:lnTo>
                    <a:pt x="422" y="136"/>
                  </a:lnTo>
                  <a:lnTo>
                    <a:pt x="422" y="140"/>
                  </a:lnTo>
                  <a:lnTo>
                    <a:pt x="418" y="140"/>
                  </a:lnTo>
                  <a:lnTo>
                    <a:pt x="418" y="136"/>
                  </a:lnTo>
                  <a:lnTo>
                    <a:pt x="418" y="132"/>
                  </a:lnTo>
                  <a:lnTo>
                    <a:pt x="422" y="132"/>
                  </a:lnTo>
                  <a:lnTo>
                    <a:pt x="426" y="132"/>
                  </a:lnTo>
                  <a:lnTo>
                    <a:pt x="426" y="136"/>
                  </a:lnTo>
                  <a:lnTo>
                    <a:pt x="426" y="132"/>
                  </a:lnTo>
                  <a:lnTo>
                    <a:pt x="430" y="132"/>
                  </a:lnTo>
                  <a:close/>
                  <a:moveTo>
                    <a:pt x="498" y="140"/>
                  </a:moveTo>
                  <a:lnTo>
                    <a:pt x="494" y="140"/>
                  </a:lnTo>
                  <a:lnTo>
                    <a:pt x="490" y="140"/>
                  </a:lnTo>
                  <a:lnTo>
                    <a:pt x="486" y="140"/>
                  </a:lnTo>
                  <a:lnTo>
                    <a:pt x="486" y="136"/>
                  </a:lnTo>
                  <a:lnTo>
                    <a:pt x="490" y="136"/>
                  </a:lnTo>
                  <a:lnTo>
                    <a:pt x="494" y="136"/>
                  </a:lnTo>
                  <a:lnTo>
                    <a:pt x="498" y="140"/>
                  </a:lnTo>
                  <a:close/>
                  <a:moveTo>
                    <a:pt x="171" y="164"/>
                  </a:moveTo>
                  <a:lnTo>
                    <a:pt x="167" y="164"/>
                  </a:lnTo>
                  <a:lnTo>
                    <a:pt x="163" y="160"/>
                  </a:lnTo>
                  <a:lnTo>
                    <a:pt x="163" y="156"/>
                  </a:lnTo>
                  <a:lnTo>
                    <a:pt x="163" y="152"/>
                  </a:lnTo>
                  <a:lnTo>
                    <a:pt x="159" y="148"/>
                  </a:lnTo>
                  <a:lnTo>
                    <a:pt x="155" y="148"/>
                  </a:lnTo>
                  <a:lnTo>
                    <a:pt x="151" y="148"/>
                  </a:lnTo>
                  <a:lnTo>
                    <a:pt x="151" y="144"/>
                  </a:lnTo>
                  <a:lnTo>
                    <a:pt x="155" y="144"/>
                  </a:lnTo>
                  <a:lnTo>
                    <a:pt x="155" y="140"/>
                  </a:lnTo>
                  <a:lnTo>
                    <a:pt x="159" y="140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59" y="140"/>
                  </a:lnTo>
                  <a:lnTo>
                    <a:pt x="163" y="136"/>
                  </a:lnTo>
                  <a:lnTo>
                    <a:pt x="163" y="140"/>
                  </a:lnTo>
                  <a:lnTo>
                    <a:pt x="167" y="144"/>
                  </a:lnTo>
                  <a:lnTo>
                    <a:pt x="167" y="148"/>
                  </a:lnTo>
                  <a:lnTo>
                    <a:pt x="167" y="152"/>
                  </a:lnTo>
                  <a:lnTo>
                    <a:pt x="167" y="156"/>
                  </a:lnTo>
                  <a:lnTo>
                    <a:pt x="171" y="156"/>
                  </a:lnTo>
                  <a:lnTo>
                    <a:pt x="175" y="156"/>
                  </a:lnTo>
                  <a:lnTo>
                    <a:pt x="175" y="160"/>
                  </a:lnTo>
                  <a:lnTo>
                    <a:pt x="175" y="164"/>
                  </a:lnTo>
                  <a:lnTo>
                    <a:pt x="175" y="167"/>
                  </a:lnTo>
                  <a:lnTo>
                    <a:pt x="171" y="167"/>
                  </a:lnTo>
                  <a:lnTo>
                    <a:pt x="171" y="164"/>
                  </a:lnTo>
                  <a:close/>
                  <a:moveTo>
                    <a:pt x="207" y="140"/>
                  </a:moveTo>
                  <a:lnTo>
                    <a:pt x="211" y="140"/>
                  </a:lnTo>
                  <a:lnTo>
                    <a:pt x="207" y="140"/>
                  </a:lnTo>
                  <a:close/>
                  <a:moveTo>
                    <a:pt x="610" y="140"/>
                  </a:moveTo>
                  <a:lnTo>
                    <a:pt x="614" y="140"/>
                  </a:lnTo>
                  <a:lnTo>
                    <a:pt x="618" y="140"/>
                  </a:lnTo>
                  <a:lnTo>
                    <a:pt x="622" y="140"/>
                  </a:lnTo>
                  <a:lnTo>
                    <a:pt x="626" y="140"/>
                  </a:lnTo>
                  <a:lnTo>
                    <a:pt x="630" y="140"/>
                  </a:lnTo>
                  <a:lnTo>
                    <a:pt x="630" y="144"/>
                  </a:lnTo>
                  <a:lnTo>
                    <a:pt x="634" y="144"/>
                  </a:lnTo>
                  <a:lnTo>
                    <a:pt x="630" y="144"/>
                  </a:lnTo>
                  <a:lnTo>
                    <a:pt x="626" y="144"/>
                  </a:lnTo>
                  <a:lnTo>
                    <a:pt x="622" y="144"/>
                  </a:lnTo>
                  <a:lnTo>
                    <a:pt x="618" y="144"/>
                  </a:lnTo>
                  <a:lnTo>
                    <a:pt x="614" y="140"/>
                  </a:lnTo>
                  <a:lnTo>
                    <a:pt x="610" y="140"/>
                  </a:lnTo>
                  <a:close/>
                  <a:moveTo>
                    <a:pt x="442" y="140"/>
                  </a:moveTo>
                  <a:lnTo>
                    <a:pt x="446" y="140"/>
                  </a:lnTo>
                  <a:lnTo>
                    <a:pt x="450" y="140"/>
                  </a:lnTo>
                  <a:lnTo>
                    <a:pt x="454" y="140"/>
                  </a:lnTo>
                  <a:lnTo>
                    <a:pt x="458" y="144"/>
                  </a:lnTo>
                  <a:lnTo>
                    <a:pt x="454" y="144"/>
                  </a:lnTo>
                  <a:lnTo>
                    <a:pt x="450" y="144"/>
                  </a:lnTo>
                  <a:lnTo>
                    <a:pt x="446" y="144"/>
                  </a:lnTo>
                  <a:lnTo>
                    <a:pt x="446" y="148"/>
                  </a:lnTo>
                  <a:lnTo>
                    <a:pt x="442" y="148"/>
                  </a:lnTo>
                  <a:lnTo>
                    <a:pt x="442" y="144"/>
                  </a:lnTo>
                  <a:lnTo>
                    <a:pt x="442" y="140"/>
                  </a:lnTo>
                  <a:close/>
                  <a:moveTo>
                    <a:pt x="534" y="140"/>
                  </a:moveTo>
                  <a:lnTo>
                    <a:pt x="534" y="144"/>
                  </a:lnTo>
                  <a:lnTo>
                    <a:pt x="534" y="148"/>
                  </a:lnTo>
                  <a:lnTo>
                    <a:pt x="530" y="148"/>
                  </a:lnTo>
                  <a:lnTo>
                    <a:pt x="526" y="148"/>
                  </a:lnTo>
                  <a:lnTo>
                    <a:pt x="522" y="144"/>
                  </a:lnTo>
                  <a:lnTo>
                    <a:pt x="526" y="144"/>
                  </a:lnTo>
                  <a:lnTo>
                    <a:pt x="526" y="140"/>
                  </a:lnTo>
                  <a:lnTo>
                    <a:pt x="530" y="140"/>
                  </a:lnTo>
                  <a:lnTo>
                    <a:pt x="534" y="140"/>
                  </a:lnTo>
                  <a:close/>
                  <a:moveTo>
                    <a:pt x="458" y="144"/>
                  </a:moveTo>
                  <a:lnTo>
                    <a:pt x="462" y="144"/>
                  </a:lnTo>
                  <a:lnTo>
                    <a:pt x="466" y="144"/>
                  </a:lnTo>
                  <a:lnTo>
                    <a:pt x="470" y="144"/>
                  </a:lnTo>
                  <a:lnTo>
                    <a:pt x="466" y="144"/>
                  </a:lnTo>
                  <a:lnTo>
                    <a:pt x="462" y="144"/>
                  </a:lnTo>
                  <a:lnTo>
                    <a:pt x="458" y="144"/>
                  </a:lnTo>
                  <a:close/>
                  <a:moveTo>
                    <a:pt x="71" y="152"/>
                  </a:moveTo>
                  <a:lnTo>
                    <a:pt x="67" y="152"/>
                  </a:lnTo>
                  <a:lnTo>
                    <a:pt x="67" y="148"/>
                  </a:lnTo>
                  <a:lnTo>
                    <a:pt x="71" y="152"/>
                  </a:lnTo>
                  <a:close/>
                  <a:moveTo>
                    <a:pt x="75" y="160"/>
                  </a:moveTo>
                  <a:lnTo>
                    <a:pt x="75" y="164"/>
                  </a:lnTo>
                  <a:lnTo>
                    <a:pt x="75" y="160"/>
                  </a:lnTo>
                  <a:lnTo>
                    <a:pt x="71" y="160"/>
                  </a:lnTo>
                  <a:lnTo>
                    <a:pt x="71" y="156"/>
                  </a:lnTo>
                  <a:lnTo>
                    <a:pt x="75" y="156"/>
                  </a:lnTo>
                  <a:lnTo>
                    <a:pt x="75" y="160"/>
                  </a:lnTo>
                  <a:close/>
                  <a:moveTo>
                    <a:pt x="199" y="164"/>
                  </a:moveTo>
                  <a:lnTo>
                    <a:pt x="199" y="167"/>
                  </a:lnTo>
                  <a:lnTo>
                    <a:pt x="195" y="167"/>
                  </a:lnTo>
                  <a:lnTo>
                    <a:pt x="191" y="167"/>
                  </a:lnTo>
                  <a:lnTo>
                    <a:pt x="191" y="164"/>
                  </a:lnTo>
                  <a:lnTo>
                    <a:pt x="191" y="167"/>
                  </a:lnTo>
                  <a:lnTo>
                    <a:pt x="187" y="167"/>
                  </a:lnTo>
                  <a:lnTo>
                    <a:pt x="187" y="164"/>
                  </a:lnTo>
                  <a:lnTo>
                    <a:pt x="187" y="160"/>
                  </a:lnTo>
                  <a:lnTo>
                    <a:pt x="191" y="156"/>
                  </a:lnTo>
                  <a:lnTo>
                    <a:pt x="195" y="156"/>
                  </a:lnTo>
                  <a:lnTo>
                    <a:pt x="199" y="160"/>
                  </a:lnTo>
                  <a:lnTo>
                    <a:pt x="199" y="164"/>
                  </a:lnTo>
                  <a:close/>
                  <a:moveTo>
                    <a:pt x="79" y="171"/>
                  </a:moveTo>
                  <a:lnTo>
                    <a:pt x="79" y="167"/>
                  </a:lnTo>
                  <a:lnTo>
                    <a:pt x="75" y="164"/>
                  </a:lnTo>
                  <a:lnTo>
                    <a:pt x="75" y="160"/>
                  </a:lnTo>
                  <a:lnTo>
                    <a:pt x="79" y="164"/>
                  </a:lnTo>
                  <a:lnTo>
                    <a:pt x="79" y="167"/>
                  </a:lnTo>
                  <a:lnTo>
                    <a:pt x="79" y="171"/>
                  </a:lnTo>
                  <a:close/>
                  <a:moveTo>
                    <a:pt x="538" y="179"/>
                  </a:moveTo>
                  <a:lnTo>
                    <a:pt x="534" y="179"/>
                  </a:lnTo>
                  <a:lnTo>
                    <a:pt x="534" y="175"/>
                  </a:lnTo>
                  <a:lnTo>
                    <a:pt x="530" y="175"/>
                  </a:lnTo>
                  <a:lnTo>
                    <a:pt x="526" y="171"/>
                  </a:lnTo>
                  <a:lnTo>
                    <a:pt x="522" y="171"/>
                  </a:lnTo>
                  <a:lnTo>
                    <a:pt x="518" y="171"/>
                  </a:lnTo>
                  <a:lnTo>
                    <a:pt x="522" y="171"/>
                  </a:lnTo>
                  <a:lnTo>
                    <a:pt x="518" y="171"/>
                  </a:lnTo>
                  <a:lnTo>
                    <a:pt x="514" y="171"/>
                  </a:lnTo>
                  <a:lnTo>
                    <a:pt x="510" y="171"/>
                  </a:lnTo>
                  <a:lnTo>
                    <a:pt x="510" y="167"/>
                  </a:lnTo>
                  <a:lnTo>
                    <a:pt x="510" y="171"/>
                  </a:lnTo>
                  <a:lnTo>
                    <a:pt x="506" y="171"/>
                  </a:lnTo>
                  <a:lnTo>
                    <a:pt x="502" y="171"/>
                  </a:lnTo>
                  <a:lnTo>
                    <a:pt x="502" y="167"/>
                  </a:lnTo>
                  <a:lnTo>
                    <a:pt x="498" y="167"/>
                  </a:lnTo>
                  <a:lnTo>
                    <a:pt x="498" y="171"/>
                  </a:lnTo>
                  <a:lnTo>
                    <a:pt x="494" y="175"/>
                  </a:lnTo>
                  <a:lnTo>
                    <a:pt x="494" y="171"/>
                  </a:lnTo>
                  <a:lnTo>
                    <a:pt x="494" y="167"/>
                  </a:lnTo>
                  <a:lnTo>
                    <a:pt x="498" y="167"/>
                  </a:lnTo>
                  <a:lnTo>
                    <a:pt x="498" y="164"/>
                  </a:lnTo>
                  <a:lnTo>
                    <a:pt x="502" y="164"/>
                  </a:lnTo>
                  <a:lnTo>
                    <a:pt x="506" y="164"/>
                  </a:lnTo>
                  <a:lnTo>
                    <a:pt x="510" y="164"/>
                  </a:lnTo>
                  <a:lnTo>
                    <a:pt x="514" y="164"/>
                  </a:lnTo>
                  <a:lnTo>
                    <a:pt x="518" y="164"/>
                  </a:lnTo>
                  <a:lnTo>
                    <a:pt x="518" y="160"/>
                  </a:lnTo>
                  <a:lnTo>
                    <a:pt x="522" y="160"/>
                  </a:lnTo>
                  <a:lnTo>
                    <a:pt x="522" y="164"/>
                  </a:lnTo>
                  <a:lnTo>
                    <a:pt x="526" y="164"/>
                  </a:lnTo>
                  <a:lnTo>
                    <a:pt x="530" y="164"/>
                  </a:lnTo>
                  <a:lnTo>
                    <a:pt x="534" y="164"/>
                  </a:lnTo>
                  <a:lnTo>
                    <a:pt x="538" y="167"/>
                  </a:lnTo>
                  <a:lnTo>
                    <a:pt x="538" y="171"/>
                  </a:lnTo>
                  <a:lnTo>
                    <a:pt x="542" y="175"/>
                  </a:lnTo>
                  <a:lnTo>
                    <a:pt x="538" y="179"/>
                  </a:lnTo>
                  <a:close/>
                  <a:moveTo>
                    <a:pt x="175" y="164"/>
                  </a:moveTo>
                  <a:lnTo>
                    <a:pt x="179" y="164"/>
                  </a:lnTo>
                  <a:lnTo>
                    <a:pt x="175" y="164"/>
                  </a:lnTo>
                  <a:close/>
                  <a:moveTo>
                    <a:pt x="470" y="167"/>
                  </a:moveTo>
                  <a:lnTo>
                    <a:pt x="474" y="167"/>
                  </a:lnTo>
                  <a:lnTo>
                    <a:pt x="478" y="167"/>
                  </a:lnTo>
                  <a:lnTo>
                    <a:pt x="482" y="167"/>
                  </a:lnTo>
                  <a:lnTo>
                    <a:pt x="482" y="171"/>
                  </a:lnTo>
                  <a:lnTo>
                    <a:pt x="486" y="171"/>
                  </a:lnTo>
                  <a:lnTo>
                    <a:pt x="486" y="175"/>
                  </a:lnTo>
                  <a:lnTo>
                    <a:pt x="482" y="175"/>
                  </a:lnTo>
                  <a:lnTo>
                    <a:pt x="482" y="179"/>
                  </a:lnTo>
                  <a:lnTo>
                    <a:pt x="478" y="179"/>
                  </a:lnTo>
                  <a:lnTo>
                    <a:pt x="474" y="179"/>
                  </a:lnTo>
                  <a:lnTo>
                    <a:pt x="470" y="175"/>
                  </a:lnTo>
                  <a:lnTo>
                    <a:pt x="466" y="171"/>
                  </a:lnTo>
                  <a:lnTo>
                    <a:pt x="466" y="167"/>
                  </a:lnTo>
                  <a:lnTo>
                    <a:pt x="470" y="167"/>
                  </a:lnTo>
                  <a:close/>
                  <a:moveTo>
                    <a:pt x="319" y="171"/>
                  </a:moveTo>
                  <a:lnTo>
                    <a:pt x="319" y="175"/>
                  </a:lnTo>
                  <a:lnTo>
                    <a:pt x="319" y="179"/>
                  </a:lnTo>
                  <a:lnTo>
                    <a:pt x="319" y="183"/>
                  </a:lnTo>
                  <a:lnTo>
                    <a:pt x="315" y="183"/>
                  </a:lnTo>
                  <a:lnTo>
                    <a:pt x="319" y="179"/>
                  </a:lnTo>
                  <a:lnTo>
                    <a:pt x="315" y="179"/>
                  </a:lnTo>
                  <a:lnTo>
                    <a:pt x="315" y="175"/>
                  </a:lnTo>
                  <a:lnTo>
                    <a:pt x="315" y="171"/>
                  </a:lnTo>
                  <a:lnTo>
                    <a:pt x="319" y="171"/>
                  </a:lnTo>
                  <a:lnTo>
                    <a:pt x="319" y="167"/>
                  </a:lnTo>
                  <a:lnTo>
                    <a:pt x="319" y="171"/>
                  </a:lnTo>
                  <a:close/>
                  <a:moveTo>
                    <a:pt x="490" y="167"/>
                  </a:moveTo>
                  <a:lnTo>
                    <a:pt x="490" y="171"/>
                  </a:lnTo>
                  <a:lnTo>
                    <a:pt x="490" y="167"/>
                  </a:lnTo>
                  <a:close/>
                  <a:moveTo>
                    <a:pt x="498" y="175"/>
                  </a:moveTo>
                  <a:lnTo>
                    <a:pt x="502" y="175"/>
                  </a:lnTo>
                  <a:lnTo>
                    <a:pt x="502" y="179"/>
                  </a:lnTo>
                  <a:lnTo>
                    <a:pt x="498" y="179"/>
                  </a:lnTo>
                  <a:lnTo>
                    <a:pt x="502" y="175"/>
                  </a:lnTo>
                  <a:lnTo>
                    <a:pt x="498" y="175"/>
                  </a:lnTo>
                  <a:lnTo>
                    <a:pt x="498" y="179"/>
                  </a:lnTo>
                  <a:lnTo>
                    <a:pt x="494" y="179"/>
                  </a:lnTo>
                  <a:lnTo>
                    <a:pt x="494" y="175"/>
                  </a:lnTo>
                  <a:lnTo>
                    <a:pt x="498" y="175"/>
                  </a:lnTo>
                  <a:close/>
                  <a:moveTo>
                    <a:pt x="502" y="175"/>
                  </a:moveTo>
                  <a:lnTo>
                    <a:pt x="506" y="175"/>
                  </a:lnTo>
                  <a:lnTo>
                    <a:pt x="502" y="175"/>
                  </a:lnTo>
                  <a:close/>
                  <a:moveTo>
                    <a:pt x="422" y="183"/>
                  </a:moveTo>
                  <a:lnTo>
                    <a:pt x="426" y="183"/>
                  </a:lnTo>
                  <a:lnTo>
                    <a:pt x="422" y="187"/>
                  </a:lnTo>
                  <a:lnTo>
                    <a:pt x="422" y="183"/>
                  </a:lnTo>
                  <a:close/>
                  <a:moveTo>
                    <a:pt x="422" y="191"/>
                  </a:moveTo>
                  <a:lnTo>
                    <a:pt x="426" y="191"/>
                  </a:lnTo>
                  <a:lnTo>
                    <a:pt x="426" y="195"/>
                  </a:lnTo>
                  <a:lnTo>
                    <a:pt x="426" y="199"/>
                  </a:lnTo>
                  <a:lnTo>
                    <a:pt x="422" y="195"/>
                  </a:lnTo>
                  <a:lnTo>
                    <a:pt x="422" y="199"/>
                  </a:lnTo>
                  <a:lnTo>
                    <a:pt x="422" y="203"/>
                  </a:lnTo>
                  <a:lnTo>
                    <a:pt x="426" y="207"/>
                  </a:lnTo>
                  <a:lnTo>
                    <a:pt x="422" y="207"/>
                  </a:lnTo>
                  <a:lnTo>
                    <a:pt x="418" y="207"/>
                  </a:lnTo>
                  <a:lnTo>
                    <a:pt x="418" y="211"/>
                  </a:lnTo>
                  <a:lnTo>
                    <a:pt x="418" y="215"/>
                  </a:lnTo>
                  <a:lnTo>
                    <a:pt x="414" y="215"/>
                  </a:lnTo>
                  <a:lnTo>
                    <a:pt x="414" y="211"/>
                  </a:lnTo>
                  <a:lnTo>
                    <a:pt x="414" y="207"/>
                  </a:lnTo>
                  <a:lnTo>
                    <a:pt x="418" y="207"/>
                  </a:lnTo>
                  <a:lnTo>
                    <a:pt x="418" y="203"/>
                  </a:lnTo>
                  <a:lnTo>
                    <a:pt x="418" y="199"/>
                  </a:lnTo>
                  <a:lnTo>
                    <a:pt x="418" y="195"/>
                  </a:lnTo>
                  <a:lnTo>
                    <a:pt x="418" y="191"/>
                  </a:lnTo>
                  <a:lnTo>
                    <a:pt x="422" y="191"/>
                  </a:lnTo>
                  <a:close/>
                  <a:moveTo>
                    <a:pt x="418" y="195"/>
                  </a:moveTo>
                  <a:lnTo>
                    <a:pt x="418" y="199"/>
                  </a:lnTo>
                  <a:lnTo>
                    <a:pt x="414" y="203"/>
                  </a:lnTo>
                  <a:lnTo>
                    <a:pt x="414" y="207"/>
                  </a:lnTo>
                  <a:lnTo>
                    <a:pt x="410" y="207"/>
                  </a:lnTo>
                  <a:lnTo>
                    <a:pt x="410" y="203"/>
                  </a:lnTo>
                  <a:lnTo>
                    <a:pt x="410" y="199"/>
                  </a:lnTo>
                  <a:lnTo>
                    <a:pt x="410" y="195"/>
                  </a:lnTo>
                  <a:lnTo>
                    <a:pt x="414" y="195"/>
                  </a:lnTo>
                  <a:lnTo>
                    <a:pt x="418" y="195"/>
                  </a:lnTo>
                  <a:close/>
                  <a:moveTo>
                    <a:pt x="406" y="203"/>
                  </a:moveTo>
                  <a:lnTo>
                    <a:pt x="406" y="207"/>
                  </a:lnTo>
                  <a:lnTo>
                    <a:pt x="406" y="211"/>
                  </a:lnTo>
                  <a:lnTo>
                    <a:pt x="402" y="207"/>
                  </a:lnTo>
                  <a:lnTo>
                    <a:pt x="402" y="203"/>
                  </a:lnTo>
                  <a:lnTo>
                    <a:pt x="406" y="203"/>
                  </a:lnTo>
                  <a:close/>
                  <a:moveTo>
                    <a:pt x="111" y="211"/>
                  </a:moveTo>
                  <a:lnTo>
                    <a:pt x="107" y="211"/>
                  </a:lnTo>
                  <a:lnTo>
                    <a:pt x="103" y="207"/>
                  </a:lnTo>
                  <a:lnTo>
                    <a:pt x="107" y="207"/>
                  </a:lnTo>
                  <a:lnTo>
                    <a:pt x="111" y="207"/>
                  </a:lnTo>
                  <a:lnTo>
                    <a:pt x="111" y="211"/>
                  </a:lnTo>
                  <a:close/>
                  <a:moveTo>
                    <a:pt x="594" y="207"/>
                  </a:moveTo>
                  <a:lnTo>
                    <a:pt x="598" y="207"/>
                  </a:lnTo>
                  <a:lnTo>
                    <a:pt x="598" y="211"/>
                  </a:lnTo>
                  <a:lnTo>
                    <a:pt x="598" y="215"/>
                  </a:lnTo>
                  <a:lnTo>
                    <a:pt x="598" y="219"/>
                  </a:lnTo>
                  <a:lnTo>
                    <a:pt x="594" y="219"/>
                  </a:lnTo>
                  <a:lnTo>
                    <a:pt x="594" y="215"/>
                  </a:lnTo>
                  <a:lnTo>
                    <a:pt x="590" y="215"/>
                  </a:lnTo>
                  <a:lnTo>
                    <a:pt x="594" y="215"/>
                  </a:lnTo>
                  <a:lnTo>
                    <a:pt x="594" y="211"/>
                  </a:lnTo>
                  <a:lnTo>
                    <a:pt x="594" y="207"/>
                  </a:lnTo>
                  <a:close/>
                  <a:moveTo>
                    <a:pt x="267" y="215"/>
                  </a:moveTo>
                  <a:lnTo>
                    <a:pt x="263" y="215"/>
                  </a:lnTo>
                  <a:lnTo>
                    <a:pt x="267" y="215"/>
                  </a:lnTo>
                  <a:close/>
                  <a:moveTo>
                    <a:pt x="383" y="215"/>
                  </a:moveTo>
                  <a:lnTo>
                    <a:pt x="383" y="219"/>
                  </a:lnTo>
                  <a:lnTo>
                    <a:pt x="387" y="219"/>
                  </a:lnTo>
                  <a:lnTo>
                    <a:pt x="383" y="223"/>
                  </a:lnTo>
                  <a:lnTo>
                    <a:pt x="383" y="227"/>
                  </a:lnTo>
                  <a:lnTo>
                    <a:pt x="383" y="223"/>
                  </a:lnTo>
                  <a:lnTo>
                    <a:pt x="383" y="219"/>
                  </a:lnTo>
                  <a:lnTo>
                    <a:pt x="383" y="215"/>
                  </a:lnTo>
                  <a:close/>
                  <a:moveTo>
                    <a:pt x="227" y="255"/>
                  </a:moveTo>
                  <a:lnTo>
                    <a:pt x="223" y="255"/>
                  </a:lnTo>
                  <a:lnTo>
                    <a:pt x="219" y="251"/>
                  </a:lnTo>
                  <a:lnTo>
                    <a:pt x="215" y="251"/>
                  </a:lnTo>
                  <a:lnTo>
                    <a:pt x="211" y="251"/>
                  </a:lnTo>
                  <a:lnTo>
                    <a:pt x="207" y="251"/>
                  </a:lnTo>
                  <a:lnTo>
                    <a:pt x="203" y="251"/>
                  </a:lnTo>
                  <a:lnTo>
                    <a:pt x="199" y="251"/>
                  </a:lnTo>
                  <a:lnTo>
                    <a:pt x="195" y="251"/>
                  </a:lnTo>
                  <a:lnTo>
                    <a:pt x="191" y="251"/>
                  </a:lnTo>
                  <a:lnTo>
                    <a:pt x="191" y="247"/>
                  </a:lnTo>
                  <a:lnTo>
                    <a:pt x="187" y="247"/>
                  </a:lnTo>
                  <a:lnTo>
                    <a:pt x="183" y="247"/>
                  </a:lnTo>
                  <a:lnTo>
                    <a:pt x="179" y="247"/>
                  </a:lnTo>
                  <a:lnTo>
                    <a:pt x="175" y="247"/>
                  </a:lnTo>
                  <a:lnTo>
                    <a:pt x="171" y="247"/>
                  </a:lnTo>
                  <a:lnTo>
                    <a:pt x="171" y="243"/>
                  </a:lnTo>
                  <a:lnTo>
                    <a:pt x="171" y="239"/>
                  </a:lnTo>
                  <a:lnTo>
                    <a:pt x="171" y="235"/>
                  </a:lnTo>
                  <a:lnTo>
                    <a:pt x="171" y="239"/>
                  </a:lnTo>
                  <a:lnTo>
                    <a:pt x="167" y="239"/>
                  </a:lnTo>
                  <a:lnTo>
                    <a:pt x="167" y="235"/>
                  </a:lnTo>
                  <a:lnTo>
                    <a:pt x="163" y="235"/>
                  </a:lnTo>
                  <a:lnTo>
                    <a:pt x="159" y="235"/>
                  </a:lnTo>
                  <a:lnTo>
                    <a:pt x="155" y="235"/>
                  </a:lnTo>
                  <a:lnTo>
                    <a:pt x="151" y="235"/>
                  </a:lnTo>
                  <a:lnTo>
                    <a:pt x="155" y="235"/>
                  </a:lnTo>
                  <a:lnTo>
                    <a:pt x="155" y="231"/>
                  </a:lnTo>
                  <a:lnTo>
                    <a:pt x="155" y="235"/>
                  </a:lnTo>
                  <a:lnTo>
                    <a:pt x="159" y="231"/>
                  </a:lnTo>
                  <a:lnTo>
                    <a:pt x="159" y="227"/>
                  </a:lnTo>
                  <a:lnTo>
                    <a:pt x="163" y="227"/>
                  </a:lnTo>
                  <a:lnTo>
                    <a:pt x="163" y="223"/>
                  </a:lnTo>
                  <a:lnTo>
                    <a:pt x="163" y="219"/>
                  </a:lnTo>
                  <a:lnTo>
                    <a:pt x="163" y="215"/>
                  </a:lnTo>
                  <a:lnTo>
                    <a:pt x="167" y="215"/>
                  </a:lnTo>
                  <a:lnTo>
                    <a:pt x="167" y="219"/>
                  </a:lnTo>
                  <a:lnTo>
                    <a:pt x="171" y="219"/>
                  </a:lnTo>
                  <a:lnTo>
                    <a:pt x="175" y="219"/>
                  </a:lnTo>
                  <a:lnTo>
                    <a:pt x="179" y="219"/>
                  </a:lnTo>
                  <a:lnTo>
                    <a:pt x="183" y="219"/>
                  </a:lnTo>
                  <a:lnTo>
                    <a:pt x="187" y="219"/>
                  </a:lnTo>
                  <a:lnTo>
                    <a:pt x="187" y="223"/>
                  </a:lnTo>
                  <a:lnTo>
                    <a:pt x="191" y="223"/>
                  </a:lnTo>
                  <a:lnTo>
                    <a:pt x="195" y="227"/>
                  </a:lnTo>
                  <a:lnTo>
                    <a:pt x="199" y="227"/>
                  </a:lnTo>
                  <a:lnTo>
                    <a:pt x="199" y="223"/>
                  </a:lnTo>
                  <a:lnTo>
                    <a:pt x="199" y="227"/>
                  </a:lnTo>
                  <a:lnTo>
                    <a:pt x="203" y="227"/>
                  </a:lnTo>
                  <a:lnTo>
                    <a:pt x="203" y="231"/>
                  </a:lnTo>
                  <a:lnTo>
                    <a:pt x="203" y="235"/>
                  </a:lnTo>
                  <a:lnTo>
                    <a:pt x="207" y="235"/>
                  </a:lnTo>
                  <a:lnTo>
                    <a:pt x="211" y="235"/>
                  </a:lnTo>
                  <a:lnTo>
                    <a:pt x="215" y="235"/>
                  </a:lnTo>
                  <a:lnTo>
                    <a:pt x="219" y="235"/>
                  </a:lnTo>
                  <a:lnTo>
                    <a:pt x="223" y="235"/>
                  </a:lnTo>
                  <a:lnTo>
                    <a:pt x="227" y="235"/>
                  </a:lnTo>
                  <a:lnTo>
                    <a:pt x="231" y="235"/>
                  </a:lnTo>
                  <a:lnTo>
                    <a:pt x="231" y="239"/>
                  </a:lnTo>
                  <a:lnTo>
                    <a:pt x="231" y="235"/>
                  </a:lnTo>
                  <a:lnTo>
                    <a:pt x="235" y="235"/>
                  </a:lnTo>
                  <a:lnTo>
                    <a:pt x="235" y="231"/>
                  </a:lnTo>
                  <a:lnTo>
                    <a:pt x="235" y="227"/>
                  </a:lnTo>
                  <a:lnTo>
                    <a:pt x="239" y="227"/>
                  </a:lnTo>
                  <a:lnTo>
                    <a:pt x="243" y="231"/>
                  </a:lnTo>
                  <a:lnTo>
                    <a:pt x="247" y="231"/>
                  </a:lnTo>
                  <a:lnTo>
                    <a:pt x="251" y="231"/>
                  </a:lnTo>
                  <a:lnTo>
                    <a:pt x="251" y="235"/>
                  </a:lnTo>
                  <a:lnTo>
                    <a:pt x="255" y="235"/>
                  </a:lnTo>
                  <a:lnTo>
                    <a:pt x="259" y="235"/>
                  </a:lnTo>
                  <a:lnTo>
                    <a:pt x="263" y="235"/>
                  </a:lnTo>
                  <a:lnTo>
                    <a:pt x="263" y="239"/>
                  </a:lnTo>
                  <a:lnTo>
                    <a:pt x="267" y="239"/>
                  </a:lnTo>
                  <a:lnTo>
                    <a:pt x="267" y="243"/>
                  </a:lnTo>
                  <a:lnTo>
                    <a:pt x="263" y="239"/>
                  </a:lnTo>
                  <a:lnTo>
                    <a:pt x="263" y="243"/>
                  </a:lnTo>
                  <a:lnTo>
                    <a:pt x="267" y="243"/>
                  </a:lnTo>
                  <a:lnTo>
                    <a:pt x="267" y="247"/>
                  </a:lnTo>
                  <a:lnTo>
                    <a:pt x="271" y="251"/>
                  </a:lnTo>
                  <a:lnTo>
                    <a:pt x="275" y="251"/>
                  </a:lnTo>
                  <a:lnTo>
                    <a:pt x="279" y="251"/>
                  </a:lnTo>
                  <a:lnTo>
                    <a:pt x="283" y="251"/>
                  </a:lnTo>
                  <a:lnTo>
                    <a:pt x="287" y="251"/>
                  </a:lnTo>
                  <a:lnTo>
                    <a:pt x="287" y="247"/>
                  </a:lnTo>
                  <a:lnTo>
                    <a:pt x="287" y="251"/>
                  </a:lnTo>
                  <a:lnTo>
                    <a:pt x="291" y="251"/>
                  </a:lnTo>
                  <a:lnTo>
                    <a:pt x="291" y="255"/>
                  </a:lnTo>
                  <a:lnTo>
                    <a:pt x="291" y="259"/>
                  </a:lnTo>
                  <a:lnTo>
                    <a:pt x="291" y="263"/>
                  </a:lnTo>
                  <a:lnTo>
                    <a:pt x="291" y="267"/>
                  </a:lnTo>
                  <a:lnTo>
                    <a:pt x="295" y="267"/>
                  </a:lnTo>
                  <a:lnTo>
                    <a:pt x="295" y="271"/>
                  </a:lnTo>
                  <a:lnTo>
                    <a:pt x="291" y="271"/>
                  </a:lnTo>
                  <a:lnTo>
                    <a:pt x="291" y="267"/>
                  </a:lnTo>
                  <a:lnTo>
                    <a:pt x="287" y="267"/>
                  </a:lnTo>
                  <a:lnTo>
                    <a:pt x="283" y="267"/>
                  </a:lnTo>
                  <a:lnTo>
                    <a:pt x="279" y="263"/>
                  </a:lnTo>
                  <a:lnTo>
                    <a:pt x="275" y="263"/>
                  </a:lnTo>
                  <a:lnTo>
                    <a:pt x="275" y="259"/>
                  </a:lnTo>
                  <a:lnTo>
                    <a:pt x="271" y="259"/>
                  </a:lnTo>
                  <a:lnTo>
                    <a:pt x="271" y="263"/>
                  </a:lnTo>
                  <a:lnTo>
                    <a:pt x="267" y="263"/>
                  </a:lnTo>
                  <a:lnTo>
                    <a:pt x="263" y="263"/>
                  </a:lnTo>
                  <a:lnTo>
                    <a:pt x="259" y="263"/>
                  </a:lnTo>
                  <a:lnTo>
                    <a:pt x="255" y="263"/>
                  </a:lnTo>
                  <a:lnTo>
                    <a:pt x="251" y="259"/>
                  </a:lnTo>
                  <a:lnTo>
                    <a:pt x="251" y="263"/>
                  </a:lnTo>
                  <a:lnTo>
                    <a:pt x="247" y="263"/>
                  </a:lnTo>
                  <a:lnTo>
                    <a:pt x="247" y="259"/>
                  </a:lnTo>
                  <a:lnTo>
                    <a:pt x="243" y="259"/>
                  </a:lnTo>
                  <a:lnTo>
                    <a:pt x="239" y="259"/>
                  </a:lnTo>
                  <a:lnTo>
                    <a:pt x="235" y="259"/>
                  </a:lnTo>
                  <a:lnTo>
                    <a:pt x="231" y="259"/>
                  </a:lnTo>
                  <a:lnTo>
                    <a:pt x="227" y="255"/>
                  </a:lnTo>
                  <a:close/>
                  <a:moveTo>
                    <a:pt x="594" y="219"/>
                  </a:moveTo>
                  <a:lnTo>
                    <a:pt x="598" y="219"/>
                  </a:lnTo>
                  <a:lnTo>
                    <a:pt x="598" y="223"/>
                  </a:lnTo>
                  <a:lnTo>
                    <a:pt x="598" y="227"/>
                  </a:lnTo>
                  <a:lnTo>
                    <a:pt x="594" y="223"/>
                  </a:lnTo>
                  <a:lnTo>
                    <a:pt x="594" y="219"/>
                  </a:lnTo>
                  <a:close/>
                  <a:moveTo>
                    <a:pt x="590" y="223"/>
                  </a:moveTo>
                  <a:lnTo>
                    <a:pt x="594" y="223"/>
                  </a:lnTo>
                  <a:lnTo>
                    <a:pt x="594" y="227"/>
                  </a:lnTo>
                  <a:lnTo>
                    <a:pt x="594" y="231"/>
                  </a:lnTo>
                  <a:lnTo>
                    <a:pt x="594" y="235"/>
                  </a:lnTo>
                  <a:lnTo>
                    <a:pt x="590" y="235"/>
                  </a:lnTo>
                  <a:lnTo>
                    <a:pt x="590" y="227"/>
                  </a:lnTo>
                  <a:lnTo>
                    <a:pt x="590" y="223"/>
                  </a:lnTo>
                  <a:close/>
                  <a:moveTo>
                    <a:pt x="151" y="227"/>
                  </a:moveTo>
                  <a:lnTo>
                    <a:pt x="151" y="231"/>
                  </a:lnTo>
                  <a:lnTo>
                    <a:pt x="151" y="227"/>
                  </a:lnTo>
                  <a:close/>
                  <a:moveTo>
                    <a:pt x="307" y="235"/>
                  </a:moveTo>
                  <a:lnTo>
                    <a:pt x="311" y="235"/>
                  </a:lnTo>
                  <a:lnTo>
                    <a:pt x="307" y="235"/>
                  </a:lnTo>
                  <a:lnTo>
                    <a:pt x="307" y="239"/>
                  </a:lnTo>
                  <a:lnTo>
                    <a:pt x="303" y="239"/>
                  </a:lnTo>
                  <a:lnTo>
                    <a:pt x="303" y="235"/>
                  </a:lnTo>
                  <a:lnTo>
                    <a:pt x="307" y="235"/>
                  </a:lnTo>
                  <a:close/>
                  <a:moveTo>
                    <a:pt x="271" y="235"/>
                  </a:moveTo>
                  <a:lnTo>
                    <a:pt x="275" y="235"/>
                  </a:lnTo>
                  <a:lnTo>
                    <a:pt x="279" y="235"/>
                  </a:lnTo>
                  <a:lnTo>
                    <a:pt x="283" y="235"/>
                  </a:lnTo>
                  <a:lnTo>
                    <a:pt x="287" y="235"/>
                  </a:lnTo>
                  <a:lnTo>
                    <a:pt x="287" y="239"/>
                  </a:lnTo>
                  <a:lnTo>
                    <a:pt x="283" y="239"/>
                  </a:lnTo>
                  <a:lnTo>
                    <a:pt x="279" y="239"/>
                  </a:lnTo>
                  <a:lnTo>
                    <a:pt x="279" y="243"/>
                  </a:lnTo>
                  <a:lnTo>
                    <a:pt x="275" y="243"/>
                  </a:lnTo>
                  <a:lnTo>
                    <a:pt x="271" y="243"/>
                  </a:lnTo>
                  <a:lnTo>
                    <a:pt x="271" y="239"/>
                  </a:lnTo>
                  <a:lnTo>
                    <a:pt x="271" y="243"/>
                  </a:lnTo>
                  <a:lnTo>
                    <a:pt x="267" y="239"/>
                  </a:lnTo>
                  <a:lnTo>
                    <a:pt x="267" y="235"/>
                  </a:lnTo>
                  <a:lnTo>
                    <a:pt x="271" y="235"/>
                  </a:lnTo>
                  <a:close/>
                  <a:moveTo>
                    <a:pt x="554" y="239"/>
                  </a:moveTo>
                  <a:lnTo>
                    <a:pt x="554" y="243"/>
                  </a:lnTo>
                  <a:lnTo>
                    <a:pt x="554" y="247"/>
                  </a:lnTo>
                  <a:lnTo>
                    <a:pt x="550" y="251"/>
                  </a:lnTo>
                  <a:lnTo>
                    <a:pt x="550" y="255"/>
                  </a:lnTo>
                  <a:lnTo>
                    <a:pt x="546" y="255"/>
                  </a:lnTo>
                  <a:lnTo>
                    <a:pt x="542" y="255"/>
                  </a:lnTo>
                  <a:lnTo>
                    <a:pt x="546" y="251"/>
                  </a:lnTo>
                  <a:lnTo>
                    <a:pt x="546" y="247"/>
                  </a:lnTo>
                  <a:lnTo>
                    <a:pt x="550" y="243"/>
                  </a:lnTo>
                  <a:lnTo>
                    <a:pt x="550" y="239"/>
                  </a:lnTo>
                  <a:lnTo>
                    <a:pt x="554" y="239"/>
                  </a:lnTo>
                  <a:close/>
                  <a:moveTo>
                    <a:pt x="658" y="243"/>
                  </a:moveTo>
                  <a:lnTo>
                    <a:pt x="662" y="243"/>
                  </a:lnTo>
                  <a:lnTo>
                    <a:pt x="662" y="247"/>
                  </a:lnTo>
                  <a:lnTo>
                    <a:pt x="666" y="247"/>
                  </a:lnTo>
                  <a:lnTo>
                    <a:pt x="662" y="251"/>
                  </a:lnTo>
                  <a:lnTo>
                    <a:pt x="662" y="255"/>
                  </a:lnTo>
                  <a:lnTo>
                    <a:pt x="662" y="259"/>
                  </a:lnTo>
                  <a:lnTo>
                    <a:pt x="658" y="259"/>
                  </a:lnTo>
                  <a:lnTo>
                    <a:pt x="654" y="263"/>
                  </a:lnTo>
                  <a:lnTo>
                    <a:pt x="650" y="263"/>
                  </a:lnTo>
                  <a:lnTo>
                    <a:pt x="646" y="263"/>
                  </a:lnTo>
                  <a:lnTo>
                    <a:pt x="642" y="263"/>
                  </a:lnTo>
                  <a:lnTo>
                    <a:pt x="646" y="259"/>
                  </a:lnTo>
                  <a:lnTo>
                    <a:pt x="646" y="255"/>
                  </a:lnTo>
                  <a:lnTo>
                    <a:pt x="646" y="251"/>
                  </a:lnTo>
                  <a:lnTo>
                    <a:pt x="650" y="247"/>
                  </a:lnTo>
                  <a:lnTo>
                    <a:pt x="654" y="247"/>
                  </a:lnTo>
                  <a:lnTo>
                    <a:pt x="654" y="243"/>
                  </a:lnTo>
                  <a:lnTo>
                    <a:pt x="658" y="243"/>
                  </a:lnTo>
                  <a:close/>
                  <a:moveTo>
                    <a:pt x="522" y="251"/>
                  </a:moveTo>
                  <a:lnTo>
                    <a:pt x="526" y="251"/>
                  </a:lnTo>
                  <a:lnTo>
                    <a:pt x="526" y="255"/>
                  </a:lnTo>
                  <a:lnTo>
                    <a:pt x="522" y="255"/>
                  </a:lnTo>
                  <a:lnTo>
                    <a:pt x="522" y="251"/>
                  </a:lnTo>
                  <a:close/>
                  <a:moveTo>
                    <a:pt x="291" y="259"/>
                  </a:moveTo>
                  <a:lnTo>
                    <a:pt x="295" y="259"/>
                  </a:lnTo>
                  <a:lnTo>
                    <a:pt x="299" y="259"/>
                  </a:lnTo>
                  <a:lnTo>
                    <a:pt x="303" y="259"/>
                  </a:lnTo>
                  <a:lnTo>
                    <a:pt x="303" y="255"/>
                  </a:lnTo>
                  <a:lnTo>
                    <a:pt x="307" y="259"/>
                  </a:lnTo>
                  <a:lnTo>
                    <a:pt x="311" y="259"/>
                  </a:lnTo>
                  <a:lnTo>
                    <a:pt x="311" y="263"/>
                  </a:lnTo>
                  <a:lnTo>
                    <a:pt x="307" y="267"/>
                  </a:lnTo>
                  <a:lnTo>
                    <a:pt x="303" y="267"/>
                  </a:lnTo>
                  <a:lnTo>
                    <a:pt x="303" y="271"/>
                  </a:lnTo>
                  <a:lnTo>
                    <a:pt x="303" y="267"/>
                  </a:lnTo>
                  <a:lnTo>
                    <a:pt x="299" y="263"/>
                  </a:lnTo>
                  <a:lnTo>
                    <a:pt x="295" y="263"/>
                  </a:lnTo>
                  <a:lnTo>
                    <a:pt x="295" y="259"/>
                  </a:lnTo>
                  <a:lnTo>
                    <a:pt x="291" y="259"/>
                  </a:lnTo>
                  <a:close/>
                  <a:moveTo>
                    <a:pt x="418" y="267"/>
                  </a:moveTo>
                  <a:lnTo>
                    <a:pt x="414" y="267"/>
                  </a:lnTo>
                  <a:lnTo>
                    <a:pt x="414" y="271"/>
                  </a:lnTo>
                  <a:lnTo>
                    <a:pt x="410" y="271"/>
                  </a:lnTo>
                  <a:lnTo>
                    <a:pt x="406" y="271"/>
                  </a:lnTo>
                  <a:lnTo>
                    <a:pt x="402" y="271"/>
                  </a:lnTo>
                  <a:lnTo>
                    <a:pt x="398" y="271"/>
                  </a:lnTo>
                  <a:lnTo>
                    <a:pt x="395" y="271"/>
                  </a:lnTo>
                  <a:lnTo>
                    <a:pt x="391" y="275"/>
                  </a:lnTo>
                  <a:lnTo>
                    <a:pt x="391" y="271"/>
                  </a:lnTo>
                  <a:lnTo>
                    <a:pt x="387" y="271"/>
                  </a:lnTo>
                  <a:lnTo>
                    <a:pt x="383" y="271"/>
                  </a:lnTo>
                  <a:lnTo>
                    <a:pt x="379" y="271"/>
                  </a:lnTo>
                  <a:lnTo>
                    <a:pt x="375" y="271"/>
                  </a:lnTo>
                  <a:lnTo>
                    <a:pt x="375" y="267"/>
                  </a:lnTo>
                  <a:lnTo>
                    <a:pt x="375" y="263"/>
                  </a:lnTo>
                  <a:lnTo>
                    <a:pt x="379" y="263"/>
                  </a:lnTo>
                  <a:lnTo>
                    <a:pt x="379" y="259"/>
                  </a:lnTo>
                  <a:lnTo>
                    <a:pt x="383" y="259"/>
                  </a:lnTo>
                  <a:lnTo>
                    <a:pt x="387" y="263"/>
                  </a:lnTo>
                  <a:lnTo>
                    <a:pt x="391" y="263"/>
                  </a:lnTo>
                  <a:lnTo>
                    <a:pt x="395" y="263"/>
                  </a:lnTo>
                  <a:lnTo>
                    <a:pt x="395" y="267"/>
                  </a:lnTo>
                  <a:lnTo>
                    <a:pt x="398" y="267"/>
                  </a:lnTo>
                  <a:lnTo>
                    <a:pt x="402" y="263"/>
                  </a:lnTo>
                  <a:lnTo>
                    <a:pt x="406" y="263"/>
                  </a:lnTo>
                  <a:lnTo>
                    <a:pt x="406" y="267"/>
                  </a:lnTo>
                  <a:lnTo>
                    <a:pt x="410" y="267"/>
                  </a:lnTo>
                  <a:lnTo>
                    <a:pt x="414" y="267"/>
                  </a:lnTo>
                  <a:lnTo>
                    <a:pt x="414" y="263"/>
                  </a:lnTo>
                  <a:lnTo>
                    <a:pt x="418" y="263"/>
                  </a:lnTo>
                  <a:lnTo>
                    <a:pt x="422" y="259"/>
                  </a:lnTo>
                  <a:lnTo>
                    <a:pt x="418" y="259"/>
                  </a:lnTo>
                  <a:lnTo>
                    <a:pt x="422" y="259"/>
                  </a:lnTo>
                  <a:lnTo>
                    <a:pt x="422" y="263"/>
                  </a:lnTo>
                  <a:lnTo>
                    <a:pt x="418" y="263"/>
                  </a:lnTo>
                  <a:lnTo>
                    <a:pt x="418" y="267"/>
                  </a:lnTo>
                  <a:close/>
                  <a:moveTo>
                    <a:pt x="363" y="267"/>
                  </a:moveTo>
                  <a:lnTo>
                    <a:pt x="363" y="271"/>
                  </a:lnTo>
                  <a:lnTo>
                    <a:pt x="359" y="271"/>
                  </a:lnTo>
                  <a:lnTo>
                    <a:pt x="359" y="267"/>
                  </a:lnTo>
                  <a:lnTo>
                    <a:pt x="355" y="271"/>
                  </a:lnTo>
                  <a:lnTo>
                    <a:pt x="359" y="271"/>
                  </a:lnTo>
                  <a:lnTo>
                    <a:pt x="355" y="271"/>
                  </a:lnTo>
                  <a:lnTo>
                    <a:pt x="351" y="271"/>
                  </a:lnTo>
                  <a:lnTo>
                    <a:pt x="351" y="267"/>
                  </a:lnTo>
                  <a:lnTo>
                    <a:pt x="351" y="271"/>
                  </a:lnTo>
                  <a:lnTo>
                    <a:pt x="347" y="271"/>
                  </a:lnTo>
                  <a:lnTo>
                    <a:pt x="343" y="275"/>
                  </a:lnTo>
                  <a:lnTo>
                    <a:pt x="343" y="271"/>
                  </a:lnTo>
                  <a:lnTo>
                    <a:pt x="339" y="275"/>
                  </a:lnTo>
                  <a:lnTo>
                    <a:pt x="335" y="275"/>
                  </a:lnTo>
                  <a:lnTo>
                    <a:pt x="331" y="275"/>
                  </a:lnTo>
                  <a:lnTo>
                    <a:pt x="327" y="275"/>
                  </a:lnTo>
                  <a:lnTo>
                    <a:pt x="327" y="271"/>
                  </a:lnTo>
                  <a:lnTo>
                    <a:pt x="327" y="267"/>
                  </a:lnTo>
                  <a:lnTo>
                    <a:pt x="331" y="267"/>
                  </a:lnTo>
                  <a:lnTo>
                    <a:pt x="331" y="263"/>
                  </a:lnTo>
                  <a:lnTo>
                    <a:pt x="335" y="263"/>
                  </a:lnTo>
                  <a:lnTo>
                    <a:pt x="339" y="263"/>
                  </a:lnTo>
                  <a:lnTo>
                    <a:pt x="339" y="267"/>
                  </a:lnTo>
                  <a:lnTo>
                    <a:pt x="343" y="267"/>
                  </a:lnTo>
                  <a:lnTo>
                    <a:pt x="347" y="271"/>
                  </a:lnTo>
                  <a:lnTo>
                    <a:pt x="347" y="267"/>
                  </a:lnTo>
                  <a:lnTo>
                    <a:pt x="351" y="267"/>
                  </a:lnTo>
                  <a:lnTo>
                    <a:pt x="347" y="263"/>
                  </a:lnTo>
                  <a:lnTo>
                    <a:pt x="343" y="263"/>
                  </a:lnTo>
                  <a:lnTo>
                    <a:pt x="343" y="259"/>
                  </a:lnTo>
                  <a:lnTo>
                    <a:pt x="347" y="259"/>
                  </a:lnTo>
                  <a:lnTo>
                    <a:pt x="351" y="259"/>
                  </a:lnTo>
                  <a:lnTo>
                    <a:pt x="351" y="263"/>
                  </a:lnTo>
                  <a:lnTo>
                    <a:pt x="351" y="259"/>
                  </a:lnTo>
                  <a:lnTo>
                    <a:pt x="355" y="259"/>
                  </a:lnTo>
                  <a:lnTo>
                    <a:pt x="355" y="263"/>
                  </a:lnTo>
                  <a:lnTo>
                    <a:pt x="355" y="267"/>
                  </a:lnTo>
                  <a:lnTo>
                    <a:pt x="355" y="263"/>
                  </a:lnTo>
                  <a:lnTo>
                    <a:pt x="359" y="263"/>
                  </a:lnTo>
                  <a:lnTo>
                    <a:pt x="363" y="263"/>
                  </a:lnTo>
                  <a:lnTo>
                    <a:pt x="363" y="267"/>
                  </a:lnTo>
                  <a:close/>
                  <a:moveTo>
                    <a:pt x="494" y="259"/>
                  </a:moveTo>
                  <a:lnTo>
                    <a:pt x="498" y="259"/>
                  </a:lnTo>
                  <a:lnTo>
                    <a:pt x="494" y="259"/>
                  </a:lnTo>
                  <a:close/>
                  <a:moveTo>
                    <a:pt x="339" y="263"/>
                  </a:moveTo>
                  <a:lnTo>
                    <a:pt x="339" y="259"/>
                  </a:lnTo>
                  <a:lnTo>
                    <a:pt x="343" y="259"/>
                  </a:lnTo>
                  <a:lnTo>
                    <a:pt x="339" y="259"/>
                  </a:lnTo>
                  <a:lnTo>
                    <a:pt x="339" y="263"/>
                  </a:lnTo>
                  <a:close/>
                  <a:moveTo>
                    <a:pt x="662" y="259"/>
                  </a:moveTo>
                  <a:lnTo>
                    <a:pt x="662" y="263"/>
                  </a:lnTo>
                  <a:lnTo>
                    <a:pt x="658" y="263"/>
                  </a:lnTo>
                  <a:lnTo>
                    <a:pt x="658" y="259"/>
                  </a:lnTo>
                  <a:lnTo>
                    <a:pt x="662" y="259"/>
                  </a:lnTo>
                  <a:close/>
                  <a:moveTo>
                    <a:pt x="510" y="259"/>
                  </a:moveTo>
                  <a:lnTo>
                    <a:pt x="514" y="259"/>
                  </a:lnTo>
                  <a:lnTo>
                    <a:pt x="510" y="259"/>
                  </a:lnTo>
                  <a:close/>
                  <a:moveTo>
                    <a:pt x="319" y="259"/>
                  </a:moveTo>
                  <a:lnTo>
                    <a:pt x="323" y="259"/>
                  </a:lnTo>
                  <a:lnTo>
                    <a:pt x="327" y="263"/>
                  </a:lnTo>
                  <a:lnTo>
                    <a:pt x="327" y="267"/>
                  </a:lnTo>
                  <a:lnTo>
                    <a:pt x="323" y="267"/>
                  </a:lnTo>
                  <a:lnTo>
                    <a:pt x="323" y="271"/>
                  </a:lnTo>
                  <a:lnTo>
                    <a:pt x="319" y="271"/>
                  </a:lnTo>
                  <a:lnTo>
                    <a:pt x="315" y="271"/>
                  </a:lnTo>
                  <a:lnTo>
                    <a:pt x="319" y="267"/>
                  </a:lnTo>
                  <a:lnTo>
                    <a:pt x="315" y="267"/>
                  </a:lnTo>
                  <a:lnTo>
                    <a:pt x="319" y="263"/>
                  </a:lnTo>
                  <a:lnTo>
                    <a:pt x="319" y="259"/>
                  </a:lnTo>
                  <a:close/>
                  <a:moveTo>
                    <a:pt x="422" y="263"/>
                  </a:moveTo>
                  <a:lnTo>
                    <a:pt x="422" y="259"/>
                  </a:lnTo>
                  <a:lnTo>
                    <a:pt x="426" y="259"/>
                  </a:lnTo>
                  <a:lnTo>
                    <a:pt x="426" y="263"/>
                  </a:lnTo>
                  <a:lnTo>
                    <a:pt x="422" y="263"/>
                  </a:lnTo>
                  <a:close/>
                  <a:moveTo>
                    <a:pt x="367" y="263"/>
                  </a:moveTo>
                  <a:lnTo>
                    <a:pt x="371" y="263"/>
                  </a:lnTo>
                  <a:lnTo>
                    <a:pt x="371" y="267"/>
                  </a:lnTo>
                  <a:lnTo>
                    <a:pt x="367" y="267"/>
                  </a:lnTo>
                  <a:lnTo>
                    <a:pt x="367" y="271"/>
                  </a:lnTo>
                  <a:lnTo>
                    <a:pt x="367" y="267"/>
                  </a:lnTo>
                  <a:lnTo>
                    <a:pt x="367" y="263"/>
                  </a:lnTo>
                  <a:close/>
                  <a:moveTo>
                    <a:pt x="418" y="267"/>
                  </a:moveTo>
                  <a:lnTo>
                    <a:pt x="422" y="263"/>
                  </a:lnTo>
                  <a:lnTo>
                    <a:pt x="422" y="267"/>
                  </a:lnTo>
                  <a:lnTo>
                    <a:pt x="418" y="267"/>
                  </a:lnTo>
                  <a:close/>
                  <a:moveTo>
                    <a:pt x="371" y="271"/>
                  </a:moveTo>
                  <a:lnTo>
                    <a:pt x="371" y="267"/>
                  </a:lnTo>
                  <a:lnTo>
                    <a:pt x="371" y="271"/>
                  </a:lnTo>
                  <a:close/>
                  <a:moveTo>
                    <a:pt x="363" y="287"/>
                  </a:moveTo>
                  <a:lnTo>
                    <a:pt x="359" y="283"/>
                  </a:lnTo>
                  <a:lnTo>
                    <a:pt x="363" y="283"/>
                  </a:lnTo>
                  <a:lnTo>
                    <a:pt x="367" y="279"/>
                  </a:lnTo>
                  <a:lnTo>
                    <a:pt x="367" y="283"/>
                  </a:lnTo>
                  <a:lnTo>
                    <a:pt x="371" y="279"/>
                  </a:lnTo>
                  <a:lnTo>
                    <a:pt x="371" y="283"/>
                  </a:lnTo>
                  <a:lnTo>
                    <a:pt x="375" y="283"/>
                  </a:lnTo>
                  <a:lnTo>
                    <a:pt x="375" y="279"/>
                  </a:lnTo>
                  <a:lnTo>
                    <a:pt x="375" y="283"/>
                  </a:lnTo>
                  <a:lnTo>
                    <a:pt x="379" y="283"/>
                  </a:lnTo>
                  <a:lnTo>
                    <a:pt x="379" y="287"/>
                  </a:lnTo>
                  <a:lnTo>
                    <a:pt x="383" y="287"/>
                  </a:lnTo>
                  <a:lnTo>
                    <a:pt x="387" y="287"/>
                  </a:lnTo>
                  <a:lnTo>
                    <a:pt x="387" y="291"/>
                  </a:lnTo>
                  <a:lnTo>
                    <a:pt x="391" y="291"/>
                  </a:lnTo>
                  <a:lnTo>
                    <a:pt x="391" y="295"/>
                  </a:lnTo>
                  <a:lnTo>
                    <a:pt x="387" y="295"/>
                  </a:lnTo>
                  <a:lnTo>
                    <a:pt x="387" y="299"/>
                  </a:lnTo>
                  <a:lnTo>
                    <a:pt x="383" y="299"/>
                  </a:lnTo>
                  <a:lnTo>
                    <a:pt x="379" y="299"/>
                  </a:lnTo>
                  <a:lnTo>
                    <a:pt x="379" y="295"/>
                  </a:lnTo>
                  <a:lnTo>
                    <a:pt x="375" y="295"/>
                  </a:lnTo>
                  <a:lnTo>
                    <a:pt x="375" y="291"/>
                  </a:lnTo>
                  <a:lnTo>
                    <a:pt x="371" y="291"/>
                  </a:lnTo>
                  <a:lnTo>
                    <a:pt x="371" y="287"/>
                  </a:lnTo>
                  <a:lnTo>
                    <a:pt x="367" y="287"/>
                  </a:lnTo>
                  <a:lnTo>
                    <a:pt x="363" y="287"/>
                  </a:lnTo>
                  <a:close/>
                  <a:moveTo>
                    <a:pt x="402" y="303"/>
                  </a:moveTo>
                  <a:lnTo>
                    <a:pt x="402" y="299"/>
                  </a:lnTo>
                  <a:lnTo>
                    <a:pt x="406" y="299"/>
                  </a:lnTo>
                  <a:lnTo>
                    <a:pt x="406" y="303"/>
                  </a:lnTo>
                  <a:lnTo>
                    <a:pt x="402" y="303"/>
                  </a:lnTo>
                  <a:close/>
                  <a:moveTo>
                    <a:pt x="418" y="307"/>
                  </a:moveTo>
                  <a:lnTo>
                    <a:pt x="422" y="307"/>
                  </a:lnTo>
                  <a:lnTo>
                    <a:pt x="422" y="303"/>
                  </a:lnTo>
                  <a:lnTo>
                    <a:pt x="426" y="303"/>
                  </a:lnTo>
                  <a:lnTo>
                    <a:pt x="426" y="299"/>
                  </a:lnTo>
                  <a:lnTo>
                    <a:pt x="426" y="303"/>
                  </a:lnTo>
                  <a:lnTo>
                    <a:pt x="426" y="307"/>
                  </a:lnTo>
                  <a:lnTo>
                    <a:pt x="422" y="307"/>
                  </a:lnTo>
                  <a:lnTo>
                    <a:pt x="422" y="311"/>
                  </a:lnTo>
                  <a:lnTo>
                    <a:pt x="418" y="311"/>
                  </a:lnTo>
                  <a:lnTo>
                    <a:pt x="418" y="307"/>
                  </a:lnTo>
                  <a:close/>
                  <a:moveTo>
                    <a:pt x="466" y="251"/>
                  </a:moveTo>
                  <a:lnTo>
                    <a:pt x="470" y="251"/>
                  </a:lnTo>
                  <a:lnTo>
                    <a:pt x="474" y="251"/>
                  </a:lnTo>
                  <a:lnTo>
                    <a:pt x="474" y="247"/>
                  </a:lnTo>
                  <a:lnTo>
                    <a:pt x="478" y="247"/>
                  </a:lnTo>
                  <a:lnTo>
                    <a:pt x="478" y="251"/>
                  </a:lnTo>
                  <a:lnTo>
                    <a:pt x="474" y="251"/>
                  </a:lnTo>
                  <a:lnTo>
                    <a:pt x="474" y="255"/>
                  </a:lnTo>
                  <a:lnTo>
                    <a:pt x="470" y="255"/>
                  </a:lnTo>
                  <a:lnTo>
                    <a:pt x="466" y="255"/>
                  </a:lnTo>
                  <a:lnTo>
                    <a:pt x="462" y="255"/>
                  </a:lnTo>
                  <a:lnTo>
                    <a:pt x="466" y="251"/>
                  </a:lnTo>
                  <a:close/>
                  <a:moveTo>
                    <a:pt x="442" y="259"/>
                  </a:moveTo>
                  <a:lnTo>
                    <a:pt x="446" y="259"/>
                  </a:lnTo>
                  <a:lnTo>
                    <a:pt x="450" y="259"/>
                  </a:lnTo>
                  <a:lnTo>
                    <a:pt x="454" y="259"/>
                  </a:lnTo>
                  <a:lnTo>
                    <a:pt x="454" y="263"/>
                  </a:lnTo>
                  <a:lnTo>
                    <a:pt x="450" y="263"/>
                  </a:lnTo>
                  <a:lnTo>
                    <a:pt x="446" y="263"/>
                  </a:lnTo>
                  <a:lnTo>
                    <a:pt x="442" y="263"/>
                  </a:lnTo>
                  <a:lnTo>
                    <a:pt x="442" y="259"/>
                  </a:lnTo>
                  <a:close/>
                  <a:moveTo>
                    <a:pt x="434" y="263"/>
                  </a:moveTo>
                  <a:lnTo>
                    <a:pt x="438" y="263"/>
                  </a:lnTo>
                  <a:lnTo>
                    <a:pt x="438" y="259"/>
                  </a:lnTo>
                  <a:lnTo>
                    <a:pt x="442" y="259"/>
                  </a:lnTo>
                  <a:lnTo>
                    <a:pt x="442" y="263"/>
                  </a:lnTo>
                  <a:lnTo>
                    <a:pt x="438" y="263"/>
                  </a:lnTo>
                  <a:lnTo>
                    <a:pt x="438" y="267"/>
                  </a:lnTo>
                  <a:lnTo>
                    <a:pt x="438" y="263"/>
                  </a:lnTo>
                  <a:lnTo>
                    <a:pt x="434" y="263"/>
                  </a:lnTo>
                  <a:close/>
                  <a:moveTo>
                    <a:pt x="426" y="267"/>
                  </a:moveTo>
                  <a:lnTo>
                    <a:pt x="426" y="263"/>
                  </a:lnTo>
                  <a:lnTo>
                    <a:pt x="430" y="263"/>
                  </a:lnTo>
                  <a:lnTo>
                    <a:pt x="426" y="263"/>
                  </a:lnTo>
                  <a:lnTo>
                    <a:pt x="426" y="259"/>
                  </a:lnTo>
                  <a:lnTo>
                    <a:pt x="430" y="259"/>
                  </a:lnTo>
                  <a:lnTo>
                    <a:pt x="430" y="263"/>
                  </a:lnTo>
                  <a:lnTo>
                    <a:pt x="434" y="259"/>
                  </a:lnTo>
                  <a:lnTo>
                    <a:pt x="434" y="263"/>
                  </a:lnTo>
                  <a:lnTo>
                    <a:pt x="430" y="263"/>
                  </a:lnTo>
                  <a:lnTo>
                    <a:pt x="430" y="267"/>
                  </a:lnTo>
                  <a:lnTo>
                    <a:pt x="426" y="267"/>
                  </a:lnTo>
                  <a:close/>
                  <a:moveTo>
                    <a:pt x="454" y="283"/>
                  </a:moveTo>
                  <a:lnTo>
                    <a:pt x="450" y="283"/>
                  </a:lnTo>
                  <a:lnTo>
                    <a:pt x="450" y="287"/>
                  </a:lnTo>
                  <a:lnTo>
                    <a:pt x="450" y="291"/>
                  </a:lnTo>
                  <a:lnTo>
                    <a:pt x="446" y="291"/>
                  </a:lnTo>
                  <a:lnTo>
                    <a:pt x="446" y="295"/>
                  </a:lnTo>
                  <a:lnTo>
                    <a:pt x="442" y="295"/>
                  </a:lnTo>
                  <a:lnTo>
                    <a:pt x="438" y="295"/>
                  </a:lnTo>
                  <a:lnTo>
                    <a:pt x="438" y="299"/>
                  </a:lnTo>
                  <a:lnTo>
                    <a:pt x="434" y="299"/>
                  </a:lnTo>
                  <a:lnTo>
                    <a:pt x="430" y="299"/>
                  </a:lnTo>
                  <a:lnTo>
                    <a:pt x="430" y="295"/>
                  </a:lnTo>
                  <a:lnTo>
                    <a:pt x="434" y="295"/>
                  </a:lnTo>
                  <a:lnTo>
                    <a:pt x="430" y="295"/>
                  </a:lnTo>
                  <a:lnTo>
                    <a:pt x="430" y="291"/>
                  </a:lnTo>
                  <a:lnTo>
                    <a:pt x="430" y="287"/>
                  </a:lnTo>
                  <a:lnTo>
                    <a:pt x="434" y="283"/>
                  </a:lnTo>
                  <a:lnTo>
                    <a:pt x="434" y="279"/>
                  </a:lnTo>
                  <a:lnTo>
                    <a:pt x="438" y="279"/>
                  </a:lnTo>
                  <a:lnTo>
                    <a:pt x="438" y="283"/>
                  </a:lnTo>
                  <a:lnTo>
                    <a:pt x="442" y="283"/>
                  </a:lnTo>
                  <a:lnTo>
                    <a:pt x="442" y="279"/>
                  </a:lnTo>
                  <a:lnTo>
                    <a:pt x="446" y="279"/>
                  </a:lnTo>
                  <a:lnTo>
                    <a:pt x="446" y="275"/>
                  </a:lnTo>
                  <a:lnTo>
                    <a:pt x="450" y="275"/>
                  </a:lnTo>
                  <a:lnTo>
                    <a:pt x="454" y="275"/>
                  </a:lnTo>
                  <a:lnTo>
                    <a:pt x="454" y="279"/>
                  </a:lnTo>
                  <a:lnTo>
                    <a:pt x="450" y="279"/>
                  </a:lnTo>
                  <a:lnTo>
                    <a:pt x="454" y="28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1" name="Freeform 18"/>
            <p:cNvSpPr>
              <a:spLocks noEditPoints="1"/>
            </p:cNvSpPr>
            <p:nvPr>
              <p:custDataLst>
                <p:tags r:id="rId214"/>
              </p:custDataLst>
            </p:nvPr>
          </p:nvSpPr>
          <p:spPr bwMode="gray">
            <a:xfrm>
              <a:off x="5363781" y="3473275"/>
              <a:ext cx="431571" cy="433055"/>
            </a:xfrm>
            <a:custGeom>
              <a:avLst/>
              <a:gdLst/>
              <a:ahLst/>
              <a:cxnLst>
                <a:cxn ang="0">
                  <a:pos x="267" y="168"/>
                </a:cxn>
                <a:cxn ang="0">
                  <a:pos x="259" y="192"/>
                </a:cxn>
                <a:cxn ang="0">
                  <a:pos x="263" y="212"/>
                </a:cxn>
                <a:cxn ang="0">
                  <a:pos x="283" y="228"/>
                </a:cxn>
                <a:cxn ang="0">
                  <a:pos x="287" y="248"/>
                </a:cxn>
                <a:cxn ang="0">
                  <a:pos x="283" y="260"/>
                </a:cxn>
                <a:cxn ang="0">
                  <a:pos x="275" y="268"/>
                </a:cxn>
                <a:cxn ang="0">
                  <a:pos x="267" y="284"/>
                </a:cxn>
                <a:cxn ang="0">
                  <a:pos x="255" y="288"/>
                </a:cxn>
                <a:cxn ang="0">
                  <a:pos x="243" y="284"/>
                </a:cxn>
                <a:cxn ang="0">
                  <a:pos x="219" y="280"/>
                </a:cxn>
                <a:cxn ang="0">
                  <a:pos x="203" y="276"/>
                </a:cxn>
                <a:cxn ang="0">
                  <a:pos x="195" y="252"/>
                </a:cxn>
                <a:cxn ang="0">
                  <a:pos x="175" y="256"/>
                </a:cxn>
                <a:cxn ang="0">
                  <a:pos x="155" y="260"/>
                </a:cxn>
                <a:cxn ang="0">
                  <a:pos x="135" y="252"/>
                </a:cxn>
                <a:cxn ang="0">
                  <a:pos x="123" y="240"/>
                </a:cxn>
                <a:cxn ang="0">
                  <a:pos x="108" y="224"/>
                </a:cxn>
                <a:cxn ang="0">
                  <a:pos x="100" y="208"/>
                </a:cxn>
                <a:cxn ang="0">
                  <a:pos x="92" y="192"/>
                </a:cxn>
                <a:cxn ang="0">
                  <a:pos x="80" y="188"/>
                </a:cxn>
                <a:cxn ang="0">
                  <a:pos x="72" y="196"/>
                </a:cxn>
                <a:cxn ang="0">
                  <a:pos x="60" y="176"/>
                </a:cxn>
                <a:cxn ang="0">
                  <a:pos x="56" y="160"/>
                </a:cxn>
                <a:cxn ang="0">
                  <a:pos x="48" y="144"/>
                </a:cxn>
                <a:cxn ang="0">
                  <a:pos x="32" y="128"/>
                </a:cxn>
                <a:cxn ang="0">
                  <a:pos x="20" y="116"/>
                </a:cxn>
                <a:cxn ang="0">
                  <a:pos x="28" y="104"/>
                </a:cxn>
                <a:cxn ang="0">
                  <a:pos x="28" y="96"/>
                </a:cxn>
                <a:cxn ang="0">
                  <a:pos x="32" y="80"/>
                </a:cxn>
                <a:cxn ang="0">
                  <a:pos x="20" y="72"/>
                </a:cxn>
                <a:cxn ang="0">
                  <a:pos x="12" y="56"/>
                </a:cxn>
                <a:cxn ang="0">
                  <a:pos x="4" y="36"/>
                </a:cxn>
                <a:cxn ang="0">
                  <a:pos x="4" y="16"/>
                </a:cxn>
                <a:cxn ang="0">
                  <a:pos x="4" y="4"/>
                </a:cxn>
                <a:cxn ang="0">
                  <a:pos x="16" y="8"/>
                </a:cxn>
                <a:cxn ang="0">
                  <a:pos x="36" y="16"/>
                </a:cxn>
                <a:cxn ang="0">
                  <a:pos x="52" y="4"/>
                </a:cxn>
                <a:cxn ang="0">
                  <a:pos x="64" y="12"/>
                </a:cxn>
                <a:cxn ang="0">
                  <a:pos x="68" y="28"/>
                </a:cxn>
                <a:cxn ang="0">
                  <a:pos x="96" y="28"/>
                </a:cxn>
                <a:cxn ang="0">
                  <a:pos x="115" y="28"/>
                </a:cxn>
                <a:cxn ang="0">
                  <a:pos x="131" y="40"/>
                </a:cxn>
                <a:cxn ang="0">
                  <a:pos x="151" y="48"/>
                </a:cxn>
                <a:cxn ang="0">
                  <a:pos x="167" y="36"/>
                </a:cxn>
                <a:cxn ang="0">
                  <a:pos x="187" y="32"/>
                </a:cxn>
                <a:cxn ang="0">
                  <a:pos x="199" y="28"/>
                </a:cxn>
                <a:cxn ang="0">
                  <a:pos x="223" y="40"/>
                </a:cxn>
                <a:cxn ang="0">
                  <a:pos x="231" y="48"/>
                </a:cxn>
                <a:cxn ang="0">
                  <a:pos x="251" y="64"/>
                </a:cxn>
                <a:cxn ang="0">
                  <a:pos x="259" y="80"/>
                </a:cxn>
                <a:cxn ang="0">
                  <a:pos x="259" y="100"/>
                </a:cxn>
                <a:cxn ang="0">
                  <a:pos x="251" y="116"/>
                </a:cxn>
                <a:cxn ang="0">
                  <a:pos x="251" y="132"/>
                </a:cxn>
                <a:cxn ang="0">
                  <a:pos x="255" y="156"/>
                </a:cxn>
                <a:cxn ang="0">
                  <a:pos x="187" y="256"/>
                </a:cxn>
                <a:cxn ang="0">
                  <a:pos x="171" y="260"/>
                </a:cxn>
                <a:cxn ang="0">
                  <a:pos x="187" y="256"/>
                </a:cxn>
              </a:cxnLst>
              <a:rect l="0" t="0" r="r" b="b"/>
              <a:pathLst>
                <a:path w="291" h="292">
                  <a:moveTo>
                    <a:pt x="255" y="156"/>
                  </a:moveTo>
                  <a:lnTo>
                    <a:pt x="255" y="160"/>
                  </a:lnTo>
                  <a:lnTo>
                    <a:pt x="255" y="164"/>
                  </a:lnTo>
                  <a:lnTo>
                    <a:pt x="259" y="168"/>
                  </a:lnTo>
                  <a:lnTo>
                    <a:pt x="263" y="168"/>
                  </a:lnTo>
                  <a:lnTo>
                    <a:pt x="267" y="168"/>
                  </a:lnTo>
                  <a:lnTo>
                    <a:pt x="267" y="172"/>
                  </a:lnTo>
                  <a:lnTo>
                    <a:pt x="271" y="172"/>
                  </a:lnTo>
                  <a:lnTo>
                    <a:pt x="271" y="176"/>
                  </a:lnTo>
                  <a:lnTo>
                    <a:pt x="267" y="180"/>
                  </a:lnTo>
                  <a:lnTo>
                    <a:pt x="263" y="188"/>
                  </a:lnTo>
                  <a:lnTo>
                    <a:pt x="259" y="192"/>
                  </a:lnTo>
                  <a:lnTo>
                    <a:pt x="259" y="196"/>
                  </a:lnTo>
                  <a:lnTo>
                    <a:pt x="255" y="196"/>
                  </a:lnTo>
                  <a:lnTo>
                    <a:pt x="255" y="200"/>
                  </a:lnTo>
                  <a:lnTo>
                    <a:pt x="259" y="200"/>
                  </a:lnTo>
                  <a:lnTo>
                    <a:pt x="263" y="208"/>
                  </a:lnTo>
                  <a:lnTo>
                    <a:pt x="263" y="212"/>
                  </a:lnTo>
                  <a:lnTo>
                    <a:pt x="267" y="216"/>
                  </a:lnTo>
                  <a:lnTo>
                    <a:pt x="267" y="220"/>
                  </a:lnTo>
                  <a:lnTo>
                    <a:pt x="271" y="224"/>
                  </a:lnTo>
                  <a:lnTo>
                    <a:pt x="275" y="224"/>
                  </a:lnTo>
                  <a:lnTo>
                    <a:pt x="279" y="228"/>
                  </a:lnTo>
                  <a:lnTo>
                    <a:pt x="283" y="228"/>
                  </a:lnTo>
                  <a:lnTo>
                    <a:pt x="283" y="232"/>
                  </a:lnTo>
                  <a:lnTo>
                    <a:pt x="283" y="236"/>
                  </a:lnTo>
                  <a:lnTo>
                    <a:pt x="283" y="240"/>
                  </a:lnTo>
                  <a:lnTo>
                    <a:pt x="283" y="244"/>
                  </a:lnTo>
                  <a:lnTo>
                    <a:pt x="283" y="248"/>
                  </a:lnTo>
                  <a:lnTo>
                    <a:pt x="287" y="248"/>
                  </a:lnTo>
                  <a:lnTo>
                    <a:pt x="291" y="248"/>
                  </a:lnTo>
                  <a:lnTo>
                    <a:pt x="291" y="252"/>
                  </a:lnTo>
                  <a:lnTo>
                    <a:pt x="291" y="256"/>
                  </a:lnTo>
                  <a:lnTo>
                    <a:pt x="291" y="260"/>
                  </a:lnTo>
                  <a:lnTo>
                    <a:pt x="287" y="260"/>
                  </a:lnTo>
                  <a:lnTo>
                    <a:pt x="283" y="260"/>
                  </a:lnTo>
                  <a:lnTo>
                    <a:pt x="283" y="264"/>
                  </a:lnTo>
                  <a:lnTo>
                    <a:pt x="279" y="264"/>
                  </a:lnTo>
                  <a:lnTo>
                    <a:pt x="275" y="264"/>
                  </a:lnTo>
                  <a:lnTo>
                    <a:pt x="275" y="268"/>
                  </a:lnTo>
                  <a:lnTo>
                    <a:pt x="275" y="264"/>
                  </a:lnTo>
                  <a:lnTo>
                    <a:pt x="275" y="268"/>
                  </a:lnTo>
                  <a:lnTo>
                    <a:pt x="271" y="268"/>
                  </a:lnTo>
                  <a:lnTo>
                    <a:pt x="271" y="272"/>
                  </a:lnTo>
                  <a:lnTo>
                    <a:pt x="271" y="276"/>
                  </a:lnTo>
                  <a:lnTo>
                    <a:pt x="267" y="276"/>
                  </a:lnTo>
                  <a:lnTo>
                    <a:pt x="267" y="280"/>
                  </a:lnTo>
                  <a:lnTo>
                    <a:pt x="267" y="284"/>
                  </a:lnTo>
                  <a:lnTo>
                    <a:pt x="267" y="288"/>
                  </a:lnTo>
                  <a:lnTo>
                    <a:pt x="263" y="288"/>
                  </a:lnTo>
                  <a:lnTo>
                    <a:pt x="263" y="292"/>
                  </a:lnTo>
                  <a:lnTo>
                    <a:pt x="259" y="292"/>
                  </a:lnTo>
                  <a:lnTo>
                    <a:pt x="259" y="288"/>
                  </a:lnTo>
                  <a:lnTo>
                    <a:pt x="255" y="288"/>
                  </a:lnTo>
                  <a:lnTo>
                    <a:pt x="251" y="288"/>
                  </a:lnTo>
                  <a:lnTo>
                    <a:pt x="251" y="284"/>
                  </a:lnTo>
                  <a:lnTo>
                    <a:pt x="247" y="284"/>
                  </a:lnTo>
                  <a:lnTo>
                    <a:pt x="247" y="288"/>
                  </a:lnTo>
                  <a:lnTo>
                    <a:pt x="247" y="284"/>
                  </a:lnTo>
                  <a:lnTo>
                    <a:pt x="243" y="284"/>
                  </a:lnTo>
                  <a:lnTo>
                    <a:pt x="239" y="284"/>
                  </a:lnTo>
                  <a:lnTo>
                    <a:pt x="235" y="284"/>
                  </a:lnTo>
                  <a:lnTo>
                    <a:pt x="231" y="284"/>
                  </a:lnTo>
                  <a:lnTo>
                    <a:pt x="227" y="284"/>
                  </a:lnTo>
                  <a:lnTo>
                    <a:pt x="223" y="280"/>
                  </a:lnTo>
                  <a:lnTo>
                    <a:pt x="219" y="280"/>
                  </a:lnTo>
                  <a:lnTo>
                    <a:pt x="215" y="280"/>
                  </a:lnTo>
                  <a:lnTo>
                    <a:pt x="215" y="284"/>
                  </a:lnTo>
                  <a:lnTo>
                    <a:pt x="211" y="280"/>
                  </a:lnTo>
                  <a:lnTo>
                    <a:pt x="207" y="280"/>
                  </a:lnTo>
                  <a:lnTo>
                    <a:pt x="203" y="280"/>
                  </a:lnTo>
                  <a:lnTo>
                    <a:pt x="203" y="276"/>
                  </a:lnTo>
                  <a:lnTo>
                    <a:pt x="199" y="276"/>
                  </a:lnTo>
                  <a:lnTo>
                    <a:pt x="199" y="272"/>
                  </a:lnTo>
                  <a:lnTo>
                    <a:pt x="199" y="264"/>
                  </a:lnTo>
                  <a:lnTo>
                    <a:pt x="199" y="260"/>
                  </a:lnTo>
                  <a:lnTo>
                    <a:pt x="195" y="256"/>
                  </a:lnTo>
                  <a:lnTo>
                    <a:pt x="195" y="252"/>
                  </a:lnTo>
                  <a:lnTo>
                    <a:pt x="191" y="252"/>
                  </a:lnTo>
                  <a:lnTo>
                    <a:pt x="187" y="252"/>
                  </a:lnTo>
                  <a:lnTo>
                    <a:pt x="183" y="252"/>
                  </a:lnTo>
                  <a:lnTo>
                    <a:pt x="179" y="252"/>
                  </a:lnTo>
                  <a:lnTo>
                    <a:pt x="175" y="252"/>
                  </a:lnTo>
                  <a:lnTo>
                    <a:pt x="175" y="256"/>
                  </a:lnTo>
                  <a:lnTo>
                    <a:pt x="175" y="260"/>
                  </a:lnTo>
                  <a:lnTo>
                    <a:pt x="171" y="260"/>
                  </a:lnTo>
                  <a:lnTo>
                    <a:pt x="167" y="260"/>
                  </a:lnTo>
                  <a:lnTo>
                    <a:pt x="163" y="264"/>
                  </a:lnTo>
                  <a:lnTo>
                    <a:pt x="159" y="260"/>
                  </a:lnTo>
                  <a:lnTo>
                    <a:pt x="155" y="260"/>
                  </a:lnTo>
                  <a:lnTo>
                    <a:pt x="151" y="260"/>
                  </a:lnTo>
                  <a:lnTo>
                    <a:pt x="147" y="260"/>
                  </a:lnTo>
                  <a:lnTo>
                    <a:pt x="143" y="256"/>
                  </a:lnTo>
                  <a:lnTo>
                    <a:pt x="143" y="252"/>
                  </a:lnTo>
                  <a:lnTo>
                    <a:pt x="139" y="252"/>
                  </a:lnTo>
                  <a:lnTo>
                    <a:pt x="135" y="252"/>
                  </a:lnTo>
                  <a:lnTo>
                    <a:pt x="135" y="248"/>
                  </a:lnTo>
                  <a:lnTo>
                    <a:pt x="131" y="248"/>
                  </a:lnTo>
                  <a:lnTo>
                    <a:pt x="131" y="244"/>
                  </a:lnTo>
                  <a:lnTo>
                    <a:pt x="127" y="244"/>
                  </a:lnTo>
                  <a:lnTo>
                    <a:pt x="127" y="240"/>
                  </a:lnTo>
                  <a:lnTo>
                    <a:pt x="123" y="240"/>
                  </a:lnTo>
                  <a:lnTo>
                    <a:pt x="119" y="236"/>
                  </a:lnTo>
                  <a:lnTo>
                    <a:pt x="115" y="236"/>
                  </a:lnTo>
                  <a:lnTo>
                    <a:pt x="112" y="236"/>
                  </a:lnTo>
                  <a:lnTo>
                    <a:pt x="112" y="232"/>
                  </a:lnTo>
                  <a:lnTo>
                    <a:pt x="108" y="228"/>
                  </a:lnTo>
                  <a:lnTo>
                    <a:pt x="108" y="224"/>
                  </a:lnTo>
                  <a:lnTo>
                    <a:pt x="108" y="220"/>
                  </a:lnTo>
                  <a:lnTo>
                    <a:pt x="104" y="220"/>
                  </a:lnTo>
                  <a:lnTo>
                    <a:pt x="104" y="216"/>
                  </a:lnTo>
                  <a:lnTo>
                    <a:pt x="104" y="212"/>
                  </a:lnTo>
                  <a:lnTo>
                    <a:pt x="100" y="212"/>
                  </a:lnTo>
                  <a:lnTo>
                    <a:pt x="100" y="208"/>
                  </a:lnTo>
                  <a:lnTo>
                    <a:pt x="100" y="204"/>
                  </a:lnTo>
                  <a:lnTo>
                    <a:pt x="96" y="204"/>
                  </a:lnTo>
                  <a:lnTo>
                    <a:pt x="96" y="200"/>
                  </a:lnTo>
                  <a:lnTo>
                    <a:pt x="96" y="196"/>
                  </a:lnTo>
                  <a:lnTo>
                    <a:pt x="92" y="196"/>
                  </a:lnTo>
                  <a:lnTo>
                    <a:pt x="92" y="192"/>
                  </a:lnTo>
                  <a:lnTo>
                    <a:pt x="88" y="192"/>
                  </a:lnTo>
                  <a:lnTo>
                    <a:pt x="84" y="196"/>
                  </a:lnTo>
                  <a:lnTo>
                    <a:pt x="84" y="192"/>
                  </a:lnTo>
                  <a:lnTo>
                    <a:pt x="80" y="192"/>
                  </a:lnTo>
                  <a:lnTo>
                    <a:pt x="76" y="188"/>
                  </a:lnTo>
                  <a:lnTo>
                    <a:pt x="80" y="188"/>
                  </a:lnTo>
                  <a:lnTo>
                    <a:pt x="80" y="184"/>
                  </a:lnTo>
                  <a:lnTo>
                    <a:pt x="76" y="184"/>
                  </a:lnTo>
                  <a:lnTo>
                    <a:pt x="72" y="188"/>
                  </a:lnTo>
                  <a:lnTo>
                    <a:pt x="76" y="192"/>
                  </a:lnTo>
                  <a:lnTo>
                    <a:pt x="76" y="196"/>
                  </a:lnTo>
                  <a:lnTo>
                    <a:pt x="72" y="196"/>
                  </a:lnTo>
                  <a:lnTo>
                    <a:pt x="68" y="196"/>
                  </a:lnTo>
                  <a:lnTo>
                    <a:pt x="68" y="192"/>
                  </a:lnTo>
                  <a:lnTo>
                    <a:pt x="64" y="188"/>
                  </a:lnTo>
                  <a:lnTo>
                    <a:pt x="60" y="188"/>
                  </a:lnTo>
                  <a:lnTo>
                    <a:pt x="60" y="184"/>
                  </a:lnTo>
                  <a:lnTo>
                    <a:pt x="60" y="176"/>
                  </a:lnTo>
                  <a:lnTo>
                    <a:pt x="56" y="176"/>
                  </a:lnTo>
                  <a:lnTo>
                    <a:pt x="56" y="172"/>
                  </a:lnTo>
                  <a:lnTo>
                    <a:pt x="56" y="168"/>
                  </a:lnTo>
                  <a:lnTo>
                    <a:pt x="56" y="164"/>
                  </a:lnTo>
                  <a:lnTo>
                    <a:pt x="60" y="160"/>
                  </a:lnTo>
                  <a:lnTo>
                    <a:pt x="56" y="160"/>
                  </a:lnTo>
                  <a:lnTo>
                    <a:pt x="56" y="156"/>
                  </a:lnTo>
                  <a:lnTo>
                    <a:pt x="56" y="152"/>
                  </a:lnTo>
                  <a:lnTo>
                    <a:pt x="52" y="152"/>
                  </a:lnTo>
                  <a:lnTo>
                    <a:pt x="52" y="148"/>
                  </a:lnTo>
                  <a:lnTo>
                    <a:pt x="48" y="148"/>
                  </a:lnTo>
                  <a:lnTo>
                    <a:pt x="48" y="144"/>
                  </a:lnTo>
                  <a:lnTo>
                    <a:pt x="44" y="144"/>
                  </a:lnTo>
                  <a:lnTo>
                    <a:pt x="40" y="140"/>
                  </a:lnTo>
                  <a:lnTo>
                    <a:pt x="36" y="136"/>
                  </a:lnTo>
                  <a:lnTo>
                    <a:pt x="32" y="136"/>
                  </a:lnTo>
                  <a:lnTo>
                    <a:pt x="32" y="132"/>
                  </a:lnTo>
                  <a:lnTo>
                    <a:pt x="32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4" y="124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4" y="116"/>
                  </a:lnTo>
                  <a:lnTo>
                    <a:pt x="24" y="112"/>
                  </a:lnTo>
                  <a:lnTo>
                    <a:pt x="24" y="108"/>
                  </a:lnTo>
                  <a:lnTo>
                    <a:pt x="20" y="108"/>
                  </a:lnTo>
                  <a:lnTo>
                    <a:pt x="24" y="104"/>
                  </a:lnTo>
                  <a:lnTo>
                    <a:pt x="28" y="104"/>
                  </a:lnTo>
                  <a:lnTo>
                    <a:pt x="24" y="104"/>
                  </a:lnTo>
                  <a:lnTo>
                    <a:pt x="24" y="100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32" y="96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28" y="84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4"/>
                  </a:lnTo>
                  <a:lnTo>
                    <a:pt x="68" y="8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0" y="16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68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6" y="24"/>
                  </a:lnTo>
                  <a:lnTo>
                    <a:pt x="88" y="28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100" y="24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12" y="20"/>
                  </a:lnTo>
                  <a:lnTo>
                    <a:pt x="112" y="24"/>
                  </a:lnTo>
                  <a:lnTo>
                    <a:pt x="115" y="28"/>
                  </a:lnTo>
                  <a:lnTo>
                    <a:pt x="119" y="32"/>
                  </a:lnTo>
                  <a:lnTo>
                    <a:pt x="119" y="36"/>
                  </a:lnTo>
                  <a:lnTo>
                    <a:pt x="123" y="36"/>
                  </a:lnTo>
                  <a:lnTo>
                    <a:pt x="123" y="40"/>
                  </a:lnTo>
                  <a:lnTo>
                    <a:pt x="127" y="40"/>
                  </a:lnTo>
                  <a:lnTo>
                    <a:pt x="131" y="40"/>
                  </a:lnTo>
                  <a:lnTo>
                    <a:pt x="135" y="40"/>
                  </a:lnTo>
                  <a:lnTo>
                    <a:pt x="135" y="44"/>
                  </a:lnTo>
                  <a:lnTo>
                    <a:pt x="139" y="44"/>
                  </a:lnTo>
                  <a:lnTo>
                    <a:pt x="143" y="48"/>
                  </a:lnTo>
                  <a:lnTo>
                    <a:pt x="147" y="48"/>
                  </a:lnTo>
                  <a:lnTo>
                    <a:pt x="151" y="48"/>
                  </a:lnTo>
                  <a:lnTo>
                    <a:pt x="155" y="48"/>
                  </a:lnTo>
                  <a:lnTo>
                    <a:pt x="159" y="48"/>
                  </a:lnTo>
                  <a:lnTo>
                    <a:pt x="163" y="44"/>
                  </a:lnTo>
                  <a:lnTo>
                    <a:pt x="163" y="40"/>
                  </a:lnTo>
                  <a:lnTo>
                    <a:pt x="167" y="40"/>
                  </a:lnTo>
                  <a:lnTo>
                    <a:pt x="167" y="36"/>
                  </a:lnTo>
                  <a:lnTo>
                    <a:pt x="171" y="36"/>
                  </a:lnTo>
                  <a:lnTo>
                    <a:pt x="171" y="32"/>
                  </a:lnTo>
                  <a:lnTo>
                    <a:pt x="175" y="32"/>
                  </a:lnTo>
                  <a:lnTo>
                    <a:pt x="179" y="32"/>
                  </a:lnTo>
                  <a:lnTo>
                    <a:pt x="183" y="32"/>
                  </a:lnTo>
                  <a:lnTo>
                    <a:pt x="187" y="32"/>
                  </a:lnTo>
                  <a:lnTo>
                    <a:pt x="187" y="28"/>
                  </a:lnTo>
                  <a:lnTo>
                    <a:pt x="191" y="28"/>
                  </a:lnTo>
                  <a:lnTo>
                    <a:pt x="195" y="28"/>
                  </a:lnTo>
                  <a:lnTo>
                    <a:pt x="195" y="32"/>
                  </a:lnTo>
                  <a:lnTo>
                    <a:pt x="199" y="32"/>
                  </a:lnTo>
                  <a:lnTo>
                    <a:pt x="199" y="28"/>
                  </a:lnTo>
                  <a:lnTo>
                    <a:pt x="203" y="32"/>
                  </a:lnTo>
                  <a:lnTo>
                    <a:pt x="203" y="36"/>
                  </a:lnTo>
                  <a:lnTo>
                    <a:pt x="207" y="36"/>
                  </a:lnTo>
                  <a:lnTo>
                    <a:pt x="215" y="40"/>
                  </a:lnTo>
                  <a:lnTo>
                    <a:pt x="219" y="44"/>
                  </a:lnTo>
                  <a:lnTo>
                    <a:pt x="223" y="40"/>
                  </a:lnTo>
                  <a:lnTo>
                    <a:pt x="223" y="44"/>
                  </a:lnTo>
                  <a:lnTo>
                    <a:pt x="223" y="40"/>
                  </a:lnTo>
                  <a:lnTo>
                    <a:pt x="227" y="40"/>
                  </a:lnTo>
                  <a:lnTo>
                    <a:pt x="227" y="44"/>
                  </a:lnTo>
                  <a:lnTo>
                    <a:pt x="231" y="44"/>
                  </a:lnTo>
                  <a:lnTo>
                    <a:pt x="231" y="48"/>
                  </a:lnTo>
                  <a:lnTo>
                    <a:pt x="235" y="52"/>
                  </a:lnTo>
                  <a:lnTo>
                    <a:pt x="239" y="52"/>
                  </a:lnTo>
                  <a:lnTo>
                    <a:pt x="243" y="56"/>
                  </a:lnTo>
                  <a:lnTo>
                    <a:pt x="243" y="60"/>
                  </a:lnTo>
                  <a:lnTo>
                    <a:pt x="247" y="64"/>
                  </a:lnTo>
                  <a:lnTo>
                    <a:pt x="251" y="64"/>
                  </a:lnTo>
                  <a:lnTo>
                    <a:pt x="255" y="64"/>
                  </a:lnTo>
                  <a:lnTo>
                    <a:pt x="259" y="64"/>
                  </a:lnTo>
                  <a:lnTo>
                    <a:pt x="259" y="68"/>
                  </a:lnTo>
                  <a:lnTo>
                    <a:pt x="259" y="72"/>
                  </a:lnTo>
                  <a:lnTo>
                    <a:pt x="259" y="76"/>
                  </a:lnTo>
                  <a:lnTo>
                    <a:pt x="259" y="80"/>
                  </a:lnTo>
                  <a:lnTo>
                    <a:pt x="259" y="84"/>
                  </a:lnTo>
                  <a:lnTo>
                    <a:pt x="263" y="84"/>
                  </a:lnTo>
                  <a:lnTo>
                    <a:pt x="259" y="88"/>
                  </a:lnTo>
                  <a:lnTo>
                    <a:pt x="259" y="92"/>
                  </a:lnTo>
                  <a:lnTo>
                    <a:pt x="259" y="96"/>
                  </a:lnTo>
                  <a:lnTo>
                    <a:pt x="259" y="100"/>
                  </a:lnTo>
                  <a:lnTo>
                    <a:pt x="255" y="104"/>
                  </a:lnTo>
                  <a:lnTo>
                    <a:pt x="251" y="104"/>
                  </a:lnTo>
                  <a:lnTo>
                    <a:pt x="255" y="108"/>
                  </a:lnTo>
                  <a:lnTo>
                    <a:pt x="251" y="108"/>
                  </a:lnTo>
                  <a:lnTo>
                    <a:pt x="251" y="112"/>
                  </a:lnTo>
                  <a:lnTo>
                    <a:pt x="251" y="116"/>
                  </a:lnTo>
                  <a:lnTo>
                    <a:pt x="251" y="120"/>
                  </a:lnTo>
                  <a:lnTo>
                    <a:pt x="251" y="124"/>
                  </a:lnTo>
                  <a:lnTo>
                    <a:pt x="255" y="124"/>
                  </a:lnTo>
                  <a:lnTo>
                    <a:pt x="255" y="128"/>
                  </a:lnTo>
                  <a:lnTo>
                    <a:pt x="251" y="128"/>
                  </a:lnTo>
                  <a:lnTo>
                    <a:pt x="251" y="132"/>
                  </a:lnTo>
                  <a:lnTo>
                    <a:pt x="251" y="136"/>
                  </a:lnTo>
                  <a:lnTo>
                    <a:pt x="251" y="140"/>
                  </a:lnTo>
                  <a:lnTo>
                    <a:pt x="251" y="144"/>
                  </a:lnTo>
                  <a:lnTo>
                    <a:pt x="255" y="148"/>
                  </a:lnTo>
                  <a:lnTo>
                    <a:pt x="255" y="152"/>
                  </a:lnTo>
                  <a:lnTo>
                    <a:pt x="255" y="156"/>
                  </a:lnTo>
                  <a:close/>
                  <a:moveTo>
                    <a:pt x="175" y="256"/>
                  </a:moveTo>
                  <a:lnTo>
                    <a:pt x="175" y="260"/>
                  </a:lnTo>
                  <a:lnTo>
                    <a:pt x="175" y="256"/>
                  </a:lnTo>
                  <a:lnTo>
                    <a:pt x="179" y="256"/>
                  </a:lnTo>
                  <a:lnTo>
                    <a:pt x="175" y="256"/>
                  </a:lnTo>
                  <a:close/>
                  <a:moveTo>
                    <a:pt x="187" y="256"/>
                  </a:moveTo>
                  <a:lnTo>
                    <a:pt x="183" y="256"/>
                  </a:lnTo>
                  <a:lnTo>
                    <a:pt x="183" y="260"/>
                  </a:lnTo>
                  <a:lnTo>
                    <a:pt x="179" y="260"/>
                  </a:lnTo>
                  <a:lnTo>
                    <a:pt x="175" y="260"/>
                  </a:lnTo>
                  <a:lnTo>
                    <a:pt x="171" y="264"/>
                  </a:lnTo>
                  <a:lnTo>
                    <a:pt x="171" y="260"/>
                  </a:lnTo>
                  <a:lnTo>
                    <a:pt x="175" y="260"/>
                  </a:lnTo>
                  <a:lnTo>
                    <a:pt x="179" y="260"/>
                  </a:lnTo>
                  <a:lnTo>
                    <a:pt x="179" y="256"/>
                  </a:lnTo>
                  <a:lnTo>
                    <a:pt x="183" y="256"/>
                  </a:lnTo>
                  <a:lnTo>
                    <a:pt x="183" y="252"/>
                  </a:lnTo>
                  <a:lnTo>
                    <a:pt x="187" y="2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2" name="Freeform 19"/>
            <p:cNvSpPr>
              <a:spLocks/>
            </p:cNvSpPr>
            <p:nvPr>
              <p:custDataLst>
                <p:tags r:id="rId215"/>
              </p:custDataLst>
            </p:nvPr>
          </p:nvSpPr>
          <p:spPr bwMode="gray">
            <a:xfrm>
              <a:off x="5245136" y="3544462"/>
              <a:ext cx="219493" cy="243222"/>
            </a:xfrm>
            <a:custGeom>
              <a:avLst/>
              <a:gdLst/>
              <a:ahLst/>
              <a:cxnLst>
                <a:cxn ang="0">
                  <a:pos x="4" y="96"/>
                </a:cxn>
                <a:cxn ang="0">
                  <a:pos x="16" y="72"/>
                </a:cxn>
                <a:cxn ang="0">
                  <a:pos x="36" y="60"/>
                </a:cxn>
                <a:cxn ang="0">
                  <a:pos x="36" y="44"/>
                </a:cxn>
                <a:cxn ang="0">
                  <a:pos x="40" y="40"/>
                </a:cxn>
                <a:cxn ang="0">
                  <a:pos x="40" y="36"/>
                </a:cxn>
                <a:cxn ang="0">
                  <a:pos x="40" y="20"/>
                </a:cxn>
                <a:cxn ang="0">
                  <a:pos x="56" y="4"/>
                </a:cxn>
                <a:cxn ang="0">
                  <a:pos x="60" y="0"/>
                </a:cxn>
                <a:cxn ang="0">
                  <a:pos x="64" y="0"/>
                </a:cxn>
                <a:cxn ang="0">
                  <a:pos x="80" y="4"/>
                </a:cxn>
                <a:cxn ang="0">
                  <a:pos x="80" y="0"/>
                </a:cxn>
                <a:cxn ang="0">
                  <a:pos x="84" y="4"/>
                </a:cxn>
                <a:cxn ang="0">
                  <a:pos x="88" y="4"/>
                </a:cxn>
                <a:cxn ang="0">
                  <a:pos x="92" y="4"/>
                </a:cxn>
                <a:cxn ang="0">
                  <a:pos x="92" y="8"/>
                </a:cxn>
                <a:cxn ang="0">
                  <a:pos x="92" y="12"/>
                </a:cxn>
                <a:cxn ang="0">
                  <a:pos x="96" y="16"/>
                </a:cxn>
                <a:cxn ang="0">
                  <a:pos x="96" y="20"/>
                </a:cxn>
                <a:cxn ang="0">
                  <a:pos x="100" y="20"/>
                </a:cxn>
                <a:cxn ang="0">
                  <a:pos x="104" y="28"/>
                </a:cxn>
                <a:cxn ang="0">
                  <a:pos x="108" y="32"/>
                </a:cxn>
                <a:cxn ang="0">
                  <a:pos x="112" y="32"/>
                </a:cxn>
                <a:cxn ang="0">
                  <a:pos x="116" y="32"/>
                </a:cxn>
                <a:cxn ang="0">
                  <a:pos x="112" y="32"/>
                </a:cxn>
                <a:cxn ang="0">
                  <a:pos x="112" y="40"/>
                </a:cxn>
                <a:cxn ang="0">
                  <a:pos x="112" y="44"/>
                </a:cxn>
                <a:cxn ang="0">
                  <a:pos x="108" y="48"/>
                </a:cxn>
                <a:cxn ang="0">
                  <a:pos x="104" y="52"/>
                </a:cxn>
                <a:cxn ang="0">
                  <a:pos x="108" y="56"/>
                </a:cxn>
                <a:cxn ang="0">
                  <a:pos x="104" y="60"/>
                </a:cxn>
                <a:cxn ang="0">
                  <a:pos x="104" y="64"/>
                </a:cxn>
                <a:cxn ang="0">
                  <a:pos x="104" y="68"/>
                </a:cxn>
                <a:cxn ang="0">
                  <a:pos x="108" y="76"/>
                </a:cxn>
                <a:cxn ang="0">
                  <a:pos x="108" y="80"/>
                </a:cxn>
                <a:cxn ang="0">
                  <a:pos x="112" y="80"/>
                </a:cxn>
                <a:cxn ang="0">
                  <a:pos x="112" y="84"/>
                </a:cxn>
                <a:cxn ang="0">
                  <a:pos x="112" y="88"/>
                </a:cxn>
                <a:cxn ang="0">
                  <a:pos x="116" y="88"/>
                </a:cxn>
                <a:cxn ang="0">
                  <a:pos x="120" y="92"/>
                </a:cxn>
                <a:cxn ang="0">
                  <a:pos x="124" y="96"/>
                </a:cxn>
                <a:cxn ang="0">
                  <a:pos x="128" y="100"/>
                </a:cxn>
                <a:cxn ang="0">
                  <a:pos x="136" y="104"/>
                </a:cxn>
                <a:cxn ang="0">
                  <a:pos x="140" y="112"/>
                </a:cxn>
                <a:cxn ang="0">
                  <a:pos x="136" y="124"/>
                </a:cxn>
                <a:cxn ang="0">
                  <a:pos x="140" y="128"/>
                </a:cxn>
                <a:cxn ang="0">
                  <a:pos x="140" y="140"/>
                </a:cxn>
                <a:cxn ang="0">
                  <a:pos x="148" y="144"/>
                </a:cxn>
                <a:cxn ang="0">
                  <a:pos x="148" y="148"/>
                </a:cxn>
                <a:cxn ang="0">
                  <a:pos x="144" y="148"/>
                </a:cxn>
                <a:cxn ang="0">
                  <a:pos x="140" y="148"/>
                </a:cxn>
                <a:cxn ang="0">
                  <a:pos x="132" y="144"/>
                </a:cxn>
                <a:cxn ang="0">
                  <a:pos x="128" y="148"/>
                </a:cxn>
                <a:cxn ang="0">
                  <a:pos x="124" y="160"/>
                </a:cxn>
                <a:cxn ang="0">
                  <a:pos x="120" y="164"/>
                </a:cxn>
                <a:cxn ang="0">
                  <a:pos x="112" y="164"/>
                </a:cxn>
                <a:cxn ang="0">
                  <a:pos x="40" y="120"/>
                </a:cxn>
              </a:cxnLst>
              <a:rect l="0" t="0" r="r" b="b"/>
              <a:pathLst>
                <a:path w="148" h="164">
                  <a:moveTo>
                    <a:pt x="8" y="104"/>
                  </a:moveTo>
                  <a:lnTo>
                    <a:pt x="8" y="104"/>
                  </a:lnTo>
                  <a:lnTo>
                    <a:pt x="8" y="100"/>
                  </a:lnTo>
                  <a:lnTo>
                    <a:pt x="4" y="100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24" y="68"/>
                  </a:lnTo>
                  <a:lnTo>
                    <a:pt x="28" y="64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16"/>
                  </a:lnTo>
                  <a:lnTo>
                    <a:pt x="48" y="16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6"/>
                  </a:lnTo>
                  <a:lnTo>
                    <a:pt x="108" y="36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8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4"/>
                  </a:lnTo>
                  <a:lnTo>
                    <a:pt x="104" y="64"/>
                  </a:lnTo>
                  <a:lnTo>
                    <a:pt x="104" y="64"/>
                  </a:lnTo>
                  <a:lnTo>
                    <a:pt x="104" y="68"/>
                  </a:lnTo>
                  <a:lnTo>
                    <a:pt x="100" y="68"/>
                  </a:lnTo>
                  <a:lnTo>
                    <a:pt x="100" y="68"/>
                  </a:lnTo>
                  <a:lnTo>
                    <a:pt x="100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4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32" y="100"/>
                  </a:lnTo>
                  <a:lnTo>
                    <a:pt x="132" y="100"/>
                  </a:lnTo>
                  <a:lnTo>
                    <a:pt x="132" y="100"/>
                  </a:lnTo>
                  <a:lnTo>
                    <a:pt x="132" y="104"/>
                  </a:lnTo>
                  <a:lnTo>
                    <a:pt x="136" y="104"/>
                  </a:lnTo>
                  <a:lnTo>
                    <a:pt x="136" y="108"/>
                  </a:lnTo>
                  <a:lnTo>
                    <a:pt x="136" y="108"/>
                  </a:lnTo>
                  <a:lnTo>
                    <a:pt x="136" y="112"/>
                  </a:lnTo>
                  <a:lnTo>
                    <a:pt x="140" y="112"/>
                  </a:lnTo>
                  <a:lnTo>
                    <a:pt x="140" y="112"/>
                  </a:lnTo>
                  <a:lnTo>
                    <a:pt x="140" y="112"/>
                  </a:lnTo>
                  <a:lnTo>
                    <a:pt x="136" y="116"/>
                  </a:lnTo>
                  <a:lnTo>
                    <a:pt x="136" y="116"/>
                  </a:lnTo>
                  <a:lnTo>
                    <a:pt x="136" y="120"/>
                  </a:lnTo>
                  <a:lnTo>
                    <a:pt x="136" y="120"/>
                  </a:lnTo>
                  <a:lnTo>
                    <a:pt x="136" y="120"/>
                  </a:lnTo>
                  <a:lnTo>
                    <a:pt x="136" y="124"/>
                  </a:lnTo>
                  <a:lnTo>
                    <a:pt x="136" y="124"/>
                  </a:lnTo>
                  <a:lnTo>
                    <a:pt x="136" y="124"/>
                  </a:lnTo>
                  <a:lnTo>
                    <a:pt x="136" y="124"/>
                  </a:lnTo>
                  <a:lnTo>
                    <a:pt x="136" y="128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40" y="136"/>
                  </a:lnTo>
                  <a:lnTo>
                    <a:pt x="140" y="136"/>
                  </a:lnTo>
                  <a:lnTo>
                    <a:pt x="140" y="136"/>
                  </a:lnTo>
                  <a:lnTo>
                    <a:pt x="140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0" y="148"/>
                  </a:lnTo>
                  <a:lnTo>
                    <a:pt x="140" y="148"/>
                  </a:lnTo>
                  <a:lnTo>
                    <a:pt x="140" y="148"/>
                  </a:lnTo>
                  <a:lnTo>
                    <a:pt x="140" y="148"/>
                  </a:lnTo>
                  <a:lnTo>
                    <a:pt x="136" y="144"/>
                  </a:lnTo>
                  <a:lnTo>
                    <a:pt x="132" y="144"/>
                  </a:lnTo>
                  <a:lnTo>
                    <a:pt x="132" y="144"/>
                  </a:lnTo>
                  <a:lnTo>
                    <a:pt x="132" y="144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52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60"/>
                  </a:lnTo>
                  <a:lnTo>
                    <a:pt x="124" y="160"/>
                  </a:lnTo>
                  <a:lnTo>
                    <a:pt x="120" y="160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16" y="164"/>
                  </a:lnTo>
                  <a:lnTo>
                    <a:pt x="112" y="164"/>
                  </a:lnTo>
                  <a:lnTo>
                    <a:pt x="92" y="164"/>
                  </a:lnTo>
                  <a:lnTo>
                    <a:pt x="76" y="148"/>
                  </a:lnTo>
                  <a:lnTo>
                    <a:pt x="64" y="140"/>
                  </a:lnTo>
                  <a:lnTo>
                    <a:pt x="64" y="136"/>
                  </a:lnTo>
                  <a:lnTo>
                    <a:pt x="52" y="124"/>
                  </a:lnTo>
                  <a:lnTo>
                    <a:pt x="40" y="120"/>
                  </a:lnTo>
                  <a:lnTo>
                    <a:pt x="24" y="108"/>
                  </a:lnTo>
                  <a:lnTo>
                    <a:pt x="20" y="108"/>
                  </a:lnTo>
                  <a:lnTo>
                    <a:pt x="12" y="104"/>
                  </a:lnTo>
                  <a:lnTo>
                    <a:pt x="8" y="10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3" name="Freeform 20"/>
            <p:cNvSpPr>
              <a:spLocks noEditPoints="1"/>
            </p:cNvSpPr>
            <p:nvPr>
              <p:custDataLst>
                <p:tags r:id="rId216"/>
              </p:custDataLst>
            </p:nvPr>
          </p:nvSpPr>
          <p:spPr bwMode="gray">
            <a:xfrm>
              <a:off x="5144288" y="3669039"/>
              <a:ext cx="29661" cy="106781"/>
            </a:xfrm>
            <a:custGeom>
              <a:avLst/>
              <a:gdLst/>
              <a:ahLst/>
              <a:cxnLst>
                <a:cxn ang="0">
                  <a:pos x="16" y="48"/>
                </a:cxn>
                <a:cxn ang="0">
                  <a:pos x="16" y="52"/>
                </a:cxn>
                <a:cxn ang="0">
                  <a:pos x="12" y="60"/>
                </a:cxn>
                <a:cxn ang="0">
                  <a:pos x="12" y="64"/>
                </a:cxn>
                <a:cxn ang="0">
                  <a:pos x="12" y="64"/>
                </a:cxn>
                <a:cxn ang="0">
                  <a:pos x="12" y="72"/>
                </a:cxn>
                <a:cxn ang="0">
                  <a:pos x="8" y="72"/>
                </a:cxn>
                <a:cxn ang="0">
                  <a:pos x="8" y="72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0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12" y="24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2" y="32"/>
                </a:cxn>
                <a:cxn ang="0">
                  <a:pos x="8" y="36"/>
                </a:cxn>
                <a:cxn ang="0">
                  <a:pos x="12" y="36"/>
                </a:cxn>
                <a:cxn ang="0">
                  <a:pos x="16" y="36"/>
                </a:cxn>
                <a:cxn ang="0">
                  <a:pos x="20" y="32"/>
                </a:cxn>
                <a:cxn ang="0">
                  <a:pos x="20" y="36"/>
                </a:cxn>
                <a:cxn ang="0">
                  <a:pos x="20" y="40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16" y="28"/>
                </a:cxn>
              </a:cxnLst>
              <a:rect l="0" t="0" r="r" b="b"/>
              <a:pathLst>
                <a:path w="20" h="72">
                  <a:moveTo>
                    <a:pt x="16" y="44"/>
                  </a:moveTo>
                  <a:lnTo>
                    <a:pt x="16" y="44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4"/>
                  </a:lnTo>
                  <a:lnTo>
                    <a:pt x="16" y="44"/>
                  </a:lnTo>
                  <a:close/>
                  <a:moveTo>
                    <a:pt x="16" y="28"/>
                  </a:move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4" name="Freeform 21"/>
            <p:cNvSpPr>
              <a:spLocks noEditPoints="1"/>
            </p:cNvSpPr>
            <p:nvPr>
              <p:custDataLst>
                <p:tags r:id="rId217"/>
              </p:custDataLst>
            </p:nvPr>
          </p:nvSpPr>
          <p:spPr bwMode="gray">
            <a:xfrm>
              <a:off x="7149390" y="3290858"/>
              <a:ext cx="496826" cy="639200"/>
            </a:xfrm>
            <a:custGeom>
              <a:avLst/>
              <a:gdLst/>
              <a:ahLst/>
              <a:cxnLst>
                <a:cxn ang="0">
                  <a:pos x="104" y="271"/>
                </a:cxn>
                <a:cxn ang="0">
                  <a:pos x="288" y="71"/>
                </a:cxn>
                <a:cxn ang="0">
                  <a:pos x="256" y="67"/>
                </a:cxn>
                <a:cxn ang="0">
                  <a:pos x="264" y="83"/>
                </a:cxn>
                <a:cxn ang="0">
                  <a:pos x="248" y="71"/>
                </a:cxn>
                <a:cxn ang="0">
                  <a:pos x="256" y="48"/>
                </a:cxn>
                <a:cxn ang="0">
                  <a:pos x="272" y="36"/>
                </a:cxn>
                <a:cxn ang="0">
                  <a:pos x="280" y="0"/>
                </a:cxn>
                <a:cxn ang="0">
                  <a:pos x="300" y="28"/>
                </a:cxn>
                <a:cxn ang="0">
                  <a:pos x="327" y="28"/>
                </a:cxn>
                <a:cxn ang="0">
                  <a:pos x="335" y="48"/>
                </a:cxn>
                <a:cxn ang="0">
                  <a:pos x="308" y="60"/>
                </a:cxn>
                <a:cxn ang="0">
                  <a:pos x="240" y="75"/>
                </a:cxn>
                <a:cxn ang="0">
                  <a:pos x="148" y="231"/>
                </a:cxn>
                <a:cxn ang="0">
                  <a:pos x="128" y="239"/>
                </a:cxn>
                <a:cxn ang="0">
                  <a:pos x="120" y="231"/>
                </a:cxn>
                <a:cxn ang="0">
                  <a:pos x="140" y="211"/>
                </a:cxn>
                <a:cxn ang="0">
                  <a:pos x="152" y="211"/>
                </a:cxn>
                <a:cxn ang="0">
                  <a:pos x="180" y="211"/>
                </a:cxn>
                <a:cxn ang="0">
                  <a:pos x="188" y="195"/>
                </a:cxn>
                <a:cxn ang="0">
                  <a:pos x="204" y="171"/>
                </a:cxn>
                <a:cxn ang="0">
                  <a:pos x="208" y="183"/>
                </a:cxn>
                <a:cxn ang="0">
                  <a:pos x="232" y="159"/>
                </a:cxn>
                <a:cxn ang="0">
                  <a:pos x="248" y="127"/>
                </a:cxn>
                <a:cxn ang="0">
                  <a:pos x="248" y="111"/>
                </a:cxn>
                <a:cxn ang="0">
                  <a:pos x="260" y="95"/>
                </a:cxn>
                <a:cxn ang="0">
                  <a:pos x="260" y="91"/>
                </a:cxn>
                <a:cxn ang="0">
                  <a:pos x="276" y="107"/>
                </a:cxn>
                <a:cxn ang="0">
                  <a:pos x="276" y="139"/>
                </a:cxn>
                <a:cxn ang="0">
                  <a:pos x="264" y="159"/>
                </a:cxn>
                <a:cxn ang="0">
                  <a:pos x="256" y="195"/>
                </a:cxn>
                <a:cxn ang="0">
                  <a:pos x="248" y="219"/>
                </a:cxn>
                <a:cxn ang="0">
                  <a:pos x="244" y="215"/>
                </a:cxn>
                <a:cxn ang="0">
                  <a:pos x="228" y="215"/>
                </a:cxn>
                <a:cxn ang="0">
                  <a:pos x="208" y="227"/>
                </a:cxn>
                <a:cxn ang="0">
                  <a:pos x="200" y="223"/>
                </a:cxn>
                <a:cxn ang="0">
                  <a:pos x="192" y="239"/>
                </a:cxn>
                <a:cxn ang="0">
                  <a:pos x="176" y="231"/>
                </a:cxn>
                <a:cxn ang="0">
                  <a:pos x="228" y="151"/>
                </a:cxn>
                <a:cxn ang="0">
                  <a:pos x="224" y="155"/>
                </a:cxn>
                <a:cxn ang="0">
                  <a:pos x="88" y="231"/>
                </a:cxn>
                <a:cxn ang="0">
                  <a:pos x="164" y="227"/>
                </a:cxn>
                <a:cxn ang="0">
                  <a:pos x="156" y="251"/>
                </a:cxn>
                <a:cxn ang="0">
                  <a:pos x="140" y="263"/>
                </a:cxn>
                <a:cxn ang="0">
                  <a:pos x="136" y="247"/>
                </a:cxn>
                <a:cxn ang="0">
                  <a:pos x="156" y="235"/>
                </a:cxn>
                <a:cxn ang="0">
                  <a:pos x="84" y="235"/>
                </a:cxn>
                <a:cxn ang="0">
                  <a:pos x="92" y="263"/>
                </a:cxn>
                <a:cxn ang="0">
                  <a:pos x="96" y="251"/>
                </a:cxn>
                <a:cxn ang="0">
                  <a:pos x="120" y="247"/>
                </a:cxn>
                <a:cxn ang="0">
                  <a:pos x="124" y="263"/>
                </a:cxn>
                <a:cxn ang="0">
                  <a:pos x="112" y="291"/>
                </a:cxn>
                <a:cxn ang="0">
                  <a:pos x="104" y="287"/>
                </a:cxn>
                <a:cxn ang="0">
                  <a:pos x="100" y="275"/>
                </a:cxn>
                <a:cxn ang="0">
                  <a:pos x="100" y="255"/>
                </a:cxn>
                <a:cxn ang="0">
                  <a:pos x="92" y="247"/>
                </a:cxn>
                <a:cxn ang="0">
                  <a:pos x="84" y="259"/>
                </a:cxn>
                <a:cxn ang="0">
                  <a:pos x="96" y="275"/>
                </a:cxn>
                <a:cxn ang="0">
                  <a:pos x="112" y="303"/>
                </a:cxn>
                <a:cxn ang="0">
                  <a:pos x="84" y="351"/>
                </a:cxn>
                <a:cxn ang="0">
                  <a:pos x="64" y="387"/>
                </a:cxn>
                <a:cxn ang="0">
                  <a:pos x="68" y="383"/>
                </a:cxn>
                <a:cxn ang="0">
                  <a:pos x="4" y="427"/>
                </a:cxn>
              </a:cxnLst>
              <a:rect l="0" t="0" r="r" b="b"/>
              <a:pathLst>
                <a:path w="335" h="431">
                  <a:moveTo>
                    <a:pt x="136" y="243"/>
                  </a:moveTo>
                  <a:lnTo>
                    <a:pt x="132" y="243"/>
                  </a:lnTo>
                  <a:lnTo>
                    <a:pt x="132" y="239"/>
                  </a:lnTo>
                  <a:lnTo>
                    <a:pt x="132" y="243"/>
                  </a:lnTo>
                  <a:lnTo>
                    <a:pt x="132" y="239"/>
                  </a:lnTo>
                  <a:lnTo>
                    <a:pt x="136" y="239"/>
                  </a:lnTo>
                  <a:lnTo>
                    <a:pt x="136" y="243"/>
                  </a:lnTo>
                  <a:close/>
                  <a:moveTo>
                    <a:pt x="100" y="271"/>
                  </a:moveTo>
                  <a:lnTo>
                    <a:pt x="104" y="267"/>
                  </a:lnTo>
                  <a:lnTo>
                    <a:pt x="104" y="271"/>
                  </a:lnTo>
                  <a:lnTo>
                    <a:pt x="100" y="271"/>
                  </a:lnTo>
                  <a:close/>
                  <a:moveTo>
                    <a:pt x="308" y="60"/>
                  </a:moveTo>
                  <a:lnTo>
                    <a:pt x="304" y="64"/>
                  </a:lnTo>
                  <a:lnTo>
                    <a:pt x="300" y="64"/>
                  </a:lnTo>
                  <a:lnTo>
                    <a:pt x="300" y="67"/>
                  </a:lnTo>
                  <a:lnTo>
                    <a:pt x="300" y="71"/>
                  </a:lnTo>
                  <a:lnTo>
                    <a:pt x="300" y="75"/>
                  </a:lnTo>
                  <a:lnTo>
                    <a:pt x="296" y="75"/>
                  </a:lnTo>
                  <a:lnTo>
                    <a:pt x="292" y="71"/>
                  </a:lnTo>
                  <a:lnTo>
                    <a:pt x="288" y="71"/>
                  </a:lnTo>
                  <a:lnTo>
                    <a:pt x="284" y="67"/>
                  </a:lnTo>
                  <a:lnTo>
                    <a:pt x="280" y="67"/>
                  </a:lnTo>
                  <a:lnTo>
                    <a:pt x="280" y="64"/>
                  </a:lnTo>
                  <a:lnTo>
                    <a:pt x="276" y="64"/>
                  </a:lnTo>
                  <a:lnTo>
                    <a:pt x="272" y="64"/>
                  </a:lnTo>
                  <a:lnTo>
                    <a:pt x="268" y="67"/>
                  </a:lnTo>
                  <a:lnTo>
                    <a:pt x="264" y="67"/>
                  </a:lnTo>
                  <a:lnTo>
                    <a:pt x="260" y="64"/>
                  </a:lnTo>
                  <a:lnTo>
                    <a:pt x="256" y="64"/>
                  </a:lnTo>
                  <a:lnTo>
                    <a:pt x="256" y="67"/>
                  </a:lnTo>
                  <a:lnTo>
                    <a:pt x="252" y="67"/>
                  </a:lnTo>
                  <a:lnTo>
                    <a:pt x="252" y="71"/>
                  </a:lnTo>
                  <a:lnTo>
                    <a:pt x="256" y="71"/>
                  </a:lnTo>
                  <a:lnTo>
                    <a:pt x="260" y="71"/>
                  </a:lnTo>
                  <a:lnTo>
                    <a:pt x="260" y="75"/>
                  </a:lnTo>
                  <a:lnTo>
                    <a:pt x="264" y="75"/>
                  </a:lnTo>
                  <a:lnTo>
                    <a:pt x="264" y="79"/>
                  </a:lnTo>
                  <a:lnTo>
                    <a:pt x="268" y="79"/>
                  </a:lnTo>
                  <a:lnTo>
                    <a:pt x="264" y="79"/>
                  </a:lnTo>
                  <a:lnTo>
                    <a:pt x="264" y="83"/>
                  </a:lnTo>
                  <a:lnTo>
                    <a:pt x="260" y="79"/>
                  </a:lnTo>
                  <a:lnTo>
                    <a:pt x="256" y="83"/>
                  </a:lnTo>
                  <a:lnTo>
                    <a:pt x="256" y="87"/>
                  </a:lnTo>
                  <a:lnTo>
                    <a:pt x="252" y="87"/>
                  </a:lnTo>
                  <a:lnTo>
                    <a:pt x="248" y="87"/>
                  </a:lnTo>
                  <a:lnTo>
                    <a:pt x="248" y="83"/>
                  </a:lnTo>
                  <a:lnTo>
                    <a:pt x="252" y="79"/>
                  </a:lnTo>
                  <a:lnTo>
                    <a:pt x="252" y="75"/>
                  </a:lnTo>
                  <a:lnTo>
                    <a:pt x="248" y="75"/>
                  </a:lnTo>
                  <a:lnTo>
                    <a:pt x="248" y="71"/>
                  </a:lnTo>
                  <a:lnTo>
                    <a:pt x="244" y="71"/>
                  </a:lnTo>
                  <a:lnTo>
                    <a:pt x="244" y="67"/>
                  </a:lnTo>
                  <a:lnTo>
                    <a:pt x="248" y="67"/>
                  </a:lnTo>
                  <a:lnTo>
                    <a:pt x="248" y="64"/>
                  </a:lnTo>
                  <a:lnTo>
                    <a:pt x="248" y="60"/>
                  </a:lnTo>
                  <a:lnTo>
                    <a:pt x="252" y="60"/>
                  </a:lnTo>
                  <a:lnTo>
                    <a:pt x="256" y="60"/>
                  </a:lnTo>
                  <a:lnTo>
                    <a:pt x="256" y="56"/>
                  </a:lnTo>
                  <a:lnTo>
                    <a:pt x="256" y="52"/>
                  </a:lnTo>
                  <a:lnTo>
                    <a:pt x="256" y="48"/>
                  </a:lnTo>
                  <a:lnTo>
                    <a:pt x="260" y="48"/>
                  </a:lnTo>
                  <a:lnTo>
                    <a:pt x="260" y="52"/>
                  </a:lnTo>
                  <a:lnTo>
                    <a:pt x="264" y="52"/>
                  </a:lnTo>
                  <a:lnTo>
                    <a:pt x="268" y="52"/>
                  </a:lnTo>
                  <a:lnTo>
                    <a:pt x="268" y="48"/>
                  </a:lnTo>
                  <a:lnTo>
                    <a:pt x="272" y="48"/>
                  </a:lnTo>
                  <a:lnTo>
                    <a:pt x="272" y="44"/>
                  </a:lnTo>
                  <a:lnTo>
                    <a:pt x="268" y="40"/>
                  </a:lnTo>
                  <a:lnTo>
                    <a:pt x="272" y="40"/>
                  </a:lnTo>
                  <a:lnTo>
                    <a:pt x="272" y="36"/>
                  </a:lnTo>
                  <a:lnTo>
                    <a:pt x="276" y="36"/>
                  </a:lnTo>
                  <a:lnTo>
                    <a:pt x="276" y="32"/>
                  </a:lnTo>
                  <a:lnTo>
                    <a:pt x="276" y="28"/>
                  </a:lnTo>
                  <a:lnTo>
                    <a:pt x="276" y="24"/>
                  </a:lnTo>
                  <a:lnTo>
                    <a:pt x="276" y="20"/>
                  </a:lnTo>
                  <a:lnTo>
                    <a:pt x="276" y="16"/>
                  </a:lnTo>
                  <a:lnTo>
                    <a:pt x="276" y="12"/>
                  </a:lnTo>
                  <a:lnTo>
                    <a:pt x="272" y="8"/>
                  </a:lnTo>
                  <a:lnTo>
                    <a:pt x="276" y="4"/>
                  </a:lnTo>
                  <a:lnTo>
                    <a:pt x="280" y="0"/>
                  </a:lnTo>
                  <a:lnTo>
                    <a:pt x="280" y="4"/>
                  </a:lnTo>
                  <a:lnTo>
                    <a:pt x="284" y="4"/>
                  </a:lnTo>
                  <a:lnTo>
                    <a:pt x="284" y="8"/>
                  </a:lnTo>
                  <a:lnTo>
                    <a:pt x="288" y="12"/>
                  </a:lnTo>
                  <a:lnTo>
                    <a:pt x="288" y="16"/>
                  </a:lnTo>
                  <a:lnTo>
                    <a:pt x="292" y="16"/>
                  </a:lnTo>
                  <a:lnTo>
                    <a:pt x="292" y="20"/>
                  </a:lnTo>
                  <a:lnTo>
                    <a:pt x="296" y="20"/>
                  </a:lnTo>
                  <a:lnTo>
                    <a:pt x="296" y="24"/>
                  </a:lnTo>
                  <a:lnTo>
                    <a:pt x="300" y="28"/>
                  </a:lnTo>
                  <a:lnTo>
                    <a:pt x="304" y="28"/>
                  </a:lnTo>
                  <a:lnTo>
                    <a:pt x="304" y="32"/>
                  </a:lnTo>
                  <a:lnTo>
                    <a:pt x="308" y="32"/>
                  </a:lnTo>
                  <a:lnTo>
                    <a:pt x="312" y="32"/>
                  </a:lnTo>
                  <a:lnTo>
                    <a:pt x="316" y="36"/>
                  </a:lnTo>
                  <a:lnTo>
                    <a:pt x="320" y="36"/>
                  </a:lnTo>
                  <a:lnTo>
                    <a:pt x="323" y="36"/>
                  </a:lnTo>
                  <a:lnTo>
                    <a:pt x="323" y="32"/>
                  </a:lnTo>
                  <a:lnTo>
                    <a:pt x="327" y="32"/>
                  </a:lnTo>
                  <a:lnTo>
                    <a:pt x="327" y="28"/>
                  </a:lnTo>
                  <a:lnTo>
                    <a:pt x="331" y="28"/>
                  </a:lnTo>
                  <a:lnTo>
                    <a:pt x="327" y="32"/>
                  </a:lnTo>
                  <a:lnTo>
                    <a:pt x="327" y="36"/>
                  </a:lnTo>
                  <a:lnTo>
                    <a:pt x="327" y="40"/>
                  </a:lnTo>
                  <a:lnTo>
                    <a:pt x="327" y="44"/>
                  </a:lnTo>
                  <a:lnTo>
                    <a:pt x="331" y="44"/>
                  </a:lnTo>
                  <a:lnTo>
                    <a:pt x="327" y="44"/>
                  </a:lnTo>
                  <a:lnTo>
                    <a:pt x="327" y="48"/>
                  </a:lnTo>
                  <a:lnTo>
                    <a:pt x="331" y="48"/>
                  </a:lnTo>
                  <a:lnTo>
                    <a:pt x="335" y="48"/>
                  </a:lnTo>
                  <a:lnTo>
                    <a:pt x="331" y="48"/>
                  </a:lnTo>
                  <a:lnTo>
                    <a:pt x="331" y="52"/>
                  </a:lnTo>
                  <a:lnTo>
                    <a:pt x="327" y="52"/>
                  </a:lnTo>
                  <a:lnTo>
                    <a:pt x="323" y="56"/>
                  </a:lnTo>
                  <a:lnTo>
                    <a:pt x="323" y="52"/>
                  </a:lnTo>
                  <a:lnTo>
                    <a:pt x="320" y="56"/>
                  </a:lnTo>
                  <a:lnTo>
                    <a:pt x="316" y="56"/>
                  </a:lnTo>
                  <a:lnTo>
                    <a:pt x="312" y="56"/>
                  </a:lnTo>
                  <a:lnTo>
                    <a:pt x="308" y="56"/>
                  </a:lnTo>
                  <a:lnTo>
                    <a:pt x="308" y="60"/>
                  </a:lnTo>
                  <a:close/>
                  <a:moveTo>
                    <a:pt x="264" y="4"/>
                  </a:moveTo>
                  <a:lnTo>
                    <a:pt x="264" y="8"/>
                  </a:lnTo>
                  <a:lnTo>
                    <a:pt x="264" y="4"/>
                  </a:lnTo>
                  <a:close/>
                  <a:moveTo>
                    <a:pt x="268" y="8"/>
                  </a:moveTo>
                  <a:lnTo>
                    <a:pt x="268" y="12"/>
                  </a:lnTo>
                  <a:lnTo>
                    <a:pt x="268" y="8"/>
                  </a:lnTo>
                  <a:close/>
                  <a:moveTo>
                    <a:pt x="240" y="71"/>
                  </a:moveTo>
                  <a:lnTo>
                    <a:pt x="244" y="71"/>
                  </a:lnTo>
                  <a:lnTo>
                    <a:pt x="240" y="71"/>
                  </a:lnTo>
                  <a:lnTo>
                    <a:pt x="240" y="75"/>
                  </a:lnTo>
                  <a:lnTo>
                    <a:pt x="240" y="71"/>
                  </a:lnTo>
                  <a:close/>
                  <a:moveTo>
                    <a:pt x="164" y="223"/>
                  </a:moveTo>
                  <a:lnTo>
                    <a:pt x="160" y="223"/>
                  </a:lnTo>
                  <a:lnTo>
                    <a:pt x="160" y="227"/>
                  </a:lnTo>
                  <a:lnTo>
                    <a:pt x="156" y="227"/>
                  </a:lnTo>
                  <a:lnTo>
                    <a:pt x="160" y="227"/>
                  </a:lnTo>
                  <a:lnTo>
                    <a:pt x="156" y="231"/>
                  </a:lnTo>
                  <a:lnTo>
                    <a:pt x="152" y="227"/>
                  </a:lnTo>
                  <a:lnTo>
                    <a:pt x="152" y="231"/>
                  </a:lnTo>
                  <a:lnTo>
                    <a:pt x="148" y="231"/>
                  </a:lnTo>
                  <a:lnTo>
                    <a:pt x="144" y="235"/>
                  </a:lnTo>
                  <a:lnTo>
                    <a:pt x="144" y="231"/>
                  </a:lnTo>
                  <a:lnTo>
                    <a:pt x="140" y="231"/>
                  </a:lnTo>
                  <a:lnTo>
                    <a:pt x="140" y="235"/>
                  </a:lnTo>
                  <a:lnTo>
                    <a:pt x="136" y="235"/>
                  </a:lnTo>
                  <a:lnTo>
                    <a:pt x="136" y="231"/>
                  </a:lnTo>
                  <a:lnTo>
                    <a:pt x="132" y="231"/>
                  </a:lnTo>
                  <a:lnTo>
                    <a:pt x="132" y="235"/>
                  </a:lnTo>
                  <a:lnTo>
                    <a:pt x="132" y="239"/>
                  </a:lnTo>
                  <a:lnTo>
                    <a:pt x="128" y="239"/>
                  </a:lnTo>
                  <a:lnTo>
                    <a:pt x="132" y="243"/>
                  </a:lnTo>
                  <a:lnTo>
                    <a:pt x="128" y="243"/>
                  </a:lnTo>
                  <a:lnTo>
                    <a:pt x="124" y="239"/>
                  </a:lnTo>
                  <a:lnTo>
                    <a:pt x="120" y="239"/>
                  </a:lnTo>
                  <a:lnTo>
                    <a:pt x="116" y="239"/>
                  </a:lnTo>
                  <a:lnTo>
                    <a:pt x="112" y="239"/>
                  </a:lnTo>
                  <a:lnTo>
                    <a:pt x="112" y="235"/>
                  </a:lnTo>
                  <a:lnTo>
                    <a:pt x="112" y="231"/>
                  </a:lnTo>
                  <a:lnTo>
                    <a:pt x="116" y="231"/>
                  </a:lnTo>
                  <a:lnTo>
                    <a:pt x="120" y="231"/>
                  </a:lnTo>
                  <a:lnTo>
                    <a:pt x="120" y="227"/>
                  </a:lnTo>
                  <a:lnTo>
                    <a:pt x="124" y="227"/>
                  </a:lnTo>
                  <a:lnTo>
                    <a:pt x="124" y="223"/>
                  </a:lnTo>
                  <a:lnTo>
                    <a:pt x="128" y="223"/>
                  </a:lnTo>
                  <a:lnTo>
                    <a:pt x="128" y="219"/>
                  </a:lnTo>
                  <a:lnTo>
                    <a:pt x="132" y="219"/>
                  </a:lnTo>
                  <a:lnTo>
                    <a:pt x="132" y="215"/>
                  </a:lnTo>
                  <a:lnTo>
                    <a:pt x="136" y="215"/>
                  </a:lnTo>
                  <a:lnTo>
                    <a:pt x="136" y="211"/>
                  </a:lnTo>
                  <a:lnTo>
                    <a:pt x="140" y="211"/>
                  </a:lnTo>
                  <a:lnTo>
                    <a:pt x="136" y="211"/>
                  </a:lnTo>
                  <a:lnTo>
                    <a:pt x="140" y="211"/>
                  </a:lnTo>
                  <a:lnTo>
                    <a:pt x="140" y="207"/>
                  </a:lnTo>
                  <a:lnTo>
                    <a:pt x="144" y="211"/>
                  </a:lnTo>
                  <a:lnTo>
                    <a:pt x="144" y="207"/>
                  </a:lnTo>
                  <a:lnTo>
                    <a:pt x="148" y="207"/>
                  </a:lnTo>
                  <a:lnTo>
                    <a:pt x="148" y="211"/>
                  </a:lnTo>
                  <a:lnTo>
                    <a:pt x="152" y="211"/>
                  </a:lnTo>
                  <a:lnTo>
                    <a:pt x="152" y="207"/>
                  </a:lnTo>
                  <a:lnTo>
                    <a:pt x="152" y="211"/>
                  </a:lnTo>
                  <a:lnTo>
                    <a:pt x="156" y="211"/>
                  </a:lnTo>
                  <a:lnTo>
                    <a:pt x="160" y="207"/>
                  </a:lnTo>
                  <a:lnTo>
                    <a:pt x="164" y="207"/>
                  </a:lnTo>
                  <a:lnTo>
                    <a:pt x="168" y="207"/>
                  </a:lnTo>
                  <a:lnTo>
                    <a:pt x="172" y="207"/>
                  </a:lnTo>
                  <a:lnTo>
                    <a:pt x="176" y="203"/>
                  </a:lnTo>
                  <a:lnTo>
                    <a:pt x="176" y="207"/>
                  </a:lnTo>
                  <a:lnTo>
                    <a:pt x="180" y="211"/>
                  </a:lnTo>
                  <a:lnTo>
                    <a:pt x="180" y="207"/>
                  </a:lnTo>
                  <a:lnTo>
                    <a:pt x="180" y="211"/>
                  </a:lnTo>
                  <a:lnTo>
                    <a:pt x="180" y="207"/>
                  </a:lnTo>
                  <a:lnTo>
                    <a:pt x="180" y="211"/>
                  </a:lnTo>
                  <a:lnTo>
                    <a:pt x="184" y="211"/>
                  </a:lnTo>
                  <a:lnTo>
                    <a:pt x="184" y="207"/>
                  </a:lnTo>
                  <a:lnTo>
                    <a:pt x="188" y="207"/>
                  </a:lnTo>
                  <a:lnTo>
                    <a:pt x="188" y="203"/>
                  </a:lnTo>
                  <a:lnTo>
                    <a:pt x="188" y="207"/>
                  </a:lnTo>
                  <a:lnTo>
                    <a:pt x="188" y="203"/>
                  </a:lnTo>
                  <a:lnTo>
                    <a:pt x="188" y="199"/>
                  </a:lnTo>
                  <a:lnTo>
                    <a:pt x="188" y="195"/>
                  </a:lnTo>
                  <a:lnTo>
                    <a:pt x="192" y="195"/>
                  </a:lnTo>
                  <a:lnTo>
                    <a:pt x="192" y="191"/>
                  </a:lnTo>
                  <a:lnTo>
                    <a:pt x="196" y="191"/>
                  </a:lnTo>
                  <a:lnTo>
                    <a:pt x="196" y="187"/>
                  </a:lnTo>
                  <a:lnTo>
                    <a:pt x="200" y="187"/>
                  </a:lnTo>
                  <a:lnTo>
                    <a:pt x="200" y="183"/>
                  </a:lnTo>
                  <a:lnTo>
                    <a:pt x="200" y="179"/>
                  </a:lnTo>
                  <a:lnTo>
                    <a:pt x="200" y="175"/>
                  </a:lnTo>
                  <a:lnTo>
                    <a:pt x="200" y="171"/>
                  </a:lnTo>
                  <a:lnTo>
                    <a:pt x="204" y="171"/>
                  </a:lnTo>
                  <a:lnTo>
                    <a:pt x="204" y="167"/>
                  </a:lnTo>
                  <a:lnTo>
                    <a:pt x="208" y="167"/>
                  </a:lnTo>
                  <a:lnTo>
                    <a:pt x="208" y="171"/>
                  </a:lnTo>
                  <a:lnTo>
                    <a:pt x="204" y="171"/>
                  </a:lnTo>
                  <a:lnTo>
                    <a:pt x="204" y="175"/>
                  </a:lnTo>
                  <a:lnTo>
                    <a:pt x="200" y="175"/>
                  </a:lnTo>
                  <a:lnTo>
                    <a:pt x="200" y="179"/>
                  </a:lnTo>
                  <a:lnTo>
                    <a:pt x="204" y="179"/>
                  </a:lnTo>
                  <a:lnTo>
                    <a:pt x="204" y="183"/>
                  </a:lnTo>
                  <a:lnTo>
                    <a:pt x="208" y="183"/>
                  </a:lnTo>
                  <a:lnTo>
                    <a:pt x="208" y="179"/>
                  </a:lnTo>
                  <a:lnTo>
                    <a:pt x="212" y="179"/>
                  </a:lnTo>
                  <a:lnTo>
                    <a:pt x="216" y="179"/>
                  </a:lnTo>
                  <a:lnTo>
                    <a:pt x="220" y="175"/>
                  </a:lnTo>
                  <a:lnTo>
                    <a:pt x="224" y="175"/>
                  </a:lnTo>
                  <a:lnTo>
                    <a:pt x="228" y="171"/>
                  </a:lnTo>
                  <a:lnTo>
                    <a:pt x="228" y="167"/>
                  </a:lnTo>
                  <a:lnTo>
                    <a:pt x="232" y="167"/>
                  </a:lnTo>
                  <a:lnTo>
                    <a:pt x="232" y="163"/>
                  </a:lnTo>
                  <a:lnTo>
                    <a:pt x="232" y="159"/>
                  </a:lnTo>
                  <a:lnTo>
                    <a:pt x="236" y="159"/>
                  </a:lnTo>
                  <a:lnTo>
                    <a:pt x="240" y="159"/>
                  </a:lnTo>
                  <a:lnTo>
                    <a:pt x="240" y="155"/>
                  </a:lnTo>
                  <a:lnTo>
                    <a:pt x="240" y="151"/>
                  </a:lnTo>
                  <a:lnTo>
                    <a:pt x="244" y="147"/>
                  </a:lnTo>
                  <a:lnTo>
                    <a:pt x="244" y="143"/>
                  </a:lnTo>
                  <a:lnTo>
                    <a:pt x="244" y="139"/>
                  </a:lnTo>
                  <a:lnTo>
                    <a:pt x="248" y="135"/>
                  </a:lnTo>
                  <a:lnTo>
                    <a:pt x="248" y="131"/>
                  </a:lnTo>
                  <a:lnTo>
                    <a:pt x="248" y="127"/>
                  </a:lnTo>
                  <a:lnTo>
                    <a:pt x="252" y="127"/>
                  </a:lnTo>
                  <a:lnTo>
                    <a:pt x="252" y="123"/>
                  </a:lnTo>
                  <a:lnTo>
                    <a:pt x="248" y="123"/>
                  </a:lnTo>
                  <a:lnTo>
                    <a:pt x="248" y="119"/>
                  </a:lnTo>
                  <a:lnTo>
                    <a:pt x="244" y="119"/>
                  </a:lnTo>
                  <a:lnTo>
                    <a:pt x="244" y="115"/>
                  </a:lnTo>
                  <a:lnTo>
                    <a:pt x="244" y="119"/>
                  </a:lnTo>
                  <a:lnTo>
                    <a:pt x="248" y="119"/>
                  </a:lnTo>
                  <a:lnTo>
                    <a:pt x="248" y="115"/>
                  </a:lnTo>
                  <a:lnTo>
                    <a:pt x="248" y="111"/>
                  </a:lnTo>
                  <a:lnTo>
                    <a:pt x="248" y="107"/>
                  </a:lnTo>
                  <a:lnTo>
                    <a:pt x="248" y="103"/>
                  </a:lnTo>
                  <a:lnTo>
                    <a:pt x="252" y="103"/>
                  </a:lnTo>
                  <a:lnTo>
                    <a:pt x="252" y="99"/>
                  </a:lnTo>
                  <a:lnTo>
                    <a:pt x="256" y="95"/>
                  </a:lnTo>
                  <a:lnTo>
                    <a:pt x="252" y="95"/>
                  </a:lnTo>
                  <a:lnTo>
                    <a:pt x="256" y="95"/>
                  </a:lnTo>
                  <a:lnTo>
                    <a:pt x="256" y="91"/>
                  </a:lnTo>
                  <a:lnTo>
                    <a:pt x="260" y="91"/>
                  </a:lnTo>
                  <a:lnTo>
                    <a:pt x="260" y="95"/>
                  </a:lnTo>
                  <a:lnTo>
                    <a:pt x="260" y="99"/>
                  </a:lnTo>
                  <a:lnTo>
                    <a:pt x="264" y="99"/>
                  </a:lnTo>
                  <a:lnTo>
                    <a:pt x="264" y="95"/>
                  </a:lnTo>
                  <a:lnTo>
                    <a:pt x="264" y="99"/>
                  </a:lnTo>
                  <a:lnTo>
                    <a:pt x="268" y="99"/>
                  </a:lnTo>
                  <a:lnTo>
                    <a:pt x="268" y="95"/>
                  </a:lnTo>
                  <a:lnTo>
                    <a:pt x="268" y="91"/>
                  </a:lnTo>
                  <a:lnTo>
                    <a:pt x="264" y="91"/>
                  </a:lnTo>
                  <a:lnTo>
                    <a:pt x="260" y="95"/>
                  </a:lnTo>
                  <a:lnTo>
                    <a:pt x="260" y="91"/>
                  </a:lnTo>
                  <a:lnTo>
                    <a:pt x="260" y="87"/>
                  </a:lnTo>
                  <a:lnTo>
                    <a:pt x="264" y="83"/>
                  </a:lnTo>
                  <a:lnTo>
                    <a:pt x="264" y="87"/>
                  </a:lnTo>
                  <a:lnTo>
                    <a:pt x="268" y="87"/>
                  </a:lnTo>
                  <a:lnTo>
                    <a:pt x="272" y="87"/>
                  </a:lnTo>
                  <a:lnTo>
                    <a:pt x="272" y="91"/>
                  </a:lnTo>
                  <a:lnTo>
                    <a:pt x="272" y="99"/>
                  </a:lnTo>
                  <a:lnTo>
                    <a:pt x="272" y="103"/>
                  </a:lnTo>
                  <a:lnTo>
                    <a:pt x="272" y="107"/>
                  </a:lnTo>
                  <a:lnTo>
                    <a:pt x="276" y="107"/>
                  </a:lnTo>
                  <a:lnTo>
                    <a:pt x="276" y="111"/>
                  </a:lnTo>
                  <a:lnTo>
                    <a:pt x="276" y="115"/>
                  </a:lnTo>
                  <a:lnTo>
                    <a:pt x="280" y="115"/>
                  </a:lnTo>
                  <a:lnTo>
                    <a:pt x="280" y="119"/>
                  </a:lnTo>
                  <a:lnTo>
                    <a:pt x="280" y="123"/>
                  </a:lnTo>
                  <a:lnTo>
                    <a:pt x="280" y="127"/>
                  </a:lnTo>
                  <a:lnTo>
                    <a:pt x="280" y="131"/>
                  </a:lnTo>
                  <a:lnTo>
                    <a:pt x="276" y="131"/>
                  </a:lnTo>
                  <a:lnTo>
                    <a:pt x="276" y="135"/>
                  </a:lnTo>
                  <a:lnTo>
                    <a:pt x="276" y="139"/>
                  </a:lnTo>
                  <a:lnTo>
                    <a:pt x="272" y="139"/>
                  </a:lnTo>
                  <a:lnTo>
                    <a:pt x="276" y="139"/>
                  </a:lnTo>
                  <a:lnTo>
                    <a:pt x="272" y="139"/>
                  </a:lnTo>
                  <a:lnTo>
                    <a:pt x="272" y="143"/>
                  </a:lnTo>
                  <a:lnTo>
                    <a:pt x="272" y="147"/>
                  </a:lnTo>
                  <a:lnTo>
                    <a:pt x="272" y="151"/>
                  </a:lnTo>
                  <a:lnTo>
                    <a:pt x="268" y="151"/>
                  </a:lnTo>
                  <a:lnTo>
                    <a:pt x="264" y="151"/>
                  </a:lnTo>
                  <a:lnTo>
                    <a:pt x="264" y="155"/>
                  </a:lnTo>
                  <a:lnTo>
                    <a:pt x="264" y="159"/>
                  </a:lnTo>
                  <a:lnTo>
                    <a:pt x="264" y="163"/>
                  </a:lnTo>
                  <a:lnTo>
                    <a:pt x="264" y="167"/>
                  </a:lnTo>
                  <a:lnTo>
                    <a:pt x="264" y="171"/>
                  </a:lnTo>
                  <a:lnTo>
                    <a:pt x="264" y="175"/>
                  </a:lnTo>
                  <a:lnTo>
                    <a:pt x="264" y="179"/>
                  </a:lnTo>
                  <a:lnTo>
                    <a:pt x="260" y="179"/>
                  </a:lnTo>
                  <a:lnTo>
                    <a:pt x="260" y="183"/>
                  </a:lnTo>
                  <a:lnTo>
                    <a:pt x="260" y="187"/>
                  </a:lnTo>
                  <a:lnTo>
                    <a:pt x="260" y="191"/>
                  </a:lnTo>
                  <a:lnTo>
                    <a:pt x="256" y="195"/>
                  </a:lnTo>
                  <a:lnTo>
                    <a:pt x="260" y="195"/>
                  </a:lnTo>
                  <a:lnTo>
                    <a:pt x="260" y="199"/>
                  </a:lnTo>
                  <a:lnTo>
                    <a:pt x="260" y="203"/>
                  </a:lnTo>
                  <a:lnTo>
                    <a:pt x="260" y="207"/>
                  </a:lnTo>
                  <a:lnTo>
                    <a:pt x="256" y="207"/>
                  </a:lnTo>
                  <a:lnTo>
                    <a:pt x="256" y="211"/>
                  </a:lnTo>
                  <a:lnTo>
                    <a:pt x="256" y="215"/>
                  </a:lnTo>
                  <a:lnTo>
                    <a:pt x="252" y="215"/>
                  </a:lnTo>
                  <a:lnTo>
                    <a:pt x="252" y="219"/>
                  </a:lnTo>
                  <a:lnTo>
                    <a:pt x="248" y="219"/>
                  </a:lnTo>
                  <a:lnTo>
                    <a:pt x="248" y="223"/>
                  </a:lnTo>
                  <a:lnTo>
                    <a:pt x="244" y="219"/>
                  </a:lnTo>
                  <a:lnTo>
                    <a:pt x="248" y="219"/>
                  </a:lnTo>
                  <a:lnTo>
                    <a:pt x="248" y="215"/>
                  </a:lnTo>
                  <a:lnTo>
                    <a:pt x="248" y="211"/>
                  </a:lnTo>
                  <a:lnTo>
                    <a:pt x="252" y="207"/>
                  </a:lnTo>
                  <a:lnTo>
                    <a:pt x="248" y="207"/>
                  </a:lnTo>
                  <a:lnTo>
                    <a:pt x="244" y="207"/>
                  </a:lnTo>
                  <a:lnTo>
                    <a:pt x="244" y="211"/>
                  </a:lnTo>
                  <a:lnTo>
                    <a:pt x="244" y="215"/>
                  </a:lnTo>
                  <a:lnTo>
                    <a:pt x="240" y="211"/>
                  </a:lnTo>
                  <a:lnTo>
                    <a:pt x="240" y="215"/>
                  </a:lnTo>
                  <a:lnTo>
                    <a:pt x="236" y="215"/>
                  </a:lnTo>
                  <a:lnTo>
                    <a:pt x="236" y="219"/>
                  </a:lnTo>
                  <a:lnTo>
                    <a:pt x="236" y="223"/>
                  </a:lnTo>
                  <a:lnTo>
                    <a:pt x="232" y="227"/>
                  </a:lnTo>
                  <a:lnTo>
                    <a:pt x="232" y="223"/>
                  </a:lnTo>
                  <a:lnTo>
                    <a:pt x="232" y="219"/>
                  </a:lnTo>
                  <a:lnTo>
                    <a:pt x="232" y="215"/>
                  </a:lnTo>
                  <a:lnTo>
                    <a:pt x="228" y="215"/>
                  </a:lnTo>
                  <a:lnTo>
                    <a:pt x="228" y="219"/>
                  </a:lnTo>
                  <a:lnTo>
                    <a:pt x="224" y="223"/>
                  </a:lnTo>
                  <a:lnTo>
                    <a:pt x="220" y="227"/>
                  </a:lnTo>
                  <a:lnTo>
                    <a:pt x="224" y="227"/>
                  </a:lnTo>
                  <a:lnTo>
                    <a:pt x="220" y="227"/>
                  </a:lnTo>
                  <a:lnTo>
                    <a:pt x="216" y="227"/>
                  </a:lnTo>
                  <a:lnTo>
                    <a:pt x="212" y="227"/>
                  </a:lnTo>
                  <a:lnTo>
                    <a:pt x="208" y="227"/>
                  </a:lnTo>
                  <a:lnTo>
                    <a:pt x="204" y="227"/>
                  </a:lnTo>
                  <a:lnTo>
                    <a:pt x="208" y="227"/>
                  </a:lnTo>
                  <a:lnTo>
                    <a:pt x="208" y="223"/>
                  </a:lnTo>
                  <a:lnTo>
                    <a:pt x="204" y="223"/>
                  </a:lnTo>
                  <a:lnTo>
                    <a:pt x="204" y="219"/>
                  </a:lnTo>
                  <a:lnTo>
                    <a:pt x="204" y="223"/>
                  </a:lnTo>
                  <a:lnTo>
                    <a:pt x="204" y="227"/>
                  </a:lnTo>
                  <a:lnTo>
                    <a:pt x="200" y="223"/>
                  </a:lnTo>
                  <a:lnTo>
                    <a:pt x="200" y="219"/>
                  </a:lnTo>
                  <a:lnTo>
                    <a:pt x="204" y="219"/>
                  </a:lnTo>
                  <a:lnTo>
                    <a:pt x="200" y="219"/>
                  </a:lnTo>
                  <a:lnTo>
                    <a:pt x="200" y="223"/>
                  </a:lnTo>
                  <a:lnTo>
                    <a:pt x="196" y="223"/>
                  </a:lnTo>
                  <a:lnTo>
                    <a:pt x="196" y="227"/>
                  </a:lnTo>
                  <a:lnTo>
                    <a:pt x="200" y="227"/>
                  </a:lnTo>
                  <a:lnTo>
                    <a:pt x="200" y="231"/>
                  </a:lnTo>
                  <a:lnTo>
                    <a:pt x="204" y="231"/>
                  </a:lnTo>
                  <a:lnTo>
                    <a:pt x="204" y="235"/>
                  </a:lnTo>
                  <a:lnTo>
                    <a:pt x="200" y="235"/>
                  </a:lnTo>
                  <a:lnTo>
                    <a:pt x="196" y="235"/>
                  </a:lnTo>
                  <a:lnTo>
                    <a:pt x="192" y="235"/>
                  </a:lnTo>
                  <a:lnTo>
                    <a:pt x="192" y="239"/>
                  </a:lnTo>
                  <a:lnTo>
                    <a:pt x="192" y="243"/>
                  </a:lnTo>
                  <a:lnTo>
                    <a:pt x="188" y="243"/>
                  </a:lnTo>
                  <a:lnTo>
                    <a:pt x="188" y="247"/>
                  </a:lnTo>
                  <a:lnTo>
                    <a:pt x="184" y="251"/>
                  </a:lnTo>
                  <a:lnTo>
                    <a:pt x="180" y="247"/>
                  </a:lnTo>
                  <a:lnTo>
                    <a:pt x="180" y="243"/>
                  </a:lnTo>
                  <a:lnTo>
                    <a:pt x="176" y="243"/>
                  </a:lnTo>
                  <a:lnTo>
                    <a:pt x="176" y="239"/>
                  </a:lnTo>
                  <a:lnTo>
                    <a:pt x="176" y="235"/>
                  </a:lnTo>
                  <a:lnTo>
                    <a:pt x="176" y="231"/>
                  </a:lnTo>
                  <a:lnTo>
                    <a:pt x="180" y="231"/>
                  </a:lnTo>
                  <a:lnTo>
                    <a:pt x="180" y="227"/>
                  </a:lnTo>
                  <a:lnTo>
                    <a:pt x="180" y="223"/>
                  </a:lnTo>
                  <a:lnTo>
                    <a:pt x="176" y="227"/>
                  </a:lnTo>
                  <a:lnTo>
                    <a:pt x="172" y="227"/>
                  </a:lnTo>
                  <a:lnTo>
                    <a:pt x="168" y="223"/>
                  </a:lnTo>
                  <a:lnTo>
                    <a:pt x="164" y="223"/>
                  </a:lnTo>
                  <a:lnTo>
                    <a:pt x="164" y="227"/>
                  </a:lnTo>
                  <a:lnTo>
                    <a:pt x="164" y="223"/>
                  </a:lnTo>
                  <a:close/>
                  <a:moveTo>
                    <a:pt x="228" y="151"/>
                  </a:moveTo>
                  <a:lnTo>
                    <a:pt x="228" y="155"/>
                  </a:lnTo>
                  <a:lnTo>
                    <a:pt x="224" y="155"/>
                  </a:lnTo>
                  <a:lnTo>
                    <a:pt x="224" y="159"/>
                  </a:lnTo>
                  <a:lnTo>
                    <a:pt x="228" y="155"/>
                  </a:lnTo>
                  <a:lnTo>
                    <a:pt x="228" y="159"/>
                  </a:lnTo>
                  <a:lnTo>
                    <a:pt x="224" y="163"/>
                  </a:lnTo>
                  <a:lnTo>
                    <a:pt x="220" y="163"/>
                  </a:lnTo>
                  <a:lnTo>
                    <a:pt x="224" y="163"/>
                  </a:lnTo>
                  <a:lnTo>
                    <a:pt x="224" y="159"/>
                  </a:lnTo>
                  <a:lnTo>
                    <a:pt x="224" y="155"/>
                  </a:lnTo>
                  <a:lnTo>
                    <a:pt x="224" y="151"/>
                  </a:lnTo>
                  <a:lnTo>
                    <a:pt x="228" y="151"/>
                  </a:lnTo>
                  <a:close/>
                  <a:moveTo>
                    <a:pt x="148" y="191"/>
                  </a:moveTo>
                  <a:lnTo>
                    <a:pt x="148" y="195"/>
                  </a:lnTo>
                  <a:lnTo>
                    <a:pt x="144" y="195"/>
                  </a:lnTo>
                  <a:lnTo>
                    <a:pt x="148" y="191"/>
                  </a:lnTo>
                  <a:close/>
                  <a:moveTo>
                    <a:pt x="88" y="227"/>
                  </a:moveTo>
                  <a:lnTo>
                    <a:pt x="88" y="231"/>
                  </a:lnTo>
                  <a:lnTo>
                    <a:pt x="88" y="235"/>
                  </a:lnTo>
                  <a:lnTo>
                    <a:pt x="88" y="231"/>
                  </a:lnTo>
                  <a:lnTo>
                    <a:pt x="84" y="231"/>
                  </a:lnTo>
                  <a:lnTo>
                    <a:pt x="88" y="227"/>
                  </a:lnTo>
                  <a:close/>
                  <a:moveTo>
                    <a:pt x="168" y="235"/>
                  </a:moveTo>
                  <a:lnTo>
                    <a:pt x="168" y="231"/>
                  </a:lnTo>
                  <a:lnTo>
                    <a:pt x="172" y="231"/>
                  </a:lnTo>
                  <a:lnTo>
                    <a:pt x="172" y="227"/>
                  </a:lnTo>
                  <a:lnTo>
                    <a:pt x="172" y="231"/>
                  </a:lnTo>
                  <a:lnTo>
                    <a:pt x="172" y="235"/>
                  </a:lnTo>
                  <a:lnTo>
                    <a:pt x="168" y="235"/>
                  </a:lnTo>
                  <a:close/>
                  <a:moveTo>
                    <a:pt x="164" y="227"/>
                  </a:moveTo>
                  <a:lnTo>
                    <a:pt x="164" y="231"/>
                  </a:lnTo>
                  <a:lnTo>
                    <a:pt x="160" y="231"/>
                  </a:lnTo>
                  <a:lnTo>
                    <a:pt x="160" y="227"/>
                  </a:lnTo>
                  <a:lnTo>
                    <a:pt x="164" y="227"/>
                  </a:lnTo>
                  <a:close/>
                  <a:moveTo>
                    <a:pt x="164" y="247"/>
                  </a:moveTo>
                  <a:lnTo>
                    <a:pt x="164" y="251"/>
                  </a:lnTo>
                  <a:lnTo>
                    <a:pt x="160" y="251"/>
                  </a:lnTo>
                  <a:lnTo>
                    <a:pt x="160" y="255"/>
                  </a:lnTo>
                  <a:lnTo>
                    <a:pt x="160" y="251"/>
                  </a:lnTo>
                  <a:lnTo>
                    <a:pt x="156" y="251"/>
                  </a:lnTo>
                  <a:lnTo>
                    <a:pt x="156" y="247"/>
                  </a:lnTo>
                  <a:lnTo>
                    <a:pt x="152" y="247"/>
                  </a:lnTo>
                  <a:lnTo>
                    <a:pt x="152" y="251"/>
                  </a:lnTo>
                  <a:lnTo>
                    <a:pt x="148" y="251"/>
                  </a:lnTo>
                  <a:lnTo>
                    <a:pt x="148" y="255"/>
                  </a:lnTo>
                  <a:lnTo>
                    <a:pt x="144" y="259"/>
                  </a:lnTo>
                  <a:lnTo>
                    <a:pt x="144" y="263"/>
                  </a:lnTo>
                  <a:lnTo>
                    <a:pt x="140" y="263"/>
                  </a:lnTo>
                  <a:lnTo>
                    <a:pt x="136" y="263"/>
                  </a:lnTo>
                  <a:lnTo>
                    <a:pt x="140" y="263"/>
                  </a:lnTo>
                  <a:lnTo>
                    <a:pt x="140" y="259"/>
                  </a:lnTo>
                  <a:lnTo>
                    <a:pt x="136" y="259"/>
                  </a:lnTo>
                  <a:lnTo>
                    <a:pt x="136" y="263"/>
                  </a:lnTo>
                  <a:lnTo>
                    <a:pt x="136" y="259"/>
                  </a:lnTo>
                  <a:lnTo>
                    <a:pt x="136" y="255"/>
                  </a:lnTo>
                  <a:lnTo>
                    <a:pt x="132" y="255"/>
                  </a:lnTo>
                  <a:lnTo>
                    <a:pt x="132" y="251"/>
                  </a:lnTo>
                  <a:lnTo>
                    <a:pt x="128" y="251"/>
                  </a:lnTo>
                  <a:lnTo>
                    <a:pt x="132" y="251"/>
                  </a:lnTo>
                  <a:lnTo>
                    <a:pt x="136" y="247"/>
                  </a:lnTo>
                  <a:lnTo>
                    <a:pt x="136" y="243"/>
                  </a:lnTo>
                  <a:lnTo>
                    <a:pt x="140" y="243"/>
                  </a:lnTo>
                  <a:lnTo>
                    <a:pt x="140" y="239"/>
                  </a:lnTo>
                  <a:lnTo>
                    <a:pt x="140" y="235"/>
                  </a:lnTo>
                  <a:lnTo>
                    <a:pt x="144" y="235"/>
                  </a:lnTo>
                  <a:lnTo>
                    <a:pt x="144" y="239"/>
                  </a:lnTo>
                  <a:lnTo>
                    <a:pt x="148" y="239"/>
                  </a:lnTo>
                  <a:lnTo>
                    <a:pt x="152" y="239"/>
                  </a:lnTo>
                  <a:lnTo>
                    <a:pt x="152" y="235"/>
                  </a:lnTo>
                  <a:lnTo>
                    <a:pt x="156" y="235"/>
                  </a:lnTo>
                  <a:lnTo>
                    <a:pt x="156" y="231"/>
                  </a:lnTo>
                  <a:lnTo>
                    <a:pt x="160" y="231"/>
                  </a:lnTo>
                  <a:lnTo>
                    <a:pt x="164" y="235"/>
                  </a:lnTo>
                  <a:lnTo>
                    <a:pt x="168" y="235"/>
                  </a:lnTo>
                  <a:lnTo>
                    <a:pt x="168" y="239"/>
                  </a:lnTo>
                  <a:lnTo>
                    <a:pt x="168" y="243"/>
                  </a:lnTo>
                  <a:lnTo>
                    <a:pt x="164" y="247"/>
                  </a:lnTo>
                  <a:close/>
                  <a:moveTo>
                    <a:pt x="88" y="235"/>
                  </a:moveTo>
                  <a:lnTo>
                    <a:pt x="84" y="239"/>
                  </a:lnTo>
                  <a:lnTo>
                    <a:pt x="84" y="235"/>
                  </a:lnTo>
                  <a:lnTo>
                    <a:pt x="84" y="231"/>
                  </a:lnTo>
                  <a:lnTo>
                    <a:pt x="88" y="231"/>
                  </a:lnTo>
                  <a:lnTo>
                    <a:pt x="88" y="235"/>
                  </a:lnTo>
                  <a:close/>
                  <a:moveTo>
                    <a:pt x="136" y="235"/>
                  </a:moveTo>
                  <a:lnTo>
                    <a:pt x="132" y="235"/>
                  </a:lnTo>
                  <a:lnTo>
                    <a:pt x="136" y="235"/>
                  </a:lnTo>
                  <a:close/>
                  <a:moveTo>
                    <a:pt x="92" y="267"/>
                  </a:moveTo>
                  <a:lnTo>
                    <a:pt x="96" y="267"/>
                  </a:lnTo>
                  <a:lnTo>
                    <a:pt x="96" y="263"/>
                  </a:lnTo>
                  <a:lnTo>
                    <a:pt x="92" y="263"/>
                  </a:lnTo>
                  <a:lnTo>
                    <a:pt x="92" y="259"/>
                  </a:lnTo>
                  <a:lnTo>
                    <a:pt x="96" y="259"/>
                  </a:lnTo>
                  <a:lnTo>
                    <a:pt x="96" y="263"/>
                  </a:lnTo>
                  <a:lnTo>
                    <a:pt x="96" y="259"/>
                  </a:lnTo>
                  <a:lnTo>
                    <a:pt x="92" y="255"/>
                  </a:lnTo>
                  <a:lnTo>
                    <a:pt x="92" y="251"/>
                  </a:lnTo>
                  <a:lnTo>
                    <a:pt x="96" y="255"/>
                  </a:lnTo>
                  <a:lnTo>
                    <a:pt x="96" y="251"/>
                  </a:lnTo>
                  <a:lnTo>
                    <a:pt x="96" y="247"/>
                  </a:lnTo>
                  <a:lnTo>
                    <a:pt x="96" y="251"/>
                  </a:lnTo>
                  <a:lnTo>
                    <a:pt x="100" y="251"/>
                  </a:lnTo>
                  <a:lnTo>
                    <a:pt x="100" y="247"/>
                  </a:lnTo>
                  <a:lnTo>
                    <a:pt x="104" y="247"/>
                  </a:lnTo>
                  <a:lnTo>
                    <a:pt x="104" y="243"/>
                  </a:lnTo>
                  <a:lnTo>
                    <a:pt x="108" y="239"/>
                  </a:lnTo>
                  <a:lnTo>
                    <a:pt x="112" y="239"/>
                  </a:lnTo>
                  <a:lnTo>
                    <a:pt x="112" y="243"/>
                  </a:lnTo>
                  <a:lnTo>
                    <a:pt x="112" y="247"/>
                  </a:lnTo>
                  <a:lnTo>
                    <a:pt x="116" y="247"/>
                  </a:lnTo>
                  <a:lnTo>
                    <a:pt x="120" y="247"/>
                  </a:lnTo>
                  <a:lnTo>
                    <a:pt x="124" y="247"/>
                  </a:lnTo>
                  <a:lnTo>
                    <a:pt x="124" y="251"/>
                  </a:lnTo>
                  <a:lnTo>
                    <a:pt x="120" y="251"/>
                  </a:lnTo>
                  <a:lnTo>
                    <a:pt x="120" y="255"/>
                  </a:lnTo>
                  <a:lnTo>
                    <a:pt x="124" y="255"/>
                  </a:lnTo>
                  <a:lnTo>
                    <a:pt x="128" y="255"/>
                  </a:lnTo>
                  <a:lnTo>
                    <a:pt x="124" y="255"/>
                  </a:lnTo>
                  <a:lnTo>
                    <a:pt x="128" y="259"/>
                  </a:lnTo>
                  <a:lnTo>
                    <a:pt x="128" y="263"/>
                  </a:lnTo>
                  <a:lnTo>
                    <a:pt x="124" y="263"/>
                  </a:lnTo>
                  <a:lnTo>
                    <a:pt x="124" y="267"/>
                  </a:lnTo>
                  <a:lnTo>
                    <a:pt x="124" y="271"/>
                  </a:lnTo>
                  <a:lnTo>
                    <a:pt x="120" y="271"/>
                  </a:lnTo>
                  <a:lnTo>
                    <a:pt x="120" y="275"/>
                  </a:lnTo>
                  <a:lnTo>
                    <a:pt x="120" y="279"/>
                  </a:lnTo>
                  <a:lnTo>
                    <a:pt x="120" y="283"/>
                  </a:lnTo>
                  <a:lnTo>
                    <a:pt x="120" y="287"/>
                  </a:lnTo>
                  <a:lnTo>
                    <a:pt x="120" y="291"/>
                  </a:lnTo>
                  <a:lnTo>
                    <a:pt x="116" y="291"/>
                  </a:lnTo>
                  <a:lnTo>
                    <a:pt x="112" y="291"/>
                  </a:lnTo>
                  <a:lnTo>
                    <a:pt x="116" y="291"/>
                  </a:lnTo>
                  <a:lnTo>
                    <a:pt x="116" y="295"/>
                  </a:lnTo>
                  <a:lnTo>
                    <a:pt x="112" y="295"/>
                  </a:lnTo>
                  <a:lnTo>
                    <a:pt x="108" y="299"/>
                  </a:lnTo>
                  <a:lnTo>
                    <a:pt x="108" y="295"/>
                  </a:lnTo>
                  <a:lnTo>
                    <a:pt x="108" y="291"/>
                  </a:lnTo>
                  <a:lnTo>
                    <a:pt x="108" y="287"/>
                  </a:lnTo>
                  <a:lnTo>
                    <a:pt x="108" y="283"/>
                  </a:lnTo>
                  <a:lnTo>
                    <a:pt x="108" y="287"/>
                  </a:lnTo>
                  <a:lnTo>
                    <a:pt x="104" y="287"/>
                  </a:lnTo>
                  <a:lnTo>
                    <a:pt x="104" y="291"/>
                  </a:lnTo>
                  <a:lnTo>
                    <a:pt x="108" y="291"/>
                  </a:lnTo>
                  <a:lnTo>
                    <a:pt x="108" y="295"/>
                  </a:lnTo>
                  <a:lnTo>
                    <a:pt x="104" y="295"/>
                  </a:lnTo>
                  <a:lnTo>
                    <a:pt x="100" y="295"/>
                  </a:lnTo>
                  <a:lnTo>
                    <a:pt x="100" y="291"/>
                  </a:lnTo>
                  <a:lnTo>
                    <a:pt x="104" y="287"/>
                  </a:lnTo>
                  <a:lnTo>
                    <a:pt x="100" y="283"/>
                  </a:lnTo>
                  <a:lnTo>
                    <a:pt x="100" y="279"/>
                  </a:lnTo>
                  <a:lnTo>
                    <a:pt x="100" y="275"/>
                  </a:lnTo>
                  <a:lnTo>
                    <a:pt x="100" y="279"/>
                  </a:lnTo>
                  <a:lnTo>
                    <a:pt x="104" y="275"/>
                  </a:lnTo>
                  <a:lnTo>
                    <a:pt x="104" y="271"/>
                  </a:lnTo>
                  <a:lnTo>
                    <a:pt x="108" y="267"/>
                  </a:lnTo>
                  <a:lnTo>
                    <a:pt x="104" y="267"/>
                  </a:lnTo>
                  <a:lnTo>
                    <a:pt x="108" y="263"/>
                  </a:lnTo>
                  <a:lnTo>
                    <a:pt x="104" y="263"/>
                  </a:lnTo>
                  <a:lnTo>
                    <a:pt x="104" y="259"/>
                  </a:lnTo>
                  <a:lnTo>
                    <a:pt x="104" y="255"/>
                  </a:lnTo>
                  <a:lnTo>
                    <a:pt x="100" y="255"/>
                  </a:lnTo>
                  <a:lnTo>
                    <a:pt x="100" y="259"/>
                  </a:lnTo>
                  <a:lnTo>
                    <a:pt x="100" y="263"/>
                  </a:lnTo>
                  <a:lnTo>
                    <a:pt x="104" y="263"/>
                  </a:lnTo>
                  <a:lnTo>
                    <a:pt x="104" y="267"/>
                  </a:lnTo>
                  <a:lnTo>
                    <a:pt x="100" y="267"/>
                  </a:lnTo>
                  <a:lnTo>
                    <a:pt x="100" y="263"/>
                  </a:lnTo>
                  <a:lnTo>
                    <a:pt x="96" y="263"/>
                  </a:lnTo>
                  <a:lnTo>
                    <a:pt x="96" y="267"/>
                  </a:lnTo>
                  <a:lnTo>
                    <a:pt x="92" y="267"/>
                  </a:lnTo>
                  <a:close/>
                  <a:moveTo>
                    <a:pt x="92" y="247"/>
                  </a:moveTo>
                  <a:lnTo>
                    <a:pt x="92" y="243"/>
                  </a:lnTo>
                  <a:lnTo>
                    <a:pt x="96" y="243"/>
                  </a:lnTo>
                  <a:lnTo>
                    <a:pt x="92" y="243"/>
                  </a:lnTo>
                  <a:lnTo>
                    <a:pt x="92" y="247"/>
                  </a:lnTo>
                  <a:close/>
                  <a:moveTo>
                    <a:pt x="92" y="251"/>
                  </a:moveTo>
                  <a:lnTo>
                    <a:pt x="92" y="255"/>
                  </a:lnTo>
                  <a:lnTo>
                    <a:pt x="88" y="255"/>
                  </a:lnTo>
                  <a:lnTo>
                    <a:pt x="88" y="251"/>
                  </a:lnTo>
                  <a:lnTo>
                    <a:pt x="92" y="251"/>
                  </a:lnTo>
                  <a:close/>
                  <a:moveTo>
                    <a:pt x="84" y="259"/>
                  </a:moveTo>
                  <a:lnTo>
                    <a:pt x="84" y="263"/>
                  </a:lnTo>
                  <a:lnTo>
                    <a:pt x="84" y="259"/>
                  </a:lnTo>
                  <a:lnTo>
                    <a:pt x="84" y="255"/>
                  </a:lnTo>
                  <a:lnTo>
                    <a:pt x="84" y="259"/>
                  </a:lnTo>
                  <a:close/>
                  <a:moveTo>
                    <a:pt x="76" y="267"/>
                  </a:moveTo>
                  <a:lnTo>
                    <a:pt x="76" y="263"/>
                  </a:lnTo>
                  <a:lnTo>
                    <a:pt x="80" y="263"/>
                  </a:lnTo>
                  <a:lnTo>
                    <a:pt x="80" y="267"/>
                  </a:lnTo>
                  <a:lnTo>
                    <a:pt x="76" y="267"/>
                  </a:lnTo>
                  <a:close/>
                  <a:moveTo>
                    <a:pt x="96" y="275"/>
                  </a:moveTo>
                  <a:lnTo>
                    <a:pt x="96" y="271"/>
                  </a:lnTo>
                  <a:lnTo>
                    <a:pt x="100" y="267"/>
                  </a:lnTo>
                  <a:lnTo>
                    <a:pt x="100" y="271"/>
                  </a:lnTo>
                  <a:lnTo>
                    <a:pt x="100" y="275"/>
                  </a:lnTo>
                  <a:lnTo>
                    <a:pt x="96" y="275"/>
                  </a:lnTo>
                  <a:close/>
                  <a:moveTo>
                    <a:pt x="112" y="303"/>
                  </a:moveTo>
                  <a:lnTo>
                    <a:pt x="112" y="307"/>
                  </a:lnTo>
                  <a:lnTo>
                    <a:pt x="112" y="311"/>
                  </a:lnTo>
                  <a:lnTo>
                    <a:pt x="112" y="307"/>
                  </a:lnTo>
                  <a:lnTo>
                    <a:pt x="112" y="303"/>
                  </a:lnTo>
                  <a:close/>
                  <a:moveTo>
                    <a:pt x="104" y="311"/>
                  </a:moveTo>
                  <a:lnTo>
                    <a:pt x="108" y="311"/>
                  </a:lnTo>
                  <a:lnTo>
                    <a:pt x="108" y="315"/>
                  </a:lnTo>
                  <a:lnTo>
                    <a:pt x="104" y="315"/>
                  </a:lnTo>
                  <a:lnTo>
                    <a:pt x="104" y="311"/>
                  </a:lnTo>
                  <a:close/>
                  <a:moveTo>
                    <a:pt x="92" y="347"/>
                  </a:moveTo>
                  <a:lnTo>
                    <a:pt x="92" y="351"/>
                  </a:lnTo>
                  <a:lnTo>
                    <a:pt x="88" y="351"/>
                  </a:lnTo>
                  <a:lnTo>
                    <a:pt x="88" y="355"/>
                  </a:lnTo>
                  <a:lnTo>
                    <a:pt x="84" y="351"/>
                  </a:lnTo>
                  <a:lnTo>
                    <a:pt x="88" y="351"/>
                  </a:lnTo>
                  <a:lnTo>
                    <a:pt x="92" y="347"/>
                  </a:lnTo>
                  <a:close/>
                  <a:moveTo>
                    <a:pt x="80" y="359"/>
                  </a:moveTo>
                  <a:lnTo>
                    <a:pt x="84" y="363"/>
                  </a:lnTo>
                  <a:lnTo>
                    <a:pt x="80" y="363"/>
                  </a:lnTo>
                  <a:lnTo>
                    <a:pt x="80" y="359"/>
                  </a:lnTo>
                  <a:close/>
                  <a:moveTo>
                    <a:pt x="72" y="379"/>
                  </a:moveTo>
                  <a:lnTo>
                    <a:pt x="72" y="383"/>
                  </a:lnTo>
                  <a:lnTo>
                    <a:pt x="68" y="387"/>
                  </a:lnTo>
                  <a:lnTo>
                    <a:pt x="64" y="387"/>
                  </a:lnTo>
                  <a:lnTo>
                    <a:pt x="64" y="391"/>
                  </a:lnTo>
                  <a:lnTo>
                    <a:pt x="64" y="395"/>
                  </a:lnTo>
                  <a:lnTo>
                    <a:pt x="60" y="395"/>
                  </a:lnTo>
                  <a:lnTo>
                    <a:pt x="60" y="391"/>
                  </a:lnTo>
                  <a:lnTo>
                    <a:pt x="64" y="391"/>
                  </a:lnTo>
                  <a:lnTo>
                    <a:pt x="64" y="387"/>
                  </a:lnTo>
                  <a:lnTo>
                    <a:pt x="68" y="387"/>
                  </a:lnTo>
                  <a:lnTo>
                    <a:pt x="68" y="383"/>
                  </a:lnTo>
                  <a:lnTo>
                    <a:pt x="64" y="383"/>
                  </a:lnTo>
                  <a:lnTo>
                    <a:pt x="68" y="383"/>
                  </a:lnTo>
                  <a:lnTo>
                    <a:pt x="72" y="379"/>
                  </a:lnTo>
                  <a:close/>
                  <a:moveTo>
                    <a:pt x="24" y="419"/>
                  </a:moveTo>
                  <a:lnTo>
                    <a:pt x="28" y="419"/>
                  </a:lnTo>
                  <a:lnTo>
                    <a:pt x="24" y="419"/>
                  </a:lnTo>
                  <a:close/>
                  <a:moveTo>
                    <a:pt x="8" y="427"/>
                  </a:moveTo>
                  <a:lnTo>
                    <a:pt x="12" y="427"/>
                  </a:lnTo>
                  <a:lnTo>
                    <a:pt x="12" y="423"/>
                  </a:lnTo>
                  <a:lnTo>
                    <a:pt x="12" y="427"/>
                  </a:lnTo>
                  <a:lnTo>
                    <a:pt x="8" y="427"/>
                  </a:lnTo>
                  <a:close/>
                  <a:moveTo>
                    <a:pt x="4" y="427"/>
                  </a:moveTo>
                  <a:lnTo>
                    <a:pt x="4" y="431"/>
                  </a:lnTo>
                  <a:lnTo>
                    <a:pt x="0" y="431"/>
                  </a:lnTo>
                  <a:lnTo>
                    <a:pt x="0" y="427"/>
                  </a:lnTo>
                  <a:lnTo>
                    <a:pt x="4" y="42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5" name="Freeform 22"/>
            <p:cNvSpPr>
              <a:spLocks/>
            </p:cNvSpPr>
            <p:nvPr>
              <p:custDataLst>
                <p:tags r:id="rId218"/>
              </p:custDataLst>
            </p:nvPr>
          </p:nvSpPr>
          <p:spPr bwMode="gray">
            <a:xfrm>
              <a:off x="5162085" y="3663107"/>
              <a:ext cx="94916" cy="124577"/>
            </a:xfrm>
            <a:custGeom>
              <a:avLst/>
              <a:gdLst/>
              <a:ahLst/>
              <a:cxnLst>
                <a:cxn ang="0">
                  <a:pos x="8" y="36"/>
                </a:cxn>
                <a:cxn ang="0">
                  <a:pos x="8" y="36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4" y="20"/>
                </a:cxn>
                <a:cxn ang="0">
                  <a:pos x="28" y="20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44" y="8"/>
                </a:cxn>
                <a:cxn ang="0">
                  <a:pos x="52" y="4"/>
                </a:cxn>
                <a:cxn ang="0">
                  <a:pos x="56" y="0"/>
                </a:cxn>
                <a:cxn ang="0">
                  <a:pos x="60" y="20"/>
                </a:cxn>
                <a:cxn ang="0">
                  <a:pos x="64" y="20"/>
                </a:cxn>
                <a:cxn ang="0">
                  <a:pos x="64" y="24"/>
                </a:cxn>
                <a:cxn ang="0">
                  <a:pos x="60" y="28"/>
                </a:cxn>
                <a:cxn ang="0">
                  <a:pos x="44" y="32"/>
                </a:cxn>
                <a:cxn ang="0">
                  <a:pos x="40" y="36"/>
                </a:cxn>
                <a:cxn ang="0">
                  <a:pos x="32" y="36"/>
                </a:cxn>
                <a:cxn ang="0">
                  <a:pos x="36" y="44"/>
                </a:cxn>
                <a:cxn ang="0">
                  <a:pos x="40" y="48"/>
                </a:cxn>
                <a:cxn ang="0">
                  <a:pos x="40" y="60"/>
                </a:cxn>
                <a:cxn ang="0">
                  <a:pos x="36" y="68"/>
                </a:cxn>
                <a:cxn ang="0">
                  <a:pos x="24" y="72"/>
                </a:cxn>
                <a:cxn ang="0">
                  <a:pos x="20" y="80"/>
                </a:cxn>
                <a:cxn ang="0">
                  <a:pos x="8" y="80"/>
                </a:cxn>
                <a:cxn ang="0">
                  <a:pos x="0" y="80"/>
                </a:cxn>
                <a:cxn ang="0">
                  <a:pos x="0" y="80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0" y="68"/>
                </a:cxn>
                <a:cxn ang="0">
                  <a:pos x="0" y="68"/>
                </a:cxn>
                <a:cxn ang="0">
                  <a:pos x="0" y="68"/>
                </a:cxn>
                <a:cxn ang="0">
                  <a:pos x="0" y="64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4" y="56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4" y="44"/>
                </a:cxn>
                <a:cxn ang="0">
                  <a:pos x="8" y="40"/>
                </a:cxn>
                <a:cxn ang="0">
                  <a:pos x="8" y="40"/>
                </a:cxn>
              </a:cxnLst>
              <a:rect l="0" t="0" r="r" b="b"/>
              <a:pathLst>
                <a:path w="64" h="84">
                  <a:moveTo>
                    <a:pt x="8" y="36"/>
                  </a:move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2"/>
                  </a:lnTo>
                  <a:lnTo>
                    <a:pt x="44" y="8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52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40" y="48"/>
                  </a:lnTo>
                  <a:lnTo>
                    <a:pt x="44" y="56"/>
                  </a:lnTo>
                  <a:lnTo>
                    <a:pt x="40" y="60"/>
                  </a:lnTo>
                  <a:lnTo>
                    <a:pt x="36" y="68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24" y="72"/>
                  </a:lnTo>
                  <a:lnTo>
                    <a:pt x="24" y="76"/>
                  </a:lnTo>
                  <a:lnTo>
                    <a:pt x="20" y="80"/>
                  </a:lnTo>
                  <a:lnTo>
                    <a:pt x="16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6" name="Freeform 23"/>
            <p:cNvSpPr>
              <a:spLocks/>
            </p:cNvSpPr>
            <p:nvPr>
              <p:custDataLst>
                <p:tags r:id="rId219"/>
              </p:custDataLst>
            </p:nvPr>
          </p:nvSpPr>
          <p:spPr bwMode="gray">
            <a:xfrm>
              <a:off x="5417172" y="2964584"/>
              <a:ext cx="916533" cy="479029"/>
            </a:xfrm>
            <a:custGeom>
              <a:avLst/>
              <a:gdLst/>
              <a:ahLst/>
              <a:cxnLst>
                <a:cxn ang="0">
                  <a:pos x="415" y="272"/>
                </a:cxn>
                <a:cxn ang="0">
                  <a:pos x="399" y="280"/>
                </a:cxn>
                <a:cxn ang="0">
                  <a:pos x="367" y="291"/>
                </a:cxn>
                <a:cxn ang="0">
                  <a:pos x="339" y="315"/>
                </a:cxn>
                <a:cxn ang="0">
                  <a:pos x="327" y="311"/>
                </a:cxn>
                <a:cxn ang="0">
                  <a:pos x="299" y="291"/>
                </a:cxn>
                <a:cxn ang="0">
                  <a:pos x="283" y="264"/>
                </a:cxn>
                <a:cxn ang="0">
                  <a:pos x="235" y="264"/>
                </a:cxn>
                <a:cxn ang="0">
                  <a:pos x="167" y="224"/>
                </a:cxn>
                <a:cxn ang="0">
                  <a:pos x="147" y="272"/>
                </a:cxn>
                <a:cxn ang="0">
                  <a:pos x="143" y="311"/>
                </a:cxn>
                <a:cxn ang="0">
                  <a:pos x="119" y="287"/>
                </a:cxn>
                <a:cxn ang="0">
                  <a:pos x="83" y="307"/>
                </a:cxn>
                <a:cxn ang="0">
                  <a:pos x="48" y="276"/>
                </a:cxn>
                <a:cxn ang="0">
                  <a:pos x="40" y="228"/>
                </a:cxn>
                <a:cxn ang="0">
                  <a:pos x="40" y="200"/>
                </a:cxn>
                <a:cxn ang="0">
                  <a:pos x="32" y="180"/>
                </a:cxn>
                <a:cxn ang="0">
                  <a:pos x="8" y="160"/>
                </a:cxn>
                <a:cxn ang="0">
                  <a:pos x="8" y="136"/>
                </a:cxn>
                <a:cxn ang="0">
                  <a:pos x="20" y="116"/>
                </a:cxn>
                <a:cxn ang="0">
                  <a:pos x="36" y="120"/>
                </a:cxn>
                <a:cxn ang="0">
                  <a:pos x="48" y="96"/>
                </a:cxn>
                <a:cxn ang="0">
                  <a:pos x="68" y="88"/>
                </a:cxn>
                <a:cxn ang="0">
                  <a:pos x="83" y="84"/>
                </a:cxn>
                <a:cxn ang="0">
                  <a:pos x="107" y="88"/>
                </a:cxn>
                <a:cxn ang="0">
                  <a:pos x="123" y="108"/>
                </a:cxn>
                <a:cxn ang="0">
                  <a:pos x="139" y="112"/>
                </a:cxn>
                <a:cxn ang="0">
                  <a:pos x="171" y="104"/>
                </a:cxn>
                <a:cxn ang="0">
                  <a:pos x="191" y="108"/>
                </a:cxn>
                <a:cxn ang="0">
                  <a:pos x="219" y="108"/>
                </a:cxn>
                <a:cxn ang="0">
                  <a:pos x="219" y="88"/>
                </a:cxn>
                <a:cxn ang="0">
                  <a:pos x="219" y="72"/>
                </a:cxn>
                <a:cxn ang="0">
                  <a:pos x="231" y="56"/>
                </a:cxn>
                <a:cxn ang="0">
                  <a:pos x="223" y="48"/>
                </a:cxn>
                <a:cxn ang="0">
                  <a:pos x="223" y="40"/>
                </a:cxn>
                <a:cxn ang="0">
                  <a:pos x="243" y="32"/>
                </a:cxn>
                <a:cxn ang="0">
                  <a:pos x="275" y="24"/>
                </a:cxn>
                <a:cxn ang="0">
                  <a:pos x="295" y="20"/>
                </a:cxn>
                <a:cxn ang="0">
                  <a:pos x="327" y="8"/>
                </a:cxn>
                <a:cxn ang="0">
                  <a:pos x="355" y="4"/>
                </a:cxn>
                <a:cxn ang="0">
                  <a:pos x="379" y="16"/>
                </a:cxn>
                <a:cxn ang="0">
                  <a:pos x="391" y="28"/>
                </a:cxn>
                <a:cxn ang="0">
                  <a:pos x="395" y="32"/>
                </a:cxn>
                <a:cxn ang="0">
                  <a:pos x="407" y="36"/>
                </a:cxn>
                <a:cxn ang="0">
                  <a:pos x="427" y="40"/>
                </a:cxn>
                <a:cxn ang="0">
                  <a:pos x="450" y="24"/>
                </a:cxn>
                <a:cxn ang="0">
                  <a:pos x="466" y="40"/>
                </a:cxn>
                <a:cxn ang="0">
                  <a:pos x="494" y="72"/>
                </a:cxn>
                <a:cxn ang="0">
                  <a:pos x="514" y="96"/>
                </a:cxn>
                <a:cxn ang="0">
                  <a:pos x="534" y="104"/>
                </a:cxn>
                <a:cxn ang="0">
                  <a:pos x="562" y="100"/>
                </a:cxn>
                <a:cxn ang="0">
                  <a:pos x="586" y="124"/>
                </a:cxn>
                <a:cxn ang="0">
                  <a:pos x="606" y="132"/>
                </a:cxn>
                <a:cxn ang="0">
                  <a:pos x="610" y="144"/>
                </a:cxn>
                <a:cxn ang="0">
                  <a:pos x="594" y="168"/>
                </a:cxn>
                <a:cxn ang="0">
                  <a:pos x="578" y="188"/>
                </a:cxn>
                <a:cxn ang="0">
                  <a:pos x="550" y="200"/>
                </a:cxn>
                <a:cxn ang="0">
                  <a:pos x="550" y="228"/>
                </a:cxn>
                <a:cxn ang="0">
                  <a:pos x="518" y="228"/>
                </a:cxn>
                <a:cxn ang="0">
                  <a:pos x="514" y="248"/>
                </a:cxn>
                <a:cxn ang="0">
                  <a:pos x="518" y="276"/>
                </a:cxn>
                <a:cxn ang="0">
                  <a:pos x="498" y="287"/>
                </a:cxn>
                <a:cxn ang="0">
                  <a:pos x="466" y="276"/>
                </a:cxn>
              </a:cxnLst>
              <a:rect l="0" t="0" r="r" b="b"/>
              <a:pathLst>
                <a:path w="618" h="323">
                  <a:moveTo>
                    <a:pt x="446" y="276"/>
                  </a:moveTo>
                  <a:lnTo>
                    <a:pt x="442" y="280"/>
                  </a:lnTo>
                  <a:lnTo>
                    <a:pt x="438" y="280"/>
                  </a:lnTo>
                  <a:lnTo>
                    <a:pt x="438" y="276"/>
                  </a:lnTo>
                  <a:lnTo>
                    <a:pt x="434" y="276"/>
                  </a:lnTo>
                  <a:lnTo>
                    <a:pt x="430" y="276"/>
                  </a:lnTo>
                  <a:lnTo>
                    <a:pt x="427" y="272"/>
                  </a:lnTo>
                  <a:lnTo>
                    <a:pt x="423" y="272"/>
                  </a:lnTo>
                  <a:lnTo>
                    <a:pt x="419" y="272"/>
                  </a:lnTo>
                  <a:lnTo>
                    <a:pt x="415" y="272"/>
                  </a:lnTo>
                  <a:lnTo>
                    <a:pt x="411" y="272"/>
                  </a:lnTo>
                  <a:lnTo>
                    <a:pt x="411" y="276"/>
                  </a:lnTo>
                  <a:lnTo>
                    <a:pt x="411" y="280"/>
                  </a:lnTo>
                  <a:lnTo>
                    <a:pt x="411" y="284"/>
                  </a:lnTo>
                  <a:lnTo>
                    <a:pt x="411" y="287"/>
                  </a:lnTo>
                  <a:lnTo>
                    <a:pt x="407" y="287"/>
                  </a:lnTo>
                  <a:lnTo>
                    <a:pt x="407" y="284"/>
                  </a:lnTo>
                  <a:lnTo>
                    <a:pt x="403" y="284"/>
                  </a:lnTo>
                  <a:lnTo>
                    <a:pt x="399" y="284"/>
                  </a:lnTo>
                  <a:lnTo>
                    <a:pt x="399" y="280"/>
                  </a:lnTo>
                  <a:lnTo>
                    <a:pt x="395" y="280"/>
                  </a:lnTo>
                  <a:lnTo>
                    <a:pt x="391" y="280"/>
                  </a:lnTo>
                  <a:lnTo>
                    <a:pt x="387" y="280"/>
                  </a:lnTo>
                  <a:lnTo>
                    <a:pt x="383" y="280"/>
                  </a:lnTo>
                  <a:lnTo>
                    <a:pt x="379" y="280"/>
                  </a:lnTo>
                  <a:lnTo>
                    <a:pt x="375" y="280"/>
                  </a:lnTo>
                  <a:lnTo>
                    <a:pt x="375" y="284"/>
                  </a:lnTo>
                  <a:lnTo>
                    <a:pt x="371" y="287"/>
                  </a:lnTo>
                  <a:lnTo>
                    <a:pt x="371" y="291"/>
                  </a:lnTo>
                  <a:lnTo>
                    <a:pt x="367" y="291"/>
                  </a:lnTo>
                  <a:lnTo>
                    <a:pt x="367" y="295"/>
                  </a:lnTo>
                  <a:lnTo>
                    <a:pt x="363" y="291"/>
                  </a:lnTo>
                  <a:lnTo>
                    <a:pt x="363" y="295"/>
                  </a:lnTo>
                  <a:lnTo>
                    <a:pt x="359" y="299"/>
                  </a:lnTo>
                  <a:lnTo>
                    <a:pt x="355" y="303"/>
                  </a:lnTo>
                  <a:lnTo>
                    <a:pt x="351" y="303"/>
                  </a:lnTo>
                  <a:lnTo>
                    <a:pt x="347" y="307"/>
                  </a:lnTo>
                  <a:lnTo>
                    <a:pt x="343" y="307"/>
                  </a:lnTo>
                  <a:lnTo>
                    <a:pt x="343" y="311"/>
                  </a:lnTo>
                  <a:lnTo>
                    <a:pt x="339" y="315"/>
                  </a:lnTo>
                  <a:lnTo>
                    <a:pt x="339" y="319"/>
                  </a:lnTo>
                  <a:lnTo>
                    <a:pt x="335" y="319"/>
                  </a:lnTo>
                  <a:lnTo>
                    <a:pt x="335" y="323"/>
                  </a:lnTo>
                  <a:lnTo>
                    <a:pt x="339" y="323"/>
                  </a:lnTo>
                  <a:lnTo>
                    <a:pt x="335" y="323"/>
                  </a:lnTo>
                  <a:lnTo>
                    <a:pt x="331" y="323"/>
                  </a:lnTo>
                  <a:lnTo>
                    <a:pt x="327" y="319"/>
                  </a:lnTo>
                  <a:lnTo>
                    <a:pt x="331" y="315"/>
                  </a:lnTo>
                  <a:lnTo>
                    <a:pt x="327" y="315"/>
                  </a:lnTo>
                  <a:lnTo>
                    <a:pt x="327" y="311"/>
                  </a:lnTo>
                  <a:lnTo>
                    <a:pt x="323" y="311"/>
                  </a:lnTo>
                  <a:lnTo>
                    <a:pt x="319" y="311"/>
                  </a:lnTo>
                  <a:lnTo>
                    <a:pt x="315" y="311"/>
                  </a:lnTo>
                  <a:lnTo>
                    <a:pt x="311" y="311"/>
                  </a:lnTo>
                  <a:lnTo>
                    <a:pt x="307" y="311"/>
                  </a:lnTo>
                  <a:lnTo>
                    <a:pt x="307" y="307"/>
                  </a:lnTo>
                  <a:lnTo>
                    <a:pt x="307" y="299"/>
                  </a:lnTo>
                  <a:lnTo>
                    <a:pt x="303" y="295"/>
                  </a:lnTo>
                  <a:lnTo>
                    <a:pt x="299" y="295"/>
                  </a:lnTo>
                  <a:lnTo>
                    <a:pt x="299" y="291"/>
                  </a:lnTo>
                  <a:lnTo>
                    <a:pt x="299" y="287"/>
                  </a:lnTo>
                  <a:lnTo>
                    <a:pt x="299" y="284"/>
                  </a:lnTo>
                  <a:lnTo>
                    <a:pt x="299" y="280"/>
                  </a:lnTo>
                  <a:lnTo>
                    <a:pt x="299" y="276"/>
                  </a:lnTo>
                  <a:lnTo>
                    <a:pt x="295" y="276"/>
                  </a:lnTo>
                  <a:lnTo>
                    <a:pt x="291" y="272"/>
                  </a:lnTo>
                  <a:lnTo>
                    <a:pt x="291" y="268"/>
                  </a:lnTo>
                  <a:lnTo>
                    <a:pt x="287" y="268"/>
                  </a:lnTo>
                  <a:lnTo>
                    <a:pt x="287" y="264"/>
                  </a:lnTo>
                  <a:lnTo>
                    <a:pt x="283" y="264"/>
                  </a:lnTo>
                  <a:lnTo>
                    <a:pt x="283" y="260"/>
                  </a:lnTo>
                  <a:lnTo>
                    <a:pt x="279" y="260"/>
                  </a:lnTo>
                  <a:lnTo>
                    <a:pt x="275" y="264"/>
                  </a:lnTo>
                  <a:lnTo>
                    <a:pt x="267" y="264"/>
                  </a:lnTo>
                  <a:lnTo>
                    <a:pt x="263" y="264"/>
                  </a:lnTo>
                  <a:lnTo>
                    <a:pt x="259" y="260"/>
                  </a:lnTo>
                  <a:lnTo>
                    <a:pt x="255" y="260"/>
                  </a:lnTo>
                  <a:lnTo>
                    <a:pt x="247" y="264"/>
                  </a:lnTo>
                  <a:lnTo>
                    <a:pt x="243" y="264"/>
                  </a:lnTo>
                  <a:lnTo>
                    <a:pt x="235" y="264"/>
                  </a:lnTo>
                  <a:lnTo>
                    <a:pt x="235" y="260"/>
                  </a:lnTo>
                  <a:lnTo>
                    <a:pt x="231" y="256"/>
                  </a:lnTo>
                  <a:lnTo>
                    <a:pt x="227" y="252"/>
                  </a:lnTo>
                  <a:lnTo>
                    <a:pt x="223" y="248"/>
                  </a:lnTo>
                  <a:lnTo>
                    <a:pt x="199" y="232"/>
                  </a:lnTo>
                  <a:lnTo>
                    <a:pt x="183" y="220"/>
                  </a:lnTo>
                  <a:lnTo>
                    <a:pt x="179" y="220"/>
                  </a:lnTo>
                  <a:lnTo>
                    <a:pt x="175" y="224"/>
                  </a:lnTo>
                  <a:lnTo>
                    <a:pt x="171" y="224"/>
                  </a:lnTo>
                  <a:lnTo>
                    <a:pt x="167" y="224"/>
                  </a:lnTo>
                  <a:lnTo>
                    <a:pt x="163" y="228"/>
                  </a:lnTo>
                  <a:lnTo>
                    <a:pt x="155" y="228"/>
                  </a:lnTo>
                  <a:lnTo>
                    <a:pt x="151" y="232"/>
                  </a:lnTo>
                  <a:lnTo>
                    <a:pt x="147" y="232"/>
                  </a:lnTo>
                  <a:lnTo>
                    <a:pt x="147" y="236"/>
                  </a:lnTo>
                  <a:lnTo>
                    <a:pt x="147" y="244"/>
                  </a:lnTo>
                  <a:lnTo>
                    <a:pt x="147" y="256"/>
                  </a:lnTo>
                  <a:lnTo>
                    <a:pt x="147" y="260"/>
                  </a:lnTo>
                  <a:lnTo>
                    <a:pt x="147" y="268"/>
                  </a:lnTo>
                  <a:lnTo>
                    <a:pt x="147" y="272"/>
                  </a:lnTo>
                  <a:lnTo>
                    <a:pt x="147" y="276"/>
                  </a:lnTo>
                  <a:lnTo>
                    <a:pt x="147" y="280"/>
                  </a:lnTo>
                  <a:lnTo>
                    <a:pt x="147" y="284"/>
                  </a:lnTo>
                  <a:lnTo>
                    <a:pt x="147" y="291"/>
                  </a:lnTo>
                  <a:lnTo>
                    <a:pt x="147" y="299"/>
                  </a:lnTo>
                  <a:lnTo>
                    <a:pt x="147" y="303"/>
                  </a:lnTo>
                  <a:lnTo>
                    <a:pt x="147" y="307"/>
                  </a:lnTo>
                  <a:lnTo>
                    <a:pt x="147" y="311"/>
                  </a:lnTo>
                  <a:lnTo>
                    <a:pt x="143" y="307"/>
                  </a:lnTo>
                  <a:lnTo>
                    <a:pt x="143" y="311"/>
                  </a:lnTo>
                  <a:lnTo>
                    <a:pt x="139" y="311"/>
                  </a:lnTo>
                  <a:lnTo>
                    <a:pt x="135" y="311"/>
                  </a:lnTo>
                  <a:lnTo>
                    <a:pt x="135" y="307"/>
                  </a:lnTo>
                  <a:lnTo>
                    <a:pt x="135" y="303"/>
                  </a:lnTo>
                  <a:lnTo>
                    <a:pt x="131" y="303"/>
                  </a:lnTo>
                  <a:lnTo>
                    <a:pt x="131" y="299"/>
                  </a:lnTo>
                  <a:lnTo>
                    <a:pt x="127" y="295"/>
                  </a:lnTo>
                  <a:lnTo>
                    <a:pt x="123" y="291"/>
                  </a:lnTo>
                  <a:lnTo>
                    <a:pt x="119" y="291"/>
                  </a:lnTo>
                  <a:lnTo>
                    <a:pt x="119" y="287"/>
                  </a:lnTo>
                  <a:lnTo>
                    <a:pt x="115" y="287"/>
                  </a:lnTo>
                  <a:lnTo>
                    <a:pt x="111" y="287"/>
                  </a:lnTo>
                  <a:lnTo>
                    <a:pt x="107" y="291"/>
                  </a:lnTo>
                  <a:lnTo>
                    <a:pt x="103" y="291"/>
                  </a:lnTo>
                  <a:lnTo>
                    <a:pt x="99" y="291"/>
                  </a:lnTo>
                  <a:lnTo>
                    <a:pt x="99" y="295"/>
                  </a:lnTo>
                  <a:lnTo>
                    <a:pt x="95" y="295"/>
                  </a:lnTo>
                  <a:lnTo>
                    <a:pt x="91" y="299"/>
                  </a:lnTo>
                  <a:lnTo>
                    <a:pt x="87" y="303"/>
                  </a:lnTo>
                  <a:lnTo>
                    <a:pt x="83" y="307"/>
                  </a:lnTo>
                  <a:lnTo>
                    <a:pt x="79" y="307"/>
                  </a:lnTo>
                  <a:lnTo>
                    <a:pt x="72" y="311"/>
                  </a:lnTo>
                  <a:lnTo>
                    <a:pt x="72" y="307"/>
                  </a:lnTo>
                  <a:lnTo>
                    <a:pt x="68" y="303"/>
                  </a:lnTo>
                  <a:lnTo>
                    <a:pt x="64" y="299"/>
                  </a:lnTo>
                  <a:lnTo>
                    <a:pt x="64" y="295"/>
                  </a:lnTo>
                  <a:lnTo>
                    <a:pt x="60" y="291"/>
                  </a:lnTo>
                  <a:lnTo>
                    <a:pt x="56" y="287"/>
                  </a:lnTo>
                  <a:lnTo>
                    <a:pt x="52" y="280"/>
                  </a:lnTo>
                  <a:lnTo>
                    <a:pt x="48" y="276"/>
                  </a:lnTo>
                  <a:lnTo>
                    <a:pt x="48" y="272"/>
                  </a:lnTo>
                  <a:lnTo>
                    <a:pt x="44" y="268"/>
                  </a:lnTo>
                  <a:lnTo>
                    <a:pt x="44" y="264"/>
                  </a:lnTo>
                  <a:lnTo>
                    <a:pt x="40" y="256"/>
                  </a:lnTo>
                  <a:lnTo>
                    <a:pt x="40" y="252"/>
                  </a:lnTo>
                  <a:lnTo>
                    <a:pt x="40" y="248"/>
                  </a:lnTo>
                  <a:lnTo>
                    <a:pt x="36" y="240"/>
                  </a:lnTo>
                  <a:lnTo>
                    <a:pt x="36" y="236"/>
                  </a:lnTo>
                  <a:lnTo>
                    <a:pt x="36" y="232"/>
                  </a:lnTo>
                  <a:lnTo>
                    <a:pt x="40" y="228"/>
                  </a:lnTo>
                  <a:lnTo>
                    <a:pt x="44" y="224"/>
                  </a:lnTo>
                  <a:lnTo>
                    <a:pt x="48" y="220"/>
                  </a:lnTo>
                  <a:lnTo>
                    <a:pt x="52" y="216"/>
                  </a:lnTo>
                  <a:lnTo>
                    <a:pt x="56" y="216"/>
                  </a:lnTo>
                  <a:lnTo>
                    <a:pt x="56" y="212"/>
                  </a:lnTo>
                  <a:lnTo>
                    <a:pt x="52" y="212"/>
                  </a:lnTo>
                  <a:lnTo>
                    <a:pt x="48" y="208"/>
                  </a:lnTo>
                  <a:lnTo>
                    <a:pt x="44" y="208"/>
                  </a:lnTo>
                  <a:lnTo>
                    <a:pt x="44" y="204"/>
                  </a:lnTo>
                  <a:lnTo>
                    <a:pt x="40" y="200"/>
                  </a:lnTo>
                  <a:lnTo>
                    <a:pt x="36" y="200"/>
                  </a:lnTo>
                  <a:lnTo>
                    <a:pt x="32" y="200"/>
                  </a:lnTo>
                  <a:lnTo>
                    <a:pt x="32" y="196"/>
                  </a:lnTo>
                  <a:lnTo>
                    <a:pt x="36" y="192"/>
                  </a:lnTo>
                  <a:lnTo>
                    <a:pt x="36" y="196"/>
                  </a:lnTo>
                  <a:lnTo>
                    <a:pt x="40" y="196"/>
                  </a:lnTo>
                  <a:lnTo>
                    <a:pt x="40" y="192"/>
                  </a:lnTo>
                  <a:lnTo>
                    <a:pt x="36" y="188"/>
                  </a:lnTo>
                  <a:lnTo>
                    <a:pt x="36" y="184"/>
                  </a:lnTo>
                  <a:lnTo>
                    <a:pt x="32" y="180"/>
                  </a:lnTo>
                  <a:lnTo>
                    <a:pt x="28" y="176"/>
                  </a:lnTo>
                  <a:lnTo>
                    <a:pt x="28" y="172"/>
                  </a:lnTo>
                  <a:lnTo>
                    <a:pt x="24" y="172"/>
                  </a:lnTo>
                  <a:lnTo>
                    <a:pt x="20" y="172"/>
                  </a:lnTo>
                  <a:lnTo>
                    <a:pt x="16" y="172"/>
                  </a:lnTo>
                  <a:lnTo>
                    <a:pt x="12" y="172"/>
                  </a:lnTo>
                  <a:lnTo>
                    <a:pt x="12" y="168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8" y="160"/>
                  </a:lnTo>
                  <a:lnTo>
                    <a:pt x="4" y="160"/>
                  </a:lnTo>
                  <a:lnTo>
                    <a:pt x="0" y="156"/>
                  </a:lnTo>
                  <a:lnTo>
                    <a:pt x="4" y="156"/>
                  </a:lnTo>
                  <a:lnTo>
                    <a:pt x="4" y="152"/>
                  </a:lnTo>
                  <a:lnTo>
                    <a:pt x="8" y="148"/>
                  </a:lnTo>
                  <a:lnTo>
                    <a:pt x="8" y="144"/>
                  </a:lnTo>
                  <a:lnTo>
                    <a:pt x="12" y="144"/>
                  </a:lnTo>
                  <a:lnTo>
                    <a:pt x="12" y="140"/>
                  </a:lnTo>
                  <a:lnTo>
                    <a:pt x="8" y="140"/>
                  </a:lnTo>
                  <a:lnTo>
                    <a:pt x="8" y="136"/>
                  </a:lnTo>
                  <a:lnTo>
                    <a:pt x="8" y="132"/>
                  </a:lnTo>
                  <a:lnTo>
                    <a:pt x="8" y="124"/>
                  </a:lnTo>
                  <a:lnTo>
                    <a:pt x="12" y="124"/>
                  </a:lnTo>
                  <a:lnTo>
                    <a:pt x="16" y="124"/>
                  </a:lnTo>
                  <a:lnTo>
                    <a:pt x="16" y="120"/>
                  </a:lnTo>
                  <a:lnTo>
                    <a:pt x="12" y="120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20" y="112"/>
                  </a:lnTo>
                  <a:lnTo>
                    <a:pt x="20" y="116"/>
                  </a:lnTo>
                  <a:lnTo>
                    <a:pt x="24" y="116"/>
                  </a:lnTo>
                  <a:lnTo>
                    <a:pt x="24" y="120"/>
                  </a:lnTo>
                  <a:lnTo>
                    <a:pt x="28" y="120"/>
                  </a:lnTo>
                  <a:lnTo>
                    <a:pt x="28" y="124"/>
                  </a:lnTo>
                  <a:lnTo>
                    <a:pt x="32" y="128"/>
                  </a:lnTo>
                  <a:lnTo>
                    <a:pt x="32" y="124"/>
                  </a:lnTo>
                  <a:lnTo>
                    <a:pt x="36" y="124"/>
                  </a:lnTo>
                  <a:lnTo>
                    <a:pt x="40" y="124"/>
                  </a:lnTo>
                  <a:lnTo>
                    <a:pt x="40" y="120"/>
                  </a:lnTo>
                  <a:lnTo>
                    <a:pt x="36" y="120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6" y="108"/>
                  </a:lnTo>
                  <a:lnTo>
                    <a:pt x="40" y="108"/>
                  </a:lnTo>
                  <a:lnTo>
                    <a:pt x="40" y="104"/>
                  </a:lnTo>
                  <a:lnTo>
                    <a:pt x="44" y="104"/>
                  </a:lnTo>
                  <a:lnTo>
                    <a:pt x="48" y="104"/>
                  </a:lnTo>
                  <a:lnTo>
                    <a:pt x="44" y="100"/>
                  </a:lnTo>
                  <a:lnTo>
                    <a:pt x="48" y="100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52" y="96"/>
                  </a:lnTo>
                  <a:lnTo>
                    <a:pt x="56" y="96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8" y="88"/>
                  </a:lnTo>
                  <a:lnTo>
                    <a:pt x="68" y="84"/>
                  </a:lnTo>
                  <a:lnTo>
                    <a:pt x="72" y="84"/>
                  </a:lnTo>
                  <a:lnTo>
                    <a:pt x="76" y="84"/>
                  </a:lnTo>
                  <a:lnTo>
                    <a:pt x="76" y="88"/>
                  </a:lnTo>
                  <a:lnTo>
                    <a:pt x="79" y="88"/>
                  </a:lnTo>
                  <a:lnTo>
                    <a:pt x="79" y="92"/>
                  </a:lnTo>
                  <a:lnTo>
                    <a:pt x="83" y="88"/>
                  </a:lnTo>
                  <a:lnTo>
                    <a:pt x="79" y="88"/>
                  </a:lnTo>
                  <a:lnTo>
                    <a:pt x="83" y="88"/>
                  </a:lnTo>
                  <a:lnTo>
                    <a:pt x="83" y="84"/>
                  </a:lnTo>
                  <a:lnTo>
                    <a:pt x="87" y="84"/>
                  </a:lnTo>
                  <a:lnTo>
                    <a:pt x="91" y="84"/>
                  </a:lnTo>
                  <a:lnTo>
                    <a:pt x="91" y="88"/>
                  </a:lnTo>
                  <a:lnTo>
                    <a:pt x="95" y="92"/>
                  </a:lnTo>
                  <a:lnTo>
                    <a:pt x="95" y="88"/>
                  </a:lnTo>
                  <a:lnTo>
                    <a:pt x="99" y="88"/>
                  </a:lnTo>
                  <a:lnTo>
                    <a:pt x="99" y="92"/>
                  </a:lnTo>
                  <a:lnTo>
                    <a:pt x="99" y="88"/>
                  </a:lnTo>
                  <a:lnTo>
                    <a:pt x="103" y="88"/>
                  </a:lnTo>
                  <a:lnTo>
                    <a:pt x="107" y="88"/>
                  </a:lnTo>
                  <a:lnTo>
                    <a:pt x="111" y="92"/>
                  </a:lnTo>
                  <a:lnTo>
                    <a:pt x="107" y="92"/>
                  </a:lnTo>
                  <a:lnTo>
                    <a:pt x="111" y="96"/>
                  </a:lnTo>
                  <a:lnTo>
                    <a:pt x="115" y="96"/>
                  </a:lnTo>
                  <a:lnTo>
                    <a:pt x="115" y="100"/>
                  </a:lnTo>
                  <a:lnTo>
                    <a:pt x="119" y="100"/>
                  </a:lnTo>
                  <a:lnTo>
                    <a:pt x="119" y="104"/>
                  </a:lnTo>
                  <a:lnTo>
                    <a:pt x="123" y="104"/>
                  </a:lnTo>
                  <a:lnTo>
                    <a:pt x="119" y="108"/>
                  </a:lnTo>
                  <a:lnTo>
                    <a:pt x="123" y="108"/>
                  </a:lnTo>
                  <a:lnTo>
                    <a:pt x="123" y="112"/>
                  </a:lnTo>
                  <a:lnTo>
                    <a:pt x="127" y="108"/>
                  </a:lnTo>
                  <a:lnTo>
                    <a:pt x="123" y="108"/>
                  </a:lnTo>
                  <a:lnTo>
                    <a:pt x="123" y="104"/>
                  </a:lnTo>
                  <a:lnTo>
                    <a:pt x="123" y="100"/>
                  </a:lnTo>
                  <a:lnTo>
                    <a:pt x="127" y="100"/>
                  </a:lnTo>
                  <a:lnTo>
                    <a:pt x="131" y="104"/>
                  </a:lnTo>
                  <a:lnTo>
                    <a:pt x="135" y="108"/>
                  </a:lnTo>
                  <a:lnTo>
                    <a:pt x="139" y="108"/>
                  </a:lnTo>
                  <a:lnTo>
                    <a:pt x="139" y="112"/>
                  </a:lnTo>
                  <a:lnTo>
                    <a:pt x="143" y="108"/>
                  </a:lnTo>
                  <a:lnTo>
                    <a:pt x="147" y="108"/>
                  </a:lnTo>
                  <a:lnTo>
                    <a:pt x="147" y="104"/>
                  </a:lnTo>
                  <a:lnTo>
                    <a:pt x="151" y="104"/>
                  </a:lnTo>
                  <a:lnTo>
                    <a:pt x="151" y="100"/>
                  </a:lnTo>
                  <a:lnTo>
                    <a:pt x="155" y="100"/>
                  </a:lnTo>
                  <a:lnTo>
                    <a:pt x="159" y="100"/>
                  </a:lnTo>
                  <a:lnTo>
                    <a:pt x="163" y="100"/>
                  </a:lnTo>
                  <a:lnTo>
                    <a:pt x="167" y="104"/>
                  </a:lnTo>
                  <a:lnTo>
                    <a:pt x="171" y="104"/>
                  </a:lnTo>
                  <a:lnTo>
                    <a:pt x="171" y="100"/>
                  </a:lnTo>
                  <a:lnTo>
                    <a:pt x="171" y="96"/>
                  </a:lnTo>
                  <a:lnTo>
                    <a:pt x="175" y="100"/>
                  </a:lnTo>
                  <a:lnTo>
                    <a:pt x="179" y="100"/>
                  </a:lnTo>
                  <a:lnTo>
                    <a:pt x="179" y="96"/>
                  </a:lnTo>
                  <a:lnTo>
                    <a:pt x="183" y="96"/>
                  </a:lnTo>
                  <a:lnTo>
                    <a:pt x="183" y="100"/>
                  </a:lnTo>
                  <a:lnTo>
                    <a:pt x="183" y="104"/>
                  </a:lnTo>
                  <a:lnTo>
                    <a:pt x="187" y="104"/>
                  </a:lnTo>
                  <a:lnTo>
                    <a:pt x="191" y="108"/>
                  </a:lnTo>
                  <a:lnTo>
                    <a:pt x="195" y="108"/>
                  </a:lnTo>
                  <a:lnTo>
                    <a:pt x="199" y="108"/>
                  </a:lnTo>
                  <a:lnTo>
                    <a:pt x="199" y="112"/>
                  </a:lnTo>
                  <a:lnTo>
                    <a:pt x="203" y="112"/>
                  </a:lnTo>
                  <a:lnTo>
                    <a:pt x="203" y="108"/>
                  </a:lnTo>
                  <a:lnTo>
                    <a:pt x="203" y="104"/>
                  </a:lnTo>
                  <a:lnTo>
                    <a:pt x="207" y="104"/>
                  </a:lnTo>
                  <a:lnTo>
                    <a:pt x="211" y="108"/>
                  </a:lnTo>
                  <a:lnTo>
                    <a:pt x="215" y="108"/>
                  </a:lnTo>
                  <a:lnTo>
                    <a:pt x="219" y="108"/>
                  </a:lnTo>
                  <a:lnTo>
                    <a:pt x="223" y="108"/>
                  </a:lnTo>
                  <a:lnTo>
                    <a:pt x="227" y="104"/>
                  </a:lnTo>
                  <a:lnTo>
                    <a:pt x="227" y="100"/>
                  </a:lnTo>
                  <a:lnTo>
                    <a:pt x="231" y="96"/>
                  </a:lnTo>
                  <a:lnTo>
                    <a:pt x="231" y="92"/>
                  </a:lnTo>
                  <a:lnTo>
                    <a:pt x="227" y="92"/>
                  </a:lnTo>
                  <a:lnTo>
                    <a:pt x="223" y="88"/>
                  </a:lnTo>
                  <a:lnTo>
                    <a:pt x="223" y="92"/>
                  </a:lnTo>
                  <a:lnTo>
                    <a:pt x="223" y="88"/>
                  </a:lnTo>
                  <a:lnTo>
                    <a:pt x="219" y="88"/>
                  </a:lnTo>
                  <a:lnTo>
                    <a:pt x="215" y="88"/>
                  </a:lnTo>
                  <a:lnTo>
                    <a:pt x="211" y="84"/>
                  </a:lnTo>
                  <a:lnTo>
                    <a:pt x="215" y="84"/>
                  </a:lnTo>
                  <a:lnTo>
                    <a:pt x="211" y="84"/>
                  </a:lnTo>
                  <a:lnTo>
                    <a:pt x="211" y="80"/>
                  </a:lnTo>
                  <a:lnTo>
                    <a:pt x="207" y="80"/>
                  </a:lnTo>
                  <a:lnTo>
                    <a:pt x="207" y="76"/>
                  </a:lnTo>
                  <a:lnTo>
                    <a:pt x="211" y="76"/>
                  </a:lnTo>
                  <a:lnTo>
                    <a:pt x="215" y="76"/>
                  </a:lnTo>
                  <a:lnTo>
                    <a:pt x="219" y="72"/>
                  </a:lnTo>
                  <a:lnTo>
                    <a:pt x="223" y="72"/>
                  </a:lnTo>
                  <a:lnTo>
                    <a:pt x="223" y="68"/>
                  </a:lnTo>
                  <a:lnTo>
                    <a:pt x="219" y="68"/>
                  </a:lnTo>
                  <a:lnTo>
                    <a:pt x="219" y="64"/>
                  </a:lnTo>
                  <a:lnTo>
                    <a:pt x="215" y="64"/>
                  </a:lnTo>
                  <a:lnTo>
                    <a:pt x="215" y="60"/>
                  </a:lnTo>
                  <a:lnTo>
                    <a:pt x="219" y="60"/>
                  </a:lnTo>
                  <a:lnTo>
                    <a:pt x="223" y="56"/>
                  </a:lnTo>
                  <a:lnTo>
                    <a:pt x="227" y="56"/>
                  </a:lnTo>
                  <a:lnTo>
                    <a:pt x="231" y="56"/>
                  </a:lnTo>
                  <a:lnTo>
                    <a:pt x="235" y="56"/>
                  </a:lnTo>
                  <a:lnTo>
                    <a:pt x="239" y="56"/>
                  </a:lnTo>
                  <a:lnTo>
                    <a:pt x="239" y="52"/>
                  </a:lnTo>
                  <a:lnTo>
                    <a:pt x="235" y="52"/>
                  </a:lnTo>
                  <a:lnTo>
                    <a:pt x="231" y="52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27" y="52"/>
                  </a:lnTo>
                  <a:lnTo>
                    <a:pt x="227" y="48"/>
                  </a:lnTo>
                  <a:lnTo>
                    <a:pt x="223" y="48"/>
                  </a:lnTo>
                  <a:lnTo>
                    <a:pt x="223" y="44"/>
                  </a:lnTo>
                  <a:lnTo>
                    <a:pt x="227" y="44"/>
                  </a:lnTo>
                  <a:lnTo>
                    <a:pt x="231" y="44"/>
                  </a:lnTo>
                  <a:lnTo>
                    <a:pt x="231" y="40"/>
                  </a:lnTo>
                  <a:lnTo>
                    <a:pt x="227" y="40"/>
                  </a:lnTo>
                  <a:lnTo>
                    <a:pt x="227" y="44"/>
                  </a:lnTo>
                  <a:lnTo>
                    <a:pt x="223" y="44"/>
                  </a:lnTo>
                  <a:lnTo>
                    <a:pt x="223" y="40"/>
                  </a:lnTo>
                  <a:lnTo>
                    <a:pt x="219" y="40"/>
                  </a:lnTo>
                  <a:lnTo>
                    <a:pt x="223" y="40"/>
                  </a:lnTo>
                  <a:lnTo>
                    <a:pt x="223" y="36"/>
                  </a:lnTo>
                  <a:lnTo>
                    <a:pt x="219" y="36"/>
                  </a:lnTo>
                  <a:lnTo>
                    <a:pt x="223" y="32"/>
                  </a:lnTo>
                  <a:lnTo>
                    <a:pt x="227" y="32"/>
                  </a:lnTo>
                  <a:lnTo>
                    <a:pt x="231" y="32"/>
                  </a:lnTo>
                  <a:lnTo>
                    <a:pt x="235" y="32"/>
                  </a:lnTo>
                  <a:lnTo>
                    <a:pt x="239" y="32"/>
                  </a:lnTo>
                  <a:lnTo>
                    <a:pt x="243" y="32"/>
                  </a:lnTo>
                  <a:lnTo>
                    <a:pt x="243" y="36"/>
                  </a:lnTo>
                  <a:lnTo>
                    <a:pt x="243" y="32"/>
                  </a:lnTo>
                  <a:lnTo>
                    <a:pt x="247" y="32"/>
                  </a:lnTo>
                  <a:lnTo>
                    <a:pt x="251" y="32"/>
                  </a:lnTo>
                  <a:lnTo>
                    <a:pt x="251" y="28"/>
                  </a:lnTo>
                  <a:lnTo>
                    <a:pt x="255" y="28"/>
                  </a:lnTo>
                  <a:lnTo>
                    <a:pt x="259" y="28"/>
                  </a:lnTo>
                  <a:lnTo>
                    <a:pt x="263" y="28"/>
                  </a:lnTo>
                  <a:lnTo>
                    <a:pt x="267" y="28"/>
                  </a:lnTo>
                  <a:lnTo>
                    <a:pt x="267" y="24"/>
                  </a:lnTo>
                  <a:lnTo>
                    <a:pt x="271" y="24"/>
                  </a:lnTo>
                  <a:lnTo>
                    <a:pt x="275" y="24"/>
                  </a:lnTo>
                  <a:lnTo>
                    <a:pt x="279" y="24"/>
                  </a:lnTo>
                  <a:lnTo>
                    <a:pt x="283" y="24"/>
                  </a:lnTo>
                  <a:lnTo>
                    <a:pt x="287" y="24"/>
                  </a:lnTo>
                  <a:lnTo>
                    <a:pt x="283" y="24"/>
                  </a:lnTo>
                  <a:lnTo>
                    <a:pt x="283" y="20"/>
                  </a:lnTo>
                  <a:lnTo>
                    <a:pt x="287" y="20"/>
                  </a:lnTo>
                  <a:lnTo>
                    <a:pt x="287" y="16"/>
                  </a:lnTo>
                  <a:lnTo>
                    <a:pt x="291" y="16"/>
                  </a:lnTo>
                  <a:lnTo>
                    <a:pt x="291" y="20"/>
                  </a:lnTo>
                  <a:lnTo>
                    <a:pt x="295" y="20"/>
                  </a:lnTo>
                  <a:lnTo>
                    <a:pt x="295" y="16"/>
                  </a:lnTo>
                  <a:lnTo>
                    <a:pt x="299" y="16"/>
                  </a:lnTo>
                  <a:lnTo>
                    <a:pt x="303" y="16"/>
                  </a:lnTo>
                  <a:lnTo>
                    <a:pt x="307" y="16"/>
                  </a:lnTo>
                  <a:lnTo>
                    <a:pt x="311" y="16"/>
                  </a:lnTo>
                  <a:lnTo>
                    <a:pt x="315" y="12"/>
                  </a:lnTo>
                  <a:lnTo>
                    <a:pt x="319" y="12"/>
                  </a:lnTo>
                  <a:lnTo>
                    <a:pt x="323" y="12"/>
                  </a:lnTo>
                  <a:lnTo>
                    <a:pt x="323" y="8"/>
                  </a:lnTo>
                  <a:lnTo>
                    <a:pt x="327" y="8"/>
                  </a:lnTo>
                  <a:lnTo>
                    <a:pt x="327" y="12"/>
                  </a:lnTo>
                  <a:lnTo>
                    <a:pt x="331" y="8"/>
                  </a:lnTo>
                  <a:lnTo>
                    <a:pt x="331" y="4"/>
                  </a:lnTo>
                  <a:lnTo>
                    <a:pt x="335" y="4"/>
                  </a:lnTo>
                  <a:lnTo>
                    <a:pt x="339" y="0"/>
                  </a:lnTo>
                  <a:lnTo>
                    <a:pt x="343" y="4"/>
                  </a:lnTo>
                  <a:lnTo>
                    <a:pt x="343" y="0"/>
                  </a:lnTo>
                  <a:lnTo>
                    <a:pt x="347" y="0"/>
                  </a:lnTo>
                  <a:lnTo>
                    <a:pt x="351" y="0"/>
                  </a:lnTo>
                  <a:lnTo>
                    <a:pt x="355" y="4"/>
                  </a:lnTo>
                  <a:lnTo>
                    <a:pt x="359" y="4"/>
                  </a:lnTo>
                  <a:lnTo>
                    <a:pt x="363" y="4"/>
                  </a:lnTo>
                  <a:lnTo>
                    <a:pt x="367" y="4"/>
                  </a:lnTo>
                  <a:lnTo>
                    <a:pt x="367" y="0"/>
                  </a:lnTo>
                  <a:lnTo>
                    <a:pt x="371" y="0"/>
                  </a:lnTo>
                  <a:lnTo>
                    <a:pt x="371" y="4"/>
                  </a:lnTo>
                  <a:lnTo>
                    <a:pt x="371" y="8"/>
                  </a:lnTo>
                  <a:lnTo>
                    <a:pt x="371" y="12"/>
                  </a:lnTo>
                  <a:lnTo>
                    <a:pt x="375" y="16"/>
                  </a:lnTo>
                  <a:lnTo>
                    <a:pt x="379" y="16"/>
                  </a:lnTo>
                  <a:lnTo>
                    <a:pt x="375" y="16"/>
                  </a:lnTo>
                  <a:lnTo>
                    <a:pt x="375" y="20"/>
                  </a:lnTo>
                  <a:lnTo>
                    <a:pt x="375" y="24"/>
                  </a:lnTo>
                  <a:lnTo>
                    <a:pt x="371" y="24"/>
                  </a:lnTo>
                  <a:lnTo>
                    <a:pt x="375" y="24"/>
                  </a:lnTo>
                  <a:lnTo>
                    <a:pt x="375" y="28"/>
                  </a:lnTo>
                  <a:lnTo>
                    <a:pt x="379" y="28"/>
                  </a:lnTo>
                  <a:lnTo>
                    <a:pt x="383" y="28"/>
                  </a:lnTo>
                  <a:lnTo>
                    <a:pt x="387" y="28"/>
                  </a:lnTo>
                  <a:lnTo>
                    <a:pt x="391" y="28"/>
                  </a:lnTo>
                  <a:lnTo>
                    <a:pt x="387" y="24"/>
                  </a:lnTo>
                  <a:lnTo>
                    <a:pt x="391" y="24"/>
                  </a:lnTo>
                  <a:lnTo>
                    <a:pt x="395" y="28"/>
                  </a:lnTo>
                  <a:lnTo>
                    <a:pt x="391" y="28"/>
                  </a:lnTo>
                  <a:lnTo>
                    <a:pt x="395" y="28"/>
                  </a:lnTo>
                  <a:lnTo>
                    <a:pt x="395" y="32"/>
                  </a:lnTo>
                  <a:lnTo>
                    <a:pt x="395" y="36"/>
                  </a:lnTo>
                  <a:lnTo>
                    <a:pt x="395" y="32"/>
                  </a:lnTo>
                  <a:lnTo>
                    <a:pt x="399" y="32"/>
                  </a:lnTo>
                  <a:lnTo>
                    <a:pt x="395" y="32"/>
                  </a:lnTo>
                  <a:lnTo>
                    <a:pt x="395" y="28"/>
                  </a:lnTo>
                  <a:lnTo>
                    <a:pt x="399" y="28"/>
                  </a:lnTo>
                  <a:lnTo>
                    <a:pt x="403" y="28"/>
                  </a:lnTo>
                  <a:lnTo>
                    <a:pt x="403" y="32"/>
                  </a:lnTo>
                  <a:lnTo>
                    <a:pt x="407" y="32"/>
                  </a:lnTo>
                  <a:lnTo>
                    <a:pt x="411" y="32"/>
                  </a:lnTo>
                  <a:lnTo>
                    <a:pt x="415" y="32"/>
                  </a:lnTo>
                  <a:lnTo>
                    <a:pt x="415" y="36"/>
                  </a:lnTo>
                  <a:lnTo>
                    <a:pt x="411" y="36"/>
                  </a:lnTo>
                  <a:lnTo>
                    <a:pt x="407" y="36"/>
                  </a:lnTo>
                  <a:lnTo>
                    <a:pt x="407" y="40"/>
                  </a:lnTo>
                  <a:lnTo>
                    <a:pt x="407" y="44"/>
                  </a:lnTo>
                  <a:lnTo>
                    <a:pt x="411" y="44"/>
                  </a:lnTo>
                  <a:lnTo>
                    <a:pt x="407" y="44"/>
                  </a:lnTo>
                  <a:lnTo>
                    <a:pt x="411" y="44"/>
                  </a:lnTo>
                  <a:lnTo>
                    <a:pt x="415" y="40"/>
                  </a:lnTo>
                  <a:lnTo>
                    <a:pt x="419" y="40"/>
                  </a:lnTo>
                  <a:lnTo>
                    <a:pt x="423" y="40"/>
                  </a:lnTo>
                  <a:lnTo>
                    <a:pt x="423" y="44"/>
                  </a:lnTo>
                  <a:lnTo>
                    <a:pt x="427" y="40"/>
                  </a:lnTo>
                  <a:lnTo>
                    <a:pt x="423" y="40"/>
                  </a:lnTo>
                  <a:lnTo>
                    <a:pt x="427" y="40"/>
                  </a:lnTo>
                  <a:lnTo>
                    <a:pt x="427" y="36"/>
                  </a:lnTo>
                  <a:lnTo>
                    <a:pt x="430" y="36"/>
                  </a:lnTo>
                  <a:lnTo>
                    <a:pt x="434" y="36"/>
                  </a:lnTo>
                  <a:lnTo>
                    <a:pt x="438" y="32"/>
                  </a:lnTo>
                  <a:lnTo>
                    <a:pt x="442" y="28"/>
                  </a:lnTo>
                  <a:lnTo>
                    <a:pt x="446" y="28"/>
                  </a:lnTo>
                  <a:lnTo>
                    <a:pt x="450" y="28"/>
                  </a:lnTo>
                  <a:lnTo>
                    <a:pt x="450" y="24"/>
                  </a:lnTo>
                  <a:lnTo>
                    <a:pt x="454" y="24"/>
                  </a:lnTo>
                  <a:lnTo>
                    <a:pt x="458" y="24"/>
                  </a:lnTo>
                  <a:lnTo>
                    <a:pt x="458" y="20"/>
                  </a:lnTo>
                  <a:lnTo>
                    <a:pt x="462" y="24"/>
                  </a:lnTo>
                  <a:lnTo>
                    <a:pt x="458" y="28"/>
                  </a:lnTo>
                  <a:lnTo>
                    <a:pt x="454" y="28"/>
                  </a:lnTo>
                  <a:lnTo>
                    <a:pt x="454" y="32"/>
                  </a:lnTo>
                  <a:lnTo>
                    <a:pt x="458" y="36"/>
                  </a:lnTo>
                  <a:lnTo>
                    <a:pt x="462" y="36"/>
                  </a:lnTo>
                  <a:lnTo>
                    <a:pt x="466" y="40"/>
                  </a:lnTo>
                  <a:lnTo>
                    <a:pt x="470" y="44"/>
                  </a:lnTo>
                  <a:lnTo>
                    <a:pt x="474" y="48"/>
                  </a:lnTo>
                  <a:lnTo>
                    <a:pt x="478" y="48"/>
                  </a:lnTo>
                  <a:lnTo>
                    <a:pt x="478" y="52"/>
                  </a:lnTo>
                  <a:lnTo>
                    <a:pt x="482" y="60"/>
                  </a:lnTo>
                  <a:lnTo>
                    <a:pt x="486" y="60"/>
                  </a:lnTo>
                  <a:lnTo>
                    <a:pt x="486" y="64"/>
                  </a:lnTo>
                  <a:lnTo>
                    <a:pt x="486" y="68"/>
                  </a:lnTo>
                  <a:lnTo>
                    <a:pt x="490" y="68"/>
                  </a:lnTo>
                  <a:lnTo>
                    <a:pt x="494" y="72"/>
                  </a:lnTo>
                  <a:lnTo>
                    <a:pt x="498" y="84"/>
                  </a:lnTo>
                  <a:lnTo>
                    <a:pt x="502" y="88"/>
                  </a:lnTo>
                  <a:lnTo>
                    <a:pt x="502" y="92"/>
                  </a:lnTo>
                  <a:lnTo>
                    <a:pt x="502" y="96"/>
                  </a:lnTo>
                  <a:lnTo>
                    <a:pt x="506" y="96"/>
                  </a:lnTo>
                  <a:lnTo>
                    <a:pt x="506" y="104"/>
                  </a:lnTo>
                  <a:lnTo>
                    <a:pt x="510" y="104"/>
                  </a:lnTo>
                  <a:lnTo>
                    <a:pt x="514" y="104"/>
                  </a:lnTo>
                  <a:lnTo>
                    <a:pt x="514" y="100"/>
                  </a:lnTo>
                  <a:lnTo>
                    <a:pt x="514" y="96"/>
                  </a:lnTo>
                  <a:lnTo>
                    <a:pt x="518" y="96"/>
                  </a:lnTo>
                  <a:lnTo>
                    <a:pt x="518" y="92"/>
                  </a:lnTo>
                  <a:lnTo>
                    <a:pt x="522" y="96"/>
                  </a:lnTo>
                  <a:lnTo>
                    <a:pt x="526" y="96"/>
                  </a:lnTo>
                  <a:lnTo>
                    <a:pt x="526" y="100"/>
                  </a:lnTo>
                  <a:lnTo>
                    <a:pt x="530" y="100"/>
                  </a:lnTo>
                  <a:lnTo>
                    <a:pt x="530" y="104"/>
                  </a:lnTo>
                  <a:lnTo>
                    <a:pt x="530" y="108"/>
                  </a:lnTo>
                  <a:lnTo>
                    <a:pt x="534" y="108"/>
                  </a:lnTo>
                  <a:lnTo>
                    <a:pt x="534" y="104"/>
                  </a:lnTo>
                  <a:lnTo>
                    <a:pt x="538" y="104"/>
                  </a:lnTo>
                  <a:lnTo>
                    <a:pt x="538" y="108"/>
                  </a:lnTo>
                  <a:lnTo>
                    <a:pt x="542" y="108"/>
                  </a:lnTo>
                  <a:lnTo>
                    <a:pt x="546" y="104"/>
                  </a:lnTo>
                  <a:lnTo>
                    <a:pt x="546" y="108"/>
                  </a:lnTo>
                  <a:lnTo>
                    <a:pt x="550" y="104"/>
                  </a:lnTo>
                  <a:lnTo>
                    <a:pt x="554" y="104"/>
                  </a:lnTo>
                  <a:lnTo>
                    <a:pt x="554" y="100"/>
                  </a:lnTo>
                  <a:lnTo>
                    <a:pt x="558" y="100"/>
                  </a:lnTo>
                  <a:lnTo>
                    <a:pt x="562" y="100"/>
                  </a:lnTo>
                  <a:lnTo>
                    <a:pt x="566" y="104"/>
                  </a:lnTo>
                  <a:lnTo>
                    <a:pt x="570" y="104"/>
                  </a:lnTo>
                  <a:lnTo>
                    <a:pt x="570" y="108"/>
                  </a:lnTo>
                  <a:lnTo>
                    <a:pt x="574" y="112"/>
                  </a:lnTo>
                  <a:lnTo>
                    <a:pt x="574" y="116"/>
                  </a:lnTo>
                  <a:lnTo>
                    <a:pt x="574" y="120"/>
                  </a:lnTo>
                  <a:lnTo>
                    <a:pt x="578" y="120"/>
                  </a:lnTo>
                  <a:lnTo>
                    <a:pt x="582" y="120"/>
                  </a:lnTo>
                  <a:lnTo>
                    <a:pt x="586" y="120"/>
                  </a:lnTo>
                  <a:lnTo>
                    <a:pt x="586" y="124"/>
                  </a:lnTo>
                  <a:lnTo>
                    <a:pt x="582" y="124"/>
                  </a:lnTo>
                  <a:lnTo>
                    <a:pt x="586" y="124"/>
                  </a:lnTo>
                  <a:lnTo>
                    <a:pt x="586" y="128"/>
                  </a:lnTo>
                  <a:lnTo>
                    <a:pt x="586" y="132"/>
                  </a:lnTo>
                  <a:lnTo>
                    <a:pt x="590" y="132"/>
                  </a:lnTo>
                  <a:lnTo>
                    <a:pt x="594" y="132"/>
                  </a:lnTo>
                  <a:lnTo>
                    <a:pt x="598" y="132"/>
                  </a:lnTo>
                  <a:lnTo>
                    <a:pt x="602" y="136"/>
                  </a:lnTo>
                  <a:lnTo>
                    <a:pt x="602" y="132"/>
                  </a:lnTo>
                  <a:lnTo>
                    <a:pt x="606" y="132"/>
                  </a:lnTo>
                  <a:lnTo>
                    <a:pt x="606" y="128"/>
                  </a:lnTo>
                  <a:lnTo>
                    <a:pt x="610" y="128"/>
                  </a:lnTo>
                  <a:lnTo>
                    <a:pt x="610" y="132"/>
                  </a:lnTo>
                  <a:lnTo>
                    <a:pt x="614" y="132"/>
                  </a:lnTo>
                  <a:lnTo>
                    <a:pt x="614" y="136"/>
                  </a:lnTo>
                  <a:lnTo>
                    <a:pt x="614" y="140"/>
                  </a:lnTo>
                  <a:lnTo>
                    <a:pt x="618" y="140"/>
                  </a:lnTo>
                  <a:lnTo>
                    <a:pt x="618" y="144"/>
                  </a:lnTo>
                  <a:lnTo>
                    <a:pt x="614" y="144"/>
                  </a:lnTo>
                  <a:lnTo>
                    <a:pt x="610" y="144"/>
                  </a:lnTo>
                  <a:lnTo>
                    <a:pt x="610" y="148"/>
                  </a:lnTo>
                  <a:lnTo>
                    <a:pt x="610" y="152"/>
                  </a:lnTo>
                  <a:lnTo>
                    <a:pt x="610" y="156"/>
                  </a:lnTo>
                  <a:lnTo>
                    <a:pt x="606" y="156"/>
                  </a:lnTo>
                  <a:lnTo>
                    <a:pt x="602" y="156"/>
                  </a:lnTo>
                  <a:lnTo>
                    <a:pt x="598" y="156"/>
                  </a:lnTo>
                  <a:lnTo>
                    <a:pt x="598" y="160"/>
                  </a:lnTo>
                  <a:lnTo>
                    <a:pt x="594" y="160"/>
                  </a:lnTo>
                  <a:lnTo>
                    <a:pt x="594" y="164"/>
                  </a:lnTo>
                  <a:lnTo>
                    <a:pt x="594" y="168"/>
                  </a:lnTo>
                  <a:lnTo>
                    <a:pt x="594" y="172"/>
                  </a:lnTo>
                  <a:lnTo>
                    <a:pt x="594" y="176"/>
                  </a:lnTo>
                  <a:lnTo>
                    <a:pt x="594" y="180"/>
                  </a:lnTo>
                  <a:lnTo>
                    <a:pt x="594" y="184"/>
                  </a:lnTo>
                  <a:lnTo>
                    <a:pt x="594" y="188"/>
                  </a:lnTo>
                  <a:lnTo>
                    <a:pt x="590" y="188"/>
                  </a:lnTo>
                  <a:lnTo>
                    <a:pt x="586" y="188"/>
                  </a:lnTo>
                  <a:lnTo>
                    <a:pt x="586" y="192"/>
                  </a:lnTo>
                  <a:lnTo>
                    <a:pt x="582" y="192"/>
                  </a:lnTo>
                  <a:lnTo>
                    <a:pt x="578" y="188"/>
                  </a:lnTo>
                  <a:lnTo>
                    <a:pt x="574" y="188"/>
                  </a:lnTo>
                  <a:lnTo>
                    <a:pt x="570" y="188"/>
                  </a:lnTo>
                  <a:lnTo>
                    <a:pt x="566" y="188"/>
                  </a:lnTo>
                  <a:lnTo>
                    <a:pt x="562" y="188"/>
                  </a:lnTo>
                  <a:lnTo>
                    <a:pt x="558" y="184"/>
                  </a:lnTo>
                  <a:lnTo>
                    <a:pt x="554" y="184"/>
                  </a:lnTo>
                  <a:lnTo>
                    <a:pt x="554" y="188"/>
                  </a:lnTo>
                  <a:lnTo>
                    <a:pt x="554" y="192"/>
                  </a:lnTo>
                  <a:lnTo>
                    <a:pt x="550" y="196"/>
                  </a:lnTo>
                  <a:lnTo>
                    <a:pt x="550" y="200"/>
                  </a:lnTo>
                  <a:lnTo>
                    <a:pt x="550" y="204"/>
                  </a:lnTo>
                  <a:lnTo>
                    <a:pt x="546" y="204"/>
                  </a:lnTo>
                  <a:lnTo>
                    <a:pt x="546" y="208"/>
                  </a:lnTo>
                  <a:lnTo>
                    <a:pt x="546" y="212"/>
                  </a:lnTo>
                  <a:lnTo>
                    <a:pt x="546" y="216"/>
                  </a:lnTo>
                  <a:lnTo>
                    <a:pt x="542" y="220"/>
                  </a:lnTo>
                  <a:lnTo>
                    <a:pt x="546" y="220"/>
                  </a:lnTo>
                  <a:lnTo>
                    <a:pt x="546" y="224"/>
                  </a:lnTo>
                  <a:lnTo>
                    <a:pt x="550" y="224"/>
                  </a:lnTo>
                  <a:lnTo>
                    <a:pt x="550" y="228"/>
                  </a:lnTo>
                  <a:lnTo>
                    <a:pt x="546" y="228"/>
                  </a:lnTo>
                  <a:lnTo>
                    <a:pt x="542" y="228"/>
                  </a:lnTo>
                  <a:lnTo>
                    <a:pt x="538" y="228"/>
                  </a:lnTo>
                  <a:lnTo>
                    <a:pt x="534" y="228"/>
                  </a:lnTo>
                  <a:lnTo>
                    <a:pt x="534" y="224"/>
                  </a:lnTo>
                  <a:lnTo>
                    <a:pt x="530" y="224"/>
                  </a:lnTo>
                  <a:lnTo>
                    <a:pt x="530" y="228"/>
                  </a:lnTo>
                  <a:lnTo>
                    <a:pt x="526" y="228"/>
                  </a:lnTo>
                  <a:lnTo>
                    <a:pt x="522" y="228"/>
                  </a:lnTo>
                  <a:lnTo>
                    <a:pt x="518" y="228"/>
                  </a:lnTo>
                  <a:lnTo>
                    <a:pt x="514" y="232"/>
                  </a:lnTo>
                  <a:lnTo>
                    <a:pt x="510" y="232"/>
                  </a:lnTo>
                  <a:lnTo>
                    <a:pt x="506" y="236"/>
                  </a:lnTo>
                  <a:lnTo>
                    <a:pt x="510" y="236"/>
                  </a:lnTo>
                  <a:lnTo>
                    <a:pt x="514" y="236"/>
                  </a:lnTo>
                  <a:lnTo>
                    <a:pt x="518" y="236"/>
                  </a:lnTo>
                  <a:lnTo>
                    <a:pt x="518" y="240"/>
                  </a:lnTo>
                  <a:lnTo>
                    <a:pt x="514" y="240"/>
                  </a:lnTo>
                  <a:lnTo>
                    <a:pt x="514" y="244"/>
                  </a:lnTo>
                  <a:lnTo>
                    <a:pt x="514" y="248"/>
                  </a:lnTo>
                  <a:lnTo>
                    <a:pt x="514" y="252"/>
                  </a:lnTo>
                  <a:lnTo>
                    <a:pt x="514" y="256"/>
                  </a:lnTo>
                  <a:lnTo>
                    <a:pt x="518" y="256"/>
                  </a:lnTo>
                  <a:lnTo>
                    <a:pt x="518" y="260"/>
                  </a:lnTo>
                  <a:lnTo>
                    <a:pt x="518" y="264"/>
                  </a:lnTo>
                  <a:lnTo>
                    <a:pt x="522" y="268"/>
                  </a:lnTo>
                  <a:lnTo>
                    <a:pt x="522" y="272"/>
                  </a:lnTo>
                  <a:lnTo>
                    <a:pt x="518" y="272"/>
                  </a:lnTo>
                  <a:lnTo>
                    <a:pt x="514" y="276"/>
                  </a:lnTo>
                  <a:lnTo>
                    <a:pt x="518" y="276"/>
                  </a:lnTo>
                  <a:lnTo>
                    <a:pt x="514" y="280"/>
                  </a:lnTo>
                  <a:lnTo>
                    <a:pt x="510" y="284"/>
                  </a:lnTo>
                  <a:lnTo>
                    <a:pt x="510" y="287"/>
                  </a:lnTo>
                  <a:lnTo>
                    <a:pt x="514" y="287"/>
                  </a:lnTo>
                  <a:lnTo>
                    <a:pt x="514" y="291"/>
                  </a:lnTo>
                  <a:lnTo>
                    <a:pt x="510" y="291"/>
                  </a:lnTo>
                  <a:lnTo>
                    <a:pt x="510" y="287"/>
                  </a:lnTo>
                  <a:lnTo>
                    <a:pt x="506" y="287"/>
                  </a:lnTo>
                  <a:lnTo>
                    <a:pt x="502" y="287"/>
                  </a:lnTo>
                  <a:lnTo>
                    <a:pt x="498" y="287"/>
                  </a:lnTo>
                  <a:lnTo>
                    <a:pt x="498" y="284"/>
                  </a:lnTo>
                  <a:lnTo>
                    <a:pt x="498" y="280"/>
                  </a:lnTo>
                  <a:lnTo>
                    <a:pt x="494" y="280"/>
                  </a:lnTo>
                  <a:lnTo>
                    <a:pt x="490" y="280"/>
                  </a:lnTo>
                  <a:lnTo>
                    <a:pt x="486" y="276"/>
                  </a:lnTo>
                  <a:lnTo>
                    <a:pt x="482" y="276"/>
                  </a:lnTo>
                  <a:lnTo>
                    <a:pt x="478" y="276"/>
                  </a:lnTo>
                  <a:lnTo>
                    <a:pt x="474" y="276"/>
                  </a:lnTo>
                  <a:lnTo>
                    <a:pt x="470" y="276"/>
                  </a:lnTo>
                  <a:lnTo>
                    <a:pt x="466" y="276"/>
                  </a:lnTo>
                  <a:lnTo>
                    <a:pt x="462" y="276"/>
                  </a:lnTo>
                  <a:lnTo>
                    <a:pt x="458" y="276"/>
                  </a:lnTo>
                  <a:lnTo>
                    <a:pt x="454" y="276"/>
                  </a:lnTo>
                  <a:lnTo>
                    <a:pt x="450" y="276"/>
                  </a:lnTo>
                  <a:lnTo>
                    <a:pt x="446" y="2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7" name="Freeform 24"/>
            <p:cNvSpPr>
              <a:spLocks noEditPoints="1"/>
            </p:cNvSpPr>
            <p:nvPr>
              <p:custDataLst>
                <p:tags r:id="rId220"/>
              </p:custDataLst>
            </p:nvPr>
          </p:nvSpPr>
          <p:spPr bwMode="gray">
            <a:xfrm>
              <a:off x="5423104" y="3758023"/>
              <a:ext cx="41526" cy="47458"/>
            </a:xfrm>
            <a:custGeom>
              <a:avLst/>
              <a:gdLst/>
              <a:ahLst/>
              <a:cxnLst>
                <a:cxn ang="0">
                  <a:pos x="12" y="24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4" y="24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28" y="28"/>
                </a:cxn>
                <a:cxn ang="0">
                  <a:pos x="24" y="32"/>
                </a:cxn>
                <a:cxn ang="0">
                  <a:pos x="16" y="32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4" y="8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</a:cxnLst>
              <a:rect l="0" t="0" r="r" b="b"/>
              <a:pathLst>
                <a:path w="28" h="32">
                  <a:moveTo>
                    <a:pt x="12" y="24"/>
                  </a:moveTo>
                  <a:lnTo>
                    <a:pt x="12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close/>
                  <a:moveTo>
                    <a:pt x="24" y="4"/>
                  </a:move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0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8" name="Freeform 25"/>
            <p:cNvSpPr>
              <a:spLocks/>
            </p:cNvSpPr>
            <p:nvPr>
              <p:custDataLst>
                <p:tags r:id="rId221"/>
              </p:custDataLst>
            </p:nvPr>
          </p:nvSpPr>
          <p:spPr bwMode="gray">
            <a:xfrm>
              <a:off x="5931795" y="3367978"/>
              <a:ext cx="247671" cy="123094"/>
            </a:xfrm>
            <a:custGeom>
              <a:avLst/>
              <a:gdLst/>
              <a:ahLst/>
              <a:cxnLst>
                <a:cxn ang="0">
                  <a:pos x="80" y="59"/>
                </a:cxn>
                <a:cxn ang="0">
                  <a:pos x="72" y="63"/>
                </a:cxn>
                <a:cxn ang="0">
                  <a:pos x="72" y="71"/>
                </a:cxn>
                <a:cxn ang="0">
                  <a:pos x="64" y="75"/>
                </a:cxn>
                <a:cxn ang="0">
                  <a:pos x="56" y="79"/>
                </a:cxn>
                <a:cxn ang="0">
                  <a:pos x="44" y="79"/>
                </a:cxn>
                <a:cxn ang="0">
                  <a:pos x="40" y="79"/>
                </a:cxn>
                <a:cxn ang="0">
                  <a:pos x="32" y="75"/>
                </a:cxn>
                <a:cxn ang="0">
                  <a:pos x="32" y="75"/>
                </a:cxn>
                <a:cxn ang="0">
                  <a:pos x="24" y="75"/>
                </a:cxn>
                <a:cxn ang="0">
                  <a:pos x="16" y="71"/>
                </a:cxn>
                <a:cxn ang="0">
                  <a:pos x="8" y="75"/>
                </a:cxn>
                <a:cxn ang="0">
                  <a:pos x="0" y="71"/>
                </a:cxn>
                <a:cxn ang="0">
                  <a:pos x="0" y="67"/>
                </a:cxn>
                <a:cxn ang="0">
                  <a:pos x="8" y="63"/>
                </a:cxn>
                <a:cxn ang="0">
                  <a:pos x="20" y="63"/>
                </a:cxn>
                <a:cxn ang="0">
                  <a:pos x="20" y="67"/>
                </a:cxn>
                <a:cxn ang="0">
                  <a:pos x="24" y="59"/>
                </a:cxn>
                <a:cxn ang="0">
                  <a:pos x="36" y="63"/>
                </a:cxn>
                <a:cxn ang="0">
                  <a:pos x="48" y="55"/>
                </a:cxn>
                <a:cxn ang="0">
                  <a:pos x="52" y="55"/>
                </a:cxn>
                <a:cxn ang="0">
                  <a:pos x="56" y="47"/>
                </a:cxn>
                <a:cxn ang="0">
                  <a:pos x="52" y="47"/>
                </a:cxn>
                <a:cxn ang="0">
                  <a:pos x="44" y="39"/>
                </a:cxn>
                <a:cxn ang="0">
                  <a:pos x="36" y="31"/>
                </a:cxn>
                <a:cxn ang="0">
                  <a:pos x="32" y="39"/>
                </a:cxn>
                <a:cxn ang="0">
                  <a:pos x="32" y="43"/>
                </a:cxn>
                <a:cxn ang="0">
                  <a:pos x="24" y="35"/>
                </a:cxn>
                <a:cxn ang="0">
                  <a:pos x="12" y="35"/>
                </a:cxn>
                <a:cxn ang="0">
                  <a:pos x="16" y="27"/>
                </a:cxn>
                <a:cxn ang="0">
                  <a:pos x="24" y="23"/>
                </a:cxn>
                <a:cxn ang="0">
                  <a:pos x="24" y="19"/>
                </a:cxn>
                <a:cxn ang="0">
                  <a:pos x="28" y="8"/>
                </a:cxn>
                <a:cxn ang="0">
                  <a:pos x="40" y="8"/>
                </a:cxn>
                <a:cxn ang="0">
                  <a:pos x="52" y="8"/>
                </a:cxn>
                <a:cxn ang="0">
                  <a:pos x="60" y="12"/>
                </a:cxn>
                <a:cxn ang="0">
                  <a:pos x="64" y="12"/>
                </a:cxn>
                <a:cxn ang="0">
                  <a:pos x="64" y="0"/>
                </a:cxn>
                <a:cxn ang="0">
                  <a:pos x="76" y="0"/>
                </a:cxn>
                <a:cxn ang="0">
                  <a:pos x="87" y="4"/>
                </a:cxn>
                <a:cxn ang="0">
                  <a:pos x="95" y="8"/>
                </a:cxn>
                <a:cxn ang="0">
                  <a:pos x="107" y="4"/>
                </a:cxn>
                <a:cxn ang="0">
                  <a:pos x="119" y="4"/>
                </a:cxn>
                <a:cxn ang="0">
                  <a:pos x="131" y="4"/>
                </a:cxn>
                <a:cxn ang="0">
                  <a:pos x="143" y="8"/>
                </a:cxn>
                <a:cxn ang="0">
                  <a:pos x="151" y="12"/>
                </a:cxn>
                <a:cxn ang="0">
                  <a:pos x="159" y="15"/>
                </a:cxn>
                <a:cxn ang="0">
                  <a:pos x="167" y="19"/>
                </a:cxn>
                <a:cxn ang="0">
                  <a:pos x="159" y="23"/>
                </a:cxn>
                <a:cxn ang="0">
                  <a:pos x="151" y="27"/>
                </a:cxn>
                <a:cxn ang="0">
                  <a:pos x="143" y="31"/>
                </a:cxn>
                <a:cxn ang="0">
                  <a:pos x="135" y="39"/>
                </a:cxn>
                <a:cxn ang="0">
                  <a:pos x="127" y="43"/>
                </a:cxn>
                <a:cxn ang="0">
                  <a:pos x="115" y="43"/>
                </a:cxn>
                <a:cxn ang="0">
                  <a:pos x="111" y="55"/>
                </a:cxn>
                <a:cxn ang="0">
                  <a:pos x="107" y="55"/>
                </a:cxn>
                <a:cxn ang="0">
                  <a:pos x="95" y="59"/>
                </a:cxn>
                <a:cxn ang="0">
                  <a:pos x="91" y="51"/>
                </a:cxn>
                <a:cxn ang="0">
                  <a:pos x="83" y="55"/>
                </a:cxn>
              </a:cxnLst>
              <a:rect l="0" t="0" r="r" b="b"/>
              <a:pathLst>
                <a:path w="167" h="83">
                  <a:moveTo>
                    <a:pt x="83" y="55"/>
                  </a:moveTo>
                  <a:lnTo>
                    <a:pt x="83" y="59"/>
                  </a:lnTo>
                  <a:lnTo>
                    <a:pt x="80" y="59"/>
                  </a:lnTo>
                  <a:lnTo>
                    <a:pt x="80" y="63"/>
                  </a:lnTo>
                  <a:lnTo>
                    <a:pt x="76" y="63"/>
                  </a:lnTo>
                  <a:lnTo>
                    <a:pt x="72" y="63"/>
                  </a:lnTo>
                  <a:lnTo>
                    <a:pt x="68" y="67"/>
                  </a:lnTo>
                  <a:lnTo>
                    <a:pt x="68" y="71"/>
                  </a:lnTo>
                  <a:lnTo>
                    <a:pt x="72" y="71"/>
                  </a:lnTo>
                  <a:lnTo>
                    <a:pt x="72" y="75"/>
                  </a:lnTo>
                  <a:lnTo>
                    <a:pt x="68" y="75"/>
                  </a:lnTo>
                  <a:lnTo>
                    <a:pt x="64" y="75"/>
                  </a:lnTo>
                  <a:lnTo>
                    <a:pt x="60" y="75"/>
                  </a:lnTo>
                  <a:lnTo>
                    <a:pt x="60" y="79"/>
                  </a:lnTo>
                  <a:lnTo>
                    <a:pt x="56" y="79"/>
                  </a:lnTo>
                  <a:lnTo>
                    <a:pt x="52" y="79"/>
                  </a:lnTo>
                  <a:lnTo>
                    <a:pt x="48" y="79"/>
                  </a:lnTo>
                  <a:lnTo>
                    <a:pt x="44" y="79"/>
                  </a:lnTo>
                  <a:lnTo>
                    <a:pt x="44" y="83"/>
                  </a:lnTo>
                  <a:lnTo>
                    <a:pt x="44" y="79"/>
                  </a:lnTo>
                  <a:lnTo>
                    <a:pt x="40" y="79"/>
                  </a:lnTo>
                  <a:lnTo>
                    <a:pt x="36" y="79"/>
                  </a:lnTo>
                  <a:lnTo>
                    <a:pt x="36" y="75"/>
                  </a:lnTo>
                  <a:lnTo>
                    <a:pt x="32" y="75"/>
                  </a:lnTo>
                  <a:lnTo>
                    <a:pt x="36" y="75"/>
                  </a:lnTo>
                  <a:lnTo>
                    <a:pt x="32" y="71"/>
                  </a:lnTo>
                  <a:lnTo>
                    <a:pt x="32" y="75"/>
                  </a:lnTo>
                  <a:lnTo>
                    <a:pt x="28" y="75"/>
                  </a:lnTo>
                  <a:lnTo>
                    <a:pt x="24" y="79"/>
                  </a:lnTo>
                  <a:lnTo>
                    <a:pt x="24" y="75"/>
                  </a:lnTo>
                  <a:lnTo>
                    <a:pt x="20" y="75"/>
                  </a:lnTo>
                  <a:lnTo>
                    <a:pt x="20" y="71"/>
                  </a:lnTo>
                  <a:lnTo>
                    <a:pt x="16" y="71"/>
                  </a:lnTo>
                  <a:lnTo>
                    <a:pt x="16" y="75"/>
                  </a:lnTo>
                  <a:lnTo>
                    <a:pt x="12" y="75"/>
                  </a:lnTo>
                  <a:lnTo>
                    <a:pt x="8" y="75"/>
                  </a:lnTo>
                  <a:lnTo>
                    <a:pt x="4" y="75"/>
                  </a:lnTo>
                  <a:lnTo>
                    <a:pt x="0" y="75"/>
                  </a:lnTo>
                  <a:lnTo>
                    <a:pt x="0" y="71"/>
                  </a:lnTo>
                  <a:lnTo>
                    <a:pt x="0" y="67"/>
                  </a:lnTo>
                  <a:lnTo>
                    <a:pt x="0" y="63"/>
                  </a:lnTo>
                  <a:lnTo>
                    <a:pt x="0" y="67"/>
                  </a:lnTo>
                  <a:lnTo>
                    <a:pt x="4" y="67"/>
                  </a:lnTo>
                  <a:lnTo>
                    <a:pt x="4" y="63"/>
                  </a:lnTo>
                  <a:lnTo>
                    <a:pt x="8" y="63"/>
                  </a:lnTo>
                  <a:lnTo>
                    <a:pt x="12" y="59"/>
                  </a:lnTo>
                  <a:lnTo>
                    <a:pt x="16" y="63"/>
                  </a:lnTo>
                  <a:lnTo>
                    <a:pt x="20" y="63"/>
                  </a:lnTo>
                  <a:lnTo>
                    <a:pt x="20" y="67"/>
                  </a:lnTo>
                  <a:lnTo>
                    <a:pt x="16" y="67"/>
                  </a:lnTo>
                  <a:lnTo>
                    <a:pt x="20" y="67"/>
                  </a:lnTo>
                  <a:lnTo>
                    <a:pt x="20" y="63"/>
                  </a:lnTo>
                  <a:lnTo>
                    <a:pt x="24" y="63"/>
                  </a:lnTo>
                  <a:lnTo>
                    <a:pt x="24" y="59"/>
                  </a:lnTo>
                  <a:lnTo>
                    <a:pt x="28" y="59"/>
                  </a:lnTo>
                  <a:lnTo>
                    <a:pt x="32" y="59"/>
                  </a:lnTo>
                  <a:lnTo>
                    <a:pt x="36" y="63"/>
                  </a:lnTo>
                  <a:lnTo>
                    <a:pt x="40" y="59"/>
                  </a:lnTo>
                  <a:lnTo>
                    <a:pt x="44" y="55"/>
                  </a:lnTo>
                  <a:lnTo>
                    <a:pt x="48" y="55"/>
                  </a:lnTo>
                  <a:lnTo>
                    <a:pt x="48" y="51"/>
                  </a:lnTo>
                  <a:lnTo>
                    <a:pt x="48" y="55"/>
                  </a:lnTo>
                  <a:lnTo>
                    <a:pt x="52" y="55"/>
                  </a:lnTo>
                  <a:lnTo>
                    <a:pt x="52" y="51"/>
                  </a:lnTo>
                  <a:lnTo>
                    <a:pt x="56" y="51"/>
                  </a:lnTo>
                  <a:lnTo>
                    <a:pt x="56" y="47"/>
                  </a:lnTo>
                  <a:lnTo>
                    <a:pt x="60" y="47"/>
                  </a:lnTo>
                  <a:lnTo>
                    <a:pt x="56" y="47"/>
                  </a:lnTo>
                  <a:lnTo>
                    <a:pt x="52" y="47"/>
                  </a:lnTo>
                  <a:lnTo>
                    <a:pt x="48" y="43"/>
                  </a:lnTo>
                  <a:lnTo>
                    <a:pt x="44" y="43"/>
                  </a:lnTo>
                  <a:lnTo>
                    <a:pt x="44" y="39"/>
                  </a:lnTo>
                  <a:lnTo>
                    <a:pt x="40" y="39"/>
                  </a:lnTo>
                  <a:lnTo>
                    <a:pt x="40" y="35"/>
                  </a:lnTo>
                  <a:lnTo>
                    <a:pt x="36" y="31"/>
                  </a:lnTo>
                  <a:lnTo>
                    <a:pt x="36" y="35"/>
                  </a:lnTo>
                  <a:lnTo>
                    <a:pt x="36" y="39"/>
                  </a:lnTo>
                  <a:lnTo>
                    <a:pt x="32" y="39"/>
                  </a:lnTo>
                  <a:lnTo>
                    <a:pt x="32" y="35"/>
                  </a:lnTo>
                  <a:lnTo>
                    <a:pt x="32" y="39"/>
                  </a:lnTo>
                  <a:lnTo>
                    <a:pt x="32" y="43"/>
                  </a:lnTo>
                  <a:lnTo>
                    <a:pt x="28" y="39"/>
                  </a:lnTo>
                  <a:lnTo>
                    <a:pt x="24" y="39"/>
                  </a:lnTo>
                  <a:lnTo>
                    <a:pt x="24" y="35"/>
                  </a:lnTo>
                  <a:lnTo>
                    <a:pt x="20" y="35"/>
                  </a:lnTo>
                  <a:lnTo>
                    <a:pt x="16" y="35"/>
                  </a:lnTo>
                  <a:lnTo>
                    <a:pt x="12" y="35"/>
                  </a:lnTo>
                  <a:lnTo>
                    <a:pt x="12" y="31"/>
                  </a:lnTo>
                  <a:lnTo>
                    <a:pt x="16" y="31"/>
                  </a:lnTo>
                  <a:lnTo>
                    <a:pt x="16" y="27"/>
                  </a:lnTo>
                  <a:lnTo>
                    <a:pt x="20" y="27"/>
                  </a:lnTo>
                  <a:lnTo>
                    <a:pt x="20" y="23"/>
                  </a:lnTo>
                  <a:lnTo>
                    <a:pt x="24" y="23"/>
                  </a:lnTo>
                  <a:lnTo>
                    <a:pt x="28" y="19"/>
                  </a:lnTo>
                  <a:lnTo>
                    <a:pt x="28" y="15"/>
                  </a:lnTo>
                  <a:lnTo>
                    <a:pt x="24" y="19"/>
                  </a:lnTo>
                  <a:lnTo>
                    <a:pt x="24" y="15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5"/>
                  </a:lnTo>
                  <a:lnTo>
                    <a:pt x="64" y="15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3" y="4"/>
                  </a:lnTo>
                  <a:lnTo>
                    <a:pt x="87" y="4"/>
                  </a:lnTo>
                  <a:lnTo>
                    <a:pt x="91" y="4"/>
                  </a:lnTo>
                  <a:lnTo>
                    <a:pt x="91" y="8"/>
                  </a:lnTo>
                  <a:lnTo>
                    <a:pt x="95" y="8"/>
                  </a:lnTo>
                  <a:lnTo>
                    <a:pt x="99" y="4"/>
                  </a:lnTo>
                  <a:lnTo>
                    <a:pt x="103" y="4"/>
                  </a:lnTo>
                  <a:lnTo>
                    <a:pt x="107" y="4"/>
                  </a:lnTo>
                  <a:lnTo>
                    <a:pt x="111" y="4"/>
                  </a:lnTo>
                  <a:lnTo>
                    <a:pt x="115" y="4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7" y="4"/>
                  </a:lnTo>
                  <a:lnTo>
                    <a:pt x="131" y="4"/>
                  </a:lnTo>
                  <a:lnTo>
                    <a:pt x="135" y="4"/>
                  </a:lnTo>
                  <a:lnTo>
                    <a:pt x="139" y="4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51" y="8"/>
                  </a:lnTo>
                  <a:lnTo>
                    <a:pt x="151" y="12"/>
                  </a:lnTo>
                  <a:lnTo>
                    <a:pt x="151" y="15"/>
                  </a:lnTo>
                  <a:lnTo>
                    <a:pt x="155" y="15"/>
                  </a:lnTo>
                  <a:lnTo>
                    <a:pt x="159" y="15"/>
                  </a:lnTo>
                  <a:lnTo>
                    <a:pt x="163" y="15"/>
                  </a:lnTo>
                  <a:lnTo>
                    <a:pt x="163" y="19"/>
                  </a:lnTo>
                  <a:lnTo>
                    <a:pt x="167" y="19"/>
                  </a:lnTo>
                  <a:lnTo>
                    <a:pt x="167" y="23"/>
                  </a:lnTo>
                  <a:lnTo>
                    <a:pt x="163" y="23"/>
                  </a:lnTo>
                  <a:lnTo>
                    <a:pt x="159" y="23"/>
                  </a:lnTo>
                  <a:lnTo>
                    <a:pt x="159" y="27"/>
                  </a:lnTo>
                  <a:lnTo>
                    <a:pt x="155" y="27"/>
                  </a:lnTo>
                  <a:lnTo>
                    <a:pt x="151" y="27"/>
                  </a:lnTo>
                  <a:lnTo>
                    <a:pt x="147" y="27"/>
                  </a:lnTo>
                  <a:lnTo>
                    <a:pt x="147" y="31"/>
                  </a:lnTo>
                  <a:lnTo>
                    <a:pt x="143" y="31"/>
                  </a:lnTo>
                  <a:lnTo>
                    <a:pt x="139" y="35"/>
                  </a:lnTo>
                  <a:lnTo>
                    <a:pt x="135" y="35"/>
                  </a:lnTo>
                  <a:lnTo>
                    <a:pt x="135" y="39"/>
                  </a:lnTo>
                  <a:lnTo>
                    <a:pt x="135" y="43"/>
                  </a:lnTo>
                  <a:lnTo>
                    <a:pt x="131" y="43"/>
                  </a:lnTo>
                  <a:lnTo>
                    <a:pt x="127" y="43"/>
                  </a:lnTo>
                  <a:lnTo>
                    <a:pt x="123" y="43"/>
                  </a:lnTo>
                  <a:lnTo>
                    <a:pt x="119" y="43"/>
                  </a:lnTo>
                  <a:lnTo>
                    <a:pt x="115" y="43"/>
                  </a:lnTo>
                  <a:lnTo>
                    <a:pt x="111" y="43"/>
                  </a:lnTo>
                  <a:lnTo>
                    <a:pt x="111" y="51"/>
                  </a:lnTo>
                  <a:lnTo>
                    <a:pt x="111" y="55"/>
                  </a:lnTo>
                  <a:lnTo>
                    <a:pt x="107" y="55"/>
                  </a:lnTo>
                  <a:lnTo>
                    <a:pt x="107" y="59"/>
                  </a:lnTo>
                  <a:lnTo>
                    <a:pt x="107" y="55"/>
                  </a:lnTo>
                  <a:lnTo>
                    <a:pt x="103" y="55"/>
                  </a:lnTo>
                  <a:lnTo>
                    <a:pt x="99" y="59"/>
                  </a:lnTo>
                  <a:lnTo>
                    <a:pt x="95" y="59"/>
                  </a:lnTo>
                  <a:lnTo>
                    <a:pt x="95" y="55"/>
                  </a:lnTo>
                  <a:lnTo>
                    <a:pt x="95" y="51"/>
                  </a:lnTo>
                  <a:lnTo>
                    <a:pt x="91" y="51"/>
                  </a:lnTo>
                  <a:lnTo>
                    <a:pt x="91" y="55"/>
                  </a:lnTo>
                  <a:lnTo>
                    <a:pt x="87" y="55"/>
                  </a:lnTo>
                  <a:lnTo>
                    <a:pt x="83" y="5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9" name="Freeform 26"/>
            <p:cNvSpPr>
              <a:spLocks/>
            </p:cNvSpPr>
            <p:nvPr>
              <p:custDataLst>
                <p:tags r:id="rId222"/>
              </p:custDataLst>
            </p:nvPr>
          </p:nvSpPr>
          <p:spPr bwMode="gray">
            <a:xfrm>
              <a:off x="6622903" y="3977517"/>
              <a:ext cx="172035" cy="235807"/>
            </a:xfrm>
            <a:custGeom>
              <a:avLst/>
              <a:gdLst/>
              <a:ahLst/>
              <a:cxnLst>
                <a:cxn ang="0">
                  <a:pos x="56" y="79"/>
                </a:cxn>
                <a:cxn ang="0">
                  <a:pos x="48" y="79"/>
                </a:cxn>
                <a:cxn ang="0">
                  <a:pos x="36" y="87"/>
                </a:cxn>
                <a:cxn ang="0">
                  <a:pos x="28" y="79"/>
                </a:cxn>
                <a:cxn ang="0">
                  <a:pos x="20" y="87"/>
                </a:cxn>
                <a:cxn ang="0">
                  <a:pos x="12" y="95"/>
                </a:cxn>
                <a:cxn ang="0">
                  <a:pos x="16" y="83"/>
                </a:cxn>
                <a:cxn ang="0">
                  <a:pos x="16" y="67"/>
                </a:cxn>
                <a:cxn ang="0">
                  <a:pos x="16" y="59"/>
                </a:cxn>
                <a:cxn ang="0">
                  <a:pos x="4" y="55"/>
                </a:cxn>
                <a:cxn ang="0">
                  <a:pos x="4" y="43"/>
                </a:cxn>
                <a:cxn ang="0">
                  <a:pos x="0" y="39"/>
                </a:cxn>
                <a:cxn ang="0">
                  <a:pos x="8" y="32"/>
                </a:cxn>
                <a:cxn ang="0">
                  <a:pos x="8" y="24"/>
                </a:cxn>
                <a:cxn ang="0">
                  <a:pos x="16" y="16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0" y="4"/>
                </a:cxn>
                <a:cxn ang="0">
                  <a:pos x="32" y="0"/>
                </a:cxn>
                <a:cxn ang="0">
                  <a:pos x="40" y="12"/>
                </a:cxn>
                <a:cxn ang="0">
                  <a:pos x="40" y="20"/>
                </a:cxn>
                <a:cxn ang="0">
                  <a:pos x="44" y="28"/>
                </a:cxn>
                <a:cxn ang="0">
                  <a:pos x="52" y="36"/>
                </a:cxn>
                <a:cxn ang="0">
                  <a:pos x="64" y="32"/>
                </a:cxn>
                <a:cxn ang="0">
                  <a:pos x="72" y="43"/>
                </a:cxn>
                <a:cxn ang="0">
                  <a:pos x="68" y="55"/>
                </a:cxn>
                <a:cxn ang="0">
                  <a:pos x="60" y="55"/>
                </a:cxn>
                <a:cxn ang="0">
                  <a:pos x="56" y="59"/>
                </a:cxn>
                <a:cxn ang="0">
                  <a:pos x="68" y="71"/>
                </a:cxn>
                <a:cxn ang="0">
                  <a:pos x="76" y="79"/>
                </a:cxn>
                <a:cxn ang="0">
                  <a:pos x="84" y="87"/>
                </a:cxn>
                <a:cxn ang="0">
                  <a:pos x="92" y="95"/>
                </a:cxn>
                <a:cxn ang="0">
                  <a:pos x="96" y="107"/>
                </a:cxn>
                <a:cxn ang="0">
                  <a:pos x="104" y="111"/>
                </a:cxn>
                <a:cxn ang="0">
                  <a:pos x="112" y="119"/>
                </a:cxn>
                <a:cxn ang="0">
                  <a:pos x="108" y="131"/>
                </a:cxn>
                <a:cxn ang="0">
                  <a:pos x="112" y="139"/>
                </a:cxn>
                <a:cxn ang="0">
                  <a:pos x="108" y="151"/>
                </a:cxn>
                <a:cxn ang="0">
                  <a:pos x="96" y="151"/>
                </a:cxn>
                <a:cxn ang="0">
                  <a:pos x="92" y="155"/>
                </a:cxn>
                <a:cxn ang="0">
                  <a:pos x="84" y="155"/>
                </a:cxn>
                <a:cxn ang="0">
                  <a:pos x="76" y="155"/>
                </a:cxn>
                <a:cxn ang="0">
                  <a:pos x="80" y="143"/>
                </a:cxn>
                <a:cxn ang="0">
                  <a:pos x="84" y="135"/>
                </a:cxn>
                <a:cxn ang="0">
                  <a:pos x="80" y="123"/>
                </a:cxn>
                <a:cxn ang="0">
                  <a:pos x="72" y="111"/>
                </a:cxn>
                <a:cxn ang="0">
                  <a:pos x="68" y="103"/>
                </a:cxn>
                <a:cxn ang="0">
                  <a:pos x="68" y="95"/>
                </a:cxn>
              </a:cxnLst>
              <a:rect l="0" t="0" r="r" b="b"/>
              <a:pathLst>
                <a:path w="116" h="159">
                  <a:moveTo>
                    <a:pt x="64" y="87"/>
                  </a:moveTo>
                  <a:lnTo>
                    <a:pt x="60" y="83"/>
                  </a:lnTo>
                  <a:lnTo>
                    <a:pt x="60" y="79"/>
                  </a:lnTo>
                  <a:lnTo>
                    <a:pt x="56" y="79"/>
                  </a:lnTo>
                  <a:lnTo>
                    <a:pt x="52" y="79"/>
                  </a:lnTo>
                  <a:lnTo>
                    <a:pt x="52" y="75"/>
                  </a:lnTo>
                  <a:lnTo>
                    <a:pt x="48" y="75"/>
                  </a:lnTo>
                  <a:lnTo>
                    <a:pt x="48" y="79"/>
                  </a:lnTo>
                  <a:lnTo>
                    <a:pt x="44" y="83"/>
                  </a:lnTo>
                  <a:lnTo>
                    <a:pt x="40" y="83"/>
                  </a:lnTo>
                  <a:lnTo>
                    <a:pt x="40" y="87"/>
                  </a:lnTo>
                  <a:lnTo>
                    <a:pt x="36" y="87"/>
                  </a:lnTo>
                  <a:lnTo>
                    <a:pt x="36" y="83"/>
                  </a:lnTo>
                  <a:lnTo>
                    <a:pt x="32" y="83"/>
                  </a:lnTo>
                  <a:lnTo>
                    <a:pt x="32" y="79"/>
                  </a:lnTo>
                  <a:lnTo>
                    <a:pt x="28" y="79"/>
                  </a:lnTo>
                  <a:lnTo>
                    <a:pt x="28" y="83"/>
                  </a:lnTo>
                  <a:lnTo>
                    <a:pt x="24" y="83"/>
                  </a:lnTo>
                  <a:lnTo>
                    <a:pt x="24" y="87"/>
                  </a:lnTo>
                  <a:lnTo>
                    <a:pt x="20" y="87"/>
                  </a:lnTo>
                  <a:lnTo>
                    <a:pt x="20" y="91"/>
                  </a:lnTo>
                  <a:lnTo>
                    <a:pt x="16" y="91"/>
                  </a:lnTo>
                  <a:lnTo>
                    <a:pt x="16" y="95"/>
                  </a:lnTo>
                  <a:lnTo>
                    <a:pt x="12" y="95"/>
                  </a:lnTo>
                  <a:lnTo>
                    <a:pt x="12" y="91"/>
                  </a:lnTo>
                  <a:lnTo>
                    <a:pt x="12" y="87"/>
                  </a:lnTo>
                  <a:lnTo>
                    <a:pt x="16" y="87"/>
                  </a:lnTo>
                  <a:lnTo>
                    <a:pt x="16" y="83"/>
                  </a:lnTo>
                  <a:lnTo>
                    <a:pt x="16" y="79"/>
                  </a:lnTo>
                  <a:lnTo>
                    <a:pt x="16" y="75"/>
                  </a:lnTo>
                  <a:lnTo>
                    <a:pt x="16" y="71"/>
                  </a:lnTo>
                  <a:lnTo>
                    <a:pt x="16" y="67"/>
                  </a:lnTo>
                  <a:lnTo>
                    <a:pt x="20" y="67"/>
                  </a:lnTo>
                  <a:lnTo>
                    <a:pt x="20" y="63"/>
                  </a:lnTo>
                  <a:lnTo>
                    <a:pt x="16" y="63"/>
                  </a:lnTo>
                  <a:lnTo>
                    <a:pt x="16" y="59"/>
                  </a:lnTo>
                  <a:lnTo>
                    <a:pt x="16" y="55"/>
                  </a:lnTo>
                  <a:lnTo>
                    <a:pt x="12" y="55"/>
                  </a:lnTo>
                  <a:lnTo>
                    <a:pt x="8" y="55"/>
                  </a:lnTo>
                  <a:lnTo>
                    <a:pt x="4" y="55"/>
                  </a:lnTo>
                  <a:lnTo>
                    <a:pt x="4" y="51"/>
                  </a:lnTo>
                  <a:lnTo>
                    <a:pt x="8" y="47"/>
                  </a:lnTo>
                  <a:lnTo>
                    <a:pt x="8" y="43"/>
                  </a:lnTo>
                  <a:lnTo>
                    <a:pt x="4" y="43"/>
                  </a:lnTo>
                  <a:lnTo>
                    <a:pt x="4" y="39"/>
                  </a:lnTo>
                  <a:lnTo>
                    <a:pt x="0" y="39"/>
                  </a:lnTo>
                  <a:lnTo>
                    <a:pt x="0" y="43"/>
                  </a:lnTo>
                  <a:lnTo>
                    <a:pt x="0" y="39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8" y="36"/>
                  </a:lnTo>
                  <a:lnTo>
                    <a:pt x="64" y="39"/>
                  </a:lnTo>
                  <a:lnTo>
                    <a:pt x="68" y="39"/>
                  </a:lnTo>
                  <a:lnTo>
                    <a:pt x="72" y="43"/>
                  </a:lnTo>
                  <a:lnTo>
                    <a:pt x="72" y="47"/>
                  </a:lnTo>
                  <a:lnTo>
                    <a:pt x="72" y="51"/>
                  </a:lnTo>
                  <a:lnTo>
                    <a:pt x="68" y="51"/>
                  </a:lnTo>
                  <a:lnTo>
                    <a:pt x="68" y="55"/>
                  </a:lnTo>
                  <a:lnTo>
                    <a:pt x="64" y="55"/>
                  </a:lnTo>
                  <a:lnTo>
                    <a:pt x="64" y="51"/>
                  </a:lnTo>
                  <a:lnTo>
                    <a:pt x="60" y="51"/>
                  </a:lnTo>
                  <a:lnTo>
                    <a:pt x="60" y="55"/>
                  </a:lnTo>
                  <a:lnTo>
                    <a:pt x="60" y="51"/>
                  </a:lnTo>
                  <a:lnTo>
                    <a:pt x="60" y="55"/>
                  </a:lnTo>
                  <a:lnTo>
                    <a:pt x="60" y="59"/>
                  </a:lnTo>
                  <a:lnTo>
                    <a:pt x="56" y="59"/>
                  </a:lnTo>
                  <a:lnTo>
                    <a:pt x="60" y="63"/>
                  </a:lnTo>
                  <a:lnTo>
                    <a:pt x="64" y="63"/>
                  </a:lnTo>
                  <a:lnTo>
                    <a:pt x="68" y="67"/>
                  </a:lnTo>
                  <a:lnTo>
                    <a:pt x="68" y="71"/>
                  </a:lnTo>
                  <a:lnTo>
                    <a:pt x="72" y="71"/>
                  </a:lnTo>
                  <a:lnTo>
                    <a:pt x="76" y="71"/>
                  </a:lnTo>
                  <a:lnTo>
                    <a:pt x="76" y="75"/>
                  </a:lnTo>
                  <a:lnTo>
                    <a:pt x="76" y="79"/>
                  </a:lnTo>
                  <a:lnTo>
                    <a:pt x="80" y="79"/>
                  </a:lnTo>
                  <a:lnTo>
                    <a:pt x="80" y="83"/>
                  </a:lnTo>
                  <a:lnTo>
                    <a:pt x="84" y="83"/>
                  </a:lnTo>
                  <a:lnTo>
                    <a:pt x="84" y="87"/>
                  </a:lnTo>
                  <a:lnTo>
                    <a:pt x="84" y="91"/>
                  </a:lnTo>
                  <a:lnTo>
                    <a:pt x="88" y="91"/>
                  </a:lnTo>
                  <a:lnTo>
                    <a:pt x="88" y="95"/>
                  </a:lnTo>
                  <a:lnTo>
                    <a:pt x="92" y="95"/>
                  </a:lnTo>
                  <a:lnTo>
                    <a:pt x="92" y="99"/>
                  </a:lnTo>
                  <a:lnTo>
                    <a:pt x="96" y="99"/>
                  </a:lnTo>
                  <a:lnTo>
                    <a:pt x="96" y="103"/>
                  </a:lnTo>
                  <a:lnTo>
                    <a:pt x="96" y="107"/>
                  </a:lnTo>
                  <a:lnTo>
                    <a:pt x="96" y="111"/>
                  </a:lnTo>
                  <a:lnTo>
                    <a:pt x="100" y="115"/>
                  </a:lnTo>
                  <a:lnTo>
                    <a:pt x="100" y="111"/>
                  </a:lnTo>
                  <a:lnTo>
                    <a:pt x="104" y="111"/>
                  </a:lnTo>
                  <a:lnTo>
                    <a:pt x="104" y="115"/>
                  </a:lnTo>
                  <a:lnTo>
                    <a:pt x="108" y="115"/>
                  </a:lnTo>
                  <a:lnTo>
                    <a:pt x="108" y="119"/>
                  </a:lnTo>
                  <a:lnTo>
                    <a:pt x="112" y="119"/>
                  </a:lnTo>
                  <a:lnTo>
                    <a:pt x="112" y="123"/>
                  </a:lnTo>
                  <a:lnTo>
                    <a:pt x="108" y="123"/>
                  </a:lnTo>
                  <a:lnTo>
                    <a:pt x="108" y="127"/>
                  </a:lnTo>
                  <a:lnTo>
                    <a:pt x="108" y="131"/>
                  </a:lnTo>
                  <a:lnTo>
                    <a:pt x="112" y="131"/>
                  </a:lnTo>
                  <a:lnTo>
                    <a:pt x="112" y="135"/>
                  </a:lnTo>
                  <a:lnTo>
                    <a:pt x="116" y="135"/>
                  </a:lnTo>
                  <a:lnTo>
                    <a:pt x="112" y="139"/>
                  </a:lnTo>
                  <a:lnTo>
                    <a:pt x="112" y="143"/>
                  </a:lnTo>
                  <a:lnTo>
                    <a:pt x="112" y="147"/>
                  </a:lnTo>
                  <a:lnTo>
                    <a:pt x="108" y="147"/>
                  </a:lnTo>
                  <a:lnTo>
                    <a:pt x="108" y="151"/>
                  </a:lnTo>
                  <a:lnTo>
                    <a:pt x="100" y="155"/>
                  </a:lnTo>
                  <a:lnTo>
                    <a:pt x="100" y="151"/>
                  </a:lnTo>
                  <a:lnTo>
                    <a:pt x="96" y="147"/>
                  </a:lnTo>
                  <a:lnTo>
                    <a:pt x="96" y="151"/>
                  </a:lnTo>
                  <a:lnTo>
                    <a:pt x="92" y="151"/>
                  </a:lnTo>
                  <a:lnTo>
                    <a:pt x="88" y="151"/>
                  </a:lnTo>
                  <a:lnTo>
                    <a:pt x="88" y="155"/>
                  </a:lnTo>
                  <a:lnTo>
                    <a:pt x="92" y="155"/>
                  </a:lnTo>
                  <a:lnTo>
                    <a:pt x="92" y="159"/>
                  </a:lnTo>
                  <a:lnTo>
                    <a:pt x="88" y="159"/>
                  </a:lnTo>
                  <a:lnTo>
                    <a:pt x="84" y="159"/>
                  </a:lnTo>
                  <a:lnTo>
                    <a:pt x="84" y="155"/>
                  </a:lnTo>
                  <a:lnTo>
                    <a:pt x="80" y="155"/>
                  </a:lnTo>
                  <a:lnTo>
                    <a:pt x="80" y="159"/>
                  </a:lnTo>
                  <a:lnTo>
                    <a:pt x="80" y="155"/>
                  </a:lnTo>
                  <a:lnTo>
                    <a:pt x="76" y="155"/>
                  </a:lnTo>
                  <a:lnTo>
                    <a:pt x="76" y="151"/>
                  </a:lnTo>
                  <a:lnTo>
                    <a:pt x="80" y="151"/>
                  </a:lnTo>
                  <a:lnTo>
                    <a:pt x="80" y="147"/>
                  </a:lnTo>
                  <a:lnTo>
                    <a:pt x="80" y="143"/>
                  </a:lnTo>
                  <a:lnTo>
                    <a:pt x="84" y="143"/>
                  </a:lnTo>
                  <a:lnTo>
                    <a:pt x="84" y="139"/>
                  </a:lnTo>
                  <a:lnTo>
                    <a:pt x="80" y="139"/>
                  </a:lnTo>
                  <a:lnTo>
                    <a:pt x="84" y="135"/>
                  </a:lnTo>
                  <a:lnTo>
                    <a:pt x="84" y="131"/>
                  </a:lnTo>
                  <a:lnTo>
                    <a:pt x="84" y="127"/>
                  </a:lnTo>
                  <a:lnTo>
                    <a:pt x="80" y="127"/>
                  </a:lnTo>
                  <a:lnTo>
                    <a:pt x="80" y="123"/>
                  </a:lnTo>
                  <a:lnTo>
                    <a:pt x="76" y="123"/>
                  </a:lnTo>
                  <a:lnTo>
                    <a:pt x="76" y="119"/>
                  </a:lnTo>
                  <a:lnTo>
                    <a:pt x="72" y="115"/>
                  </a:lnTo>
                  <a:lnTo>
                    <a:pt x="72" y="111"/>
                  </a:lnTo>
                  <a:lnTo>
                    <a:pt x="68" y="111"/>
                  </a:lnTo>
                  <a:lnTo>
                    <a:pt x="72" y="111"/>
                  </a:lnTo>
                  <a:lnTo>
                    <a:pt x="72" y="107"/>
                  </a:lnTo>
                  <a:lnTo>
                    <a:pt x="68" y="103"/>
                  </a:lnTo>
                  <a:lnTo>
                    <a:pt x="72" y="103"/>
                  </a:lnTo>
                  <a:lnTo>
                    <a:pt x="72" y="99"/>
                  </a:lnTo>
                  <a:lnTo>
                    <a:pt x="72" y="95"/>
                  </a:lnTo>
                  <a:lnTo>
                    <a:pt x="68" y="95"/>
                  </a:lnTo>
                  <a:lnTo>
                    <a:pt x="68" y="91"/>
                  </a:lnTo>
                  <a:lnTo>
                    <a:pt x="64" y="91"/>
                  </a:lnTo>
                  <a:lnTo>
                    <a:pt x="64" y="8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0" name="Freeform 27"/>
            <p:cNvSpPr>
              <a:spLocks/>
            </p:cNvSpPr>
            <p:nvPr>
              <p:custDataLst>
                <p:tags r:id="rId223"/>
              </p:custDataLst>
            </p:nvPr>
          </p:nvSpPr>
          <p:spPr bwMode="gray">
            <a:xfrm>
              <a:off x="5162085" y="3627513"/>
              <a:ext cx="35594" cy="47458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6"/>
                </a:cxn>
                <a:cxn ang="0">
                  <a:pos x="12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6" y="0"/>
                </a:cxn>
                <a:cxn ang="0">
                  <a:pos x="16" y="0"/>
                </a:cxn>
              </a:cxnLst>
              <a:rect l="0" t="0" r="r" b="b"/>
              <a:pathLst>
                <a:path w="24" h="32">
                  <a:moveTo>
                    <a:pt x="16" y="0"/>
                  </a:move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1" name="Freeform 28"/>
            <p:cNvSpPr>
              <a:spLocks noEditPoints="1"/>
            </p:cNvSpPr>
            <p:nvPr>
              <p:custDataLst>
                <p:tags r:id="rId224"/>
              </p:custDataLst>
            </p:nvPr>
          </p:nvSpPr>
          <p:spPr bwMode="gray">
            <a:xfrm>
              <a:off x="6611038" y="4397224"/>
              <a:ext cx="444919" cy="177968"/>
            </a:xfrm>
            <a:custGeom>
              <a:avLst/>
              <a:gdLst/>
              <a:ahLst/>
              <a:cxnLst>
                <a:cxn ang="0">
                  <a:pos x="8" y="20"/>
                </a:cxn>
                <a:cxn ang="0">
                  <a:pos x="16" y="16"/>
                </a:cxn>
                <a:cxn ang="0">
                  <a:pos x="20" y="24"/>
                </a:cxn>
                <a:cxn ang="0">
                  <a:pos x="28" y="28"/>
                </a:cxn>
                <a:cxn ang="0">
                  <a:pos x="36" y="24"/>
                </a:cxn>
                <a:cxn ang="0">
                  <a:pos x="44" y="28"/>
                </a:cxn>
                <a:cxn ang="0">
                  <a:pos x="56" y="36"/>
                </a:cxn>
                <a:cxn ang="0">
                  <a:pos x="60" y="56"/>
                </a:cxn>
                <a:cxn ang="0">
                  <a:pos x="60" y="68"/>
                </a:cxn>
                <a:cxn ang="0">
                  <a:pos x="60" y="80"/>
                </a:cxn>
                <a:cxn ang="0">
                  <a:pos x="68" y="92"/>
                </a:cxn>
                <a:cxn ang="0">
                  <a:pos x="68" y="108"/>
                </a:cxn>
                <a:cxn ang="0">
                  <a:pos x="60" y="112"/>
                </a:cxn>
                <a:cxn ang="0">
                  <a:pos x="48" y="100"/>
                </a:cxn>
                <a:cxn ang="0">
                  <a:pos x="36" y="88"/>
                </a:cxn>
                <a:cxn ang="0">
                  <a:pos x="28" y="80"/>
                </a:cxn>
                <a:cxn ang="0">
                  <a:pos x="20" y="68"/>
                </a:cxn>
                <a:cxn ang="0">
                  <a:pos x="16" y="56"/>
                </a:cxn>
                <a:cxn ang="0">
                  <a:pos x="12" y="36"/>
                </a:cxn>
                <a:cxn ang="0">
                  <a:pos x="264" y="0"/>
                </a:cxn>
                <a:cxn ang="0">
                  <a:pos x="268" y="12"/>
                </a:cxn>
                <a:cxn ang="0">
                  <a:pos x="284" y="48"/>
                </a:cxn>
                <a:cxn ang="0">
                  <a:pos x="276" y="56"/>
                </a:cxn>
                <a:cxn ang="0">
                  <a:pos x="180" y="92"/>
                </a:cxn>
                <a:cxn ang="0">
                  <a:pos x="224" y="56"/>
                </a:cxn>
                <a:cxn ang="0">
                  <a:pos x="232" y="48"/>
                </a:cxn>
                <a:cxn ang="0">
                  <a:pos x="236" y="52"/>
                </a:cxn>
                <a:cxn ang="0">
                  <a:pos x="236" y="44"/>
                </a:cxn>
                <a:cxn ang="0">
                  <a:pos x="240" y="36"/>
                </a:cxn>
                <a:cxn ang="0">
                  <a:pos x="248" y="24"/>
                </a:cxn>
                <a:cxn ang="0">
                  <a:pos x="256" y="12"/>
                </a:cxn>
                <a:cxn ang="0">
                  <a:pos x="260" y="12"/>
                </a:cxn>
                <a:cxn ang="0">
                  <a:pos x="268" y="8"/>
                </a:cxn>
                <a:cxn ang="0">
                  <a:pos x="272" y="16"/>
                </a:cxn>
                <a:cxn ang="0">
                  <a:pos x="272" y="24"/>
                </a:cxn>
                <a:cxn ang="0">
                  <a:pos x="280" y="28"/>
                </a:cxn>
                <a:cxn ang="0">
                  <a:pos x="292" y="36"/>
                </a:cxn>
                <a:cxn ang="0">
                  <a:pos x="292" y="40"/>
                </a:cxn>
                <a:cxn ang="0">
                  <a:pos x="284" y="44"/>
                </a:cxn>
                <a:cxn ang="0">
                  <a:pos x="288" y="56"/>
                </a:cxn>
                <a:cxn ang="0">
                  <a:pos x="272" y="56"/>
                </a:cxn>
                <a:cxn ang="0">
                  <a:pos x="252" y="56"/>
                </a:cxn>
                <a:cxn ang="0">
                  <a:pos x="244" y="60"/>
                </a:cxn>
                <a:cxn ang="0">
                  <a:pos x="240" y="76"/>
                </a:cxn>
                <a:cxn ang="0">
                  <a:pos x="232" y="96"/>
                </a:cxn>
                <a:cxn ang="0">
                  <a:pos x="224" y="108"/>
                </a:cxn>
                <a:cxn ang="0">
                  <a:pos x="208" y="108"/>
                </a:cxn>
                <a:cxn ang="0">
                  <a:pos x="192" y="108"/>
                </a:cxn>
                <a:cxn ang="0">
                  <a:pos x="180" y="116"/>
                </a:cxn>
                <a:cxn ang="0">
                  <a:pos x="164" y="120"/>
                </a:cxn>
                <a:cxn ang="0">
                  <a:pos x="152" y="104"/>
                </a:cxn>
                <a:cxn ang="0">
                  <a:pos x="156" y="104"/>
                </a:cxn>
                <a:cxn ang="0">
                  <a:pos x="168" y="108"/>
                </a:cxn>
                <a:cxn ang="0">
                  <a:pos x="180" y="108"/>
                </a:cxn>
                <a:cxn ang="0">
                  <a:pos x="176" y="96"/>
                </a:cxn>
                <a:cxn ang="0">
                  <a:pos x="176" y="92"/>
                </a:cxn>
                <a:cxn ang="0">
                  <a:pos x="184" y="80"/>
                </a:cxn>
                <a:cxn ang="0">
                  <a:pos x="200" y="76"/>
                </a:cxn>
                <a:cxn ang="0">
                  <a:pos x="212" y="60"/>
                </a:cxn>
                <a:cxn ang="0">
                  <a:pos x="216" y="48"/>
                </a:cxn>
                <a:cxn ang="0">
                  <a:pos x="4" y="16"/>
                </a:cxn>
                <a:cxn ang="0">
                  <a:pos x="12" y="36"/>
                </a:cxn>
                <a:cxn ang="0">
                  <a:pos x="68" y="80"/>
                </a:cxn>
              </a:cxnLst>
              <a:rect l="0" t="0" r="r" b="b"/>
              <a:pathLst>
                <a:path w="300" h="120">
                  <a:moveTo>
                    <a:pt x="12" y="32"/>
                  </a:moveTo>
                  <a:lnTo>
                    <a:pt x="12" y="28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80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8" y="100"/>
                  </a:lnTo>
                  <a:lnTo>
                    <a:pt x="72" y="104"/>
                  </a:lnTo>
                  <a:lnTo>
                    <a:pt x="72" y="108"/>
                  </a:lnTo>
                  <a:lnTo>
                    <a:pt x="68" y="108"/>
                  </a:lnTo>
                  <a:lnTo>
                    <a:pt x="68" y="104"/>
                  </a:lnTo>
                  <a:lnTo>
                    <a:pt x="68" y="108"/>
                  </a:lnTo>
                  <a:lnTo>
                    <a:pt x="64" y="108"/>
                  </a:lnTo>
                  <a:lnTo>
                    <a:pt x="60" y="108"/>
                  </a:lnTo>
                  <a:lnTo>
                    <a:pt x="60" y="112"/>
                  </a:lnTo>
                  <a:lnTo>
                    <a:pt x="60" y="108"/>
                  </a:lnTo>
                  <a:lnTo>
                    <a:pt x="56" y="108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48" y="100"/>
                  </a:lnTo>
                  <a:lnTo>
                    <a:pt x="44" y="96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36" y="92"/>
                  </a:lnTo>
                  <a:lnTo>
                    <a:pt x="36" y="88"/>
                  </a:lnTo>
                  <a:lnTo>
                    <a:pt x="32" y="88"/>
                  </a:lnTo>
                  <a:lnTo>
                    <a:pt x="28" y="84"/>
                  </a:lnTo>
                  <a:lnTo>
                    <a:pt x="24" y="84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2"/>
                  </a:lnTo>
                  <a:close/>
                  <a:moveTo>
                    <a:pt x="260" y="4"/>
                  </a:moveTo>
                  <a:lnTo>
                    <a:pt x="264" y="0"/>
                  </a:lnTo>
                  <a:lnTo>
                    <a:pt x="260" y="4"/>
                  </a:lnTo>
                  <a:close/>
                  <a:moveTo>
                    <a:pt x="264" y="0"/>
                  </a:moveTo>
                  <a:lnTo>
                    <a:pt x="268" y="0"/>
                  </a:lnTo>
                  <a:lnTo>
                    <a:pt x="268" y="4"/>
                  </a:lnTo>
                  <a:lnTo>
                    <a:pt x="264" y="4"/>
                  </a:lnTo>
                  <a:lnTo>
                    <a:pt x="264" y="0"/>
                  </a:lnTo>
                  <a:close/>
                  <a:moveTo>
                    <a:pt x="268" y="12"/>
                  </a:moveTo>
                  <a:lnTo>
                    <a:pt x="272" y="12"/>
                  </a:lnTo>
                  <a:lnTo>
                    <a:pt x="272" y="8"/>
                  </a:lnTo>
                  <a:lnTo>
                    <a:pt x="272" y="12"/>
                  </a:lnTo>
                  <a:lnTo>
                    <a:pt x="268" y="12"/>
                  </a:lnTo>
                  <a:close/>
                  <a:moveTo>
                    <a:pt x="284" y="48"/>
                  </a:moveTo>
                  <a:lnTo>
                    <a:pt x="288" y="48"/>
                  </a:lnTo>
                  <a:lnTo>
                    <a:pt x="284" y="48"/>
                  </a:lnTo>
                  <a:close/>
                  <a:moveTo>
                    <a:pt x="276" y="56"/>
                  </a:moveTo>
                  <a:lnTo>
                    <a:pt x="272" y="56"/>
                  </a:lnTo>
                  <a:lnTo>
                    <a:pt x="276" y="56"/>
                  </a:lnTo>
                  <a:close/>
                  <a:moveTo>
                    <a:pt x="176" y="88"/>
                  </a:moveTo>
                  <a:lnTo>
                    <a:pt x="176" y="84"/>
                  </a:lnTo>
                  <a:lnTo>
                    <a:pt x="180" y="84"/>
                  </a:lnTo>
                  <a:lnTo>
                    <a:pt x="180" y="88"/>
                  </a:lnTo>
                  <a:lnTo>
                    <a:pt x="180" y="92"/>
                  </a:lnTo>
                  <a:lnTo>
                    <a:pt x="176" y="88"/>
                  </a:lnTo>
                  <a:close/>
                  <a:moveTo>
                    <a:pt x="220" y="48"/>
                  </a:moveTo>
                  <a:lnTo>
                    <a:pt x="220" y="52"/>
                  </a:lnTo>
                  <a:lnTo>
                    <a:pt x="224" y="52"/>
                  </a:lnTo>
                  <a:lnTo>
                    <a:pt x="224" y="56"/>
                  </a:lnTo>
                  <a:lnTo>
                    <a:pt x="228" y="60"/>
                  </a:lnTo>
                  <a:lnTo>
                    <a:pt x="232" y="60"/>
                  </a:lnTo>
                  <a:lnTo>
                    <a:pt x="232" y="56"/>
                  </a:lnTo>
                  <a:lnTo>
                    <a:pt x="232" y="52"/>
                  </a:lnTo>
                  <a:lnTo>
                    <a:pt x="232" y="48"/>
                  </a:lnTo>
                  <a:lnTo>
                    <a:pt x="232" y="44"/>
                  </a:lnTo>
                  <a:lnTo>
                    <a:pt x="236" y="44"/>
                  </a:lnTo>
                  <a:lnTo>
                    <a:pt x="232" y="48"/>
                  </a:lnTo>
                  <a:lnTo>
                    <a:pt x="236" y="48"/>
                  </a:lnTo>
                  <a:lnTo>
                    <a:pt x="236" y="52"/>
                  </a:lnTo>
                  <a:lnTo>
                    <a:pt x="240" y="56"/>
                  </a:lnTo>
                  <a:lnTo>
                    <a:pt x="240" y="52"/>
                  </a:lnTo>
                  <a:lnTo>
                    <a:pt x="236" y="52"/>
                  </a:lnTo>
                  <a:lnTo>
                    <a:pt x="236" y="48"/>
                  </a:lnTo>
                  <a:lnTo>
                    <a:pt x="236" y="44"/>
                  </a:lnTo>
                  <a:lnTo>
                    <a:pt x="240" y="44"/>
                  </a:lnTo>
                  <a:lnTo>
                    <a:pt x="240" y="40"/>
                  </a:lnTo>
                  <a:lnTo>
                    <a:pt x="244" y="40"/>
                  </a:lnTo>
                  <a:lnTo>
                    <a:pt x="240" y="40"/>
                  </a:lnTo>
                  <a:lnTo>
                    <a:pt x="240" y="36"/>
                  </a:lnTo>
                  <a:lnTo>
                    <a:pt x="240" y="32"/>
                  </a:lnTo>
                  <a:lnTo>
                    <a:pt x="244" y="32"/>
                  </a:lnTo>
                  <a:lnTo>
                    <a:pt x="248" y="32"/>
                  </a:lnTo>
                  <a:lnTo>
                    <a:pt x="248" y="28"/>
                  </a:lnTo>
                  <a:lnTo>
                    <a:pt x="248" y="24"/>
                  </a:lnTo>
                  <a:lnTo>
                    <a:pt x="252" y="24"/>
                  </a:lnTo>
                  <a:lnTo>
                    <a:pt x="252" y="20"/>
                  </a:lnTo>
                  <a:lnTo>
                    <a:pt x="252" y="16"/>
                  </a:lnTo>
                  <a:lnTo>
                    <a:pt x="256" y="16"/>
                  </a:lnTo>
                  <a:lnTo>
                    <a:pt x="256" y="12"/>
                  </a:lnTo>
                  <a:lnTo>
                    <a:pt x="260" y="12"/>
                  </a:lnTo>
                  <a:lnTo>
                    <a:pt x="260" y="8"/>
                  </a:lnTo>
                  <a:lnTo>
                    <a:pt x="260" y="4"/>
                  </a:lnTo>
                  <a:lnTo>
                    <a:pt x="260" y="8"/>
                  </a:lnTo>
                  <a:lnTo>
                    <a:pt x="260" y="12"/>
                  </a:lnTo>
                  <a:lnTo>
                    <a:pt x="264" y="12"/>
                  </a:lnTo>
                  <a:lnTo>
                    <a:pt x="264" y="8"/>
                  </a:lnTo>
                  <a:lnTo>
                    <a:pt x="264" y="4"/>
                  </a:lnTo>
                  <a:lnTo>
                    <a:pt x="268" y="4"/>
                  </a:lnTo>
                  <a:lnTo>
                    <a:pt x="268" y="8"/>
                  </a:lnTo>
                  <a:lnTo>
                    <a:pt x="268" y="12"/>
                  </a:lnTo>
                  <a:lnTo>
                    <a:pt x="272" y="12"/>
                  </a:lnTo>
                  <a:lnTo>
                    <a:pt x="272" y="16"/>
                  </a:lnTo>
                  <a:lnTo>
                    <a:pt x="272" y="12"/>
                  </a:lnTo>
                  <a:lnTo>
                    <a:pt x="272" y="16"/>
                  </a:lnTo>
                  <a:lnTo>
                    <a:pt x="276" y="16"/>
                  </a:lnTo>
                  <a:lnTo>
                    <a:pt x="276" y="20"/>
                  </a:lnTo>
                  <a:lnTo>
                    <a:pt x="272" y="20"/>
                  </a:lnTo>
                  <a:lnTo>
                    <a:pt x="276" y="24"/>
                  </a:lnTo>
                  <a:lnTo>
                    <a:pt x="272" y="24"/>
                  </a:lnTo>
                  <a:lnTo>
                    <a:pt x="276" y="24"/>
                  </a:lnTo>
                  <a:lnTo>
                    <a:pt x="280" y="24"/>
                  </a:lnTo>
                  <a:lnTo>
                    <a:pt x="280" y="28"/>
                  </a:lnTo>
                  <a:lnTo>
                    <a:pt x="276" y="28"/>
                  </a:lnTo>
                  <a:lnTo>
                    <a:pt x="280" y="28"/>
                  </a:lnTo>
                  <a:lnTo>
                    <a:pt x="284" y="28"/>
                  </a:lnTo>
                  <a:lnTo>
                    <a:pt x="288" y="28"/>
                  </a:lnTo>
                  <a:lnTo>
                    <a:pt x="288" y="32"/>
                  </a:lnTo>
                  <a:lnTo>
                    <a:pt x="292" y="32"/>
                  </a:lnTo>
                  <a:lnTo>
                    <a:pt x="292" y="36"/>
                  </a:lnTo>
                  <a:lnTo>
                    <a:pt x="296" y="36"/>
                  </a:lnTo>
                  <a:lnTo>
                    <a:pt x="300" y="36"/>
                  </a:lnTo>
                  <a:lnTo>
                    <a:pt x="300" y="40"/>
                  </a:lnTo>
                  <a:lnTo>
                    <a:pt x="296" y="40"/>
                  </a:lnTo>
                  <a:lnTo>
                    <a:pt x="292" y="40"/>
                  </a:lnTo>
                  <a:lnTo>
                    <a:pt x="292" y="44"/>
                  </a:lnTo>
                  <a:lnTo>
                    <a:pt x="288" y="44"/>
                  </a:lnTo>
                  <a:lnTo>
                    <a:pt x="284" y="44"/>
                  </a:lnTo>
                  <a:lnTo>
                    <a:pt x="284" y="40"/>
                  </a:lnTo>
                  <a:lnTo>
                    <a:pt x="284" y="44"/>
                  </a:lnTo>
                  <a:lnTo>
                    <a:pt x="280" y="44"/>
                  </a:lnTo>
                  <a:lnTo>
                    <a:pt x="284" y="48"/>
                  </a:lnTo>
                  <a:lnTo>
                    <a:pt x="288" y="48"/>
                  </a:lnTo>
                  <a:lnTo>
                    <a:pt x="288" y="52"/>
                  </a:lnTo>
                  <a:lnTo>
                    <a:pt x="288" y="56"/>
                  </a:lnTo>
                  <a:lnTo>
                    <a:pt x="284" y="56"/>
                  </a:lnTo>
                  <a:lnTo>
                    <a:pt x="280" y="56"/>
                  </a:lnTo>
                  <a:lnTo>
                    <a:pt x="276" y="56"/>
                  </a:lnTo>
                  <a:lnTo>
                    <a:pt x="276" y="52"/>
                  </a:lnTo>
                  <a:lnTo>
                    <a:pt x="272" y="56"/>
                  </a:lnTo>
                  <a:lnTo>
                    <a:pt x="268" y="56"/>
                  </a:lnTo>
                  <a:lnTo>
                    <a:pt x="264" y="56"/>
                  </a:lnTo>
                  <a:lnTo>
                    <a:pt x="260" y="56"/>
                  </a:lnTo>
                  <a:lnTo>
                    <a:pt x="256" y="56"/>
                  </a:lnTo>
                  <a:lnTo>
                    <a:pt x="252" y="56"/>
                  </a:lnTo>
                  <a:lnTo>
                    <a:pt x="248" y="56"/>
                  </a:lnTo>
                  <a:lnTo>
                    <a:pt x="248" y="52"/>
                  </a:lnTo>
                  <a:lnTo>
                    <a:pt x="248" y="56"/>
                  </a:lnTo>
                  <a:lnTo>
                    <a:pt x="244" y="56"/>
                  </a:lnTo>
                  <a:lnTo>
                    <a:pt x="244" y="60"/>
                  </a:lnTo>
                  <a:lnTo>
                    <a:pt x="244" y="64"/>
                  </a:lnTo>
                  <a:lnTo>
                    <a:pt x="244" y="68"/>
                  </a:lnTo>
                  <a:lnTo>
                    <a:pt x="244" y="72"/>
                  </a:lnTo>
                  <a:lnTo>
                    <a:pt x="240" y="72"/>
                  </a:lnTo>
                  <a:lnTo>
                    <a:pt x="240" y="76"/>
                  </a:lnTo>
                  <a:lnTo>
                    <a:pt x="240" y="80"/>
                  </a:lnTo>
                  <a:lnTo>
                    <a:pt x="236" y="80"/>
                  </a:lnTo>
                  <a:lnTo>
                    <a:pt x="236" y="88"/>
                  </a:lnTo>
                  <a:lnTo>
                    <a:pt x="232" y="92"/>
                  </a:lnTo>
                  <a:lnTo>
                    <a:pt x="232" y="96"/>
                  </a:lnTo>
                  <a:lnTo>
                    <a:pt x="232" y="100"/>
                  </a:lnTo>
                  <a:lnTo>
                    <a:pt x="228" y="100"/>
                  </a:lnTo>
                  <a:lnTo>
                    <a:pt x="228" y="104"/>
                  </a:lnTo>
                  <a:lnTo>
                    <a:pt x="228" y="108"/>
                  </a:lnTo>
                  <a:lnTo>
                    <a:pt x="224" y="108"/>
                  </a:lnTo>
                  <a:lnTo>
                    <a:pt x="220" y="108"/>
                  </a:lnTo>
                  <a:lnTo>
                    <a:pt x="216" y="108"/>
                  </a:lnTo>
                  <a:lnTo>
                    <a:pt x="216" y="112"/>
                  </a:lnTo>
                  <a:lnTo>
                    <a:pt x="212" y="112"/>
                  </a:lnTo>
                  <a:lnTo>
                    <a:pt x="208" y="108"/>
                  </a:lnTo>
                  <a:lnTo>
                    <a:pt x="204" y="108"/>
                  </a:lnTo>
                  <a:lnTo>
                    <a:pt x="204" y="104"/>
                  </a:lnTo>
                  <a:lnTo>
                    <a:pt x="200" y="104"/>
                  </a:lnTo>
                  <a:lnTo>
                    <a:pt x="196" y="104"/>
                  </a:lnTo>
                  <a:lnTo>
                    <a:pt x="192" y="108"/>
                  </a:lnTo>
                  <a:lnTo>
                    <a:pt x="192" y="112"/>
                  </a:lnTo>
                  <a:lnTo>
                    <a:pt x="188" y="112"/>
                  </a:lnTo>
                  <a:lnTo>
                    <a:pt x="188" y="116"/>
                  </a:lnTo>
                  <a:lnTo>
                    <a:pt x="184" y="116"/>
                  </a:lnTo>
                  <a:lnTo>
                    <a:pt x="180" y="116"/>
                  </a:lnTo>
                  <a:lnTo>
                    <a:pt x="176" y="116"/>
                  </a:lnTo>
                  <a:lnTo>
                    <a:pt x="172" y="116"/>
                  </a:lnTo>
                  <a:lnTo>
                    <a:pt x="168" y="116"/>
                  </a:lnTo>
                  <a:lnTo>
                    <a:pt x="168" y="120"/>
                  </a:lnTo>
                  <a:lnTo>
                    <a:pt x="164" y="120"/>
                  </a:lnTo>
                  <a:lnTo>
                    <a:pt x="164" y="116"/>
                  </a:lnTo>
                  <a:lnTo>
                    <a:pt x="160" y="112"/>
                  </a:lnTo>
                  <a:lnTo>
                    <a:pt x="156" y="112"/>
                  </a:lnTo>
                  <a:lnTo>
                    <a:pt x="156" y="108"/>
                  </a:lnTo>
                  <a:lnTo>
                    <a:pt x="152" y="104"/>
                  </a:lnTo>
                  <a:lnTo>
                    <a:pt x="152" y="100"/>
                  </a:lnTo>
                  <a:lnTo>
                    <a:pt x="152" y="96"/>
                  </a:lnTo>
                  <a:lnTo>
                    <a:pt x="152" y="100"/>
                  </a:lnTo>
                  <a:lnTo>
                    <a:pt x="156" y="100"/>
                  </a:lnTo>
                  <a:lnTo>
                    <a:pt x="156" y="104"/>
                  </a:lnTo>
                  <a:lnTo>
                    <a:pt x="160" y="104"/>
                  </a:lnTo>
                  <a:lnTo>
                    <a:pt x="164" y="100"/>
                  </a:lnTo>
                  <a:lnTo>
                    <a:pt x="164" y="104"/>
                  </a:lnTo>
                  <a:lnTo>
                    <a:pt x="168" y="104"/>
                  </a:lnTo>
                  <a:lnTo>
                    <a:pt x="168" y="108"/>
                  </a:lnTo>
                  <a:lnTo>
                    <a:pt x="168" y="104"/>
                  </a:lnTo>
                  <a:lnTo>
                    <a:pt x="172" y="104"/>
                  </a:lnTo>
                  <a:lnTo>
                    <a:pt x="172" y="108"/>
                  </a:lnTo>
                  <a:lnTo>
                    <a:pt x="176" y="108"/>
                  </a:lnTo>
                  <a:lnTo>
                    <a:pt x="180" y="108"/>
                  </a:lnTo>
                  <a:lnTo>
                    <a:pt x="176" y="108"/>
                  </a:lnTo>
                  <a:lnTo>
                    <a:pt x="172" y="108"/>
                  </a:lnTo>
                  <a:lnTo>
                    <a:pt x="172" y="104"/>
                  </a:lnTo>
                  <a:lnTo>
                    <a:pt x="176" y="100"/>
                  </a:lnTo>
                  <a:lnTo>
                    <a:pt x="176" y="96"/>
                  </a:lnTo>
                  <a:lnTo>
                    <a:pt x="180" y="96"/>
                  </a:lnTo>
                  <a:lnTo>
                    <a:pt x="176" y="96"/>
                  </a:lnTo>
                  <a:lnTo>
                    <a:pt x="176" y="92"/>
                  </a:lnTo>
                  <a:lnTo>
                    <a:pt x="176" y="88"/>
                  </a:lnTo>
                  <a:lnTo>
                    <a:pt x="176" y="92"/>
                  </a:lnTo>
                  <a:lnTo>
                    <a:pt x="180" y="92"/>
                  </a:lnTo>
                  <a:lnTo>
                    <a:pt x="180" y="88"/>
                  </a:lnTo>
                  <a:lnTo>
                    <a:pt x="180" y="84"/>
                  </a:lnTo>
                  <a:lnTo>
                    <a:pt x="184" y="84"/>
                  </a:lnTo>
                  <a:lnTo>
                    <a:pt x="184" y="80"/>
                  </a:lnTo>
                  <a:lnTo>
                    <a:pt x="188" y="80"/>
                  </a:lnTo>
                  <a:lnTo>
                    <a:pt x="192" y="80"/>
                  </a:lnTo>
                  <a:lnTo>
                    <a:pt x="196" y="80"/>
                  </a:lnTo>
                  <a:lnTo>
                    <a:pt x="200" y="80"/>
                  </a:lnTo>
                  <a:lnTo>
                    <a:pt x="200" y="76"/>
                  </a:lnTo>
                  <a:lnTo>
                    <a:pt x="204" y="76"/>
                  </a:lnTo>
                  <a:lnTo>
                    <a:pt x="208" y="72"/>
                  </a:lnTo>
                  <a:lnTo>
                    <a:pt x="208" y="68"/>
                  </a:lnTo>
                  <a:lnTo>
                    <a:pt x="212" y="64"/>
                  </a:lnTo>
                  <a:lnTo>
                    <a:pt x="212" y="60"/>
                  </a:lnTo>
                  <a:lnTo>
                    <a:pt x="216" y="60"/>
                  </a:lnTo>
                  <a:lnTo>
                    <a:pt x="216" y="56"/>
                  </a:lnTo>
                  <a:lnTo>
                    <a:pt x="220" y="52"/>
                  </a:lnTo>
                  <a:lnTo>
                    <a:pt x="216" y="52"/>
                  </a:lnTo>
                  <a:lnTo>
                    <a:pt x="216" y="48"/>
                  </a:lnTo>
                  <a:lnTo>
                    <a:pt x="220" y="48"/>
                  </a:lnTo>
                  <a:close/>
                  <a:moveTo>
                    <a:pt x="4" y="16"/>
                  </a:moveTo>
                  <a:lnTo>
                    <a:pt x="4" y="20"/>
                  </a:lnTo>
                  <a:lnTo>
                    <a:pt x="0" y="16"/>
                  </a:lnTo>
                  <a:lnTo>
                    <a:pt x="4" y="16"/>
                  </a:lnTo>
                  <a:close/>
                  <a:moveTo>
                    <a:pt x="12" y="36"/>
                  </a:moveTo>
                  <a:lnTo>
                    <a:pt x="8" y="36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2" y="36"/>
                  </a:lnTo>
                  <a:close/>
                  <a:moveTo>
                    <a:pt x="68" y="80"/>
                  </a:moveTo>
                  <a:lnTo>
                    <a:pt x="68" y="84"/>
                  </a:lnTo>
                  <a:lnTo>
                    <a:pt x="72" y="84"/>
                  </a:lnTo>
                  <a:lnTo>
                    <a:pt x="68" y="84"/>
                  </a:lnTo>
                  <a:lnTo>
                    <a:pt x="68" y="8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2" name="Freeform 29"/>
            <p:cNvSpPr>
              <a:spLocks noEditPoints="1"/>
            </p:cNvSpPr>
            <p:nvPr>
              <p:custDataLst>
                <p:tags r:id="rId225"/>
              </p:custDataLst>
            </p:nvPr>
          </p:nvSpPr>
          <p:spPr bwMode="gray">
            <a:xfrm>
              <a:off x="6014847" y="4403156"/>
              <a:ext cx="11865" cy="20762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0" y="40"/>
                </a:cxn>
                <a:cxn ang="0">
                  <a:pos x="0" y="40"/>
                </a:cxn>
                <a:cxn ang="0">
                  <a:pos x="0" y="48"/>
                </a:cxn>
                <a:cxn ang="0">
                  <a:pos x="0" y="48"/>
                </a:cxn>
                <a:cxn ang="0">
                  <a:pos x="0" y="48"/>
                </a:cxn>
                <a:cxn ang="0">
                  <a:pos x="8" y="52"/>
                </a:cxn>
                <a:cxn ang="0">
                  <a:pos x="8" y="52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8" y="76"/>
                </a:cxn>
                <a:cxn ang="0">
                  <a:pos x="8" y="76"/>
                </a:cxn>
                <a:cxn ang="0">
                  <a:pos x="4" y="84"/>
                </a:cxn>
                <a:cxn ang="0">
                  <a:pos x="4" y="88"/>
                </a:cxn>
                <a:cxn ang="0">
                  <a:pos x="4" y="84"/>
                </a:cxn>
                <a:cxn ang="0">
                  <a:pos x="8" y="96"/>
                </a:cxn>
                <a:cxn ang="0">
                  <a:pos x="8" y="96"/>
                </a:cxn>
                <a:cxn ang="0">
                  <a:pos x="8" y="96"/>
                </a:cxn>
                <a:cxn ang="0">
                  <a:pos x="8" y="124"/>
                </a:cxn>
                <a:cxn ang="0">
                  <a:pos x="8" y="124"/>
                </a:cxn>
                <a:cxn ang="0">
                  <a:pos x="0" y="124"/>
                </a:cxn>
                <a:cxn ang="0">
                  <a:pos x="0" y="124"/>
                </a:cxn>
                <a:cxn ang="0">
                  <a:pos x="8" y="136"/>
                </a:cxn>
                <a:cxn ang="0">
                  <a:pos x="8" y="136"/>
                </a:cxn>
                <a:cxn ang="0">
                  <a:pos x="8" y="136"/>
                </a:cxn>
                <a:cxn ang="0">
                  <a:pos x="0" y="140"/>
                </a:cxn>
                <a:cxn ang="0">
                  <a:pos x="0" y="140"/>
                </a:cxn>
                <a:cxn ang="0">
                  <a:pos x="0" y="140"/>
                </a:cxn>
              </a:cxnLst>
              <a:rect l="0" t="0" r="r" b="b"/>
              <a:pathLst>
                <a:path w="8" h="14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4" y="4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0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  <a:moveTo>
                    <a:pt x="0" y="20"/>
                  </a:move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close/>
                  <a:moveTo>
                    <a:pt x="8" y="24"/>
                  </a:moveTo>
                  <a:lnTo>
                    <a:pt x="8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close/>
                  <a:moveTo>
                    <a:pt x="8" y="32"/>
                  </a:move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close/>
                  <a:moveTo>
                    <a:pt x="0" y="40"/>
                  </a:move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close/>
                  <a:moveTo>
                    <a:pt x="0" y="48"/>
                  </a:move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close/>
                  <a:moveTo>
                    <a:pt x="8" y="52"/>
                  </a:move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close/>
                  <a:moveTo>
                    <a:pt x="8" y="68"/>
                  </a:move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close/>
                  <a:moveTo>
                    <a:pt x="0" y="72"/>
                  </a:move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close/>
                  <a:moveTo>
                    <a:pt x="0" y="76"/>
                  </a:move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close/>
                  <a:moveTo>
                    <a:pt x="8" y="76"/>
                  </a:move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close/>
                  <a:moveTo>
                    <a:pt x="4" y="84"/>
                  </a:moveTo>
                  <a:lnTo>
                    <a:pt x="4" y="84"/>
                  </a:lnTo>
                  <a:lnTo>
                    <a:pt x="4" y="84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4"/>
                  </a:lnTo>
                  <a:close/>
                  <a:moveTo>
                    <a:pt x="8" y="96"/>
                  </a:move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close/>
                  <a:moveTo>
                    <a:pt x="8" y="124"/>
                  </a:moveTo>
                  <a:lnTo>
                    <a:pt x="8" y="124"/>
                  </a:lnTo>
                  <a:lnTo>
                    <a:pt x="8" y="124"/>
                  </a:lnTo>
                  <a:lnTo>
                    <a:pt x="8" y="124"/>
                  </a:lnTo>
                  <a:close/>
                  <a:moveTo>
                    <a:pt x="0" y="124"/>
                  </a:moveTo>
                  <a:lnTo>
                    <a:pt x="0" y="124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4"/>
                  </a:lnTo>
                  <a:close/>
                  <a:moveTo>
                    <a:pt x="8" y="136"/>
                  </a:moveTo>
                  <a:lnTo>
                    <a:pt x="8" y="136"/>
                  </a:lnTo>
                  <a:lnTo>
                    <a:pt x="8" y="136"/>
                  </a:lnTo>
                  <a:lnTo>
                    <a:pt x="8" y="136"/>
                  </a:lnTo>
                  <a:lnTo>
                    <a:pt x="8" y="136"/>
                  </a:lnTo>
                  <a:close/>
                  <a:moveTo>
                    <a:pt x="0" y="140"/>
                  </a:move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3" name="Freeform 30"/>
            <p:cNvSpPr>
              <a:spLocks/>
            </p:cNvSpPr>
            <p:nvPr>
              <p:custDataLst>
                <p:tags r:id="rId226"/>
              </p:custDataLst>
            </p:nvPr>
          </p:nvSpPr>
          <p:spPr bwMode="gray">
            <a:xfrm>
              <a:off x="6345570" y="3077297"/>
              <a:ext cx="722252" cy="336655"/>
            </a:xfrm>
            <a:custGeom>
              <a:avLst/>
              <a:gdLst/>
              <a:ahLst/>
              <a:cxnLst>
                <a:cxn ang="0">
                  <a:pos x="427" y="144"/>
                </a:cxn>
                <a:cxn ang="0">
                  <a:pos x="403" y="152"/>
                </a:cxn>
                <a:cxn ang="0">
                  <a:pos x="383" y="160"/>
                </a:cxn>
                <a:cxn ang="0">
                  <a:pos x="359" y="164"/>
                </a:cxn>
                <a:cxn ang="0">
                  <a:pos x="363" y="188"/>
                </a:cxn>
                <a:cxn ang="0">
                  <a:pos x="347" y="200"/>
                </a:cxn>
                <a:cxn ang="0">
                  <a:pos x="331" y="211"/>
                </a:cxn>
                <a:cxn ang="0">
                  <a:pos x="299" y="211"/>
                </a:cxn>
                <a:cxn ang="0">
                  <a:pos x="271" y="223"/>
                </a:cxn>
                <a:cxn ang="0">
                  <a:pos x="243" y="223"/>
                </a:cxn>
                <a:cxn ang="0">
                  <a:pos x="215" y="211"/>
                </a:cxn>
                <a:cxn ang="0">
                  <a:pos x="191" y="204"/>
                </a:cxn>
                <a:cxn ang="0">
                  <a:pos x="163" y="208"/>
                </a:cxn>
                <a:cxn ang="0">
                  <a:pos x="136" y="204"/>
                </a:cxn>
                <a:cxn ang="0">
                  <a:pos x="120" y="188"/>
                </a:cxn>
                <a:cxn ang="0">
                  <a:pos x="104" y="172"/>
                </a:cxn>
                <a:cxn ang="0">
                  <a:pos x="88" y="160"/>
                </a:cxn>
                <a:cxn ang="0">
                  <a:pos x="64" y="156"/>
                </a:cxn>
                <a:cxn ang="0">
                  <a:pos x="44" y="144"/>
                </a:cxn>
                <a:cxn ang="0">
                  <a:pos x="52" y="120"/>
                </a:cxn>
                <a:cxn ang="0">
                  <a:pos x="40" y="104"/>
                </a:cxn>
                <a:cxn ang="0">
                  <a:pos x="28" y="92"/>
                </a:cxn>
                <a:cxn ang="0">
                  <a:pos x="8" y="80"/>
                </a:cxn>
                <a:cxn ang="0">
                  <a:pos x="4" y="64"/>
                </a:cxn>
                <a:cxn ang="0">
                  <a:pos x="20" y="56"/>
                </a:cxn>
                <a:cxn ang="0">
                  <a:pos x="28" y="52"/>
                </a:cxn>
                <a:cxn ang="0">
                  <a:pos x="44" y="40"/>
                </a:cxn>
                <a:cxn ang="0">
                  <a:pos x="60" y="32"/>
                </a:cxn>
                <a:cxn ang="0">
                  <a:pos x="80" y="28"/>
                </a:cxn>
                <a:cxn ang="0">
                  <a:pos x="100" y="36"/>
                </a:cxn>
                <a:cxn ang="0">
                  <a:pos x="116" y="48"/>
                </a:cxn>
                <a:cxn ang="0">
                  <a:pos x="144" y="52"/>
                </a:cxn>
                <a:cxn ang="0">
                  <a:pos x="159" y="40"/>
                </a:cxn>
                <a:cxn ang="0">
                  <a:pos x="156" y="12"/>
                </a:cxn>
                <a:cxn ang="0">
                  <a:pos x="167" y="4"/>
                </a:cxn>
                <a:cxn ang="0">
                  <a:pos x="187" y="8"/>
                </a:cxn>
                <a:cxn ang="0">
                  <a:pos x="211" y="12"/>
                </a:cxn>
                <a:cxn ang="0">
                  <a:pos x="219" y="32"/>
                </a:cxn>
                <a:cxn ang="0">
                  <a:pos x="235" y="44"/>
                </a:cxn>
                <a:cxn ang="0">
                  <a:pos x="259" y="36"/>
                </a:cxn>
                <a:cxn ang="0">
                  <a:pos x="279" y="40"/>
                </a:cxn>
                <a:cxn ang="0">
                  <a:pos x="307" y="48"/>
                </a:cxn>
                <a:cxn ang="0">
                  <a:pos x="327" y="60"/>
                </a:cxn>
                <a:cxn ang="0">
                  <a:pos x="355" y="64"/>
                </a:cxn>
                <a:cxn ang="0">
                  <a:pos x="379" y="56"/>
                </a:cxn>
                <a:cxn ang="0">
                  <a:pos x="395" y="44"/>
                </a:cxn>
                <a:cxn ang="0">
                  <a:pos x="415" y="44"/>
                </a:cxn>
                <a:cxn ang="0">
                  <a:pos x="439" y="48"/>
                </a:cxn>
                <a:cxn ang="0">
                  <a:pos x="427" y="72"/>
                </a:cxn>
                <a:cxn ang="0">
                  <a:pos x="423" y="92"/>
                </a:cxn>
                <a:cxn ang="0">
                  <a:pos x="443" y="96"/>
                </a:cxn>
                <a:cxn ang="0">
                  <a:pos x="467" y="92"/>
                </a:cxn>
                <a:cxn ang="0">
                  <a:pos x="487" y="112"/>
                </a:cxn>
                <a:cxn ang="0">
                  <a:pos x="471" y="116"/>
                </a:cxn>
                <a:cxn ang="0">
                  <a:pos x="451" y="124"/>
                </a:cxn>
              </a:cxnLst>
              <a:rect l="0" t="0" r="r" b="b"/>
              <a:pathLst>
                <a:path w="487" h="227">
                  <a:moveTo>
                    <a:pt x="439" y="128"/>
                  </a:moveTo>
                  <a:lnTo>
                    <a:pt x="435" y="128"/>
                  </a:lnTo>
                  <a:lnTo>
                    <a:pt x="435" y="132"/>
                  </a:lnTo>
                  <a:lnTo>
                    <a:pt x="431" y="136"/>
                  </a:lnTo>
                  <a:lnTo>
                    <a:pt x="431" y="140"/>
                  </a:lnTo>
                  <a:lnTo>
                    <a:pt x="427" y="140"/>
                  </a:lnTo>
                  <a:lnTo>
                    <a:pt x="427" y="144"/>
                  </a:lnTo>
                  <a:lnTo>
                    <a:pt x="423" y="144"/>
                  </a:lnTo>
                  <a:lnTo>
                    <a:pt x="423" y="148"/>
                  </a:lnTo>
                  <a:lnTo>
                    <a:pt x="419" y="148"/>
                  </a:lnTo>
                  <a:lnTo>
                    <a:pt x="415" y="148"/>
                  </a:lnTo>
                  <a:lnTo>
                    <a:pt x="411" y="148"/>
                  </a:lnTo>
                  <a:lnTo>
                    <a:pt x="407" y="148"/>
                  </a:lnTo>
                  <a:lnTo>
                    <a:pt x="403" y="152"/>
                  </a:lnTo>
                  <a:lnTo>
                    <a:pt x="403" y="156"/>
                  </a:lnTo>
                  <a:lnTo>
                    <a:pt x="399" y="156"/>
                  </a:lnTo>
                  <a:lnTo>
                    <a:pt x="395" y="156"/>
                  </a:lnTo>
                  <a:lnTo>
                    <a:pt x="395" y="160"/>
                  </a:lnTo>
                  <a:lnTo>
                    <a:pt x="391" y="160"/>
                  </a:lnTo>
                  <a:lnTo>
                    <a:pt x="387" y="160"/>
                  </a:lnTo>
                  <a:lnTo>
                    <a:pt x="383" y="160"/>
                  </a:lnTo>
                  <a:lnTo>
                    <a:pt x="379" y="160"/>
                  </a:lnTo>
                  <a:lnTo>
                    <a:pt x="375" y="156"/>
                  </a:lnTo>
                  <a:lnTo>
                    <a:pt x="371" y="156"/>
                  </a:lnTo>
                  <a:lnTo>
                    <a:pt x="367" y="156"/>
                  </a:lnTo>
                  <a:lnTo>
                    <a:pt x="363" y="156"/>
                  </a:lnTo>
                  <a:lnTo>
                    <a:pt x="363" y="160"/>
                  </a:lnTo>
                  <a:lnTo>
                    <a:pt x="359" y="164"/>
                  </a:lnTo>
                  <a:lnTo>
                    <a:pt x="359" y="168"/>
                  </a:lnTo>
                  <a:lnTo>
                    <a:pt x="359" y="172"/>
                  </a:lnTo>
                  <a:lnTo>
                    <a:pt x="363" y="176"/>
                  </a:lnTo>
                  <a:lnTo>
                    <a:pt x="367" y="180"/>
                  </a:lnTo>
                  <a:lnTo>
                    <a:pt x="367" y="184"/>
                  </a:lnTo>
                  <a:lnTo>
                    <a:pt x="363" y="184"/>
                  </a:lnTo>
                  <a:lnTo>
                    <a:pt x="363" y="188"/>
                  </a:lnTo>
                  <a:lnTo>
                    <a:pt x="359" y="188"/>
                  </a:lnTo>
                  <a:lnTo>
                    <a:pt x="355" y="188"/>
                  </a:lnTo>
                  <a:lnTo>
                    <a:pt x="355" y="192"/>
                  </a:lnTo>
                  <a:lnTo>
                    <a:pt x="351" y="192"/>
                  </a:lnTo>
                  <a:lnTo>
                    <a:pt x="351" y="196"/>
                  </a:lnTo>
                  <a:lnTo>
                    <a:pt x="347" y="196"/>
                  </a:lnTo>
                  <a:lnTo>
                    <a:pt x="347" y="200"/>
                  </a:lnTo>
                  <a:lnTo>
                    <a:pt x="343" y="200"/>
                  </a:lnTo>
                  <a:lnTo>
                    <a:pt x="343" y="204"/>
                  </a:lnTo>
                  <a:lnTo>
                    <a:pt x="339" y="204"/>
                  </a:lnTo>
                  <a:lnTo>
                    <a:pt x="339" y="208"/>
                  </a:lnTo>
                  <a:lnTo>
                    <a:pt x="335" y="208"/>
                  </a:lnTo>
                  <a:lnTo>
                    <a:pt x="331" y="208"/>
                  </a:lnTo>
                  <a:lnTo>
                    <a:pt x="331" y="211"/>
                  </a:lnTo>
                  <a:lnTo>
                    <a:pt x="327" y="211"/>
                  </a:lnTo>
                  <a:lnTo>
                    <a:pt x="323" y="211"/>
                  </a:lnTo>
                  <a:lnTo>
                    <a:pt x="319" y="211"/>
                  </a:lnTo>
                  <a:lnTo>
                    <a:pt x="315" y="211"/>
                  </a:lnTo>
                  <a:lnTo>
                    <a:pt x="311" y="211"/>
                  </a:lnTo>
                  <a:lnTo>
                    <a:pt x="303" y="211"/>
                  </a:lnTo>
                  <a:lnTo>
                    <a:pt x="299" y="211"/>
                  </a:lnTo>
                  <a:lnTo>
                    <a:pt x="295" y="211"/>
                  </a:lnTo>
                  <a:lnTo>
                    <a:pt x="291" y="211"/>
                  </a:lnTo>
                  <a:lnTo>
                    <a:pt x="287" y="211"/>
                  </a:lnTo>
                  <a:lnTo>
                    <a:pt x="283" y="215"/>
                  </a:lnTo>
                  <a:lnTo>
                    <a:pt x="279" y="219"/>
                  </a:lnTo>
                  <a:lnTo>
                    <a:pt x="275" y="219"/>
                  </a:lnTo>
                  <a:lnTo>
                    <a:pt x="271" y="223"/>
                  </a:lnTo>
                  <a:lnTo>
                    <a:pt x="267" y="223"/>
                  </a:lnTo>
                  <a:lnTo>
                    <a:pt x="263" y="223"/>
                  </a:lnTo>
                  <a:lnTo>
                    <a:pt x="259" y="227"/>
                  </a:lnTo>
                  <a:lnTo>
                    <a:pt x="255" y="227"/>
                  </a:lnTo>
                  <a:lnTo>
                    <a:pt x="255" y="223"/>
                  </a:lnTo>
                  <a:lnTo>
                    <a:pt x="247" y="223"/>
                  </a:lnTo>
                  <a:lnTo>
                    <a:pt x="243" y="223"/>
                  </a:lnTo>
                  <a:lnTo>
                    <a:pt x="235" y="223"/>
                  </a:lnTo>
                  <a:lnTo>
                    <a:pt x="235" y="219"/>
                  </a:lnTo>
                  <a:lnTo>
                    <a:pt x="231" y="219"/>
                  </a:lnTo>
                  <a:lnTo>
                    <a:pt x="227" y="215"/>
                  </a:lnTo>
                  <a:lnTo>
                    <a:pt x="223" y="215"/>
                  </a:lnTo>
                  <a:lnTo>
                    <a:pt x="215" y="215"/>
                  </a:lnTo>
                  <a:lnTo>
                    <a:pt x="215" y="211"/>
                  </a:lnTo>
                  <a:lnTo>
                    <a:pt x="211" y="208"/>
                  </a:lnTo>
                  <a:lnTo>
                    <a:pt x="207" y="208"/>
                  </a:lnTo>
                  <a:lnTo>
                    <a:pt x="203" y="208"/>
                  </a:lnTo>
                  <a:lnTo>
                    <a:pt x="199" y="208"/>
                  </a:lnTo>
                  <a:lnTo>
                    <a:pt x="199" y="204"/>
                  </a:lnTo>
                  <a:lnTo>
                    <a:pt x="195" y="204"/>
                  </a:lnTo>
                  <a:lnTo>
                    <a:pt x="191" y="204"/>
                  </a:lnTo>
                  <a:lnTo>
                    <a:pt x="187" y="208"/>
                  </a:lnTo>
                  <a:lnTo>
                    <a:pt x="183" y="208"/>
                  </a:lnTo>
                  <a:lnTo>
                    <a:pt x="179" y="208"/>
                  </a:lnTo>
                  <a:lnTo>
                    <a:pt x="175" y="208"/>
                  </a:lnTo>
                  <a:lnTo>
                    <a:pt x="171" y="208"/>
                  </a:lnTo>
                  <a:lnTo>
                    <a:pt x="167" y="208"/>
                  </a:lnTo>
                  <a:lnTo>
                    <a:pt x="163" y="208"/>
                  </a:lnTo>
                  <a:lnTo>
                    <a:pt x="159" y="208"/>
                  </a:lnTo>
                  <a:lnTo>
                    <a:pt x="156" y="204"/>
                  </a:lnTo>
                  <a:lnTo>
                    <a:pt x="152" y="204"/>
                  </a:lnTo>
                  <a:lnTo>
                    <a:pt x="148" y="204"/>
                  </a:lnTo>
                  <a:lnTo>
                    <a:pt x="144" y="204"/>
                  </a:lnTo>
                  <a:lnTo>
                    <a:pt x="140" y="204"/>
                  </a:lnTo>
                  <a:lnTo>
                    <a:pt x="136" y="204"/>
                  </a:lnTo>
                  <a:lnTo>
                    <a:pt x="132" y="204"/>
                  </a:lnTo>
                  <a:lnTo>
                    <a:pt x="132" y="200"/>
                  </a:lnTo>
                  <a:lnTo>
                    <a:pt x="128" y="196"/>
                  </a:lnTo>
                  <a:lnTo>
                    <a:pt x="124" y="196"/>
                  </a:lnTo>
                  <a:lnTo>
                    <a:pt x="124" y="192"/>
                  </a:lnTo>
                  <a:lnTo>
                    <a:pt x="124" y="188"/>
                  </a:lnTo>
                  <a:lnTo>
                    <a:pt x="120" y="188"/>
                  </a:lnTo>
                  <a:lnTo>
                    <a:pt x="120" y="184"/>
                  </a:lnTo>
                  <a:lnTo>
                    <a:pt x="120" y="180"/>
                  </a:lnTo>
                  <a:lnTo>
                    <a:pt x="120" y="176"/>
                  </a:lnTo>
                  <a:lnTo>
                    <a:pt x="116" y="176"/>
                  </a:lnTo>
                  <a:lnTo>
                    <a:pt x="116" y="172"/>
                  </a:lnTo>
                  <a:lnTo>
                    <a:pt x="112" y="172"/>
                  </a:lnTo>
                  <a:lnTo>
                    <a:pt x="104" y="172"/>
                  </a:lnTo>
                  <a:lnTo>
                    <a:pt x="104" y="168"/>
                  </a:lnTo>
                  <a:lnTo>
                    <a:pt x="100" y="168"/>
                  </a:lnTo>
                  <a:lnTo>
                    <a:pt x="100" y="164"/>
                  </a:lnTo>
                  <a:lnTo>
                    <a:pt x="96" y="164"/>
                  </a:lnTo>
                  <a:lnTo>
                    <a:pt x="96" y="160"/>
                  </a:lnTo>
                  <a:lnTo>
                    <a:pt x="92" y="160"/>
                  </a:lnTo>
                  <a:lnTo>
                    <a:pt x="88" y="160"/>
                  </a:lnTo>
                  <a:lnTo>
                    <a:pt x="88" y="156"/>
                  </a:lnTo>
                  <a:lnTo>
                    <a:pt x="84" y="156"/>
                  </a:lnTo>
                  <a:lnTo>
                    <a:pt x="80" y="156"/>
                  </a:lnTo>
                  <a:lnTo>
                    <a:pt x="76" y="156"/>
                  </a:lnTo>
                  <a:lnTo>
                    <a:pt x="72" y="156"/>
                  </a:lnTo>
                  <a:lnTo>
                    <a:pt x="68" y="156"/>
                  </a:lnTo>
                  <a:lnTo>
                    <a:pt x="64" y="156"/>
                  </a:lnTo>
                  <a:lnTo>
                    <a:pt x="56" y="156"/>
                  </a:lnTo>
                  <a:lnTo>
                    <a:pt x="56" y="152"/>
                  </a:lnTo>
                  <a:lnTo>
                    <a:pt x="52" y="152"/>
                  </a:lnTo>
                  <a:lnTo>
                    <a:pt x="48" y="152"/>
                  </a:lnTo>
                  <a:lnTo>
                    <a:pt x="48" y="148"/>
                  </a:lnTo>
                  <a:lnTo>
                    <a:pt x="44" y="148"/>
                  </a:lnTo>
                  <a:lnTo>
                    <a:pt x="44" y="144"/>
                  </a:lnTo>
                  <a:lnTo>
                    <a:pt x="44" y="140"/>
                  </a:lnTo>
                  <a:lnTo>
                    <a:pt x="48" y="136"/>
                  </a:lnTo>
                  <a:lnTo>
                    <a:pt x="48" y="132"/>
                  </a:lnTo>
                  <a:lnTo>
                    <a:pt x="48" y="128"/>
                  </a:lnTo>
                  <a:lnTo>
                    <a:pt x="52" y="124"/>
                  </a:lnTo>
                  <a:lnTo>
                    <a:pt x="48" y="120"/>
                  </a:lnTo>
                  <a:lnTo>
                    <a:pt x="52" y="120"/>
                  </a:lnTo>
                  <a:lnTo>
                    <a:pt x="48" y="120"/>
                  </a:lnTo>
                  <a:lnTo>
                    <a:pt x="48" y="116"/>
                  </a:lnTo>
                  <a:lnTo>
                    <a:pt x="48" y="112"/>
                  </a:lnTo>
                  <a:lnTo>
                    <a:pt x="44" y="112"/>
                  </a:lnTo>
                  <a:lnTo>
                    <a:pt x="44" y="108"/>
                  </a:lnTo>
                  <a:lnTo>
                    <a:pt x="40" y="108"/>
                  </a:lnTo>
                  <a:lnTo>
                    <a:pt x="40" y="104"/>
                  </a:lnTo>
                  <a:lnTo>
                    <a:pt x="40" y="100"/>
                  </a:lnTo>
                  <a:lnTo>
                    <a:pt x="40" y="96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96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0" y="72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4" y="64"/>
                  </a:lnTo>
                  <a:lnTo>
                    <a:pt x="8" y="64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12" y="60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20" y="56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24" y="56"/>
                  </a:lnTo>
                  <a:lnTo>
                    <a:pt x="28" y="56"/>
                  </a:lnTo>
                  <a:lnTo>
                    <a:pt x="28" y="52"/>
                  </a:lnTo>
                  <a:lnTo>
                    <a:pt x="32" y="52"/>
                  </a:lnTo>
                  <a:lnTo>
                    <a:pt x="28" y="52"/>
                  </a:lnTo>
                  <a:lnTo>
                    <a:pt x="28" y="48"/>
                  </a:lnTo>
                  <a:lnTo>
                    <a:pt x="32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40" y="44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28"/>
                  </a:lnTo>
                  <a:lnTo>
                    <a:pt x="72" y="28"/>
                  </a:lnTo>
                  <a:lnTo>
                    <a:pt x="76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32"/>
                  </a:lnTo>
                  <a:lnTo>
                    <a:pt x="84" y="32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100" y="32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0" y="44"/>
                  </a:lnTo>
                  <a:lnTo>
                    <a:pt x="104" y="44"/>
                  </a:lnTo>
                  <a:lnTo>
                    <a:pt x="104" y="48"/>
                  </a:lnTo>
                  <a:lnTo>
                    <a:pt x="108" y="44"/>
                  </a:lnTo>
                  <a:lnTo>
                    <a:pt x="112" y="48"/>
                  </a:lnTo>
                  <a:lnTo>
                    <a:pt x="116" y="48"/>
                  </a:lnTo>
                  <a:lnTo>
                    <a:pt x="120" y="48"/>
                  </a:lnTo>
                  <a:lnTo>
                    <a:pt x="124" y="48"/>
                  </a:lnTo>
                  <a:lnTo>
                    <a:pt x="128" y="48"/>
                  </a:lnTo>
                  <a:lnTo>
                    <a:pt x="132" y="48"/>
                  </a:lnTo>
                  <a:lnTo>
                    <a:pt x="136" y="48"/>
                  </a:lnTo>
                  <a:lnTo>
                    <a:pt x="140" y="48"/>
                  </a:lnTo>
                  <a:lnTo>
                    <a:pt x="144" y="52"/>
                  </a:lnTo>
                  <a:lnTo>
                    <a:pt x="148" y="52"/>
                  </a:lnTo>
                  <a:lnTo>
                    <a:pt x="148" y="48"/>
                  </a:lnTo>
                  <a:lnTo>
                    <a:pt x="152" y="48"/>
                  </a:lnTo>
                  <a:lnTo>
                    <a:pt x="156" y="48"/>
                  </a:lnTo>
                  <a:lnTo>
                    <a:pt x="156" y="44"/>
                  </a:lnTo>
                  <a:lnTo>
                    <a:pt x="159" y="44"/>
                  </a:lnTo>
                  <a:lnTo>
                    <a:pt x="159" y="40"/>
                  </a:lnTo>
                  <a:lnTo>
                    <a:pt x="159" y="36"/>
                  </a:lnTo>
                  <a:lnTo>
                    <a:pt x="156" y="32"/>
                  </a:lnTo>
                  <a:lnTo>
                    <a:pt x="156" y="28"/>
                  </a:lnTo>
                  <a:lnTo>
                    <a:pt x="152" y="24"/>
                  </a:lnTo>
                  <a:lnTo>
                    <a:pt x="156" y="20"/>
                  </a:lnTo>
                  <a:lnTo>
                    <a:pt x="156" y="16"/>
                  </a:lnTo>
                  <a:lnTo>
                    <a:pt x="156" y="12"/>
                  </a:lnTo>
                  <a:lnTo>
                    <a:pt x="159" y="12"/>
                  </a:lnTo>
                  <a:lnTo>
                    <a:pt x="159" y="16"/>
                  </a:lnTo>
                  <a:lnTo>
                    <a:pt x="159" y="12"/>
                  </a:lnTo>
                  <a:lnTo>
                    <a:pt x="159" y="8"/>
                  </a:lnTo>
                  <a:lnTo>
                    <a:pt x="163" y="8"/>
                  </a:lnTo>
                  <a:lnTo>
                    <a:pt x="167" y="8"/>
                  </a:lnTo>
                  <a:lnTo>
                    <a:pt x="167" y="4"/>
                  </a:lnTo>
                  <a:lnTo>
                    <a:pt x="167" y="0"/>
                  </a:lnTo>
                  <a:lnTo>
                    <a:pt x="171" y="0"/>
                  </a:lnTo>
                  <a:lnTo>
                    <a:pt x="175" y="4"/>
                  </a:lnTo>
                  <a:lnTo>
                    <a:pt x="179" y="4"/>
                  </a:lnTo>
                  <a:lnTo>
                    <a:pt x="183" y="4"/>
                  </a:lnTo>
                  <a:lnTo>
                    <a:pt x="183" y="8"/>
                  </a:lnTo>
                  <a:lnTo>
                    <a:pt x="187" y="8"/>
                  </a:lnTo>
                  <a:lnTo>
                    <a:pt x="191" y="8"/>
                  </a:lnTo>
                  <a:lnTo>
                    <a:pt x="195" y="8"/>
                  </a:lnTo>
                  <a:lnTo>
                    <a:pt x="199" y="12"/>
                  </a:lnTo>
                  <a:lnTo>
                    <a:pt x="203" y="12"/>
                  </a:lnTo>
                  <a:lnTo>
                    <a:pt x="207" y="16"/>
                  </a:lnTo>
                  <a:lnTo>
                    <a:pt x="207" y="12"/>
                  </a:lnTo>
                  <a:lnTo>
                    <a:pt x="211" y="12"/>
                  </a:lnTo>
                  <a:lnTo>
                    <a:pt x="211" y="16"/>
                  </a:lnTo>
                  <a:lnTo>
                    <a:pt x="215" y="16"/>
                  </a:lnTo>
                  <a:lnTo>
                    <a:pt x="219" y="16"/>
                  </a:lnTo>
                  <a:lnTo>
                    <a:pt x="219" y="20"/>
                  </a:lnTo>
                  <a:lnTo>
                    <a:pt x="219" y="24"/>
                  </a:lnTo>
                  <a:lnTo>
                    <a:pt x="219" y="28"/>
                  </a:lnTo>
                  <a:lnTo>
                    <a:pt x="219" y="32"/>
                  </a:lnTo>
                  <a:lnTo>
                    <a:pt x="219" y="36"/>
                  </a:lnTo>
                  <a:lnTo>
                    <a:pt x="223" y="36"/>
                  </a:lnTo>
                  <a:lnTo>
                    <a:pt x="227" y="36"/>
                  </a:lnTo>
                  <a:lnTo>
                    <a:pt x="227" y="40"/>
                  </a:lnTo>
                  <a:lnTo>
                    <a:pt x="231" y="40"/>
                  </a:lnTo>
                  <a:lnTo>
                    <a:pt x="235" y="40"/>
                  </a:lnTo>
                  <a:lnTo>
                    <a:pt x="235" y="44"/>
                  </a:lnTo>
                  <a:lnTo>
                    <a:pt x="239" y="44"/>
                  </a:lnTo>
                  <a:lnTo>
                    <a:pt x="243" y="44"/>
                  </a:lnTo>
                  <a:lnTo>
                    <a:pt x="247" y="44"/>
                  </a:lnTo>
                  <a:lnTo>
                    <a:pt x="251" y="44"/>
                  </a:lnTo>
                  <a:lnTo>
                    <a:pt x="251" y="40"/>
                  </a:lnTo>
                  <a:lnTo>
                    <a:pt x="255" y="40"/>
                  </a:lnTo>
                  <a:lnTo>
                    <a:pt x="259" y="36"/>
                  </a:lnTo>
                  <a:lnTo>
                    <a:pt x="263" y="40"/>
                  </a:lnTo>
                  <a:lnTo>
                    <a:pt x="263" y="36"/>
                  </a:lnTo>
                  <a:lnTo>
                    <a:pt x="267" y="36"/>
                  </a:lnTo>
                  <a:lnTo>
                    <a:pt x="271" y="36"/>
                  </a:lnTo>
                  <a:lnTo>
                    <a:pt x="275" y="36"/>
                  </a:lnTo>
                  <a:lnTo>
                    <a:pt x="275" y="40"/>
                  </a:lnTo>
                  <a:lnTo>
                    <a:pt x="279" y="40"/>
                  </a:lnTo>
                  <a:lnTo>
                    <a:pt x="283" y="40"/>
                  </a:lnTo>
                  <a:lnTo>
                    <a:pt x="287" y="40"/>
                  </a:lnTo>
                  <a:lnTo>
                    <a:pt x="291" y="44"/>
                  </a:lnTo>
                  <a:lnTo>
                    <a:pt x="295" y="48"/>
                  </a:lnTo>
                  <a:lnTo>
                    <a:pt x="299" y="48"/>
                  </a:lnTo>
                  <a:lnTo>
                    <a:pt x="303" y="48"/>
                  </a:lnTo>
                  <a:lnTo>
                    <a:pt x="307" y="48"/>
                  </a:lnTo>
                  <a:lnTo>
                    <a:pt x="307" y="52"/>
                  </a:lnTo>
                  <a:lnTo>
                    <a:pt x="307" y="56"/>
                  </a:lnTo>
                  <a:lnTo>
                    <a:pt x="311" y="60"/>
                  </a:lnTo>
                  <a:lnTo>
                    <a:pt x="315" y="60"/>
                  </a:lnTo>
                  <a:lnTo>
                    <a:pt x="319" y="60"/>
                  </a:lnTo>
                  <a:lnTo>
                    <a:pt x="323" y="60"/>
                  </a:lnTo>
                  <a:lnTo>
                    <a:pt x="327" y="60"/>
                  </a:lnTo>
                  <a:lnTo>
                    <a:pt x="331" y="64"/>
                  </a:lnTo>
                  <a:lnTo>
                    <a:pt x="335" y="64"/>
                  </a:lnTo>
                  <a:lnTo>
                    <a:pt x="339" y="64"/>
                  </a:lnTo>
                  <a:lnTo>
                    <a:pt x="343" y="64"/>
                  </a:lnTo>
                  <a:lnTo>
                    <a:pt x="347" y="64"/>
                  </a:lnTo>
                  <a:lnTo>
                    <a:pt x="351" y="64"/>
                  </a:lnTo>
                  <a:lnTo>
                    <a:pt x="355" y="64"/>
                  </a:lnTo>
                  <a:lnTo>
                    <a:pt x="355" y="60"/>
                  </a:lnTo>
                  <a:lnTo>
                    <a:pt x="359" y="60"/>
                  </a:lnTo>
                  <a:lnTo>
                    <a:pt x="363" y="60"/>
                  </a:lnTo>
                  <a:lnTo>
                    <a:pt x="367" y="60"/>
                  </a:lnTo>
                  <a:lnTo>
                    <a:pt x="371" y="60"/>
                  </a:lnTo>
                  <a:lnTo>
                    <a:pt x="375" y="56"/>
                  </a:lnTo>
                  <a:lnTo>
                    <a:pt x="379" y="56"/>
                  </a:lnTo>
                  <a:lnTo>
                    <a:pt x="379" y="60"/>
                  </a:lnTo>
                  <a:lnTo>
                    <a:pt x="379" y="56"/>
                  </a:lnTo>
                  <a:lnTo>
                    <a:pt x="383" y="56"/>
                  </a:lnTo>
                  <a:lnTo>
                    <a:pt x="387" y="52"/>
                  </a:lnTo>
                  <a:lnTo>
                    <a:pt x="387" y="48"/>
                  </a:lnTo>
                  <a:lnTo>
                    <a:pt x="391" y="48"/>
                  </a:lnTo>
                  <a:lnTo>
                    <a:pt x="395" y="44"/>
                  </a:lnTo>
                  <a:lnTo>
                    <a:pt x="399" y="44"/>
                  </a:lnTo>
                  <a:lnTo>
                    <a:pt x="399" y="40"/>
                  </a:lnTo>
                  <a:lnTo>
                    <a:pt x="403" y="40"/>
                  </a:lnTo>
                  <a:lnTo>
                    <a:pt x="407" y="40"/>
                  </a:lnTo>
                  <a:lnTo>
                    <a:pt x="411" y="40"/>
                  </a:lnTo>
                  <a:lnTo>
                    <a:pt x="411" y="44"/>
                  </a:lnTo>
                  <a:lnTo>
                    <a:pt x="415" y="44"/>
                  </a:lnTo>
                  <a:lnTo>
                    <a:pt x="415" y="48"/>
                  </a:lnTo>
                  <a:lnTo>
                    <a:pt x="419" y="48"/>
                  </a:lnTo>
                  <a:lnTo>
                    <a:pt x="423" y="48"/>
                  </a:lnTo>
                  <a:lnTo>
                    <a:pt x="427" y="48"/>
                  </a:lnTo>
                  <a:lnTo>
                    <a:pt x="431" y="48"/>
                  </a:lnTo>
                  <a:lnTo>
                    <a:pt x="435" y="48"/>
                  </a:lnTo>
                  <a:lnTo>
                    <a:pt x="439" y="48"/>
                  </a:lnTo>
                  <a:lnTo>
                    <a:pt x="439" y="52"/>
                  </a:lnTo>
                  <a:lnTo>
                    <a:pt x="435" y="56"/>
                  </a:lnTo>
                  <a:lnTo>
                    <a:pt x="435" y="60"/>
                  </a:lnTo>
                  <a:lnTo>
                    <a:pt x="435" y="64"/>
                  </a:lnTo>
                  <a:lnTo>
                    <a:pt x="431" y="64"/>
                  </a:lnTo>
                  <a:lnTo>
                    <a:pt x="431" y="68"/>
                  </a:lnTo>
                  <a:lnTo>
                    <a:pt x="427" y="72"/>
                  </a:lnTo>
                  <a:lnTo>
                    <a:pt x="431" y="72"/>
                  </a:lnTo>
                  <a:lnTo>
                    <a:pt x="427" y="76"/>
                  </a:lnTo>
                  <a:lnTo>
                    <a:pt x="423" y="80"/>
                  </a:lnTo>
                  <a:lnTo>
                    <a:pt x="427" y="84"/>
                  </a:lnTo>
                  <a:lnTo>
                    <a:pt x="423" y="88"/>
                  </a:lnTo>
                  <a:lnTo>
                    <a:pt x="419" y="88"/>
                  </a:lnTo>
                  <a:lnTo>
                    <a:pt x="423" y="92"/>
                  </a:lnTo>
                  <a:lnTo>
                    <a:pt x="427" y="96"/>
                  </a:lnTo>
                  <a:lnTo>
                    <a:pt x="431" y="96"/>
                  </a:lnTo>
                  <a:lnTo>
                    <a:pt x="431" y="92"/>
                  </a:lnTo>
                  <a:lnTo>
                    <a:pt x="435" y="96"/>
                  </a:lnTo>
                  <a:lnTo>
                    <a:pt x="439" y="92"/>
                  </a:lnTo>
                  <a:lnTo>
                    <a:pt x="443" y="92"/>
                  </a:lnTo>
                  <a:lnTo>
                    <a:pt x="443" y="96"/>
                  </a:lnTo>
                  <a:lnTo>
                    <a:pt x="447" y="100"/>
                  </a:lnTo>
                  <a:lnTo>
                    <a:pt x="451" y="96"/>
                  </a:lnTo>
                  <a:lnTo>
                    <a:pt x="451" y="92"/>
                  </a:lnTo>
                  <a:lnTo>
                    <a:pt x="455" y="92"/>
                  </a:lnTo>
                  <a:lnTo>
                    <a:pt x="459" y="92"/>
                  </a:lnTo>
                  <a:lnTo>
                    <a:pt x="463" y="92"/>
                  </a:lnTo>
                  <a:lnTo>
                    <a:pt x="467" y="92"/>
                  </a:lnTo>
                  <a:lnTo>
                    <a:pt x="471" y="96"/>
                  </a:lnTo>
                  <a:lnTo>
                    <a:pt x="475" y="100"/>
                  </a:lnTo>
                  <a:lnTo>
                    <a:pt x="479" y="100"/>
                  </a:lnTo>
                  <a:lnTo>
                    <a:pt x="479" y="104"/>
                  </a:lnTo>
                  <a:lnTo>
                    <a:pt x="479" y="108"/>
                  </a:lnTo>
                  <a:lnTo>
                    <a:pt x="483" y="108"/>
                  </a:lnTo>
                  <a:lnTo>
                    <a:pt x="487" y="112"/>
                  </a:lnTo>
                  <a:lnTo>
                    <a:pt x="487" y="116"/>
                  </a:lnTo>
                  <a:lnTo>
                    <a:pt x="487" y="120"/>
                  </a:lnTo>
                  <a:lnTo>
                    <a:pt x="483" y="120"/>
                  </a:lnTo>
                  <a:lnTo>
                    <a:pt x="479" y="120"/>
                  </a:lnTo>
                  <a:lnTo>
                    <a:pt x="475" y="120"/>
                  </a:lnTo>
                  <a:lnTo>
                    <a:pt x="471" y="120"/>
                  </a:lnTo>
                  <a:lnTo>
                    <a:pt x="471" y="116"/>
                  </a:lnTo>
                  <a:lnTo>
                    <a:pt x="471" y="120"/>
                  </a:lnTo>
                  <a:lnTo>
                    <a:pt x="467" y="120"/>
                  </a:lnTo>
                  <a:lnTo>
                    <a:pt x="463" y="120"/>
                  </a:lnTo>
                  <a:lnTo>
                    <a:pt x="459" y="120"/>
                  </a:lnTo>
                  <a:lnTo>
                    <a:pt x="455" y="120"/>
                  </a:lnTo>
                  <a:lnTo>
                    <a:pt x="455" y="124"/>
                  </a:lnTo>
                  <a:lnTo>
                    <a:pt x="451" y="124"/>
                  </a:lnTo>
                  <a:lnTo>
                    <a:pt x="451" y="120"/>
                  </a:lnTo>
                  <a:lnTo>
                    <a:pt x="451" y="124"/>
                  </a:lnTo>
                  <a:lnTo>
                    <a:pt x="447" y="124"/>
                  </a:lnTo>
                  <a:lnTo>
                    <a:pt x="447" y="128"/>
                  </a:lnTo>
                  <a:lnTo>
                    <a:pt x="443" y="128"/>
                  </a:lnTo>
                  <a:lnTo>
                    <a:pt x="439" y="1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4" name="Freeform 31"/>
            <p:cNvSpPr>
              <a:spLocks noEditPoints="1"/>
            </p:cNvSpPr>
            <p:nvPr>
              <p:custDataLst>
                <p:tags r:id="rId227"/>
              </p:custDataLst>
            </p:nvPr>
          </p:nvSpPr>
          <p:spPr bwMode="gray">
            <a:xfrm>
              <a:off x="6446418" y="3805481"/>
              <a:ext cx="200213" cy="520555"/>
            </a:xfrm>
            <a:custGeom>
              <a:avLst/>
              <a:gdLst/>
              <a:ahLst/>
              <a:cxnLst>
                <a:cxn ang="0">
                  <a:pos x="95" y="335"/>
                </a:cxn>
                <a:cxn ang="0">
                  <a:pos x="95" y="315"/>
                </a:cxn>
                <a:cxn ang="0">
                  <a:pos x="95" y="299"/>
                </a:cxn>
                <a:cxn ang="0">
                  <a:pos x="91" y="279"/>
                </a:cxn>
                <a:cxn ang="0">
                  <a:pos x="84" y="259"/>
                </a:cxn>
                <a:cxn ang="0">
                  <a:pos x="84" y="235"/>
                </a:cxn>
                <a:cxn ang="0">
                  <a:pos x="76" y="215"/>
                </a:cxn>
                <a:cxn ang="0">
                  <a:pos x="68" y="223"/>
                </a:cxn>
                <a:cxn ang="0">
                  <a:pos x="60" y="231"/>
                </a:cxn>
                <a:cxn ang="0">
                  <a:pos x="44" y="239"/>
                </a:cxn>
                <a:cxn ang="0">
                  <a:pos x="40" y="243"/>
                </a:cxn>
                <a:cxn ang="0">
                  <a:pos x="36" y="235"/>
                </a:cxn>
                <a:cxn ang="0">
                  <a:pos x="32" y="223"/>
                </a:cxn>
                <a:cxn ang="0">
                  <a:pos x="32" y="195"/>
                </a:cxn>
                <a:cxn ang="0">
                  <a:pos x="24" y="175"/>
                </a:cxn>
                <a:cxn ang="0">
                  <a:pos x="20" y="163"/>
                </a:cxn>
                <a:cxn ang="0">
                  <a:pos x="12" y="163"/>
                </a:cxn>
                <a:cxn ang="0">
                  <a:pos x="12" y="155"/>
                </a:cxn>
                <a:cxn ang="0">
                  <a:pos x="8" y="155"/>
                </a:cxn>
                <a:cxn ang="0">
                  <a:pos x="4" y="136"/>
                </a:cxn>
                <a:cxn ang="0">
                  <a:pos x="12" y="124"/>
                </a:cxn>
                <a:cxn ang="0">
                  <a:pos x="12" y="108"/>
                </a:cxn>
                <a:cxn ang="0">
                  <a:pos x="16" y="88"/>
                </a:cxn>
                <a:cxn ang="0">
                  <a:pos x="32" y="84"/>
                </a:cxn>
                <a:cxn ang="0">
                  <a:pos x="40" y="56"/>
                </a:cxn>
                <a:cxn ang="0">
                  <a:pos x="48" y="32"/>
                </a:cxn>
                <a:cxn ang="0">
                  <a:pos x="76" y="28"/>
                </a:cxn>
                <a:cxn ang="0">
                  <a:pos x="76" y="4"/>
                </a:cxn>
                <a:cxn ang="0">
                  <a:pos x="91" y="12"/>
                </a:cxn>
                <a:cxn ang="0">
                  <a:pos x="99" y="28"/>
                </a:cxn>
                <a:cxn ang="0">
                  <a:pos x="99" y="52"/>
                </a:cxn>
                <a:cxn ang="0">
                  <a:pos x="84" y="72"/>
                </a:cxn>
                <a:cxn ang="0">
                  <a:pos x="84" y="88"/>
                </a:cxn>
                <a:cxn ang="0">
                  <a:pos x="99" y="88"/>
                </a:cxn>
                <a:cxn ang="0">
                  <a:pos x="111" y="104"/>
                </a:cxn>
                <a:cxn ang="0">
                  <a:pos x="111" y="124"/>
                </a:cxn>
                <a:cxn ang="0">
                  <a:pos x="131" y="132"/>
                </a:cxn>
                <a:cxn ang="0">
                  <a:pos x="123" y="148"/>
                </a:cxn>
                <a:cxn ang="0">
                  <a:pos x="111" y="159"/>
                </a:cxn>
                <a:cxn ang="0">
                  <a:pos x="95" y="167"/>
                </a:cxn>
                <a:cxn ang="0">
                  <a:pos x="84" y="187"/>
                </a:cxn>
                <a:cxn ang="0">
                  <a:pos x="84" y="199"/>
                </a:cxn>
                <a:cxn ang="0">
                  <a:pos x="95" y="219"/>
                </a:cxn>
                <a:cxn ang="0">
                  <a:pos x="95" y="243"/>
                </a:cxn>
                <a:cxn ang="0">
                  <a:pos x="95" y="267"/>
                </a:cxn>
                <a:cxn ang="0">
                  <a:pos x="107" y="287"/>
                </a:cxn>
                <a:cxn ang="0">
                  <a:pos x="111" y="315"/>
                </a:cxn>
                <a:cxn ang="0">
                  <a:pos x="24" y="179"/>
                </a:cxn>
                <a:cxn ang="0">
                  <a:pos x="24" y="175"/>
                </a:cxn>
                <a:cxn ang="0">
                  <a:pos x="28" y="175"/>
                </a:cxn>
                <a:cxn ang="0">
                  <a:pos x="80" y="235"/>
                </a:cxn>
                <a:cxn ang="0">
                  <a:pos x="88" y="307"/>
                </a:cxn>
                <a:cxn ang="0">
                  <a:pos x="24" y="183"/>
                </a:cxn>
                <a:cxn ang="0">
                  <a:pos x="91" y="307"/>
                </a:cxn>
                <a:cxn ang="0">
                  <a:pos x="91" y="315"/>
                </a:cxn>
                <a:cxn ang="0">
                  <a:pos x="91" y="323"/>
                </a:cxn>
              </a:cxnLst>
              <a:rect l="0" t="0" r="r" b="b"/>
              <a:pathLst>
                <a:path w="135" h="351">
                  <a:moveTo>
                    <a:pt x="99" y="335"/>
                  </a:moveTo>
                  <a:lnTo>
                    <a:pt x="99" y="339"/>
                  </a:lnTo>
                  <a:lnTo>
                    <a:pt x="99" y="343"/>
                  </a:lnTo>
                  <a:lnTo>
                    <a:pt x="95" y="347"/>
                  </a:lnTo>
                  <a:lnTo>
                    <a:pt x="95" y="351"/>
                  </a:lnTo>
                  <a:lnTo>
                    <a:pt x="95" y="347"/>
                  </a:lnTo>
                  <a:lnTo>
                    <a:pt x="95" y="343"/>
                  </a:lnTo>
                  <a:lnTo>
                    <a:pt x="95" y="335"/>
                  </a:lnTo>
                  <a:lnTo>
                    <a:pt x="99" y="331"/>
                  </a:lnTo>
                  <a:lnTo>
                    <a:pt x="99" y="327"/>
                  </a:lnTo>
                  <a:lnTo>
                    <a:pt x="99" y="323"/>
                  </a:lnTo>
                  <a:lnTo>
                    <a:pt x="99" y="319"/>
                  </a:lnTo>
                  <a:lnTo>
                    <a:pt x="99" y="315"/>
                  </a:lnTo>
                  <a:lnTo>
                    <a:pt x="99" y="319"/>
                  </a:lnTo>
                  <a:lnTo>
                    <a:pt x="95" y="319"/>
                  </a:lnTo>
                  <a:lnTo>
                    <a:pt x="95" y="315"/>
                  </a:lnTo>
                  <a:lnTo>
                    <a:pt x="99" y="311"/>
                  </a:lnTo>
                  <a:lnTo>
                    <a:pt x="95" y="311"/>
                  </a:lnTo>
                  <a:lnTo>
                    <a:pt x="99" y="307"/>
                  </a:lnTo>
                  <a:lnTo>
                    <a:pt x="95" y="307"/>
                  </a:lnTo>
                  <a:lnTo>
                    <a:pt x="99" y="307"/>
                  </a:lnTo>
                  <a:lnTo>
                    <a:pt x="95" y="307"/>
                  </a:lnTo>
                  <a:lnTo>
                    <a:pt x="95" y="303"/>
                  </a:lnTo>
                  <a:lnTo>
                    <a:pt x="95" y="299"/>
                  </a:lnTo>
                  <a:lnTo>
                    <a:pt x="95" y="295"/>
                  </a:lnTo>
                  <a:lnTo>
                    <a:pt x="95" y="291"/>
                  </a:lnTo>
                  <a:lnTo>
                    <a:pt x="95" y="287"/>
                  </a:lnTo>
                  <a:lnTo>
                    <a:pt x="95" y="283"/>
                  </a:lnTo>
                  <a:lnTo>
                    <a:pt x="91" y="283"/>
                  </a:lnTo>
                  <a:lnTo>
                    <a:pt x="91" y="279"/>
                  </a:lnTo>
                  <a:lnTo>
                    <a:pt x="91" y="275"/>
                  </a:lnTo>
                  <a:lnTo>
                    <a:pt x="91" y="279"/>
                  </a:lnTo>
                  <a:lnTo>
                    <a:pt x="91" y="283"/>
                  </a:lnTo>
                  <a:lnTo>
                    <a:pt x="88" y="283"/>
                  </a:lnTo>
                  <a:lnTo>
                    <a:pt x="88" y="279"/>
                  </a:lnTo>
                  <a:lnTo>
                    <a:pt x="88" y="275"/>
                  </a:lnTo>
                  <a:lnTo>
                    <a:pt x="88" y="271"/>
                  </a:lnTo>
                  <a:lnTo>
                    <a:pt x="88" y="267"/>
                  </a:lnTo>
                  <a:lnTo>
                    <a:pt x="84" y="263"/>
                  </a:lnTo>
                  <a:lnTo>
                    <a:pt x="84" y="259"/>
                  </a:lnTo>
                  <a:lnTo>
                    <a:pt x="84" y="255"/>
                  </a:lnTo>
                  <a:lnTo>
                    <a:pt x="84" y="251"/>
                  </a:lnTo>
                  <a:lnTo>
                    <a:pt x="84" y="247"/>
                  </a:lnTo>
                  <a:lnTo>
                    <a:pt x="84" y="243"/>
                  </a:lnTo>
                  <a:lnTo>
                    <a:pt x="84" y="239"/>
                  </a:lnTo>
                  <a:lnTo>
                    <a:pt x="80" y="239"/>
                  </a:lnTo>
                  <a:lnTo>
                    <a:pt x="80" y="235"/>
                  </a:lnTo>
                  <a:lnTo>
                    <a:pt x="84" y="235"/>
                  </a:lnTo>
                  <a:lnTo>
                    <a:pt x="84" y="231"/>
                  </a:lnTo>
                  <a:lnTo>
                    <a:pt x="80" y="231"/>
                  </a:lnTo>
                  <a:lnTo>
                    <a:pt x="84" y="227"/>
                  </a:lnTo>
                  <a:lnTo>
                    <a:pt x="80" y="227"/>
                  </a:lnTo>
                  <a:lnTo>
                    <a:pt x="76" y="227"/>
                  </a:lnTo>
                  <a:lnTo>
                    <a:pt x="76" y="223"/>
                  </a:lnTo>
                  <a:lnTo>
                    <a:pt x="76" y="219"/>
                  </a:lnTo>
                  <a:lnTo>
                    <a:pt x="76" y="215"/>
                  </a:lnTo>
                  <a:lnTo>
                    <a:pt x="72" y="215"/>
                  </a:lnTo>
                  <a:lnTo>
                    <a:pt x="72" y="211"/>
                  </a:lnTo>
                  <a:lnTo>
                    <a:pt x="72" y="215"/>
                  </a:lnTo>
                  <a:lnTo>
                    <a:pt x="72" y="219"/>
                  </a:lnTo>
                  <a:lnTo>
                    <a:pt x="68" y="219"/>
                  </a:lnTo>
                  <a:lnTo>
                    <a:pt x="68" y="223"/>
                  </a:lnTo>
                  <a:lnTo>
                    <a:pt x="72" y="223"/>
                  </a:lnTo>
                  <a:lnTo>
                    <a:pt x="68" y="223"/>
                  </a:lnTo>
                  <a:lnTo>
                    <a:pt x="68" y="227"/>
                  </a:lnTo>
                  <a:lnTo>
                    <a:pt x="64" y="227"/>
                  </a:lnTo>
                  <a:lnTo>
                    <a:pt x="60" y="227"/>
                  </a:lnTo>
                  <a:lnTo>
                    <a:pt x="60" y="223"/>
                  </a:lnTo>
                  <a:lnTo>
                    <a:pt x="60" y="227"/>
                  </a:lnTo>
                  <a:lnTo>
                    <a:pt x="60" y="231"/>
                  </a:lnTo>
                  <a:lnTo>
                    <a:pt x="56" y="231"/>
                  </a:lnTo>
                  <a:lnTo>
                    <a:pt x="60" y="231"/>
                  </a:lnTo>
                  <a:lnTo>
                    <a:pt x="56" y="235"/>
                  </a:lnTo>
                  <a:lnTo>
                    <a:pt x="52" y="235"/>
                  </a:lnTo>
                  <a:lnTo>
                    <a:pt x="52" y="239"/>
                  </a:lnTo>
                  <a:lnTo>
                    <a:pt x="48" y="243"/>
                  </a:lnTo>
                  <a:lnTo>
                    <a:pt x="48" y="239"/>
                  </a:lnTo>
                  <a:lnTo>
                    <a:pt x="48" y="235"/>
                  </a:lnTo>
                  <a:lnTo>
                    <a:pt x="48" y="239"/>
                  </a:lnTo>
                  <a:lnTo>
                    <a:pt x="44" y="239"/>
                  </a:lnTo>
                  <a:lnTo>
                    <a:pt x="48" y="239"/>
                  </a:lnTo>
                  <a:lnTo>
                    <a:pt x="44" y="239"/>
                  </a:lnTo>
                  <a:lnTo>
                    <a:pt x="44" y="243"/>
                  </a:lnTo>
                  <a:lnTo>
                    <a:pt x="44" y="239"/>
                  </a:lnTo>
                  <a:lnTo>
                    <a:pt x="44" y="235"/>
                  </a:lnTo>
                  <a:lnTo>
                    <a:pt x="44" y="239"/>
                  </a:lnTo>
                  <a:lnTo>
                    <a:pt x="44" y="243"/>
                  </a:lnTo>
                  <a:lnTo>
                    <a:pt x="40" y="243"/>
                  </a:lnTo>
                  <a:lnTo>
                    <a:pt x="40" y="239"/>
                  </a:lnTo>
                  <a:lnTo>
                    <a:pt x="40" y="235"/>
                  </a:lnTo>
                  <a:lnTo>
                    <a:pt x="40" y="239"/>
                  </a:lnTo>
                  <a:lnTo>
                    <a:pt x="36" y="239"/>
                  </a:lnTo>
                  <a:lnTo>
                    <a:pt x="40" y="235"/>
                  </a:lnTo>
                  <a:lnTo>
                    <a:pt x="36" y="235"/>
                  </a:lnTo>
                  <a:lnTo>
                    <a:pt x="36" y="239"/>
                  </a:lnTo>
                  <a:lnTo>
                    <a:pt x="36" y="235"/>
                  </a:lnTo>
                  <a:lnTo>
                    <a:pt x="36" y="231"/>
                  </a:lnTo>
                  <a:lnTo>
                    <a:pt x="36" y="235"/>
                  </a:lnTo>
                  <a:lnTo>
                    <a:pt x="32" y="235"/>
                  </a:lnTo>
                  <a:lnTo>
                    <a:pt x="32" y="239"/>
                  </a:lnTo>
                  <a:lnTo>
                    <a:pt x="28" y="239"/>
                  </a:lnTo>
                  <a:lnTo>
                    <a:pt x="32" y="231"/>
                  </a:lnTo>
                  <a:lnTo>
                    <a:pt x="32" y="227"/>
                  </a:lnTo>
                  <a:lnTo>
                    <a:pt x="32" y="223"/>
                  </a:lnTo>
                  <a:lnTo>
                    <a:pt x="32" y="219"/>
                  </a:lnTo>
                  <a:lnTo>
                    <a:pt x="36" y="215"/>
                  </a:lnTo>
                  <a:lnTo>
                    <a:pt x="36" y="211"/>
                  </a:lnTo>
                  <a:lnTo>
                    <a:pt x="36" y="207"/>
                  </a:lnTo>
                  <a:lnTo>
                    <a:pt x="36" y="203"/>
                  </a:lnTo>
                  <a:lnTo>
                    <a:pt x="32" y="199"/>
                  </a:lnTo>
                  <a:lnTo>
                    <a:pt x="36" y="199"/>
                  </a:lnTo>
                  <a:lnTo>
                    <a:pt x="32" y="195"/>
                  </a:lnTo>
                  <a:lnTo>
                    <a:pt x="32" y="191"/>
                  </a:lnTo>
                  <a:lnTo>
                    <a:pt x="32" y="187"/>
                  </a:lnTo>
                  <a:lnTo>
                    <a:pt x="28" y="183"/>
                  </a:lnTo>
                  <a:lnTo>
                    <a:pt x="28" y="187"/>
                  </a:lnTo>
                  <a:lnTo>
                    <a:pt x="28" y="183"/>
                  </a:lnTo>
                  <a:lnTo>
                    <a:pt x="28" y="179"/>
                  </a:lnTo>
                  <a:lnTo>
                    <a:pt x="24" y="179"/>
                  </a:lnTo>
                  <a:lnTo>
                    <a:pt x="24" y="175"/>
                  </a:lnTo>
                  <a:lnTo>
                    <a:pt x="28" y="175"/>
                  </a:lnTo>
                  <a:lnTo>
                    <a:pt x="24" y="171"/>
                  </a:lnTo>
                  <a:lnTo>
                    <a:pt x="24" y="167"/>
                  </a:lnTo>
                  <a:lnTo>
                    <a:pt x="20" y="167"/>
                  </a:lnTo>
                  <a:lnTo>
                    <a:pt x="24" y="163"/>
                  </a:lnTo>
                  <a:lnTo>
                    <a:pt x="24" y="167"/>
                  </a:lnTo>
                  <a:lnTo>
                    <a:pt x="24" y="163"/>
                  </a:lnTo>
                  <a:lnTo>
                    <a:pt x="20" y="163"/>
                  </a:lnTo>
                  <a:lnTo>
                    <a:pt x="20" y="167"/>
                  </a:lnTo>
                  <a:lnTo>
                    <a:pt x="20" y="163"/>
                  </a:lnTo>
                  <a:lnTo>
                    <a:pt x="16" y="163"/>
                  </a:lnTo>
                  <a:lnTo>
                    <a:pt x="12" y="163"/>
                  </a:lnTo>
                  <a:lnTo>
                    <a:pt x="16" y="163"/>
                  </a:lnTo>
                  <a:lnTo>
                    <a:pt x="16" y="167"/>
                  </a:lnTo>
                  <a:lnTo>
                    <a:pt x="16" y="163"/>
                  </a:lnTo>
                  <a:lnTo>
                    <a:pt x="12" y="163"/>
                  </a:lnTo>
                  <a:lnTo>
                    <a:pt x="12" y="167"/>
                  </a:lnTo>
                  <a:lnTo>
                    <a:pt x="16" y="167"/>
                  </a:lnTo>
                  <a:lnTo>
                    <a:pt x="12" y="167"/>
                  </a:lnTo>
                  <a:lnTo>
                    <a:pt x="12" y="163"/>
                  </a:lnTo>
                  <a:lnTo>
                    <a:pt x="12" y="159"/>
                  </a:lnTo>
                  <a:lnTo>
                    <a:pt x="12" y="155"/>
                  </a:lnTo>
                  <a:lnTo>
                    <a:pt x="12" y="152"/>
                  </a:lnTo>
                  <a:lnTo>
                    <a:pt x="12" y="155"/>
                  </a:lnTo>
                  <a:lnTo>
                    <a:pt x="12" y="159"/>
                  </a:lnTo>
                  <a:lnTo>
                    <a:pt x="8" y="159"/>
                  </a:lnTo>
                  <a:lnTo>
                    <a:pt x="12" y="155"/>
                  </a:lnTo>
                  <a:lnTo>
                    <a:pt x="8" y="155"/>
                  </a:lnTo>
                  <a:lnTo>
                    <a:pt x="8" y="152"/>
                  </a:lnTo>
                  <a:lnTo>
                    <a:pt x="8" y="155"/>
                  </a:lnTo>
                  <a:lnTo>
                    <a:pt x="8" y="159"/>
                  </a:lnTo>
                  <a:lnTo>
                    <a:pt x="8" y="155"/>
                  </a:lnTo>
                  <a:lnTo>
                    <a:pt x="4" y="155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0" y="148"/>
                  </a:lnTo>
                  <a:lnTo>
                    <a:pt x="0" y="144"/>
                  </a:lnTo>
                  <a:lnTo>
                    <a:pt x="0" y="140"/>
                  </a:lnTo>
                  <a:lnTo>
                    <a:pt x="0" y="136"/>
                  </a:lnTo>
                  <a:lnTo>
                    <a:pt x="4" y="136"/>
                  </a:lnTo>
                  <a:lnTo>
                    <a:pt x="4" y="140"/>
                  </a:lnTo>
                  <a:lnTo>
                    <a:pt x="8" y="140"/>
                  </a:lnTo>
                  <a:lnTo>
                    <a:pt x="8" y="136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4" y="128"/>
                  </a:lnTo>
                  <a:lnTo>
                    <a:pt x="8" y="124"/>
                  </a:lnTo>
                  <a:lnTo>
                    <a:pt x="12" y="124"/>
                  </a:lnTo>
                  <a:lnTo>
                    <a:pt x="12" y="120"/>
                  </a:lnTo>
                  <a:lnTo>
                    <a:pt x="12" y="124"/>
                  </a:lnTo>
                  <a:lnTo>
                    <a:pt x="16" y="124"/>
                  </a:lnTo>
                  <a:lnTo>
                    <a:pt x="16" y="120"/>
                  </a:lnTo>
                  <a:lnTo>
                    <a:pt x="16" y="116"/>
                  </a:lnTo>
                  <a:lnTo>
                    <a:pt x="12" y="116"/>
                  </a:lnTo>
                  <a:lnTo>
                    <a:pt x="12" y="112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6" y="104"/>
                  </a:lnTo>
                  <a:lnTo>
                    <a:pt x="16" y="108"/>
                  </a:lnTo>
                  <a:lnTo>
                    <a:pt x="16" y="104"/>
                  </a:lnTo>
                  <a:lnTo>
                    <a:pt x="16" y="100"/>
                  </a:lnTo>
                  <a:lnTo>
                    <a:pt x="20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6" y="88"/>
                  </a:lnTo>
                  <a:lnTo>
                    <a:pt x="20" y="88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28" y="92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68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44" y="56"/>
                  </a:lnTo>
                  <a:lnTo>
                    <a:pt x="44" y="52"/>
                  </a:lnTo>
                  <a:lnTo>
                    <a:pt x="44" y="48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36"/>
                  </a:lnTo>
                  <a:lnTo>
                    <a:pt x="48" y="36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6" y="28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6" y="28"/>
                  </a:lnTo>
                  <a:lnTo>
                    <a:pt x="72" y="24"/>
                  </a:lnTo>
                  <a:lnTo>
                    <a:pt x="72" y="20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76" y="8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8"/>
                  </a:lnTo>
                  <a:lnTo>
                    <a:pt x="88" y="12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5" y="20"/>
                  </a:lnTo>
                  <a:lnTo>
                    <a:pt x="95" y="16"/>
                  </a:lnTo>
                  <a:lnTo>
                    <a:pt x="95" y="20"/>
                  </a:lnTo>
                  <a:lnTo>
                    <a:pt x="99" y="20"/>
                  </a:lnTo>
                  <a:lnTo>
                    <a:pt x="99" y="24"/>
                  </a:lnTo>
                  <a:lnTo>
                    <a:pt x="99" y="28"/>
                  </a:lnTo>
                  <a:lnTo>
                    <a:pt x="99" y="32"/>
                  </a:lnTo>
                  <a:lnTo>
                    <a:pt x="99" y="36"/>
                  </a:lnTo>
                  <a:lnTo>
                    <a:pt x="99" y="40"/>
                  </a:lnTo>
                  <a:lnTo>
                    <a:pt x="99" y="44"/>
                  </a:lnTo>
                  <a:lnTo>
                    <a:pt x="99" y="48"/>
                  </a:lnTo>
                  <a:lnTo>
                    <a:pt x="95" y="48"/>
                  </a:lnTo>
                  <a:lnTo>
                    <a:pt x="95" y="52"/>
                  </a:lnTo>
                  <a:lnTo>
                    <a:pt x="99" y="52"/>
                  </a:lnTo>
                  <a:lnTo>
                    <a:pt x="95" y="52"/>
                  </a:lnTo>
                  <a:lnTo>
                    <a:pt x="95" y="56"/>
                  </a:lnTo>
                  <a:lnTo>
                    <a:pt x="91" y="56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4" y="64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80" y="76"/>
                  </a:lnTo>
                  <a:lnTo>
                    <a:pt x="80" y="80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84" y="88"/>
                  </a:lnTo>
                  <a:lnTo>
                    <a:pt x="84" y="92"/>
                  </a:lnTo>
                  <a:lnTo>
                    <a:pt x="84" y="88"/>
                  </a:lnTo>
                  <a:lnTo>
                    <a:pt x="88" y="88"/>
                  </a:lnTo>
                  <a:lnTo>
                    <a:pt x="88" y="84"/>
                  </a:lnTo>
                  <a:lnTo>
                    <a:pt x="91" y="84"/>
                  </a:lnTo>
                  <a:lnTo>
                    <a:pt x="95" y="84"/>
                  </a:lnTo>
                  <a:lnTo>
                    <a:pt x="99" y="84"/>
                  </a:lnTo>
                  <a:lnTo>
                    <a:pt x="99" y="88"/>
                  </a:lnTo>
                  <a:lnTo>
                    <a:pt x="95" y="88"/>
                  </a:lnTo>
                  <a:lnTo>
                    <a:pt x="99" y="92"/>
                  </a:lnTo>
                  <a:lnTo>
                    <a:pt x="99" y="96"/>
                  </a:lnTo>
                  <a:lnTo>
                    <a:pt x="99" y="100"/>
                  </a:lnTo>
                  <a:lnTo>
                    <a:pt x="99" y="104"/>
                  </a:lnTo>
                  <a:lnTo>
                    <a:pt x="103" y="104"/>
                  </a:lnTo>
                  <a:lnTo>
                    <a:pt x="107" y="104"/>
                  </a:lnTo>
                  <a:lnTo>
                    <a:pt x="111" y="104"/>
                  </a:lnTo>
                  <a:lnTo>
                    <a:pt x="111" y="108"/>
                  </a:lnTo>
                  <a:lnTo>
                    <a:pt x="107" y="108"/>
                  </a:lnTo>
                  <a:lnTo>
                    <a:pt x="107" y="112"/>
                  </a:lnTo>
                  <a:lnTo>
                    <a:pt x="107" y="116"/>
                  </a:lnTo>
                  <a:lnTo>
                    <a:pt x="107" y="120"/>
                  </a:lnTo>
                  <a:lnTo>
                    <a:pt x="103" y="124"/>
                  </a:lnTo>
                  <a:lnTo>
                    <a:pt x="107" y="124"/>
                  </a:lnTo>
                  <a:lnTo>
                    <a:pt x="111" y="124"/>
                  </a:lnTo>
                  <a:lnTo>
                    <a:pt x="115" y="124"/>
                  </a:lnTo>
                  <a:lnTo>
                    <a:pt x="115" y="128"/>
                  </a:lnTo>
                  <a:lnTo>
                    <a:pt x="115" y="132"/>
                  </a:lnTo>
                  <a:lnTo>
                    <a:pt x="119" y="132"/>
                  </a:lnTo>
                  <a:lnTo>
                    <a:pt x="119" y="136"/>
                  </a:lnTo>
                  <a:lnTo>
                    <a:pt x="123" y="136"/>
                  </a:lnTo>
                  <a:lnTo>
                    <a:pt x="127" y="136"/>
                  </a:lnTo>
                  <a:lnTo>
                    <a:pt x="131" y="132"/>
                  </a:lnTo>
                  <a:lnTo>
                    <a:pt x="135" y="132"/>
                  </a:lnTo>
                  <a:lnTo>
                    <a:pt x="135" y="136"/>
                  </a:lnTo>
                  <a:lnTo>
                    <a:pt x="131" y="136"/>
                  </a:lnTo>
                  <a:lnTo>
                    <a:pt x="131" y="140"/>
                  </a:lnTo>
                  <a:lnTo>
                    <a:pt x="127" y="140"/>
                  </a:lnTo>
                  <a:lnTo>
                    <a:pt x="127" y="144"/>
                  </a:lnTo>
                  <a:lnTo>
                    <a:pt x="123" y="144"/>
                  </a:lnTo>
                  <a:lnTo>
                    <a:pt x="123" y="148"/>
                  </a:lnTo>
                  <a:lnTo>
                    <a:pt x="127" y="148"/>
                  </a:lnTo>
                  <a:lnTo>
                    <a:pt x="123" y="148"/>
                  </a:lnTo>
                  <a:lnTo>
                    <a:pt x="119" y="148"/>
                  </a:lnTo>
                  <a:lnTo>
                    <a:pt x="119" y="152"/>
                  </a:lnTo>
                  <a:lnTo>
                    <a:pt x="119" y="155"/>
                  </a:lnTo>
                  <a:lnTo>
                    <a:pt x="115" y="155"/>
                  </a:lnTo>
                  <a:lnTo>
                    <a:pt x="111" y="155"/>
                  </a:lnTo>
                  <a:lnTo>
                    <a:pt x="111" y="159"/>
                  </a:lnTo>
                  <a:lnTo>
                    <a:pt x="107" y="159"/>
                  </a:lnTo>
                  <a:lnTo>
                    <a:pt x="107" y="163"/>
                  </a:lnTo>
                  <a:lnTo>
                    <a:pt x="107" y="159"/>
                  </a:lnTo>
                  <a:lnTo>
                    <a:pt x="103" y="159"/>
                  </a:lnTo>
                  <a:lnTo>
                    <a:pt x="103" y="163"/>
                  </a:lnTo>
                  <a:lnTo>
                    <a:pt x="103" y="167"/>
                  </a:lnTo>
                  <a:lnTo>
                    <a:pt x="99" y="167"/>
                  </a:lnTo>
                  <a:lnTo>
                    <a:pt x="95" y="167"/>
                  </a:lnTo>
                  <a:lnTo>
                    <a:pt x="91" y="167"/>
                  </a:lnTo>
                  <a:lnTo>
                    <a:pt x="88" y="167"/>
                  </a:lnTo>
                  <a:lnTo>
                    <a:pt x="88" y="171"/>
                  </a:lnTo>
                  <a:lnTo>
                    <a:pt x="84" y="171"/>
                  </a:lnTo>
                  <a:lnTo>
                    <a:pt x="84" y="175"/>
                  </a:lnTo>
                  <a:lnTo>
                    <a:pt x="84" y="179"/>
                  </a:lnTo>
                  <a:lnTo>
                    <a:pt x="84" y="183"/>
                  </a:lnTo>
                  <a:lnTo>
                    <a:pt x="84" y="187"/>
                  </a:lnTo>
                  <a:lnTo>
                    <a:pt x="84" y="191"/>
                  </a:lnTo>
                  <a:lnTo>
                    <a:pt x="80" y="191"/>
                  </a:lnTo>
                  <a:lnTo>
                    <a:pt x="76" y="191"/>
                  </a:lnTo>
                  <a:lnTo>
                    <a:pt x="80" y="191"/>
                  </a:lnTo>
                  <a:lnTo>
                    <a:pt x="80" y="195"/>
                  </a:lnTo>
                  <a:lnTo>
                    <a:pt x="84" y="195"/>
                  </a:lnTo>
                  <a:lnTo>
                    <a:pt x="80" y="195"/>
                  </a:lnTo>
                  <a:lnTo>
                    <a:pt x="84" y="199"/>
                  </a:lnTo>
                  <a:lnTo>
                    <a:pt x="84" y="203"/>
                  </a:lnTo>
                  <a:lnTo>
                    <a:pt x="84" y="207"/>
                  </a:lnTo>
                  <a:lnTo>
                    <a:pt x="88" y="207"/>
                  </a:lnTo>
                  <a:lnTo>
                    <a:pt x="88" y="211"/>
                  </a:lnTo>
                  <a:lnTo>
                    <a:pt x="88" y="215"/>
                  </a:lnTo>
                  <a:lnTo>
                    <a:pt x="91" y="215"/>
                  </a:lnTo>
                  <a:lnTo>
                    <a:pt x="91" y="219"/>
                  </a:lnTo>
                  <a:lnTo>
                    <a:pt x="95" y="219"/>
                  </a:lnTo>
                  <a:lnTo>
                    <a:pt x="95" y="223"/>
                  </a:lnTo>
                  <a:lnTo>
                    <a:pt x="95" y="227"/>
                  </a:lnTo>
                  <a:lnTo>
                    <a:pt x="95" y="231"/>
                  </a:lnTo>
                  <a:lnTo>
                    <a:pt x="99" y="231"/>
                  </a:lnTo>
                  <a:lnTo>
                    <a:pt x="99" y="235"/>
                  </a:lnTo>
                  <a:lnTo>
                    <a:pt x="95" y="235"/>
                  </a:lnTo>
                  <a:lnTo>
                    <a:pt x="95" y="239"/>
                  </a:lnTo>
                  <a:lnTo>
                    <a:pt x="95" y="243"/>
                  </a:lnTo>
                  <a:lnTo>
                    <a:pt x="95" y="247"/>
                  </a:lnTo>
                  <a:lnTo>
                    <a:pt x="95" y="251"/>
                  </a:lnTo>
                  <a:lnTo>
                    <a:pt x="91" y="251"/>
                  </a:lnTo>
                  <a:lnTo>
                    <a:pt x="91" y="255"/>
                  </a:lnTo>
                  <a:lnTo>
                    <a:pt x="91" y="259"/>
                  </a:lnTo>
                  <a:lnTo>
                    <a:pt x="91" y="263"/>
                  </a:lnTo>
                  <a:lnTo>
                    <a:pt x="95" y="263"/>
                  </a:lnTo>
                  <a:lnTo>
                    <a:pt x="95" y="267"/>
                  </a:lnTo>
                  <a:lnTo>
                    <a:pt x="95" y="271"/>
                  </a:lnTo>
                  <a:lnTo>
                    <a:pt x="99" y="271"/>
                  </a:lnTo>
                  <a:lnTo>
                    <a:pt x="99" y="275"/>
                  </a:lnTo>
                  <a:lnTo>
                    <a:pt x="103" y="275"/>
                  </a:lnTo>
                  <a:lnTo>
                    <a:pt x="103" y="279"/>
                  </a:lnTo>
                  <a:lnTo>
                    <a:pt x="103" y="283"/>
                  </a:lnTo>
                  <a:lnTo>
                    <a:pt x="103" y="287"/>
                  </a:lnTo>
                  <a:lnTo>
                    <a:pt x="107" y="287"/>
                  </a:lnTo>
                  <a:lnTo>
                    <a:pt x="107" y="291"/>
                  </a:lnTo>
                  <a:lnTo>
                    <a:pt x="103" y="291"/>
                  </a:lnTo>
                  <a:lnTo>
                    <a:pt x="107" y="299"/>
                  </a:lnTo>
                  <a:lnTo>
                    <a:pt x="107" y="303"/>
                  </a:lnTo>
                  <a:lnTo>
                    <a:pt x="107" y="307"/>
                  </a:lnTo>
                  <a:lnTo>
                    <a:pt x="111" y="307"/>
                  </a:lnTo>
                  <a:lnTo>
                    <a:pt x="111" y="311"/>
                  </a:lnTo>
                  <a:lnTo>
                    <a:pt x="111" y="315"/>
                  </a:lnTo>
                  <a:lnTo>
                    <a:pt x="111" y="319"/>
                  </a:lnTo>
                  <a:lnTo>
                    <a:pt x="107" y="319"/>
                  </a:lnTo>
                  <a:lnTo>
                    <a:pt x="107" y="323"/>
                  </a:lnTo>
                  <a:lnTo>
                    <a:pt x="107" y="327"/>
                  </a:lnTo>
                  <a:lnTo>
                    <a:pt x="103" y="331"/>
                  </a:lnTo>
                  <a:lnTo>
                    <a:pt x="99" y="335"/>
                  </a:lnTo>
                  <a:close/>
                  <a:moveTo>
                    <a:pt x="24" y="175"/>
                  </a:moveTo>
                  <a:lnTo>
                    <a:pt x="24" y="179"/>
                  </a:lnTo>
                  <a:lnTo>
                    <a:pt x="28" y="179"/>
                  </a:lnTo>
                  <a:lnTo>
                    <a:pt x="28" y="183"/>
                  </a:lnTo>
                  <a:lnTo>
                    <a:pt x="24" y="183"/>
                  </a:lnTo>
                  <a:lnTo>
                    <a:pt x="20" y="179"/>
                  </a:lnTo>
                  <a:lnTo>
                    <a:pt x="20" y="175"/>
                  </a:lnTo>
                  <a:lnTo>
                    <a:pt x="24" y="175"/>
                  </a:lnTo>
                  <a:lnTo>
                    <a:pt x="24" y="179"/>
                  </a:lnTo>
                  <a:lnTo>
                    <a:pt x="24" y="175"/>
                  </a:lnTo>
                  <a:close/>
                  <a:moveTo>
                    <a:pt x="8" y="155"/>
                  </a:moveTo>
                  <a:lnTo>
                    <a:pt x="8" y="159"/>
                  </a:lnTo>
                  <a:lnTo>
                    <a:pt x="8" y="155"/>
                  </a:lnTo>
                  <a:close/>
                  <a:moveTo>
                    <a:pt x="20" y="163"/>
                  </a:moveTo>
                  <a:lnTo>
                    <a:pt x="20" y="167"/>
                  </a:lnTo>
                  <a:lnTo>
                    <a:pt x="16" y="163"/>
                  </a:lnTo>
                  <a:lnTo>
                    <a:pt x="20" y="163"/>
                  </a:lnTo>
                  <a:close/>
                  <a:moveTo>
                    <a:pt x="28" y="175"/>
                  </a:moveTo>
                  <a:lnTo>
                    <a:pt x="24" y="175"/>
                  </a:lnTo>
                  <a:lnTo>
                    <a:pt x="20" y="175"/>
                  </a:lnTo>
                  <a:lnTo>
                    <a:pt x="20" y="171"/>
                  </a:lnTo>
                  <a:lnTo>
                    <a:pt x="24" y="171"/>
                  </a:lnTo>
                  <a:lnTo>
                    <a:pt x="28" y="175"/>
                  </a:lnTo>
                  <a:close/>
                  <a:moveTo>
                    <a:pt x="80" y="227"/>
                  </a:moveTo>
                  <a:lnTo>
                    <a:pt x="80" y="231"/>
                  </a:lnTo>
                  <a:lnTo>
                    <a:pt x="80" y="235"/>
                  </a:lnTo>
                  <a:lnTo>
                    <a:pt x="80" y="231"/>
                  </a:lnTo>
                  <a:lnTo>
                    <a:pt x="80" y="227"/>
                  </a:lnTo>
                  <a:close/>
                  <a:moveTo>
                    <a:pt x="36" y="235"/>
                  </a:moveTo>
                  <a:lnTo>
                    <a:pt x="36" y="239"/>
                  </a:lnTo>
                  <a:lnTo>
                    <a:pt x="32" y="239"/>
                  </a:lnTo>
                  <a:lnTo>
                    <a:pt x="36" y="235"/>
                  </a:lnTo>
                  <a:close/>
                  <a:moveTo>
                    <a:pt x="88" y="311"/>
                  </a:moveTo>
                  <a:lnTo>
                    <a:pt x="88" y="307"/>
                  </a:lnTo>
                  <a:lnTo>
                    <a:pt x="88" y="311"/>
                  </a:lnTo>
                  <a:close/>
                  <a:moveTo>
                    <a:pt x="91" y="351"/>
                  </a:moveTo>
                  <a:lnTo>
                    <a:pt x="88" y="351"/>
                  </a:lnTo>
                  <a:lnTo>
                    <a:pt x="91" y="351"/>
                  </a:lnTo>
                  <a:lnTo>
                    <a:pt x="91" y="347"/>
                  </a:lnTo>
                  <a:lnTo>
                    <a:pt x="91" y="351"/>
                  </a:lnTo>
                  <a:close/>
                  <a:moveTo>
                    <a:pt x="20" y="183"/>
                  </a:moveTo>
                  <a:lnTo>
                    <a:pt x="24" y="183"/>
                  </a:lnTo>
                  <a:lnTo>
                    <a:pt x="24" y="187"/>
                  </a:lnTo>
                  <a:lnTo>
                    <a:pt x="20" y="187"/>
                  </a:lnTo>
                  <a:lnTo>
                    <a:pt x="20" y="183"/>
                  </a:lnTo>
                  <a:close/>
                  <a:moveTo>
                    <a:pt x="91" y="307"/>
                  </a:moveTo>
                  <a:lnTo>
                    <a:pt x="91" y="303"/>
                  </a:lnTo>
                  <a:lnTo>
                    <a:pt x="91" y="299"/>
                  </a:lnTo>
                  <a:lnTo>
                    <a:pt x="95" y="303"/>
                  </a:lnTo>
                  <a:lnTo>
                    <a:pt x="91" y="307"/>
                  </a:lnTo>
                  <a:close/>
                  <a:moveTo>
                    <a:pt x="88" y="307"/>
                  </a:moveTo>
                  <a:lnTo>
                    <a:pt x="88" y="303"/>
                  </a:lnTo>
                  <a:lnTo>
                    <a:pt x="88" y="307"/>
                  </a:lnTo>
                  <a:close/>
                  <a:moveTo>
                    <a:pt x="95" y="311"/>
                  </a:moveTo>
                  <a:lnTo>
                    <a:pt x="95" y="315"/>
                  </a:lnTo>
                  <a:lnTo>
                    <a:pt x="95" y="311"/>
                  </a:lnTo>
                  <a:close/>
                  <a:moveTo>
                    <a:pt x="91" y="319"/>
                  </a:moveTo>
                  <a:lnTo>
                    <a:pt x="91" y="315"/>
                  </a:lnTo>
                  <a:lnTo>
                    <a:pt x="95" y="315"/>
                  </a:lnTo>
                  <a:lnTo>
                    <a:pt x="95" y="319"/>
                  </a:lnTo>
                  <a:lnTo>
                    <a:pt x="91" y="319"/>
                  </a:lnTo>
                  <a:close/>
                  <a:moveTo>
                    <a:pt x="91" y="323"/>
                  </a:moveTo>
                  <a:lnTo>
                    <a:pt x="91" y="319"/>
                  </a:lnTo>
                  <a:lnTo>
                    <a:pt x="91" y="315"/>
                  </a:lnTo>
                  <a:lnTo>
                    <a:pt x="91" y="319"/>
                  </a:lnTo>
                  <a:lnTo>
                    <a:pt x="91" y="323"/>
                  </a:lnTo>
                  <a:close/>
                  <a:moveTo>
                    <a:pt x="91" y="335"/>
                  </a:moveTo>
                  <a:lnTo>
                    <a:pt x="88" y="331"/>
                  </a:lnTo>
                  <a:lnTo>
                    <a:pt x="88" y="335"/>
                  </a:lnTo>
                  <a:lnTo>
                    <a:pt x="88" y="331"/>
                  </a:lnTo>
                  <a:lnTo>
                    <a:pt x="91" y="331"/>
                  </a:lnTo>
                  <a:lnTo>
                    <a:pt x="91" y="33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5" name="Freeform 32"/>
            <p:cNvSpPr>
              <a:spLocks/>
            </p:cNvSpPr>
            <p:nvPr>
              <p:custDataLst>
                <p:tags r:id="rId228"/>
              </p:custDataLst>
            </p:nvPr>
          </p:nvSpPr>
          <p:spPr bwMode="gray">
            <a:xfrm>
              <a:off x="6173534" y="3752091"/>
              <a:ext cx="183900" cy="118645"/>
            </a:xfrm>
            <a:custGeom>
              <a:avLst/>
              <a:gdLst/>
              <a:ahLst/>
              <a:cxnLst>
                <a:cxn ang="0">
                  <a:pos x="36" y="52"/>
                </a:cxn>
                <a:cxn ang="0">
                  <a:pos x="32" y="48"/>
                </a:cxn>
                <a:cxn ang="0">
                  <a:pos x="28" y="48"/>
                </a:cxn>
                <a:cxn ang="0">
                  <a:pos x="20" y="44"/>
                </a:cxn>
                <a:cxn ang="0">
                  <a:pos x="16" y="40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8" y="0"/>
                </a:cxn>
                <a:cxn ang="0">
                  <a:pos x="36" y="8"/>
                </a:cxn>
                <a:cxn ang="0">
                  <a:pos x="44" y="12"/>
                </a:cxn>
                <a:cxn ang="0">
                  <a:pos x="48" y="16"/>
                </a:cxn>
                <a:cxn ang="0">
                  <a:pos x="52" y="24"/>
                </a:cxn>
                <a:cxn ang="0">
                  <a:pos x="56" y="24"/>
                </a:cxn>
                <a:cxn ang="0">
                  <a:pos x="60" y="24"/>
                </a:cxn>
                <a:cxn ang="0">
                  <a:pos x="64" y="28"/>
                </a:cxn>
                <a:cxn ang="0">
                  <a:pos x="68" y="32"/>
                </a:cxn>
                <a:cxn ang="0">
                  <a:pos x="72" y="36"/>
                </a:cxn>
                <a:cxn ang="0">
                  <a:pos x="76" y="36"/>
                </a:cxn>
                <a:cxn ang="0">
                  <a:pos x="76" y="40"/>
                </a:cxn>
                <a:cxn ang="0">
                  <a:pos x="80" y="40"/>
                </a:cxn>
                <a:cxn ang="0">
                  <a:pos x="88" y="44"/>
                </a:cxn>
                <a:cxn ang="0">
                  <a:pos x="88" y="48"/>
                </a:cxn>
                <a:cxn ang="0">
                  <a:pos x="92" y="44"/>
                </a:cxn>
                <a:cxn ang="0">
                  <a:pos x="96" y="48"/>
                </a:cxn>
                <a:cxn ang="0">
                  <a:pos x="100" y="44"/>
                </a:cxn>
                <a:cxn ang="0">
                  <a:pos x="104" y="48"/>
                </a:cxn>
                <a:cxn ang="0">
                  <a:pos x="108" y="48"/>
                </a:cxn>
                <a:cxn ang="0">
                  <a:pos x="116" y="52"/>
                </a:cxn>
                <a:cxn ang="0">
                  <a:pos x="116" y="48"/>
                </a:cxn>
                <a:cxn ang="0">
                  <a:pos x="120" y="48"/>
                </a:cxn>
                <a:cxn ang="0">
                  <a:pos x="124" y="52"/>
                </a:cxn>
                <a:cxn ang="0">
                  <a:pos x="120" y="60"/>
                </a:cxn>
                <a:cxn ang="0">
                  <a:pos x="120" y="68"/>
                </a:cxn>
                <a:cxn ang="0">
                  <a:pos x="120" y="76"/>
                </a:cxn>
                <a:cxn ang="0">
                  <a:pos x="120" y="76"/>
                </a:cxn>
                <a:cxn ang="0">
                  <a:pos x="116" y="76"/>
                </a:cxn>
                <a:cxn ang="0">
                  <a:pos x="112" y="76"/>
                </a:cxn>
                <a:cxn ang="0">
                  <a:pos x="104" y="76"/>
                </a:cxn>
                <a:cxn ang="0">
                  <a:pos x="96" y="76"/>
                </a:cxn>
                <a:cxn ang="0">
                  <a:pos x="92" y="72"/>
                </a:cxn>
                <a:cxn ang="0">
                  <a:pos x="84" y="72"/>
                </a:cxn>
                <a:cxn ang="0">
                  <a:pos x="84" y="68"/>
                </a:cxn>
                <a:cxn ang="0">
                  <a:pos x="80" y="72"/>
                </a:cxn>
                <a:cxn ang="0">
                  <a:pos x="72" y="64"/>
                </a:cxn>
                <a:cxn ang="0">
                  <a:pos x="68" y="64"/>
                </a:cxn>
                <a:cxn ang="0">
                  <a:pos x="68" y="60"/>
                </a:cxn>
                <a:cxn ang="0">
                  <a:pos x="60" y="56"/>
                </a:cxn>
                <a:cxn ang="0">
                  <a:pos x="56" y="60"/>
                </a:cxn>
                <a:cxn ang="0">
                  <a:pos x="52" y="56"/>
                </a:cxn>
                <a:cxn ang="0">
                  <a:pos x="48" y="60"/>
                </a:cxn>
                <a:cxn ang="0">
                  <a:pos x="48" y="56"/>
                </a:cxn>
                <a:cxn ang="0">
                  <a:pos x="40" y="56"/>
                </a:cxn>
              </a:cxnLst>
              <a:rect l="0" t="0" r="r" b="b"/>
              <a:pathLst>
                <a:path w="124" h="80">
                  <a:moveTo>
                    <a:pt x="40" y="52"/>
                  </a:moveTo>
                  <a:lnTo>
                    <a:pt x="40" y="52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2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52"/>
                  </a:lnTo>
                  <a:lnTo>
                    <a:pt x="116" y="52"/>
                  </a:lnTo>
                  <a:lnTo>
                    <a:pt x="116" y="48"/>
                  </a:lnTo>
                  <a:lnTo>
                    <a:pt x="116" y="52"/>
                  </a:lnTo>
                  <a:lnTo>
                    <a:pt x="116" y="52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4" y="48"/>
                  </a:lnTo>
                  <a:lnTo>
                    <a:pt x="124" y="48"/>
                  </a:lnTo>
                  <a:lnTo>
                    <a:pt x="124" y="52"/>
                  </a:lnTo>
                  <a:lnTo>
                    <a:pt x="124" y="52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8"/>
                  </a:lnTo>
                  <a:lnTo>
                    <a:pt x="124" y="68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80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96" y="76"/>
                  </a:lnTo>
                  <a:lnTo>
                    <a:pt x="96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6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0" y="68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68"/>
                  </a:lnTo>
                  <a:lnTo>
                    <a:pt x="72" y="68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6" name="Freeform 33"/>
            <p:cNvSpPr>
              <a:spLocks/>
            </p:cNvSpPr>
            <p:nvPr>
              <p:custDataLst>
                <p:tags r:id="rId229"/>
              </p:custDataLst>
            </p:nvPr>
          </p:nvSpPr>
          <p:spPr bwMode="gray">
            <a:xfrm>
              <a:off x="7167187" y="3373910"/>
              <a:ext cx="142374" cy="158687"/>
            </a:xfrm>
            <a:custGeom>
              <a:avLst/>
              <a:gdLst/>
              <a:ahLst/>
              <a:cxnLst>
                <a:cxn ang="0">
                  <a:pos x="48" y="79"/>
                </a:cxn>
                <a:cxn ang="0">
                  <a:pos x="56" y="83"/>
                </a:cxn>
                <a:cxn ang="0">
                  <a:pos x="60" y="87"/>
                </a:cxn>
                <a:cxn ang="0">
                  <a:pos x="60" y="91"/>
                </a:cxn>
                <a:cxn ang="0">
                  <a:pos x="60" y="95"/>
                </a:cxn>
                <a:cxn ang="0">
                  <a:pos x="56" y="95"/>
                </a:cxn>
                <a:cxn ang="0">
                  <a:pos x="44" y="95"/>
                </a:cxn>
                <a:cxn ang="0">
                  <a:pos x="40" y="99"/>
                </a:cxn>
                <a:cxn ang="0">
                  <a:pos x="36" y="107"/>
                </a:cxn>
                <a:cxn ang="0">
                  <a:pos x="28" y="103"/>
                </a:cxn>
                <a:cxn ang="0">
                  <a:pos x="24" y="107"/>
                </a:cxn>
                <a:cxn ang="0">
                  <a:pos x="20" y="103"/>
                </a:cxn>
                <a:cxn ang="0">
                  <a:pos x="20" y="103"/>
                </a:cxn>
                <a:cxn ang="0">
                  <a:pos x="16" y="107"/>
                </a:cxn>
                <a:cxn ang="0">
                  <a:pos x="16" y="103"/>
                </a:cxn>
                <a:cxn ang="0">
                  <a:pos x="12" y="103"/>
                </a:cxn>
                <a:cxn ang="0">
                  <a:pos x="12" y="103"/>
                </a:cxn>
                <a:cxn ang="0">
                  <a:pos x="12" y="99"/>
                </a:cxn>
                <a:cxn ang="0">
                  <a:pos x="4" y="99"/>
                </a:cxn>
                <a:cxn ang="0">
                  <a:pos x="8" y="91"/>
                </a:cxn>
                <a:cxn ang="0">
                  <a:pos x="16" y="87"/>
                </a:cxn>
                <a:cxn ang="0">
                  <a:pos x="20" y="91"/>
                </a:cxn>
                <a:cxn ang="0">
                  <a:pos x="12" y="87"/>
                </a:cxn>
                <a:cxn ang="0">
                  <a:pos x="12" y="79"/>
                </a:cxn>
                <a:cxn ang="0">
                  <a:pos x="16" y="75"/>
                </a:cxn>
                <a:cxn ang="0">
                  <a:pos x="16" y="71"/>
                </a:cxn>
                <a:cxn ang="0">
                  <a:pos x="4" y="67"/>
                </a:cxn>
                <a:cxn ang="0">
                  <a:pos x="4" y="63"/>
                </a:cxn>
                <a:cxn ang="0">
                  <a:pos x="0" y="59"/>
                </a:cxn>
                <a:cxn ang="0">
                  <a:pos x="4" y="55"/>
                </a:cxn>
                <a:cxn ang="0">
                  <a:pos x="12" y="47"/>
                </a:cxn>
                <a:cxn ang="0">
                  <a:pos x="20" y="47"/>
                </a:cxn>
                <a:cxn ang="0">
                  <a:pos x="28" y="35"/>
                </a:cxn>
                <a:cxn ang="0">
                  <a:pos x="32" y="31"/>
                </a:cxn>
                <a:cxn ang="0">
                  <a:pos x="36" y="27"/>
                </a:cxn>
                <a:cxn ang="0">
                  <a:pos x="40" y="27"/>
                </a:cxn>
                <a:cxn ang="0">
                  <a:pos x="52" y="31"/>
                </a:cxn>
                <a:cxn ang="0">
                  <a:pos x="56" y="31"/>
                </a:cxn>
                <a:cxn ang="0">
                  <a:pos x="60" y="27"/>
                </a:cxn>
                <a:cxn ang="0">
                  <a:pos x="60" y="19"/>
                </a:cxn>
                <a:cxn ang="0">
                  <a:pos x="64" y="19"/>
                </a:cxn>
                <a:cxn ang="0">
                  <a:pos x="72" y="19"/>
                </a:cxn>
                <a:cxn ang="0">
                  <a:pos x="76" y="11"/>
                </a:cxn>
                <a:cxn ang="0">
                  <a:pos x="80" y="8"/>
                </a:cxn>
                <a:cxn ang="0">
                  <a:pos x="84" y="0"/>
                </a:cxn>
                <a:cxn ang="0">
                  <a:pos x="88" y="4"/>
                </a:cxn>
                <a:cxn ang="0">
                  <a:pos x="96" y="11"/>
                </a:cxn>
                <a:cxn ang="0">
                  <a:pos x="96" y="15"/>
                </a:cxn>
                <a:cxn ang="0">
                  <a:pos x="88" y="19"/>
                </a:cxn>
                <a:cxn ang="0">
                  <a:pos x="80" y="27"/>
                </a:cxn>
                <a:cxn ang="0">
                  <a:pos x="80" y="31"/>
                </a:cxn>
                <a:cxn ang="0">
                  <a:pos x="80" y="39"/>
                </a:cxn>
                <a:cxn ang="0">
                  <a:pos x="80" y="43"/>
                </a:cxn>
                <a:cxn ang="0">
                  <a:pos x="72" y="51"/>
                </a:cxn>
                <a:cxn ang="0">
                  <a:pos x="68" y="51"/>
                </a:cxn>
                <a:cxn ang="0">
                  <a:pos x="56" y="59"/>
                </a:cxn>
                <a:cxn ang="0">
                  <a:pos x="52" y="63"/>
                </a:cxn>
                <a:cxn ang="0">
                  <a:pos x="48" y="71"/>
                </a:cxn>
                <a:cxn ang="0">
                  <a:pos x="48" y="75"/>
                </a:cxn>
              </a:cxnLst>
              <a:rect l="0" t="0" r="r" b="b"/>
              <a:pathLst>
                <a:path w="96" h="107">
                  <a:moveTo>
                    <a:pt x="48" y="75"/>
                  </a:moveTo>
                  <a:lnTo>
                    <a:pt x="48" y="75"/>
                  </a:lnTo>
                  <a:lnTo>
                    <a:pt x="44" y="75"/>
                  </a:lnTo>
                  <a:lnTo>
                    <a:pt x="44" y="75"/>
                  </a:lnTo>
                  <a:lnTo>
                    <a:pt x="44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6" y="95"/>
                  </a:lnTo>
                  <a:lnTo>
                    <a:pt x="52" y="95"/>
                  </a:lnTo>
                  <a:lnTo>
                    <a:pt x="48" y="95"/>
                  </a:lnTo>
                  <a:lnTo>
                    <a:pt x="48" y="95"/>
                  </a:lnTo>
                  <a:lnTo>
                    <a:pt x="48" y="95"/>
                  </a:lnTo>
                  <a:lnTo>
                    <a:pt x="44" y="95"/>
                  </a:lnTo>
                  <a:lnTo>
                    <a:pt x="44" y="95"/>
                  </a:lnTo>
                  <a:lnTo>
                    <a:pt x="44" y="95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40" y="95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40" y="99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7"/>
                  </a:lnTo>
                  <a:lnTo>
                    <a:pt x="36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32" y="103"/>
                  </a:lnTo>
                  <a:lnTo>
                    <a:pt x="28" y="103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8" y="107"/>
                  </a:lnTo>
                  <a:lnTo>
                    <a:pt x="24" y="107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4" y="107"/>
                  </a:lnTo>
                  <a:lnTo>
                    <a:pt x="24" y="107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3"/>
                  </a:lnTo>
                  <a:lnTo>
                    <a:pt x="20" y="107"/>
                  </a:lnTo>
                  <a:lnTo>
                    <a:pt x="20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7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6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8" y="103"/>
                  </a:lnTo>
                  <a:lnTo>
                    <a:pt x="8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103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12" y="99"/>
                  </a:lnTo>
                  <a:lnTo>
                    <a:pt x="8" y="99"/>
                  </a:lnTo>
                  <a:lnTo>
                    <a:pt x="8" y="99"/>
                  </a:lnTo>
                  <a:lnTo>
                    <a:pt x="8" y="99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4" y="99"/>
                  </a:lnTo>
                  <a:lnTo>
                    <a:pt x="8" y="99"/>
                  </a:lnTo>
                  <a:lnTo>
                    <a:pt x="8" y="99"/>
                  </a:lnTo>
                  <a:lnTo>
                    <a:pt x="8" y="95"/>
                  </a:lnTo>
                  <a:lnTo>
                    <a:pt x="8" y="95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12" y="91"/>
                  </a:lnTo>
                  <a:lnTo>
                    <a:pt x="12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6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6" y="71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12" y="67"/>
                  </a:lnTo>
                  <a:lnTo>
                    <a:pt x="8" y="67"/>
                  </a:lnTo>
                  <a:lnTo>
                    <a:pt x="8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71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12" y="51"/>
                  </a:lnTo>
                  <a:lnTo>
                    <a:pt x="8" y="51"/>
                  </a:lnTo>
                  <a:lnTo>
                    <a:pt x="12" y="51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20" y="47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8" y="39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40" y="23"/>
                  </a:lnTo>
                  <a:lnTo>
                    <a:pt x="40" y="23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4" y="27"/>
                  </a:lnTo>
                  <a:lnTo>
                    <a:pt x="44" y="31"/>
                  </a:lnTo>
                  <a:lnTo>
                    <a:pt x="48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2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56" y="31"/>
                  </a:lnTo>
                  <a:lnTo>
                    <a:pt x="60" y="31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56" y="27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72" y="19"/>
                  </a:lnTo>
                  <a:lnTo>
                    <a:pt x="72" y="19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5"/>
                  </a:lnTo>
                  <a:lnTo>
                    <a:pt x="72" y="11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80" y="11"/>
                  </a:lnTo>
                  <a:lnTo>
                    <a:pt x="80" y="11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4"/>
                  </a:lnTo>
                  <a:lnTo>
                    <a:pt x="84" y="4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6" y="11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92" y="11"/>
                  </a:lnTo>
                  <a:lnTo>
                    <a:pt x="88" y="15"/>
                  </a:lnTo>
                  <a:lnTo>
                    <a:pt x="88" y="19"/>
                  </a:lnTo>
                  <a:lnTo>
                    <a:pt x="84" y="19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0" y="23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0" y="31"/>
                  </a:lnTo>
                  <a:lnTo>
                    <a:pt x="84" y="31"/>
                  </a:lnTo>
                  <a:lnTo>
                    <a:pt x="84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68" y="51"/>
                  </a:lnTo>
                  <a:lnTo>
                    <a:pt x="68" y="51"/>
                  </a:lnTo>
                  <a:lnTo>
                    <a:pt x="68" y="51"/>
                  </a:lnTo>
                  <a:lnTo>
                    <a:pt x="68" y="51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8" y="55"/>
                  </a:lnTo>
                  <a:lnTo>
                    <a:pt x="64" y="55"/>
                  </a:lnTo>
                  <a:lnTo>
                    <a:pt x="64" y="59"/>
                  </a:lnTo>
                  <a:lnTo>
                    <a:pt x="60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48" y="63"/>
                  </a:lnTo>
                  <a:lnTo>
                    <a:pt x="48" y="67"/>
                  </a:lnTo>
                  <a:lnTo>
                    <a:pt x="48" y="67"/>
                  </a:lnTo>
                  <a:lnTo>
                    <a:pt x="48" y="67"/>
                  </a:lnTo>
                  <a:lnTo>
                    <a:pt x="48" y="67"/>
                  </a:lnTo>
                  <a:lnTo>
                    <a:pt x="48" y="71"/>
                  </a:lnTo>
                  <a:lnTo>
                    <a:pt x="48" y="71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5"/>
                  </a:lnTo>
                  <a:lnTo>
                    <a:pt x="48" y="71"/>
                  </a:lnTo>
                  <a:lnTo>
                    <a:pt x="48" y="71"/>
                  </a:lnTo>
                  <a:lnTo>
                    <a:pt x="48" y="7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7" name="Freeform 34"/>
            <p:cNvSpPr>
              <a:spLocks noEditPoints="1"/>
            </p:cNvSpPr>
            <p:nvPr>
              <p:custDataLst>
                <p:tags r:id="rId230"/>
              </p:custDataLst>
            </p:nvPr>
          </p:nvSpPr>
          <p:spPr bwMode="gray">
            <a:xfrm>
              <a:off x="5540266" y="3870736"/>
              <a:ext cx="177968" cy="271400"/>
            </a:xfrm>
            <a:custGeom>
              <a:avLst/>
              <a:gdLst/>
              <a:ahLst/>
              <a:cxnLst>
                <a:cxn ang="0">
                  <a:pos x="68" y="0"/>
                </a:cxn>
                <a:cxn ang="0">
                  <a:pos x="68" y="8"/>
                </a:cxn>
                <a:cxn ang="0">
                  <a:pos x="64" y="12"/>
                </a:cxn>
                <a:cxn ang="0">
                  <a:pos x="64" y="4"/>
                </a:cxn>
                <a:cxn ang="0">
                  <a:pos x="64" y="0"/>
                </a:cxn>
                <a:cxn ang="0">
                  <a:pos x="68" y="0"/>
                </a:cxn>
                <a:cxn ang="0">
                  <a:pos x="48" y="68"/>
                </a:cxn>
                <a:cxn ang="0">
                  <a:pos x="52" y="60"/>
                </a:cxn>
                <a:cxn ang="0">
                  <a:pos x="56" y="52"/>
                </a:cxn>
                <a:cxn ang="0">
                  <a:pos x="60" y="44"/>
                </a:cxn>
                <a:cxn ang="0">
                  <a:pos x="60" y="40"/>
                </a:cxn>
                <a:cxn ang="0">
                  <a:pos x="60" y="32"/>
                </a:cxn>
                <a:cxn ang="0">
                  <a:pos x="60" y="24"/>
                </a:cxn>
                <a:cxn ang="0">
                  <a:pos x="64" y="28"/>
                </a:cxn>
                <a:cxn ang="0">
                  <a:pos x="64" y="28"/>
                </a:cxn>
                <a:cxn ang="0">
                  <a:pos x="68" y="28"/>
                </a:cxn>
                <a:cxn ang="0">
                  <a:pos x="68" y="24"/>
                </a:cxn>
                <a:cxn ang="0">
                  <a:pos x="72" y="36"/>
                </a:cxn>
                <a:cxn ang="0">
                  <a:pos x="76" y="40"/>
                </a:cxn>
                <a:cxn ang="0">
                  <a:pos x="88" y="48"/>
                </a:cxn>
                <a:cxn ang="0">
                  <a:pos x="92" y="48"/>
                </a:cxn>
                <a:cxn ang="0">
                  <a:pos x="96" y="52"/>
                </a:cxn>
                <a:cxn ang="0">
                  <a:pos x="100" y="52"/>
                </a:cxn>
                <a:cxn ang="0">
                  <a:pos x="108" y="60"/>
                </a:cxn>
                <a:cxn ang="0">
                  <a:pos x="112" y="68"/>
                </a:cxn>
                <a:cxn ang="0">
                  <a:pos x="116" y="72"/>
                </a:cxn>
                <a:cxn ang="0">
                  <a:pos x="120" y="80"/>
                </a:cxn>
                <a:cxn ang="0">
                  <a:pos x="116" y="88"/>
                </a:cxn>
                <a:cxn ang="0">
                  <a:pos x="112" y="96"/>
                </a:cxn>
                <a:cxn ang="0">
                  <a:pos x="104" y="104"/>
                </a:cxn>
                <a:cxn ang="0">
                  <a:pos x="100" y="111"/>
                </a:cxn>
                <a:cxn ang="0">
                  <a:pos x="96" y="111"/>
                </a:cxn>
                <a:cxn ang="0">
                  <a:pos x="96" y="108"/>
                </a:cxn>
                <a:cxn ang="0">
                  <a:pos x="88" y="115"/>
                </a:cxn>
                <a:cxn ang="0">
                  <a:pos x="88" y="123"/>
                </a:cxn>
                <a:cxn ang="0">
                  <a:pos x="88" y="131"/>
                </a:cxn>
                <a:cxn ang="0">
                  <a:pos x="88" y="139"/>
                </a:cxn>
                <a:cxn ang="0">
                  <a:pos x="80" y="139"/>
                </a:cxn>
                <a:cxn ang="0">
                  <a:pos x="72" y="143"/>
                </a:cxn>
                <a:cxn ang="0">
                  <a:pos x="72" y="151"/>
                </a:cxn>
                <a:cxn ang="0">
                  <a:pos x="68" y="155"/>
                </a:cxn>
                <a:cxn ang="0">
                  <a:pos x="64" y="159"/>
                </a:cxn>
                <a:cxn ang="0">
                  <a:pos x="52" y="159"/>
                </a:cxn>
                <a:cxn ang="0">
                  <a:pos x="52" y="163"/>
                </a:cxn>
                <a:cxn ang="0">
                  <a:pos x="52" y="167"/>
                </a:cxn>
                <a:cxn ang="0">
                  <a:pos x="44" y="175"/>
                </a:cxn>
                <a:cxn ang="0">
                  <a:pos x="40" y="175"/>
                </a:cxn>
                <a:cxn ang="0">
                  <a:pos x="28" y="179"/>
                </a:cxn>
                <a:cxn ang="0">
                  <a:pos x="24" y="179"/>
                </a:cxn>
                <a:cxn ang="0">
                  <a:pos x="0" y="139"/>
                </a:cxn>
                <a:cxn ang="0">
                  <a:pos x="104" y="115"/>
                </a:cxn>
                <a:cxn ang="0">
                  <a:pos x="104" y="111"/>
                </a:cxn>
                <a:cxn ang="0">
                  <a:pos x="108" y="108"/>
                </a:cxn>
                <a:cxn ang="0">
                  <a:pos x="104" y="111"/>
                </a:cxn>
                <a:cxn ang="0">
                  <a:pos x="104" y="115"/>
                </a:cxn>
              </a:cxnLst>
              <a:rect l="0" t="0" r="r" b="b"/>
              <a:pathLst>
                <a:path w="120" h="183">
                  <a:moveTo>
                    <a:pt x="68" y="0"/>
                  </a:move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close/>
                  <a:moveTo>
                    <a:pt x="52" y="96"/>
                  </a:moveTo>
                  <a:lnTo>
                    <a:pt x="56" y="80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8"/>
                  </a:lnTo>
                  <a:lnTo>
                    <a:pt x="68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8" y="56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6" y="68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80"/>
                  </a:lnTo>
                  <a:lnTo>
                    <a:pt x="120" y="80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6"/>
                  </a:lnTo>
                  <a:lnTo>
                    <a:pt x="108" y="96"/>
                  </a:lnTo>
                  <a:lnTo>
                    <a:pt x="108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8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2" y="108"/>
                  </a:lnTo>
                  <a:lnTo>
                    <a:pt x="92" y="111"/>
                  </a:lnTo>
                  <a:lnTo>
                    <a:pt x="92" y="111"/>
                  </a:lnTo>
                  <a:lnTo>
                    <a:pt x="92" y="111"/>
                  </a:lnTo>
                  <a:lnTo>
                    <a:pt x="92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9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7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5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4" y="139"/>
                  </a:lnTo>
                  <a:lnTo>
                    <a:pt x="84" y="139"/>
                  </a:lnTo>
                  <a:lnTo>
                    <a:pt x="84" y="139"/>
                  </a:lnTo>
                  <a:lnTo>
                    <a:pt x="80" y="139"/>
                  </a:lnTo>
                  <a:lnTo>
                    <a:pt x="80" y="139"/>
                  </a:lnTo>
                  <a:lnTo>
                    <a:pt x="80" y="139"/>
                  </a:lnTo>
                  <a:lnTo>
                    <a:pt x="76" y="139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2" y="143"/>
                  </a:lnTo>
                  <a:lnTo>
                    <a:pt x="72" y="143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5"/>
                  </a:lnTo>
                  <a:lnTo>
                    <a:pt x="72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4" y="159"/>
                  </a:lnTo>
                  <a:lnTo>
                    <a:pt x="64" y="159"/>
                  </a:lnTo>
                  <a:lnTo>
                    <a:pt x="64" y="159"/>
                  </a:lnTo>
                  <a:lnTo>
                    <a:pt x="60" y="159"/>
                  </a:lnTo>
                  <a:lnTo>
                    <a:pt x="60" y="159"/>
                  </a:lnTo>
                  <a:lnTo>
                    <a:pt x="60" y="159"/>
                  </a:lnTo>
                  <a:lnTo>
                    <a:pt x="56" y="159"/>
                  </a:lnTo>
                  <a:lnTo>
                    <a:pt x="56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48" y="175"/>
                  </a:lnTo>
                  <a:lnTo>
                    <a:pt x="48" y="175"/>
                  </a:lnTo>
                  <a:lnTo>
                    <a:pt x="48" y="175"/>
                  </a:lnTo>
                  <a:lnTo>
                    <a:pt x="48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36" y="175"/>
                  </a:lnTo>
                  <a:lnTo>
                    <a:pt x="32" y="175"/>
                  </a:lnTo>
                  <a:lnTo>
                    <a:pt x="32" y="175"/>
                  </a:lnTo>
                  <a:lnTo>
                    <a:pt x="32" y="175"/>
                  </a:lnTo>
                  <a:lnTo>
                    <a:pt x="28" y="179"/>
                  </a:lnTo>
                  <a:lnTo>
                    <a:pt x="28" y="179"/>
                  </a:lnTo>
                  <a:lnTo>
                    <a:pt x="28" y="179"/>
                  </a:lnTo>
                  <a:lnTo>
                    <a:pt x="28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0" y="179"/>
                  </a:lnTo>
                  <a:lnTo>
                    <a:pt x="20" y="183"/>
                  </a:lnTo>
                  <a:lnTo>
                    <a:pt x="20" y="183"/>
                  </a:lnTo>
                  <a:lnTo>
                    <a:pt x="20" y="183"/>
                  </a:lnTo>
                  <a:lnTo>
                    <a:pt x="12" y="171"/>
                  </a:lnTo>
                  <a:lnTo>
                    <a:pt x="12" y="167"/>
                  </a:lnTo>
                  <a:lnTo>
                    <a:pt x="0" y="139"/>
                  </a:lnTo>
                  <a:lnTo>
                    <a:pt x="48" y="119"/>
                  </a:lnTo>
                  <a:lnTo>
                    <a:pt x="52" y="96"/>
                  </a:lnTo>
                  <a:close/>
                  <a:moveTo>
                    <a:pt x="104" y="115"/>
                  </a:move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08"/>
                  </a:lnTo>
                  <a:lnTo>
                    <a:pt x="104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8" name="Freeform 35"/>
            <p:cNvSpPr>
              <a:spLocks/>
            </p:cNvSpPr>
            <p:nvPr>
              <p:custDataLst>
                <p:tags r:id="rId231"/>
              </p:custDataLst>
            </p:nvPr>
          </p:nvSpPr>
          <p:spPr bwMode="gray">
            <a:xfrm>
              <a:off x="5741963" y="3556326"/>
              <a:ext cx="378181" cy="385597"/>
            </a:xfrm>
            <a:custGeom>
              <a:avLst/>
              <a:gdLst/>
              <a:ahLst/>
              <a:cxnLst>
                <a:cxn ang="0">
                  <a:pos x="56" y="148"/>
                </a:cxn>
                <a:cxn ang="0">
                  <a:pos x="80" y="144"/>
                </a:cxn>
                <a:cxn ang="0">
                  <a:pos x="84" y="128"/>
                </a:cxn>
                <a:cxn ang="0">
                  <a:pos x="92" y="116"/>
                </a:cxn>
                <a:cxn ang="0">
                  <a:pos x="104" y="108"/>
                </a:cxn>
                <a:cxn ang="0">
                  <a:pos x="124" y="108"/>
                </a:cxn>
                <a:cxn ang="0">
                  <a:pos x="128" y="88"/>
                </a:cxn>
                <a:cxn ang="0">
                  <a:pos x="136" y="80"/>
                </a:cxn>
                <a:cxn ang="0">
                  <a:pos x="140" y="64"/>
                </a:cxn>
                <a:cxn ang="0">
                  <a:pos x="152" y="60"/>
                </a:cxn>
                <a:cxn ang="0">
                  <a:pos x="156" y="48"/>
                </a:cxn>
                <a:cxn ang="0">
                  <a:pos x="164" y="28"/>
                </a:cxn>
                <a:cxn ang="0">
                  <a:pos x="156" y="16"/>
                </a:cxn>
                <a:cxn ang="0">
                  <a:pos x="176" y="4"/>
                </a:cxn>
                <a:cxn ang="0">
                  <a:pos x="200" y="4"/>
                </a:cxn>
                <a:cxn ang="0">
                  <a:pos x="219" y="4"/>
                </a:cxn>
                <a:cxn ang="0">
                  <a:pos x="227" y="16"/>
                </a:cxn>
                <a:cxn ang="0">
                  <a:pos x="239" y="24"/>
                </a:cxn>
                <a:cxn ang="0">
                  <a:pos x="255" y="28"/>
                </a:cxn>
                <a:cxn ang="0">
                  <a:pos x="243" y="40"/>
                </a:cxn>
                <a:cxn ang="0">
                  <a:pos x="231" y="48"/>
                </a:cxn>
                <a:cxn ang="0">
                  <a:pos x="208" y="48"/>
                </a:cxn>
                <a:cxn ang="0">
                  <a:pos x="200" y="52"/>
                </a:cxn>
                <a:cxn ang="0">
                  <a:pos x="200" y="64"/>
                </a:cxn>
                <a:cxn ang="0">
                  <a:pos x="204" y="84"/>
                </a:cxn>
                <a:cxn ang="0">
                  <a:pos x="219" y="96"/>
                </a:cxn>
                <a:cxn ang="0">
                  <a:pos x="208" y="108"/>
                </a:cxn>
                <a:cxn ang="0">
                  <a:pos x="208" y="120"/>
                </a:cxn>
                <a:cxn ang="0">
                  <a:pos x="200" y="136"/>
                </a:cxn>
                <a:cxn ang="0">
                  <a:pos x="184" y="160"/>
                </a:cxn>
                <a:cxn ang="0">
                  <a:pos x="172" y="172"/>
                </a:cxn>
                <a:cxn ang="0">
                  <a:pos x="156" y="184"/>
                </a:cxn>
                <a:cxn ang="0">
                  <a:pos x="144" y="180"/>
                </a:cxn>
                <a:cxn ang="0">
                  <a:pos x="132" y="192"/>
                </a:cxn>
                <a:cxn ang="0">
                  <a:pos x="140" y="208"/>
                </a:cxn>
                <a:cxn ang="0">
                  <a:pos x="148" y="228"/>
                </a:cxn>
                <a:cxn ang="0">
                  <a:pos x="152" y="244"/>
                </a:cxn>
                <a:cxn ang="0">
                  <a:pos x="148" y="248"/>
                </a:cxn>
                <a:cxn ang="0">
                  <a:pos x="128" y="252"/>
                </a:cxn>
                <a:cxn ang="0">
                  <a:pos x="116" y="256"/>
                </a:cxn>
                <a:cxn ang="0">
                  <a:pos x="108" y="256"/>
                </a:cxn>
                <a:cxn ang="0">
                  <a:pos x="96" y="252"/>
                </a:cxn>
                <a:cxn ang="0">
                  <a:pos x="88" y="236"/>
                </a:cxn>
                <a:cxn ang="0">
                  <a:pos x="84" y="224"/>
                </a:cxn>
                <a:cxn ang="0">
                  <a:pos x="64" y="228"/>
                </a:cxn>
                <a:cxn ang="0">
                  <a:pos x="52" y="232"/>
                </a:cxn>
                <a:cxn ang="0">
                  <a:pos x="40" y="232"/>
                </a:cxn>
                <a:cxn ang="0">
                  <a:pos x="16" y="236"/>
                </a:cxn>
                <a:cxn ang="0">
                  <a:pos x="16" y="220"/>
                </a:cxn>
                <a:cxn ang="0">
                  <a:pos x="20" y="208"/>
                </a:cxn>
                <a:cxn ang="0">
                  <a:pos x="36" y="200"/>
                </a:cxn>
                <a:cxn ang="0">
                  <a:pos x="28" y="184"/>
                </a:cxn>
                <a:cxn ang="0">
                  <a:pos x="16" y="168"/>
                </a:cxn>
                <a:cxn ang="0">
                  <a:pos x="0" y="144"/>
                </a:cxn>
                <a:cxn ang="0">
                  <a:pos x="36" y="148"/>
                </a:cxn>
              </a:cxnLst>
              <a:rect l="0" t="0" r="r" b="b"/>
              <a:pathLst>
                <a:path w="255" h="260">
                  <a:moveTo>
                    <a:pt x="36" y="148"/>
                  </a:moveTo>
                  <a:lnTo>
                    <a:pt x="40" y="148"/>
                  </a:lnTo>
                  <a:lnTo>
                    <a:pt x="44" y="148"/>
                  </a:lnTo>
                  <a:lnTo>
                    <a:pt x="48" y="152"/>
                  </a:lnTo>
                  <a:lnTo>
                    <a:pt x="52" y="148"/>
                  </a:lnTo>
                  <a:lnTo>
                    <a:pt x="56" y="148"/>
                  </a:lnTo>
                  <a:lnTo>
                    <a:pt x="60" y="148"/>
                  </a:lnTo>
                  <a:lnTo>
                    <a:pt x="64" y="148"/>
                  </a:lnTo>
                  <a:lnTo>
                    <a:pt x="68" y="148"/>
                  </a:lnTo>
                  <a:lnTo>
                    <a:pt x="72" y="144"/>
                  </a:lnTo>
                  <a:lnTo>
                    <a:pt x="76" y="144"/>
                  </a:lnTo>
                  <a:lnTo>
                    <a:pt x="80" y="144"/>
                  </a:lnTo>
                  <a:lnTo>
                    <a:pt x="84" y="140"/>
                  </a:lnTo>
                  <a:lnTo>
                    <a:pt x="80" y="140"/>
                  </a:lnTo>
                  <a:lnTo>
                    <a:pt x="80" y="136"/>
                  </a:lnTo>
                  <a:lnTo>
                    <a:pt x="84" y="136"/>
                  </a:lnTo>
                  <a:lnTo>
                    <a:pt x="84" y="132"/>
                  </a:lnTo>
                  <a:lnTo>
                    <a:pt x="84" y="128"/>
                  </a:lnTo>
                  <a:lnTo>
                    <a:pt x="84" y="120"/>
                  </a:lnTo>
                  <a:lnTo>
                    <a:pt x="88" y="120"/>
                  </a:lnTo>
                  <a:lnTo>
                    <a:pt x="88" y="116"/>
                  </a:lnTo>
                  <a:lnTo>
                    <a:pt x="92" y="116"/>
                  </a:lnTo>
                  <a:lnTo>
                    <a:pt x="92" y="112"/>
                  </a:lnTo>
                  <a:lnTo>
                    <a:pt x="92" y="116"/>
                  </a:lnTo>
                  <a:lnTo>
                    <a:pt x="96" y="116"/>
                  </a:lnTo>
                  <a:lnTo>
                    <a:pt x="100" y="116"/>
                  </a:lnTo>
                  <a:lnTo>
                    <a:pt x="104" y="116"/>
                  </a:lnTo>
                  <a:lnTo>
                    <a:pt x="104" y="112"/>
                  </a:lnTo>
                  <a:lnTo>
                    <a:pt x="100" y="108"/>
                  </a:lnTo>
                  <a:lnTo>
                    <a:pt x="104" y="108"/>
                  </a:lnTo>
                  <a:lnTo>
                    <a:pt x="108" y="108"/>
                  </a:lnTo>
                  <a:lnTo>
                    <a:pt x="112" y="104"/>
                  </a:lnTo>
                  <a:lnTo>
                    <a:pt x="116" y="104"/>
                  </a:lnTo>
                  <a:lnTo>
                    <a:pt x="120" y="104"/>
                  </a:lnTo>
                  <a:lnTo>
                    <a:pt x="120" y="108"/>
                  </a:lnTo>
                  <a:lnTo>
                    <a:pt x="124" y="108"/>
                  </a:lnTo>
                  <a:lnTo>
                    <a:pt x="124" y="104"/>
                  </a:lnTo>
                  <a:lnTo>
                    <a:pt x="128" y="104"/>
                  </a:lnTo>
                  <a:lnTo>
                    <a:pt x="128" y="100"/>
                  </a:lnTo>
                  <a:lnTo>
                    <a:pt x="128" y="96"/>
                  </a:lnTo>
                  <a:lnTo>
                    <a:pt x="128" y="92"/>
                  </a:lnTo>
                  <a:lnTo>
                    <a:pt x="128" y="88"/>
                  </a:lnTo>
                  <a:lnTo>
                    <a:pt x="132" y="88"/>
                  </a:lnTo>
                  <a:lnTo>
                    <a:pt x="132" y="84"/>
                  </a:lnTo>
                  <a:lnTo>
                    <a:pt x="128" y="84"/>
                  </a:lnTo>
                  <a:lnTo>
                    <a:pt x="132" y="84"/>
                  </a:lnTo>
                  <a:lnTo>
                    <a:pt x="132" y="80"/>
                  </a:lnTo>
                  <a:lnTo>
                    <a:pt x="136" y="80"/>
                  </a:lnTo>
                  <a:lnTo>
                    <a:pt x="140" y="76"/>
                  </a:lnTo>
                  <a:lnTo>
                    <a:pt x="144" y="76"/>
                  </a:lnTo>
                  <a:lnTo>
                    <a:pt x="144" y="72"/>
                  </a:lnTo>
                  <a:lnTo>
                    <a:pt x="140" y="72"/>
                  </a:lnTo>
                  <a:lnTo>
                    <a:pt x="140" y="68"/>
                  </a:lnTo>
                  <a:lnTo>
                    <a:pt x="140" y="64"/>
                  </a:lnTo>
                  <a:lnTo>
                    <a:pt x="136" y="64"/>
                  </a:lnTo>
                  <a:lnTo>
                    <a:pt x="136" y="60"/>
                  </a:lnTo>
                  <a:lnTo>
                    <a:pt x="140" y="60"/>
                  </a:lnTo>
                  <a:lnTo>
                    <a:pt x="144" y="60"/>
                  </a:lnTo>
                  <a:lnTo>
                    <a:pt x="148" y="60"/>
                  </a:lnTo>
                  <a:lnTo>
                    <a:pt x="152" y="60"/>
                  </a:lnTo>
                  <a:lnTo>
                    <a:pt x="156" y="60"/>
                  </a:lnTo>
                  <a:lnTo>
                    <a:pt x="156" y="56"/>
                  </a:lnTo>
                  <a:lnTo>
                    <a:pt x="156" y="52"/>
                  </a:lnTo>
                  <a:lnTo>
                    <a:pt x="152" y="52"/>
                  </a:lnTo>
                  <a:lnTo>
                    <a:pt x="152" y="48"/>
                  </a:lnTo>
                  <a:lnTo>
                    <a:pt x="156" y="48"/>
                  </a:lnTo>
                  <a:lnTo>
                    <a:pt x="156" y="44"/>
                  </a:lnTo>
                  <a:lnTo>
                    <a:pt x="160" y="44"/>
                  </a:lnTo>
                  <a:lnTo>
                    <a:pt x="160" y="40"/>
                  </a:lnTo>
                  <a:lnTo>
                    <a:pt x="164" y="36"/>
                  </a:lnTo>
                  <a:lnTo>
                    <a:pt x="164" y="32"/>
                  </a:lnTo>
                  <a:lnTo>
                    <a:pt x="164" y="28"/>
                  </a:lnTo>
                  <a:lnTo>
                    <a:pt x="160" y="28"/>
                  </a:lnTo>
                  <a:lnTo>
                    <a:pt x="164" y="24"/>
                  </a:lnTo>
                  <a:lnTo>
                    <a:pt x="160" y="24"/>
                  </a:lnTo>
                  <a:lnTo>
                    <a:pt x="160" y="20"/>
                  </a:lnTo>
                  <a:lnTo>
                    <a:pt x="156" y="20"/>
                  </a:lnTo>
                  <a:lnTo>
                    <a:pt x="156" y="16"/>
                  </a:lnTo>
                  <a:lnTo>
                    <a:pt x="160" y="16"/>
                  </a:lnTo>
                  <a:lnTo>
                    <a:pt x="164" y="12"/>
                  </a:lnTo>
                  <a:lnTo>
                    <a:pt x="168" y="8"/>
                  </a:lnTo>
                  <a:lnTo>
                    <a:pt x="172" y="8"/>
                  </a:lnTo>
                  <a:lnTo>
                    <a:pt x="172" y="4"/>
                  </a:lnTo>
                  <a:lnTo>
                    <a:pt x="176" y="4"/>
                  </a:lnTo>
                  <a:lnTo>
                    <a:pt x="180" y="4"/>
                  </a:lnTo>
                  <a:lnTo>
                    <a:pt x="184" y="4"/>
                  </a:lnTo>
                  <a:lnTo>
                    <a:pt x="188" y="0"/>
                  </a:lnTo>
                  <a:lnTo>
                    <a:pt x="192" y="0"/>
                  </a:lnTo>
                  <a:lnTo>
                    <a:pt x="196" y="0"/>
                  </a:lnTo>
                  <a:lnTo>
                    <a:pt x="200" y="4"/>
                  </a:lnTo>
                  <a:lnTo>
                    <a:pt x="204" y="0"/>
                  </a:lnTo>
                  <a:lnTo>
                    <a:pt x="208" y="0"/>
                  </a:lnTo>
                  <a:lnTo>
                    <a:pt x="211" y="0"/>
                  </a:lnTo>
                  <a:lnTo>
                    <a:pt x="215" y="0"/>
                  </a:lnTo>
                  <a:lnTo>
                    <a:pt x="219" y="0"/>
                  </a:lnTo>
                  <a:lnTo>
                    <a:pt x="219" y="4"/>
                  </a:lnTo>
                  <a:lnTo>
                    <a:pt x="223" y="4"/>
                  </a:lnTo>
                  <a:lnTo>
                    <a:pt x="227" y="4"/>
                  </a:lnTo>
                  <a:lnTo>
                    <a:pt x="227" y="8"/>
                  </a:lnTo>
                  <a:lnTo>
                    <a:pt x="227" y="12"/>
                  </a:lnTo>
                  <a:lnTo>
                    <a:pt x="231" y="16"/>
                  </a:lnTo>
                  <a:lnTo>
                    <a:pt x="227" y="16"/>
                  </a:lnTo>
                  <a:lnTo>
                    <a:pt x="227" y="20"/>
                  </a:lnTo>
                  <a:lnTo>
                    <a:pt x="231" y="20"/>
                  </a:lnTo>
                  <a:lnTo>
                    <a:pt x="231" y="24"/>
                  </a:lnTo>
                  <a:lnTo>
                    <a:pt x="235" y="24"/>
                  </a:lnTo>
                  <a:lnTo>
                    <a:pt x="239" y="20"/>
                  </a:lnTo>
                  <a:lnTo>
                    <a:pt x="239" y="24"/>
                  </a:lnTo>
                  <a:lnTo>
                    <a:pt x="239" y="28"/>
                  </a:lnTo>
                  <a:lnTo>
                    <a:pt x="243" y="28"/>
                  </a:lnTo>
                  <a:lnTo>
                    <a:pt x="247" y="28"/>
                  </a:lnTo>
                  <a:lnTo>
                    <a:pt x="251" y="32"/>
                  </a:lnTo>
                  <a:lnTo>
                    <a:pt x="255" y="32"/>
                  </a:lnTo>
                  <a:lnTo>
                    <a:pt x="255" y="28"/>
                  </a:lnTo>
                  <a:lnTo>
                    <a:pt x="255" y="32"/>
                  </a:lnTo>
                  <a:lnTo>
                    <a:pt x="251" y="32"/>
                  </a:lnTo>
                  <a:lnTo>
                    <a:pt x="251" y="36"/>
                  </a:lnTo>
                  <a:lnTo>
                    <a:pt x="247" y="36"/>
                  </a:lnTo>
                  <a:lnTo>
                    <a:pt x="243" y="36"/>
                  </a:lnTo>
                  <a:lnTo>
                    <a:pt x="243" y="40"/>
                  </a:lnTo>
                  <a:lnTo>
                    <a:pt x="243" y="44"/>
                  </a:lnTo>
                  <a:lnTo>
                    <a:pt x="243" y="48"/>
                  </a:lnTo>
                  <a:lnTo>
                    <a:pt x="239" y="48"/>
                  </a:lnTo>
                  <a:lnTo>
                    <a:pt x="239" y="44"/>
                  </a:lnTo>
                  <a:lnTo>
                    <a:pt x="235" y="44"/>
                  </a:lnTo>
                  <a:lnTo>
                    <a:pt x="231" y="48"/>
                  </a:lnTo>
                  <a:lnTo>
                    <a:pt x="227" y="48"/>
                  </a:lnTo>
                  <a:lnTo>
                    <a:pt x="223" y="52"/>
                  </a:lnTo>
                  <a:lnTo>
                    <a:pt x="223" y="48"/>
                  </a:lnTo>
                  <a:lnTo>
                    <a:pt x="219" y="48"/>
                  </a:lnTo>
                  <a:lnTo>
                    <a:pt x="215" y="48"/>
                  </a:lnTo>
                  <a:lnTo>
                    <a:pt x="208" y="48"/>
                  </a:lnTo>
                  <a:lnTo>
                    <a:pt x="208" y="44"/>
                  </a:lnTo>
                  <a:lnTo>
                    <a:pt x="204" y="44"/>
                  </a:lnTo>
                  <a:lnTo>
                    <a:pt x="200" y="48"/>
                  </a:lnTo>
                  <a:lnTo>
                    <a:pt x="196" y="48"/>
                  </a:lnTo>
                  <a:lnTo>
                    <a:pt x="196" y="52"/>
                  </a:lnTo>
                  <a:lnTo>
                    <a:pt x="200" y="52"/>
                  </a:lnTo>
                  <a:lnTo>
                    <a:pt x="200" y="56"/>
                  </a:lnTo>
                  <a:lnTo>
                    <a:pt x="196" y="60"/>
                  </a:lnTo>
                  <a:lnTo>
                    <a:pt x="200" y="60"/>
                  </a:lnTo>
                  <a:lnTo>
                    <a:pt x="204" y="60"/>
                  </a:lnTo>
                  <a:lnTo>
                    <a:pt x="204" y="64"/>
                  </a:lnTo>
                  <a:lnTo>
                    <a:pt x="200" y="64"/>
                  </a:lnTo>
                  <a:lnTo>
                    <a:pt x="200" y="68"/>
                  </a:lnTo>
                  <a:lnTo>
                    <a:pt x="204" y="68"/>
                  </a:lnTo>
                  <a:lnTo>
                    <a:pt x="200" y="72"/>
                  </a:lnTo>
                  <a:lnTo>
                    <a:pt x="200" y="76"/>
                  </a:lnTo>
                  <a:lnTo>
                    <a:pt x="204" y="80"/>
                  </a:lnTo>
                  <a:lnTo>
                    <a:pt x="204" y="84"/>
                  </a:lnTo>
                  <a:lnTo>
                    <a:pt x="208" y="84"/>
                  </a:lnTo>
                  <a:lnTo>
                    <a:pt x="208" y="88"/>
                  </a:lnTo>
                  <a:lnTo>
                    <a:pt x="211" y="92"/>
                  </a:lnTo>
                  <a:lnTo>
                    <a:pt x="215" y="92"/>
                  </a:lnTo>
                  <a:lnTo>
                    <a:pt x="219" y="92"/>
                  </a:lnTo>
                  <a:lnTo>
                    <a:pt x="219" y="96"/>
                  </a:lnTo>
                  <a:lnTo>
                    <a:pt x="219" y="100"/>
                  </a:lnTo>
                  <a:lnTo>
                    <a:pt x="215" y="100"/>
                  </a:lnTo>
                  <a:lnTo>
                    <a:pt x="211" y="100"/>
                  </a:lnTo>
                  <a:lnTo>
                    <a:pt x="208" y="100"/>
                  </a:lnTo>
                  <a:lnTo>
                    <a:pt x="208" y="104"/>
                  </a:lnTo>
                  <a:lnTo>
                    <a:pt x="208" y="108"/>
                  </a:lnTo>
                  <a:lnTo>
                    <a:pt x="208" y="112"/>
                  </a:lnTo>
                  <a:lnTo>
                    <a:pt x="208" y="116"/>
                  </a:lnTo>
                  <a:lnTo>
                    <a:pt x="208" y="120"/>
                  </a:lnTo>
                  <a:lnTo>
                    <a:pt x="208" y="116"/>
                  </a:lnTo>
                  <a:lnTo>
                    <a:pt x="211" y="116"/>
                  </a:lnTo>
                  <a:lnTo>
                    <a:pt x="208" y="120"/>
                  </a:lnTo>
                  <a:lnTo>
                    <a:pt x="204" y="120"/>
                  </a:lnTo>
                  <a:lnTo>
                    <a:pt x="204" y="124"/>
                  </a:lnTo>
                  <a:lnTo>
                    <a:pt x="200" y="128"/>
                  </a:lnTo>
                  <a:lnTo>
                    <a:pt x="196" y="132"/>
                  </a:lnTo>
                  <a:lnTo>
                    <a:pt x="200" y="132"/>
                  </a:lnTo>
                  <a:lnTo>
                    <a:pt x="200" y="136"/>
                  </a:lnTo>
                  <a:lnTo>
                    <a:pt x="196" y="140"/>
                  </a:lnTo>
                  <a:lnTo>
                    <a:pt x="192" y="140"/>
                  </a:lnTo>
                  <a:lnTo>
                    <a:pt x="188" y="144"/>
                  </a:lnTo>
                  <a:lnTo>
                    <a:pt x="188" y="148"/>
                  </a:lnTo>
                  <a:lnTo>
                    <a:pt x="184" y="156"/>
                  </a:lnTo>
                  <a:lnTo>
                    <a:pt x="184" y="160"/>
                  </a:lnTo>
                  <a:lnTo>
                    <a:pt x="180" y="160"/>
                  </a:lnTo>
                  <a:lnTo>
                    <a:pt x="176" y="160"/>
                  </a:lnTo>
                  <a:lnTo>
                    <a:pt x="176" y="164"/>
                  </a:lnTo>
                  <a:lnTo>
                    <a:pt x="172" y="164"/>
                  </a:lnTo>
                  <a:lnTo>
                    <a:pt x="172" y="168"/>
                  </a:lnTo>
                  <a:lnTo>
                    <a:pt x="172" y="172"/>
                  </a:lnTo>
                  <a:lnTo>
                    <a:pt x="168" y="176"/>
                  </a:lnTo>
                  <a:lnTo>
                    <a:pt x="168" y="180"/>
                  </a:lnTo>
                  <a:lnTo>
                    <a:pt x="164" y="180"/>
                  </a:lnTo>
                  <a:lnTo>
                    <a:pt x="160" y="180"/>
                  </a:lnTo>
                  <a:lnTo>
                    <a:pt x="156" y="180"/>
                  </a:lnTo>
                  <a:lnTo>
                    <a:pt x="156" y="184"/>
                  </a:lnTo>
                  <a:lnTo>
                    <a:pt x="152" y="184"/>
                  </a:lnTo>
                  <a:lnTo>
                    <a:pt x="148" y="184"/>
                  </a:lnTo>
                  <a:lnTo>
                    <a:pt x="148" y="180"/>
                  </a:lnTo>
                  <a:lnTo>
                    <a:pt x="148" y="176"/>
                  </a:lnTo>
                  <a:lnTo>
                    <a:pt x="144" y="176"/>
                  </a:lnTo>
                  <a:lnTo>
                    <a:pt x="144" y="180"/>
                  </a:lnTo>
                  <a:lnTo>
                    <a:pt x="140" y="180"/>
                  </a:lnTo>
                  <a:lnTo>
                    <a:pt x="140" y="184"/>
                  </a:lnTo>
                  <a:lnTo>
                    <a:pt x="140" y="188"/>
                  </a:lnTo>
                  <a:lnTo>
                    <a:pt x="136" y="188"/>
                  </a:lnTo>
                  <a:lnTo>
                    <a:pt x="136" y="192"/>
                  </a:lnTo>
                  <a:lnTo>
                    <a:pt x="132" y="192"/>
                  </a:lnTo>
                  <a:lnTo>
                    <a:pt x="132" y="196"/>
                  </a:lnTo>
                  <a:lnTo>
                    <a:pt x="132" y="200"/>
                  </a:lnTo>
                  <a:lnTo>
                    <a:pt x="132" y="204"/>
                  </a:lnTo>
                  <a:lnTo>
                    <a:pt x="136" y="204"/>
                  </a:lnTo>
                  <a:lnTo>
                    <a:pt x="140" y="204"/>
                  </a:lnTo>
                  <a:lnTo>
                    <a:pt x="140" y="208"/>
                  </a:lnTo>
                  <a:lnTo>
                    <a:pt x="140" y="212"/>
                  </a:lnTo>
                  <a:lnTo>
                    <a:pt x="140" y="216"/>
                  </a:lnTo>
                  <a:lnTo>
                    <a:pt x="140" y="220"/>
                  </a:lnTo>
                  <a:lnTo>
                    <a:pt x="144" y="224"/>
                  </a:lnTo>
                  <a:lnTo>
                    <a:pt x="148" y="224"/>
                  </a:lnTo>
                  <a:lnTo>
                    <a:pt x="148" y="228"/>
                  </a:lnTo>
                  <a:lnTo>
                    <a:pt x="148" y="232"/>
                  </a:lnTo>
                  <a:lnTo>
                    <a:pt x="152" y="232"/>
                  </a:lnTo>
                  <a:lnTo>
                    <a:pt x="152" y="236"/>
                  </a:lnTo>
                  <a:lnTo>
                    <a:pt x="152" y="240"/>
                  </a:lnTo>
                  <a:lnTo>
                    <a:pt x="156" y="244"/>
                  </a:lnTo>
                  <a:lnTo>
                    <a:pt x="152" y="244"/>
                  </a:lnTo>
                  <a:lnTo>
                    <a:pt x="152" y="248"/>
                  </a:lnTo>
                  <a:lnTo>
                    <a:pt x="156" y="248"/>
                  </a:lnTo>
                  <a:lnTo>
                    <a:pt x="152" y="248"/>
                  </a:lnTo>
                  <a:lnTo>
                    <a:pt x="152" y="252"/>
                  </a:lnTo>
                  <a:lnTo>
                    <a:pt x="148" y="252"/>
                  </a:lnTo>
                  <a:lnTo>
                    <a:pt x="148" y="248"/>
                  </a:lnTo>
                  <a:lnTo>
                    <a:pt x="144" y="248"/>
                  </a:lnTo>
                  <a:lnTo>
                    <a:pt x="140" y="248"/>
                  </a:lnTo>
                  <a:lnTo>
                    <a:pt x="140" y="252"/>
                  </a:lnTo>
                  <a:lnTo>
                    <a:pt x="136" y="252"/>
                  </a:lnTo>
                  <a:lnTo>
                    <a:pt x="132" y="252"/>
                  </a:lnTo>
                  <a:lnTo>
                    <a:pt x="128" y="252"/>
                  </a:lnTo>
                  <a:lnTo>
                    <a:pt x="124" y="252"/>
                  </a:lnTo>
                  <a:lnTo>
                    <a:pt x="124" y="248"/>
                  </a:lnTo>
                  <a:lnTo>
                    <a:pt x="120" y="248"/>
                  </a:lnTo>
                  <a:lnTo>
                    <a:pt x="120" y="252"/>
                  </a:lnTo>
                  <a:lnTo>
                    <a:pt x="120" y="256"/>
                  </a:lnTo>
                  <a:lnTo>
                    <a:pt x="116" y="256"/>
                  </a:lnTo>
                  <a:lnTo>
                    <a:pt x="112" y="256"/>
                  </a:lnTo>
                  <a:lnTo>
                    <a:pt x="112" y="260"/>
                  </a:lnTo>
                  <a:lnTo>
                    <a:pt x="112" y="256"/>
                  </a:lnTo>
                  <a:lnTo>
                    <a:pt x="112" y="260"/>
                  </a:lnTo>
                  <a:lnTo>
                    <a:pt x="108" y="260"/>
                  </a:lnTo>
                  <a:lnTo>
                    <a:pt x="108" y="256"/>
                  </a:lnTo>
                  <a:lnTo>
                    <a:pt x="108" y="260"/>
                  </a:lnTo>
                  <a:lnTo>
                    <a:pt x="108" y="256"/>
                  </a:lnTo>
                  <a:lnTo>
                    <a:pt x="104" y="260"/>
                  </a:lnTo>
                  <a:lnTo>
                    <a:pt x="100" y="260"/>
                  </a:lnTo>
                  <a:lnTo>
                    <a:pt x="100" y="256"/>
                  </a:lnTo>
                  <a:lnTo>
                    <a:pt x="96" y="252"/>
                  </a:lnTo>
                  <a:lnTo>
                    <a:pt x="96" y="248"/>
                  </a:lnTo>
                  <a:lnTo>
                    <a:pt x="96" y="244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88" y="240"/>
                  </a:lnTo>
                  <a:lnTo>
                    <a:pt x="88" y="236"/>
                  </a:lnTo>
                  <a:lnTo>
                    <a:pt x="88" y="232"/>
                  </a:lnTo>
                  <a:lnTo>
                    <a:pt x="88" y="228"/>
                  </a:lnTo>
                  <a:lnTo>
                    <a:pt x="84" y="224"/>
                  </a:lnTo>
                  <a:lnTo>
                    <a:pt x="80" y="224"/>
                  </a:lnTo>
                  <a:lnTo>
                    <a:pt x="80" y="228"/>
                  </a:lnTo>
                  <a:lnTo>
                    <a:pt x="84" y="224"/>
                  </a:lnTo>
                  <a:lnTo>
                    <a:pt x="84" y="228"/>
                  </a:lnTo>
                  <a:lnTo>
                    <a:pt x="80" y="228"/>
                  </a:lnTo>
                  <a:lnTo>
                    <a:pt x="76" y="228"/>
                  </a:lnTo>
                  <a:lnTo>
                    <a:pt x="72" y="228"/>
                  </a:lnTo>
                  <a:lnTo>
                    <a:pt x="68" y="228"/>
                  </a:lnTo>
                  <a:lnTo>
                    <a:pt x="64" y="228"/>
                  </a:lnTo>
                  <a:lnTo>
                    <a:pt x="64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52" y="232"/>
                  </a:lnTo>
                  <a:lnTo>
                    <a:pt x="48" y="232"/>
                  </a:lnTo>
                  <a:lnTo>
                    <a:pt x="48" y="228"/>
                  </a:lnTo>
                  <a:lnTo>
                    <a:pt x="48" y="232"/>
                  </a:lnTo>
                  <a:lnTo>
                    <a:pt x="44" y="228"/>
                  </a:lnTo>
                  <a:lnTo>
                    <a:pt x="40" y="228"/>
                  </a:lnTo>
                  <a:lnTo>
                    <a:pt x="40" y="232"/>
                  </a:lnTo>
                  <a:lnTo>
                    <a:pt x="36" y="232"/>
                  </a:lnTo>
                  <a:lnTo>
                    <a:pt x="32" y="232"/>
                  </a:lnTo>
                  <a:lnTo>
                    <a:pt x="28" y="232"/>
                  </a:lnTo>
                  <a:lnTo>
                    <a:pt x="24" y="232"/>
                  </a:lnTo>
                  <a:lnTo>
                    <a:pt x="20" y="232"/>
                  </a:lnTo>
                  <a:lnTo>
                    <a:pt x="16" y="236"/>
                  </a:lnTo>
                  <a:lnTo>
                    <a:pt x="12" y="236"/>
                  </a:lnTo>
                  <a:lnTo>
                    <a:pt x="12" y="232"/>
                  </a:lnTo>
                  <a:lnTo>
                    <a:pt x="12" y="228"/>
                  </a:lnTo>
                  <a:lnTo>
                    <a:pt x="12" y="224"/>
                  </a:lnTo>
                  <a:lnTo>
                    <a:pt x="12" y="220"/>
                  </a:lnTo>
                  <a:lnTo>
                    <a:pt x="16" y="220"/>
                  </a:lnTo>
                  <a:lnTo>
                    <a:pt x="16" y="216"/>
                  </a:lnTo>
                  <a:lnTo>
                    <a:pt x="16" y="212"/>
                  </a:lnTo>
                  <a:lnTo>
                    <a:pt x="20" y="212"/>
                  </a:lnTo>
                  <a:lnTo>
                    <a:pt x="20" y="208"/>
                  </a:lnTo>
                  <a:lnTo>
                    <a:pt x="20" y="212"/>
                  </a:lnTo>
                  <a:lnTo>
                    <a:pt x="20" y="208"/>
                  </a:lnTo>
                  <a:lnTo>
                    <a:pt x="24" y="208"/>
                  </a:lnTo>
                  <a:lnTo>
                    <a:pt x="28" y="208"/>
                  </a:lnTo>
                  <a:lnTo>
                    <a:pt x="28" y="204"/>
                  </a:lnTo>
                  <a:lnTo>
                    <a:pt x="32" y="204"/>
                  </a:lnTo>
                  <a:lnTo>
                    <a:pt x="36" y="204"/>
                  </a:lnTo>
                  <a:lnTo>
                    <a:pt x="36" y="200"/>
                  </a:lnTo>
                  <a:lnTo>
                    <a:pt x="36" y="196"/>
                  </a:lnTo>
                  <a:lnTo>
                    <a:pt x="36" y="192"/>
                  </a:lnTo>
                  <a:lnTo>
                    <a:pt x="32" y="192"/>
                  </a:lnTo>
                  <a:lnTo>
                    <a:pt x="28" y="192"/>
                  </a:lnTo>
                  <a:lnTo>
                    <a:pt x="28" y="188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8" y="176"/>
                  </a:lnTo>
                  <a:lnTo>
                    <a:pt x="28" y="172"/>
                  </a:lnTo>
                  <a:lnTo>
                    <a:pt x="24" y="172"/>
                  </a:lnTo>
                  <a:lnTo>
                    <a:pt x="20" y="168"/>
                  </a:lnTo>
                  <a:lnTo>
                    <a:pt x="16" y="168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8" y="156"/>
                  </a:lnTo>
                  <a:lnTo>
                    <a:pt x="8" y="152"/>
                  </a:lnTo>
                  <a:lnTo>
                    <a:pt x="4" y="144"/>
                  </a:lnTo>
                  <a:lnTo>
                    <a:pt x="0" y="144"/>
                  </a:lnTo>
                  <a:lnTo>
                    <a:pt x="4" y="144"/>
                  </a:lnTo>
                  <a:lnTo>
                    <a:pt x="12" y="148"/>
                  </a:lnTo>
                  <a:lnTo>
                    <a:pt x="16" y="148"/>
                  </a:lnTo>
                  <a:lnTo>
                    <a:pt x="20" y="148"/>
                  </a:lnTo>
                  <a:lnTo>
                    <a:pt x="24" y="152"/>
                  </a:lnTo>
                  <a:lnTo>
                    <a:pt x="36" y="14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39" name="Freeform 36"/>
            <p:cNvSpPr>
              <a:spLocks noEditPoints="1"/>
            </p:cNvSpPr>
            <p:nvPr>
              <p:custDataLst>
                <p:tags r:id="rId232"/>
              </p:custDataLst>
            </p:nvPr>
          </p:nvSpPr>
          <p:spPr bwMode="gray">
            <a:xfrm>
              <a:off x="6883922" y="4130273"/>
              <a:ext cx="23729" cy="17797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</a:cxnLst>
              <a:rect l="0" t="0" r="r" b="b"/>
              <a:pathLst>
                <a:path w="16" h="12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close/>
                  <a:moveTo>
                    <a:pt x="16" y="8"/>
                  </a:move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close/>
                  <a:moveTo>
                    <a:pt x="0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0" name="Freeform 37"/>
            <p:cNvSpPr>
              <a:spLocks noEditPoints="1"/>
            </p:cNvSpPr>
            <p:nvPr>
              <p:custDataLst>
                <p:tags r:id="rId233"/>
              </p:custDataLst>
            </p:nvPr>
          </p:nvSpPr>
          <p:spPr bwMode="gray">
            <a:xfrm>
              <a:off x="7002567" y="4076882"/>
              <a:ext cx="212078" cy="379664"/>
            </a:xfrm>
            <a:custGeom>
              <a:avLst/>
              <a:gdLst/>
              <a:ahLst/>
              <a:cxnLst>
                <a:cxn ang="0">
                  <a:pos x="83" y="160"/>
                </a:cxn>
                <a:cxn ang="0">
                  <a:pos x="4" y="200"/>
                </a:cxn>
                <a:cxn ang="0">
                  <a:pos x="52" y="236"/>
                </a:cxn>
                <a:cxn ang="0">
                  <a:pos x="40" y="56"/>
                </a:cxn>
                <a:cxn ang="0">
                  <a:pos x="52" y="32"/>
                </a:cxn>
                <a:cxn ang="0">
                  <a:pos x="64" y="8"/>
                </a:cxn>
                <a:cxn ang="0">
                  <a:pos x="79" y="28"/>
                </a:cxn>
                <a:cxn ang="0">
                  <a:pos x="75" y="52"/>
                </a:cxn>
                <a:cxn ang="0">
                  <a:pos x="71" y="76"/>
                </a:cxn>
                <a:cxn ang="0">
                  <a:pos x="79" y="92"/>
                </a:cxn>
                <a:cxn ang="0">
                  <a:pos x="91" y="96"/>
                </a:cxn>
                <a:cxn ang="0">
                  <a:pos x="103" y="104"/>
                </a:cxn>
                <a:cxn ang="0">
                  <a:pos x="103" y="116"/>
                </a:cxn>
                <a:cxn ang="0">
                  <a:pos x="91" y="100"/>
                </a:cxn>
                <a:cxn ang="0">
                  <a:pos x="83" y="104"/>
                </a:cxn>
                <a:cxn ang="0">
                  <a:pos x="56" y="92"/>
                </a:cxn>
                <a:cxn ang="0">
                  <a:pos x="56" y="84"/>
                </a:cxn>
                <a:cxn ang="0">
                  <a:pos x="44" y="64"/>
                </a:cxn>
                <a:cxn ang="0">
                  <a:pos x="79" y="80"/>
                </a:cxn>
                <a:cxn ang="0">
                  <a:pos x="107" y="96"/>
                </a:cxn>
                <a:cxn ang="0">
                  <a:pos x="75" y="100"/>
                </a:cxn>
                <a:cxn ang="0">
                  <a:pos x="52" y="104"/>
                </a:cxn>
                <a:cxn ang="0">
                  <a:pos x="67" y="124"/>
                </a:cxn>
                <a:cxn ang="0">
                  <a:pos x="75" y="124"/>
                </a:cxn>
                <a:cxn ang="0">
                  <a:pos x="103" y="120"/>
                </a:cxn>
                <a:cxn ang="0">
                  <a:pos x="107" y="136"/>
                </a:cxn>
                <a:cxn ang="0">
                  <a:pos x="111" y="120"/>
                </a:cxn>
                <a:cxn ang="0">
                  <a:pos x="131" y="140"/>
                </a:cxn>
                <a:cxn ang="0">
                  <a:pos x="123" y="132"/>
                </a:cxn>
                <a:cxn ang="0">
                  <a:pos x="44" y="128"/>
                </a:cxn>
                <a:cxn ang="0">
                  <a:pos x="48" y="132"/>
                </a:cxn>
                <a:cxn ang="0">
                  <a:pos x="75" y="160"/>
                </a:cxn>
                <a:cxn ang="0">
                  <a:pos x="83" y="136"/>
                </a:cxn>
                <a:cxn ang="0">
                  <a:pos x="115" y="140"/>
                </a:cxn>
                <a:cxn ang="0">
                  <a:pos x="111" y="140"/>
                </a:cxn>
                <a:cxn ang="0">
                  <a:pos x="123" y="156"/>
                </a:cxn>
                <a:cxn ang="0">
                  <a:pos x="40" y="140"/>
                </a:cxn>
                <a:cxn ang="0">
                  <a:pos x="24" y="180"/>
                </a:cxn>
                <a:cxn ang="0">
                  <a:pos x="8" y="188"/>
                </a:cxn>
                <a:cxn ang="0">
                  <a:pos x="28" y="160"/>
                </a:cxn>
                <a:cxn ang="0">
                  <a:pos x="36" y="144"/>
                </a:cxn>
                <a:cxn ang="0">
                  <a:pos x="99" y="156"/>
                </a:cxn>
                <a:cxn ang="0">
                  <a:pos x="103" y="164"/>
                </a:cxn>
                <a:cxn ang="0">
                  <a:pos x="95" y="168"/>
                </a:cxn>
                <a:cxn ang="0">
                  <a:pos x="83" y="176"/>
                </a:cxn>
                <a:cxn ang="0">
                  <a:pos x="95" y="148"/>
                </a:cxn>
                <a:cxn ang="0">
                  <a:pos x="131" y="164"/>
                </a:cxn>
                <a:cxn ang="0">
                  <a:pos x="111" y="164"/>
                </a:cxn>
                <a:cxn ang="0">
                  <a:pos x="79" y="216"/>
                </a:cxn>
                <a:cxn ang="0">
                  <a:pos x="83" y="204"/>
                </a:cxn>
                <a:cxn ang="0">
                  <a:pos x="103" y="204"/>
                </a:cxn>
                <a:cxn ang="0">
                  <a:pos x="115" y="196"/>
                </a:cxn>
                <a:cxn ang="0">
                  <a:pos x="127" y="172"/>
                </a:cxn>
                <a:cxn ang="0">
                  <a:pos x="135" y="192"/>
                </a:cxn>
                <a:cxn ang="0">
                  <a:pos x="143" y="220"/>
                </a:cxn>
                <a:cxn ang="0">
                  <a:pos x="135" y="220"/>
                </a:cxn>
                <a:cxn ang="0">
                  <a:pos x="127" y="244"/>
                </a:cxn>
                <a:cxn ang="0">
                  <a:pos x="111" y="240"/>
                </a:cxn>
                <a:cxn ang="0">
                  <a:pos x="107" y="212"/>
                </a:cxn>
                <a:cxn ang="0">
                  <a:pos x="95" y="216"/>
                </a:cxn>
                <a:cxn ang="0">
                  <a:pos x="83" y="208"/>
                </a:cxn>
                <a:cxn ang="0">
                  <a:pos x="115" y="184"/>
                </a:cxn>
                <a:cxn ang="0">
                  <a:pos x="64" y="240"/>
                </a:cxn>
              </a:cxnLst>
              <a:rect l="0" t="0" r="r" b="b"/>
              <a:pathLst>
                <a:path w="143" h="256">
                  <a:moveTo>
                    <a:pt x="119" y="140"/>
                  </a:moveTo>
                  <a:lnTo>
                    <a:pt x="119" y="136"/>
                  </a:lnTo>
                  <a:lnTo>
                    <a:pt x="115" y="136"/>
                  </a:lnTo>
                  <a:lnTo>
                    <a:pt x="119" y="136"/>
                  </a:lnTo>
                  <a:lnTo>
                    <a:pt x="119" y="140"/>
                  </a:lnTo>
                  <a:close/>
                  <a:moveTo>
                    <a:pt x="83" y="160"/>
                  </a:moveTo>
                  <a:lnTo>
                    <a:pt x="83" y="156"/>
                  </a:lnTo>
                  <a:lnTo>
                    <a:pt x="83" y="152"/>
                  </a:lnTo>
                  <a:lnTo>
                    <a:pt x="87" y="152"/>
                  </a:lnTo>
                  <a:lnTo>
                    <a:pt x="87" y="156"/>
                  </a:lnTo>
                  <a:lnTo>
                    <a:pt x="83" y="160"/>
                  </a:lnTo>
                  <a:close/>
                  <a:moveTo>
                    <a:pt x="44" y="160"/>
                  </a:moveTo>
                  <a:lnTo>
                    <a:pt x="44" y="156"/>
                  </a:lnTo>
                  <a:lnTo>
                    <a:pt x="40" y="156"/>
                  </a:lnTo>
                  <a:lnTo>
                    <a:pt x="44" y="156"/>
                  </a:lnTo>
                  <a:lnTo>
                    <a:pt x="44" y="160"/>
                  </a:lnTo>
                  <a:close/>
                  <a:moveTo>
                    <a:pt x="99" y="184"/>
                  </a:moveTo>
                  <a:lnTo>
                    <a:pt x="99" y="180"/>
                  </a:lnTo>
                  <a:lnTo>
                    <a:pt x="99" y="184"/>
                  </a:lnTo>
                  <a:close/>
                  <a:moveTo>
                    <a:pt x="4" y="200"/>
                  </a:moveTo>
                  <a:lnTo>
                    <a:pt x="4" y="196"/>
                  </a:lnTo>
                  <a:lnTo>
                    <a:pt x="4" y="200"/>
                  </a:lnTo>
                  <a:close/>
                  <a:moveTo>
                    <a:pt x="0" y="208"/>
                  </a:moveTo>
                  <a:lnTo>
                    <a:pt x="0" y="204"/>
                  </a:lnTo>
                  <a:lnTo>
                    <a:pt x="0" y="200"/>
                  </a:lnTo>
                  <a:lnTo>
                    <a:pt x="0" y="204"/>
                  </a:lnTo>
                  <a:lnTo>
                    <a:pt x="0" y="208"/>
                  </a:lnTo>
                  <a:close/>
                  <a:moveTo>
                    <a:pt x="87" y="216"/>
                  </a:moveTo>
                  <a:lnTo>
                    <a:pt x="87" y="212"/>
                  </a:lnTo>
                  <a:lnTo>
                    <a:pt x="91" y="212"/>
                  </a:lnTo>
                  <a:lnTo>
                    <a:pt x="91" y="216"/>
                  </a:lnTo>
                  <a:lnTo>
                    <a:pt x="87" y="216"/>
                  </a:lnTo>
                  <a:close/>
                  <a:moveTo>
                    <a:pt x="52" y="236"/>
                  </a:moveTo>
                  <a:lnTo>
                    <a:pt x="52" y="232"/>
                  </a:lnTo>
                  <a:lnTo>
                    <a:pt x="56" y="232"/>
                  </a:lnTo>
                  <a:lnTo>
                    <a:pt x="56" y="236"/>
                  </a:lnTo>
                  <a:lnTo>
                    <a:pt x="52" y="236"/>
                  </a:lnTo>
                  <a:close/>
                  <a:moveTo>
                    <a:pt x="71" y="4"/>
                  </a:moveTo>
                  <a:lnTo>
                    <a:pt x="71" y="0"/>
                  </a:lnTo>
                  <a:lnTo>
                    <a:pt x="75" y="0"/>
                  </a:lnTo>
                  <a:lnTo>
                    <a:pt x="71" y="4"/>
                  </a:lnTo>
                  <a:close/>
                  <a:moveTo>
                    <a:pt x="44" y="60"/>
                  </a:moveTo>
                  <a:lnTo>
                    <a:pt x="44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4" y="48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2" y="44"/>
                  </a:lnTo>
                  <a:lnTo>
                    <a:pt x="52" y="40"/>
                  </a:lnTo>
                  <a:lnTo>
                    <a:pt x="52" y="36"/>
                  </a:lnTo>
                  <a:lnTo>
                    <a:pt x="52" y="32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60" y="4"/>
                  </a:lnTo>
                  <a:lnTo>
                    <a:pt x="60" y="8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7" y="8"/>
                  </a:lnTo>
                  <a:lnTo>
                    <a:pt x="67" y="12"/>
                  </a:lnTo>
                  <a:lnTo>
                    <a:pt x="71" y="12"/>
                  </a:lnTo>
                  <a:lnTo>
                    <a:pt x="75" y="12"/>
                  </a:lnTo>
                  <a:lnTo>
                    <a:pt x="75" y="8"/>
                  </a:lnTo>
                  <a:lnTo>
                    <a:pt x="79" y="8"/>
                  </a:lnTo>
                  <a:lnTo>
                    <a:pt x="79" y="12"/>
                  </a:lnTo>
                  <a:lnTo>
                    <a:pt x="79" y="16"/>
                  </a:lnTo>
                  <a:lnTo>
                    <a:pt x="79" y="20"/>
                  </a:lnTo>
                  <a:lnTo>
                    <a:pt x="79" y="24"/>
                  </a:lnTo>
                  <a:lnTo>
                    <a:pt x="79" y="28"/>
                  </a:lnTo>
                  <a:lnTo>
                    <a:pt x="83" y="32"/>
                  </a:lnTo>
                  <a:lnTo>
                    <a:pt x="83" y="36"/>
                  </a:lnTo>
                  <a:lnTo>
                    <a:pt x="83" y="40"/>
                  </a:lnTo>
                  <a:lnTo>
                    <a:pt x="79" y="44"/>
                  </a:lnTo>
                  <a:lnTo>
                    <a:pt x="79" y="48"/>
                  </a:lnTo>
                  <a:lnTo>
                    <a:pt x="79" y="52"/>
                  </a:lnTo>
                  <a:lnTo>
                    <a:pt x="75" y="52"/>
                  </a:lnTo>
                  <a:lnTo>
                    <a:pt x="75" y="56"/>
                  </a:lnTo>
                  <a:lnTo>
                    <a:pt x="75" y="52"/>
                  </a:lnTo>
                  <a:lnTo>
                    <a:pt x="79" y="52"/>
                  </a:lnTo>
                  <a:lnTo>
                    <a:pt x="75" y="52"/>
                  </a:lnTo>
                  <a:lnTo>
                    <a:pt x="71" y="52"/>
                  </a:lnTo>
                  <a:lnTo>
                    <a:pt x="71" y="56"/>
                  </a:lnTo>
                  <a:lnTo>
                    <a:pt x="67" y="56"/>
                  </a:lnTo>
                  <a:lnTo>
                    <a:pt x="67" y="60"/>
                  </a:lnTo>
                  <a:lnTo>
                    <a:pt x="71" y="60"/>
                  </a:lnTo>
                  <a:lnTo>
                    <a:pt x="67" y="60"/>
                  </a:lnTo>
                  <a:lnTo>
                    <a:pt x="67" y="64"/>
                  </a:lnTo>
                  <a:lnTo>
                    <a:pt x="67" y="68"/>
                  </a:lnTo>
                  <a:lnTo>
                    <a:pt x="67" y="72"/>
                  </a:lnTo>
                  <a:lnTo>
                    <a:pt x="67" y="76"/>
                  </a:lnTo>
                  <a:lnTo>
                    <a:pt x="71" y="76"/>
                  </a:lnTo>
                  <a:lnTo>
                    <a:pt x="71" y="80"/>
                  </a:lnTo>
                  <a:lnTo>
                    <a:pt x="67" y="80"/>
                  </a:lnTo>
                  <a:lnTo>
                    <a:pt x="71" y="80"/>
                  </a:lnTo>
                  <a:lnTo>
                    <a:pt x="71" y="84"/>
                  </a:lnTo>
                  <a:lnTo>
                    <a:pt x="71" y="88"/>
                  </a:lnTo>
                  <a:lnTo>
                    <a:pt x="75" y="92"/>
                  </a:lnTo>
                  <a:lnTo>
                    <a:pt x="79" y="92"/>
                  </a:lnTo>
                  <a:lnTo>
                    <a:pt x="79" y="96"/>
                  </a:lnTo>
                  <a:lnTo>
                    <a:pt x="79" y="92"/>
                  </a:lnTo>
                  <a:lnTo>
                    <a:pt x="79" y="88"/>
                  </a:lnTo>
                  <a:lnTo>
                    <a:pt x="79" y="92"/>
                  </a:lnTo>
                  <a:lnTo>
                    <a:pt x="79" y="88"/>
                  </a:lnTo>
                  <a:lnTo>
                    <a:pt x="83" y="88"/>
                  </a:lnTo>
                  <a:lnTo>
                    <a:pt x="83" y="84"/>
                  </a:lnTo>
                  <a:lnTo>
                    <a:pt x="83" y="88"/>
                  </a:lnTo>
                  <a:lnTo>
                    <a:pt x="87" y="84"/>
                  </a:lnTo>
                  <a:lnTo>
                    <a:pt x="87" y="88"/>
                  </a:lnTo>
                  <a:lnTo>
                    <a:pt x="91" y="88"/>
                  </a:lnTo>
                  <a:lnTo>
                    <a:pt x="91" y="92"/>
                  </a:lnTo>
                  <a:lnTo>
                    <a:pt x="91" y="96"/>
                  </a:lnTo>
                  <a:lnTo>
                    <a:pt x="91" y="100"/>
                  </a:lnTo>
                  <a:lnTo>
                    <a:pt x="91" y="96"/>
                  </a:lnTo>
                  <a:lnTo>
                    <a:pt x="95" y="96"/>
                  </a:lnTo>
                  <a:lnTo>
                    <a:pt x="95" y="92"/>
                  </a:lnTo>
                  <a:lnTo>
                    <a:pt x="99" y="92"/>
                  </a:lnTo>
                  <a:lnTo>
                    <a:pt x="99" y="96"/>
                  </a:lnTo>
                  <a:lnTo>
                    <a:pt x="103" y="96"/>
                  </a:lnTo>
                  <a:lnTo>
                    <a:pt x="103" y="100"/>
                  </a:lnTo>
                  <a:lnTo>
                    <a:pt x="103" y="96"/>
                  </a:lnTo>
                  <a:lnTo>
                    <a:pt x="99" y="96"/>
                  </a:lnTo>
                  <a:lnTo>
                    <a:pt x="99" y="100"/>
                  </a:lnTo>
                  <a:lnTo>
                    <a:pt x="99" y="104"/>
                  </a:lnTo>
                  <a:lnTo>
                    <a:pt x="103" y="104"/>
                  </a:lnTo>
                  <a:lnTo>
                    <a:pt x="103" y="108"/>
                  </a:lnTo>
                  <a:lnTo>
                    <a:pt x="103" y="104"/>
                  </a:lnTo>
                  <a:lnTo>
                    <a:pt x="103" y="108"/>
                  </a:lnTo>
                  <a:lnTo>
                    <a:pt x="107" y="108"/>
                  </a:lnTo>
                  <a:lnTo>
                    <a:pt x="107" y="112"/>
                  </a:lnTo>
                  <a:lnTo>
                    <a:pt x="107" y="108"/>
                  </a:lnTo>
                  <a:lnTo>
                    <a:pt x="107" y="112"/>
                  </a:lnTo>
                  <a:lnTo>
                    <a:pt x="107" y="116"/>
                  </a:lnTo>
                  <a:lnTo>
                    <a:pt x="107" y="120"/>
                  </a:lnTo>
                  <a:lnTo>
                    <a:pt x="103" y="120"/>
                  </a:lnTo>
                  <a:lnTo>
                    <a:pt x="103" y="116"/>
                  </a:lnTo>
                  <a:lnTo>
                    <a:pt x="103" y="112"/>
                  </a:lnTo>
                  <a:lnTo>
                    <a:pt x="107" y="112"/>
                  </a:lnTo>
                  <a:lnTo>
                    <a:pt x="103" y="112"/>
                  </a:lnTo>
                  <a:lnTo>
                    <a:pt x="99" y="112"/>
                  </a:lnTo>
                  <a:lnTo>
                    <a:pt x="95" y="112"/>
                  </a:lnTo>
                  <a:lnTo>
                    <a:pt x="95" y="108"/>
                  </a:lnTo>
                  <a:lnTo>
                    <a:pt x="95" y="112"/>
                  </a:lnTo>
                  <a:lnTo>
                    <a:pt x="95" y="108"/>
                  </a:lnTo>
                  <a:lnTo>
                    <a:pt x="95" y="104"/>
                  </a:lnTo>
                  <a:lnTo>
                    <a:pt x="91" y="104"/>
                  </a:lnTo>
                  <a:lnTo>
                    <a:pt x="91" y="100"/>
                  </a:lnTo>
                  <a:lnTo>
                    <a:pt x="87" y="100"/>
                  </a:lnTo>
                  <a:lnTo>
                    <a:pt x="87" y="96"/>
                  </a:lnTo>
                  <a:lnTo>
                    <a:pt x="83" y="96"/>
                  </a:lnTo>
                  <a:lnTo>
                    <a:pt x="83" y="92"/>
                  </a:lnTo>
                  <a:lnTo>
                    <a:pt x="83" y="96"/>
                  </a:lnTo>
                  <a:lnTo>
                    <a:pt x="83" y="100"/>
                  </a:lnTo>
                  <a:lnTo>
                    <a:pt x="83" y="104"/>
                  </a:lnTo>
                  <a:lnTo>
                    <a:pt x="87" y="104"/>
                  </a:lnTo>
                  <a:lnTo>
                    <a:pt x="87" y="108"/>
                  </a:lnTo>
                  <a:lnTo>
                    <a:pt x="83" y="108"/>
                  </a:lnTo>
                  <a:lnTo>
                    <a:pt x="83" y="104"/>
                  </a:lnTo>
                  <a:lnTo>
                    <a:pt x="83" y="100"/>
                  </a:lnTo>
                  <a:lnTo>
                    <a:pt x="79" y="100"/>
                  </a:lnTo>
                  <a:lnTo>
                    <a:pt x="75" y="96"/>
                  </a:lnTo>
                  <a:lnTo>
                    <a:pt x="71" y="96"/>
                  </a:lnTo>
                  <a:lnTo>
                    <a:pt x="71" y="92"/>
                  </a:lnTo>
                  <a:lnTo>
                    <a:pt x="67" y="96"/>
                  </a:lnTo>
                  <a:lnTo>
                    <a:pt x="67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56" y="92"/>
                  </a:lnTo>
                  <a:lnTo>
                    <a:pt x="56" y="96"/>
                  </a:lnTo>
                  <a:lnTo>
                    <a:pt x="56" y="92"/>
                  </a:lnTo>
                  <a:lnTo>
                    <a:pt x="56" y="88"/>
                  </a:lnTo>
                  <a:lnTo>
                    <a:pt x="60" y="84"/>
                  </a:lnTo>
                  <a:lnTo>
                    <a:pt x="60" y="80"/>
                  </a:lnTo>
                  <a:lnTo>
                    <a:pt x="56" y="80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52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2" y="84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48" y="72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4" y="60"/>
                  </a:lnTo>
                  <a:close/>
                  <a:moveTo>
                    <a:pt x="75" y="80"/>
                  </a:moveTo>
                  <a:lnTo>
                    <a:pt x="75" y="76"/>
                  </a:lnTo>
                  <a:lnTo>
                    <a:pt x="71" y="76"/>
                  </a:lnTo>
                  <a:lnTo>
                    <a:pt x="71" y="72"/>
                  </a:lnTo>
                  <a:lnTo>
                    <a:pt x="75" y="72"/>
                  </a:lnTo>
                  <a:lnTo>
                    <a:pt x="75" y="76"/>
                  </a:lnTo>
                  <a:lnTo>
                    <a:pt x="75" y="72"/>
                  </a:lnTo>
                  <a:lnTo>
                    <a:pt x="75" y="76"/>
                  </a:lnTo>
                  <a:lnTo>
                    <a:pt x="75" y="80"/>
                  </a:lnTo>
                  <a:close/>
                  <a:moveTo>
                    <a:pt x="79" y="80"/>
                  </a:moveTo>
                  <a:lnTo>
                    <a:pt x="79" y="76"/>
                  </a:lnTo>
                  <a:lnTo>
                    <a:pt x="75" y="76"/>
                  </a:lnTo>
                  <a:lnTo>
                    <a:pt x="79" y="76"/>
                  </a:lnTo>
                  <a:lnTo>
                    <a:pt x="79" y="80"/>
                  </a:lnTo>
                  <a:close/>
                  <a:moveTo>
                    <a:pt x="79" y="92"/>
                  </a:moveTo>
                  <a:lnTo>
                    <a:pt x="75" y="92"/>
                  </a:lnTo>
                  <a:lnTo>
                    <a:pt x="75" y="88"/>
                  </a:lnTo>
                  <a:lnTo>
                    <a:pt x="75" y="92"/>
                  </a:lnTo>
                  <a:lnTo>
                    <a:pt x="79" y="92"/>
                  </a:lnTo>
                  <a:close/>
                  <a:moveTo>
                    <a:pt x="107" y="100"/>
                  </a:moveTo>
                  <a:lnTo>
                    <a:pt x="107" y="96"/>
                  </a:lnTo>
                  <a:lnTo>
                    <a:pt x="107" y="92"/>
                  </a:lnTo>
                  <a:lnTo>
                    <a:pt x="111" y="92"/>
                  </a:lnTo>
                  <a:lnTo>
                    <a:pt x="111" y="96"/>
                  </a:lnTo>
                  <a:lnTo>
                    <a:pt x="111" y="100"/>
                  </a:lnTo>
                  <a:lnTo>
                    <a:pt x="107" y="100"/>
                  </a:lnTo>
                  <a:close/>
                  <a:moveTo>
                    <a:pt x="48" y="100"/>
                  </a:moveTo>
                  <a:lnTo>
                    <a:pt x="48" y="96"/>
                  </a:lnTo>
                  <a:lnTo>
                    <a:pt x="48" y="100"/>
                  </a:lnTo>
                  <a:close/>
                  <a:moveTo>
                    <a:pt x="75" y="108"/>
                  </a:moveTo>
                  <a:lnTo>
                    <a:pt x="71" y="104"/>
                  </a:lnTo>
                  <a:lnTo>
                    <a:pt x="75" y="100"/>
                  </a:lnTo>
                  <a:lnTo>
                    <a:pt x="75" y="104"/>
                  </a:lnTo>
                  <a:lnTo>
                    <a:pt x="79" y="104"/>
                  </a:lnTo>
                  <a:lnTo>
                    <a:pt x="75" y="108"/>
                  </a:lnTo>
                  <a:close/>
                  <a:moveTo>
                    <a:pt x="60" y="124"/>
                  </a:moveTo>
                  <a:lnTo>
                    <a:pt x="60" y="120"/>
                  </a:lnTo>
                  <a:lnTo>
                    <a:pt x="60" y="116"/>
                  </a:lnTo>
                  <a:lnTo>
                    <a:pt x="56" y="116"/>
                  </a:lnTo>
                  <a:lnTo>
                    <a:pt x="56" y="112"/>
                  </a:lnTo>
                  <a:lnTo>
                    <a:pt x="56" y="108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6" y="100"/>
                  </a:lnTo>
                  <a:lnTo>
                    <a:pt x="56" y="104"/>
                  </a:lnTo>
                  <a:lnTo>
                    <a:pt x="60" y="100"/>
                  </a:lnTo>
                  <a:lnTo>
                    <a:pt x="60" y="104"/>
                  </a:lnTo>
                  <a:lnTo>
                    <a:pt x="64" y="104"/>
                  </a:lnTo>
                  <a:lnTo>
                    <a:pt x="67" y="108"/>
                  </a:lnTo>
                  <a:lnTo>
                    <a:pt x="67" y="112"/>
                  </a:lnTo>
                  <a:lnTo>
                    <a:pt x="67" y="116"/>
                  </a:lnTo>
                  <a:lnTo>
                    <a:pt x="67" y="120"/>
                  </a:lnTo>
                  <a:lnTo>
                    <a:pt x="67" y="124"/>
                  </a:lnTo>
                  <a:lnTo>
                    <a:pt x="64" y="124"/>
                  </a:lnTo>
                  <a:lnTo>
                    <a:pt x="60" y="124"/>
                  </a:lnTo>
                  <a:close/>
                  <a:moveTo>
                    <a:pt x="95" y="116"/>
                  </a:moveTo>
                  <a:lnTo>
                    <a:pt x="95" y="112"/>
                  </a:lnTo>
                  <a:lnTo>
                    <a:pt x="91" y="112"/>
                  </a:lnTo>
                  <a:lnTo>
                    <a:pt x="91" y="108"/>
                  </a:lnTo>
                  <a:lnTo>
                    <a:pt x="91" y="112"/>
                  </a:lnTo>
                  <a:lnTo>
                    <a:pt x="95" y="112"/>
                  </a:lnTo>
                  <a:lnTo>
                    <a:pt x="95" y="116"/>
                  </a:lnTo>
                  <a:close/>
                  <a:moveTo>
                    <a:pt x="75" y="128"/>
                  </a:moveTo>
                  <a:lnTo>
                    <a:pt x="75" y="124"/>
                  </a:lnTo>
                  <a:lnTo>
                    <a:pt x="75" y="120"/>
                  </a:lnTo>
                  <a:lnTo>
                    <a:pt x="75" y="116"/>
                  </a:lnTo>
                  <a:lnTo>
                    <a:pt x="79" y="116"/>
                  </a:lnTo>
                  <a:lnTo>
                    <a:pt x="79" y="120"/>
                  </a:lnTo>
                  <a:lnTo>
                    <a:pt x="75" y="120"/>
                  </a:lnTo>
                  <a:lnTo>
                    <a:pt x="75" y="128"/>
                  </a:lnTo>
                  <a:close/>
                  <a:moveTo>
                    <a:pt x="103" y="124"/>
                  </a:moveTo>
                  <a:lnTo>
                    <a:pt x="103" y="120"/>
                  </a:lnTo>
                  <a:lnTo>
                    <a:pt x="99" y="120"/>
                  </a:lnTo>
                  <a:lnTo>
                    <a:pt x="99" y="116"/>
                  </a:lnTo>
                  <a:lnTo>
                    <a:pt x="103" y="120"/>
                  </a:lnTo>
                  <a:lnTo>
                    <a:pt x="103" y="124"/>
                  </a:lnTo>
                  <a:close/>
                  <a:moveTo>
                    <a:pt x="91" y="132"/>
                  </a:moveTo>
                  <a:lnTo>
                    <a:pt x="95" y="128"/>
                  </a:lnTo>
                  <a:lnTo>
                    <a:pt x="95" y="124"/>
                  </a:lnTo>
                  <a:lnTo>
                    <a:pt x="95" y="120"/>
                  </a:lnTo>
                  <a:lnTo>
                    <a:pt x="99" y="120"/>
                  </a:lnTo>
                  <a:lnTo>
                    <a:pt x="99" y="124"/>
                  </a:lnTo>
                  <a:lnTo>
                    <a:pt x="103" y="124"/>
                  </a:lnTo>
                  <a:lnTo>
                    <a:pt x="107" y="128"/>
                  </a:lnTo>
                  <a:lnTo>
                    <a:pt x="107" y="132"/>
                  </a:lnTo>
                  <a:lnTo>
                    <a:pt x="107" y="136"/>
                  </a:lnTo>
                  <a:lnTo>
                    <a:pt x="107" y="132"/>
                  </a:lnTo>
                  <a:lnTo>
                    <a:pt x="103" y="132"/>
                  </a:lnTo>
                  <a:lnTo>
                    <a:pt x="99" y="128"/>
                  </a:lnTo>
                  <a:lnTo>
                    <a:pt x="99" y="124"/>
                  </a:lnTo>
                  <a:lnTo>
                    <a:pt x="95" y="124"/>
                  </a:lnTo>
                  <a:lnTo>
                    <a:pt x="95" y="128"/>
                  </a:lnTo>
                  <a:lnTo>
                    <a:pt x="95" y="132"/>
                  </a:lnTo>
                  <a:lnTo>
                    <a:pt x="91" y="132"/>
                  </a:lnTo>
                  <a:close/>
                  <a:moveTo>
                    <a:pt x="111" y="128"/>
                  </a:moveTo>
                  <a:lnTo>
                    <a:pt x="111" y="124"/>
                  </a:lnTo>
                  <a:lnTo>
                    <a:pt x="111" y="120"/>
                  </a:lnTo>
                  <a:lnTo>
                    <a:pt x="115" y="120"/>
                  </a:lnTo>
                  <a:lnTo>
                    <a:pt x="119" y="120"/>
                  </a:lnTo>
                  <a:lnTo>
                    <a:pt x="123" y="120"/>
                  </a:lnTo>
                  <a:lnTo>
                    <a:pt x="127" y="120"/>
                  </a:lnTo>
                  <a:lnTo>
                    <a:pt x="123" y="124"/>
                  </a:lnTo>
                  <a:lnTo>
                    <a:pt x="127" y="124"/>
                  </a:lnTo>
                  <a:lnTo>
                    <a:pt x="127" y="128"/>
                  </a:lnTo>
                  <a:lnTo>
                    <a:pt x="127" y="132"/>
                  </a:lnTo>
                  <a:lnTo>
                    <a:pt x="127" y="136"/>
                  </a:lnTo>
                  <a:lnTo>
                    <a:pt x="127" y="140"/>
                  </a:lnTo>
                  <a:lnTo>
                    <a:pt x="131" y="140"/>
                  </a:lnTo>
                  <a:lnTo>
                    <a:pt x="131" y="144"/>
                  </a:lnTo>
                  <a:lnTo>
                    <a:pt x="127" y="144"/>
                  </a:lnTo>
                  <a:lnTo>
                    <a:pt x="131" y="144"/>
                  </a:lnTo>
                  <a:lnTo>
                    <a:pt x="131" y="148"/>
                  </a:lnTo>
                  <a:lnTo>
                    <a:pt x="131" y="144"/>
                  </a:lnTo>
                  <a:lnTo>
                    <a:pt x="127" y="144"/>
                  </a:lnTo>
                  <a:lnTo>
                    <a:pt x="123" y="144"/>
                  </a:lnTo>
                  <a:lnTo>
                    <a:pt x="119" y="140"/>
                  </a:lnTo>
                  <a:lnTo>
                    <a:pt x="119" y="136"/>
                  </a:lnTo>
                  <a:lnTo>
                    <a:pt x="123" y="136"/>
                  </a:lnTo>
                  <a:lnTo>
                    <a:pt x="123" y="132"/>
                  </a:lnTo>
                  <a:lnTo>
                    <a:pt x="119" y="132"/>
                  </a:lnTo>
                  <a:lnTo>
                    <a:pt x="115" y="132"/>
                  </a:lnTo>
                  <a:lnTo>
                    <a:pt x="115" y="128"/>
                  </a:lnTo>
                  <a:lnTo>
                    <a:pt x="111" y="128"/>
                  </a:lnTo>
                  <a:close/>
                  <a:moveTo>
                    <a:pt x="83" y="124"/>
                  </a:moveTo>
                  <a:lnTo>
                    <a:pt x="83" y="120"/>
                  </a:lnTo>
                  <a:lnTo>
                    <a:pt x="87" y="120"/>
                  </a:lnTo>
                  <a:lnTo>
                    <a:pt x="87" y="124"/>
                  </a:lnTo>
                  <a:lnTo>
                    <a:pt x="83" y="124"/>
                  </a:lnTo>
                  <a:close/>
                  <a:moveTo>
                    <a:pt x="48" y="128"/>
                  </a:moveTo>
                  <a:lnTo>
                    <a:pt x="44" y="128"/>
                  </a:lnTo>
                  <a:lnTo>
                    <a:pt x="44" y="124"/>
                  </a:lnTo>
                  <a:lnTo>
                    <a:pt x="48" y="124"/>
                  </a:lnTo>
                  <a:lnTo>
                    <a:pt x="48" y="128"/>
                  </a:lnTo>
                  <a:lnTo>
                    <a:pt x="48" y="124"/>
                  </a:lnTo>
                  <a:lnTo>
                    <a:pt x="52" y="128"/>
                  </a:lnTo>
                  <a:lnTo>
                    <a:pt x="48" y="128"/>
                  </a:lnTo>
                  <a:close/>
                  <a:moveTo>
                    <a:pt x="44" y="136"/>
                  </a:moveTo>
                  <a:lnTo>
                    <a:pt x="44" y="132"/>
                  </a:lnTo>
                  <a:lnTo>
                    <a:pt x="44" y="128"/>
                  </a:lnTo>
                  <a:lnTo>
                    <a:pt x="44" y="132"/>
                  </a:lnTo>
                  <a:lnTo>
                    <a:pt x="48" y="132"/>
                  </a:lnTo>
                  <a:lnTo>
                    <a:pt x="48" y="136"/>
                  </a:lnTo>
                  <a:lnTo>
                    <a:pt x="44" y="136"/>
                  </a:lnTo>
                  <a:close/>
                  <a:moveTo>
                    <a:pt x="91" y="144"/>
                  </a:moveTo>
                  <a:lnTo>
                    <a:pt x="91" y="148"/>
                  </a:lnTo>
                  <a:lnTo>
                    <a:pt x="87" y="148"/>
                  </a:lnTo>
                  <a:lnTo>
                    <a:pt x="87" y="152"/>
                  </a:lnTo>
                  <a:lnTo>
                    <a:pt x="83" y="152"/>
                  </a:lnTo>
                  <a:lnTo>
                    <a:pt x="79" y="152"/>
                  </a:lnTo>
                  <a:lnTo>
                    <a:pt x="79" y="156"/>
                  </a:lnTo>
                  <a:lnTo>
                    <a:pt x="75" y="156"/>
                  </a:lnTo>
                  <a:lnTo>
                    <a:pt x="75" y="160"/>
                  </a:lnTo>
                  <a:lnTo>
                    <a:pt x="75" y="156"/>
                  </a:lnTo>
                  <a:lnTo>
                    <a:pt x="75" y="152"/>
                  </a:lnTo>
                  <a:lnTo>
                    <a:pt x="75" y="148"/>
                  </a:lnTo>
                  <a:lnTo>
                    <a:pt x="75" y="144"/>
                  </a:lnTo>
                  <a:lnTo>
                    <a:pt x="75" y="140"/>
                  </a:lnTo>
                  <a:lnTo>
                    <a:pt x="75" y="136"/>
                  </a:lnTo>
                  <a:lnTo>
                    <a:pt x="75" y="132"/>
                  </a:lnTo>
                  <a:lnTo>
                    <a:pt x="71" y="132"/>
                  </a:lnTo>
                  <a:lnTo>
                    <a:pt x="75" y="132"/>
                  </a:lnTo>
                  <a:lnTo>
                    <a:pt x="79" y="132"/>
                  </a:lnTo>
                  <a:lnTo>
                    <a:pt x="83" y="136"/>
                  </a:lnTo>
                  <a:lnTo>
                    <a:pt x="83" y="140"/>
                  </a:lnTo>
                  <a:lnTo>
                    <a:pt x="87" y="136"/>
                  </a:lnTo>
                  <a:lnTo>
                    <a:pt x="87" y="140"/>
                  </a:lnTo>
                  <a:lnTo>
                    <a:pt x="91" y="140"/>
                  </a:lnTo>
                  <a:lnTo>
                    <a:pt x="91" y="136"/>
                  </a:lnTo>
                  <a:lnTo>
                    <a:pt x="91" y="140"/>
                  </a:lnTo>
                  <a:lnTo>
                    <a:pt x="91" y="144"/>
                  </a:lnTo>
                  <a:close/>
                  <a:moveTo>
                    <a:pt x="111" y="140"/>
                  </a:moveTo>
                  <a:lnTo>
                    <a:pt x="111" y="136"/>
                  </a:lnTo>
                  <a:lnTo>
                    <a:pt x="115" y="136"/>
                  </a:lnTo>
                  <a:lnTo>
                    <a:pt x="115" y="140"/>
                  </a:lnTo>
                  <a:lnTo>
                    <a:pt x="111" y="140"/>
                  </a:lnTo>
                  <a:close/>
                  <a:moveTo>
                    <a:pt x="115" y="156"/>
                  </a:moveTo>
                  <a:lnTo>
                    <a:pt x="119" y="156"/>
                  </a:lnTo>
                  <a:lnTo>
                    <a:pt x="119" y="152"/>
                  </a:lnTo>
                  <a:lnTo>
                    <a:pt x="115" y="152"/>
                  </a:lnTo>
                  <a:lnTo>
                    <a:pt x="115" y="148"/>
                  </a:lnTo>
                  <a:lnTo>
                    <a:pt x="115" y="152"/>
                  </a:lnTo>
                  <a:lnTo>
                    <a:pt x="111" y="152"/>
                  </a:lnTo>
                  <a:lnTo>
                    <a:pt x="111" y="148"/>
                  </a:lnTo>
                  <a:lnTo>
                    <a:pt x="111" y="144"/>
                  </a:lnTo>
                  <a:lnTo>
                    <a:pt x="111" y="140"/>
                  </a:lnTo>
                  <a:lnTo>
                    <a:pt x="111" y="136"/>
                  </a:lnTo>
                  <a:lnTo>
                    <a:pt x="115" y="140"/>
                  </a:lnTo>
                  <a:lnTo>
                    <a:pt x="115" y="144"/>
                  </a:lnTo>
                  <a:lnTo>
                    <a:pt x="115" y="140"/>
                  </a:lnTo>
                  <a:lnTo>
                    <a:pt x="119" y="140"/>
                  </a:lnTo>
                  <a:lnTo>
                    <a:pt x="119" y="144"/>
                  </a:lnTo>
                  <a:lnTo>
                    <a:pt x="123" y="148"/>
                  </a:lnTo>
                  <a:lnTo>
                    <a:pt x="119" y="148"/>
                  </a:lnTo>
                  <a:lnTo>
                    <a:pt x="119" y="152"/>
                  </a:lnTo>
                  <a:lnTo>
                    <a:pt x="123" y="152"/>
                  </a:lnTo>
                  <a:lnTo>
                    <a:pt x="123" y="156"/>
                  </a:lnTo>
                  <a:lnTo>
                    <a:pt x="123" y="160"/>
                  </a:lnTo>
                  <a:lnTo>
                    <a:pt x="123" y="164"/>
                  </a:lnTo>
                  <a:lnTo>
                    <a:pt x="123" y="160"/>
                  </a:lnTo>
                  <a:lnTo>
                    <a:pt x="119" y="160"/>
                  </a:lnTo>
                  <a:lnTo>
                    <a:pt x="119" y="164"/>
                  </a:lnTo>
                  <a:lnTo>
                    <a:pt x="115" y="164"/>
                  </a:lnTo>
                  <a:lnTo>
                    <a:pt x="119" y="160"/>
                  </a:lnTo>
                  <a:lnTo>
                    <a:pt x="115" y="160"/>
                  </a:lnTo>
                  <a:lnTo>
                    <a:pt x="115" y="156"/>
                  </a:lnTo>
                  <a:close/>
                  <a:moveTo>
                    <a:pt x="44" y="140"/>
                  </a:moveTo>
                  <a:lnTo>
                    <a:pt x="40" y="140"/>
                  </a:lnTo>
                  <a:lnTo>
                    <a:pt x="44" y="140"/>
                  </a:lnTo>
                  <a:close/>
                  <a:moveTo>
                    <a:pt x="40" y="156"/>
                  </a:moveTo>
                  <a:lnTo>
                    <a:pt x="40" y="160"/>
                  </a:lnTo>
                  <a:lnTo>
                    <a:pt x="36" y="160"/>
                  </a:lnTo>
                  <a:lnTo>
                    <a:pt x="36" y="164"/>
                  </a:lnTo>
                  <a:lnTo>
                    <a:pt x="32" y="164"/>
                  </a:lnTo>
                  <a:lnTo>
                    <a:pt x="28" y="168"/>
                  </a:lnTo>
                  <a:lnTo>
                    <a:pt x="24" y="172"/>
                  </a:lnTo>
                  <a:lnTo>
                    <a:pt x="28" y="172"/>
                  </a:lnTo>
                  <a:lnTo>
                    <a:pt x="24" y="176"/>
                  </a:lnTo>
                  <a:lnTo>
                    <a:pt x="24" y="180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6" y="184"/>
                  </a:lnTo>
                  <a:lnTo>
                    <a:pt x="16" y="188"/>
                  </a:lnTo>
                  <a:lnTo>
                    <a:pt x="12" y="188"/>
                  </a:lnTo>
                  <a:lnTo>
                    <a:pt x="12" y="192"/>
                  </a:lnTo>
                  <a:lnTo>
                    <a:pt x="8" y="192"/>
                  </a:lnTo>
                  <a:lnTo>
                    <a:pt x="4" y="196"/>
                  </a:lnTo>
                  <a:lnTo>
                    <a:pt x="4" y="192"/>
                  </a:lnTo>
                  <a:lnTo>
                    <a:pt x="4" y="188"/>
                  </a:lnTo>
                  <a:lnTo>
                    <a:pt x="8" y="188"/>
                  </a:lnTo>
                  <a:lnTo>
                    <a:pt x="12" y="184"/>
                  </a:lnTo>
                  <a:lnTo>
                    <a:pt x="12" y="180"/>
                  </a:lnTo>
                  <a:lnTo>
                    <a:pt x="16" y="180"/>
                  </a:lnTo>
                  <a:lnTo>
                    <a:pt x="20" y="172"/>
                  </a:lnTo>
                  <a:lnTo>
                    <a:pt x="24" y="172"/>
                  </a:lnTo>
                  <a:lnTo>
                    <a:pt x="24" y="168"/>
                  </a:lnTo>
                  <a:lnTo>
                    <a:pt x="28" y="164"/>
                  </a:lnTo>
                  <a:lnTo>
                    <a:pt x="28" y="168"/>
                  </a:lnTo>
                  <a:lnTo>
                    <a:pt x="28" y="164"/>
                  </a:lnTo>
                  <a:lnTo>
                    <a:pt x="32" y="160"/>
                  </a:lnTo>
                  <a:lnTo>
                    <a:pt x="28" y="160"/>
                  </a:lnTo>
                  <a:lnTo>
                    <a:pt x="32" y="160"/>
                  </a:lnTo>
                  <a:lnTo>
                    <a:pt x="36" y="156"/>
                  </a:lnTo>
                  <a:lnTo>
                    <a:pt x="36" y="152"/>
                  </a:lnTo>
                  <a:lnTo>
                    <a:pt x="32" y="152"/>
                  </a:lnTo>
                  <a:lnTo>
                    <a:pt x="32" y="148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36" y="148"/>
                  </a:lnTo>
                  <a:lnTo>
                    <a:pt x="36" y="144"/>
                  </a:lnTo>
                  <a:lnTo>
                    <a:pt x="36" y="148"/>
                  </a:lnTo>
                  <a:lnTo>
                    <a:pt x="36" y="144"/>
                  </a:lnTo>
                  <a:lnTo>
                    <a:pt x="36" y="140"/>
                  </a:lnTo>
                  <a:lnTo>
                    <a:pt x="40" y="140"/>
                  </a:lnTo>
                  <a:lnTo>
                    <a:pt x="40" y="144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40" y="152"/>
                  </a:lnTo>
                  <a:lnTo>
                    <a:pt x="40" y="156"/>
                  </a:lnTo>
                  <a:close/>
                  <a:moveTo>
                    <a:pt x="95" y="164"/>
                  </a:moveTo>
                  <a:lnTo>
                    <a:pt x="99" y="164"/>
                  </a:lnTo>
                  <a:lnTo>
                    <a:pt x="99" y="160"/>
                  </a:lnTo>
                  <a:lnTo>
                    <a:pt x="99" y="156"/>
                  </a:lnTo>
                  <a:lnTo>
                    <a:pt x="103" y="156"/>
                  </a:lnTo>
                  <a:lnTo>
                    <a:pt x="103" y="152"/>
                  </a:lnTo>
                  <a:lnTo>
                    <a:pt x="103" y="148"/>
                  </a:lnTo>
                  <a:lnTo>
                    <a:pt x="103" y="144"/>
                  </a:lnTo>
                  <a:lnTo>
                    <a:pt x="107" y="144"/>
                  </a:lnTo>
                  <a:lnTo>
                    <a:pt x="107" y="148"/>
                  </a:lnTo>
                  <a:lnTo>
                    <a:pt x="107" y="152"/>
                  </a:lnTo>
                  <a:lnTo>
                    <a:pt x="107" y="156"/>
                  </a:lnTo>
                  <a:lnTo>
                    <a:pt x="107" y="160"/>
                  </a:lnTo>
                  <a:lnTo>
                    <a:pt x="103" y="160"/>
                  </a:lnTo>
                  <a:lnTo>
                    <a:pt x="103" y="164"/>
                  </a:lnTo>
                  <a:lnTo>
                    <a:pt x="99" y="164"/>
                  </a:lnTo>
                  <a:lnTo>
                    <a:pt x="99" y="168"/>
                  </a:lnTo>
                  <a:lnTo>
                    <a:pt x="99" y="172"/>
                  </a:lnTo>
                  <a:lnTo>
                    <a:pt x="99" y="176"/>
                  </a:lnTo>
                  <a:lnTo>
                    <a:pt x="95" y="176"/>
                  </a:lnTo>
                  <a:lnTo>
                    <a:pt x="95" y="172"/>
                  </a:lnTo>
                  <a:lnTo>
                    <a:pt x="95" y="168"/>
                  </a:lnTo>
                  <a:lnTo>
                    <a:pt x="95" y="164"/>
                  </a:lnTo>
                  <a:close/>
                  <a:moveTo>
                    <a:pt x="95" y="160"/>
                  </a:moveTo>
                  <a:lnTo>
                    <a:pt x="95" y="164"/>
                  </a:lnTo>
                  <a:lnTo>
                    <a:pt x="95" y="168"/>
                  </a:lnTo>
                  <a:lnTo>
                    <a:pt x="91" y="168"/>
                  </a:lnTo>
                  <a:lnTo>
                    <a:pt x="91" y="172"/>
                  </a:lnTo>
                  <a:lnTo>
                    <a:pt x="91" y="176"/>
                  </a:lnTo>
                  <a:lnTo>
                    <a:pt x="95" y="176"/>
                  </a:lnTo>
                  <a:lnTo>
                    <a:pt x="95" y="180"/>
                  </a:lnTo>
                  <a:lnTo>
                    <a:pt x="95" y="184"/>
                  </a:lnTo>
                  <a:lnTo>
                    <a:pt x="91" y="184"/>
                  </a:lnTo>
                  <a:lnTo>
                    <a:pt x="87" y="184"/>
                  </a:lnTo>
                  <a:lnTo>
                    <a:pt x="87" y="180"/>
                  </a:lnTo>
                  <a:lnTo>
                    <a:pt x="87" y="176"/>
                  </a:lnTo>
                  <a:lnTo>
                    <a:pt x="83" y="176"/>
                  </a:lnTo>
                  <a:lnTo>
                    <a:pt x="83" y="172"/>
                  </a:lnTo>
                  <a:lnTo>
                    <a:pt x="79" y="172"/>
                  </a:lnTo>
                  <a:lnTo>
                    <a:pt x="83" y="172"/>
                  </a:lnTo>
                  <a:lnTo>
                    <a:pt x="83" y="168"/>
                  </a:lnTo>
                  <a:lnTo>
                    <a:pt x="87" y="168"/>
                  </a:lnTo>
                  <a:lnTo>
                    <a:pt x="87" y="164"/>
                  </a:lnTo>
                  <a:lnTo>
                    <a:pt x="87" y="160"/>
                  </a:lnTo>
                  <a:lnTo>
                    <a:pt x="87" y="156"/>
                  </a:lnTo>
                  <a:lnTo>
                    <a:pt x="91" y="152"/>
                  </a:lnTo>
                  <a:lnTo>
                    <a:pt x="91" y="148"/>
                  </a:lnTo>
                  <a:lnTo>
                    <a:pt x="95" y="148"/>
                  </a:lnTo>
                  <a:lnTo>
                    <a:pt x="99" y="148"/>
                  </a:lnTo>
                  <a:lnTo>
                    <a:pt x="99" y="152"/>
                  </a:lnTo>
                  <a:lnTo>
                    <a:pt x="99" y="156"/>
                  </a:lnTo>
                  <a:lnTo>
                    <a:pt x="95" y="156"/>
                  </a:lnTo>
                  <a:lnTo>
                    <a:pt x="95" y="160"/>
                  </a:lnTo>
                  <a:close/>
                  <a:moveTo>
                    <a:pt x="131" y="168"/>
                  </a:moveTo>
                  <a:lnTo>
                    <a:pt x="127" y="164"/>
                  </a:lnTo>
                  <a:lnTo>
                    <a:pt x="127" y="160"/>
                  </a:lnTo>
                  <a:lnTo>
                    <a:pt x="131" y="156"/>
                  </a:lnTo>
                  <a:lnTo>
                    <a:pt x="131" y="160"/>
                  </a:lnTo>
                  <a:lnTo>
                    <a:pt x="131" y="164"/>
                  </a:lnTo>
                  <a:lnTo>
                    <a:pt x="131" y="168"/>
                  </a:lnTo>
                  <a:close/>
                  <a:moveTo>
                    <a:pt x="115" y="164"/>
                  </a:moveTo>
                  <a:lnTo>
                    <a:pt x="115" y="168"/>
                  </a:lnTo>
                  <a:lnTo>
                    <a:pt x="115" y="172"/>
                  </a:lnTo>
                  <a:lnTo>
                    <a:pt x="111" y="172"/>
                  </a:lnTo>
                  <a:lnTo>
                    <a:pt x="107" y="172"/>
                  </a:lnTo>
                  <a:lnTo>
                    <a:pt x="103" y="172"/>
                  </a:lnTo>
                  <a:lnTo>
                    <a:pt x="103" y="168"/>
                  </a:lnTo>
                  <a:lnTo>
                    <a:pt x="107" y="168"/>
                  </a:lnTo>
                  <a:lnTo>
                    <a:pt x="107" y="164"/>
                  </a:lnTo>
                  <a:lnTo>
                    <a:pt x="111" y="164"/>
                  </a:lnTo>
                  <a:lnTo>
                    <a:pt x="115" y="164"/>
                  </a:lnTo>
                  <a:close/>
                  <a:moveTo>
                    <a:pt x="123" y="168"/>
                  </a:moveTo>
                  <a:lnTo>
                    <a:pt x="123" y="164"/>
                  </a:lnTo>
                  <a:lnTo>
                    <a:pt x="123" y="168"/>
                  </a:lnTo>
                  <a:close/>
                  <a:moveTo>
                    <a:pt x="135" y="172"/>
                  </a:moveTo>
                  <a:lnTo>
                    <a:pt x="135" y="168"/>
                  </a:lnTo>
                  <a:lnTo>
                    <a:pt x="135" y="164"/>
                  </a:lnTo>
                  <a:lnTo>
                    <a:pt x="139" y="168"/>
                  </a:lnTo>
                  <a:lnTo>
                    <a:pt x="139" y="172"/>
                  </a:lnTo>
                  <a:lnTo>
                    <a:pt x="135" y="172"/>
                  </a:lnTo>
                  <a:close/>
                  <a:moveTo>
                    <a:pt x="79" y="216"/>
                  </a:moveTo>
                  <a:lnTo>
                    <a:pt x="79" y="220"/>
                  </a:lnTo>
                  <a:lnTo>
                    <a:pt x="79" y="224"/>
                  </a:lnTo>
                  <a:lnTo>
                    <a:pt x="75" y="224"/>
                  </a:lnTo>
                  <a:lnTo>
                    <a:pt x="75" y="220"/>
                  </a:lnTo>
                  <a:lnTo>
                    <a:pt x="75" y="216"/>
                  </a:lnTo>
                  <a:lnTo>
                    <a:pt x="75" y="212"/>
                  </a:lnTo>
                  <a:lnTo>
                    <a:pt x="75" y="208"/>
                  </a:lnTo>
                  <a:lnTo>
                    <a:pt x="79" y="208"/>
                  </a:lnTo>
                  <a:lnTo>
                    <a:pt x="79" y="204"/>
                  </a:lnTo>
                  <a:lnTo>
                    <a:pt x="83" y="200"/>
                  </a:lnTo>
                  <a:lnTo>
                    <a:pt x="83" y="204"/>
                  </a:lnTo>
                  <a:lnTo>
                    <a:pt x="87" y="200"/>
                  </a:lnTo>
                  <a:lnTo>
                    <a:pt x="91" y="200"/>
                  </a:lnTo>
                  <a:lnTo>
                    <a:pt x="91" y="196"/>
                  </a:lnTo>
                  <a:lnTo>
                    <a:pt x="91" y="192"/>
                  </a:lnTo>
                  <a:lnTo>
                    <a:pt x="95" y="192"/>
                  </a:lnTo>
                  <a:lnTo>
                    <a:pt x="95" y="188"/>
                  </a:lnTo>
                  <a:lnTo>
                    <a:pt x="99" y="192"/>
                  </a:lnTo>
                  <a:lnTo>
                    <a:pt x="103" y="192"/>
                  </a:lnTo>
                  <a:lnTo>
                    <a:pt x="103" y="196"/>
                  </a:lnTo>
                  <a:lnTo>
                    <a:pt x="103" y="200"/>
                  </a:lnTo>
                  <a:lnTo>
                    <a:pt x="103" y="204"/>
                  </a:lnTo>
                  <a:lnTo>
                    <a:pt x="99" y="204"/>
                  </a:lnTo>
                  <a:lnTo>
                    <a:pt x="103" y="204"/>
                  </a:lnTo>
                  <a:lnTo>
                    <a:pt x="103" y="200"/>
                  </a:lnTo>
                  <a:lnTo>
                    <a:pt x="107" y="200"/>
                  </a:lnTo>
                  <a:lnTo>
                    <a:pt x="111" y="200"/>
                  </a:lnTo>
                  <a:lnTo>
                    <a:pt x="111" y="196"/>
                  </a:lnTo>
                  <a:lnTo>
                    <a:pt x="107" y="196"/>
                  </a:lnTo>
                  <a:lnTo>
                    <a:pt x="111" y="196"/>
                  </a:lnTo>
                  <a:lnTo>
                    <a:pt x="111" y="192"/>
                  </a:lnTo>
                  <a:lnTo>
                    <a:pt x="115" y="192"/>
                  </a:lnTo>
                  <a:lnTo>
                    <a:pt x="115" y="196"/>
                  </a:lnTo>
                  <a:lnTo>
                    <a:pt x="115" y="192"/>
                  </a:lnTo>
                  <a:lnTo>
                    <a:pt x="115" y="188"/>
                  </a:lnTo>
                  <a:lnTo>
                    <a:pt x="119" y="188"/>
                  </a:lnTo>
                  <a:lnTo>
                    <a:pt x="119" y="184"/>
                  </a:lnTo>
                  <a:lnTo>
                    <a:pt x="119" y="188"/>
                  </a:lnTo>
                  <a:lnTo>
                    <a:pt x="123" y="188"/>
                  </a:lnTo>
                  <a:lnTo>
                    <a:pt x="123" y="184"/>
                  </a:lnTo>
                  <a:lnTo>
                    <a:pt x="127" y="184"/>
                  </a:lnTo>
                  <a:lnTo>
                    <a:pt x="127" y="180"/>
                  </a:lnTo>
                  <a:lnTo>
                    <a:pt x="127" y="176"/>
                  </a:lnTo>
                  <a:lnTo>
                    <a:pt x="127" y="172"/>
                  </a:lnTo>
                  <a:lnTo>
                    <a:pt x="127" y="168"/>
                  </a:lnTo>
                  <a:lnTo>
                    <a:pt x="127" y="172"/>
                  </a:lnTo>
                  <a:lnTo>
                    <a:pt x="131" y="172"/>
                  </a:lnTo>
                  <a:lnTo>
                    <a:pt x="131" y="176"/>
                  </a:lnTo>
                  <a:lnTo>
                    <a:pt x="135" y="176"/>
                  </a:lnTo>
                  <a:lnTo>
                    <a:pt x="135" y="180"/>
                  </a:lnTo>
                  <a:lnTo>
                    <a:pt x="139" y="180"/>
                  </a:lnTo>
                  <a:lnTo>
                    <a:pt x="139" y="184"/>
                  </a:lnTo>
                  <a:lnTo>
                    <a:pt x="139" y="188"/>
                  </a:lnTo>
                  <a:lnTo>
                    <a:pt x="139" y="192"/>
                  </a:lnTo>
                  <a:lnTo>
                    <a:pt x="135" y="192"/>
                  </a:lnTo>
                  <a:lnTo>
                    <a:pt x="139" y="192"/>
                  </a:lnTo>
                  <a:lnTo>
                    <a:pt x="143" y="192"/>
                  </a:lnTo>
                  <a:lnTo>
                    <a:pt x="143" y="196"/>
                  </a:lnTo>
                  <a:lnTo>
                    <a:pt x="139" y="196"/>
                  </a:lnTo>
                  <a:lnTo>
                    <a:pt x="139" y="200"/>
                  </a:lnTo>
                  <a:lnTo>
                    <a:pt x="143" y="200"/>
                  </a:lnTo>
                  <a:lnTo>
                    <a:pt x="143" y="204"/>
                  </a:lnTo>
                  <a:lnTo>
                    <a:pt x="143" y="208"/>
                  </a:lnTo>
                  <a:lnTo>
                    <a:pt x="143" y="212"/>
                  </a:lnTo>
                  <a:lnTo>
                    <a:pt x="143" y="216"/>
                  </a:lnTo>
                  <a:lnTo>
                    <a:pt x="143" y="220"/>
                  </a:lnTo>
                  <a:lnTo>
                    <a:pt x="139" y="220"/>
                  </a:lnTo>
                  <a:lnTo>
                    <a:pt x="139" y="224"/>
                  </a:lnTo>
                  <a:lnTo>
                    <a:pt x="139" y="228"/>
                  </a:lnTo>
                  <a:lnTo>
                    <a:pt x="139" y="232"/>
                  </a:lnTo>
                  <a:lnTo>
                    <a:pt x="139" y="236"/>
                  </a:lnTo>
                  <a:lnTo>
                    <a:pt x="139" y="232"/>
                  </a:lnTo>
                  <a:lnTo>
                    <a:pt x="135" y="232"/>
                  </a:lnTo>
                  <a:lnTo>
                    <a:pt x="135" y="228"/>
                  </a:lnTo>
                  <a:lnTo>
                    <a:pt x="139" y="228"/>
                  </a:lnTo>
                  <a:lnTo>
                    <a:pt x="135" y="224"/>
                  </a:lnTo>
                  <a:lnTo>
                    <a:pt x="135" y="220"/>
                  </a:lnTo>
                  <a:lnTo>
                    <a:pt x="135" y="216"/>
                  </a:lnTo>
                  <a:lnTo>
                    <a:pt x="131" y="216"/>
                  </a:lnTo>
                  <a:lnTo>
                    <a:pt x="131" y="220"/>
                  </a:lnTo>
                  <a:lnTo>
                    <a:pt x="127" y="220"/>
                  </a:lnTo>
                  <a:lnTo>
                    <a:pt x="127" y="224"/>
                  </a:lnTo>
                  <a:lnTo>
                    <a:pt x="127" y="228"/>
                  </a:lnTo>
                  <a:lnTo>
                    <a:pt x="131" y="232"/>
                  </a:lnTo>
                  <a:lnTo>
                    <a:pt x="131" y="236"/>
                  </a:lnTo>
                  <a:lnTo>
                    <a:pt x="131" y="240"/>
                  </a:lnTo>
                  <a:lnTo>
                    <a:pt x="131" y="244"/>
                  </a:lnTo>
                  <a:lnTo>
                    <a:pt x="127" y="244"/>
                  </a:lnTo>
                  <a:lnTo>
                    <a:pt x="127" y="248"/>
                  </a:lnTo>
                  <a:lnTo>
                    <a:pt x="123" y="248"/>
                  </a:lnTo>
                  <a:lnTo>
                    <a:pt x="127" y="248"/>
                  </a:lnTo>
                  <a:lnTo>
                    <a:pt x="123" y="244"/>
                  </a:lnTo>
                  <a:lnTo>
                    <a:pt x="123" y="240"/>
                  </a:lnTo>
                  <a:lnTo>
                    <a:pt x="123" y="236"/>
                  </a:lnTo>
                  <a:lnTo>
                    <a:pt x="123" y="240"/>
                  </a:lnTo>
                  <a:lnTo>
                    <a:pt x="123" y="244"/>
                  </a:lnTo>
                  <a:lnTo>
                    <a:pt x="119" y="244"/>
                  </a:lnTo>
                  <a:lnTo>
                    <a:pt x="115" y="240"/>
                  </a:lnTo>
                  <a:lnTo>
                    <a:pt x="111" y="240"/>
                  </a:lnTo>
                  <a:lnTo>
                    <a:pt x="111" y="236"/>
                  </a:lnTo>
                  <a:lnTo>
                    <a:pt x="107" y="236"/>
                  </a:lnTo>
                  <a:lnTo>
                    <a:pt x="107" y="232"/>
                  </a:lnTo>
                  <a:lnTo>
                    <a:pt x="107" y="228"/>
                  </a:lnTo>
                  <a:lnTo>
                    <a:pt x="107" y="224"/>
                  </a:lnTo>
                  <a:lnTo>
                    <a:pt x="103" y="224"/>
                  </a:lnTo>
                  <a:lnTo>
                    <a:pt x="107" y="220"/>
                  </a:lnTo>
                  <a:lnTo>
                    <a:pt x="111" y="216"/>
                  </a:lnTo>
                  <a:lnTo>
                    <a:pt x="107" y="212"/>
                  </a:lnTo>
                  <a:lnTo>
                    <a:pt x="107" y="216"/>
                  </a:lnTo>
                  <a:lnTo>
                    <a:pt x="107" y="212"/>
                  </a:lnTo>
                  <a:lnTo>
                    <a:pt x="107" y="208"/>
                  </a:lnTo>
                  <a:lnTo>
                    <a:pt x="103" y="208"/>
                  </a:lnTo>
                  <a:lnTo>
                    <a:pt x="99" y="208"/>
                  </a:lnTo>
                  <a:lnTo>
                    <a:pt x="99" y="204"/>
                  </a:lnTo>
                  <a:lnTo>
                    <a:pt x="99" y="208"/>
                  </a:lnTo>
                  <a:lnTo>
                    <a:pt x="95" y="208"/>
                  </a:lnTo>
                  <a:lnTo>
                    <a:pt x="99" y="208"/>
                  </a:lnTo>
                  <a:lnTo>
                    <a:pt x="99" y="212"/>
                  </a:lnTo>
                  <a:lnTo>
                    <a:pt x="95" y="212"/>
                  </a:lnTo>
                  <a:lnTo>
                    <a:pt x="99" y="216"/>
                  </a:lnTo>
                  <a:lnTo>
                    <a:pt x="95" y="216"/>
                  </a:lnTo>
                  <a:lnTo>
                    <a:pt x="95" y="212"/>
                  </a:lnTo>
                  <a:lnTo>
                    <a:pt x="91" y="212"/>
                  </a:lnTo>
                  <a:lnTo>
                    <a:pt x="95" y="212"/>
                  </a:lnTo>
                  <a:lnTo>
                    <a:pt x="91" y="212"/>
                  </a:lnTo>
                  <a:lnTo>
                    <a:pt x="95" y="212"/>
                  </a:lnTo>
                  <a:lnTo>
                    <a:pt x="91" y="212"/>
                  </a:lnTo>
                  <a:lnTo>
                    <a:pt x="91" y="208"/>
                  </a:lnTo>
                  <a:lnTo>
                    <a:pt x="91" y="212"/>
                  </a:lnTo>
                  <a:lnTo>
                    <a:pt x="87" y="212"/>
                  </a:lnTo>
                  <a:lnTo>
                    <a:pt x="87" y="208"/>
                  </a:lnTo>
                  <a:lnTo>
                    <a:pt x="83" y="208"/>
                  </a:lnTo>
                  <a:lnTo>
                    <a:pt x="83" y="212"/>
                  </a:lnTo>
                  <a:lnTo>
                    <a:pt x="79" y="212"/>
                  </a:lnTo>
                  <a:lnTo>
                    <a:pt x="79" y="216"/>
                  </a:lnTo>
                  <a:close/>
                  <a:moveTo>
                    <a:pt x="135" y="176"/>
                  </a:moveTo>
                  <a:lnTo>
                    <a:pt x="135" y="172"/>
                  </a:lnTo>
                  <a:lnTo>
                    <a:pt x="135" y="176"/>
                  </a:lnTo>
                  <a:close/>
                  <a:moveTo>
                    <a:pt x="115" y="184"/>
                  </a:moveTo>
                  <a:lnTo>
                    <a:pt x="115" y="180"/>
                  </a:lnTo>
                  <a:lnTo>
                    <a:pt x="119" y="180"/>
                  </a:lnTo>
                  <a:lnTo>
                    <a:pt x="119" y="184"/>
                  </a:lnTo>
                  <a:lnTo>
                    <a:pt x="115" y="184"/>
                  </a:lnTo>
                  <a:close/>
                  <a:moveTo>
                    <a:pt x="131" y="224"/>
                  </a:moveTo>
                  <a:lnTo>
                    <a:pt x="131" y="220"/>
                  </a:lnTo>
                  <a:lnTo>
                    <a:pt x="131" y="224"/>
                  </a:lnTo>
                  <a:close/>
                  <a:moveTo>
                    <a:pt x="75" y="232"/>
                  </a:moveTo>
                  <a:lnTo>
                    <a:pt x="71" y="228"/>
                  </a:lnTo>
                  <a:lnTo>
                    <a:pt x="75" y="228"/>
                  </a:lnTo>
                  <a:lnTo>
                    <a:pt x="79" y="228"/>
                  </a:lnTo>
                  <a:lnTo>
                    <a:pt x="79" y="232"/>
                  </a:lnTo>
                  <a:lnTo>
                    <a:pt x="75" y="232"/>
                  </a:lnTo>
                  <a:close/>
                  <a:moveTo>
                    <a:pt x="64" y="244"/>
                  </a:moveTo>
                  <a:lnTo>
                    <a:pt x="64" y="240"/>
                  </a:lnTo>
                  <a:lnTo>
                    <a:pt x="60" y="244"/>
                  </a:lnTo>
                  <a:lnTo>
                    <a:pt x="60" y="240"/>
                  </a:lnTo>
                  <a:lnTo>
                    <a:pt x="64" y="240"/>
                  </a:lnTo>
                  <a:lnTo>
                    <a:pt x="67" y="240"/>
                  </a:lnTo>
                  <a:lnTo>
                    <a:pt x="64" y="244"/>
                  </a:lnTo>
                  <a:close/>
                  <a:moveTo>
                    <a:pt x="44" y="256"/>
                  </a:moveTo>
                  <a:lnTo>
                    <a:pt x="44" y="252"/>
                  </a:lnTo>
                  <a:lnTo>
                    <a:pt x="48" y="252"/>
                  </a:lnTo>
                  <a:lnTo>
                    <a:pt x="48" y="256"/>
                  </a:lnTo>
                  <a:lnTo>
                    <a:pt x="44" y="2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1" name="Freeform 38"/>
            <p:cNvSpPr>
              <a:spLocks/>
            </p:cNvSpPr>
            <p:nvPr>
              <p:custDataLst>
                <p:tags r:id="rId234"/>
              </p:custDataLst>
            </p:nvPr>
          </p:nvSpPr>
          <p:spPr bwMode="gray">
            <a:xfrm>
              <a:off x="5518020" y="3876668"/>
              <a:ext cx="16313" cy="41526"/>
            </a:xfrm>
            <a:custGeom>
              <a:avLst/>
              <a:gdLst/>
              <a:ahLst/>
              <a:cxnLst>
                <a:cxn ang="0">
                  <a:pos x="8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1" y="4"/>
                </a:cxn>
                <a:cxn ang="0">
                  <a:pos x="11" y="8"/>
                </a:cxn>
                <a:cxn ang="0">
                  <a:pos x="11" y="8"/>
                </a:cxn>
                <a:cxn ang="0">
                  <a:pos x="8" y="8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1" y="12"/>
                </a:cxn>
                <a:cxn ang="0">
                  <a:pos x="8" y="16"/>
                </a:cxn>
                <a:cxn ang="0">
                  <a:pos x="11" y="16"/>
                </a:cxn>
                <a:cxn ang="0">
                  <a:pos x="11" y="16"/>
                </a:cxn>
                <a:cxn ang="0">
                  <a:pos x="11" y="16"/>
                </a:cxn>
                <a:cxn ang="0">
                  <a:pos x="11" y="24"/>
                </a:cxn>
                <a:cxn ang="0">
                  <a:pos x="8" y="24"/>
                </a:cxn>
                <a:cxn ang="0">
                  <a:pos x="8" y="24"/>
                </a:cxn>
              </a:cxnLst>
              <a:rect l="0" t="0" r="r" b="b"/>
              <a:pathLst>
                <a:path w="11" h="28">
                  <a:moveTo>
                    <a:pt x="8" y="24"/>
                  </a:move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20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2" name="Freeform 39"/>
            <p:cNvSpPr>
              <a:spLocks noEditPoints="1"/>
            </p:cNvSpPr>
            <p:nvPr>
              <p:custDataLst>
                <p:tags r:id="rId235"/>
              </p:custDataLst>
            </p:nvPr>
          </p:nvSpPr>
          <p:spPr bwMode="gray">
            <a:xfrm>
              <a:off x="5150220" y="3698701"/>
              <a:ext cx="473097" cy="449368"/>
            </a:xfrm>
            <a:custGeom>
              <a:avLst/>
              <a:gdLst/>
              <a:ahLst/>
              <a:cxnLst>
                <a:cxn ang="0">
                  <a:pos x="248" y="259"/>
                </a:cxn>
                <a:cxn ang="0">
                  <a:pos x="200" y="283"/>
                </a:cxn>
                <a:cxn ang="0">
                  <a:pos x="184" y="287"/>
                </a:cxn>
                <a:cxn ang="0">
                  <a:pos x="152" y="283"/>
                </a:cxn>
                <a:cxn ang="0">
                  <a:pos x="140" y="283"/>
                </a:cxn>
                <a:cxn ang="0">
                  <a:pos x="132" y="291"/>
                </a:cxn>
                <a:cxn ang="0">
                  <a:pos x="128" y="303"/>
                </a:cxn>
                <a:cxn ang="0">
                  <a:pos x="120" y="295"/>
                </a:cxn>
                <a:cxn ang="0">
                  <a:pos x="120" y="287"/>
                </a:cxn>
                <a:cxn ang="0">
                  <a:pos x="112" y="275"/>
                </a:cxn>
                <a:cxn ang="0">
                  <a:pos x="104" y="267"/>
                </a:cxn>
                <a:cxn ang="0">
                  <a:pos x="104" y="255"/>
                </a:cxn>
                <a:cxn ang="0">
                  <a:pos x="96" y="243"/>
                </a:cxn>
                <a:cxn ang="0">
                  <a:pos x="88" y="235"/>
                </a:cxn>
                <a:cxn ang="0">
                  <a:pos x="80" y="227"/>
                </a:cxn>
                <a:cxn ang="0">
                  <a:pos x="72" y="220"/>
                </a:cxn>
                <a:cxn ang="0">
                  <a:pos x="68" y="204"/>
                </a:cxn>
                <a:cxn ang="0">
                  <a:pos x="68" y="188"/>
                </a:cxn>
                <a:cxn ang="0">
                  <a:pos x="68" y="180"/>
                </a:cxn>
                <a:cxn ang="0">
                  <a:pos x="60" y="164"/>
                </a:cxn>
                <a:cxn ang="0">
                  <a:pos x="48" y="152"/>
                </a:cxn>
                <a:cxn ang="0">
                  <a:pos x="44" y="148"/>
                </a:cxn>
                <a:cxn ang="0">
                  <a:pos x="40" y="136"/>
                </a:cxn>
                <a:cxn ang="0">
                  <a:pos x="36" y="128"/>
                </a:cxn>
                <a:cxn ang="0">
                  <a:pos x="28" y="120"/>
                </a:cxn>
                <a:cxn ang="0">
                  <a:pos x="24" y="104"/>
                </a:cxn>
                <a:cxn ang="0">
                  <a:pos x="16" y="96"/>
                </a:cxn>
                <a:cxn ang="0">
                  <a:pos x="12" y="84"/>
                </a:cxn>
                <a:cxn ang="0">
                  <a:pos x="4" y="76"/>
                </a:cxn>
                <a:cxn ang="0">
                  <a:pos x="4" y="60"/>
                </a:cxn>
                <a:cxn ang="0">
                  <a:pos x="24" y="60"/>
                </a:cxn>
                <a:cxn ang="0">
                  <a:pos x="40" y="44"/>
                </a:cxn>
                <a:cxn ang="0">
                  <a:pos x="48" y="24"/>
                </a:cxn>
                <a:cxn ang="0">
                  <a:pos x="40" y="12"/>
                </a:cxn>
                <a:cxn ang="0">
                  <a:pos x="60" y="8"/>
                </a:cxn>
                <a:cxn ang="0">
                  <a:pos x="84" y="4"/>
                </a:cxn>
                <a:cxn ang="0">
                  <a:pos x="128" y="32"/>
                </a:cxn>
                <a:cxn ang="0">
                  <a:pos x="176" y="60"/>
                </a:cxn>
                <a:cxn ang="0">
                  <a:pos x="196" y="64"/>
                </a:cxn>
                <a:cxn ang="0">
                  <a:pos x="212" y="72"/>
                </a:cxn>
                <a:cxn ang="0">
                  <a:pos x="216" y="84"/>
                </a:cxn>
                <a:cxn ang="0">
                  <a:pos x="220" y="92"/>
                </a:cxn>
                <a:cxn ang="0">
                  <a:pos x="220" y="92"/>
                </a:cxn>
                <a:cxn ang="0">
                  <a:pos x="228" y="104"/>
                </a:cxn>
                <a:cxn ang="0">
                  <a:pos x="236" y="112"/>
                </a:cxn>
                <a:cxn ang="0">
                  <a:pos x="236" y="120"/>
                </a:cxn>
                <a:cxn ang="0">
                  <a:pos x="240" y="132"/>
                </a:cxn>
                <a:cxn ang="0">
                  <a:pos x="248" y="144"/>
                </a:cxn>
                <a:cxn ang="0">
                  <a:pos x="256" y="152"/>
                </a:cxn>
                <a:cxn ang="0">
                  <a:pos x="259" y="156"/>
                </a:cxn>
                <a:cxn ang="0">
                  <a:pos x="315" y="212"/>
                </a:cxn>
                <a:cxn ang="0">
                  <a:pos x="112" y="291"/>
                </a:cxn>
                <a:cxn ang="0">
                  <a:pos x="108" y="295"/>
                </a:cxn>
                <a:cxn ang="0">
                  <a:pos x="116" y="295"/>
                </a:cxn>
              </a:cxnLst>
              <a:rect l="0" t="0" r="r" b="b"/>
              <a:pathLst>
                <a:path w="319" h="303">
                  <a:moveTo>
                    <a:pt x="311" y="235"/>
                  </a:moveTo>
                  <a:lnTo>
                    <a:pt x="263" y="255"/>
                  </a:lnTo>
                  <a:lnTo>
                    <a:pt x="252" y="255"/>
                  </a:lnTo>
                  <a:lnTo>
                    <a:pt x="248" y="259"/>
                  </a:lnTo>
                  <a:lnTo>
                    <a:pt x="220" y="259"/>
                  </a:lnTo>
                  <a:lnTo>
                    <a:pt x="208" y="271"/>
                  </a:lnTo>
                  <a:lnTo>
                    <a:pt x="204" y="279"/>
                  </a:lnTo>
                  <a:lnTo>
                    <a:pt x="200" y="283"/>
                  </a:lnTo>
                  <a:lnTo>
                    <a:pt x="196" y="291"/>
                  </a:lnTo>
                  <a:lnTo>
                    <a:pt x="192" y="291"/>
                  </a:lnTo>
                  <a:lnTo>
                    <a:pt x="188" y="291"/>
                  </a:lnTo>
                  <a:lnTo>
                    <a:pt x="184" y="287"/>
                  </a:lnTo>
                  <a:lnTo>
                    <a:pt x="180" y="287"/>
                  </a:lnTo>
                  <a:lnTo>
                    <a:pt x="176" y="287"/>
                  </a:lnTo>
                  <a:lnTo>
                    <a:pt x="164" y="283"/>
                  </a:lnTo>
                  <a:lnTo>
                    <a:pt x="152" y="283"/>
                  </a:lnTo>
                  <a:lnTo>
                    <a:pt x="148" y="283"/>
                  </a:lnTo>
                  <a:lnTo>
                    <a:pt x="144" y="283"/>
                  </a:lnTo>
                  <a:lnTo>
                    <a:pt x="144" y="287"/>
                  </a:lnTo>
                  <a:lnTo>
                    <a:pt x="140" y="283"/>
                  </a:lnTo>
                  <a:lnTo>
                    <a:pt x="136" y="283"/>
                  </a:lnTo>
                  <a:lnTo>
                    <a:pt x="132" y="283"/>
                  </a:lnTo>
                  <a:lnTo>
                    <a:pt x="132" y="287"/>
                  </a:lnTo>
                  <a:lnTo>
                    <a:pt x="132" y="291"/>
                  </a:lnTo>
                  <a:lnTo>
                    <a:pt x="132" y="295"/>
                  </a:lnTo>
                  <a:lnTo>
                    <a:pt x="132" y="299"/>
                  </a:lnTo>
                  <a:lnTo>
                    <a:pt x="128" y="299"/>
                  </a:lnTo>
                  <a:lnTo>
                    <a:pt x="128" y="303"/>
                  </a:lnTo>
                  <a:lnTo>
                    <a:pt x="124" y="303"/>
                  </a:lnTo>
                  <a:lnTo>
                    <a:pt x="124" y="299"/>
                  </a:lnTo>
                  <a:lnTo>
                    <a:pt x="124" y="295"/>
                  </a:lnTo>
                  <a:lnTo>
                    <a:pt x="120" y="295"/>
                  </a:lnTo>
                  <a:lnTo>
                    <a:pt x="120" y="291"/>
                  </a:lnTo>
                  <a:lnTo>
                    <a:pt x="120" y="287"/>
                  </a:lnTo>
                  <a:lnTo>
                    <a:pt x="120" y="291"/>
                  </a:lnTo>
                  <a:lnTo>
                    <a:pt x="120" y="287"/>
                  </a:lnTo>
                  <a:lnTo>
                    <a:pt x="120" y="283"/>
                  </a:lnTo>
                  <a:lnTo>
                    <a:pt x="116" y="283"/>
                  </a:lnTo>
                  <a:lnTo>
                    <a:pt x="116" y="279"/>
                  </a:lnTo>
                  <a:lnTo>
                    <a:pt x="112" y="275"/>
                  </a:lnTo>
                  <a:lnTo>
                    <a:pt x="108" y="275"/>
                  </a:lnTo>
                  <a:lnTo>
                    <a:pt x="108" y="271"/>
                  </a:lnTo>
                  <a:lnTo>
                    <a:pt x="108" y="267"/>
                  </a:lnTo>
                  <a:lnTo>
                    <a:pt x="104" y="267"/>
                  </a:lnTo>
                  <a:lnTo>
                    <a:pt x="104" y="263"/>
                  </a:lnTo>
                  <a:lnTo>
                    <a:pt x="104" y="259"/>
                  </a:lnTo>
                  <a:lnTo>
                    <a:pt x="100" y="259"/>
                  </a:lnTo>
                  <a:lnTo>
                    <a:pt x="104" y="255"/>
                  </a:lnTo>
                  <a:lnTo>
                    <a:pt x="100" y="255"/>
                  </a:lnTo>
                  <a:lnTo>
                    <a:pt x="100" y="251"/>
                  </a:lnTo>
                  <a:lnTo>
                    <a:pt x="96" y="247"/>
                  </a:lnTo>
                  <a:lnTo>
                    <a:pt x="96" y="243"/>
                  </a:lnTo>
                  <a:lnTo>
                    <a:pt x="96" y="239"/>
                  </a:lnTo>
                  <a:lnTo>
                    <a:pt x="92" y="239"/>
                  </a:lnTo>
                  <a:lnTo>
                    <a:pt x="92" y="235"/>
                  </a:lnTo>
                  <a:lnTo>
                    <a:pt x="88" y="235"/>
                  </a:lnTo>
                  <a:lnTo>
                    <a:pt x="88" y="231"/>
                  </a:lnTo>
                  <a:lnTo>
                    <a:pt x="84" y="231"/>
                  </a:lnTo>
                  <a:lnTo>
                    <a:pt x="80" y="231"/>
                  </a:lnTo>
                  <a:lnTo>
                    <a:pt x="80" y="227"/>
                  </a:lnTo>
                  <a:lnTo>
                    <a:pt x="76" y="227"/>
                  </a:lnTo>
                  <a:lnTo>
                    <a:pt x="76" y="224"/>
                  </a:lnTo>
                  <a:lnTo>
                    <a:pt x="76" y="220"/>
                  </a:lnTo>
                  <a:lnTo>
                    <a:pt x="72" y="220"/>
                  </a:lnTo>
                  <a:lnTo>
                    <a:pt x="72" y="216"/>
                  </a:lnTo>
                  <a:lnTo>
                    <a:pt x="68" y="212"/>
                  </a:lnTo>
                  <a:lnTo>
                    <a:pt x="72" y="208"/>
                  </a:lnTo>
                  <a:lnTo>
                    <a:pt x="68" y="204"/>
                  </a:lnTo>
                  <a:lnTo>
                    <a:pt x="68" y="200"/>
                  </a:lnTo>
                  <a:lnTo>
                    <a:pt x="68" y="196"/>
                  </a:lnTo>
                  <a:lnTo>
                    <a:pt x="68" y="192"/>
                  </a:lnTo>
                  <a:lnTo>
                    <a:pt x="68" y="188"/>
                  </a:lnTo>
                  <a:lnTo>
                    <a:pt x="68" y="184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8" y="180"/>
                  </a:lnTo>
                  <a:lnTo>
                    <a:pt x="64" y="176"/>
                  </a:lnTo>
                  <a:lnTo>
                    <a:pt x="64" y="172"/>
                  </a:lnTo>
                  <a:lnTo>
                    <a:pt x="60" y="168"/>
                  </a:lnTo>
                  <a:lnTo>
                    <a:pt x="60" y="164"/>
                  </a:lnTo>
                  <a:lnTo>
                    <a:pt x="56" y="160"/>
                  </a:lnTo>
                  <a:lnTo>
                    <a:pt x="52" y="156"/>
                  </a:lnTo>
                  <a:lnTo>
                    <a:pt x="48" y="156"/>
                  </a:lnTo>
                  <a:lnTo>
                    <a:pt x="48" y="152"/>
                  </a:lnTo>
                  <a:lnTo>
                    <a:pt x="48" y="156"/>
                  </a:lnTo>
                  <a:lnTo>
                    <a:pt x="44" y="156"/>
                  </a:lnTo>
                  <a:lnTo>
                    <a:pt x="44" y="152"/>
                  </a:lnTo>
                  <a:lnTo>
                    <a:pt x="44" y="148"/>
                  </a:lnTo>
                  <a:lnTo>
                    <a:pt x="40" y="148"/>
                  </a:lnTo>
                  <a:lnTo>
                    <a:pt x="40" y="144"/>
                  </a:lnTo>
                  <a:lnTo>
                    <a:pt x="40" y="140"/>
                  </a:lnTo>
                  <a:lnTo>
                    <a:pt x="40" y="136"/>
                  </a:lnTo>
                  <a:lnTo>
                    <a:pt x="40" y="132"/>
                  </a:lnTo>
                  <a:lnTo>
                    <a:pt x="36" y="128"/>
                  </a:lnTo>
                  <a:lnTo>
                    <a:pt x="36" y="124"/>
                  </a:lnTo>
                  <a:lnTo>
                    <a:pt x="36" y="128"/>
                  </a:lnTo>
                  <a:lnTo>
                    <a:pt x="32" y="128"/>
                  </a:lnTo>
                  <a:lnTo>
                    <a:pt x="32" y="124"/>
                  </a:lnTo>
                  <a:lnTo>
                    <a:pt x="32" y="120"/>
                  </a:lnTo>
                  <a:lnTo>
                    <a:pt x="28" y="120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0" y="104"/>
                  </a:lnTo>
                  <a:lnTo>
                    <a:pt x="20" y="100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24" y="60"/>
                  </a:lnTo>
                  <a:lnTo>
                    <a:pt x="28" y="56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40" y="44"/>
                  </a:lnTo>
                  <a:lnTo>
                    <a:pt x="44" y="44"/>
                  </a:lnTo>
                  <a:lnTo>
                    <a:pt x="48" y="36"/>
                  </a:lnTo>
                  <a:lnTo>
                    <a:pt x="52" y="32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0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8"/>
                  </a:lnTo>
                  <a:lnTo>
                    <a:pt x="60" y="8"/>
                  </a:lnTo>
                  <a:lnTo>
                    <a:pt x="68" y="4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104" y="16"/>
                  </a:lnTo>
                  <a:lnTo>
                    <a:pt x="116" y="20"/>
                  </a:lnTo>
                  <a:lnTo>
                    <a:pt x="128" y="32"/>
                  </a:lnTo>
                  <a:lnTo>
                    <a:pt x="128" y="36"/>
                  </a:lnTo>
                  <a:lnTo>
                    <a:pt x="140" y="44"/>
                  </a:lnTo>
                  <a:lnTo>
                    <a:pt x="156" y="60"/>
                  </a:lnTo>
                  <a:lnTo>
                    <a:pt x="176" y="60"/>
                  </a:lnTo>
                  <a:lnTo>
                    <a:pt x="180" y="60"/>
                  </a:lnTo>
                  <a:lnTo>
                    <a:pt x="184" y="60"/>
                  </a:lnTo>
                  <a:lnTo>
                    <a:pt x="188" y="60"/>
                  </a:lnTo>
                  <a:lnTo>
                    <a:pt x="196" y="64"/>
                  </a:lnTo>
                  <a:lnTo>
                    <a:pt x="200" y="68"/>
                  </a:lnTo>
                  <a:lnTo>
                    <a:pt x="200" y="72"/>
                  </a:lnTo>
                  <a:lnTo>
                    <a:pt x="208" y="72"/>
                  </a:lnTo>
                  <a:lnTo>
                    <a:pt x="212" y="72"/>
                  </a:lnTo>
                  <a:lnTo>
                    <a:pt x="212" y="76"/>
                  </a:lnTo>
                  <a:lnTo>
                    <a:pt x="212" y="80"/>
                  </a:lnTo>
                  <a:lnTo>
                    <a:pt x="216" y="80"/>
                  </a:lnTo>
                  <a:lnTo>
                    <a:pt x="216" y="84"/>
                  </a:lnTo>
                  <a:lnTo>
                    <a:pt x="216" y="88"/>
                  </a:lnTo>
                  <a:lnTo>
                    <a:pt x="216" y="84"/>
                  </a:lnTo>
                  <a:lnTo>
                    <a:pt x="216" y="88"/>
                  </a:lnTo>
                  <a:lnTo>
                    <a:pt x="220" y="92"/>
                  </a:lnTo>
                  <a:lnTo>
                    <a:pt x="220" y="88"/>
                  </a:lnTo>
                  <a:lnTo>
                    <a:pt x="220" y="92"/>
                  </a:lnTo>
                  <a:lnTo>
                    <a:pt x="224" y="92"/>
                  </a:lnTo>
                  <a:lnTo>
                    <a:pt x="220" y="92"/>
                  </a:lnTo>
                  <a:lnTo>
                    <a:pt x="224" y="96"/>
                  </a:lnTo>
                  <a:lnTo>
                    <a:pt x="224" y="100"/>
                  </a:lnTo>
                  <a:lnTo>
                    <a:pt x="228" y="100"/>
                  </a:lnTo>
                  <a:lnTo>
                    <a:pt x="228" y="104"/>
                  </a:lnTo>
                  <a:lnTo>
                    <a:pt x="232" y="104"/>
                  </a:lnTo>
                  <a:lnTo>
                    <a:pt x="236" y="104"/>
                  </a:lnTo>
                  <a:lnTo>
                    <a:pt x="236" y="108"/>
                  </a:lnTo>
                  <a:lnTo>
                    <a:pt x="236" y="112"/>
                  </a:lnTo>
                  <a:lnTo>
                    <a:pt x="240" y="116"/>
                  </a:lnTo>
                  <a:lnTo>
                    <a:pt x="236" y="120"/>
                  </a:lnTo>
                  <a:lnTo>
                    <a:pt x="236" y="116"/>
                  </a:lnTo>
                  <a:lnTo>
                    <a:pt x="236" y="120"/>
                  </a:lnTo>
                  <a:lnTo>
                    <a:pt x="236" y="124"/>
                  </a:lnTo>
                  <a:lnTo>
                    <a:pt x="240" y="128"/>
                  </a:lnTo>
                  <a:lnTo>
                    <a:pt x="236" y="128"/>
                  </a:lnTo>
                  <a:lnTo>
                    <a:pt x="240" y="132"/>
                  </a:lnTo>
                  <a:lnTo>
                    <a:pt x="244" y="132"/>
                  </a:lnTo>
                  <a:lnTo>
                    <a:pt x="244" y="136"/>
                  </a:lnTo>
                  <a:lnTo>
                    <a:pt x="244" y="140"/>
                  </a:lnTo>
                  <a:lnTo>
                    <a:pt x="248" y="144"/>
                  </a:lnTo>
                  <a:lnTo>
                    <a:pt x="248" y="148"/>
                  </a:lnTo>
                  <a:lnTo>
                    <a:pt x="252" y="148"/>
                  </a:lnTo>
                  <a:lnTo>
                    <a:pt x="256" y="148"/>
                  </a:lnTo>
                  <a:lnTo>
                    <a:pt x="256" y="152"/>
                  </a:lnTo>
                  <a:lnTo>
                    <a:pt x="256" y="156"/>
                  </a:lnTo>
                  <a:lnTo>
                    <a:pt x="256" y="152"/>
                  </a:lnTo>
                  <a:lnTo>
                    <a:pt x="256" y="156"/>
                  </a:lnTo>
                  <a:lnTo>
                    <a:pt x="259" y="156"/>
                  </a:lnTo>
                  <a:lnTo>
                    <a:pt x="275" y="180"/>
                  </a:lnTo>
                  <a:lnTo>
                    <a:pt x="311" y="184"/>
                  </a:lnTo>
                  <a:lnTo>
                    <a:pt x="319" y="196"/>
                  </a:lnTo>
                  <a:lnTo>
                    <a:pt x="315" y="212"/>
                  </a:lnTo>
                  <a:lnTo>
                    <a:pt x="311" y="235"/>
                  </a:lnTo>
                  <a:close/>
                  <a:moveTo>
                    <a:pt x="112" y="291"/>
                  </a:moveTo>
                  <a:lnTo>
                    <a:pt x="112" y="295"/>
                  </a:lnTo>
                  <a:lnTo>
                    <a:pt x="112" y="291"/>
                  </a:lnTo>
                  <a:close/>
                  <a:moveTo>
                    <a:pt x="116" y="299"/>
                  </a:moveTo>
                  <a:lnTo>
                    <a:pt x="112" y="299"/>
                  </a:lnTo>
                  <a:lnTo>
                    <a:pt x="112" y="295"/>
                  </a:lnTo>
                  <a:lnTo>
                    <a:pt x="108" y="295"/>
                  </a:lnTo>
                  <a:lnTo>
                    <a:pt x="112" y="295"/>
                  </a:lnTo>
                  <a:lnTo>
                    <a:pt x="116" y="295"/>
                  </a:lnTo>
                  <a:lnTo>
                    <a:pt x="112" y="295"/>
                  </a:lnTo>
                  <a:lnTo>
                    <a:pt x="116" y="295"/>
                  </a:lnTo>
                  <a:lnTo>
                    <a:pt x="116" y="29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3" name="Freeform 40"/>
            <p:cNvSpPr>
              <a:spLocks/>
            </p:cNvSpPr>
            <p:nvPr>
              <p:custDataLst>
                <p:tags r:id="rId236"/>
              </p:custDataLst>
            </p:nvPr>
          </p:nvSpPr>
          <p:spPr bwMode="gray">
            <a:xfrm>
              <a:off x="6700022" y="4557395"/>
              <a:ext cx="11865" cy="5932"/>
            </a:xfrm>
            <a:custGeom>
              <a:avLst/>
              <a:gdLst/>
              <a:ahLst/>
              <a:cxnLst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</a:cxnLst>
              <a:rect l="0" t="0" r="r" b="b"/>
              <a:pathLst>
                <a:path w="8" h="4">
                  <a:moveTo>
                    <a:pt x="8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4" name="Freeform 41"/>
            <p:cNvSpPr>
              <a:spLocks noEditPoints="1"/>
            </p:cNvSpPr>
            <p:nvPr>
              <p:custDataLst>
                <p:tags r:id="rId237"/>
              </p:custDataLst>
            </p:nvPr>
          </p:nvSpPr>
          <p:spPr bwMode="gray">
            <a:xfrm>
              <a:off x="7208713" y="3508868"/>
              <a:ext cx="77119" cy="160171"/>
            </a:xfrm>
            <a:custGeom>
              <a:avLst/>
              <a:gdLst/>
              <a:ahLst/>
              <a:cxnLst>
                <a:cxn ang="0">
                  <a:pos x="4" y="44"/>
                </a:cxn>
                <a:cxn ang="0">
                  <a:pos x="0" y="36"/>
                </a:cxn>
                <a:cxn ang="0">
                  <a:pos x="0" y="40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4" y="32"/>
                </a:cxn>
                <a:cxn ang="0">
                  <a:pos x="12" y="36"/>
                </a:cxn>
                <a:cxn ang="0">
                  <a:pos x="8" y="28"/>
                </a:cxn>
                <a:cxn ang="0">
                  <a:pos x="4" y="20"/>
                </a:cxn>
                <a:cxn ang="0">
                  <a:pos x="8" y="12"/>
                </a:cxn>
                <a:cxn ang="0">
                  <a:pos x="16" y="4"/>
                </a:cxn>
                <a:cxn ang="0">
                  <a:pos x="28" y="4"/>
                </a:cxn>
                <a:cxn ang="0">
                  <a:pos x="36" y="4"/>
                </a:cxn>
                <a:cxn ang="0">
                  <a:pos x="40" y="16"/>
                </a:cxn>
                <a:cxn ang="0">
                  <a:pos x="48" y="24"/>
                </a:cxn>
                <a:cxn ang="0">
                  <a:pos x="48" y="36"/>
                </a:cxn>
                <a:cxn ang="0">
                  <a:pos x="48" y="52"/>
                </a:cxn>
                <a:cxn ang="0">
                  <a:pos x="48" y="64"/>
                </a:cxn>
                <a:cxn ang="0">
                  <a:pos x="40" y="68"/>
                </a:cxn>
                <a:cxn ang="0">
                  <a:pos x="32" y="72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0" y="72"/>
                </a:cxn>
                <a:cxn ang="0">
                  <a:pos x="20" y="80"/>
                </a:cxn>
                <a:cxn ang="0">
                  <a:pos x="16" y="80"/>
                </a:cxn>
                <a:cxn ang="0">
                  <a:pos x="16" y="80"/>
                </a:cxn>
                <a:cxn ang="0">
                  <a:pos x="16" y="76"/>
                </a:cxn>
                <a:cxn ang="0">
                  <a:pos x="8" y="84"/>
                </a:cxn>
                <a:cxn ang="0">
                  <a:pos x="4" y="88"/>
                </a:cxn>
                <a:cxn ang="0">
                  <a:pos x="0" y="80"/>
                </a:cxn>
                <a:cxn ang="0">
                  <a:pos x="4" y="76"/>
                </a:cxn>
                <a:cxn ang="0">
                  <a:pos x="4" y="72"/>
                </a:cxn>
                <a:cxn ang="0">
                  <a:pos x="4" y="72"/>
                </a:cxn>
                <a:cxn ang="0">
                  <a:pos x="4" y="60"/>
                </a:cxn>
                <a:cxn ang="0">
                  <a:pos x="8" y="56"/>
                </a:cxn>
                <a:cxn ang="0">
                  <a:pos x="4" y="52"/>
                </a:cxn>
                <a:cxn ang="0">
                  <a:pos x="4" y="20"/>
                </a:cxn>
                <a:cxn ang="0">
                  <a:pos x="0" y="44"/>
                </a:cxn>
                <a:cxn ang="0">
                  <a:pos x="4" y="44"/>
                </a:cxn>
                <a:cxn ang="0">
                  <a:pos x="36" y="76"/>
                </a:cxn>
                <a:cxn ang="0">
                  <a:pos x="28" y="72"/>
                </a:cxn>
                <a:cxn ang="0">
                  <a:pos x="28" y="80"/>
                </a:cxn>
                <a:cxn ang="0">
                  <a:pos x="28" y="72"/>
                </a:cxn>
                <a:cxn ang="0">
                  <a:pos x="0" y="80"/>
                </a:cxn>
                <a:cxn ang="0">
                  <a:pos x="12" y="100"/>
                </a:cxn>
                <a:cxn ang="0">
                  <a:pos x="8" y="108"/>
                </a:cxn>
                <a:cxn ang="0">
                  <a:pos x="0" y="104"/>
                </a:cxn>
              </a:cxnLst>
              <a:rect l="0" t="0" r="r" b="b"/>
              <a:pathLst>
                <a:path w="52" h="108">
                  <a:moveTo>
                    <a:pt x="8" y="52"/>
                  </a:moveTo>
                  <a:lnTo>
                    <a:pt x="4" y="48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48" y="52"/>
                  </a:lnTo>
                  <a:lnTo>
                    <a:pt x="52" y="52"/>
                  </a:lnTo>
                  <a:lnTo>
                    <a:pt x="48" y="60"/>
                  </a:lnTo>
                  <a:lnTo>
                    <a:pt x="48" y="64"/>
                  </a:lnTo>
                  <a:lnTo>
                    <a:pt x="44" y="68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40" y="72"/>
                  </a:lnTo>
                  <a:lnTo>
                    <a:pt x="36" y="68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36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8" y="72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0" y="76"/>
                  </a:lnTo>
                  <a:lnTo>
                    <a:pt x="24" y="76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16" y="84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2" y="80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84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8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6"/>
                  </a:lnTo>
                  <a:lnTo>
                    <a:pt x="4" y="52"/>
                  </a:lnTo>
                  <a:lnTo>
                    <a:pt x="8" y="52"/>
                  </a:lnTo>
                  <a:close/>
                  <a:moveTo>
                    <a:pt x="4" y="16"/>
                  </a:moveTo>
                  <a:lnTo>
                    <a:pt x="4" y="20"/>
                  </a:lnTo>
                  <a:lnTo>
                    <a:pt x="4" y="16"/>
                  </a:lnTo>
                  <a:close/>
                  <a:moveTo>
                    <a:pt x="4" y="44"/>
                  </a:moveTo>
                  <a:lnTo>
                    <a:pt x="0" y="44"/>
                  </a:lnTo>
                  <a:lnTo>
                    <a:pt x="0" y="40"/>
                  </a:lnTo>
                  <a:lnTo>
                    <a:pt x="4" y="40"/>
                  </a:lnTo>
                  <a:lnTo>
                    <a:pt x="4" y="44"/>
                  </a:lnTo>
                  <a:close/>
                  <a:moveTo>
                    <a:pt x="40" y="72"/>
                  </a:moveTo>
                  <a:lnTo>
                    <a:pt x="40" y="76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72"/>
                  </a:lnTo>
                  <a:close/>
                  <a:moveTo>
                    <a:pt x="28" y="72"/>
                  </a:moveTo>
                  <a:lnTo>
                    <a:pt x="24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8" y="72"/>
                  </a:lnTo>
                  <a:close/>
                  <a:moveTo>
                    <a:pt x="4" y="84"/>
                  </a:moveTo>
                  <a:lnTo>
                    <a:pt x="0" y="84"/>
                  </a:lnTo>
                  <a:lnTo>
                    <a:pt x="0" y="80"/>
                  </a:lnTo>
                  <a:lnTo>
                    <a:pt x="4" y="84"/>
                  </a:lnTo>
                  <a:close/>
                  <a:moveTo>
                    <a:pt x="8" y="100"/>
                  </a:moveTo>
                  <a:lnTo>
                    <a:pt x="12" y="100"/>
                  </a:lnTo>
                  <a:lnTo>
                    <a:pt x="12" y="104"/>
                  </a:lnTo>
                  <a:lnTo>
                    <a:pt x="8" y="104"/>
                  </a:lnTo>
                  <a:lnTo>
                    <a:pt x="8" y="108"/>
                  </a:lnTo>
                  <a:lnTo>
                    <a:pt x="4" y="108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4" y="104"/>
                  </a:lnTo>
                  <a:lnTo>
                    <a:pt x="8" y="1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5" name="Freeform 42"/>
            <p:cNvSpPr>
              <a:spLocks noEditPoints="1"/>
            </p:cNvSpPr>
            <p:nvPr>
              <p:custDataLst>
                <p:tags r:id="rId238"/>
              </p:custDataLst>
            </p:nvPr>
          </p:nvSpPr>
          <p:spPr bwMode="gray">
            <a:xfrm>
              <a:off x="6943245" y="4302308"/>
              <a:ext cx="35594" cy="29661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</a:cxnLst>
              <a:rect l="0" t="0" r="r" b="b"/>
              <a:pathLst>
                <a:path w="24" h="20">
                  <a:moveTo>
                    <a:pt x="24" y="0"/>
                  </a:move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close/>
                  <a:moveTo>
                    <a:pt x="0" y="20"/>
                  </a:move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6" name="Freeform 43"/>
            <p:cNvSpPr>
              <a:spLocks noEditPoints="1"/>
            </p:cNvSpPr>
            <p:nvPr>
              <p:custDataLst>
                <p:tags r:id="rId239"/>
              </p:custDataLst>
            </p:nvPr>
          </p:nvSpPr>
          <p:spPr bwMode="gray">
            <a:xfrm>
              <a:off x="6161670" y="4326037"/>
              <a:ext cx="53390" cy="106781"/>
            </a:xfrm>
            <a:custGeom>
              <a:avLst/>
              <a:gdLst/>
              <a:ahLst/>
              <a:cxnLst>
                <a:cxn ang="0">
                  <a:pos x="4" y="16"/>
                </a:cxn>
                <a:cxn ang="0">
                  <a:pos x="0" y="16"/>
                </a:cxn>
                <a:cxn ang="0">
                  <a:pos x="32" y="60"/>
                </a:cxn>
                <a:cxn ang="0">
                  <a:pos x="32" y="64"/>
                </a:cxn>
                <a:cxn ang="0">
                  <a:pos x="28" y="68"/>
                </a:cxn>
                <a:cxn ang="0">
                  <a:pos x="20" y="72"/>
                </a:cxn>
                <a:cxn ang="0">
                  <a:pos x="16" y="72"/>
                </a:cxn>
                <a:cxn ang="0">
                  <a:pos x="8" y="72"/>
                </a:cxn>
                <a:cxn ang="0">
                  <a:pos x="8" y="64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8" y="4"/>
                </a:cxn>
                <a:cxn ang="0">
                  <a:pos x="12" y="0"/>
                </a:cxn>
                <a:cxn ang="0">
                  <a:pos x="12" y="4"/>
                </a:cxn>
                <a:cxn ang="0">
                  <a:pos x="16" y="8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20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8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28" y="32"/>
                </a:cxn>
                <a:cxn ang="0">
                  <a:pos x="32" y="40"/>
                </a:cxn>
                <a:cxn ang="0">
                  <a:pos x="32" y="40"/>
                </a:cxn>
                <a:cxn ang="0">
                  <a:pos x="32" y="44"/>
                </a:cxn>
                <a:cxn ang="0">
                  <a:pos x="36" y="44"/>
                </a:cxn>
                <a:cxn ang="0">
                  <a:pos x="36" y="48"/>
                </a:cxn>
                <a:cxn ang="0">
                  <a:pos x="36" y="56"/>
                </a:cxn>
              </a:cxnLst>
              <a:rect l="0" t="0" r="r" b="b"/>
              <a:pathLst>
                <a:path w="36" h="72">
                  <a:moveTo>
                    <a:pt x="4" y="16"/>
                  </a:move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close/>
                  <a:moveTo>
                    <a:pt x="32" y="60"/>
                  </a:move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7" name="Freeform 44"/>
            <p:cNvSpPr>
              <a:spLocks/>
            </p:cNvSpPr>
            <p:nvPr>
              <p:custDataLst>
                <p:tags r:id="rId240"/>
              </p:custDataLst>
            </p:nvPr>
          </p:nvSpPr>
          <p:spPr bwMode="gray">
            <a:xfrm>
              <a:off x="5173949" y="3544462"/>
              <a:ext cx="154239" cy="148306"/>
            </a:xfrm>
            <a:custGeom>
              <a:avLst/>
              <a:gdLst/>
              <a:ahLst/>
              <a:cxnLst>
                <a:cxn ang="0">
                  <a:pos x="0" y="84"/>
                </a:cxn>
                <a:cxn ang="0">
                  <a:pos x="4" y="80"/>
                </a:cxn>
                <a:cxn ang="0">
                  <a:pos x="4" y="80"/>
                </a:cxn>
                <a:cxn ang="0">
                  <a:pos x="4" y="76"/>
                </a:cxn>
                <a:cxn ang="0">
                  <a:pos x="12" y="72"/>
                </a:cxn>
                <a:cxn ang="0">
                  <a:pos x="12" y="72"/>
                </a:cxn>
                <a:cxn ang="0">
                  <a:pos x="16" y="64"/>
                </a:cxn>
                <a:cxn ang="0">
                  <a:pos x="12" y="60"/>
                </a:cxn>
                <a:cxn ang="0">
                  <a:pos x="12" y="56"/>
                </a:cxn>
                <a:cxn ang="0">
                  <a:pos x="8" y="56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4" y="44"/>
                </a:cxn>
                <a:cxn ang="0">
                  <a:pos x="4" y="36"/>
                </a:cxn>
                <a:cxn ang="0">
                  <a:pos x="4" y="28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12" y="24"/>
                </a:cxn>
                <a:cxn ang="0">
                  <a:pos x="16" y="24"/>
                </a:cxn>
                <a:cxn ang="0">
                  <a:pos x="16" y="20"/>
                </a:cxn>
                <a:cxn ang="0">
                  <a:pos x="16" y="12"/>
                </a:cxn>
                <a:cxn ang="0">
                  <a:pos x="24" y="16"/>
                </a:cxn>
                <a:cxn ang="0">
                  <a:pos x="32" y="12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44" y="8"/>
                </a:cxn>
                <a:cxn ang="0">
                  <a:pos x="48" y="12"/>
                </a:cxn>
                <a:cxn ang="0">
                  <a:pos x="52" y="12"/>
                </a:cxn>
                <a:cxn ang="0">
                  <a:pos x="56" y="16"/>
                </a:cxn>
                <a:cxn ang="0">
                  <a:pos x="64" y="12"/>
                </a:cxn>
                <a:cxn ang="0">
                  <a:pos x="72" y="8"/>
                </a:cxn>
                <a:cxn ang="0">
                  <a:pos x="76" y="8"/>
                </a:cxn>
                <a:cxn ang="0">
                  <a:pos x="80" y="4"/>
                </a:cxn>
                <a:cxn ang="0">
                  <a:pos x="88" y="4"/>
                </a:cxn>
                <a:cxn ang="0">
                  <a:pos x="96" y="4"/>
                </a:cxn>
                <a:cxn ang="0">
                  <a:pos x="100" y="0"/>
                </a:cxn>
                <a:cxn ang="0">
                  <a:pos x="104" y="4"/>
                </a:cxn>
                <a:cxn ang="0">
                  <a:pos x="88" y="20"/>
                </a:cxn>
                <a:cxn ang="0">
                  <a:pos x="88" y="32"/>
                </a:cxn>
                <a:cxn ang="0">
                  <a:pos x="88" y="40"/>
                </a:cxn>
                <a:cxn ang="0">
                  <a:pos x="84" y="44"/>
                </a:cxn>
                <a:cxn ang="0">
                  <a:pos x="84" y="48"/>
                </a:cxn>
                <a:cxn ang="0">
                  <a:pos x="84" y="60"/>
                </a:cxn>
                <a:cxn ang="0">
                  <a:pos x="64" y="72"/>
                </a:cxn>
                <a:cxn ang="0">
                  <a:pos x="48" y="80"/>
                </a:cxn>
                <a:cxn ang="0">
                  <a:pos x="32" y="92"/>
                </a:cxn>
                <a:cxn ang="0">
                  <a:pos x="20" y="100"/>
                </a:cxn>
                <a:cxn ang="0">
                  <a:pos x="12" y="100"/>
                </a:cxn>
                <a:cxn ang="0">
                  <a:pos x="8" y="96"/>
                </a:cxn>
                <a:cxn ang="0">
                  <a:pos x="4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88"/>
                </a:cxn>
                <a:cxn ang="0">
                  <a:pos x="0" y="84"/>
                </a:cxn>
              </a:cxnLst>
              <a:rect l="0" t="0" r="r" b="b"/>
              <a:pathLst>
                <a:path w="104" h="100">
                  <a:moveTo>
                    <a:pt x="0" y="84"/>
                  </a:move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104" y="0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96" y="16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52"/>
                  </a:lnTo>
                  <a:lnTo>
                    <a:pt x="84" y="56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76" y="64"/>
                  </a:lnTo>
                  <a:lnTo>
                    <a:pt x="72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6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80"/>
                  </a:lnTo>
                  <a:lnTo>
                    <a:pt x="48" y="80"/>
                  </a:lnTo>
                  <a:lnTo>
                    <a:pt x="44" y="84"/>
                  </a:lnTo>
                  <a:lnTo>
                    <a:pt x="40" y="84"/>
                  </a:lnTo>
                  <a:lnTo>
                    <a:pt x="36" y="88"/>
                  </a:lnTo>
                  <a:lnTo>
                    <a:pt x="32" y="92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0" y="92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8" name="Freeform 45"/>
            <p:cNvSpPr>
              <a:spLocks/>
            </p:cNvSpPr>
            <p:nvPr>
              <p:custDataLst>
                <p:tags r:id="rId241"/>
              </p:custDataLst>
            </p:nvPr>
          </p:nvSpPr>
          <p:spPr bwMode="gray">
            <a:xfrm>
              <a:off x="5890269" y="3431749"/>
              <a:ext cx="170552" cy="136442"/>
            </a:xfrm>
            <a:custGeom>
              <a:avLst/>
              <a:gdLst/>
              <a:ahLst/>
              <a:cxnLst>
                <a:cxn ang="0">
                  <a:pos x="108" y="76"/>
                </a:cxn>
                <a:cxn ang="0">
                  <a:pos x="96" y="80"/>
                </a:cxn>
                <a:cxn ang="0">
                  <a:pos x="96" y="76"/>
                </a:cxn>
                <a:cxn ang="0">
                  <a:pos x="88" y="76"/>
                </a:cxn>
                <a:cxn ang="0">
                  <a:pos x="80" y="80"/>
                </a:cxn>
                <a:cxn ang="0">
                  <a:pos x="72" y="84"/>
                </a:cxn>
                <a:cxn ang="0">
                  <a:pos x="64" y="88"/>
                </a:cxn>
                <a:cxn ang="0">
                  <a:pos x="60" y="76"/>
                </a:cxn>
                <a:cxn ang="0">
                  <a:pos x="64" y="68"/>
                </a:cxn>
                <a:cxn ang="0">
                  <a:pos x="56" y="64"/>
                </a:cxn>
                <a:cxn ang="0">
                  <a:pos x="56" y="56"/>
                </a:cxn>
                <a:cxn ang="0">
                  <a:pos x="48" y="60"/>
                </a:cxn>
                <a:cxn ang="0">
                  <a:pos x="40" y="68"/>
                </a:cxn>
                <a:cxn ang="0">
                  <a:pos x="40" y="72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12" y="80"/>
                </a:cxn>
                <a:cxn ang="0">
                  <a:pos x="4" y="80"/>
                </a:cxn>
                <a:cxn ang="0">
                  <a:pos x="8" y="72"/>
                </a:cxn>
                <a:cxn ang="0">
                  <a:pos x="12" y="60"/>
                </a:cxn>
                <a:cxn ang="0">
                  <a:pos x="12" y="56"/>
                </a:cxn>
                <a:cxn ang="0">
                  <a:pos x="12" y="48"/>
                </a:cxn>
                <a:cxn ang="0">
                  <a:pos x="4" y="44"/>
                </a:cxn>
                <a:cxn ang="0">
                  <a:pos x="0" y="36"/>
                </a:cxn>
                <a:cxn ang="0">
                  <a:pos x="8" y="28"/>
                </a:cxn>
                <a:cxn ang="0">
                  <a:pos x="16" y="32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20" y="16"/>
                </a:cxn>
                <a:cxn ang="0">
                  <a:pos x="28" y="12"/>
                </a:cxn>
                <a:cxn ang="0">
                  <a:pos x="32" y="4"/>
                </a:cxn>
                <a:cxn ang="0">
                  <a:pos x="40" y="8"/>
                </a:cxn>
                <a:cxn ang="0">
                  <a:pos x="44" y="0"/>
                </a:cxn>
                <a:cxn ang="0">
                  <a:pos x="52" y="4"/>
                </a:cxn>
                <a:cxn ang="0">
                  <a:pos x="48" y="12"/>
                </a:cxn>
                <a:cxn ang="0">
                  <a:pos x="48" y="16"/>
                </a:cxn>
                <a:cxn ang="0">
                  <a:pos x="48" y="20"/>
                </a:cxn>
                <a:cxn ang="0">
                  <a:pos x="48" y="24"/>
                </a:cxn>
                <a:cxn ang="0">
                  <a:pos x="40" y="16"/>
                </a:cxn>
                <a:cxn ang="0">
                  <a:pos x="32" y="24"/>
                </a:cxn>
                <a:cxn ang="0">
                  <a:pos x="28" y="24"/>
                </a:cxn>
                <a:cxn ang="0">
                  <a:pos x="32" y="32"/>
                </a:cxn>
                <a:cxn ang="0">
                  <a:pos x="44" y="32"/>
                </a:cxn>
                <a:cxn ang="0">
                  <a:pos x="48" y="32"/>
                </a:cxn>
                <a:cxn ang="0">
                  <a:pos x="56" y="32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72" y="40"/>
                </a:cxn>
                <a:cxn ang="0">
                  <a:pos x="80" y="36"/>
                </a:cxn>
                <a:cxn ang="0">
                  <a:pos x="88" y="32"/>
                </a:cxn>
                <a:cxn ang="0">
                  <a:pos x="96" y="36"/>
                </a:cxn>
                <a:cxn ang="0">
                  <a:pos x="96" y="44"/>
                </a:cxn>
                <a:cxn ang="0">
                  <a:pos x="100" y="52"/>
                </a:cxn>
                <a:cxn ang="0">
                  <a:pos x="108" y="52"/>
                </a:cxn>
                <a:cxn ang="0">
                  <a:pos x="111" y="60"/>
                </a:cxn>
                <a:cxn ang="0">
                  <a:pos x="115" y="68"/>
                </a:cxn>
                <a:cxn ang="0">
                  <a:pos x="115" y="72"/>
                </a:cxn>
              </a:cxnLst>
              <a:rect l="0" t="0" r="r" b="b"/>
              <a:pathLst>
                <a:path w="115" h="92">
                  <a:moveTo>
                    <a:pt x="111" y="80"/>
                  </a:moveTo>
                  <a:lnTo>
                    <a:pt x="111" y="76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0" y="76"/>
                  </a:lnTo>
                  <a:lnTo>
                    <a:pt x="96" y="80"/>
                  </a:lnTo>
                  <a:lnTo>
                    <a:pt x="92" y="80"/>
                  </a:lnTo>
                  <a:lnTo>
                    <a:pt x="92" y="76"/>
                  </a:lnTo>
                  <a:lnTo>
                    <a:pt x="96" y="76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88" y="76"/>
                  </a:lnTo>
                  <a:lnTo>
                    <a:pt x="84" y="76"/>
                  </a:lnTo>
                  <a:lnTo>
                    <a:pt x="84" y="80"/>
                  </a:lnTo>
                  <a:lnTo>
                    <a:pt x="80" y="80"/>
                  </a:lnTo>
                  <a:lnTo>
                    <a:pt x="80" y="84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68" y="88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0" y="84"/>
                  </a:lnTo>
                  <a:lnTo>
                    <a:pt x="60" y="80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2" y="52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4" y="68"/>
                  </a:lnTo>
                  <a:lnTo>
                    <a:pt x="44" y="72"/>
                  </a:lnTo>
                  <a:lnTo>
                    <a:pt x="40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44" y="20"/>
                  </a:lnTo>
                  <a:lnTo>
                    <a:pt x="40" y="16"/>
                  </a:lnTo>
                  <a:lnTo>
                    <a:pt x="36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92" y="36"/>
                  </a:lnTo>
                  <a:lnTo>
                    <a:pt x="96" y="40"/>
                  </a:lnTo>
                  <a:lnTo>
                    <a:pt x="96" y="44"/>
                  </a:lnTo>
                  <a:lnTo>
                    <a:pt x="96" y="48"/>
                  </a:lnTo>
                  <a:lnTo>
                    <a:pt x="96" y="52"/>
                  </a:lnTo>
                  <a:lnTo>
                    <a:pt x="100" y="52"/>
                  </a:lnTo>
                  <a:lnTo>
                    <a:pt x="100" y="48"/>
                  </a:lnTo>
                  <a:lnTo>
                    <a:pt x="104" y="48"/>
                  </a:lnTo>
                  <a:lnTo>
                    <a:pt x="108" y="52"/>
                  </a:lnTo>
                  <a:lnTo>
                    <a:pt x="111" y="52"/>
                  </a:lnTo>
                  <a:lnTo>
                    <a:pt x="111" y="56"/>
                  </a:lnTo>
                  <a:lnTo>
                    <a:pt x="111" y="60"/>
                  </a:lnTo>
                  <a:lnTo>
                    <a:pt x="111" y="64"/>
                  </a:lnTo>
                  <a:lnTo>
                    <a:pt x="111" y="68"/>
                  </a:lnTo>
                  <a:lnTo>
                    <a:pt x="115" y="68"/>
                  </a:lnTo>
                  <a:lnTo>
                    <a:pt x="111" y="68"/>
                  </a:lnTo>
                  <a:lnTo>
                    <a:pt x="111" y="72"/>
                  </a:lnTo>
                  <a:lnTo>
                    <a:pt x="115" y="72"/>
                  </a:lnTo>
                  <a:lnTo>
                    <a:pt x="115" y="76"/>
                  </a:lnTo>
                  <a:lnTo>
                    <a:pt x="111" y="8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49" name="Freeform 46"/>
            <p:cNvSpPr>
              <a:spLocks noEditPoints="1"/>
            </p:cNvSpPr>
            <p:nvPr>
              <p:custDataLst>
                <p:tags r:id="rId242"/>
              </p:custDataLst>
            </p:nvPr>
          </p:nvSpPr>
          <p:spPr bwMode="gray">
            <a:xfrm>
              <a:off x="6559131" y="4035356"/>
              <a:ext cx="188349" cy="409326"/>
            </a:xfrm>
            <a:custGeom>
              <a:avLst/>
              <a:gdLst/>
              <a:ahLst/>
              <a:cxnLst>
                <a:cxn ang="0">
                  <a:pos x="59" y="276"/>
                </a:cxn>
                <a:cxn ang="0">
                  <a:pos x="55" y="264"/>
                </a:cxn>
                <a:cxn ang="0">
                  <a:pos x="43" y="260"/>
                </a:cxn>
                <a:cxn ang="0">
                  <a:pos x="39" y="248"/>
                </a:cxn>
                <a:cxn ang="0">
                  <a:pos x="27" y="236"/>
                </a:cxn>
                <a:cxn ang="0">
                  <a:pos x="19" y="228"/>
                </a:cxn>
                <a:cxn ang="0">
                  <a:pos x="15" y="216"/>
                </a:cxn>
                <a:cxn ang="0">
                  <a:pos x="19" y="196"/>
                </a:cxn>
                <a:cxn ang="0">
                  <a:pos x="31" y="172"/>
                </a:cxn>
                <a:cxn ang="0">
                  <a:pos x="35" y="152"/>
                </a:cxn>
                <a:cxn ang="0">
                  <a:pos x="31" y="132"/>
                </a:cxn>
                <a:cxn ang="0">
                  <a:pos x="23" y="116"/>
                </a:cxn>
                <a:cxn ang="0">
                  <a:pos x="15" y="100"/>
                </a:cxn>
                <a:cxn ang="0">
                  <a:pos x="19" y="80"/>
                </a:cxn>
                <a:cxn ang="0">
                  <a:pos x="19" y="64"/>
                </a:cxn>
                <a:cxn ang="0">
                  <a:pos x="8" y="52"/>
                </a:cxn>
                <a:cxn ang="0">
                  <a:pos x="4" y="36"/>
                </a:cxn>
                <a:cxn ang="0">
                  <a:pos x="8" y="24"/>
                </a:cxn>
                <a:cxn ang="0">
                  <a:pos x="19" y="12"/>
                </a:cxn>
                <a:cxn ang="0">
                  <a:pos x="31" y="8"/>
                </a:cxn>
                <a:cxn ang="0">
                  <a:pos x="43" y="4"/>
                </a:cxn>
                <a:cxn ang="0">
                  <a:pos x="47" y="12"/>
                </a:cxn>
                <a:cxn ang="0">
                  <a:pos x="59" y="24"/>
                </a:cxn>
                <a:cxn ang="0">
                  <a:pos x="59" y="40"/>
                </a:cxn>
                <a:cxn ang="0">
                  <a:pos x="59" y="56"/>
                </a:cxn>
                <a:cxn ang="0">
                  <a:pos x="71" y="44"/>
                </a:cxn>
                <a:cxn ang="0">
                  <a:pos x="83" y="48"/>
                </a:cxn>
                <a:cxn ang="0">
                  <a:pos x="95" y="40"/>
                </a:cxn>
                <a:cxn ang="0">
                  <a:pos x="111" y="52"/>
                </a:cxn>
                <a:cxn ang="0">
                  <a:pos x="115" y="68"/>
                </a:cxn>
                <a:cxn ang="0">
                  <a:pos x="119" y="84"/>
                </a:cxn>
                <a:cxn ang="0">
                  <a:pos x="123" y="100"/>
                </a:cxn>
                <a:cxn ang="0">
                  <a:pos x="119" y="112"/>
                </a:cxn>
                <a:cxn ang="0">
                  <a:pos x="103" y="112"/>
                </a:cxn>
                <a:cxn ang="0">
                  <a:pos x="87" y="120"/>
                </a:cxn>
                <a:cxn ang="0">
                  <a:pos x="75" y="132"/>
                </a:cxn>
                <a:cxn ang="0">
                  <a:pos x="83" y="152"/>
                </a:cxn>
                <a:cxn ang="0">
                  <a:pos x="83" y="156"/>
                </a:cxn>
                <a:cxn ang="0">
                  <a:pos x="71" y="144"/>
                </a:cxn>
                <a:cxn ang="0">
                  <a:pos x="55" y="144"/>
                </a:cxn>
                <a:cxn ang="0">
                  <a:pos x="55" y="128"/>
                </a:cxn>
                <a:cxn ang="0">
                  <a:pos x="43" y="136"/>
                </a:cxn>
                <a:cxn ang="0">
                  <a:pos x="39" y="160"/>
                </a:cxn>
                <a:cxn ang="0">
                  <a:pos x="31" y="180"/>
                </a:cxn>
                <a:cxn ang="0">
                  <a:pos x="31" y="204"/>
                </a:cxn>
                <a:cxn ang="0">
                  <a:pos x="39" y="220"/>
                </a:cxn>
                <a:cxn ang="0">
                  <a:pos x="47" y="228"/>
                </a:cxn>
                <a:cxn ang="0">
                  <a:pos x="51" y="248"/>
                </a:cxn>
                <a:cxn ang="0">
                  <a:pos x="43" y="240"/>
                </a:cxn>
                <a:cxn ang="0">
                  <a:pos x="51" y="248"/>
                </a:cxn>
                <a:cxn ang="0">
                  <a:pos x="63" y="252"/>
                </a:cxn>
                <a:cxn ang="0">
                  <a:pos x="71" y="272"/>
                </a:cxn>
                <a:cxn ang="0">
                  <a:pos x="35" y="260"/>
                </a:cxn>
                <a:cxn ang="0">
                  <a:pos x="79" y="156"/>
                </a:cxn>
                <a:cxn ang="0">
                  <a:pos x="43" y="200"/>
                </a:cxn>
                <a:cxn ang="0">
                  <a:pos x="15" y="232"/>
                </a:cxn>
              </a:cxnLst>
              <a:rect l="0" t="0" r="r" b="b"/>
              <a:pathLst>
                <a:path w="127" h="276">
                  <a:moveTo>
                    <a:pt x="67" y="272"/>
                  </a:moveTo>
                  <a:lnTo>
                    <a:pt x="67" y="268"/>
                  </a:lnTo>
                  <a:lnTo>
                    <a:pt x="63" y="268"/>
                  </a:lnTo>
                  <a:lnTo>
                    <a:pt x="63" y="272"/>
                  </a:lnTo>
                  <a:lnTo>
                    <a:pt x="59" y="272"/>
                  </a:lnTo>
                  <a:lnTo>
                    <a:pt x="59" y="276"/>
                  </a:lnTo>
                  <a:lnTo>
                    <a:pt x="59" y="272"/>
                  </a:lnTo>
                  <a:lnTo>
                    <a:pt x="55" y="272"/>
                  </a:lnTo>
                  <a:lnTo>
                    <a:pt x="55" y="268"/>
                  </a:lnTo>
                  <a:lnTo>
                    <a:pt x="59" y="268"/>
                  </a:lnTo>
                  <a:lnTo>
                    <a:pt x="59" y="264"/>
                  </a:lnTo>
                  <a:lnTo>
                    <a:pt x="55" y="264"/>
                  </a:lnTo>
                  <a:lnTo>
                    <a:pt x="55" y="260"/>
                  </a:lnTo>
                  <a:lnTo>
                    <a:pt x="51" y="260"/>
                  </a:lnTo>
                  <a:lnTo>
                    <a:pt x="47" y="260"/>
                  </a:lnTo>
                  <a:lnTo>
                    <a:pt x="47" y="256"/>
                  </a:lnTo>
                  <a:lnTo>
                    <a:pt x="43" y="256"/>
                  </a:lnTo>
                  <a:lnTo>
                    <a:pt x="43" y="260"/>
                  </a:lnTo>
                  <a:lnTo>
                    <a:pt x="43" y="256"/>
                  </a:lnTo>
                  <a:lnTo>
                    <a:pt x="39" y="256"/>
                  </a:lnTo>
                  <a:lnTo>
                    <a:pt x="39" y="252"/>
                  </a:lnTo>
                  <a:lnTo>
                    <a:pt x="35" y="252"/>
                  </a:lnTo>
                  <a:lnTo>
                    <a:pt x="35" y="248"/>
                  </a:lnTo>
                  <a:lnTo>
                    <a:pt x="39" y="248"/>
                  </a:lnTo>
                  <a:lnTo>
                    <a:pt x="35" y="248"/>
                  </a:lnTo>
                  <a:lnTo>
                    <a:pt x="35" y="244"/>
                  </a:lnTo>
                  <a:lnTo>
                    <a:pt x="31" y="244"/>
                  </a:lnTo>
                  <a:lnTo>
                    <a:pt x="31" y="240"/>
                  </a:lnTo>
                  <a:lnTo>
                    <a:pt x="31" y="236"/>
                  </a:lnTo>
                  <a:lnTo>
                    <a:pt x="27" y="236"/>
                  </a:lnTo>
                  <a:lnTo>
                    <a:pt x="27" y="232"/>
                  </a:lnTo>
                  <a:lnTo>
                    <a:pt x="23" y="232"/>
                  </a:lnTo>
                  <a:lnTo>
                    <a:pt x="23" y="228"/>
                  </a:lnTo>
                  <a:lnTo>
                    <a:pt x="23" y="224"/>
                  </a:lnTo>
                  <a:lnTo>
                    <a:pt x="19" y="224"/>
                  </a:lnTo>
                  <a:lnTo>
                    <a:pt x="19" y="228"/>
                  </a:lnTo>
                  <a:lnTo>
                    <a:pt x="19" y="224"/>
                  </a:lnTo>
                  <a:lnTo>
                    <a:pt x="19" y="228"/>
                  </a:lnTo>
                  <a:lnTo>
                    <a:pt x="15" y="228"/>
                  </a:lnTo>
                  <a:lnTo>
                    <a:pt x="15" y="224"/>
                  </a:lnTo>
                  <a:lnTo>
                    <a:pt x="15" y="220"/>
                  </a:lnTo>
                  <a:lnTo>
                    <a:pt x="15" y="216"/>
                  </a:lnTo>
                  <a:lnTo>
                    <a:pt x="15" y="212"/>
                  </a:lnTo>
                  <a:lnTo>
                    <a:pt x="15" y="208"/>
                  </a:lnTo>
                  <a:lnTo>
                    <a:pt x="15" y="204"/>
                  </a:lnTo>
                  <a:lnTo>
                    <a:pt x="19" y="204"/>
                  </a:lnTo>
                  <a:lnTo>
                    <a:pt x="19" y="200"/>
                  </a:lnTo>
                  <a:lnTo>
                    <a:pt x="19" y="196"/>
                  </a:lnTo>
                  <a:lnTo>
                    <a:pt x="23" y="192"/>
                  </a:lnTo>
                  <a:lnTo>
                    <a:pt x="23" y="188"/>
                  </a:lnTo>
                  <a:lnTo>
                    <a:pt x="23" y="184"/>
                  </a:lnTo>
                  <a:lnTo>
                    <a:pt x="23" y="180"/>
                  </a:lnTo>
                  <a:lnTo>
                    <a:pt x="27" y="176"/>
                  </a:lnTo>
                  <a:lnTo>
                    <a:pt x="31" y="172"/>
                  </a:lnTo>
                  <a:lnTo>
                    <a:pt x="31" y="168"/>
                  </a:lnTo>
                  <a:lnTo>
                    <a:pt x="31" y="164"/>
                  </a:lnTo>
                  <a:lnTo>
                    <a:pt x="35" y="164"/>
                  </a:lnTo>
                  <a:lnTo>
                    <a:pt x="35" y="160"/>
                  </a:lnTo>
                  <a:lnTo>
                    <a:pt x="35" y="156"/>
                  </a:lnTo>
                  <a:lnTo>
                    <a:pt x="35" y="152"/>
                  </a:lnTo>
                  <a:lnTo>
                    <a:pt x="31" y="152"/>
                  </a:lnTo>
                  <a:lnTo>
                    <a:pt x="31" y="148"/>
                  </a:lnTo>
                  <a:lnTo>
                    <a:pt x="31" y="144"/>
                  </a:lnTo>
                  <a:lnTo>
                    <a:pt x="27" y="136"/>
                  </a:lnTo>
                  <a:lnTo>
                    <a:pt x="31" y="136"/>
                  </a:lnTo>
                  <a:lnTo>
                    <a:pt x="31" y="132"/>
                  </a:lnTo>
                  <a:lnTo>
                    <a:pt x="27" y="132"/>
                  </a:lnTo>
                  <a:lnTo>
                    <a:pt x="27" y="128"/>
                  </a:lnTo>
                  <a:lnTo>
                    <a:pt x="27" y="124"/>
                  </a:lnTo>
                  <a:lnTo>
                    <a:pt x="27" y="120"/>
                  </a:lnTo>
                  <a:lnTo>
                    <a:pt x="23" y="120"/>
                  </a:lnTo>
                  <a:lnTo>
                    <a:pt x="23" y="116"/>
                  </a:lnTo>
                  <a:lnTo>
                    <a:pt x="19" y="116"/>
                  </a:lnTo>
                  <a:lnTo>
                    <a:pt x="19" y="112"/>
                  </a:lnTo>
                  <a:lnTo>
                    <a:pt x="19" y="108"/>
                  </a:lnTo>
                  <a:lnTo>
                    <a:pt x="15" y="108"/>
                  </a:lnTo>
                  <a:lnTo>
                    <a:pt x="15" y="104"/>
                  </a:lnTo>
                  <a:lnTo>
                    <a:pt x="15" y="100"/>
                  </a:lnTo>
                  <a:lnTo>
                    <a:pt x="15" y="96"/>
                  </a:lnTo>
                  <a:lnTo>
                    <a:pt x="19" y="96"/>
                  </a:lnTo>
                  <a:lnTo>
                    <a:pt x="19" y="92"/>
                  </a:lnTo>
                  <a:lnTo>
                    <a:pt x="19" y="88"/>
                  </a:lnTo>
                  <a:lnTo>
                    <a:pt x="19" y="84"/>
                  </a:lnTo>
                  <a:lnTo>
                    <a:pt x="19" y="80"/>
                  </a:lnTo>
                  <a:lnTo>
                    <a:pt x="23" y="80"/>
                  </a:lnTo>
                  <a:lnTo>
                    <a:pt x="23" y="76"/>
                  </a:lnTo>
                  <a:lnTo>
                    <a:pt x="19" y="76"/>
                  </a:lnTo>
                  <a:lnTo>
                    <a:pt x="19" y="72"/>
                  </a:lnTo>
                  <a:lnTo>
                    <a:pt x="19" y="68"/>
                  </a:lnTo>
                  <a:lnTo>
                    <a:pt x="19" y="64"/>
                  </a:lnTo>
                  <a:lnTo>
                    <a:pt x="15" y="64"/>
                  </a:lnTo>
                  <a:lnTo>
                    <a:pt x="15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5" y="12"/>
                  </a:lnTo>
                  <a:lnTo>
                    <a:pt x="19" y="12"/>
                  </a:lnTo>
                  <a:lnTo>
                    <a:pt x="23" y="12"/>
                  </a:lnTo>
                  <a:lnTo>
                    <a:pt x="27" y="12"/>
                  </a:lnTo>
                  <a:lnTo>
                    <a:pt x="27" y="8"/>
                  </a:lnTo>
                  <a:lnTo>
                    <a:pt x="27" y="4"/>
                  </a:lnTo>
                  <a:lnTo>
                    <a:pt x="31" y="4"/>
                  </a:lnTo>
                  <a:lnTo>
                    <a:pt x="31" y="8"/>
                  </a:lnTo>
                  <a:lnTo>
                    <a:pt x="31" y="4"/>
                  </a:lnTo>
                  <a:lnTo>
                    <a:pt x="35" y="4"/>
                  </a:lnTo>
                  <a:lnTo>
                    <a:pt x="35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3" y="4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47" y="4"/>
                  </a:lnTo>
                  <a:lnTo>
                    <a:pt x="51" y="4"/>
                  </a:lnTo>
                  <a:lnTo>
                    <a:pt x="51" y="8"/>
                  </a:lnTo>
                  <a:lnTo>
                    <a:pt x="47" y="12"/>
                  </a:lnTo>
                  <a:lnTo>
                    <a:pt x="47" y="16"/>
                  </a:lnTo>
                  <a:lnTo>
                    <a:pt x="51" y="16"/>
                  </a:lnTo>
                  <a:lnTo>
                    <a:pt x="55" y="16"/>
                  </a:lnTo>
                  <a:lnTo>
                    <a:pt x="59" y="16"/>
                  </a:lnTo>
                  <a:lnTo>
                    <a:pt x="59" y="20"/>
                  </a:lnTo>
                  <a:lnTo>
                    <a:pt x="59" y="24"/>
                  </a:lnTo>
                  <a:lnTo>
                    <a:pt x="63" y="24"/>
                  </a:lnTo>
                  <a:lnTo>
                    <a:pt x="63" y="28"/>
                  </a:lnTo>
                  <a:lnTo>
                    <a:pt x="59" y="28"/>
                  </a:lnTo>
                  <a:lnTo>
                    <a:pt x="59" y="32"/>
                  </a:lnTo>
                  <a:lnTo>
                    <a:pt x="59" y="36"/>
                  </a:lnTo>
                  <a:lnTo>
                    <a:pt x="59" y="40"/>
                  </a:lnTo>
                  <a:lnTo>
                    <a:pt x="59" y="44"/>
                  </a:lnTo>
                  <a:lnTo>
                    <a:pt x="59" y="48"/>
                  </a:lnTo>
                  <a:lnTo>
                    <a:pt x="55" y="48"/>
                  </a:lnTo>
                  <a:lnTo>
                    <a:pt x="55" y="52"/>
                  </a:lnTo>
                  <a:lnTo>
                    <a:pt x="55" y="56"/>
                  </a:lnTo>
                  <a:lnTo>
                    <a:pt x="59" y="56"/>
                  </a:lnTo>
                  <a:lnTo>
                    <a:pt x="59" y="52"/>
                  </a:lnTo>
                  <a:lnTo>
                    <a:pt x="63" y="52"/>
                  </a:lnTo>
                  <a:lnTo>
                    <a:pt x="63" y="48"/>
                  </a:lnTo>
                  <a:lnTo>
                    <a:pt x="67" y="48"/>
                  </a:lnTo>
                  <a:lnTo>
                    <a:pt x="67" y="44"/>
                  </a:lnTo>
                  <a:lnTo>
                    <a:pt x="71" y="44"/>
                  </a:lnTo>
                  <a:lnTo>
                    <a:pt x="71" y="40"/>
                  </a:lnTo>
                  <a:lnTo>
                    <a:pt x="75" y="40"/>
                  </a:lnTo>
                  <a:lnTo>
                    <a:pt x="75" y="44"/>
                  </a:lnTo>
                  <a:lnTo>
                    <a:pt x="79" y="44"/>
                  </a:lnTo>
                  <a:lnTo>
                    <a:pt x="79" y="48"/>
                  </a:lnTo>
                  <a:lnTo>
                    <a:pt x="83" y="48"/>
                  </a:lnTo>
                  <a:lnTo>
                    <a:pt x="83" y="44"/>
                  </a:lnTo>
                  <a:lnTo>
                    <a:pt x="87" y="44"/>
                  </a:lnTo>
                  <a:lnTo>
                    <a:pt x="91" y="40"/>
                  </a:lnTo>
                  <a:lnTo>
                    <a:pt x="91" y="36"/>
                  </a:lnTo>
                  <a:lnTo>
                    <a:pt x="95" y="36"/>
                  </a:lnTo>
                  <a:lnTo>
                    <a:pt x="95" y="40"/>
                  </a:lnTo>
                  <a:lnTo>
                    <a:pt x="99" y="40"/>
                  </a:lnTo>
                  <a:lnTo>
                    <a:pt x="103" y="40"/>
                  </a:lnTo>
                  <a:lnTo>
                    <a:pt x="103" y="44"/>
                  </a:lnTo>
                  <a:lnTo>
                    <a:pt x="107" y="48"/>
                  </a:lnTo>
                  <a:lnTo>
                    <a:pt x="107" y="52"/>
                  </a:lnTo>
                  <a:lnTo>
                    <a:pt x="111" y="52"/>
                  </a:lnTo>
                  <a:lnTo>
                    <a:pt x="111" y="56"/>
                  </a:lnTo>
                  <a:lnTo>
                    <a:pt x="115" y="56"/>
                  </a:lnTo>
                  <a:lnTo>
                    <a:pt x="115" y="60"/>
                  </a:lnTo>
                  <a:lnTo>
                    <a:pt x="115" y="64"/>
                  </a:lnTo>
                  <a:lnTo>
                    <a:pt x="111" y="64"/>
                  </a:lnTo>
                  <a:lnTo>
                    <a:pt x="115" y="68"/>
                  </a:lnTo>
                  <a:lnTo>
                    <a:pt x="115" y="72"/>
                  </a:lnTo>
                  <a:lnTo>
                    <a:pt x="111" y="72"/>
                  </a:lnTo>
                  <a:lnTo>
                    <a:pt x="115" y="72"/>
                  </a:lnTo>
                  <a:lnTo>
                    <a:pt x="115" y="76"/>
                  </a:lnTo>
                  <a:lnTo>
                    <a:pt x="119" y="80"/>
                  </a:lnTo>
                  <a:lnTo>
                    <a:pt x="119" y="84"/>
                  </a:lnTo>
                  <a:lnTo>
                    <a:pt x="123" y="84"/>
                  </a:lnTo>
                  <a:lnTo>
                    <a:pt x="123" y="88"/>
                  </a:lnTo>
                  <a:lnTo>
                    <a:pt x="127" y="88"/>
                  </a:lnTo>
                  <a:lnTo>
                    <a:pt x="127" y="92"/>
                  </a:lnTo>
                  <a:lnTo>
                    <a:pt x="127" y="96"/>
                  </a:lnTo>
                  <a:lnTo>
                    <a:pt x="123" y="100"/>
                  </a:lnTo>
                  <a:lnTo>
                    <a:pt x="127" y="100"/>
                  </a:lnTo>
                  <a:lnTo>
                    <a:pt x="127" y="104"/>
                  </a:lnTo>
                  <a:lnTo>
                    <a:pt x="123" y="104"/>
                  </a:lnTo>
                  <a:lnTo>
                    <a:pt x="123" y="108"/>
                  </a:lnTo>
                  <a:lnTo>
                    <a:pt x="123" y="112"/>
                  </a:lnTo>
                  <a:lnTo>
                    <a:pt x="119" y="112"/>
                  </a:lnTo>
                  <a:lnTo>
                    <a:pt x="119" y="116"/>
                  </a:lnTo>
                  <a:lnTo>
                    <a:pt x="115" y="116"/>
                  </a:lnTo>
                  <a:lnTo>
                    <a:pt x="115" y="112"/>
                  </a:lnTo>
                  <a:lnTo>
                    <a:pt x="111" y="112"/>
                  </a:lnTo>
                  <a:lnTo>
                    <a:pt x="107" y="112"/>
                  </a:lnTo>
                  <a:lnTo>
                    <a:pt x="103" y="112"/>
                  </a:lnTo>
                  <a:lnTo>
                    <a:pt x="99" y="112"/>
                  </a:lnTo>
                  <a:lnTo>
                    <a:pt x="95" y="112"/>
                  </a:lnTo>
                  <a:lnTo>
                    <a:pt x="91" y="112"/>
                  </a:lnTo>
                  <a:lnTo>
                    <a:pt x="91" y="116"/>
                  </a:lnTo>
                  <a:lnTo>
                    <a:pt x="87" y="116"/>
                  </a:lnTo>
                  <a:lnTo>
                    <a:pt x="87" y="120"/>
                  </a:lnTo>
                  <a:lnTo>
                    <a:pt x="83" y="120"/>
                  </a:lnTo>
                  <a:lnTo>
                    <a:pt x="83" y="124"/>
                  </a:lnTo>
                  <a:lnTo>
                    <a:pt x="79" y="124"/>
                  </a:lnTo>
                  <a:lnTo>
                    <a:pt x="79" y="128"/>
                  </a:lnTo>
                  <a:lnTo>
                    <a:pt x="75" y="128"/>
                  </a:lnTo>
                  <a:lnTo>
                    <a:pt x="75" y="132"/>
                  </a:lnTo>
                  <a:lnTo>
                    <a:pt x="79" y="136"/>
                  </a:lnTo>
                  <a:lnTo>
                    <a:pt x="79" y="140"/>
                  </a:lnTo>
                  <a:lnTo>
                    <a:pt x="79" y="144"/>
                  </a:lnTo>
                  <a:lnTo>
                    <a:pt x="79" y="148"/>
                  </a:lnTo>
                  <a:lnTo>
                    <a:pt x="83" y="148"/>
                  </a:lnTo>
                  <a:lnTo>
                    <a:pt x="83" y="152"/>
                  </a:lnTo>
                  <a:lnTo>
                    <a:pt x="83" y="156"/>
                  </a:lnTo>
                  <a:lnTo>
                    <a:pt x="83" y="160"/>
                  </a:lnTo>
                  <a:lnTo>
                    <a:pt x="87" y="160"/>
                  </a:lnTo>
                  <a:lnTo>
                    <a:pt x="87" y="164"/>
                  </a:lnTo>
                  <a:lnTo>
                    <a:pt x="83" y="160"/>
                  </a:lnTo>
                  <a:lnTo>
                    <a:pt x="83" y="156"/>
                  </a:lnTo>
                  <a:lnTo>
                    <a:pt x="79" y="152"/>
                  </a:lnTo>
                  <a:lnTo>
                    <a:pt x="79" y="156"/>
                  </a:lnTo>
                  <a:lnTo>
                    <a:pt x="75" y="152"/>
                  </a:lnTo>
                  <a:lnTo>
                    <a:pt x="75" y="148"/>
                  </a:lnTo>
                  <a:lnTo>
                    <a:pt x="71" y="148"/>
                  </a:lnTo>
                  <a:lnTo>
                    <a:pt x="71" y="144"/>
                  </a:lnTo>
                  <a:lnTo>
                    <a:pt x="67" y="144"/>
                  </a:lnTo>
                  <a:lnTo>
                    <a:pt x="63" y="144"/>
                  </a:lnTo>
                  <a:lnTo>
                    <a:pt x="63" y="148"/>
                  </a:lnTo>
                  <a:lnTo>
                    <a:pt x="63" y="144"/>
                  </a:lnTo>
                  <a:lnTo>
                    <a:pt x="59" y="144"/>
                  </a:lnTo>
                  <a:lnTo>
                    <a:pt x="55" y="144"/>
                  </a:lnTo>
                  <a:lnTo>
                    <a:pt x="55" y="148"/>
                  </a:lnTo>
                  <a:lnTo>
                    <a:pt x="55" y="144"/>
                  </a:lnTo>
                  <a:lnTo>
                    <a:pt x="55" y="140"/>
                  </a:lnTo>
                  <a:lnTo>
                    <a:pt x="55" y="136"/>
                  </a:lnTo>
                  <a:lnTo>
                    <a:pt x="55" y="132"/>
                  </a:lnTo>
                  <a:lnTo>
                    <a:pt x="55" y="128"/>
                  </a:lnTo>
                  <a:lnTo>
                    <a:pt x="51" y="128"/>
                  </a:lnTo>
                  <a:lnTo>
                    <a:pt x="47" y="128"/>
                  </a:lnTo>
                  <a:lnTo>
                    <a:pt x="43" y="132"/>
                  </a:lnTo>
                  <a:lnTo>
                    <a:pt x="39" y="132"/>
                  </a:lnTo>
                  <a:lnTo>
                    <a:pt x="39" y="136"/>
                  </a:lnTo>
                  <a:lnTo>
                    <a:pt x="43" y="136"/>
                  </a:lnTo>
                  <a:lnTo>
                    <a:pt x="43" y="140"/>
                  </a:lnTo>
                  <a:lnTo>
                    <a:pt x="39" y="144"/>
                  </a:lnTo>
                  <a:lnTo>
                    <a:pt x="39" y="148"/>
                  </a:lnTo>
                  <a:lnTo>
                    <a:pt x="43" y="152"/>
                  </a:lnTo>
                  <a:lnTo>
                    <a:pt x="39" y="156"/>
                  </a:lnTo>
                  <a:lnTo>
                    <a:pt x="39" y="160"/>
                  </a:lnTo>
                  <a:lnTo>
                    <a:pt x="39" y="164"/>
                  </a:lnTo>
                  <a:lnTo>
                    <a:pt x="35" y="164"/>
                  </a:lnTo>
                  <a:lnTo>
                    <a:pt x="35" y="168"/>
                  </a:lnTo>
                  <a:lnTo>
                    <a:pt x="35" y="172"/>
                  </a:lnTo>
                  <a:lnTo>
                    <a:pt x="35" y="176"/>
                  </a:lnTo>
                  <a:lnTo>
                    <a:pt x="31" y="180"/>
                  </a:lnTo>
                  <a:lnTo>
                    <a:pt x="31" y="184"/>
                  </a:lnTo>
                  <a:lnTo>
                    <a:pt x="27" y="188"/>
                  </a:lnTo>
                  <a:lnTo>
                    <a:pt x="27" y="192"/>
                  </a:lnTo>
                  <a:lnTo>
                    <a:pt x="27" y="196"/>
                  </a:lnTo>
                  <a:lnTo>
                    <a:pt x="27" y="200"/>
                  </a:lnTo>
                  <a:lnTo>
                    <a:pt x="31" y="204"/>
                  </a:lnTo>
                  <a:lnTo>
                    <a:pt x="31" y="208"/>
                  </a:lnTo>
                  <a:lnTo>
                    <a:pt x="35" y="208"/>
                  </a:lnTo>
                  <a:lnTo>
                    <a:pt x="39" y="208"/>
                  </a:lnTo>
                  <a:lnTo>
                    <a:pt x="39" y="212"/>
                  </a:lnTo>
                  <a:lnTo>
                    <a:pt x="39" y="216"/>
                  </a:lnTo>
                  <a:lnTo>
                    <a:pt x="39" y="220"/>
                  </a:lnTo>
                  <a:lnTo>
                    <a:pt x="43" y="220"/>
                  </a:lnTo>
                  <a:lnTo>
                    <a:pt x="43" y="224"/>
                  </a:lnTo>
                  <a:lnTo>
                    <a:pt x="43" y="220"/>
                  </a:lnTo>
                  <a:lnTo>
                    <a:pt x="43" y="224"/>
                  </a:lnTo>
                  <a:lnTo>
                    <a:pt x="47" y="224"/>
                  </a:lnTo>
                  <a:lnTo>
                    <a:pt x="47" y="228"/>
                  </a:lnTo>
                  <a:lnTo>
                    <a:pt x="47" y="232"/>
                  </a:lnTo>
                  <a:lnTo>
                    <a:pt x="47" y="236"/>
                  </a:lnTo>
                  <a:lnTo>
                    <a:pt x="47" y="240"/>
                  </a:lnTo>
                  <a:lnTo>
                    <a:pt x="47" y="244"/>
                  </a:lnTo>
                  <a:lnTo>
                    <a:pt x="51" y="244"/>
                  </a:lnTo>
                  <a:lnTo>
                    <a:pt x="51" y="248"/>
                  </a:lnTo>
                  <a:lnTo>
                    <a:pt x="51" y="244"/>
                  </a:lnTo>
                  <a:lnTo>
                    <a:pt x="47" y="244"/>
                  </a:lnTo>
                  <a:lnTo>
                    <a:pt x="47" y="240"/>
                  </a:lnTo>
                  <a:lnTo>
                    <a:pt x="47" y="236"/>
                  </a:lnTo>
                  <a:lnTo>
                    <a:pt x="43" y="236"/>
                  </a:lnTo>
                  <a:lnTo>
                    <a:pt x="43" y="240"/>
                  </a:lnTo>
                  <a:lnTo>
                    <a:pt x="43" y="244"/>
                  </a:lnTo>
                  <a:lnTo>
                    <a:pt x="47" y="244"/>
                  </a:lnTo>
                  <a:lnTo>
                    <a:pt x="47" y="248"/>
                  </a:lnTo>
                  <a:lnTo>
                    <a:pt x="51" y="248"/>
                  </a:lnTo>
                  <a:lnTo>
                    <a:pt x="51" y="244"/>
                  </a:lnTo>
                  <a:lnTo>
                    <a:pt x="51" y="248"/>
                  </a:lnTo>
                  <a:lnTo>
                    <a:pt x="51" y="252"/>
                  </a:lnTo>
                  <a:lnTo>
                    <a:pt x="55" y="252"/>
                  </a:lnTo>
                  <a:lnTo>
                    <a:pt x="59" y="252"/>
                  </a:lnTo>
                  <a:lnTo>
                    <a:pt x="63" y="252"/>
                  </a:lnTo>
                  <a:lnTo>
                    <a:pt x="59" y="252"/>
                  </a:lnTo>
                  <a:lnTo>
                    <a:pt x="63" y="252"/>
                  </a:lnTo>
                  <a:lnTo>
                    <a:pt x="67" y="252"/>
                  </a:lnTo>
                  <a:lnTo>
                    <a:pt x="67" y="256"/>
                  </a:lnTo>
                  <a:lnTo>
                    <a:pt x="67" y="260"/>
                  </a:lnTo>
                  <a:lnTo>
                    <a:pt x="71" y="264"/>
                  </a:lnTo>
                  <a:lnTo>
                    <a:pt x="71" y="268"/>
                  </a:lnTo>
                  <a:lnTo>
                    <a:pt x="71" y="272"/>
                  </a:lnTo>
                  <a:lnTo>
                    <a:pt x="67" y="272"/>
                  </a:lnTo>
                  <a:close/>
                  <a:moveTo>
                    <a:pt x="19" y="228"/>
                  </a:moveTo>
                  <a:lnTo>
                    <a:pt x="19" y="232"/>
                  </a:lnTo>
                  <a:lnTo>
                    <a:pt x="19" y="228"/>
                  </a:lnTo>
                  <a:close/>
                  <a:moveTo>
                    <a:pt x="35" y="256"/>
                  </a:moveTo>
                  <a:lnTo>
                    <a:pt x="35" y="260"/>
                  </a:lnTo>
                  <a:lnTo>
                    <a:pt x="35" y="256"/>
                  </a:lnTo>
                  <a:close/>
                  <a:moveTo>
                    <a:pt x="79" y="156"/>
                  </a:moveTo>
                  <a:lnTo>
                    <a:pt x="79" y="160"/>
                  </a:lnTo>
                  <a:lnTo>
                    <a:pt x="75" y="160"/>
                  </a:lnTo>
                  <a:lnTo>
                    <a:pt x="75" y="156"/>
                  </a:lnTo>
                  <a:lnTo>
                    <a:pt x="79" y="156"/>
                  </a:lnTo>
                  <a:close/>
                  <a:moveTo>
                    <a:pt x="79" y="160"/>
                  </a:moveTo>
                  <a:lnTo>
                    <a:pt x="79" y="164"/>
                  </a:lnTo>
                  <a:lnTo>
                    <a:pt x="79" y="160"/>
                  </a:lnTo>
                  <a:close/>
                  <a:moveTo>
                    <a:pt x="43" y="204"/>
                  </a:moveTo>
                  <a:lnTo>
                    <a:pt x="39" y="204"/>
                  </a:lnTo>
                  <a:lnTo>
                    <a:pt x="43" y="200"/>
                  </a:lnTo>
                  <a:lnTo>
                    <a:pt x="43" y="204"/>
                  </a:lnTo>
                  <a:close/>
                  <a:moveTo>
                    <a:pt x="15" y="228"/>
                  </a:moveTo>
                  <a:lnTo>
                    <a:pt x="15" y="232"/>
                  </a:lnTo>
                  <a:lnTo>
                    <a:pt x="19" y="232"/>
                  </a:lnTo>
                  <a:lnTo>
                    <a:pt x="15" y="236"/>
                  </a:lnTo>
                  <a:lnTo>
                    <a:pt x="15" y="232"/>
                  </a:lnTo>
                  <a:lnTo>
                    <a:pt x="15" y="2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0" name="Freeform 47"/>
            <p:cNvSpPr>
              <a:spLocks noEditPoints="1"/>
            </p:cNvSpPr>
            <p:nvPr>
              <p:custDataLst>
                <p:tags r:id="rId243"/>
              </p:custDataLst>
            </p:nvPr>
          </p:nvSpPr>
          <p:spPr bwMode="gray">
            <a:xfrm>
              <a:off x="7161255" y="4816931"/>
              <a:ext cx="71187" cy="35594"/>
            </a:xfrm>
            <a:custGeom>
              <a:avLst/>
              <a:gdLst/>
              <a:ahLst/>
              <a:cxnLst>
                <a:cxn ang="0">
                  <a:pos x="24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48" y="4"/>
                </a:cxn>
                <a:cxn ang="0">
                  <a:pos x="48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32" y="16"/>
                </a:cxn>
                <a:cxn ang="0">
                  <a:pos x="32" y="16"/>
                </a:cxn>
                <a:cxn ang="0">
                  <a:pos x="32" y="16"/>
                </a:cxn>
                <a:cxn ang="0">
                  <a:pos x="28" y="16"/>
                </a:cxn>
                <a:cxn ang="0">
                  <a:pos x="28" y="16"/>
                </a:cxn>
                <a:cxn ang="0">
                  <a:pos x="28" y="16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6" y="20"/>
                </a:cxn>
                <a:cxn ang="0">
                  <a:pos x="16" y="16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8" y="8"/>
                </a:cxn>
                <a:cxn ang="0">
                  <a:pos x="32" y="8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40" y="4"/>
                </a:cxn>
                <a:cxn ang="0">
                  <a:pos x="48" y="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0" y="24"/>
                </a:cxn>
              </a:cxnLst>
              <a:rect l="0" t="0" r="r" b="b"/>
              <a:pathLst>
                <a:path w="48" h="24">
                  <a:moveTo>
                    <a:pt x="24" y="0"/>
                  </a:move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close/>
                  <a:moveTo>
                    <a:pt x="48" y="4"/>
                  </a:move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close/>
                  <a:moveTo>
                    <a:pt x="0" y="20"/>
                  </a:move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1" name="Freeform 48"/>
            <p:cNvSpPr>
              <a:spLocks noEditPoints="1"/>
            </p:cNvSpPr>
            <p:nvPr>
              <p:custDataLst>
                <p:tags r:id="rId244"/>
              </p:custDataLst>
            </p:nvPr>
          </p:nvSpPr>
          <p:spPr bwMode="gray">
            <a:xfrm>
              <a:off x="4950007" y="3396155"/>
              <a:ext cx="431571" cy="195764"/>
            </a:xfrm>
            <a:custGeom>
              <a:avLst/>
              <a:gdLst/>
              <a:ahLst/>
              <a:cxnLst>
                <a:cxn ang="0">
                  <a:pos x="24" y="4"/>
                </a:cxn>
                <a:cxn ang="0">
                  <a:pos x="36" y="8"/>
                </a:cxn>
                <a:cxn ang="0">
                  <a:pos x="51" y="24"/>
                </a:cxn>
                <a:cxn ang="0">
                  <a:pos x="28" y="24"/>
                </a:cxn>
                <a:cxn ang="0">
                  <a:pos x="16" y="40"/>
                </a:cxn>
                <a:cxn ang="0">
                  <a:pos x="8" y="40"/>
                </a:cxn>
                <a:cxn ang="0">
                  <a:pos x="16" y="32"/>
                </a:cxn>
                <a:cxn ang="0">
                  <a:pos x="12" y="20"/>
                </a:cxn>
                <a:cxn ang="0">
                  <a:pos x="8" y="56"/>
                </a:cxn>
                <a:cxn ang="0">
                  <a:pos x="16" y="40"/>
                </a:cxn>
                <a:cxn ang="0">
                  <a:pos x="32" y="40"/>
                </a:cxn>
                <a:cxn ang="0">
                  <a:pos x="43" y="36"/>
                </a:cxn>
                <a:cxn ang="0">
                  <a:pos x="51" y="36"/>
                </a:cxn>
                <a:cxn ang="0">
                  <a:pos x="63" y="32"/>
                </a:cxn>
                <a:cxn ang="0">
                  <a:pos x="51" y="24"/>
                </a:cxn>
                <a:cxn ang="0">
                  <a:pos x="71" y="20"/>
                </a:cxn>
                <a:cxn ang="0">
                  <a:pos x="87" y="20"/>
                </a:cxn>
                <a:cxn ang="0">
                  <a:pos x="103" y="8"/>
                </a:cxn>
                <a:cxn ang="0">
                  <a:pos x="123" y="4"/>
                </a:cxn>
                <a:cxn ang="0">
                  <a:pos x="143" y="8"/>
                </a:cxn>
                <a:cxn ang="0">
                  <a:pos x="159" y="8"/>
                </a:cxn>
                <a:cxn ang="0">
                  <a:pos x="167" y="16"/>
                </a:cxn>
                <a:cxn ang="0">
                  <a:pos x="183" y="24"/>
                </a:cxn>
                <a:cxn ang="0">
                  <a:pos x="199" y="24"/>
                </a:cxn>
                <a:cxn ang="0">
                  <a:pos x="223" y="24"/>
                </a:cxn>
                <a:cxn ang="0">
                  <a:pos x="243" y="12"/>
                </a:cxn>
                <a:cxn ang="0">
                  <a:pos x="259" y="12"/>
                </a:cxn>
                <a:cxn ang="0">
                  <a:pos x="275" y="28"/>
                </a:cxn>
                <a:cxn ang="0">
                  <a:pos x="275" y="44"/>
                </a:cxn>
                <a:cxn ang="0">
                  <a:pos x="287" y="56"/>
                </a:cxn>
                <a:cxn ang="0">
                  <a:pos x="283" y="64"/>
                </a:cxn>
                <a:cxn ang="0">
                  <a:pos x="283" y="84"/>
                </a:cxn>
                <a:cxn ang="0">
                  <a:pos x="291" y="104"/>
                </a:cxn>
                <a:cxn ang="0">
                  <a:pos x="279" y="100"/>
                </a:cxn>
                <a:cxn ang="0">
                  <a:pos x="259" y="100"/>
                </a:cxn>
                <a:cxn ang="0">
                  <a:pos x="247" y="104"/>
                </a:cxn>
                <a:cxn ang="0">
                  <a:pos x="227" y="108"/>
                </a:cxn>
                <a:cxn ang="0">
                  <a:pos x="203" y="112"/>
                </a:cxn>
                <a:cxn ang="0">
                  <a:pos x="187" y="112"/>
                </a:cxn>
                <a:cxn ang="0">
                  <a:pos x="167" y="112"/>
                </a:cxn>
                <a:cxn ang="0">
                  <a:pos x="159" y="128"/>
                </a:cxn>
                <a:cxn ang="0">
                  <a:pos x="155" y="124"/>
                </a:cxn>
                <a:cxn ang="0">
                  <a:pos x="155" y="112"/>
                </a:cxn>
                <a:cxn ang="0">
                  <a:pos x="135" y="112"/>
                </a:cxn>
                <a:cxn ang="0">
                  <a:pos x="123" y="124"/>
                </a:cxn>
                <a:cxn ang="0">
                  <a:pos x="107" y="124"/>
                </a:cxn>
                <a:cxn ang="0">
                  <a:pos x="91" y="116"/>
                </a:cxn>
                <a:cxn ang="0">
                  <a:pos x="75" y="112"/>
                </a:cxn>
                <a:cxn ang="0">
                  <a:pos x="67" y="124"/>
                </a:cxn>
                <a:cxn ang="0">
                  <a:pos x="55" y="116"/>
                </a:cxn>
                <a:cxn ang="0">
                  <a:pos x="43" y="112"/>
                </a:cxn>
                <a:cxn ang="0">
                  <a:pos x="36" y="112"/>
                </a:cxn>
                <a:cxn ang="0">
                  <a:pos x="28" y="116"/>
                </a:cxn>
                <a:cxn ang="0">
                  <a:pos x="32" y="108"/>
                </a:cxn>
                <a:cxn ang="0">
                  <a:pos x="28" y="104"/>
                </a:cxn>
                <a:cxn ang="0">
                  <a:pos x="28" y="88"/>
                </a:cxn>
                <a:cxn ang="0">
                  <a:pos x="16" y="80"/>
                </a:cxn>
                <a:cxn ang="0">
                  <a:pos x="24" y="80"/>
                </a:cxn>
                <a:cxn ang="0">
                  <a:pos x="20" y="68"/>
                </a:cxn>
                <a:cxn ang="0">
                  <a:pos x="32" y="32"/>
                </a:cxn>
                <a:cxn ang="0">
                  <a:pos x="4" y="40"/>
                </a:cxn>
              </a:cxnLst>
              <a:rect l="0" t="0" r="r" b="b"/>
              <a:pathLst>
                <a:path w="291" h="132">
                  <a:moveTo>
                    <a:pt x="12" y="12"/>
                  </a:moveTo>
                  <a:lnTo>
                    <a:pt x="12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9" y="12"/>
                  </a:lnTo>
                  <a:lnTo>
                    <a:pt x="39" y="16"/>
                  </a:lnTo>
                  <a:lnTo>
                    <a:pt x="43" y="16"/>
                  </a:lnTo>
                  <a:lnTo>
                    <a:pt x="47" y="20"/>
                  </a:lnTo>
                  <a:lnTo>
                    <a:pt x="51" y="20"/>
                  </a:lnTo>
                  <a:lnTo>
                    <a:pt x="51" y="24"/>
                  </a:lnTo>
                  <a:lnTo>
                    <a:pt x="47" y="24"/>
                  </a:lnTo>
                  <a:lnTo>
                    <a:pt x="43" y="24"/>
                  </a:lnTo>
                  <a:lnTo>
                    <a:pt x="39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2" y="12"/>
                  </a:lnTo>
                  <a:close/>
                  <a:moveTo>
                    <a:pt x="16" y="56"/>
                  </a:moveTo>
                  <a:lnTo>
                    <a:pt x="8" y="56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39" y="36"/>
                  </a:lnTo>
                  <a:lnTo>
                    <a:pt x="43" y="36"/>
                  </a:lnTo>
                  <a:lnTo>
                    <a:pt x="47" y="40"/>
                  </a:lnTo>
                  <a:lnTo>
                    <a:pt x="47" y="36"/>
                  </a:lnTo>
                  <a:lnTo>
                    <a:pt x="51" y="36"/>
                  </a:lnTo>
                  <a:lnTo>
                    <a:pt x="51" y="40"/>
                  </a:lnTo>
                  <a:lnTo>
                    <a:pt x="55" y="36"/>
                  </a:lnTo>
                  <a:lnTo>
                    <a:pt x="51" y="36"/>
                  </a:lnTo>
                  <a:lnTo>
                    <a:pt x="47" y="36"/>
                  </a:lnTo>
                  <a:lnTo>
                    <a:pt x="47" y="32"/>
                  </a:lnTo>
                  <a:lnTo>
                    <a:pt x="51" y="32"/>
                  </a:lnTo>
                  <a:lnTo>
                    <a:pt x="55" y="32"/>
                  </a:lnTo>
                  <a:lnTo>
                    <a:pt x="59" y="32"/>
                  </a:lnTo>
                  <a:lnTo>
                    <a:pt x="63" y="32"/>
                  </a:lnTo>
                  <a:lnTo>
                    <a:pt x="67" y="32"/>
                  </a:lnTo>
                  <a:lnTo>
                    <a:pt x="67" y="28"/>
                  </a:lnTo>
                  <a:lnTo>
                    <a:pt x="63" y="28"/>
                  </a:lnTo>
                  <a:lnTo>
                    <a:pt x="59" y="28"/>
                  </a:lnTo>
                  <a:lnTo>
                    <a:pt x="55" y="28"/>
                  </a:lnTo>
                  <a:lnTo>
                    <a:pt x="51" y="24"/>
                  </a:lnTo>
                  <a:lnTo>
                    <a:pt x="51" y="20"/>
                  </a:lnTo>
                  <a:lnTo>
                    <a:pt x="55" y="20"/>
                  </a:lnTo>
                  <a:lnTo>
                    <a:pt x="59" y="20"/>
                  </a:lnTo>
                  <a:lnTo>
                    <a:pt x="63" y="20"/>
                  </a:lnTo>
                  <a:lnTo>
                    <a:pt x="67" y="24"/>
                  </a:lnTo>
                  <a:lnTo>
                    <a:pt x="71" y="20"/>
                  </a:lnTo>
                  <a:lnTo>
                    <a:pt x="75" y="20"/>
                  </a:lnTo>
                  <a:lnTo>
                    <a:pt x="75" y="24"/>
                  </a:lnTo>
                  <a:lnTo>
                    <a:pt x="79" y="24"/>
                  </a:lnTo>
                  <a:lnTo>
                    <a:pt x="83" y="24"/>
                  </a:lnTo>
                  <a:lnTo>
                    <a:pt x="87" y="24"/>
                  </a:lnTo>
                  <a:lnTo>
                    <a:pt x="87" y="20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99" y="8"/>
                  </a:lnTo>
                  <a:lnTo>
                    <a:pt x="103" y="8"/>
                  </a:lnTo>
                  <a:lnTo>
                    <a:pt x="107" y="8"/>
                  </a:lnTo>
                  <a:lnTo>
                    <a:pt x="111" y="8"/>
                  </a:lnTo>
                  <a:lnTo>
                    <a:pt x="111" y="4"/>
                  </a:lnTo>
                  <a:lnTo>
                    <a:pt x="115" y="4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7" y="4"/>
                  </a:lnTo>
                  <a:lnTo>
                    <a:pt x="131" y="4"/>
                  </a:lnTo>
                  <a:lnTo>
                    <a:pt x="135" y="4"/>
                  </a:lnTo>
                  <a:lnTo>
                    <a:pt x="139" y="4"/>
                  </a:lnTo>
                  <a:lnTo>
                    <a:pt x="143" y="4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47" y="12"/>
                  </a:lnTo>
                  <a:lnTo>
                    <a:pt x="151" y="12"/>
                  </a:lnTo>
                  <a:lnTo>
                    <a:pt x="155" y="12"/>
                  </a:lnTo>
                  <a:lnTo>
                    <a:pt x="155" y="8"/>
                  </a:lnTo>
                  <a:lnTo>
                    <a:pt x="159" y="8"/>
                  </a:lnTo>
                  <a:lnTo>
                    <a:pt x="159" y="12"/>
                  </a:lnTo>
                  <a:lnTo>
                    <a:pt x="159" y="16"/>
                  </a:lnTo>
                  <a:lnTo>
                    <a:pt x="163" y="16"/>
                  </a:lnTo>
                  <a:lnTo>
                    <a:pt x="163" y="20"/>
                  </a:lnTo>
                  <a:lnTo>
                    <a:pt x="167" y="20"/>
                  </a:lnTo>
                  <a:lnTo>
                    <a:pt x="167" y="16"/>
                  </a:lnTo>
                  <a:lnTo>
                    <a:pt x="171" y="16"/>
                  </a:lnTo>
                  <a:lnTo>
                    <a:pt x="171" y="20"/>
                  </a:lnTo>
                  <a:lnTo>
                    <a:pt x="175" y="20"/>
                  </a:lnTo>
                  <a:lnTo>
                    <a:pt x="175" y="24"/>
                  </a:lnTo>
                  <a:lnTo>
                    <a:pt x="179" y="24"/>
                  </a:lnTo>
                  <a:lnTo>
                    <a:pt x="183" y="24"/>
                  </a:lnTo>
                  <a:lnTo>
                    <a:pt x="187" y="24"/>
                  </a:lnTo>
                  <a:lnTo>
                    <a:pt x="191" y="24"/>
                  </a:lnTo>
                  <a:lnTo>
                    <a:pt x="191" y="28"/>
                  </a:lnTo>
                  <a:lnTo>
                    <a:pt x="195" y="28"/>
                  </a:lnTo>
                  <a:lnTo>
                    <a:pt x="199" y="28"/>
                  </a:lnTo>
                  <a:lnTo>
                    <a:pt x="199" y="24"/>
                  </a:lnTo>
                  <a:lnTo>
                    <a:pt x="203" y="24"/>
                  </a:lnTo>
                  <a:lnTo>
                    <a:pt x="207" y="24"/>
                  </a:lnTo>
                  <a:lnTo>
                    <a:pt x="211" y="24"/>
                  </a:lnTo>
                  <a:lnTo>
                    <a:pt x="215" y="24"/>
                  </a:lnTo>
                  <a:lnTo>
                    <a:pt x="219" y="28"/>
                  </a:lnTo>
                  <a:lnTo>
                    <a:pt x="223" y="24"/>
                  </a:lnTo>
                  <a:lnTo>
                    <a:pt x="227" y="24"/>
                  </a:lnTo>
                  <a:lnTo>
                    <a:pt x="231" y="24"/>
                  </a:lnTo>
                  <a:lnTo>
                    <a:pt x="231" y="20"/>
                  </a:lnTo>
                  <a:lnTo>
                    <a:pt x="235" y="20"/>
                  </a:lnTo>
                  <a:lnTo>
                    <a:pt x="239" y="16"/>
                  </a:lnTo>
                  <a:lnTo>
                    <a:pt x="243" y="12"/>
                  </a:lnTo>
                  <a:lnTo>
                    <a:pt x="243" y="16"/>
                  </a:lnTo>
                  <a:lnTo>
                    <a:pt x="247" y="16"/>
                  </a:lnTo>
                  <a:lnTo>
                    <a:pt x="251" y="16"/>
                  </a:lnTo>
                  <a:lnTo>
                    <a:pt x="255" y="16"/>
                  </a:lnTo>
                  <a:lnTo>
                    <a:pt x="259" y="16"/>
                  </a:lnTo>
                  <a:lnTo>
                    <a:pt x="259" y="12"/>
                  </a:lnTo>
                  <a:lnTo>
                    <a:pt x="263" y="12"/>
                  </a:lnTo>
                  <a:lnTo>
                    <a:pt x="263" y="16"/>
                  </a:lnTo>
                  <a:lnTo>
                    <a:pt x="267" y="20"/>
                  </a:lnTo>
                  <a:lnTo>
                    <a:pt x="271" y="20"/>
                  </a:lnTo>
                  <a:lnTo>
                    <a:pt x="271" y="24"/>
                  </a:lnTo>
                  <a:lnTo>
                    <a:pt x="275" y="28"/>
                  </a:lnTo>
                  <a:lnTo>
                    <a:pt x="275" y="32"/>
                  </a:lnTo>
                  <a:lnTo>
                    <a:pt x="275" y="36"/>
                  </a:lnTo>
                  <a:lnTo>
                    <a:pt x="271" y="36"/>
                  </a:lnTo>
                  <a:lnTo>
                    <a:pt x="271" y="40"/>
                  </a:lnTo>
                  <a:lnTo>
                    <a:pt x="275" y="40"/>
                  </a:lnTo>
                  <a:lnTo>
                    <a:pt x="275" y="44"/>
                  </a:lnTo>
                  <a:lnTo>
                    <a:pt x="279" y="44"/>
                  </a:lnTo>
                  <a:lnTo>
                    <a:pt x="283" y="44"/>
                  </a:lnTo>
                  <a:lnTo>
                    <a:pt x="287" y="48"/>
                  </a:lnTo>
                  <a:lnTo>
                    <a:pt x="291" y="52"/>
                  </a:lnTo>
                  <a:lnTo>
                    <a:pt x="287" y="52"/>
                  </a:lnTo>
                  <a:lnTo>
                    <a:pt x="287" y="56"/>
                  </a:lnTo>
                  <a:lnTo>
                    <a:pt x="283" y="56"/>
                  </a:lnTo>
                  <a:lnTo>
                    <a:pt x="283" y="60"/>
                  </a:lnTo>
                  <a:lnTo>
                    <a:pt x="283" y="56"/>
                  </a:lnTo>
                  <a:lnTo>
                    <a:pt x="279" y="56"/>
                  </a:lnTo>
                  <a:lnTo>
                    <a:pt x="279" y="60"/>
                  </a:lnTo>
                  <a:lnTo>
                    <a:pt x="283" y="64"/>
                  </a:lnTo>
                  <a:lnTo>
                    <a:pt x="283" y="68"/>
                  </a:lnTo>
                  <a:lnTo>
                    <a:pt x="283" y="72"/>
                  </a:lnTo>
                  <a:lnTo>
                    <a:pt x="283" y="76"/>
                  </a:lnTo>
                  <a:lnTo>
                    <a:pt x="283" y="80"/>
                  </a:lnTo>
                  <a:lnTo>
                    <a:pt x="287" y="80"/>
                  </a:lnTo>
                  <a:lnTo>
                    <a:pt x="283" y="84"/>
                  </a:lnTo>
                  <a:lnTo>
                    <a:pt x="283" y="88"/>
                  </a:lnTo>
                  <a:lnTo>
                    <a:pt x="287" y="92"/>
                  </a:lnTo>
                  <a:lnTo>
                    <a:pt x="287" y="96"/>
                  </a:lnTo>
                  <a:lnTo>
                    <a:pt x="287" y="100"/>
                  </a:lnTo>
                  <a:lnTo>
                    <a:pt x="291" y="100"/>
                  </a:lnTo>
                  <a:lnTo>
                    <a:pt x="291" y="104"/>
                  </a:lnTo>
                  <a:lnTo>
                    <a:pt x="287" y="104"/>
                  </a:lnTo>
                  <a:lnTo>
                    <a:pt x="287" y="108"/>
                  </a:lnTo>
                  <a:lnTo>
                    <a:pt x="283" y="108"/>
                  </a:lnTo>
                  <a:lnTo>
                    <a:pt x="283" y="104"/>
                  </a:lnTo>
                  <a:lnTo>
                    <a:pt x="283" y="100"/>
                  </a:lnTo>
                  <a:lnTo>
                    <a:pt x="279" y="100"/>
                  </a:lnTo>
                  <a:lnTo>
                    <a:pt x="279" y="104"/>
                  </a:lnTo>
                  <a:lnTo>
                    <a:pt x="275" y="104"/>
                  </a:lnTo>
                  <a:lnTo>
                    <a:pt x="271" y="104"/>
                  </a:lnTo>
                  <a:lnTo>
                    <a:pt x="267" y="100"/>
                  </a:lnTo>
                  <a:lnTo>
                    <a:pt x="263" y="100"/>
                  </a:lnTo>
                  <a:lnTo>
                    <a:pt x="259" y="100"/>
                  </a:lnTo>
                  <a:lnTo>
                    <a:pt x="259" y="104"/>
                  </a:lnTo>
                  <a:lnTo>
                    <a:pt x="255" y="104"/>
                  </a:lnTo>
                  <a:lnTo>
                    <a:pt x="255" y="100"/>
                  </a:lnTo>
                  <a:lnTo>
                    <a:pt x="251" y="100"/>
                  </a:lnTo>
                  <a:lnTo>
                    <a:pt x="251" y="104"/>
                  </a:lnTo>
                  <a:lnTo>
                    <a:pt x="247" y="104"/>
                  </a:lnTo>
                  <a:lnTo>
                    <a:pt x="243" y="104"/>
                  </a:lnTo>
                  <a:lnTo>
                    <a:pt x="239" y="104"/>
                  </a:lnTo>
                  <a:lnTo>
                    <a:pt x="235" y="104"/>
                  </a:lnTo>
                  <a:lnTo>
                    <a:pt x="231" y="104"/>
                  </a:lnTo>
                  <a:lnTo>
                    <a:pt x="227" y="104"/>
                  </a:lnTo>
                  <a:lnTo>
                    <a:pt x="227" y="108"/>
                  </a:lnTo>
                  <a:lnTo>
                    <a:pt x="223" y="108"/>
                  </a:lnTo>
                  <a:lnTo>
                    <a:pt x="219" y="112"/>
                  </a:lnTo>
                  <a:lnTo>
                    <a:pt x="215" y="112"/>
                  </a:lnTo>
                  <a:lnTo>
                    <a:pt x="211" y="112"/>
                  </a:lnTo>
                  <a:lnTo>
                    <a:pt x="207" y="116"/>
                  </a:lnTo>
                  <a:lnTo>
                    <a:pt x="203" y="112"/>
                  </a:lnTo>
                  <a:lnTo>
                    <a:pt x="199" y="112"/>
                  </a:lnTo>
                  <a:lnTo>
                    <a:pt x="195" y="112"/>
                  </a:lnTo>
                  <a:lnTo>
                    <a:pt x="195" y="108"/>
                  </a:lnTo>
                  <a:lnTo>
                    <a:pt x="191" y="108"/>
                  </a:lnTo>
                  <a:lnTo>
                    <a:pt x="191" y="112"/>
                  </a:lnTo>
                  <a:lnTo>
                    <a:pt x="187" y="112"/>
                  </a:lnTo>
                  <a:lnTo>
                    <a:pt x="183" y="112"/>
                  </a:lnTo>
                  <a:lnTo>
                    <a:pt x="179" y="116"/>
                  </a:lnTo>
                  <a:lnTo>
                    <a:pt x="175" y="116"/>
                  </a:lnTo>
                  <a:lnTo>
                    <a:pt x="175" y="112"/>
                  </a:lnTo>
                  <a:lnTo>
                    <a:pt x="171" y="112"/>
                  </a:lnTo>
                  <a:lnTo>
                    <a:pt x="167" y="112"/>
                  </a:lnTo>
                  <a:lnTo>
                    <a:pt x="167" y="116"/>
                  </a:lnTo>
                  <a:lnTo>
                    <a:pt x="167" y="120"/>
                  </a:lnTo>
                  <a:lnTo>
                    <a:pt x="167" y="124"/>
                  </a:lnTo>
                  <a:lnTo>
                    <a:pt x="163" y="124"/>
                  </a:lnTo>
                  <a:lnTo>
                    <a:pt x="163" y="128"/>
                  </a:lnTo>
                  <a:lnTo>
                    <a:pt x="159" y="128"/>
                  </a:lnTo>
                  <a:lnTo>
                    <a:pt x="159" y="132"/>
                  </a:lnTo>
                  <a:lnTo>
                    <a:pt x="159" y="128"/>
                  </a:lnTo>
                  <a:lnTo>
                    <a:pt x="155" y="128"/>
                  </a:lnTo>
                  <a:lnTo>
                    <a:pt x="159" y="128"/>
                  </a:lnTo>
                  <a:lnTo>
                    <a:pt x="155" y="128"/>
                  </a:lnTo>
                  <a:lnTo>
                    <a:pt x="155" y="124"/>
                  </a:lnTo>
                  <a:lnTo>
                    <a:pt x="155" y="120"/>
                  </a:lnTo>
                  <a:lnTo>
                    <a:pt x="159" y="116"/>
                  </a:lnTo>
                  <a:lnTo>
                    <a:pt x="159" y="112"/>
                  </a:lnTo>
                  <a:lnTo>
                    <a:pt x="159" y="108"/>
                  </a:lnTo>
                  <a:lnTo>
                    <a:pt x="155" y="108"/>
                  </a:lnTo>
                  <a:lnTo>
                    <a:pt x="155" y="112"/>
                  </a:lnTo>
                  <a:lnTo>
                    <a:pt x="151" y="112"/>
                  </a:lnTo>
                  <a:lnTo>
                    <a:pt x="151" y="116"/>
                  </a:lnTo>
                  <a:lnTo>
                    <a:pt x="147" y="116"/>
                  </a:lnTo>
                  <a:lnTo>
                    <a:pt x="143" y="112"/>
                  </a:lnTo>
                  <a:lnTo>
                    <a:pt x="139" y="112"/>
                  </a:lnTo>
                  <a:lnTo>
                    <a:pt x="135" y="112"/>
                  </a:lnTo>
                  <a:lnTo>
                    <a:pt x="131" y="116"/>
                  </a:lnTo>
                  <a:lnTo>
                    <a:pt x="131" y="120"/>
                  </a:lnTo>
                  <a:lnTo>
                    <a:pt x="127" y="120"/>
                  </a:lnTo>
                  <a:lnTo>
                    <a:pt x="127" y="124"/>
                  </a:lnTo>
                  <a:lnTo>
                    <a:pt x="127" y="120"/>
                  </a:lnTo>
                  <a:lnTo>
                    <a:pt x="123" y="124"/>
                  </a:lnTo>
                  <a:lnTo>
                    <a:pt x="119" y="124"/>
                  </a:lnTo>
                  <a:lnTo>
                    <a:pt x="115" y="124"/>
                  </a:lnTo>
                  <a:lnTo>
                    <a:pt x="111" y="124"/>
                  </a:lnTo>
                  <a:lnTo>
                    <a:pt x="111" y="128"/>
                  </a:lnTo>
                  <a:lnTo>
                    <a:pt x="107" y="128"/>
                  </a:lnTo>
                  <a:lnTo>
                    <a:pt x="107" y="124"/>
                  </a:lnTo>
                  <a:lnTo>
                    <a:pt x="103" y="124"/>
                  </a:lnTo>
                  <a:lnTo>
                    <a:pt x="99" y="124"/>
                  </a:lnTo>
                  <a:lnTo>
                    <a:pt x="99" y="120"/>
                  </a:lnTo>
                  <a:lnTo>
                    <a:pt x="99" y="116"/>
                  </a:lnTo>
                  <a:lnTo>
                    <a:pt x="95" y="116"/>
                  </a:lnTo>
                  <a:lnTo>
                    <a:pt x="91" y="116"/>
                  </a:lnTo>
                  <a:lnTo>
                    <a:pt x="91" y="112"/>
                  </a:lnTo>
                  <a:lnTo>
                    <a:pt x="87" y="112"/>
                  </a:lnTo>
                  <a:lnTo>
                    <a:pt x="83" y="112"/>
                  </a:lnTo>
                  <a:lnTo>
                    <a:pt x="79" y="112"/>
                  </a:lnTo>
                  <a:lnTo>
                    <a:pt x="75" y="108"/>
                  </a:lnTo>
                  <a:lnTo>
                    <a:pt x="75" y="112"/>
                  </a:lnTo>
                  <a:lnTo>
                    <a:pt x="75" y="116"/>
                  </a:lnTo>
                  <a:lnTo>
                    <a:pt x="75" y="120"/>
                  </a:lnTo>
                  <a:lnTo>
                    <a:pt x="71" y="124"/>
                  </a:lnTo>
                  <a:lnTo>
                    <a:pt x="71" y="120"/>
                  </a:lnTo>
                  <a:lnTo>
                    <a:pt x="67" y="120"/>
                  </a:lnTo>
                  <a:lnTo>
                    <a:pt x="67" y="124"/>
                  </a:lnTo>
                  <a:lnTo>
                    <a:pt x="63" y="124"/>
                  </a:lnTo>
                  <a:lnTo>
                    <a:pt x="59" y="124"/>
                  </a:lnTo>
                  <a:lnTo>
                    <a:pt x="55" y="124"/>
                  </a:lnTo>
                  <a:lnTo>
                    <a:pt x="55" y="120"/>
                  </a:lnTo>
                  <a:lnTo>
                    <a:pt x="51" y="120"/>
                  </a:lnTo>
                  <a:lnTo>
                    <a:pt x="55" y="116"/>
                  </a:lnTo>
                  <a:lnTo>
                    <a:pt x="51" y="116"/>
                  </a:lnTo>
                  <a:lnTo>
                    <a:pt x="51" y="112"/>
                  </a:lnTo>
                  <a:lnTo>
                    <a:pt x="47" y="116"/>
                  </a:lnTo>
                  <a:lnTo>
                    <a:pt x="47" y="112"/>
                  </a:lnTo>
                  <a:lnTo>
                    <a:pt x="43" y="108"/>
                  </a:lnTo>
                  <a:lnTo>
                    <a:pt x="43" y="112"/>
                  </a:lnTo>
                  <a:lnTo>
                    <a:pt x="39" y="112"/>
                  </a:lnTo>
                  <a:lnTo>
                    <a:pt x="39" y="116"/>
                  </a:lnTo>
                  <a:lnTo>
                    <a:pt x="36" y="116"/>
                  </a:lnTo>
                  <a:lnTo>
                    <a:pt x="39" y="116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9" y="112"/>
                  </a:lnTo>
                  <a:lnTo>
                    <a:pt x="36" y="112"/>
                  </a:lnTo>
                  <a:lnTo>
                    <a:pt x="32" y="112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32" y="112"/>
                  </a:lnTo>
                  <a:lnTo>
                    <a:pt x="36" y="112"/>
                  </a:lnTo>
                  <a:lnTo>
                    <a:pt x="39" y="108"/>
                  </a:lnTo>
                  <a:lnTo>
                    <a:pt x="36" y="108"/>
                  </a:lnTo>
                  <a:lnTo>
                    <a:pt x="32" y="108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8" y="104"/>
                  </a:lnTo>
                  <a:lnTo>
                    <a:pt x="32" y="104"/>
                  </a:lnTo>
                  <a:lnTo>
                    <a:pt x="32" y="100"/>
                  </a:lnTo>
                  <a:lnTo>
                    <a:pt x="28" y="104"/>
                  </a:lnTo>
                  <a:lnTo>
                    <a:pt x="28" y="100"/>
                  </a:lnTo>
                  <a:lnTo>
                    <a:pt x="24" y="100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16" y="72"/>
                  </a:lnTo>
                  <a:lnTo>
                    <a:pt x="20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16" y="56"/>
                  </a:lnTo>
                  <a:close/>
                  <a:moveTo>
                    <a:pt x="32" y="32"/>
                  </a:moveTo>
                  <a:lnTo>
                    <a:pt x="28" y="32"/>
                  </a:lnTo>
                  <a:lnTo>
                    <a:pt x="32" y="32"/>
                  </a:lnTo>
                  <a:close/>
                  <a:moveTo>
                    <a:pt x="4" y="44"/>
                  </a:moveTo>
                  <a:lnTo>
                    <a:pt x="0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8" y="44"/>
                  </a:lnTo>
                  <a:lnTo>
                    <a:pt x="4" y="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2" name="Freeform 49"/>
            <p:cNvSpPr>
              <a:spLocks/>
            </p:cNvSpPr>
            <p:nvPr>
              <p:custDataLst>
                <p:tags r:id="rId245"/>
              </p:custDataLst>
            </p:nvPr>
          </p:nvSpPr>
          <p:spPr bwMode="gray">
            <a:xfrm>
              <a:off x="5523952" y="3379842"/>
              <a:ext cx="348520" cy="229874"/>
            </a:xfrm>
            <a:custGeom>
              <a:avLst/>
              <a:gdLst/>
              <a:ahLst/>
              <a:cxnLst>
                <a:cxn ang="0">
                  <a:pos x="223" y="107"/>
                </a:cxn>
                <a:cxn ang="0">
                  <a:pos x="215" y="115"/>
                </a:cxn>
                <a:cxn ang="0">
                  <a:pos x="207" y="123"/>
                </a:cxn>
                <a:cxn ang="0">
                  <a:pos x="203" y="135"/>
                </a:cxn>
                <a:cxn ang="0">
                  <a:pos x="191" y="139"/>
                </a:cxn>
                <a:cxn ang="0">
                  <a:pos x="183" y="143"/>
                </a:cxn>
                <a:cxn ang="0">
                  <a:pos x="179" y="151"/>
                </a:cxn>
                <a:cxn ang="0">
                  <a:pos x="167" y="155"/>
                </a:cxn>
                <a:cxn ang="0">
                  <a:pos x="155" y="151"/>
                </a:cxn>
                <a:cxn ang="0">
                  <a:pos x="151" y="139"/>
                </a:cxn>
                <a:cxn ang="0">
                  <a:pos x="147" y="127"/>
                </a:cxn>
                <a:cxn ang="0">
                  <a:pos x="135" y="119"/>
                </a:cxn>
                <a:cxn ang="0">
                  <a:pos x="123" y="107"/>
                </a:cxn>
                <a:cxn ang="0">
                  <a:pos x="115" y="107"/>
                </a:cxn>
                <a:cxn ang="0">
                  <a:pos x="99" y="99"/>
                </a:cxn>
                <a:cxn ang="0">
                  <a:pos x="91" y="95"/>
                </a:cxn>
                <a:cxn ang="0">
                  <a:pos x="79" y="91"/>
                </a:cxn>
                <a:cxn ang="0">
                  <a:pos x="67" y="95"/>
                </a:cxn>
                <a:cxn ang="0">
                  <a:pos x="59" y="103"/>
                </a:cxn>
                <a:cxn ang="0">
                  <a:pos x="47" y="111"/>
                </a:cxn>
                <a:cxn ang="0">
                  <a:pos x="31" y="107"/>
                </a:cxn>
                <a:cxn ang="0">
                  <a:pos x="19" y="103"/>
                </a:cxn>
                <a:cxn ang="0">
                  <a:pos x="11" y="95"/>
                </a:cxn>
                <a:cxn ang="0">
                  <a:pos x="4" y="79"/>
                </a:cxn>
                <a:cxn ang="0">
                  <a:pos x="7" y="63"/>
                </a:cxn>
                <a:cxn ang="0">
                  <a:pos x="7" y="43"/>
                </a:cxn>
                <a:cxn ang="0">
                  <a:pos x="7" y="27"/>
                </a:cxn>
                <a:cxn ang="0">
                  <a:pos x="23" y="15"/>
                </a:cxn>
                <a:cxn ang="0">
                  <a:pos x="35" y="11"/>
                </a:cxn>
                <a:cxn ang="0">
                  <a:pos x="47" y="11"/>
                </a:cxn>
                <a:cxn ang="0">
                  <a:pos x="59" y="23"/>
                </a:cxn>
                <a:cxn ang="0">
                  <a:pos x="67" y="31"/>
                </a:cxn>
                <a:cxn ang="0">
                  <a:pos x="79" y="31"/>
                </a:cxn>
                <a:cxn ang="0">
                  <a:pos x="91" y="27"/>
                </a:cxn>
                <a:cxn ang="0">
                  <a:pos x="87" y="15"/>
                </a:cxn>
                <a:cxn ang="0">
                  <a:pos x="99" y="11"/>
                </a:cxn>
                <a:cxn ang="0">
                  <a:pos x="107" y="7"/>
                </a:cxn>
                <a:cxn ang="0">
                  <a:pos x="111" y="4"/>
                </a:cxn>
                <a:cxn ang="0">
                  <a:pos x="119" y="4"/>
                </a:cxn>
                <a:cxn ang="0">
                  <a:pos x="131" y="7"/>
                </a:cxn>
                <a:cxn ang="0">
                  <a:pos x="139" y="19"/>
                </a:cxn>
                <a:cxn ang="0">
                  <a:pos x="139" y="27"/>
                </a:cxn>
                <a:cxn ang="0">
                  <a:pos x="151" y="31"/>
                </a:cxn>
                <a:cxn ang="0">
                  <a:pos x="163" y="39"/>
                </a:cxn>
                <a:cxn ang="0">
                  <a:pos x="171" y="47"/>
                </a:cxn>
                <a:cxn ang="0">
                  <a:pos x="175" y="59"/>
                </a:cxn>
                <a:cxn ang="0">
                  <a:pos x="187" y="67"/>
                </a:cxn>
                <a:cxn ang="0">
                  <a:pos x="195" y="75"/>
                </a:cxn>
                <a:cxn ang="0">
                  <a:pos x="203" y="83"/>
                </a:cxn>
                <a:cxn ang="0">
                  <a:pos x="219" y="91"/>
                </a:cxn>
                <a:cxn ang="0">
                  <a:pos x="227" y="95"/>
                </a:cxn>
                <a:cxn ang="0">
                  <a:pos x="235" y="103"/>
                </a:cxn>
                <a:cxn ang="0">
                  <a:pos x="231" y="111"/>
                </a:cxn>
              </a:cxnLst>
              <a:rect l="0" t="0" r="r" b="b"/>
              <a:pathLst>
                <a:path w="235" h="155">
                  <a:moveTo>
                    <a:pt x="231" y="111"/>
                  </a:moveTo>
                  <a:lnTo>
                    <a:pt x="227" y="111"/>
                  </a:lnTo>
                  <a:lnTo>
                    <a:pt x="223" y="111"/>
                  </a:lnTo>
                  <a:lnTo>
                    <a:pt x="223" y="107"/>
                  </a:lnTo>
                  <a:lnTo>
                    <a:pt x="219" y="107"/>
                  </a:lnTo>
                  <a:lnTo>
                    <a:pt x="219" y="111"/>
                  </a:lnTo>
                  <a:lnTo>
                    <a:pt x="219" y="115"/>
                  </a:lnTo>
                  <a:lnTo>
                    <a:pt x="215" y="115"/>
                  </a:lnTo>
                  <a:lnTo>
                    <a:pt x="211" y="115"/>
                  </a:lnTo>
                  <a:lnTo>
                    <a:pt x="207" y="115"/>
                  </a:lnTo>
                  <a:lnTo>
                    <a:pt x="207" y="119"/>
                  </a:lnTo>
                  <a:lnTo>
                    <a:pt x="207" y="123"/>
                  </a:lnTo>
                  <a:lnTo>
                    <a:pt x="203" y="123"/>
                  </a:lnTo>
                  <a:lnTo>
                    <a:pt x="203" y="127"/>
                  </a:lnTo>
                  <a:lnTo>
                    <a:pt x="203" y="131"/>
                  </a:lnTo>
                  <a:lnTo>
                    <a:pt x="203" y="135"/>
                  </a:lnTo>
                  <a:lnTo>
                    <a:pt x="199" y="135"/>
                  </a:lnTo>
                  <a:lnTo>
                    <a:pt x="195" y="135"/>
                  </a:lnTo>
                  <a:lnTo>
                    <a:pt x="195" y="139"/>
                  </a:lnTo>
                  <a:lnTo>
                    <a:pt x="191" y="139"/>
                  </a:lnTo>
                  <a:lnTo>
                    <a:pt x="187" y="139"/>
                  </a:lnTo>
                  <a:lnTo>
                    <a:pt x="183" y="143"/>
                  </a:lnTo>
                  <a:lnTo>
                    <a:pt x="179" y="143"/>
                  </a:lnTo>
                  <a:lnTo>
                    <a:pt x="183" y="143"/>
                  </a:lnTo>
                  <a:lnTo>
                    <a:pt x="183" y="147"/>
                  </a:lnTo>
                  <a:lnTo>
                    <a:pt x="179" y="147"/>
                  </a:lnTo>
                  <a:lnTo>
                    <a:pt x="183" y="147"/>
                  </a:lnTo>
                  <a:lnTo>
                    <a:pt x="179" y="151"/>
                  </a:lnTo>
                  <a:lnTo>
                    <a:pt x="175" y="151"/>
                  </a:lnTo>
                  <a:lnTo>
                    <a:pt x="175" y="155"/>
                  </a:lnTo>
                  <a:lnTo>
                    <a:pt x="171" y="155"/>
                  </a:lnTo>
                  <a:lnTo>
                    <a:pt x="167" y="155"/>
                  </a:lnTo>
                  <a:lnTo>
                    <a:pt x="167" y="151"/>
                  </a:lnTo>
                  <a:lnTo>
                    <a:pt x="163" y="151"/>
                  </a:lnTo>
                  <a:lnTo>
                    <a:pt x="159" y="151"/>
                  </a:lnTo>
                  <a:lnTo>
                    <a:pt x="155" y="151"/>
                  </a:lnTo>
                  <a:lnTo>
                    <a:pt x="155" y="147"/>
                  </a:lnTo>
                  <a:lnTo>
                    <a:pt x="151" y="147"/>
                  </a:lnTo>
                  <a:lnTo>
                    <a:pt x="151" y="143"/>
                  </a:lnTo>
                  <a:lnTo>
                    <a:pt x="151" y="139"/>
                  </a:lnTo>
                  <a:lnTo>
                    <a:pt x="151" y="135"/>
                  </a:lnTo>
                  <a:lnTo>
                    <a:pt x="151" y="131"/>
                  </a:lnTo>
                  <a:lnTo>
                    <a:pt x="151" y="127"/>
                  </a:lnTo>
                  <a:lnTo>
                    <a:pt x="147" y="127"/>
                  </a:lnTo>
                  <a:lnTo>
                    <a:pt x="143" y="127"/>
                  </a:lnTo>
                  <a:lnTo>
                    <a:pt x="139" y="127"/>
                  </a:lnTo>
                  <a:lnTo>
                    <a:pt x="135" y="123"/>
                  </a:lnTo>
                  <a:lnTo>
                    <a:pt x="135" y="119"/>
                  </a:lnTo>
                  <a:lnTo>
                    <a:pt x="131" y="115"/>
                  </a:lnTo>
                  <a:lnTo>
                    <a:pt x="127" y="115"/>
                  </a:lnTo>
                  <a:lnTo>
                    <a:pt x="123" y="111"/>
                  </a:lnTo>
                  <a:lnTo>
                    <a:pt x="123" y="107"/>
                  </a:lnTo>
                  <a:lnTo>
                    <a:pt x="119" y="107"/>
                  </a:lnTo>
                  <a:lnTo>
                    <a:pt x="119" y="103"/>
                  </a:lnTo>
                  <a:lnTo>
                    <a:pt x="115" y="103"/>
                  </a:lnTo>
                  <a:lnTo>
                    <a:pt x="115" y="107"/>
                  </a:lnTo>
                  <a:lnTo>
                    <a:pt x="115" y="103"/>
                  </a:lnTo>
                  <a:lnTo>
                    <a:pt x="111" y="107"/>
                  </a:lnTo>
                  <a:lnTo>
                    <a:pt x="107" y="103"/>
                  </a:lnTo>
                  <a:lnTo>
                    <a:pt x="99" y="99"/>
                  </a:lnTo>
                  <a:lnTo>
                    <a:pt x="95" y="99"/>
                  </a:lnTo>
                  <a:lnTo>
                    <a:pt x="95" y="95"/>
                  </a:lnTo>
                  <a:lnTo>
                    <a:pt x="91" y="91"/>
                  </a:lnTo>
                  <a:lnTo>
                    <a:pt x="91" y="95"/>
                  </a:lnTo>
                  <a:lnTo>
                    <a:pt x="87" y="95"/>
                  </a:lnTo>
                  <a:lnTo>
                    <a:pt x="87" y="91"/>
                  </a:lnTo>
                  <a:lnTo>
                    <a:pt x="83" y="91"/>
                  </a:lnTo>
                  <a:lnTo>
                    <a:pt x="79" y="91"/>
                  </a:lnTo>
                  <a:lnTo>
                    <a:pt x="79" y="95"/>
                  </a:lnTo>
                  <a:lnTo>
                    <a:pt x="75" y="95"/>
                  </a:lnTo>
                  <a:lnTo>
                    <a:pt x="71" y="95"/>
                  </a:lnTo>
                  <a:lnTo>
                    <a:pt x="67" y="95"/>
                  </a:lnTo>
                  <a:lnTo>
                    <a:pt x="63" y="95"/>
                  </a:lnTo>
                  <a:lnTo>
                    <a:pt x="63" y="99"/>
                  </a:lnTo>
                  <a:lnTo>
                    <a:pt x="59" y="99"/>
                  </a:lnTo>
                  <a:lnTo>
                    <a:pt x="59" y="103"/>
                  </a:lnTo>
                  <a:lnTo>
                    <a:pt x="55" y="103"/>
                  </a:lnTo>
                  <a:lnTo>
                    <a:pt x="55" y="107"/>
                  </a:lnTo>
                  <a:lnTo>
                    <a:pt x="51" y="111"/>
                  </a:lnTo>
                  <a:lnTo>
                    <a:pt x="47" y="111"/>
                  </a:lnTo>
                  <a:lnTo>
                    <a:pt x="43" y="111"/>
                  </a:lnTo>
                  <a:lnTo>
                    <a:pt x="39" y="111"/>
                  </a:lnTo>
                  <a:lnTo>
                    <a:pt x="35" y="111"/>
                  </a:lnTo>
                  <a:lnTo>
                    <a:pt x="31" y="107"/>
                  </a:lnTo>
                  <a:lnTo>
                    <a:pt x="27" y="107"/>
                  </a:lnTo>
                  <a:lnTo>
                    <a:pt x="27" y="103"/>
                  </a:lnTo>
                  <a:lnTo>
                    <a:pt x="23" y="103"/>
                  </a:lnTo>
                  <a:lnTo>
                    <a:pt x="19" y="103"/>
                  </a:lnTo>
                  <a:lnTo>
                    <a:pt x="15" y="103"/>
                  </a:lnTo>
                  <a:lnTo>
                    <a:pt x="15" y="99"/>
                  </a:lnTo>
                  <a:lnTo>
                    <a:pt x="11" y="99"/>
                  </a:lnTo>
                  <a:lnTo>
                    <a:pt x="11" y="95"/>
                  </a:lnTo>
                  <a:lnTo>
                    <a:pt x="7" y="91"/>
                  </a:lnTo>
                  <a:lnTo>
                    <a:pt x="4" y="87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5"/>
                  </a:lnTo>
                  <a:lnTo>
                    <a:pt x="7" y="71"/>
                  </a:lnTo>
                  <a:lnTo>
                    <a:pt x="7" y="67"/>
                  </a:lnTo>
                  <a:lnTo>
                    <a:pt x="7" y="63"/>
                  </a:lnTo>
                  <a:lnTo>
                    <a:pt x="7" y="59"/>
                  </a:lnTo>
                  <a:lnTo>
                    <a:pt x="7" y="51"/>
                  </a:lnTo>
                  <a:lnTo>
                    <a:pt x="7" y="47"/>
                  </a:lnTo>
                  <a:lnTo>
                    <a:pt x="7" y="43"/>
                  </a:lnTo>
                  <a:lnTo>
                    <a:pt x="7" y="39"/>
                  </a:lnTo>
                  <a:lnTo>
                    <a:pt x="4" y="35"/>
                  </a:lnTo>
                  <a:lnTo>
                    <a:pt x="0" y="31"/>
                  </a:lnTo>
                  <a:lnTo>
                    <a:pt x="7" y="27"/>
                  </a:lnTo>
                  <a:lnTo>
                    <a:pt x="11" y="27"/>
                  </a:lnTo>
                  <a:lnTo>
                    <a:pt x="15" y="23"/>
                  </a:lnTo>
                  <a:lnTo>
                    <a:pt x="19" y="19"/>
                  </a:lnTo>
                  <a:lnTo>
                    <a:pt x="23" y="15"/>
                  </a:lnTo>
                  <a:lnTo>
                    <a:pt x="27" y="15"/>
                  </a:lnTo>
                  <a:lnTo>
                    <a:pt x="27" y="11"/>
                  </a:lnTo>
                  <a:lnTo>
                    <a:pt x="31" y="11"/>
                  </a:lnTo>
                  <a:lnTo>
                    <a:pt x="35" y="11"/>
                  </a:lnTo>
                  <a:lnTo>
                    <a:pt x="39" y="7"/>
                  </a:lnTo>
                  <a:lnTo>
                    <a:pt x="43" y="7"/>
                  </a:lnTo>
                  <a:lnTo>
                    <a:pt x="47" y="7"/>
                  </a:lnTo>
                  <a:lnTo>
                    <a:pt x="47" y="11"/>
                  </a:lnTo>
                  <a:lnTo>
                    <a:pt x="51" y="11"/>
                  </a:lnTo>
                  <a:lnTo>
                    <a:pt x="55" y="15"/>
                  </a:lnTo>
                  <a:lnTo>
                    <a:pt x="59" y="19"/>
                  </a:lnTo>
                  <a:lnTo>
                    <a:pt x="59" y="23"/>
                  </a:lnTo>
                  <a:lnTo>
                    <a:pt x="63" y="23"/>
                  </a:lnTo>
                  <a:lnTo>
                    <a:pt x="63" y="27"/>
                  </a:lnTo>
                  <a:lnTo>
                    <a:pt x="63" y="31"/>
                  </a:lnTo>
                  <a:lnTo>
                    <a:pt x="67" y="31"/>
                  </a:lnTo>
                  <a:lnTo>
                    <a:pt x="71" y="31"/>
                  </a:lnTo>
                  <a:lnTo>
                    <a:pt x="71" y="27"/>
                  </a:lnTo>
                  <a:lnTo>
                    <a:pt x="75" y="31"/>
                  </a:lnTo>
                  <a:lnTo>
                    <a:pt x="79" y="31"/>
                  </a:lnTo>
                  <a:lnTo>
                    <a:pt x="83" y="31"/>
                  </a:lnTo>
                  <a:lnTo>
                    <a:pt x="87" y="31"/>
                  </a:lnTo>
                  <a:lnTo>
                    <a:pt x="91" y="31"/>
                  </a:lnTo>
                  <a:lnTo>
                    <a:pt x="91" y="27"/>
                  </a:lnTo>
                  <a:lnTo>
                    <a:pt x="87" y="27"/>
                  </a:lnTo>
                  <a:lnTo>
                    <a:pt x="87" y="23"/>
                  </a:lnTo>
                  <a:lnTo>
                    <a:pt x="87" y="19"/>
                  </a:lnTo>
                  <a:lnTo>
                    <a:pt x="87" y="15"/>
                  </a:lnTo>
                  <a:lnTo>
                    <a:pt x="91" y="15"/>
                  </a:lnTo>
                  <a:lnTo>
                    <a:pt x="91" y="11"/>
                  </a:lnTo>
                  <a:lnTo>
                    <a:pt x="95" y="11"/>
                  </a:lnTo>
                  <a:lnTo>
                    <a:pt x="99" y="11"/>
                  </a:lnTo>
                  <a:lnTo>
                    <a:pt x="103" y="11"/>
                  </a:lnTo>
                  <a:lnTo>
                    <a:pt x="103" y="7"/>
                  </a:lnTo>
                  <a:lnTo>
                    <a:pt x="103" y="4"/>
                  </a:lnTo>
                  <a:lnTo>
                    <a:pt x="107" y="7"/>
                  </a:lnTo>
                  <a:lnTo>
                    <a:pt x="111" y="7"/>
                  </a:lnTo>
                  <a:lnTo>
                    <a:pt x="107" y="4"/>
                  </a:lnTo>
                  <a:lnTo>
                    <a:pt x="107" y="0"/>
                  </a:lnTo>
                  <a:lnTo>
                    <a:pt x="111" y="4"/>
                  </a:lnTo>
                  <a:lnTo>
                    <a:pt x="111" y="0"/>
                  </a:lnTo>
                  <a:lnTo>
                    <a:pt x="115" y="0"/>
                  </a:lnTo>
                  <a:lnTo>
                    <a:pt x="115" y="4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3" y="7"/>
                  </a:lnTo>
                  <a:lnTo>
                    <a:pt x="127" y="7"/>
                  </a:lnTo>
                  <a:lnTo>
                    <a:pt x="131" y="7"/>
                  </a:lnTo>
                  <a:lnTo>
                    <a:pt x="135" y="11"/>
                  </a:lnTo>
                  <a:lnTo>
                    <a:pt x="135" y="15"/>
                  </a:lnTo>
                  <a:lnTo>
                    <a:pt x="135" y="19"/>
                  </a:lnTo>
                  <a:lnTo>
                    <a:pt x="139" y="19"/>
                  </a:lnTo>
                  <a:lnTo>
                    <a:pt x="135" y="19"/>
                  </a:lnTo>
                  <a:lnTo>
                    <a:pt x="135" y="23"/>
                  </a:lnTo>
                  <a:lnTo>
                    <a:pt x="135" y="27"/>
                  </a:lnTo>
                  <a:lnTo>
                    <a:pt x="139" y="27"/>
                  </a:lnTo>
                  <a:lnTo>
                    <a:pt x="139" y="31"/>
                  </a:lnTo>
                  <a:lnTo>
                    <a:pt x="143" y="31"/>
                  </a:lnTo>
                  <a:lnTo>
                    <a:pt x="147" y="31"/>
                  </a:lnTo>
                  <a:lnTo>
                    <a:pt x="151" y="31"/>
                  </a:lnTo>
                  <a:lnTo>
                    <a:pt x="155" y="31"/>
                  </a:lnTo>
                  <a:lnTo>
                    <a:pt x="159" y="31"/>
                  </a:lnTo>
                  <a:lnTo>
                    <a:pt x="163" y="35"/>
                  </a:lnTo>
                  <a:lnTo>
                    <a:pt x="163" y="39"/>
                  </a:lnTo>
                  <a:lnTo>
                    <a:pt x="163" y="43"/>
                  </a:lnTo>
                  <a:lnTo>
                    <a:pt x="167" y="43"/>
                  </a:lnTo>
                  <a:lnTo>
                    <a:pt x="167" y="47"/>
                  </a:lnTo>
                  <a:lnTo>
                    <a:pt x="171" y="47"/>
                  </a:lnTo>
                  <a:lnTo>
                    <a:pt x="171" y="51"/>
                  </a:lnTo>
                  <a:lnTo>
                    <a:pt x="171" y="55"/>
                  </a:lnTo>
                  <a:lnTo>
                    <a:pt x="171" y="59"/>
                  </a:lnTo>
                  <a:lnTo>
                    <a:pt x="175" y="59"/>
                  </a:lnTo>
                  <a:lnTo>
                    <a:pt x="175" y="63"/>
                  </a:lnTo>
                  <a:lnTo>
                    <a:pt x="179" y="63"/>
                  </a:lnTo>
                  <a:lnTo>
                    <a:pt x="183" y="67"/>
                  </a:lnTo>
                  <a:lnTo>
                    <a:pt x="187" y="67"/>
                  </a:lnTo>
                  <a:lnTo>
                    <a:pt x="187" y="71"/>
                  </a:lnTo>
                  <a:lnTo>
                    <a:pt x="191" y="71"/>
                  </a:lnTo>
                  <a:lnTo>
                    <a:pt x="191" y="75"/>
                  </a:lnTo>
                  <a:lnTo>
                    <a:pt x="195" y="75"/>
                  </a:lnTo>
                  <a:lnTo>
                    <a:pt x="195" y="79"/>
                  </a:lnTo>
                  <a:lnTo>
                    <a:pt x="199" y="79"/>
                  </a:lnTo>
                  <a:lnTo>
                    <a:pt x="203" y="79"/>
                  </a:lnTo>
                  <a:lnTo>
                    <a:pt x="203" y="83"/>
                  </a:lnTo>
                  <a:lnTo>
                    <a:pt x="207" y="83"/>
                  </a:lnTo>
                  <a:lnTo>
                    <a:pt x="211" y="87"/>
                  </a:lnTo>
                  <a:lnTo>
                    <a:pt x="215" y="91"/>
                  </a:lnTo>
                  <a:lnTo>
                    <a:pt x="219" y="91"/>
                  </a:lnTo>
                  <a:lnTo>
                    <a:pt x="219" y="95"/>
                  </a:lnTo>
                  <a:lnTo>
                    <a:pt x="223" y="95"/>
                  </a:lnTo>
                  <a:lnTo>
                    <a:pt x="223" y="91"/>
                  </a:lnTo>
                  <a:lnTo>
                    <a:pt x="227" y="95"/>
                  </a:lnTo>
                  <a:lnTo>
                    <a:pt x="231" y="95"/>
                  </a:lnTo>
                  <a:lnTo>
                    <a:pt x="231" y="99"/>
                  </a:lnTo>
                  <a:lnTo>
                    <a:pt x="235" y="99"/>
                  </a:lnTo>
                  <a:lnTo>
                    <a:pt x="235" y="103"/>
                  </a:lnTo>
                  <a:lnTo>
                    <a:pt x="231" y="107"/>
                  </a:lnTo>
                  <a:lnTo>
                    <a:pt x="231" y="111"/>
                  </a:lnTo>
                  <a:lnTo>
                    <a:pt x="235" y="111"/>
                  </a:lnTo>
                  <a:lnTo>
                    <a:pt x="231" y="11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3" name="Freeform 50"/>
            <p:cNvSpPr>
              <a:spLocks noEditPoints="1"/>
            </p:cNvSpPr>
            <p:nvPr>
              <p:custDataLst>
                <p:tags r:id="rId246"/>
              </p:custDataLst>
            </p:nvPr>
          </p:nvSpPr>
          <p:spPr bwMode="gray">
            <a:xfrm>
              <a:off x="5534334" y="3876668"/>
              <a:ext cx="106781" cy="94916"/>
            </a:xfrm>
            <a:custGeom>
              <a:avLst/>
              <a:gdLst/>
              <a:ahLst/>
              <a:cxnLst>
                <a:cxn ang="0">
                  <a:pos x="72" y="16"/>
                </a:cxn>
                <a:cxn ang="0">
                  <a:pos x="72" y="20"/>
                </a:cxn>
                <a:cxn ang="0">
                  <a:pos x="72" y="20"/>
                </a:cxn>
                <a:cxn ang="0">
                  <a:pos x="72" y="24"/>
                </a:cxn>
                <a:cxn ang="0">
                  <a:pos x="68" y="24"/>
                </a:cxn>
                <a:cxn ang="0">
                  <a:pos x="68" y="24"/>
                </a:cxn>
                <a:cxn ang="0">
                  <a:pos x="68" y="24"/>
                </a:cxn>
                <a:cxn ang="0">
                  <a:pos x="68" y="20"/>
                </a:cxn>
                <a:cxn ang="0">
                  <a:pos x="64" y="20"/>
                </a:cxn>
                <a:cxn ang="0">
                  <a:pos x="64" y="24"/>
                </a:cxn>
                <a:cxn ang="0">
                  <a:pos x="64" y="28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68" y="40"/>
                </a:cxn>
                <a:cxn ang="0">
                  <a:pos x="60" y="40"/>
                </a:cxn>
                <a:cxn ang="0">
                  <a:pos x="60" y="44"/>
                </a:cxn>
                <a:cxn ang="0">
                  <a:pos x="56" y="52"/>
                </a:cxn>
                <a:cxn ang="0">
                  <a:pos x="56" y="56"/>
                </a:cxn>
                <a:cxn ang="0">
                  <a:pos x="56" y="60"/>
                </a:cxn>
                <a:cxn ang="0">
                  <a:pos x="52" y="64"/>
                </a:cxn>
                <a:cxn ang="0">
                  <a:pos x="0" y="36"/>
                </a:cxn>
                <a:cxn ang="0">
                  <a:pos x="0" y="36"/>
                </a:cxn>
                <a:cxn ang="0">
                  <a:pos x="4" y="40"/>
                </a:cxn>
                <a:cxn ang="0">
                  <a:pos x="8" y="40"/>
                </a:cxn>
                <a:cxn ang="0">
                  <a:pos x="12" y="36"/>
                </a:cxn>
                <a:cxn ang="0">
                  <a:pos x="16" y="36"/>
                </a:cxn>
                <a:cxn ang="0">
                  <a:pos x="20" y="36"/>
                </a:cxn>
                <a:cxn ang="0">
                  <a:pos x="28" y="36"/>
                </a:cxn>
                <a:cxn ang="0">
                  <a:pos x="28" y="40"/>
                </a:cxn>
                <a:cxn ang="0">
                  <a:pos x="40" y="36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24"/>
                </a:cxn>
                <a:cxn ang="0">
                  <a:pos x="52" y="20"/>
                </a:cxn>
                <a:cxn ang="0">
                  <a:pos x="52" y="16"/>
                </a:cxn>
                <a:cxn ang="0">
                  <a:pos x="56" y="16"/>
                </a:cxn>
                <a:cxn ang="0">
                  <a:pos x="56" y="16"/>
                </a:cxn>
                <a:cxn ang="0">
                  <a:pos x="56" y="12"/>
                </a:cxn>
                <a:cxn ang="0">
                  <a:pos x="60" y="12"/>
                </a:cxn>
                <a:cxn ang="0">
                  <a:pos x="60" y="8"/>
                </a:cxn>
                <a:cxn ang="0">
                  <a:pos x="60" y="8"/>
                </a:cxn>
                <a:cxn ang="0">
                  <a:pos x="64" y="8"/>
                </a:cxn>
                <a:cxn ang="0">
                  <a:pos x="68" y="0"/>
                </a:cxn>
                <a:cxn ang="0">
                  <a:pos x="68" y="4"/>
                </a:cxn>
                <a:cxn ang="0">
                  <a:pos x="68" y="8"/>
                </a:cxn>
                <a:cxn ang="0">
                  <a:pos x="72" y="8"/>
                </a:cxn>
                <a:cxn ang="0">
                  <a:pos x="44" y="32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36" y="36"/>
                </a:cxn>
                <a:cxn ang="0">
                  <a:pos x="32" y="36"/>
                </a:cxn>
              </a:cxnLst>
              <a:rect l="0" t="0" r="r" b="b"/>
              <a:pathLst>
                <a:path w="72" h="64">
                  <a:moveTo>
                    <a:pt x="72" y="12"/>
                  </a:moveTo>
                  <a:lnTo>
                    <a:pt x="72" y="12"/>
                  </a:lnTo>
                  <a:lnTo>
                    <a:pt x="72" y="12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16" y="6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close/>
                  <a:moveTo>
                    <a:pt x="44" y="32"/>
                  </a:moveTo>
                  <a:lnTo>
                    <a:pt x="40" y="32"/>
                  </a:lnTo>
                  <a:lnTo>
                    <a:pt x="40" y="28"/>
                  </a:lnTo>
                  <a:lnTo>
                    <a:pt x="44" y="32"/>
                  </a:lnTo>
                  <a:close/>
                  <a:moveTo>
                    <a:pt x="32" y="36"/>
                  </a:move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4" name="Freeform 51"/>
            <p:cNvSpPr>
              <a:spLocks/>
            </p:cNvSpPr>
            <p:nvPr>
              <p:custDataLst>
                <p:tags r:id="rId247"/>
              </p:custDataLst>
            </p:nvPr>
          </p:nvSpPr>
          <p:spPr bwMode="gray">
            <a:xfrm>
              <a:off x="5635182" y="3290858"/>
              <a:ext cx="385597" cy="259536"/>
            </a:xfrm>
            <a:custGeom>
              <a:avLst/>
              <a:gdLst/>
              <a:ahLst/>
              <a:cxnLst>
                <a:cxn ang="0">
                  <a:pos x="180" y="127"/>
                </a:cxn>
                <a:cxn ang="0">
                  <a:pos x="172" y="135"/>
                </a:cxn>
                <a:cxn ang="0">
                  <a:pos x="184" y="143"/>
                </a:cxn>
                <a:cxn ang="0">
                  <a:pos x="188" y="155"/>
                </a:cxn>
                <a:cxn ang="0">
                  <a:pos x="176" y="167"/>
                </a:cxn>
                <a:cxn ang="0">
                  <a:pos x="168" y="175"/>
                </a:cxn>
                <a:cxn ang="0">
                  <a:pos x="156" y="167"/>
                </a:cxn>
                <a:cxn ang="0">
                  <a:pos x="152" y="155"/>
                </a:cxn>
                <a:cxn ang="0">
                  <a:pos x="140" y="151"/>
                </a:cxn>
                <a:cxn ang="0">
                  <a:pos x="124" y="139"/>
                </a:cxn>
                <a:cxn ang="0">
                  <a:pos x="112" y="131"/>
                </a:cxn>
                <a:cxn ang="0">
                  <a:pos x="100" y="119"/>
                </a:cxn>
                <a:cxn ang="0">
                  <a:pos x="92" y="107"/>
                </a:cxn>
                <a:cxn ang="0">
                  <a:pos x="84" y="91"/>
                </a:cxn>
                <a:cxn ang="0">
                  <a:pos x="64" y="91"/>
                </a:cxn>
                <a:cxn ang="0">
                  <a:pos x="64" y="79"/>
                </a:cxn>
                <a:cxn ang="0">
                  <a:pos x="52" y="67"/>
                </a:cxn>
                <a:cxn ang="0">
                  <a:pos x="40" y="60"/>
                </a:cxn>
                <a:cxn ang="0">
                  <a:pos x="36" y="67"/>
                </a:cxn>
                <a:cxn ang="0">
                  <a:pos x="24" y="71"/>
                </a:cxn>
                <a:cxn ang="0">
                  <a:pos x="12" y="79"/>
                </a:cxn>
                <a:cxn ang="0">
                  <a:pos x="12" y="91"/>
                </a:cxn>
                <a:cxn ang="0">
                  <a:pos x="0" y="83"/>
                </a:cxn>
                <a:cxn ang="0">
                  <a:pos x="0" y="56"/>
                </a:cxn>
                <a:cxn ang="0">
                  <a:pos x="0" y="24"/>
                </a:cxn>
                <a:cxn ang="0">
                  <a:pos x="16" y="8"/>
                </a:cxn>
                <a:cxn ang="0">
                  <a:pos x="36" y="0"/>
                </a:cxn>
                <a:cxn ang="0">
                  <a:pos x="88" y="40"/>
                </a:cxn>
                <a:cxn ang="0">
                  <a:pos x="112" y="40"/>
                </a:cxn>
                <a:cxn ang="0">
                  <a:pos x="136" y="40"/>
                </a:cxn>
                <a:cxn ang="0">
                  <a:pos x="144" y="52"/>
                </a:cxn>
                <a:cxn ang="0">
                  <a:pos x="152" y="67"/>
                </a:cxn>
                <a:cxn ang="0">
                  <a:pos x="160" y="87"/>
                </a:cxn>
                <a:cxn ang="0">
                  <a:pos x="176" y="91"/>
                </a:cxn>
                <a:cxn ang="0">
                  <a:pos x="184" y="103"/>
                </a:cxn>
                <a:cxn ang="0">
                  <a:pos x="192" y="99"/>
                </a:cxn>
                <a:cxn ang="0">
                  <a:pos x="204" y="83"/>
                </a:cxn>
                <a:cxn ang="0">
                  <a:pos x="220" y="75"/>
                </a:cxn>
                <a:cxn ang="0">
                  <a:pos x="224" y="75"/>
                </a:cxn>
                <a:cxn ang="0">
                  <a:pos x="212" y="83"/>
                </a:cxn>
                <a:cxn ang="0">
                  <a:pos x="224" y="91"/>
                </a:cxn>
                <a:cxn ang="0">
                  <a:pos x="232" y="91"/>
                </a:cxn>
                <a:cxn ang="0">
                  <a:pos x="240" y="91"/>
                </a:cxn>
                <a:cxn ang="0">
                  <a:pos x="256" y="99"/>
                </a:cxn>
                <a:cxn ang="0">
                  <a:pos x="252" y="107"/>
                </a:cxn>
                <a:cxn ang="0">
                  <a:pos x="240" y="111"/>
                </a:cxn>
                <a:cxn ang="0">
                  <a:pos x="220" y="111"/>
                </a:cxn>
                <a:cxn ang="0">
                  <a:pos x="224" y="103"/>
                </a:cxn>
                <a:cxn ang="0">
                  <a:pos x="216" y="99"/>
                </a:cxn>
                <a:cxn ang="0">
                  <a:pos x="204" y="99"/>
                </a:cxn>
                <a:cxn ang="0">
                  <a:pos x="196" y="111"/>
                </a:cxn>
                <a:cxn ang="0">
                  <a:pos x="196" y="115"/>
                </a:cxn>
              </a:cxnLst>
              <a:rect l="0" t="0" r="r" b="b"/>
              <a:pathLst>
                <a:path w="260" h="175">
                  <a:moveTo>
                    <a:pt x="188" y="119"/>
                  </a:moveTo>
                  <a:lnTo>
                    <a:pt x="188" y="123"/>
                  </a:lnTo>
                  <a:lnTo>
                    <a:pt x="188" y="127"/>
                  </a:lnTo>
                  <a:lnTo>
                    <a:pt x="184" y="127"/>
                  </a:lnTo>
                  <a:lnTo>
                    <a:pt x="180" y="127"/>
                  </a:lnTo>
                  <a:lnTo>
                    <a:pt x="180" y="123"/>
                  </a:lnTo>
                  <a:lnTo>
                    <a:pt x="176" y="123"/>
                  </a:lnTo>
                  <a:lnTo>
                    <a:pt x="172" y="127"/>
                  </a:lnTo>
                  <a:lnTo>
                    <a:pt x="172" y="131"/>
                  </a:lnTo>
                  <a:lnTo>
                    <a:pt x="172" y="135"/>
                  </a:lnTo>
                  <a:lnTo>
                    <a:pt x="176" y="135"/>
                  </a:lnTo>
                  <a:lnTo>
                    <a:pt x="176" y="139"/>
                  </a:lnTo>
                  <a:lnTo>
                    <a:pt x="180" y="139"/>
                  </a:lnTo>
                  <a:lnTo>
                    <a:pt x="184" y="139"/>
                  </a:lnTo>
                  <a:lnTo>
                    <a:pt x="184" y="143"/>
                  </a:lnTo>
                  <a:lnTo>
                    <a:pt x="180" y="143"/>
                  </a:lnTo>
                  <a:lnTo>
                    <a:pt x="180" y="147"/>
                  </a:lnTo>
                  <a:lnTo>
                    <a:pt x="184" y="151"/>
                  </a:lnTo>
                  <a:lnTo>
                    <a:pt x="184" y="155"/>
                  </a:lnTo>
                  <a:lnTo>
                    <a:pt x="188" y="155"/>
                  </a:lnTo>
                  <a:lnTo>
                    <a:pt x="184" y="155"/>
                  </a:lnTo>
                  <a:lnTo>
                    <a:pt x="184" y="159"/>
                  </a:lnTo>
                  <a:lnTo>
                    <a:pt x="180" y="163"/>
                  </a:lnTo>
                  <a:lnTo>
                    <a:pt x="180" y="167"/>
                  </a:lnTo>
                  <a:lnTo>
                    <a:pt x="176" y="167"/>
                  </a:lnTo>
                  <a:lnTo>
                    <a:pt x="176" y="171"/>
                  </a:lnTo>
                  <a:lnTo>
                    <a:pt x="176" y="175"/>
                  </a:lnTo>
                  <a:lnTo>
                    <a:pt x="172" y="171"/>
                  </a:lnTo>
                  <a:lnTo>
                    <a:pt x="172" y="175"/>
                  </a:lnTo>
                  <a:lnTo>
                    <a:pt x="168" y="175"/>
                  </a:lnTo>
                  <a:lnTo>
                    <a:pt x="168" y="171"/>
                  </a:lnTo>
                  <a:lnTo>
                    <a:pt x="164" y="171"/>
                  </a:lnTo>
                  <a:lnTo>
                    <a:pt x="160" y="171"/>
                  </a:lnTo>
                  <a:lnTo>
                    <a:pt x="156" y="171"/>
                  </a:lnTo>
                  <a:lnTo>
                    <a:pt x="156" y="167"/>
                  </a:lnTo>
                  <a:lnTo>
                    <a:pt x="160" y="163"/>
                  </a:lnTo>
                  <a:lnTo>
                    <a:pt x="160" y="159"/>
                  </a:lnTo>
                  <a:lnTo>
                    <a:pt x="156" y="159"/>
                  </a:lnTo>
                  <a:lnTo>
                    <a:pt x="156" y="155"/>
                  </a:lnTo>
                  <a:lnTo>
                    <a:pt x="152" y="155"/>
                  </a:lnTo>
                  <a:lnTo>
                    <a:pt x="148" y="151"/>
                  </a:lnTo>
                  <a:lnTo>
                    <a:pt x="148" y="155"/>
                  </a:lnTo>
                  <a:lnTo>
                    <a:pt x="144" y="155"/>
                  </a:lnTo>
                  <a:lnTo>
                    <a:pt x="144" y="151"/>
                  </a:lnTo>
                  <a:lnTo>
                    <a:pt x="140" y="151"/>
                  </a:lnTo>
                  <a:lnTo>
                    <a:pt x="136" y="147"/>
                  </a:lnTo>
                  <a:lnTo>
                    <a:pt x="132" y="143"/>
                  </a:lnTo>
                  <a:lnTo>
                    <a:pt x="128" y="143"/>
                  </a:lnTo>
                  <a:lnTo>
                    <a:pt x="128" y="139"/>
                  </a:lnTo>
                  <a:lnTo>
                    <a:pt x="124" y="139"/>
                  </a:lnTo>
                  <a:lnTo>
                    <a:pt x="120" y="139"/>
                  </a:lnTo>
                  <a:lnTo>
                    <a:pt x="120" y="135"/>
                  </a:lnTo>
                  <a:lnTo>
                    <a:pt x="116" y="135"/>
                  </a:lnTo>
                  <a:lnTo>
                    <a:pt x="116" y="131"/>
                  </a:lnTo>
                  <a:lnTo>
                    <a:pt x="112" y="131"/>
                  </a:lnTo>
                  <a:lnTo>
                    <a:pt x="112" y="127"/>
                  </a:lnTo>
                  <a:lnTo>
                    <a:pt x="108" y="127"/>
                  </a:lnTo>
                  <a:lnTo>
                    <a:pt x="104" y="123"/>
                  </a:lnTo>
                  <a:lnTo>
                    <a:pt x="100" y="123"/>
                  </a:lnTo>
                  <a:lnTo>
                    <a:pt x="100" y="119"/>
                  </a:lnTo>
                  <a:lnTo>
                    <a:pt x="96" y="119"/>
                  </a:lnTo>
                  <a:lnTo>
                    <a:pt x="96" y="115"/>
                  </a:lnTo>
                  <a:lnTo>
                    <a:pt x="96" y="111"/>
                  </a:lnTo>
                  <a:lnTo>
                    <a:pt x="96" y="107"/>
                  </a:lnTo>
                  <a:lnTo>
                    <a:pt x="92" y="107"/>
                  </a:lnTo>
                  <a:lnTo>
                    <a:pt x="92" y="103"/>
                  </a:lnTo>
                  <a:lnTo>
                    <a:pt x="88" y="103"/>
                  </a:lnTo>
                  <a:lnTo>
                    <a:pt x="88" y="99"/>
                  </a:lnTo>
                  <a:lnTo>
                    <a:pt x="88" y="95"/>
                  </a:lnTo>
                  <a:lnTo>
                    <a:pt x="84" y="91"/>
                  </a:lnTo>
                  <a:lnTo>
                    <a:pt x="80" y="91"/>
                  </a:lnTo>
                  <a:lnTo>
                    <a:pt x="76" y="91"/>
                  </a:lnTo>
                  <a:lnTo>
                    <a:pt x="72" y="91"/>
                  </a:lnTo>
                  <a:lnTo>
                    <a:pt x="68" y="91"/>
                  </a:lnTo>
                  <a:lnTo>
                    <a:pt x="64" y="91"/>
                  </a:lnTo>
                  <a:lnTo>
                    <a:pt x="64" y="87"/>
                  </a:lnTo>
                  <a:lnTo>
                    <a:pt x="60" y="87"/>
                  </a:lnTo>
                  <a:lnTo>
                    <a:pt x="60" y="83"/>
                  </a:lnTo>
                  <a:lnTo>
                    <a:pt x="60" y="79"/>
                  </a:lnTo>
                  <a:lnTo>
                    <a:pt x="64" y="79"/>
                  </a:lnTo>
                  <a:lnTo>
                    <a:pt x="60" y="79"/>
                  </a:lnTo>
                  <a:lnTo>
                    <a:pt x="60" y="75"/>
                  </a:lnTo>
                  <a:lnTo>
                    <a:pt x="60" y="71"/>
                  </a:lnTo>
                  <a:lnTo>
                    <a:pt x="56" y="67"/>
                  </a:lnTo>
                  <a:lnTo>
                    <a:pt x="52" y="67"/>
                  </a:lnTo>
                  <a:lnTo>
                    <a:pt x="48" y="67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64"/>
                  </a:lnTo>
                  <a:lnTo>
                    <a:pt x="32" y="60"/>
                  </a:lnTo>
                  <a:lnTo>
                    <a:pt x="32" y="64"/>
                  </a:lnTo>
                  <a:lnTo>
                    <a:pt x="36" y="67"/>
                  </a:lnTo>
                  <a:lnTo>
                    <a:pt x="32" y="67"/>
                  </a:lnTo>
                  <a:lnTo>
                    <a:pt x="28" y="64"/>
                  </a:lnTo>
                  <a:lnTo>
                    <a:pt x="28" y="67"/>
                  </a:lnTo>
                  <a:lnTo>
                    <a:pt x="28" y="71"/>
                  </a:lnTo>
                  <a:lnTo>
                    <a:pt x="24" y="71"/>
                  </a:lnTo>
                  <a:lnTo>
                    <a:pt x="20" y="71"/>
                  </a:lnTo>
                  <a:lnTo>
                    <a:pt x="16" y="71"/>
                  </a:lnTo>
                  <a:lnTo>
                    <a:pt x="16" y="75"/>
                  </a:lnTo>
                  <a:lnTo>
                    <a:pt x="12" y="75"/>
                  </a:lnTo>
                  <a:lnTo>
                    <a:pt x="12" y="79"/>
                  </a:lnTo>
                  <a:lnTo>
                    <a:pt x="12" y="83"/>
                  </a:lnTo>
                  <a:lnTo>
                    <a:pt x="12" y="87"/>
                  </a:lnTo>
                  <a:lnTo>
                    <a:pt x="16" y="87"/>
                  </a:lnTo>
                  <a:lnTo>
                    <a:pt x="16" y="91"/>
                  </a:lnTo>
                  <a:lnTo>
                    <a:pt x="12" y="91"/>
                  </a:lnTo>
                  <a:lnTo>
                    <a:pt x="8" y="91"/>
                  </a:lnTo>
                  <a:lnTo>
                    <a:pt x="4" y="91"/>
                  </a:lnTo>
                  <a:lnTo>
                    <a:pt x="0" y="91"/>
                  </a:lnTo>
                  <a:lnTo>
                    <a:pt x="0" y="87"/>
                  </a:lnTo>
                  <a:lnTo>
                    <a:pt x="0" y="83"/>
                  </a:lnTo>
                  <a:lnTo>
                    <a:pt x="0" y="79"/>
                  </a:lnTo>
                  <a:lnTo>
                    <a:pt x="0" y="71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16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52" y="12"/>
                  </a:lnTo>
                  <a:lnTo>
                    <a:pt x="76" y="28"/>
                  </a:lnTo>
                  <a:lnTo>
                    <a:pt x="80" y="32"/>
                  </a:lnTo>
                  <a:lnTo>
                    <a:pt x="84" y="36"/>
                  </a:lnTo>
                  <a:lnTo>
                    <a:pt x="88" y="40"/>
                  </a:lnTo>
                  <a:lnTo>
                    <a:pt x="88" y="44"/>
                  </a:lnTo>
                  <a:lnTo>
                    <a:pt x="96" y="44"/>
                  </a:lnTo>
                  <a:lnTo>
                    <a:pt x="100" y="44"/>
                  </a:lnTo>
                  <a:lnTo>
                    <a:pt x="108" y="40"/>
                  </a:lnTo>
                  <a:lnTo>
                    <a:pt x="112" y="40"/>
                  </a:lnTo>
                  <a:lnTo>
                    <a:pt x="116" y="44"/>
                  </a:lnTo>
                  <a:lnTo>
                    <a:pt x="120" y="44"/>
                  </a:lnTo>
                  <a:lnTo>
                    <a:pt x="128" y="44"/>
                  </a:lnTo>
                  <a:lnTo>
                    <a:pt x="132" y="40"/>
                  </a:lnTo>
                  <a:lnTo>
                    <a:pt x="136" y="40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0" y="48"/>
                  </a:lnTo>
                  <a:lnTo>
                    <a:pt x="144" y="48"/>
                  </a:lnTo>
                  <a:lnTo>
                    <a:pt x="144" y="52"/>
                  </a:lnTo>
                  <a:lnTo>
                    <a:pt x="148" y="56"/>
                  </a:lnTo>
                  <a:lnTo>
                    <a:pt x="152" y="56"/>
                  </a:lnTo>
                  <a:lnTo>
                    <a:pt x="152" y="60"/>
                  </a:lnTo>
                  <a:lnTo>
                    <a:pt x="152" y="64"/>
                  </a:lnTo>
                  <a:lnTo>
                    <a:pt x="152" y="67"/>
                  </a:lnTo>
                  <a:lnTo>
                    <a:pt x="152" y="71"/>
                  </a:lnTo>
                  <a:lnTo>
                    <a:pt x="152" y="75"/>
                  </a:lnTo>
                  <a:lnTo>
                    <a:pt x="156" y="75"/>
                  </a:lnTo>
                  <a:lnTo>
                    <a:pt x="160" y="79"/>
                  </a:lnTo>
                  <a:lnTo>
                    <a:pt x="160" y="87"/>
                  </a:lnTo>
                  <a:lnTo>
                    <a:pt x="160" y="91"/>
                  </a:lnTo>
                  <a:lnTo>
                    <a:pt x="164" y="91"/>
                  </a:lnTo>
                  <a:lnTo>
                    <a:pt x="168" y="91"/>
                  </a:lnTo>
                  <a:lnTo>
                    <a:pt x="172" y="91"/>
                  </a:lnTo>
                  <a:lnTo>
                    <a:pt x="176" y="91"/>
                  </a:lnTo>
                  <a:lnTo>
                    <a:pt x="180" y="91"/>
                  </a:lnTo>
                  <a:lnTo>
                    <a:pt x="180" y="95"/>
                  </a:lnTo>
                  <a:lnTo>
                    <a:pt x="184" y="95"/>
                  </a:lnTo>
                  <a:lnTo>
                    <a:pt x="180" y="99"/>
                  </a:lnTo>
                  <a:lnTo>
                    <a:pt x="184" y="103"/>
                  </a:lnTo>
                  <a:lnTo>
                    <a:pt x="188" y="103"/>
                  </a:lnTo>
                  <a:lnTo>
                    <a:pt x="192" y="103"/>
                  </a:lnTo>
                  <a:lnTo>
                    <a:pt x="188" y="103"/>
                  </a:lnTo>
                  <a:lnTo>
                    <a:pt x="188" y="99"/>
                  </a:lnTo>
                  <a:lnTo>
                    <a:pt x="192" y="99"/>
                  </a:lnTo>
                  <a:lnTo>
                    <a:pt x="192" y="95"/>
                  </a:lnTo>
                  <a:lnTo>
                    <a:pt x="196" y="91"/>
                  </a:lnTo>
                  <a:lnTo>
                    <a:pt x="196" y="87"/>
                  </a:lnTo>
                  <a:lnTo>
                    <a:pt x="200" y="87"/>
                  </a:lnTo>
                  <a:lnTo>
                    <a:pt x="204" y="83"/>
                  </a:lnTo>
                  <a:lnTo>
                    <a:pt x="208" y="83"/>
                  </a:lnTo>
                  <a:lnTo>
                    <a:pt x="212" y="79"/>
                  </a:lnTo>
                  <a:lnTo>
                    <a:pt x="216" y="75"/>
                  </a:lnTo>
                  <a:lnTo>
                    <a:pt x="216" y="71"/>
                  </a:lnTo>
                  <a:lnTo>
                    <a:pt x="220" y="75"/>
                  </a:lnTo>
                  <a:lnTo>
                    <a:pt x="220" y="71"/>
                  </a:lnTo>
                  <a:lnTo>
                    <a:pt x="224" y="71"/>
                  </a:lnTo>
                  <a:lnTo>
                    <a:pt x="228" y="67"/>
                  </a:lnTo>
                  <a:lnTo>
                    <a:pt x="228" y="71"/>
                  </a:lnTo>
                  <a:lnTo>
                    <a:pt x="224" y="75"/>
                  </a:lnTo>
                  <a:lnTo>
                    <a:pt x="220" y="75"/>
                  </a:lnTo>
                  <a:lnTo>
                    <a:pt x="220" y="79"/>
                  </a:lnTo>
                  <a:lnTo>
                    <a:pt x="216" y="79"/>
                  </a:lnTo>
                  <a:lnTo>
                    <a:pt x="216" y="83"/>
                  </a:lnTo>
                  <a:lnTo>
                    <a:pt x="212" y="83"/>
                  </a:lnTo>
                  <a:lnTo>
                    <a:pt x="212" y="87"/>
                  </a:lnTo>
                  <a:lnTo>
                    <a:pt x="216" y="87"/>
                  </a:lnTo>
                  <a:lnTo>
                    <a:pt x="220" y="87"/>
                  </a:lnTo>
                  <a:lnTo>
                    <a:pt x="224" y="87"/>
                  </a:lnTo>
                  <a:lnTo>
                    <a:pt x="224" y="91"/>
                  </a:lnTo>
                  <a:lnTo>
                    <a:pt x="228" y="91"/>
                  </a:lnTo>
                  <a:lnTo>
                    <a:pt x="232" y="95"/>
                  </a:lnTo>
                  <a:lnTo>
                    <a:pt x="232" y="91"/>
                  </a:lnTo>
                  <a:lnTo>
                    <a:pt x="232" y="87"/>
                  </a:lnTo>
                  <a:lnTo>
                    <a:pt x="232" y="91"/>
                  </a:lnTo>
                  <a:lnTo>
                    <a:pt x="236" y="91"/>
                  </a:lnTo>
                  <a:lnTo>
                    <a:pt x="236" y="87"/>
                  </a:lnTo>
                  <a:lnTo>
                    <a:pt x="236" y="83"/>
                  </a:lnTo>
                  <a:lnTo>
                    <a:pt x="240" y="87"/>
                  </a:lnTo>
                  <a:lnTo>
                    <a:pt x="240" y="91"/>
                  </a:lnTo>
                  <a:lnTo>
                    <a:pt x="244" y="91"/>
                  </a:lnTo>
                  <a:lnTo>
                    <a:pt x="244" y="95"/>
                  </a:lnTo>
                  <a:lnTo>
                    <a:pt x="248" y="95"/>
                  </a:lnTo>
                  <a:lnTo>
                    <a:pt x="252" y="99"/>
                  </a:lnTo>
                  <a:lnTo>
                    <a:pt x="256" y="99"/>
                  </a:lnTo>
                  <a:lnTo>
                    <a:pt x="260" y="99"/>
                  </a:lnTo>
                  <a:lnTo>
                    <a:pt x="256" y="99"/>
                  </a:lnTo>
                  <a:lnTo>
                    <a:pt x="256" y="103"/>
                  </a:lnTo>
                  <a:lnTo>
                    <a:pt x="252" y="103"/>
                  </a:lnTo>
                  <a:lnTo>
                    <a:pt x="252" y="107"/>
                  </a:lnTo>
                  <a:lnTo>
                    <a:pt x="248" y="107"/>
                  </a:lnTo>
                  <a:lnTo>
                    <a:pt x="248" y="103"/>
                  </a:lnTo>
                  <a:lnTo>
                    <a:pt x="248" y="107"/>
                  </a:lnTo>
                  <a:lnTo>
                    <a:pt x="244" y="107"/>
                  </a:lnTo>
                  <a:lnTo>
                    <a:pt x="240" y="111"/>
                  </a:lnTo>
                  <a:lnTo>
                    <a:pt x="236" y="115"/>
                  </a:lnTo>
                  <a:lnTo>
                    <a:pt x="232" y="111"/>
                  </a:lnTo>
                  <a:lnTo>
                    <a:pt x="228" y="111"/>
                  </a:lnTo>
                  <a:lnTo>
                    <a:pt x="224" y="111"/>
                  </a:lnTo>
                  <a:lnTo>
                    <a:pt x="220" y="111"/>
                  </a:lnTo>
                  <a:lnTo>
                    <a:pt x="216" y="111"/>
                  </a:lnTo>
                  <a:lnTo>
                    <a:pt x="216" y="107"/>
                  </a:lnTo>
                  <a:lnTo>
                    <a:pt x="220" y="107"/>
                  </a:lnTo>
                  <a:lnTo>
                    <a:pt x="220" y="103"/>
                  </a:lnTo>
                  <a:lnTo>
                    <a:pt x="224" y="103"/>
                  </a:lnTo>
                  <a:lnTo>
                    <a:pt x="224" y="99"/>
                  </a:lnTo>
                  <a:lnTo>
                    <a:pt x="220" y="99"/>
                  </a:lnTo>
                  <a:lnTo>
                    <a:pt x="220" y="95"/>
                  </a:lnTo>
                  <a:lnTo>
                    <a:pt x="216" y="95"/>
                  </a:lnTo>
                  <a:lnTo>
                    <a:pt x="216" y="99"/>
                  </a:lnTo>
                  <a:lnTo>
                    <a:pt x="212" y="99"/>
                  </a:lnTo>
                  <a:lnTo>
                    <a:pt x="212" y="103"/>
                  </a:lnTo>
                  <a:lnTo>
                    <a:pt x="208" y="103"/>
                  </a:lnTo>
                  <a:lnTo>
                    <a:pt x="204" y="103"/>
                  </a:lnTo>
                  <a:lnTo>
                    <a:pt x="204" y="99"/>
                  </a:lnTo>
                  <a:lnTo>
                    <a:pt x="200" y="99"/>
                  </a:lnTo>
                  <a:lnTo>
                    <a:pt x="200" y="103"/>
                  </a:lnTo>
                  <a:lnTo>
                    <a:pt x="200" y="107"/>
                  </a:lnTo>
                  <a:lnTo>
                    <a:pt x="200" y="111"/>
                  </a:lnTo>
                  <a:lnTo>
                    <a:pt x="196" y="111"/>
                  </a:lnTo>
                  <a:lnTo>
                    <a:pt x="192" y="111"/>
                  </a:lnTo>
                  <a:lnTo>
                    <a:pt x="188" y="111"/>
                  </a:lnTo>
                  <a:lnTo>
                    <a:pt x="188" y="115"/>
                  </a:lnTo>
                  <a:lnTo>
                    <a:pt x="192" y="115"/>
                  </a:lnTo>
                  <a:lnTo>
                    <a:pt x="196" y="115"/>
                  </a:lnTo>
                  <a:lnTo>
                    <a:pt x="192" y="115"/>
                  </a:lnTo>
                  <a:lnTo>
                    <a:pt x="192" y="119"/>
                  </a:lnTo>
                  <a:lnTo>
                    <a:pt x="188" y="1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5" name="Freeform 52"/>
            <p:cNvSpPr>
              <a:spLocks noEditPoints="1"/>
            </p:cNvSpPr>
            <p:nvPr>
              <p:custDataLst>
                <p:tags r:id="rId248"/>
              </p:custDataLst>
            </p:nvPr>
          </p:nvSpPr>
          <p:spPr bwMode="gray">
            <a:xfrm>
              <a:off x="6670361" y="3953787"/>
              <a:ext cx="160171" cy="407842"/>
            </a:xfrm>
            <a:custGeom>
              <a:avLst/>
              <a:gdLst/>
              <a:ahLst/>
              <a:cxnLst>
                <a:cxn ang="0">
                  <a:pos x="84" y="131"/>
                </a:cxn>
                <a:cxn ang="0">
                  <a:pos x="92" y="139"/>
                </a:cxn>
                <a:cxn ang="0">
                  <a:pos x="100" y="147"/>
                </a:cxn>
                <a:cxn ang="0">
                  <a:pos x="104" y="159"/>
                </a:cxn>
                <a:cxn ang="0">
                  <a:pos x="104" y="179"/>
                </a:cxn>
                <a:cxn ang="0">
                  <a:pos x="108" y="191"/>
                </a:cxn>
                <a:cxn ang="0">
                  <a:pos x="108" y="207"/>
                </a:cxn>
                <a:cxn ang="0">
                  <a:pos x="104" y="211"/>
                </a:cxn>
                <a:cxn ang="0">
                  <a:pos x="100" y="227"/>
                </a:cxn>
                <a:cxn ang="0">
                  <a:pos x="84" y="235"/>
                </a:cxn>
                <a:cxn ang="0">
                  <a:pos x="68" y="235"/>
                </a:cxn>
                <a:cxn ang="0">
                  <a:pos x="68" y="243"/>
                </a:cxn>
                <a:cxn ang="0">
                  <a:pos x="64" y="247"/>
                </a:cxn>
                <a:cxn ang="0">
                  <a:pos x="60" y="247"/>
                </a:cxn>
                <a:cxn ang="0">
                  <a:pos x="56" y="251"/>
                </a:cxn>
                <a:cxn ang="0">
                  <a:pos x="52" y="263"/>
                </a:cxn>
                <a:cxn ang="0">
                  <a:pos x="36" y="275"/>
                </a:cxn>
                <a:cxn ang="0">
                  <a:pos x="40" y="255"/>
                </a:cxn>
                <a:cxn ang="0">
                  <a:pos x="36" y="243"/>
                </a:cxn>
                <a:cxn ang="0">
                  <a:pos x="44" y="231"/>
                </a:cxn>
                <a:cxn ang="0">
                  <a:pos x="60" y="231"/>
                </a:cxn>
                <a:cxn ang="0">
                  <a:pos x="60" y="219"/>
                </a:cxn>
                <a:cxn ang="0">
                  <a:pos x="68" y="211"/>
                </a:cxn>
                <a:cxn ang="0">
                  <a:pos x="80" y="199"/>
                </a:cxn>
                <a:cxn ang="0">
                  <a:pos x="76" y="175"/>
                </a:cxn>
                <a:cxn ang="0">
                  <a:pos x="80" y="159"/>
                </a:cxn>
                <a:cxn ang="0">
                  <a:pos x="76" y="143"/>
                </a:cxn>
                <a:cxn ang="0">
                  <a:pos x="72" y="131"/>
                </a:cxn>
                <a:cxn ang="0">
                  <a:pos x="64" y="119"/>
                </a:cxn>
                <a:cxn ang="0">
                  <a:pos x="52" y="107"/>
                </a:cxn>
                <a:cxn ang="0">
                  <a:pos x="44" y="91"/>
                </a:cxn>
                <a:cxn ang="0">
                  <a:pos x="28" y="79"/>
                </a:cxn>
                <a:cxn ang="0">
                  <a:pos x="28" y="67"/>
                </a:cxn>
                <a:cxn ang="0">
                  <a:pos x="40" y="63"/>
                </a:cxn>
                <a:cxn ang="0">
                  <a:pos x="28" y="44"/>
                </a:cxn>
                <a:cxn ang="0">
                  <a:pos x="12" y="48"/>
                </a:cxn>
                <a:cxn ang="0">
                  <a:pos x="12" y="36"/>
                </a:cxn>
                <a:cxn ang="0">
                  <a:pos x="0" y="20"/>
                </a:cxn>
                <a:cxn ang="0">
                  <a:pos x="12" y="16"/>
                </a:cxn>
                <a:cxn ang="0">
                  <a:pos x="24" y="12"/>
                </a:cxn>
                <a:cxn ang="0">
                  <a:pos x="40" y="8"/>
                </a:cxn>
                <a:cxn ang="0">
                  <a:pos x="52" y="8"/>
                </a:cxn>
                <a:cxn ang="0">
                  <a:pos x="68" y="16"/>
                </a:cxn>
                <a:cxn ang="0">
                  <a:pos x="76" y="32"/>
                </a:cxn>
                <a:cxn ang="0">
                  <a:pos x="80" y="40"/>
                </a:cxn>
                <a:cxn ang="0">
                  <a:pos x="76" y="44"/>
                </a:cxn>
                <a:cxn ang="0">
                  <a:pos x="68" y="52"/>
                </a:cxn>
                <a:cxn ang="0">
                  <a:pos x="60" y="63"/>
                </a:cxn>
                <a:cxn ang="0">
                  <a:pos x="56" y="75"/>
                </a:cxn>
                <a:cxn ang="0">
                  <a:pos x="56" y="95"/>
                </a:cxn>
                <a:cxn ang="0">
                  <a:pos x="68" y="115"/>
                </a:cxn>
                <a:cxn ang="0">
                  <a:pos x="72" y="239"/>
                </a:cxn>
                <a:cxn ang="0">
                  <a:pos x="76" y="44"/>
                </a:cxn>
                <a:cxn ang="0">
                  <a:pos x="28" y="247"/>
                </a:cxn>
              </a:cxnLst>
              <a:rect l="0" t="0" r="r" b="b"/>
              <a:pathLst>
                <a:path w="108" h="275">
                  <a:moveTo>
                    <a:pt x="72" y="119"/>
                  </a:moveTo>
                  <a:lnTo>
                    <a:pt x="76" y="119"/>
                  </a:lnTo>
                  <a:lnTo>
                    <a:pt x="76" y="123"/>
                  </a:lnTo>
                  <a:lnTo>
                    <a:pt x="80" y="127"/>
                  </a:lnTo>
                  <a:lnTo>
                    <a:pt x="84" y="127"/>
                  </a:lnTo>
                  <a:lnTo>
                    <a:pt x="84" y="131"/>
                  </a:lnTo>
                  <a:lnTo>
                    <a:pt x="88" y="131"/>
                  </a:lnTo>
                  <a:lnTo>
                    <a:pt x="88" y="135"/>
                  </a:lnTo>
                  <a:lnTo>
                    <a:pt x="92" y="135"/>
                  </a:lnTo>
                  <a:lnTo>
                    <a:pt x="88" y="135"/>
                  </a:lnTo>
                  <a:lnTo>
                    <a:pt x="92" y="135"/>
                  </a:lnTo>
                  <a:lnTo>
                    <a:pt x="92" y="139"/>
                  </a:lnTo>
                  <a:lnTo>
                    <a:pt x="92" y="135"/>
                  </a:lnTo>
                  <a:lnTo>
                    <a:pt x="92" y="139"/>
                  </a:lnTo>
                  <a:lnTo>
                    <a:pt x="92" y="143"/>
                  </a:lnTo>
                  <a:lnTo>
                    <a:pt x="96" y="143"/>
                  </a:lnTo>
                  <a:lnTo>
                    <a:pt x="96" y="147"/>
                  </a:lnTo>
                  <a:lnTo>
                    <a:pt x="100" y="147"/>
                  </a:lnTo>
                  <a:lnTo>
                    <a:pt x="100" y="151"/>
                  </a:lnTo>
                  <a:lnTo>
                    <a:pt x="100" y="147"/>
                  </a:lnTo>
                  <a:lnTo>
                    <a:pt x="100" y="151"/>
                  </a:lnTo>
                  <a:lnTo>
                    <a:pt x="100" y="155"/>
                  </a:lnTo>
                  <a:lnTo>
                    <a:pt x="100" y="159"/>
                  </a:lnTo>
                  <a:lnTo>
                    <a:pt x="104" y="159"/>
                  </a:lnTo>
                  <a:lnTo>
                    <a:pt x="104" y="163"/>
                  </a:lnTo>
                  <a:lnTo>
                    <a:pt x="104" y="167"/>
                  </a:lnTo>
                  <a:lnTo>
                    <a:pt x="104" y="171"/>
                  </a:lnTo>
                  <a:lnTo>
                    <a:pt x="108" y="175"/>
                  </a:lnTo>
                  <a:lnTo>
                    <a:pt x="108" y="179"/>
                  </a:lnTo>
                  <a:lnTo>
                    <a:pt x="104" y="179"/>
                  </a:lnTo>
                  <a:lnTo>
                    <a:pt x="108" y="179"/>
                  </a:lnTo>
                  <a:lnTo>
                    <a:pt x="104" y="179"/>
                  </a:lnTo>
                  <a:lnTo>
                    <a:pt x="108" y="179"/>
                  </a:lnTo>
                  <a:lnTo>
                    <a:pt x="108" y="183"/>
                  </a:lnTo>
                  <a:lnTo>
                    <a:pt x="108" y="187"/>
                  </a:lnTo>
                  <a:lnTo>
                    <a:pt x="108" y="191"/>
                  </a:lnTo>
                  <a:lnTo>
                    <a:pt x="108" y="195"/>
                  </a:lnTo>
                  <a:lnTo>
                    <a:pt x="108" y="199"/>
                  </a:lnTo>
                  <a:lnTo>
                    <a:pt x="104" y="199"/>
                  </a:lnTo>
                  <a:lnTo>
                    <a:pt x="104" y="203"/>
                  </a:lnTo>
                  <a:lnTo>
                    <a:pt x="108" y="203"/>
                  </a:lnTo>
                  <a:lnTo>
                    <a:pt x="108" y="207"/>
                  </a:lnTo>
                  <a:lnTo>
                    <a:pt x="108" y="203"/>
                  </a:lnTo>
                  <a:lnTo>
                    <a:pt x="104" y="203"/>
                  </a:lnTo>
                  <a:lnTo>
                    <a:pt x="104" y="207"/>
                  </a:lnTo>
                  <a:lnTo>
                    <a:pt x="104" y="211"/>
                  </a:lnTo>
                  <a:lnTo>
                    <a:pt x="108" y="215"/>
                  </a:lnTo>
                  <a:lnTo>
                    <a:pt x="104" y="211"/>
                  </a:lnTo>
                  <a:lnTo>
                    <a:pt x="104" y="215"/>
                  </a:lnTo>
                  <a:lnTo>
                    <a:pt x="104" y="219"/>
                  </a:lnTo>
                  <a:lnTo>
                    <a:pt x="104" y="223"/>
                  </a:lnTo>
                  <a:lnTo>
                    <a:pt x="100" y="227"/>
                  </a:lnTo>
                  <a:lnTo>
                    <a:pt x="100" y="223"/>
                  </a:lnTo>
                  <a:lnTo>
                    <a:pt x="100" y="227"/>
                  </a:lnTo>
                  <a:lnTo>
                    <a:pt x="96" y="227"/>
                  </a:lnTo>
                  <a:lnTo>
                    <a:pt x="96" y="231"/>
                  </a:lnTo>
                  <a:lnTo>
                    <a:pt x="92" y="231"/>
                  </a:lnTo>
                  <a:lnTo>
                    <a:pt x="88" y="231"/>
                  </a:lnTo>
                  <a:lnTo>
                    <a:pt x="88" y="235"/>
                  </a:lnTo>
                  <a:lnTo>
                    <a:pt x="84" y="235"/>
                  </a:lnTo>
                  <a:lnTo>
                    <a:pt x="84" y="239"/>
                  </a:lnTo>
                  <a:lnTo>
                    <a:pt x="80" y="239"/>
                  </a:lnTo>
                  <a:lnTo>
                    <a:pt x="76" y="243"/>
                  </a:lnTo>
                  <a:lnTo>
                    <a:pt x="76" y="239"/>
                  </a:lnTo>
                  <a:lnTo>
                    <a:pt x="72" y="239"/>
                  </a:lnTo>
                  <a:lnTo>
                    <a:pt x="68" y="235"/>
                  </a:lnTo>
                  <a:lnTo>
                    <a:pt x="68" y="239"/>
                  </a:lnTo>
                  <a:lnTo>
                    <a:pt x="68" y="243"/>
                  </a:lnTo>
                  <a:lnTo>
                    <a:pt x="68" y="239"/>
                  </a:lnTo>
                  <a:lnTo>
                    <a:pt x="68" y="243"/>
                  </a:lnTo>
                  <a:lnTo>
                    <a:pt x="64" y="243"/>
                  </a:lnTo>
                  <a:lnTo>
                    <a:pt x="68" y="243"/>
                  </a:lnTo>
                  <a:lnTo>
                    <a:pt x="68" y="247"/>
                  </a:lnTo>
                  <a:lnTo>
                    <a:pt x="68" y="251"/>
                  </a:lnTo>
                  <a:lnTo>
                    <a:pt x="64" y="247"/>
                  </a:lnTo>
                  <a:lnTo>
                    <a:pt x="64" y="243"/>
                  </a:lnTo>
                  <a:lnTo>
                    <a:pt x="60" y="243"/>
                  </a:lnTo>
                  <a:lnTo>
                    <a:pt x="64" y="247"/>
                  </a:lnTo>
                  <a:lnTo>
                    <a:pt x="64" y="251"/>
                  </a:lnTo>
                  <a:lnTo>
                    <a:pt x="68" y="251"/>
                  </a:lnTo>
                  <a:lnTo>
                    <a:pt x="64" y="251"/>
                  </a:lnTo>
                  <a:lnTo>
                    <a:pt x="60" y="247"/>
                  </a:lnTo>
                  <a:lnTo>
                    <a:pt x="60" y="243"/>
                  </a:lnTo>
                  <a:lnTo>
                    <a:pt x="60" y="247"/>
                  </a:lnTo>
                  <a:lnTo>
                    <a:pt x="60" y="251"/>
                  </a:lnTo>
                  <a:lnTo>
                    <a:pt x="64" y="251"/>
                  </a:lnTo>
                  <a:lnTo>
                    <a:pt x="64" y="255"/>
                  </a:lnTo>
                  <a:lnTo>
                    <a:pt x="64" y="259"/>
                  </a:lnTo>
                  <a:lnTo>
                    <a:pt x="60" y="255"/>
                  </a:lnTo>
                  <a:lnTo>
                    <a:pt x="56" y="251"/>
                  </a:lnTo>
                  <a:lnTo>
                    <a:pt x="56" y="255"/>
                  </a:lnTo>
                  <a:lnTo>
                    <a:pt x="60" y="255"/>
                  </a:lnTo>
                  <a:lnTo>
                    <a:pt x="60" y="259"/>
                  </a:lnTo>
                  <a:lnTo>
                    <a:pt x="60" y="263"/>
                  </a:lnTo>
                  <a:lnTo>
                    <a:pt x="56" y="263"/>
                  </a:lnTo>
                  <a:lnTo>
                    <a:pt x="52" y="263"/>
                  </a:lnTo>
                  <a:lnTo>
                    <a:pt x="52" y="267"/>
                  </a:lnTo>
                  <a:lnTo>
                    <a:pt x="48" y="267"/>
                  </a:lnTo>
                  <a:lnTo>
                    <a:pt x="48" y="271"/>
                  </a:lnTo>
                  <a:lnTo>
                    <a:pt x="44" y="275"/>
                  </a:lnTo>
                  <a:lnTo>
                    <a:pt x="40" y="275"/>
                  </a:lnTo>
                  <a:lnTo>
                    <a:pt x="36" y="275"/>
                  </a:lnTo>
                  <a:lnTo>
                    <a:pt x="40" y="275"/>
                  </a:lnTo>
                  <a:lnTo>
                    <a:pt x="40" y="271"/>
                  </a:lnTo>
                  <a:lnTo>
                    <a:pt x="40" y="267"/>
                  </a:lnTo>
                  <a:lnTo>
                    <a:pt x="40" y="263"/>
                  </a:lnTo>
                  <a:lnTo>
                    <a:pt x="40" y="259"/>
                  </a:lnTo>
                  <a:lnTo>
                    <a:pt x="40" y="255"/>
                  </a:lnTo>
                  <a:lnTo>
                    <a:pt x="40" y="251"/>
                  </a:lnTo>
                  <a:lnTo>
                    <a:pt x="44" y="251"/>
                  </a:lnTo>
                  <a:lnTo>
                    <a:pt x="44" y="247"/>
                  </a:lnTo>
                  <a:lnTo>
                    <a:pt x="40" y="247"/>
                  </a:lnTo>
                  <a:lnTo>
                    <a:pt x="36" y="247"/>
                  </a:lnTo>
                  <a:lnTo>
                    <a:pt x="36" y="243"/>
                  </a:lnTo>
                  <a:lnTo>
                    <a:pt x="32" y="243"/>
                  </a:lnTo>
                  <a:lnTo>
                    <a:pt x="36" y="243"/>
                  </a:lnTo>
                  <a:lnTo>
                    <a:pt x="36" y="239"/>
                  </a:lnTo>
                  <a:lnTo>
                    <a:pt x="40" y="239"/>
                  </a:lnTo>
                  <a:lnTo>
                    <a:pt x="44" y="235"/>
                  </a:lnTo>
                  <a:lnTo>
                    <a:pt x="44" y="231"/>
                  </a:lnTo>
                  <a:lnTo>
                    <a:pt x="48" y="235"/>
                  </a:lnTo>
                  <a:lnTo>
                    <a:pt x="48" y="231"/>
                  </a:lnTo>
                  <a:lnTo>
                    <a:pt x="52" y="231"/>
                  </a:lnTo>
                  <a:lnTo>
                    <a:pt x="56" y="231"/>
                  </a:lnTo>
                  <a:lnTo>
                    <a:pt x="60" y="235"/>
                  </a:lnTo>
                  <a:lnTo>
                    <a:pt x="60" y="231"/>
                  </a:lnTo>
                  <a:lnTo>
                    <a:pt x="56" y="227"/>
                  </a:lnTo>
                  <a:lnTo>
                    <a:pt x="56" y="223"/>
                  </a:lnTo>
                  <a:lnTo>
                    <a:pt x="56" y="219"/>
                  </a:lnTo>
                  <a:lnTo>
                    <a:pt x="56" y="215"/>
                  </a:lnTo>
                  <a:lnTo>
                    <a:pt x="60" y="215"/>
                  </a:lnTo>
                  <a:lnTo>
                    <a:pt x="60" y="219"/>
                  </a:lnTo>
                  <a:lnTo>
                    <a:pt x="64" y="219"/>
                  </a:lnTo>
                  <a:lnTo>
                    <a:pt x="64" y="215"/>
                  </a:lnTo>
                  <a:lnTo>
                    <a:pt x="64" y="211"/>
                  </a:lnTo>
                  <a:lnTo>
                    <a:pt x="68" y="211"/>
                  </a:lnTo>
                  <a:lnTo>
                    <a:pt x="68" y="215"/>
                  </a:lnTo>
                  <a:lnTo>
                    <a:pt x="68" y="211"/>
                  </a:lnTo>
                  <a:lnTo>
                    <a:pt x="72" y="211"/>
                  </a:lnTo>
                  <a:lnTo>
                    <a:pt x="72" y="207"/>
                  </a:lnTo>
                  <a:lnTo>
                    <a:pt x="76" y="207"/>
                  </a:lnTo>
                  <a:lnTo>
                    <a:pt x="80" y="207"/>
                  </a:lnTo>
                  <a:lnTo>
                    <a:pt x="80" y="203"/>
                  </a:lnTo>
                  <a:lnTo>
                    <a:pt x="80" y="199"/>
                  </a:lnTo>
                  <a:lnTo>
                    <a:pt x="80" y="195"/>
                  </a:lnTo>
                  <a:lnTo>
                    <a:pt x="80" y="187"/>
                  </a:lnTo>
                  <a:lnTo>
                    <a:pt x="80" y="183"/>
                  </a:lnTo>
                  <a:lnTo>
                    <a:pt x="80" y="179"/>
                  </a:lnTo>
                  <a:lnTo>
                    <a:pt x="80" y="175"/>
                  </a:lnTo>
                  <a:lnTo>
                    <a:pt x="76" y="175"/>
                  </a:lnTo>
                  <a:lnTo>
                    <a:pt x="76" y="171"/>
                  </a:lnTo>
                  <a:lnTo>
                    <a:pt x="80" y="171"/>
                  </a:lnTo>
                  <a:lnTo>
                    <a:pt x="76" y="167"/>
                  </a:lnTo>
                  <a:lnTo>
                    <a:pt x="80" y="167"/>
                  </a:lnTo>
                  <a:lnTo>
                    <a:pt x="80" y="163"/>
                  </a:lnTo>
                  <a:lnTo>
                    <a:pt x="80" y="159"/>
                  </a:lnTo>
                  <a:lnTo>
                    <a:pt x="80" y="155"/>
                  </a:lnTo>
                  <a:lnTo>
                    <a:pt x="84" y="151"/>
                  </a:lnTo>
                  <a:lnTo>
                    <a:pt x="80" y="151"/>
                  </a:lnTo>
                  <a:lnTo>
                    <a:pt x="80" y="147"/>
                  </a:lnTo>
                  <a:lnTo>
                    <a:pt x="76" y="147"/>
                  </a:lnTo>
                  <a:lnTo>
                    <a:pt x="76" y="143"/>
                  </a:lnTo>
                  <a:lnTo>
                    <a:pt x="76" y="139"/>
                  </a:lnTo>
                  <a:lnTo>
                    <a:pt x="80" y="139"/>
                  </a:lnTo>
                  <a:lnTo>
                    <a:pt x="80" y="135"/>
                  </a:lnTo>
                  <a:lnTo>
                    <a:pt x="76" y="135"/>
                  </a:lnTo>
                  <a:lnTo>
                    <a:pt x="76" y="131"/>
                  </a:lnTo>
                  <a:lnTo>
                    <a:pt x="72" y="131"/>
                  </a:lnTo>
                  <a:lnTo>
                    <a:pt x="72" y="127"/>
                  </a:lnTo>
                  <a:lnTo>
                    <a:pt x="68" y="127"/>
                  </a:lnTo>
                  <a:lnTo>
                    <a:pt x="68" y="131"/>
                  </a:lnTo>
                  <a:lnTo>
                    <a:pt x="64" y="127"/>
                  </a:lnTo>
                  <a:lnTo>
                    <a:pt x="64" y="123"/>
                  </a:lnTo>
                  <a:lnTo>
                    <a:pt x="64" y="119"/>
                  </a:lnTo>
                  <a:lnTo>
                    <a:pt x="64" y="115"/>
                  </a:lnTo>
                  <a:lnTo>
                    <a:pt x="60" y="115"/>
                  </a:lnTo>
                  <a:lnTo>
                    <a:pt x="60" y="111"/>
                  </a:lnTo>
                  <a:lnTo>
                    <a:pt x="56" y="111"/>
                  </a:lnTo>
                  <a:lnTo>
                    <a:pt x="56" y="107"/>
                  </a:lnTo>
                  <a:lnTo>
                    <a:pt x="52" y="107"/>
                  </a:lnTo>
                  <a:lnTo>
                    <a:pt x="52" y="103"/>
                  </a:lnTo>
                  <a:lnTo>
                    <a:pt x="52" y="99"/>
                  </a:lnTo>
                  <a:lnTo>
                    <a:pt x="48" y="99"/>
                  </a:lnTo>
                  <a:lnTo>
                    <a:pt x="48" y="95"/>
                  </a:lnTo>
                  <a:lnTo>
                    <a:pt x="44" y="95"/>
                  </a:lnTo>
                  <a:lnTo>
                    <a:pt x="44" y="91"/>
                  </a:lnTo>
                  <a:lnTo>
                    <a:pt x="44" y="87"/>
                  </a:lnTo>
                  <a:lnTo>
                    <a:pt x="40" y="87"/>
                  </a:lnTo>
                  <a:lnTo>
                    <a:pt x="36" y="87"/>
                  </a:lnTo>
                  <a:lnTo>
                    <a:pt x="36" y="83"/>
                  </a:lnTo>
                  <a:lnTo>
                    <a:pt x="32" y="79"/>
                  </a:lnTo>
                  <a:lnTo>
                    <a:pt x="28" y="79"/>
                  </a:lnTo>
                  <a:lnTo>
                    <a:pt x="24" y="75"/>
                  </a:lnTo>
                  <a:lnTo>
                    <a:pt x="28" y="75"/>
                  </a:lnTo>
                  <a:lnTo>
                    <a:pt x="28" y="71"/>
                  </a:lnTo>
                  <a:lnTo>
                    <a:pt x="28" y="67"/>
                  </a:lnTo>
                  <a:lnTo>
                    <a:pt x="28" y="71"/>
                  </a:lnTo>
                  <a:lnTo>
                    <a:pt x="28" y="67"/>
                  </a:lnTo>
                  <a:lnTo>
                    <a:pt x="32" y="67"/>
                  </a:lnTo>
                  <a:lnTo>
                    <a:pt x="32" y="71"/>
                  </a:lnTo>
                  <a:lnTo>
                    <a:pt x="36" y="71"/>
                  </a:lnTo>
                  <a:lnTo>
                    <a:pt x="36" y="67"/>
                  </a:lnTo>
                  <a:lnTo>
                    <a:pt x="40" y="67"/>
                  </a:lnTo>
                  <a:lnTo>
                    <a:pt x="40" y="63"/>
                  </a:lnTo>
                  <a:lnTo>
                    <a:pt x="40" y="59"/>
                  </a:lnTo>
                  <a:lnTo>
                    <a:pt x="36" y="55"/>
                  </a:lnTo>
                  <a:lnTo>
                    <a:pt x="32" y="55"/>
                  </a:lnTo>
                  <a:lnTo>
                    <a:pt x="36" y="52"/>
                  </a:lnTo>
                  <a:lnTo>
                    <a:pt x="32" y="48"/>
                  </a:lnTo>
                  <a:lnTo>
                    <a:pt x="28" y="44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4" y="16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72" y="28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4" y="32"/>
                  </a:lnTo>
                  <a:lnTo>
                    <a:pt x="88" y="32"/>
                  </a:lnTo>
                  <a:lnTo>
                    <a:pt x="88" y="36"/>
                  </a:lnTo>
                  <a:lnTo>
                    <a:pt x="84" y="36"/>
                  </a:lnTo>
                  <a:lnTo>
                    <a:pt x="80" y="40"/>
                  </a:lnTo>
                  <a:lnTo>
                    <a:pt x="76" y="40"/>
                  </a:lnTo>
                  <a:lnTo>
                    <a:pt x="80" y="44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72" y="44"/>
                  </a:lnTo>
                  <a:lnTo>
                    <a:pt x="76" y="44"/>
                  </a:lnTo>
                  <a:lnTo>
                    <a:pt x="72" y="44"/>
                  </a:lnTo>
                  <a:lnTo>
                    <a:pt x="72" y="48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4" y="55"/>
                  </a:lnTo>
                  <a:lnTo>
                    <a:pt x="64" y="59"/>
                  </a:lnTo>
                  <a:lnTo>
                    <a:pt x="64" y="55"/>
                  </a:lnTo>
                  <a:lnTo>
                    <a:pt x="64" y="59"/>
                  </a:lnTo>
                  <a:lnTo>
                    <a:pt x="60" y="59"/>
                  </a:lnTo>
                  <a:lnTo>
                    <a:pt x="60" y="63"/>
                  </a:lnTo>
                  <a:lnTo>
                    <a:pt x="56" y="63"/>
                  </a:lnTo>
                  <a:lnTo>
                    <a:pt x="56" y="67"/>
                  </a:lnTo>
                  <a:lnTo>
                    <a:pt x="56" y="71"/>
                  </a:lnTo>
                  <a:lnTo>
                    <a:pt x="56" y="75"/>
                  </a:lnTo>
                  <a:lnTo>
                    <a:pt x="52" y="75"/>
                  </a:lnTo>
                  <a:lnTo>
                    <a:pt x="56" y="75"/>
                  </a:lnTo>
                  <a:lnTo>
                    <a:pt x="52" y="79"/>
                  </a:lnTo>
                  <a:lnTo>
                    <a:pt x="52" y="83"/>
                  </a:lnTo>
                  <a:lnTo>
                    <a:pt x="52" y="87"/>
                  </a:lnTo>
                  <a:lnTo>
                    <a:pt x="56" y="87"/>
                  </a:lnTo>
                  <a:lnTo>
                    <a:pt x="56" y="91"/>
                  </a:lnTo>
                  <a:lnTo>
                    <a:pt x="56" y="95"/>
                  </a:lnTo>
                  <a:lnTo>
                    <a:pt x="60" y="95"/>
                  </a:lnTo>
                  <a:lnTo>
                    <a:pt x="64" y="99"/>
                  </a:lnTo>
                  <a:lnTo>
                    <a:pt x="64" y="103"/>
                  </a:lnTo>
                  <a:lnTo>
                    <a:pt x="64" y="107"/>
                  </a:lnTo>
                  <a:lnTo>
                    <a:pt x="68" y="111"/>
                  </a:lnTo>
                  <a:lnTo>
                    <a:pt x="68" y="115"/>
                  </a:lnTo>
                  <a:lnTo>
                    <a:pt x="72" y="115"/>
                  </a:lnTo>
                  <a:lnTo>
                    <a:pt x="72" y="119"/>
                  </a:lnTo>
                  <a:close/>
                  <a:moveTo>
                    <a:pt x="68" y="239"/>
                  </a:moveTo>
                  <a:lnTo>
                    <a:pt x="72" y="239"/>
                  </a:lnTo>
                  <a:lnTo>
                    <a:pt x="68" y="239"/>
                  </a:lnTo>
                  <a:lnTo>
                    <a:pt x="72" y="239"/>
                  </a:lnTo>
                  <a:lnTo>
                    <a:pt x="72" y="243"/>
                  </a:lnTo>
                  <a:lnTo>
                    <a:pt x="68" y="243"/>
                  </a:lnTo>
                  <a:lnTo>
                    <a:pt x="68" y="239"/>
                  </a:lnTo>
                  <a:close/>
                  <a:moveTo>
                    <a:pt x="80" y="40"/>
                  </a:moveTo>
                  <a:lnTo>
                    <a:pt x="80" y="44"/>
                  </a:lnTo>
                  <a:lnTo>
                    <a:pt x="76" y="44"/>
                  </a:lnTo>
                  <a:lnTo>
                    <a:pt x="80" y="40"/>
                  </a:lnTo>
                  <a:close/>
                  <a:moveTo>
                    <a:pt x="72" y="48"/>
                  </a:moveTo>
                  <a:lnTo>
                    <a:pt x="72" y="52"/>
                  </a:lnTo>
                  <a:lnTo>
                    <a:pt x="72" y="48"/>
                  </a:lnTo>
                  <a:close/>
                  <a:moveTo>
                    <a:pt x="28" y="243"/>
                  </a:moveTo>
                  <a:lnTo>
                    <a:pt x="28" y="247"/>
                  </a:lnTo>
                  <a:lnTo>
                    <a:pt x="24" y="243"/>
                  </a:lnTo>
                  <a:lnTo>
                    <a:pt x="28" y="2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6" name="Freeform 53"/>
            <p:cNvSpPr>
              <a:spLocks noEditPoints="1"/>
            </p:cNvSpPr>
            <p:nvPr>
              <p:custDataLst>
                <p:tags r:id="rId249"/>
              </p:custDataLst>
            </p:nvPr>
          </p:nvSpPr>
          <p:spPr bwMode="gray">
            <a:xfrm>
              <a:off x="5156152" y="3686836"/>
              <a:ext cx="17797" cy="35594"/>
            </a:xfrm>
            <a:custGeom>
              <a:avLst/>
              <a:gdLst/>
              <a:ahLst/>
              <a:cxnLst>
                <a:cxn ang="0">
                  <a:pos x="12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</a:cxnLst>
              <a:rect l="0" t="0" r="r" b="b"/>
              <a:pathLst>
                <a:path w="12" h="24">
                  <a:moveTo>
                    <a:pt x="12" y="8"/>
                  </a:move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close/>
                  <a:moveTo>
                    <a:pt x="8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7" name="Freeform 54"/>
            <p:cNvSpPr>
              <a:spLocks noEditPoints="1"/>
            </p:cNvSpPr>
            <p:nvPr>
              <p:custDataLst>
                <p:tags r:id="rId250"/>
              </p:custDataLst>
            </p:nvPr>
          </p:nvSpPr>
          <p:spPr bwMode="gray">
            <a:xfrm>
              <a:off x="5328188" y="4076882"/>
              <a:ext cx="271400" cy="189832"/>
            </a:xfrm>
            <a:custGeom>
              <a:avLst/>
              <a:gdLst/>
              <a:ahLst/>
              <a:cxnLst>
                <a:cxn ang="0">
                  <a:pos x="68" y="100"/>
                </a:cxn>
                <a:cxn ang="0">
                  <a:pos x="60" y="104"/>
                </a:cxn>
                <a:cxn ang="0">
                  <a:pos x="48" y="104"/>
                </a:cxn>
                <a:cxn ang="0">
                  <a:pos x="44" y="108"/>
                </a:cxn>
                <a:cxn ang="0">
                  <a:pos x="44" y="112"/>
                </a:cxn>
                <a:cxn ang="0">
                  <a:pos x="40" y="116"/>
                </a:cxn>
                <a:cxn ang="0">
                  <a:pos x="36" y="116"/>
                </a:cxn>
                <a:cxn ang="0">
                  <a:pos x="32" y="116"/>
                </a:cxn>
                <a:cxn ang="0">
                  <a:pos x="28" y="116"/>
                </a:cxn>
                <a:cxn ang="0">
                  <a:pos x="20" y="116"/>
                </a:cxn>
                <a:cxn ang="0">
                  <a:pos x="16" y="116"/>
                </a:cxn>
                <a:cxn ang="0">
                  <a:pos x="16" y="108"/>
                </a:cxn>
                <a:cxn ang="0">
                  <a:pos x="12" y="100"/>
                </a:cxn>
                <a:cxn ang="0">
                  <a:pos x="12" y="96"/>
                </a:cxn>
                <a:cxn ang="0">
                  <a:pos x="12" y="88"/>
                </a:cxn>
                <a:cxn ang="0">
                  <a:pos x="8" y="76"/>
                </a:cxn>
                <a:cxn ang="0">
                  <a:pos x="8" y="72"/>
                </a:cxn>
                <a:cxn ang="0">
                  <a:pos x="4" y="68"/>
                </a:cxn>
                <a:cxn ang="0">
                  <a:pos x="4" y="64"/>
                </a:cxn>
                <a:cxn ang="0">
                  <a:pos x="4" y="60"/>
                </a:cxn>
                <a:cxn ang="0">
                  <a:pos x="8" y="52"/>
                </a:cxn>
                <a:cxn ang="0">
                  <a:pos x="8" y="48"/>
                </a:cxn>
                <a:cxn ang="0">
                  <a:pos x="12" y="44"/>
                </a:cxn>
                <a:cxn ang="0">
                  <a:pos x="12" y="28"/>
                </a:cxn>
                <a:cxn ang="0">
                  <a:pos x="16" y="28"/>
                </a:cxn>
                <a:cxn ang="0">
                  <a:pos x="20" y="28"/>
                </a:cxn>
                <a:cxn ang="0">
                  <a:pos x="32" y="28"/>
                </a:cxn>
                <a:cxn ang="0">
                  <a:pos x="64" y="32"/>
                </a:cxn>
                <a:cxn ang="0">
                  <a:pos x="84" y="24"/>
                </a:cxn>
                <a:cxn ang="0">
                  <a:pos x="155" y="28"/>
                </a:cxn>
                <a:cxn ang="0">
                  <a:pos x="159" y="44"/>
                </a:cxn>
                <a:cxn ang="0">
                  <a:pos x="151" y="48"/>
                </a:cxn>
                <a:cxn ang="0">
                  <a:pos x="147" y="52"/>
                </a:cxn>
                <a:cxn ang="0">
                  <a:pos x="143" y="64"/>
                </a:cxn>
                <a:cxn ang="0">
                  <a:pos x="136" y="68"/>
                </a:cxn>
                <a:cxn ang="0">
                  <a:pos x="128" y="72"/>
                </a:cxn>
                <a:cxn ang="0">
                  <a:pos x="120" y="72"/>
                </a:cxn>
                <a:cxn ang="0">
                  <a:pos x="112" y="76"/>
                </a:cxn>
                <a:cxn ang="0">
                  <a:pos x="100" y="84"/>
                </a:cxn>
                <a:cxn ang="0">
                  <a:pos x="96" y="92"/>
                </a:cxn>
                <a:cxn ang="0">
                  <a:pos x="88" y="92"/>
                </a:cxn>
                <a:cxn ang="0">
                  <a:pos x="84" y="92"/>
                </a:cxn>
                <a:cxn ang="0">
                  <a:pos x="84" y="92"/>
                </a:cxn>
                <a:cxn ang="0">
                  <a:pos x="80" y="96"/>
                </a:cxn>
                <a:cxn ang="0">
                  <a:pos x="72" y="100"/>
                </a:cxn>
                <a:cxn ang="0">
                  <a:pos x="147" y="124"/>
                </a:cxn>
                <a:cxn ang="0">
                  <a:pos x="147" y="124"/>
                </a:cxn>
                <a:cxn ang="0">
                  <a:pos x="147" y="124"/>
                </a:cxn>
                <a:cxn ang="0">
                  <a:pos x="151" y="128"/>
                </a:cxn>
                <a:cxn ang="0">
                  <a:pos x="4" y="64"/>
                </a:cxn>
                <a:cxn ang="0">
                  <a:pos x="4" y="68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179" y="120"/>
                </a:cxn>
                <a:cxn ang="0">
                  <a:pos x="171" y="124"/>
                </a:cxn>
                <a:cxn ang="0">
                  <a:pos x="163" y="120"/>
                </a:cxn>
                <a:cxn ang="0">
                  <a:pos x="167" y="116"/>
                </a:cxn>
                <a:cxn ang="0">
                  <a:pos x="175" y="116"/>
                </a:cxn>
              </a:cxnLst>
              <a:rect l="0" t="0" r="r" b="b"/>
              <a:pathLst>
                <a:path w="183" h="128">
                  <a:moveTo>
                    <a:pt x="72" y="100"/>
                  </a:moveTo>
                  <a:lnTo>
                    <a:pt x="72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4" y="108"/>
                  </a:lnTo>
                  <a:lnTo>
                    <a:pt x="44" y="108"/>
                  </a:lnTo>
                  <a:lnTo>
                    <a:pt x="44" y="108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6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28" y="116"/>
                  </a:lnTo>
                  <a:lnTo>
                    <a:pt x="28" y="116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16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80" y="28"/>
                  </a:lnTo>
                  <a:lnTo>
                    <a:pt x="84" y="24"/>
                  </a:lnTo>
                  <a:lnTo>
                    <a:pt x="88" y="16"/>
                  </a:lnTo>
                  <a:lnTo>
                    <a:pt x="100" y="4"/>
                  </a:lnTo>
                  <a:lnTo>
                    <a:pt x="128" y="4"/>
                  </a:lnTo>
                  <a:lnTo>
                    <a:pt x="132" y="0"/>
                  </a:lnTo>
                  <a:lnTo>
                    <a:pt x="143" y="0"/>
                  </a:lnTo>
                  <a:lnTo>
                    <a:pt x="155" y="28"/>
                  </a:lnTo>
                  <a:lnTo>
                    <a:pt x="155" y="32"/>
                  </a:lnTo>
                  <a:lnTo>
                    <a:pt x="163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47" y="48"/>
                  </a:lnTo>
                  <a:lnTo>
                    <a:pt x="147" y="52"/>
                  </a:lnTo>
                  <a:lnTo>
                    <a:pt x="147" y="56"/>
                  </a:lnTo>
                  <a:lnTo>
                    <a:pt x="147" y="56"/>
                  </a:lnTo>
                  <a:lnTo>
                    <a:pt x="147" y="60"/>
                  </a:lnTo>
                  <a:lnTo>
                    <a:pt x="147" y="60"/>
                  </a:lnTo>
                  <a:lnTo>
                    <a:pt x="147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39" y="64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36" y="68"/>
                  </a:lnTo>
                  <a:lnTo>
                    <a:pt x="136" y="68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2" y="76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4" y="80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8"/>
                  </a:lnTo>
                  <a:lnTo>
                    <a:pt x="96" y="88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0" y="92"/>
                  </a:lnTo>
                  <a:lnTo>
                    <a:pt x="80" y="92"/>
                  </a:lnTo>
                  <a:lnTo>
                    <a:pt x="80" y="92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76" y="96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2" y="100"/>
                  </a:lnTo>
                  <a:lnTo>
                    <a:pt x="72" y="100"/>
                  </a:lnTo>
                  <a:close/>
                  <a:moveTo>
                    <a:pt x="151" y="128"/>
                  </a:moveTo>
                  <a:lnTo>
                    <a:pt x="147" y="128"/>
                  </a:lnTo>
                  <a:lnTo>
                    <a:pt x="147" y="128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51" y="124"/>
                  </a:lnTo>
                  <a:lnTo>
                    <a:pt x="151" y="124"/>
                  </a:lnTo>
                  <a:lnTo>
                    <a:pt x="151" y="128"/>
                  </a:lnTo>
                  <a:lnTo>
                    <a:pt x="151" y="128"/>
                  </a:lnTo>
                  <a:lnTo>
                    <a:pt x="151" y="128"/>
                  </a:lnTo>
                  <a:close/>
                  <a:moveTo>
                    <a:pt x="4" y="68"/>
                  </a:moveTo>
                  <a:lnTo>
                    <a:pt x="4" y="68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close/>
                  <a:moveTo>
                    <a:pt x="4" y="92"/>
                  </a:move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close/>
                  <a:moveTo>
                    <a:pt x="179" y="116"/>
                  </a:moveTo>
                  <a:lnTo>
                    <a:pt x="179" y="116"/>
                  </a:lnTo>
                  <a:lnTo>
                    <a:pt x="183" y="120"/>
                  </a:lnTo>
                  <a:lnTo>
                    <a:pt x="183" y="120"/>
                  </a:lnTo>
                  <a:lnTo>
                    <a:pt x="179" y="120"/>
                  </a:lnTo>
                  <a:lnTo>
                    <a:pt x="179" y="120"/>
                  </a:lnTo>
                  <a:lnTo>
                    <a:pt x="179" y="124"/>
                  </a:lnTo>
                  <a:lnTo>
                    <a:pt x="175" y="124"/>
                  </a:lnTo>
                  <a:lnTo>
                    <a:pt x="175" y="124"/>
                  </a:lnTo>
                  <a:lnTo>
                    <a:pt x="175" y="124"/>
                  </a:lnTo>
                  <a:lnTo>
                    <a:pt x="171" y="124"/>
                  </a:lnTo>
                  <a:lnTo>
                    <a:pt x="171" y="124"/>
                  </a:lnTo>
                  <a:lnTo>
                    <a:pt x="171" y="124"/>
                  </a:lnTo>
                  <a:lnTo>
                    <a:pt x="167" y="124"/>
                  </a:lnTo>
                  <a:lnTo>
                    <a:pt x="167" y="124"/>
                  </a:lnTo>
                  <a:lnTo>
                    <a:pt x="167" y="120"/>
                  </a:lnTo>
                  <a:lnTo>
                    <a:pt x="163" y="120"/>
                  </a:lnTo>
                  <a:lnTo>
                    <a:pt x="167" y="120"/>
                  </a:lnTo>
                  <a:lnTo>
                    <a:pt x="167" y="120"/>
                  </a:lnTo>
                  <a:lnTo>
                    <a:pt x="167" y="120"/>
                  </a:lnTo>
                  <a:lnTo>
                    <a:pt x="167" y="116"/>
                  </a:lnTo>
                  <a:lnTo>
                    <a:pt x="167" y="116"/>
                  </a:lnTo>
                  <a:lnTo>
                    <a:pt x="167" y="116"/>
                  </a:lnTo>
                  <a:lnTo>
                    <a:pt x="171" y="116"/>
                  </a:lnTo>
                  <a:lnTo>
                    <a:pt x="171" y="116"/>
                  </a:lnTo>
                  <a:lnTo>
                    <a:pt x="171" y="116"/>
                  </a:lnTo>
                  <a:lnTo>
                    <a:pt x="171" y="120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9" y="116"/>
                  </a:lnTo>
                  <a:lnTo>
                    <a:pt x="179" y="1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8" name="Freeform 55"/>
            <p:cNvSpPr>
              <a:spLocks/>
            </p:cNvSpPr>
            <p:nvPr>
              <p:custDataLst>
                <p:tags r:id="rId251"/>
              </p:custDataLst>
            </p:nvPr>
          </p:nvSpPr>
          <p:spPr bwMode="gray">
            <a:xfrm>
              <a:off x="2802530" y="4248918"/>
              <a:ext cx="5932" cy="5932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</a:cxnLst>
              <a:rect l="0" t="0" r="r" b="b"/>
              <a:pathLst>
                <a:path w="4" h="4">
                  <a:moveTo>
                    <a:pt x="4" y="4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59" name="Freeform 56"/>
            <p:cNvSpPr>
              <a:spLocks noEditPoints="1"/>
            </p:cNvSpPr>
            <p:nvPr>
              <p:custDataLst>
                <p:tags r:id="rId252"/>
              </p:custDataLst>
            </p:nvPr>
          </p:nvSpPr>
          <p:spPr bwMode="gray">
            <a:xfrm>
              <a:off x="2370958" y="4088747"/>
              <a:ext cx="34110" cy="71187"/>
            </a:xfrm>
            <a:custGeom>
              <a:avLst/>
              <a:gdLst/>
              <a:ahLst/>
              <a:cxnLst>
                <a:cxn ang="0">
                  <a:pos x="15" y="0"/>
                </a:cxn>
                <a:cxn ang="0">
                  <a:pos x="15" y="4"/>
                </a:cxn>
                <a:cxn ang="0">
                  <a:pos x="19" y="4"/>
                </a:cxn>
                <a:cxn ang="0">
                  <a:pos x="19" y="4"/>
                </a:cxn>
                <a:cxn ang="0">
                  <a:pos x="19" y="8"/>
                </a:cxn>
                <a:cxn ang="0">
                  <a:pos x="15" y="12"/>
                </a:cxn>
                <a:cxn ang="0">
                  <a:pos x="15" y="12"/>
                </a:cxn>
                <a:cxn ang="0">
                  <a:pos x="15" y="12"/>
                </a:cxn>
                <a:cxn ang="0">
                  <a:pos x="15" y="16"/>
                </a:cxn>
                <a:cxn ang="0">
                  <a:pos x="15" y="16"/>
                </a:cxn>
                <a:cxn ang="0">
                  <a:pos x="15" y="16"/>
                </a:cxn>
                <a:cxn ang="0">
                  <a:pos x="15" y="20"/>
                </a:cxn>
                <a:cxn ang="0">
                  <a:pos x="15" y="24"/>
                </a:cxn>
                <a:cxn ang="0">
                  <a:pos x="15" y="24"/>
                </a:cxn>
                <a:cxn ang="0">
                  <a:pos x="15" y="24"/>
                </a:cxn>
                <a:cxn ang="0">
                  <a:pos x="15" y="28"/>
                </a:cxn>
                <a:cxn ang="0">
                  <a:pos x="15" y="28"/>
                </a:cxn>
                <a:cxn ang="0">
                  <a:pos x="15" y="28"/>
                </a:cxn>
                <a:cxn ang="0">
                  <a:pos x="15" y="32"/>
                </a:cxn>
                <a:cxn ang="0">
                  <a:pos x="15" y="36"/>
                </a:cxn>
                <a:cxn ang="0">
                  <a:pos x="15" y="36"/>
                </a:cxn>
                <a:cxn ang="0">
                  <a:pos x="15" y="36"/>
                </a:cxn>
                <a:cxn ang="0">
                  <a:pos x="12" y="40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8" y="48"/>
                </a:cxn>
                <a:cxn ang="0">
                  <a:pos x="8" y="48"/>
                </a:cxn>
                <a:cxn ang="0">
                  <a:pos x="4" y="48"/>
                </a:cxn>
                <a:cxn ang="0">
                  <a:pos x="0" y="48"/>
                </a:cxn>
                <a:cxn ang="0">
                  <a:pos x="0" y="44"/>
                </a:cxn>
                <a:cxn ang="0">
                  <a:pos x="4" y="28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5" y="0"/>
                </a:cxn>
                <a:cxn ang="0">
                  <a:pos x="15" y="0"/>
                </a:cxn>
                <a:cxn ang="0">
                  <a:pos x="19" y="8"/>
                </a:cxn>
                <a:cxn ang="0">
                  <a:pos x="19" y="12"/>
                </a:cxn>
                <a:cxn ang="0">
                  <a:pos x="19" y="12"/>
                </a:cxn>
                <a:cxn ang="0">
                  <a:pos x="19" y="12"/>
                </a:cxn>
                <a:cxn ang="0">
                  <a:pos x="19" y="12"/>
                </a:cxn>
                <a:cxn ang="0">
                  <a:pos x="23" y="8"/>
                </a:cxn>
                <a:cxn ang="0">
                  <a:pos x="23" y="8"/>
                </a:cxn>
                <a:cxn ang="0">
                  <a:pos x="19" y="8"/>
                </a:cxn>
                <a:cxn ang="0">
                  <a:pos x="19" y="24"/>
                </a:cxn>
                <a:cxn ang="0">
                  <a:pos x="19" y="24"/>
                </a:cxn>
                <a:cxn ang="0">
                  <a:pos x="23" y="16"/>
                </a:cxn>
                <a:cxn ang="0">
                  <a:pos x="23" y="20"/>
                </a:cxn>
                <a:cxn ang="0">
                  <a:pos x="23" y="20"/>
                </a:cxn>
                <a:cxn ang="0">
                  <a:pos x="23" y="20"/>
                </a:cxn>
                <a:cxn ang="0">
                  <a:pos x="23" y="20"/>
                </a:cxn>
                <a:cxn ang="0">
                  <a:pos x="19" y="20"/>
                </a:cxn>
                <a:cxn ang="0">
                  <a:pos x="19" y="24"/>
                </a:cxn>
              </a:cxnLst>
              <a:rect l="0" t="0" r="r" b="b"/>
              <a:pathLst>
                <a:path w="23" h="48">
                  <a:moveTo>
                    <a:pt x="15" y="0"/>
                  </a:moveTo>
                  <a:lnTo>
                    <a:pt x="15" y="0"/>
                  </a:lnTo>
                  <a:lnTo>
                    <a:pt x="15" y="0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4" y="40"/>
                  </a:lnTo>
                  <a:lnTo>
                    <a:pt x="4" y="28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close/>
                  <a:moveTo>
                    <a:pt x="19" y="8"/>
                  </a:moveTo>
                  <a:lnTo>
                    <a:pt x="19" y="8"/>
                  </a:lnTo>
                  <a:lnTo>
                    <a:pt x="19" y="8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19" y="8"/>
                  </a:lnTo>
                  <a:lnTo>
                    <a:pt x="19" y="8"/>
                  </a:lnTo>
                  <a:close/>
                  <a:moveTo>
                    <a:pt x="19" y="24"/>
                  </a:move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0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9" y="24"/>
                  </a:lnTo>
                  <a:lnTo>
                    <a:pt x="19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0" name="Freeform 57"/>
            <p:cNvSpPr>
              <a:spLocks/>
            </p:cNvSpPr>
            <p:nvPr>
              <p:custDataLst>
                <p:tags r:id="rId253"/>
              </p:custDataLst>
            </p:nvPr>
          </p:nvSpPr>
          <p:spPr bwMode="gray">
            <a:xfrm>
              <a:off x="2919692" y="3692768"/>
              <a:ext cx="5932" cy="5932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1" name="Freeform 58"/>
            <p:cNvSpPr>
              <a:spLocks noEditPoints="1"/>
            </p:cNvSpPr>
            <p:nvPr>
              <p:custDataLst>
                <p:tags r:id="rId254"/>
              </p:custDataLst>
            </p:nvPr>
          </p:nvSpPr>
          <p:spPr bwMode="gray">
            <a:xfrm>
              <a:off x="1211202" y="1840422"/>
              <a:ext cx="1981373" cy="1573530"/>
            </a:xfrm>
            <a:custGeom>
              <a:avLst/>
              <a:gdLst/>
              <a:ahLst/>
              <a:cxnLst>
                <a:cxn ang="0">
                  <a:pos x="734" y="595"/>
                </a:cxn>
                <a:cxn ang="0">
                  <a:pos x="929" y="858"/>
                </a:cxn>
                <a:cxn ang="0">
                  <a:pos x="1041" y="610"/>
                </a:cxn>
                <a:cxn ang="0">
                  <a:pos x="1164" y="650"/>
                </a:cxn>
                <a:cxn ang="0">
                  <a:pos x="1260" y="774"/>
                </a:cxn>
                <a:cxn ang="0">
                  <a:pos x="1109" y="898"/>
                </a:cxn>
                <a:cxn ang="0">
                  <a:pos x="1156" y="1010"/>
                </a:cxn>
                <a:cxn ang="0">
                  <a:pos x="877" y="1045"/>
                </a:cxn>
                <a:cxn ang="0">
                  <a:pos x="267" y="890"/>
                </a:cxn>
                <a:cxn ang="0">
                  <a:pos x="187" y="790"/>
                </a:cxn>
                <a:cxn ang="0">
                  <a:pos x="44" y="415"/>
                </a:cxn>
                <a:cxn ang="0">
                  <a:pos x="223" y="403"/>
                </a:cxn>
                <a:cxn ang="0">
                  <a:pos x="506" y="471"/>
                </a:cxn>
                <a:cxn ang="0">
                  <a:pos x="678" y="463"/>
                </a:cxn>
                <a:cxn ang="0">
                  <a:pos x="738" y="387"/>
                </a:cxn>
                <a:cxn ang="0">
                  <a:pos x="905" y="427"/>
                </a:cxn>
                <a:cxn ang="0">
                  <a:pos x="163" y="798"/>
                </a:cxn>
                <a:cxn ang="0">
                  <a:pos x="554" y="215"/>
                </a:cxn>
                <a:cxn ang="0">
                  <a:pos x="478" y="447"/>
                </a:cxn>
                <a:cxn ang="0">
                  <a:pos x="215" y="870"/>
                </a:cxn>
                <a:cxn ang="0">
                  <a:pos x="718" y="120"/>
                </a:cxn>
                <a:cxn ang="0">
                  <a:pos x="794" y="88"/>
                </a:cxn>
                <a:cxn ang="0">
                  <a:pos x="606" y="156"/>
                </a:cxn>
                <a:cxn ang="0">
                  <a:pos x="439" y="183"/>
                </a:cxn>
                <a:cxn ang="0">
                  <a:pos x="307" y="199"/>
                </a:cxn>
                <a:cxn ang="0">
                  <a:pos x="821" y="259"/>
                </a:cxn>
                <a:cxn ang="0">
                  <a:pos x="762" y="219"/>
                </a:cxn>
                <a:cxn ang="0">
                  <a:pos x="387" y="223"/>
                </a:cxn>
                <a:cxn ang="0">
                  <a:pos x="419" y="267"/>
                </a:cxn>
                <a:cxn ang="0">
                  <a:pos x="602" y="211"/>
                </a:cxn>
                <a:cxn ang="0">
                  <a:pos x="702" y="227"/>
                </a:cxn>
                <a:cxn ang="0">
                  <a:pos x="331" y="279"/>
                </a:cxn>
                <a:cxn ang="0">
                  <a:pos x="654" y="307"/>
                </a:cxn>
                <a:cxn ang="0">
                  <a:pos x="1045" y="555"/>
                </a:cxn>
                <a:cxn ang="0">
                  <a:pos x="1005" y="415"/>
                </a:cxn>
                <a:cxn ang="0">
                  <a:pos x="782" y="363"/>
                </a:cxn>
                <a:cxn ang="0">
                  <a:pos x="857" y="311"/>
                </a:cxn>
                <a:cxn ang="0">
                  <a:pos x="993" y="319"/>
                </a:cxn>
                <a:cxn ang="0">
                  <a:pos x="1061" y="375"/>
                </a:cxn>
                <a:cxn ang="0">
                  <a:pos x="1113" y="431"/>
                </a:cxn>
                <a:cxn ang="0">
                  <a:pos x="1200" y="487"/>
                </a:cxn>
                <a:cxn ang="0">
                  <a:pos x="1105" y="511"/>
                </a:cxn>
                <a:cxn ang="0">
                  <a:pos x="945" y="311"/>
                </a:cxn>
                <a:cxn ang="0">
                  <a:pos x="391" y="299"/>
                </a:cxn>
                <a:cxn ang="0">
                  <a:pos x="602" y="387"/>
                </a:cxn>
                <a:cxn ang="0">
                  <a:pos x="423" y="375"/>
                </a:cxn>
                <a:cxn ang="0">
                  <a:pos x="929" y="395"/>
                </a:cxn>
                <a:cxn ang="0">
                  <a:pos x="941" y="431"/>
                </a:cxn>
                <a:cxn ang="0">
                  <a:pos x="841" y="511"/>
                </a:cxn>
                <a:cxn ang="0">
                  <a:pos x="881" y="591"/>
                </a:cxn>
                <a:cxn ang="0">
                  <a:pos x="933" y="746"/>
                </a:cxn>
                <a:cxn ang="0">
                  <a:pos x="191" y="818"/>
                </a:cxn>
                <a:cxn ang="0">
                  <a:pos x="1296" y="902"/>
                </a:cxn>
                <a:cxn ang="0">
                  <a:pos x="263" y="906"/>
                </a:cxn>
                <a:cxn ang="0">
                  <a:pos x="1192" y="962"/>
                </a:cxn>
                <a:cxn ang="0">
                  <a:pos x="845" y="60"/>
                </a:cxn>
                <a:cxn ang="0">
                  <a:pos x="885" y="32"/>
                </a:cxn>
                <a:cxn ang="0">
                  <a:pos x="1077" y="4"/>
                </a:cxn>
                <a:cxn ang="0">
                  <a:pos x="1141" y="52"/>
                </a:cxn>
                <a:cxn ang="0">
                  <a:pos x="957" y="124"/>
                </a:cxn>
                <a:cxn ang="0">
                  <a:pos x="917" y="215"/>
                </a:cxn>
                <a:cxn ang="0">
                  <a:pos x="861" y="175"/>
                </a:cxn>
                <a:cxn ang="0">
                  <a:pos x="837" y="92"/>
                </a:cxn>
              </a:cxnLst>
              <a:rect l="0" t="0" r="r" b="b"/>
              <a:pathLst>
                <a:path w="1336" h="1061">
                  <a:moveTo>
                    <a:pt x="642" y="271"/>
                  </a:moveTo>
                  <a:lnTo>
                    <a:pt x="638" y="271"/>
                  </a:lnTo>
                  <a:lnTo>
                    <a:pt x="642" y="267"/>
                  </a:lnTo>
                  <a:lnTo>
                    <a:pt x="642" y="271"/>
                  </a:lnTo>
                  <a:close/>
                  <a:moveTo>
                    <a:pt x="654" y="275"/>
                  </a:moveTo>
                  <a:lnTo>
                    <a:pt x="654" y="279"/>
                  </a:lnTo>
                  <a:lnTo>
                    <a:pt x="650" y="283"/>
                  </a:lnTo>
                  <a:lnTo>
                    <a:pt x="646" y="283"/>
                  </a:lnTo>
                  <a:lnTo>
                    <a:pt x="642" y="283"/>
                  </a:lnTo>
                  <a:lnTo>
                    <a:pt x="638" y="283"/>
                  </a:lnTo>
                  <a:lnTo>
                    <a:pt x="634" y="283"/>
                  </a:lnTo>
                  <a:lnTo>
                    <a:pt x="630" y="283"/>
                  </a:lnTo>
                  <a:lnTo>
                    <a:pt x="630" y="279"/>
                  </a:lnTo>
                  <a:lnTo>
                    <a:pt x="634" y="279"/>
                  </a:lnTo>
                  <a:lnTo>
                    <a:pt x="638" y="279"/>
                  </a:lnTo>
                  <a:lnTo>
                    <a:pt x="642" y="279"/>
                  </a:lnTo>
                  <a:lnTo>
                    <a:pt x="646" y="279"/>
                  </a:lnTo>
                  <a:lnTo>
                    <a:pt x="646" y="275"/>
                  </a:lnTo>
                  <a:lnTo>
                    <a:pt x="650" y="275"/>
                  </a:lnTo>
                  <a:lnTo>
                    <a:pt x="654" y="275"/>
                  </a:lnTo>
                  <a:close/>
                  <a:moveTo>
                    <a:pt x="817" y="511"/>
                  </a:moveTo>
                  <a:lnTo>
                    <a:pt x="813" y="511"/>
                  </a:lnTo>
                  <a:lnTo>
                    <a:pt x="813" y="515"/>
                  </a:lnTo>
                  <a:lnTo>
                    <a:pt x="809" y="515"/>
                  </a:lnTo>
                  <a:lnTo>
                    <a:pt x="805" y="515"/>
                  </a:lnTo>
                  <a:lnTo>
                    <a:pt x="801" y="515"/>
                  </a:lnTo>
                  <a:lnTo>
                    <a:pt x="797" y="511"/>
                  </a:lnTo>
                  <a:lnTo>
                    <a:pt x="794" y="507"/>
                  </a:lnTo>
                  <a:lnTo>
                    <a:pt x="790" y="507"/>
                  </a:lnTo>
                  <a:lnTo>
                    <a:pt x="794" y="507"/>
                  </a:lnTo>
                  <a:lnTo>
                    <a:pt x="790" y="507"/>
                  </a:lnTo>
                  <a:lnTo>
                    <a:pt x="786" y="507"/>
                  </a:lnTo>
                  <a:lnTo>
                    <a:pt x="786" y="503"/>
                  </a:lnTo>
                  <a:lnTo>
                    <a:pt x="782" y="503"/>
                  </a:lnTo>
                  <a:lnTo>
                    <a:pt x="778" y="499"/>
                  </a:lnTo>
                  <a:lnTo>
                    <a:pt x="774" y="499"/>
                  </a:lnTo>
                  <a:lnTo>
                    <a:pt x="770" y="499"/>
                  </a:lnTo>
                  <a:lnTo>
                    <a:pt x="774" y="499"/>
                  </a:lnTo>
                  <a:lnTo>
                    <a:pt x="774" y="503"/>
                  </a:lnTo>
                  <a:lnTo>
                    <a:pt x="770" y="499"/>
                  </a:lnTo>
                  <a:lnTo>
                    <a:pt x="770" y="503"/>
                  </a:lnTo>
                  <a:lnTo>
                    <a:pt x="766" y="503"/>
                  </a:lnTo>
                  <a:lnTo>
                    <a:pt x="766" y="499"/>
                  </a:lnTo>
                  <a:lnTo>
                    <a:pt x="770" y="499"/>
                  </a:lnTo>
                  <a:lnTo>
                    <a:pt x="766" y="499"/>
                  </a:lnTo>
                  <a:lnTo>
                    <a:pt x="762" y="499"/>
                  </a:lnTo>
                  <a:lnTo>
                    <a:pt x="758" y="499"/>
                  </a:lnTo>
                  <a:lnTo>
                    <a:pt x="754" y="499"/>
                  </a:lnTo>
                  <a:lnTo>
                    <a:pt x="750" y="499"/>
                  </a:lnTo>
                  <a:lnTo>
                    <a:pt x="754" y="503"/>
                  </a:lnTo>
                  <a:lnTo>
                    <a:pt x="758" y="503"/>
                  </a:lnTo>
                  <a:lnTo>
                    <a:pt x="754" y="503"/>
                  </a:lnTo>
                  <a:lnTo>
                    <a:pt x="754" y="499"/>
                  </a:lnTo>
                  <a:lnTo>
                    <a:pt x="758" y="499"/>
                  </a:lnTo>
                  <a:lnTo>
                    <a:pt x="762" y="499"/>
                  </a:lnTo>
                  <a:lnTo>
                    <a:pt x="770" y="503"/>
                  </a:lnTo>
                  <a:lnTo>
                    <a:pt x="774" y="503"/>
                  </a:lnTo>
                  <a:lnTo>
                    <a:pt x="778" y="503"/>
                  </a:lnTo>
                  <a:lnTo>
                    <a:pt x="778" y="507"/>
                  </a:lnTo>
                  <a:lnTo>
                    <a:pt x="782" y="511"/>
                  </a:lnTo>
                  <a:lnTo>
                    <a:pt x="786" y="515"/>
                  </a:lnTo>
                  <a:lnTo>
                    <a:pt x="790" y="515"/>
                  </a:lnTo>
                  <a:lnTo>
                    <a:pt x="794" y="515"/>
                  </a:lnTo>
                  <a:lnTo>
                    <a:pt x="797" y="515"/>
                  </a:lnTo>
                  <a:lnTo>
                    <a:pt x="801" y="515"/>
                  </a:lnTo>
                  <a:lnTo>
                    <a:pt x="805" y="515"/>
                  </a:lnTo>
                  <a:lnTo>
                    <a:pt x="809" y="515"/>
                  </a:lnTo>
                  <a:lnTo>
                    <a:pt x="813" y="515"/>
                  </a:lnTo>
                  <a:lnTo>
                    <a:pt x="817" y="519"/>
                  </a:lnTo>
                  <a:lnTo>
                    <a:pt x="817" y="523"/>
                  </a:lnTo>
                  <a:lnTo>
                    <a:pt x="813" y="523"/>
                  </a:lnTo>
                  <a:lnTo>
                    <a:pt x="809" y="531"/>
                  </a:lnTo>
                  <a:lnTo>
                    <a:pt x="809" y="535"/>
                  </a:lnTo>
                  <a:lnTo>
                    <a:pt x="805" y="535"/>
                  </a:lnTo>
                  <a:lnTo>
                    <a:pt x="805" y="539"/>
                  </a:lnTo>
                  <a:lnTo>
                    <a:pt x="801" y="543"/>
                  </a:lnTo>
                  <a:lnTo>
                    <a:pt x="801" y="547"/>
                  </a:lnTo>
                  <a:lnTo>
                    <a:pt x="797" y="547"/>
                  </a:lnTo>
                  <a:lnTo>
                    <a:pt x="794" y="547"/>
                  </a:lnTo>
                  <a:lnTo>
                    <a:pt x="790" y="551"/>
                  </a:lnTo>
                  <a:lnTo>
                    <a:pt x="786" y="551"/>
                  </a:lnTo>
                  <a:lnTo>
                    <a:pt x="786" y="547"/>
                  </a:lnTo>
                  <a:lnTo>
                    <a:pt x="782" y="547"/>
                  </a:lnTo>
                  <a:lnTo>
                    <a:pt x="782" y="543"/>
                  </a:lnTo>
                  <a:lnTo>
                    <a:pt x="782" y="547"/>
                  </a:lnTo>
                  <a:lnTo>
                    <a:pt x="786" y="547"/>
                  </a:lnTo>
                  <a:lnTo>
                    <a:pt x="786" y="551"/>
                  </a:lnTo>
                  <a:lnTo>
                    <a:pt x="782" y="551"/>
                  </a:lnTo>
                  <a:lnTo>
                    <a:pt x="782" y="547"/>
                  </a:lnTo>
                  <a:lnTo>
                    <a:pt x="778" y="547"/>
                  </a:lnTo>
                  <a:lnTo>
                    <a:pt x="778" y="551"/>
                  </a:lnTo>
                  <a:lnTo>
                    <a:pt x="778" y="547"/>
                  </a:lnTo>
                  <a:lnTo>
                    <a:pt x="774" y="547"/>
                  </a:lnTo>
                  <a:lnTo>
                    <a:pt x="774" y="543"/>
                  </a:lnTo>
                  <a:lnTo>
                    <a:pt x="774" y="547"/>
                  </a:lnTo>
                  <a:lnTo>
                    <a:pt x="774" y="543"/>
                  </a:lnTo>
                  <a:lnTo>
                    <a:pt x="770" y="547"/>
                  </a:lnTo>
                  <a:lnTo>
                    <a:pt x="774" y="547"/>
                  </a:lnTo>
                  <a:lnTo>
                    <a:pt x="774" y="551"/>
                  </a:lnTo>
                  <a:lnTo>
                    <a:pt x="770" y="551"/>
                  </a:lnTo>
                  <a:lnTo>
                    <a:pt x="774" y="551"/>
                  </a:lnTo>
                  <a:lnTo>
                    <a:pt x="770" y="551"/>
                  </a:lnTo>
                  <a:lnTo>
                    <a:pt x="770" y="547"/>
                  </a:lnTo>
                  <a:lnTo>
                    <a:pt x="766" y="547"/>
                  </a:lnTo>
                  <a:lnTo>
                    <a:pt x="770" y="551"/>
                  </a:lnTo>
                  <a:lnTo>
                    <a:pt x="774" y="555"/>
                  </a:lnTo>
                  <a:lnTo>
                    <a:pt x="770" y="555"/>
                  </a:lnTo>
                  <a:lnTo>
                    <a:pt x="770" y="559"/>
                  </a:lnTo>
                  <a:lnTo>
                    <a:pt x="766" y="559"/>
                  </a:lnTo>
                  <a:lnTo>
                    <a:pt x="762" y="555"/>
                  </a:lnTo>
                  <a:lnTo>
                    <a:pt x="762" y="559"/>
                  </a:lnTo>
                  <a:lnTo>
                    <a:pt x="758" y="559"/>
                  </a:lnTo>
                  <a:lnTo>
                    <a:pt x="754" y="559"/>
                  </a:lnTo>
                  <a:lnTo>
                    <a:pt x="750" y="559"/>
                  </a:lnTo>
                  <a:lnTo>
                    <a:pt x="750" y="555"/>
                  </a:lnTo>
                  <a:lnTo>
                    <a:pt x="746" y="555"/>
                  </a:lnTo>
                  <a:lnTo>
                    <a:pt x="742" y="555"/>
                  </a:lnTo>
                  <a:lnTo>
                    <a:pt x="738" y="555"/>
                  </a:lnTo>
                  <a:lnTo>
                    <a:pt x="734" y="555"/>
                  </a:lnTo>
                  <a:lnTo>
                    <a:pt x="730" y="555"/>
                  </a:lnTo>
                  <a:lnTo>
                    <a:pt x="730" y="551"/>
                  </a:lnTo>
                  <a:lnTo>
                    <a:pt x="726" y="551"/>
                  </a:lnTo>
                  <a:lnTo>
                    <a:pt x="722" y="551"/>
                  </a:lnTo>
                  <a:lnTo>
                    <a:pt x="718" y="547"/>
                  </a:lnTo>
                  <a:lnTo>
                    <a:pt x="714" y="543"/>
                  </a:lnTo>
                  <a:lnTo>
                    <a:pt x="718" y="547"/>
                  </a:lnTo>
                  <a:lnTo>
                    <a:pt x="718" y="551"/>
                  </a:lnTo>
                  <a:lnTo>
                    <a:pt x="714" y="551"/>
                  </a:lnTo>
                  <a:lnTo>
                    <a:pt x="718" y="551"/>
                  </a:lnTo>
                  <a:lnTo>
                    <a:pt x="718" y="555"/>
                  </a:lnTo>
                  <a:lnTo>
                    <a:pt x="722" y="555"/>
                  </a:lnTo>
                  <a:lnTo>
                    <a:pt x="722" y="551"/>
                  </a:lnTo>
                  <a:lnTo>
                    <a:pt x="718" y="551"/>
                  </a:lnTo>
                  <a:lnTo>
                    <a:pt x="722" y="551"/>
                  </a:lnTo>
                  <a:lnTo>
                    <a:pt x="726" y="551"/>
                  </a:lnTo>
                  <a:lnTo>
                    <a:pt x="730" y="555"/>
                  </a:lnTo>
                  <a:lnTo>
                    <a:pt x="734" y="555"/>
                  </a:lnTo>
                  <a:lnTo>
                    <a:pt x="738" y="555"/>
                  </a:lnTo>
                  <a:lnTo>
                    <a:pt x="738" y="559"/>
                  </a:lnTo>
                  <a:lnTo>
                    <a:pt x="734" y="559"/>
                  </a:lnTo>
                  <a:lnTo>
                    <a:pt x="738" y="559"/>
                  </a:lnTo>
                  <a:lnTo>
                    <a:pt x="742" y="559"/>
                  </a:lnTo>
                  <a:lnTo>
                    <a:pt x="746" y="555"/>
                  </a:lnTo>
                  <a:lnTo>
                    <a:pt x="746" y="559"/>
                  </a:lnTo>
                  <a:lnTo>
                    <a:pt x="750" y="563"/>
                  </a:lnTo>
                  <a:lnTo>
                    <a:pt x="754" y="563"/>
                  </a:lnTo>
                  <a:lnTo>
                    <a:pt x="758" y="563"/>
                  </a:lnTo>
                  <a:lnTo>
                    <a:pt x="762" y="567"/>
                  </a:lnTo>
                  <a:lnTo>
                    <a:pt x="762" y="571"/>
                  </a:lnTo>
                  <a:lnTo>
                    <a:pt x="762" y="575"/>
                  </a:lnTo>
                  <a:lnTo>
                    <a:pt x="758" y="575"/>
                  </a:lnTo>
                  <a:lnTo>
                    <a:pt x="754" y="575"/>
                  </a:lnTo>
                  <a:lnTo>
                    <a:pt x="754" y="579"/>
                  </a:lnTo>
                  <a:lnTo>
                    <a:pt x="750" y="579"/>
                  </a:lnTo>
                  <a:lnTo>
                    <a:pt x="746" y="579"/>
                  </a:lnTo>
                  <a:lnTo>
                    <a:pt x="742" y="579"/>
                  </a:lnTo>
                  <a:lnTo>
                    <a:pt x="738" y="579"/>
                  </a:lnTo>
                  <a:lnTo>
                    <a:pt x="734" y="579"/>
                  </a:lnTo>
                  <a:lnTo>
                    <a:pt x="738" y="583"/>
                  </a:lnTo>
                  <a:lnTo>
                    <a:pt x="742" y="583"/>
                  </a:lnTo>
                  <a:lnTo>
                    <a:pt x="742" y="587"/>
                  </a:lnTo>
                  <a:lnTo>
                    <a:pt x="738" y="583"/>
                  </a:lnTo>
                  <a:lnTo>
                    <a:pt x="738" y="587"/>
                  </a:lnTo>
                  <a:lnTo>
                    <a:pt x="734" y="587"/>
                  </a:lnTo>
                  <a:lnTo>
                    <a:pt x="730" y="587"/>
                  </a:lnTo>
                  <a:lnTo>
                    <a:pt x="730" y="591"/>
                  </a:lnTo>
                  <a:lnTo>
                    <a:pt x="734" y="591"/>
                  </a:lnTo>
                  <a:lnTo>
                    <a:pt x="734" y="595"/>
                  </a:lnTo>
                  <a:lnTo>
                    <a:pt x="730" y="595"/>
                  </a:lnTo>
                  <a:lnTo>
                    <a:pt x="730" y="591"/>
                  </a:lnTo>
                  <a:lnTo>
                    <a:pt x="726" y="591"/>
                  </a:lnTo>
                  <a:lnTo>
                    <a:pt x="730" y="591"/>
                  </a:lnTo>
                  <a:lnTo>
                    <a:pt x="730" y="595"/>
                  </a:lnTo>
                  <a:lnTo>
                    <a:pt x="726" y="595"/>
                  </a:lnTo>
                  <a:lnTo>
                    <a:pt x="726" y="599"/>
                  </a:lnTo>
                  <a:lnTo>
                    <a:pt x="722" y="599"/>
                  </a:lnTo>
                  <a:lnTo>
                    <a:pt x="722" y="603"/>
                  </a:lnTo>
                  <a:lnTo>
                    <a:pt x="718" y="603"/>
                  </a:lnTo>
                  <a:lnTo>
                    <a:pt x="718" y="599"/>
                  </a:lnTo>
                  <a:lnTo>
                    <a:pt x="718" y="603"/>
                  </a:lnTo>
                  <a:lnTo>
                    <a:pt x="722" y="603"/>
                  </a:lnTo>
                  <a:lnTo>
                    <a:pt x="722" y="606"/>
                  </a:lnTo>
                  <a:lnTo>
                    <a:pt x="718" y="606"/>
                  </a:lnTo>
                  <a:lnTo>
                    <a:pt x="714" y="610"/>
                  </a:lnTo>
                  <a:lnTo>
                    <a:pt x="710" y="610"/>
                  </a:lnTo>
                  <a:lnTo>
                    <a:pt x="710" y="614"/>
                  </a:lnTo>
                  <a:lnTo>
                    <a:pt x="714" y="614"/>
                  </a:lnTo>
                  <a:lnTo>
                    <a:pt x="710" y="618"/>
                  </a:lnTo>
                  <a:lnTo>
                    <a:pt x="710" y="622"/>
                  </a:lnTo>
                  <a:lnTo>
                    <a:pt x="706" y="626"/>
                  </a:lnTo>
                  <a:lnTo>
                    <a:pt x="706" y="630"/>
                  </a:lnTo>
                  <a:lnTo>
                    <a:pt x="702" y="634"/>
                  </a:lnTo>
                  <a:lnTo>
                    <a:pt x="702" y="638"/>
                  </a:lnTo>
                  <a:lnTo>
                    <a:pt x="702" y="642"/>
                  </a:lnTo>
                  <a:lnTo>
                    <a:pt x="702" y="646"/>
                  </a:lnTo>
                  <a:lnTo>
                    <a:pt x="698" y="646"/>
                  </a:lnTo>
                  <a:lnTo>
                    <a:pt x="698" y="650"/>
                  </a:lnTo>
                  <a:lnTo>
                    <a:pt x="698" y="654"/>
                  </a:lnTo>
                  <a:lnTo>
                    <a:pt x="698" y="658"/>
                  </a:lnTo>
                  <a:lnTo>
                    <a:pt x="698" y="662"/>
                  </a:lnTo>
                  <a:lnTo>
                    <a:pt x="702" y="662"/>
                  </a:lnTo>
                  <a:lnTo>
                    <a:pt x="702" y="666"/>
                  </a:lnTo>
                  <a:lnTo>
                    <a:pt x="698" y="666"/>
                  </a:lnTo>
                  <a:lnTo>
                    <a:pt x="698" y="670"/>
                  </a:lnTo>
                  <a:lnTo>
                    <a:pt x="702" y="674"/>
                  </a:lnTo>
                  <a:lnTo>
                    <a:pt x="702" y="678"/>
                  </a:lnTo>
                  <a:lnTo>
                    <a:pt x="706" y="678"/>
                  </a:lnTo>
                  <a:lnTo>
                    <a:pt x="706" y="682"/>
                  </a:lnTo>
                  <a:lnTo>
                    <a:pt x="706" y="686"/>
                  </a:lnTo>
                  <a:lnTo>
                    <a:pt x="706" y="690"/>
                  </a:lnTo>
                  <a:lnTo>
                    <a:pt x="706" y="686"/>
                  </a:lnTo>
                  <a:lnTo>
                    <a:pt x="706" y="682"/>
                  </a:lnTo>
                  <a:lnTo>
                    <a:pt x="710" y="678"/>
                  </a:lnTo>
                  <a:lnTo>
                    <a:pt x="714" y="678"/>
                  </a:lnTo>
                  <a:lnTo>
                    <a:pt x="718" y="678"/>
                  </a:lnTo>
                  <a:lnTo>
                    <a:pt x="722" y="678"/>
                  </a:lnTo>
                  <a:lnTo>
                    <a:pt x="726" y="678"/>
                  </a:lnTo>
                  <a:lnTo>
                    <a:pt x="726" y="682"/>
                  </a:lnTo>
                  <a:lnTo>
                    <a:pt x="726" y="686"/>
                  </a:lnTo>
                  <a:lnTo>
                    <a:pt x="726" y="690"/>
                  </a:lnTo>
                  <a:lnTo>
                    <a:pt x="730" y="694"/>
                  </a:lnTo>
                  <a:lnTo>
                    <a:pt x="730" y="698"/>
                  </a:lnTo>
                  <a:lnTo>
                    <a:pt x="730" y="702"/>
                  </a:lnTo>
                  <a:lnTo>
                    <a:pt x="734" y="706"/>
                  </a:lnTo>
                  <a:lnTo>
                    <a:pt x="734" y="710"/>
                  </a:lnTo>
                  <a:lnTo>
                    <a:pt x="734" y="714"/>
                  </a:lnTo>
                  <a:lnTo>
                    <a:pt x="734" y="718"/>
                  </a:lnTo>
                  <a:lnTo>
                    <a:pt x="730" y="722"/>
                  </a:lnTo>
                  <a:lnTo>
                    <a:pt x="734" y="722"/>
                  </a:lnTo>
                  <a:lnTo>
                    <a:pt x="734" y="718"/>
                  </a:lnTo>
                  <a:lnTo>
                    <a:pt x="738" y="718"/>
                  </a:lnTo>
                  <a:lnTo>
                    <a:pt x="738" y="722"/>
                  </a:lnTo>
                  <a:lnTo>
                    <a:pt x="734" y="722"/>
                  </a:lnTo>
                  <a:lnTo>
                    <a:pt x="738" y="722"/>
                  </a:lnTo>
                  <a:lnTo>
                    <a:pt x="738" y="718"/>
                  </a:lnTo>
                  <a:lnTo>
                    <a:pt x="742" y="718"/>
                  </a:lnTo>
                  <a:lnTo>
                    <a:pt x="746" y="718"/>
                  </a:lnTo>
                  <a:lnTo>
                    <a:pt x="754" y="714"/>
                  </a:lnTo>
                  <a:lnTo>
                    <a:pt x="758" y="714"/>
                  </a:lnTo>
                  <a:lnTo>
                    <a:pt x="762" y="714"/>
                  </a:lnTo>
                  <a:lnTo>
                    <a:pt x="766" y="714"/>
                  </a:lnTo>
                  <a:lnTo>
                    <a:pt x="766" y="718"/>
                  </a:lnTo>
                  <a:lnTo>
                    <a:pt x="770" y="718"/>
                  </a:lnTo>
                  <a:lnTo>
                    <a:pt x="774" y="718"/>
                  </a:lnTo>
                  <a:lnTo>
                    <a:pt x="774" y="722"/>
                  </a:lnTo>
                  <a:lnTo>
                    <a:pt x="778" y="722"/>
                  </a:lnTo>
                  <a:lnTo>
                    <a:pt x="782" y="722"/>
                  </a:lnTo>
                  <a:lnTo>
                    <a:pt x="786" y="722"/>
                  </a:lnTo>
                  <a:lnTo>
                    <a:pt x="790" y="726"/>
                  </a:lnTo>
                  <a:lnTo>
                    <a:pt x="794" y="726"/>
                  </a:lnTo>
                  <a:lnTo>
                    <a:pt x="794" y="730"/>
                  </a:lnTo>
                  <a:lnTo>
                    <a:pt x="797" y="730"/>
                  </a:lnTo>
                  <a:lnTo>
                    <a:pt x="797" y="734"/>
                  </a:lnTo>
                  <a:lnTo>
                    <a:pt x="801" y="734"/>
                  </a:lnTo>
                  <a:lnTo>
                    <a:pt x="805" y="738"/>
                  </a:lnTo>
                  <a:lnTo>
                    <a:pt x="809" y="742"/>
                  </a:lnTo>
                  <a:lnTo>
                    <a:pt x="813" y="746"/>
                  </a:lnTo>
                  <a:lnTo>
                    <a:pt x="817" y="746"/>
                  </a:lnTo>
                  <a:lnTo>
                    <a:pt x="821" y="746"/>
                  </a:lnTo>
                  <a:lnTo>
                    <a:pt x="825" y="746"/>
                  </a:lnTo>
                  <a:lnTo>
                    <a:pt x="825" y="750"/>
                  </a:lnTo>
                  <a:lnTo>
                    <a:pt x="829" y="750"/>
                  </a:lnTo>
                  <a:lnTo>
                    <a:pt x="833" y="750"/>
                  </a:lnTo>
                  <a:lnTo>
                    <a:pt x="837" y="754"/>
                  </a:lnTo>
                  <a:lnTo>
                    <a:pt x="841" y="758"/>
                  </a:lnTo>
                  <a:lnTo>
                    <a:pt x="845" y="758"/>
                  </a:lnTo>
                  <a:lnTo>
                    <a:pt x="845" y="762"/>
                  </a:lnTo>
                  <a:lnTo>
                    <a:pt x="841" y="762"/>
                  </a:lnTo>
                  <a:lnTo>
                    <a:pt x="841" y="766"/>
                  </a:lnTo>
                  <a:lnTo>
                    <a:pt x="841" y="762"/>
                  </a:lnTo>
                  <a:lnTo>
                    <a:pt x="845" y="762"/>
                  </a:lnTo>
                  <a:lnTo>
                    <a:pt x="849" y="762"/>
                  </a:lnTo>
                  <a:lnTo>
                    <a:pt x="853" y="762"/>
                  </a:lnTo>
                  <a:lnTo>
                    <a:pt x="857" y="762"/>
                  </a:lnTo>
                  <a:lnTo>
                    <a:pt x="861" y="762"/>
                  </a:lnTo>
                  <a:lnTo>
                    <a:pt x="861" y="758"/>
                  </a:lnTo>
                  <a:lnTo>
                    <a:pt x="865" y="758"/>
                  </a:lnTo>
                  <a:lnTo>
                    <a:pt x="869" y="762"/>
                  </a:lnTo>
                  <a:lnTo>
                    <a:pt x="865" y="762"/>
                  </a:lnTo>
                  <a:lnTo>
                    <a:pt x="869" y="762"/>
                  </a:lnTo>
                  <a:lnTo>
                    <a:pt x="873" y="762"/>
                  </a:lnTo>
                  <a:lnTo>
                    <a:pt x="877" y="762"/>
                  </a:lnTo>
                  <a:lnTo>
                    <a:pt x="881" y="762"/>
                  </a:lnTo>
                  <a:lnTo>
                    <a:pt x="885" y="762"/>
                  </a:lnTo>
                  <a:lnTo>
                    <a:pt x="885" y="766"/>
                  </a:lnTo>
                  <a:lnTo>
                    <a:pt x="889" y="766"/>
                  </a:lnTo>
                  <a:lnTo>
                    <a:pt x="889" y="762"/>
                  </a:lnTo>
                  <a:lnTo>
                    <a:pt x="889" y="766"/>
                  </a:lnTo>
                  <a:lnTo>
                    <a:pt x="889" y="770"/>
                  </a:lnTo>
                  <a:lnTo>
                    <a:pt x="889" y="778"/>
                  </a:lnTo>
                  <a:lnTo>
                    <a:pt x="885" y="782"/>
                  </a:lnTo>
                  <a:lnTo>
                    <a:pt x="885" y="786"/>
                  </a:lnTo>
                  <a:lnTo>
                    <a:pt x="889" y="786"/>
                  </a:lnTo>
                  <a:lnTo>
                    <a:pt x="889" y="790"/>
                  </a:lnTo>
                  <a:lnTo>
                    <a:pt x="889" y="794"/>
                  </a:lnTo>
                  <a:lnTo>
                    <a:pt x="889" y="798"/>
                  </a:lnTo>
                  <a:lnTo>
                    <a:pt x="889" y="802"/>
                  </a:lnTo>
                  <a:lnTo>
                    <a:pt x="889" y="806"/>
                  </a:lnTo>
                  <a:lnTo>
                    <a:pt x="889" y="810"/>
                  </a:lnTo>
                  <a:lnTo>
                    <a:pt x="889" y="814"/>
                  </a:lnTo>
                  <a:lnTo>
                    <a:pt x="893" y="818"/>
                  </a:lnTo>
                  <a:lnTo>
                    <a:pt x="897" y="822"/>
                  </a:lnTo>
                  <a:lnTo>
                    <a:pt x="897" y="826"/>
                  </a:lnTo>
                  <a:lnTo>
                    <a:pt x="901" y="826"/>
                  </a:lnTo>
                  <a:lnTo>
                    <a:pt x="901" y="830"/>
                  </a:lnTo>
                  <a:lnTo>
                    <a:pt x="897" y="830"/>
                  </a:lnTo>
                  <a:lnTo>
                    <a:pt x="893" y="830"/>
                  </a:lnTo>
                  <a:lnTo>
                    <a:pt x="897" y="830"/>
                  </a:lnTo>
                  <a:lnTo>
                    <a:pt x="901" y="830"/>
                  </a:lnTo>
                  <a:lnTo>
                    <a:pt x="901" y="834"/>
                  </a:lnTo>
                  <a:lnTo>
                    <a:pt x="905" y="834"/>
                  </a:lnTo>
                  <a:lnTo>
                    <a:pt x="909" y="834"/>
                  </a:lnTo>
                  <a:lnTo>
                    <a:pt x="909" y="838"/>
                  </a:lnTo>
                  <a:lnTo>
                    <a:pt x="913" y="842"/>
                  </a:lnTo>
                  <a:lnTo>
                    <a:pt x="913" y="846"/>
                  </a:lnTo>
                  <a:lnTo>
                    <a:pt x="917" y="846"/>
                  </a:lnTo>
                  <a:lnTo>
                    <a:pt x="917" y="850"/>
                  </a:lnTo>
                  <a:lnTo>
                    <a:pt x="913" y="850"/>
                  </a:lnTo>
                  <a:lnTo>
                    <a:pt x="913" y="854"/>
                  </a:lnTo>
                  <a:lnTo>
                    <a:pt x="909" y="854"/>
                  </a:lnTo>
                  <a:lnTo>
                    <a:pt x="909" y="858"/>
                  </a:lnTo>
                  <a:lnTo>
                    <a:pt x="909" y="854"/>
                  </a:lnTo>
                  <a:lnTo>
                    <a:pt x="913" y="854"/>
                  </a:lnTo>
                  <a:lnTo>
                    <a:pt x="913" y="850"/>
                  </a:lnTo>
                  <a:lnTo>
                    <a:pt x="917" y="850"/>
                  </a:lnTo>
                  <a:lnTo>
                    <a:pt x="921" y="850"/>
                  </a:lnTo>
                  <a:lnTo>
                    <a:pt x="921" y="854"/>
                  </a:lnTo>
                  <a:lnTo>
                    <a:pt x="925" y="854"/>
                  </a:lnTo>
                  <a:lnTo>
                    <a:pt x="925" y="858"/>
                  </a:lnTo>
                  <a:lnTo>
                    <a:pt x="929" y="858"/>
                  </a:lnTo>
                  <a:lnTo>
                    <a:pt x="929" y="862"/>
                  </a:lnTo>
                  <a:lnTo>
                    <a:pt x="933" y="862"/>
                  </a:lnTo>
                  <a:lnTo>
                    <a:pt x="933" y="866"/>
                  </a:lnTo>
                  <a:lnTo>
                    <a:pt x="933" y="862"/>
                  </a:lnTo>
                  <a:lnTo>
                    <a:pt x="929" y="862"/>
                  </a:lnTo>
                  <a:lnTo>
                    <a:pt x="929" y="858"/>
                  </a:lnTo>
                  <a:lnTo>
                    <a:pt x="925" y="854"/>
                  </a:lnTo>
                  <a:lnTo>
                    <a:pt x="929" y="854"/>
                  </a:lnTo>
                  <a:lnTo>
                    <a:pt x="929" y="850"/>
                  </a:lnTo>
                  <a:lnTo>
                    <a:pt x="929" y="846"/>
                  </a:lnTo>
                  <a:lnTo>
                    <a:pt x="933" y="846"/>
                  </a:lnTo>
                  <a:lnTo>
                    <a:pt x="933" y="842"/>
                  </a:lnTo>
                  <a:lnTo>
                    <a:pt x="933" y="846"/>
                  </a:lnTo>
                  <a:lnTo>
                    <a:pt x="937" y="846"/>
                  </a:lnTo>
                  <a:lnTo>
                    <a:pt x="937" y="850"/>
                  </a:lnTo>
                  <a:lnTo>
                    <a:pt x="937" y="854"/>
                  </a:lnTo>
                  <a:lnTo>
                    <a:pt x="941" y="854"/>
                  </a:lnTo>
                  <a:lnTo>
                    <a:pt x="941" y="850"/>
                  </a:lnTo>
                  <a:lnTo>
                    <a:pt x="941" y="846"/>
                  </a:lnTo>
                  <a:lnTo>
                    <a:pt x="937" y="842"/>
                  </a:lnTo>
                  <a:lnTo>
                    <a:pt x="941" y="842"/>
                  </a:lnTo>
                  <a:lnTo>
                    <a:pt x="941" y="838"/>
                  </a:lnTo>
                  <a:lnTo>
                    <a:pt x="941" y="834"/>
                  </a:lnTo>
                  <a:lnTo>
                    <a:pt x="945" y="834"/>
                  </a:lnTo>
                  <a:lnTo>
                    <a:pt x="945" y="830"/>
                  </a:lnTo>
                  <a:lnTo>
                    <a:pt x="945" y="826"/>
                  </a:lnTo>
                  <a:lnTo>
                    <a:pt x="945" y="822"/>
                  </a:lnTo>
                  <a:lnTo>
                    <a:pt x="941" y="822"/>
                  </a:lnTo>
                  <a:lnTo>
                    <a:pt x="941" y="818"/>
                  </a:lnTo>
                  <a:lnTo>
                    <a:pt x="941" y="814"/>
                  </a:lnTo>
                  <a:lnTo>
                    <a:pt x="941" y="810"/>
                  </a:lnTo>
                  <a:lnTo>
                    <a:pt x="941" y="806"/>
                  </a:lnTo>
                  <a:lnTo>
                    <a:pt x="937" y="806"/>
                  </a:lnTo>
                  <a:lnTo>
                    <a:pt x="937" y="802"/>
                  </a:lnTo>
                  <a:lnTo>
                    <a:pt x="941" y="802"/>
                  </a:lnTo>
                  <a:lnTo>
                    <a:pt x="937" y="798"/>
                  </a:lnTo>
                  <a:lnTo>
                    <a:pt x="937" y="794"/>
                  </a:lnTo>
                  <a:lnTo>
                    <a:pt x="941" y="794"/>
                  </a:lnTo>
                  <a:lnTo>
                    <a:pt x="937" y="794"/>
                  </a:lnTo>
                  <a:lnTo>
                    <a:pt x="937" y="790"/>
                  </a:lnTo>
                  <a:lnTo>
                    <a:pt x="937" y="786"/>
                  </a:lnTo>
                  <a:lnTo>
                    <a:pt x="933" y="786"/>
                  </a:lnTo>
                  <a:lnTo>
                    <a:pt x="933" y="782"/>
                  </a:lnTo>
                  <a:lnTo>
                    <a:pt x="929" y="782"/>
                  </a:lnTo>
                  <a:lnTo>
                    <a:pt x="929" y="778"/>
                  </a:lnTo>
                  <a:lnTo>
                    <a:pt x="929" y="774"/>
                  </a:lnTo>
                  <a:lnTo>
                    <a:pt x="925" y="774"/>
                  </a:lnTo>
                  <a:lnTo>
                    <a:pt x="929" y="774"/>
                  </a:lnTo>
                  <a:lnTo>
                    <a:pt x="933" y="774"/>
                  </a:lnTo>
                  <a:lnTo>
                    <a:pt x="937" y="770"/>
                  </a:lnTo>
                  <a:lnTo>
                    <a:pt x="941" y="770"/>
                  </a:lnTo>
                  <a:lnTo>
                    <a:pt x="945" y="766"/>
                  </a:lnTo>
                  <a:lnTo>
                    <a:pt x="949" y="766"/>
                  </a:lnTo>
                  <a:lnTo>
                    <a:pt x="953" y="762"/>
                  </a:lnTo>
                  <a:lnTo>
                    <a:pt x="957" y="758"/>
                  </a:lnTo>
                  <a:lnTo>
                    <a:pt x="961" y="754"/>
                  </a:lnTo>
                  <a:lnTo>
                    <a:pt x="965" y="754"/>
                  </a:lnTo>
                  <a:lnTo>
                    <a:pt x="965" y="750"/>
                  </a:lnTo>
                  <a:lnTo>
                    <a:pt x="969" y="750"/>
                  </a:lnTo>
                  <a:lnTo>
                    <a:pt x="973" y="746"/>
                  </a:lnTo>
                  <a:lnTo>
                    <a:pt x="973" y="742"/>
                  </a:lnTo>
                  <a:lnTo>
                    <a:pt x="977" y="738"/>
                  </a:lnTo>
                  <a:lnTo>
                    <a:pt x="977" y="734"/>
                  </a:lnTo>
                  <a:lnTo>
                    <a:pt x="977" y="730"/>
                  </a:lnTo>
                  <a:lnTo>
                    <a:pt x="977" y="726"/>
                  </a:lnTo>
                  <a:lnTo>
                    <a:pt x="977" y="722"/>
                  </a:lnTo>
                  <a:lnTo>
                    <a:pt x="973" y="718"/>
                  </a:lnTo>
                  <a:lnTo>
                    <a:pt x="977" y="718"/>
                  </a:lnTo>
                  <a:lnTo>
                    <a:pt x="973" y="714"/>
                  </a:lnTo>
                  <a:lnTo>
                    <a:pt x="973" y="710"/>
                  </a:lnTo>
                  <a:lnTo>
                    <a:pt x="973" y="706"/>
                  </a:lnTo>
                  <a:lnTo>
                    <a:pt x="969" y="702"/>
                  </a:lnTo>
                  <a:lnTo>
                    <a:pt x="965" y="694"/>
                  </a:lnTo>
                  <a:lnTo>
                    <a:pt x="961" y="694"/>
                  </a:lnTo>
                  <a:lnTo>
                    <a:pt x="961" y="690"/>
                  </a:lnTo>
                  <a:lnTo>
                    <a:pt x="957" y="690"/>
                  </a:lnTo>
                  <a:lnTo>
                    <a:pt x="953" y="686"/>
                  </a:lnTo>
                  <a:lnTo>
                    <a:pt x="949" y="682"/>
                  </a:lnTo>
                  <a:lnTo>
                    <a:pt x="945" y="682"/>
                  </a:lnTo>
                  <a:lnTo>
                    <a:pt x="949" y="682"/>
                  </a:lnTo>
                  <a:lnTo>
                    <a:pt x="945" y="682"/>
                  </a:lnTo>
                  <a:lnTo>
                    <a:pt x="945" y="678"/>
                  </a:lnTo>
                  <a:lnTo>
                    <a:pt x="945" y="674"/>
                  </a:lnTo>
                  <a:lnTo>
                    <a:pt x="949" y="674"/>
                  </a:lnTo>
                  <a:lnTo>
                    <a:pt x="949" y="670"/>
                  </a:lnTo>
                  <a:lnTo>
                    <a:pt x="953" y="670"/>
                  </a:lnTo>
                  <a:lnTo>
                    <a:pt x="953" y="666"/>
                  </a:lnTo>
                  <a:lnTo>
                    <a:pt x="957" y="666"/>
                  </a:lnTo>
                  <a:lnTo>
                    <a:pt x="957" y="662"/>
                  </a:lnTo>
                  <a:lnTo>
                    <a:pt x="953" y="662"/>
                  </a:lnTo>
                  <a:lnTo>
                    <a:pt x="957" y="658"/>
                  </a:lnTo>
                  <a:lnTo>
                    <a:pt x="957" y="654"/>
                  </a:lnTo>
                  <a:lnTo>
                    <a:pt x="961" y="654"/>
                  </a:lnTo>
                  <a:lnTo>
                    <a:pt x="961" y="658"/>
                  </a:lnTo>
                  <a:lnTo>
                    <a:pt x="965" y="658"/>
                  </a:lnTo>
                  <a:lnTo>
                    <a:pt x="961" y="658"/>
                  </a:lnTo>
                  <a:lnTo>
                    <a:pt x="961" y="654"/>
                  </a:lnTo>
                  <a:lnTo>
                    <a:pt x="965" y="654"/>
                  </a:lnTo>
                  <a:lnTo>
                    <a:pt x="961" y="650"/>
                  </a:lnTo>
                  <a:lnTo>
                    <a:pt x="965" y="646"/>
                  </a:lnTo>
                  <a:lnTo>
                    <a:pt x="969" y="646"/>
                  </a:lnTo>
                  <a:lnTo>
                    <a:pt x="973" y="646"/>
                  </a:lnTo>
                  <a:lnTo>
                    <a:pt x="973" y="642"/>
                  </a:lnTo>
                  <a:lnTo>
                    <a:pt x="969" y="642"/>
                  </a:lnTo>
                  <a:lnTo>
                    <a:pt x="969" y="646"/>
                  </a:lnTo>
                  <a:lnTo>
                    <a:pt x="965" y="646"/>
                  </a:lnTo>
                  <a:lnTo>
                    <a:pt x="961" y="646"/>
                  </a:lnTo>
                  <a:lnTo>
                    <a:pt x="961" y="642"/>
                  </a:lnTo>
                  <a:lnTo>
                    <a:pt x="961" y="638"/>
                  </a:lnTo>
                  <a:lnTo>
                    <a:pt x="957" y="638"/>
                  </a:lnTo>
                  <a:lnTo>
                    <a:pt x="961" y="634"/>
                  </a:lnTo>
                  <a:lnTo>
                    <a:pt x="957" y="634"/>
                  </a:lnTo>
                  <a:lnTo>
                    <a:pt x="957" y="630"/>
                  </a:lnTo>
                  <a:lnTo>
                    <a:pt x="961" y="626"/>
                  </a:lnTo>
                  <a:lnTo>
                    <a:pt x="957" y="630"/>
                  </a:lnTo>
                  <a:lnTo>
                    <a:pt x="953" y="630"/>
                  </a:lnTo>
                  <a:lnTo>
                    <a:pt x="953" y="626"/>
                  </a:lnTo>
                  <a:lnTo>
                    <a:pt x="953" y="630"/>
                  </a:lnTo>
                  <a:lnTo>
                    <a:pt x="949" y="630"/>
                  </a:lnTo>
                  <a:lnTo>
                    <a:pt x="949" y="626"/>
                  </a:lnTo>
                  <a:lnTo>
                    <a:pt x="953" y="622"/>
                  </a:lnTo>
                  <a:lnTo>
                    <a:pt x="957" y="622"/>
                  </a:lnTo>
                  <a:lnTo>
                    <a:pt x="957" y="618"/>
                  </a:lnTo>
                  <a:lnTo>
                    <a:pt x="957" y="614"/>
                  </a:lnTo>
                  <a:lnTo>
                    <a:pt x="957" y="610"/>
                  </a:lnTo>
                  <a:lnTo>
                    <a:pt x="961" y="610"/>
                  </a:lnTo>
                  <a:lnTo>
                    <a:pt x="957" y="610"/>
                  </a:lnTo>
                  <a:lnTo>
                    <a:pt x="961" y="610"/>
                  </a:lnTo>
                  <a:lnTo>
                    <a:pt x="957" y="610"/>
                  </a:lnTo>
                  <a:lnTo>
                    <a:pt x="957" y="606"/>
                  </a:lnTo>
                  <a:lnTo>
                    <a:pt x="953" y="606"/>
                  </a:lnTo>
                  <a:lnTo>
                    <a:pt x="953" y="603"/>
                  </a:lnTo>
                  <a:lnTo>
                    <a:pt x="953" y="599"/>
                  </a:lnTo>
                  <a:lnTo>
                    <a:pt x="949" y="599"/>
                  </a:lnTo>
                  <a:lnTo>
                    <a:pt x="949" y="595"/>
                  </a:lnTo>
                  <a:lnTo>
                    <a:pt x="949" y="591"/>
                  </a:lnTo>
                  <a:lnTo>
                    <a:pt x="953" y="591"/>
                  </a:lnTo>
                  <a:lnTo>
                    <a:pt x="957" y="587"/>
                  </a:lnTo>
                  <a:lnTo>
                    <a:pt x="961" y="587"/>
                  </a:lnTo>
                  <a:lnTo>
                    <a:pt x="969" y="587"/>
                  </a:lnTo>
                  <a:lnTo>
                    <a:pt x="973" y="587"/>
                  </a:lnTo>
                  <a:lnTo>
                    <a:pt x="977" y="587"/>
                  </a:lnTo>
                  <a:lnTo>
                    <a:pt x="977" y="591"/>
                  </a:lnTo>
                  <a:lnTo>
                    <a:pt x="981" y="591"/>
                  </a:lnTo>
                  <a:lnTo>
                    <a:pt x="989" y="591"/>
                  </a:lnTo>
                  <a:lnTo>
                    <a:pt x="989" y="595"/>
                  </a:lnTo>
                  <a:lnTo>
                    <a:pt x="985" y="595"/>
                  </a:lnTo>
                  <a:lnTo>
                    <a:pt x="989" y="595"/>
                  </a:lnTo>
                  <a:lnTo>
                    <a:pt x="989" y="591"/>
                  </a:lnTo>
                  <a:lnTo>
                    <a:pt x="993" y="591"/>
                  </a:lnTo>
                  <a:lnTo>
                    <a:pt x="997" y="591"/>
                  </a:lnTo>
                  <a:lnTo>
                    <a:pt x="1001" y="595"/>
                  </a:lnTo>
                  <a:lnTo>
                    <a:pt x="1005" y="595"/>
                  </a:lnTo>
                  <a:lnTo>
                    <a:pt x="1001" y="595"/>
                  </a:lnTo>
                  <a:lnTo>
                    <a:pt x="1005" y="595"/>
                  </a:lnTo>
                  <a:lnTo>
                    <a:pt x="1009" y="595"/>
                  </a:lnTo>
                  <a:lnTo>
                    <a:pt x="1009" y="591"/>
                  </a:lnTo>
                  <a:lnTo>
                    <a:pt x="1013" y="591"/>
                  </a:lnTo>
                  <a:lnTo>
                    <a:pt x="1017" y="587"/>
                  </a:lnTo>
                  <a:lnTo>
                    <a:pt x="1021" y="587"/>
                  </a:lnTo>
                  <a:lnTo>
                    <a:pt x="1021" y="591"/>
                  </a:lnTo>
                  <a:lnTo>
                    <a:pt x="1025" y="591"/>
                  </a:lnTo>
                  <a:lnTo>
                    <a:pt x="1025" y="595"/>
                  </a:lnTo>
                  <a:lnTo>
                    <a:pt x="1029" y="595"/>
                  </a:lnTo>
                  <a:lnTo>
                    <a:pt x="1033" y="595"/>
                  </a:lnTo>
                  <a:lnTo>
                    <a:pt x="1037" y="599"/>
                  </a:lnTo>
                  <a:lnTo>
                    <a:pt x="1033" y="599"/>
                  </a:lnTo>
                  <a:lnTo>
                    <a:pt x="1033" y="603"/>
                  </a:lnTo>
                  <a:lnTo>
                    <a:pt x="1037" y="603"/>
                  </a:lnTo>
                  <a:lnTo>
                    <a:pt x="1033" y="603"/>
                  </a:lnTo>
                  <a:lnTo>
                    <a:pt x="1037" y="603"/>
                  </a:lnTo>
                  <a:lnTo>
                    <a:pt x="1041" y="603"/>
                  </a:lnTo>
                  <a:lnTo>
                    <a:pt x="1045" y="606"/>
                  </a:lnTo>
                  <a:lnTo>
                    <a:pt x="1041" y="610"/>
                  </a:lnTo>
                  <a:lnTo>
                    <a:pt x="1041" y="606"/>
                  </a:lnTo>
                  <a:lnTo>
                    <a:pt x="1041" y="610"/>
                  </a:lnTo>
                  <a:lnTo>
                    <a:pt x="1045" y="610"/>
                  </a:lnTo>
                  <a:lnTo>
                    <a:pt x="1045" y="606"/>
                  </a:lnTo>
                  <a:lnTo>
                    <a:pt x="1049" y="606"/>
                  </a:lnTo>
                  <a:lnTo>
                    <a:pt x="1049" y="610"/>
                  </a:lnTo>
                  <a:lnTo>
                    <a:pt x="1045" y="614"/>
                  </a:lnTo>
                  <a:lnTo>
                    <a:pt x="1049" y="614"/>
                  </a:lnTo>
                  <a:lnTo>
                    <a:pt x="1049" y="618"/>
                  </a:lnTo>
                  <a:lnTo>
                    <a:pt x="1053" y="618"/>
                  </a:lnTo>
                  <a:lnTo>
                    <a:pt x="1057" y="618"/>
                  </a:lnTo>
                  <a:lnTo>
                    <a:pt x="1061" y="622"/>
                  </a:lnTo>
                  <a:lnTo>
                    <a:pt x="1065" y="622"/>
                  </a:lnTo>
                  <a:lnTo>
                    <a:pt x="1069" y="622"/>
                  </a:lnTo>
                  <a:lnTo>
                    <a:pt x="1073" y="622"/>
                  </a:lnTo>
                  <a:lnTo>
                    <a:pt x="1073" y="626"/>
                  </a:lnTo>
                  <a:lnTo>
                    <a:pt x="1077" y="626"/>
                  </a:lnTo>
                  <a:lnTo>
                    <a:pt x="1081" y="626"/>
                  </a:lnTo>
                  <a:lnTo>
                    <a:pt x="1081" y="622"/>
                  </a:lnTo>
                  <a:lnTo>
                    <a:pt x="1085" y="626"/>
                  </a:lnTo>
                  <a:lnTo>
                    <a:pt x="1085" y="630"/>
                  </a:lnTo>
                  <a:lnTo>
                    <a:pt x="1081" y="630"/>
                  </a:lnTo>
                  <a:lnTo>
                    <a:pt x="1077" y="630"/>
                  </a:lnTo>
                  <a:lnTo>
                    <a:pt x="1081" y="630"/>
                  </a:lnTo>
                  <a:lnTo>
                    <a:pt x="1081" y="634"/>
                  </a:lnTo>
                  <a:lnTo>
                    <a:pt x="1077" y="634"/>
                  </a:lnTo>
                  <a:lnTo>
                    <a:pt x="1077" y="638"/>
                  </a:lnTo>
                  <a:lnTo>
                    <a:pt x="1077" y="642"/>
                  </a:lnTo>
                  <a:lnTo>
                    <a:pt x="1081" y="642"/>
                  </a:lnTo>
                  <a:lnTo>
                    <a:pt x="1081" y="646"/>
                  </a:lnTo>
                  <a:lnTo>
                    <a:pt x="1077" y="646"/>
                  </a:lnTo>
                  <a:lnTo>
                    <a:pt x="1073" y="646"/>
                  </a:lnTo>
                  <a:lnTo>
                    <a:pt x="1069" y="646"/>
                  </a:lnTo>
                  <a:lnTo>
                    <a:pt x="1065" y="646"/>
                  </a:lnTo>
                  <a:lnTo>
                    <a:pt x="1061" y="646"/>
                  </a:lnTo>
                  <a:lnTo>
                    <a:pt x="1065" y="650"/>
                  </a:lnTo>
                  <a:lnTo>
                    <a:pt x="1069" y="650"/>
                  </a:lnTo>
                  <a:lnTo>
                    <a:pt x="1073" y="650"/>
                  </a:lnTo>
                  <a:lnTo>
                    <a:pt x="1077" y="650"/>
                  </a:lnTo>
                  <a:lnTo>
                    <a:pt x="1081" y="650"/>
                  </a:lnTo>
                  <a:lnTo>
                    <a:pt x="1081" y="654"/>
                  </a:lnTo>
                  <a:lnTo>
                    <a:pt x="1081" y="658"/>
                  </a:lnTo>
                  <a:lnTo>
                    <a:pt x="1077" y="658"/>
                  </a:lnTo>
                  <a:lnTo>
                    <a:pt x="1077" y="662"/>
                  </a:lnTo>
                  <a:lnTo>
                    <a:pt x="1081" y="662"/>
                  </a:lnTo>
                  <a:lnTo>
                    <a:pt x="1077" y="662"/>
                  </a:lnTo>
                  <a:lnTo>
                    <a:pt x="1077" y="666"/>
                  </a:lnTo>
                  <a:lnTo>
                    <a:pt x="1081" y="666"/>
                  </a:lnTo>
                  <a:lnTo>
                    <a:pt x="1081" y="662"/>
                  </a:lnTo>
                  <a:lnTo>
                    <a:pt x="1085" y="662"/>
                  </a:lnTo>
                  <a:lnTo>
                    <a:pt x="1085" y="666"/>
                  </a:lnTo>
                  <a:lnTo>
                    <a:pt x="1081" y="666"/>
                  </a:lnTo>
                  <a:lnTo>
                    <a:pt x="1081" y="670"/>
                  </a:lnTo>
                  <a:lnTo>
                    <a:pt x="1085" y="670"/>
                  </a:lnTo>
                  <a:lnTo>
                    <a:pt x="1081" y="670"/>
                  </a:lnTo>
                  <a:lnTo>
                    <a:pt x="1081" y="674"/>
                  </a:lnTo>
                  <a:lnTo>
                    <a:pt x="1081" y="678"/>
                  </a:lnTo>
                  <a:lnTo>
                    <a:pt x="1077" y="674"/>
                  </a:lnTo>
                  <a:lnTo>
                    <a:pt x="1081" y="674"/>
                  </a:lnTo>
                  <a:lnTo>
                    <a:pt x="1077" y="674"/>
                  </a:lnTo>
                  <a:lnTo>
                    <a:pt x="1077" y="670"/>
                  </a:lnTo>
                  <a:lnTo>
                    <a:pt x="1077" y="674"/>
                  </a:lnTo>
                  <a:lnTo>
                    <a:pt x="1077" y="678"/>
                  </a:lnTo>
                  <a:lnTo>
                    <a:pt x="1073" y="678"/>
                  </a:lnTo>
                  <a:lnTo>
                    <a:pt x="1077" y="678"/>
                  </a:lnTo>
                  <a:lnTo>
                    <a:pt x="1077" y="682"/>
                  </a:lnTo>
                  <a:lnTo>
                    <a:pt x="1081" y="678"/>
                  </a:lnTo>
                  <a:lnTo>
                    <a:pt x="1085" y="678"/>
                  </a:lnTo>
                  <a:lnTo>
                    <a:pt x="1085" y="674"/>
                  </a:lnTo>
                  <a:lnTo>
                    <a:pt x="1089" y="674"/>
                  </a:lnTo>
                  <a:lnTo>
                    <a:pt x="1093" y="674"/>
                  </a:lnTo>
                  <a:lnTo>
                    <a:pt x="1097" y="674"/>
                  </a:lnTo>
                  <a:lnTo>
                    <a:pt x="1097" y="678"/>
                  </a:lnTo>
                  <a:lnTo>
                    <a:pt x="1101" y="678"/>
                  </a:lnTo>
                  <a:lnTo>
                    <a:pt x="1101" y="682"/>
                  </a:lnTo>
                  <a:lnTo>
                    <a:pt x="1101" y="686"/>
                  </a:lnTo>
                  <a:lnTo>
                    <a:pt x="1101" y="690"/>
                  </a:lnTo>
                  <a:lnTo>
                    <a:pt x="1101" y="694"/>
                  </a:lnTo>
                  <a:lnTo>
                    <a:pt x="1097" y="694"/>
                  </a:lnTo>
                  <a:lnTo>
                    <a:pt x="1093" y="698"/>
                  </a:lnTo>
                  <a:lnTo>
                    <a:pt x="1089" y="698"/>
                  </a:lnTo>
                  <a:lnTo>
                    <a:pt x="1085" y="698"/>
                  </a:lnTo>
                  <a:lnTo>
                    <a:pt x="1085" y="702"/>
                  </a:lnTo>
                  <a:lnTo>
                    <a:pt x="1085" y="698"/>
                  </a:lnTo>
                  <a:lnTo>
                    <a:pt x="1089" y="698"/>
                  </a:lnTo>
                  <a:lnTo>
                    <a:pt x="1093" y="698"/>
                  </a:lnTo>
                  <a:lnTo>
                    <a:pt x="1097" y="698"/>
                  </a:lnTo>
                  <a:lnTo>
                    <a:pt x="1097" y="694"/>
                  </a:lnTo>
                  <a:lnTo>
                    <a:pt x="1101" y="694"/>
                  </a:lnTo>
                  <a:lnTo>
                    <a:pt x="1101" y="690"/>
                  </a:lnTo>
                  <a:lnTo>
                    <a:pt x="1101" y="686"/>
                  </a:lnTo>
                  <a:lnTo>
                    <a:pt x="1101" y="682"/>
                  </a:lnTo>
                  <a:lnTo>
                    <a:pt x="1105" y="682"/>
                  </a:lnTo>
                  <a:lnTo>
                    <a:pt x="1105" y="686"/>
                  </a:lnTo>
                  <a:lnTo>
                    <a:pt x="1105" y="690"/>
                  </a:lnTo>
                  <a:lnTo>
                    <a:pt x="1105" y="694"/>
                  </a:lnTo>
                  <a:lnTo>
                    <a:pt x="1105" y="690"/>
                  </a:lnTo>
                  <a:lnTo>
                    <a:pt x="1109" y="690"/>
                  </a:lnTo>
                  <a:lnTo>
                    <a:pt x="1109" y="686"/>
                  </a:lnTo>
                  <a:lnTo>
                    <a:pt x="1109" y="690"/>
                  </a:lnTo>
                  <a:lnTo>
                    <a:pt x="1109" y="698"/>
                  </a:lnTo>
                  <a:lnTo>
                    <a:pt x="1109" y="694"/>
                  </a:lnTo>
                  <a:lnTo>
                    <a:pt x="1113" y="690"/>
                  </a:lnTo>
                  <a:lnTo>
                    <a:pt x="1117" y="686"/>
                  </a:lnTo>
                  <a:lnTo>
                    <a:pt x="1121" y="686"/>
                  </a:lnTo>
                  <a:lnTo>
                    <a:pt x="1125" y="686"/>
                  </a:lnTo>
                  <a:lnTo>
                    <a:pt x="1125" y="682"/>
                  </a:lnTo>
                  <a:lnTo>
                    <a:pt x="1125" y="678"/>
                  </a:lnTo>
                  <a:lnTo>
                    <a:pt x="1129" y="678"/>
                  </a:lnTo>
                  <a:lnTo>
                    <a:pt x="1129" y="674"/>
                  </a:lnTo>
                  <a:lnTo>
                    <a:pt x="1133" y="678"/>
                  </a:lnTo>
                  <a:lnTo>
                    <a:pt x="1133" y="682"/>
                  </a:lnTo>
                  <a:lnTo>
                    <a:pt x="1137" y="682"/>
                  </a:lnTo>
                  <a:lnTo>
                    <a:pt x="1133" y="686"/>
                  </a:lnTo>
                  <a:lnTo>
                    <a:pt x="1133" y="690"/>
                  </a:lnTo>
                  <a:lnTo>
                    <a:pt x="1133" y="686"/>
                  </a:lnTo>
                  <a:lnTo>
                    <a:pt x="1137" y="686"/>
                  </a:lnTo>
                  <a:lnTo>
                    <a:pt x="1137" y="682"/>
                  </a:lnTo>
                  <a:lnTo>
                    <a:pt x="1133" y="678"/>
                  </a:lnTo>
                  <a:lnTo>
                    <a:pt x="1133" y="674"/>
                  </a:lnTo>
                  <a:lnTo>
                    <a:pt x="1137" y="674"/>
                  </a:lnTo>
                  <a:lnTo>
                    <a:pt x="1137" y="678"/>
                  </a:lnTo>
                  <a:lnTo>
                    <a:pt x="1137" y="674"/>
                  </a:lnTo>
                  <a:lnTo>
                    <a:pt x="1137" y="670"/>
                  </a:lnTo>
                  <a:lnTo>
                    <a:pt x="1141" y="670"/>
                  </a:lnTo>
                  <a:lnTo>
                    <a:pt x="1141" y="674"/>
                  </a:lnTo>
                  <a:lnTo>
                    <a:pt x="1141" y="670"/>
                  </a:lnTo>
                  <a:lnTo>
                    <a:pt x="1145" y="670"/>
                  </a:lnTo>
                  <a:lnTo>
                    <a:pt x="1141" y="670"/>
                  </a:lnTo>
                  <a:lnTo>
                    <a:pt x="1141" y="666"/>
                  </a:lnTo>
                  <a:lnTo>
                    <a:pt x="1141" y="662"/>
                  </a:lnTo>
                  <a:lnTo>
                    <a:pt x="1145" y="662"/>
                  </a:lnTo>
                  <a:lnTo>
                    <a:pt x="1145" y="666"/>
                  </a:lnTo>
                  <a:lnTo>
                    <a:pt x="1145" y="662"/>
                  </a:lnTo>
                  <a:lnTo>
                    <a:pt x="1141" y="662"/>
                  </a:lnTo>
                  <a:lnTo>
                    <a:pt x="1145" y="662"/>
                  </a:lnTo>
                  <a:lnTo>
                    <a:pt x="1148" y="662"/>
                  </a:lnTo>
                  <a:lnTo>
                    <a:pt x="1145" y="662"/>
                  </a:lnTo>
                  <a:lnTo>
                    <a:pt x="1145" y="658"/>
                  </a:lnTo>
                  <a:lnTo>
                    <a:pt x="1141" y="658"/>
                  </a:lnTo>
                  <a:lnTo>
                    <a:pt x="1141" y="654"/>
                  </a:lnTo>
                  <a:lnTo>
                    <a:pt x="1145" y="654"/>
                  </a:lnTo>
                  <a:lnTo>
                    <a:pt x="1145" y="650"/>
                  </a:lnTo>
                  <a:lnTo>
                    <a:pt x="1145" y="654"/>
                  </a:lnTo>
                  <a:lnTo>
                    <a:pt x="1148" y="654"/>
                  </a:lnTo>
                  <a:lnTo>
                    <a:pt x="1148" y="650"/>
                  </a:lnTo>
                  <a:lnTo>
                    <a:pt x="1145" y="650"/>
                  </a:lnTo>
                  <a:lnTo>
                    <a:pt x="1148" y="650"/>
                  </a:lnTo>
                  <a:lnTo>
                    <a:pt x="1148" y="646"/>
                  </a:lnTo>
                  <a:lnTo>
                    <a:pt x="1152" y="642"/>
                  </a:lnTo>
                  <a:lnTo>
                    <a:pt x="1152" y="638"/>
                  </a:lnTo>
                  <a:lnTo>
                    <a:pt x="1156" y="638"/>
                  </a:lnTo>
                  <a:lnTo>
                    <a:pt x="1156" y="642"/>
                  </a:lnTo>
                  <a:lnTo>
                    <a:pt x="1152" y="642"/>
                  </a:lnTo>
                  <a:lnTo>
                    <a:pt x="1156" y="642"/>
                  </a:lnTo>
                  <a:lnTo>
                    <a:pt x="1160" y="642"/>
                  </a:lnTo>
                  <a:lnTo>
                    <a:pt x="1156" y="646"/>
                  </a:lnTo>
                  <a:lnTo>
                    <a:pt x="1152" y="646"/>
                  </a:lnTo>
                  <a:lnTo>
                    <a:pt x="1152" y="650"/>
                  </a:lnTo>
                  <a:lnTo>
                    <a:pt x="1152" y="646"/>
                  </a:lnTo>
                  <a:lnTo>
                    <a:pt x="1156" y="646"/>
                  </a:lnTo>
                  <a:lnTo>
                    <a:pt x="1160" y="646"/>
                  </a:lnTo>
                  <a:lnTo>
                    <a:pt x="1160" y="650"/>
                  </a:lnTo>
                  <a:lnTo>
                    <a:pt x="1156" y="650"/>
                  </a:lnTo>
                  <a:lnTo>
                    <a:pt x="1160" y="650"/>
                  </a:lnTo>
                  <a:lnTo>
                    <a:pt x="1160" y="646"/>
                  </a:lnTo>
                  <a:lnTo>
                    <a:pt x="1164" y="646"/>
                  </a:lnTo>
                  <a:lnTo>
                    <a:pt x="1164" y="650"/>
                  </a:lnTo>
                  <a:lnTo>
                    <a:pt x="1160" y="654"/>
                  </a:lnTo>
                  <a:lnTo>
                    <a:pt x="1164" y="654"/>
                  </a:lnTo>
                  <a:lnTo>
                    <a:pt x="1164" y="658"/>
                  </a:lnTo>
                  <a:lnTo>
                    <a:pt x="1168" y="658"/>
                  </a:lnTo>
                  <a:lnTo>
                    <a:pt x="1168" y="662"/>
                  </a:lnTo>
                  <a:lnTo>
                    <a:pt x="1164" y="662"/>
                  </a:lnTo>
                  <a:lnTo>
                    <a:pt x="1168" y="662"/>
                  </a:lnTo>
                  <a:lnTo>
                    <a:pt x="1168" y="666"/>
                  </a:lnTo>
                  <a:lnTo>
                    <a:pt x="1168" y="662"/>
                  </a:lnTo>
                  <a:lnTo>
                    <a:pt x="1172" y="662"/>
                  </a:lnTo>
                  <a:lnTo>
                    <a:pt x="1172" y="666"/>
                  </a:lnTo>
                  <a:lnTo>
                    <a:pt x="1176" y="666"/>
                  </a:lnTo>
                  <a:lnTo>
                    <a:pt x="1172" y="670"/>
                  </a:lnTo>
                  <a:lnTo>
                    <a:pt x="1168" y="670"/>
                  </a:lnTo>
                  <a:lnTo>
                    <a:pt x="1164" y="670"/>
                  </a:lnTo>
                  <a:lnTo>
                    <a:pt x="1164" y="674"/>
                  </a:lnTo>
                  <a:lnTo>
                    <a:pt x="1168" y="670"/>
                  </a:lnTo>
                  <a:lnTo>
                    <a:pt x="1172" y="670"/>
                  </a:lnTo>
                  <a:lnTo>
                    <a:pt x="1176" y="670"/>
                  </a:lnTo>
                  <a:lnTo>
                    <a:pt x="1176" y="674"/>
                  </a:lnTo>
                  <a:lnTo>
                    <a:pt x="1180" y="674"/>
                  </a:lnTo>
                  <a:lnTo>
                    <a:pt x="1180" y="678"/>
                  </a:lnTo>
                  <a:lnTo>
                    <a:pt x="1184" y="678"/>
                  </a:lnTo>
                  <a:lnTo>
                    <a:pt x="1184" y="682"/>
                  </a:lnTo>
                  <a:lnTo>
                    <a:pt x="1180" y="682"/>
                  </a:lnTo>
                  <a:lnTo>
                    <a:pt x="1176" y="686"/>
                  </a:lnTo>
                  <a:lnTo>
                    <a:pt x="1172" y="686"/>
                  </a:lnTo>
                  <a:lnTo>
                    <a:pt x="1172" y="690"/>
                  </a:lnTo>
                  <a:lnTo>
                    <a:pt x="1172" y="686"/>
                  </a:lnTo>
                  <a:lnTo>
                    <a:pt x="1176" y="686"/>
                  </a:lnTo>
                  <a:lnTo>
                    <a:pt x="1180" y="686"/>
                  </a:lnTo>
                  <a:lnTo>
                    <a:pt x="1184" y="686"/>
                  </a:lnTo>
                  <a:lnTo>
                    <a:pt x="1188" y="686"/>
                  </a:lnTo>
                  <a:lnTo>
                    <a:pt x="1184" y="686"/>
                  </a:lnTo>
                  <a:lnTo>
                    <a:pt x="1184" y="690"/>
                  </a:lnTo>
                  <a:lnTo>
                    <a:pt x="1188" y="690"/>
                  </a:lnTo>
                  <a:lnTo>
                    <a:pt x="1184" y="690"/>
                  </a:lnTo>
                  <a:lnTo>
                    <a:pt x="1184" y="694"/>
                  </a:lnTo>
                  <a:lnTo>
                    <a:pt x="1184" y="690"/>
                  </a:lnTo>
                  <a:lnTo>
                    <a:pt x="1180" y="694"/>
                  </a:lnTo>
                  <a:lnTo>
                    <a:pt x="1176" y="694"/>
                  </a:lnTo>
                  <a:lnTo>
                    <a:pt x="1176" y="698"/>
                  </a:lnTo>
                  <a:lnTo>
                    <a:pt x="1180" y="694"/>
                  </a:lnTo>
                  <a:lnTo>
                    <a:pt x="1184" y="694"/>
                  </a:lnTo>
                  <a:lnTo>
                    <a:pt x="1188" y="694"/>
                  </a:lnTo>
                  <a:lnTo>
                    <a:pt x="1188" y="690"/>
                  </a:lnTo>
                  <a:lnTo>
                    <a:pt x="1188" y="694"/>
                  </a:lnTo>
                  <a:lnTo>
                    <a:pt x="1192" y="694"/>
                  </a:lnTo>
                  <a:lnTo>
                    <a:pt x="1188" y="694"/>
                  </a:lnTo>
                  <a:lnTo>
                    <a:pt x="1188" y="698"/>
                  </a:lnTo>
                  <a:lnTo>
                    <a:pt x="1188" y="694"/>
                  </a:lnTo>
                  <a:lnTo>
                    <a:pt x="1188" y="698"/>
                  </a:lnTo>
                  <a:lnTo>
                    <a:pt x="1184" y="698"/>
                  </a:lnTo>
                  <a:lnTo>
                    <a:pt x="1188" y="698"/>
                  </a:lnTo>
                  <a:lnTo>
                    <a:pt x="1192" y="698"/>
                  </a:lnTo>
                  <a:lnTo>
                    <a:pt x="1192" y="702"/>
                  </a:lnTo>
                  <a:lnTo>
                    <a:pt x="1196" y="702"/>
                  </a:lnTo>
                  <a:lnTo>
                    <a:pt x="1196" y="706"/>
                  </a:lnTo>
                  <a:lnTo>
                    <a:pt x="1192" y="706"/>
                  </a:lnTo>
                  <a:lnTo>
                    <a:pt x="1192" y="710"/>
                  </a:lnTo>
                  <a:lnTo>
                    <a:pt x="1188" y="710"/>
                  </a:lnTo>
                  <a:lnTo>
                    <a:pt x="1188" y="706"/>
                  </a:lnTo>
                  <a:lnTo>
                    <a:pt x="1188" y="710"/>
                  </a:lnTo>
                  <a:lnTo>
                    <a:pt x="1192" y="710"/>
                  </a:lnTo>
                  <a:lnTo>
                    <a:pt x="1196" y="710"/>
                  </a:lnTo>
                  <a:lnTo>
                    <a:pt x="1196" y="714"/>
                  </a:lnTo>
                  <a:lnTo>
                    <a:pt x="1196" y="718"/>
                  </a:lnTo>
                  <a:lnTo>
                    <a:pt x="1200" y="718"/>
                  </a:lnTo>
                  <a:lnTo>
                    <a:pt x="1204" y="718"/>
                  </a:lnTo>
                  <a:lnTo>
                    <a:pt x="1204" y="722"/>
                  </a:lnTo>
                  <a:lnTo>
                    <a:pt x="1200" y="722"/>
                  </a:lnTo>
                  <a:lnTo>
                    <a:pt x="1200" y="726"/>
                  </a:lnTo>
                  <a:lnTo>
                    <a:pt x="1196" y="726"/>
                  </a:lnTo>
                  <a:lnTo>
                    <a:pt x="1200" y="726"/>
                  </a:lnTo>
                  <a:lnTo>
                    <a:pt x="1196" y="726"/>
                  </a:lnTo>
                  <a:lnTo>
                    <a:pt x="1200" y="726"/>
                  </a:lnTo>
                  <a:lnTo>
                    <a:pt x="1200" y="730"/>
                  </a:lnTo>
                  <a:lnTo>
                    <a:pt x="1196" y="730"/>
                  </a:lnTo>
                  <a:lnTo>
                    <a:pt x="1196" y="726"/>
                  </a:lnTo>
                  <a:lnTo>
                    <a:pt x="1192" y="726"/>
                  </a:lnTo>
                  <a:lnTo>
                    <a:pt x="1188" y="726"/>
                  </a:lnTo>
                  <a:lnTo>
                    <a:pt x="1192" y="726"/>
                  </a:lnTo>
                  <a:lnTo>
                    <a:pt x="1192" y="722"/>
                  </a:lnTo>
                  <a:lnTo>
                    <a:pt x="1188" y="722"/>
                  </a:lnTo>
                  <a:lnTo>
                    <a:pt x="1188" y="726"/>
                  </a:lnTo>
                  <a:lnTo>
                    <a:pt x="1192" y="726"/>
                  </a:lnTo>
                  <a:lnTo>
                    <a:pt x="1196" y="730"/>
                  </a:lnTo>
                  <a:lnTo>
                    <a:pt x="1192" y="730"/>
                  </a:lnTo>
                  <a:lnTo>
                    <a:pt x="1196" y="730"/>
                  </a:lnTo>
                  <a:lnTo>
                    <a:pt x="1200" y="730"/>
                  </a:lnTo>
                  <a:lnTo>
                    <a:pt x="1200" y="734"/>
                  </a:lnTo>
                  <a:lnTo>
                    <a:pt x="1196" y="734"/>
                  </a:lnTo>
                  <a:lnTo>
                    <a:pt x="1196" y="730"/>
                  </a:lnTo>
                  <a:lnTo>
                    <a:pt x="1192" y="734"/>
                  </a:lnTo>
                  <a:lnTo>
                    <a:pt x="1196" y="734"/>
                  </a:lnTo>
                  <a:lnTo>
                    <a:pt x="1192" y="734"/>
                  </a:lnTo>
                  <a:lnTo>
                    <a:pt x="1196" y="734"/>
                  </a:lnTo>
                  <a:lnTo>
                    <a:pt x="1200" y="734"/>
                  </a:lnTo>
                  <a:lnTo>
                    <a:pt x="1200" y="738"/>
                  </a:lnTo>
                  <a:lnTo>
                    <a:pt x="1196" y="738"/>
                  </a:lnTo>
                  <a:lnTo>
                    <a:pt x="1192" y="738"/>
                  </a:lnTo>
                  <a:lnTo>
                    <a:pt x="1196" y="738"/>
                  </a:lnTo>
                  <a:lnTo>
                    <a:pt x="1200" y="738"/>
                  </a:lnTo>
                  <a:lnTo>
                    <a:pt x="1204" y="738"/>
                  </a:lnTo>
                  <a:lnTo>
                    <a:pt x="1204" y="742"/>
                  </a:lnTo>
                  <a:lnTo>
                    <a:pt x="1208" y="742"/>
                  </a:lnTo>
                  <a:lnTo>
                    <a:pt x="1204" y="742"/>
                  </a:lnTo>
                  <a:lnTo>
                    <a:pt x="1204" y="746"/>
                  </a:lnTo>
                  <a:lnTo>
                    <a:pt x="1208" y="746"/>
                  </a:lnTo>
                  <a:lnTo>
                    <a:pt x="1212" y="746"/>
                  </a:lnTo>
                  <a:lnTo>
                    <a:pt x="1216" y="746"/>
                  </a:lnTo>
                  <a:lnTo>
                    <a:pt x="1216" y="750"/>
                  </a:lnTo>
                  <a:lnTo>
                    <a:pt x="1212" y="750"/>
                  </a:lnTo>
                  <a:lnTo>
                    <a:pt x="1216" y="750"/>
                  </a:lnTo>
                  <a:lnTo>
                    <a:pt x="1216" y="746"/>
                  </a:lnTo>
                  <a:lnTo>
                    <a:pt x="1216" y="750"/>
                  </a:lnTo>
                  <a:lnTo>
                    <a:pt x="1216" y="754"/>
                  </a:lnTo>
                  <a:lnTo>
                    <a:pt x="1216" y="750"/>
                  </a:lnTo>
                  <a:lnTo>
                    <a:pt x="1220" y="750"/>
                  </a:lnTo>
                  <a:lnTo>
                    <a:pt x="1216" y="750"/>
                  </a:lnTo>
                  <a:lnTo>
                    <a:pt x="1216" y="754"/>
                  </a:lnTo>
                  <a:lnTo>
                    <a:pt x="1220" y="754"/>
                  </a:lnTo>
                  <a:lnTo>
                    <a:pt x="1220" y="758"/>
                  </a:lnTo>
                  <a:lnTo>
                    <a:pt x="1216" y="758"/>
                  </a:lnTo>
                  <a:lnTo>
                    <a:pt x="1220" y="758"/>
                  </a:lnTo>
                  <a:lnTo>
                    <a:pt x="1220" y="754"/>
                  </a:lnTo>
                  <a:lnTo>
                    <a:pt x="1224" y="754"/>
                  </a:lnTo>
                  <a:lnTo>
                    <a:pt x="1224" y="758"/>
                  </a:lnTo>
                  <a:lnTo>
                    <a:pt x="1220" y="758"/>
                  </a:lnTo>
                  <a:lnTo>
                    <a:pt x="1220" y="762"/>
                  </a:lnTo>
                  <a:lnTo>
                    <a:pt x="1216" y="762"/>
                  </a:lnTo>
                  <a:lnTo>
                    <a:pt x="1220" y="762"/>
                  </a:lnTo>
                  <a:lnTo>
                    <a:pt x="1216" y="766"/>
                  </a:lnTo>
                  <a:lnTo>
                    <a:pt x="1220" y="766"/>
                  </a:lnTo>
                  <a:lnTo>
                    <a:pt x="1220" y="762"/>
                  </a:lnTo>
                  <a:lnTo>
                    <a:pt x="1224" y="762"/>
                  </a:lnTo>
                  <a:lnTo>
                    <a:pt x="1224" y="766"/>
                  </a:lnTo>
                  <a:lnTo>
                    <a:pt x="1220" y="766"/>
                  </a:lnTo>
                  <a:lnTo>
                    <a:pt x="1224" y="766"/>
                  </a:lnTo>
                  <a:lnTo>
                    <a:pt x="1224" y="762"/>
                  </a:lnTo>
                  <a:lnTo>
                    <a:pt x="1228" y="762"/>
                  </a:lnTo>
                  <a:lnTo>
                    <a:pt x="1228" y="758"/>
                  </a:lnTo>
                  <a:lnTo>
                    <a:pt x="1228" y="762"/>
                  </a:lnTo>
                  <a:lnTo>
                    <a:pt x="1224" y="762"/>
                  </a:lnTo>
                  <a:lnTo>
                    <a:pt x="1224" y="766"/>
                  </a:lnTo>
                  <a:lnTo>
                    <a:pt x="1228" y="766"/>
                  </a:lnTo>
                  <a:lnTo>
                    <a:pt x="1232" y="762"/>
                  </a:lnTo>
                  <a:lnTo>
                    <a:pt x="1232" y="766"/>
                  </a:lnTo>
                  <a:lnTo>
                    <a:pt x="1228" y="770"/>
                  </a:lnTo>
                  <a:lnTo>
                    <a:pt x="1228" y="774"/>
                  </a:lnTo>
                  <a:lnTo>
                    <a:pt x="1228" y="770"/>
                  </a:lnTo>
                  <a:lnTo>
                    <a:pt x="1232" y="770"/>
                  </a:lnTo>
                  <a:lnTo>
                    <a:pt x="1236" y="766"/>
                  </a:lnTo>
                  <a:lnTo>
                    <a:pt x="1236" y="762"/>
                  </a:lnTo>
                  <a:lnTo>
                    <a:pt x="1240" y="762"/>
                  </a:lnTo>
                  <a:lnTo>
                    <a:pt x="1236" y="762"/>
                  </a:lnTo>
                  <a:lnTo>
                    <a:pt x="1236" y="766"/>
                  </a:lnTo>
                  <a:lnTo>
                    <a:pt x="1240" y="766"/>
                  </a:lnTo>
                  <a:lnTo>
                    <a:pt x="1240" y="762"/>
                  </a:lnTo>
                  <a:lnTo>
                    <a:pt x="1240" y="766"/>
                  </a:lnTo>
                  <a:lnTo>
                    <a:pt x="1240" y="770"/>
                  </a:lnTo>
                  <a:lnTo>
                    <a:pt x="1244" y="770"/>
                  </a:lnTo>
                  <a:lnTo>
                    <a:pt x="1248" y="774"/>
                  </a:lnTo>
                  <a:lnTo>
                    <a:pt x="1248" y="770"/>
                  </a:lnTo>
                  <a:lnTo>
                    <a:pt x="1252" y="770"/>
                  </a:lnTo>
                  <a:lnTo>
                    <a:pt x="1252" y="774"/>
                  </a:lnTo>
                  <a:lnTo>
                    <a:pt x="1256" y="774"/>
                  </a:lnTo>
                  <a:lnTo>
                    <a:pt x="1260" y="774"/>
                  </a:lnTo>
                  <a:lnTo>
                    <a:pt x="1264" y="774"/>
                  </a:lnTo>
                  <a:lnTo>
                    <a:pt x="1264" y="778"/>
                  </a:lnTo>
                  <a:lnTo>
                    <a:pt x="1260" y="778"/>
                  </a:lnTo>
                  <a:lnTo>
                    <a:pt x="1264" y="778"/>
                  </a:lnTo>
                  <a:lnTo>
                    <a:pt x="1264" y="782"/>
                  </a:lnTo>
                  <a:lnTo>
                    <a:pt x="1260" y="782"/>
                  </a:lnTo>
                  <a:lnTo>
                    <a:pt x="1256" y="782"/>
                  </a:lnTo>
                  <a:lnTo>
                    <a:pt x="1252" y="782"/>
                  </a:lnTo>
                  <a:lnTo>
                    <a:pt x="1256" y="782"/>
                  </a:lnTo>
                  <a:lnTo>
                    <a:pt x="1252" y="786"/>
                  </a:lnTo>
                  <a:lnTo>
                    <a:pt x="1248" y="786"/>
                  </a:lnTo>
                  <a:lnTo>
                    <a:pt x="1244" y="786"/>
                  </a:lnTo>
                  <a:lnTo>
                    <a:pt x="1240" y="786"/>
                  </a:lnTo>
                  <a:lnTo>
                    <a:pt x="1236" y="790"/>
                  </a:lnTo>
                  <a:lnTo>
                    <a:pt x="1232" y="790"/>
                  </a:lnTo>
                  <a:lnTo>
                    <a:pt x="1236" y="790"/>
                  </a:lnTo>
                  <a:lnTo>
                    <a:pt x="1240" y="790"/>
                  </a:lnTo>
                  <a:lnTo>
                    <a:pt x="1244" y="786"/>
                  </a:lnTo>
                  <a:lnTo>
                    <a:pt x="1248" y="786"/>
                  </a:lnTo>
                  <a:lnTo>
                    <a:pt x="1248" y="790"/>
                  </a:lnTo>
                  <a:lnTo>
                    <a:pt x="1244" y="790"/>
                  </a:lnTo>
                  <a:lnTo>
                    <a:pt x="1240" y="790"/>
                  </a:lnTo>
                  <a:lnTo>
                    <a:pt x="1236" y="790"/>
                  </a:lnTo>
                  <a:lnTo>
                    <a:pt x="1236" y="794"/>
                  </a:lnTo>
                  <a:lnTo>
                    <a:pt x="1232" y="794"/>
                  </a:lnTo>
                  <a:lnTo>
                    <a:pt x="1228" y="794"/>
                  </a:lnTo>
                  <a:lnTo>
                    <a:pt x="1224" y="794"/>
                  </a:lnTo>
                  <a:lnTo>
                    <a:pt x="1224" y="798"/>
                  </a:lnTo>
                  <a:lnTo>
                    <a:pt x="1224" y="802"/>
                  </a:lnTo>
                  <a:lnTo>
                    <a:pt x="1220" y="798"/>
                  </a:lnTo>
                  <a:lnTo>
                    <a:pt x="1216" y="798"/>
                  </a:lnTo>
                  <a:lnTo>
                    <a:pt x="1212" y="794"/>
                  </a:lnTo>
                  <a:lnTo>
                    <a:pt x="1212" y="798"/>
                  </a:lnTo>
                  <a:lnTo>
                    <a:pt x="1216" y="798"/>
                  </a:lnTo>
                  <a:lnTo>
                    <a:pt x="1220" y="798"/>
                  </a:lnTo>
                  <a:lnTo>
                    <a:pt x="1220" y="802"/>
                  </a:lnTo>
                  <a:lnTo>
                    <a:pt x="1224" y="802"/>
                  </a:lnTo>
                  <a:lnTo>
                    <a:pt x="1220" y="806"/>
                  </a:lnTo>
                  <a:lnTo>
                    <a:pt x="1224" y="806"/>
                  </a:lnTo>
                  <a:lnTo>
                    <a:pt x="1220" y="806"/>
                  </a:lnTo>
                  <a:lnTo>
                    <a:pt x="1224" y="806"/>
                  </a:lnTo>
                  <a:lnTo>
                    <a:pt x="1224" y="802"/>
                  </a:lnTo>
                  <a:lnTo>
                    <a:pt x="1228" y="802"/>
                  </a:lnTo>
                  <a:lnTo>
                    <a:pt x="1232" y="802"/>
                  </a:lnTo>
                  <a:lnTo>
                    <a:pt x="1232" y="798"/>
                  </a:lnTo>
                  <a:lnTo>
                    <a:pt x="1236" y="798"/>
                  </a:lnTo>
                  <a:lnTo>
                    <a:pt x="1240" y="798"/>
                  </a:lnTo>
                  <a:lnTo>
                    <a:pt x="1240" y="794"/>
                  </a:lnTo>
                  <a:lnTo>
                    <a:pt x="1244" y="794"/>
                  </a:lnTo>
                  <a:lnTo>
                    <a:pt x="1248" y="790"/>
                  </a:lnTo>
                  <a:lnTo>
                    <a:pt x="1252" y="790"/>
                  </a:lnTo>
                  <a:lnTo>
                    <a:pt x="1256" y="790"/>
                  </a:lnTo>
                  <a:lnTo>
                    <a:pt x="1260" y="790"/>
                  </a:lnTo>
                  <a:lnTo>
                    <a:pt x="1256" y="786"/>
                  </a:lnTo>
                  <a:lnTo>
                    <a:pt x="1252" y="786"/>
                  </a:lnTo>
                  <a:lnTo>
                    <a:pt x="1248" y="786"/>
                  </a:lnTo>
                  <a:lnTo>
                    <a:pt x="1252" y="786"/>
                  </a:lnTo>
                  <a:lnTo>
                    <a:pt x="1256" y="786"/>
                  </a:lnTo>
                  <a:lnTo>
                    <a:pt x="1260" y="786"/>
                  </a:lnTo>
                  <a:lnTo>
                    <a:pt x="1264" y="786"/>
                  </a:lnTo>
                  <a:lnTo>
                    <a:pt x="1264" y="790"/>
                  </a:lnTo>
                  <a:lnTo>
                    <a:pt x="1268" y="794"/>
                  </a:lnTo>
                  <a:lnTo>
                    <a:pt x="1268" y="798"/>
                  </a:lnTo>
                  <a:lnTo>
                    <a:pt x="1264" y="798"/>
                  </a:lnTo>
                  <a:lnTo>
                    <a:pt x="1268" y="802"/>
                  </a:lnTo>
                  <a:lnTo>
                    <a:pt x="1264" y="802"/>
                  </a:lnTo>
                  <a:lnTo>
                    <a:pt x="1268" y="802"/>
                  </a:lnTo>
                  <a:lnTo>
                    <a:pt x="1268" y="798"/>
                  </a:lnTo>
                  <a:lnTo>
                    <a:pt x="1272" y="798"/>
                  </a:lnTo>
                  <a:lnTo>
                    <a:pt x="1276" y="798"/>
                  </a:lnTo>
                  <a:lnTo>
                    <a:pt x="1276" y="794"/>
                  </a:lnTo>
                  <a:lnTo>
                    <a:pt x="1280" y="794"/>
                  </a:lnTo>
                  <a:lnTo>
                    <a:pt x="1280" y="798"/>
                  </a:lnTo>
                  <a:lnTo>
                    <a:pt x="1276" y="798"/>
                  </a:lnTo>
                  <a:lnTo>
                    <a:pt x="1280" y="798"/>
                  </a:lnTo>
                  <a:lnTo>
                    <a:pt x="1284" y="798"/>
                  </a:lnTo>
                  <a:lnTo>
                    <a:pt x="1288" y="802"/>
                  </a:lnTo>
                  <a:lnTo>
                    <a:pt x="1284" y="802"/>
                  </a:lnTo>
                  <a:lnTo>
                    <a:pt x="1288" y="802"/>
                  </a:lnTo>
                  <a:lnTo>
                    <a:pt x="1284" y="806"/>
                  </a:lnTo>
                  <a:lnTo>
                    <a:pt x="1288" y="806"/>
                  </a:lnTo>
                  <a:lnTo>
                    <a:pt x="1288" y="810"/>
                  </a:lnTo>
                  <a:lnTo>
                    <a:pt x="1288" y="814"/>
                  </a:lnTo>
                  <a:lnTo>
                    <a:pt x="1284" y="814"/>
                  </a:lnTo>
                  <a:lnTo>
                    <a:pt x="1288" y="814"/>
                  </a:lnTo>
                  <a:lnTo>
                    <a:pt x="1288" y="818"/>
                  </a:lnTo>
                  <a:lnTo>
                    <a:pt x="1284" y="818"/>
                  </a:lnTo>
                  <a:lnTo>
                    <a:pt x="1288" y="822"/>
                  </a:lnTo>
                  <a:lnTo>
                    <a:pt x="1284" y="822"/>
                  </a:lnTo>
                  <a:lnTo>
                    <a:pt x="1288" y="822"/>
                  </a:lnTo>
                  <a:lnTo>
                    <a:pt x="1284" y="822"/>
                  </a:lnTo>
                  <a:lnTo>
                    <a:pt x="1280" y="822"/>
                  </a:lnTo>
                  <a:lnTo>
                    <a:pt x="1284" y="822"/>
                  </a:lnTo>
                  <a:lnTo>
                    <a:pt x="1288" y="826"/>
                  </a:lnTo>
                  <a:lnTo>
                    <a:pt x="1292" y="826"/>
                  </a:lnTo>
                  <a:lnTo>
                    <a:pt x="1288" y="830"/>
                  </a:lnTo>
                  <a:lnTo>
                    <a:pt x="1288" y="826"/>
                  </a:lnTo>
                  <a:lnTo>
                    <a:pt x="1284" y="826"/>
                  </a:lnTo>
                  <a:lnTo>
                    <a:pt x="1288" y="826"/>
                  </a:lnTo>
                  <a:lnTo>
                    <a:pt x="1288" y="830"/>
                  </a:lnTo>
                  <a:lnTo>
                    <a:pt x="1292" y="830"/>
                  </a:lnTo>
                  <a:lnTo>
                    <a:pt x="1292" y="834"/>
                  </a:lnTo>
                  <a:lnTo>
                    <a:pt x="1288" y="838"/>
                  </a:lnTo>
                  <a:lnTo>
                    <a:pt x="1284" y="838"/>
                  </a:lnTo>
                  <a:lnTo>
                    <a:pt x="1284" y="842"/>
                  </a:lnTo>
                  <a:lnTo>
                    <a:pt x="1280" y="842"/>
                  </a:lnTo>
                  <a:lnTo>
                    <a:pt x="1276" y="846"/>
                  </a:lnTo>
                  <a:lnTo>
                    <a:pt x="1272" y="846"/>
                  </a:lnTo>
                  <a:lnTo>
                    <a:pt x="1272" y="850"/>
                  </a:lnTo>
                  <a:lnTo>
                    <a:pt x="1268" y="850"/>
                  </a:lnTo>
                  <a:lnTo>
                    <a:pt x="1268" y="846"/>
                  </a:lnTo>
                  <a:lnTo>
                    <a:pt x="1264" y="846"/>
                  </a:lnTo>
                  <a:lnTo>
                    <a:pt x="1264" y="850"/>
                  </a:lnTo>
                  <a:lnTo>
                    <a:pt x="1260" y="850"/>
                  </a:lnTo>
                  <a:lnTo>
                    <a:pt x="1260" y="846"/>
                  </a:lnTo>
                  <a:lnTo>
                    <a:pt x="1256" y="850"/>
                  </a:lnTo>
                  <a:lnTo>
                    <a:pt x="1252" y="854"/>
                  </a:lnTo>
                  <a:lnTo>
                    <a:pt x="1248" y="850"/>
                  </a:lnTo>
                  <a:lnTo>
                    <a:pt x="1248" y="854"/>
                  </a:lnTo>
                  <a:lnTo>
                    <a:pt x="1244" y="854"/>
                  </a:lnTo>
                  <a:lnTo>
                    <a:pt x="1248" y="854"/>
                  </a:lnTo>
                  <a:lnTo>
                    <a:pt x="1244" y="858"/>
                  </a:lnTo>
                  <a:lnTo>
                    <a:pt x="1240" y="858"/>
                  </a:lnTo>
                  <a:lnTo>
                    <a:pt x="1240" y="862"/>
                  </a:lnTo>
                  <a:lnTo>
                    <a:pt x="1240" y="866"/>
                  </a:lnTo>
                  <a:lnTo>
                    <a:pt x="1240" y="862"/>
                  </a:lnTo>
                  <a:lnTo>
                    <a:pt x="1236" y="866"/>
                  </a:lnTo>
                  <a:lnTo>
                    <a:pt x="1232" y="866"/>
                  </a:lnTo>
                  <a:lnTo>
                    <a:pt x="1232" y="870"/>
                  </a:lnTo>
                  <a:lnTo>
                    <a:pt x="1228" y="870"/>
                  </a:lnTo>
                  <a:lnTo>
                    <a:pt x="1228" y="874"/>
                  </a:lnTo>
                  <a:lnTo>
                    <a:pt x="1224" y="874"/>
                  </a:lnTo>
                  <a:lnTo>
                    <a:pt x="1220" y="874"/>
                  </a:lnTo>
                  <a:lnTo>
                    <a:pt x="1216" y="874"/>
                  </a:lnTo>
                  <a:lnTo>
                    <a:pt x="1216" y="878"/>
                  </a:lnTo>
                  <a:lnTo>
                    <a:pt x="1216" y="874"/>
                  </a:lnTo>
                  <a:lnTo>
                    <a:pt x="1212" y="878"/>
                  </a:lnTo>
                  <a:lnTo>
                    <a:pt x="1208" y="878"/>
                  </a:lnTo>
                  <a:lnTo>
                    <a:pt x="1204" y="878"/>
                  </a:lnTo>
                  <a:lnTo>
                    <a:pt x="1200" y="878"/>
                  </a:lnTo>
                  <a:lnTo>
                    <a:pt x="1196" y="878"/>
                  </a:lnTo>
                  <a:lnTo>
                    <a:pt x="1196" y="874"/>
                  </a:lnTo>
                  <a:lnTo>
                    <a:pt x="1192" y="874"/>
                  </a:lnTo>
                  <a:lnTo>
                    <a:pt x="1188" y="874"/>
                  </a:lnTo>
                  <a:lnTo>
                    <a:pt x="1184" y="874"/>
                  </a:lnTo>
                  <a:lnTo>
                    <a:pt x="1176" y="874"/>
                  </a:lnTo>
                  <a:lnTo>
                    <a:pt x="1172" y="874"/>
                  </a:lnTo>
                  <a:lnTo>
                    <a:pt x="1168" y="874"/>
                  </a:lnTo>
                  <a:lnTo>
                    <a:pt x="1164" y="874"/>
                  </a:lnTo>
                  <a:lnTo>
                    <a:pt x="1160" y="874"/>
                  </a:lnTo>
                  <a:lnTo>
                    <a:pt x="1156" y="874"/>
                  </a:lnTo>
                  <a:lnTo>
                    <a:pt x="1152" y="874"/>
                  </a:lnTo>
                  <a:lnTo>
                    <a:pt x="1148" y="874"/>
                  </a:lnTo>
                  <a:lnTo>
                    <a:pt x="1145" y="874"/>
                  </a:lnTo>
                  <a:lnTo>
                    <a:pt x="1141" y="874"/>
                  </a:lnTo>
                  <a:lnTo>
                    <a:pt x="1137" y="874"/>
                  </a:lnTo>
                  <a:lnTo>
                    <a:pt x="1133" y="874"/>
                  </a:lnTo>
                  <a:lnTo>
                    <a:pt x="1133" y="878"/>
                  </a:lnTo>
                  <a:lnTo>
                    <a:pt x="1129" y="878"/>
                  </a:lnTo>
                  <a:lnTo>
                    <a:pt x="1129" y="874"/>
                  </a:lnTo>
                  <a:lnTo>
                    <a:pt x="1125" y="878"/>
                  </a:lnTo>
                  <a:lnTo>
                    <a:pt x="1121" y="882"/>
                  </a:lnTo>
                  <a:lnTo>
                    <a:pt x="1121" y="886"/>
                  </a:lnTo>
                  <a:lnTo>
                    <a:pt x="1117" y="886"/>
                  </a:lnTo>
                  <a:lnTo>
                    <a:pt x="1117" y="890"/>
                  </a:lnTo>
                  <a:lnTo>
                    <a:pt x="1117" y="894"/>
                  </a:lnTo>
                  <a:lnTo>
                    <a:pt x="1113" y="894"/>
                  </a:lnTo>
                  <a:lnTo>
                    <a:pt x="1109" y="898"/>
                  </a:lnTo>
                  <a:lnTo>
                    <a:pt x="1105" y="898"/>
                  </a:lnTo>
                  <a:lnTo>
                    <a:pt x="1101" y="898"/>
                  </a:lnTo>
                  <a:lnTo>
                    <a:pt x="1101" y="902"/>
                  </a:lnTo>
                  <a:lnTo>
                    <a:pt x="1097" y="902"/>
                  </a:lnTo>
                  <a:lnTo>
                    <a:pt x="1093" y="906"/>
                  </a:lnTo>
                  <a:lnTo>
                    <a:pt x="1089" y="910"/>
                  </a:lnTo>
                  <a:lnTo>
                    <a:pt x="1089" y="914"/>
                  </a:lnTo>
                  <a:lnTo>
                    <a:pt x="1085" y="914"/>
                  </a:lnTo>
                  <a:lnTo>
                    <a:pt x="1085" y="918"/>
                  </a:lnTo>
                  <a:lnTo>
                    <a:pt x="1081" y="918"/>
                  </a:lnTo>
                  <a:lnTo>
                    <a:pt x="1081" y="922"/>
                  </a:lnTo>
                  <a:lnTo>
                    <a:pt x="1077" y="922"/>
                  </a:lnTo>
                  <a:lnTo>
                    <a:pt x="1073" y="918"/>
                  </a:lnTo>
                  <a:lnTo>
                    <a:pt x="1069" y="918"/>
                  </a:lnTo>
                  <a:lnTo>
                    <a:pt x="1065" y="918"/>
                  </a:lnTo>
                  <a:lnTo>
                    <a:pt x="1065" y="914"/>
                  </a:lnTo>
                  <a:lnTo>
                    <a:pt x="1061" y="914"/>
                  </a:lnTo>
                  <a:lnTo>
                    <a:pt x="1057" y="914"/>
                  </a:lnTo>
                  <a:lnTo>
                    <a:pt x="1061" y="914"/>
                  </a:lnTo>
                  <a:lnTo>
                    <a:pt x="1061" y="918"/>
                  </a:lnTo>
                  <a:lnTo>
                    <a:pt x="1065" y="918"/>
                  </a:lnTo>
                  <a:lnTo>
                    <a:pt x="1069" y="918"/>
                  </a:lnTo>
                  <a:lnTo>
                    <a:pt x="1073" y="918"/>
                  </a:lnTo>
                  <a:lnTo>
                    <a:pt x="1077" y="922"/>
                  </a:lnTo>
                  <a:lnTo>
                    <a:pt x="1077" y="926"/>
                  </a:lnTo>
                  <a:lnTo>
                    <a:pt x="1077" y="930"/>
                  </a:lnTo>
                  <a:lnTo>
                    <a:pt x="1073" y="930"/>
                  </a:lnTo>
                  <a:lnTo>
                    <a:pt x="1073" y="934"/>
                  </a:lnTo>
                  <a:lnTo>
                    <a:pt x="1073" y="938"/>
                  </a:lnTo>
                  <a:lnTo>
                    <a:pt x="1069" y="938"/>
                  </a:lnTo>
                  <a:lnTo>
                    <a:pt x="1065" y="938"/>
                  </a:lnTo>
                  <a:lnTo>
                    <a:pt x="1065" y="942"/>
                  </a:lnTo>
                  <a:lnTo>
                    <a:pt x="1065" y="946"/>
                  </a:lnTo>
                  <a:lnTo>
                    <a:pt x="1061" y="946"/>
                  </a:lnTo>
                  <a:lnTo>
                    <a:pt x="1057" y="950"/>
                  </a:lnTo>
                  <a:lnTo>
                    <a:pt x="1053" y="954"/>
                  </a:lnTo>
                  <a:lnTo>
                    <a:pt x="1057" y="950"/>
                  </a:lnTo>
                  <a:lnTo>
                    <a:pt x="1061" y="950"/>
                  </a:lnTo>
                  <a:lnTo>
                    <a:pt x="1065" y="950"/>
                  </a:lnTo>
                  <a:lnTo>
                    <a:pt x="1065" y="946"/>
                  </a:lnTo>
                  <a:lnTo>
                    <a:pt x="1069" y="946"/>
                  </a:lnTo>
                  <a:lnTo>
                    <a:pt x="1069" y="942"/>
                  </a:lnTo>
                  <a:lnTo>
                    <a:pt x="1073" y="938"/>
                  </a:lnTo>
                  <a:lnTo>
                    <a:pt x="1073" y="934"/>
                  </a:lnTo>
                  <a:lnTo>
                    <a:pt x="1077" y="934"/>
                  </a:lnTo>
                  <a:lnTo>
                    <a:pt x="1081" y="930"/>
                  </a:lnTo>
                  <a:lnTo>
                    <a:pt x="1081" y="926"/>
                  </a:lnTo>
                  <a:lnTo>
                    <a:pt x="1085" y="926"/>
                  </a:lnTo>
                  <a:lnTo>
                    <a:pt x="1085" y="922"/>
                  </a:lnTo>
                  <a:lnTo>
                    <a:pt x="1089" y="922"/>
                  </a:lnTo>
                  <a:lnTo>
                    <a:pt x="1089" y="918"/>
                  </a:lnTo>
                  <a:lnTo>
                    <a:pt x="1093" y="918"/>
                  </a:lnTo>
                  <a:lnTo>
                    <a:pt x="1097" y="914"/>
                  </a:lnTo>
                  <a:lnTo>
                    <a:pt x="1101" y="914"/>
                  </a:lnTo>
                  <a:lnTo>
                    <a:pt x="1101" y="910"/>
                  </a:lnTo>
                  <a:lnTo>
                    <a:pt x="1105" y="910"/>
                  </a:lnTo>
                  <a:lnTo>
                    <a:pt x="1109" y="906"/>
                  </a:lnTo>
                  <a:lnTo>
                    <a:pt x="1113" y="906"/>
                  </a:lnTo>
                  <a:lnTo>
                    <a:pt x="1117" y="906"/>
                  </a:lnTo>
                  <a:lnTo>
                    <a:pt x="1117" y="902"/>
                  </a:lnTo>
                  <a:lnTo>
                    <a:pt x="1121" y="902"/>
                  </a:lnTo>
                  <a:lnTo>
                    <a:pt x="1125" y="902"/>
                  </a:lnTo>
                  <a:lnTo>
                    <a:pt x="1129" y="898"/>
                  </a:lnTo>
                  <a:lnTo>
                    <a:pt x="1133" y="898"/>
                  </a:lnTo>
                  <a:lnTo>
                    <a:pt x="1137" y="898"/>
                  </a:lnTo>
                  <a:lnTo>
                    <a:pt x="1141" y="898"/>
                  </a:lnTo>
                  <a:lnTo>
                    <a:pt x="1145" y="898"/>
                  </a:lnTo>
                  <a:lnTo>
                    <a:pt x="1148" y="898"/>
                  </a:lnTo>
                  <a:lnTo>
                    <a:pt x="1152" y="898"/>
                  </a:lnTo>
                  <a:lnTo>
                    <a:pt x="1156" y="902"/>
                  </a:lnTo>
                  <a:lnTo>
                    <a:pt x="1160" y="902"/>
                  </a:lnTo>
                  <a:lnTo>
                    <a:pt x="1160" y="906"/>
                  </a:lnTo>
                  <a:lnTo>
                    <a:pt x="1164" y="910"/>
                  </a:lnTo>
                  <a:lnTo>
                    <a:pt x="1160" y="906"/>
                  </a:lnTo>
                  <a:lnTo>
                    <a:pt x="1156" y="906"/>
                  </a:lnTo>
                  <a:lnTo>
                    <a:pt x="1160" y="906"/>
                  </a:lnTo>
                  <a:lnTo>
                    <a:pt x="1160" y="910"/>
                  </a:lnTo>
                  <a:lnTo>
                    <a:pt x="1164" y="910"/>
                  </a:lnTo>
                  <a:lnTo>
                    <a:pt x="1160" y="910"/>
                  </a:lnTo>
                  <a:lnTo>
                    <a:pt x="1160" y="914"/>
                  </a:lnTo>
                  <a:lnTo>
                    <a:pt x="1160" y="918"/>
                  </a:lnTo>
                  <a:lnTo>
                    <a:pt x="1156" y="918"/>
                  </a:lnTo>
                  <a:lnTo>
                    <a:pt x="1152" y="918"/>
                  </a:lnTo>
                  <a:lnTo>
                    <a:pt x="1152" y="922"/>
                  </a:lnTo>
                  <a:lnTo>
                    <a:pt x="1148" y="922"/>
                  </a:lnTo>
                  <a:lnTo>
                    <a:pt x="1148" y="926"/>
                  </a:lnTo>
                  <a:lnTo>
                    <a:pt x="1145" y="926"/>
                  </a:lnTo>
                  <a:lnTo>
                    <a:pt x="1141" y="926"/>
                  </a:lnTo>
                  <a:lnTo>
                    <a:pt x="1141" y="922"/>
                  </a:lnTo>
                  <a:lnTo>
                    <a:pt x="1137" y="922"/>
                  </a:lnTo>
                  <a:lnTo>
                    <a:pt x="1133" y="922"/>
                  </a:lnTo>
                  <a:lnTo>
                    <a:pt x="1129" y="922"/>
                  </a:lnTo>
                  <a:lnTo>
                    <a:pt x="1125" y="926"/>
                  </a:lnTo>
                  <a:lnTo>
                    <a:pt x="1121" y="926"/>
                  </a:lnTo>
                  <a:lnTo>
                    <a:pt x="1125" y="926"/>
                  </a:lnTo>
                  <a:lnTo>
                    <a:pt x="1129" y="922"/>
                  </a:lnTo>
                  <a:lnTo>
                    <a:pt x="1133" y="926"/>
                  </a:lnTo>
                  <a:lnTo>
                    <a:pt x="1137" y="926"/>
                  </a:lnTo>
                  <a:lnTo>
                    <a:pt x="1141" y="930"/>
                  </a:lnTo>
                  <a:lnTo>
                    <a:pt x="1141" y="934"/>
                  </a:lnTo>
                  <a:lnTo>
                    <a:pt x="1145" y="930"/>
                  </a:lnTo>
                  <a:lnTo>
                    <a:pt x="1148" y="930"/>
                  </a:lnTo>
                  <a:lnTo>
                    <a:pt x="1152" y="930"/>
                  </a:lnTo>
                  <a:lnTo>
                    <a:pt x="1156" y="930"/>
                  </a:lnTo>
                  <a:lnTo>
                    <a:pt x="1152" y="930"/>
                  </a:lnTo>
                  <a:lnTo>
                    <a:pt x="1152" y="934"/>
                  </a:lnTo>
                  <a:lnTo>
                    <a:pt x="1152" y="938"/>
                  </a:lnTo>
                  <a:lnTo>
                    <a:pt x="1148" y="942"/>
                  </a:lnTo>
                  <a:lnTo>
                    <a:pt x="1145" y="946"/>
                  </a:lnTo>
                  <a:lnTo>
                    <a:pt x="1148" y="946"/>
                  </a:lnTo>
                  <a:lnTo>
                    <a:pt x="1152" y="946"/>
                  </a:lnTo>
                  <a:lnTo>
                    <a:pt x="1152" y="950"/>
                  </a:lnTo>
                  <a:lnTo>
                    <a:pt x="1152" y="954"/>
                  </a:lnTo>
                  <a:lnTo>
                    <a:pt x="1156" y="958"/>
                  </a:lnTo>
                  <a:lnTo>
                    <a:pt x="1156" y="962"/>
                  </a:lnTo>
                  <a:lnTo>
                    <a:pt x="1160" y="962"/>
                  </a:lnTo>
                  <a:lnTo>
                    <a:pt x="1164" y="966"/>
                  </a:lnTo>
                  <a:lnTo>
                    <a:pt x="1168" y="966"/>
                  </a:lnTo>
                  <a:lnTo>
                    <a:pt x="1164" y="966"/>
                  </a:lnTo>
                  <a:lnTo>
                    <a:pt x="1164" y="970"/>
                  </a:lnTo>
                  <a:lnTo>
                    <a:pt x="1168" y="970"/>
                  </a:lnTo>
                  <a:lnTo>
                    <a:pt x="1168" y="974"/>
                  </a:lnTo>
                  <a:lnTo>
                    <a:pt x="1172" y="970"/>
                  </a:lnTo>
                  <a:lnTo>
                    <a:pt x="1172" y="974"/>
                  </a:lnTo>
                  <a:lnTo>
                    <a:pt x="1176" y="974"/>
                  </a:lnTo>
                  <a:lnTo>
                    <a:pt x="1180" y="974"/>
                  </a:lnTo>
                  <a:lnTo>
                    <a:pt x="1184" y="974"/>
                  </a:lnTo>
                  <a:lnTo>
                    <a:pt x="1188" y="974"/>
                  </a:lnTo>
                  <a:lnTo>
                    <a:pt x="1188" y="978"/>
                  </a:lnTo>
                  <a:lnTo>
                    <a:pt x="1192" y="974"/>
                  </a:lnTo>
                  <a:lnTo>
                    <a:pt x="1196" y="974"/>
                  </a:lnTo>
                  <a:lnTo>
                    <a:pt x="1196" y="970"/>
                  </a:lnTo>
                  <a:lnTo>
                    <a:pt x="1196" y="974"/>
                  </a:lnTo>
                  <a:lnTo>
                    <a:pt x="1200" y="978"/>
                  </a:lnTo>
                  <a:lnTo>
                    <a:pt x="1200" y="974"/>
                  </a:lnTo>
                  <a:lnTo>
                    <a:pt x="1204" y="974"/>
                  </a:lnTo>
                  <a:lnTo>
                    <a:pt x="1204" y="978"/>
                  </a:lnTo>
                  <a:lnTo>
                    <a:pt x="1208" y="978"/>
                  </a:lnTo>
                  <a:lnTo>
                    <a:pt x="1208" y="982"/>
                  </a:lnTo>
                  <a:lnTo>
                    <a:pt x="1204" y="982"/>
                  </a:lnTo>
                  <a:lnTo>
                    <a:pt x="1208" y="982"/>
                  </a:lnTo>
                  <a:lnTo>
                    <a:pt x="1212" y="982"/>
                  </a:lnTo>
                  <a:lnTo>
                    <a:pt x="1212" y="986"/>
                  </a:lnTo>
                  <a:lnTo>
                    <a:pt x="1208" y="986"/>
                  </a:lnTo>
                  <a:lnTo>
                    <a:pt x="1204" y="986"/>
                  </a:lnTo>
                  <a:lnTo>
                    <a:pt x="1200" y="986"/>
                  </a:lnTo>
                  <a:lnTo>
                    <a:pt x="1200" y="990"/>
                  </a:lnTo>
                  <a:lnTo>
                    <a:pt x="1196" y="990"/>
                  </a:lnTo>
                  <a:lnTo>
                    <a:pt x="1192" y="990"/>
                  </a:lnTo>
                  <a:lnTo>
                    <a:pt x="1188" y="994"/>
                  </a:lnTo>
                  <a:lnTo>
                    <a:pt x="1184" y="994"/>
                  </a:lnTo>
                  <a:lnTo>
                    <a:pt x="1180" y="998"/>
                  </a:lnTo>
                  <a:lnTo>
                    <a:pt x="1180" y="994"/>
                  </a:lnTo>
                  <a:lnTo>
                    <a:pt x="1180" y="998"/>
                  </a:lnTo>
                  <a:lnTo>
                    <a:pt x="1176" y="998"/>
                  </a:lnTo>
                  <a:lnTo>
                    <a:pt x="1172" y="998"/>
                  </a:lnTo>
                  <a:lnTo>
                    <a:pt x="1168" y="998"/>
                  </a:lnTo>
                  <a:lnTo>
                    <a:pt x="1172" y="998"/>
                  </a:lnTo>
                  <a:lnTo>
                    <a:pt x="1172" y="1002"/>
                  </a:lnTo>
                  <a:lnTo>
                    <a:pt x="1164" y="1002"/>
                  </a:lnTo>
                  <a:lnTo>
                    <a:pt x="1164" y="998"/>
                  </a:lnTo>
                  <a:lnTo>
                    <a:pt x="1164" y="1002"/>
                  </a:lnTo>
                  <a:lnTo>
                    <a:pt x="1164" y="998"/>
                  </a:lnTo>
                  <a:lnTo>
                    <a:pt x="1160" y="998"/>
                  </a:lnTo>
                  <a:lnTo>
                    <a:pt x="1160" y="1002"/>
                  </a:lnTo>
                  <a:lnTo>
                    <a:pt x="1160" y="1006"/>
                  </a:lnTo>
                  <a:lnTo>
                    <a:pt x="1156" y="1006"/>
                  </a:lnTo>
                  <a:lnTo>
                    <a:pt x="1156" y="1010"/>
                  </a:lnTo>
                  <a:lnTo>
                    <a:pt x="1152" y="1014"/>
                  </a:lnTo>
                  <a:lnTo>
                    <a:pt x="1148" y="1018"/>
                  </a:lnTo>
                  <a:lnTo>
                    <a:pt x="1145" y="1018"/>
                  </a:lnTo>
                  <a:lnTo>
                    <a:pt x="1145" y="1022"/>
                  </a:lnTo>
                  <a:lnTo>
                    <a:pt x="1141" y="1022"/>
                  </a:lnTo>
                  <a:lnTo>
                    <a:pt x="1137" y="1022"/>
                  </a:lnTo>
                  <a:lnTo>
                    <a:pt x="1137" y="1018"/>
                  </a:lnTo>
                  <a:lnTo>
                    <a:pt x="1137" y="1014"/>
                  </a:lnTo>
                  <a:lnTo>
                    <a:pt x="1137" y="1018"/>
                  </a:lnTo>
                  <a:lnTo>
                    <a:pt x="1133" y="1018"/>
                  </a:lnTo>
                  <a:lnTo>
                    <a:pt x="1133" y="1014"/>
                  </a:lnTo>
                  <a:lnTo>
                    <a:pt x="1133" y="1010"/>
                  </a:lnTo>
                  <a:lnTo>
                    <a:pt x="1133" y="1006"/>
                  </a:lnTo>
                  <a:lnTo>
                    <a:pt x="1133" y="1002"/>
                  </a:lnTo>
                  <a:lnTo>
                    <a:pt x="1137" y="1002"/>
                  </a:lnTo>
                  <a:lnTo>
                    <a:pt x="1137" y="998"/>
                  </a:lnTo>
                  <a:lnTo>
                    <a:pt x="1137" y="1002"/>
                  </a:lnTo>
                  <a:lnTo>
                    <a:pt x="1133" y="1002"/>
                  </a:lnTo>
                  <a:lnTo>
                    <a:pt x="1137" y="998"/>
                  </a:lnTo>
                  <a:lnTo>
                    <a:pt x="1141" y="998"/>
                  </a:lnTo>
                  <a:lnTo>
                    <a:pt x="1141" y="994"/>
                  </a:lnTo>
                  <a:lnTo>
                    <a:pt x="1141" y="998"/>
                  </a:lnTo>
                  <a:lnTo>
                    <a:pt x="1141" y="994"/>
                  </a:lnTo>
                  <a:lnTo>
                    <a:pt x="1145" y="990"/>
                  </a:lnTo>
                  <a:lnTo>
                    <a:pt x="1148" y="990"/>
                  </a:lnTo>
                  <a:lnTo>
                    <a:pt x="1152" y="990"/>
                  </a:lnTo>
                  <a:lnTo>
                    <a:pt x="1152" y="986"/>
                  </a:lnTo>
                  <a:lnTo>
                    <a:pt x="1156" y="986"/>
                  </a:lnTo>
                  <a:lnTo>
                    <a:pt x="1160" y="986"/>
                  </a:lnTo>
                  <a:lnTo>
                    <a:pt x="1160" y="982"/>
                  </a:lnTo>
                  <a:lnTo>
                    <a:pt x="1156" y="982"/>
                  </a:lnTo>
                  <a:lnTo>
                    <a:pt x="1160" y="982"/>
                  </a:lnTo>
                  <a:lnTo>
                    <a:pt x="1160" y="986"/>
                  </a:lnTo>
                  <a:lnTo>
                    <a:pt x="1160" y="990"/>
                  </a:lnTo>
                  <a:lnTo>
                    <a:pt x="1160" y="986"/>
                  </a:lnTo>
                  <a:lnTo>
                    <a:pt x="1164" y="990"/>
                  </a:lnTo>
                  <a:lnTo>
                    <a:pt x="1160" y="986"/>
                  </a:lnTo>
                  <a:lnTo>
                    <a:pt x="1164" y="986"/>
                  </a:lnTo>
                  <a:lnTo>
                    <a:pt x="1168" y="982"/>
                  </a:lnTo>
                  <a:lnTo>
                    <a:pt x="1172" y="982"/>
                  </a:lnTo>
                  <a:lnTo>
                    <a:pt x="1176" y="982"/>
                  </a:lnTo>
                  <a:lnTo>
                    <a:pt x="1168" y="982"/>
                  </a:lnTo>
                  <a:lnTo>
                    <a:pt x="1164" y="982"/>
                  </a:lnTo>
                  <a:lnTo>
                    <a:pt x="1160" y="982"/>
                  </a:lnTo>
                  <a:lnTo>
                    <a:pt x="1156" y="982"/>
                  </a:lnTo>
                  <a:lnTo>
                    <a:pt x="1152" y="982"/>
                  </a:lnTo>
                  <a:lnTo>
                    <a:pt x="1152" y="978"/>
                  </a:lnTo>
                  <a:lnTo>
                    <a:pt x="1156" y="978"/>
                  </a:lnTo>
                  <a:lnTo>
                    <a:pt x="1156" y="974"/>
                  </a:lnTo>
                  <a:lnTo>
                    <a:pt x="1160" y="974"/>
                  </a:lnTo>
                  <a:lnTo>
                    <a:pt x="1160" y="970"/>
                  </a:lnTo>
                  <a:lnTo>
                    <a:pt x="1160" y="974"/>
                  </a:lnTo>
                  <a:lnTo>
                    <a:pt x="1156" y="974"/>
                  </a:lnTo>
                  <a:lnTo>
                    <a:pt x="1156" y="970"/>
                  </a:lnTo>
                  <a:lnTo>
                    <a:pt x="1156" y="966"/>
                  </a:lnTo>
                  <a:lnTo>
                    <a:pt x="1152" y="966"/>
                  </a:lnTo>
                  <a:lnTo>
                    <a:pt x="1152" y="970"/>
                  </a:lnTo>
                  <a:lnTo>
                    <a:pt x="1156" y="970"/>
                  </a:lnTo>
                  <a:lnTo>
                    <a:pt x="1156" y="974"/>
                  </a:lnTo>
                  <a:lnTo>
                    <a:pt x="1152" y="978"/>
                  </a:lnTo>
                  <a:lnTo>
                    <a:pt x="1148" y="978"/>
                  </a:lnTo>
                  <a:lnTo>
                    <a:pt x="1145" y="982"/>
                  </a:lnTo>
                  <a:lnTo>
                    <a:pt x="1141" y="982"/>
                  </a:lnTo>
                  <a:lnTo>
                    <a:pt x="1137" y="986"/>
                  </a:lnTo>
                  <a:lnTo>
                    <a:pt x="1133" y="982"/>
                  </a:lnTo>
                  <a:lnTo>
                    <a:pt x="1137" y="982"/>
                  </a:lnTo>
                  <a:lnTo>
                    <a:pt x="1133" y="982"/>
                  </a:lnTo>
                  <a:lnTo>
                    <a:pt x="1133" y="986"/>
                  </a:lnTo>
                  <a:lnTo>
                    <a:pt x="1129" y="990"/>
                  </a:lnTo>
                  <a:lnTo>
                    <a:pt x="1129" y="986"/>
                  </a:lnTo>
                  <a:lnTo>
                    <a:pt x="1125" y="986"/>
                  </a:lnTo>
                  <a:lnTo>
                    <a:pt x="1125" y="990"/>
                  </a:lnTo>
                  <a:lnTo>
                    <a:pt x="1121" y="986"/>
                  </a:lnTo>
                  <a:lnTo>
                    <a:pt x="1117" y="986"/>
                  </a:lnTo>
                  <a:lnTo>
                    <a:pt x="1113" y="986"/>
                  </a:lnTo>
                  <a:lnTo>
                    <a:pt x="1113" y="982"/>
                  </a:lnTo>
                  <a:lnTo>
                    <a:pt x="1113" y="978"/>
                  </a:lnTo>
                  <a:lnTo>
                    <a:pt x="1109" y="978"/>
                  </a:lnTo>
                  <a:lnTo>
                    <a:pt x="1109" y="974"/>
                  </a:lnTo>
                  <a:lnTo>
                    <a:pt x="1109" y="970"/>
                  </a:lnTo>
                  <a:lnTo>
                    <a:pt x="1109" y="962"/>
                  </a:lnTo>
                  <a:lnTo>
                    <a:pt x="1109" y="950"/>
                  </a:lnTo>
                  <a:lnTo>
                    <a:pt x="1109" y="946"/>
                  </a:lnTo>
                  <a:lnTo>
                    <a:pt x="1105" y="946"/>
                  </a:lnTo>
                  <a:lnTo>
                    <a:pt x="1105" y="942"/>
                  </a:lnTo>
                  <a:lnTo>
                    <a:pt x="1101" y="938"/>
                  </a:lnTo>
                  <a:lnTo>
                    <a:pt x="1097" y="942"/>
                  </a:lnTo>
                  <a:lnTo>
                    <a:pt x="1093" y="942"/>
                  </a:lnTo>
                  <a:lnTo>
                    <a:pt x="1089" y="942"/>
                  </a:lnTo>
                  <a:lnTo>
                    <a:pt x="1089" y="938"/>
                  </a:lnTo>
                  <a:lnTo>
                    <a:pt x="1085" y="938"/>
                  </a:lnTo>
                  <a:lnTo>
                    <a:pt x="1085" y="942"/>
                  </a:lnTo>
                  <a:lnTo>
                    <a:pt x="1081" y="946"/>
                  </a:lnTo>
                  <a:lnTo>
                    <a:pt x="1077" y="946"/>
                  </a:lnTo>
                  <a:lnTo>
                    <a:pt x="1077" y="950"/>
                  </a:lnTo>
                  <a:lnTo>
                    <a:pt x="1073" y="954"/>
                  </a:lnTo>
                  <a:lnTo>
                    <a:pt x="1073" y="958"/>
                  </a:lnTo>
                  <a:lnTo>
                    <a:pt x="1073" y="962"/>
                  </a:lnTo>
                  <a:lnTo>
                    <a:pt x="1069" y="962"/>
                  </a:lnTo>
                  <a:lnTo>
                    <a:pt x="1069" y="966"/>
                  </a:lnTo>
                  <a:lnTo>
                    <a:pt x="1069" y="970"/>
                  </a:lnTo>
                  <a:lnTo>
                    <a:pt x="1069" y="974"/>
                  </a:lnTo>
                  <a:lnTo>
                    <a:pt x="1065" y="974"/>
                  </a:lnTo>
                  <a:lnTo>
                    <a:pt x="1065" y="978"/>
                  </a:lnTo>
                  <a:lnTo>
                    <a:pt x="1065" y="982"/>
                  </a:lnTo>
                  <a:lnTo>
                    <a:pt x="1061" y="986"/>
                  </a:lnTo>
                  <a:lnTo>
                    <a:pt x="1057" y="982"/>
                  </a:lnTo>
                  <a:lnTo>
                    <a:pt x="1057" y="986"/>
                  </a:lnTo>
                  <a:lnTo>
                    <a:pt x="1057" y="982"/>
                  </a:lnTo>
                  <a:lnTo>
                    <a:pt x="1053" y="982"/>
                  </a:lnTo>
                  <a:lnTo>
                    <a:pt x="1053" y="986"/>
                  </a:lnTo>
                  <a:lnTo>
                    <a:pt x="1053" y="990"/>
                  </a:lnTo>
                  <a:lnTo>
                    <a:pt x="1049" y="990"/>
                  </a:lnTo>
                  <a:lnTo>
                    <a:pt x="1045" y="990"/>
                  </a:lnTo>
                  <a:lnTo>
                    <a:pt x="1041" y="990"/>
                  </a:lnTo>
                  <a:lnTo>
                    <a:pt x="1037" y="990"/>
                  </a:lnTo>
                  <a:lnTo>
                    <a:pt x="1033" y="990"/>
                  </a:lnTo>
                  <a:lnTo>
                    <a:pt x="1029" y="990"/>
                  </a:lnTo>
                  <a:lnTo>
                    <a:pt x="1025" y="990"/>
                  </a:lnTo>
                  <a:lnTo>
                    <a:pt x="1021" y="990"/>
                  </a:lnTo>
                  <a:lnTo>
                    <a:pt x="1017" y="990"/>
                  </a:lnTo>
                  <a:lnTo>
                    <a:pt x="1009" y="990"/>
                  </a:lnTo>
                  <a:lnTo>
                    <a:pt x="1005" y="990"/>
                  </a:lnTo>
                  <a:lnTo>
                    <a:pt x="1001" y="990"/>
                  </a:lnTo>
                  <a:lnTo>
                    <a:pt x="997" y="990"/>
                  </a:lnTo>
                  <a:lnTo>
                    <a:pt x="997" y="994"/>
                  </a:lnTo>
                  <a:lnTo>
                    <a:pt x="993" y="994"/>
                  </a:lnTo>
                  <a:lnTo>
                    <a:pt x="989" y="998"/>
                  </a:lnTo>
                  <a:lnTo>
                    <a:pt x="989" y="1002"/>
                  </a:lnTo>
                  <a:lnTo>
                    <a:pt x="985" y="1002"/>
                  </a:lnTo>
                  <a:lnTo>
                    <a:pt x="985" y="1006"/>
                  </a:lnTo>
                  <a:lnTo>
                    <a:pt x="981" y="1006"/>
                  </a:lnTo>
                  <a:lnTo>
                    <a:pt x="977" y="1010"/>
                  </a:lnTo>
                  <a:lnTo>
                    <a:pt x="977" y="1014"/>
                  </a:lnTo>
                  <a:lnTo>
                    <a:pt x="973" y="1014"/>
                  </a:lnTo>
                  <a:lnTo>
                    <a:pt x="973" y="1018"/>
                  </a:lnTo>
                  <a:lnTo>
                    <a:pt x="969" y="1018"/>
                  </a:lnTo>
                  <a:lnTo>
                    <a:pt x="965" y="1018"/>
                  </a:lnTo>
                  <a:lnTo>
                    <a:pt x="961" y="1018"/>
                  </a:lnTo>
                  <a:lnTo>
                    <a:pt x="957" y="1018"/>
                  </a:lnTo>
                  <a:lnTo>
                    <a:pt x="953" y="1018"/>
                  </a:lnTo>
                  <a:lnTo>
                    <a:pt x="949" y="1018"/>
                  </a:lnTo>
                  <a:lnTo>
                    <a:pt x="941" y="1018"/>
                  </a:lnTo>
                  <a:lnTo>
                    <a:pt x="937" y="1022"/>
                  </a:lnTo>
                  <a:lnTo>
                    <a:pt x="937" y="1026"/>
                  </a:lnTo>
                  <a:lnTo>
                    <a:pt x="937" y="1030"/>
                  </a:lnTo>
                  <a:lnTo>
                    <a:pt x="937" y="1034"/>
                  </a:lnTo>
                  <a:lnTo>
                    <a:pt x="941" y="1034"/>
                  </a:lnTo>
                  <a:lnTo>
                    <a:pt x="937" y="1034"/>
                  </a:lnTo>
                  <a:lnTo>
                    <a:pt x="937" y="1038"/>
                  </a:lnTo>
                  <a:lnTo>
                    <a:pt x="933" y="1038"/>
                  </a:lnTo>
                  <a:lnTo>
                    <a:pt x="929" y="1042"/>
                  </a:lnTo>
                  <a:lnTo>
                    <a:pt x="925" y="1042"/>
                  </a:lnTo>
                  <a:lnTo>
                    <a:pt x="921" y="1045"/>
                  </a:lnTo>
                  <a:lnTo>
                    <a:pt x="913" y="1045"/>
                  </a:lnTo>
                  <a:lnTo>
                    <a:pt x="909" y="1049"/>
                  </a:lnTo>
                  <a:lnTo>
                    <a:pt x="905" y="1049"/>
                  </a:lnTo>
                  <a:lnTo>
                    <a:pt x="901" y="1049"/>
                  </a:lnTo>
                  <a:lnTo>
                    <a:pt x="897" y="1053"/>
                  </a:lnTo>
                  <a:lnTo>
                    <a:pt x="893" y="1053"/>
                  </a:lnTo>
                  <a:lnTo>
                    <a:pt x="889" y="1057"/>
                  </a:lnTo>
                  <a:lnTo>
                    <a:pt x="885" y="1061"/>
                  </a:lnTo>
                  <a:lnTo>
                    <a:pt x="881" y="1061"/>
                  </a:lnTo>
                  <a:lnTo>
                    <a:pt x="877" y="1057"/>
                  </a:lnTo>
                  <a:lnTo>
                    <a:pt x="877" y="1053"/>
                  </a:lnTo>
                  <a:lnTo>
                    <a:pt x="873" y="1053"/>
                  </a:lnTo>
                  <a:lnTo>
                    <a:pt x="877" y="1049"/>
                  </a:lnTo>
                  <a:lnTo>
                    <a:pt x="877" y="1045"/>
                  </a:lnTo>
                  <a:lnTo>
                    <a:pt x="881" y="1045"/>
                  </a:lnTo>
                  <a:lnTo>
                    <a:pt x="881" y="1042"/>
                  </a:lnTo>
                  <a:lnTo>
                    <a:pt x="885" y="1042"/>
                  </a:lnTo>
                  <a:lnTo>
                    <a:pt x="885" y="1038"/>
                  </a:lnTo>
                  <a:lnTo>
                    <a:pt x="885" y="1034"/>
                  </a:lnTo>
                  <a:lnTo>
                    <a:pt x="885" y="1030"/>
                  </a:lnTo>
                  <a:lnTo>
                    <a:pt x="889" y="1030"/>
                  </a:lnTo>
                  <a:lnTo>
                    <a:pt x="889" y="1026"/>
                  </a:lnTo>
                  <a:lnTo>
                    <a:pt x="889" y="1022"/>
                  </a:lnTo>
                  <a:lnTo>
                    <a:pt x="889" y="1014"/>
                  </a:lnTo>
                  <a:lnTo>
                    <a:pt x="889" y="1002"/>
                  </a:lnTo>
                  <a:lnTo>
                    <a:pt x="885" y="994"/>
                  </a:lnTo>
                  <a:lnTo>
                    <a:pt x="885" y="982"/>
                  </a:lnTo>
                  <a:lnTo>
                    <a:pt x="881" y="982"/>
                  </a:lnTo>
                  <a:lnTo>
                    <a:pt x="877" y="978"/>
                  </a:lnTo>
                  <a:lnTo>
                    <a:pt x="873" y="974"/>
                  </a:lnTo>
                  <a:lnTo>
                    <a:pt x="869" y="974"/>
                  </a:lnTo>
                  <a:lnTo>
                    <a:pt x="869" y="970"/>
                  </a:lnTo>
                  <a:lnTo>
                    <a:pt x="869" y="966"/>
                  </a:lnTo>
                  <a:lnTo>
                    <a:pt x="865" y="966"/>
                  </a:lnTo>
                  <a:lnTo>
                    <a:pt x="861" y="966"/>
                  </a:lnTo>
                  <a:lnTo>
                    <a:pt x="861" y="962"/>
                  </a:lnTo>
                  <a:lnTo>
                    <a:pt x="861" y="958"/>
                  </a:lnTo>
                  <a:lnTo>
                    <a:pt x="857" y="958"/>
                  </a:lnTo>
                  <a:lnTo>
                    <a:pt x="853" y="958"/>
                  </a:lnTo>
                  <a:lnTo>
                    <a:pt x="849" y="954"/>
                  </a:lnTo>
                  <a:lnTo>
                    <a:pt x="849" y="950"/>
                  </a:lnTo>
                  <a:lnTo>
                    <a:pt x="841" y="946"/>
                  </a:lnTo>
                  <a:lnTo>
                    <a:pt x="841" y="942"/>
                  </a:lnTo>
                  <a:lnTo>
                    <a:pt x="837" y="942"/>
                  </a:lnTo>
                  <a:lnTo>
                    <a:pt x="833" y="942"/>
                  </a:lnTo>
                  <a:lnTo>
                    <a:pt x="833" y="938"/>
                  </a:lnTo>
                  <a:lnTo>
                    <a:pt x="829" y="938"/>
                  </a:lnTo>
                  <a:lnTo>
                    <a:pt x="825" y="934"/>
                  </a:lnTo>
                  <a:lnTo>
                    <a:pt x="821" y="934"/>
                  </a:lnTo>
                  <a:lnTo>
                    <a:pt x="817" y="930"/>
                  </a:lnTo>
                  <a:lnTo>
                    <a:pt x="813" y="930"/>
                  </a:lnTo>
                  <a:lnTo>
                    <a:pt x="813" y="926"/>
                  </a:lnTo>
                  <a:lnTo>
                    <a:pt x="809" y="926"/>
                  </a:lnTo>
                  <a:lnTo>
                    <a:pt x="797" y="918"/>
                  </a:lnTo>
                  <a:lnTo>
                    <a:pt x="794" y="918"/>
                  </a:lnTo>
                  <a:lnTo>
                    <a:pt x="790" y="918"/>
                  </a:lnTo>
                  <a:lnTo>
                    <a:pt x="786" y="922"/>
                  </a:lnTo>
                  <a:lnTo>
                    <a:pt x="782" y="926"/>
                  </a:lnTo>
                  <a:lnTo>
                    <a:pt x="778" y="926"/>
                  </a:lnTo>
                  <a:lnTo>
                    <a:pt x="774" y="926"/>
                  </a:lnTo>
                  <a:lnTo>
                    <a:pt x="770" y="926"/>
                  </a:lnTo>
                  <a:lnTo>
                    <a:pt x="770" y="922"/>
                  </a:lnTo>
                  <a:lnTo>
                    <a:pt x="766" y="922"/>
                  </a:lnTo>
                  <a:lnTo>
                    <a:pt x="762" y="922"/>
                  </a:lnTo>
                  <a:lnTo>
                    <a:pt x="758" y="922"/>
                  </a:lnTo>
                  <a:lnTo>
                    <a:pt x="758" y="918"/>
                  </a:lnTo>
                  <a:lnTo>
                    <a:pt x="758" y="922"/>
                  </a:lnTo>
                  <a:lnTo>
                    <a:pt x="754" y="922"/>
                  </a:lnTo>
                  <a:lnTo>
                    <a:pt x="750" y="922"/>
                  </a:lnTo>
                  <a:lnTo>
                    <a:pt x="750" y="926"/>
                  </a:lnTo>
                  <a:lnTo>
                    <a:pt x="750" y="922"/>
                  </a:lnTo>
                  <a:lnTo>
                    <a:pt x="746" y="922"/>
                  </a:lnTo>
                  <a:lnTo>
                    <a:pt x="742" y="922"/>
                  </a:lnTo>
                  <a:lnTo>
                    <a:pt x="742" y="918"/>
                  </a:lnTo>
                  <a:lnTo>
                    <a:pt x="738" y="918"/>
                  </a:lnTo>
                  <a:lnTo>
                    <a:pt x="738" y="922"/>
                  </a:lnTo>
                  <a:lnTo>
                    <a:pt x="734" y="918"/>
                  </a:lnTo>
                  <a:lnTo>
                    <a:pt x="734" y="914"/>
                  </a:lnTo>
                  <a:lnTo>
                    <a:pt x="730" y="914"/>
                  </a:lnTo>
                  <a:lnTo>
                    <a:pt x="726" y="910"/>
                  </a:lnTo>
                  <a:lnTo>
                    <a:pt x="722" y="910"/>
                  </a:lnTo>
                  <a:lnTo>
                    <a:pt x="718" y="914"/>
                  </a:lnTo>
                  <a:lnTo>
                    <a:pt x="714" y="914"/>
                  </a:lnTo>
                  <a:lnTo>
                    <a:pt x="714" y="910"/>
                  </a:lnTo>
                  <a:lnTo>
                    <a:pt x="710" y="910"/>
                  </a:lnTo>
                  <a:lnTo>
                    <a:pt x="706" y="910"/>
                  </a:lnTo>
                  <a:lnTo>
                    <a:pt x="702" y="910"/>
                  </a:lnTo>
                  <a:lnTo>
                    <a:pt x="702" y="906"/>
                  </a:lnTo>
                  <a:lnTo>
                    <a:pt x="702" y="902"/>
                  </a:lnTo>
                  <a:lnTo>
                    <a:pt x="698" y="902"/>
                  </a:lnTo>
                  <a:lnTo>
                    <a:pt x="698" y="898"/>
                  </a:lnTo>
                  <a:lnTo>
                    <a:pt x="698" y="894"/>
                  </a:lnTo>
                  <a:lnTo>
                    <a:pt x="694" y="894"/>
                  </a:lnTo>
                  <a:lnTo>
                    <a:pt x="694" y="898"/>
                  </a:lnTo>
                  <a:lnTo>
                    <a:pt x="694" y="902"/>
                  </a:lnTo>
                  <a:lnTo>
                    <a:pt x="690" y="902"/>
                  </a:lnTo>
                  <a:lnTo>
                    <a:pt x="662" y="902"/>
                  </a:lnTo>
                  <a:lnTo>
                    <a:pt x="658" y="902"/>
                  </a:lnTo>
                  <a:lnTo>
                    <a:pt x="654" y="902"/>
                  </a:lnTo>
                  <a:lnTo>
                    <a:pt x="650" y="902"/>
                  </a:lnTo>
                  <a:lnTo>
                    <a:pt x="646" y="902"/>
                  </a:lnTo>
                  <a:lnTo>
                    <a:pt x="642" y="902"/>
                  </a:lnTo>
                  <a:lnTo>
                    <a:pt x="638" y="902"/>
                  </a:lnTo>
                  <a:lnTo>
                    <a:pt x="630" y="902"/>
                  </a:lnTo>
                  <a:lnTo>
                    <a:pt x="622" y="902"/>
                  </a:lnTo>
                  <a:lnTo>
                    <a:pt x="614" y="902"/>
                  </a:lnTo>
                  <a:lnTo>
                    <a:pt x="602" y="902"/>
                  </a:lnTo>
                  <a:lnTo>
                    <a:pt x="598" y="902"/>
                  </a:lnTo>
                  <a:lnTo>
                    <a:pt x="586" y="902"/>
                  </a:lnTo>
                  <a:lnTo>
                    <a:pt x="582" y="902"/>
                  </a:lnTo>
                  <a:lnTo>
                    <a:pt x="578" y="902"/>
                  </a:lnTo>
                  <a:lnTo>
                    <a:pt x="574" y="902"/>
                  </a:lnTo>
                  <a:lnTo>
                    <a:pt x="570" y="902"/>
                  </a:lnTo>
                  <a:lnTo>
                    <a:pt x="566" y="902"/>
                  </a:lnTo>
                  <a:lnTo>
                    <a:pt x="562" y="902"/>
                  </a:lnTo>
                  <a:lnTo>
                    <a:pt x="558" y="902"/>
                  </a:lnTo>
                  <a:lnTo>
                    <a:pt x="554" y="902"/>
                  </a:lnTo>
                  <a:lnTo>
                    <a:pt x="546" y="902"/>
                  </a:lnTo>
                  <a:lnTo>
                    <a:pt x="542" y="902"/>
                  </a:lnTo>
                  <a:lnTo>
                    <a:pt x="534" y="902"/>
                  </a:lnTo>
                  <a:lnTo>
                    <a:pt x="530" y="902"/>
                  </a:lnTo>
                  <a:lnTo>
                    <a:pt x="526" y="902"/>
                  </a:lnTo>
                  <a:lnTo>
                    <a:pt x="522" y="902"/>
                  </a:lnTo>
                  <a:lnTo>
                    <a:pt x="518" y="902"/>
                  </a:lnTo>
                  <a:lnTo>
                    <a:pt x="510" y="902"/>
                  </a:lnTo>
                  <a:lnTo>
                    <a:pt x="506" y="902"/>
                  </a:lnTo>
                  <a:lnTo>
                    <a:pt x="502" y="902"/>
                  </a:lnTo>
                  <a:lnTo>
                    <a:pt x="498" y="902"/>
                  </a:lnTo>
                  <a:lnTo>
                    <a:pt x="494" y="902"/>
                  </a:lnTo>
                  <a:lnTo>
                    <a:pt x="490" y="902"/>
                  </a:lnTo>
                  <a:lnTo>
                    <a:pt x="486" y="902"/>
                  </a:lnTo>
                  <a:lnTo>
                    <a:pt x="478" y="902"/>
                  </a:lnTo>
                  <a:lnTo>
                    <a:pt x="474" y="902"/>
                  </a:lnTo>
                  <a:lnTo>
                    <a:pt x="470" y="902"/>
                  </a:lnTo>
                  <a:lnTo>
                    <a:pt x="466" y="902"/>
                  </a:lnTo>
                  <a:lnTo>
                    <a:pt x="462" y="902"/>
                  </a:lnTo>
                  <a:lnTo>
                    <a:pt x="458" y="902"/>
                  </a:lnTo>
                  <a:lnTo>
                    <a:pt x="446" y="902"/>
                  </a:lnTo>
                  <a:lnTo>
                    <a:pt x="442" y="902"/>
                  </a:lnTo>
                  <a:lnTo>
                    <a:pt x="439" y="902"/>
                  </a:lnTo>
                  <a:lnTo>
                    <a:pt x="435" y="902"/>
                  </a:lnTo>
                  <a:lnTo>
                    <a:pt x="431" y="902"/>
                  </a:lnTo>
                  <a:lnTo>
                    <a:pt x="423" y="902"/>
                  </a:lnTo>
                  <a:lnTo>
                    <a:pt x="419" y="902"/>
                  </a:lnTo>
                  <a:lnTo>
                    <a:pt x="415" y="902"/>
                  </a:lnTo>
                  <a:lnTo>
                    <a:pt x="407" y="902"/>
                  </a:lnTo>
                  <a:lnTo>
                    <a:pt x="403" y="902"/>
                  </a:lnTo>
                  <a:lnTo>
                    <a:pt x="399" y="902"/>
                  </a:lnTo>
                  <a:lnTo>
                    <a:pt x="395" y="902"/>
                  </a:lnTo>
                  <a:lnTo>
                    <a:pt x="391" y="902"/>
                  </a:lnTo>
                  <a:lnTo>
                    <a:pt x="387" y="902"/>
                  </a:lnTo>
                  <a:lnTo>
                    <a:pt x="383" y="902"/>
                  </a:lnTo>
                  <a:lnTo>
                    <a:pt x="379" y="902"/>
                  </a:lnTo>
                  <a:lnTo>
                    <a:pt x="363" y="902"/>
                  </a:lnTo>
                  <a:lnTo>
                    <a:pt x="359" y="902"/>
                  </a:lnTo>
                  <a:lnTo>
                    <a:pt x="355" y="902"/>
                  </a:lnTo>
                  <a:lnTo>
                    <a:pt x="351" y="902"/>
                  </a:lnTo>
                  <a:lnTo>
                    <a:pt x="347" y="902"/>
                  </a:lnTo>
                  <a:lnTo>
                    <a:pt x="343" y="902"/>
                  </a:lnTo>
                  <a:lnTo>
                    <a:pt x="335" y="902"/>
                  </a:lnTo>
                  <a:lnTo>
                    <a:pt x="331" y="902"/>
                  </a:lnTo>
                  <a:lnTo>
                    <a:pt x="327" y="902"/>
                  </a:lnTo>
                  <a:lnTo>
                    <a:pt x="319" y="902"/>
                  </a:lnTo>
                  <a:lnTo>
                    <a:pt x="315" y="902"/>
                  </a:lnTo>
                  <a:lnTo>
                    <a:pt x="311" y="902"/>
                  </a:lnTo>
                  <a:lnTo>
                    <a:pt x="303" y="902"/>
                  </a:lnTo>
                  <a:lnTo>
                    <a:pt x="287" y="902"/>
                  </a:lnTo>
                  <a:lnTo>
                    <a:pt x="283" y="902"/>
                  </a:lnTo>
                  <a:lnTo>
                    <a:pt x="279" y="902"/>
                  </a:lnTo>
                  <a:lnTo>
                    <a:pt x="275" y="902"/>
                  </a:lnTo>
                  <a:lnTo>
                    <a:pt x="271" y="902"/>
                  </a:lnTo>
                  <a:lnTo>
                    <a:pt x="267" y="902"/>
                  </a:lnTo>
                  <a:lnTo>
                    <a:pt x="267" y="898"/>
                  </a:lnTo>
                  <a:lnTo>
                    <a:pt x="271" y="898"/>
                  </a:lnTo>
                  <a:lnTo>
                    <a:pt x="275" y="898"/>
                  </a:lnTo>
                  <a:lnTo>
                    <a:pt x="275" y="894"/>
                  </a:lnTo>
                  <a:lnTo>
                    <a:pt x="271" y="894"/>
                  </a:lnTo>
                  <a:lnTo>
                    <a:pt x="271" y="898"/>
                  </a:lnTo>
                  <a:lnTo>
                    <a:pt x="267" y="894"/>
                  </a:lnTo>
                  <a:lnTo>
                    <a:pt x="267" y="890"/>
                  </a:lnTo>
                  <a:lnTo>
                    <a:pt x="271" y="886"/>
                  </a:lnTo>
                  <a:lnTo>
                    <a:pt x="267" y="890"/>
                  </a:lnTo>
                  <a:lnTo>
                    <a:pt x="263" y="890"/>
                  </a:lnTo>
                  <a:lnTo>
                    <a:pt x="263" y="894"/>
                  </a:lnTo>
                  <a:lnTo>
                    <a:pt x="259" y="894"/>
                  </a:lnTo>
                  <a:lnTo>
                    <a:pt x="259" y="890"/>
                  </a:lnTo>
                  <a:lnTo>
                    <a:pt x="255" y="890"/>
                  </a:lnTo>
                  <a:lnTo>
                    <a:pt x="255" y="886"/>
                  </a:lnTo>
                  <a:lnTo>
                    <a:pt x="259" y="886"/>
                  </a:lnTo>
                  <a:lnTo>
                    <a:pt x="259" y="890"/>
                  </a:lnTo>
                  <a:lnTo>
                    <a:pt x="263" y="890"/>
                  </a:lnTo>
                  <a:lnTo>
                    <a:pt x="263" y="886"/>
                  </a:lnTo>
                  <a:lnTo>
                    <a:pt x="263" y="890"/>
                  </a:lnTo>
                  <a:lnTo>
                    <a:pt x="259" y="890"/>
                  </a:lnTo>
                  <a:lnTo>
                    <a:pt x="259" y="886"/>
                  </a:lnTo>
                  <a:lnTo>
                    <a:pt x="259" y="882"/>
                  </a:lnTo>
                  <a:lnTo>
                    <a:pt x="259" y="878"/>
                  </a:lnTo>
                  <a:lnTo>
                    <a:pt x="255" y="878"/>
                  </a:lnTo>
                  <a:lnTo>
                    <a:pt x="259" y="878"/>
                  </a:lnTo>
                  <a:lnTo>
                    <a:pt x="259" y="882"/>
                  </a:lnTo>
                  <a:lnTo>
                    <a:pt x="255" y="882"/>
                  </a:lnTo>
                  <a:lnTo>
                    <a:pt x="259" y="882"/>
                  </a:lnTo>
                  <a:lnTo>
                    <a:pt x="259" y="886"/>
                  </a:lnTo>
                  <a:lnTo>
                    <a:pt x="255" y="886"/>
                  </a:lnTo>
                  <a:lnTo>
                    <a:pt x="255" y="882"/>
                  </a:lnTo>
                  <a:lnTo>
                    <a:pt x="255" y="886"/>
                  </a:lnTo>
                  <a:lnTo>
                    <a:pt x="251" y="886"/>
                  </a:lnTo>
                  <a:lnTo>
                    <a:pt x="247" y="886"/>
                  </a:lnTo>
                  <a:lnTo>
                    <a:pt x="247" y="882"/>
                  </a:lnTo>
                  <a:lnTo>
                    <a:pt x="243" y="882"/>
                  </a:lnTo>
                  <a:lnTo>
                    <a:pt x="243" y="878"/>
                  </a:lnTo>
                  <a:lnTo>
                    <a:pt x="247" y="882"/>
                  </a:lnTo>
                  <a:lnTo>
                    <a:pt x="247" y="878"/>
                  </a:lnTo>
                  <a:lnTo>
                    <a:pt x="247" y="874"/>
                  </a:lnTo>
                  <a:lnTo>
                    <a:pt x="247" y="870"/>
                  </a:lnTo>
                  <a:lnTo>
                    <a:pt x="247" y="874"/>
                  </a:lnTo>
                  <a:lnTo>
                    <a:pt x="247" y="870"/>
                  </a:lnTo>
                  <a:lnTo>
                    <a:pt x="251" y="870"/>
                  </a:lnTo>
                  <a:lnTo>
                    <a:pt x="247" y="870"/>
                  </a:lnTo>
                  <a:lnTo>
                    <a:pt x="247" y="874"/>
                  </a:lnTo>
                  <a:lnTo>
                    <a:pt x="243" y="874"/>
                  </a:lnTo>
                  <a:lnTo>
                    <a:pt x="239" y="874"/>
                  </a:lnTo>
                  <a:lnTo>
                    <a:pt x="239" y="870"/>
                  </a:lnTo>
                  <a:lnTo>
                    <a:pt x="243" y="870"/>
                  </a:lnTo>
                  <a:lnTo>
                    <a:pt x="243" y="866"/>
                  </a:lnTo>
                  <a:lnTo>
                    <a:pt x="243" y="862"/>
                  </a:lnTo>
                  <a:lnTo>
                    <a:pt x="243" y="866"/>
                  </a:lnTo>
                  <a:lnTo>
                    <a:pt x="243" y="870"/>
                  </a:lnTo>
                  <a:lnTo>
                    <a:pt x="239" y="870"/>
                  </a:lnTo>
                  <a:lnTo>
                    <a:pt x="235" y="870"/>
                  </a:lnTo>
                  <a:lnTo>
                    <a:pt x="235" y="866"/>
                  </a:lnTo>
                  <a:lnTo>
                    <a:pt x="231" y="866"/>
                  </a:lnTo>
                  <a:lnTo>
                    <a:pt x="231" y="870"/>
                  </a:lnTo>
                  <a:lnTo>
                    <a:pt x="227" y="870"/>
                  </a:lnTo>
                  <a:lnTo>
                    <a:pt x="223" y="870"/>
                  </a:lnTo>
                  <a:lnTo>
                    <a:pt x="223" y="866"/>
                  </a:lnTo>
                  <a:lnTo>
                    <a:pt x="227" y="866"/>
                  </a:lnTo>
                  <a:lnTo>
                    <a:pt x="231" y="866"/>
                  </a:lnTo>
                  <a:lnTo>
                    <a:pt x="235" y="862"/>
                  </a:lnTo>
                  <a:lnTo>
                    <a:pt x="235" y="858"/>
                  </a:lnTo>
                  <a:lnTo>
                    <a:pt x="231" y="858"/>
                  </a:lnTo>
                  <a:lnTo>
                    <a:pt x="231" y="862"/>
                  </a:lnTo>
                  <a:lnTo>
                    <a:pt x="231" y="866"/>
                  </a:lnTo>
                  <a:lnTo>
                    <a:pt x="227" y="866"/>
                  </a:lnTo>
                  <a:lnTo>
                    <a:pt x="223" y="866"/>
                  </a:lnTo>
                  <a:lnTo>
                    <a:pt x="223" y="862"/>
                  </a:lnTo>
                  <a:lnTo>
                    <a:pt x="219" y="862"/>
                  </a:lnTo>
                  <a:lnTo>
                    <a:pt x="223" y="862"/>
                  </a:lnTo>
                  <a:lnTo>
                    <a:pt x="223" y="858"/>
                  </a:lnTo>
                  <a:lnTo>
                    <a:pt x="223" y="862"/>
                  </a:lnTo>
                  <a:lnTo>
                    <a:pt x="219" y="858"/>
                  </a:lnTo>
                  <a:lnTo>
                    <a:pt x="219" y="862"/>
                  </a:lnTo>
                  <a:lnTo>
                    <a:pt x="215" y="862"/>
                  </a:lnTo>
                  <a:lnTo>
                    <a:pt x="211" y="862"/>
                  </a:lnTo>
                  <a:lnTo>
                    <a:pt x="207" y="862"/>
                  </a:lnTo>
                  <a:lnTo>
                    <a:pt x="211" y="862"/>
                  </a:lnTo>
                  <a:lnTo>
                    <a:pt x="207" y="862"/>
                  </a:lnTo>
                  <a:lnTo>
                    <a:pt x="203" y="858"/>
                  </a:lnTo>
                  <a:lnTo>
                    <a:pt x="207" y="858"/>
                  </a:lnTo>
                  <a:lnTo>
                    <a:pt x="211" y="858"/>
                  </a:lnTo>
                  <a:lnTo>
                    <a:pt x="215" y="858"/>
                  </a:lnTo>
                  <a:lnTo>
                    <a:pt x="215" y="854"/>
                  </a:lnTo>
                  <a:lnTo>
                    <a:pt x="215" y="858"/>
                  </a:lnTo>
                  <a:lnTo>
                    <a:pt x="211" y="858"/>
                  </a:lnTo>
                  <a:lnTo>
                    <a:pt x="207" y="858"/>
                  </a:lnTo>
                  <a:lnTo>
                    <a:pt x="203" y="854"/>
                  </a:lnTo>
                  <a:lnTo>
                    <a:pt x="203" y="858"/>
                  </a:lnTo>
                  <a:lnTo>
                    <a:pt x="199" y="854"/>
                  </a:lnTo>
                  <a:lnTo>
                    <a:pt x="203" y="850"/>
                  </a:lnTo>
                  <a:lnTo>
                    <a:pt x="207" y="854"/>
                  </a:lnTo>
                  <a:lnTo>
                    <a:pt x="207" y="850"/>
                  </a:lnTo>
                  <a:lnTo>
                    <a:pt x="211" y="850"/>
                  </a:lnTo>
                  <a:lnTo>
                    <a:pt x="207" y="850"/>
                  </a:lnTo>
                  <a:lnTo>
                    <a:pt x="203" y="850"/>
                  </a:lnTo>
                  <a:lnTo>
                    <a:pt x="199" y="850"/>
                  </a:lnTo>
                  <a:lnTo>
                    <a:pt x="203" y="850"/>
                  </a:lnTo>
                  <a:lnTo>
                    <a:pt x="203" y="846"/>
                  </a:lnTo>
                  <a:lnTo>
                    <a:pt x="207" y="842"/>
                  </a:lnTo>
                  <a:lnTo>
                    <a:pt x="211" y="842"/>
                  </a:lnTo>
                  <a:lnTo>
                    <a:pt x="215" y="846"/>
                  </a:lnTo>
                  <a:lnTo>
                    <a:pt x="215" y="842"/>
                  </a:lnTo>
                  <a:lnTo>
                    <a:pt x="219" y="842"/>
                  </a:lnTo>
                  <a:lnTo>
                    <a:pt x="215" y="842"/>
                  </a:lnTo>
                  <a:lnTo>
                    <a:pt x="211" y="842"/>
                  </a:lnTo>
                  <a:lnTo>
                    <a:pt x="207" y="842"/>
                  </a:lnTo>
                  <a:lnTo>
                    <a:pt x="203" y="842"/>
                  </a:lnTo>
                  <a:lnTo>
                    <a:pt x="207" y="842"/>
                  </a:lnTo>
                  <a:lnTo>
                    <a:pt x="207" y="838"/>
                  </a:lnTo>
                  <a:lnTo>
                    <a:pt x="203" y="842"/>
                  </a:lnTo>
                  <a:lnTo>
                    <a:pt x="203" y="846"/>
                  </a:lnTo>
                  <a:lnTo>
                    <a:pt x="203" y="850"/>
                  </a:lnTo>
                  <a:lnTo>
                    <a:pt x="199" y="850"/>
                  </a:lnTo>
                  <a:lnTo>
                    <a:pt x="199" y="846"/>
                  </a:lnTo>
                  <a:lnTo>
                    <a:pt x="199" y="842"/>
                  </a:lnTo>
                  <a:lnTo>
                    <a:pt x="199" y="838"/>
                  </a:lnTo>
                  <a:lnTo>
                    <a:pt x="203" y="838"/>
                  </a:lnTo>
                  <a:lnTo>
                    <a:pt x="203" y="834"/>
                  </a:lnTo>
                  <a:lnTo>
                    <a:pt x="203" y="830"/>
                  </a:lnTo>
                  <a:lnTo>
                    <a:pt x="207" y="830"/>
                  </a:lnTo>
                  <a:lnTo>
                    <a:pt x="211" y="830"/>
                  </a:lnTo>
                  <a:lnTo>
                    <a:pt x="215" y="834"/>
                  </a:lnTo>
                  <a:lnTo>
                    <a:pt x="215" y="838"/>
                  </a:lnTo>
                  <a:lnTo>
                    <a:pt x="215" y="834"/>
                  </a:lnTo>
                  <a:lnTo>
                    <a:pt x="215" y="830"/>
                  </a:lnTo>
                  <a:lnTo>
                    <a:pt x="211" y="830"/>
                  </a:lnTo>
                  <a:lnTo>
                    <a:pt x="215" y="826"/>
                  </a:lnTo>
                  <a:lnTo>
                    <a:pt x="211" y="826"/>
                  </a:lnTo>
                  <a:lnTo>
                    <a:pt x="211" y="830"/>
                  </a:lnTo>
                  <a:lnTo>
                    <a:pt x="207" y="826"/>
                  </a:lnTo>
                  <a:lnTo>
                    <a:pt x="207" y="822"/>
                  </a:lnTo>
                  <a:lnTo>
                    <a:pt x="211" y="822"/>
                  </a:lnTo>
                  <a:lnTo>
                    <a:pt x="211" y="818"/>
                  </a:lnTo>
                  <a:lnTo>
                    <a:pt x="211" y="822"/>
                  </a:lnTo>
                  <a:lnTo>
                    <a:pt x="207" y="822"/>
                  </a:lnTo>
                  <a:lnTo>
                    <a:pt x="207" y="826"/>
                  </a:lnTo>
                  <a:lnTo>
                    <a:pt x="203" y="826"/>
                  </a:lnTo>
                  <a:lnTo>
                    <a:pt x="203" y="830"/>
                  </a:lnTo>
                  <a:lnTo>
                    <a:pt x="199" y="830"/>
                  </a:lnTo>
                  <a:lnTo>
                    <a:pt x="199" y="826"/>
                  </a:lnTo>
                  <a:lnTo>
                    <a:pt x="195" y="830"/>
                  </a:lnTo>
                  <a:lnTo>
                    <a:pt x="195" y="826"/>
                  </a:lnTo>
                  <a:lnTo>
                    <a:pt x="199" y="822"/>
                  </a:lnTo>
                  <a:lnTo>
                    <a:pt x="195" y="822"/>
                  </a:lnTo>
                  <a:lnTo>
                    <a:pt x="195" y="826"/>
                  </a:lnTo>
                  <a:lnTo>
                    <a:pt x="191" y="830"/>
                  </a:lnTo>
                  <a:lnTo>
                    <a:pt x="191" y="826"/>
                  </a:lnTo>
                  <a:lnTo>
                    <a:pt x="191" y="822"/>
                  </a:lnTo>
                  <a:lnTo>
                    <a:pt x="195" y="822"/>
                  </a:lnTo>
                  <a:lnTo>
                    <a:pt x="195" y="818"/>
                  </a:lnTo>
                  <a:lnTo>
                    <a:pt x="195" y="814"/>
                  </a:lnTo>
                  <a:lnTo>
                    <a:pt x="195" y="818"/>
                  </a:lnTo>
                  <a:lnTo>
                    <a:pt x="191" y="818"/>
                  </a:lnTo>
                  <a:lnTo>
                    <a:pt x="187" y="814"/>
                  </a:lnTo>
                  <a:lnTo>
                    <a:pt x="187" y="810"/>
                  </a:lnTo>
                  <a:lnTo>
                    <a:pt x="183" y="806"/>
                  </a:lnTo>
                  <a:lnTo>
                    <a:pt x="183" y="802"/>
                  </a:lnTo>
                  <a:lnTo>
                    <a:pt x="187" y="802"/>
                  </a:lnTo>
                  <a:lnTo>
                    <a:pt x="187" y="806"/>
                  </a:lnTo>
                  <a:lnTo>
                    <a:pt x="191" y="802"/>
                  </a:lnTo>
                  <a:lnTo>
                    <a:pt x="195" y="802"/>
                  </a:lnTo>
                  <a:lnTo>
                    <a:pt x="195" y="806"/>
                  </a:lnTo>
                  <a:lnTo>
                    <a:pt x="199" y="806"/>
                  </a:lnTo>
                  <a:lnTo>
                    <a:pt x="195" y="806"/>
                  </a:lnTo>
                  <a:lnTo>
                    <a:pt x="195" y="802"/>
                  </a:lnTo>
                  <a:lnTo>
                    <a:pt x="191" y="802"/>
                  </a:lnTo>
                  <a:lnTo>
                    <a:pt x="187" y="802"/>
                  </a:lnTo>
                  <a:lnTo>
                    <a:pt x="183" y="798"/>
                  </a:lnTo>
                  <a:lnTo>
                    <a:pt x="183" y="794"/>
                  </a:lnTo>
                  <a:lnTo>
                    <a:pt x="187" y="794"/>
                  </a:lnTo>
                  <a:lnTo>
                    <a:pt x="187" y="790"/>
                  </a:lnTo>
                  <a:lnTo>
                    <a:pt x="183" y="794"/>
                  </a:lnTo>
                  <a:lnTo>
                    <a:pt x="179" y="798"/>
                  </a:lnTo>
                  <a:lnTo>
                    <a:pt x="179" y="802"/>
                  </a:lnTo>
                  <a:lnTo>
                    <a:pt x="175" y="806"/>
                  </a:lnTo>
                  <a:lnTo>
                    <a:pt x="175" y="802"/>
                  </a:lnTo>
                  <a:lnTo>
                    <a:pt x="171" y="802"/>
                  </a:lnTo>
                  <a:lnTo>
                    <a:pt x="171" y="798"/>
                  </a:lnTo>
                  <a:lnTo>
                    <a:pt x="167" y="794"/>
                  </a:lnTo>
                  <a:lnTo>
                    <a:pt x="163" y="794"/>
                  </a:lnTo>
                  <a:lnTo>
                    <a:pt x="163" y="790"/>
                  </a:lnTo>
                  <a:lnTo>
                    <a:pt x="163" y="786"/>
                  </a:lnTo>
                  <a:lnTo>
                    <a:pt x="167" y="786"/>
                  </a:lnTo>
                  <a:lnTo>
                    <a:pt x="171" y="786"/>
                  </a:lnTo>
                  <a:lnTo>
                    <a:pt x="175" y="786"/>
                  </a:lnTo>
                  <a:lnTo>
                    <a:pt x="171" y="786"/>
                  </a:lnTo>
                  <a:lnTo>
                    <a:pt x="167" y="786"/>
                  </a:lnTo>
                  <a:lnTo>
                    <a:pt x="163" y="786"/>
                  </a:lnTo>
                  <a:lnTo>
                    <a:pt x="163" y="782"/>
                  </a:lnTo>
                  <a:lnTo>
                    <a:pt x="159" y="782"/>
                  </a:lnTo>
                  <a:lnTo>
                    <a:pt x="159" y="778"/>
                  </a:lnTo>
                  <a:lnTo>
                    <a:pt x="159" y="774"/>
                  </a:lnTo>
                  <a:lnTo>
                    <a:pt x="159" y="778"/>
                  </a:lnTo>
                  <a:lnTo>
                    <a:pt x="163" y="778"/>
                  </a:lnTo>
                  <a:lnTo>
                    <a:pt x="163" y="782"/>
                  </a:lnTo>
                  <a:lnTo>
                    <a:pt x="167" y="782"/>
                  </a:lnTo>
                  <a:lnTo>
                    <a:pt x="163" y="778"/>
                  </a:lnTo>
                  <a:lnTo>
                    <a:pt x="159" y="778"/>
                  </a:lnTo>
                  <a:lnTo>
                    <a:pt x="159" y="774"/>
                  </a:lnTo>
                  <a:lnTo>
                    <a:pt x="163" y="774"/>
                  </a:lnTo>
                  <a:lnTo>
                    <a:pt x="167" y="774"/>
                  </a:lnTo>
                  <a:lnTo>
                    <a:pt x="167" y="778"/>
                  </a:lnTo>
                  <a:lnTo>
                    <a:pt x="167" y="774"/>
                  </a:lnTo>
                  <a:lnTo>
                    <a:pt x="163" y="774"/>
                  </a:lnTo>
                  <a:lnTo>
                    <a:pt x="163" y="770"/>
                  </a:lnTo>
                  <a:lnTo>
                    <a:pt x="163" y="766"/>
                  </a:lnTo>
                  <a:lnTo>
                    <a:pt x="167" y="766"/>
                  </a:lnTo>
                  <a:lnTo>
                    <a:pt x="171" y="766"/>
                  </a:lnTo>
                  <a:lnTo>
                    <a:pt x="167" y="766"/>
                  </a:lnTo>
                  <a:lnTo>
                    <a:pt x="167" y="762"/>
                  </a:lnTo>
                  <a:lnTo>
                    <a:pt x="171" y="758"/>
                  </a:lnTo>
                  <a:lnTo>
                    <a:pt x="175" y="758"/>
                  </a:lnTo>
                  <a:lnTo>
                    <a:pt x="175" y="754"/>
                  </a:lnTo>
                  <a:lnTo>
                    <a:pt x="171" y="758"/>
                  </a:lnTo>
                  <a:lnTo>
                    <a:pt x="171" y="754"/>
                  </a:lnTo>
                  <a:lnTo>
                    <a:pt x="171" y="758"/>
                  </a:lnTo>
                  <a:lnTo>
                    <a:pt x="167" y="754"/>
                  </a:lnTo>
                  <a:lnTo>
                    <a:pt x="171" y="754"/>
                  </a:lnTo>
                  <a:lnTo>
                    <a:pt x="171" y="758"/>
                  </a:lnTo>
                  <a:lnTo>
                    <a:pt x="167" y="762"/>
                  </a:lnTo>
                  <a:lnTo>
                    <a:pt x="167" y="766"/>
                  </a:lnTo>
                  <a:lnTo>
                    <a:pt x="163" y="766"/>
                  </a:lnTo>
                  <a:lnTo>
                    <a:pt x="163" y="762"/>
                  </a:lnTo>
                  <a:lnTo>
                    <a:pt x="167" y="762"/>
                  </a:lnTo>
                  <a:lnTo>
                    <a:pt x="167" y="758"/>
                  </a:lnTo>
                  <a:lnTo>
                    <a:pt x="163" y="754"/>
                  </a:lnTo>
                  <a:lnTo>
                    <a:pt x="163" y="750"/>
                  </a:lnTo>
                  <a:lnTo>
                    <a:pt x="163" y="746"/>
                  </a:lnTo>
                  <a:lnTo>
                    <a:pt x="167" y="746"/>
                  </a:lnTo>
                  <a:lnTo>
                    <a:pt x="167" y="742"/>
                  </a:lnTo>
                  <a:lnTo>
                    <a:pt x="163" y="742"/>
                  </a:lnTo>
                  <a:lnTo>
                    <a:pt x="159" y="742"/>
                  </a:lnTo>
                  <a:lnTo>
                    <a:pt x="159" y="738"/>
                  </a:lnTo>
                  <a:lnTo>
                    <a:pt x="155" y="738"/>
                  </a:lnTo>
                  <a:lnTo>
                    <a:pt x="155" y="734"/>
                  </a:lnTo>
                  <a:lnTo>
                    <a:pt x="151" y="734"/>
                  </a:lnTo>
                  <a:lnTo>
                    <a:pt x="147" y="734"/>
                  </a:lnTo>
                  <a:lnTo>
                    <a:pt x="147" y="730"/>
                  </a:lnTo>
                  <a:lnTo>
                    <a:pt x="143" y="730"/>
                  </a:lnTo>
                  <a:lnTo>
                    <a:pt x="139" y="730"/>
                  </a:lnTo>
                  <a:lnTo>
                    <a:pt x="139" y="726"/>
                  </a:lnTo>
                  <a:lnTo>
                    <a:pt x="135" y="722"/>
                  </a:lnTo>
                  <a:lnTo>
                    <a:pt x="135" y="718"/>
                  </a:lnTo>
                  <a:lnTo>
                    <a:pt x="131" y="718"/>
                  </a:lnTo>
                  <a:lnTo>
                    <a:pt x="131" y="714"/>
                  </a:lnTo>
                  <a:lnTo>
                    <a:pt x="131" y="710"/>
                  </a:lnTo>
                  <a:lnTo>
                    <a:pt x="127" y="710"/>
                  </a:lnTo>
                  <a:lnTo>
                    <a:pt x="127" y="706"/>
                  </a:lnTo>
                  <a:lnTo>
                    <a:pt x="123" y="702"/>
                  </a:lnTo>
                  <a:lnTo>
                    <a:pt x="123" y="698"/>
                  </a:lnTo>
                  <a:lnTo>
                    <a:pt x="119" y="698"/>
                  </a:lnTo>
                  <a:lnTo>
                    <a:pt x="119" y="694"/>
                  </a:lnTo>
                  <a:lnTo>
                    <a:pt x="119" y="690"/>
                  </a:lnTo>
                  <a:lnTo>
                    <a:pt x="115" y="690"/>
                  </a:lnTo>
                  <a:lnTo>
                    <a:pt x="115" y="686"/>
                  </a:lnTo>
                  <a:lnTo>
                    <a:pt x="111" y="682"/>
                  </a:lnTo>
                  <a:lnTo>
                    <a:pt x="107" y="682"/>
                  </a:lnTo>
                  <a:lnTo>
                    <a:pt x="107" y="678"/>
                  </a:lnTo>
                  <a:lnTo>
                    <a:pt x="103" y="678"/>
                  </a:lnTo>
                  <a:lnTo>
                    <a:pt x="103" y="674"/>
                  </a:lnTo>
                  <a:lnTo>
                    <a:pt x="99" y="674"/>
                  </a:lnTo>
                  <a:lnTo>
                    <a:pt x="99" y="670"/>
                  </a:lnTo>
                  <a:lnTo>
                    <a:pt x="95" y="670"/>
                  </a:lnTo>
                  <a:lnTo>
                    <a:pt x="95" y="666"/>
                  </a:lnTo>
                  <a:lnTo>
                    <a:pt x="91" y="666"/>
                  </a:lnTo>
                  <a:lnTo>
                    <a:pt x="88" y="662"/>
                  </a:lnTo>
                  <a:lnTo>
                    <a:pt x="91" y="662"/>
                  </a:lnTo>
                  <a:lnTo>
                    <a:pt x="91" y="658"/>
                  </a:lnTo>
                  <a:lnTo>
                    <a:pt x="88" y="658"/>
                  </a:lnTo>
                  <a:lnTo>
                    <a:pt x="84" y="654"/>
                  </a:lnTo>
                  <a:lnTo>
                    <a:pt x="80" y="654"/>
                  </a:lnTo>
                  <a:lnTo>
                    <a:pt x="76" y="654"/>
                  </a:lnTo>
                  <a:lnTo>
                    <a:pt x="76" y="658"/>
                  </a:lnTo>
                  <a:lnTo>
                    <a:pt x="72" y="658"/>
                  </a:lnTo>
                  <a:lnTo>
                    <a:pt x="72" y="662"/>
                  </a:lnTo>
                  <a:lnTo>
                    <a:pt x="68" y="662"/>
                  </a:lnTo>
                  <a:lnTo>
                    <a:pt x="68" y="666"/>
                  </a:lnTo>
                  <a:lnTo>
                    <a:pt x="68" y="670"/>
                  </a:lnTo>
                  <a:lnTo>
                    <a:pt x="64" y="670"/>
                  </a:lnTo>
                  <a:lnTo>
                    <a:pt x="60" y="670"/>
                  </a:lnTo>
                  <a:lnTo>
                    <a:pt x="56" y="670"/>
                  </a:lnTo>
                  <a:lnTo>
                    <a:pt x="56" y="674"/>
                  </a:lnTo>
                  <a:lnTo>
                    <a:pt x="52" y="674"/>
                  </a:lnTo>
                  <a:lnTo>
                    <a:pt x="52" y="670"/>
                  </a:lnTo>
                  <a:lnTo>
                    <a:pt x="52" y="666"/>
                  </a:lnTo>
                  <a:lnTo>
                    <a:pt x="48" y="662"/>
                  </a:lnTo>
                  <a:lnTo>
                    <a:pt x="44" y="658"/>
                  </a:lnTo>
                  <a:lnTo>
                    <a:pt x="40" y="658"/>
                  </a:lnTo>
                  <a:lnTo>
                    <a:pt x="36" y="654"/>
                  </a:lnTo>
                  <a:lnTo>
                    <a:pt x="36" y="650"/>
                  </a:lnTo>
                  <a:lnTo>
                    <a:pt x="32" y="650"/>
                  </a:lnTo>
                  <a:lnTo>
                    <a:pt x="28" y="646"/>
                  </a:lnTo>
                  <a:lnTo>
                    <a:pt x="28" y="642"/>
                  </a:lnTo>
                  <a:lnTo>
                    <a:pt x="28" y="638"/>
                  </a:lnTo>
                  <a:lnTo>
                    <a:pt x="24" y="638"/>
                  </a:lnTo>
                  <a:lnTo>
                    <a:pt x="20" y="638"/>
                  </a:lnTo>
                  <a:lnTo>
                    <a:pt x="20" y="642"/>
                  </a:lnTo>
                  <a:lnTo>
                    <a:pt x="16" y="642"/>
                  </a:lnTo>
                  <a:lnTo>
                    <a:pt x="8" y="642"/>
                  </a:lnTo>
                  <a:lnTo>
                    <a:pt x="0" y="642"/>
                  </a:lnTo>
                  <a:lnTo>
                    <a:pt x="0" y="638"/>
                  </a:lnTo>
                  <a:lnTo>
                    <a:pt x="0" y="626"/>
                  </a:lnTo>
                  <a:lnTo>
                    <a:pt x="0" y="583"/>
                  </a:lnTo>
                  <a:lnTo>
                    <a:pt x="0" y="571"/>
                  </a:lnTo>
                  <a:lnTo>
                    <a:pt x="0" y="555"/>
                  </a:lnTo>
                  <a:lnTo>
                    <a:pt x="0" y="551"/>
                  </a:lnTo>
                  <a:lnTo>
                    <a:pt x="0" y="543"/>
                  </a:lnTo>
                  <a:lnTo>
                    <a:pt x="0" y="519"/>
                  </a:lnTo>
                  <a:lnTo>
                    <a:pt x="0" y="507"/>
                  </a:lnTo>
                  <a:lnTo>
                    <a:pt x="0" y="495"/>
                  </a:lnTo>
                  <a:lnTo>
                    <a:pt x="0" y="483"/>
                  </a:lnTo>
                  <a:lnTo>
                    <a:pt x="0" y="479"/>
                  </a:lnTo>
                  <a:lnTo>
                    <a:pt x="0" y="475"/>
                  </a:lnTo>
                  <a:lnTo>
                    <a:pt x="0" y="471"/>
                  </a:lnTo>
                  <a:lnTo>
                    <a:pt x="0" y="463"/>
                  </a:lnTo>
                  <a:lnTo>
                    <a:pt x="0" y="459"/>
                  </a:lnTo>
                  <a:lnTo>
                    <a:pt x="0" y="451"/>
                  </a:lnTo>
                  <a:lnTo>
                    <a:pt x="0" y="447"/>
                  </a:lnTo>
                  <a:lnTo>
                    <a:pt x="0" y="443"/>
                  </a:lnTo>
                  <a:lnTo>
                    <a:pt x="0" y="439"/>
                  </a:lnTo>
                  <a:lnTo>
                    <a:pt x="0" y="431"/>
                  </a:lnTo>
                  <a:lnTo>
                    <a:pt x="0" y="419"/>
                  </a:lnTo>
                  <a:lnTo>
                    <a:pt x="0" y="407"/>
                  </a:lnTo>
                  <a:lnTo>
                    <a:pt x="0" y="403"/>
                  </a:lnTo>
                  <a:lnTo>
                    <a:pt x="0" y="399"/>
                  </a:lnTo>
                  <a:lnTo>
                    <a:pt x="4" y="399"/>
                  </a:lnTo>
                  <a:lnTo>
                    <a:pt x="4" y="403"/>
                  </a:lnTo>
                  <a:lnTo>
                    <a:pt x="8" y="403"/>
                  </a:lnTo>
                  <a:lnTo>
                    <a:pt x="12" y="403"/>
                  </a:lnTo>
                  <a:lnTo>
                    <a:pt x="16" y="403"/>
                  </a:lnTo>
                  <a:lnTo>
                    <a:pt x="20" y="403"/>
                  </a:lnTo>
                  <a:lnTo>
                    <a:pt x="24" y="403"/>
                  </a:lnTo>
                  <a:lnTo>
                    <a:pt x="28" y="403"/>
                  </a:lnTo>
                  <a:lnTo>
                    <a:pt x="28" y="407"/>
                  </a:lnTo>
                  <a:lnTo>
                    <a:pt x="32" y="407"/>
                  </a:lnTo>
                  <a:lnTo>
                    <a:pt x="36" y="411"/>
                  </a:lnTo>
                  <a:lnTo>
                    <a:pt x="40" y="411"/>
                  </a:lnTo>
                  <a:lnTo>
                    <a:pt x="40" y="415"/>
                  </a:lnTo>
                  <a:lnTo>
                    <a:pt x="44" y="415"/>
                  </a:lnTo>
                  <a:lnTo>
                    <a:pt x="48" y="415"/>
                  </a:lnTo>
                  <a:lnTo>
                    <a:pt x="52" y="419"/>
                  </a:lnTo>
                  <a:lnTo>
                    <a:pt x="56" y="419"/>
                  </a:lnTo>
                  <a:lnTo>
                    <a:pt x="60" y="419"/>
                  </a:lnTo>
                  <a:lnTo>
                    <a:pt x="64" y="423"/>
                  </a:lnTo>
                  <a:lnTo>
                    <a:pt x="68" y="419"/>
                  </a:lnTo>
                  <a:lnTo>
                    <a:pt x="72" y="419"/>
                  </a:lnTo>
                  <a:lnTo>
                    <a:pt x="72" y="423"/>
                  </a:lnTo>
                  <a:lnTo>
                    <a:pt x="76" y="423"/>
                  </a:lnTo>
                  <a:lnTo>
                    <a:pt x="80" y="423"/>
                  </a:lnTo>
                  <a:lnTo>
                    <a:pt x="84" y="423"/>
                  </a:lnTo>
                  <a:lnTo>
                    <a:pt x="84" y="427"/>
                  </a:lnTo>
                  <a:lnTo>
                    <a:pt x="88" y="427"/>
                  </a:lnTo>
                  <a:lnTo>
                    <a:pt x="84" y="423"/>
                  </a:lnTo>
                  <a:lnTo>
                    <a:pt x="80" y="423"/>
                  </a:lnTo>
                  <a:lnTo>
                    <a:pt x="80" y="419"/>
                  </a:lnTo>
                  <a:lnTo>
                    <a:pt x="84" y="419"/>
                  </a:lnTo>
                  <a:lnTo>
                    <a:pt x="88" y="419"/>
                  </a:lnTo>
                  <a:lnTo>
                    <a:pt x="91" y="423"/>
                  </a:lnTo>
                  <a:lnTo>
                    <a:pt x="91" y="419"/>
                  </a:lnTo>
                  <a:lnTo>
                    <a:pt x="95" y="419"/>
                  </a:lnTo>
                  <a:lnTo>
                    <a:pt x="95" y="423"/>
                  </a:lnTo>
                  <a:lnTo>
                    <a:pt x="99" y="427"/>
                  </a:lnTo>
                  <a:lnTo>
                    <a:pt x="103" y="427"/>
                  </a:lnTo>
                  <a:lnTo>
                    <a:pt x="99" y="427"/>
                  </a:lnTo>
                  <a:lnTo>
                    <a:pt x="99" y="423"/>
                  </a:lnTo>
                  <a:lnTo>
                    <a:pt x="95" y="419"/>
                  </a:lnTo>
                  <a:lnTo>
                    <a:pt x="95" y="415"/>
                  </a:lnTo>
                  <a:lnTo>
                    <a:pt x="99" y="415"/>
                  </a:lnTo>
                  <a:lnTo>
                    <a:pt x="103" y="411"/>
                  </a:lnTo>
                  <a:lnTo>
                    <a:pt x="107" y="411"/>
                  </a:lnTo>
                  <a:lnTo>
                    <a:pt x="111" y="407"/>
                  </a:lnTo>
                  <a:lnTo>
                    <a:pt x="115" y="407"/>
                  </a:lnTo>
                  <a:lnTo>
                    <a:pt x="119" y="407"/>
                  </a:lnTo>
                  <a:lnTo>
                    <a:pt x="119" y="403"/>
                  </a:lnTo>
                  <a:lnTo>
                    <a:pt x="123" y="399"/>
                  </a:lnTo>
                  <a:lnTo>
                    <a:pt x="127" y="399"/>
                  </a:lnTo>
                  <a:lnTo>
                    <a:pt x="131" y="399"/>
                  </a:lnTo>
                  <a:lnTo>
                    <a:pt x="127" y="399"/>
                  </a:lnTo>
                  <a:lnTo>
                    <a:pt x="131" y="399"/>
                  </a:lnTo>
                  <a:lnTo>
                    <a:pt x="135" y="399"/>
                  </a:lnTo>
                  <a:lnTo>
                    <a:pt x="139" y="399"/>
                  </a:lnTo>
                  <a:lnTo>
                    <a:pt x="139" y="395"/>
                  </a:lnTo>
                  <a:lnTo>
                    <a:pt x="143" y="395"/>
                  </a:lnTo>
                  <a:lnTo>
                    <a:pt x="143" y="391"/>
                  </a:lnTo>
                  <a:lnTo>
                    <a:pt x="147" y="391"/>
                  </a:lnTo>
                  <a:lnTo>
                    <a:pt x="147" y="395"/>
                  </a:lnTo>
                  <a:lnTo>
                    <a:pt x="151" y="395"/>
                  </a:lnTo>
                  <a:lnTo>
                    <a:pt x="151" y="391"/>
                  </a:lnTo>
                  <a:lnTo>
                    <a:pt x="151" y="387"/>
                  </a:lnTo>
                  <a:lnTo>
                    <a:pt x="155" y="387"/>
                  </a:lnTo>
                  <a:lnTo>
                    <a:pt x="159" y="387"/>
                  </a:lnTo>
                  <a:lnTo>
                    <a:pt x="163" y="391"/>
                  </a:lnTo>
                  <a:lnTo>
                    <a:pt x="167" y="387"/>
                  </a:lnTo>
                  <a:lnTo>
                    <a:pt x="167" y="383"/>
                  </a:lnTo>
                  <a:lnTo>
                    <a:pt x="171" y="383"/>
                  </a:lnTo>
                  <a:lnTo>
                    <a:pt x="175" y="387"/>
                  </a:lnTo>
                  <a:lnTo>
                    <a:pt x="175" y="391"/>
                  </a:lnTo>
                  <a:lnTo>
                    <a:pt x="171" y="391"/>
                  </a:lnTo>
                  <a:lnTo>
                    <a:pt x="167" y="395"/>
                  </a:lnTo>
                  <a:lnTo>
                    <a:pt x="163" y="395"/>
                  </a:lnTo>
                  <a:lnTo>
                    <a:pt x="159" y="395"/>
                  </a:lnTo>
                  <a:lnTo>
                    <a:pt x="159" y="399"/>
                  </a:lnTo>
                  <a:lnTo>
                    <a:pt x="155" y="399"/>
                  </a:lnTo>
                  <a:lnTo>
                    <a:pt x="151" y="403"/>
                  </a:lnTo>
                  <a:lnTo>
                    <a:pt x="151" y="399"/>
                  </a:lnTo>
                  <a:lnTo>
                    <a:pt x="147" y="399"/>
                  </a:lnTo>
                  <a:lnTo>
                    <a:pt x="147" y="403"/>
                  </a:lnTo>
                  <a:lnTo>
                    <a:pt x="143" y="403"/>
                  </a:lnTo>
                  <a:lnTo>
                    <a:pt x="139" y="403"/>
                  </a:lnTo>
                  <a:lnTo>
                    <a:pt x="135" y="403"/>
                  </a:lnTo>
                  <a:lnTo>
                    <a:pt x="135" y="407"/>
                  </a:lnTo>
                  <a:lnTo>
                    <a:pt x="131" y="411"/>
                  </a:lnTo>
                  <a:lnTo>
                    <a:pt x="127" y="411"/>
                  </a:lnTo>
                  <a:lnTo>
                    <a:pt x="123" y="411"/>
                  </a:lnTo>
                  <a:lnTo>
                    <a:pt x="123" y="415"/>
                  </a:lnTo>
                  <a:lnTo>
                    <a:pt x="119" y="415"/>
                  </a:lnTo>
                  <a:lnTo>
                    <a:pt x="119" y="419"/>
                  </a:lnTo>
                  <a:lnTo>
                    <a:pt x="115" y="419"/>
                  </a:lnTo>
                  <a:lnTo>
                    <a:pt x="119" y="419"/>
                  </a:lnTo>
                  <a:lnTo>
                    <a:pt x="115" y="419"/>
                  </a:lnTo>
                  <a:lnTo>
                    <a:pt x="115" y="423"/>
                  </a:lnTo>
                  <a:lnTo>
                    <a:pt x="115" y="419"/>
                  </a:lnTo>
                  <a:lnTo>
                    <a:pt x="111" y="423"/>
                  </a:lnTo>
                  <a:lnTo>
                    <a:pt x="115" y="423"/>
                  </a:lnTo>
                  <a:lnTo>
                    <a:pt x="119" y="427"/>
                  </a:lnTo>
                  <a:lnTo>
                    <a:pt x="123" y="427"/>
                  </a:lnTo>
                  <a:lnTo>
                    <a:pt x="119" y="427"/>
                  </a:lnTo>
                  <a:lnTo>
                    <a:pt x="115" y="423"/>
                  </a:lnTo>
                  <a:lnTo>
                    <a:pt x="119" y="423"/>
                  </a:lnTo>
                  <a:lnTo>
                    <a:pt x="115" y="423"/>
                  </a:lnTo>
                  <a:lnTo>
                    <a:pt x="119" y="423"/>
                  </a:lnTo>
                  <a:lnTo>
                    <a:pt x="123" y="423"/>
                  </a:lnTo>
                  <a:lnTo>
                    <a:pt x="127" y="423"/>
                  </a:lnTo>
                  <a:lnTo>
                    <a:pt x="131" y="423"/>
                  </a:lnTo>
                  <a:lnTo>
                    <a:pt x="127" y="419"/>
                  </a:lnTo>
                  <a:lnTo>
                    <a:pt x="127" y="423"/>
                  </a:lnTo>
                  <a:lnTo>
                    <a:pt x="123" y="423"/>
                  </a:lnTo>
                  <a:lnTo>
                    <a:pt x="123" y="419"/>
                  </a:lnTo>
                  <a:lnTo>
                    <a:pt x="123" y="415"/>
                  </a:lnTo>
                  <a:lnTo>
                    <a:pt x="127" y="415"/>
                  </a:lnTo>
                  <a:lnTo>
                    <a:pt x="131" y="415"/>
                  </a:lnTo>
                  <a:lnTo>
                    <a:pt x="131" y="411"/>
                  </a:lnTo>
                  <a:lnTo>
                    <a:pt x="131" y="415"/>
                  </a:lnTo>
                  <a:lnTo>
                    <a:pt x="131" y="411"/>
                  </a:lnTo>
                  <a:lnTo>
                    <a:pt x="135" y="411"/>
                  </a:lnTo>
                  <a:lnTo>
                    <a:pt x="139" y="411"/>
                  </a:lnTo>
                  <a:lnTo>
                    <a:pt x="139" y="407"/>
                  </a:lnTo>
                  <a:lnTo>
                    <a:pt x="135" y="407"/>
                  </a:lnTo>
                  <a:lnTo>
                    <a:pt x="139" y="407"/>
                  </a:lnTo>
                  <a:lnTo>
                    <a:pt x="143" y="407"/>
                  </a:lnTo>
                  <a:lnTo>
                    <a:pt x="147" y="403"/>
                  </a:lnTo>
                  <a:lnTo>
                    <a:pt x="147" y="407"/>
                  </a:lnTo>
                  <a:lnTo>
                    <a:pt x="143" y="411"/>
                  </a:lnTo>
                  <a:lnTo>
                    <a:pt x="147" y="411"/>
                  </a:lnTo>
                  <a:lnTo>
                    <a:pt x="147" y="407"/>
                  </a:lnTo>
                  <a:lnTo>
                    <a:pt x="147" y="403"/>
                  </a:lnTo>
                  <a:lnTo>
                    <a:pt x="147" y="407"/>
                  </a:lnTo>
                  <a:lnTo>
                    <a:pt x="151" y="407"/>
                  </a:lnTo>
                  <a:lnTo>
                    <a:pt x="151" y="403"/>
                  </a:lnTo>
                  <a:lnTo>
                    <a:pt x="147" y="403"/>
                  </a:lnTo>
                  <a:lnTo>
                    <a:pt x="151" y="403"/>
                  </a:lnTo>
                  <a:lnTo>
                    <a:pt x="151" y="407"/>
                  </a:lnTo>
                  <a:lnTo>
                    <a:pt x="147" y="411"/>
                  </a:lnTo>
                  <a:lnTo>
                    <a:pt x="151" y="407"/>
                  </a:lnTo>
                  <a:lnTo>
                    <a:pt x="151" y="403"/>
                  </a:lnTo>
                  <a:lnTo>
                    <a:pt x="151" y="407"/>
                  </a:lnTo>
                  <a:lnTo>
                    <a:pt x="151" y="411"/>
                  </a:lnTo>
                  <a:lnTo>
                    <a:pt x="151" y="407"/>
                  </a:lnTo>
                  <a:lnTo>
                    <a:pt x="151" y="411"/>
                  </a:lnTo>
                  <a:lnTo>
                    <a:pt x="151" y="415"/>
                  </a:lnTo>
                  <a:lnTo>
                    <a:pt x="151" y="411"/>
                  </a:lnTo>
                  <a:lnTo>
                    <a:pt x="155" y="407"/>
                  </a:lnTo>
                  <a:lnTo>
                    <a:pt x="159" y="403"/>
                  </a:lnTo>
                  <a:lnTo>
                    <a:pt x="159" y="399"/>
                  </a:lnTo>
                  <a:lnTo>
                    <a:pt x="163" y="399"/>
                  </a:lnTo>
                  <a:lnTo>
                    <a:pt x="167" y="399"/>
                  </a:lnTo>
                  <a:lnTo>
                    <a:pt x="171" y="395"/>
                  </a:lnTo>
                  <a:lnTo>
                    <a:pt x="175" y="395"/>
                  </a:lnTo>
                  <a:lnTo>
                    <a:pt x="179" y="395"/>
                  </a:lnTo>
                  <a:lnTo>
                    <a:pt x="179" y="391"/>
                  </a:lnTo>
                  <a:lnTo>
                    <a:pt x="183" y="391"/>
                  </a:lnTo>
                  <a:lnTo>
                    <a:pt x="183" y="395"/>
                  </a:lnTo>
                  <a:lnTo>
                    <a:pt x="179" y="395"/>
                  </a:lnTo>
                  <a:lnTo>
                    <a:pt x="179" y="399"/>
                  </a:lnTo>
                  <a:lnTo>
                    <a:pt x="183" y="399"/>
                  </a:lnTo>
                  <a:lnTo>
                    <a:pt x="187" y="395"/>
                  </a:lnTo>
                  <a:lnTo>
                    <a:pt x="191" y="391"/>
                  </a:lnTo>
                  <a:lnTo>
                    <a:pt x="191" y="387"/>
                  </a:lnTo>
                  <a:lnTo>
                    <a:pt x="195" y="387"/>
                  </a:lnTo>
                  <a:lnTo>
                    <a:pt x="199" y="387"/>
                  </a:lnTo>
                  <a:lnTo>
                    <a:pt x="203" y="383"/>
                  </a:lnTo>
                  <a:lnTo>
                    <a:pt x="199" y="383"/>
                  </a:lnTo>
                  <a:lnTo>
                    <a:pt x="195" y="383"/>
                  </a:lnTo>
                  <a:lnTo>
                    <a:pt x="199" y="379"/>
                  </a:lnTo>
                  <a:lnTo>
                    <a:pt x="195" y="379"/>
                  </a:lnTo>
                  <a:lnTo>
                    <a:pt x="195" y="375"/>
                  </a:lnTo>
                  <a:lnTo>
                    <a:pt x="199" y="375"/>
                  </a:lnTo>
                  <a:lnTo>
                    <a:pt x="199" y="379"/>
                  </a:lnTo>
                  <a:lnTo>
                    <a:pt x="203" y="379"/>
                  </a:lnTo>
                  <a:lnTo>
                    <a:pt x="207" y="383"/>
                  </a:lnTo>
                  <a:lnTo>
                    <a:pt x="211" y="383"/>
                  </a:lnTo>
                  <a:lnTo>
                    <a:pt x="211" y="387"/>
                  </a:lnTo>
                  <a:lnTo>
                    <a:pt x="211" y="391"/>
                  </a:lnTo>
                  <a:lnTo>
                    <a:pt x="215" y="395"/>
                  </a:lnTo>
                  <a:lnTo>
                    <a:pt x="215" y="399"/>
                  </a:lnTo>
                  <a:lnTo>
                    <a:pt x="219" y="399"/>
                  </a:lnTo>
                  <a:lnTo>
                    <a:pt x="223" y="403"/>
                  </a:lnTo>
                  <a:lnTo>
                    <a:pt x="223" y="407"/>
                  </a:lnTo>
                  <a:lnTo>
                    <a:pt x="227" y="407"/>
                  </a:lnTo>
                  <a:lnTo>
                    <a:pt x="235" y="407"/>
                  </a:lnTo>
                  <a:lnTo>
                    <a:pt x="235" y="411"/>
                  </a:lnTo>
                  <a:lnTo>
                    <a:pt x="235" y="407"/>
                  </a:lnTo>
                  <a:lnTo>
                    <a:pt x="239" y="407"/>
                  </a:lnTo>
                  <a:lnTo>
                    <a:pt x="235" y="407"/>
                  </a:lnTo>
                  <a:lnTo>
                    <a:pt x="231" y="407"/>
                  </a:lnTo>
                  <a:lnTo>
                    <a:pt x="235" y="403"/>
                  </a:lnTo>
                  <a:lnTo>
                    <a:pt x="239" y="403"/>
                  </a:lnTo>
                  <a:lnTo>
                    <a:pt x="235" y="399"/>
                  </a:lnTo>
                  <a:lnTo>
                    <a:pt x="239" y="399"/>
                  </a:lnTo>
                  <a:lnTo>
                    <a:pt x="243" y="399"/>
                  </a:lnTo>
                  <a:lnTo>
                    <a:pt x="239" y="399"/>
                  </a:lnTo>
                  <a:lnTo>
                    <a:pt x="239" y="395"/>
                  </a:lnTo>
                  <a:lnTo>
                    <a:pt x="243" y="395"/>
                  </a:lnTo>
                  <a:lnTo>
                    <a:pt x="243" y="391"/>
                  </a:lnTo>
                  <a:lnTo>
                    <a:pt x="247" y="391"/>
                  </a:lnTo>
                  <a:lnTo>
                    <a:pt x="243" y="391"/>
                  </a:lnTo>
                  <a:lnTo>
                    <a:pt x="239" y="391"/>
                  </a:lnTo>
                  <a:lnTo>
                    <a:pt x="243" y="387"/>
                  </a:lnTo>
                  <a:lnTo>
                    <a:pt x="243" y="391"/>
                  </a:lnTo>
                  <a:lnTo>
                    <a:pt x="247" y="387"/>
                  </a:lnTo>
                  <a:lnTo>
                    <a:pt x="247" y="391"/>
                  </a:lnTo>
                  <a:lnTo>
                    <a:pt x="251" y="391"/>
                  </a:lnTo>
                  <a:lnTo>
                    <a:pt x="251" y="387"/>
                  </a:lnTo>
                  <a:lnTo>
                    <a:pt x="247" y="387"/>
                  </a:lnTo>
                  <a:lnTo>
                    <a:pt x="251" y="387"/>
                  </a:lnTo>
                  <a:lnTo>
                    <a:pt x="251" y="391"/>
                  </a:lnTo>
                  <a:lnTo>
                    <a:pt x="251" y="395"/>
                  </a:lnTo>
                  <a:lnTo>
                    <a:pt x="251" y="399"/>
                  </a:lnTo>
                  <a:lnTo>
                    <a:pt x="255" y="399"/>
                  </a:lnTo>
                  <a:lnTo>
                    <a:pt x="255" y="403"/>
                  </a:lnTo>
                  <a:lnTo>
                    <a:pt x="251" y="403"/>
                  </a:lnTo>
                  <a:lnTo>
                    <a:pt x="247" y="407"/>
                  </a:lnTo>
                  <a:lnTo>
                    <a:pt x="251" y="407"/>
                  </a:lnTo>
                  <a:lnTo>
                    <a:pt x="255" y="407"/>
                  </a:lnTo>
                  <a:lnTo>
                    <a:pt x="259" y="407"/>
                  </a:lnTo>
                  <a:lnTo>
                    <a:pt x="263" y="407"/>
                  </a:lnTo>
                  <a:lnTo>
                    <a:pt x="267" y="407"/>
                  </a:lnTo>
                  <a:lnTo>
                    <a:pt x="267" y="403"/>
                  </a:lnTo>
                  <a:lnTo>
                    <a:pt x="271" y="403"/>
                  </a:lnTo>
                  <a:lnTo>
                    <a:pt x="271" y="399"/>
                  </a:lnTo>
                  <a:lnTo>
                    <a:pt x="271" y="395"/>
                  </a:lnTo>
                  <a:lnTo>
                    <a:pt x="275" y="395"/>
                  </a:lnTo>
                  <a:lnTo>
                    <a:pt x="279" y="395"/>
                  </a:lnTo>
                  <a:lnTo>
                    <a:pt x="283" y="395"/>
                  </a:lnTo>
                  <a:lnTo>
                    <a:pt x="287" y="395"/>
                  </a:lnTo>
                  <a:lnTo>
                    <a:pt x="291" y="395"/>
                  </a:lnTo>
                  <a:lnTo>
                    <a:pt x="295" y="399"/>
                  </a:lnTo>
                  <a:lnTo>
                    <a:pt x="299" y="399"/>
                  </a:lnTo>
                  <a:lnTo>
                    <a:pt x="303" y="399"/>
                  </a:lnTo>
                  <a:lnTo>
                    <a:pt x="303" y="403"/>
                  </a:lnTo>
                  <a:lnTo>
                    <a:pt x="307" y="403"/>
                  </a:lnTo>
                  <a:lnTo>
                    <a:pt x="311" y="407"/>
                  </a:lnTo>
                  <a:lnTo>
                    <a:pt x="315" y="407"/>
                  </a:lnTo>
                  <a:lnTo>
                    <a:pt x="319" y="407"/>
                  </a:lnTo>
                  <a:lnTo>
                    <a:pt x="323" y="411"/>
                  </a:lnTo>
                  <a:lnTo>
                    <a:pt x="327" y="411"/>
                  </a:lnTo>
                  <a:lnTo>
                    <a:pt x="331" y="411"/>
                  </a:lnTo>
                  <a:lnTo>
                    <a:pt x="335" y="411"/>
                  </a:lnTo>
                  <a:lnTo>
                    <a:pt x="339" y="411"/>
                  </a:lnTo>
                  <a:lnTo>
                    <a:pt x="339" y="415"/>
                  </a:lnTo>
                  <a:lnTo>
                    <a:pt x="343" y="415"/>
                  </a:lnTo>
                  <a:lnTo>
                    <a:pt x="347" y="415"/>
                  </a:lnTo>
                  <a:lnTo>
                    <a:pt x="347" y="419"/>
                  </a:lnTo>
                  <a:lnTo>
                    <a:pt x="351" y="419"/>
                  </a:lnTo>
                  <a:lnTo>
                    <a:pt x="355" y="419"/>
                  </a:lnTo>
                  <a:lnTo>
                    <a:pt x="359" y="419"/>
                  </a:lnTo>
                  <a:lnTo>
                    <a:pt x="359" y="423"/>
                  </a:lnTo>
                  <a:lnTo>
                    <a:pt x="363" y="419"/>
                  </a:lnTo>
                  <a:lnTo>
                    <a:pt x="367" y="423"/>
                  </a:lnTo>
                  <a:lnTo>
                    <a:pt x="371" y="423"/>
                  </a:lnTo>
                  <a:lnTo>
                    <a:pt x="375" y="423"/>
                  </a:lnTo>
                  <a:lnTo>
                    <a:pt x="379" y="423"/>
                  </a:lnTo>
                  <a:lnTo>
                    <a:pt x="375" y="423"/>
                  </a:lnTo>
                  <a:lnTo>
                    <a:pt x="375" y="419"/>
                  </a:lnTo>
                  <a:lnTo>
                    <a:pt x="379" y="419"/>
                  </a:lnTo>
                  <a:lnTo>
                    <a:pt x="383" y="419"/>
                  </a:lnTo>
                  <a:lnTo>
                    <a:pt x="379" y="419"/>
                  </a:lnTo>
                  <a:lnTo>
                    <a:pt x="383" y="419"/>
                  </a:lnTo>
                  <a:lnTo>
                    <a:pt x="387" y="419"/>
                  </a:lnTo>
                  <a:lnTo>
                    <a:pt x="391" y="423"/>
                  </a:lnTo>
                  <a:lnTo>
                    <a:pt x="395" y="423"/>
                  </a:lnTo>
                  <a:lnTo>
                    <a:pt x="399" y="423"/>
                  </a:lnTo>
                  <a:lnTo>
                    <a:pt x="399" y="427"/>
                  </a:lnTo>
                  <a:lnTo>
                    <a:pt x="403" y="427"/>
                  </a:lnTo>
                  <a:lnTo>
                    <a:pt x="403" y="431"/>
                  </a:lnTo>
                  <a:lnTo>
                    <a:pt x="407" y="431"/>
                  </a:lnTo>
                  <a:lnTo>
                    <a:pt x="407" y="439"/>
                  </a:lnTo>
                  <a:lnTo>
                    <a:pt x="403" y="439"/>
                  </a:lnTo>
                  <a:lnTo>
                    <a:pt x="399" y="439"/>
                  </a:lnTo>
                  <a:lnTo>
                    <a:pt x="395" y="439"/>
                  </a:lnTo>
                  <a:lnTo>
                    <a:pt x="391" y="439"/>
                  </a:lnTo>
                  <a:lnTo>
                    <a:pt x="391" y="443"/>
                  </a:lnTo>
                  <a:lnTo>
                    <a:pt x="391" y="447"/>
                  </a:lnTo>
                  <a:lnTo>
                    <a:pt x="387" y="447"/>
                  </a:lnTo>
                  <a:lnTo>
                    <a:pt x="391" y="447"/>
                  </a:lnTo>
                  <a:lnTo>
                    <a:pt x="391" y="451"/>
                  </a:lnTo>
                  <a:lnTo>
                    <a:pt x="395" y="451"/>
                  </a:lnTo>
                  <a:lnTo>
                    <a:pt x="399" y="451"/>
                  </a:lnTo>
                  <a:lnTo>
                    <a:pt x="403" y="451"/>
                  </a:lnTo>
                  <a:lnTo>
                    <a:pt x="407" y="451"/>
                  </a:lnTo>
                  <a:lnTo>
                    <a:pt x="411" y="451"/>
                  </a:lnTo>
                  <a:lnTo>
                    <a:pt x="415" y="451"/>
                  </a:lnTo>
                  <a:lnTo>
                    <a:pt x="419" y="451"/>
                  </a:lnTo>
                  <a:lnTo>
                    <a:pt x="423" y="451"/>
                  </a:lnTo>
                  <a:lnTo>
                    <a:pt x="423" y="455"/>
                  </a:lnTo>
                  <a:lnTo>
                    <a:pt x="427" y="455"/>
                  </a:lnTo>
                  <a:lnTo>
                    <a:pt x="431" y="455"/>
                  </a:lnTo>
                  <a:lnTo>
                    <a:pt x="435" y="455"/>
                  </a:lnTo>
                  <a:lnTo>
                    <a:pt x="435" y="451"/>
                  </a:lnTo>
                  <a:lnTo>
                    <a:pt x="439" y="451"/>
                  </a:lnTo>
                  <a:lnTo>
                    <a:pt x="442" y="451"/>
                  </a:lnTo>
                  <a:lnTo>
                    <a:pt x="446" y="451"/>
                  </a:lnTo>
                  <a:lnTo>
                    <a:pt x="450" y="451"/>
                  </a:lnTo>
                  <a:lnTo>
                    <a:pt x="454" y="451"/>
                  </a:lnTo>
                  <a:lnTo>
                    <a:pt x="458" y="451"/>
                  </a:lnTo>
                  <a:lnTo>
                    <a:pt x="458" y="447"/>
                  </a:lnTo>
                  <a:lnTo>
                    <a:pt x="462" y="447"/>
                  </a:lnTo>
                  <a:lnTo>
                    <a:pt x="466" y="447"/>
                  </a:lnTo>
                  <a:lnTo>
                    <a:pt x="466" y="443"/>
                  </a:lnTo>
                  <a:lnTo>
                    <a:pt x="470" y="447"/>
                  </a:lnTo>
                  <a:lnTo>
                    <a:pt x="470" y="451"/>
                  </a:lnTo>
                  <a:lnTo>
                    <a:pt x="470" y="447"/>
                  </a:lnTo>
                  <a:lnTo>
                    <a:pt x="470" y="451"/>
                  </a:lnTo>
                  <a:lnTo>
                    <a:pt x="474" y="451"/>
                  </a:lnTo>
                  <a:lnTo>
                    <a:pt x="474" y="455"/>
                  </a:lnTo>
                  <a:lnTo>
                    <a:pt x="474" y="451"/>
                  </a:lnTo>
                  <a:lnTo>
                    <a:pt x="478" y="451"/>
                  </a:lnTo>
                  <a:lnTo>
                    <a:pt x="482" y="451"/>
                  </a:lnTo>
                  <a:lnTo>
                    <a:pt x="482" y="455"/>
                  </a:lnTo>
                  <a:lnTo>
                    <a:pt x="486" y="459"/>
                  </a:lnTo>
                  <a:lnTo>
                    <a:pt x="482" y="459"/>
                  </a:lnTo>
                  <a:lnTo>
                    <a:pt x="486" y="459"/>
                  </a:lnTo>
                  <a:lnTo>
                    <a:pt x="486" y="463"/>
                  </a:lnTo>
                  <a:lnTo>
                    <a:pt x="486" y="459"/>
                  </a:lnTo>
                  <a:lnTo>
                    <a:pt x="486" y="455"/>
                  </a:lnTo>
                  <a:lnTo>
                    <a:pt x="490" y="455"/>
                  </a:lnTo>
                  <a:lnTo>
                    <a:pt x="490" y="459"/>
                  </a:lnTo>
                  <a:lnTo>
                    <a:pt x="490" y="463"/>
                  </a:lnTo>
                  <a:lnTo>
                    <a:pt x="494" y="463"/>
                  </a:lnTo>
                  <a:lnTo>
                    <a:pt x="490" y="459"/>
                  </a:lnTo>
                  <a:lnTo>
                    <a:pt x="494" y="459"/>
                  </a:lnTo>
                  <a:lnTo>
                    <a:pt x="498" y="463"/>
                  </a:lnTo>
                  <a:lnTo>
                    <a:pt x="498" y="467"/>
                  </a:lnTo>
                  <a:lnTo>
                    <a:pt x="502" y="467"/>
                  </a:lnTo>
                  <a:lnTo>
                    <a:pt x="502" y="471"/>
                  </a:lnTo>
                  <a:lnTo>
                    <a:pt x="498" y="471"/>
                  </a:lnTo>
                  <a:lnTo>
                    <a:pt x="494" y="471"/>
                  </a:lnTo>
                  <a:lnTo>
                    <a:pt x="490" y="471"/>
                  </a:lnTo>
                  <a:lnTo>
                    <a:pt x="490" y="467"/>
                  </a:lnTo>
                  <a:lnTo>
                    <a:pt x="490" y="471"/>
                  </a:lnTo>
                  <a:lnTo>
                    <a:pt x="494" y="471"/>
                  </a:lnTo>
                  <a:lnTo>
                    <a:pt x="498" y="471"/>
                  </a:lnTo>
                  <a:lnTo>
                    <a:pt x="498" y="475"/>
                  </a:lnTo>
                  <a:lnTo>
                    <a:pt x="498" y="479"/>
                  </a:lnTo>
                  <a:lnTo>
                    <a:pt x="502" y="479"/>
                  </a:lnTo>
                  <a:lnTo>
                    <a:pt x="502" y="483"/>
                  </a:lnTo>
                  <a:lnTo>
                    <a:pt x="506" y="483"/>
                  </a:lnTo>
                  <a:lnTo>
                    <a:pt x="506" y="487"/>
                  </a:lnTo>
                  <a:lnTo>
                    <a:pt x="510" y="487"/>
                  </a:lnTo>
                  <a:lnTo>
                    <a:pt x="506" y="483"/>
                  </a:lnTo>
                  <a:lnTo>
                    <a:pt x="506" y="479"/>
                  </a:lnTo>
                  <a:lnTo>
                    <a:pt x="502" y="479"/>
                  </a:lnTo>
                  <a:lnTo>
                    <a:pt x="502" y="475"/>
                  </a:lnTo>
                  <a:lnTo>
                    <a:pt x="502" y="471"/>
                  </a:lnTo>
                  <a:lnTo>
                    <a:pt x="506" y="471"/>
                  </a:lnTo>
                  <a:lnTo>
                    <a:pt x="502" y="471"/>
                  </a:lnTo>
                  <a:lnTo>
                    <a:pt x="506" y="471"/>
                  </a:lnTo>
                  <a:lnTo>
                    <a:pt x="506" y="475"/>
                  </a:lnTo>
                  <a:lnTo>
                    <a:pt x="506" y="471"/>
                  </a:lnTo>
                  <a:lnTo>
                    <a:pt x="502" y="471"/>
                  </a:lnTo>
                  <a:lnTo>
                    <a:pt x="506" y="475"/>
                  </a:lnTo>
                  <a:lnTo>
                    <a:pt x="506" y="471"/>
                  </a:lnTo>
                  <a:lnTo>
                    <a:pt x="510" y="471"/>
                  </a:lnTo>
                  <a:lnTo>
                    <a:pt x="510" y="475"/>
                  </a:lnTo>
                  <a:lnTo>
                    <a:pt x="514" y="475"/>
                  </a:lnTo>
                  <a:lnTo>
                    <a:pt x="510" y="475"/>
                  </a:lnTo>
                  <a:lnTo>
                    <a:pt x="510" y="471"/>
                  </a:lnTo>
                  <a:lnTo>
                    <a:pt x="510" y="467"/>
                  </a:lnTo>
                  <a:lnTo>
                    <a:pt x="506" y="467"/>
                  </a:lnTo>
                  <a:lnTo>
                    <a:pt x="502" y="463"/>
                  </a:lnTo>
                  <a:lnTo>
                    <a:pt x="506" y="459"/>
                  </a:lnTo>
                  <a:lnTo>
                    <a:pt x="502" y="455"/>
                  </a:lnTo>
                  <a:lnTo>
                    <a:pt x="498" y="455"/>
                  </a:lnTo>
                  <a:lnTo>
                    <a:pt x="498" y="451"/>
                  </a:lnTo>
                  <a:lnTo>
                    <a:pt x="498" y="447"/>
                  </a:lnTo>
                  <a:lnTo>
                    <a:pt x="502" y="447"/>
                  </a:lnTo>
                  <a:lnTo>
                    <a:pt x="498" y="443"/>
                  </a:lnTo>
                  <a:lnTo>
                    <a:pt x="502" y="443"/>
                  </a:lnTo>
                  <a:lnTo>
                    <a:pt x="506" y="443"/>
                  </a:lnTo>
                  <a:lnTo>
                    <a:pt x="510" y="443"/>
                  </a:lnTo>
                  <a:lnTo>
                    <a:pt x="514" y="443"/>
                  </a:lnTo>
                  <a:lnTo>
                    <a:pt x="518" y="443"/>
                  </a:lnTo>
                  <a:lnTo>
                    <a:pt x="518" y="439"/>
                  </a:lnTo>
                  <a:lnTo>
                    <a:pt x="522" y="439"/>
                  </a:lnTo>
                  <a:lnTo>
                    <a:pt x="522" y="435"/>
                  </a:lnTo>
                  <a:lnTo>
                    <a:pt x="526" y="435"/>
                  </a:lnTo>
                  <a:lnTo>
                    <a:pt x="534" y="435"/>
                  </a:lnTo>
                  <a:lnTo>
                    <a:pt x="534" y="431"/>
                  </a:lnTo>
                  <a:lnTo>
                    <a:pt x="534" y="427"/>
                  </a:lnTo>
                  <a:lnTo>
                    <a:pt x="530" y="427"/>
                  </a:lnTo>
                  <a:lnTo>
                    <a:pt x="526" y="431"/>
                  </a:lnTo>
                  <a:lnTo>
                    <a:pt x="522" y="431"/>
                  </a:lnTo>
                  <a:lnTo>
                    <a:pt x="518" y="431"/>
                  </a:lnTo>
                  <a:lnTo>
                    <a:pt x="522" y="435"/>
                  </a:lnTo>
                  <a:lnTo>
                    <a:pt x="518" y="435"/>
                  </a:lnTo>
                  <a:lnTo>
                    <a:pt x="514" y="435"/>
                  </a:lnTo>
                  <a:lnTo>
                    <a:pt x="510" y="439"/>
                  </a:lnTo>
                  <a:lnTo>
                    <a:pt x="510" y="435"/>
                  </a:lnTo>
                  <a:lnTo>
                    <a:pt x="506" y="435"/>
                  </a:lnTo>
                  <a:lnTo>
                    <a:pt x="502" y="435"/>
                  </a:lnTo>
                  <a:lnTo>
                    <a:pt x="502" y="439"/>
                  </a:lnTo>
                  <a:lnTo>
                    <a:pt x="506" y="439"/>
                  </a:lnTo>
                  <a:lnTo>
                    <a:pt x="502" y="439"/>
                  </a:lnTo>
                  <a:lnTo>
                    <a:pt x="498" y="439"/>
                  </a:lnTo>
                  <a:lnTo>
                    <a:pt x="494" y="439"/>
                  </a:lnTo>
                  <a:lnTo>
                    <a:pt x="494" y="443"/>
                  </a:lnTo>
                  <a:lnTo>
                    <a:pt x="494" y="439"/>
                  </a:lnTo>
                  <a:lnTo>
                    <a:pt x="494" y="443"/>
                  </a:lnTo>
                  <a:lnTo>
                    <a:pt x="494" y="439"/>
                  </a:lnTo>
                  <a:lnTo>
                    <a:pt x="494" y="435"/>
                  </a:lnTo>
                  <a:lnTo>
                    <a:pt x="490" y="435"/>
                  </a:lnTo>
                  <a:lnTo>
                    <a:pt x="490" y="439"/>
                  </a:lnTo>
                  <a:lnTo>
                    <a:pt x="486" y="439"/>
                  </a:lnTo>
                  <a:lnTo>
                    <a:pt x="486" y="435"/>
                  </a:lnTo>
                  <a:lnTo>
                    <a:pt x="490" y="435"/>
                  </a:lnTo>
                  <a:lnTo>
                    <a:pt x="490" y="431"/>
                  </a:lnTo>
                  <a:lnTo>
                    <a:pt x="494" y="431"/>
                  </a:lnTo>
                  <a:lnTo>
                    <a:pt x="494" y="427"/>
                  </a:lnTo>
                  <a:lnTo>
                    <a:pt x="498" y="427"/>
                  </a:lnTo>
                  <a:lnTo>
                    <a:pt x="502" y="427"/>
                  </a:lnTo>
                  <a:lnTo>
                    <a:pt x="506" y="427"/>
                  </a:lnTo>
                  <a:lnTo>
                    <a:pt x="510" y="427"/>
                  </a:lnTo>
                  <a:lnTo>
                    <a:pt x="514" y="423"/>
                  </a:lnTo>
                  <a:lnTo>
                    <a:pt x="518" y="423"/>
                  </a:lnTo>
                  <a:lnTo>
                    <a:pt x="526" y="419"/>
                  </a:lnTo>
                  <a:lnTo>
                    <a:pt x="530" y="423"/>
                  </a:lnTo>
                  <a:lnTo>
                    <a:pt x="534" y="423"/>
                  </a:lnTo>
                  <a:lnTo>
                    <a:pt x="538" y="427"/>
                  </a:lnTo>
                  <a:lnTo>
                    <a:pt x="538" y="431"/>
                  </a:lnTo>
                  <a:lnTo>
                    <a:pt x="534" y="435"/>
                  </a:lnTo>
                  <a:lnTo>
                    <a:pt x="538" y="435"/>
                  </a:lnTo>
                  <a:lnTo>
                    <a:pt x="542" y="439"/>
                  </a:lnTo>
                  <a:lnTo>
                    <a:pt x="542" y="435"/>
                  </a:lnTo>
                  <a:lnTo>
                    <a:pt x="546" y="435"/>
                  </a:lnTo>
                  <a:lnTo>
                    <a:pt x="546" y="439"/>
                  </a:lnTo>
                  <a:lnTo>
                    <a:pt x="550" y="439"/>
                  </a:lnTo>
                  <a:lnTo>
                    <a:pt x="550" y="443"/>
                  </a:lnTo>
                  <a:lnTo>
                    <a:pt x="554" y="443"/>
                  </a:lnTo>
                  <a:lnTo>
                    <a:pt x="558" y="443"/>
                  </a:lnTo>
                  <a:lnTo>
                    <a:pt x="562" y="443"/>
                  </a:lnTo>
                  <a:lnTo>
                    <a:pt x="566" y="443"/>
                  </a:lnTo>
                  <a:lnTo>
                    <a:pt x="566" y="439"/>
                  </a:lnTo>
                  <a:lnTo>
                    <a:pt x="570" y="439"/>
                  </a:lnTo>
                  <a:lnTo>
                    <a:pt x="570" y="443"/>
                  </a:lnTo>
                  <a:lnTo>
                    <a:pt x="570" y="447"/>
                  </a:lnTo>
                  <a:lnTo>
                    <a:pt x="574" y="447"/>
                  </a:lnTo>
                  <a:lnTo>
                    <a:pt x="578" y="451"/>
                  </a:lnTo>
                  <a:lnTo>
                    <a:pt x="582" y="451"/>
                  </a:lnTo>
                  <a:lnTo>
                    <a:pt x="586" y="451"/>
                  </a:lnTo>
                  <a:lnTo>
                    <a:pt x="590" y="451"/>
                  </a:lnTo>
                  <a:lnTo>
                    <a:pt x="594" y="451"/>
                  </a:lnTo>
                  <a:lnTo>
                    <a:pt x="598" y="455"/>
                  </a:lnTo>
                  <a:lnTo>
                    <a:pt x="598" y="451"/>
                  </a:lnTo>
                  <a:lnTo>
                    <a:pt x="602" y="451"/>
                  </a:lnTo>
                  <a:lnTo>
                    <a:pt x="606" y="451"/>
                  </a:lnTo>
                  <a:lnTo>
                    <a:pt x="610" y="451"/>
                  </a:lnTo>
                  <a:lnTo>
                    <a:pt x="614" y="447"/>
                  </a:lnTo>
                  <a:lnTo>
                    <a:pt x="618" y="447"/>
                  </a:lnTo>
                  <a:lnTo>
                    <a:pt x="618" y="451"/>
                  </a:lnTo>
                  <a:lnTo>
                    <a:pt x="622" y="451"/>
                  </a:lnTo>
                  <a:lnTo>
                    <a:pt x="626" y="451"/>
                  </a:lnTo>
                  <a:lnTo>
                    <a:pt x="630" y="451"/>
                  </a:lnTo>
                  <a:lnTo>
                    <a:pt x="634" y="451"/>
                  </a:lnTo>
                  <a:lnTo>
                    <a:pt x="638" y="451"/>
                  </a:lnTo>
                  <a:lnTo>
                    <a:pt x="642" y="451"/>
                  </a:lnTo>
                  <a:lnTo>
                    <a:pt x="646" y="451"/>
                  </a:lnTo>
                  <a:lnTo>
                    <a:pt x="642" y="447"/>
                  </a:lnTo>
                  <a:lnTo>
                    <a:pt x="638" y="447"/>
                  </a:lnTo>
                  <a:lnTo>
                    <a:pt x="638" y="443"/>
                  </a:lnTo>
                  <a:lnTo>
                    <a:pt x="642" y="443"/>
                  </a:lnTo>
                  <a:lnTo>
                    <a:pt x="646" y="447"/>
                  </a:lnTo>
                  <a:lnTo>
                    <a:pt x="650" y="451"/>
                  </a:lnTo>
                  <a:lnTo>
                    <a:pt x="654" y="455"/>
                  </a:lnTo>
                  <a:lnTo>
                    <a:pt x="658" y="455"/>
                  </a:lnTo>
                  <a:lnTo>
                    <a:pt x="662" y="455"/>
                  </a:lnTo>
                  <a:lnTo>
                    <a:pt x="662" y="451"/>
                  </a:lnTo>
                  <a:lnTo>
                    <a:pt x="662" y="447"/>
                  </a:lnTo>
                  <a:lnTo>
                    <a:pt x="658" y="447"/>
                  </a:lnTo>
                  <a:lnTo>
                    <a:pt x="654" y="443"/>
                  </a:lnTo>
                  <a:lnTo>
                    <a:pt x="654" y="447"/>
                  </a:lnTo>
                  <a:lnTo>
                    <a:pt x="650" y="447"/>
                  </a:lnTo>
                  <a:lnTo>
                    <a:pt x="650" y="451"/>
                  </a:lnTo>
                  <a:lnTo>
                    <a:pt x="646" y="447"/>
                  </a:lnTo>
                  <a:lnTo>
                    <a:pt x="646" y="443"/>
                  </a:lnTo>
                  <a:lnTo>
                    <a:pt x="642" y="439"/>
                  </a:lnTo>
                  <a:lnTo>
                    <a:pt x="642" y="443"/>
                  </a:lnTo>
                  <a:lnTo>
                    <a:pt x="646" y="443"/>
                  </a:lnTo>
                  <a:lnTo>
                    <a:pt x="646" y="439"/>
                  </a:lnTo>
                  <a:lnTo>
                    <a:pt x="642" y="439"/>
                  </a:lnTo>
                  <a:lnTo>
                    <a:pt x="642" y="435"/>
                  </a:lnTo>
                  <a:lnTo>
                    <a:pt x="638" y="435"/>
                  </a:lnTo>
                  <a:lnTo>
                    <a:pt x="642" y="435"/>
                  </a:lnTo>
                  <a:lnTo>
                    <a:pt x="646" y="435"/>
                  </a:lnTo>
                  <a:lnTo>
                    <a:pt x="650" y="435"/>
                  </a:lnTo>
                  <a:lnTo>
                    <a:pt x="654" y="435"/>
                  </a:lnTo>
                  <a:lnTo>
                    <a:pt x="650" y="435"/>
                  </a:lnTo>
                  <a:lnTo>
                    <a:pt x="650" y="431"/>
                  </a:lnTo>
                  <a:lnTo>
                    <a:pt x="654" y="431"/>
                  </a:lnTo>
                  <a:lnTo>
                    <a:pt x="658" y="435"/>
                  </a:lnTo>
                  <a:lnTo>
                    <a:pt x="658" y="431"/>
                  </a:lnTo>
                  <a:lnTo>
                    <a:pt x="662" y="431"/>
                  </a:lnTo>
                  <a:lnTo>
                    <a:pt x="662" y="435"/>
                  </a:lnTo>
                  <a:lnTo>
                    <a:pt x="666" y="435"/>
                  </a:lnTo>
                  <a:lnTo>
                    <a:pt x="666" y="439"/>
                  </a:lnTo>
                  <a:lnTo>
                    <a:pt x="670" y="439"/>
                  </a:lnTo>
                  <a:lnTo>
                    <a:pt x="674" y="439"/>
                  </a:lnTo>
                  <a:lnTo>
                    <a:pt x="674" y="435"/>
                  </a:lnTo>
                  <a:lnTo>
                    <a:pt x="674" y="439"/>
                  </a:lnTo>
                  <a:lnTo>
                    <a:pt x="670" y="443"/>
                  </a:lnTo>
                  <a:lnTo>
                    <a:pt x="674" y="443"/>
                  </a:lnTo>
                  <a:lnTo>
                    <a:pt x="674" y="439"/>
                  </a:lnTo>
                  <a:lnTo>
                    <a:pt x="678" y="439"/>
                  </a:lnTo>
                  <a:lnTo>
                    <a:pt x="682" y="439"/>
                  </a:lnTo>
                  <a:lnTo>
                    <a:pt x="678" y="439"/>
                  </a:lnTo>
                  <a:lnTo>
                    <a:pt x="682" y="443"/>
                  </a:lnTo>
                  <a:lnTo>
                    <a:pt x="678" y="443"/>
                  </a:lnTo>
                  <a:lnTo>
                    <a:pt x="678" y="447"/>
                  </a:lnTo>
                  <a:lnTo>
                    <a:pt x="678" y="451"/>
                  </a:lnTo>
                  <a:lnTo>
                    <a:pt x="678" y="455"/>
                  </a:lnTo>
                  <a:lnTo>
                    <a:pt x="674" y="455"/>
                  </a:lnTo>
                  <a:lnTo>
                    <a:pt x="674" y="459"/>
                  </a:lnTo>
                  <a:lnTo>
                    <a:pt x="678" y="459"/>
                  </a:lnTo>
                  <a:lnTo>
                    <a:pt x="678" y="463"/>
                  </a:lnTo>
                  <a:lnTo>
                    <a:pt x="678" y="467"/>
                  </a:lnTo>
                  <a:lnTo>
                    <a:pt x="682" y="463"/>
                  </a:lnTo>
                  <a:lnTo>
                    <a:pt x="686" y="463"/>
                  </a:lnTo>
                  <a:lnTo>
                    <a:pt x="686" y="467"/>
                  </a:lnTo>
                  <a:lnTo>
                    <a:pt x="682" y="467"/>
                  </a:lnTo>
                  <a:lnTo>
                    <a:pt x="686" y="467"/>
                  </a:lnTo>
                  <a:lnTo>
                    <a:pt x="690" y="467"/>
                  </a:lnTo>
                  <a:lnTo>
                    <a:pt x="690" y="471"/>
                  </a:lnTo>
                  <a:lnTo>
                    <a:pt x="686" y="471"/>
                  </a:lnTo>
                  <a:lnTo>
                    <a:pt x="682" y="471"/>
                  </a:lnTo>
                  <a:lnTo>
                    <a:pt x="678" y="471"/>
                  </a:lnTo>
                  <a:lnTo>
                    <a:pt x="674" y="471"/>
                  </a:lnTo>
                  <a:lnTo>
                    <a:pt x="674" y="467"/>
                  </a:lnTo>
                  <a:lnTo>
                    <a:pt x="674" y="471"/>
                  </a:lnTo>
                  <a:lnTo>
                    <a:pt x="678" y="471"/>
                  </a:lnTo>
                  <a:lnTo>
                    <a:pt x="678" y="475"/>
                  </a:lnTo>
                  <a:lnTo>
                    <a:pt x="682" y="475"/>
                  </a:lnTo>
                  <a:lnTo>
                    <a:pt x="682" y="479"/>
                  </a:lnTo>
                  <a:lnTo>
                    <a:pt x="686" y="479"/>
                  </a:lnTo>
                  <a:lnTo>
                    <a:pt x="682" y="475"/>
                  </a:lnTo>
                  <a:lnTo>
                    <a:pt x="678" y="475"/>
                  </a:lnTo>
                  <a:lnTo>
                    <a:pt x="678" y="471"/>
                  </a:lnTo>
                  <a:lnTo>
                    <a:pt x="682" y="471"/>
                  </a:lnTo>
                  <a:lnTo>
                    <a:pt x="686" y="471"/>
                  </a:lnTo>
                  <a:lnTo>
                    <a:pt x="686" y="475"/>
                  </a:lnTo>
                  <a:lnTo>
                    <a:pt x="690" y="475"/>
                  </a:lnTo>
                  <a:lnTo>
                    <a:pt x="694" y="471"/>
                  </a:lnTo>
                  <a:lnTo>
                    <a:pt x="690" y="471"/>
                  </a:lnTo>
                  <a:lnTo>
                    <a:pt x="690" y="467"/>
                  </a:lnTo>
                  <a:lnTo>
                    <a:pt x="694" y="463"/>
                  </a:lnTo>
                  <a:lnTo>
                    <a:pt x="690" y="463"/>
                  </a:lnTo>
                  <a:lnTo>
                    <a:pt x="690" y="459"/>
                  </a:lnTo>
                  <a:lnTo>
                    <a:pt x="690" y="455"/>
                  </a:lnTo>
                  <a:lnTo>
                    <a:pt x="686" y="455"/>
                  </a:lnTo>
                  <a:lnTo>
                    <a:pt x="686" y="451"/>
                  </a:lnTo>
                  <a:lnTo>
                    <a:pt x="690" y="447"/>
                  </a:lnTo>
                  <a:lnTo>
                    <a:pt x="686" y="447"/>
                  </a:lnTo>
                  <a:lnTo>
                    <a:pt x="690" y="447"/>
                  </a:lnTo>
                  <a:lnTo>
                    <a:pt x="690" y="443"/>
                  </a:lnTo>
                  <a:lnTo>
                    <a:pt x="694" y="443"/>
                  </a:lnTo>
                  <a:lnTo>
                    <a:pt x="698" y="443"/>
                  </a:lnTo>
                  <a:lnTo>
                    <a:pt x="702" y="443"/>
                  </a:lnTo>
                  <a:lnTo>
                    <a:pt x="706" y="439"/>
                  </a:lnTo>
                  <a:lnTo>
                    <a:pt x="710" y="439"/>
                  </a:lnTo>
                  <a:lnTo>
                    <a:pt x="710" y="435"/>
                  </a:lnTo>
                  <a:lnTo>
                    <a:pt x="706" y="435"/>
                  </a:lnTo>
                  <a:lnTo>
                    <a:pt x="710" y="435"/>
                  </a:lnTo>
                  <a:lnTo>
                    <a:pt x="710" y="431"/>
                  </a:lnTo>
                  <a:lnTo>
                    <a:pt x="714" y="431"/>
                  </a:lnTo>
                  <a:lnTo>
                    <a:pt x="718" y="431"/>
                  </a:lnTo>
                  <a:lnTo>
                    <a:pt x="718" y="427"/>
                  </a:lnTo>
                  <a:lnTo>
                    <a:pt x="714" y="427"/>
                  </a:lnTo>
                  <a:lnTo>
                    <a:pt x="714" y="423"/>
                  </a:lnTo>
                  <a:lnTo>
                    <a:pt x="718" y="423"/>
                  </a:lnTo>
                  <a:lnTo>
                    <a:pt x="718" y="419"/>
                  </a:lnTo>
                  <a:lnTo>
                    <a:pt x="714" y="419"/>
                  </a:lnTo>
                  <a:lnTo>
                    <a:pt x="710" y="419"/>
                  </a:lnTo>
                  <a:lnTo>
                    <a:pt x="710" y="423"/>
                  </a:lnTo>
                  <a:lnTo>
                    <a:pt x="714" y="423"/>
                  </a:lnTo>
                  <a:lnTo>
                    <a:pt x="714" y="419"/>
                  </a:lnTo>
                  <a:lnTo>
                    <a:pt x="714" y="423"/>
                  </a:lnTo>
                  <a:lnTo>
                    <a:pt x="710" y="423"/>
                  </a:lnTo>
                  <a:lnTo>
                    <a:pt x="706" y="427"/>
                  </a:lnTo>
                  <a:lnTo>
                    <a:pt x="702" y="427"/>
                  </a:lnTo>
                  <a:lnTo>
                    <a:pt x="702" y="423"/>
                  </a:lnTo>
                  <a:lnTo>
                    <a:pt x="702" y="419"/>
                  </a:lnTo>
                  <a:lnTo>
                    <a:pt x="706" y="419"/>
                  </a:lnTo>
                  <a:lnTo>
                    <a:pt x="710" y="415"/>
                  </a:lnTo>
                  <a:lnTo>
                    <a:pt x="706" y="415"/>
                  </a:lnTo>
                  <a:lnTo>
                    <a:pt x="706" y="411"/>
                  </a:lnTo>
                  <a:lnTo>
                    <a:pt x="710" y="407"/>
                  </a:lnTo>
                  <a:lnTo>
                    <a:pt x="714" y="407"/>
                  </a:lnTo>
                  <a:lnTo>
                    <a:pt x="718" y="407"/>
                  </a:lnTo>
                  <a:lnTo>
                    <a:pt x="714" y="407"/>
                  </a:lnTo>
                  <a:lnTo>
                    <a:pt x="714" y="411"/>
                  </a:lnTo>
                  <a:lnTo>
                    <a:pt x="714" y="415"/>
                  </a:lnTo>
                  <a:lnTo>
                    <a:pt x="718" y="411"/>
                  </a:lnTo>
                  <a:lnTo>
                    <a:pt x="722" y="407"/>
                  </a:lnTo>
                  <a:lnTo>
                    <a:pt x="718" y="407"/>
                  </a:lnTo>
                  <a:lnTo>
                    <a:pt x="718" y="403"/>
                  </a:lnTo>
                  <a:lnTo>
                    <a:pt x="714" y="403"/>
                  </a:lnTo>
                  <a:lnTo>
                    <a:pt x="714" y="407"/>
                  </a:lnTo>
                  <a:lnTo>
                    <a:pt x="710" y="407"/>
                  </a:lnTo>
                  <a:lnTo>
                    <a:pt x="706" y="407"/>
                  </a:lnTo>
                  <a:lnTo>
                    <a:pt x="706" y="403"/>
                  </a:lnTo>
                  <a:lnTo>
                    <a:pt x="702" y="403"/>
                  </a:lnTo>
                  <a:lnTo>
                    <a:pt x="702" y="399"/>
                  </a:lnTo>
                  <a:lnTo>
                    <a:pt x="698" y="399"/>
                  </a:lnTo>
                  <a:lnTo>
                    <a:pt x="702" y="403"/>
                  </a:lnTo>
                  <a:lnTo>
                    <a:pt x="698" y="403"/>
                  </a:lnTo>
                  <a:lnTo>
                    <a:pt x="694" y="403"/>
                  </a:lnTo>
                  <a:lnTo>
                    <a:pt x="694" y="399"/>
                  </a:lnTo>
                  <a:lnTo>
                    <a:pt x="690" y="399"/>
                  </a:lnTo>
                  <a:lnTo>
                    <a:pt x="686" y="399"/>
                  </a:lnTo>
                  <a:lnTo>
                    <a:pt x="686" y="395"/>
                  </a:lnTo>
                  <a:lnTo>
                    <a:pt x="682" y="395"/>
                  </a:lnTo>
                  <a:lnTo>
                    <a:pt x="678" y="395"/>
                  </a:lnTo>
                  <a:lnTo>
                    <a:pt x="678" y="391"/>
                  </a:lnTo>
                  <a:lnTo>
                    <a:pt x="674" y="391"/>
                  </a:lnTo>
                  <a:lnTo>
                    <a:pt x="674" y="387"/>
                  </a:lnTo>
                  <a:lnTo>
                    <a:pt x="674" y="383"/>
                  </a:lnTo>
                  <a:lnTo>
                    <a:pt x="678" y="375"/>
                  </a:lnTo>
                  <a:lnTo>
                    <a:pt x="682" y="375"/>
                  </a:lnTo>
                  <a:lnTo>
                    <a:pt x="678" y="375"/>
                  </a:lnTo>
                  <a:lnTo>
                    <a:pt x="682" y="371"/>
                  </a:lnTo>
                  <a:lnTo>
                    <a:pt x="678" y="371"/>
                  </a:lnTo>
                  <a:lnTo>
                    <a:pt x="678" y="375"/>
                  </a:lnTo>
                  <a:lnTo>
                    <a:pt x="674" y="371"/>
                  </a:lnTo>
                  <a:lnTo>
                    <a:pt x="670" y="371"/>
                  </a:lnTo>
                  <a:lnTo>
                    <a:pt x="670" y="367"/>
                  </a:lnTo>
                  <a:lnTo>
                    <a:pt x="674" y="367"/>
                  </a:lnTo>
                  <a:lnTo>
                    <a:pt x="674" y="363"/>
                  </a:lnTo>
                  <a:lnTo>
                    <a:pt x="674" y="359"/>
                  </a:lnTo>
                  <a:lnTo>
                    <a:pt x="674" y="363"/>
                  </a:lnTo>
                  <a:lnTo>
                    <a:pt x="674" y="359"/>
                  </a:lnTo>
                  <a:lnTo>
                    <a:pt x="674" y="355"/>
                  </a:lnTo>
                  <a:lnTo>
                    <a:pt x="678" y="355"/>
                  </a:lnTo>
                  <a:lnTo>
                    <a:pt x="678" y="351"/>
                  </a:lnTo>
                  <a:lnTo>
                    <a:pt x="682" y="351"/>
                  </a:lnTo>
                  <a:lnTo>
                    <a:pt x="682" y="355"/>
                  </a:lnTo>
                  <a:lnTo>
                    <a:pt x="686" y="355"/>
                  </a:lnTo>
                  <a:lnTo>
                    <a:pt x="690" y="355"/>
                  </a:lnTo>
                  <a:lnTo>
                    <a:pt x="686" y="351"/>
                  </a:lnTo>
                  <a:lnTo>
                    <a:pt x="682" y="351"/>
                  </a:lnTo>
                  <a:lnTo>
                    <a:pt x="682" y="347"/>
                  </a:lnTo>
                  <a:lnTo>
                    <a:pt x="686" y="347"/>
                  </a:lnTo>
                  <a:lnTo>
                    <a:pt x="686" y="343"/>
                  </a:lnTo>
                  <a:lnTo>
                    <a:pt x="690" y="343"/>
                  </a:lnTo>
                  <a:lnTo>
                    <a:pt x="694" y="339"/>
                  </a:lnTo>
                  <a:lnTo>
                    <a:pt x="698" y="339"/>
                  </a:lnTo>
                  <a:lnTo>
                    <a:pt x="702" y="339"/>
                  </a:lnTo>
                  <a:lnTo>
                    <a:pt x="698" y="339"/>
                  </a:lnTo>
                  <a:lnTo>
                    <a:pt x="694" y="339"/>
                  </a:lnTo>
                  <a:lnTo>
                    <a:pt x="698" y="335"/>
                  </a:lnTo>
                  <a:lnTo>
                    <a:pt x="702" y="335"/>
                  </a:lnTo>
                  <a:lnTo>
                    <a:pt x="706" y="339"/>
                  </a:lnTo>
                  <a:lnTo>
                    <a:pt x="702" y="339"/>
                  </a:lnTo>
                  <a:lnTo>
                    <a:pt x="702" y="343"/>
                  </a:lnTo>
                  <a:lnTo>
                    <a:pt x="702" y="339"/>
                  </a:lnTo>
                  <a:lnTo>
                    <a:pt x="706" y="339"/>
                  </a:lnTo>
                  <a:lnTo>
                    <a:pt x="706" y="343"/>
                  </a:lnTo>
                  <a:lnTo>
                    <a:pt x="710" y="343"/>
                  </a:lnTo>
                  <a:lnTo>
                    <a:pt x="714" y="343"/>
                  </a:lnTo>
                  <a:lnTo>
                    <a:pt x="714" y="347"/>
                  </a:lnTo>
                  <a:lnTo>
                    <a:pt x="718" y="347"/>
                  </a:lnTo>
                  <a:lnTo>
                    <a:pt x="722" y="351"/>
                  </a:lnTo>
                  <a:lnTo>
                    <a:pt x="726" y="355"/>
                  </a:lnTo>
                  <a:lnTo>
                    <a:pt x="726" y="359"/>
                  </a:lnTo>
                  <a:lnTo>
                    <a:pt x="730" y="359"/>
                  </a:lnTo>
                  <a:lnTo>
                    <a:pt x="730" y="363"/>
                  </a:lnTo>
                  <a:lnTo>
                    <a:pt x="726" y="367"/>
                  </a:lnTo>
                  <a:lnTo>
                    <a:pt x="730" y="367"/>
                  </a:lnTo>
                  <a:lnTo>
                    <a:pt x="730" y="371"/>
                  </a:lnTo>
                  <a:lnTo>
                    <a:pt x="734" y="371"/>
                  </a:lnTo>
                  <a:lnTo>
                    <a:pt x="738" y="375"/>
                  </a:lnTo>
                  <a:lnTo>
                    <a:pt x="738" y="379"/>
                  </a:lnTo>
                  <a:lnTo>
                    <a:pt x="742" y="379"/>
                  </a:lnTo>
                  <a:lnTo>
                    <a:pt x="742" y="383"/>
                  </a:lnTo>
                  <a:lnTo>
                    <a:pt x="742" y="379"/>
                  </a:lnTo>
                  <a:lnTo>
                    <a:pt x="746" y="379"/>
                  </a:lnTo>
                  <a:lnTo>
                    <a:pt x="746" y="383"/>
                  </a:lnTo>
                  <a:lnTo>
                    <a:pt x="750" y="387"/>
                  </a:lnTo>
                  <a:lnTo>
                    <a:pt x="746" y="387"/>
                  </a:lnTo>
                  <a:lnTo>
                    <a:pt x="742" y="387"/>
                  </a:lnTo>
                  <a:lnTo>
                    <a:pt x="738" y="383"/>
                  </a:lnTo>
                  <a:lnTo>
                    <a:pt x="738" y="387"/>
                  </a:lnTo>
                  <a:lnTo>
                    <a:pt x="734" y="387"/>
                  </a:lnTo>
                  <a:lnTo>
                    <a:pt x="738" y="387"/>
                  </a:lnTo>
                  <a:lnTo>
                    <a:pt x="742" y="387"/>
                  </a:lnTo>
                  <a:lnTo>
                    <a:pt x="742" y="391"/>
                  </a:lnTo>
                  <a:lnTo>
                    <a:pt x="738" y="391"/>
                  </a:lnTo>
                  <a:lnTo>
                    <a:pt x="734" y="395"/>
                  </a:lnTo>
                  <a:lnTo>
                    <a:pt x="730" y="399"/>
                  </a:lnTo>
                  <a:lnTo>
                    <a:pt x="734" y="399"/>
                  </a:lnTo>
                  <a:lnTo>
                    <a:pt x="730" y="399"/>
                  </a:lnTo>
                  <a:lnTo>
                    <a:pt x="726" y="399"/>
                  </a:lnTo>
                  <a:lnTo>
                    <a:pt x="730" y="399"/>
                  </a:lnTo>
                  <a:lnTo>
                    <a:pt x="734" y="399"/>
                  </a:lnTo>
                  <a:lnTo>
                    <a:pt x="738" y="399"/>
                  </a:lnTo>
                  <a:lnTo>
                    <a:pt x="742" y="403"/>
                  </a:lnTo>
                  <a:lnTo>
                    <a:pt x="738" y="403"/>
                  </a:lnTo>
                  <a:lnTo>
                    <a:pt x="738" y="399"/>
                  </a:lnTo>
                  <a:lnTo>
                    <a:pt x="738" y="403"/>
                  </a:lnTo>
                  <a:lnTo>
                    <a:pt x="742" y="403"/>
                  </a:lnTo>
                  <a:lnTo>
                    <a:pt x="746" y="403"/>
                  </a:lnTo>
                  <a:lnTo>
                    <a:pt x="750" y="399"/>
                  </a:lnTo>
                  <a:lnTo>
                    <a:pt x="754" y="399"/>
                  </a:lnTo>
                  <a:lnTo>
                    <a:pt x="750" y="403"/>
                  </a:lnTo>
                  <a:lnTo>
                    <a:pt x="754" y="403"/>
                  </a:lnTo>
                  <a:lnTo>
                    <a:pt x="758" y="403"/>
                  </a:lnTo>
                  <a:lnTo>
                    <a:pt x="762" y="403"/>
                  </a:lnTo>
                  <a:lnTo>
                    <a:pt x="766" y="403"/>
                  </a:lnTo>
                  <a:lnTo>
                    <a:pt x="766" y="407"/>
                  </a:lnTo>
                  <a:lnTo>
                    <a:pt x="762" y="407"/>
                  </a:lnTo>
                  <a:lnTo>
                    <a:pt x="758" y="407"/>
                  </a:lnTo>
                  <a:lnTo>
                    <a:pt x="758" y="411"/>
                  </a:lnTo>
                  <a:lnTo>
                    <a:pt x="754" y="411"/>
                  </a:lnTo>
                  <a:lnTo>
                    <a:pt x="750" y="411"/>
                  </a:lnTo>
                  <a:lnTo>
                    <a:pt x="750" y="407"/>
                  </a:lnTo>
                  <a:lnTo>
                    <a:pt x="750" y="411"/>
                  </a:lnTo>
                  <a:lnTo>
                    <a:pt x="754" y="411"/>
                  </a:lnTo>
                  <a:lnTo>
                    <a:pt x="758" y="411"/>
                  </a:lnTo>
                  <a:lnTo>
                    <a:pt x="758" y="415"/>
                  </a:lnTo>
                  <a:lnTo>
                    <a:pt x="762" y="415"/>
                  </a:lnTo>
                  <a:lnTo>
                    <a:pt x="762" y="419"/>
                  </a:lnTo>
                  <a:lnTo>
                    <a:pt x="766" y="419"/>
                  </a:lnTo>
                  <a:lnTo>
                    <a:pt x="766" y="423"/>
                  </a:lnTo>
                  <a:lnTo>
                    <a:pt x="762" y="423"/>
                  </a:lnTo>
                  <a:lnTo>
                    <a:pt x="766" y="427"/>
                  </a:lnTo>
                  <a:lnTo>
                    <a:pt x="766" y="431"/>
                  </a:lnTo>
                  <a:lnTo>
                    <a:pt x="762" y="431"/>
                  </a:lnTo>
                  <a:lnTo>
                    <a:pt x="762" y="435"/>
                  </a:lnTo>
                  <a:lnTo>
                    <a:pt x="766" y="435"/>
                  </a:lnTo>
                  <a:lnTo>
                    <a:pt x="766" y="439"/>
                  </a:lnTo>
                  <a:lnTo>
                    <a:pt x="770" y="439"/>
                  </a:lnTo>
                  <a:lnTo>
                    <a:pt x="770" y="435"/>
                  </a:lnTo>
                  <a:lnTo>
                    <a:pt x="774" y="435"/>
                  </a:lnTo>
                  <a:lnTo>
                    <a:pt x="774" y="431"/>
                  </a:lnTo>
                  <a:lnTo>
                    <a:pt x="774" y="427"/>
                  </a:lnTo>
                  <a:lnTo>
                    <a:pt x="778" y="423"/>
                  </a:lnTo>
                  <a:lnTo>
                    <a:pt x="774" y="419"/>
                  </a:lnTo>
                  <a:lnTo>
                    <a:pt x="778" y="419"/>
                  </a:lnTo>
                  <a:lnTo>
                    <a:pt x="778" y="415"/>
                  </a:lnTo>
                  <a:lnTo>
                    <a:pt x="782" y="415"/>
                  </a:lnTo>
                  <a:lnTo>
                    <a:pt x="782" y="411"/>
                  </a:lnTo>
                  <a:lnTo>
                    <a:pt x="786" y="411"/>
                  </a:lnTo>
                  <a:lnTo>
                    <a:pt x="790" y="415"/>
                  </a:lnTo>
                  <a:lnTo>
                    <a:pt x="794" y="415"/>
                  </a:lnTo>
                  <a:lnTo>
                    <a:pt x="794" y="419"/>
                  </a:lnTo>
                  <a:lnTo>
                    <a:pt x="797" y="419"/>
                  </a:lnTo>
                  <a:lnTo>
                    <a:pt x="801" y="423"/>
                  </a:lnTo>
                  <a:lnTo>
                    <a:pt x="801" y="427"/>
                  </a:lnTo>
                  <a:lnTo>
                    <a:pt x="801" y="431"/>
                  </a:lnTo>
                  <a:lnTo>
                    <a:pt x="805" y="431"/>
                  </a:lnTo>
                  <a:lnTo>
                    <a:pt x="805" y="435"/>
                  </a:lnTo>
                  <a:lnTo>
                    <a:pt x="805" y="439"/>
                  </a:lnTo>
                  <a:lnTo>
                    <a:pt x="801" y="439"/>
                  </a:lnTo>
                  <a:lnTo>
                    <a:pt x="797" y="435"/>
                  </a:lnTo>
                  <a:lnTo>
                    <a:pt x="797" y="439"/>
                  </a:lnTo>
                  <a:lnTo>
                    <a:pt x="797" y="443"/>
                  </a:lnTo>
                  <a:lnTo>
                    <a:pt x="797" y="447"/>
                  </a:lnTo>
                  <a:lnTo>
                    <a:pt x="797" y="451"/>
                  </a:lnTo>
                  <a:lnTo>
                    <a:pt x="797" y="455"/>
                  </a:lnTo>
                  <a:lnTo>
                    <a:pt x="801" y="455"/>
                  </a:lnTo>
                  <a:lnTo>
                    <a:pt x="805" y="455"/>
                  </a:lnTo>
                  <a:lnTo>
                    <a:pt x="805" y="459"/>
                  </a:lnTo>
                  <a:lnTo>
                    <a:pt x="809" y="459"/>
                  </a:lnTo>
                  <a:lnTo>
                    <a:pt x="809" y="463"/>
                  </a:lnTo>
                  <a:lnTo>
                    <a:pt x="809" y="467"/>
                  </a:lnTo>
                  <a:lnTo>
                    <a:pt x="813" y="467"/>
                  </a:lnTo>
                  <a:lnTo>
                    <a:pt x="817" y="467"/>
                  </a:lnTo>
                  <a:lnTo>
                    <a:pt x="817" y="463"/>
                  </a:lnTo>
                  <a:lnTo>
                    <a:pt x="817" y="459"/>
                  </a:lnTo>
                  <a:lnTo>
                    <a:pt x="821" y="459"/>
                  </a:lnTo>
                  <a:lnTo>
                    <a:pt x="821" y="463"/>
                  </a:lnTo>
                  <a:lnTo>
                    <a:pt x="825" y="463"/>
                  </a:lnTo>
                  <a:lnTo>
                    <a:pt x="825" y="459"/>
                  </a:lnTo>
                  <a:lnTo>
                    <a:pt x="825" y="455"/>
                  </a:lnTo>
                  <a:lnTo>
                    <a:pt x="825" y="451"/>
                  </a:lnTo>
                  <a:lnTo>
                    <a:pt x="829" y="447"/>
                  </a:lnTo>
                  <a:lnTo>
                    <a:pt x="833" y="443"/>
                  </a:lnTo>
                  <a:lnTo>
                    <a:pt x="833" y="439"/>
                  </a:lnTo>
                  <a:lnTo>
                    <a:pt x="833" y="435"/>
                  </a:lnTo>
                  <a:lnTo>
                    <a:pt x="837" y="435"/>
                  </a:lnTo>
                  <a:lnTo>
                    <a:pt x="837" y="431"/>
                  </a:lnTo>
                  <a:lnTo>
                    <a:pt x="837" y="427"/>
                  </a:lnTo>
                  <a:lnTo>
                    <a:pt x="837" y="423"/>
                  </a:lnTo>
                  <a:lnTo>
                    <a:pt x="837" y="427"/>
                  </a:lnTo>
                  <a:lnTo>
                    <a:pt x="841" y="427"/>
                  </a:lnTo>
                  <a:lnTo>
                    <a:pt x="841" y="423"/>
                  </a:lnTo>
                  <a:lnTo>
                    <a:pt x="837" y="423"/>
                  </a:lnTo>
                  <a:lnTo>
                    <a:pt x="841" y="423"/>
                  </a:lnTo>
                  <a:lnTo>
                    <a:pt x="841" y="427"/>
                  </a:lnTo>
                  <a:lnTo>
                    <a:pt x="845" y="427"/>
                  </a:lnTo>
                  <a:lnTo>
                    <a:pt x="845" y="423"/>
                  </a:lnTo>
                  <a:lnTo>
                    <a:pt x="849" y="423"/>
                  </a:lnTo>
                  <a:lnTo>
                    <a:pt x="849" y="427"/>
                  </a:lnTo>
                  <a:lnTo>
                    <a:pt x="849" y="423"/>
                  </a:lnTo>
                  <a:lnTo>
                    <a:pt x="845" y="423"/>
                  </a:lnTo>
                  <a:lnTo>
                    <a:pt x="845" y="419"/>
                  </a:lnTo>
                  <a:lnTo>
                    <a:pt x="849" y="419"/>
                  </a:lnTo>
                  <a:lnTo>
                    <a:pt x="845" y="419"/>
                  </a:lnTo>
                  <a:lnTo>
                    <a:pt x="849" y="419"/>
                  </a:lnTo>
                  <a:lnTo>
                    <a:pt x="853" y="419"/>
                  </a:lnTo>
                  <a:lnTo>
                    <a:pt x="849" y="415"/>
                  </a:lnTo>
                  <a:lnTo>
                    <a:pt x="845" y="415"/>
                  </a:lnTo>
                  <a:lnTo>
                    <a:pt x="841" y="415"/>
                  </a:lnTo>
                  <a:lnTo>
                    <a:pt x="845" y="415"/>
                  </a:lnTo>
                  <a:lnTo>
                    <a:pt x="841" y="411"/>
                  </a:lnTo>
                  <a:lnTo>
                    <a:pt x="841" y="407"/>
                  </a:lnTo>
                  <a:lnTo>
                    <a:pt x="837" y="407"/>
                  </a:lnTo>
                  <a:lnTo>
                    <a:pt x="837" y="399"/>
                  </a:lnTo>
                  <a:lnTo>
                    <a:pt x="841" y="395"/>
                  </a:lnTo>
                  <a:lnTo>
                    <a:pt x="841" y="399"/>
                  </a:lnTo>
                  <a:lnTo>
                    <a:pt x="841" y="395"/>
                  </a:lnTo>
                  <a:lnTo>
                    <a:pt x="837" y="395"/>
                  </a:lnTo>
                  <a:lnTo>
                    <a:pt x="841" y="395"/>
                  </a:lnTo>
                  <a:lnTo>
                    <a:pt x="845" y="395"/>
                  </a:lnTo>
                  <a:lnTo>
                    <a:pt x="845" y="399"/>
                  </a:lnTo>
                  <a:lnTo>
                    <a:pt x="849" y="395"/>
                  </a:lnTo>
                  <a:lnTo>
                    <a:pt x="853" y="395"/>
                  </a:lnTo>
                  <a:lnTo>
                    <a:pt x="857" y="395"/>
                  </a:lnTo>
                  <a:lnTo>
                    <a:pt x="861" y="395"/>
                  </a:lnTo>
                  <a:lnTo>
                    <a:pt x="861" y="399"/>
                  </a:lnTo>
                  <a:lnTo>
                    <a:pt x="865" y="399"/>
                  </a:lnTo>
                  <a:lnTo>
                    <a:pt x="869" y="399"/>
                  </a:lnTo>
                  <a:lnTo>
                    <a:pt x="873" y="399"/>
                  </a:lnTo>
                  <a:lnTo>
                    <a:pt x="877" y="399"/>
                  </a:lnTo>
                  <a:lnTo>
                    <a:pt x="881" y="399"/>
                  </a:lnTo>
                  <a:lnTo>
                    <a:pt x="885" y="399"/>
                  </a:lnTo>
                  <a:lnTo>
                    <a:pt x="889" y="399"/>
                  </a:lnTo>
                  <a:lnTo>
                    <a:pt x="889" y="403"/>
                  </a:lnTo>
                  <a:lnTo>
                    <a:pt x="885" y="403"/>
                  </a:lnTo>
                  <a:lnTo>
                    <a:pt x="885" y="399"/>
                  </a:lnTo>
                  <a:lnTo>
                    <a:pt x="881" y="403"/>
                  </a:lnTo>
                  <a:lnTo>
                    <a:pt x="885" y="403"/>
                  </a:lnTo>
                  <a:lnTo>
                    <a:pt x="881" y="403"/>
                  </a:lnTo>
                  <a:lnTo>
                    <a:pt x="877" y="403"/>
                  </a:lnTo>
                  <a:lnTo>
                    <a:pt x="873" y="403"/>
                  </a:lnTo>
                  <a:lnTo>
                    <a:pt x="877" y="403"/>
                  </a:lnTo>
                  <a:lnTo>
                    <a:pt x="881" y="403"/>
                  </a:lnTo>
                  <a:lnTo>
                    <a:pt x="889" y="407"/>
                  </a:lnTo>
                  <a:lnTo>
                    <a:pt x="889" y="411"/>
                  </a:lnTo>
                  <a:lnTo>
                    <a:pt x="893" y="411"/>
                  </a:lnTo>
                  <a:lnTo>
                    <a:pt x="897" y="411"/>
                  </a:lnTo>
                  <a:lnTo>
                    <a:pt x="901" y="411"/>
                  </a:lnTo>
                  <a:lnTo>
                    <a:pt x="901" y="415"/>
                  </a:lnTo>
                  <a:lnTo>
                    <a:pt x="897" y="419"/>
                  </a:lnTo>
                  <a:lnTo>
                    <a:pt x="893" y="419"/>
                  </a:lnTo>
                  <a:lnTo>
                    <a:pt x="893" y="423"/>
                  </a:lnTo>
                  <a:lnTo>
                    <a:pt x="893" y="419"/>
                  </a:lnTo>
                  <a:lnTo>
                    <a:pt x="897" y="419"/>
                  </a:lnTo>
                  <a:lnTo>
                    <a:pt x="897" y="423"/>
                  </a:lnTo>
                  <a:lnTo>
                    <a:pt x="901" y="423"/>
                  </a:lnTo>
                  <a:lnTo>
                    <a:pt x="905" y="423"/>
                  </a:lnTo>
                  <a:lnTo>
                    <a:pt x="905" y="427"/>
                  </a:lnTo>
                  <a:lnTo>
                    <a:pt x="901" y="427"/>
                  </a:lnTo>
                  <a:lnTo>
                    <a:pt x="897" y="431"/>
                  </a:lnTo>
                  <a:lnTo>
                    <a:pt x="893" y="431"/>
                  </a:lnTo>
                  <a:lnTo>
                    <a:pt x="893" y="435"/>
                  </a:lnTo>
                  <a:lnTo>
                    <a:pt x="893" y="431"/>
                  </a:lnTo>
                  <a:lnTo>
                    <a:pt x="889" y="431"/>
                  </a:lnTo>
                  <a:lnTo>
                    <a:pt x="885" y="431"/>
                  </a:lnTo>
                  <a:lnTo>
                    <a:pt x="881" y="431"/>
                  </a:lnTo>
                  <a:lnTo>
                    <a:pt x="885" y="431"/>
                  </a:lnTo>
                  <a:lnTo>
                    <a:pt x="885" y="435"/>
                  </a:lnTo>
                  <a:lnTo>
                    <a:pt x="885" y="439"/>
                  </a:lnTo>
                  <a:lnTo>
                    <a:pt x="889" y="439"/>
                  </a:lnTo>
                  <a:lnTo>
                    <a:pt x="889" y="443"/>
                  </a:lnTo>
                  <a:lnTo>
                    <a:pt x="889" y="439"/>
                  </a:lnTo>
                  <a:lnTo>
                    <a:pt x="893" y="439"/>
                  </a:lnTo>
                  <a:lnTo>
                    <a:pt x="893" y="443"/>
                  </a:lnTo>
                  <a:lnTo>
                    <a:pt x="889" y="443"/>
                  </a:lnTo>
                  <a:lnTo>
                    <a:pt x="889" y="447"/>
                  </a:lnTo>
                  <a:lnTo>
                    <a:pt x="893" y="447"/>
                  </a:lnTo>
                  <a:lnTo>
                    <a:pt x="893" y="451"/>
                  </a:lnTo>
                  <a:lnTo>
                    <a:pt x="897" y="451"/>
                  </a:lnTo>
                  <a:lnTo>
                    <a:pt x="897" y="455"/>
                  </a:lnTo>
                  <a:lnTo>
                    <a:pt x="901" y="455"/>
                  </a:lnTo>
                  <a:lnTo>
                    <a:pt x="905" y="459"/>
                  </a:lnTo>
                  <a:lnTo>
                    <a:pt x="901" y="459"/>
                  </a:lnTo>
                  <a:lnTo>
                    <a:pt x="901" y="463"/>
                  </a:lnTo>
                  <a:lnTo>
                    <a:pt x="901" y="467"/>
                  </a:lnTo>
                  <a:lnTo>
                    <a:pt x="901" y="471"/>
                  </a:lnTo>
                  <a:lnTo>
                    <a:pt x="897" y="471"/>
                  </a:lnTo>
                  <a:lnTo>
                    <a:pt x="893" y="471"/>
                  </a:lnTo>
                  <a:lnTo>
                    <a:pt x="893" y="475"/>
                  </a:lnTo>
                  <a:lnTo>
                    <a:pt x="889" y="479"/>
                  </a:lnTo>
                  <a:lnTo>
                    <a:pt x="885" y="479"/>
                  </a:lnTo>
                  <a:lnTo>
                    <a:pt x="885" y="483"/>
                  </a:lnTo>
                  <a:lnTo>
                    <a:pt x="881" y="483"/>
                  </a:lnTo>
                  <a:lnTo>
                    <a:pt x="877" y="483"/>
                  </a:lnTo>
                  <a:lnTo>
                    <a:pt x="877" y="487"/>
                  </a:lnTo>
                  <a:lnTo>
                    <a:pt x="873" y="487"/>
                  </a:lnTo>
                  <a:lnTo>
                    <a:pt x="869" y="487"/>
                  </a:lnTo>
                  <a:lnTo>
                    <a:pt x="865" y="483"/>
                  </a:lnTo>
                  <a:lnTo>
                    <a:pt x="861" y="483"/>
                  </a:lnTo>
                  <a:lnTo>
                    <a:pt x="861" y="479"/>
                  </a:lnTo>
                  <a:lnTo>
                    <a:pt x="865" y="475"/>
                  </a:lnTo>
                  <a:lnTo>
                    <a:pt x="861" y="475"/>
                  </a:lnTo>
                  <a:lnTo>
                    <a:pt x="861" y="479"/>
                  </a:lnTo>
                  <a:lnTo>
                    <a:pt x="857" y="479"/>
                  </a:lnTo>
                  <a:lnTo>
                    <a:pt x="857" y="475"/>
                  </a:lnTo>
                  <a:lnTo>
                    <a:pt x="857" y="471"/>
                  </a:lnTo>
                  <a:lnTo>
                    <a:pt x="853" y="471"/>
                  </a:lnTo>
                  <a:lnTo>
                    <a:pt x="849" y="471"/>
                  </a:lnTo>
                  <a:lnTo>
                    <a:pt x="853" y="471"/>
                  </a:lnTo>
                  <a:lnTo>
                    <a:pt x="849" y="471"/>
                  </a:lnTo>
                  <a:lnTo>
                    <a:pt x="845" y="471"/>
                  </a:lnTo>
                  <a:lnTo>
                    <a:pt x="845" y="475"/>
                  </a:lnTo>
                  <a:lnTo>
                    <a:pt x="849" y="475"/>
                  </a:lnTo>
                  <a:lnTo>
                    <a:pt x="849" y="471"/>
                  </a:lnTo>
                  <a:lnTo>
                    <a:pt x="853" y="471"/>
                  </a:lnTo>
                  <a:lnTo>
                    <a:pt x="853" y="475"/>
                  </a:lnTo>
                  <a:lnTo>
                    <a:pt x="849" y="475"/>
                  </a:lnTo>
                  <a:lnTo>
                    <a:pt x="853" y="475"/>
                  </a:lnTo>
                  <a:lnTo>
                    <a:pt x="857" y="479"/>
                  </a:lnTo>
                  <a:lnTo>
                    <a:pt x="861" y="479"/>
                  </a:lnTo>
                  <a:lnTo>
                    <a:pt x="861" y="483"/>
                  </a:lnTo>
                  <a:lnTo>
                    <a:pt x="861" y="487"/>
                  </a:lnTo>
                  <a:lnTo>
                    <a:pt x="865" y="487"/>
                  </a:lnTo>
                  <a:lnTo>
                    <a:pt x="865" y="491"/>
                  </a:lnTo>
                  <a:lnTo>
                    <a:pt x="865" y="495"/>
                  </a:lnTo>
                  <a:lnTo>
                    <a:pt x="861" y="491"/>
                  </a:lnTo>
                  <a:lnTo>
                    <a:pt x="857" y="491"/>
                  </a:lnTo>
                  <a:lnTo>
                    <a:pt x="857" y="487"/>
                  </a:lnTo>
                  <a:lnTo>
                    <a:pt x="853" y="487"/>
                  </a:lnTo>
                  <a:lnTo>
                    <a:pt x="853" y="491"/>
                  </a:lnTo>
                  <a:lnTo>
                    <a:pt x="857" y="491"/>
                  </a:lnTo>
                  <a:lnTo>
                    <a:pt x="857" y="495"/>
                  </a:lnTo>
                  <a:lnTo>
                    <a:pt x="853" y="495"/>
                  </a:lnTo>
                  <a:lnTo>
                    <a:pt x="853" y="491"/>
                  </a:lnTo>
                  <a:lnTo>
                    <a:pt x="849" y="491"/>
                  </a:lnTo>
                  <a:lnTo>
                    <a:pt x="845" y="491"/>
                  </a:lnTo>
                  <a:lnTo>
                    <a:pt x="841" y="491"/>
                  </a:lnTo>
                  <a:lnTo>
                    <a:pt x="841" y="487"/>
                  </a:lnTo>
                  <a:lnTo>
                    <a:pt x="841" y="483"/>
                  </a:lnTo>
                  <a:lnTo>
                    <a:pt x="837" y="483"/>
                  </a:lnTo>
                  <a:lnTo>
                    <a:pt x="833" y="483"/>
                  </a:lnTo>
                  <a:lnTo>
                    <a:pt x="829" y="483"/>
                  </a:lnTo>
                  <a:lnTo>
                    <a:pt x="821" y="483"/>
                  </a:lnTo>
                  <a:lnTo>
                    <a:pt x="821" y="487"/>
                  </a:lnTo>
                  <a:lnTo>
                    <a:pt x="821" y="491"/>
                  </a:lnTo>
                  <a:lnTo>
                    <a:pt x="825" y="491"/>
                  </a:lnTo>
                  <a:lnTo>
                    <a:pt x="829" y="491"/>
                  </a:lnTo>
                  <a:lnTo>
                    <a:pt x="833" y="491"/>
                  </a:lnTo>
                  <a:lnTo>
                    <a:pt x="833" y="495"/>
                  </a:lnTo>
                  <a:lnTo>
                    <a:pt x="829" y="499"/>
                  </a:lnTo>
                  <a:lnTo>
                    <a:pt x="825" y="499"/>
                  </a:lnTo>
                  <a:lnTo>
                    <a:pt x="825" y="503"/>
                  </a:lnTo>
                  <a:lnTo>
                    <a:pt x="825" y="507"/>
                  </a:lnTo>
                  <a:lnTo>
                    <a:pt x="821" y="507"/>
                  </a:lnTo>
                  <a:lnTo>
                    <a:pt x="817" y="507"/>
                  </a:lnTo>
                  <a:lnTo>
                    <a:pt x="817" y="511"/>
                  </a:lnTo>
                  <a:close/>
                  <a:moveTo>
                    <a:pt x="435" y="379"/>
                  </a:moveTo>
                  <a:lnTo>
                    <a:pt x="439" y="383"/>
                  </a:lnTo>
                  <a:lnTo>
                    <a:pt x="442" y="383"/>
                  </a:lnTo>
                  <a:lnTo>
                    <a:pt x="439" y="383"/>
                  </a:lnTo>
                  <a:lnTo>
                    <a:pt x="435" y="383"/>
                  </a:lnTo>
                  <a:lnTo>
                    <a:pt x="435" y="379"/>
                  </a:lnTo>
                  <a:close/>
                  <a:moveTo>
                    <a:pt x="598" y="411"/>
                  </a:moveTo>
                  <a:lnTo>
                    <a:pt x="598" y="415"/>
                  </a:lnTo>
                  <a:lnTo>
                    <a:pt x="594" y="415"/>
                  </a:lnTo>
                  <a:lnTo>
                    <a:pt x="594" y="411"/>
                  </a:lnTo>
                  <a:lnTo>
                    <a:pt x="598" y="411"/>
                  </a:lnTo>
                  <a:close/>
                  <a:moveTo>
                    <a:pt x="1129" y="439"/>
                  </a:moveTo>
                  <a:lnTo>
                    <a:pt x="1125" y="439"/>
                  </a:lnTo>
                  <a:lnTo>
                    <a:pt x="1129" y="439"/>
                  </a:lnTo>
                  <a:lnTo>
                    <a:pt x="1133" y="439"/>
                  </a:lnTo>
                  <a:lnTo>
                    <a:pt x="1129" y="439"/>
                  </a:lnTo>
                  <a:close/>
                  <a:moveTo>
                    <a:pt x="498" y="447"/>
                  </a:moveTo>
                  <a:lnTo>
                    <a:pt x="494" y="447"/>
                  </a:lnTo>
                  <a:lnTo>
                    <a:pt x="498" y="447"/>
                  </a:lnTo>
                  <a:close/>
                  <a:moveTo>
                    <a:pt x="1164" y="455"/>
                  </a:moveTo>
                  <a:lnTo>
                    <a:pt x="1168" y="455"/>
                  </a:lnTo>
                  <a:lnTo>
                    <a:pt x="1168" y="459"/>
                  </a:lnTo>
                  <a:lnTo>
                    <a:pt x="1164" y="459"/>
                  </a:lnTo>
                  <a:lnTo>
                    <a:pt x="1164" y="455"/>
                  </a:lnTo>
                  <a:close/>
                  <a:moveTo>
                    <a:pt x="1065" y="579"/>
                  </a:moveTo>
                  <a:lnTo>
                    <a:pt x="1069" y="583"/>
                  </a:lnTo>
                  <a:lnTo>
                    <a:pt x="1073" y="583"/>
                  </a:lnTo>
                  <a:lnTo>
                    <a:pt x="1069" y="587"/>
                  </a:lnTo>
                  <a:lnTo>
                    <a:pt x="1065" y="587"/>
                  </a:lnTo>
                  <a:lnTo>
                    <a:pt x="1061" y="587"/>
                  </a:lnTo>
                  <a:lnTo>
                    <a:pt x="1061" y="583"/>
                  </a:lnTo>
                  <a:lnTo>
                    <a:pt x="1061" y="579"/>
                  </a:lnTo>
                  <a:lnTo>
                    <a:pt x="1057" y="579"/>
                  </a:lnTo>
                  <a:lnTo>
                    <a:pt x="1061" y="579"/>
                  </a:lnTo>
                  <a:lnTo>
                    <a:pt x="1065" y="579"/>
                  </a:lnTo>
                  <a:close/>
                  <a:moveTo>
                    <a:pt x="1160" y="638"/>
                  </a:moveTo>
                  <a:lnTo>
                    <a:pt x="1156" y="638"/>
                  </a:lnTo>
                  <a:lnTo>
                    <a:pt x="1156" y="642"/>
                  </a:lnTo>
                  <a:lnTo>
                    <a:pt x="1160" y="642"/>
                  </a:lnTo>
                  <a:lnTo>
                    <a:pt x="1156" y="642"/>
                  </a:lnTo>
                  <a:lnTo>
                    <a:pt x="1156" y="638"/>
                  </a:lnTo>
                  <a:lnTo>
                    <a:pt x="1152" y="638"/>
                  </a:lnTo>
                  <a:lnTo>
                    <a:pt x="1152" y="634"/>
                  </a:lnTo>
                  <a:lnTo>
                    <a:pt x="1156" y="634"/>
                  </a:lnTo>
                  <a:lnTo>
                    <a:pt x="1156" y="638"/>
                  </a:lnTo>
                  <a:lnTo>
                    <a:pt x="1160" y="638"/>
                  </a:lnTo>
                  <a:close/>
                  <a:moveTo>
                    <a:pt x="921" y="654"/>
                  </a:moveTo>
                  <a:lnTo>
                    <a:pt x="921" y="658"/>
                  </a:lnTo>
                  <a:lnTo>
                    <a:pt x="917" y="658"/>
                  </a:lnTo>
                  <a:lnTo>
                    <a:pt x="917" y="654"/>
                  </a:lnTo>
                  <a:lnTo>
                    <a:pt x="921" y="654"/>
                  </a:lnTo>
                  <a:close/>
                  <a:moveTo>
                    <a:pt x="1208" y="730"/>
                  </a:moveTo>
                  <a:lnTo>
                    <a:pt x="1208" y="726"/>
                  </a:lnTo>
                  <a:lnTo>
                    <a:pt x="1208" y="730"/>
                  </a:lnTo>
                  <a:close/>
                  <a:moveTo>
                    <a:pt x="1200" y="730"/>
                  </a:moveTo>
                  <a:lnTo>
                    <a:pt x="1204" y="730"/>
                  </a:lnTo>
                  <a:lnTo>
                    <a:pt x="1208" y="734"/>
                  </a:lnTo>
                  <a:lnTo>
                    <a:pt x="1204" y="734"/>
                  </a:lnTo>
                  <a:lnTo>
                    <a:pt x="1200" y="734"/>
                  </a:lnTo>
                  <a:lnTo>
                    <a:pt x="1204" y="734"/>
                  </a:lnTo>
                  <a:lnTo>
                    <a:pt x="1204" y="730"/>
                  </a:lnTo>
                  <a:lnTo>
                    <a:pt x="1200" y="730"/>
                  </a:lnTo>
                  <a:close/>
                  <a:moveTo>
                    <a:pt x="171" y="810"/>
                  </a:moveTo>
                  <a:lnTo>
                    <a:pt x="171" y="806"/>
                  </a:lnTo>
                  <a:lnTo>
                    <a:pt x="167" y="806"/>
                  </a:lnTo>
                  <a:lnTo>
                    <a:pt x="167" y="802"/>
                  </a:lnTo>
                  <a:lnTo>
                    <a:pt x="167" y="798"/>
                  </a:lnTo>
                  <a:lnTo>
                    <a:pt x="163" y="798"/>
                  </a:lnTo>
                  <a:lnTo>
                    <a:pt x="167" y="798"/>
                  </a:lnTo>
                  <a:lnTo>
                    <a:pt x="163" y="798"/>
                  </a:lnTo>
                  <a:lnTo>
                    <a:pt x="163" y="794"/>
                  </a:lnTo>
                  <a:lnTo>
                    <a:pt x="167" y="794"/>
                  </a:lnTo>
                  <a:lnTo>
                    <a:pt x="167" y="798"/>
                  </a:lnTo>
                  <a:lnTo>
                    <a:pt x="171" y="802"/>
                  </a:lnTo>
                  <a:lnTo>
                    <a:pt x="175" y="802"/>
                  </a:lnTo>
                  <a:lnTo>
                    <a:pt x="175" y="806"/>
                  </a:lnTo>
                  <a:lnTo>
                    <a:pt x="175" y="810"/>
                  </a:lnTo>
                  <a:lnTo>
                    <a:pt x="171" y="810"/>
                  </a:lnTo>
                  <a:close/>
                  <a:moveTo>
                    <a:pt x="179" y="818"/>
                  </a:moveTo>
                  <a:lnTo>
                    <a:pt x="179" y="814"/>
                  </a:lnTo>
                  <a:lnTo>
                    <a:pt x="183" y="814"/>
                  </a:lnTo>
                  <a:lnTo>
                    <a:pt x="183" y="810"/>
                  </a:lnTo>
                  <a:lnTo>
                    <a:pt x="179" y="810"/>
                  </a:lnTo>
                  <a:lnTo>
                    <a:pt x="183" y="810"/>
                  </a:lnTo>
                  <a:lnTo>
                    <a:pt x="183" y="814"/>
                  </a:lnTo>
                  <a:lnTo>
                    <a:pt x="179" y="814"/>
                  </a:lnTo>
                  <a:lnTo>
                    <a:pt x="179" y="810"/>
                  </a:lnTo>
                  <a:lnTo>
                    <a:pt x="179" y="806"/>
                  </a:lnTo>
                  <a:lnTo>
                    <a:pt x="183" y="806"/>
                  </a:lnTo>
                  <a:lnTo>
                    <a:pt x="183" y="810"/>
                  </a:lnTo>
                  <a:lnTo>
                    <a:pt x="187" y="810"/>
                  </a:lnTo>
                  <a:lnTo>
                    <a:pt x="187" y="814"/>
                  </a:lnTo>
                  <a:lnTo>
                    <a:pt x="187" y="822"/>
                  </a:lnTo>
                  <a:lnTo>
                    <a:pt x="183" y="822"/>
                  </a:lnTo>
                  <a:lnTo>
                    <a:pt x="183" y="818"/>
                  </a:lnTo>
                  <a:lnTo>
                    <a:pt x="187" y="818"/>
                  </a:lnTo>
                  <a:lnTo>
                    <a:pt x="187" y="814"/>
                  </a:lnTo>
                  <a:lnTo>
                    <a:pt x="183" y="818"/>
                  </a:lnTo>
                  <a:lnTo>
                    <a:pt x="183" y="822"/>
                  </a:lnTo>
                  <a:lnTo>
                    <a:pt x="179" y="822"/>
                  </a:lnTo>
                  <a:lnTo>
                    <a:pt x="179" y="818"/>
                  </a:lnTo>
                  <a:close/>
                  <a:moveTo>
                    <a:pt x="147" y="834"/>
                  </a:moveTo>
                  <a:lnTo>
                    <a:pt x="143" y="830"/>
                  </a:lnTo>
                  <a:lnTo>
                    <a:pt x="143" y="826"/>
                  </a:lnTo>
                  <a:lnTo>
                    <a:pt x="139" y="826"/>
                  </a:lnTo>
                  <a:lnTo>
                    <a:pt x="135" y="822"/>
                  </a:lnTo>
                  <a:lnTo>
                    <a:pt x="135" y="818"/>
                  </a:lnTo>
                  <a:lnTo>
                    <a:pt x="131" y="818"/>
                  </a:lnTo>
                  <a:lnTo>
                    <a:pt x="131" y="814"/>
                  </a:lnTo>
                  <a:lnTo>
                    <a:pt x="135" y="814"/>
                  </a:lnTo>
                  <a:lnTo>
                    <a:pt x="131" y="814"/>
                  </a:lnTo>
                  <a:lnTo>
                    <a:pt x="127" y="814"/>
                  </a:lnTo>
                  <a:lnTo>
                    <a:pt x="127" y="810"/>
                  </a:lnTo>
                  <a:lnTo>
                    <a:pt x="131" y="810"/>
                  </a:lnTo>
                  <a:lnTo>
                    <a:pt x="135" y="810"/>
                  </a:lnTo>
                  <a:lnTo>
                    <a:pt x="135" y="806"/>
                  </a:lnTo>
                  <a:lnTo>
                    <a:pt x="139" y="806"/>
                  </a:lnTo>
                  <a:lnTo>
                    <a:pt x="139" y="810"/>
                  </a:lnTo>
                  <a:lnTo>
                    <a:pt x="143" y="814"/>
                  </a:lnTo>
                  <a:lnTo>
                    <a:pt x="139" y="814"/>
                  </a:lnTo>
                  <a:lnTo>
                    <a:pt x="139" y="810"/>
                  </a:lnTo>
                  <a:lnTo>
                    <a:pt x="135" y="810"/>
                  </a:lnTo>
                  <a:lnTo>
                    <a:pt x="135" y="814"/>
                  </a:lnTo>
                  <a:lnTo>
                    <a:pt x="139" y="814"/>
                  </a:lnTo>
                  <a:lnTo>
                    <a:pt x="143" y="814"/>
                  </a:lnTo>
                  <a:lnTo>
                    <a:pt x="139" y="814"/>
                  </a:lnTo>
                  <a:lnTo>
                    <a:pt x="139" y="818"/>
                  </a:lnTo>
                  <a:lnTo>
                    <a:pt x="139" y="814"/>
                  </a:lnTo>
                  <a:lnTo>
                    <a:pt x="135" y="814"/>
                  </a:lnTo>
                  <a:lnTo>
                    <a:pt x="139" y="818"/>
                  </a:lnTo>
                  <a:lnTo>
                    <a:pt x="139" y="822"/>
                  </a:lnTo>
                  <a:lnTo>
                    <a:pt x="143" y="822"/>
                  </a:lnTo>
                  <a:lnTo>
                    <a:pt x="143" y="826"/>
                  </a:lnTo>
                  <a:lnTo>
                    <a:pt x="147" y="826"/>
                  </a:lnTo>
                  <a:lnTo>
                    <a:pt x="147" y="830"/>
                  </a:lnTo>
                  <a:lnTo>
                    <a:pt x="151" y="830"/>
                  </a:lnTo>
                  <a:lnTo>
                    <a:pt x="147" y="834"/>
                  </a:lnTo>
                  <a:close/>
                  <a:moveTo>
                    <a:pt x="195" y="830"/>
                  </a:moveTo>
                  <a:lnTo>
                    <a:pt x="195" y="834"/>
                  </a:lnTo>
                  <a:lnTo>
                    <a:pt x="191" y="834"/>
                  </a:lnTo>
                  <a:lnTo>
                    <a:pt x="191" y="830"/>
                  </a:lnTo>
                  <a:lnTo>
                    <a:pt x="195" y="830"/>
                  </a:lnTo>
                  <a:close/>
                  <a:moveTo>
                    <a:pt x="195" y="834"/>
                  </a:moveTo>
                  <a:lnTo>
                    <a:pt x="195" y="838"/>
                  </a:lnTo>
                  <a:lnTo>
                    <a:pt x="195" y="842"/>
                  </a:lnTo>
                  <a:lnTo>
                    <a:pt x="191" y="838"/>
                  </a:lnTo>
                  <a:lnTo>
                    <a:pt x="195" y="834"/>
                  </a:lnTo>
                  <a:close/>
                  <a:moveTo>
                    <a:pt x="945" y="8"/>
                  </a:moveTo>
                  <a:lnTo>
                    <a:pt x="949" y="4"/>
                  </a:lnTo>
                  <a:lnTo>
                    <a:pt x="953" y="8"/>
                  </a:lnTo>
                  <a:lnTo>
                    <a:pt x="949" y="8"/>
                  </a:lnTo>
                  <a:lnTo>
                    <a:pt x="945" y="8"/>
                  </a:lnTo>
                  <a:close/>
                  <a:moveTo>
                    <a:pt x="746" y="52"/>
                  </a:moveTo>
                  <a:lnTo>
                    <a:pt x="742" y="52"/>
                  </a:lnTo>
                  <a:lnTo>
                    <a:pt x="742" y="48"/>
                  </a:lnTo>
                  <a:lnTo>
                    <a:pt x="746" y="48"/>
                  </a:lnTo>
                  <a:lnTo>
                    <a:pt x="746" y="52"/>
                  </a:lnTo>
                  <a:close/>
                  <a:moveTo>
                    <a:pt x="1125" y="52"/>
                  </a:moveTo>
                  <a:lnTo>
                    <a:pt x="1121" y="52"/>
                  </a:lnTo>
                  <a:lnTo>
                    <a:pt x="1121" y="48"/>
                  </a:lnTo>
                  <a:lnTo>
                    <a:pt x="1125" y="48"/>
                  </a:lnTo>
                  <a:lnTo>
                    <a:pt x="1129" y="48"/>
                  </a:lnTo>
                  <a:lnTo>
                    <a:pt x="1129" y="52"/>
                  </a:lnTo>
                  <a:lnTo>
                    <a:pt x="1125" y="52"/>
                  </a:lnTo>
                  <a:close/>
                  <a:moveTo>
                    <a:pt x="694" y="80"/>
                  </a:moveTo>
                  <a:lnTo>
                    <a:pt x="698" y="80"/>
                  </a:lnTo>
                  <a:lnTo>
                    <a:pt x="694" y="80"/>
                  </a:lnTo>
                  <a:lnTo>
                    <a:pt x="690" y="80"/>
                  </a:lnTo>
                  <a:lnTo>
                    <a:pt x="686" y="80"/>
                  </a:lnTo>
                  <a:lnTo>
                    <a:pt x="682" y="80"/>
                  </a:lnTo>
                  <a:lnTo>
                    <a:pt x="678" y="80"/>
                  </a:lnTo>
                  <a:lnTo>
                    <a:pt x="682" y="80"/>
                  </a:lnTo>
                  <a:lnTo>
                    <a:pt x="690" y="80"/>
                  </a:lnTo>
                  <a:lnTo>
                    <a:pt x="694" y="80"/>
                  </a:lnTo>
                  <a:close/>
                  <a:moveTo>
                    <a:pt x="833" y="128"/>
                  </a:moveTo>
                  <a:lnTo>
                    <a:pt x="837" y="128"/>
                  </a:lnTo>
                  <a:lnTo>
                    <a:pt x="841" y="128"/>
                  </a:lnTo>
                  <a:lnTo>
                    <a:pt x="845" y="128"/>
                  </a:lnTo>
                  <a:lnTo>
                    <a:pt x="845" y="132"/>
                  </a:lnTo>
                  <a:lnTo>
                    <a:pt x="841" y="132"/>
                  </a:lnTo>
                  <a:lnTo>
                    <a:pt x="837" y="132"/>
                  </a:lnTo>
                  <a:lnTo>
                    <a:pt x="833" y="132"/>
                  </a:lnTo>
                  <a:lnTo>
                    <a:pt x="829" y="136"/>
                  </a:lnTo>
                  <a:lnTo>
                    <a:pt x="825" y="136"/>
                  </a:lnTo>
                  <a:lnTo>
                    <a:pt x="825" y="132"/>
                  </a:lnTo>
                  <a:lnTo>
                    <a:pt x="829" y="132"/>
                  </a:lnTo>
                  <a:lnTo>
                    <a:pt x="829" y="128"/>
                  </a:lnTo>
                  <a:lnTo>
                    <a:pt x="833" y="128"/>
                  </a:lnTo>
                  <a:close/>
                  <a:moveTo>
                    <a:pt x="1009" y="140"/>
                  </a:moveTo>
                  <a:lnTo>
                    <a:pt x="1005" y="140"/>
                  </a:lnTo>
                  <a:lnTo>
                    <a:pt x="1001" y="140"/>
                  </a:lnTo>
                  <a:lnTo>
                    <a:pt x="1005" y="140"/>
                  </a:lnTo>
                  <a:lnTo>
                    <a:pt x="1005" y="136"/>
                  </a:lnTo>
                  <a:lnTo>
                    <a:pt x="1005" y="140"/>
                  </a:lnTo>
                  <a:lnTo>
                    <a:pt x="1009" y="140"/>
                  </a:lnTo>
                  <a:lnTo>
                    <a:pt x="1013" y="140"/>
                  </a:lnTo>
                  <a:lnTo>
                    <a:pt x="1009" y="140"/>
                  </a:lnTo>
                  <a:close/>
                  <a:moveTo>
                    <a:pt x="801" y="148"/>
                  </a:moveTo>
                  <a:lnTo>
                    <a:pt x="797" y="152"/>
                  </a:lnTo>
                  <a:lnTo>
                    <a:pt x="797" y="156"/>
                  </a:lnTo>
                  <a:lnTo>
                    <a:pt x="797" y="152"/>
                  </a:lnTo>
                  <a:lnTo>
                    <a:pt x="794" y="152"/>
                  </a:lnTo>
                  <a:lnTo>
                    <a:pt x="797" y="152"/>
                  </a:lnTo>
                  <a:lnTo>
                    <a:pt x="797" y="148"/>
                  </a:lnTo>
                  <a:lnTo>
                    <a:pt x="801" y="148"/>
                  </a:lnTo>
                  <a:close/>
                  <a:moveTo>
                    <a:pt x="594" y="156"/>
                  </a:moveTo>
                  <a:lnTo>
                    <a:pt x="590" y="156"/>
                  </a:lnTo>
                  <a:lnTo>
                    <a:pt x="594" y="156"/>
                  </a:lnTo>
                  <a:close/>
                  <a:moveTo>
                    <a:pt x="957" y="164"/>
                  </a:moveTo>
                  <a:lnTo>
                    <a:pt x="961" y="164"/>
                  </a:lnTo>
                  <a:lnTo>
                    <a:pt x="961" y="168"/>
                  </a:lnTo>
                  <a:lnTo>
                    <a:pt x="957" y="168"/>
                  </a:lnTo>
                  <a:lnTo>
                    <a:pt x="953" y="168"/>
                  </a:lnTo>
                  <a:lnTo>
                    <a:pt x="957" y="168"/>
                  </a:lnTo>
                  <a:lnTo>
                    <a:pt x="957" y="164"/>
                  </a:lnTo>
                  <a:close/>
                  <a:moveTo>
                    <a:pt x="841" y="175"/>
                  </a:moveTo>
                  <a:lnTo>
                    <a:pt x="845" y="175"/>
                  </a:lnTo>
                  <a:lnTo>
                    <a:pt x="849" y="175"/>
                  </a:lnTo>
                  <a:lnTo>
                    <a:pt x="845" y="179"/>
                  </a:lnTo>
                  <a:lnTo>
                    <a:pt x="845" y="175"/>
                  </a:lnTo>
                  <a:lnTo>
                    <a:pt x="841" y="175"/>
                  </a:lnTo>
                  <a:lnTo>
                    <a:pt x="837" y="175"/>
                  </a:lnTo>
                  <a:lnTo>
                    <a:pt x="841" y="175"/>
                  </a:lnTo>
                  <a:close/>
                  <a:moveTo>
                    <a:pt x="861" y="207"/>
                  </a:moveTo>
                  <a:lnTo>
                    <a:pt x="865" y="207"/>
                  </a:lnTo>
                  <a:lnTo>
                    <a:pt x="861" y="207"/>
                  </a:lnTo>
                  <a:close/>
                  <a:moveTo>
                    <a:pt x="578" y="211"/>
                  </a:moveTo>
                  <a:lnTo>
                    <a:pt x="582" y="215"/>
                  </a:lnTo>
                  <a:lnTo>
                    <a:pt x="578" y="219"/>
                  </a:lnTo>
                  <a:lnTo>
                    <a:pt x="574" y="219"/>
                  </a:lnTo>
                  <a:lnTo>
                    <a:pt x="570" y="219"/>
                  </a:lnTo>
                  <a:lnTo>
                    <a:pt x="566" y="219"/>
                  </a:lnTo>
                  <a:lnTo>
                    <a:pt x="562" y="219"/>
                  </a:lnTo>
                  <a:lnTo>
                    <a:pt x="558" y="219"/>
                  </a:lnTo>
                  <a:lnTo>
                    <a:pt x="562" y="219"/>
                  </a:lnTo>
                  <a:lnTo>
                    <a:pt x="558" y="219"/>
                  </a:lnTo>
                  <a:lnTo>
                    <a:pt x="554" y="219"/>
                  </a:lnTo>
                  <a:lnTo>
                    <a:pt x="554" y="215"/>
                  </a:lnTo>
                  <a:lnTo>
                    <a:pt x="558" y="215"/>
                  </a:lnTo>
                  <a:lnTo>
                    <a:pt x="562" y="215"/>
                  </a:lnTo>
                  <a:lnTo>
                    <a:pt x="566" y="211"/>
                  </a:lnTo>
                  <a:lnTo>
                    <a:pt x="570" y="211"/>
                  </a:lnTo>
                  <a:lnTo>
                    <a:pt x="574" y="211"/>
                  </a:lnTo>
                  <a:lnTo>
                    <a:pt x="578" y="211"/>
                  </a:lnTo>
                  <a:close/>
                  <a:moveTo>
                    <a:pt x="941" y="219"/>
                  </a:moveTo>
                  <a:lnTo>
                    <a:pt x="937" y="219"/>
                  </a:lnTo>
                  <a:lnTo>
                    <a:pt x="937" y="223"/>
                  </a:lnTo>
                  <a:lnTo>
                    <a:pt x="941" y="223"/>
                  </a:lnTo>
                  <a:lnTo>
                    <a:pt x="941" y="227"/>
                  </a:lnTo>
                  <a:lnTo>
                    <a:pt x="937" y="227"/>
                  </a:lnTo>
                  <a:lnTo>
                    <a:pt x="937" y="223"/>
                  </a:lnTo>
                  <a:lnTo>
                    <a:pt x="933" y="223"/>
                  </a:lnTo>
                  <a:lnTo>
                    <a:pt x="933" y="227"/>
                  </a:lnTo>
                  <a:lnTo>
                    <a:pt x="929" y="227"/>
                  </a:lnTo>
                  <a:lnTo>
                    <a:pt x="929" y="223"/>
                  </a:lnTo>
                  <a:lnTo>
                    <a:pt x="925" y="223"/>
                  </a:lnTo>
                  <a:lnTo>
                    <a:pt x="929" y="223"/>
                  </a:lnTo>
                  <a:lnTo>
                    <a:pt x="933" y="219"/>
                  </a:lnTo>
                  <a:lnTo>
                    <a:pt x="937" y="219"/>
                  </a:lnTo>
                  <a:lnTo>
                    <a:pt x="937" y="215"/>
                  </a:lnTo>
                  <a:lnTo>
                    <a:pt x="941" y="219"/>
                  </a:lnTo>
                  <a:close/>
                  <a:moveTo>
                    <a:pt x="303" y="223"/>
                  </a:moveTo>
                  <a:lnTo>
                    <a:pt x="303" y="227"/>
                  </a:lnTo>
                  <a:lnTo>
                    <a:pt x="299" y="227"/>
                  </a:lnTo>
                  <a:lnTo>
                    <a:pt x="303" y="227"/>
                  </a:lnTo>
                  <a:lnTo>
                    <a:pt x="303" y="223"/>
                  </a:lnTo>
                  <a:close/>
                  <a:moveTo>
                    <a:pt x="279" y="223"/>
                  </a:moveTo>
                  <a:lnTo>
                    <a:pt x="283" y="223"/>
                  </a:lnTo>
                  <a:lnTo>
                    <a:pt x="279" y="223"/>
                  </a:lnTo>
                  <a:lnTo>
                    <a:pt x="275" y="223"/>
                  </a:lnTo>
                  <a:lnTo>
                    <a:pt x="279" y="223"/>
                  </a:lnTo>
                  <a:close/>
                  <a:moveTo>
                    <a:pt x="570" y="223"/>
                  </a:moveTo>
                  <a:lnTo>
                    <a:pt x="566" y="227"/>
                  </a:lnTo>
                  <a:lnTo>
                    <a:pt x="562" y="227"/>
                  </a:lnTo>
                  <a:lnTo>
                    <a:pt x="562" y="223"/>
                  </a:lnTo>
                  <a:lnTo>
                    <a:pt x="566" y="223"/>
                  </a:lnTo>
                  <a:lnTo>
                    <a:pt x="570" y="223"/>
                  </a:lnTo>
                  <a:close/>
                  <a:moveTo>
                    <a:pt x="614" y="235"/>
                  </a:moveTo>
                  <a:lnTo>
                    <a:pt x="614" y="231"/>
                  </a:lnTo>
                  <a:lnTo>
                    <a:pt x="610" y="235"/>
                  </a:lnTo>
                  <a:lnTo>
                    <a:pt x="606" y="235"/>
                  </a:lnTo>
                  <a:lnTo>
                    <a:pt x="606" y="231"/>
                  </a:lnTo>
                  <a:lnTo>
                    <a:pt x="610" y="231"/>
                  </a:lnTo>
                  <a:lnTo>
                    <a:pt x="614" y="231"/>
                  </a:lnTo>
                  <a:lnTo>
                    <a:pt x="618" y="231"/>
                  </a:lnTo>
                  <a:lnTo>
                    <a:pt x="618" y="235"/>
                  </a:lnTo>
                  <a:lnTo>
                    <a:pt x="614" y="235"/>
                  </a:lnTo>
                  <a:close/>
                  <a:moveTo>
                    <a:pt x="921" y="319"/>
                  </a:moveTo>
                  <a:lnTo>
                    <a:pt x="925" y="323"/>
                  </a:lnTo>
                  <a:lnTo>
                    <a:pt x="921" y="323"/>
                  </a:lnTo>
                  <a:lnTo>
                    <a:pt x="921" y="319"/>
                  </a:lnTo>
                  <a:close/>
                  <a:moveTo>
                    <a:pt x="929" y="323"/>
                  </a:moveTo>
                  <a:lnTo>
                    <a:pt x="933" y="323"/>
                  </a:lnTo>
                  <a:lnTo>
                    <a:pt x="933" y="327"/>
                  </a:lnTo>
                  <a:lnTo>
                    <a:pt x="929" y="327"/>
                  </a:lnTo>
                  <a:lnTo>
                    <a:pt x="929" y="323"/>
                  </a:lnTo>
                  <a:close/>
                  <a:moveTo>
                    <a:pt x="937" y="323"/>
                  </a:moveTo>
                  <a:lnTo>
                    <a:pt x="941" y="323"/>
                  </a:lnTo>
                  <a:lnTo>
                    <a:pt x="941" y="327"/>
                  </a:lnTo>
                  <a:lnTo>
                    <a:pt x="937" y="327"/>
                  </a:lnTo>
                  <a:lnTo>
                    <a:pt x="937" y="323"/>
                  </a:lnTo>
                  <a:close/>
                  <a:moveTo>
                    <a:pt x="829" y="327"/>
                  </a:moveTo>
                  <a:lnTo>
                    <a:pt x="833" y="327"/>
                  </a:lnTo>
                  <a:lnTo>
                    <a:pt x="833" y="331"/>
                  </a:lnTo>
                  <a:lnTo>
                    <a:pt x="833" y="327"/>
                  </a:lnTo>
                  <a:lnTo>
                    <a:pt x="829" y="327"/>
                  </a:lnTo>
                  <a:close/>
                  <a:moveTo>
                    <a:pt x="690" y="339"/>
                  </a:moveTo>
                  <a:lnTo>
                    <a:pt x="690" y="343"/>
                  </a:lnTo>
                  <a:lnTo>
                    <a:pt x="690" y="339"/>
                  </a:lnTo>
                  <a:close/>
                  <a:moveTo>
                    <a:pt x="670" y="355"/>
                  </a:moveTo>
                  <a:lnTo>
                    <a:pt x="674" y="355"/>
                  </a:lnTo>
                  <a:lnTo>
                    <a:pt x="674" y="359"/>
                  </a:lnTo>
                  <a:lnTo>
                    <a:pt x="670" y="359"/>
                  </a:lnTo>
                  <a:lnTo>
                    <a:pt x="670" y="355"/>
                  </a:lnTo>
                  <a:close/>
                  <a:moveTo>
                    <a:pt x="359" y="375"/>
                  </a:moveTo>
                  <a:lnTo>
                    <a:pt x="363" y="375"/>
                  </a:lnTo>
                  <a:lnTo>
                    <a:pt x="359" y="375"/>
                  </a:lnTo>
                  <a:close/>
                  <a:moveTo>
                    <a:pt x="375" y="375"/>
                  </a:moveTo>
                  <a:lnTo>
                    <a:pt x="371" y="375"/>
                  </a:lnTo>
                  <a:lnTo>
                    <a:pt x="375" y="375"/>
                  </a:lnTo>
                  <a:close/>
                  <a:moveTo>
                    <a:pt x="662" y="391"/>
                  </a:moveTo>
                  <a:lnTo>
                    <a:pt x="662" y="395"/>
                  </a:lnTo>
                  <a:lnTo>
                    <a:pt x="658" y="395"/>
                  </a:lnTo>
                  <a:lnTo>
                    <a:pt x="658" y="391"/>
                  </a:lnTo>
                  <a:lnTo>
                    <a:pt x="662" y="391"/>
                  </a:lnTo>
                  <a:close/>
                  <a:moveTo>
                    <a:pt x="750" y="399"/>
                  </a:moveTo>
                  <a:lnTo>
                    <a:pt x="746" y="395"/>
                  </a:lnTo>
                  <a:lnTo>
                    <a:pt x="750" y="395"/>
                  </a:lnTo>
                  <a:lnTo>
                    <a:pt x="750" y="399"/>
                  </a:lnTo>
                  <a:close/>
                  <a:moveTo>
                    <a:pt x="678" y="403"/>
                  </a:moveTo>
                  <a:lnTo>
                    <a:pt x="678" y="407"/>
                  </a:lnTo>
                  <a:lnTo>
                    <a:pt x="674" y="407"/>
                  </a:lnTo>
                  <a:lnTo>
                    <a:pt x="670" y="403"/>
                  </a:lnTo>
                  <a:lnTo>
                    <a:pt x="674" y="403"/>
                  </a:lnTo>
                  <a:lnTo>
                    <a:pt x="678" y="403"/>
                  </a:lnTo>
                  <a:close/>
                  <a:moveTo>
                    <a:pt x="770" y="407"/>
                  </a:moveTo>
                  <a:lnTo>
                    <a:pt x="766" y="411"/>
                  </a:lnTo>
                  <a:lnTo>
                    <a:pt x="766" y="407"/>
                  </a:lnTo>
                  <a:lnTo>
                    <a:pt x="770" y="407"/>
                  </a:lnTo>
                  <a:close/>
                  <a:moveTo>
                    <a:pt x="88" y="411"/>
                  </a:moveTo>
                  <a:lnTo>
                    <a:pt x="84" y="411"/>
                  </a:lnTo>
                  <a:lnTo>
                    <a:pt x="84" y="407"/>
                  </a:lnTo>
                  <a:lnTo>
                    <a:pt x="88" y="407"/>
                  </a:lnTo>
                  <a:lnTo>
                    <a:pt x="88" y="411"/>
                  </a:lnTo>
                  <a:close/>
                  <a:moveTo>
                    <a:pt x="762" y="411"/>
                  </a:moveTo>
                  <a:lnTo>
                    <a:pt x="762" y="407"/>
                  </a:lnTo>
                  <a:lnTo>
                    <a:pt x="766" y="411"/>
                  </a:lnTo>
                  <a:lnTo>
                    <a:pt x="762" y="411"/>
                  </a:lnTo>
                  <a:close/>
                  <a:moveTo>
                    <a:pt x="618" y="415"/>
                  </a:moveTo>
                  <a:lnTo>
                    <a:pt x="622" y="419"/>
                  </a:lnTo>
                  <a:lnTo>
                    <a:pt x="618" y="419"/>
                  </a:lnTo>
                  <a:lnTo>
                    <a:pt x="618" y="415"/>
                  </a:lnTo>
                  <a:close/>
                  <a:moveTo>
                    <a:pt x="614" y="419"/>
                  </a:moveTo>
                  <a:lnTo>
                    <a:pt x="618" y="419"/>
                  </a:lnTo>
                  <a:lnTo>
                    <a:pt x="618" y="423"/>
                  </a:lnTo>
                  <a:lnTo>
                    <a:pt x="614" y="423"/>
                  </a:lnTo>
                  <a:lnTo>
                    <a:pt x="614" y="427"/>
                  </a:lnTo>
                  <a:lnTo>
                    <a:pt x="610" y="423"/>
                  </a:lnTo>
                  <a:lnTo>
                    <a:pt x="610" y="419"/>
                  </a:lnTo>
                  <a:lnTo>
                    <a:pt x="610" y="415"/>
                  </a:lnTo>
                  <a:lnTo>
                    <a:pt x="614" y="415"/>
                  </a:lnTo>
                  <a:lnTo>
                    <a:pt x="614" y="419"/>
                  </a:lnTo>
                  <a:close/>
                  <a:moveTo>
                    <a:pt x="774" y="419"/>
                  </a:moveTo>
                  <a:lnTo>
                    <a:pt x="770" y="419"/>
                  </a:lnTo>
                  <a:lnTo>
                    <a:pt x="774" y="419"/>
                  </a:lnTo>
                  <a:close/>
                  <a:moveTo>
                    <a:pt x="774" y="427"/>
                  </a:moveTo>
                  <a:lnTo>
                    <a:pt x="770" y="427"/>
                  </a:lnTo>
                  <a:lnTo>
                    <a:pt x="770" y="423"/>
                  </a:lnTo>
                  <a:lnTo>
                    <a:pt x="774" y="423"/>
                  </a:lnTo>
                  <a:lnTo>
                    <a:pt x="774" y="427"/>
                  </a:lnTo>
                  <a:close/>
                  <a:moveTo>
                    <a:pt x="1097" y="423"/>
                  </a:moveTo>
                  <a:lnTo>
                    <a:pt x="1101" y="423"/>
                  </a:lnTo>
                  <a:lnTo>
                    <a:pt x="1105" y="423"/>
                  </a:lnTo>
                  <a:lnTo>
                    <a:pt x="1109" y="427"/>
                  </a:lnTo>
                  <a:lnTo>
                    <a:pt x="1105" y="427"/>
                  </a:lnTo>
                  <a:lnTo>
                    <a:pt x="1105" y="423"/>
                  </a:lnTo>
                  <a:lnTo>
                    <a:pt x="1101" y="423"/>
                  </a:lnTo>
                  <a:lnTo>
                    <a:pt x="1097" y="423"/>
                  </a:lnTo>
                  <a:close/>
                  <a:moveTo>
                    <a:pt x="458" y="431"/>
                  </a:moveTo>
                  <a:lnTo>
                    <a:pt x="454" y="431"/>
                  </a:lnTo>
                  <a:lnTo>
                    <a:pt x="450" y="431"/>
                  </a:lnTo>
                  <a:lnTo>
                    <a:pt x="454" y="431"/>
                  </a:lnTo>
                  <a:lnTo>
                    <a:pt x="458" y="431"/>
                  </a:lnTo>
                  <a:close/>
                  <a:moveTo>
                    <a:pt x="893" y="435"/>
                  </a:moveTo>
                  <a:lnTo>
                    <a:pt x="889" y="435"/>
                  </a:lnTo>
                  <a:lnTo>
                    <a:pt x="893" y="435"/>
                  </a:lnTo>
                  <a:close/>
                  <a:moveTo>
                    <a:pt x="446" y="435"/>
                  </a:moveTo>
                  <a:lnTo>
                    <a:pt x="446" y="439"/>
                  </a:lnTo>
                  <a:lnTo>
                    <a:pt x="442" y="439"/>
                  </a:lnTo>
                  <a:lnTo>
                    <a:pt x="442" y="435"/>
                  </a:lnTo>
                  <a:lnTo>
                    <a:pt x="446" y="435"/>
                  </a:lnTo>
                  <a:close/>
                  <a:moveTo>
                    <a:pt x="474" y="439"/>
                  </a:moveTo>
                  <a:lnTo>
                    <a:pt x="470" y="439"/>
                  </a:lnTo>
                  <a:lnTo>
                    <a:pt x="470" y="443"/>
                  </a:lnTo>
                  <a:lnTo>
                    <a:pt x="470" y="439"/>
                  </a:lnTo>
                  <a:lnTo>
                    <a:pt x="474" y="439"/>
                  </a:lnTo>
                  <a:close/>
                  <a:moveTo>
                    <a:pt x="554" y="439"/>
                  </a:moveTo>
                  <a:lnTo>
                    <a:pt x="554" y="443"/>
                  </a:lnTo>
                  <a:lnTo>
                    <a:pt x="550" y="443"/>
                  </a:lnTo>
                  <a:lnTo>
                    <a:pt x="550" y="439"/>
                  </a:lnTo>
                  <a:lnTo>
                    <a:pt x="554" y="439"/>
                  </a:lnTo>
                  <a:close/>
                  <a:moveTo>
                    <a:pt x="470" y="443"/>
                  </a:moveTo>
                  <a:lnTo>
                    <a:pt x="466" y="443"/>
                  </a:lnTo>
                  <a:lnTo>
                    <a:pt x="470" y="443"/>
                  </a:lnTo>
                  <a:close/>
                  <a:moveTo>
                    <a:pt x="478" y="443"/>
                  </a:moveTo>
                  <a:lnTo>
                    <a:pt x="478" y="447"/>
                  </a:lnTo>
                  <a:lnTo>
                    <a:pt x="478" y="443"/>
                  </a:lnTo>
                  <a:lnTo>
                    <a:pt x="474" y="443"/>
                  </a:lnTo>
                  <a:lnTo>
                    <a:pt x="478" y="443"/>
                  </a:lnTo>
                  <a:close/>
                  <a:moveTo>
                    <a:pt x="494" y="447"/>
                  </a:moveTo>
                  <a:lnTo>
                    <a:pt x="490" y="447"/>
                  </a:lnTo>
                  <a:lnTo>
                    <a:pt x="494" y="447"/>
                  </a:lnTo>
                  <a:close/>
                  <a:moveTo>
                    <a:pt x="662" y="451"/>
                  </a:moveTo>
                  <a:lnTo>
                    <a:pt x="662" y="455"/>
                  </a:lnTo>
                  <a:lnTo>
                    <a:pt x="658" y="455"/>
                  </a:lnTo>
                  <a:lnTo>
                    <a:pt x="658" y="451"/>
                  </a:lnTo>
                  <a:lnTo>
                    <a:pt x="662" y="451"/>
                  </a:lnTo>
                  <a:close/>
                  <a:moveTo>
                    <a:pt x="498" y="459"/>
                  </a:moveTo>
                  <a:lnTo>
                    <a:pt x="498" y="455"/>
                  </a:lnTo>
                  <a:lnTo>
                    <a:pt x="498" y="459"/>
                  </a:lnTo>
                  <a:close/>
                  <a:moveTo>
                    <a:pt x="498" y="459"/>
                  </a:moveTo>
                  <a:lnTo>
                    <a:pt x="494" y="459"/>
                  </a:lnTo>
                  <a:lnTo>
                    <a:pt x="494" y="455"/>
                  </a:lnTo>
                  <a:lnTo>
                    <a:pt x="498" y="455"/>
                  </a:lnTo>
                  <a:lnTo>
                    <a:pt x="498" y="459"/>
                  </a:lnTo>
                  <a:close/>
                  <a:moveTo>
                    <a:pt x="1172" y="463"/>
                  </a:moveTo>
                  <a:lnTo>
                    <a:pt x="1168" y="463"/>
                  </a:lnTo>
                  <a:lnTo>
                    <a:pt x="1172" y="463"/>
                  </a:lnTo>
                  <a:lnTo>
                    <a:pt x="1176" y="463"/>
                  </a:lnTo>
                  <a:lnTo>
                    <a:pt x="1172" y="463"/>
                  </a:lnTo>
                  <a:close/>
                  <a:moveTo>
                    <a:pt x="690" y="463"/>
                  </a:moveTo>
                  <a:lnTo>
                    <a:pt x="690" y="467"/>
                  </a:lnTo>
                  <a:lnTo>
                    <a:pt x="686" y="467"/>
                  </a:lnTo>
                  <a:lnTo>
                    <a:pt x="686" y="463"/>
                  </a:lnTo>
                  <a:lnTo>
                    <a:pt x="690" y="463"/>
                  </a:lnTo>
                  <a:close/>
                  <a:moveTo>
                    <a:pt x="506" y="467"/>
                  </a:moveTo>
                  <a:lnTo>
                    <a:pt x="506" y="471"/>
                  </a:lnTo>
                  <a:lnTo>
                    <a:pt x="506" y="467"/>
                  </a:lnTo>
                  <a:close/>
                  <a:moveTo>
                    <a:pt x="1180" y="471"/>
                  </a:moveTo>
                  <a:lnTo>
                    <a:pt x="1176" y="471"/>
                  </a:lnTo>
                  <a:lnTo>
                    <a:pt x="1180" y="471"/>
                  </a:lnTo>
                  <a:close/>
                  <a:moveTo>
                    <a:pt x="502" y="471"/>
                  </a:moveTo>
                  <a:lnTo>
                    <a:pt x="502" y="475"/>
                  </a:lnTo>
                  <a:lnTo>
                    <a:pt x="498" y="475"/>
                  </a:lnTo>
                  <a:lnTo>
                    <a:pt x="502" y="471"/>
                  </a:lnTo>
                  <a:close/>
                  <a:moveTo>
                    <a:pt x="1192" y="491"/>
                  </a:moveTo>
                  <a:lnTo>
                    <a:pt x="1188" y="491"/>
                  </a:lnTo>
                  <a:lnTo>
                    <a:pt x="1192" y="491"/>
                  </a:lnTo>
                  <a:close/>
                  <a:moveTo>
                    <a:pt x="1021" y="535"/>
                  </a:moveTo>
                  <a:lnTo>
                    <a:pt x="1021" y="539"/>
                  </a:lnTo>
                  <a:lnTo>
                    <a:pt x="1021" y="543"/>
                  </a:lnTo>
                  <a:lnTo>
                    <a:pt x="1021" y="539"/>
                  </a:lnTo>
                  <a:lnTo>
                    <a:pt x="1017" y="539"/>
                  </a:lnTo>
                  <a:lnTo>
                    <a:pt x="1021" y="535"/>
                  </a:lnTo>
                  <a:lnTo>
                    <a:pt x="1017" y="535"/>
                  </a:lnTo>
                  <a:lnTo>
                    <a:pt x="1021" y="535"/>
                  </a:lnTo>
                  <a:close/>
                  <a:moveTo>
                    <a:pt x="1009" y="535"/>
                  </a:moveTo>
                  <a:lnTo>
                    <a:pt x="1009" y="539"/>
                  </a:lnTo>
                  <a:lnTo>
                    <a:pt x="1013" y="539"/>
                  </a:lnTo>
                  <a:lnTo>
                    <a:pt x="1009" y="539"/>
                  </a:lnTo>
                  <a:lnTo>
                    <a:pt x="1009" y="535"/>
                  </a:lnTo>
                  <a:close/>
                  <a:moveTo>
                    <a:pt x="1152" y="539"/>
                  </a:moveTo>
                  <a:lnTo>
                    <a:pt x="1152" y="543"/>
                  </a:lnTo>
                  <a:lnTo>
                    <a:pt x="1152" y="539"/>
                  </a:lnTo>
                  <a:lnTo>
                    <a:pt x="1148" y="539"/>
                  </a:lnTo>
                  <a:lnTo>
                    <a:pt x="1152" y="539"/>
                  </a:lnTo>
                  <a:close/>
                  <a:moveTo>
                    <a:pt x="1017" y="539"/>
                  </a:moveTo>
                  <a:lnTo>
                    <a:pt x="1017" y="543"/>
                  </a:lnTo>
                  <a:lnTo>
                    <a:pt x="1017" y="539"/>
                  </a:lnTo>
                  <a:close/>
                  <a:moveTo>
                    <a:pt x="1148" y="539"/>
                  </a:moveTo>
                  <a:lnTo>
                    <a:pt x="1152" y="543"/>
                  </a:lnTo>
                  <a:lnTo>
                    <a:pt x="1148" y="543"/>
                  </a:lnTo>
                  <a:lnTo>
                    <a:pt x="1148" y="539"/>
                  </a:lnTo>
                  <a:close/>
                  <a:moveTo>
                    <a:pt x="1156" y="551"/>
                  </a:moveTo>
                  <a:lnTo>
                    <a:pt x="1156" y="555"/>
                  </a:lnTo>
                  <a:lnTo>
                    <a:pt x="1160" y="555"/>
                  </a:lnTo>
                  <a:lnTo>
                    <a:pt x="1160" y="559"/>
                  </a:lnTo>
                  <a:lnTo>
                    <a:pt x="1156" y="559"/>
                  </a:lnTo>
                  <a:lnTo>
                    <a:pt x="1156" y="555"/>
                  </a:lnTo>
                  <a:lnTo>
                    <a:pt x="1152" y="555"/>
                  </a:lnTo>
                  <a:lnTo>
                    <a:pt x="1152" y="551"/>
                  </a:lnTo>
                  <a:lnTo>
                    <a:pt x="1156" y="551"/>
                  </a:lnTo>
                  <a:close/>
                  <a:moveTo>
                    <a:pt x="1160" y="551"/>
                  </a:moveTo>
                  <a:lnTo>
                    <a:pt x="1160" y="555"/>
                  </a:lnTo>
                  <a:lnTo>
                    <a:pt x="1160" y="551"/>
                  </a:lnTo>
                  <a:close/>
                  <a:moveTo>
                    <a:pt x="1164" y="555"/>
                  </a:moveTo>
                  <a:lnTo>
                    <a:pt x="1164" y="559"/>
                  </a:lnTo>
                  <a:lnTo>
                    <a:pt x="1160" y="559"/>
                  </a:lnTo>
                  <a:lnTo>
                    <a:pt x="1160" y="555"/>
                  </a:lnTo>
                  <a:lnTo>
                    <a:pt x="1164" y="555"/>
                  </a:lnTo>
                  <a:close/>
                  <a:moveTo>
                    <a:pt x="1160" y="559"/>
                  </a:moveTo>
                  <a:lnTo>
                    <a:pt x="1164" y="559"/>
                  </a:lnTo>
                  <a:lnTo>
                    <a:pt x="1164" y="563"/>
                  </a:lnTo>
                  <a:lnTo>
                    <a:pt x="1160" y="563"/>
                  </a:lnTo>
                  <a:lnTo>
                    <a:pt x="1160" y="559"/>
                  </a:lnTo>
                  <a:close/>
                  <a:moveTo>
                    <a:pt x="762" y="559"/>
                  </a:moveTo>
                  <a:lnTo>
                    <a:pt x="762" y="563"/>
                  </a:lnTo>
                  <a:lnTo>
                    <a:pt x="758" y="563"/>
                  </a:lnTo>
                  <a:lnTo>
                    <a:pt x="758" y="559"/>
                  </a:lnTo>
                  <a:lnTo>
                    <a:pt x="762" y="559"/>
                  </a:lnTo>
                  <a:close/>
                  <a:moveTo>
                    <a:pt x="953" y="583"/>
                  </a:moveTo>
                  <a:lnTo>
                    <a:pt x="957" y="583"/>
                  </a:lnTo>
                  <a:lnTo>
                    <a:pt x="957" y="587"/>
                  </a:lnTo>
                  <a:lnTo>
                    <a:pt x="953" y="587"/>
                  </a:lnTo>
                  <a:lnTo>
                    <a:pt x="953" y="583"/>
                  </a:lnTo>
                  <a:close/>
                  <a:moveTo>
                    <a:pt x="738" y="591"/>
                  </a:moveTo>
                  <a:lnTo>
                    <a:pt x="734" y="591"/>
                  </a:lnTo>
                  <a:lnTo>
                    <a:pt x="738" y="591"/>
                  </a:lnTo>
                  <a:close/>
                  <a:moveTo>
                    <a:pt x="1141" y="603"/>
                  </a:moveTo>
                  <a:lnTo>
                    <a:pt x="1141" y="606"/>
                  </a:lnTo>
                  <a:lnTo>
                    <a:pt x="1137" y="606"/>
                  </a:lnTo>
                  <a:lnTo>
                    <a:pt x="1137" y="603"/>
                  </a:lnTo>
                  <a:lnTo>
                    <a:pt x="1141" y="603"/>
                  </a:lnTo>
                  <a:close/>
                  <a:moveTo>
                    <a:pt x="1164" y="650"/>
                  </a:moveTo>
                  <a:lnTo>
                    <a:pt x="1164" y="654"/>
                  </a:lnTo>
                  <a:lnTo>
                    <a:pt x="1160" y="654"/>
                  </a:lnTo>
                  <a:lnTo>
                    <a:pt x="1164" y="650"/>
                  </a:lnTo>
                  <a:close/>
                  <a:moveTo>
                    <a:pt x="1196" y="710"/>
                  </a:moveTo>
                  <a:lnTo>
                    <a:pt x="1196" y="706"/>
                  </a:lnTo>
                  <a:lnTo>
                    <a:pt x="1200" y="706"/>
                  </a:lnTo>
                  <a:lnTo>
                    <a:pt x="1196" y="710"/>
                  </a:lnTo>
                  <a:close/>
                  <a:moveTo>
                    <a:pt x="1200" y="706"/>
                  </a:moveTo>
                  <a:lnTo>
                    <a:pt x="1200" y="710"/>
                  </a:lnTo>
                  <a:lnTo>
                    <a:pt x="1196" y="710"/>
                  </a:lnTo>
                  <a:lnTo>
                    <a:pt x="1200" y="710"/>
                  </a:lnTo>
                  <a:lnTo>
                    <a:pt x="1200" y="706"/>
                  </a:lnTo>
                  <a:close/>
                  <a:moveTo>
                    <a:pt x="925" y="722"/>
                  </a:moveTo>
                  <a:lnTo>
                    <a:pt x="925" y="726"/>
                  </a:lnTo>
                  <a:lnTo>
                    <a:pt x="925" y="722"/>
                  </a:lnTo>
                  <a:close/>
                  <a:moveTo>
                    <a:pt x="1212" y="746"/>
                  </a:moveTo>
                  <a:lnTo>
                    <a:pt x="1216" y="746"/>
                  </a:lnTo>
                  <a:lnTo>
                    <a:pt x="1212" y="746"/>
                  </a:lnTo>
                  <a:close/>
                  <a:moveTo>
                    <a:pt x="1256" y="770"/>
                  </a:moveTo>
                  <a:lnTo>
                    <a:pt x="1256" y="774"/>
                  </a:lnTo>
                  <a:lnTo>
                    <a:pt x="1252" y="774"/>
                  </a:lnTo>
                  <a:lnTo>
                    <a:pt x="1252" y="770"/>
                  </a:lnTo>
                  <a:lnTo>
                    <a:pt x="1256" y="770"/>
                  </a:lnTo>
                  <a:close/>
                  <a:moveTo>
                    <a:pt x="159" y="770"/>
                  </a:moveTo>
                  <a:lnTo>
                    <a:pt x="159" y="774"/>
                  </a:lnTo>
                  <a:lnTo>
                    <a:pt x="155" y="774"/>
                  </a:lnTo>
                  <a:lnTo>
                    <a:pt x="159" y="770"/>
                  </a:lnTo>
                  <a:close/>
                  <a:moveTo>
                    <a:pt x="1288" y="802"/>
                  </a:moveTo>
                  <a:lnTo>
                    <a:pt x="1292" y="802"/>
                  </a:lnTo>
                  <a:lnTo>
                    <a:pt x="1288" y="806"/>
                  </a:lnTo>
                  <a:lnTo>
                    <a:pt x="1288" y="802"/>
                  </a:lnTo>
                  <a:close/>
                  <a:moveTo>
                    <a:pt x="187" y="818"/>
                  </a:moveTo>
                  <a:lnTo>
                    <a:pt x="191" y="818"/>
                  </a:lnTo>
                  <a:lnTo>
                    <a:pt x="187" y="822"/>
                  </a:lnTo>
                  <a:lnTo>
                    <a:pt x="187" y="818"/>
                  </a:lnTo>
                  <a:close/>
                  <a:moveTo>
                    <a:pt x="195" y="830"/>
                  </a:moveTo>
                  <a:lnTo>
                    <a:pt x="199" y="830"/>
                  </a:lnTo>
                  <a:lnTo>
                    <a:pt x="195" y="830"/>
                  </a:lnTo>
                  <a:close/>
                  <a:moveTo>
                    <a:pt x="191" y="834"/>
                  </a:moveTo>
                  <a:lnTo>
                    <a:pt x="191" y="830"/>
                  </a:lnTo>
                  <a:lnTo>
                    <a:pt x="191" y="834"/>
                  </a:lnTo>
                  <a:close/>
                  <a:moveTo>
                    <a:pt x="195" y="834"/>
                  </a:moveTo>
                  <a:lnTo>
                    <a:pt x="199" y="834"/>
                  </a:lnTo>
                  <a:lnTo>
                    <a:pt x="195" y="834"/>
                  </a:lnTo>
                  <a:close/>
                  <a:moveTo>
                    <a:pt x="215" y="862"/>
                  </a:moveTo>
                  <a:lnTo>
                    <a:pt x="211" y="862"/>
                  </a:lnTo>
                  <a:lnTo>
                    <a:pt x="215" y="862"/>
                  </a:lnTo>
                  <a:lnTo>
                    <a:pt x="219" y="862"/>
                  </a:lnTo>
                  <a:lnTo>
                    <a:pt x="215" y="862"/>
                  </a:lnTo>
                  <a:close/>
                  <a:moveTo>
                    <a:pt x="1296" y="862"/>
                  </a:moveTo>
                  <a:lnTo>
                    <a:pt x="1292" y="866"/>
                  </a:lnTo>
                  <a:lnTo>
                    <a:pt x="1292" y="862"/>
                  </a:lnTo>
                  <a:lnTo>
                    <a:pt x="1296" y="862"/>
                  </a:lnTo>
                  <a:close/>
                  <a:moveTo>
                    <a:pt x="211" y="866"/>
                  </a:moveTo>
                  <a:lnTo>
                    <a:pt x="215" y="866"/>
                  </a:lnTo>
                  <a:lnTo>
                    <a:pt x="211" y="866"/>
                  </a:lnTo>
                  <a:close/>
                  <a:moveTo>
                    <a:pt x="223" y="866"/>
                  </a:moveTo>
                  <a:lnTo>
                    <a:pt x="223" y="870"/>
                  </a:lnTo>
                  <a:lnTo>
                    <a:pt x="219" y="870"/>
                  </a:lnTo>
                  <a:lnTo>
                    <a:pt x="215" y="870"/>
                  </a:lnTo>
                  <a:lnTo>
                    <a:pt x="219" y="870"/>
                  </a:lnTo>
                  <a:lnTo>
                    <a:pt x="223" y="866"/>
                  </a:lnTo>
                  <a:close/>
                  <a:moveTo>
                    <a:pt x="235" y="870"/>
                  </a:moveTo>
                  <a:lnTo>
                    <a:pt x="235" y="874"/>
                  </a:lnTo>
                  <a:lnTo>
                    <a:pt x="235" y="870"/>
                  </a:lnTo>
                  <a:close/>
                  <a:moveTo>
                    <a:pt x="239" y="870"/>
                  </a:moveTo>
                  <a:lnTo>
                    <a:pt x="239" y="874"/>
                  </a:lnTo>
                  <a:lnTo>
                    <a:pt x="239" y="878"/>
                  </a:lnTo>
                  <a:lnTo>
                    <a:pt x="239" y="874"/>
                  </a:lnTo>
                  <a:lnTo>
                    <a:pt x="235" y="874"/>
                  </a:lnTo>
                  <a:lnTo>
                    <a:pt x="239" y="870"/>
                  </a:lnTo>
                  <a:close/>
                  <a:moveTo>
                    <a:pt x="247" y="874"/>
                  </a:moveTo>
                  <a:lnTo>
                    <a:pt x="247" y="878"/>
                  </a:lnTo>
                  <a:lnTo>
                    <a:pt x="243" y="874"/>
                  </a:lnTo>
                  <a:lnTo>
                    <a:pt x="247" y="874"/>
                  </a:lnTo>
                  <a:close/>
                  <a:moveTo>
                    <a:pt x="243" y="874"/>
                  </a:moveTo>
                  <a:lnTo>
                    <a:pt x="247" y="878"/>
                  </a:lnTo>
                  <a:lnTo>
                    <a:pt x="243" y="878"/>
                  </a:lnTo>
                  <a:lnTo>
                    <a:pt x="243" y="874"/>
                  </a:lnTo>
                  <a:close/>
                  <a:moveTo>
                    <a:pt x="243" y="874"/>
                  </a:moveTo>
                  <a:lnTo>
                    <a:pt x="243" y="878"/>
                  </a:lnTo>
                  <a:lnTo>
                    <a:pt x="243" y="882"/>
                  </a:lnTo>
                  <a:lnTo>
                    <a:pt x="243" y="878"/>
                  </a:lnTo>
                  <a:lnTo>
                    <a:pt x="239" y="878"/>
                  </a:lnTo>
                  <a:lnTo>
                    <a:pt x="243" y="878"/>
                  </a:lnTo>
                  <a:lnTo>
                    <a:pt x="243" y="874"/>
                  </a:lnTo>
                  <a:close/>
                  <a:moveTo>
                    <a:pt x="255" y="886"/>
                  </a:moveTo>
                  <a:lnTo>
                    <a:pt x="255" y="890"/>
                  </a:lnTo>
                  <a:lnTo>
                    <a:pt x="255" y="886"/>
                  </a:lnTo>
                  <a:close/>
                  <a:moveTo>
                    <a:pt x="1316" y="886"/>
                  </a:moveTo>
                  <a:lnTo>
                    <a:pt x="1316" y="890"/>
                  </a:lnTo>
                  <a:lnTo>
                    <a:pt x="1312" y="890"/>
                  </a:lnTo>
                  <a:lnTo>
                    <a:pt x="1312" y="886"/>
                  </a:lnTo>
                  <a:lnTo>
                    <a:pt x="1316" y="886"/>
                  </a:lnTo>
                  <a:close/>
                  <a:moveTo>
                    <a:pt x="1308" y="890"/>
                  </a:moveTo>
                  <a:lnTo>
                    <a:pt x="1304" y="894"/>
                  </a:lnTo>
                  <a:lnTo>
                    <a:pt x="1304" y="890"/>
                  </a:lnTo>
                  <a:lnTo>
                    <a:pt x="1308" y="890"/>
                  </a:lnTo>
                  <a:close/>
                  <a:moveTo>
                    <a:pt x="267" y="890"/>
                  </a:moveTo>
                  <a:lnTo>
                    <a:pt x="267" y="894"/>
                  </a:lnTo>
                  <a:lnTo>
                    <a:pt x="263" y="894"/>
                  </a:lnTo>
                  <a:lnTo>
                    <a:pt x="267" y="894"/>
                  </a:lnTo>
                  <a:lnTo>
                    <a:pt x="267" y="890"/>
                  </a:lnTo>
                  <a:close/>
                  <a:moveTo>
                    <a:pt x="227" y="898"/>
                  </a:moveTo>
                  <a:lnTo>
                    <a:pt x="231" y="898"/>
                  </a:lnTo>
                  <a:lnTo>
                    <a:pt x="231" y="902"/>
                  </a:lnTo>
                  <a:lnTo>
                    <a:pt x="227" y="902"/>
                  </a:lnTo>
                  <a:lnTo>
                    <a:pt x="227" y="898"/>
                  </a:lnTo>
                  <a:close/>
                  <a:moveTo>
                    <a:pt x="1324" y="922"/>
                  </a:moveTo>
                  <a:lnTo>
                    <a:pt x="1320" y="922"/>
                  </a:lnTo>
                  <a:lnTo>
                    <a:pt x="1316" y="922"/>
                  </a:lnTo>
                  <a:lnTo>
                    <a:pt x="1320" y="922"/>
                  </a:lnTo>
                  <a:lnTo>
                    <a:pt x="1324" y="922"/>
                  </a:lnTo>
                  <a:close/>
                  <a:moveTo>
                    <a:pt x="1288" y="934"/>
                  </a:moveTo>
                  <a:lnTo>
                    <a:pt x="1284" y="934"/>
                  </a:lnTo>
                  <a:lnTo>
                    <a:pt x="1288" y="934"/>
                  </a:lnTo>
                  <a:close/>
                  <a:moveTo>
                    <a:pt x="1316" y="934"/>
                  </a:moveTo>
                  <a:lnTo>
                    <a:pt x="1312" y="934"/>
                  </a:lnTo>
                  <a:lnTo>
                    <a:pt x="1312" y="938"/>
                  </a:lnTo>
                  <a:lnTo>
                    <a:pt x="1312" y="934"/>
                  </a:lnTo>
                  <a:lnTo>
                    <a:pt x="1316" y="934"/>
                  </a:lnTo>
                  <a:close/>
                  <a:moveTo>
                    <a:pt x="790" y="156"/>
                  </a:moveTo>
                  <a:lnTo>
                    <a:pt x="786" y="156"/>
                  </a:lnTo>
                  <a:lnTo>
                    <a:pt x="782" y="156"/>
                  </a:lnTo>
                  <a:lnTo>
                    <a:pt x="782" y="152"/>
                  </a:lnTo>
                  <a:lnTo>
                    <a:pt x="778" y="148"/>
                  </a:lnTo>
                  <a:lnTo>
                    <a:pt x="774" y="148"/>
                  </a:lnTo>
                  <a:lnTo>
                    <a:pt x="774" y="144"/>
                  </a:lnTo>
                  <a:lnTo>
                    <a:pt x="770" y="144"/>
                  </a:lnTo>
                  <a:lnTo>
                    <a:pt x="770" y="148"/>
                  </a:lnTo>
                  <a:lnTo>
                    <a:pt x="774" y="148"/>
                  </a:lnTo>
                  <a:lnTo>
                    <a:pt x="774" y="152"/>
                  </a:lnTo>
                  <a:lnTo>
                    <a:pt x="778" y="152"/>
                  </a:lnTo>
                  <a:lnTo>
                    <a:pt x="782" y="156"/>
                  </a:lnTo>
                  <a:lnTo>
                    <a:pt x="778" y="156"/>
                  </a:lnTo>
                  <a:lnTo>
                    <a:pt x="774" y="156"/>
                  </a:lnTo>
                  <a:lnTo>
                    <a:pt x="774" y="152"/>
                  </a:lnTo>
                  <a:lnTo>
                    <a:pt x="770" y="152"/>
                  </a:lnTo>
                  <a:lnTo>
                    <a:pt x="766" y="152"/>
                  </a:lnTo>
                  <a:lnTo>
                    <a:pt x="762" y="152"/>
                  </a:lnTo>
                  <a:lnTo>
                    <a:pt x="766" y="152"/>
                  </a:lnTo>
                  <a:lnTo>
                    <a:pt x="766" y="156"/>
                  </a:lnTo>
                  <a:lnTo>
                    <a:pt x="762" y="156"/>
                  </a:lnTo>
                  <a:lnTo>
                    <a:pt x="758" y="156"/>
                  </a:lnTo>
                  <a:lnTo>
                    <a:pt x="754" y="156"/>
                  </a:lnTo>
                  <a:lnTo>
                    <a:pt x="750" y="156"/>
                  </a:lnTo>
                  <a:lnTo>
                    <a:pt x="746" y="156"/>
                  </a:lnTo>
                  <a:lnTo>
                    <a:pt x="742" y="156"/>
                  </a:lnTo>
                  <a:lnTo>
                    <a:pt x="738" y="156"/>
                  </a:lnTo>
                  <a:lnTo>
                    <a:pt x="738" y="152"/>
                  </a:lnTo>
                  <a:lnTo>
                    <a:pt x="734" y="152"/>
                  </a:lnTo>
                  <a:lnTo>
                    <a:pt x="726" y="148"/>
                  </a:lnTo>
                  <a:lnTo>
                    <a:pt x="730" y="148"/>
                  </a:lnTo>
                  <a:lnTo>
                    <a:pt x="734" y="148"/>
                  </a:lnTo>
                  <a:lnTo>
                    <a:pt x="734" y="144"/>
                  </a:lnTo>
                  <a:lnTo>
                    <a:pt x="738" y="144"/>
                  </a:lnTo>
                  <a:lnTo>
                    <a:pt x="742" y="144"/>
                  </a:lnTo>
                  <a:lnTo>
                    <a:pt x="746" y="144"/>
                  </a:lnTo>
                  <a:lnTo>
                    <a:pt x="742" y="144"/>
                  </a:lnTo>
                  <a:lnTo>
                    <a:pt x="738" y="144"/>
                  </a:lnTo>
                  <a:lnTo>
                    <a:pt x="734" y="144"/>
                  </a:lnTo>
                  <a:lnTo>
                    <a:pt x="730" y="144"/>
                  </a:lnTo>
                  <a:lnTo>
                    <a:pt x="726" y="144"/>
                  </a:lnTo>
                  <a:lnTo>
                    <a:pt x="722" y="144"/>
                  </a:lnTo>
                  <a:lnTo>
                    <a:pt x="718" y="144"/>
                  </a:lnTo>
                  <a:lnTo>
                    <a:pt x="714" y="140"/>
                  </a:lnTo>
                  <a:lnTo>
                    <a:pt x="714" y="136"/>
                  </a:lnTo>
                  <a:lnTo>
                    <a:pt x="718" y="136"/>
                  </a:lnTo>
                  <a:lnTo>
                    <a:pt x="718" y="140"/>
                  </a:lnTo>
                  <a:lnTo>
                    <a:pt x="722" y="140"/>
                  </a:lnTo>
                  <a:lnTo>
                    <a:pt x="726" y="140"/>
                  </a:lnTo>
                  <a:lnTo>
                    <a:pt x="722" y="136"/>
                  </a:lnTo>
                  <a:lnTo>
                    <a:pt x="718" y="136"/>
                  </a:lnTo>
                  <a:lnTo>
                    <a:pt x="714" y="136"/>
                  </a:lnTo>
                  <a:lnTo>
                    <a:pt x="710" y="136"/>
                  </a:lnTo>
                  <a:lnTo>
                    <a:pt x="710" y="132"/>
                  </a:lnTo>
                  <a:lnTo>
                    <a:pt x="706" y="132"/>
                  </a:lnTo>
                  <a:lnTo>
                    <a:pt x="710" y="132"/>
                  </a:lnTo>
                  <a:lnTo>
                    <a:pt x="714" y="128"/>
                  </a:lnTo>
                  <a:lnTo>
                    <a:pt x="714" y="132"/>
                  </a:lnTo>
                  <a:lnTo>
                    <a:pt x="714" y="128"/>
                  </a:lnTo>
                  <a:lnTo>
                    <a:pt x="718" y="128"/>
                  </a:lnTo>
                  <a:lnTo>
                    <a:pt x="722" y="128"/>
                  </a:lnTo>
                  <a:lnTo>
                    <a:pt x="722" y="124"/>
                  </a:lnTo>
                  <a:lnTo>
                    <a:pt x="722" y="128"/>
                  </a:lnTo>
                  <a:lnTo>
                    <a:pt x="726" y="128"/>
                  </a:lnTo>
                  <a:lnTo>
                    <a:pt x="730" y="128"/>
                  </a:lnTo>
                  <a:lnTo>
                    <a:pt x="734" y="128"/>
                  </a:lnTo>
                  <a:lnTo>
                    <a:pt x="738" y="128"/>
                  </a:lnTo>
                  <a:lnTo>
                    <a:pt x="742" y="128"/>
                  </a:lnTo>
                  <a:lnTo>
                    <a:pt x="746" y="124"/>
                  </a:lnTo>
                  <a:lnTo>
                    <a:pt x="750" y="124"/>
                  </a:lnTo>
                  <a:lnTo>
                    <a:pt x="754" y="124"/>
                  </a:lnTo>
                  <a:lnTo>
                    <a:pt x="758" y="124"/>
                  </a:lnTo>
                  <a:lnTo>
                    <a:pt x="762" y="124"/>
                  </a:lnTo>
                  <a:lnTo>
                    <a:pt x="766" y="124"/>
                  </a:lnTo>
                  <a:lnTo>
                    <a:pt x="762" y="124"/>
                  </a:lnTo>
                  <a:lnTo>
                    <a:pt x="758" y="124"/>
                  </a:lnTo>
                  <a:lnTo>
                    <a:pt x="754" y="124"/>
                  </a:lnTo>
                  <a:lnTo>
                    <a:pt x="750" y="124"/>
                  </a:lnTo>
                  <a:lnTo>
                    <a:pt x="742" y="124"/>
                  </a:lnTo>
                  <a:lnTo>
                    <a:pt x="738" y="124"/>
                  </a:lnTo>
                  <a:lnTo>
                    <a:pt x="734" y="124"/>
                  </a:lnTo>
                  <a:lnTo>
                    <a:pt x="730" y="124"/>
                  </a:lnTo>
                  <a:lnTo>
                    <a:pt x="734" y="124"/>
                  </a:lnTo>
                  <a:lnTo>
                    <a:pt x="734" y="120"/>
                  </a:lnTo>
                  <a:lnTo>
                    <a:pt x="738" y="120"/>
                  </a:lnTo>
                  <a:lnTo>
                    <a:pt x="742" y="124"/>
                  </a:lnTo>
                  <a:lnTo>
                    <a:pt x="742" y="120"/>
                  </a:lnTo>
                  <a:lnTo>
                    <a:pt x="746" y="120"/>
                  </a:lnTo>
                  <a:lnTo>
                    <a:pt x="750" y="120"/>
                  </a:lnTo>
                  <a:lnTo>
                    <a:pt x="754" y="120"/>
                  </a:lnTo>
                  <a:lnTo>
                    <a:pt x="750" y="120"/>
                  </a:lnTo>
                  <a:lnTo>
                    <a:pt x="746" y="120"/>
                  </a:lnTo>
                  <a:lnTo>
                    <a:pt x="742" y="120"/>
                  </a:lnTo>
                  <a:lnTo>
                    <a:pt x="738" y="120"/>
                  </a:lnTo>
                  <a:lnTo>
                    <a:pt x="734" y="120"/>
                  </a:lnTo>
                  <a:lnTo>
                    <a:pt x="738" y="120"/>
                  </a:lnTo>
                  <a:lnTo>
                    <a:pt x="738" y="116"/>
                  </a:lnTo>
                  <a:lnTo>
                    <a:pt x="734" y="116"/>
                  </a:lnTo>
                  <a:lnTo>
                    <a:pt x="730" y="116"/>
                  </a:lnTo>
                  <a:lnTo>
                    <a:pt x="730" y="120"/>
                  </a:lnTo>
                  <a:lnTo>
                    <a:pt x="726" y="120"/>
                  </a:lnTo>
                  <a:lnTo>
                    <a:pt x="726" y="116"/>
                  </a:lnTo>
                  <a:lnTo>
                    <a:pt x="726" y="120"/>
                  </a:lnTo>
                  <a:lnTo>
                    <a:pt x="722" y="120"/>
                  </a:lnTo>
                  <a:lnTo>
                    <a:pt x="722" y="116"/>
                  </a:lnTo>
                  <a:lnTo>
                    <a:pt x="718" y="120"/>
                  </a:lnTo>
                  <a:lnTo>
                    <a:pt x="714" y="124"/>
                  </a:lnTo>
                  <a:lnTo>
                    <a:pt x="710" y="124"/>
                  </a:lnTo>
                  <a:lnTo>
                    <a:pt x="706" y="124"/>
                  </a:lnTo>
                  <a:lnTo>
                    <a:pt x="710" y="120"/>
                  </a:lnTo>
                  <a:lnTo>
                    <a:pt x="706" y="120"/>
                  </a:lnTo>
                  <a:lnTo>
                    <a:pt x="702" y="120"/>
                  </a:lnTo>
                  <a:lnTo>
                    <a:pt x="706" y="120"/>
                  </a:lnTo>
                  <a:lnTo>
                    <a:pt x="702" y="120"/>
                  </a:lnTo>
                  <a:lnTo>
                    <a:pt x="698" y="120"/>
                  </a:lnTo>
                  <a:lnTo>
                    <a:pt x="698" y="124"/>
                  </a:lnTo>
                  <a:lnTo>
                    <a:pt x="694" y="124"/>
                  </a:lnTo>
                  <a:lnTo>
                    <a:pt x="690" y="120"/>
                  </a:lnTo>
                  <a:lnTo>
                    <a:pt x="686" y="120"/>
                  </a:lnTo>
                  <a:lnTo>
                    <a:pt x="686" y="116"/>
                  </a:lnTo>
                  <a:lnTo>
                    <a:pt x="686" y="112"/>
                  </a:lnTo>
                  <a:lnTo>
                    <a:pt x="690" y="112"/>
                  </a:lnTo>
                  <a:lnTo>
                    <a:pt x="694" y="112"/>
                  </a:lnTo>
                  <a:lnTo>
                    <a:pt x="698" y="112"/>
                  </a:lnTo>
                  <a:lnTo>
                    <a:pt x="702" y="112"/>
                  </a:lnTo>
                  <a:lnTo>
                    <a:pt x="706" y="112"/>
                  </a:lnTo>
                  <a:lnTo>
                    <a:pt x="706" y="108"/>
                  </a:lnTo>
                  <a:lnTo>
                    <a:pt x="702" y="108"/>
                  </a:lnTo>
                  <a:lnTo>
                    <a:pt x="698" y="112"/>
                  </a:lnTo>
                  <a:lnTo>
                    <a:pt x="694" y="112"/>
                  </a:lnTo>
                  <a:lnTo>
                    <a:pt x="690" y="112"/>
                  </a:lnTo>
                  <a:lnTo>
                    <a:pt x="686" y="112"/>
                  </a:lnTo>
                  <a:lnTo>
                    <a:pt x="682" y="112"/>
                  </a:lnTo>
                  <a:lnTo>
                    <a:pt x="682" y="108"/>
                  </a:lnTo>
                  <a:lnTo>
                    <a:pt x="678" y="108"/>
                  </a:lnTo>
                  <a:lnTo>
                    <a:pt x="674" y="104"/>
                  </a:lnTo>
                  <a:lnTo>
                    <a:pt x="670" y="104"/>
                  </a:lnTo>
                  <a:lnTo>
                    <a:pt x="674" y="104"/>
                  </a:lnTo>
                  <a:lnTo>
                    <a:pt x="678" y="104"/>
                  </a:lnTo>
                  <a:lnTo>
                    <a:pt x="674" y="100"/>
                  </a:lnTo>
                  <a:lnTo>
                    <a:pt x="670" y="100"/>
                  </a:lnTo>
                  <a:lnTo>
                    <a:pt x="674" y="100"/>
                  </a:lnTo>
                  <a:lnTo>
                    <a:pt x="670" y="100"/>
                  </a:lnTo>
                  <a:lnTo>
                    <a:pt x="670" y="96"/>
                  </a:lnTo>
                  <a:lnTo>
                    <a:pt x="674" y="96"/>
                  </a:lnTo>
                  <a:lnTo>
                    <a:pt x="678" y="96"/>
                  </a:lnTo>
                  <a:lnTo>
                    <a:pt x="682" y="96"/>
                  </a:lnTo>
                  <a:lnTo>
                    <a:pt x="682" y="100"/>
                  </a:lnTo>
                  <a:lnTo>
                    <a:pt x="686" y="100"/>
                  </a:lnTo>
                  <a:lnTo>
                    <a:pt x="690" y="100"/>
                  </a:lnTo>
                  <a:lnTo>
                    <a:pt x="694" y="100"/>
                  </a:lnTo>
                  <a:lnTo>
                    <a:pt x="698" y="100"/>
                  </a:lnTo>
                  <a:lnTo>
                    <a:pt x="702" y="100"/>
                  </a:lnTo>
                  <a:lnTo>
                    <a:pt x="706" y="100"/>
                  </a:lnTo>
                  <a:lnTo>
                    <a:pt x="702" y="100"/>
                  </a:lnTo>
                  <a:lnTo>
                    <a:pt x="698" y="96"/>
                  </a:lnTo>
                  <a:lnTo>
                    <a:pt x="702" y="96"/>
                  </a:lnTo>
                  <a:lnTo>
                    <a:pt x="706" y="96"/>
                  </a:lnTo>
                  <a:lnTo>
                    <a:pt x="710" y="96"/>
                  </a:lnTo>
                  <a:lnTo>
                    <a:pt x="706" y="96"/>
                  </a:lnTo>
                  <a:lnTo>
                    <a:pt x="702" y="92"/>
                  </a:lnTo>
                  <a:lnTo>
                    <a:pt x="702" y="96"/>
                  </a:lnTo>
                  <a:lnTo>
                    <a:pt x="698" y="96"/>
                  </a:lnTo>
                  <a:lnTo>
                    <a:pt x="694" y="96"/>
                  </a:lnTo>
                  <a:lnTo>
                    <a:pt x="690" y="96"/>
                  </a:lnTo>
                  <a:lnTo>
                    <a:pt x="686" y="96"/>
                  </a:lnTo>
                  <a:lnTo>
                    <a:pt x="686" y="92"/>
                  </a:lnTo>
                  <a:lnTo>
                    <a:pt x="690" y="92"/>
                  </a:lnTo>
                  <a:lnTo>
                    <a:pt x="694" y="92"/>
                  </a:lnTo>
                  <a:lnTo>
                    <a:pt x="690" y="92"/>
                  </a:lnTo>
                  <a:lnTo>
                    <a:pt x="686" y="92"/>
                  </a:lnTo>
                  <a:lnTo>
                    <a:pt x="682" y="92"/>
                  </a:lnTo>
                  <a:lnTo>
                    <a:pt x="682" y="96"/>
                  </a:lnTo>
                  <a:lnTo>
                    <a:pt x="682" y="92"/>
                  </a:lnTo>
                  <a:lnTo>
                    <a:pt x="678" y="92"/>
                  </a:lnTo>
                  <a:lnTo>
                    <a:pt x="674" y="92"/>
                  </a:lnTo>
                  <a:lnTo>
                    <a:pt x="670" y="88"/>
                  </a:lnTo>
                  <a:lnTo>
                    <a:pt x="674" y="88"/>
                  </a:lnTo>
                  <a:lnTo>
                    <a:pt x="678" y="88"/>
                  </a:lnTo>
                  <a:lnTo>
                    <a:pt x="682" y="88"/>
                  </a:lnTo>
                  <a:lnTo>
                    <a:pt x="686" y="88"/>
                  </a:lnTo>
                  <a:lnTo>
                    <a:pt x="690" y="88"/>
                  </a:lnTo>
                  <a:lnTo>
                    <a:pt x="686" y="88"/>
                  </a:lnTo>
                  <a:lnTo>
                    <a:pt x="682" y="84"/>
                  </a:lnTo>
                  <a:lnTo>
                    <a:pt x="682" y="80"/>
                  </a:lnTo>
                  <a:lnTo>
                    <a:pt x="686" y="80"/>
                  </a:lnTo>
                  <a:lnTo>
                    <a:pt x="690" y="80"/>
                  </a:lnTo>
                  <a:lnTo>
                    <a:pt x="694" y="80"/>
                  </a:lnTo>
                  <a:lnTo>
                    <a:pt x="698" y="80"/>
                  </a:lnTo>
                  <a:lnTo>
                    <a:pt x="698" y="84"/>
                  </a:lnTo>
                  <a:lnTo>
                    <a:pt x="702" y="84"/>
                  </a:lnTo>
                  <a:lnTo>
                    <a:pt x="706" y="84"/>
                  </a:lnTo>
                  <a:lnTo>
                    <a:pt x="710" y="84"/>
                  </a:lnTo>
                  <a:lnTo>
                    <a:pt x="714" y="84"/>
                  </a:lnTo>
                  <a:lnTo>
                    <a:pt x="710" y="84"/>
                  </a:lnTo>
                  <a:lnTo>
                    <a:pt x="710" y="80"/>
                  </a:lnTo>
                  <a:lnTo>
                    <a:pt x="706" y="80"/>
                  </a:lnTo>
                  <a:lnTo>
                    <a:pt x="702" y="80"/>
                  </a:lnTo>
                  <a:lnTo>
                    <a:pt x="706" y="80"/>
                  </a:lnTo>
                  <a:lnTo>
                    <a:pt x="710" y="80"/>
                  </a:lnTo>
                  <a:lnTo>
                    <a:pt x="710" y="76"/>
                  </a:lnTo>
                  <a:lnTo>
                    <a:pt x="706" y="76"/>
                  </a:lnTo>
                  <a:lnTo>
                    <a:pt x="702" y="76"/>
                  </a:lnTo>
                  <a:lnTo>
                    <a:pt x="698" y="76"/>
                  </a:lnTo>
                  <a:lnTo>
                    <a:pt x="694" y="76"/>
                  </a:lnTo>
                  <a:lnTo>
                    <a:pt x="690" y="76"/>
                  </a:lnTo>
                  <a:lnTo>
                    <a:pt x="686" y="76"/>
                  </a:lnTo>
                  <a:lnTo>
                    <a:pt x="690" y="72"/>
                  </a:lnTo>
                  <a:lnTo>
                    <a:pt x="694" y="72"/>
                  </a:lnTo>
                  <a:lnTo>
                    <a:pt x="690" y="72"/>
                  </a:lnTo>
                  <a:lnTo>
                    <a:pt x="694" y="68"/>
                  </a:lnTo>
                  <a:lnTo>
                    <a:pt x="698" y="68"/>
                  </a:lnTo>
                  <a:lnTo>
                    <a:pt x="702" y="68"/>
                  </a:lnTo>
                  <a:lnTo>
                    <a:pt x="706" y="68"/>
                  </a:lnTo>
                  <a:lnTo>
                    <a:pt x="710" y="68"/>
                  </a:lnTo>
                  <a:lnTo>
                    <a:pt x="714" y="68"/>
                  </a:lnTo>
                  <a:lnTo>
                    <a:pt x="710" y="68"/>
                  </a:lnTo>
                  <a:lnTo>
                    <a:pt x="706" y="64"/>
                  </a:lnTo>
                  <a:lnTo>
                    <a:pt x="710" y="64"/>
                  </a:lnTo>
                  <a:lnTo>
                    <a:pt x="714" y="64"/>
                  </a:lnTo>
                  <a:lnTo>
                    <a:pt x="718" y="68"/>
                  </a:lnTo>
                  <a:lnTo>
                    <a:pt x="722" y="68"/>
                  </a:lnTo>
                  <a:lnTo>
                    <a:pt x="722" y="64"/>
                  </a:lnTo>
                  <a:lnTo>
                    <a:pt x="726" y="64"/>
                  </a:lnTo>
                  <a:lnTo>
                    <a:pt x="722" y="60"/>
                  </a:lnTo>
                  <a:lnTo>
                    <a:pt x="718" y="60"/>
                  </a:lnTo>
                  <a:lnTo>
                    <a:pt x="714" y="64"/>
                  </a:lnTo>
                  <a:lnTo>
                    <a:pt x="710" y="64"/>
                  </a:lnTo>
                  <a:lnTo>
                    <a:pt x="710" y="60"/>
                  </a:lnTo>
                  <a:lnTo>
                    <a:pt x="706" y="60"/>
                  </a:lnTo>
                  <a:lnTo>
                    <a:pt x="706" y="56"/>
                  </a:lnTo>
                  <a:lnTo>
                    <a:pt x="710" y="56"/>
                  </a:lnTo>
                  <a:lnTo>
                    <a:pt x="714" y="56"/>
                  </a:lnTo>
                  <a:lnTo>
                    <a:pt x="718" y="60"/>
                  </a:lnTo>
                  <a:lnTo>
                    <a:pt x="718" y="56"/>
                  </a:lnTo>
                  <a:lnTo>
                    <a:pt x="722" y="56"/>
                  </a:lnTo>
                  <a:lnTo>
                    <a:pt x="726" y="56"/>
                  </a:lnTo>
                  <a:lnTo>
                    <a:pt x="726" y="60"/>
                  </a:lnTo>
                  <a:lnTo>
                    <a:pt x="730" y="60"/>
                  </a:lnTo>
                  <a:lnTo>
                    <a:pt x="734" y="60"/>
                  </a:lnTo>
                  <a:lnTo>
                    <a:pt x="738" y="60"/>
                  </a:lnTo>
                  <a:lnTo>
                    <a:pt x="742" y="60"/>
                  </a:lnTo>
                  <a:lnTo>
                    <a:pt x="742" y="64"/>
                  </a:lnTo>
                  <a:lnTo>
                    <a:pt x="746" y="64"/>
                  </a:lnTo>
                  <a:lnTo>
                    <a:pt x="746" y="68"/>
                  </a:lnTo>
                  <a:lnTo>
                    <a:pt x="742" y="68"/>
                  </a:lnTo>
                  <a:lnTo>
                    <a:pt x="746" y="68"/>
                  </a:lnTo>
                  <a:lnTo>
                    <a:pt x="750" y="68"/>
                  </a:lnTo>
                  <a:lnTo>
                    <a:pt x="750" y="72"/>
                  </a:lnTo>
                  <a:lnTo>
                    <a:pt x="754" y="76"/>
                  </a:lnTo>
                  <a:lnTo>
                    <a:pt x="758" y="76"/>
                  </a:lnTo>
                  <a:lnTo>
                    <a:pt x="762" y="76"/>
                  </a:lnTo>
                  <a:lnTo>
                    <a:pt x="762" y="80"/>
                  </a:lnTo>
                  <a:lnTo>
                    <a:pt x="762" y="84"/>
                  </a:lnTo>
                  <a:lnTo>
                    <a:pt x="766" y="84"/>
                  </a:lnTo>
                  <a:lnTo>
                    <a:pt x="770" y="84"/>
                  </a:lnTo>
                  <a:lnTo>
                    <a:pt x="774" y="84"/>
                  </a:lnTo>
                  <a:lnTo>
                    <a:pt x="778" y="84"/>
                  </a:lnTo>
                  <a:lnTo>
                    <a:pt x="782" y="84"/>
                  </a:lnTo>
                  <a:lnTo>
                    <a:pt x="786" y="84"/>
                  </a:lnTo>
                  <a:lnTo>
                    <a:pt x="786" y="88"/>
                  </a:lnTo>
                  <a:lnTo>
                    <a:pt x="782" y="88"/>
                  </a:lnTo>
                  <a:lnTo>
                    <a:pt x="786" y="88"/>
                  </a:lnTo>
                  <a:lnTo>
                    <a:pt x="786" y="92"/>
                  </a:lnTo>
                  <a:lnTo>
                    <a:pt x="782" y="92"/>
                  </a:lnTo>
                  <a:lnTo>
                    <a:pt x="786" y="92"/>
                  </a:lnTo>
                  <a:lnTo>
                    <a:pt x="786" y="96"/>
                  </a:lnTo>
                  <a:lnTo>
                    <a:pt x="790" y="96"/>
                  </a:lnTo>
                  <a:lnTo>
                    <a:pt x="794" y="96"/>
                  </a:lnTo>
                  <a:lnTo>
                    <a:pt x="797" y="96"/>
                  </a:lnTo>
                  <a:lnTo>
                    <a:pt x="797" y="92"/>
                  </a:lnTo>
                  <a:lnTo>
                    <a:pt x="794" y="92"/>
                  </a:lnTo>
                  <a:lnTo>
                    <a:pt x="790" y="88"/>
                  </a:lnTo>
                  <a:lnTo>
                    <a:pt x="794" y="88"/>
                  </a:lnTo>
                  <a:lnTo>
                    <a:pt x="797" y="88"/>
                  </a:lnTo>
                  <a:lnTo>
                    <a:pt x="801" y="88"/>
                  </a:lnTo>
                  <a:lnTo>
                    <a:pt x="805" y="88"/>
                  </a:lnTo>
                  <a:lnTo>
                    <a:pt x="809" y="92"/>
                  </a:lnTo>
                  <a:lnTo>
                    <a:pt x="809" y="96"/>
                  </a:lnTo>
                  <a:lnTo>
                    <a:pt x="805" y="96"/>
                  </a:lnTo>
                  <a:lnTo>
                    <a:pt x="801" y="96"/>
                  </a:lnTo>
                  <a:lnTo>
                    <a:pt x="801" y="100"/>
                  </a:lnTo>
                  <a:lnTo>
                    <a:pt x="805" y="100"/>
                  </a:lnTo>
                  <a:lnTo>
                    <a:pt x="805" y="96"/>
                  </a:lnTo>
                  <a:lnTo>
                    <a:pt x="809" y="96"/>
                  </a:lnTo>
                  <a:lnTo>
                    <a:pt x="813" y="96"/>
                  </a:lnTo>
                  <a:lnTo>
                    <a:pt x="813" y="100"/>
                  </a:lnTo>
                  <a:lnTo>
                    <a:pt x="817" y="100"/>
                  </a:lnTo>
                  <a:lnTo>
                    <a:pt x="813" y="104"/>
                  </a:lnTo>
                  <a:lnTo>
                    <a:pt x="809" y="104"/>
                  </a:lnTo>
                  <a:lnTo>
                    <a:pt x="813" y="104"/>
                  </a:lnTo>
                  <a:lnTo>
                    <a:pt x="817" y="104"/>
                  </a:lnTo>
                  <a:lnTo>
                    <a:pt x="817" y="108"/>
                  </a:lnTo>
                  <a:lnTo>
                    <a:pt x="813" y="112"/>
                  </a:lnTo>
                  <a:lnTo>
                    <a:pt x="809" y="112"/>
                  </a:lnTo>
                  <a:lnTo>
                    <a:pt x="809" y="116"/>
                  </a:lnTo>
                  <a:lnTo>
                    <a:pt x="813" y="116"/>
                  </a:lnTo>
                  <a:lnTo>
                    <a:pt x="813" y="112"/>
                  </a:lnTo>
                  <a:lnTo>
                    <a:pt x="817" y="112"/>
                  </a:lnTo>
                  <a:lnTo>
                    <a:pt x="821" y="112"/>
                  </a:lnTo>
                  <a:lnTo>
                    <a:pt x="817" y="116"/>
                  </a:lnTo>
                  <a:lnTo>
                    <a:pt x="821" y="116"/>
                  </a:lnTo>
                  <a:lnTo>
                    <a:pt x="821" y="112"/>
                  </a:lnTo>
                  <a:lnTo>
                    <a:pt x="825" y="112"/>
                  </a:lnTo>
                  <a:lnTo>
                    <a:pt x="829" y="112"/>
                  </a:lnTo>
                  <a:lnTo>
                    <a:pt x="833" y="116"/>
                  </a:lnTo>
                  <a:lnTo>
                    <a:pt x="829" y="116"/>
                  </a:lnTo>
                  <a:lnTo>
                    <a:pt x="833" y="116"/>
                  </a:lnTo>
                  <a:lnTo>
                    <a:pt x="833" y="112"/>
                  </a:lnTo>
                  <a:lnTo>
                    <a:pt x="837" y="112"/>
                  </a:lnTo>
                  <a:lnTo>
                    <a:pt x="841" y="116"/>
                  </a:lnTo>
                  <a:lnTo>
                    <a:pt x="841" y="120"/>
                  </a:lnTo>
                  <a:lnTo>
                    <a:pt x="845" y="120"/>
                  </a:lnTo>
                  <a:lnTo>
                    <a:pt x="849" y="120"/>
                  </a:lnTo>
                  <a:lnTo>
                    <a:pt x="849" y="124"/>
                  </a:lnTo>
                  <a:lnTo>
                    <a:pt x="845" y="124"/>
                  </a:lnTo>
                  <a:lnTo>
                    <a:pt x="841" y="124"/>
                  </a:lnTo>
                  <a:lnTo>
                    <a:pt x="837" y="128"/>
                  </a:lnTo>
                  <a:lnTo>
                    <a:pt x="833" y="128"/>
                  </a:lnTo>
                  <a:lnTo>
                    <a:pt x="829" y="128"/>
                  </a:lnTo>
                  <a:lnTo>
                    <a:pt x="825" y="128"/>
                  </a:lnTo>
                  <a:lnTo>
                    <a:pt x="821" y="132"/>
                  </a:lnTo>
                  <a:lnTo>
                    <a:pt x="817" y="132"/>
                  </a:lnTo>
                  <a:lnTo>
                    <a:pt x="817" y="128"/>
                  </a:lnTo>
                  <a:lnTo>
                    <a:pt x="817" y="132"/>
                  </a:lnTo>
                  <a:lnTo>
                    <a:pt x="817" y="136"/>
                  </a:lnTo>
                  <a:lnTo>
                    <a:pt x="813" y="136"/>
                  </a:lnTo>
                  <a:lnTo>
                    <a:pt x="809" y="140"/>
                  </a:lnTo>
                  <a:lnTo>
                    <a:pt x="809" y="144"/>
                  </a:lnTo>
                  <a:lnTo>
                    <a:pt x="805" y="144"/>
                  </a:lnTo>
                  <a:lnTo>
                    <a:pt x="805" y="140"/>
                  </a:lnTo>
                  <a:lnTo>
                    <a:pt x="801" y="140"/>
                  </a:lnTo>
                  <a:lnTo>
                    <a:pt x="801" y="136"/>
                  </a:lnTo>
                  <a:lnTo>
                    <a:pt x="801" y="132"/>
                  </a:lnTo>
                  <a:lnTo>
                    <a:pt x="805" y="132"/>
                  </a:lnTo>
                  <a:lnTo>
                    <a:pt x="805" y="128"/>
                  </a:lnTo>
                  <a:lnTo>
                    <a:pt x="801" y="132"/>
                  </a:lnTo>
                  <a:lnTo>
                    <a:pt x="797" y="132"/>
                  </a:lnTo>
                  <a:lnTo>
                    <a:pt x="797" y="136"/>
                  </a:lnTo>
                  <a:lnTo>
                    <a:pt x="797" y="140"/>
                  </a:lnTo>
                  <a:lnTo>
                    <a:pt x="801" y="140"/>
                  </a:lnTo>
                  <a:lnTo>
                    <a:pt x="801" y="144"/>
                  </a:lnTo>
                  <a:lnTo>
                    <a:pt x="801" y="148"/>
                  </a:lnTo>
                  <a:lnTo>
                    <a:pt x="797" y="148"/>
                  </a:lnTo>
                  <a:lnTo>
                    <a:pt x="797" y="144"/>
                  </a:lnTo>
                  <a:lnTo>
                    <a:pt x="794" y="144"/>
                  </a:lnTo>
                  <a:lnTo>
                    <a:pt x="790" y="144"/>
                  </a:lnTo>
                  <a:lnTo>
                    <a:pt x="794" y="148"/>
                  </a:lnTo>
                  <a:lnTo>
                    <a:pt x="794" y="152"/>
                  </a:lnTo>
                  <a:lnTo>
                    <a:pt x="790" y="152"/>
                  </a:lnTo>
                  <a:lnTo>
                    <a:pt x="790" y="156"/>
                  </a:lnTo>
                  <a:close/>
                  <a:moveTo>
                    <a:pt x="638" y="112"/>
                  </a:moveTo>
                  <a:lnTo>
                    <a:pt x="638" y="108"/>
                  </a:lnTo>
                  <a:lnTo>
                    <a:pt x="634" y="108"/>
                  </a:lnTo>
                  <a:lnTo>
                    <a:pt x="630" y="108"/>
                  </a:lnTo>
                  <a:lnTo>
                    <a:pt x="630" y="104"/>
                  </a:lnTo>
                  <a:lnTo>
                    <a:pt x="626" y="104"/>
                  </a:lnTo>
                  <a:lnTo>
                    <a:pt x="622" y="104"/>
                  </a:lnTo>
                  <a:lnTo>
                    <a:pt x="618" y="104"/>
                  </a:lnTo>
                  <a:lnTo>
                    <a:pt x="618" y="100"/>
                  </a:lnTo>
                  <a:lnTo>
                    <a:pt x="618" y="96"/>
                  </a:lnTo>
                  <a:lnTo>
                    <a:pt x="622" y="96"/>
                  </a:lnTo>
                  <a:lnTo>
                    <a:pt x="626" y="96"/>
                  </a:lnTo>
                  <a:lnTo>
                    <a:pt x="630" y="96"/>
                  </a:lnTo>
                  <a:lnTo>
                    <a:pt x="634" y="96"/>
                  </a:lnTo>
                  <a:lnTo>
                    <a:pt x="638" y="96"/>
                  </a:lnTo>
                  <a:lnTo>
                    <a:pt x="638" y="100"/>
                  </a:lnTo>
                  <a:lnTo>
                    <a:pt x="642" y="108"/>
                  </a:lnTo>
                  <a:lnTo>
                    <a:pt x="638" y="108"/>
                  </a:lnTo>
                  <a:lnTo>
                    <a:pt x="638" y="112"/>
                  </a:lnTo>
                  <a:close/>
                  <a:moveTo>
                    <a:pt x="562" y="140"/>
                  </a:moveTo>
                  <a:lnTo>
                    <a:pt x="562" y="136"/>
                  </a:lnTo>
                  <a:lnTo>
                    <a:pt x="562" y="140"/>
                  </a:lnTo>
                  <a:lnTo>
                    <a:pt x="558" y="140"/>
                  </a:lnTo>
                  <a:lnTo>
                    <a:pt x="558" y="136"/>
                  </a:lnTo>
                  <a:lnTo>
                    <a:pt x="562" y="136"/>
                  </a:lnTo>
                  <a:lnTo>
                    <a:pt x="562" y="132"/>
                  </a:lnTo>
                  <a:lnTo>
                    <a:pt x="558" y="132"/>
                  </a:lnTo>
                  <a:lnTo>
                    <a:pt x="554" y="132"/>
                  </a:lnTo>
                  <a:lnTo>
                    <a:pt x="550" y="132"/>
                  </a:lnTo>
                  <a:lnTo>
                    <a:pt x="550" y="136"/>
                  </a:lnTo>
                  <a:lnTo>
                    <a:pt x="546" y="136"/>
                  </a:lnTo>
                  <a:lnTo>
                    <a:pt x="542" y="136"/>
                  </a:lnTo>
                  <a:lnTo>
                    <a:pt x="546" y="132"/>
                  </a:lnTo>
                  <a:lnTo>
                    <a:pt x="550" y="132"/>
                  </a:lnTo>
                  <a:lnTo>
                    <a:pt x="546" y="128"/>
                  </a:lnTo>
                  <a:lnTo>
                    <a:pt x="542" y="128"/>
                  </a:lnTo>
                  <a:lnTo>
                    <a:pt x="542" y="132"/>
                  </a:lnTo>
                  <a:lnTo>
                    <a:pt x="538" y="132"/>
                  </a:lnTo>
                  <a:lnTo>
                    <a:pt x="534" y="132"/>
                  </a:lnTo>
                  <a:lnTo>
                    <a:pt x="534" y="128"/>
                  </a:lnTo>
                  <a:lnTo>
                    <a:pt x="538" y="120"/>
                  </a:lnTo>
                  <a:lnTo>
                    <a:pt x="542" y="120"/>
                  </a:lnTo>
                  <a:lnTo>
                    <a:pt x="546" y="120"/>
                  </a:lnTo>
                  <a:lnTo>
                    <a:pt x="550" y="120"/>
                  </a:lnTo>
                  <a:lnTo>
                    <a:pt x="554" y="120"/>
                  </a:lnTo>
                  <a:lnTo>
                    <a:pt x="558" y="120"/>
                  </a:lnTo>
                  <a:lnTo>
                    <a:pt x="562" y="120"/>
                  </a:lnTo>
                  <a:lnTo>
                    <a:pt x="566" y="120"/>
                  </a:lnTo>
                  <a:lnTo>
                    <a:pt x="570" y="120"/>
                  </a:lnTo>
                  <a:lnTo>
                    <a:pt x="574" y="124"/>
                  </a:lnTo>
                  <a:lnTo>
                    <a:pt x="578" y="124"/>
                  </a:lnTo>
                  <a:lnTo>
                    <a:pt x="578" y="128"/>
                  </a:lnTo>
                  <a:lnTo>
                    <a:pt x="582" y="128"/>
                  </a:lnTo>
                  <a:lnTo>
                    <a:pt x="578" y="132"/>
                  </a:lnTo>
                  <a:lnTo>
                    <a:pt x="582" y="136"/>
                  </a:lnTo>
                  <a:lnTo>
                    <a:pt x="582" y="132"/>
                  </a:lnTo>
                  <a:lnTo>
                    <a:pt x="586" y="132"/>
                  </a:lnTo>
                  <a:lnTo>
                    <a:pt x="590" y="128"/>
                  </a:lnTo>
                  <a:lnTo>
                    <a:pt x="594" y="128"/>
                  </a:lnTo>
                  <a:lnTo>
                    <a:pt x="598" y="128"/>
                  </a:lnTo>
                  <a:lnTo>
                    <a:pt x="602" y="132"/>
                  </a:lnTo>
                  <a:lnTo>
                    <a:pt x="606" y="132"/>
                  </a:lnTo>
                  <a:lnTo>
                    <a:pt x="602" y="136"/>
                  </a:lnTo>
                  <a:lnTo>
                    <a:pt x="606" y="136"/>
                  </a:lnTo>
                  <a:lnTo>
                    <a:pt x="610" y="136"/>
                  </a:lnTo>
                  <a:lnTo>
                    <a:pt x="614" y="136"/>
                  </a:lnTo>
                  <a:lnTo>
                    <a:pt x="614" y="140"/>
                  </a:lnTo>
                  <a:lnTo>
                    <a:pt x="618" y="140"/>
                  </a:lnTo>
                  <a:lnTo>
                    <a:pt x="622" y="140"/>
                  </a:lnTo>
                  <a:lnTo>
                    <a:pt x="618" y="144"/>
                  </a:lnTo>
                  <a:lnTo>
                    <a:pt x="622" y="144"/>
                  </a:lnTo>
                  <a:lnTo>
                    <a:pt x="626" y="144"/>
                  </a:lnTo>
                  <a:lnTo>
                    <a:pt x="626" y="148"/>
                  </a:lnTo>
                  <a:lnTo>
                    <a:pt x="622" y="148"/>
                  </a:lnTo>
                  <a:lnTo>
                    <a:pt x="622" y="152"/>
                  </a:lnTo>
                  <a:lnTo>
                    <a:pt x="626" y="152"/>
                  </a:lnTo>
                  <a:lnTo>
                    <a:pt x="626" y="156"/>
                  </a:lnTo>
                  <a:lnTo>
                    <a:pt x="630" y="156"/>
                  </a:lnTo>
                  <a:lnTo>
                    <a:pt x="634" y="156"/>
                  </a:lnTo>
                  <a:lnTo>
                    <a:pt x="634" y="160"/>
                  </a:lnTo>
                  <a:lnTo>
                    <a:pt x="638" y="160"/>
                  </a:lnTo>
                  <a:lnTo>
                    <a:pt x="634" y="160"/>
                  </a:lnTo>
                  <a:lnTo>
                    <a:pt x="634" y="164"/>
                  </a:lnTo>
                  <a:lnTo>
                    <a:pt x="630" y="168"/>
                  </a:lnTo>
                  <a:lnTo>
                    <a:pt x="626" y="168"/>
                  </a:lnTo>
                  <a:lnTo>
                    <a:pt x="622" y="168"/>
                  </a:lnTo>
                  <a:lnTo>
                    <a:pt x="618" y="168"/>
                  </a:lnTo>
                  <a:lnTo>
                    <a:pt x="614" y="168"/>
                  </a:lnTo>
                  <a:lnTo>
                    <a:pt x="610" y="164"/>
                  </a:lnTo>
                  <a:lnTo>
                    <a:pt x="606" y="160"/>
                  </a:lnTo>
                  <a:lnTo>
                    <a:pt x="606" y="156"/>
                  </a:lnTo>
                  <a:lnTo>
                    <a:pt x="602" y="156"/>
                  </a:lnTo>
                  <a:lnTo>
                    <a:pt x="598" y="156"/>
                  </a:lnTo>
                  <a:lnTo>
                    <a:pt x="594" y="152"/>
                  </a:lnTo>
                  <a:lnTo>
                    <a:pt x="586" y="152"/>
                  </a:lnTo>
                  <a:lnTo>
                    <a:pt x="582" y="152"/>
                  </a:lnTo>
                  <a:lnTo>
                    <a:pt x="582" y="156"/>
                  </a:lnTo>
                  <a:lnTo>
                    <a:pt x="578" y="156"/>
                  </a:lnTo>
                  <a:lnTo>
                    <a:pt x="578" y="152"/>
                  </a:lnTo>
                  <a:lnTo>
                    <a:pt x="574" y="152"/>
                  </a:lnTo>
                  <a:lnTo>
                    <a:pt x="570" y="152"/>
                  </a:lnTo>
                  <a:lnTo>
                    <a:pt x="566" y="152"/>
                  </a:lnTo>
                  <a:lnTo>
                    <a:pt x="562" y="152"/>
                  </a:lnTo>
                  <a:lnTo>
                    <a:pt x="562" y="156"/>
                  </a:lnTo>
                  <a:lnTo>
                    <a:pt x="558" y="156"/>
                  </a:lnTo>
                  <a:lnTo>
                    <a:pt x="554" y="156"/>
                  </a:lnTo>
                  <a:lnTo>
                    <a:pt x="554" y="152"/>
                  </a:lnTo>
                  <a:lnTo>
                    <a:pt x="550" y="152"/>
                  </a:lnTo>
                  <a:lnTo>
                    <a:pt x="546" y="152"/>
                  </a:lnTo>
                  <a:lnTo>
                    <a:pt x="546" y="148"/>
                  </a:lnTo>
                  <a:lnTo>
                    <a:pt x="542" y="148"/>
                  </a:lnTo>
                  <a:lnTo>
                    <a:pt x="542" y="144"/>
                  </a:lnTo>
                  <a:lnTo>
                    <a:pt x="546" y="144"/>
                  </a:lnTo>
                  <a:lnTo>
                    <a:pt x="550" y="144"/>
                  </a:lnTo>
                  <a:lnTo>
                    <a:pt x="554" y="144"/>
                  </a:lnTo>
                  <a:lnTo>
                    <a:pt x="558" y="144"/>
                  </a:lnTo>
                  <a:lnTo>
                    <a:pt x="562" y="144"/>
                  </a:lnTo>
                  <a:lnTo>
                    <a:pt x="566" y="148"/>
                  </a:lnTo>
                  <a:lnTo>
                    <a:pt x="566" y="144"/>
                  </a:lnTo>
                  <a:lnTo>
                    <a:pt x="570" y="144"/>
                  </a:lnTo>
                  <a:lnTo>
                    <a:pt x="566" y="144"/>
                  </a:lnTo>
                  <a:lnTo>
                    <a:pt x="562" y="144"/>
                  </a:lnTo>
                  <a:lnTo>
                    <a:pt x="558" y="144"/>
                  </a:lnTo>
                  <a:lnTo>
                    <a:pt x="562" y="140"/>
                  </a:lnTo>
                  <a:lnTo>
                    <a:pt x="566" y="140"/>
                  </a:lnTo>
                  <a:lnTo>
                    <a:pt x="570" y="140"/>
                  </a:lnTo>
                  <a:lnTo>
                    <a:pt x="570" y="136"/>
                  </a:lnTo>
                  <a:lnTo>
                    <a:pt x="566" y="136"/>
                  </a:lnTo>
                  <a:lnTo>
                    <a:pt x="566" y="140"/>
                  </a:lnTo>
                  <a:lnTo>
                    <a:pt x="562" y="140"/>
                  </a:lnTo>
                  <a:close/>
                  <a:moveTo>
                    <a:pt x="666" y="168"/>
                  </a:moveTo>
                  <a:lnTo>
                    <a:pt x="662" y="164"/>
                  </a:lnTo>
                  <a:lnTo>
                    <a:pt x="666" y="164"/>
                  </a:lnTo>
                  <a:lnTo>
                    <a:pt x="662" y="164"/>
                  </a:lnTo>
                  <a:lnTo>
                    <a:pt x="658" y="164"/>
                  </a:lnTo>
                  <a:lnTo>
                    <a:pt x="658" y="160"/>
                  </a:lnTo>
                  <a:lnTo>
                    <a:pt x="654" y="160"/>
                  </a:lnTo>
                  <a:lnTo>
                    <a:pt x="658" y="160"/>
                  </a:lnTo>
                  <a:lnTo>
                    <a:pt x="662" y="160"/>
                  </a:lnTo>
                  <a:lnTo>
                    <a:pt x="666" y="160"/>
                  </a:lnTo>
                  <a:lnTo>
                    <a:pt x="666" y="156"/>
                  </a:lnTo>
                  <a:lnTo>
                    <a:pt x="662" y="156"/>
                  </a:lnTo>
                  <a:lnTo>
                    <a:pt x="658" y="156"/>
                  </a:lnTo>
                  <a:lnTo>
                    <a:pt x="654" y="156"/>
                  </a:lnTo>
                  <a:lnTo>
                    <a:pt x="654" y="152"/>
                  </a:lnTo>
                  <a:lnTo>
                    <a:pt x="650" y="152"/>
                  </a:lnTo>
                  <a:lnTo>
                    <a:pt x="650" y="148"/>
                  </a:lnTo>
                  <a:lnTo>
                    <a:pt x="646" y="148"/>
                  </a:lnTo>
                  <a:lnTo>
                    <a:pt x="646" y="144"/>
                  </a:lnTo>
                  <a:lnTo>
                    <a:pt x="650" y="144"/>
                  </a:lnTo>
                  <a:lnTo>
                    <a:pt x="646" y="144"/>
                  </a:lnTo>
                  <a:lnTo>
                    <a:pt x="646" y="140"/>
                  </a:lnTo>
                  <a:lnTo>
                    <a:pt x="646" y="136"/>
                  </a:lnTo>
                  <a:lnTo>
                    <a:pt x="650" y="136"/>
                  </a:lnTo>
                  <a:lnTo>
                    <a:pt x="654" y="136"/>
                  </a:lnTo>
                  <a:lnTo>
                    <a:pt x="658" y="136"/>
                  </a:lnTo>
                  <a:lnTo>
                    <a:pt x="658" y="140"/>
                  </a:lnTo>
                  <a:lnTo>
                    <a:pt x="662" y="140"/>
                  </a:lnTo>
                  <a:lnTo>
                    <a:pt x="666" y="140"/>
                  </a:lnTo>
                  <a:lnTo>
                    <a:pt x="670" y="140"/>
                  </a:lnTo>
                  <a:lnTo>
                    <a:pt x="674" y="140"/>
                  </a:lnTo>
                  <a:lnTo>
                    <a:pt x="674" y="144"/>
                  </a:lnTo>
                  <a:lnTo>
                    <a:pt x="678" y="144"/>
                  </a:lnTo>
                  <a:lnTo>
                    <a:pt x="682" y="148"/>
                  </a:lnTo>
                  <a:lnTo>
                    <a:pt x="686" y="148"/>
                  </a:lnTo>
                  <a:lnTo>
                    <a:pt x="686" y="144"/>
                  </a:lnTo>
                  <a:lnTo>
                    <a:pt x="686" y="148"/>
                  </a:lnTo>
                  <a:lnTo>
                    <a:pt x="690" y="148"/>
                  </a:lnTo>
                  <a:lnTo>
                    <a:pt x="694" y="148"/>
                  </a:lnTo>
                  <a:lnTo>
                    <a:pt x="698" y="148"/>
                  </a:lnTo>
                  <a:lnTo>
                    <a:pt x="698" y="152"/>
                  </a:lnTo>
                  <a:lnTo>
                    <a:pt x="694" y="152"/>
                  </a:lnTo>
                  <a:lnTo>
                    <a:pt x="690" y="156"/>
                  </a:lnTo>
                  <a:lnTo>
                    <a:pt x="694" y="156"/>
                  </a:lnTo>
                  <a:lnTo>
                    <a:pt x="698" y="156"/>
                  </a:lnTo>
                  <a:lnTo>
                    <a:pt x="698" y="160"/>
                  </a:lnTo>
                  <a:lnTo>
                    <a:pt x="694" y="160"/>
                  </a:lnTo>
                  <a:lnTo>
                    <a:pt x="694" y="164"/>
                  </a:lnTo>
                  <a:lnTo>
                    <a:pt x="690" y="164"/>
                  </a:lnTo>
                  <a:lnTo>
                    <a:pt x="686" y="164"/>
                  </a:lnTo>
                  <a:lnTo>
                    <a:pt x="682" y="164"/>
                  </a:lnTo>
                  <a:lnTo>
                    <a:pt x="678" y="164"/>
                  </a:lnTo>
                  <a:lnTo>
                    <a:pt x="674" y="168"/>
                  </a:lnTo>
                  <a:lnTo>
                    <a:pt x="674" y="164"/>
                  </a:lnTo>
                  <a:lnTo>
                    <a:pt x="670" y="164"/>
                  </a:lnTo>
                  <a:lnTo>
                    <a:pt x="670" y="168"/>
                  </a:lnTo>
                  <a:lnTo>
                    <a:pt x="674" y="164"/>
                  </a:lnTo>
                  <a:lnTo>
                    <a:pt x="674" y="168"/>
                  </a:lnTo>
                  <a:lnTo>
                    <a:pt x="670" y="168"/>
                  </a:lnTo>
                  <a:lnTo>
                    <a:pt x="666" y="168"/>
                  </a:lnTo>
                  <a:close/>
                  <a:moveTo>
                    <a:pt x="470" y="152"/>
                  </a:moveTo>
                  <a:lnTo>
                    <a:pt x="466" y="152"/>
                  </a:lnTo>
                  <a:lnTo>
                    <a:pt x="462" y="152"/>
                  </a:lnTo>
                  <a:lnTo>
                    <a:pt x="458" y="152"/>
                  </a:lnTo>
                  <a:lnTo>
                    <a:pt x="454" y="152"/>
                  </a:lnTo>
                  <a:lnTo>
                    <a:pt x="450" y="148"/>
                  </a:lnTo>
                  <a:lnTo>
                    <a:pt x="450" y="152"/>
                  </a:lnTo>
                  <a:lnTo>
                    <a:pt x="446" y="152"/>
                  </a:lnTo>
                  <a:lnTo>
                    <a:pt x="442" y="152"/>
                  </a:lnTo>
                  <a:lnTo>
                    <a:pt x="439" y="152"/>
                  </a:lnTo>
                  <a:lnTo>
                    <a:pt x="435" y="152"/>
                  </a:lnTo>
                  <a:lnTo>
                    <a:pt x="431" y="152"/>
                  </a:lnTo>
                  <a:lnTo>
                    <a:pt x="427" y="152"/>
                  </a:lnTo>
                  <a:lnTo>
                    <a:pt x="423" y="152"/>
                  </a:lnTo>
                  <a:lnTo>
                    <a:pt x="419" y="152"/>
                  </a:lnTo>
                  <a:lnTo>
                    <a:pt x="419" y="148"/>
                  </a:lnTo>
                  <a:lnTo>
                    <a:pt x="423" y="148"/>
                  </a:lnTo>
                  <a:lnTo>
                    <a:pt x="427" y="148"/>
                  </a:lnTo>
                  <a:lnTo>
                    <a:pt x="431" y="148"/>
                  </a:lnTo>
                  <a:lnTo>
                    <a:pt x="435" y="144"/>
                  </a:lnTo>
                  <a:lnTo>
                    <a:pt x="439" y="144"/>
                  </a:lnTo>
                  <a:lnTo>
                    <a:pt x="442" y="144"/>
                  </a:lnTo>
                  <a:lnTo>
                    <a:pt x="446" y="144"/>
                  </a:lnTo>
                  <a:lnTo>
                    <a:pt x="450" y="140"/>
                  </a:lnTo>
                  <a:lnTo>
                    <a:pt x="454" y="140"/>
                  </a:lnTo>
                  <a:lnTo>
                    <a:pt x="458" y="140"/>
                  </a:lnTo>
                  <a:lnTo>
                    <a:pt x="462" y="140"/>
                  </a:lnTo>
                  <a:lnTo>
                    <a:pt x="466" y="140"/>
                  </a:lnTo>
                  <a:lnTo>
                    <a:pt x="470" y="140"/>
                  </a:lnTo>
                  <a:lnTo>
                    <a:pt x="474" y="144"/>
                  </a:lnTo>
                  <a:lnTo>
                    <a:pt x="478" y="144"/>
                  </a:lnTo>
                  <a:lnTo>
                    <a:pt x="478" y="148"/>
                  </a:lnTo>
                  <a:lnTo>
                    <a:pt x="478" y="152"/>
                  </a:lnTo>
                  <a:lnTo>
                    <a:pt x="474" y="152"/>
                  </a:lnTo>
                  <a:lnTo>
                    <a:pt x="470" y="152"/>
                  </a:lnTo>
                  <a:close/>
                  <a:moveTo>
                    <a:pt x="702" y="152"/>
                  </a:moveTo>
                  <a:lnTo>
                    <a:pt x="706" y="156"/>
                  </a:lnTo>
                  <a:lnTo>
                    <a:pt x="702" y="156"/>
                  </a:lnTo>
                  <a:lnTo>
                    <a:pt x="702" y="152"/>
                  </a:lnTo>
                  <a:close/>
                  <a:moveTo>
                    <a:pt x="578" y="152"/>
                  </a:moveTo>
                  <a:lnTo>
                    <a:pt x="578" y="156"/>
                  </a:lnTo>
                  <a:lnTo>
                    <a:pt x="574" y="156"/>
                  </a:lnTo>
                  <a:lnTo>
                    <a:pt x="574" y="160"/>
                  </a:lnTo>
                  <a:lnTo>
                    <a:pt x="570" y="160"/>
                  </a:lnTo>
                  <a:lnTo>
                    <a:pt x="570" y="156"/>
                  </a:lnTo>
                  <a:lnTo>
                    <a:pt x="574" y="156"/>
                  </a:lnTo>
                  <a:lnTo>
                    <a:pt x="574" y="152"/>
                  </a:lnTo>
                  <a:lnTo>
                    <a:pt x="578" y="152"/>
                  </a:lnTo>
                  <a:close/>
                  <a:moveTo>
                    <a:pt x="470" y="160"/>
                  </a:moveTo>
                  <a:lnTo>
                    <a:pt x="474" y="160"/>
                  </a:lnTo>
                  <a:lnTo>
                    <a:pt x="474" y="164"/>
                  </a:lnTo>
                  <a:lnTo>
                    <a:pt x="470" y="164"/>
                  </a:lnTo>
                  <a:lnTo>
                    <a:pt x="466" y="164"/>
                  </a:lnTo>
                  <a:lnTo>
                    <a:pt x="462" y="164"/>
                  </a:lnTo>
                  <a:lnTo>
                    <a:pt x="458" y="164"/>
                  </a:lnTo>
                  <a:lnTo>
                    <a:pt x="454" y="164"/>
                  </a:lnTo>
                  <a:lnTo>
                    <a:pt x="454" y="168"/>
                  </a:lnTo>
                  <a:lnTo>
                    <a:pt x="458" y="168"/>
                  </a:lnTo>
                  <a:lnTo>
                    <a:pt x="462" y="168"/>
                  </a:lnTo>
                  <a:lnTo>
                    <a:pt x="466" y="168"/>
                  </a:lnTo>
                  <a:lnTo>
                    <a:pt x="466" y="171"/>
                  </a:lnTo>
                  <a:lnTo>
                    <a:pt x="466" y="175"/>
                  </a:lnTo>
                  <a:lnTo>
                    <a:pt x="462" y="175"/>
                  </a:lnTo>
                  <a:lnTo>
                    <a:pt x="462" y="179"/>
                  </a:lnTo>
                  <a:lnTo>
                    <a:pt x="454" y="179"/>
                  </a:lnTo>
                  <a:lnTo>
                    <a:pt x="450" y="179"/>
                  </a:lnTo>
                  <a:lnTo>
                    <a:pt x="446" y="179"/>
                  </a:lnTo>
                  <a:lnTo>
                    <a:pt x="442" y="179"/>
                  </a:lnTo>
                  <a:lnTo>
                    <a:pt x="439" y="183"/>
                  </a:lnTo>
                  <a:lnTo>
                    <a:pt x="435" y="183"/>
                  </a:lnTo>
                  <a:lnTo>
                    <a:pt x="431" y="179"/>
                  </a:lnTo>
                  <a:lnTo>
                    <a:pt x="427" y="179"/>
                  </a:lnTo>
                  <a:lnTo>
                    <a:pt x="423" y="175"/>
                  </a:lnTo>
                  <a:lnTo>
                    <a:pt x="419" y="175"/>
                  </a:lnTo>
                  <a:lnTo>
                    <a:pt x="423" y="171"/>
                  </a:lnTo>
                  <a:lnTo>
                    <a:pt x="419" y="168"/>
                  </a:lnTo>
                  <a:lnTo>
                    <a:pt x="419" y="164"/>
                  </a:lnTo>
                  <a:lnTo>
                    <a:pt x="423" y="164"/>
                  </a:lnTo>
                  <a:lnTo>
                    <a:pt x="427" y="164"/>
                  </a:lnTo>
                  <a:lnTo>
                    <a:pt x="431" y="164"/>
                  </a:lnTo>
                  <a:lnTo>
                    <a:pt x="431" y="160"/>
                  </a:lnTo>
                  <a:lnTo>
                    <a:pt x="435" y="160"/>
                  </a:lnTo>
                  <a:lnTo>
                    <a:pt x="439" y="160"/>
                  </a:lnTo>
                  <a:lnTo>
                    <a:pt x="442" y="160"/>
                  </a:lnTo>
                  <a:lnTo>
                    <a:pt x="446" y="160"/>
                  </a:lnTo>
                  <a:lnTo>
                    <a:pt x="450" y="160"/>
                  </a:lnTo>
                  <a:lnTo>
                    <a:pt x="454" y="160"/>
                  </a:lnTo>
                  <a:lnTo>
                    <a:pt x="458" y="160"/>
                  </a:lnTo>
                  <a:lnTo>
                    <a:pt x="462" y="160"/>
                  </a:lnTo>
                  <a:lnTo>
                    <a:pt x="466" y="160"/>
                  </a:lnTo>
                  <a:lnTo>
                    <a:pt x="470" y="160"/>
                  </a:lnTo>
                  <a:close/>
                  <a:moveTo>
                    <a:pt x="407" y="171"/>
                  </a:moveTo>
                  <a:lnTo>
                    <a:pt x="403" y="171"/>
                  </a:lnTo>
                  <a:lnTo>
                    <a:pt x="403" y="168"/>
                  </a:lnTo>
                  <a:lnTo>
                    <a:pt x="399" y="168"/>
                  </a:lnTo>
                  <a:lnTo>
                    <a:pt x="395" y="168"/>
                  </a:lnTo>
                  <a:lnTo>
                    <a:pt x="391" y="164"/>
                  </a:lnTo>
                  <a:lnTo>
                    <a:pt x="395" y="164"/>
                  </a:lnTo>
                  <a:lnTo>
                    <a:pt x="399" y="160"/>
                  </a:lnTo>
                  <a:lnTo>
                    <a:pt x="403" y="160"/>
                  </a:lnTo>
                  <a:lnTo>
                    <a:pt x="407" y="164"/>
                  </a:lnTo>
                  <a:lnTo>
                    <a:pt x="411" y="164"/>
                  </a:lnTo>
                  <a:lnTo>
                    <a:pt x="415" y="164"/>
                  </a:lnTo>
                  <a:lnTo>
                    <a:pt x="415" y="168"/>
                  </a:lnTo>
                  <a:lnTo>
                    <a:pt x="411" y="168"/>
                  </a:lnTo>
                  <a:lnTo>
                    <a:pt x="411" y="171"/>
                  </a:lnTo>
                  <a:lnTo>
                    <a:pt x="407" y="171"/>
                  </a:lnTo>
                  <a:close/>
                  <a:moveTo>
                    <a:pt x="594" y="164"/>
                  </a:moveTo>
                  <a:lnTo>
                    <a:pt x="598" y="164"/>
                  </a:lnTo>
                  <a:lnTo>
                    <a:pt x="598" y="168"/>
                  </a:lnTo>
                  <a:lnTo>
                    <a:pt x="602" y="168"/>
                  </a:lnTo>
                  <a:lnTo>
                    <a:pt x="606" y="168"/>
                  </a:lnTo>
                  <a:lnTo>
                    <a:pt x="606" y="171"/>
                  </a:lnTo>
                  <a:lnTo>
                    <a:pt x="602" y="171"/>
                  </a:lnTo>
                  <a:lnTo>
                    <a:pt x="598" y="171"/>
                  </a:lnTo>
                  <a:lnTo>
                    <a:pt x="594" y="171"/>
                  </a:lnTo>
                  <a:lnTo>
                    <a:pt x="590" y="171"/>
                  </a:lnTo>
                  <a:lnTo>
                    <a:pt x="586" y="171"/>
                  </a:lnTo>
                  <a:lnTo>
                    <a:pt x="582" y="168"/>
                  </a:lnTo>
                  <a:lnTo>
                    <a:pt x="582" y="164"/>
                  </a:lnTo>
                  <a:lnTo>
                    <a:pt x="586" y="164"/>
                  </a:lnTo>
                  <a:lnTo>
                    <a:pt x="590" y="164"/>
                  </a:lnTo>
                  <a:lnTo>
                    <a:pt x="594" y="164"/>
                  </a:lnTo>
                  <a:close/>
                  <a:moveTo>
                    <a:pt x="722" y="171"/>
                  </a:moveTo>
                  <a:lnTo>
                    <a:pt x="726" y="171"/>
                  </a:lnTo>
                  <a:lnTo>
                    <a:pt x="722" y="171"/>
                  </a:lnTo>
                  <a:lnTo>
                    <a:pt x="718" y="175"/>
                  </a:lnTo>
                  <a:lnTo>
                    <a:pt x="718" y="179"/>
                  </a:lnTo>
                  <a:lnTo>
                    <a:pt x="714" y="179"/>
                  </a:lnTo>
                  <a:lnTo>
                    <a:pt x="706" y="179"/>
                  </a:lnTo>
                  <a:lnTo>
                    <a:pt x="706" y="175"/>
                  </a:lnTo>
                  <a:lnTo>
                    <a:pt x="698" y="175"/>
                  </a:lnTo>
                  <a:lnTo>
                    <a:pt x="694" y="175"/>
                  </a:lnTo>
                  <a:lnTo>
                    <a:pt x="694" y="179"/>
                  </a:lnTo>
                  <a:lnTo>
                    <a:pt x="690" y="175"/>
                  </a:lnTo>
                  <a:lnTo>
                    <a:pt x="686" y="175"/>
                  </a:lnTo>
                  <a:lnTo>
                    <a:pt x="682" y="175"/>
                  </a:lnTo>
                  <a:lnTo>
                    <a:pt x="678" y="175"/>
                  </a:lnTo>
                  <a:lnTo>
                    <a:pt x="674" y="171"/>
                  </a:lnTo>
                  <a:lnTo>
                    <a:pt x="678" y="171"/>
                  </a:lnTo>
                  <a:lnTo>
                    <a:pt x="678" y="168"/>
                  </a:lnTo>
                  <a:lnTo>
                    <a:pt x="682" y="168"/>
                  </a:lnTo>
                  <a:lnTo>
                    <a:pt x="686" y="168"/>
                  </a:lnTo>
                  <a:lnTo>
                    <a:pt x="690" y="168"/>
                  </a:lnTo>
                  <a:lnTo>
                    <a:pt x="694" y="168"/>
                  </a:lnTo>
                  <a:lnTo>
                    <a:pt x="698" y="168"/>
                  </a:lnTo>
                  <a:lnTo>
                    <a:pt x="702" y="168"/>
                  </a:lnTo>
                  <a:lnTo>
                    <a:pt x="706" y="168"/>
                  </a:lnTo>
                  <a:lnTo>
                    <a:pt x="710" y="168"/>
                  </a:lnTo>
                  <a:lnTo>
                    <a:pt x="714" y="168"/>
                  </a:lnTo>
                  <a:lnTo>
                    <a:pt x="718" y="168"/>
                  </a:lnTo>
                  <a:lnTo>
                    <a:pt x="722" y="168"/>
                  </a:lnTo>
                  <a:lnTo>
                    <a:pt x="722" y="171"/>
                  </a:lnTo>
                  <a:close/>
                  <a:moveTo>
                    <a:pt x="534" y="168"/>
                  </a:moveTo>
                  <a:lnTo>
                    <a:pt x="538" y="171"/>
                  </a:lnTo>
                  <a:lnTo>
                    <a:pt x="542" y="171"/>
                  </a:lnTo>
                  <a:lnTo>
                    <a:pt x="542" y="175"/>
                  </a:lnTo>
                  <a:lnTo>
                    <a:pt x="546" y="175"/>
                  </a:lnTo>
                  <a:lnTo>
                    <a:pt x="546" y="179"/>
                  </a:lnTo>
                  <a:lnTo>
                    <a:pt x="542" y="179"/>
                  </a:lnTo>
                  <a:lnTo>
                    <a:pt x="546" y="179"/>
                  </a:lnTo>
                  <a:lnTo>
                    <a:pt x="550" y="179"/>
                  </a:lnTo>
                  <a:lnTo>
                    <a:pt x="550" y="183"/>
                  </a:lnTo>
                  <a:lnTo>
                    <a:pt x="554" y="183"/>
                  </a:lnTo>
                  <a:lnTo>
                    <a:pt x="554" y="187"/>
                  </a:lnTo>
                  <a:lnTo>
                    <a:pt x="550" y="187"/>
                  </a:lnTo>
                  <a:lnTo>
                    <a:pt x="546" y="187"/>
                  </a:lnTo>
                  <a:lnTo>
                    <a:pt x="542" y="187"/>
                  </a:lnTo>
                  <a:lnTo>
                    <a:pt x="538" y="183"/>
                  </a:lnTo>
                  <a:lnTo>
                    <a:pt x="534" y="183"/>
                  </a:lnTo>
                  <a:lnTo>
                    <a:pt x="534" y="179"/>
                  </a:lnTo>
                  <a:lnTo>
                    <a:pt x="534" y="175"/>
                  </a:lnTo>
                  <a:lnTo>
                    <a:pt x="530" y="171"/>
                  </a:lnTo>
                  <a:lnTo>
                    <a:pt x="526" y="171"/>
                  </a:lnTo>
                  <a:lnTo>
                    <a:pt x="526" y="168"/>
                  </a:lnTo>
                  <a:lnTo>
                    <a:pt x="530" y="168"/>
                  </a:lnTo>
                  <a:lnTo>
                    <a:pt x="534" y="168"/>
                  </a:lnTo>
                  <a:close/>
                  <a:moveTo>
                    <a:pt x="766" y="183"/>
                  </a:moveTo>
                  <a:lnTo>
                    <a:pt x="762" y="183"/>
                  </a:lnTo>
                  <a:lnTo>
                    <a:pt x="758" y="183"/>
                  </a:lnTo>
                  <a:lnTo>
                    <a:pt x="754" y="179"/>
                  </a:lnTo>
                  <a:lnTo>
                    <a:pt x="754" y="175"/>
                  </a:lnTo>
                  <a:lnTo>
                    <a:pt x="754" y="171"/>
                  </a:lnTo>
                  <a:lnTo>
                    <a:pt x="758" y="171"/>
                  </a:lnTo>
                  <a:lnTo>
                    <a:pt x="762" y="171"/>
                  </a:lnTo>
                  <a:lnTo>
                    <a:pt x="766" y="171"/>
                  </a:lnTo>
                  <a:lnTo>
                    <a:pt x="770" y="171"/>
                  </a:lnTo>
                  <a:lnTo>
                    <a:pt x="770" y="175"/>
                  </a:lnTo>
                  <a:lnTo>
                    <a:pt x="774" y="175"/>
                  </a:lnTo>
                  <a:lnTo>
                    <a:pt x="778" y="179"/>
                  </a:lnTo>
                  <a:lnTo>
                    <a:pt x="778" y="183"/>
                  </a:lnTo>
                  <a:lnTo>
                    <a:pt x="774" y="183"/>
                  </a:lnTo>
                  <a:lnTo>
                    <a:pt x="770" y="183"/>
                  </a:lnTo>
                  <a:lnTo>
                    <a:pt x="766" y="183"/>
                  </a:lnTo>
                  <a:close/>
                  <a:moveTo>
                    <a:pt x="315" y="227"/>
                  </a:moveTo>
                  <a:lnTo>
                    <a:pt x="315" y="223"/>
                  </a:lnTo>
                  <a:lnTo>
                    <a:pt x="315" y="227"/>
                  </a:lnTo>
                  <a:lnTo>
                    <a:pt x="311" y="227"/>
                  </a:lnTo>
                  <a:lnTo>
                    <a:pt x="311" y="223"/>
                  </a:lnTo>
                  <a:lnTo>
                    <a:pt x="311" y="219"/>
                  </a:lnTo>
                  <a:lnTo>
                    <a:pt x="307" y="219"/>
                  </a:lnTo>
                  <a:lnTo>
                    <a:pt x="307" y="223"/>
                  </a:lnTo>
                  <a:lnTo>
                    <a:pt x="307" y="219"/>
                  </a:lnTo>
                  <a:lnTo>
                    <a:pt x="307" y="215"/>
                  </a:lnTo>
                  <a:lnTo>
                    <a:pt x="303" y="215"/>
                  </a:lnTo>
                  <a:lnTo>
                    <a:pt x="303" y="219"/>
                  </a:lnTo>
                  <a:lnTo>
                    <a:pt x="303" y="223"/>
                  </a:lnTo>
                  <a:lnTo>
                    <a:pt x="303" y="219"/>
                  </a:lnTo>
                  <a:lnTo>
                    <a:pt x="299" y="219"/>
                  </a:lnTo>
                  <a:lnTo>
                    <a:pt x="299" y="223"/>
                  </a:lnTo>
                  <a:lnTo>
                    <a:pt x="295" y="223"/>
                  </a:lnTo>
                  <a:lnTo>
                    <a:pt x="295" y="219"/>
                  </a:lnTo>
                  <a:lnTo>
                    <a:pt x="291" y="219"/>
                  </a:lnTo>
                  <a:lnTo>
                    <a:pt x="283" y="219"/>
                  </a:lnTo>
                  <a:lnTo>
                    <a:pt x="283" y="223"/>
                  </a:lnTo>
                  <a:lnTo>
                    <a:pt x="279" y="223"/>
                  </a:lnTo>
                  <a:lnTo>
                    <a:pt x="275" y="223"/>
                  </a:lnTo>
                  <a:lnTo>
                    <a:pt x="279" y="223"/>
                  </a:lnTo>
                  <a:lnTo>
                    <a:pt x="279" y="219"/>
                  </a:lnTo>
                  <a:lnTo>
                    <a:pt x="279" y="215"/>
                  </a:lnTo>
                  <a:lnTo>
                    <a:pt x="279" y="219"/>
                  </a:lnTo>
                  <a:lnTo>
                    <a:pt x="275" y="219"/>
                  </a:lnTo>
                  <a:lnTo>
                    <a:pt x="279" y="215"/>
                  </a:lnTo>
                  <a:lnTo>
                    <a:pt x="275" y="215"/>
                  </a:lnTo>
                  <a:lnTo>
                    <a:pt x="275" y="219"/>
                  </a:lnTo>
                  <a:lnTo>
                    <a:pt x="271" y="219"/>
                  </a:lnTo>
                  <a:lnTo>
                    <a:pt x="271" y="215"/>
                  </a:lnTo>
                  <a:lnTo>
                    <a:pt x="275" y="215"/>
                  </a:lnTo>
                  <a:lnTo>
                    <a:pt x="279" y="211"/>
                  </a:lnTo>
                  <a:lnTo>
                    <a:pt x="283" y="207"/>
                  </a:lnTo>
                  <a:lnTo>
                    <a:pt x="287" y="207"/>
                  </a:lnTo>
                  <a:lnTo>
                    <a:pt x="291" y="207"/>
                  </a:lnTo>
                  <a:lnTo>
                    <a:pt x="295" y="207"/>
                  </a:lnTo>
                  <a:lnTo>
                    <a:pt x="299" y="203"/>
                  </a:lnTo>
                  <a:lnTo>
                    <a:pt x="299" y="199"/>
                  </a:lnTo>
                  <a:lnTo>
                    <a:pt x="303" y="199"/>
                  </a:lnTo>
                  <a:lnTo>
                    <a:pt x="307" y="199"/>
                  </a:lnTo>
                  <a:lnTo>
                    <a:pt x="311" y="195"/>
                  </a:lnTo>
                  <a:lnTo>
                    <a:pt x="315" y="191"/>
                  </a:lnTo>
                  <a:lnTo>
                    <a:pt x="319" y="191"/>
                  </a:lnTo>
                  <a:lnTo>
                    <a:pt x="319" y="187"/>
                  </a:lnTo>
                  <a:lnTo>
                    <a:pt x="323" y="187"/>
                  </a:lnTo>
                  <a:lnTo>
                    <a:pt x="327" y="187"/>
                  </a:lnTo>
                  <a:lnTo>
                    <a:pt x="327" y="183"/>
                  </a:lnTo>
                  <a:lnTo>
                    <a:pt x="331" y="183"/>
                  </a:lnTo>
                  <a:lnTo>
                    <a:pt x="335" y="183"/>
                  </a:lnTo>
                  <a:lnTo>
                    <a:pt x="335" y="179"/>
                  </a:lnTo>
                  <a:lnTo>
                    <a:pt x="339" y="179"/>
                  </a:lnTo>
                  <a:lnTo>
                    <a:pt x="343" y="179"/>
                  </a:lnTo>
                  <a:lnTo>
                    <a:pt x="347" y="179"/>
                  </a:lnTo>
                  <a:lnTo>
                    <a:pt x="351" y="179"/>
                  </a:lnTo>
                  <a:lnTo>
                    <a:pt x="355" y="183"/>
                  </a:lnTo>
                  <a:lnTo>
                    <a:pt x="359" y="183"/>
                  </a:lnTo>
                  <a:lnTo>
                    <a:pt x="363" y="183"/>
                  </a:lnTo>
                  <a:lnTo>
                    <a:pt x="363" y="179"/>
                  </a:lnTo>
                  <a:lnTo>
                    <a:pt x="359" y="179"/>
                  </a:lnTo>
                  <a:lnTo>
                    <a:pt x="363" y="179"/>
                  </a:lnTo>
                  <a:lnTo>
                    <a:pt x="363" y="183"/>
                  </a:lnTo>
                  <a:lnTo>
                    <a:pt x="367" y="183"/>
                  </a:lnTo>
                  <a:lnTo>
                    <a:pt x="367" y="179"/>
                  </a:lnTo>
                  <a:lnTo>
                    <a:pt x="363" y="179"/>
                  </a:lnTo>
                  <a:lnTo>
                    <a:pt x="359" y="179"/>
                  </a:lnTo>
                  <a:lnTo>
                    <a:pt x="363" y="175"/>
                  </a:lnTo>
                  <a:lnTo>
                    <a:pt x="367" y="175"/>
                  </a:lnTo>
                  <a:lnTo>
                    <a:pt x="363" y="175"/>
                  </a:lnTo>
                  <a:lnTo>
                    <a:pt x="367" y="175"/>
                  </a:lnTo>
                  <a:lnTo>
                    <a:pt x="371" y="175"/>
                  </a:lnTo>
                  <a:lnTo>
                    <a:pt x="375" y="175"/>
                  </a:lnTo>
                  <a:lnTo>
                    <a:pt x="379" y="179"/>
                  </a:lnTo>
                  <a:lnTo>
                    <a:pt x="387" y="179"/>
                  </a:lnTo>
                  <a:lnTo>
                    <a:pt x="387" y="183"/>
                  </a:lnTo>
                  <a:lnTo>
                    <a:pt x="383" y="183"/>
                  </a:lnTo>
                  <a:lnTo>
                    <a:pt x="379" y="183"/>
                  </a:lnTo>
                  <a:lnTo>
                    <a:pt x="375" y="187"/>
                  </a:lnTo>
                  <a:lnTo>
                    <a:pt x="375" y="191"/>
                  </a:lnTo>
                  <a:lnTo>
                    <a:pt x="379" y="191"/>
                  </a:lnTo>
                  <a:lnTo>
                    <a:pt x="383" y="191"/>
                  </a:lnTo>
                  <a:lnTo>
                    <a:pt x="383" y="195"/>
                  </a:lnTo>
                  <a:lnTo>
                    <a:pt x="379" y="195"/>
                  </a:lnTo>
                  <a:lnTo>
                    <a:pt x="375" y="195"/>
                  </a:lnTo>
                  <a:lnTo>
                    <a:pt x="375" y="191"/>
                  </a:lnTo>
                  <a:lnTo>
                    <a:pt x="371" y="191"/>
                  </a:lnTo>
                  <a:lnTo>
                    <a:pt x="371" y="195"/>
                  </a:lnTo>
                  <a:lnTo>
                    <a:pt x="375" y="195"/>
                  </a:lnTo>
                  <a:lnTo>
                    <a:pt x="379" y="195"/>
                  </a:lnTo>
                  <a:lnTo>
                    <a:pt x="379" y="199"/>
                  </a:lnTo>
                  <a:lnTo>
                    <a:pt x="379" y="203"/>
                  </a:lnTo>
                  <a:lnTo>
                    <a:pt x="375" y="203"/>
                  </a:lnTo>
                  <a:lnTo>
                    <a:pt x="371" y="203"/>
                  </a:lnTo>
                  <a:lnTo>
                    <a:pt x="367" y="203"/>
                  </a:lnTo>
                  <a:lnTo>
                    <a:pt x="363" y="203"/>
                  </a:lnTo>
                  <a:lnTo>
                    <a:pt x="363" y="207"/>
                  </a:lnTo>
                  <a:lnTo>
                    <a:pt x="363" y="211"/>
                  </a:lnTo>
                  <a:lnTo>
                    <a:pt x="359" y="211"/>
                  </a:lnTo>
                  <a:lnTo>
                    <a:pt x="355" y="211"/>
                  </a:lnTo>
                  <a:lnTo>
                    <a:pt x="351" y="211"/>
                  </a:lnTo>
                  <a:lnTo>
                    <a:pt x="347" y="207"/>
                  </a:lnTo>
                  <a:lnTo>
                    <a:pt x="347" y="203"/>
                  </a:lnTo>
                  <a:lnTo>
                    <a:pt x="347" y="199"/>
                  </a:lnTo>
                  <a:lnTo>
                    <a:pt x="351" y="199"/>
                  </a:lnTo>
                  <a:lnTo>
                    <a:pt x="351" y="195"/>
                  </a:lnTo>
                  <a:lnTo>
                    <a:pt x="347" y="199"/>
                  </a:lnTo>
                  <a:lnTo>
                    <a:pt x="343" y="199"/>
                  </a:lnTo>
                  <a:lnTo>
                    <a:pt x="339" y="199"/>
                  </a:lnTo>
                  <a:lnTo>
                    <a:pt x="343" y="199"/>
                  </a:lnTo>
                  <a:lnTo>
                    <a:pt x="343" y="203"/>
                  </a:lnTo>
                  <a:lnTo>
                    <a:pt x="339" y="207"/>
                  </a:lnTo>
                  <a:lnTo>
                    <a:pt x="335" y="203"/>
                  </a:lnTo>
                  <a:lnTo>
                    <a:pt x="335" y="207"/>
                  </a:lnTo>
                  <a:lnTo>
                    <a:pt x="339" y="207"/>
                  </a:lnTo>
                  <a:lnTo>
                    <a:pt x="339" y="211"/>
                  </a:lnTo>
                  <a:lnTo>
                    <a:pt x="335" y="211"/>
                  </a:lnTo>
                  <a:lnTo>
                    <a:pt x="335" y="215"/>
                  </a:lnTo>
                  <a:lnTo>
                    <a:pt x="331" y="219"/>
                  </a:lnTo>
                  <a:lnTo>
                    <a:pt x="327" y="219"/>
                  </a:lnTo>
                  <a:lnTo>
                    <a:pt x="327" y="215"/>
                  </a:lnTo>
                  <a:lnTo>
                    <a:pt x="323" y="211"/>
                  </a:lnTo>
                  <a:lnTo>
                    <a:pt x="323" y="215"/>
                  </a:lnTo>
                  <a:lnTo>
                    <a:pt x="323" y="219"/>
                  </a:lnTo>
                  <a:lnTo>
                    <a:pt x="319" y="219"/>
                  </a:lnTo>
                  <a:lnTo>
                    <a:pt x="323" y="219"/>
                  </a:lnTo>
                  <a:lnTo>
                    <a:pt x="327" y="219"/>
                  </a:lnTo>
                  <a:lnTo>
                    <a:pt x="327" y="223"/>
                  </a:lnTo>
                  <a:lnTo>
                    <a:pt x="323" y="223"/>
                  </a:lnTo>
                  <a:lnTo>
                    <a:pt x="323" y="219"/>
                  </a:lnTo>
                  <a:lnTo>
                    <a:pt x="323" y="223"/>
                  </a:lnTo>
                  <a:lnTo>
                    <a:pt x="319" y="223"/>
                  </a:lnTo>
                  <a:lnTo>
                    <a:pt x="319" y="227"/>
                  </a:lnTo>
                  <a:lnTo>
                    <a:pt x="315" y="227"/>
                  </a:lnTo>
                  <a:close/>
                  <a:moveTo>
                    <a:pt x="754" y="183"/>
                  </a:moveTo>
                  <a:lnTo>
                    <a:pt x="758" y="183"/>
                  </a:lnTo>
                  <a:lnTo>
                    <a:pt x="762" y="183"/>
                  </a:lnTo>
                  <a:lnTo>
                    <a:pt x="762" y="187"/>
                  </a:lnTo>
                  <a:lnTo>
                    <a:pt x="758" y="187"/>
                  </a:lnTo>
                  <a:lnTo>
                    <a:pt x="754" y="187"/>
                  </a:lnTo>
                  <a:lnTo>
                    <a:pt x="754" y="183"/>
                  </a:lnTo>
                  <a:close/>
                  <a:moveTo>
                    <a:pt x="690" y="183"/>
                  </a:moveTo>
                  <a:lnTo>
                    <a:pt x="694" y="183"/>
                  </a:lnTo>
                  <a:lnTo>
                    <a:pt x="694" y="187"/>
                  </a:lnTo>
                  <a:lnTo>
                    <a:pt x="690" y="187"/>
                  </a:lnTo>
                  <a:lnTo>
                    <a:pt x="686" y="183"/>
                  </a:lnTo>
                  <a:lnTo>
                    <a:pt x="690" y="183"/>
                  </a:lnTo>
                  <a:close/>
                  <a:moveTo>
                    <a:pt x="558" y="187"/>
                  </a:moveTo>
                  <a:lnTo>
                    <a:pt x="554" y="187"/>
                  </a:lnTo>
                  <a:lnTo>
                    <a:pt x="558" y="187"/>
                  </a:lnTo>
                  <a:close/>
                  <a:moveTo>
                    <a:pt x="411" y="187"/>
                  </a:moveTo>
                  <a:lnTo>
                    <a:pt x="415" y="187"/>
                  </a:lnTo>
                  <a:lnTo>
                    <a:pt x="411" y="187"/>
                  </a:lnTo>
                  <a:close/>
                  <a:moveTo>
                    <a:pt x="917" y="251"/>
                  </a:moveTo>
                  <a:lnTo>
                    <a:pt x="921" y="251"/>
                  </a:lnTo>
                  <a:lnTo>
                    <a:pt x="917" y="251"/>
                  </a:lnTo>
                  <a:lnTo>
                    <a:pt x="921" y="251"/>
                  </a:lnTo>
                  <a:lnTo>
                    <a:pt x="925" y="251"/>
                  </a:lnTo>
                  <a:lnTo>
                    <a:pt x="929" y="251"/>
                  </a:lnTo>
                  <a:lnTo>
                    <a:pt x="933" y="251"/>
                  </a:lnTo>
                  <a:lnTo>
                    <a:pt x="933" y="255"/>
                  </a:lnTo>
                  <a:lnTo>
                    <a:pt x="929" y="255"/>
                  </a:lnTo>
                  <a:lnTo>
                    <a:pt x="925" y="255"/>
                  </a:lnTo>
                  <a:lnTo>
                    <a:pt x="921" y="255"/>
                  </a:lnTo>
                  <a:lnTo>
                    <a:pt x="917" y="255"/>
                  </a:lnTo>
                  <a:lnTo>
                    <a:pt x="917" y="251"/>
                  </a:lnTo>
                  <a:lnTo>
                    <a:pt x="917" y="255"/>
                  </a:lnTo>
                  <a:lnTo>
                    <a:pt x="921" y="255"/>
                  </a:lnTo>
                  <a:lnTo>
                    <a:pt x="921" y="259"/>
                  </a:lnTo>
                  <a:lnTo>
                    <a:pt x="921" y="263"/>
                  </a:lnTo>
                  <a:lnTo>
                    <a:pt x="917" y="263"/>
                  </a:lnTo>
                  <a:lnTo>
                    <a:pt x="913" y="263"/>
                  </a:lnTo>
                  <a:lnTo>
                    <a:pt x="909" y="263"/>
                  </a:lnTo>
                  <a:lnTo>
                    <a:pt x="905" y="263"/>
                  </a:lnTo>
                  <a:lnTo>
                    <a:pt x="901" y="263"/>
                  </a:lnTo>
                  <a:lnTo>
                    <a:pt x="897" y="263"/>
                  </a:lnTo>
                  <a:lnTo>
                    <a:pt x="897" y="267"/>
                  </a:lnTo>
                  <a:lnTo>
                    <a:pt x="893" y="267"/>
                  </a:lnTo>
                  <a:lnTo>
                    <a:pt x="889" y="263"/>
                  </a:lnTo>
                  <a:lnTo>
                    <a:pt x="885" y="263"/>
                  </a:lnTo>
                  <a:lnTo>
                    <a:pt x="881" y="263"/>
                  </a:lnTo>
                  <a:lnTo>
                    <a:pt x="877" y="263"/>
                  </a:lnTo>
                  <a:lnTo>
                    <a:pt x="877" y="259"/>
                  </a:lnTo>
                  <a:lnTo>
                    <a:pt x="877" y="255"/>
                  </a:lnTo>
                  <a:lnTo>
                    <a:pt x="873" y="255"/>
                  </a:lnTo>
                  <a:lnTo>
                    <a:pt x="869" y="251"/>
                  </a:lnTo>
                  <a:lnTo>
                    <a:pt x="869" y="255"/>
                  </a:lnTo>
                  <a:lnTo>
                    <a:pt x="873" y="255"/>
                  </a:lnTo>
                  <a:lnTo>
                    <a:pt x="873" y="259"/>
                  </a:lnTo>
                  <a:lnTo>
                    <a:pt x="869" y="263"/>
                  </a:lnTo>
                  <a:lnTo>
                    <a:pt x="865" y="263"/>
                  </a:lnTo>
                  <a:lnTo>
                    <a:pt x="861" y="263"/>
                  </a:lnTo>
                  <a:lnTo>
                    <a:pt x="857" y="263"/>
                  </a:lnTo>
                  <a:lnTo>
                    <a:pt x="853" y="263"/>
                  </a:lnTo>
                  <a:lnTo>
                    <a:pt x="849" y="263"/>
                  </a:lnTo>
                  <a:lnTo>
                    <a:pt x="845" y="263"/>
                  </a:lnTo>
                  <a:lnTo>
                    <a:pt x="849" y="259"/>
                  </a:lnTo>
                  <a:lnTo>
                    <a:pt x="845" y="259"/>
                  </a:lnTo>
                  <a:lnTo>
                    <a:pt x="845" y="263"/>
                  </a:lnTo>
                  <a:lnTo>
                    <a:pt x="841" y="263"/>
                  </a:lnTo>
                  <a:lnTo>
                    <a:pt x="841" y="259"/>
                  </a:lnTo>
                  <a:lnTo>
                    <a:pt x="837" y="259"/>
                  </a:lnTo>
                  <a:lnTo>
                    <a:pt x="837" y="263"/>
                  </a:lnTo>
                  <a:lnTo>
                    <a:pt x="841" y="263"/>
                  </a:lnTo>
                  <a:lnTo>
                    <a:pt x="837" y="263"/>
                  </a:lnTo>
                  <a:lnTo>
                    <a:pt x="833" y="263"/>
                  </a:lnTo>
                  <a:lnTo>
                    <a:pt x="829" y="263"/>
                  </a:lnTo>
                  <a:lnTo>
                    <a:pt x="825" y="263"/>
                  </a:lnTo>
                  <a:lnTo>
                    <a:pt x="821" y="263"/>
                  </a:lnTo>
                  <a:lnTo>
                    <a:pt x="821" y="259"/>
                  </a:lnTo>
                  <a:lnTo>
                    <a:pt x="821" y="263"/>
                  </a:lnTo>
                  <a:lnTo>
                    <a:pt x="821" y="267"/>
                  </a:lnTo>
                  <a:lnTo>
                    <a:pt x="817" y="267"/>
                  </a:lnTo>
                  <a:lnTo>
                    <a:pt x="813" y="267"/>
                  </a:lnTo>
                  <a:lnTo>
                    <a:pt x="813" y="263"/>
                  </a:lnTo>
                  <a:lnTo>
                    <a:pt x="809" y="267"/>
                  </a:lnTo>
                  <a:lnTo>
                    <a:pt x="805" y="267"/>
                  </a:lnTo>
                  <a:lnTo>
                    <a:pt x="805" y="263"/>
                  </a:lnTo>
                  <a:lnTo>
                    <a:pt x="805" y="267"/>
                  </a:lnTo>
                  <a:lnTo>
                    <a:pt x="801" y="267"/>
                  </a:lnTo>
                  <a:lnTo>
                    <a:pt x="797" y="263"/>
                  </a:lnTo>
                  <a:lnTo>
                    <a:pt x="794" y="263"/>
                  </a:lnTo>
                  <a:lnTo>
                    <a:pt x="797" y="259"/>
                  </a:lnTo>
                  <a:lnTo>
                    <a:pt x="797" y="255"/>
                  </a:lnTo>
                  <a:lnTo>
                    <a:pt x="794" y="255"/>
                  </a:lnTo>
                  <a:lnTo>
                    <a:pt x="794" y="251"/>
                  </a:lnTo>
                  <a:lnTo>
                    <a:pt x="794" y="255"/>
                  </a:lnTo>
                  <a:lnTo>
                    <a:pt x="790" y="255"/>
                  </a:lnTo>
                  <a:lnTo>
                    <a:pt x="790" y="259"/>
                  </a:lnTo>
                  <a:lnTo>
                    <a:pt x="790" y="255"/>
                  </a:lnTo>
                  <a:lnTo>
                    <a:pt x="786" y="255"/>
                  </a:lnTo>
                  <a:lnTo>
                    <a:pt x="786" y="259"/>
                  </a:lnTo>
                  <a:lnTo>
                    <a:pt x="782" y="259"/>
                  </a:lnTo>
                  <a:lnTo>
                    <a:pt x="782" y="255"/>
                  </a:lnTo>
                  <a:lnTo>
                    <a:pt x="782" y="259"/>
                  </a:lnTo>
                  <a:lnTo>
                    <a:pt x="786" y="259"/>
                  </a:lnTo>
                  <a:lnTo>
                    <a:pt x="786" y="263"/>
                  </a:lnTo>
                  <a:lnTo>
                    <a:pt x="782" y="263"/>
                  </a:lnTo>
                  <a:lnTo>
                    <a:pt x="778" y="263"/>
                  </a:lnTo>
                  <a:lnTo>
                    <a:pt x="774" y="263"/>
                  </a:lnTo>
                  <a:lnTo>
                    <a:pt x="770" y="263"/>
                  </a:lnTo>
                  <a:lnTo>
                    <a:pt x="766" y="263"/>
                  </a:lnTo>
                  <a:lnTo>
                    <a:pt x="762" y="263"/>
                  </a:lnTo>
                  <a:lnTo>
                    <a:pt x="762" y="259"/>
                  </a:lnTo>
                  <a:lnTo>
                    <a:pt x="758" y="259"/>
                  </a:lnTo>
                  <a:lnTo>
                    <a:pt x="758" y="255"/>
                  </a:lnTo>
                  <a:lnTo>
                    <a:pt x="762" y="255"/>
                  </a:lnTo>
                  <a:lnTo>
                    <a:pt x="758" y="255"/>
                  </a:lnTo>
                  <a:lnTo>
                    <a:pt x="754" y="255"/>
                  </a:lnTo>
                  <a:lnTo>
                    <a:pt x="754" y="259"/>
                  </a:lnTo>
                  <a:lnTo>
                    <a:pt x="754" y="255"/>
                  </a:lnTo>
                  <a:lnTo>
                    <a:pt x="754" y="259"/>
                  </a:lnTo>
                  <a:lnTo>
                    <a:pt x="750" y="259"/>
                  </a:lnTo>
                  <a:lnTo>
                    <a:pt x="746" y="259"/>
                  </a:lnTo>
                  <a:lnTo>
                    <a:pt x="742" y="259"/>
                  </a:lnTo>
                  <a:lnTo>
                    <a:pt x="742" y="255"/>
                  </a:lnTo>
                  <a:lnTo>
                    <a:pt x="742" y="251"/>
                  </a:lnTo>
                  <a:lnTo>
                    <a:pt x="738" y="251"/>
                  </a:lnTo>
                  <a:lnTo>
                    <a:pt x="738" y="247"/>
                  </a:lnTo>
                  <a:lnTo>
                    <a:pt x="742" y="247"/>
                  </a:lnTo>
                  <a:lnTo>
                    <a:pt x="738" y="247"/>
                  </a:lnTo>
                  <a:lnTo>
                    <a:pt x="734" y="243"/>
                  </a:lnTo>
                  <a:lnTo>
                    <a:pt x="734" y="239"/>
                  </a:lnTo>
                  <a:lnTo>
                    <a:pt x="734" y="235"/>
                  </a:lnTo>
                  <a:lnTo>
                    <a:pt x="738" y="235"/>
                  </a:lnTo>
                  <a:lnTo>
                    <a:pt x="742" y="235"/>
                  </a:lnTo>
                  <a:lnTo>
                    <a:pt x="742" y="231"/>
                  </a:lnTo>
                  <a:lnTo>
                    <a:pt x="738" y="227"/>
                  </a:lnTo>
                  <a:lnTo>
                    <a:pt x="738" y="223"/>
                  </a:lnTo>
                  <a:lnTo>
                    <a:pt x="734" y="223"/>
                  </a:lnTo>
                  <a:lnTo>
                    <a:pt x="734" y="219"/>
                  </a:lnTo>
                  <a:lnTo>
                    <a:pt x="730" y="219"/>
                  </a:lnTo>
                  <a:lnTo>
                    <a:pt x="730" y="215"/>
                  </a:lnTo>
                  <a:lnTo>
                    <a:pt x="726" y="215"/>
                  </a:lnTo>
                  <a:lnTo>
                    <a:pt x="726" y="211"/>
                  </a:lnTo>
                  <a:lnTo>
                    <a:pt x="722" y="211"/>
                  </a:lnTo>
                  <a:lnTo>
                    <a:pt x="718" y="211"/>
                  </a:lnTo>
                  <a:lnTo>
                    <a:pt x="714" y="211"/>
                  </a:lnTo>
                  <a:lnTo>
                    <a:pt x="714" y="215"/>
                  </a:lnTo>
                  <a:lnTo>
                    <a:pt x="710" y="211"/>
                  </a:lnTo>
                  <a:lnTo>
                    <a:pt x="706" y="211"/>
                  </a:lnTo>
                  <a:lnTo>
                    <a:pt x="702" y="211"/>
                  </a:lnTo>
                  <a:lnTo>
                    <a:pt x="698" y="211"/>
                  </a:lnTo>
                  <a:lnTo>
                    <a:pt x="694" y="215"/>
                  </a:lnTo>
                  <a:lnTo>
                    <a:pt x="690" y="215"/>
                  </a:lnTo>
                  <a:lnTo>
                    <a:pt x="690" y="211"/>
                  </a:lnTo>
                  <a:lnTo>
                    <a:pt x="694" y="211"/>
                  </a:lnTo>
                  <a:lnTo>
                    <a:pt x="698" y="211"/>
                  </a:lnTo>
                  <a:lnTo>
                    <a:pt x="694" y="211"/>
                  </a:lnTo>
                  <a:lnTo>
                    <a:pt x="690" y="211"/>
                  </a:lnTo>
                  <a:lnTo>
                    <a:pt x="686" y="211"/>
                  </a:lnTo>
                  <a:lnTo>
                    <a:pt x="686" y="207"/>
                  </a:lnTo>
                  <a:lnTo>
                    <a:pt x="682" y="207"/>
                  </a:lnTo>
                  <a:lnTo>
                    <a:pt x="678" y="207"/>
                  </a:lnTo>
                  <a:lnTo>
                    <a:pt x="682" y="207"/>
                  </a:lnTo>
                  <a:lnTo>
                    <a:pt x="686" y="207"/>
                  </a:lnTo>
                  <a:lnTo>
                    <a:pt x="686" y="203"/>
                  </a:lnTo>
                  <a:lnTo>
                    <a:pt x="682" y="203"/>
                  </a:lnTo>
                  <a:lnTo>
                    <a:pt x="678" y="203"/>
                  </a:lnTo>
                  <a:lnTo>
                    <a:pt x="674" y="203"/>
                  </a:lnTo>
                  <a:lnTo>
                    <a:pt x="674" y="199"/>
                  </a:lnTo>
                  <a:lnTo>
                    <a:pt x="670" y="199"/>
                  </a:lnTo>
                  <a:lnTo>
                    <a:pt x="666" y="199"/>
                  </a:lnTo>
                  <a:lnTo>
                    <a:pt x="666" y="195"/>
                  </a:lnTo>
                  <a:lnTo>
                    <a:pt x="670" y="199"/>
                  </a:lnTo>
                  <a:lnTo>
                    <a:pt x="674" y="199"/>
                  </a:lnTo>
                  <a:lnTo>
                    <a:pt x="678" y="199"/>
                  </a:lnTo>
                  <a:lnTo>
                    <a:pt x="674" y="195"/>
                  </a:lnTo>
                  <a:lnTo>
                    <a:pt x="670" y="195"/>
                  </a:lnTo>
                  <a:lnTo>
                    <a:pt x="666" y="195"/>
                  </a:lnTo>
                  <a:lnTo>
                    <a:pt x="670" y="191"/>
                  </a:lnTo>
                  <a:lnTo>
                    <a:pt x="674" y="191"/>
                  </a:lnTo>
                  <a:lnTo>
                    <a:pt x="678" y="191"/>
                  </a:lnTo>
                  <a:lnTo>
                    <a:pt x="682" y="191"/>
                  </a:lnTo>
                  <a:lnTo>
                    <a:pt x="686" y="187"/>
                  </a:lnTo>
                  <a:lnTo>
                    <a:pt x="686" y="191"/>
                  </a:lnTo>
                  <a:lnTo>
                    <a:pt x="690" y="191"/>
                  </a:lnTo>
                  <a:lnTo>
                    <a:pt x="694" y="191"/>
                  </a:lnTo>
                  <a:lnTo>
                    <a:pt x="698" y="191"/>
                  </a:lnTo>
                  <a:lnTo>
                    <a:pt x="702" y="191"/>
                  </a:lnTo>
                  <a:lnTo>
                    <a:pt x="706" y="195"/>
                  </a:lnTo>
                  <a:lnTo>
                    <a:pt x="710" y="195"/>
                  </a:lnTo>
                  <a:lnTo>
                    <a:pt x="710" y="191"/>
                  </a:lnTo>
                  <a:lnTo>
                    <a:pt x="714" y="191"/>
                  </a:lnTo>
                  <a:lnTo>
                    <a:pt x="714" y="195"/>
                  </a:lnTo>
                  <a:lnTo>
                    <a:pt x="718" y="195"/>
                  </a:lnTo>
                  <a:lnTo>
                    <a:pt x="722" y="199"/>
                  </a:lnTo>
                  <a:lnTo>
                    <a:pt x="722" y="203"/>
                  </a:lnTo>
                  <a:lnTo>
                    <a:pt x="718" y="207"/>
                  </a:lnTo>
                  <a:lnTo>
                    <a:pt x="718" y="211"/>
                  </a:lnTo>
                  <a:lnTo>
                    <a:pt x="718" y="207"/>
                  </a:lnTo>
                  <a:lnTo>
                    <a:pt x="722" y="207"/>
                  </a:lnTo>
                  <a:lnTo>
                    <a:pt x="726" y="203"/>
                  </a:lnTo>
                  <a:lnTo>
                    <a:pt x="730" y="203"/>
                  </a:lnTo>
                  <a:lnTo>
                    <a:pt x="734" y="203"/>
                  </a:lnTo>
                  <a:lnTo>
                    <a:pt x="738" y="203"/>
                  </a:lnTo>
                  <a:lnTo>
                    <a:pt x="742" y="203"/>
                  </a:lnTo>
                  <a:lnTo>
                    <a:pt x="742" y="199"/>
                  </a:lnTo>
                  <a:lnTo>
                    <a:pt x="746" y="199"/>
                  </a:lnTo>
                  <a:lnTo>
                    <a:pt x="750" y="199"/>
                  </a:lnTo>
                  <a:lnTo>
                    <a:pt x="754" y="199"/>
                  </a:lnTo>
                  <a:lnTo>
                    <a:pt x="758" y="203"/>
                  </a:lnTo>
                  <a:lnTo>
                    <a:pt x="762" y="203"/>
                  </a:lnTo>
                  <a:lnTo>
                    <a:pt x="766" y="203"/>
                  </a:lnTo>
                  <a:lnTo>
                    <a:pt x="766" y="207"/>
                  </a:lnTo>
                  <a:lnTo>
                    <a:pt x="762" y="207"/>
                  </a:lnTo>
                  <a:lnTo>
                    <a:pt x="758" y="207"/>
                  </a:lnTo>
                  <a:lnTo>
                    <a:pt x="754" y="207"/>
                  </a:lnTo>
                  <a:lnTo>
                    <a:pt x="750" y="207"/>
                  </a:lnTo>
                  <a:lnTo>
                    <a:pt x="754" y="207"/>
                  </a:lnTo>
                  <a:lnTo>
                    <a:pt x="758" y="207"/>
                  </a:lnTo>
                  <a:lnTo>
                    <a:pt x="762" y="207"/>
                  </a:lnTo>
                  <a:lnTo>
                    <a:pt x="766" y="207"/>
                  </a:lnTo>
                  <a:lnTo>
                    <a:pt x="766" y="211"/>
                  </a:lnTo>
                  <a:lnTo>
                    <a:pt x="770" y="211"/>
                  </a:lnTo>
                  <a:lnTo>
                    <a:pt x="774" y="211"/>
                  </a:lnTo>
                  <a:lnTo>
                    <a:pt x="778" y="211"/>
                  </a:lnTo>
                  <a:lnTo>
                    <a:pt x="782" y="211"/>
                  </a:lnTo>
                  <a:lnTo>
                    <a:pt x="786" y="215"/>
                  </a:lnTo>
                  <a:lnTo>
                    <a:pt x="782" y="215"/>
                  </a:lnTo>
                  <a:lnTo>
                    <a:pt x="778" y="215"/>
                  </a:lnTo>
                  <a:lnTo>
                    <a:pt x="774" y="215"/>
                  </a:lnTo>
                  <a:lnTo>
                    <a:pt x="766" y="215"/>
                  </a:lnTo>
                  <a:lnTo>
                    <a:pt x="770" y="215"/>
                  </a:lnTo>
                  <a:lnTo>
                    <a:pt x="766" y="215"/>
                  </a:lnTo>
                  <a:lnTo>
                    <a:pt x="762" y="215"/>
                  </a:lnTo>
                  <a:lnTo>
                    <a:pt x="758" y="215"/>
                  </a:lnTo>
                  <a:lnTo>
                    <a:pt x="754" y="215"/>
                  </a:lnTo>
                  <a:lnTo>
                    <a:pt x="750" y="215"/>
                  </a:lnTo>
                  <a:lnTo>
                    <a:pt x="750" y="211"/>
                  </a:lnTo>
                  <a:lnTo>
                    <a:pt x="746" y="211"/>
                  </a:lnTo>
                  <a:lnTo>
                    <a:pt x="746" y="215"/>
                  </a:lnTo>
                  <a:lnTo>
                    <a:pt x="750" y="215"/>
                  </a:lnTo>
                  <a:lnTo>
                    <a:pt x="754" y="215"/>
                  </a:lnTo>
                  <a:lnTo>
                    <a:pt x="758" y="215"/>
                  </a:lnTo>
                  <a:lnTo>
                    <a:pt x="762" y="219"/>
                  </a:lnTo>
                  <a:lnTo>
                    <a:pt x="758" y="219"/>
                  </a:lnTo>
                  <a:lnTo>
                    <a:pt x="762" y="219"/>
                  </a:lnTo>
                  <a:lnTo>
                    <a:pt x="766" y="219"/>
                  </a:lnTo>
                  <a:lnTo>
                    <a:pt x="770" y="219"/>
                  </a:lnTo>
                  <a:lnTo>
                    <a:pt x="766" y="219"/>
                  </a:lnTo>
                  <a:lnTo>
                    <a:pt x="762" y="219"/>
                  </a:lnTo>
                  <a:lnTo>
                    <a:pt x="758" y="219"/>
                  </a:lnTo>
                  <a:lnTo>
                    <a:pt x="754" y="219"/>
                  </a:lnTo>
                  <a:lnTo>
                    <a:pt x="758" y="223"/>
                  </a:lnTo>
                  <a:lnTo>
                    <a:pt x="754" y="223"/>
                  </a:lnTo>
                  <a:lnTo>
                    <a:pt x="754" y="227"/>
                  </a:lnTo>
                  <a:lnTo>
                    <a:pt x="754" y="223"/>
                  </a:lnTo>
                  <a:lnTo>
                    <a:pt x="758" y="223"/>
                  </a:lnTo>
                  <a:lnTo>
                    <a:pt x="758" y="219"/>
                  </a:lnTo>
                  <a:lnTo>
                    <a:pt x="762" y="219"/>
                  </a:lnTo>
                  <a:lnTo>
                    <a:pt x="762" y="223"/>
                  </a:lnTo>
                  <a:lnTo>
                    <a:pt x="766" y="223"/>
                  </a:lnTo>
                  <a:lnTo>
                    <a:pt x="762" y="223"/>
                  </a:lnTo>
                  <a:lnTo>
                    <a:pt x="766" y="223"/>
                  </a:lnTo>
                  <a:lnTo>
                    <a:pt x="770" y="223"/>
                  </a:lnTo>
                  <a:lnTo>
                    <a:pt x="770" y="219"/>
                  </a:lnTo>
                  <a:lnTo>
                    <a:pt x="774" y="219"/>
                  </a:lnTo>
                  <a:lnTo>
                    <a:pt x="774" y="223"/>
                  </a:lnTo>
                  <a:lnTo>
                    <a:pt x="778" y="223"/>
                  </a:lnTo>
                  <a:lnTo>
                    <a:pt x="774" y="227"/>
                  </a:lnTo>
                  <a:lnTo>
                    <a:pt x="778" y="227"/>
                  </a:lnTo>
                  <a:lnTo>
                    <a:pt x="778" y="223"/>
                  </a:lnTo>
                  <a:lnTo>
                    <a:pt x="782" y="227"/>
                  </a:lnTo>
                  <a:lnTo>
                    <a:pt x="786" y="227"/>
                  </a:lnTo>
                  <a:lnTo>
                    <a:pt x="782" y="231"/>
                  </a:lnTo>
                  <a:lnTo>
                    <a:pt x="778" y="231"/>
                  </a:lnTo>
                  <a:lnTo>
                    <a:pt x="774" y="235"/>
                  </a:lnTo>
                  <a:lnTo>
                    <a:pt x="778" y="231"/>
                  </a:lnTo>
                  <a:lnTo>
                    <a:pt x="778" y="235"/>
                  </a:lnTo>
                  <a:lnTo>
                    <a:pt x="778" y="231"/>
                  </a:lnTo>
                  <a:lnTo>
                    <a:pt x="782" y="231"/>
                  </a:lnTo>
                  <a:lnTo>
                    <a:pt x="786" y="235"/>
                  </a:lnTo>
                  <a:lnTo>
                    <a:pt x="786" y="239"/>
                  </a:lnTo>
                  <a:lnTo>
                    <a:pt x="790" y="239"/>
                  </a:lnTo>
                  <a:lnTo>
                    <a:pt x="790" y="235"/>
                  </a:lnTo>
                  <a:lnTo>
                    <a:pt x="790" y="231"/>
                  </a:lnTo>
                  <a:lnTo>
                    <a:pt x="794" y="231"/>
                  </a:lnTo>
                  <a:lnTo>
                    <a:pt x="797" y="231"/>
                  </a:lnTo>
                  <a:lnTo>
                    <a:pt x="797" y="235"/>
                  </a:lnTo>
                  <a:lnTo>
                    <a:pt x="801" y="235"/>
                  </a:lnTo>
                  <a:lnTo>
                    <a:pt x="805" y="235"/>
                  </a:lnTo>
                  <a:lnTo>
                    <a:pt x="809" y="235"/>
                  </a:lnTo>
                  <a:lnTo>
                    <a:pt x="809" y="231"/>
                  </a:lnTo>
                  <a:lnTo>
                    <a:pt x="813" y="231"/>
                  </a:lnTo>
                  <a:lnTo>
                    <a:pt x="817" y="231"/>
                  </a:lnTo>
                  <a:lnTo>
                    <a:pt x="817" y="235"/>
                  </a:lnTo>
                  <a:lnTo>
                    <a:pt x="821" y="235"/>
                  </a:lnTo>
                  <a:lnTo>
                    <a:pt x="825" y="235"/>
                  </a:lnTo>
                  <a:lnTo>
                    <a:pt x="825" y="239"/>
                  </a:lnTo>
                  <a:lnTo>
                    <a:pt x="821" y="239"/>
                  </a:lnTo>
                  <a:lnTo>
                    <a:pt x="825" y="239"/>
                  </a:lnTo>
                  <a:lnTo>
                    <a:pt x="829" y="239"/>
                  </a:lnTo>
                  <a:lnTo>
                    <a:pt x="833" y="239"/>
                  </a:lnTo>
                  <a:lnTo>
                    <a:pt x="837" y="239"/>
                  </a:lnTo>
                  <a:lnTo>
                    <a:pt x="833" y="235"/>
                  </a:lnTo>
                  <a:lnTo>
                    <a:pt x="829" y="235"/>
                  </a:lnTo>
                  <a:lnTo>
                    <a:pt x="833" y="235"/>
                  </a:lnTo>
                  <a:lnTo>
                    <a:pt x="837" y="235"/>
                  </a:lnTo>
                  <a:lnTo>
                    <a:pt x="841" y="235"/>
                  </a:lnTo>
                  <a:lnTo>
                    <a:pt x="845" y="231"/>
                  </a:lnTo>
                  <a:lnTo>
                    <a:pt x="849" y="231"/>
                  </a:lnTo>
                  <a:lnTo>
                    <a:pt x="853" y="231"/>
                  </a:lnTo>
                  <a:lnTo>
                    <a:pt x="857" y="231"/>
                  </a:lnTo>
                  <a:lnTo>
                    <a:pt x="861" y="227"/>
                  </a:lnTo>
                  <a:lnTo>
                    <a:pt x="865" y="227"/>
                  </a:lnTo>
                  <a:lnTo>
                    <a:pt x="869" y="227"/>
                  </a:lnTo>
                  <a:lnTo>
                    <a:pt x="873" y="227"/>
                  </a:lnTo>
                  <a:lnTo>
                    <a:pt x="877" y="227"/>
                  </a:lnTo>
                  <a:lnTo>
                    <a:pt x="881" y="227"/>
                  </a:lnTo>
                  <a:lnTo>
                    <a:pt x="885" y="227"/>
                  </a:lnTo>
                  <a:lnTo>
                    <a:pt x="889" y="227"/>
                  </a:lnTo>
                  <a:lnTo>
                    <a:pt x="893" y="227"/>
                  </a:lnTo>
                  <a:lnTo>
                    <a:pt x="897" y="227"/>
                  </a:lnTo>
                  <a:lnTo>
                    <a:pt x="901" y="227"/>
                  </a:lnTo>
                  <a:lnTo>
                    <a:pt x="905" y="227"/>
                  </a:lnTo>
                  <a:lnTo>
                    <a:pt x="905" y="231"/>
                  </a:lnTo>
                  <a:lnTo>
                    <a:pt x="909" y="231"/>
                  </a:lnTo>
                  <a:lnTo>
                    <a:pt x="913" y="231"/>
                  </a:lnTo>
                  <a:lnTo>
                    <a:pt x="917" y="231"/>
                  </a:lnTo>
                  <a:lnTo>
                    <a:pt x="921" y="231"/>
                  </a:lnTo>
                  <a:lnTo>
                    <a:pt x="925" y="235"/>
                  </a:lnTo>
                  <a:lnTo>
                    <a:pt x="921" y="235"/>
                  </a:lnTo>
                  <a:lnTo>
                    <a:pt x="917" y="235"/>
                  </a:lnTo>
                  <a:lnTo>
                    <a:pt x="921" y="235"/>
                  </a:lnTo>
                  <a:lnTo>
                    <a:pt x="925" y="235"/>
                  </a:lnTo>
                  <a:lnTo>
                    <a:pt x="929" y="235"/>
                  </a:lnTo>
                  <a:lnTo>
                    <a:pt x="929" y="239"/>
                  </a:lnTo>
                  <a:lnTo>
                    <a:pt x="929" y="243"/>
                  </a:lnTo>
                  <a:lnTo>
                    <a:pt x="933" y="243"/>
                  </a:lnTo>
                  <a:lnTo>
                    <a:pt x="929" y="243"/>
                  </a:lnTo>
                  <a:lnTo>
                    <a:pt x="925" y="247"/>
                  </a:lnTo>
                  <a:lnTo>
                    <a:pt x="925" y="243"/>
                  </a:lnTo>
                  <a:lnTo>
                    <a:pt x="925" y="247"/>
                  </a:lnTo>
                  <a:lnTo>
                    <a:pt x="921" y="247"/>
                  </a:lnTo>
                  <a:lnTo>
                    <a:pt x="917" y="247"/>
                  </a:lnTo>
                  <a:lnTo>
                    <a:pt x="917" y="251"/>
                  </a:lnTo>
                  <a:close/>
                  <a:moveTo>
                    <a:pt x="662" y="191"/>
                  </a:moveTo>
                  <a:lnTo>
                    <a:pt x="666" y="191"/>
                  </a:lnTo>
                  <a:lnTo>
                    <a:pt x="662" y="191"/>
                  </a:lnTo>
                  <a:lnTo>
                    <a:pt x="658" y="191"/>
                  </a:lnTo>
                  <a:lnTo>
                    <a:pt x="662" y="191"/>
                  </a:lnTo>
                  <a:close/>
                  <a:moveTo>
                    <a:pt x="407" y="199"/>
                  </a:moveTo>
                  <a:lnTo>
                    <a:pt x="399" y="199"/>
                  </a:lnTo>
                  <a:lnTo>
                    <a:pt x="395" y="199"/>
                  </a:lnTo>
                  <a:lnTo>
                    <a:pt x="395" y="195"/>
                  </a:lnTo>
                  <a:lnTo>
                    <a:pt x="399" y="195"/>
                  </a:lnTo>
                  <a:lnTo>
                    <a:pt x="403" y="195"/>
                  </a:lnTo>
                  <a:lnTo>
                    <a:pt x="407" y="195"/>
                  </a:lnTo>
                  <a:lnTo>
                    <a:pt x="411" y="195"/>
                  </a:lnTo>
                  <a:lnTo>
                    <a:pt x="415" y="195"/>
                  </a:lnTo>
                  <a:lnTo>
                    <a:pt x="415" y="199"/>
                  </a:lnTo>
                  <a:lnTo>
                    <a:pt x="411" y="199"/>
                  </a:lnTo>
                  <a:lnTo>
                    <a:pt x="407" y="199"/>
                  </a:lnTo>
                  <a:close/>
                  <a:moveTo>
                    <a:pt x="395" y="251"/>
                  </a:moveTo>
                  <a:lnTo>
                    <a:pt x="391" y="251"/>
                  </a:lnTo>
                  <a:lnTo>
                    <a:pt x="391" y="247"/>
                  </a:lnTo>
                  <a:lnTo>
                    <a:pt x="391" y="243"/>
                  </a:lnTo>
                  <a:lnTo>
                    <a:pt x="391" y="247"/>
                  </a:lnTo>
                  <a:lnTo>
                    <a:pt x="387" y="247"/>
                  </a:lnTo>
                  <a:lnTo>
                    <a:pt x="383" y="247"/>
                  </a:lnTo>
                  <a:lnTo>
                    <a:pt x="387" y="247"/>
                  </a:lnTo>
                  <a:lnTo>
                    <a:pt x="387" y="251"/>
                  </a:lnTo>
                  <a:lnTo>
                    <a:pt x="383" y="251"/>
                  </a:lnTo>
                  <a:lnTo>
                    <a:pt x="379" y="251"/>
                  </a:lnTo>
                  <a:lnTo>
                    <a:pt x="375" y="247"/>
                  </a:lnTo>
                  <a:lnTo>
                    <a:pt x="375" y="243"/>
                  </a:lnTo>
                  <a:lnTo>
                    <a:pt x="371" y="243"/>
                  </a:lnTo>
                  <a:lnTo>
                    <a:pt x="367" y="247"/>
                  </a:lnTo>
                  <a:lnTo>
                    <a:pt x="359" y="247"/>
                  </a:lnTo>
                  <a:lnTo>
                    <a:pt x="359" y="243"/>
                  </a:lnTo>
                  <a:lnTo>
                    <a:pt x="355" y="243"/>
                  </a:lnTo>
                  <a:lnTo>
                    <a:pt x="351" y="243"/>
                  </a:lnTo>
                  <a:lnTo>
                    <a:pt x="355" y="239"/>
                  </a:lnTo>
                  <a:lnTo>
                    <a:pt x="359" y="239"/>
                  </a:lnTo>
                  <a:lnTo>
                    <a:pt x="359" y="235"/>
                  </a:lnTo>
                  <a:lnTo>
                    <a:pt x="363" y="235"/>
                  </a:lnTo>
                  <a:lnTo>
                    <a:pt x="367" y="235"/>
                  </a:lnTo>
                  <a:lnTo>
                    <a:pt x="375" y="235"/>
                  </a:lnTo>
                  <a:lnTo>
                    <a:pt x="379" y="235"/>
                  </a:lnTo>
                  <a:lnTo>
                    <a:pt x="383" y="235"/>
                  </a:lnTo>
                  <a:lnTo>
                    <a:pt x="383" y="231"/>
                  </a:lnTo>
                  <a:lnTo>
                    <a:pt x="387" y="231"/>
                  </a:lnTo>
                  <a:lnTo>
                    <a:pt x="391" y="231"/>
                  </a:lnTo>
                  <a:lnTo>
                    <a:pt x="395" y="231"/>
                  </a:lnTo>
                  <a:lnTo>
                    <a:pt x="391" y="231"/>
                  </a:lnTo>
                  <a:lnTo>
                    <a:pt x="387" y="231"/>
                  </a:lnTo>
                  <a:lnTo>
                    <a:pt x="383" y="231"/>
                  </a:lnTo>
                  <a:lnTo>
                    <a:pt x="379" y="231"/>
                  </a:lnTo>
                  <a:lnTo>
                    <a:pt x="375" y="231"/>
                  </a:lnTo>
                  <a:lnTo>
                    <a:pt x="375" y="235"/>
                  </a:lnTo>
                  <a:lnTo>
                    <a:pt x="371" y="235"/>
                  </a:lnTo>
                  <a:lnTo>
                    <a:pt x="367" y="235"/>
                  </a:lnTo>
                  <a:lnTo>
                    <a:pt x="359" y="235"/>
                  </a:lnTo>
                  <a:lnTo>
                    <a:pt x="359" y="231"/>
                  </a:lnTo>
                  <a:lnTo>
                    <a:pt x="363" y="231"/>
                  </a:lnTo>
                  <a:lnTo>
                    <a:pt x="363" y="227"/>
                  </a:lnTo>
                  <a:lnTo>
                    <a:pt x="367" y="227"/>
                  </a:lnTo>
                  <a:lnTo>
                    <a:pt x="371" y="227"/>
                  </a:lnTo>
                  <a:lnTo>
                    <a:pt x="375" y="227"/>
                  </a:lnTo>
                  <a:lnTo>
                    <a:pt x="379" y="227"/>
                  </a:lnTo>
                  <a:lnTo>
                    <a:pt x="383" y="227"/>
                  </a:lnTo>
                  <a:lnTo>
                    <a:pt x="383" y="223"/>
                  </a:lnTo>
                  <a:lnTo>
                    <a:pt x="383" y="227"/>
                  </a:lnTo>
                  <a:lnTo>
                    <a:pt x="387" y="227"/>
                  </a:lnTo>
                  <a:lnTo>
                    <a:pt x="387" y="223"/>
                  </a:lnTo>
                  <a:lnTo>
                    <a:pt x="391" y="223"/>
                  </a:lnTo>
                  <a:lnTo>
                    <a:pt x="395" y="223"/>
                  </a:lnTo>
                  <a:lnTo>
                    <a:pt x="391" y="223"/>
                  </a:lnTo>
                  <a:lnTo>
                    <a:pt x="387" y="223"/>
                  </a:lnTo>
                  <a:lnTo>
                    <a:pt x="383" y="223"/>
                  </a:lnTo>
                  <a:lnTo>
                    <a:pt x="379" y="223"/>
                  </a:lnTo>
                  <a:lnTo>
                    <a:pt x="375" y="223"/>
                  </a:lnTo>
                  <a:lnTo>
                    <a:pt x="371" y="223"/>
                  </a:lnTo>
                  <a:lnTo>
                    <a:pt x="367" y="223"/>
                  </a:lnTo>
                  <a:lnTo>
                    <a:pt x="371" y="223"/>
                  </a:lnTo>
                  <a:lnTo>
                    <a:pt x="371" y="219"/>
                  </a:lnTo>
                  <a:lnTo>
                    <a:pt x="367" y="219"/>
                  </a:lnTo>
                  <a:lnTo>
                    <a:pt x="371" y="215"/>
                  </a:lnTo>
                  <a:lnTo>
                    <a:pt x="375" y="215"/>
                  </a:lnTo>
                  <a:lnTo>
                    <a:pt x="379" y="215"/>
                  </a:lnTo>
                  <a:lnTo>
                    <a:pt x="383" y="215"/>
                  </a:lnTo>
                  <a:lnTo>
                    <a:pt x="387" y="215"/>
                  </a:lnTo>
                  <a:lnTo>
                    <a:pt x="391" y="215"/>
                  </a:lnTo>
                  <a:lnTo>
                    <a:pt x="395" y="215"/>
                  </a:lnTo>
                  <a:lnTo>
                    <a:pt x="399" y="215"/>
                  </a:lnTo>
                  <a:lnTo>
                    <a:pt x="395" y="215"/>
                  </a:lnTo>
                  <a:lnTo>
                    <a:pt x="391" y="215"/>
                  </a:lnTo>
                  <a:lnTo>
                    <a:pt x="387" y="215"/>
                  </a:lnTo>
                  <a:lnTo>
                    <a:pt x="383" y="215"/>
                  </a:lnTo>
                  <a:lnTo>
                    <a:pt x="379" y="215"/>
                  </a:lnTo>
                  <a:lnTo>
                    <a:pt x="379" y="211"/>
                  </a:lnTo>
                  <a:lnTo>
                    <a:pt x="383" y="207"/>
                  </a:lnTo>
                  <a:lnTo>
                    <a:pt x="387" y="207"/>
                  </a:lnTo>
                  <a:lnTo>
                    <a:pt x="391" y="207"/>
                  </a:lnTo>
                  <a:lnTo>
                    <a:pt x="395" y="207"/>
                  </a:lnTo>
                  <a:lnTo>
                    <a:pt x="399" y="207"/>
                  </a:lnTo>
                  <a:lnTo>
                    <a:pt x="403" y="207"/>
                  </a:lnTo>
                  <a:lnTo>
                    <a:pt x="407" y="207"/>
                  </a:lnTo>
                  <a:lnTo>
                    <a:pt x="407" y="211"/>
                  </a:lnTo>
                  <a:lnTo>
                    <a:pt x="407" y="215"/>
                  </a:lnTo>
                  <a:lnTo>
                    <a:pt x="411" y="215"/>
                  </a:lnTo>
                  <a:lnTo>
                    <a:pt x="415" y="215"/>
                  </a:lnTo>
                  <a:lnTo>
                    <a:pt x="419" y="211"/>
                  </a:lnTo>
                  <a:lnTo>
                    <a:pt x="423" y="211"/>
                  </a:lnTo>
                  <a:lnTo>
                    <a:pt x="427" y="211"/>
                  </a:lnTo>
                  <a:lnTo>
                    <a:pt x="427" y="215"/>
                  </a:lnTo>
                  <a:lnTo>
                    <a:pt x="431" y="215"/>
                  </a:lnTo>
                  <a:lnTo>
                    <a:pt x="431" y="219"/>
                  </a:lnTo>
                  <a:lnTo>
                    <a:pt x="435" y="219"/>
                  </a:lnTo>
                  <a:lnTo>
                    <a:pt x="439" y="219"/>
                  </a:lnTo>
                  <a:lnTo>
                    <a:pt x="439" y="223"/>
                  </a:lnTo>
                  <a:lnTo>
                    <a:pt x="442" y="223"/>
                  </a:lnTo>
                  <a:lnTo>
                    <a:pt x="439" y="223"/>
                  </a:lnTo>
                  <a:lnTo>
                    <a:pt x="435" y="223"/>
                  </a:lnTo>
                  <a:lnTo>
                    <a:pt x="435" y="227"/>
                  </a:lnTo>
                  <a:lnTo>
                    <a:pt x="439" y="227"/>
                  </a:lnTo>
                  <a:lnTo>
                    <a:pt x="442" y="227"/>
                  </a:lnTo>
                  <a:lnTo>
                    <a:pt x="446" y="227"/>
                  </a:lnTo>
                  <a:lnTo>
                    <a:pt x="446" y="231"/>
                  </a:lnTo>
                  <a:lnTo>
                    <a:pt x="446" y="235"/>
                  </a:lnTo>
                  <a:lnTo>
                    <a:pt x="450" y="235"/>
                  </a:lnTo>
                  <a:lnTo>
                    <a:pt x="454" y="235"/>
                  </a:lnTo>
                  <a:lnTo>
                    <a:pt x="458" y="235"/>
                  </a:lnTo>
                  <a:lnTo>
                    <a:pt x="462" y="235"/>
                  </a:lnTo>
                  <a:lnTo>
                    <a:pt x="466" y="235"/>
                  </a:lnTo>
                  <a:lnTo>
                    <a:pt x="470" y="235"/>
                  </a:lnTo>
                  <a:lnTo>
                    <a:pt x="474" y="235"/>
                  </a:lnTo>
                  <a:lnTo>
                    <a:pt x="478" y="235"/>
                  </a:lnTo>
                  <a:lnTo>
                    <a:pt x="482" y="235"/>
                  </a:lnTo>
                  <a:lnTo>
                    <a:pt x="486" y="235"/>
                  </a:lnTo>
                  <a:lnTo>
                    <a:pt x="486" y="231"/>
                  </a:lnTo>
                  <a:lnTo>
                    <a:pt x="482" y="227"/>
                  </a:lnTo>
                  <a:lnTo>
                    <a:pt x="478" y="227"/>
                  </a:lnTo>
                  <a:lnTo>
                    <a:pt x="474" y="227"/>
                  </a:lnTo>
                  <a:lnTo>
                    <a:pt x="474" y="223"/>
                  </a:lnTo>
                  <a:lnTo>
                    <a:pt x="470" y="223"/>
                  </a:lnTo>
                  <a:lnTo>
                    <a:pt x="466" y="223"/>
                  </a:lnTo>
                  <a:lnTo>
                    <a:pt x="470" y="223"/>
                  </a:lnTo>
                  <a:lnTo>
                    <a:pt x="474" y="223"/>
                  </a:lnTo>
                  <a:lnTo>
                    <a:pt x="478" y="219"/>
                  </a:lnTo>
                  <a:lnTo>
                    <a:pt x="478" y="215"/>
                  </a:lnTo>
                  <a:lnTo>
                    <a:pt x="474" y="215"/>
                  </a:lnTo>
                  <a:lnTo>
                    <a:pt x="470" y="215"/>
                  </a:lnTo>
                  <a:lnTo>
                    <a:pt x="466" y="215"/>
                  </a:lnTo>
                  <a:lnTo>
                    <a:pt x="466" y="211"/>
                  </a:lnTo>
                  <a:lnTo>
                    <a:pt x="462" y="211"/>
                  </a:lnTo>
                  <a:lnTo>
                    <a:pt x="462" y="207"/>
                  </a:lnTo>
                  <a:lnTo>
                    <a:pt x="466" y="207"/>
                  </a:lnTo>
                  <a:lnTo>
                    <a:pt x="470" y="207"/>
                  </a:lnTo>
                  <a:lnTo>
                    <a:pt x="474" y="207"/>
                  </a:lnTo>
                  <a:lnTo>
                    <a:pt x="474" y="203"/>
                  </a:lnTo>
                  <a:lnTo>
                    <a:pt x="470" y="203"/>
                  </a:lnTo>
                  <a:lnTo>
                    <a:pt x="474" y="203"/>
                  </a:lnTo>
                  <a:lnTo>
                    <a:pt x="474" y="199"/>
                  </a:lnTo>
                  <a:lnTo>
                    <a:pt x="478" y="195"/>
                  </a:lnTo>
                  <a:lnTo>
                    <a:pt x="482" y="195"/>
                  </a:lnTo>
                  <a:lnTo>
                    <a:pt x="486" y="195"/>
                  </a:lnTo>
                  <a:lnTo>
                    <a:pt x="490" y="195"/>
                  </a:lnTo>
                  <a:lnTo>
                    <a:pt x="490" y="199"/>
                  </a:lnTo>
                  <a:lnTo>
                    <a:pt x="490" y="203"/>
                  </a:lnTo>
                  <a:lnTo>
                    <a:pt x="486" y="203"/>
                  </a:lnTo>
                  <a:lnTo>
                    <a:pt x="490" y="203"/>
                  </a:lnTo>
                  <a:lnTo>
                    <a:pt x="490" y="207"/>
                  </a:lnTo>
                  <a:lnTo>
                    <a:pt x="494" y="207"/>
                  </a:lnTo>
                  <a:lnTo>
                    <a:pt x="494" y="211"/>
                  </a:lnTo>
                  <a:lnTo>
                    <a:pt x="498" y="211"/>
                  </a:lnTo>
                  <a:lnTo>
                    <a:pt x="494" y="215"/>
                  </a:lnTo>
                  <a:lnTo>
                    <a:pt x="494" y="219"/>
                  </a:lnTo>
                  <a:lnTo>
                    <a:pt x="498" y="219"/>
                  </a:lnTo>
                  <a:lnTo>
                    <a:pt x="502" y="219"/>
                  </a:lnTo>
                  <a:lnTo>
                    <a:pt x="506" y="219"/>
                  </a:lnTo>
                  <a:lnTo>
                    <a:pt x="502" y="223"/>
                  </a:lnTo>
                  <a:lnTo>
                    <a:pt x="498" y="223"/>
                  </a:lnTo>
                  <a:lnTo>
                    <a:pt x="498" y="227"/>
                  </a:lnTo>
                  <a:lnTo>
                    <a:pt x="502" y="227"/>
                  </a:lnTo>
                  <a:lnTo>
                    <a:pt x="502" y="223"/>
                  </a:lnTo>
                  <a:lnTo>
                    <a:pt x="506" y="223"/>
                  </a:lnTo>
                  <a:lnTo>
                    <a:pt x="510" y="223"/>
                  </a:lnTo>
                  <a:lnTo>
                    <a:pt x="514" y="223"/>
                  </a:lnTo>
                  <a:lnTo>
                    <a:pt x="514" y="227"/>
                  </a:lnTo>
                  <a:lnTo>
                    <a:pt x="518" y="227"/>
                  </a:lnTo>
                  <a:lnTo>
                    <a:pt x="514" y="227"/>
                  </a:lnTo>
                  <a:lnTo>
                    <a:pt x="514" y="223"/>
                  </a:lnTo>
                  <a:lnTo>
                    <a:pt x="518" y="219"/>
                  </a:lnTo>
                  <a:lnTo>
                    <a:pt x="522" y="219"/>
                  </a:lnTo>
                  <a:lnTo>
                    <a:pt x="526" y="219"/>
                  </a:lnTo>
                  <a:lnTo>
                    <a:pt x="530" y="219"/>
                  </a:lnTo>
                  <a:lnTo>
                    <a:pt x="534" y="223"/>
                  </a:lnTo>
                  <a:lnTo>
                    <a:pt x="538" y="223"/>
                  </a:lnTo>
                  <a:lnTo>
                    <a:pt x="538" y="227"/>
                  </a:lnTo>
                  <a:lnTo>
                    <a:pt x="538" y="231"/>
                  </a:lnTo>
                  <a:lnTo>
                    <a:pt x="538" y="235"/>
                  </a:lnTo>
                  <a:lnTo>
                    <a:pt x="534" y="235"/>
                  </a:lnTo>
                  <a:lnTo>
                    <a:pt x="534" y="239"/>
                  </a:lnTo>
                  <a:lnTo>
                    <a:pt x="534" y="243"/>
                  </a:lnTo>
                  <a:lnTo>
                    <a:pt x="530" y="243"/>
                  </a:lnTo>
                  <a:lnTo>
                    <a:pt x="530" y="247"/>
                  </a:lnTo>
                  <a:lnTo>
                    <a:pt x="526" y="247"/>
                  </a:lnTo>
                  <a:lnTo>
                    <a:pt x="530" y="247"/>
                  </a:lnTo>
                  <a:lnTo>
                    <a:pt x="526" y="251"/>
                  </a:lnTo>
                  <a:lnTo>
                    <a:pt x="522" y="251"/>
                  </a:lnTo>
                  <a:lnTo>
                    <a:pt x="518" y="251"/>
                  </a:lnTo>
                  <a:lnTo>
                    <a:pt x="514" y="251"/>
                  </a:lnTo>
                  <a:lnTo>
                    <a:pt x="510" y="251"/>
                  </a:lnTo>
                  <a:lnTo>
                    <a:pt x="506" y="251"/>
                  </a:lnTo>
                  <a:lnTo>
                    <a:pt x="502" y="251"/>
                  </a:lnTo>
                  <a:lnTo>
                    <a:pt x="502" y="247"/>
                  </a:lnTo>
                  <a:lnTo>
                    <a:pt x="502" y="251"/>
                  </a:lnTo>
                  <a:lnTo>
                    <a:pt x="498" y="251"/>
                  </a:lnTo>
                  <a:lnTo>
                    <a:pt x="494" y="251"/>
                  </a:lnTo>
                  <a:lnTo>
                    <a:pt x="490" y="251"/>
                  </a:lnTo>
                  <a:lnTo>
                    <a:pt x="486" y="251"/>
                  </a:lnTo>
                  <a:lnTo>
                    <a:pt x="490" y="251"/>
                  </a:lnTo>
                  <a:lnTo>
                    <a:pt x="490" y="247"/>
                  </a:lnTo>
                  <a:lnTo>
                    <a:pt x="486" y="247"/>
                  </a:lnTo>
                  <a:lnTo>
                    <a:pt x="482" y="251"/>
                  </a:lnTo>
                  <a:lnTo>
                    <a:pt x="478" y="251"/>
                  </a:lnTo>
                  <a:lnTo>
                    <a:pt x="474" y="255"/>
                  </a:lnTo>
                  <a:lnTo>
                    <a:pt x="470" y="255"/>
                  </a:lnTo>
                  <a:lnTo>
                    <a:pt x="466" y="255"/>
                  </a:lnTo>
                  <a:lnTo>
                    <a:pt x="462" y="255"/>
                  </a:lnTo>
                  <a:lnTo>
                    <a:pt x="458" y="255"/>
                  </a:lnTo>
                  <a:lnTo>
                    <a:pt x="458" y="259"/>
                  </a:lnTo>
                  <a:lnTo>
                    <a:pt x="454" y="259"/>
                  </a:lnTo>
                  <a:lnTo>
                    <a:pt x="450" y="263"/>
                  </a:lnTo>
                  <a:lnTo>
                    <a:pt x="446" y="263"/>
                  </a:lnTo>
                  <a:lnTo>
                    <a:pt x="442" y="263"/>
                  </a:lnTo>
                  <a:lnTo>
                    <a:pt x="439" y="267"/>
                  </a:lnTo>
                  <a:lnTo>
                    <a:pt x="435" y="267"/>
                  </a:lnTo>
                  <a:lnTo>
                    <a:pt x="431" y="267"/>
                  </a:lnTo>
                  <a:lnTo>
                    <a:pt x="427" y="267"/>
                  </a:lnTo>
                  <a:lnTo>
                    <a:pt x="423" y="267"/>
                  </a:lnTo>
                  <a:lnTo>
                    <a:pt x="419" y="267"/>
                  </a:lnTo>
                  <a:lnTo>
                    <a:pt x="415" y="267"/>
                  </a:lnTo>
                  <a:lnTo>
                    <a:pt x="411" y="263"/>
                  </a:lnTo>
                  <a:lnTo>
                    <a:pt x="407" y="263"/>
                  </a:lnTo>
                  <a:lnTo>
                    <a:pt x="403" y="263"/>
                  </a:lnTo>
                  <a:lnTo>
                    <a:pt x="403" y="259"/>
                  </a:lnTo>
                  <a:lnTo>
                    <a:pt x="407" y="255"/>
                  </a:lnTo>
                  <a:lnTo>
                    <a:pt x="411" y="255"/>
                  </a:lnTo>
                  <a:lnTo>
                    <a:pt x="415" y="255"/>
                  </a:lnTo>
                  <a:lnTo>
                    <a:pt x="419" y="255"/>
                  </a:lnTo>
                  <a:lnTo>
                    <a:pt x="419" y="251"/>
                  </a:lnTo>
                  <a:lnTo>
                    <a:pt x="423" y="251"/>
                  </a:lnTo>
                  <a:lnTo>
                    <a:pt x="427" y="251"/>
                  </a:lnTo>
                  <a:lnTo>
                    <a:pt x="431" y="251"/>
                  </a:lnTo>
                  <a:lnTo>
                    <a:pt x="435" y="251"/>
                  </a:lnTo>
                  <a:lnTo>
                    <a:pt x="439" y="251"/>
                  </a:lnTo>
                  <a:lnTo>
                    <a:pt x="442" y="251"/>
                  </a:lnTo>
                  <a:lnTo>
                    <a:pt x="446" y="251"/>
                  </a:lnTo>
                  <a:lnTo>
                    <a:pt x="450" y="247"/>
                  </a:lnTo>
                  <a:lnTo>
                    <a:pt x="454" y="243"/>
                  </a:lnTo>
                  <a:lnTo>
                    <a:pt x="450" y="243"/>
                  </a:lnTo>
                  <a:lnTo>
                    <a:pt x="446" y="243"/>
                  </a:lnTo>
                  <a:lnTo>
                    <a:pt x="446" y="247"/>
                  </a:lnTo>
                  <a:lnTo>
                    <a:pt x="442" y="247"/>
                  </a:lnTo>
                  <a:lnTo>
                    <a:pt x="442" y="243"/>
                  </a:lnTo>
                  <a:lnTo>
                    <a:pt x="439" y="247"/>
                  </a:lnTo>
                  <a:lnTo>
                    <a:pt x="435" y="247"/>
                  </a:lnTo>
                  <a:lnTo>
                    <a:pt x="431" y="247"/>
                  </a:lnTo>
                  <a:lnTo>
                    <a:pt x="435" y="243"/>
                  </a:lnTo>
                  <a:lnTo>
                    <a:pt x="431" y="243"/>
                  </a:lnTo>
                  <a:lnTo>
                    <a:pt x="427" y="243"/>
                  </a:lnTo>
                  <a:lnTo>
                    <a:pt x="427" y="247"/>
                  </a:lnTo>
                  <a:lnTo>
                    <a:pt x="423" y="247"/>
                  </a:lnTo>
                  <a:lnTo>
                    <a:pt x="419" y="247"/>
                  </a:lnTo>
                  <a:lnTo>
                    <a:pt x="415" y="247"/>
                  </a:lnTo>
                  <a:lnTo>
                    <a:pt x="411" y="247"/>
                  </a:lnTo>
                  <a:lnTo>
                    <a:pt x="407" y="247"/>
                  </a:lnTo>
                  <a:lnTo>
                    <a:pt x="411" y="243"/>
                  </a:lnTo>
                  <a:lnTo>
                    <a:pt x="411" y="239"/>
                  </a:lnTo>
                  <a:lnTo>
                    <a:pt x="415" y="239"/>
                  </a:lnTo>
                  <a:lnTo>
                    <a:pt x="419" y="239"/>
                  </a:lnTo>
                  <a:lnTo>
                    <a:pt x="415" y="239"/>
                  </a:lnTo>
                  <a:lnTo>
                    <a:pt x="411" y="239"/>
                  </a:lnTo>
                  <a:lnTo>
                    <a:pt x="407" y="239"/>
                  </a:lnTo>
                  <a:lnTo>
                    <a:pt x="407" y="235"/>
                  </a:lnTo>
                  <a:lnTo>
                    <a:pt x="407" y="239"/>
                  </a:lnTo>
                  <a:lnTo>
                    <a:pt x="407" y="243"/>
                  </a:lnTo>
                  <a:lnTo>
                    <a:pt x="403" y="243"/>
                  </a:lnTo>
                  <a:lnTo>
                    <a:pt x="399" y="239"/>
                  </a:lnTo>
                  <a:lnTo>
                    <a:pt x="399" y="243"/>
                  </a:lnTo>
                  <a:lnTo>
                    <a:pt x="403" y="243"/>
                  </a:lnTo>
                  <a:lnTo>
                    <a:pt x="403" y="247"/>
                  </a:lnTo>
                  <a:lnTo>
                    <a:pt x="399" y="247"/>
                  </a:lnTo>
                  <a:lnTo>
                    <a:pt x="399" y="251"/>
                  </a:lnTo>
                  <a:lnTo>
                    <a:pt x="395" y="251"/>
                  </a:lnTo>
                  <a:close/>
                  <a:moveTo>
                    <a:pt x="774" y="207"/>
                  </a:moveTo>
                  <a:lnTo>
                    <a:pt x="770" y="207"/>
                  </a:lnTo>
                  <a:lnTo>
                    <a:pt x="770" y="203"/>
                  </a:lnTo>
                  <a:lnTo>
                    <a:pt x="766" y="203"/>
                  </a:lnTo>
                  <a:lnTo>
                    <a:pt x="766" y="199"/>
                  </a:lnTo>
                  <a:lnTo>
                    <a:pt x="762" y="199"/>
                  </a:lnTo>
                  <a:lnTo>
                    <a:pt x="766" y="199"/>
                  </a:lnTo>
                  <a:lnTo>
                    <a:pt x="766" y="195"/>
                  </a:lnTo>
                  <a:lnTo>
                    <a:pt x="770" y="195"/>
                  </a:lnTo>
                  <a:lnTo>
                    <a:pt x="774" y="195"/>
                  </a:lnTo>
                  <a:lnTo>
                    <a:pt x="774" y="199"/>
                  </a:lnTo>
                  <a:lnTo>
                    <a:pt x="778" y="199"/>
                  </a:lnTo>
                  <a:lnTo>
                    <a:pt x="774" y="199"/>
                  </a:lnTo>
                  <a:lnTo>
                    <a:pt x="774" y="203"/>
                  </a:lnTo>
                  <a:lnTo>
                    <a:pt x="774" y="207"/>
                  </a:lnTo>
                  <a:lnTo>
                    <a:pt x="778" y="207"/>
                  </a:lnTo>
                  <a:lnTo>
                    <a:pt x="774" y="207"/>
                  </a:lnTo>
                  <a:close/>
                  <a:moveTo>
                    <a:pt x="614" y="199"/>
                  </a:moveTo>
                  <a:lnTo>
                    <a:pt x="610" y="203"/>
                  </a:lnTo>
                  <a:lnTo>
                    <a:pt x="606" y="203"/>
                  </a:lnTo>
                  <a:lnTo>
                    <a:pt x="602" y="203"/>
                  </a:lnTo>
                  <a:lnTo>
                    <a:pt x="598" y="203"/>
                  </a:lnTo>
                  <a:lnTo>
                    <a:pt x="594" y="203"/>
                  </a:lnTo>
                  <a:lnTo>
                    <a:pt x="598" y="203"/>
                  </a:lnTo>
                  <a:lnTo>
                    <a:pt x="602" y="203"/>
                  </a:lnTo>
                  <a:lnTo>
                    <a:pt x="602" y="199"/>
                  </a:lnTo>
                  <a:lnTo>
                    <a:pt x="606" y="199"/>
                  </a:lnTo>
                  <a:lnTo>
                    <a:pt x="610" y="199"/>
                  </a:lnTo>
                  <a:lnTo>
                    <a:pt x="614" y="199"/>
                  </a:lnTo>
                  <a:lnTo>
                    <a:pt x="618" y="199"/>
                  </a:lnTo>
                  <a:lnTo>
                    <a:pt x="614" y="199"/>
                  </a:lnTo>
                  <a:close/>
                  <a:moveTo>
                    <a:pt x="626" y="199"/>
                  </a:moveTo>
                  <a:lnTo>
                    <a:pt x="630" y="199"/>
                  </a:lnTo>
                  <a:lnTo>
                    <a:pt x="626" y="199"/>
                  </a:lnTo>
                  <a:lnTo>
                    <a:pt x="622" y="199"/>
                  </a:lnTo>
                  <a:lnTo>
                    <a:pt x="618" y="199"/>
                  </a:lnTo>
                  <a:lnTo>
                    <a:pt x="622" y="199"/>
                  </a:lnTo>
                  <a:lnTo>
                    <a:pt x="626" y="199"/>
                  </a:lnTo>
                  <a:close/>
                  <a:moveTo>
                    <a:pt x="626" y="251"/>
                  </a:moveTo>
                  <a:lnTo>
                    <a:pt x="622" y="251"/>
                  </a:lnTo>
                  <a:lnTo>
                    <a:pt x="618" y="251"/>
                  </a:lnTo>
                  <a:lnTo>
                    <a:pt x="614" y="251"/>
                  </a:lnTo>
                  <a:lnTo>
                    <a:pt x="614" y="247"/>
                  </a:lnTo>
                  <a:lnTo>
                    <a:pt x="614" y="243"/>
                  </a:lnTo>
                  <a:lnTo>
                    <a:pt x="610" y="243"/>
                  </a:lnTo>
                  <a:lnTo>
                    <a:pt x="614" y="243"/>
                  </a:lnTo>
                  <a:lnTo>
                    <a:pt x="618" y="243"/>
                  </a:lnTo>
                  <a:lnTo>
                    <a:pt x="622" y="243"/>
                  </a:lnTo>
                  <a:lnTo>
                    <a:pt x="618" y="243"/>
                  </a:lnTo>
                  <a:lnTo>
                    <a:pt x="614" y="243"/>
                  </a:lnTo>
                  <a:lnTo>
                    <a:pt x="618" y="239"/>
                  </a:lnTo>
                  <a:lnTo>
                    <a:pt x="614" y="239"/>
                  </a:lnTo>
                  <a:lnTo>
                    <a:pt x="614" y="243"/>
                  </a:lnTo>
                  <a:lnTo>
                    <a:pt x="610" y="239"/>
                  </a:lnTo>
                  <a:lnTo>
                    <a:pt x="614" y="239"/>
                  </a:lnTo>
                  <a:lnTo>
                    <a:pt x="610" y="239"/>
                  </a:lnTo>
                  <a:lnTo>
                    <a:pt x="614" y="235"/>
                  </a:lnTo>
                  <a:lnTo>
                    <a:pt x="618" y="235"/>
                  </a:lnTo>
                  <a:lnTo>
                    <a:pt x="614" y="235"/>
                  </a:lnTo>
                  <a:lnTo>
                    <a:pt x="618" y="235"/>
                  </a:lnTo>
                  <a:lnTo>
                    <a:pt x="622" y="235"/>
                  </a:lnTo>
                  <a:lnTo>
                    <a:pt x="618" y="235"/>
                  </a:lnTo>
                  <a:lnTo>
                    <a:pt x="622" y="231"/>
                  </a:lnTo>
                  <a:lnTo>
                    <a:pt x="626" y="231"/>
                  </a:lnTo>
                  <a:lnTo>
                    <a:pt x="622" y="231"/>
                  </a:lnTo>
                  <a:lnTo>
                    <a:pt x="630" y="231"/>
                  </a:lnTo>
                  <a:lnTo>
                    <a:pt x="634" y="231"/>
                  </a:lnTo>
                  <a:lnTo>
                    <a:pt x="638" y="231"/>
                  </a:lnTo>
                  <a:lnTo>
                    <a:pt x="634" y="231"/>
                  </a:lnTo>
                  <a:lnTo>
                    <a:pt x="630" y="231"/>
                  </a:lnTo>
                  <a:lnTo>
                    <a:pt x="626" y="231"/>
                  </a:lnTo>
                  <a:lnTo>
                    <a:pt x="622" y="231"/>
                  </a:lnTo>
                  <a:lnTo>
                    <a:pt x="618" y="231"/>
                  </a:lnTo>
                  <a:lnTo>
                    <a:pt x="614" y="231"/>
                  </a:lnTo>
                  <a:lnTo>
                    <a:pt x="610" y="231"/>
                  </a:lnTo>
                  <a:lnTo>
                    <a:pt x="606" y="231"/>
                  </a:lnTo>
                  <a:lnTo>
                    <a:pt x="602" y="231"/>
                  </a:lnTo>
                  <a:lnTo>
                    <a:pt x="598" y="231"/>
                  </a:lnTo>
                  <a:lnTo>
                    <a:pt x="594" y="235"/>
                  </a:lnTo>
                  <a:lnTo>
                    <a:pt x="590" y="235"/>
                  </a:lnTo>
                  <a:lnTo>
                    <a:pt x="586" y="235"/>
                  </a:lnTo>
                  <a:lnTo>
                    <a:pt x="582" y="235"/>
                  </a:lnTo>
                  <a:lnTo>
                    <a:pt x="578" y="235"/>
                  </a:lnTo>
                  <a:lnTo>
                    <a:pt x="578" y="231"/>
                  </a:lnTo>
                  <a:lnTo>
                    <a:pt x="582" y="227"/>
                  </a:lnTo>
                  <a:lnTo>
                    <a:pt x="586" y="227"/>
                  </a:lnTo>
                  <a:lnTo>
                    <a:pt x="586" y="231"/>
                  </a:lnTo>
                  <a:lnTo>
                    <a:pt x="590" y="231"/>
                  </a:lnTo>
                  <a:lnTo>
                    <a:pt x="590" y="227"/>
                  </a:lnTo>
                  <a:lnTo>
                    <a:pt x="586" y="227"/>
                  </a:lnTo>
                  <a:lnTo>
                    <a:pt x="586" y="223"/>
                  </a:lnTo>
                  <a:lnTo>
                    <a:pt x="590" y="223"/>
                  </a:lnTo>
                  <a:lnTo>
                    <a:pt x="594" y="223"/>
                  </a:lnTo>
                  <a:lnTo>
                    <a:pt x="598" y="227"/>
                  </a:lnTo>
                  <a:lnTo>
                    <a:pt x="602" y="227"/>
                  </a:lnTo>
                  <a:lnTo>
                    <a:pt x="598" y="227"/>
                  </a:lnTo>
                  <a:lnTo>
                    <a:pt x="598" y="223"/>
                  </a:lnTo>
                  <a:lnTo>
                    <a:pt x="602" y="219"/>
                  </a:lnTo>
                  <a:lnTo>
                    <a:pt x="598" y="219"/>
                  </a:lnTo>
                  <a:lnTo>
                    <a:pt x="594" y="223"/>
                  </a:lnTo>
                  <a:lnTo>
                    <a:pt x="594" y="219"/>
                  </a:lnTo>
                  <a:lnTo>
                    <a:pt x="590" y="219"/>
                  </a:lnTo>
                  <a:lnTo>
                    <a:pt x="594" y="215"/>
                  </a:lnTo>
                  <a:lnTo>
                    <a:pt x="598" y="215"/>
                  </a:lnTo>
                  <a:lnTo>
                    <a:pt x="594" y="215"/>
                  </a:lnTo>
                  <a:lnTo>
                    <a:pt x="590" y="215"/>
                  </a:lnTo>
                  <a:lnTo>
                    <a:pt x="586" y="215"/>
                  </a:lnTo>
                  <a:lnTo>
                    <a:pt x="590" y="215"/>
                  </a:lnTo>
                  <a:lnTo>
                    <a:pt x="590" y="211"/>
                  </a:lnTo>
                  <a:lnTo>
                    <a:pt x="590" y="207"/>
                  </a:lnTo>
                  <a:lnTo>
                    <a:pt x="594" y="207"/>
                  </a:lnTo>
                  <a:lnTo>
                    <a:pt x="598" y="207"/>
                  </a:lnTo>
                  <a:lnTo>
                    <a:pt x="602" y="207"/>
                  </a:lnTo>
                  <a:lnTo>
                    <a:pt x="602" y="211"/>
                  </a:lnTo>
                  <a:lnTo>
                    <a:pt x="606" y="215"/>
                  </a:lnTo>
                  <a:lnTo>
                    <a:pt x="610" y="215"/>
                  </a:lnTo>
                  <a:lnTo>
                    <a:pt x="614" y="219"/>
                  </a:lnTo>
                  <a:lnTo>
                    <a:pt x="618" y="223"/>
                  </a:lnTo>
                  <a:lnTo>
                    <a:pt x="622" y="223"/>
                  </a:lnTo>
                  <a:lnTo>
                    <a:pt x="626" y="223"/>
                  </a:lnTo>
                  <a:lnTo>
                    <a:pt x="630" y="223"/>
                  </a:lnTo>
                  <a:lnTo>
                    <a:pt x="626" y="223"/>
                  </a:lnTo>
                  <a:lnTo>
                    <a:pt x="622" y="223"/>
                  </a:lnTo>
                  <a:lnTo>
                    <a:pt x="618" y="219"/>
                  </a:lnTo>
                  <a:lnTo>
                    <a:pt x="618" y="215"/>
                  </a:lnTo>
                  <a:lnTo>
                    <a:pt x="622" y="215"/>
                  </a:lnTo>
                  <a:lnTo>
                    <a:pt x="626" y="219"/>
                  </a:lnTo>
                  <a:lnTo>
                    <a:pt x="626" y="215"/>
                  </a:lnTo>
                  <a:lnTo>
                    <a:pt x="630" y="215"/>
                  </a:lnTo>
                  <a:lnTo>
                    <a:pt x="626" y="215"/>
                  </a:lnTo>
                  <a:lnTo>
                    <a:pt x="622" y="215"/>
                  </a:lnTo>
                  <a:lnTo>
                    <a:pt x="618" y="215"/>
                  </a:lnTo>
                  <a:lnTo>
                    <a:pt x="614" y="215"/>
                  </a:lnTo>
                  <a:lnTo>
                    <a:pt x="614" y="211"/>
                  </a:lnTo>
                  <a:lnTo>
                    <a:pt x="618" y="211"/>
                  </a:lnTo>
                  <a:lnTo>
                    <a:pt x="622" y="211"/>
                  </a:lnTo>
                  <a:lnTo>
                    <a:pt x="618" y="211"/>
                  </a:lnTo>
                  <a:lnTo>
                    <a:pt x="614" y="211"/>
                  </a:lnTo>
                  <a:lnTo>
                    <a:pt x="610" y="211"/>
                  </a:lnTo>
                  <a:lnTo>
                    <a:pt x="606" y="207"/>
                  </a:lnTo>
                  <a:lnTo>
                    <a:pt x="610" y="203"/>
                  </a:lnTo>
                  <a:lnTo>
                    <a:pt x="614" y="203"/>
                  </a:lnTo>
                  <a:lnTo>
                    <a:pt x="618" y="203"/>
                  </a:lnTo>
                  <a:lnTo>
                    <a:pt x="622" y="203"/>
                  </a:lnTo>
                  <a:lnTo>
                    <a:pt x="626" y="203"/>
                  </a:lnTo>
                  <a:lnTo>
                    <a:pt x="630" y="203"/>
                  </a:lnTo>
                  <a:lnTo>
                    <a:pt x="630" y="207"/>
                  </a:lnTo>
                  <a:lnTo>
                    <a:pt x="634" y="207"/>
                  </a:lnTo>
                  <a:lnTo>
                    <a:pt x="638" y="207"/>
                  </a:lnTo>
                  <a:lnTo>
                    <a:pt x="634" y="207"/>
                  </a:lnTo>
                  <a:lnTo>
                    <a:pt x="634" y="203"/>
                  </a:lnTo>
                  <a:lnTo>
                    <a:pt x="638" y="203"/>
                  </a:lnTo>
                  <a:lnTo>
                    <a:pt x="642" y="203"/>
                  </a:lnTo>
                  <a:lnTo>
                    <a:pt x="638" y="203"/>
                  </a:lnTo>
                  <a:lnTo>
                    <a:pt x="638" y="199"/>
                  </a:lnTo>
                  <a:lnTo>
                    <a:pt x="642" y="199"/>
                  </a:lnTo>
                  <a:lnTo>
                    <a:pt x="646" y="199"/>
                  </a:lnTo>
                  <a:lnTo>
                    <a:pt x="646" y="203"/>
                  </a:lnTo>
                  <a:lnTo>
                    <a:pt x="650" y="203"/>
                  </a:lnTo>
                  <a:lnTo>
                    <a:pt x="650" y="207"/>
                  </a:lnTo>
                  <a:lnTo>
                    <a:pt x="654" y="207"/>
                  </a:lnTo>
                  <a:lnTo>
                    <a:pt x="654" y="211"/>
                  </a:lnTo>
                  <a:lnTo>
                    <a:pt x="654" y="215"/>
                  </a:lnTo>
                  <a:lnTo>
                    <a:pt x="658" y="215"/>
                  </a:lnTo>
                  <a:lnTo>
                    <a:pt x="658" y="219"/>
                  </a:lnTo>
                  <a:lnTo>
                    <a:pt x="654" y="223"/>
                  </a:lnTo>
                  <a:lnTo>
                    <a:pt x="658" y="223"/>
                  </a:lnTo>
                  <a:lnTo>
                    <a:pt x="658" y="227"/>
                  </a:lnTo>
                  <a:lnTo>
                    <a:pt x="654" y="227"/>
                  </a:lnTo>
                  <a:lnTo>
                    <a:pt x="650" y="227"/>
                  </a:lnTo>
                  <a:lnTo>
                    <a:pt x="654" y="227"/>
                  </a:lnTo>
                  <a:lnTo>
                    <a:pt x="658" y="231"/>
                  </a:lnTo>
                  <a:lnTo>
                    <a:pt x="658" y="235"/>
                  </a:lnTo>
                  <a:lnTo>
                    <a:pt x="658" y="239"/>
                  </a:lnTo>
                  <a:lnTo>
                    <a:pt x="662" y="239"/>
                  </a:lnTo>
                  <a:lnTo>
                    <a:pt x="658" y="239"/>
                  </a:lnTo>
                  <a:lnTo>
                    <a:pt x="658" y="235"/>
                  </a:lnTo>
                  <a:lnTo>
                    <a:pt x="654" y="235"/>
                  </a:lnTo>
                  <a:lnTo>
                    <a:pt x="650" y="235"/>
                  </a:lnTo>
                  <a:lnTo>
                    <a:pt x="654" y="239"/>
                  </a:lnTo>
                  <a:lnTo>
                    <a:pt x="650" y="239"/>
                  </a:lnTo>
                  <a:lnTo>
                    <a:pt x="654" y="239"/>
                  </a:lnTo>
                  <a:lnTo>
                    <a:pt x="650" y="239"/>
                  </a:lnTo>
                  <a:lnTo>
                    <a:pt x="646" y="239"/>
                  </a:lnTo>
                  <a:lnTo>
                    <a:pt x="650" y="243"/>
                  </a:lnTo>
                  <a:lnTo>
                    <a:pt x="654" y="243"/>
                  </a:lnTo>
                  <a:lnTo>
                    <a:pt x="654" y="247"/>
                  </a:lnTo>
                  <a:lnTo>
                    <a:pt x="658" y="247"/>
                  </a:lnTo>
                  <a:lnTo>
                    <a:pt x="654" y="247"/>
                  </a:lnTo>
                  <a:lnTo>
                    <a:pt x="650" y="243"/>
                  </a:lnTo>
                  <a:lnTo>
                    <a:pt x="650" y="247"/>
                  </a:lnTo>
                  <a:lnTo>
                    <a:pt x="650" y="251"/>
                  </a:lnTo>
                  <a:lnTo>
                    <a:pt x="646" y="251"/>
                  </a:lnTo>
                  <a:lnTo>
                    <a:pt x="642" y="251"/>
                  </a:lnTo>
                  <a:lnTo>
                    <a:pt x="638" y="251"/>
                  </a:lnTo>
                  <a:lnTo>
                    <a:pt x="634" y="251"/>
                  </a:lnTo>
                  <a:lnTo>
                    <a:pt x="630" y="251"/>
                  </a:lnTo>
                  <a:lnTo>
                    <a:pt x="630" y="247"/>
                  </a:lnTo>
                  <a:lnTo>
                    <a:pt x="626" y="247"/>
                  </a:lnTo>
                  <a:lnTo>
                    <a:pt x="626" y="251"/>
                  </a:lnTo>
                  <a:lnTo>
                    <a:pt x="630" y="251"/>
                  </a:lnTo>
                  <a:lnTo>
                    <a:pt x="626" y="251"/>
                  </a:lnTo>
                  <a:close/>
                  <a:moveTo>
                    <a:pt x="558" y="199"/>
                  </a:moveTo>
                  <a:lnTo>
                    <a:pt x="558" y="203"/>
                  </a:lnTo>
                  <a:lnTo>
                    <a:pt x="562" y="203"/>
                  </a:lnTo>
                  <a:lnTo>
                    <a:pt x="558" y="203"/>
                  </a:lnTo>
                  <a:lnTo>
                    <a:pt x="562" y="203"/>
                  </a:lnTo>
                  <a:lnTo>
                    <a:pt x="566" y="203"/>
                  </a:lnTo>
                  <a:lnTo>
                    <a:pt x="566" y="207"/>
                  </a:lnTo>
                  <a:lnTo>
                    <a:pt x="570" y="207"/>
                  </a:lnTo>
                  <a:lnTo>
                    <a:pt x="574" y="207"/>
                  </a:lnTo>
                  <a:lnTo>
                    <a:pt x="574" y="211"/>
                  </a:lnTo>
                  <a:lnTo>
                    <a:pt x="570" y="211"/>
                  </a:lnTo>
                  <a:lnTo>
                    <a:pt x="566" y="211"/>
                  </a:lnTo>
                  <a:lnTo>
                    <a:pt x="562" y="211"/>
                  </a:lnTo>
                  <a:lnTo>
                    <a:pt x="558" y="211"/>
                  </a:lnTo>
                  <a:lnTo>
                    <a:pt x="554" y="211"/>
                  </a:lnTo>
                  <a:lnTo>
                    <a:pt x="554" y="207"/>
                  </a:lnTo>
                  <a:lnTo>
                    <a:pt x="550" y="207"/>
                  </a:lnTo>
                  <a:lnTo>
                    <a:pt x="550" y="203"/>
                  </a:lnTo>
                  <a:lnTo>
                    <a:pt x="554" y="203"/>
                  </a:lnTo>
                  <a:lnTo>
                    <a:pt x="554" y="199"/>
                  </a:lnTo>
                  <a:lnTo>
                    <a:pt x="558" y="199"/>
                  </a:lnTo>
                  <a:close/>
                  <a:moveTo>
                    <a:pt x="698" y="215"/>
                  </a:moveTo>
                  <a:lnTo>
                    <a:pt x="698" y="219"/>
                  </a:lnTo>
                  <a:lnTo>
                    <a:pt x="694" y="219"/>
                  </a:lnTo>
                  <a:lnTo>
                    <a:pt x="698" y="219"/>
                  </a:lnTo>
                  <a:lnTo>
                    <a:pt x="698" y="215"/>
                  </a:lnTo>
                  <a:close/>
                  <a:moveTo>
                    <a:pt x="355" y="219"/>
                  </a:moveTo>
                  <a:lnTo>
                    <a:pt x="355" y="223"/>
                  </a:lnTo>
                  <a:lnTo>
                    <a:pt x="351" y="223"/>
                  </a:lnTo>
                  <a:lnTo>
                    <a:pt x="347" y="227"/>
                  </a:lnTo>
                  <a:lnTo>
                    <a:pt x="347" y="231"/>
                  </a:lnTo>
                  <a:lnTo>
                    <a:pt x="343" y="231"/>
                  </a:lnTo>
                  <a:lnTo>
                    <a:pt x="343" y="235"/>
                  </a:lnTo>
                  <a:lnTo>
                    <a:pt x="339" y="235"/>
                  </a:lnTo>
                  <a:lnTo>
                    <a:pt x="335" y="235"/>
                  </a:lnTo>
                  <a:lnTo>
                    <a:pt x="331" y="235"/>
                  </a:lnTo>
                  <a:lnTo>
                    <a:pt x="327" y="231"/>
                  </a:lnTo>
                  <a:lnTo>
                    <a:pt x="331" y="231"/>
                  </a:lnTo>
                  <a:lnTo>
                    <a:pt x="331" y="227"/>
                  </a:lnTo>
                  <a:lnTo>
                    <a:pt x="335" y="227"/>
                  </a:lnTo>
                  <a:lnTo>
                    <a:pt x="335" y="223"/>
                  </a:lnTo>
                  <a:lnTo>
                    <a:pt x="339" y="223"/>
                  </a:lnTo>
                  <a:lnTo>
                    <a:pt x="343" y="223"/>
                  </a:lnTo>
                  <a:lnTo>
                    <a:pt x="347" y="223"/>
                  </a:lnTo>
                  <a:lnTo>
                    <a:pt x="347" y="219"/>
                  </a:lnTo>
                  <a:lnTo>
                    <a:pt x="351" y="219"/>
                  </a:lnTo>
                  <a:lnTo>
                    <a:pt x="355" y="219"/>
                  </a:lnTo>
                  <a:close/>
                  <a:moveTo>
                    <a:pt x="586" y="219"/>
                  </a:moveTo>
                  <a:lnTo>
                    <a:pt x="582" y="219"/>
                  </a:lnTo>
                  <a:lnTo>
                    <a:pt x="578" y="223"/>
                  </a:lnTo>
                  <a:lnTo>
                    <a:pt x="574" y="223"/>
                  </a:lnTo>
                  <a:lnTo>
                    <a:pt x="570" y="223"/>
                  </a:lnTo>
                  <a:lnTo>
                    <a:pt x="566" y="223"/>
                  </a:lnTo>
                  <a:lnTo>
                    <a:pt x="562" y="223"/>
                  </a:lnTo>
                  <a:lnTo>
                    <a:pt x="558" y="223"/>
                  </a:lnTo>
                  <a:lnTo>
                    <a:pt x="562" y="223"/>
                  </a:lnTo>
                  <a:lnTo>
                    <a:pt x="566" y="223"/>
                  </a:lnTo>
                  <a:lnTo>
                    <a:pt x="566" y="219"/>
                  </a:lnTo>
                  <a:lnTo>
                    <a:pt x="570" y="219"/>
                  </a:lnTo>
                  <a:lnTo>
                    <a:pt x="574" y="219"/>
                  </a:lnTo>
                  <a:lnTo>
                    <a:pt x="578" y="219"/>
                  </a:lnTo>
                  <a:lnTo>
                    <a:pt x="582" y="219"/>
                  </a:lnTo>
                  <a:lnTo>
                    <a:pt x="586" y="219"/>
                  </a:lnTo>
                  <a:close/>
                  <a:moveTo>
                    <a:pt x="590" y="223"/>
                  </a:moveTo>
                  <a:lnTo>
                    <a:pt x="586" y="223"/>
                  </a:lnTo>
                  <a:lnTo>
                    <a:pt x="582" y="223"/>
                  </a:lnTo>
                  <a:lnTo>
                    <a:pt x="582" y="227"/>
                  </a:lnTo>
                  <a:lnTo>
                    <a:pt x="578" y="227"/>
                  </a:lnTo>
                  <a:lnTo>
                    <a:pt x="574" y="227"/>
                  </a:lnTo>
                  <a:lnTo>
                    <a:pt x="570" y="227"/>
                  </a:lnTo>
                  <a:lnTo>
                    <a:pt x="574" y="223"/>
                  </a:lnTo>
                  <a:lnTo>
                    <a:pt x="578" y="223"/>
                  </a:lnTo>
                  <a:lnTo>
                    <a:pt x="582" y="223"/>
                  </a:lnTo>
                  <a:lnTo>
                    <a:pt x="586" y="223"/>
                  </a:lnTo>
                  <a:lnTo>
                    <a:pt x="586" y="219"/>
                  </a:lnTo>
                  <a:lnTo>
                    <a:pt x="590" y="223"/>
                  </a:lnTo>
                  <a:close/>
                  <a:moveTo>
                    <a:pt x="702" y="223"/>
                  </a:moveTo>
                  <a:lnTo>
                    <a:pt x="706" y="223"/>
                  </a:lnTo>
                  <a:lnTo>
                    <a:pt x="706" y="227"/>
                  </a:lnTo>
                  <a:lnTo>
                    <a:pt x="702" y="227"/>
                  </a:lnTo>
                  <a:lnTo>
                    <a:pt x="698" y="227"/>
                  </a:lnTo>
                  <a:lnTo>
                    <a:pt x="698" y="223"/>
                  </a:lnTo>
                  <a:lnTo>
                    <a:pt x="702" y="223"/>
                  </a:lnTo>
                  <a:lnTo>
                    <a:pt x="702" y="219"/>
                  </a:lnTo>
                  <a:lnTo>
                    <a:pt x="702" y="223"/>
                  </a:lnTo>
                  <a:close/>
                  <a:moveTo>
                    <a:pt x="674" y="227"/>
                  </a:moveTo>
                  <a:lnTo>
                    <a:pt x="670" y="227"/>
                  </a:lnTo>
                  <a:lnTo>
                    <a:pt x="674" y="227"/>
                  </a:lnTo>
                  <a:close/>
                  <a:moveTo>
                    <a:pt x="682" y="231"/>
                  </a:moveTo>
                  <a:lnTo>
                    <a:pt x="682" y="235"/>
                  </a:lnTo>
                  <a:lnTo>
                    <a:pt x="678" y="235"/>
                  </a:lnTo>
                  <a:lnTo>
                    <a:pt x="674" y="235"/>
                  </a:lnTo>
                  <a:lnTo>
                    <a:pt x="670" y="239"/>
                  </a:lnTo>
                  <a:lnTo>
                    <a:pt x="666" y="239"/>
                  </a:lnTo>
                  <a:lnTo>
                    <a:pt x="666" y="235"/>
                  </a:lnTo>
                  <a:lnTo>
                    <a:pt x="670" y="235"/>
                  </a:lnTo>
                  <a:lnTo>
                    <a:pt x="674" y="231"/>
                  </a:lnTo>
                  <a:lnTo>
                    <a:pt x="678" y="231"/>
                  </a:lnTo>
                  <a:lnTo>
                    <a:pt x="682" y="231"/>
                  </a:lnTo>
                  <a:close/>
                  <a:moveTo>
                    <a:pt x="682" y="255"/>
                  </a:moveTo>
                  <a:lnTo>
                    <a:pt x="678" y="251"/>
                  </a:lnTo>
                  <a:lnTo>
                    <a:pt x="674" y="251"/>
                  </a:lnTo>
                  <a:lnTo>
                    <a:pt x="670" y="251"/>
                  </a:lnTo>
                  <a:lnTo>
                    <a:pt x="670" y="247"/>
                  </a:lnTo>
                  <a:lnTo>
                    <a:pt x="674" y="247"/>
                  </a:lnTo>
                  <a:lnTo>
                    <a:pt x="674" y="243"/>
                  </a:lnTo>
                  <a:lnTo>
                    <a:pt x="678" y="243"/>
                  </a:lnTo>
                  <a:lnTo>
                    <a:pt x="682" y="243"/>
                  </a:lnTo>
                  <a:lnTo>
                    <a:pt x="678" y="239"/>
                  </a:lnTo>
                  <a:lnTo>
                    <a:pt x="682" y="239"/>
                  </a:lnTo>
                  <a:lnTo>
                    <a:pt x="678" y="239"/>
                  </a:lnTo>
                  <a:lnTo>
                    <a:pt x="682" y="239"/>
                  </a:lnTo>
                  <a:lnTo>
                    <a:pt x="686" y="239"/>
                  </a:lnTo>
                  <a:lnTo>
                    <a:pt x="682" y="239"/>
                  </a:lnTo>
                  <a:lnTo>
                    <a:pt x="682" y="235"/>
                  </a:lnTo>
                  <a:lnTo>
                    <a:pt x="686" y="235"/>
                  </a:lnTo>
                  <a:lnTo>
                    <a:pt x="690" y="235"/>
                  </a:lnTo>
                  <a:lnTo>
                    <a:pt x="690" y="231"/>
                  </a:lnTo>
                  <a:lnTo>
                    <a:pt x="694" y="231"/>
                  </a:lnTo>
                  <a:lnTo>
                    <a:pt x="698" y="231"/>
                  </a:lnTo>
                  <a:lnTo>
                    <a:pt x="702" y="231"/>
                  </a:lnTo>
                  <a:lnTo>
                    <a:pt x="706" y="231"/>
                  </a:lnTo>
                  <a:lnTo>
                    <a:pt x="706" y="235"/>
                  </a:lnTo>
                  <a:lnTo>
                    <a:pt x="710" y="235"/>
                  </a:lnTo>
                  <a:lnTo>
                    <a:pt x="710" y="239"/>
                  </a:lnTo>
                  <a:lnTo>
                    <a:pt x="714" y="239"/>
                  </a:lnTo>
                  <a:lnTo>
                    <a:pt x="718" y="243"/>
                  </a:lnTo>
                  <a:lnTo>
                    <a:pt x="718" y="247"/>
                  </a:lnTo>
                  <a:lnTo>
                    <a:pt x="718" y="251"/>
                  </a:lnTo>
                  <a:lnTo>
                    <a:pt x="722" y="255"/>
                  </a:lnTo>
                  <a:lnTo>
                    <a:pt x="718" y="259"/>
                  </a:lnTo>
                  <a:lnTo>
                    <a:pt x="714" y="259"/>
                  </a:lnTo>
                  <a:lnTo>
                    <a:pt x="710" y="259"/>
                  </a:lnTo>
                  <a:lnTo>
                    <a:pt x="706" y="259"/>
                  </a:lnTo>
                  <a:lnTo>
                    <a:pt x="702" y="259"/>
                  </a:lnTo>
                  <a:lnTo>
                    <a:pt x="694" y="259"/>
                  </a:lnTo>
                  <a:lnTo>
                    <a:pt x="690" y="255"/>
                  </a:lnTo>
                  <a:lnTo>
                    <a:pt x="686" y="255"/>
                  </a:lnTo>
                  <a:lnTo>
                    <a:pt x="682" y="255"/>
                  </a:lnTo>
                  <a:close/>
                  <a:moveTo>
                    <a:pt x="558" y="239"/>
                  </a:moveTo>
                  <a:lnTo>
                    <a:pt x="562" y="239"/>
                  </a:lnTo>
                  <a:lnTo>
                    <a:pt x="562" y="243"/>
                  </a:lnTo>
                  <a:lnTo>
                    <a:pt x="566" y="247"/>
                  </a:lnTo>
                  <a:lnTo>
                    <a:pt x="562" y="247"/>
                  </a:lnTo>
                  <a:lnTo>
                    <a:pt x="554" y="251"/>
                  </a:lnTo>
                  <a:lnTo>
                    <a:pt x="550" y="247"/>
                  </a:lnTo>
                  <a:lnTo>
                    <a:pt x="546" y="247"/>
                  </a:lnTo>
                  <a:lnTo>
                    <a:pt x="546" y="243"/>
                  </a:lnTo>
                  <a:lnTo>
                    <a:pt x="550" y="243"/>
                  </a:lnTo>
                  <a:lnTo>
                    <a:pt x="546" y="243"/>
                  </a:lnTo>
                  <a:lnTo>
                    <a:pt x="550" y="239"/>
                  </a:lnTo>
                  <a:lnTo>
                    <a:pt x="554" y="239"/>
                  </a:lnTo>
                  <a:lnTo>
                    <a:pt x="558" y="239"/>
                  </a:lnTo>
                  <a:close/>
                  <a:moveTo>
                    <a:pt x="686" y="259"/>
                  </a:moveTo>
                  <a:lnTo>
                    <a:pt x="690" y="259"/>
                  </a:lnTo>
                  <a:lnTo>
                    <a:pt x="690" y="263"/>
                  </a:lnTo>
                  <a:lnTo>
                    <a:pt x="694" y="263"/>
                  </a:lnTo>
                  <a:lnTo>
                    <a:pt x="690" y="263"/>
                  </a:lnTo>
                  <a:lnTo>
                    <a:pt x="686" y="263"/>
                  </a:lnTo>
                  <a:lnTo>
                    <a:pt x="682" y="263"/>
                  </a:lnTo>
                  <a:lnTo>
                    <a:pt x="686" y="259"/>
                  </a:lnTo>
                  <a:close/>
                  <a:moveTo>
                    <a:pt x="662" y="259"/>
                  </a:moveTo>
                  <a:lnTo>
                    <a:pt x="662" y="263"/>
                  </a:lnTo>
                  <a:lnTo>
                    <a:pt x="658" y="263"/>
                  </a:lnTo>
                  <a:lnTo>
                    <a:pt x="658" y="267"/>
                  </a:lnTo>
                  <a:lnTo>
                    <a:pt x="654" y="267"/>
                  </a:lnTo>
                  <a:lnTo>
                    <a:pt x="654" y="263"/>
                  </a:lnTo>
                  <a:lnTo>
                    <a:pt x="658" y="263"/>
                  </a:lnTo>
                  <a:lnTo>
                    <a:pt x="658" y="259"/>
                  </a:lnTo>
                  <a:lnTo>
                    <a:pt x="662" y="259"/>
                  </a:lnTo>
                  <a:close/>
                  <a:moveTo>
                    <a:pt x="267" y="355"/>
                  </a:moveTo>
                  <a:lnTo>
                    <a:pt x="263" y="355"/>
                  </a:lnTo>
                  <a:lnTo>
                    <a:pt x="263" y="351"/>
                  </a:lnTo>
                  <a:lnTo>
                    <a:pt x="259" y="347"/>
                  </a:lnTo>
                  <a:lnTo>
                    <a:pt x="259" y="343"/>
                  </a:lnTo>
                  <a:lnTo>
                    <a:pt x="255" y="343"/>
                  </a:lnTo>
                  <a:lnTo>
                    <a:pt x="251" y="343"/>
                  </a:lnTo>
                  <a:lnTo>
                    <a:pt x="247" y="343"/>
                  </a:lnTo>
                  <a:lnTo>
                    <a:pt x="247" y="339"/>
                  </a:lnTo>
                  <a:lnTo>
                    <a:pt x="243" y="339"/>
                  </a:lnTo>
                  <a:lnTo>
                    <a:pt x="239" y="339"/>
                  </a:lnTo>
                  <a:lnTo>
                    <a:pt x="239" y="335"/>
                  </a:lnTo>
                  <a:lnTo>
                    <a:pt x="243" y="339"/>
                  </a:lnTo>
                  <a:lnTo>
                    <a:pt x="243" y="335"/>
                  </a:lnTo>
                  <a:lnTo>
                    <a:pt x="239" y="335"/>
                  </a:lnTo>
                  <a:lnTo>
                    <a:pt x="235" y="335"/>
                  </a:lnTo>
                  <a:lnTo>
                    <a:pt x="231" y="335"/>
                  </a:lnTo>
                  <a:lnTo>
                    <a:pt x="227" y="335"/>
                  </a:lnTo>
                  <a:lnTo>
                    <a:pt x="231" y="335"/>
                  </a:lnTo>
                  <a:lnTo>
                    <a:pt x="231" y="331"/>
                  </a:lnTo>
                  <a:lnTo>
                    <a:pt x="231" y="327"/>
                  </a:lnTo>
                  <a:lnTo>
                    <a:pt x="235" y="327"/>
                  </a:lnTo>
                  <a:lnTo>
                    <a:pt x="235" y="323"/>
                  </a:lnTo>
                  <a:lnTo>
                    <a:pt x="239" y="323"/>
                  </a:lnTo>
                  <a:lnTo>
                    <a:pt x="239" y="319"/>
                  </a:lnTo>
                  <a:lnTo>
                    <a:pt x="243" y="319"/>
                  </a:lnTo>
                  <a:lnTo>
                    <a:pt x="243" y="315"/>
                  </a:lnTo>
                  <a:lnTo>
                    <a:pt x="243" y="311"/>
                  </a:lnTo>
                  <a:lnTo>
                    <a:pt x="247" y="311"/>
                  </a:lnTo>
                  <a:lnTo>
                    <a:pt x="251" y="311"/>
                  </a:lnTo>
                  <a:lnTo>
                    <a:pt x="251" y="307"/>
                  </a:lnTo>
                  <a:lnTo>
                    <a:pt x="247" y="307"/>
                  </a:lnTo>
                  <a:lnTo>
                    <a:pt x="243" y="307"/>
                  </a:lnTo>
                  <a:lnTo>
                    <a:pt x="243" y="303"/>
                  </a:lnTo>
                  <a:lnTo>
                    <a:pt x="247" y="303"/>
                  </a:lnTo>
                  <a:lnTo>
                    <a:pt x="247" y="299"/>
                  </a:lnTo>
                  <a:lnTo>
                    <a:pt x="251" y="299"/>
                  </a:lnTo>
                  <a:lnTo>
                    <a:pt x="251" y="295"/>
                  </a:lnTo>
                  <a:lnTo>
                    <a:pt x="255" y="295"/>
                  </a:lnTo>
                  <a:lnTo>
                    <a:pt x="255" y="291"/>
                  </a:lnTo>
                  <a:lnTo>
                    <a:pt x="255" y="287"/>
                  </a:lnTo>
                  <a:lnTo>
                    <a:pt x="259" y="287"/>
                  </a:lnTo>
                  <a:lnTo>
                    <a:pt x="259" y="283"/>
                  </a:lnTo>
                  <a:lnTo>
                    <a:pt x="255" y="283"/>
                  </a:lnTo>
                  <a:lnTo>
                    <a:pt x="251" y="279"/>
                  </a:lnTo>
                  <a:lnTo>
                    <a:pt x="251" y="275"/>
                  </a:lnTo>
                  <a:lnTo>
                    <a:pt x="247" y="271"/>
                  </a:lnTo>
                  <a:lnTo>
                    <a:pt x="243" y="271"/>
                  </a:lnTo>
                  <a:lnTo>
                    <a:pt x="247" y="267"/>
                  </a:lnTo>
                  <a:lnTo>
                    <a:pt x="251" y="267"/>
                  </a:lnTo>
                  <a:lnTo>
                    <a:pt x="255" y="267"/>
                  </a:lnTo>
                  <a:lnTo>
                    <a:pt x="259" y="267"/>
                  </a:lnTo>
                  <a:lnTo>
                    <a:pt x="263" y="267"/>
                  </a:lnTo>
                  <a:lnTo>
                    <a:pt x="267" y="267"/>
                  </a:lnTo>
                  <a:lnTo>
                    <a:pt x="271" y="267"/>
                  </a:lnTo>
                  <a:lnTo>
                    <a:pt x="275" y="267"/>
                  </a:lnTo>
                  <a:lnTo>
                    <a:pt x="279" y="267"/>
                  </a:lnTo>
                  <a:lnTo>
                    <a:pt x="283" y="267"/>
                  </a:lnTo>
                  <a:lnTo>
                    <a:pt x="287" y="263"/>
                  </a:lnTo>
                  <a:lnTo>
                    <a:pt x="291" y="263"/>
                  </a:lnTo>
                  <a:lnTo>
                    <a:pt x="295" y="263"/>
                  </a:lnTo>
                  <a:lnTo>
                    <a:pt x="299" y="263"/>
                  </a:lnTo>
                  <a:lnTo>
                    <a:pt x="303" y="263"/>
                  </a:lnTo>
                  <a:lnTo>
                    <a:pt x="303" y="267"/>
                  </a:lnTo>
                  <a:lnTo>
                    <a:pt x="307" y="267"/>
                  </a:lnTo>
                  <a:lnTo>
                    <a:pt x="311" y="271"/>
                  </a:lnTo>
                  <a:lnTo>
                    <a:pt x="315" y="271"/>
                  </a:lnTo>
                  <a:lnTo>
                    <a:pt x="319" y="271"/>
                  </a:lnTo>
                  <a:lnTo>
                    <a:pt x="323" y="271"/>
                  </a:lnTo>
                  <a:lnTo>
                    <a:pt x="323" y="275"/>
                  </a:lnTo>
                  <a:lnTo>
                    <a:pt x="319" y="275"/>
                  </a:lnTo>
                  <a:lnTo>
                    <a:pt x="319" y="279"/>
                  </a:lnTo>
                  <a:lnTo>
                    <a:pt x="323" y="279"/>
                  </a:lnTo>
                  <a:lnTo>
                    <a:pt x="323" y="275"/>
                  </a:lnTo>
                  <a:lnTo>
                    <a:pt x="327" y="271"/>
                  </a:lnTo>
                  <a:lnTo>
                    <a:pt x="331" y="271"/>
                  </a:lnTo>
                  <a:lnTo>
                    <a:pt x="331" y="275"/>
                  </a:lnTo>
                  <a:lnTo>
                    <a:pt x="331" y="279"/>
                  </a:lnTo>
                  <a:lnTo>
                    <a:pt x="335" y="279"/>
                  </a:lnTo>
                  <a:lnTo>
                    <a:pt x="335" y="275"/>
                  </a:lnTo>
                  <a:lnTo>
                    <a:pt x="335" y="271"/>
                  </a:lnTo>
                  <a:lnTo>
                    <a:pt x="339" y="271"/>
                  </a:lnTo>
                  <a:lnTo>
                    <a:pt x="347" y="271"/>
                  </a:lnTo>
                  <a:lnTo>
                    <a:pt x="351" y="271"/>
                  </a:lnTo>
                  <a:lnTo>
                    <a:pt x="355" y="271"/>
                  </a:lnTo>
                  <a:lnTo>
                    <a:pt x="359" y="271"/>
                  </a:lnTo>
                  <a:lnTo>
                    <a:pt x="359" y="275"/>
                  </a:lnTo>
                  <a:lnTo>
                    <a:pt x="367" y="275"/>
                  </a:lnTo>
                  <a:lnTo>
                    <a:pt x="367" y="279"/>
                  </a:lnTo>
                  <a:lnTo>
                    <a:pt x="371" y="279"/>
                  </a:lnTo>
                  <a:lnTo>
                    <a:pt x="371" y="283"/>
                  </a:lnTo>
                  <a:lnTo>
                    <a:pt x="375" y="283"/>
                  </a:lnTo>
                  <a:lnTo>
                    <a:pt x="379" y="283"/>
                  </a:lnTo>
                  <a:lnTo>
                    <a:pt x="379" y="287"/>
                  </a:lnTo>
                  <a:lnTo>
                    <a:pt x="383" y="287"/>
                  </a:lnTo>
                  <a:lnTo>
                    <a:pt x="387" y="291"/>
                  </a:lnTo>
                  <a:lnTo>
                    <a:pt x="387" y="295"/>
                  </a:lnTo>
                  <a:lnTo>
                    <a:pt x="383" y="295"/>
                  </a:lnTo>
                  <a:lnTo>
                    <a:pt x="379" y="299"/>
                  </a:lnTo>
                  <a:lnTo>
                    <a:pt x="375" y="299"/>
                  </a:lnTo>
                  <a:lnTo>
                    <a:pt x="371" y="299"/>
                  </a:lnTo>
                  <a:lnTo>
                    <a:pt x="367" y="303"/>
                  </a:lnTo>
                  <a:lnTo>
                    <a:pt x="363" y="303"/>
                  </a:lnTo>
                  <a:lnTo>
                    <a:pt x="359" y="303"/>
                  </a:lnTo>
                  <a:lnTo>
                    <a:pt x="359" y="307"/>
                  </a:lnTo>
                  <a:lnTo>
                    <a:pt x="355" y="307"/>
                  </a:lnTo>
                  <a:lnTo>
                    <a:pt x="351" y="307"/>
                  </a:lnTo>
                  <a:lnTo>
                    <a:pt x="351" y="311"/>
                  </a:lnTo>
                  <a:lnTo>
                    <a:pt x="347" y="311"/>
                  </a:lnTo>
                  <a:lnTo>
                    <a:pt x="343" y="311"/>
                  </a:lnTo>
                  <a:lnTo>
                    <a:pt x="339" y="315"/>
                  </a:lnTo>
                  <a:lnTo>
                    <a:pt x="335" y="315"/>
                  </a:lnTo>
                  <a:lnTo>
                    <a:pt x="331" y="319"/>
                  </a:lnTo>
                  <a:lnTo>
                    <a:pt x="327" y="323"/>
                  </a:lnTo>
                  <a:lnTo>
                    <a:pt x="327" y="327"/>
                  </a:lnTo>
                  <a:lnTo>
                    <a:pt x="323" y="327"/>
                  </a:lnTo>
                  <a:lnTo>
                    <a:pt x="323" y="331"/>
                  </a:lnTo>
                  <a:lnTo>
                    <a:pt x="319" y="331"/>
                  </a:lnTo>
                  <a:lnTo>
                    <a:pt x="315" y="327"/>
                  </a:lnTo>
                  <a:lnTo>
                    <a:pt x="315" y="331"/>
                  </a:lnTo>
                  <a:lnTo>
                    <a:pt x="315" y="335"/>
                  </a:lnTo>
                  <a:lnTo>
                    <a:pt x="311" y="335"/>
                  </a:lnTo>
                  <a:lnTo>
                    <a:pt x="311" y="339"/>
                  </a:lnTo>
                  <a:lnTo>
                    <a:pt x="311" y="343"/>
                  </a:lnTo>
                  <a:lnTo>
                    <a:pt x="311" y="347"/>
                  </a:lnTo>
                  <a:lnTo>
                    <a:pt x="307" y="351"/>
                  </a:lnTo>
                  <a:lnTo>
                    <a:pt x="303" y="351"/>
                  </a:lnTo>
                  <a:lnTo>
                    <a:pt x="299" y="351"/>
                  </a:lnTo>
                  <a:lnTo>
                    <a:pt x="295" y="351"/>
                  </a:lnTo>
                  <a:lnTo>
                    <a:pt x="291" y="351"/>
                  </a:lnTo>
                  <a:lnTo>
                    <a:pt x="287" y="351"/>
                  </a:lnTo>
                  <a:lnTo>
                    <a:pt x="287" y="355"/>
                  </a:lnTo>
                  <a:lnTo>
                    <a:pt x="283" y="355"/>
                  </a:lnTo>
                  <a:lnTo>
                    <a:pt x="283" y="359"/>
                  </a:lnTo>
                  <a:lnTo>
                    <a:pt x="279" y="359"/>
                  </a:lnTo>
                  <a:lnTo>
                    <a:pt x="275" y="359"/>
                  </a:lnTo>
                  <a:lnTo>
                    <a:pt x="275" y="363"/>
                  </a:lnTo>
                  <a:lnTo>
                    <a:pt x="271" y="363"/>
                  </a:lnTo>
                  <a:lnTo>
                    <a:pt x="271" y="359"/>
                  </a:lnTo>
                  <a:lnTo>
                    <a:pt x="267" y="359"/>
                  </a:lnTo>
                  <a:lnTo>
                    <a:pt x="267" y="355"/>
                  </a:lnTo>
                  <a:close/>
                  <a:moveTo>
                    <a:pt x="754" y="299"/>
                  </a:moveTo>
                  <a:lnTo>
                    <a:pt x="750" y="303"/>
                  </a:lnTo>
                  <a:lnTo>
                    <a:pt x="750" y="307"/>
                  </a:lnTo>
                  <a:lnTo>
                    <a:pt x="746" y="307"/>
                  </a:lnTo>
                  <a:lnTo>
                    <a:pt x="746" y="311"/>
                  </a:lnTo>
                  <a:lnTo>
                    <a:pt x="742" y="311"/>
                  </a:lnTo>
                  <a:lnTo>
                    <a:pt x="742" y="315"/>
                  </a:lnTo>
                  <a:lnTo>
                    <a:pt x="738" y="315"/>
                  </a:lnTo>
                  <a:lnTo>
                    <a:pt x="734" y="315"/>
                  </a:lnTo>
                  <a:lnTo>
                    <a:pt x="730" y="315"/>
                  </a:lnTo>
                  <a:lnTo>
                    <a:pt x="726" y="315"/>
                  </a:lnTo>
                  <a:lnTo>
                    <a:pt x="722" y="315"/>
                  </a:lnTo>
                  <a:lnTo>
                    <a:pt x="722" y="311"/>
                  </a:lnTo>
                  <a:lnTo>
                    <a:pt x="722" y="315"/>
                  </a:lnTo>
                  <a:lnTo>
                    <a:pt x="718" y="315"/>
                  </a:lnTo>
                  <a:lnTo>
                    <a:pt x="714" y="315"/>
                  </a:lnTo>
                  <a:lnTo>
                    <a:pt x="710" y="315"/>
                  </a:lnTo>
                  <a:lnTo>
                    <a:pt x="706" y="315"/>
                  </a:lnTo>
                  <a:lnTo>
                    <a:pt x="710" y="315"/>
                  </a:lnTo>
                  <a:lnTo>
                    <a:pt x="714" y="315"/>
                  </a:lnTo>
                  <a:lnTo>
                    <a:pt x="714" y="319"/>
                  </a:lnTo>
                  <a:lnTo>
                    <a:pt x="718" y="319"/>
                  </a:lnTo>
                  <a:lnTo>
                    <a:pt x="718" y="323"/>
                  </a:lnTo>
                  <a:lnTo>
                    <a:pt x="718" y="327"/>
                  </a:lnTo>
                  <a:lnTo>
                    <a:pt x="714" y="327"/>
                  </a:lnTo>
                  <a:lnTo>
                    <a:pt x="710" y="331"/>
                  </a:lnTo>
                  <a:lnTo>
                    <a:pt x="710" y="335"/>
                  </a:lnTo>
                  <a:lnTo>
                    <a:pt x="706" y="335"/>
                  </a:lnTo>
                  <a:lnTo>
                    <a:pt x="698" y="335"/>
                  </a:lnTo>
                  <a:lnTo>
                    <a:pt x="694" y="335"/>
                  </a:lnTo>
                  <a:lnTo>
                    <a:pt x="694" y="331"/>
                  </a:lnTo>
                  <a:lnTo>
                    <a:pt x="698" y="331"/>
                  </a:lnTo>
                  <a:lnTo>
                    <a:pt x="694" y="331"/>
                  </a:lnTo>
                  <a:lnTo>
                    <a:pt x="694" y="327"/>
                  </a:lnTo>
                  <a:lnTo>
                    <a:pt x="694" y="323"/>
                  </a:lnTo>
                  <a:lnTo>
                    <a:pt x="694" y="319"/>
                  </a:lnTo>
                  <a:lnTo>
                    <a:pt x="690" y="319"/>
                  </a:lnTo>
                  <a:lnTo>
                    <a:pt x="690" y="315"/>
                  </a:lnTo>
                  <a:lnTo>
                    <a:pt x="686" y="315"/>
                  </a:lnTo>
                  <a:lnTo>
                    <a:pt x="686" y="311"/>
                  </a:lnTo>
                  <a:lnTo>
                    <a:pt x="686" y="307"/>
                  </a:lnTo>
                  <a:lnTo>
                    <a:pt x="686" y="303"/>
                  </a:lnTo>
                  <a:lnTo>
                    <a:pt x="686" y="299"/>
                  </a:lnTo>
                  <a:lnTo>
                    <a:pt x="686" y="295"/>
                  </a:lnTo>
                  <a:lnTo>
                    <a:pt x="686" y="291"/>
                  </a:lnTo>
                  <a:lnTo>
                    <a:pt x="686" y="287"/>
                  </a:lnTo>
                  <a:lnTo>
                    <a:pt x="690" y="287"/>
                  </a:lnTo>
                  <a:lnTo>
                    <a:pt x="694" y="287"/>
                  </a:lnTo>
                  <a:lnTo>
                    <a:pt x="698" y="287"/>
                  </a:lnTo>
                  <a:lnTo>
                    <a:pt x="702" y="287"/>
                  </a:lnTo>
                  <a:lnTo>
                    <a:pt x="698" y="287"/>
                  </a:lnTo>
                  <a:lnTo>
                    <a:pt x="694" y="287"/>
                  </a:lnTo>
                  <a:lnTo>
                    <a:pt x="694" y="283"/>
                  </a:lnTo>
                  <a:lnTo>
                    <a:pt x="698" y="283"/>
                  </a:lnTo>
                  <a:lnTo>
                    <a:pt x="694" y="283"/>
                  </a:lnTo>
                  <a:lnTo>
                    <a:pt x="690" y="283"/>
                  </a:lnTo>
                  <a:lnTo>
                    <a:pt x="690" y="279"/>
                  </a:lnTo>
                  <a:lnTo>
                    <a:pt x="694" y="279"/>
                  </a:lnTo>
                  <a:lnTo>
                    <a:pt x="698" y="279"/>
                  </a:lnTo>
                  <a:lnTo>
                    <a:pt x="698" y="275"/>
                  </a:lnTo>
                  <a:lnTo>
                    <a:pt x="702" y="275"/>
                  </a:lnTo>
                  <a:lnTo>
                    <a:pt x="706" y="275"/>
                  </a:lnTo>
                  <a:lnTo>
                    <a:pt x="710" y="275"/>
                  </a:lnTo>
                  <a:lnTo>
                    <a:pt x="714" y="275"/>
                  </a:lnTo>
                  <a:lnTo>
                    <a:pt x="718" y="275"/>
                  </a:lnTo>
                  <a:lnTo>
                    <a:pt x="722" y="275"/>
                  </a:lnTo>
                  <a:lnTo>
                    <a:pt x="726" y="275"/>
                  </a:lnTo>
                  <a:lnTo>
                    <a:pt x="730" y="275"/>
                  </a:lnTo>
                  <a:lnTo>
                    <a:pt x="734" y="279"/>
                  </a:lnTo>
                  <a:lnTo>
                    <a:pt x="738" y="279"/>
                  </a:lnTo>
                  <a:lnTo>
                    <a:pt x="742" y="279"/>
                  </a:lnTo>
                  <a:lnTo>
                    <a:pt x="750" y="279"/>
                  </a:lnTo>
                  <a:lnTo>
                    <a:pt x="754" y="279"/>
                  </a:lnTo>
                  <a:lnTo>
                    <a:pt x="762" y="279"/>
                  </a:lnTo>
                  <a:lnTo>
                    <a:pt x="766" y="283"/>
                  </a:lnTo>
                  <a:lnTo>
                    <a:pt x="766" y="279"/>
                  </a:lnTo>
                  <a:lnTo>
                    <a:pt x="770" y="283"/>
                  </a:lnTo>
                  <a:lnTo>
                    <a:pt x="766" y="283"/>
                  </a:lnTo>
                  <a:lnTo>
                    <a:pt x="766" y="287"/>
                  </a:lnTo>
                  <a:lnTo>
                    <a:pt x="762" y="287"/>
                  </a:lnTo>
                  <a:lnTo>
                    <a:pt x="762" y="291"/>
                  </a:lnTo>
                  <a:lnTo>
                    <a:pt x="758" y="291"/>
                  </a:lnTo>
                  <a:lnTo>
                    <a:pt x="758" y="295"/>
                  </a:lnTo>
                  <a:lnTo>
                    <a:pt x="754" y="295"/>
                  </a:lnTo>
                  <a:lnTo>
                    <a:pt x="754" y="299"/>
                  </a:lnTo>
                  <a:close/>
                  <a:moveTo>
                    <a:pt x="770" y="279"/>
                  </a:moveTo>
                  <a:lnTo>
                    <a:pt x="766" y="279"/>
                  </a:lnTo>
                  <a:lnTo>
                    <a:pt x="770" y="279"/>
                  </a:lnTo>
                  <a:lnTo>
                    <a:pt x="770" y="275"/>
                  </a:lnTo>
                  <a:lnTo>
                    <a:pt x="774" y="275"/>
                  </a:lnTo>
                  <a:lnTo>
                    <a:pt x="774" y="279"/>
                  </a:lnTo>
                  <a:lnTo>
                    <a:pt x="770" y="279"/>
                  </a:lnTo>
                  <a:close/>
                  <a:moveTo>
                    <a:pt x="662" y="295"/>
                  </a:moveTo>
                  <a:lnTo>
                    <a:pt x="662" y="299"/>
                  </a:lnTo>
                  <a:lnTo>
                    <a:pt x="658" y="299"/>
                  </a:lnTo>
                  <a:lnTo>
                    <a:pt x="654" y="299"/>
                  </a:lnTo>
                  <a:lnTo>
                    <a:pt x="650" y="303"/>
                  </a:lnTo>
                  <a:lnTo>
                    <a:pt x="646" y="303"/>
                  </a:lnTo>
                  <a:lnTo>
                    <a:pt x="646" y="307"/>
                  </a:lnTo>
                  <a:lnTo>
                    <a:pt x="642" y="307"/>
                  </a:lnTo>
                  <a:lnTo>
                    <a:pt x="642" y="311"/>
                  </a:lnTo>
                  <a:lnTo>
                    <a:pt x="646" y="311"/>
                  </a:lnTo>
                  <a:lnTo>
                    <a:pt x="646" y="307"/>
                  </a:lnTo>
                  <a:lnTo>
                    <a:pt x="650" y="307"/>
                  </a:lnTo>
                  <a:lnTo>
                    <a:pt x="654" y="307"/>
                  </a:lnTo>
                  <a:lnTo>
                    <a:pt x="658" y="307"/>
                  </a:lnTo>
                  <a:lnTo>
                    <a:pt x="662" y="307"/>
                  </a:lnTo>
                  <a:lnTo>
                    <a:pt x="662" y="311"/>
                  </a:lnTo>
                  <a:lnTo>
                    <a:pt x="666" y="315"/>
                  </a:lnTo>
                  <a:lnTo>
                    <a:pt x="662" y="315"/>
                  </a:lnTo>
                  <a:lnTo>
                    <a:pt x="662" y="319"/>
                  </a:lnTo>
                  <a:lnTo>
                    <a:pt x="666" y="319"/>
                  </a:lnTo>
                  <a:lnTo>
                    <a:pt x="666" y="315"/>
                  </a:lnTo>
                  <a:lnTo>
                    <a:pt x="670" y="315"/>
                  </a:lnTo>
                  <a:lnTo>
                    <a:pt x="674" y="315"/>
                  </a:lnTo>
                  <a:lnTo>
                    <a:pt x="674" y="319"/>
                  </a:lnTo>
                  <a:lnTo>
                    <a:pt x="674" y="323"/>
                  </a:lnTo>
                  <a:lnTo>
                    <a:pt x="678" y="323"/>
                  </a:lnTo>
                  <a:lnTo>
                    <a:pt x="674" y="327"/>
                  </a:lnTo>
                  <a:lnTo>
                    <a:pt x="670" y="327"/>
                  </a:lnTo>
                  <a:lnTo>
                    <a:pt x="666" y="327"/>
                  </a:lnTo>
                  <a:lnTo>
                    <a:pt x="670" y="327"/>
                  </a:lnTo>
                  <a:lnTo>
                    <a:pt x="674" y="327"/>
                  </a:lnTo>
                  <a:lnTo>
                    <a:pt x="674" y="331"/>
                  </a:lnTo>
                  <a:lnTo>
                    <a:pt x="674" y="335"/>
                  </a:lnTo>
                  <a:lnTo>
                    <a:pt x="670" y="335"/>
                  </a:lnTo>
                  <a:lnTo>
                    <a:pt x="666" y="335"/>
                  </a:lnTo>
                  <a:lnTo>
                    <a:pt x="670" y="335"/>
                  </a:lnTo>
                  <a:lnTo>
                    <a:pt x="674" y="335"/>
                  </a:lnTo>
                  <a:lnTo>
                    <a:pt x="670" y="335"/>
                  </a:lnTo>
                  <a:lnTo>
                    <a:pt x="670" y="339"/>
                  </a:lnTo>
                  <a:lnTo>
                    <a:pt x="674" y="339"/>
                  </a:lnTo>
                  <a:lnTo>
                    <a:pt x="670" y="339"/>
                  </a:lnTo>
                  <a:lnTo>
                    <a:pt x="670" y="343"/>
                  </a:lnTo>
                  <a:lnTo>
                    <a:pt x="670" y="339"/>
                  </a:lnTo>
                  <a:lnTo>
                    <a:pt x="666" y="343"/>
                  </a:lnTo>
                  <a:lnTo>
                    <a:pt x="662" y="343"/>
                  </a:lnTo>
                  <a:lnTo>
                    <a:pt x="658" y="347"/>
                  </a:lnTo>
                  <a:lnTo>
                    <a:pt x="654" y="347"/>
                  </a:lnTo>
                  <a:lnTo>
                    <a:pt x="650" y="343"/>
                  </a:lnTo>
                  <a:lnTo>
                    <a:pt x="650" y="347"/>
                  </a:lnTo>
                  <a:lnTo>
                    <a:pt x="646" y="347"/>
                  </a:lnTo>
                  <a:lnTo>
                    <a:pt x="646" y="343"/>
                  </a:lnTo>
                  <a:lnTo>
                    <a:pt x="646" y="339"/>
                  </a:lnTo>
                  <a:lnTo>
                    <a:pt x="642" y="343"/>
                  </a:lnTo>
                  <a:lnTo>
                    <a:pt x="646" y="347"/>
                  </a:lnTo>
                  <a:lnTo>
                    <a:pt x="650" y="347"/>
                  </a:lnTo>
                  <a:lnTo>
                    <a:pt x="650" y="351"/>
                  </a:lnTo>
                  <a:lnTo>
                    <a:pt x="646" y="351"/>
                  </a:lnTo>
                  <a:lnTo>
                    <a:pt x="642" y="355"/>
                  </a:lnTo>
                  <a:lnTo>
                    <a:pt x="638" y="355"/>
                  </a:lnTo>
                  <a:lnTo>
                    <a:pt x="634" y="351"/>
                  </a:lnTo>
                  <a:lnTo>
                    <a:pt x="634" y="355"/>
                  </a:lnTo>
                  <a:lnTo>
                    <a:pt x="630" y="355"/>
                  </a:lnTo>
                  <a:lnTo>
                    <a:pt x="630" y="351"/>
                  </a:lnTo>
                  <a:lnTo>
                    <a:pt x="630" y="347"/>
                  </a:lnTo>
                  <a:lnTo>
                    <a:pt x="626" y="347"/>
                  </a:lnTo>
                  <a:lnTo>
                    <a:pt x="626" y="343"/>
                  </a:lnTo>
                  <a:lnTo>
                    <a:pt x="622" y="339"/>
                  </a:lnTo>
                  <a:lnTo>
                    <a:pt x="618" y="339"/>
                  </a:lnTo>
                  <a:lnTo>
                    <a:pt x="614" y="335"/>
                  </a:lnTo>
                  <a:lnTo>
                    <a:pt x="610" y="331"/>
                  </a:lnTo>
                  <a:lnTo>
                    <a:pt x="606" y="331"/>
                  </a:lnTo>
                  <a:lnTo>
                    <a:pt x="606" y="327"/>
                  </a:lnTo>
                  <a:lnTo>
                    <a:pt x="602" y="327"/>
                  </a:lnTo>
                  <a:lnTo>
                    <a:pt x="598" y="327"/>
                  </a:lnTo>
                  <a:lnTo>
                    <a:pt x="594" y="327"/>
                  </a:lnTo>
                  <a:lnTo>
                    <a:pt x="590" y="327"/>
                  </a:lnTo>
                  <a:lnTo>
                    <a:pt x="590" y="323"/>
                  </a:lnTo>
                  <a:lnTo>
                    <a:pt x="590" y="319"/>
                  </a:lnTo>
                  <a:lnTo>
                    <a:pt x="586" y="319"/>
                  </a:lnTo>
                  <a:lnTo>
                    <a:pt x="582" y="319"/>
                  </a:lnTo>
                  <a:lnTo>
                    <a:pt x="582" y="315"/>
                  </a:lnTo>
                  <a:lnTo>
                    <a:pt x="578" y="315"/>
                  </a:lnTo>
                  <a:lnTo>
                    <a:pt x="578" y="311"/>
                  </a:lnTo>
                  <a:lnTo>
                    <a:pt x="582" y="311"/>
                  </a:lnTo>
                  <a:lnTo>
                    <a:pt x="582" y="307"/>
                  </a:lnTo>
                  <a:lnTo>
                    <a:pt x="586" y="307"/>
                  </a:lnTo>
                  <a:lnTo>
                    <a:pt x="586" y="303"/>
                  </a:lnTo>
                  <a:lnTo>
                    <a:pt x="590" y="303"/>
                  </a:lnTo>
                  <a:lnTo>
                    <a:pt x="590" y="307"/>
                  </a:lnTo>
                  <a:lnTo>
                    <a:pt x="594" y="307"/>
                  </a:lnTo>
                  <a:lnTo>
                    <a:pt x="594" y="311"/>
                  </a:lnTo>
                  <a:lnTo>
                    <a:pt x="598" y="311"/>
                  </a:lnTo>
                  <a:lnTo>
                    <a:pt x="598" y="315"/>
                  </a:lnTo>
                  <a:lnTo>
                    <a:pt x="602" y="315"/>
                  </a:lnTo>
                  <a:lnTo>
                    <a:pt x="606" y="315"/>
                  </a:lnTo>
                  <a:lnTo>
                    <a:pt x="610" y="315"/>
                  </a:lnTo>
                  <a:lnTo>
                    <a:pt x="614" y="315"/>
                  </a:lnTo>
                  <a:lnTo>
                    <a:pt x="614" y="311"/>
                  </a:lnTo>
                  <a:lnTo>
                    <a:pt x="614" y="307"/>
                  </a:lnTo>
                  <a:lnTo>
                    <a:pt x="614" y="311"/>
                  </a:lnTo>
                  <a:lnTo>
                    <a:pt x="618" y="311"/>
                  </a:lnTo>
                  <a:lnTo>
                    <a:pt x="618" y="307"/>
                  </a:lnTo>
                  <a:lnTo>
                    <a:pt x="618" y="303"/>
                  </a:lnTo>
                  <a:lnTo>
                    <a:pt x="614" y="303"/>
                  </a:lnTo>
                  <a:lnTo>
                    <a:pt x="610" y="303"/>
                  </a:lnTo>
                  <a:lnTo>
                    <a:pt x="614" y="299"/>
                  </a:lnTo>
                  <a:lnTo>
                    <a:pt x="618" y="303"/>
                  </a:lnTo>
                  <a:lnTo>
                    <a:pt x="622" y="303"/>
                  </a:lnTo>
                  <a:lnTo>
                    <a:pt x="618" y="299"/>
                  </a:lnTo>
                  <a:lnTo>
                    <a:pt x="614" y="299"/>
                  </a:lnTo>
                  <a:lnTo>
                    <a:pt x="614" y="295"/>
                  </a:lnTo>
                  <a:lnTo>
                    <a:pt x="614" y="299"/>
                  </a:lnTo>
                  <a:lnTo>
                    <a:pt x="610" y="299"/>
                  </a:lnTo>
                  <a:lnTo>
                    <a:pt x="606" y="299"/>
                  </a:lnTo>
                  <a:lnTo>
                    <a:pt x="602" y="295"/>
                  </a:lnTo>
                  <a:lnTo>
                    <a:pt x="598" y="295"/>
                  </a:lnTo>
                  <a:lnTo>
                    <a:pt x="594" y="295"/>
                  </a:lnTo>
                  <a:lnTo>
                    <a:pt x="598" y="291"/>
                  </a:lnTo>
                  <a:lnTo>
                    <a:pt x="602" y="291"/>
                  </a:lnTo>
                  <a:lnTo>
                    <a:pt x="606" y="291"/>
                  </a:lnTo>
                  <a:lnTo>
                    <a:pt x="610" y="291"/>
                  </a:lnTo>
                  <a:lnTo>
                    <a:pt x="610" y="295"/>
                  </a:lnTo>
                  <a:lnTo>
                    <a:pt x="614" y="295"/>
                  </a:lnTo>
                  <a:lnTo>
                    <a:pt x="610" y="295"/>
                  </a:lnTo>
                  <a:lnTo>
                    <a:pt x="610" y="291"/>
                  </a:lnTo>
                  <a:lnTo>
                    <a:pt x="606" y="291"/>
                  </a:lnTo>
                  <a:lnTo>
                    <a:pt x="606" y="287"/>
                  </a:lnTo>
                  <a:lnTo>
                    <a:pt x="602" y="287"/>
                  </a:lnTo>
                  <a:lnTo>
                    <a:pt x="606" y="283"/>
                  </a:lnTo>
                  <a:lnTo>
                    <a:pt x="610" y="283"/>
                  </a:lnTo>
                  <a:lnTo>
                    <a:pt x="614" y="283"/>
                  </a:lnTo>
                  <a:lnTo>
                    <a:pt x="618" y="287"/>
                  </a:lnTo>
                  <a:lnTo>
                    <a:pt x="622" y="283"/>
                  </a:lnTo>
                  <a:lnTo>
                    <a:pt x="618" y="283"/>
                  </a:lnTo>
                  <a:lnTo>
                    <a:pt x="614" y="283"/>
                  </a:lnTo>
                  <a:lnTo>
                    <a:pt x="618" y="283"/>
                  </a:lnTo>
                  <a:lnTo>
                    <a:pt x="618" y="279"/>
                  </a:lnTo>
                  <a:lnTo>
                    <a:pt x="622" y="279"/>
                  </a:lnTo>
                  <a:lnTo>
                    <a:pt x="622" y="283"/>
                  </a:lnTo>
                  <a:lnTo>
                    <a:pt x="626" y="283"/>
                  </a:lnTo>
                  <a:lnTo>
                    <a:pt x="630" y="287"/>
                  </a:lnTo>
                  <a:lnTo>
                    <a:pt x="634" y="287"/>
                  </a:lnTo>
                  <a:lnTo>
                    <a:pt x="638" y="287"/>
                  </a:lnTo>
                  <a:lnTo>
                    <a:pt x="642" y="287"/>
                  </a:lnTo>
                  <a:lnTo>
                    <a:pt x="642" y="283"/>
                  </a:lnTo>
                  <a:lnTo>
                    <a:pt x="646" y="283"/>
                  </a:lnTo>
                  <a:lnTo>
                    <a:pt x="650" y="283"/>
                  </a:lnTo>
                  <a:lnTo>
                    <a:pt x="654" y="283"/>
                  </a:lnTo>
                  <a:lnTo>
                    <a:pt x="658" y="283"/>
                  </a:lnTo>
                  <a:lnTo>
                    <a:pt x="662" y="283"/>
                  </a:lnTo>
                  <a:lnTo>
                    <a:pt x="666" y="287"/>
                  </a:lnTo>
                  <a:lnTo>
                    <a:pt x="666" y="291"/>
                  </a:lnTo>
                  <a:lnTo>
                    <a:pt x="662" y="291"/>
                  </a:lnTo>
                  <a:lnTo>
                    <a:pt x="658" y="291"/>
                  </a:lnTo>
                  <a:lnTo>
                    <a:pt x="654" y="295"/>
                  </a:lnTo>
                  <a:lnTo>
                    <a:pt x="658" y="295"/>
                  </a:lnTo>
                  <a:lnTo>
                    <a:pt x="662" y="295"/>
                  </a:lnTo>
                  <a:close/>
                  <a:moveTo>
                    <a:pt x="1073" y="579"/>
                  </a:moveTo>
                  <a:lnTo>
                    <a:pt x="1069" y="579"/>
                  </a:lnTo>
                  <a:lnTo>
                    <a:pt x="1065" y="579"/>
                  </a:lnTo>
                  <a:lnTo>
                    <a:pt x="1061" y="575"/>
                  </a:lnTo>
                  <a:lnTo>
                    <a:pt x="1057" y="575"/>
                  </a:lnTo>
                  <a:lnTo>
                    <a:pt x="1061" y="575"/>
                  </a:lnTo>
                  <a:lnTo>
                    <a:pt x="1061" y="571"/>
                  </a:lnTo>
                  <a:lnTo>
                    <a:pt x="1057" y="571"/>
                  </a:lnTo>
                  <a:lnTo>
                    <a:pt x="1057" y="575"/>
                  </a:lnTo>
                  <a:lnTo>
                    <a:pt x="1053" y="571"/>
                  </a:lnTo>
                  <a:lnTo>
                    <a:pt x="1049" y="571"/>
                  </a:lnTo>
                  <a:lnTo>
                    <a:pt x="1049" y="567"/>
                  </a:lnTo>
                  <a:lnTo>
                    <a:pt x="1049" y="563"/>
                  </a:lnTo>
                  <a:lnTo>
                    <a:pt x="1045" y="563"/>
                  </a:lnTo>
                  <a:lnTo>
                    <a:pt x="1041" y="563"/>
                  </a:lnTo>
                  <a:lnTo>
                    <a:pt x="1045" y="563"/>
                  </a:lnTo>
                  <a:lnTo>
                    <a:pt x="1049" y="563"/>
                  </a:lnTo>
                  <a:lnTo>
                    <a:pt x="1053" y="563"/>
                  </a:lnTo>
                  <a:lnTo>
                    <a:pt x="1053" y="559"/>
                  </a:lnTo>
                  <a:lnTo>
                    <a:pt x="1057" y="559"/>
                  </a:lnTo>
                  <a:lnTo>
                    <a:pt x="1053" y="559"/>
                  </a:lnTo>
                  <a:lnTo>
                    <a:pt x="1049" y="559"/>
                  </a:lnTo>
                  <a:lnTo>
                    <a:pt x="1049" y="555"/>
                  </a:lnTo>
                  <a:lnTo>
                    <a:pt x="1045" y="555"/>
                  </a:lnTo>
                  <a:lnTo>
                    <a:pt x="1045" y="559"/>
                  </a:lnTo>
                  <a:lnTo>
                    <a:pt x="1041" y="555"/>
                  </a:lnTo>
                  <a:lnTo>
                    <a:pt x="1041" y="559"/>
                  </a:lnTo>
                  <a:lnTo>
                    <a:pt x="1037" y="555"/>
                  </a:lnTo>
                  <a:lnTo>
                    <a:pt x="1041" y="555"/>
                  </a:lnTo>
                  <a:lnTo>
                    <a:pt x="1041" y="551"/>
                  </a:lnTo>
                  <a:lnTo>
                    <a:pt x="1037" y="551"/>
                  </a:lnTo>
                  <a:lnTo>
                    <a:pt x="1037" y="555"/>
                  </a:lnTo>
                  <a:lnTo>
                    <a:pt x="1037" y="551"/>
                  </a:lnTo>
                  <a:lnTo>
                    <a:pt x="1033" y="551"/>
                  </a:lnTo>
                  <a:lnTo>
                    <a:pt x="1037" y="547"/>
                  </a:lnTo>
                  <a:lnTo>
                    <a:pt x="1033" y="547"/>
                  </a:lnTo>
                  <a:lnTo>
                    <a:pt x="1033" y="551"/>
                  </a:lnTo>
                  <a:lnTo>
                    <a:pt x="1033" y="547"/>
                  </a:lnTo>
                  <a:lnTo>
                    <a:pt x="1029" y="547"/>
                  </a:lnTo>
                  <a:lnTo>
                    <a:pt x="1029" y="543"/>
                  </a:lnTo>
                  <a:lnTo>
                    <a:pt x="1025" y="543"/>
                  </a:lnTo>
                  <a:lnTo>
                    <a:pt x="1021" y="539"/>
                  </a:lnTo>
                  <a:lnTo>
                    <a:pt x="1025" y="535"/>
                  </a:lnTo>
                  <a:lnTo>
                    <a:pt x="1025" y="531"/>
                  </a:lnTo>
                  <a:lnTo>
                    <a:pt x="1025" y="535"/>
                  </a:lnTo>
                  <a:lnTo>
                    <a:pt x="1021" y="535"/>
                  </a:lnTo>
                  <a:lnTo>
                    <a:pt x="1021" y="531"/>
                  </a:lnTo>
                  <a:lnTo>
                    <a:pt x="1017" y="531"/>
                  </a:lnTo>
                  <a:lnTo>
                    <a:pt x="1017" y="535"/>
                  </a:lnTo>
                  <a:lnTo>
                    <a:pt x="1013" y="535"/>
                  </a:lnTo>
                  <a:lnTo>
                    <a:pt x="1017" y="535"/>
                  </a:lnTo>
                  <a:lnTo>
                    <a:pt x="1013" y="539"/>
                  </a:lnTo>
                  <a:lnTo>
                    <a:pt x="1013" y="535"/>
                  </a:lnTo>
                  <a:lnTo>
                    <a:pt x="1013" y="531"/>
                  </a:lnTo>
                  <a:lnTo>
                    <a:pt x="1009" y="531"/>
                  </a:lnTo>
                  <a:lnTo>
                    <a:pt x="1009" y="535"/>
                  </a:lnTo>
                  <a:lnTo>
                    <a:pt x="1005" y="535"/>
                  </a:lnTo>
                  <a:lnTo>
                    <a:pt x="1005" y="531"/>
                  </a:lnTo>
                  <a:lnTo>
                    <a:pt x="1005" y="527"/>
                  </a:lnTo>
                  <a:lnTo>
                    <a:pt x="1001" y="527"/>
                  </a:lnTo>
                  <a:lnTo>
                    <a:pt x="1001" y="531"/>
                  </a:lnTo>
                  <a:lnTo>
                    <a:pt x="1001" y="527"/>
                  </a:lnTo>
                  <a:lnTo>
                    <a:pt x="997" y="527"/>
                  </a:lnTo>
                  <a:lnTo>
                    <a:pt x="1001" y="531"/>
                  </a:lnTo>
                  <a:lnTo>
                    <a:pt x="1005" y="531"/>
                  </a:lnTo>
                  <a:lnTo>
                    <a:pt x="1005" y="535"/>
                  </a:lnTo>
                  <a:lnTo>
                    <a:pt x="1005" y="539"/>
                  </a:lnTo>
                  <a:lnTo>
                    <a:pt x="1001" y="539"/>
                  </a:lnTo>
                  <a:lnTo>
                    <a:pt x="997" y="539"/>
                  </a:lnTo>
                  <a:lnTo>
                    <a:pt x="997" y="535"/>
                  </a:lnTo>
                  <a:lnTo>
                    <a:pt x="997" y="539"/>
                  </a:lnTo>
                  <a:lnTo>
                    <a:pt x="993" y="539"/>
                  </a:lnTo>
                  <a:lnTo>
                    <a:pt x="993" y="535"/>
                  </a:lnTo>
                  <a:lnTo>
                    <a:pt x="989" y="535"/>
                  </a:lnTo>
                  <a:lnTo>
                    <a:pt x="985" y="535"/>
                  </a:lnTo>
                  <a:lnTo>
                    <a:pt x="989" y="535"/>
                  </a:lnTo>
                  <a:lnTo>
                    <a:pt x="989" y="539"/>
                  </a:lnTo>
                  <a:lnTo>
                    <a:pt x="985" y="539"/>
                  </a:lnTo>
                  <a:lnTo>
                    <a:pt x="985" y="535"/>
                  </a:lnTo>
                  <a:lnTo>
                    <a:pt x="989" y="539"/>
                  </a:lnTo>
                  <a:lnTo>
                    <a:pt x="985" y="539"/>
                  </a:lnTo>
                  <a:lnTo>
                    <a:pt x="981" y="539"/>
                  </a:lnTo>
                  <a:lnTo>
                    <a:pt x="981" y="543"/>
                  </a:lnTo>
                  <a:lnTo>
                    <a:pt x="977" y="543"/>
                  </a:lnTo>
                  <a:lnTo>
                    <a:pt x="973" y="543"/>
                  </a:lnTo>
                  <a:lnTo>
                    <a:pt x="969" y="543"/>
                  </a:lnTo>
                  <a:lnTo>
                    <a:pt x="965" y="543"/>
                  </a:lnTo>
                  <a:lnTo>
                    <a:pt x="961" y="543"/>
                  </a:lnTo>
                  <a:lnTo>
                    <a:pt x="961" y="539"/>
                  </a:lnTo>
                  <a:lnTo>
                    <a:pt x="957" y="539"/>
                  </a:lnTo>
                  <a:lnTo>
                    <a:pt x="953" y="539"/>
                  </a:lnTo>
                  <a:lnTo>
                    <a:pt x="949" y="535"/>
                  </a:lnTo>
                  <a:lnTo>
                    <a:pt x="949" y="531"/>
                  </a:lnTo>
                  <a:lnTo>
                    <a:pt x="953" y="527"/>
                  </a:lnTo>
                  <a:lnTo>
                    <a:pt x="949" y="523"/>
                  </a:lnTo>
                  <a:lnTo>
                    <a:pt x="953" y="523"/>
                  </a:lnTo>
                  <a:lnTo>
                    <a:pt x="957" y="519"/>
                  </a:lnTo>
                  <a:lnTo>
                    <a:pt x="961" y="519"/>
                  </a:lnTo>
                  <a:lnTo>
                    <a:pt x="965" y="519"/>
                  </a:lnTo>
                  <a:lnTo>
                    <a:pt x="961" y="515"/>
                  </a:lnTo>
                  <a:lnTo>
                    <a:pt x="965" y="515"/>
                  </a:lnTo>
                  <a:lnTo>
                    <a:pt x="961" y="511"/>
                  </a:lnTo>
                  <a:lnTo>
                    <a:pt x="965" y="511"/>
                  </a:lnTo>
                  <a:lnTo>
                    <a:pt x="969" y="511"/>
                  </a:lnTo>
                  <a:lnTo>
                    <a:pt x="973" y="515"/>
                  </a:lnTo>
                  <a:lnTo>
                    <a:pt x="977" y="515"/>
                  </a:lnTo>
                  <a:lnTo>
                    <a:pt x="981" y="515"/>
                  </a:lnTo>
                  <a:lnTo>
                    <a:pt x="985" y="515"/>
                  </a:lnTo>
                  <a:lnTo>
                    <a:pt x="985" y="519"/>
                  </a:lnTo>
                  <a:lnTo>
                    <a:pt x="989" y="519"/>
                  </a:lnTo>
                  <a:lnTo>
                    <a:pt x="993" y="523"/>
                  </a:lnTo>
                  <a:lnTo>
                    <a:pt x="989" y="523"/>
                  </a:lnTo>
                  <a:lnTo>
                    <a:pt x="989" y="527"/>
                  </a:lnTo>
                  <a:lnTo>
                    <a:pt x="993" y="527"/>
                  </a:lnTo>
                  <a:lnTo>
                    <a:pt x="993" y="531"/>
                  </a:lnTo>
                  <a:lnTo>
                    <a:pt x="993" y="527"/>
                  </a:lnTo>
                  <a:lnTo>
                    <a:pt x="989" y="527"/>
                  </a:lnTo>
                  <a:lnTo>
                    <a:pt x="993" y="527"/>
                  </a:lnTo>
                  <a:lnTo>
                    <a:pt x="993" y="523"/>
                  </a:lnTo>
                  <a:lnTo>
                    <a:pt x="997" y="523"/>
                  </a:lnTo>
                  <a:lnTo>
                    <a:pt x="997" y="519"/>
                  </a:lnTo>
                  <a:lnTo>
                    <a:pt x="993" y="519"/>
                  </a:lnTo>
                  <a:lnTo>
                    <a:pt x="993" y="523"/>
                  </a:lnTo>
                  <a:lnTo>
                    <a:pt x="993" y="519"/>
                  </a:lnTo>
                  <a:lnTo>
                    <a:pt x="989" y="519"/>
                  </a:lnTo>
                  <a:lnTo>
                    <a:pt x="985" y="519"/>
                  </a:lnTo>
                  <a:lnTo>
                    <a:pt x="985" y="515"/>
                  </a:lnTo>
                  <a:lnTo>
                    <a:pt x="989" y="515"/>
                  </a:lnTo>
                  <a:lnTo>
                    <a:pt x="993" y="515"/>
                  </a:lnTo>
                  <a:lnTo>
                    <a:pt x="997" y="515"/>
                  </a:lnTo>
                  <a:lnTo>
                    <a:pt x="1001" y="515"/>
                  </a:lnTo>
                  <a:lnTo>
                    <a:pt x="1005" y="515"/>
                  </a:lnTo>
                  <a:lnTo>
                    <a:pt x="1009" y="511"/>
                  </a:lnTo>
                  <a:lnTo>
                    <a:pt x="1013" y="511"/>
                  </a:lnTo>
                  <a:lnTo>
                    <a:pt x="1017" y="511"/>
                  </a:lnTo>
                  <a:lnTo>
                    <a:pt x="1021" y="511"/>
                  </a:lnTo>
                  <a:lnTo>
                    <a:pt x="1021" y="507"/>
                  </a:lnTo>
                  <a:lnTo>
                    <a:pt x="1017" y="507"/>
                  </a:lnTo>
                  <a:lnTo>
                    <a:pt x="1017" y="503"/>
                  </a:lnTo>
                  <a:lnTo>
                    <a:pt x="1013" y="503"/>
                  </a:lnTo>
                  <a:lnTo>
                    <a:pt x="1013" y="499"/>
                  </a:lnTo>
                  <a:lnTo>
                    <a:pt x="1009" y="499"/>
                  </a:lnTo>
                  <a:lnTo>
                    <a:pt x="1009" y="495"/>
                  </a:lnTo>
                  <a:lnTo>
                    <a:pt x="1005" y="495"/>
                  </a:lnTo>
                  <a:lnTo>
                    <a:pt x="1009" y="491"/>
                  </a:lnTo>
                  <a:lnTo>
                    <a:pt x="1013" y="491"/>
                  </a:lnTo>
                  <a:lnTo>
                    <a:pt x="1017" y="487"/>
                  </a:lnTo>
                  <a:lnTo>
                    <a:pt x="1021" y="483"/>
                  </a:lnTo>
                  <a:lnTo>
                    <a:pt x="1025" y="479"/>
                  </a:lnTo>
                  <a:lnTo>
                    <a:pt x="1029" y="479"/>
                  </a:lnTo>
                  <a:lnTo>
                    <a:pt x="1029" y="475"/>
                  </a:lnTo>
                  <a:lnTo>
                    <a:pt x="1033" y="471"/>
                  </a:lnTo>
                  <a:lnTo>
                    <a:pt x="1037" y="471"/>
                  </a:lnTo>
                  <a:lnTo>
                    <a:pt x="1037" y="467"/>
                  </a:lnTo>
                  <a:lnTo>
                    <a:pt x="1041" y="467"/>
                  </a:lnTo>
                  <a:lnTo>
                    <a:pt x="1041" y="463"/>
                  </a:lnTo>
                  <a:lnTo>
                    <a:pt x="1037" y="463"/>
                  </a:lnTo>
                  <a:lnTo>
                    <a:pt x="1037" y="459"/>
                  </a:lnTo>
                  <a:lnTo>
                    <a:pt x="1037" y="455"/>
                  </a:lnTo>
                  <a:lnTo>
                    <a:pt x="1033" y="455"/>
                  </a:lnTo>
                  <a:lnTo>
                    <a:pt x="1033" y="451"/>
                  </a:lnTo>
                  <a:lnTo>
                    <a:pt x="1037" y="451"/>
                  </a:lnTo>
                  <a:lnTo>
                    <a:pt x="1033" y="451"/>
                  </a:lnTo>
                  <a:lnTo>
                    <a:pt x="1033" y="447"/>
                  </a:lnTo>
                  <a:lnTo>
                    <a:pt x="1029" y="447"/>
                  </a:lnTo>
                  <a:lnTo>
                    <a:pt x="1029" y="443"/>
                  </a:lnTo>
                  <a:lnTo>
                    <a:pt x="1029" y="439"/>
                  </a:lnTo>
                  <a:lnTo>
                    <a:pt x="1025" y="439"/>
                  </a:lnTo>
                  <a:lnTo>
                    <a:pt x="1021" y="439"/>
                  </a:lnTo>
                  <a:lnTo>
                    <a:pt x="1021" y="435"/>
                  </a:lnTo>
                  <a:lnTo>
                    <a:pt x="1025" y="435"/>
                  </a:lnTo>
                  <a:lnTo>
                    <a:pt x="1021" y="435"/>
                  </a:lnTo>
                  <a:lnTo>
                    <a:pt x="1021" y="439"/>
                  </a:lnTo>
                  <a:lnTo>
                    <a:pt x="1017" y="435"/>
                  </a:lnTo>
                  <a:lnTo>
                    <a:pt x="1017" y="431"/>
                  </a:lnTo>
                  <a:lnTo>
                    <a:pt x="1017" y="427"/>
                  </a:lnTo>
                  <a:lnTo>
                    <a:pt x="1013" y="427"/>
                  </a:lnTo>
                  <a:lnTo>
                    <a:pt x="1017" y="431"/>
                  </a:lnTo>
                  <a:lnTo>
                    <a:pt x="1013" y="431"/>
                  </a:lnTo>
                  <a:lnTo>
                    <a:pt x="1009" y="431"/>
                  </a:lnTo>
                  <a:lnTo>
                    <a:pt x="1005" y="427"/>
                  </a:lnTo>
                  <a:lnTo>
                    <a:pt x="1001" y="427"/>
                  </a:lnTo>
                  <a:lnTo>
                    <a:pt x="1001" y="423"/>
                  </a:lnTo>
                  <a:lnTo>
                    <a:pt x="1005" y="423"/>
                  </a:lnTo>
                  <a:lnTo>
                    <a:pt x="1001" y="423"/>
                  </a:lnTo>
                  <a:lnTo>
                    <a:pt x="1005" y="423"/>
                  </a:lnTo>
                  <a:lnTo>
                    <a:pt x="1001" y="423"/>
                  </a:lnTo>
                  <a:lnTo>
                    <a:pt x="1001" y="419"/>
                  </a:lnTo>
                  <a:lnTo>
                    <a:pt x="997" y="419"/>
                  </a:lnTo>
                  <a:lnTo>
                    <a:pt x="1001" y="419"/>
                  </a:lnTo>
                  <a:lnTo>
                    <a:pt x="1005" y="419"/>
                  </a:lnTo>
                  <a:lnTo>
                    <a:pt x="1005" y="415"/>
                  </a:lnTo>
                  <a:lnTo>
                    <a:pt x="1001" y="415"/>
                  </a:lnTo>
                  <a:lnTo>
                    <a:pt x="997" y="419"/>
                  </a:lnTo>
                  <a:lnTo>
                    <a:pt x="993" y="419"/>
                  </a:lnTo>
                  <a:lnTo>
                    <a:pt x="989" y="419"/>
                  </a:lnTo>
                  <a:lnTo>
                    <a:pt x="989" y="423"/>
                  </a:lnTo>
                  <a:lnTo>
                    <a:pt x="985" y="423"/>
                  </a:lnTo>
                  <a:lnTo>
                    <a:pt x="981" y="423"/>
                  </a:lnTo>
                  <a:lnTo>
                    <a:pt x="981" y="427"/>
                  </a:lnTo>
                  <a:lnTo>
                    <a:pt x="977" y="427"/>
                  </a:lnTo>
                  <a:lnTo>
                    <a:pt x="973" y="427"/>
                  </a:lnTo>
                  <a:lnTo>
                    <a:pt x="973" y="423"/>
                  </a:lnTo>
                  <a:lnTo>
                    <a:pt x="977" y="423"/>
                  </a:lnTo>
                  <a:lnTo>
                    <a:pt x="973" y="423"/>
                  </a:lnTo>
                  <a:lnTo>
                    <a:pt x="973" y="419"/>
                  </a:lnTo>
                  <a:lnTo>
                    <a:pt x="977" y="415"/>
                  </a:lnTo>
                  <a:lnTo>
                    <a:pt x="981" y="415"/>
                  </a:lnTo>
                  <a:lnTo>
                    <a:pt x="981" y="419"/>
                  </a:lnTo>
                  <a:lnTo>
                    <a:pt x="985" y="419"/>
                  </a:lnTo>
                  <a:lnTo>
                    <a:pt x="985" y="415"/>
                  </a:lnTo>
                  <a:lnTo>
                    <a:pt x="989" y="415"/>
                  </a:lnTo>
                  <a:lnTo>
                    <a:pt x="989" y="411"/>
                  </a:lnTo>
                  <a:lnTo>
                    <a:pt x="985" y="411"/>
                  </a:lnTo>
                  <a:lnTo>
                    <a:pt x="985" y="407"/>
                  </a:lnTo>
                  <a:lnTo>
                    <a:pt x="981" y="407"/>
                  </a:lnTo>
                  <a:lnTo>
                    <a:pt x="977" y="407"/>
                  </a:lnTo>
                  <a:lnTo>
                    <a:pt x="973" y="403"/>
                  </a:lnTo>
                  <a:lnTo>
                    <a:pt x="977" y="399"/>
                  </a:lnTo>
                  <a:lnTo>
                    <a:pt x="981" y="399"/>
                  </a:lnTo>
                  <a:lnTo>
                    <a:pt x="977" y="399"/>
                  </a:lnTo>
                  <a:lnTo>
                    <a:pt x="973" y="399"/>
                  </a:lnTo>
                  <a:lnTo>
                    <a:pt x="977" y="399"/>
                  </a:lnTo>
                  <a:lnTo>
                    <a:pt x="973" y="403"/>
                  </a:lnTo>
                  <a:lnTo>
                    <a:pt x="969" y="403"/>
                  </a:lnTo>
                  <a:lnTo>
                    <a:pt x="965" y="399"/>
                  </a:lnTo>
                  <a:lnTo>
                    <a:pt x="969" y="399"/>
                  </a:lnTo>
                  <a:lnTo>
                    <a:pt x="973" y="399"/>
                  </a:lnTo>
                  <a:lnTo>
                    <a:pt x="969" y="395"/>
                  </a:lnTo>
                  <a:lnTo>
                    <a:pt x="965" y="395"/>
                  </a:lnTo>
                  <a:lnTo>
                    <a:pt x="969" y="391"/>
                  </a:lnTo>
                  <a:lnTo>
                    <a:pt x="965" y="391"/>
                  </a:lnTo>
                  <a:lnTo>
                    <a:pt x="965" y="395"/>
                  </a:lnTo>
                  <a:lnTo>
                    <a:pt x="961" y="395"/>
                  </a:lnTo>
                  <a:lnTo>
                    <a:pt x="961" y="399"/>
                  </a:lnTo>
                  <a:lnTo>
                    <a:pt x="957" y="399"/>
                  </a:lnTo>
                  <a:lnTo>
                    <a:pt x="957" y="395"/>
                  </a:lnTo>
                  <a:lnTo>
                    <a:pt x="957" y="391"/>
                  </a:lnTo>
                  <a:lnTo>
                    <a:pt x="957" y="387"/>
                  </a:lnTo>
                  <a:lnTo>
                    <a:pt x="957" y="383"/>
                  </a:lnTo>
                  <a:lnTo>
                    <a:pt x="953" y="383"/>
                  </a:lnTo>
                  <a:lnTo>
                    <a:pt x="949" y="383"/>
                  </a:lnTo>
                  <a:lnTo>
                    <a:pt x="949" y="387"/>
                  </a:lnTo>
                  <a:lnTo>
                    <a:pt x="945" y="383"/>
                  </a:lnTo>
                  <a:lnTo>
                    <a:pt x="945" y="379"/>
                  </a:lnTo>
                  <a:lnTo>
                    <a:pt x="945" y="383"/>
                  </a:lnTo>
                  <a:lnTo>
                    <a:pt x="941" y="379"/>
                  </a:lnTo>
                  <a:lnTo>
                    <a:pt x="937" y="379"/>
                  </a:lnTo>
                  <a:lnTo>
                    <a:pt x="937" y="375"/>
                  </a:lnTo>
                  <a:lnTo>
                    <a:pt x="941" y="375"/>
                  </a:lnTo>
                  <a:lnTo>
                    <a:pt x="937" y="375"/>
                  </a:lnTo>
                  <a:lnTo>
                    <a:pt x="937" y="371"/>
                  </a:lnTo>
                  <a:lnTo>
                    <a:pt x="937" y="375"/>
                  </a:lnTo>
                  <a:lnTo>
                    <a:pt x="937" y="379"/>
                  </a:lnTo>
                  <a:lnTo>
                    <a:pt x="933" y="379"/>
                  </a:lnTo>
                  <a:lnTo>
                    <a:pt x="929" y="379"/>
                  </a:lnTo>
                  <a:lnTo>
                    <a:pt x="933" y="379"/>
                  </a:lnTo>
                  <a:lnTo>
                    <a:pt x="933" y="383"/>
                  </a:lnTo>
                  <a:lnTo>
                    <a:pt x="937" y="383"/>
                  </a:lnTo>
                  <a:lnTo>
                    <a:pt x="941" y="383"/>
                  </a:lnTo>
                  <a:lnTo>
                    <a:pt x="941" y="387"/>
                  </a:lnTo>
                  <a:lnTo>
                    <a:pt x="941" y="391"/>
                  </a:lnTo>
                  <a:lnTo>
                    <a:pt x="941" y="395"/>
                  </a:lnTo>
                  <a:lnTo>
                    <a:pt x="937" y="395"/>
                  </a:lnTo>
                  <a:lnTo>
                    <a:pt x="933" y="395"/>
                  </a:lnTo>
                  <a:lnTo>
                    <a:pt x="929" y="395"/>
                  </a:lnTo>
                  <a:lnTo>
                    <a:pt x="925" y="395"/>
                  </a:lnTo>
                  <a:lnTo>
                    <a:pt x="925" y="391"/>
                  </a:lnTo>
                  <a:lnTo>
                    <a:pt x="921" y="391"/>
                  </a:lnTo>
                  <a:lnTo>
                    <a:pt x="917" y="391"/>
                  </a:lnTo>
                  <a:lnTo>
                    <a:pt x="913" y="391"/>
                  </a:lnTo>
                  <a:lnTo>
                    <a:pt x="909" y="391"/>
                  </a:lnTo>
                  <a:lnTo>
                    <a:pt x="909" y="387"/>
                  </a:lnTo>
                  <a:lnTo>
                    <a:pt x="905" y="387"/>
                  </a:lnTo>
                  <a:lnTo>
                    <a:pt x="901" y="387"/>
                  </a:lnTo>
                  <a:lnTo>
                    <a:pt x="897" y="387"/>
                  </a:lnTo>
                  <a:lnTo>
                    <a:pt x="897" y="391"/>
                  </a:lnTo>
                  <a:lnTo>
                    <a:pt x="901" y="391"/>
                  </a:lnTo>
                  <a:lnTo>
                    <a:pt x="905" y="391"/>
                  </a:lnTo>
                  <a:lnTo>
                    <a:pt x="905" y="395"/>
                  </a:lnTo>
                  <a:lnTo>
                    <a:pt x="909" y="395"/>
                  </a:lnTo>
                  <a:lnTo>
                    <a:pt x="913" y="399"/>
                  </a:lnTo>
                  <a:lnTo>
                    <a:pt x="909" y="399"/>
                  </a:lnTo>
                  <a:lnTo>
                    <a:pt x="905" y="399"/>
                  </a:lnTo>
                  <a:lnTo>
                    <a:pt x="905" y="395"/>
                  </a:lnTo>
                  <a:lnTo>
                    <a:pt x="901" y="395"/>
                  </a:lnTo>
                  <a:lnTo>
                    <a:pt x="901" y="391"/>
                  </a:lnTo>
                  <a:lnTo>
                    <a:pt x="897" y="391"/>
                  </a:lnTo>
                  <a:lnTo>
                    <a:pt x="893" y="391"/>
                  </a:lnTo>
                  <a:lnTo>
                    <a:pt x="893" y="387"/>
                  </a:lnTo>
                  <a:lnTo>
                    <a:pt x="889" y="387"/>
                  </a:lnTo>
                  <a:lnTo>
                    <a:pt x="885" y="387"/>
                  </a:lnTo>
                  <a:lnTo>
                    <a:pt x="881" y="383"/>
                  </a:lnTo>
                  <a:lnTo>
                    <a:pt x="877" y="383"/>
                  </a:lnTo>
                  <a:lnTo>
                    <a:pt x="881" y="383"/>
                  </a:lnTo>
                  <a:lnTo>
                    <a:pt x="881" y="387"/>
                  </a:lnTo>
                  <a:lnTo>
                    <a:pt x="885" y="387"/>
                  </a:lnTo>
                  <a:lnTo>
                    <a:pt x="889" y="387"/>
                  </a:lnTo>
                  <a:lnTo>
                    <a:pt x="893" y="391"/>
                  </a:lnTo>
                  <a:lnTo>
                    <a:pt x="897" y="391"/>
                  </a:lnTo>
                  <a:lnTo>
                    <a:pt x="897" y="395"/>
                  </a:lnTo>
                  <a:lnTo>
                    <a:pt x="893" y="395"/>
                  </a:lnTo>
                  <a:lnTo>
                    <a:pt x="889" y="395"/>
                  </a:lnTo>
                  <a:lnTo>
                    <a:pt x="885" y="395"/>
                  </a:lnTo>
                  <a:lnTo>
                    <a:pt x="881" y="395"/>
                  </a:lnTo>
                  <a:lnTo>
                    <a:pt x="877" y="391"/>
                  </a:lnTo>
                  <a:lnTo>
                    <a:pt x="873" y="391"/>
                  </a:lnTo>
                  <a:lnTo>
                    <a:pt x="869" y="391"/>
                  </a:lnTo>
                  <a:lnTo>
                    <a:pt x="865" y="391"/>
                  </a:lnTo>
                  <a:lnTo>
                    <a:pt x="861" y="391"/>
                  </a:lnTo>
                  <a:lnTo>
                    <a:pt x="857" y="391"/>
                  </a:lnTo>
                  <a:lnTo>
                    <a:pt x="853" y="391"/>
                  </a:lnTo>
                  <a:lnTo>
                    <a:pt x="849" y="391"/>
                  </a:lnTo>
                  <a:lnTo>
                    <a:pt x="845" y="387"/>
                  </a:lnTo>
                  <a:lnTo>
                    <a:pt x="841" y="387"/>
                  </a:lnTo>
                  <a:lnTo>
                    <a:pt x="837" y="387"/>
                  </a:lnTo>
                  <a:lnTo>
                    <a:pt x="833" y="387"/>
                  </a:lnTo>
                  <a:lnTo>
                    <a:pt x="833" y="391"/>
                  </a:lnTo>
                  <a:lnTo>
                    <a:pt x="837" y="387"/>
                  </a:lnTo>
                  <a:lnTo>
                    <a:pt x="841" y="391"/>
                  </a:lnTo>
                  <a:lnTo>
                    <a:pt x="845" y="391"/>
                  </a:lnTo>
                  <a:lnTo>
                    <a:pt x="841" y="391"/>
                  </a:lnTo>
                  <a:lnTo>
                    <a:pt x="837" y="391"/>
                  </a:lnTo>
                  <a:lnTo>
                    <a:pt x="833" y="391"/>
                  </a:lnTo>
                  <a:lnTo>
                    <a:pt x="829" y="391"/>
                  </a:lnTo>
                  <a:lnTo>
                    <a:pt x="829" y="387"/>
                  </a:lnTo>
                  <a:lnTo>
                    <a:pt x="825" y="387"/>
                  </a:lnTo>
                  <a:lnTo>
                    <a:pt x="825" y="383"/>
                  </a:lnTo>
                  <a:lnTo>
                    <a:pt x="821" y="379"/>
                  </a:lnTo>
                  <a:lnTo>
                    <a:pt x="825" y="379"/>
                  </a:lnTo>
                  <a:lnTo>
                    <a:pt x="829" y="379"/>
                  </a:lnTo>
                  <a:lnTo>
                    <a:pt x="825" y="379"/>
                  </a:lnTo>
                  <a:lnTo>
                    <a:pt x="825" y="375"/>
                  </a:lnTo>
                  <a:lnTo>
                    <a:pt x="825" y="379"/>
                  </a:lnTo>
                  <a:lnTo>
                    <a:pt x="821" y="379"/>
                  </a:lnTo>
                  <a:lnTo>
                    <a:pt x="821" y="383"/>
                  </a:lnTo>
                  <a:lnTo>
                    <a:pt x="817" y="383"/>
                  </a:lnTo>
                  <a:lnTo>
                    <a:pt x="817" y="379"/>
                  </a:lnTo>
                  <a:lnTo>
                    <a:pt x="813" y="379"/>
                  </a:lnTo>
                  <a:lnTo>
                    <a:pt x="817" y="379"/>
                  </a:lnTo>
                  <a:lnTo>
                    <a:pt x="817" y="383"/>
                  </a:lnTo>
                  <a:lnTo>
                    <a:pt x="813" y="383"/>
                  </a:lnTo>
                  <a:lnTo>
                    <a:pt x="809" y="383"/>
                  </a:lnTo>
                  <a:lnTo>
                    <a:pt x="805" y="383"/>
                  </a:lnTo>
                  <a:lnTo>
                    <a:pt x="809" y="383"/>
                  </a:lnTo>
                  <a:lnTo>
                    <a:pt x="805" y="383"/>
                  </a:lnTo>
                  <a:lnTo>
                    <a:pt x="801" y="383"/>
                  </a:lnTo>
                  <a:lnTo>
                    <a:pt x="797" y="383"/>
                  </a:lnTo>
                  <a:lnTo>
                    <a:pt x="801" y="383"/>
                  </a:lnTo>
                  <a:lnTo>
                    <a:pt x="801" y="379"/>
                  </a:lnTo>
                  <a:lnTo>
                    <a:pt x="797" y="379"/>
                  </a:lnTo>
                  <a:lnTo>
                    <a:pt x="794" y="379"/>
                  </a:lnTo>
                  <a:lnTo>
                    <a:pt x="790" y="379"/>
                  </a:lnTo>
                  <a:lnTo>
                    <a:pt x="790" y="375"/>
                  </a:lnTo>
                  <a:lnTo>
                    <a:pt x="786" y="375"/>
                  </a:lnTo>
                  <a:lnTo>
                    <a:pt x="786" y="371"/>
                  </a:lnTo>
                  <a:lnTo>
                    <a:pt x="782" y="371"/>
                  </a:lnTo>
                  <a:lnTo>
                    <a:pt x="782" y="367"/>
                  </a:lnTo>
                  <a:lnTo>
                    <a:pt x="786" y="363"/>
                  </a:lnTo>
                  <a:lnTo>
                    <a:pt x="782" y="363"/>
                  </a:lnTo>
                  <a:lnTo>
                    <a:pt x="778" y="363"/>
                  </a:lnTo>
                  <a:lnTo>
                    <a:pt x="778" y="359"/>
                  </a:lnTo>
                  <a:lnTo>
                    <a:pt x="782" y="363"/>
                  </a:lnTo>
                  <a:lnTo>
                    <a:pt x="786" y="363"/>
                  </a:lnTo>
                  <a:lnTo>
                    <a:pt x="790" y="363"/>
                  </a:lnTo>
                  <a:lnTo>
                    <a:pt x="794" y="363"/>
                  </a:lnTo>
                  <a:lnTo>
                    <a:pt x="797" y="363"/>
                  </a:lnTo>
                  <a:lnTo>
                    <a:pt x="801" y="367"/>
                  </a:lnTo>
                  <a:lnTo>
                    <a:pt x="805" y="363"/>
                  </a:lnTo>
                  <a:lnTo>
                    <a:pt x="809" y="363"/>
                  </a:lnTo>
                  <a:lnTo>
                    <a:pt x="813" y="363"/>
                  </a:lnTo>
                  <a:lnTo>
                    <a:pt x="817" y="363"/>
                  </a:lnTo>
                  <a:lnTo>
                    <a:pt x="813" y="363"/>
                  </a:lnTo>
                  <a:lnTo>
                    <a:pt x="809" y="363"/>
                  </a:lnTo>
                  <a:lnTo>
                    <a:pt x="809" y="359"/>
                  </a:lnTo>
                  <a:lnTo>
                    <a:pt x="805" y="359"/>
                  </a:lnTo>
                  <a:lnTo>
                    <a:pt x="805" y="355"/>
                  </a:lnTo>
                  <a:lnTo>
                    <a:pt x="801" y="355"/>
                  </a:lnTo>
                  <a:lnTo>
                    <a:pt x="801" y="359"/>
                  </a:lnTo>
                  <a:lnTo>
                    <a:pt x="797" y="355"/>
                  </a:lnTo>
                  <a:lnTo>
                    <a:pt x="794" y="355"/>
                  </a:lnTo>
                  <a:lnTo>
                    <a:pt x="790" y="355"/>
                  </a:lnTo>
                  <a:lnTo>
                    <a:pt x="786" y="355"/>
                  </a:lnTo>
                  <a:lnTo>
                    <a:pt x="782" y="355"/>
                  </a:lnTo>
                  <a:lnTo>
                    <a:pt x="778" y="355"/>
                  </a:lnTo>
                  <a:lnTo>
                    <a:pt x="774" y="355"/>
                  </a:lnTo>
                  <a:lnTo>
                    <a:pt x="774" y="351"/>
                  </a:lnTo>
                  <a:lnTo>
                    <a:pt x="770" y="347"/>
                  </a:lnTo>
                  <a:lnTo>
                    <a:pt x="774" y="347"/>
                  </a:lnTo>
                  <a:lnTo>
                    <a:pt x="774" y="343"/>
                  </a:lnTo>
                  <a:lnTo>
                    <a:pt x="774" y="339"/>
                  </a:lnTo>
                  <a:lnTo>
                    <a:pt x="770" y="339"/>
                  </a:lnTo>
                  <a:lnTo>
                    <a:pt x="770" y="335"/>
                  </a:lnTo>
                  <a:lnTo>
                    <a:pt x="774" y="335"/>
                  </a:lnTo>
                  <a:lnTo>
                    <a:pt x="774" y="331"/>
                  </a:lnTo>
                  <a:lnTo>
                    <a:pt x="778" y="331"/>
                  </a:lnTo>
                  <a:lnTo>
                    <a:pt x="774" y="331"/>
                  </a:lnTo>
                  <a:lnTo>
                    <a:pt x="774" y="327"/>
                  </a:lnTo>
                  <a:lnTo>
                    <a:pt x="774" y="323"/>
                  </a:lnTo>
                  <a:lnTo>
                    <a:pt x="774" y="319"/>
                  </a:lnTo>
                  <a:lnTo>
                    <a:pt x="778" y="319"/>
                  </a:lnTo>
                  <a:lnTo>
                    <a:pt x="778" y="315"/>
                  </a:lnTo>
                  <a:lnTo>
                    <a:pt x="782" y="315"/>
                  </a:lnTo>
                  <a:lnTo>
                    <a:pt x="782" y="307"/>
                  </a:lnTo>
                  <a:lnTo>
                    <a:pt x="782" y="303"/>
                  </a:lnTo>
                  <a:lnTo>
                    <a:pt x="786" y="299"/>
                  </a:lnTo>
                  <a:lnTo>
                    <a:pt x="790" y="299"/>
                  </a:lnTo>
                  <a:lnTo>
                    <a:pt x="790" y="295"/>
                  </a:lnTo>
                  <a:lnTo>
                    <a:pt x="794" y="295"/>
                  </a:lnTo>
                  <a:lnTo>
                    <a:pt x="794" y="291"/>
                  </a:lnTo>
                  <a:lnTo>
                    <a:pt x="797" y="291"/>
                  </a:lnTo>
                  <a:lnTo>
                    <a:pt x="801" y="291"/>
                  </a:lnTo>
                  <a:lnTo>
                    <a:pt x="801" y="287"/>
                  </a:lnTo>
                  <a:lnTo>
                    <a:pt x="805" y="287"/>
                  </a:lnTo>
                  <a:lnTo>
                    <a:pt x="809" y="287"/>
                  </a:lnTo>
                  <a:lnTo>
                    <a:pt x="813" y="283"/>
                  </a:lnTo>
                  <a:lnTo>
                    <a:pt x="817" y="283"/>
                  </a:lnTo>
                  <a:lnTo>
                    <a:pt x="821" y="283"/>
                  </a:lnTo>
                  <a:lnTo>
                    <a:pt x="825" y="283"/>
                  </a:lnTo>
                  <a:lnTo>
                    <a:pt x="829" y="283"/>
                  </a:lnTo>
                  <a:lnTo>
                    <a:pt x="837" y="283"/>
                  </a:lnTo>
                  <a:lnTo>
                    <a:pt x="841" y="283"/>
                  </a:lnTo>
                  <a:lnTo>
                    <a:pt x="845" y="283"/>
                  </a:lnTo>
                  <a:lnTo>
                    <a:pt x="849" y="287"/>
                  </a:lnTo>
                  <a:lnTo>
                    <a:pt x="845" y="287"/>
                  </a:lnTo>
                  <a:lnTo>
                    <a:pt x="841" y="291"/>
                  </a:lnTo>
                  <a:lnTo>
                    <a:pt x="837" y="295"/>
                  </a:lnTo>
                  <a:lnTo>
                    <a:pt x="833" y="295"/>
                  </a:lnTo>
                  <a:lnTo>
                    <a:pt x="833" y="299"/>
                  </a:lnTo>
                  <a:lnTo>
                    <a:pt x="829" y="299"/>
                  </a:lnTo>
                  <a:lnTo>
                    <a:pt x="829" y="303"/>
                  </a:lnTo>
                  <a:lnTo>
                    <a:pt x="829" y="307"/>
                  </a:lnTo>
                  <a:lnTo>
                    <a:pt x="825" y="307"/>
                  </a:lnTo>
                  <a:lnTo>
                    <a:pt x="821" y="311"/>
                  </a:lnTo>
                  <a:lnTo>
                    <a:pt x="821" y="315"/>
                  </a:lnTo>
                  <a:lnTo>
                    <a:pt x="821" y="319"/>
                  </a:lnTo>
                  <a:lnTo>
                    <a:pt x="825" y="319"/>
                  </a:lnTo>
                  <a:lnTo>
                    <a:pt x="825" y="323"/>
                  </a:lnTo>
                  <a:lnTo>
                    <a:pt x="829" y="323"/>
                  </a:lnTo>
                  <a:lnTo>
                    <a:pt x="825" y="327"/>
                  </a:lnTo>
                  <a:lnTo>
                    <a:pt x="825" y="331"/>
                  </a:lnTo>
                  <a:lnTo>
                    <a:pt x="825" y="335"/>
                  </a:lnTo>
                  <a:lnTo>
                    <a:pt x="829" y="339"/>
                  </a:lnTo>
                  <a:lnTo>
                    <a:pt x="829" y="343"/>
                  </a:lnTo>
                  <a:lnTo>
                    <a:pt x="833" y="343"/>
                  </a:lnTo>
                  <a:lnTo>
                    <a:pt x="841" y="351"/>
                  </a:lnTo>
                  <a:lnTo>
                    <a:pt x="845" y="351"/>
                  </a:lnTo>
                  <a:lnTo>
                    <a:pt x="849" y="351"/>
                  </a:lnTo>
                  <a:lnTo>
                    <a:pt x="849" y="355"/>
                  </a:lnTo>
                  <a:lnTo>
                    <a:pt x="845" y="355"/>
                  </a:lnTo>
                  <a:lnTo>
                    <a:pt x="841" y="359"/>
                  </a:lnTo>
                  <a:lnTo>
                    <a:pt x="837" y="359"/>
                  </a:lnTo>
                  <a:lnTo>
                    <a:pt x="833" y="359"/>
                  </a:lnTo>
                  <a:lnTo>
                    <a:pt x="829" y="359"/>
                  </a:lnTo>
                  <a:lnTo>
                    <a:pt x="829" y="363"/>
                  </a:lnTo>
                  <a:lnTo>
                    <a:pt x="825" y="363"/>
                  </a:lnTo>
                  <a:lnTo>
                    <a:pt x="821" y="363"/>
                  </a:lnTo>
                  <a:lnTo>
                    <a:pt x="825" y="363"/>
                  </a:lnTo>
                  <a:lnTo>
                    <a:pt x="829" y="363"/>
                  </a:lnTo>
                  <a:lnTo>
                    <a:pt x="833" y="363"/>
                  </a:lnTo>
                  <a:lnTo>
                    <a:pt x="833" y="359"/>
                  </a:lnTo>
                  <a:lnTo>
                    <a:pt x="837" y="359"/>
                  </a:lnTo>
                  <a:lnTo>
                    <a:pt x="841" y="359"/>
                  </a:lnTo>
                  <a:lnTo>
                    <a:pt x="845" y="359"/>
                  </a:lnTo>
                  <a:lnTo>
                    <a:pt x="849" y="359"/>
                  </a:lnTo>
                  <a:lnTo>
                    <a:pt x="849" y="363"/>
                  </a:lnTo>
                  <a:lnTo>
                    <a:pt x="849" y="359"/>
                  </a:lnTo>
                  <a:lnTo>
                    <a:pt x="845" y="359"/>
                  </a:lnTo>
                  <a:lnTo>
                    <a:pt x="845" y="363"/>
                  </a:lnTo>
                  <a:lnTo>
                    <a:pt x="849" y="363"/>
                  </a:lnTo>
                  <a:lnTo>
                    <a:pt x="849" y="367"/>
                  </a:lnTo>
                  <a:lnTo>
                    <a:pt x="849" y="363"/>
                  </a:lnTo>
                  <a:lnTo>
                    <a:pt x="849" y="359"/>
                  </a:lnTo>
                  <a:lnTo>
                    <a:pt x="849" y="355"/>
                  </a:lnTo>
                  <a:lnTo>
                    <a:pt x="849" y="351"/>
                  </a:lnTo>
                  <a:lnTo>
                    <a:pt x="853" y="351"/>
                  </a:lnTo>
                  <a:lnTo>
                    <a:pt x="853" y="347"/>
                  </a:lnTo>
                  <a:lnTo>
                    <a:pt x="853" y="343"/>
                  </a:lnTo>
                  <a:lnTo>
                    <a:pt x="849" y="343"/>
                  </a:lnTo>
                  <a:lnTo>
                    <a:pt x="849" y="347"/>
                  </a:lnTo>
                  <a:lnTo>
                    <a:pt x="845" y="347"/>
                  </a:lnTo>
                  <a:lnTo>
                    <a:pt x="845" y="343"/>
                  </a:lnTo>
                  <a:lnTo>
                    <a:pt x="841" y="343"/>
                  </a:lnTo>
                  <a:lnTo>
                    <a:pt x="837" y="343"/>
                  </a:lnTo>
                  <a:lnTo>
                    <a:pt x="841" y="343"/>
                  </a:lnTo>
                  <a:lnTo>
                    <a:pt x="841" y="339"/>
                  </a:lnTo>
                  <a:lnTo>
                    <a:pt x="837" y="339"/>
                  </a:lnTo>
                  <a:lnTo>
                    <a:pt x="833" y="335"/>
                  </a:lnTo>
                  <a:lnTo>
                    <a:pt x="829" y="335"/>
                  </a:lnTo>
                  <a:lnTo>
                    <a:pt x="833" y="335"/>
                  </a:lnTo>
                  <a:lnTo>
                    <a:pt x="837" y="335"/>
                  </a:lnTo>
                  <a:lnTo>
                    <a:pt x="841" y="335"/>
                  </a:lnTo>
                  <a:lnTo>
                    <a:pt x="841" y="331"/>
                  </a:lnTo>
                  <a:lnTo>
                    <a:pt x="841" y="327"/>
                  </a:lnTo>
                  <a:lnTo>
                    <a:pt x="845" y="327"/>
                  </a:lnTo>
                  <a:lnTo>
                    <a:pt x="849" y="327"/>
                  </a:lnTo>
                  <a:lnTo>
                    <a:pt x="849" y="331"/>
                  </a:lnTo>
                  <a:lnTo>
                    <a:pt x="853" y="331"/>
                  </a:lnTo>
                  <a:lnTo>
                    <a:pt x="857" y="335"/>
                  </a:lnTo>
                  <a:lnTo>
                    <a:pt x="857" y="339"/>
                  </a:lnTo>
                  <a:lnTo>
                    <a:pt x="861" y="339"/>
                  </a:lnTo>
                  <a:lnTo>
                    <a:pt x="861" y="335"/>
                  </a:lnTo>
                  <a:lnTo>
                    <a:pt x="857" y="335"/>
                  </a:lnTo>
                  <a:lnTo>
                    <a:pt x="857" y="331"/>
                  </a:lnTo>
                  <a:lnTo>
                    <a:pt x="853" y="331"/>
                  </a:lnTo>
                  <a:lnTo>
                    <a:pt x="849" y="331"/>
                  </a:lnTo>
                  <a:lnTo>
                    <a:pt x="849" y="327"/>
                  </a:lnTo>
                  <a:lnTo>
                    <a:pt x="853" y="327"/>
                  </a:lnTo>
                  <a:lnTo>
                    <a:pt x="857" y="323"/>
                  </a:lnTo>
                  <a:lnTo>
                    <a:pt x="853" y="323"/>
                  </a:lnTo>
                  <a:lnTo>
                    <a:pt x="853" y="327"/>
                  </a:lnTo>
                  <a:lnTo>
                    <a:pt x="849" y="327"/>
                  </a:lnTo>
                  <a:lnTo>
                    <a:pt x="849" y="323"/>
                  </a:lnTo>
                  <a:lnTo>
                    <a:pt x="845" y="323"/>
                  </a:lnTo>
                  <a:lnTo>
                    <a:pt x="845" y="327"/>
                  </a:lnTo>
                  <a:lnTo>
                    <a:pt x="841" y="323"/>
                  </a:lnTo>
                  <a:lnTo>
                    <a:pt x="837" y="323"/>
                  </a:lnTo>
                  <a:lnTo>
                    <a:pt x="837" y="319"/>
                  </a:lnTo>
                  <a:lnTo>
                    <a:pt x="841" y="319"/>
                  </a:lnTo>
                  <a:lnTo>
                    <a:pt x="837" y="319"/>
                  </a:lnTo>
                  <a:lnTo>
                    <a:pt x="837" y="315"/>
                  </a:lnTo>
                  <a:lnTo>
                    <a:pt x="837" y="311"/>
                  </a:lnTo>
                  <a:lnTo>
                    <a:pt x="837" y="307"/>
                  </a:lnTo>
                  <a:lnTo>
                    <a:pt x="841" y="307"/>
                  </a:lnTo>
                  <a:lnTo>
                    <a:pt x="845" y="311"/>
                  </a:lnTo>
                  <a:lnTo>
                    <a:pt x="849" y="311"/>
                  </a:lnTo>
                  <a:lnTo>
                    <a:pt x="853" y="311"/>
                  </a:lnTo>
                  <a:lnTo>
                    <a:pt x="857" y="311"/>
                  </a:lnTo>
                  <a:lnTo>
                    <a:pt x="857" y="315"/>
                  </a:lnTo>
                  <a:lnTo>
                    <a:pt x="861" y="315"/>
                  </a:lnTo>
                  <a:lnTo>
                    <a:pt x="857" y="315"/>
                  </a:lnTo>
                  <a:lnTo>
                    <a:pt x="857" y="311"/>
                  </a:lnTo>
                  <a:lnTo>
                    <a:pt x="853" y="311"/>
                  </a:lnTo>
                  <a:lnTo>
                    <a:pt x="849" y="311"/>
                  </a:lnTo>
                  <a:lnTo>
                    <a:pt x="849" y="307"/>
                  </a:lnTo>
                  <a:lnTo>
                    <a:pt x="845" y="307"/>
                  </a:lnTo>
                  <a:lnTo>
                    <a:pt x="837" y="307"/>
                  </a:lnTo>
                  <a:lnTo>
                    <a:pt x="841" y="303"/>
                  </a:lnTo>
                  <a:lnTo>
                    <a:pt x="841" y="307"/>
                  </a:lnTo>
                  <a:lnTo>
                    <a:pt x="845" y="307"/>
                  </a:lnTo>
                  <a:lnTo>
                    <a:pt x="845" y="303"/>
                  </a:lnTo>
                  <a:lnTo>
                    <a:pt x="849" y="303"/>
                  </a:lnTo>
                  <a:lnTo>
                    <a:pt x="849" y="307"/>
                  </a:lnTo>
                  <a:lnTo>
                    <a:pt x="853" y="307"/>
                  </a:lnTo>
                  <a:lnTo>
                    <a:pt x="857" y="307"/>
                  </a:lnTo>
                  <a:lnTo>
                    <a:pt x="861" y="307"/>
                  </a:lnTo>
                  <a:lnTo>
                    <a:pt x="865" y="307"/>
                  </a:lnTo>
                  <a:lnTo>
                    <a:pt x="869" y="307"/>
                  </a:lnTo>
                  <a:lnTo>
                    <a:pt x="865" y="307"/>
                  </a:lnTo>
                  <a:lnTo>
                    <a:pt x="861" y="307"/>
                  </a:lnTo>
                  <a:lnTo>
                    <a:pt x="857" y="307"/>
                  </a:lnTo>
                  <a:lnTo>
                    <a:pt x="857" y="303"/>
                  </a:lnTo>
                  <a:lnTo>
                    <a:pt x="853" y="303"/>
                  </a:lnTo>
                  <a:lnTo>
                    <a:pt x="849" y="303"/>
                  </a:lnTo>
                  <a:lnTo>
                    <a:pt x="845" y="303"/>
                  </a:lnTo>
                  <a:lnTo>
                    <a:pt x="845" y="299"/>
                  </a:lnTo>
                  <a:lnTo>
                    <a:pt x="849" y="299"/>
                  </a:lnTo>
                  <a:lnTo>
                    <a:pt x="849" y="295"/>
                  </a:lnTo>
                  <a:lnTo>
                    <a:pt x="853" y="299"/>
                  </a:lnTo>
                  <a:lnTo>
                    <a:pt x="857" y="299"/>
                  </a:lnTo>
                  <a:lnTo>
                    <a:pt x="853" y="299"/>
                  </a:lnTo>
                  <a:lnTo>
                    <a:pt x="853" y="295"/>
                  </a:lnTo>
                  <a:lnTo>
                    <a:pt x="857" y="295"/>
                  </a:lnTo>
                  <a:lnTo>
                    <a:pt x="861" y="295"/>
                  </a:lnTo>
                  <a:lnTo>
                    <a:pt x="865" y="295"/>
                  </a:lnTo>
                  <a:lnTo>
                    <a:pt x="865" y="299"/>
                  </a:lnTo>
                  <a:lnTo>
                    <a:pt x="869" y="299"/>
                  </a:lnTo>
                  <a:lnTo>
                    <a:pt x="869" y="295"/>
                  </a:lnTo>
                  <a:lnTo>
                    <a:pt x="865" y="295"/>
                  </a:lnTo>
                  <a:lnTo>
                    <a:pt x="861" y="295"/>
                  </a:lnTo>
                  <a:lnTo>
                    <a:pt x="861" y="291"/>
                  </a:lnTo>
                  <a:lnTo>
                    <a:pt x="865" y="291"/>
                  </a:lnTo>
                  <a:lnTo>
                    <a:pt x="869" y="291"/>
                  </a:lnTo>
                  <a:lnTo>
                    <a:pt x="873" y="287"/>
                  </a:lnTo>
                  <a:lnTo>
                    <a:pt x="877" y="287"/>
                  </a:lnTo>
                  <a:lnTo>
                    <a:pt x="881" y="287"/>
                  </a:lnTo>
                  <a:lnTo>
                    <a:pt x="885" y="287"/>
                  </a:lnTo>
                  <a:lnTo>
                    <a:pt x="889" y="287"/>
                  </a:lnTo>
                  <a:lnTo>
                    <a:pt x="893" y="287"/>
                  </a:lnTo>
                  <a:lnTo>
                    <a:pt x="897" y="287"/>
                  </a:lnTo>
                  <a:lnTo>
                    <a:pt x="901" y="287"/>
                  </a:lnTo>
                  <a:lnTo>
                    <a:pt x="905" y="291"/>
                  </a:lnTo>
                  <a:lnTo>
                    <a:pt x="905" y="295"/>
                  </a:lnTo>
                  <a:lnTo>
                    <a:pt x="905" y="299"/>
                  </a:lnTo>
                  <a:lnTo>
                    <a:pt x="909" y="303"/>
                  </a:lnTo>
                  <a:lnTo>
                    <a:pt x="913" y="303"/>
                  </a:lnTo>
                  <a:lnTo>
                    <a:pt x="913" y="307"/>
                  </a:lnTo>
                  <a:lnTo>
                    <a:pt x="913" y="311"/>
                  </a:lnTo>
                  <a:lnTo>
                    <a:pt x="917" y="311"/>
                  </a:lnTo>
                  <a:lnTo>
                    <a:pt x="917" y="315"/>
                  </a:lnTo>
                  <a:lnTo>
                    <a:pt x="913" y="319"/>
                  </a:lnTo>
                  <a:lnTo>
                    <a:pt x="909" y="323"/>
                  </a:lnTo>
                  <a:lnTo>
                    <a:pt x="905" y="327"/>
                  </a:lnTo>
                  <a:lnTo>
                    <a:pt x="901" y="327"/>
                  </a:lnTo>
                  <a:lnTo>
                    <a:pt x="905" y="327"/>
                  </a:lnTo>
                  <a:lnTo>
                    <a:pt x="909" y="323"/>
                  </a:lnTo>
                  <a:lnTo>
                    <a:pt x="913" y="323"/>
                  </a:lnTo>
                  <a:lnTo>
                    <a:pt x="917" y="323"/>
                  </a:lnTo>
                  <a:lnTo>
                    <a:pt x="913" y="323"/>
                  </a:lnTo>
                  <a:lnTo>
                    <a:pt x="913" y="327"/>
                  </a:lnTo>
                  <a:lnTo>
                    <a:pt x="909" y="327"/>
                  </a:lnTo>
                  <a:lnTo>
                    <a:pt x="909" y="331"/>
                  </a:lnTo>
                  <a:lnTo>
                    <a:pt x="913" y="331"/>
                  </a:lnTo>
                  <a:lnTo>
                    <a:pt x="913" y="335"/>
                  </a:lnTo>
                  <a:lnTo>
                    <a:pt x="913" y="331"/>
                  </a:lnTo>
                  <a:lnTo>
                    <a:pt x="909" y="335"/>
                  </a:lnTo>
                  <a:lnTo>
                    <a:pt x="905" y="335"/>
                  </a:lnTo>
                  <a:lnTo>
                    <a:pt x="909" y="335"/>
                  </a:lnTo>
                  <a:lnTo>
                    <a:pt x="909" y="339"/>
                  </a:lnTo>
                  <a:lnTo>
                    <a:pt x="913" y="339"/>
                  </a:lnTo>
                  <a:lnTo>
                    <a:pt x="913" y="335"/>
                  </a:lnTo>
                  <a:lnTo>
                    <a:pt x="917" y="335"/>
                  </a:lnTo>
                  <a:lnTo>
                    <a:pt x="917" y="331"/>
                  </a:lnTo>
                  <a:lnTo>
                    <a:pt x="921" y="331"/>
                  </a:lnTo>
                  <a:lnTo>
                    <a:pt x="917" y="331"/>
                  </a:lnTo>
                  <a:lnTo>
                    <a:pt x="917" y="327"/>
                  </a:lnTo>
                  <a:lnTo>
                    <a:pt x="921" y="327"/>
                  </a:lnTo>
                  <a:lnTo>
                    <a:pt x="921" y="331"/>
                  </a:lnTo>
                  <a:lnTo>
                    <a:pt x="925" y="331"/>
                  </a:lnTo>
                  <a:lnTo>
                    <a:pt x="929" y="331"/>
                  </a:lnTo>
                  <a:lnTo>
                    <a:pt x="925" y="331"/>
                  </a:lnTo>
                  <a:lnTo>
                    <a:pt x="921" y="327"/>
                  </a:lnTo>
                  <a:lnTo>
                    <a:pt x="921" y="323"/>
                  </a:lnTo>
                  <a:lnTo>
                    <a:pt x="925" y="323"/>
                  </a:lnTo>
                  <a:lnTo>
                    <a:pt x="929" y="323"/>
                  </a:lnTo>
                  <a:lnTo>
                    <a:pt x="925" y="323"/>
                  </a:lnTo>
                  <a:lnTo>
                    <a:pt x="929" y="323"/>
                  </a:lnTo>
                  <a:lnTo>
                    <a:pt x="929" y="327"/>
                  </a:lnTo>
                  <a:lnTo>
                    <a:pt x="925" y="327"/>
                  </a:lnTo>
                  <a:lnTo>
                    <a:pt x="925" y="331"/>
                  </a:lnTo>
                  <a:lnTo>
                    <a:pt x="929" y="331"/>
                  </a:lnTo>
                  <a:lnTo>
                    <a:pt x="929" y="327"/>
                  </a:lnTo>
                  <a:lnTo>
                    <a:pt x="933" y="323"/>
                  </a:lnTo>
                  <a:lnTo>
                    <a:pt x="937" y="327"/>
                  </a:lnTo>
                  <a:lnTo>
                    <a:pt x="937" y="331"/>
                  </a:lnTo>
                  <a:lnTo>
                    <a:pt x="937" y="335"/>
                  </a:lnTo>
                  <a:lnTo>
                    <a:pt x="933" y="335"/>
                  </a:lnTo>
                  <a:lnTo>
                    <a:pt x="937" y="335"/>
                  </a:lnTo>
                  <a:lnTo>
                    <a:pt x="941" y="339"/>
                  </a:lnTo>
                  <a:lnTo>
                    <a:pt x="945" y="339"/>
                  </a:lnTo>
                  <a:lnTo>
                    <a:pt x="941" y="335"/>
                  </a:lnTo>
                  <a:lnTo>
                    <a:pt x="941" y="331"/>
                  </a:lnTo>
                  <a:lnTo>
                    <a:pt x="945" y="331"/>
                  </a:lnTo>
                  <a:lnTo>
                    <a:pt x="945" y="335"/>
                  </a:lnTo>
                  <a:lnTo>
                    <a:pt x="949" y="335"/>
                  </a:lnTo>
                  <a:lnTo>
                    <a:pt x="949" y="339"/>
                  </a:lnTo>
                  <a:lnTo>
                    <a:pt x="953" y="339"/>
                  </a:lnTo>
                  <a:lnTo>
                    <a:pt x="953" y="343"/>
                  </a:lnTo>
                  <a:lnTo>
                    <a:pt x="953" y="339"/>
                  </a:lnTo>
                  <a:lnTo>
                    <a:pt x="949" y="339"/>
                  </a:lnTo>
                  <a:lnTo>
                    <a:pt x="949" y="335"/>
                  </a:lnTo>
                  <a:lnTo>
                    <a:pt x="953" y="339"/>
                  </a:lnTo>
                  <a:lnTo>
                    <a:pt x="957" y="343"/>
                  </a:lnTo>
                  <a:lnTo>
                    <a:pt x="957" y="339"/>
                  </a:lnTo>
                  <a:lnTo>
                    <a:pt x="953" y="339"/>
                  </a:lnTo>
                  <a:lnTo>
                    <a:pt x="953" y="335"/>
                  </a:lnTo>
                  <a:lnTo>
                    <a:pt x="949" y="335"/>
                  </a:lnTo>
                  <a:lnTo>
                    <a:pt x="949" y="331"/>
                  </a:lnTo>
                  <a:lnTo>
                    <a:pt x="945" y="331"/>
                  </a:lnTo>
                  <a:lnTo>
                    <a:pt x="941" y="331"/>
                  </a:lnTo>
                  <a:lnTo>
                    <a:pt x="941" y="327"/>
                  </a:lnTo>
                  <a:lnTo>
                    <a:pt x="945" y="327"/>
                  </a:lnTo>
                  <a:lnTo>
                    <a:pt x="945" y="331"/>
                  </a:lnTo>
                  <a:lnTo>
                    <a:pt x="949" y="331"/>
                  </a:lnTo>
                  <a:lnTo>
                    <a:pt x="945" y="331"/>
                  </a:lnTo>
                  <a:lnTo>
                    <a:pt x="945" y="327"/>
                  </a:lnTo>
                  <a:lnTo>
                    <a:pt x="949" y="327"/>
                  </a:lnTo>
                  <a:lnTo>
                    <a:pt x="953" y="327"/>
                  </a:lnTo>
                  <a:lnTo>
                    <a:pt x="957" y="327"/>
                  </a:lnTo>
                  <a:lnTo>
                    <a:pt x="957" y="331"/>
                  </a:lnTo>
                  <a:lnTo>
                    <a:pt x="961" y="331"/>
                  </a:lnTo>
                  <a:lnTo>
                    <a:pt x="965" y="331"/>
                  </a:lnTo>
                  <a:lnTo>
                    <a:pt x="969" y="331"/>
                  </a:lnTo>
                  <a:lnTo>
                    <a:pt x="965" y="331"/>
                  </a:lnTo>
                  <a:lnTo>
                    <a:pt x="961" y="331"/>
                  </a:lnTo>
                  <a:lnTo>
                    <a:pt x="957" y="331"/>
                  </a:lnTo>
                  <a:lnTo>
                    <a:pt x="957" y="327"/>
                  </a:lnTo>
                  <a:lnTo>
                    <a:pt x="953" y="327"/>
                  </a:lnTo>
                  <a:lnTo>
                    <a:pt x="949" y="327"/>
                  </a:lnTo>
                  <a:lnTo>
                    <a:pt x="945" y="323"/>
                  </a:lnTo>
                  <a:lnTo>
                    <a:pt x="945" y="319"/>
                  </a:lnTo>
                  <a:lnTo>
                    <a:pt x="949" y="319"/>
                  </a:lnTo>
                  <a:lnTo>
                    <a:pt x="953" y="315"/>
                  </a:lnTo>
                  <a:lnTo>
                    <a:pt x="957" y="315"/>
                  </a:lnTo>
                  <a:lnTo>
                    <a:pt x="961" y="315"/>
                  </a:lnTo>
                  <a:lnTo>
                    <a:pt x="965" y="315"/>
                  </a:lnTo>
                  <a:lnTo>
                    <a:pt x="969" y="315"/>
                  </a:lnTo>
                  <a:lnTo>
                    <a:pt x="973" y="315"/>
                  </a:lnTo>
                  <a:lnTo>
                    <a:pt x="973" y="319"/>
                  </a:lnTo>
                  <a:lnTo>
                    <a:pt x="977" y="319"/>
                  </a:lnTo>
                  <a:lnTo>
                    <a:pt x="981" y="319"/>
                  </a:lnTo>
                  <a:lnTo>
                    <a:pt x="981" y="323"/>
                  </a:lnTo>
                  <a:lnTo>
                    <a:pt x="981" y="319"/>
                  </a:lnTo>
                  <a:lnTo>
                    <a:pt x="985" y="319"/>
                  </a:lnTo>
                  <a:lnTo>
                    <a:pt x="989" y="319"/>
                  </a:lnTo>
                  <a:lnTo>
                    <a:pt x="993" y="319"/>
                  </a:lnTo>
                  <a:lnTo>
                    <a:pt x="993" y="323"/>
                  </a:lnTo>
                  <a:lnTo>
                    <a:pt x="997" y="323"/>
                  </a:lnTo>
                  <a:lnTo>
                    <a:pt x="997" y="327"/>
                  </a:lnTo>
                  <a:lnTo>
                    <a:pt x="1001" y="327"/>
                  </a:lnTo>
                  <a:lnTo>
                    <a:pt x="997" y="331"/>
                  </a:lnTo>
                  <a:lnTo>
                    <a:pt x="993" y="331"/>
                  </a:lnTo>
                  <a:lnTo>
                    <a:pt x="989" y="331"/>
                  </a:lnTo>
                  <a:lnTo>
                    <a:pt x="985" y="331"/>
                  </a:lnTo>
                  <a:lnTo>
                    <a:pt x="985" y="335"/>
                  </a:lnTo>
                  <a:lnTo>
                    <a:pt x="981" y="335"/>
                  </a:lnTo>
                  <a:lnTo>
                    <a:pt x="977" y="339"/>
                  </a:lnTo>
                  <a:lnTo>
                    <a:pt x="981" y="335"/>
                  </a:lnTo>
                  <a:lnTo>
                    <a:pt x="985" y="335"/>
                  </a:lnTo>
                  <a:lnTo>
                    <a:pt x="985" y="331"/>
                  </a:lnTo>
                  <a:lnTo>
                    <a:pt x="989" y="331"/>
                  </a:lnTo>
                  <a:lnTo>
                    <a:pt x="993" y="331"/>
                  </a:lnTo>
                  <a:lnTo>
                    <a:pt x="997" y="335"/>
                  </a:lnTo>
                  <a:lnTo>
                    <a:pt x="993" y="335"/>
                  </a:lnTo>
                  <a:lnTo>
                    <a:pt x="989" y="335"/>
                  </a:lnTo>
                  <a:lnTo>
                    <a:pt x="989" y="339"/>
                  </a:lnTo>
                  <a:lnTo>
                    <a:pt x="985" y="343"/>
                  </a:lnTo>
                  <a:lnTo>
                    <a:pt x="981" y="343"/>
                  </a:lnTo>
                  <a:lnTo>
                    <a:pt x="985" y="343"/>
                  </a:lnTo>
                  <a:lnTo>
                    <a:pt x="989" y="339"/>
                  </a:lnTo>
                  <a:lnTo>
                    <a:pt x="989" y="335"/>
                  </a:lnTo>
                  <a:lnTo>
                    <a:pt x="993" y="335"/>
                  </a:lnTo>
                  <a:lnTo>
                    <a:pt x="997" y="335"/>
                  </a:lnTo>
                  <a:lnTo>
                    <a:pt x="997" y="331"/>
                  </a:lnTo>
                  <a:lnTo>
                    <a:pt x="1001" y="331"/>
                  </a:lnTo>
                  <a:lnTo>
                    <a:pt x="1005" y="331"/>
                  </a:lnTo>
                  <a:lnTo>
                    <a:pt x="1009" y="335"/>
                  </a:lnTo>
                  <a:lnTo>
                    <a:pt x="1013" y="335"/>
                  </a:lnTo>
                  <a:lnTo>
                    <a:pt x="1013" y="339"/>
                  </a:lnTo>
                  <a:lnTo>
                    <a:pt x="1009" y="339"/>
                  </a:lnTo>
                  <a:lnTo>
                    <a:pt x="1009" y="343"/>
                  </a:lnTo>
                  <a:lnTo>
                    <a:pt x="1005" y="339"/>
                  </a:lnTo>
                  <a:lnTo>
                    <a:pt x="1005" y="343"/>
                  </a:lnTo>
                  <a:lnTo>
                    <a:pt x="1001" y="343"/>
                  </a:lnTo>
                  <a:lnTo>
                    <a:pt x="997" y="343"/>
                  </a:lnTo>
                  <a:lnTo>
                    <a:pt x="993" y="343"/>
                  </a:lnTo>
                  <a:lnTo>
                    <a:pt x="997" y="343"/>
                  </a:lnTo>
                  <a:lnTo>
                    <a:pt x="1001" y="343"/>
                  </a:lnTo>
                  <a:lnTo>
                    <a:pt x="997" y="347"/>
                  </a:lnTo>
                  <a:lnTo>
                    <a:pt x="993" y="347"/>
                  </a:lnTo>
                  <a:lnTo>
                    <a:pt x="997" y="347"/>
                  </a:lnTo>
                  <a:lnTo>
                    <a:pt x="1001" y="347"/>
                  </a:lnTo>
                  <a:lnTo>
                    <a:pt x="1001" y="343"/>
                  </a:lnTo>
                  <a:lnTo>
                    <a:pt x="1005" y="343"/>
                  </a:lnTo>
                  <a:lnTo>
                    <a:pt x="1005" y="347"/>
                  </a:lnTo>
                  <a:lnTo>
                    <a:pt x="1001" y="347"/>
                  </a:lnTo>
                  <a:lnTo>
                    <a:pt x="997" y="347"/>
                  </a:lnTo>
                  <a:lnTo>
                    <a:pt x="997" y="351"/>
                  </a:lnTo>
                  <a:lnTo>
                    <a:pt x="997" y="347"/>
                  </a:lnTo>
                  <a:lnTo>
                    <a:pt x="1001" y="347"/>
                  </a:lnTo>
                  <a:lnTo>
                    <a:pt x="1001" y="351"/>
                  </a:lnTo>
                  <a:lnTo>
                    <a:pt x="1005" y="351"/>
                  </a:lnTo>
                  <a:lnTo>
                    <a:pt x="1001" y="355"/>
                  </a:lnTo>
                  <a:lnTo>
                    <a:pt x="997" y="359"/>
                  </a:lnTo>
                  <a:lnTo>
                    <a:pt x="1001" y="355"/>
                  </a:lnTo>
                  <a:lnTo>
                    <a:pt x="1005" y="355"/>
                  </a:lnTo>
                  <a:lnTo>
                    <a:pt x="1005" y="351"/>
                  </a:lnTo>
                  <a:lnTo>
                    <a:pt x="1001" y="351"/>
                  </a:lnTo>
                  <a:lnTo>
                    <a:pt x="1001" y="347"/>
                  </a:lnTo>
                  <a:lnTo>
                    <a:pt x="1005" y="347"/>
                  </a:lnTo>
                  <a:lnTo>
                    <a:pt x="1009" y="343"/>
                  </a:lnTo>
                  <a:lnTo>
                    <a:pt x="1013" y="343"/>
                  </a:lnTo>
                  <a:lnTo>
                    <a:pt x="1013" y="347"/>
                  </a:lnTo>
                  <a:lnTo>
                    <a:pt x="1009" y="347"/>
                  </a:lnTo>
                  <a:lnTo>
                    <a:pt x="1013" y="347"/>
                  </a:lnTo>
                  <a:lnTo>
                    <a:pt x="1013" y="343"/>
                  </a:lnTo>
                  <a:lnTo>
                    <a:pt x="1017" y="343"/>
                  </a:lnTo>
                  <a:lnTo>
                    <a:pt x="1021" y="343"/>
                  </a:lnTo>
                  <a:lnTo>
                    <a:pt x="1017" y="343"/>
                  </a:lnTo>
                  <a:lnTo>
                    <a:pt x="1017" y="347"/>
                  </a:lnTo>
                  <a:lnTo>
                    <a:pt x="1013" y="347"/>
                  </a:lnTo>
                  <a:lnTo>
                    <a:pt x="1013" y="351"/>
                  </a:lnTo>
                  <a:lnTo>
                    <a:pt x="1009" y="351"/>
                  </a:lnTo>
                  <a:lnTo>
                    <a:pt x="1013" y="351"/>
                  </a:lnTo>
                  <a:lnTo>
                    <a:pt x="1013" y="355"/>
                  </a:lnTo>
                  <a:lnTo>
                    <a:pt x="1009" y="355"/>
                  </a:lnTo>
                  <a:lnTo>
                    <a:pt x="1009" y="359"/>
                  </a:lnTo>
                  <a:lnTo>
                    <a:pt x="1013" y="359"/>
                  </a:lnTo>
                  <a:lnTo>
                    <a:pt x="1013" y="355"/>
                  </a:lnTo>
                  <a:lnTo>
                    <a:pt x="1013" y="351"/>
                  </a:lnTo>
                  <a:lnTo>
                    <a:pt x="1017" y="347"/>
                  </a:lnTo>
                  <a:lnTo>
                    <a:pt x="1021" y="347"/>
                  </a:lnTo>
                  <a:lnTo>
                    <a:pt x="1021" y="351"/>
                  </a:lnTo>
                  <a:lnTo>
                    <a:pt x="1021" y="355"/>
                  </a:lnTo>
                  <a:lnTo>
                    <a:pt x="1021" y="351"/>
                  </a:lnTo>
                  <a:lnTo>
                    <a:pt x="1025" y="351"/>
                  </a:lnTo>
                  <a:lnTo>
                    <a:pt x="1021" y="355"/>
                  </a:lnTo>
                  <a:lnTo>
                    <a:pt x="1017" y="355"/>
                  </a:lnTo>
                  <a:lnTo>
                    <a:pt x="1017" y="359"/>
                  </a:lnTo>
                  <a:lnTo>
                    <a:pt x="1017" y="363"/>
                  </a:lnTo>
                  <a:lnTo>
                    <a:pt x="1017" y="359"/>
                  </a:lnTo>
                  <a:lnTo>
                    <a:pt x="1021" y="355"/>
                  </a:lnTo>
                  <a:lnTo>
                    <a:pt x="1025" y="355"/>
                  </a:lnTo>
                  <a:lnTo>
                    <a:pt x="1029" y="355"/>
                  </a:lnTo>
                  <a:lnTo>
                    <a:pt x="1025" y="355"/>
                  </a:lnTo>
                  <a:lnTo>
                    <a:pt x="1025" y="359"/>
                  </a:lnTo>
                  <a:lnTo>
                    <a:pt x="1025" y="363"/>
                  </a:lnTo>
                  <a:lnTo>
                    <a:pt x="1021" y="363"/>
                  </a:lnTo>
                  <a:lnTo>
                    <a:pt x="1025" y="363"/>
                  </a:lnTo>
                  <a:lnTo>
                    <a:pt x="1025" y="359"/>
                  </a:lnTo>
                  <a:lnTo>
                    <a:pt x="1029" y="355"/>
                  </a:lnTo>
                  <a:lnTo>
                    <a:pt x="1029" y="359"/>
                  </a:lnTo>
                  <a:lnTo>
                    <a:pt x="1029" y="355"/>
                  </a:lnTo>
                  <a:lnTo>
                    <a:pt x="1029" y="351"/>
                  </a:lnTo>
                  <a:lnTo>
                    <a:pt x="1033" y="351"/>
                  </a:lnTo>
                  <a:lnTo>
                    <a:pt x="1033" y="347"/>
                  </a:lnTo>
                  <a:lnTo>
                    <a:pt x="1037" y="347"/>
                  </a:lnTo>
                  <a:lnTo>
                    <a:pt x="1037" y="343"/>
                  </a:lnTo>
                  <a:lnTo>
                    <a:pt x="1037" y="347"/>
                  </a:lnTo>
                  <a:lnTo>
                    <a:pt x="1041" y="347"/>
                  </a:lnTo>
                  <a:lnTo>
                    <a:pt x="1045" y="347"/>
                  </a:lnTo>
                  <a:lnTo>
                    <a:pt x="1049" y="347"/>
                  </a:lnTo>
                  <a:lnTo>
                    <a:pt x="1049" y="351"/>
                  </a:lnTo>
                  <a:lnTo>
                    <a:pt x="1053" y="351"/>
                  </a:lnTo>
                  <a:lnTo>
                    <a:pt x="1057" y="355"/>
                  </a:lnTo>
                  <a:lnTo>
                    <a:pt x="1057" y="359"/>
                  </a:lnTo>
                  <a:lnTo>
                    <a:pt x="1053" y="359"/>
                  </a:lnTo>
                  <a:lnTo>
                    <a:pt x="1053" y="363"/>
                  </a:lnTo>
                  <a:lnTo>
                    <a:pt x="1049" y="363"/>
                  </a:lnTo>
                  <a:lnTo>
                    <a:pt x="1049" y="359"/>
                  </a:lnTo>
                  <a:lnTo>
                    <a:pt x="1045" y="359"/>
                  </a:lnTo>
                  <a:lnTo>
                    <a:pt x="1041" y="363"/>
                  </a:lnTo>
                  <a:lnTo>
                    <a:pt x="1041" y="367"/>
                  </a:lnTo>
                  <a:lnTo>
                    <a:pt x="1037" y="367"/>
                  </a:lnTo>
                  <a:lnTo>
                    <a:pt x="1033" y="367"/>
                  </a:lnTo>
                  <a:lnTo>
                    <a:pt x="1037" y="367"/>
                  </a:lnTo>
                  <a:lnTo>
                    <a:pt x="1041" y="367"/>
                  </a:lnTo>
                  <a:lnTo>
                    <a:pt x="1037" y="371"/>
                  </a:lnTo>
                  <a:lnTo>
                    <a:pt x="1037" y="375"/>
                  </a:lnTo>
                  <a:lnTo>
                    <a:pt x="1033" y="375"/>
                  </a:lnTo>
                  <a:lnTo>
                    <a:pt x="1037" y="375"/>
                  </a:lnTo>
                  <a:lnTo>
                    <a:pt x="1037" y="371"/>
                  </a:lnTo>
                  <a:lnTo>
                    <a:pt x="1041" y="371"/>
                  </a:lnTo>
                  <a:lnTo>
                    <a:pt x="1045" y="371"/>
                  </a:lnTo>
                  <a:lnTo>
                    <a:pt x="1045" y="367"/>
                  </a:lnTo>
                  <a:lnTo>
                    <a:pt x="1049" y="367"/>
                  </a:lnTo>
                  <a:lnTo>
                    <a:pt x="1053" y="367"/>
                  </a:lnTo>
                  <a:lnTo>
                    <a:pt x="1057" y="363"/>
                  </a:lnTo>
                  <a:lnTo>
                    <a:pt x="1061" y="359"/>
                  </a:lnTo>
                  <a:lnTo>
                    <a:pt x="1065" y="359"/>
                  </a:lnTo>
                  <a:lnTo>
                    <a:pt x="1065" y="363"/>
                  </a:lnTo>
                  <a:lnTo>
                    <a:pt x="1065" y="367"/>
                  </a:lnTo>
                  <a:lnTo>
                    <a:pt x="1065" y="371"/>
                  </a:lnTo>
                  <a:lnTo>
                    <a:pt x="1061" y="371"/>
                  </a:lnTo>
                  <a:lnTo>
                    <a:pt x="1057" y="371"/>
                  </a:lnTo>
                  <a:lnTo>
                    <a:pt x="1057" y="375"/>
                  </a:lnTo>
                  <a:lnTo>
                    <a:pt x="1053" y="375"/>
                  </a:lnTo>
                  <a:lnTo>
                    <a:pt x="1049" y="375"/>
                  </a:lnTo>
                  <a:lnTo>
                    <a:pt x="1049" y="379"/>
                  </a:lnTo>
                  <a:lnTo>
                    <a:pt x="1049" y="383"/>
                  </a:lnTo>
                  <a:lnTo>
                    <a:pt x="1045" y="383"/>
                  </a:lnTo>
                  <a:lnTo>
                    <a:pt x="1049" y="383"/>
                  </a:lnTo>
                  <a:lnTo>
                    <a:pt x="1049" y="379"/>
                  </a:lnTo>
                  <a:lnTo>
                    <a:pt x="1053" y="375"/>
                  </a:lnTo>
                  <a:lnTo>
                    <a:pt x="1057" y="375"/>
                  </a:lnTo>
                  <a:lnTo>
                    <a:pt x="1057" y="379"/>
                  </a:lnTo>
                  <a:lnTo>
                    <a:pt x="1053" y="383"/>
                  </a:lnTo>
                  <a:lnTo>
                    <a:pt x="1053" y="387"/>
                  </a:lnTo>
                  <a:lnTo>
                    <a:pt x="1053" y="391"/>
                  </a:lnTo>
                  <a:lnTo>
                    <a:pt x="1053" y="387"/>
                  </a:lnTo>
                  <a:lnTo>
                    <a:pt x="1057" y="383"/>
                  </a:lnTo>
                  <a:lnTo>
                    <a:pt x="1057" y="379"/>
                  </a:lnTo>
                  <a:lnTo>
                    <a:pt x="1057" y="375"/>
                  </a:lnTo>
                  <a:lnTo>
                    <a:pt x="1061" y="375"/>
                  </a:lnTo>
                  <a:lnTo>
                    <a:pt x="1061" y="371"/>
                  </a:lnTo>
                  <a:lnTo>
                    <a:pt x="1065" y="371"/>
                  </a:lnTo>
                  <a:lnTo>
                    <a:pt x="1069" y="371"/>
                  </a:lnTo>
                  <a:lnTo>
                    <a:pt x="1069" y="367"/>
                  </a:lnTo>
                  <a:lnTo>
                    <a:pt x="1073" y="367"/>
                  </a:lnTo>
                  <a:lnTo>
                    <a:pt x="1077" y="367"/>
                  </a:lnTo>
                  <a:lnTo>
                    <a:pt x="1077" y="371"/>
                  </a:lnTo>
                  <a:lnTo>
                    <a:pt x="1073" y="371"/>
                  </a:lnTo>
                  <a:lnTo>
                    <a:pt x="1073" y="375"/>
                  </a:lnTo>
                  <a:lnTo>
                    <a:pt x="1069" y="375"/>
                  </a:lnTo>
                  <a:lnTo>
                    <a:pt x="1069" y="379"/>
                  </a:lnTo>
                  <a:lnTo>
                    <a:pt x="1069" y="375"/>
                  </a:lnTo>
                  <a:lnTo>
                    <a:pt x="1073" y="375"/>
                  </a:lnTo>
                  <a:lnTo>
                    <a:pt x="1073" y="371"/>
                  </a:lnTo>
                  <a:lnTo>
                    <a:pt x="1077" y="371"/>
                  </a:lnTo>
                  <a:lnTo>
                    <a:pt x="1081" y="371"/>
                  </a:lnTo>
                  <a:lnTo>
                    <a:pt x="1085" y="371"/>
                  </a:lnTo>
                  <a:lnTo>
                    <a:pt x="1089" y="371"/>
                  </a:lnTo>
                  <a:lnTo>
                    <a:pt x="1093" y="375"/>
                  </a:lnTo>
                  <a:lnTo>
                    <a:pt x="1097" y="375"/>
                  </a:lnTo>
                  <a:lnTo>
                    <a:pt x="1101" y="375"/>
                  </a:lnTo>
                  <a:lnTo>
                    <a:pt x="1101" y="379"/>
                  </a:lnTo>
                  <a:lnTo>
                    <a:pt x="1097" y="379"/>
                  </a:lnTo>
                  <a:lnTo>
                    <a:pt x="1093" y="379"/>
                  </a:lnTo>
                  <a:lnTo>
                    <a:pt x="1093" y="383"/>
                  </a:lnTo>
                  <a:lnTo>
                    <a:pt x="1089" y="383"/>
                  </a:lnTo>
                  <a:lnTo>
                    <a:pt x="1085" y="383"/>
                  </a:lnTo>
                  <a:lnTo>
                    <a:pt x="1081" y="383"/>
                  </a:lnTo>
                  <a:lnTo>
                    <a:pt x="1081" y="387"/>
                  </a:lnTo>
                  <a:lnTo>
                    <a:pt x="1077" y="387"/>
                  </a:lnTo>
                  <a:lnTo>
                    <a:pt x="1073" y="387"/>
                  </a:lnTo>
                  <a:lnTo>
                    <a:pt x="1073" y="391"/>
                  </a:lnTo>
                  <a:lnTo>
                    <a:pt x="1077" y="391"/>
                  </a:lnTo>
                  <a:lnTo>
                    <a:pt x="1073" y="391"/>
                  </a:lnTo>
                  <a:lnTo>
                    <a:pt x="1069" y="395"/>
                  </a:lnTo>
                  <a:lnTo>
                    <a:pt x="1073" y="395"/>
                  </a:lnTo>
                  <a:lnTo>
                    <a:pt x="1073" y="391"/>
                  </a:lnTo>
                  <a:lnTo>
                    <a:pt x="1077" y="391"/>
                  </a:lnTo>
                  <a:lnTo>
                    <a:pt x="1077" y="387"/>
                  </a:lnTo>
                  <a:lnTo>
                    <a:pt x="1081" y="387"/>
                  </a:lnTo>
                  <a:lnTo>
                    <a:pt x="1085" y="387"/>
                  </a:lnTo>
                  <a:lnTo>
                    <a:pt x="1089" y="387"/>
                  </a:lnTo>
                  <a:lnTo>
                    <a:pt x="1093" y="387"/>
                  </a:lnTo>
                  <a:lnTo>
                    <a:pt x="1097" y="387"/>
                  </a:lnTo>
                  <a:lnTo>
                    <a:pt x="1093" y="391"/>
                  </a:lnTo>
                  <a:lnTo>
                    <a:pt x="1089" y="391"/>
                  </a:lnTo>
                  <a:lnTo>
                    <a:pt x="1085" y="395"/>
                  </a:lnTo>
                  <a:lnTo>
                    <a:pt x="1081" y="395"/>
                  </a:lnTo>
                  <a:lnTo>
                    <a:pt x="1077" y="395"/>
                  </a:lnTo>
                  <a:lnTo>
                    <a:pt x="1073" y="399"/>
                  </a:lnTo>
                  <a:lnTo>
                    <a:pt x="1073" y="403"/>
                  </a:lnTo>
                  <a:lnTo>
                    <a:pt x="1077" y="399"/>
                  </a:lnTo>
                  <a:lnTo>
                    <a:pt x="1077" y="395"/>
                  </a:lnTo>
                  <a:lnTo>
                    <a:pt x="1081" y="395"/>
                  </a:lnTo>
                  <a:lnTo>
                    <a:pt x="1085" y="395"/>
                  </a:lnTo>
                  <a:lnTo>
                    <a:pt x="1089" y="395"/>
                  </a:lnTo>
                  <a:lnTo>
                    <a:pt x="1089" y="391"/>
                  </a:lnTo>
                  <a:lnTo>
                    <a:pt x="1093" y="391"/>
                  </a:lnTo>
                  <a:lnTo>
                    <a:pt x="1097" y="391"/>
                  </a:lnTo>
                  <a:lnTo>
                    <a:pt x="1101" y="391"/>
                  </a:lnTo>
                  <a:lnTo>
                    <a:pt x="1101" y="387"/>
                  </a:lnTo>
                  <a:lnTo>
                    <a:pt x="1101" y="383"/>
                  </a:lnTo>
                  <a:lnTo>
                    <a:pt x="1105" y="383"/>
                  </a:lnTo>
                  <a:lnTo>
                    <a:pt x="1109" y="383"/>
                  </a:lnTo>
                  <a:lnTo>
                    <a:pt x="1109" y="387"/>
                  </a:lnTo>
                  <a:lnTo>
                    <a:pt x="1113" y="387"/>
                  </a:lnTo>
                  <a:lnTo>
                    <a:pt x="1113" y="391"/>
                  </a:lnTo>
                  <a:lnTo>
                    <a:pt x="1117" y="391"/>
                  </a:lnTo>
                  <a:lnTo>
                    <a:pt x="1117" y="395"/>
                  </a:lnTo>
                  <a:lnTo>
                    <a:pt x="1117" y="399"/>
                  </a:lnTo>
                  <a:lnTo>
                    <a:pt x="1113" y="399"/>
                  </a:lnTo>
                  <a:lnTo>
                    <a:pt x="1109" y="399"/>
                  </a:lnTo>
                  <a:lnTo>
                    <a:pt x="1109" y="395"/>
                  </a:lnTo>
                  <a:lnTo>
                    <a:pt x="1105" y="395"/>
                  </a:lnTo>
                  <a:lnTo>
                    <a:pt x="1105" y="399"/>
                  </a:lnTo>
                  <a:lnTo>
                    <a:pt x="1101" y="399"/>
                  </a:lnTo>
                  <a:lnTo>
                    <a:pt x="1097" y="399"/>
                  </a:lnTo>
                  <a:lnTo>
                    <a:pt x="1093" y="403"/>
                  </a:lnTo>
                  <a:lnTo>
                    <a:pt x="1089" y="403"/>
                  </a:lnTo>
                  <a:lnTo>
                    <a:pt x="1085" y="403"/>
                  </a:lnTo>
                  <a:lnTo>
                    <a:pt x="1081" y="403"/>
                  </a:lnTo>
                  <a:lnTo>
                    <a:pt x="1077" y="403"/>
                  </a:lnTo>
                  <a:lnTo>
                    <a:pt x="1073" y="403"/>
                  </a:lnTo>
                  <a:lnTo>
                    <a:pt x="1077" y="403"/>
                  </a:lnTo>
                  <a:lnTo>
                    <a:pt x="1081" y="403"/>
                  </a:lnTo>
                  <a:lnTo>
                    <a:pt x="1085" y="403"/>
                  </a:lnTo>
                  <a:lnTo>
                    <a:pt x="1089" y="403"/>
                  </a:lnTo>
                  <a:lnTo>
                    <a:pt x="1093" y="403"/>
                  </a:lnTo>
                  <a:lnTo>
                    <a:pt x="1097" y="403"/>
                  </a:lnTo>
                  <a:lnTo>
                    <a:pt x="1101" y="403"/>
                  </a:lnTo>
                  <a:lnTo>
                    <a:pt x="1105" y="407"/>
                  </a:lnTo>
                  <a:lnTo>
                    <a:pt x="1109" y="407"/>
                  </a:lnTo>
                  <a:lnTo>
                    <a:pt x="1109" y="403"/>
                  </a:lnTo>
                  <a:lnTo>
                    <a:pt x="1113" y="407"/>
                  </a:lnTo>
                  <a:lnTo>
                    <a:pt x="1117" y="407"/>
                  </a:lnTo>
                  <a:lnTo>
                    <a:pt x="1121" y="407"/>
                  </a:lnTo>
                  <a:lnTo>
                    <a:pt x="1125" y="407"/>
                  </a:lnTo>
                  <a:lnTo>
                    <a:pt x="1125" y="411"/>
                  </a:lnTo>
                  <a:lnTo>
                    <a:pt x="1125" y="415"/>
                  </a:lnTo>
                  <a:lnTo>
                    <a:pt x="1121" y="415"/>
                  </a:lnTo>
                  <a:lnTo>
                    <a:pt x="1117" y="411"/>
                  </a:lnTo>
                  <a:lnTo>
                    <a:pt x="1113" y="411"/>
                  </a:lnTo>
                  <a:lnTo>
                    <a:pt x="1113" y="415"/>
                  </a:lnTo>
                  <a:lnTo>
                    <a:pt x="1109" y="415"/>
                  </a:lnTo>
                  <a:lnTo>
                    <a:pt x="1105" y="411"/>
                  </a:lnTo>
                  <a:lnTo>
                    <a:pt x="1101" y="411"/>
                  </a:lnTo>
                  <a:lnTo>
                    <a:pt x="1097" y="411"/>
                  </a:lnTo>
                  <a:lnTo>
                    <a:pt x="1093" y="411"/>
                  </a:lnTo>
                  <a:lnTo>
                    <a:pt x="1093" y="407"/>
                  </a:lnTo>
                  <a:lnTo>
                    <a:pt x="1089" y="407"/>
                  </a:lnTo>
                  <a:lnTo>
                    <a:pt x="1085" y="411"/>
                  </a:lnTo>
                  <a:lnTo>
                    <a:pt x="1089" y="411"/>
                  </a:lnTo>
                  <a:lnTo>
                    <a:pt x="1089" y="407"/>
                  </a:lnTo>
                  <a:lnTo>
                    <a:pt x="1093" y="411"/>
                  </a:lnTo>
                  <a:lnTo>
                    <a:pt x="1097" y="411"/>
                  </a:lnTo>
                  <a:lnTo>
                    <a:pt x="1101" y="411"/>
                  </a:lnTo>
                  <a:lnTo>
                    <a:pt x="1105" y="411"/>
                  </a:lnTo>
                  <a:lnTo>
                    <a:pt x="1101" y="411"/>
                  </a:lnTo>
                  <a:lnTo>
                    <a:pt x="1097" y="411"/>
                  </a:lnTo>
                  <a:lnTo>
                    <a:pt x="1093" y="411"/>
                  </a:lnTo>
                  <a:lnTo>
                    <a:pt x="1089" y="411"/>
                  </a:lnTo>
                  <a:lnTo>
                    <a:pt x="1093" y="411"/>
                  </a:lnTo>
                  <a:lnTo>
                    <a:pt x="1097" y="411"/>
                  </a:lnTo>
                  <a:lnTo>
                    <a:pt x="1093" y="415"/>
                  </a:lnTo>
                  <a:lnTo>
                    <a:pt x="1089" y="415"/>
                  </a:lnTo>
                  <a:lnTo>
                    <a:pt x="1089" y="419"/>
                  </a:lnTo>
                  <a:lnTo>
                    <a:pt x="1093" y="415"/>
                  </a:lnTo>
                  <a:lnTo>
                    <a:pt x="1097" y="415"/>
                  </a:lnTo>
                  <a:lnTo>
                    <a:pt x="1101" y="415"/>
                  </a:lnTo>
                  <a:lnTo>
                    <a:pt x="1105" y="415"/>
                  </a:lnTo>
                  <a:lnTo>
                    <a:pt x="1109" y="419"/>
                  </a:lnTo>
                  <a:lnTo>
                    <a:pt x="1105" y="419"/>
                  </a:lnTo>
                  <a:lnTo>
                    <a:pt x="1101" y="419"/>
                  </a:lnTo>
                  <a:lnTo>
                    <a:pt x="1097" y="419"/>
                  </a:lnTo>
                  <a:lnTo>
                    <a:pt x="1101" y="419"/>
                  </a:lnTo>
                  <a:lnTo>
                    <a:pt x="1105" y="419"/>
                  </a:lnTo>
                  <a:lnTo>
                    <a:pt x="1105" y="423"/>
                  </a:lnTo>
                  <a:lnTo>
                    <a:pt x="1101" y="423"/>
                  </a:lnTo>
                  <a:lnTo>
                    <a:pt x="1101" y="419"/>
                  </a:lnTo>
                  <a:lnTo>
                    <a:pt x="1097" y="419"/>
                  </a:lnTo>
                  <a:lnTo>
                    <a:pt x="1097" y="423"/>
                  </a:lnTo>
                  <a:lnTo>
                    <a:pt x="1101" y="423"/>
                  </a:lnTo>
                  <a:lnTo>
                    <a:pt x="1105" y="423"/>
                  </a:lnTo>
                  <a:lnTo>
                    <a:pt x="1109" y="423"/>
                  </a:lnTo>
                  <a:lnTo>
                    <a:pt x="1105" y="423"/>
                  </a:lnTo>
                  <a:lnTo>
                    <a:pt x="1101" y="423"/>
                  </a:lnTo>
                  <a:lnTo>
                    <a:pt x="1097" y="423"/>
                  </a:lnTo>
                  <a:lnTo>
                    <a:pt x="1093" y="423"/>
                  </a:lnTo>
                  <a:lnTo>
                    <a:pt x="1089" y="423"/>
                  </a:lnTo>
                  <a:lnTo>
                    <a:pt x="1085" y="423"/>
                  </a:lnTo>
                  <a:lnTo>
                    <a:pt x="1089" y="423"/>
                  </a:lnTo>
                  <a:lnTo>
                    <a:pt x="1085" y="423"/>
                  </a:lnTo>
                  <a:lnTo>
                    <a:pt x="1089" y="423"/>
                  </a:lnTo>
                  <a:lnTo>
                    <a:pt x="1101" y="427"/>
                  </a:lnTo>
                  <a:lnTo>
                    <a:pt x="1105" y="427"/>
                  </a:lnTo>
                  <a:lnTo>
                    <a:pt x="1101" y="427"/>
                  </a:lnTo>
                  <a:lnTo>
                    <a:pt x="1097" y="427"/>
                  </a:lnTo>
                  <a:lnTo>
                    <a:pt x="1093" y="427"/>
                  </a:lnTo>
                  <a:lnTo>
                    <a:pt x="1097" y="427"/>
                  </a:lnTo>
                  <a:lnTo>
                    <a:pt x="1097" y="431"/>
                  </a:lnTo>
                  <a:lnTo>
                    <a:pt x="1093" y="431"/>
                  </a:lnTo>
                  <a:lnTo>
                    <a:pt x="1097" y="431"/>
                  </a:lnTo>
                  <a:lnTo>
                    <a:pt x="1097" y="427"/>
                  </a:lnTo>
                  <a:lnTo>
                    <a:pt x="1101" y="427"/>
                  </a:lnTo>
                  <a:lnTo>
                    <a:pt x="1101" y="431"/>
                  </a:lnTo>
                  <a:lnTo>
                    <a:pt x="1105" y="431"/>
                  </a:lnTo>
                  <a:lnTo>
                    <a:pt x="1109" y="431"/>
                  </a:lnTo>
                  <a:lnTo>
                    <a:pt x="1113" y="431"/>
                  </a:lnTo>
                  <a:lnTo>
                    <a:pt x="1109" y="431"/>
                  </a:lnTo>
                  <a:lnTo>
                    <a:pt x="1109" y="435"/>
                  </a:lnTo>
                  <a:lnTo>
                    <a:pt x="1113" y="435"/>
                  </a:lnTo>
                  <a:lnTo>
                    <a:pt x="1113" y="431"/>
                  </a:lnTo>
                  <a:lnTo>
                    <a:pt x="1117" y="431"/>
                  </a:lnTo>
                  <a:lnTo>
                    <a:pt x="1117" y="435"/>
                  </a:lnTo>
                  <a:lnTo>
                    <a:pt x="1113" y="435"/>
                  </a:lnTo>
                  <a:lnTo>
                    <a:pt x="1117" y="435"/>
                  </a:lnTo>
                  <a:lnTo>
                    <a:pt x="1117" y="431"/>
                  </a:lnTo>
                  <a:lnTo>
                    <a:pt x="1121" y="431"/>
                  </a:lnTo>
                  <a:lnTo>
                    <a:pt x="1125" y="431"/>
                  </a:lnTo>
                  <a:lnTo>
                    <a:pt x="1125" y="435"/>
                  </a:lnTo>
                  <a:lnTo>
                    <a:pt x="1121" y="435"/>
                  </a:lnTo>
                  <a:lnTo>
                    <a:pt x="1117" y="435"/>
                  </a:lnTo>
                  <a:lnTo>
                    <a:pt x="1113" y="435"/>
                  </a:lnTo>
                  <a:lnTo>
                    <a:pt x="1109" y="435"/>
                  </a:lnTo>
                  <a:lnTo>
                    <a:pt x="1105" y="435"/>
                  </a:lnTo>
                  <a:lnTo>
                    <a:pt x="1105" y="439"/>
                  </a:lnTo>
                  <a:lnTo>
                    <a:pt x="1109" y="439"/>
                  </a:lnTo>
                  <a:lnTo>
                    <a:pt x="1109" y="435"/>
                  </a:lnTo>
                  <a:lnTo>
                    <a:pt x="1113" y="435"/>
                  </a:lnTo>
                  <a:lnTo>
                    <a:pt x="1113" y="439"/>
                  </a:lnTo>
                  <a:lnTo>
                    <a:pt x="1109" y="439"/>
                  </a:lnTo>
                  <a:lnTo>
                    <a:pt x="1113" y="439"/>
                  </a:lnTo>
                  <a:lnTo>
                    <a:pt x="1113" y="435"/>
                  </a:lnTo>
                  <a:lnTo>
                    <a:pt x="1117" y="435"/>
                  </a:lnTo>
                  <a:lnTo>
                    <a:pt x="1121" y="435"/>
                  </a:lnTo>
                  <a:lnTo>
                    <a:pt x="1117" y="435"/>
                  </a:lnTo>
                  <a:lnTo>
                    <a:pt x="1117" y="439"/>
                  </a:lnTo>
                  <a:lnTo>
                    <a:pt x="1113" y="439"/>
                  </a:lnTo>
                  <a:lnTo>
                    <a:pt x="1117" y="439"/>
                  </a:lnTo>
                  <a:lnTo>
                    <a:pt x="1113" y="439"/>
                  </a:lnTo>
                  <a:lnTo>
                    <a:pt x="1109" y="439"/>
                  </a:lnTo>
                  <a:lnTo>
                    <a:pt x="1113" y="439"/>
                  </a:lnTo>
                  <a:lnTo>
                    <a:pt x="1113" y="443"/>
                  </a:lnTo>
                  <a:lnTo>
                    <a:pt x="1117" y="439"/>
                  </a:lnTo>
                  <a:lnTo>
                    <a:pt x="1121" y="435"/>
                  </a:lnTo>
                  <a:lnTo>
                    <a:pt x="1121" y="439"/>
                  </a:lnTo>
                  <a:lnTo>
                    <a:pt x="1125" y="439"/>
                  </a:lnTo>
                  <a:lnTo>
                    <a:pt x="1121" y="443"/>
                  </a:lnTo>
                  <a:lnTo>
                    <a:pt x="1125" y="443"/>
                  </a:lnTo>
                  <a:lnTo>
                    <a:pt x="1125" y="439"/>
                  </a:lnTo>
                  <a:lnTo>
                    <a:pt x="1125" y="443"/>
                  </a:lnTo>
                  <a:lnTo>
                    <a:pt x="1125" y="447"/>
                  </a:lnTo>
                  <a:lnTo>
                    <a:pt x="1125" y="443"/>
                  </a:lnTo>
                  <a:lnTo>
                    <a:pt x="1125" y="439"/>
                  </a:lnTo>
                  <a:lnTo>
                    <a:pt x="1129" y="439"/>
                  </a:lnTo>
                  <a:lnTo>
                    <a:pt x="1129" y="443"/>
                  </a:lnTo>
                  <a:lnTo>
                    <a:pt x="1133" y="443"/>
                  </a:lnTo>
                  <a:lnTo>
                    <a:pt x="1129" y="443"/>
                  </a:lnTo>
                  <a:lnTo>
                    <a:pt x="1129" y="447"/>
                  </a:lnTo>
                  <a:lnTo>
                    <a:pt x="1125" y="447"/>
                  </a:lnTo>
                  <a:lnTo>
                    <a:pt x="1129" y="451"/>
                  </a:lnTo>
                  <a:lnTo>
                    <a:pt x="1129" y="447"/>
                  </a:lnTo>
                  <a:lnTo>
                    <a:pt x="1133" y="447"/>
                  </a:lnTo>
                  <a:lnTo>
                    <a:pt x="1137" y="443"/>
                  </a:lnTo>
                  <a:lnTo>
                    <a:pt x="1137" y="439"/>
                  </a:lnTo>
                  <a:lnTo>
                    <a:pt x="1137" y="443"/>
                  </a:lnTo>
                  <a:lnTo>
                    <a:pt x="1137" y="447"/>
                  </a:lnTo>
                  <a:lnTo>
                    <a:pt x="1133" y="447"/>
                  </a:lnTo>
                  <a:lnTo>
                    <a:pt x="1137" y="447"/>
                  </a:lnTo>
                  <a:lnTo>
                    <a:pt x="1137" y="451"/>
                  </a:lnTo>
                  <a:lnTo>
                    <a:pt x="1133" y="451"/>
                  </a:lnTo>
                  <a:lnTo>
                    <a:pt x="1133" y="455"/>
                  </a:lnTo>
                  <a:lnTo>
                    <a:pt x="1137" y="455"/>
                  </a:lnTo>
                  <a:lnTo>
                    <a:pt x="1137" y="451"/>
                  </a:lnTo>
                  <a:lnTo>
                    <a:pt x="1137" y="447"/>
                  </a:lnTo>
                  <a:lnTo>
                    <a:pt x="1141" y="443"/>
                  </a:lnTo>
                  <a:lnTo>
                    <a:pt x="1145" y="443"/>
                  </a:lnTo>
                  <a:lnTo>
                    <a:pt x="1145" y="447"/>
                  </a:lnTo>
                  <a:lnTo>
                    <a:pt x="1141" y="447"/>
                  </a:lnTo>
                  <a:lnTo>
                    <a:pt x="1141" y="451"/>
                  </a:lnTo>
                  <a:lnTo>
                    <a:pt x="1145" y="451"/>
                  </a:lnTo>
                  <a:lnTo>
                    <a:pt x="1145" y="455"/>
                  </a:lnTo>
                  <a:lnTo>
                    <a:pt x="1145" y="451"/>
                  </a:lnTo>
                  <a:lnTo>
                    <a:pt x="1141" y="451"/>
                  </a:lnTo>
                  <a:lnTo>
                    <a:pt x="1145" y="447"/>
                  </a:lnTo>
                  <a:lnTo>
                    <a:pt x="1148" y="447"/>
                  </a:lnTo>
                  <a:lnTo>
                    <a:pt x="1148" y="443"/>
                  </a:lnTo>
                  <a:lnTo>
                    <a:pt x="1152" y="447"/>
                  </a:lnTo>
                  <a:lnTo>
                    <a:pt x="1148" y="447"/>
                  </a:lnTo>
                  <a:lnTo>
                    <a:pt x="1148" y="451"/>
                  </a:lnTo>
                  <a:lnTo>
                    <a:pt x="1148" y="455"/>
                  </a:lnTo>
                  <a:lnTo>
                    <a:pt x="1148" y="451"/>
                  </a:lnTo>
                  <a:lnTo>
                    <a:pt x="1152" y="451"/>
                  </a:lnTo>
                  <a:lnTo>
                    <a:pt x="1152" y="455"/>
                  </a:lnTo>
                  <a:lnTo>
                    <a:pt x="1152" y="451"/>
                  </a:lnTo>
                  <a:lnTo>
                    <a:pt x="1156" y="451"/>
                  </a:lnTo>
                  <a:lnTo>
                    <a:pt x="1160" y="451"/>
                  </a:lnTo>
                  <a:lnTo>
                    <a:pt x="1156" y="451"/>
                  </a:lnTo>
                  <a:lnTo>
                    <a:pt x="1156" y="455"/>
                  </a:lnTo>
                  <a:lnTo>
                    <a:pt x="1156" y="451"/>
                  </a:lnTo>
                  <a:lnTo>
                    <a:pt x="1160" y="451"/>
                  </a:lnTo>
                  <a:lnTo>
                    <a:pt x="1164" y="455"/>
                  </a:lnTo>
                  <a:lnTo>
                    <a:pt x="1164" y="459"/>
                  </a:lnTo>
                  <a:lnTo>
                    <a:pt x="1160" y="459"/>
                  </a:lnTo>
                  <a:lnTo>
                    <a:pt x="1156" y="459"/>
                  </a:lnTo>
                  <a:lnTo>
                    <a:pt x="1160" y="459"/>
                  </a:lnTo>
                  <a:lnTo>
                    <a:pt x="1164" y="459"/>
                  </a:lnTo>
                  <a:lnTo>
                    <a:pt x="1164" y="463"/>
                  </a:lnTo>
                  <a:lnTo>
                    <a:pt x="1160" y="463"/>
                  </a:lnTo>
                  <a:lnTo>
                    <a:pt x="1156" y="463"/>
                  </a:lnTo>
                  <a:lnTo>
                    <a:pt x="1152" y="463"/>
                  </a:lnTo>
                  <a:lnTo>
                    <a:pt x="1156" y="463"/>
                  </a:lnTo>
                  <a:lnTo>
                    <a:pt x="1160" y="463"/>
                  </a:lnTo>
                  <a:lnTo>
                    <a:pt x="1156" y="463"/>
                  </a:lnTo>
                  <a:lnTo>
                    <a:pt x="1152" y="467"/>
                  </a:lnTo>
                  <a:lnTo>
                    <a:pt x="1156" y="467"/>
                  </a:lnTo>
                  <a:lnTo>
                    <a:pt x="1160" y="467"/>
                  </a:lnTo>
                  <a:lnTo>
                    <a:pt x="1160" y="463"/>
                  </a:lnTo>
                  <a:lnTo>
                    <a:pt x="1164" y="463"/>
                  </a:lnTo>
                  <a:lnTo>
                    <a:pt x="1164" y="467"/>
                  </a:lnTo>
                  <a:lnTo>
                    <a:pt x="1160" y="467"/>
                  </a:lnTo>
                  <a:lnTo>
                    <a:pt x="1156" y="467"/>
                  </a:lnTo>
                  <a:lnTo>
                    <a:pt x="1152" y="471"/>
                  </a:lnTo>
                  <a:lnTo>
                    <a:pt x="1156" y="471"/>
                  </a:lnTo>
                  <a:lnTo>
                    <a:pt x="1156" y="467"/>
                  </a:lnTo>
                  <a:lnTo>
                    <a:pt x="1160" y="467"/>
                  </a:lnTo>
                  <a:lnTo>
                    <a:pt x="1164" y="467"/>
                  </a:lnTo>
                  <a:lnTo>
                    <a:pt x="1168" y="467"/>
                  </a:lnTo>
                  <a:lnTo>
                    <a:pt x="1168" y="463"/>
                  </a:lnTo>
                  <a:lnTo>
                    <a:pt x="1172" y="467"/>
                  </a:lnTo>
                  <a:lnTo>
                    <a:pt x="1172" y="471"/>
                  </a:lnTo>
                  <a:lnTo>
                    <a:pt x="1168" y="471"/>
                  </a:lnTo>
                  <a:lnTo>
                    <a:pt x="1172" y="471"/>
                  </a:lnTo>
                  <a:lnTo>
                    <a:pt x="1172" y="467"/>
                  </a:lnTo>
                  <a:lnTo>
                    <a:pt x="1176" y="463"/>
                  </a:lnTo>
                  <a:lnTo>
                    <a:pt x="1180" y="463"/>
                  </a:lnTo>
                  <a:lnTo>
                    <a:pt x="1180" y="467"/>
                  </a:lnTo>
                  <a:lnTo>
                    <a:pt x="1176" y="467"/>
                  </a:lnTo>
                  <a:lnTo>
                    <a:pt x="1176" y="471"/>
                  </a:lnTo>
                  <a:lnTo>
                    <a:pt x="1172" y="475"/>
                  </a:lnTo>
                  <a:lnTo>
                    <a:pt x="1168" y="475"/>
                  </a:lnTo>
                  <a:lnTo>
                    <a:pt x="1172" y="475"/>
                  </a:lnTo>
                  <a:lnTo>
                    <a:pt x="1172" y="479"/>
                  </a:lnTo>
                  <a:lnTo>
                    <a:pt x="1176" y="475"/>
                  </a:lnTo>
                  <a:lnTo>
                    <a:pt x="1180" y="471"/>
                  </a:lnTo>
                  <a:lnTo>
                    <a:pt x="1184" y="471"/>
                  </a:lnTo>
                  <a:lnTo>
                    <a:pt x="1184" y="475"/>
                  </a:lnTo>
                  <a:lnTo>
                    <a:pt x="1184" y="479"/>
                  </a:lnTo>
                  <a:lnTo>
                    <a:pt x="1180" y="479"/>
                  </a:lnTo>
                  <a:lnTo>
                    <a:pt x="1184" y="479"/>
                  </a:lnTo>
                  <a:lnTo>
                    <a:pt x="1184" y="475"/>
                  </a:lnTo>
                  <a:lnTo>
                    <a:pt x="1184" y="471"/>
                  </a:lnTo>
                  <a:lnTo>
                    <a:pt x="1188" y="471"/>
                  </a:lnTo>
                  <a:lnTo>
                    <a:pt x="1188" y="475"/>
                  </a:lnTo>
                  <a:lnTo>
                    <a:pt x="1192" y="479"/>
                  </a:lnTo>
                  <a:lnTo>
                    <a:pt x="1188" y="475"/>
                  </a:lnTo>
                  <a:lnTo>
                    <a:pt x="1188" y="471"/>
                  </a:lnTo>
                  <a:lnTo>
                    <a:pt x="1192" y="471"/>
                  </a:lnTo>
                  <a:lnTo>
                    <a:pt x="1196" y="471"/>
                  </a:lnTo>
                  <a:lnTo>
                    <a:pt x="1192" y="475"/>
                  </a:lnTo>
                  <a:lnTo>
                    <a:pt x="1196" y="475"/>
                  </a:lnTo>
                  <a:lnTo>
                    <a:pt x="1196" y="471"/>
                  </a:lnTo>
                  <a:lnTo>
                    <a:pt x="1200" y="471"/>
                  </a:lnTo>
                  <a:lnTo>
                    <a:pt x="1200" y="475"/>
                  </a:lnTo>
                  <a:lnTo>
                    <a:pt x="1204" y="479"/>
                  </a:lnTo>
                  <a:lnTo>
                    <a:pt x="1208" y="483"/>
                  </a:lnTo>
                  <a:lnTo>
                    <a:pt x="1204" y="483"/>
                  </a:lnTo>
                  <a:lnTo>
                    <a:pt x="1200" y="483"/>
                  </a:lnTo>
                  <a:lnTo>
                    <a:pt x="1200" y="479"/>
                  </a:lnTo>
                  <a:lnTo>
                    <a:pt x="1196" y="479"/>
                  </a:lnTo>
                  <a:lnTo>
                    <a:pt x="1192" y="483"/>
                  </a:lnTo>
                  <a:lnTo>
                    <a:pt x="1196" y="483"/>
                  </a:lnTo>
                  <a:lnTo>
                    <a:pt x="1196" y="479"/>
                  </a:lnTo>
                  <a:lnTo>
                    <a:pt x="1196" y="483"/>
                  </a:lnTo>
                  <a:lnTo>
                    <a:pt x="1200" y="483"/>
                  </a:lnTo>
                  <a:lnTo>
                    <a:pt x="1200" y="487"/>
                  </a:lnTo>
                  <a:lnTo>
                    <a:pt x="1196" y="487"/>
                  </a:lnTo>
                  <a:lnTo>
                    <a:pt x="1200" y="487"/>
                  </a:lnTo>
                  <a:lnTo>
                    <a:pt x="1204" y="487"/>
                  </a:lnTo>
                  <a:lnTo>
                    <a:pt x="1200" y="487"/>
                  </a:lnTo>
                  <a:lnTo>
                    <a:pt x="1196" y="491"/>
                  </a:lnTo>
                  <a:lnTo>
                    <a:pt x="1192" y="491"/>
                  </a:lnTo>
                  <a:lnTo>
                    <a:pt x="1192" y="487"/>
                  </a:lnTo>
                  <a:lnTo>
                    <a:pt x="1188" y="487"/>
                  </a:lnTo>
                  <a:lnTo>
                    <a:pt x="1184" y="487"/>
                  </a:lnTo>
                  <a:lnTo>
                    <a:pt x="1188" y="487"/>
                  </a:lnTo>
                  <a:lnTo>
                    <a:pt x="1188" y="491"/>
                  </a:lnTo>
                  <a:lnTo>
                    <a:pt x="1192" y="491"/>
                  </a:lnTo>
                  <a:lnTo>
                    <a:pt x="1188" y="491"/>
                  </a:lnTo>
                  <a:lnTo>
                    <a:pt x="1184" y="491"/>
                  </a:lnTo>
                  <a:lnTo>
                    <a:pt x="1180" y="487"/>
                  </a:lnTo>
                  <a:lnTo>
                    <a:pt x="1184" y="491"/>
                  </a:lnTo>
                  <a:lnTo>
                    <a:pt x="1188" y="491"/>
                  </a:lnTo>
                  <a:lnTo>
                    <a:pt x="1192" y="495"/>
                  </a:lnTo>
                  <a:lnTo>
                    <a:pt x="1196" y="495"/>
                  </a:lnTo>
                  <a:lnTo>
                    <a:pt x="1192" y="499"/>
                  </a:lnTo>
                  <a:lnTo>
                    <a:pt x="1188" y="499"/>
                  </a:lnTo>
                  <a:lnTo>
                    <a:pt x="1188" y="495"/>
                  </a:lnTo>
                  <a:lnTo>
                    <a:pt x="1184" y="495"/>
                  </a:lnTo>
                  <a:lnTo>
                    <a:pt x="1180" y="495"/>
                  </a:lnTo>
                  <a:lnTo>
                    <a:pt x="1184" y="495"/>
                  </a:lnTo>
                  <a:lnTo>
                    <a:pt x="1184" y="499"/>
                  </a:lnTo>
                  <a:lnTo>
                    <a:pt x="1188" y="499"/>
                  </a:lnTo>
                  <a:lnTo>
                    <a:pt x="1192" y="503"/>
                  </a:lnTo>
                  <a:lnTo>
                    <a:pt x="1188" y="503"/>
                  </a:lnTo>
                  <a:lnTo>
                    <a:pt x="1184" y="503"/>
                  </a:lnTo>
                  <a:lnTo>
                    <a:pt x="1184" y="499"/>
                  </a:lnTo>
                  <a:lnTo>
                    <a:pt x="1180" y="499"/>
                  </a:lnTo>
                  <a:lnTo>
                    <a:pt x="1184" y="503"/>
                  </a:lnTo>
                  <a:lnTo>
                    <a:pt x="1188" y="503"/>
                  </a:lnTo>
                  <a:lnTo>
                    <a:pt x="1184" y="503"/>
                  </a:lnTo>
                  <a:lnTo>
                    <a:pt x="1184" y="507"/>
                  </a:lnTo>
                  <a:lnTo>
                    <a:pt x="1180" y="507"/>
                  </a:lnTo>
                  <a:lnTo>
                    <a:pt x="1180" y="503"/>
                  </a:lnTo>
                  <a:lnTo>
                    <a:pt x="1180" y="507"/>
                  </a:lnTo>
                  <a:lnTo>
                    <a:pt x="1176" y="507"/>
                  </a:lnTo>
                  <a:lnTo>
                    <a:pt x="1172" y="503"/>
                  </a:lnTo>
                  <a:lnTo>
                    <a:pt x="1176" y="507"/>
                  </a:lnTo>
                  <a:lnTo>
                    <a:pt x="1172" y="507"/>
                  </a:lnTo>
                  <a:lnTo>
                    <a:pt x="1168" y="507"/>
                  </a:lnTo>
                  <a:lnTo>
                    <a:pt x="1172" y="507"/>
                  </a:lnTo>
                  <a:lnTo>
                    <a:pt x="1176" y="507"/>
                  </a:lnTo>
                  <a:lnTo>
                    <a:pt x="1176" y="511"/>
                  </a:lnTo>
                  <a:lnTo>
                    <a:pt x="1172" y="511"/>
                  </a:lnTo>
                  <a:lnTo>
                    <a:pt x="1172" y="507"/>
                  </a:lnTo>
                  <a:lnTo>
                    <a:pt x="1172" y="511"/>
                  </a:lnTo>
                  <a:lnTo>
                    <a:pt x="1176" y="511"/>
                  </a:lnTo>
                  <a:lnTo>
                    <a:pt x="1172" y="511"/>
                  </a:lnTo>
                  <a:lnTo>
                    <a:pt x="1168" y="511"/>
                  </a:lnTo>
                  <a:lnTo>
                    <a:pt x="1172" y="511"/>
                  </a:lnTo>
                  <a:lnTo>
                    <a:pt x="1176" y="515"/>
                  </a:lnTo>
                  <a:lnTo>
                    <a:pt x="1172" y="519"/>
                  </a:lnTo>
                  <a:lnTo>
                    <a:pt x="1172" y="523"/>
                  </a:lnTo>
                  <a:lnTo>
                    <a:pt x="1172" y="527"/>
                  </a:lnTo>
                  <a:lnTo>
                    <a:pt x="1168" y="527"/>
                  </a:lnTo>
                  <a:lnTo>
                    <a:pt x="1168" y="523"/>
                  </a:lnTo>
                  <a:lnTo>
                    <a:pt x="1164" y="519"/>
                  </a:lnTo>
                  <a:lnTo>
                    <a:pt x="1164" y="523"/>
                  </a:lnTo>
                  <a:lnTo>
                    <a:pt x="1160" y="519"/>
                  </a:lnTo>
                  <a:lnTo>
                    <a:pt x="1164" y="519"/>
                  </a:lnTo>
                  <a:lnTo>
                    <a:pt x="1160" y="519"/>
                  </a:lnTo>
                  <a:lnTo>
                    <a:pt x="1160" y="515"/>
                  </a:lnTo>
                  <a:lnTo>
                    <a:pt x="1160" y="511"/>
                  </a:lnTo>
                  <a:lnTo>
                    <a:pt x="1156" y="515"/>
                  </a:lnTo>
                  <a:lnTo>
                    <a:pt x="1156" y="519"/>
                  </a:lnTo>
                  <a:lnTo>
                    <a:pt x="1152" y="519"/>
                  </a:lnTo>
                  <a:lnTo>
                    <a:pt x="1152" y="515"/>
                  </a:lnTo>
                  <a:lnTo>
                    <a:pt x="1152" y="519"/>
                  </a:lnTo>
                  <a:lnTo>
                    <a:pt x="1152" y="515"/>
                  </a:lnTo>
                  <a:lnTo>
                    <a:pt x="1156" y="515"/>
                  </a:lnTo>
                  <a:lnTo>
                    <a:pt x="1152" y="515"/>
                  </a:lnTo>
                  <a:lnTo>
                    <a:pt x="1156" y="511"/>
                  </a:lnTo>
                  <a:lnTo>
                    <a:pt x="1160" y="511"/>
                  </a:lnTo>
                  <a:lnTo>
                    <a:pt x="1156" y="511"/>
                  </a:lnTo>
                  <a:lnTo>
                    <a:pt x="1152" y="511"/>
                  </a:lnTo>
                  <a:lnTo>
                    <a:pt x="1148" y="511"/>
                  </a:lnTo>
                  <a:lnTo>
                    <a:pt x="1148" y="515"/>
                  </a:lnTo>
                  <a:lnTo>
                    <a:pt x="1148" y="511"/>
                  </a:lnTo>
                  <a:lnTo>
                    <a:pt x="1152" y="511"/>
                  </a:lnTo>
                  <a:lnTo>
                    <a:pt x="1152" y="507"/>
                  </a:lnTo>
                  <a:lnTo>
                    <a:pt x="1148" y="511"/>
                  </a:lnTo>
                  <a:lnTo>
                    <a:pt x="1145" y="511"/>
                  </a:lnTo>
                  <a:lnTo>
                    <a:pt x="1145" y="507"/>
                  </a:lnTo>
                  <a:lnTo>
                    <a:pt x="1148" y="507"/>
                  </a:lnTo>
                  <a:lnTo>
                    <a:pt x="1152" y="507"/>
                  </a:lnTo>
                  <a:lnTo>
                    <a:pt x="1152" y="503"/>
                  </a:lnTo>
                  <a:lnTo>
                    <a:pt x="1148" y="503"/>
                  </a:lnTo>
                  <a:lnTo>
                    <a:pt x="1148" y="507"/>
                  </a:lnTo>
                  <a:lnTo>
                    <a:pt x="1145" y="507"/>
                  </a:lnTo>
                  <a:lnTo>
                    <a:pt x="1145" y="503"/>
                  </a:lnTo>
                  <a:lnTo>
                    <a:pt x="1141" y="503"/>
                  </a:lnTo>
                  <a:lnTo>
                    <a:pt x="1145" y="503"/>
                  </a:lnTo>
                  <a:lnTo>
                    <a:pt x="1145" y="499"/>
                  </a:lnTo>
                  <a:lnTo>
                    <a:pt x="1148" y="499"/>
                  </a:lnTo>
                  <a:lnTo>
                    <a:pt x="1152" y="499"/>
                  </a:lnTo>
                  <a:lnTo>
                    <a:pt x="1152" y="495"/>
                  </a:lnTo>
                  <a:lnTo>
                    <a:pt x="1152" y="491"/>
                  </a:lnTo>
                  <a:lnTo>
                    <a:pt x="1156" y="491"/>
                  </a:lnTo>
                  <a:lnTo>
                    <a:pt x="1160" y="491"/>
                  </a:lnTo>
                  <a:lnTo>
                    <a:pt x="1160" y="487"/>
                  </a:lnTo>
                  <a:lnTo>
                    <a:pt x="1156" y="487"/>
                  </a:lnTo>
                  <a:lnTo>
                    <a:pt x="1152" y="491"/>
                  </a:lnTo>
                  <a:lnTo>
                    <a:pt x="1152" y="495"/>
                  </a:lnTo>
                  <a:lnTo>
                    <a:pt x="1148" y="495"/>
                  </a:lnTo>
                  <a:lnTo>
                    <a:pt x="1145" y="499"/>
                  </a:lnTo>
                  <a:lnTo>
                    <a:pt x="1137" y="499"/>
                  </a:lnTo>
                  <a:lnTo>
                    <a:pt x="1137" y="495"/>
                  </a:lnTo>
                  <a:lnTo>
                    <a:pt x="1141" y="495"/>
                  </a:lnTo>
                  <a:lnTo>
                    <a:pt x="1141" y="491"/>
                  </a:lnTo>
                  <a:lnTo>
                    <a:pt x="1145" y="487"/>
                  </a:lnTo>
                  <a:lnTo>
                    <a:pt x="1141" y="491"/>
                  </a:lnTo>
                  <a:lnTo>
                    <a:pt x="1137" y="495"/>
                  </a:lnTo>
                  <a:lnTo>
                    <a:pt x="1133" y="495"/>
                  </a:lnTo>
                  <a:lnTo>
                    <a:pt x="1133" y="491"/>
                  </a:lnTo>
                  <a:lnTo>
                    <a:pt x="1129" y="491"/>
                  </a:lnTo>
                  <a:lnTo>
                    <a:pt x="1125" y="487"/>
                  </a:lnTo>
                  <a:lnTo>
                    <a:pt x="1129" y="487"/>
                  </a:lnTo>
                  <a:lnTo>
                    <a:pt x="1125" y="487"/>
                  </a:lnTo>
                  <a:lnTo>
                    <a:pt x="1121" y="487"/>
                  </a:lnTo>
                  <a:lnTo>
                    <a:pt x="1121" y="483"/>
                  </a:lnTo>
                  <a:lnTo>
                    <a:pt x="1121" y="479"/>
                  </a:lnTo>
                  <a:lnTo>
                    <a:pt x="1121" y="483"/>
                  </a:lnTo>
                  <a:lnTo>
                    <a:pt x="1117" y="483"/>
                  </a:lnTo>
                  <a:lnTo>
                    <a:pt x="1113" y="483"/>
                  </a:lnTo>
                  <a:lnTo>
                    <a:pt x="1109" y="483"/>
                  </a:lnTo>
                  <a:lnTo>
                    <a:pt x="1113" y="483"/>
                  </a:lnTo>
                  <a:lnTo>
                    <a:pt x="1117" y="483"/>
                  </a:lnTo>
                  <a:lnTo>
                    <a:pt x="1117" y="487"/>
                  </a:lnTo>
                  <a:lnTo>
                    <a:pt x="1113" y="487"/>
                  </a:lnTo>
                  <a:lnTo>
                    <a:pt x="1117" y="487"/>
                  </a:lnTo>
                  <a:lnTo>
                    <a:pt x="1117" y="491"/>
                  </a:lnTo>
                  <a:lnTo>
                    <a:pt x="1113" y="491"/>
                  </a:lnTo>
                  <a:lnTo>
                    <a:pt x="1113" y="487"/>
                  </a:lnTo>
                  <a:lnTo>
                    <a:pt x="1109" y="487"/>
                  </a:lnTo>
                  <a:lnTo>
                    <a:pt x="1109" y="483"/>
                  </a:lnTo>
                  <a:lnTo>
                    <a:pt x="1105" y="483"/>
                  </a:lnTo>
                  <a:lnTo>
                    <a:pt x="1105" y="487"/>
                  </a:lnTo>
                  <a:lnTo>
                    <a:pt x="1109" y="487"/>
                  </a:lnTo>
                  <a:lnTo>
                    <a:pt x="1109" y="491"/>
                  </a:lnTo>
                  <a:lnTo>
                    <a:pt x="1113" y="491"/>
                  </a:lnTo>
                  <a:lnTo>
                    <a:pt x="1113" y="495"/>
                  </a:lnTo>
                  <a:lnTo>
                    <a:pt x="1117" y="495"/>
                  </a:lnTo>
                  <a:lnTo>
                    <a:pt x="1117" y="499"/>
                  </a:lnTo>
                  <a:lnTo>
                    <a:pt x="1113" y="499"/>
                  </a:lnTo>
                  <a:lnTo>
                    <a:pt x="1109" y="499"/>
                  </a:lnTo>
                  <a:lnTo>
                    <a:pt x="1105" y="499"/>
                  </a:lnTo>
                  <a:lnTo>
                    <a:pt x="1105" y="495"/>
                  </a:lnTo>
                  <a:lnTo>
                    <a:pt x="1101" y="495"/>
                  </a:lnTo>
                  <a:lnTo>
                    <a:pt x="1101" y="491"/>
                  </a:lnTo>
                  <a:lnTo>
                    <a:pt x="1097" y="491"/>
                  </a:lnTo>
                  <a:lnTo>
                    <a:pt x="1093" y="491"/>
                  </a:lnTo>
                  <a:lnTo>
                    <a:pt x="1097" y="491"/>
                  </a:lnTo>
                  <a:lnTo>
                    <a:pt x="1097" y="495"/>
                  </a:lnTo>
                  <a:lnTo>
                    <a:pt x="1101" y="495"/>
                  </a:lnTo>
                  <a:lnTo>
                    <a:pt x="1105" y="495"/>
                  </a:lnTo>
                  <a:lnTo>
                    <a:pt x="1105" y="499"/>
                  </a:lnTo>
                  <a:lnTo>
                    <a:pt x="1101" y="499"/>
                  </a:lnTo>
                  <a:lnTo>
                    <a:pt x="1101" y="495"/>
                  </a:lnTo>
                  <a:lnTo>
                    <a:pt x="1101" y="499"/>
                  </a:lnTo>
                  <a:lnTo>
                    <a:pt x="1101" y="503"/>
                  </a:lnTo>
                  <a:lnTo>
                    <a:pt x="1105" y="503"/>
                  </a:lnTo>
                  <a:lnTo>
                    <a:pt x="1109" y="503"/>
                  </a:lnTo>
                  <a:lnTo>
                    <a:pt x="1105" y="507"/>
                  </a:lnTo>
                  <a:lnTo>
                    <a:pt x="1105" y="511"/>
                  </a:lnTo>
                  <a:lnTo>
                    <a:pt x="1105" y="507"/>
                  </a:lnTo>
                  <a:lnTo>
                    <a:pt x="1109" y="507"/>
                  </a:lnTo>
                  <a:lnTo>
                    <a:pt x="1113" y="507"/>
                  </a:lnTo>
                  <a:lnTo>
                    <a:pt x="1117" y="507"/>
                  </a:lnTo>
                  <a:lnTo>
                    <a:pt x="1113" y="511"/>
                  </a:lnTo>
                  <a:lnTo>
                    <a:pt x="1117" y="511"/>
                  </a:lnTo>
                  <a:lnTo>
                    <a:pt x="1121" y="511"/>
                  </a:lnTo>
                  <a:lnTo>
                    <a:pt x="1117" y="515"/>
                  </a:lnTo>
                  <a:lnTo>
                    <a:pt x="1113" y="515"/>
                  </a:lnTo>
                  <a:lnTo>
                    <a:pt x="1117" y="515"/>
                  </a:lnTo>
                  <a:lnTo>
                    <a:pt x="1121" y="519"/>
                  </a:lnTo>
                  <a:lnTo>
                    <a:pt x="1117" y="519"/>
                  </a:lnTo>
                  <a:lnTo>
                    <a:pt x="1117" y="523"/>
                  </a:lnTo>
                  <a:lnTo>
                    <a:pt x="1121" y="519"/>
                  </a:lnTo>
                  <a:lnTo>
                    <a:pt x="1125" y="519"/>
                  </a:lnTo>
                  <a:lnTo>
                    <a:pt x="1121" y="523"/>
                  </a:lnTo>
                  <a:lnTo>
                    <a:pt x="1125" y="523"/>
                  </a:lnTo>
                  <a:lnTo>
                    <a:pt x="1125" y="527"/>
                  </a:lnTo>
                  <a:lnTo>
                    <a:pt x="1125" y="531"/>
                  </a:lnTo>
                  <a:lnTo>
                    <a:pt x="1125" y="527"/>
                  </a:lnTo>
                  <a:lnTo>
                    <a:pt x="1125" y="523"/>
                  </a:lnTo>
                  <a:lnTo>
                    <a:pt x="1129" y="523"/>
                  </a:lnTo>
                  <a:lnTo>
                    <a:pt x="1129" y="527"/>
                  </a:lnTo>
                  <a:lnTo>
                    <a:pt x="1133" y="527"/>
                  </a:lnTo>
                  <a:lnTo>
                    <a:pt x="1133" y="531"/>
                  </a:lnTo>
                  <a:lnTo>
                    <a:pt x="1133" y="527"/>
                  </a:lnTo>
                  <a:lnTo>
                    <a:pt x="1137" y="527"/>
                  </a:lnTo>
                  <a:lnTo>
                    <a:pt x="1133" y="531"/>
                  </a:lnTo>
                  <a:lnTo>
                    <a:pt x="1137" y="531"/>
                  </a:lnTo>
                  <a:lnTo>
                    <a:pt x="1137" y="527"/>
                  </a:lnTo>
                  <a:lnTo>
                    <a:pt x="1141" y="527"/>
                  </a:lnTo>
                  <a:lnTo>
                    <a:pt x="1141" y="531"/>
                  </a:lnTo>
                  <a:lnTo>
                    <a:pt x="1141" y="535"/>
                  </a:lnTo>
                  <a:lnTo>
                    <a:pt x="1145" y="535"/>
                  </a:lnTo>
                  <a:lnTo>
                    <a:pt x="1148" y="535"/>
                  </a:lnTo>
                  <a:lnTo>
                    <a:pt x="1148" y="539"/>
                  </a:lnTo>
                  <a:lnTo>
                    <a:pt x="1148" y="543"/>
                  </a:lnTo>
                  <a:lnTo>
                    <a:pt x="1145" y="543"/>
                  </a:lnTo>
                  <a:lnTo>
                    <a:pt x="1145" y="539"/>
                  </a:lnTo>
                  <a:lnTo>
                    <a:pt x="1141" y="539"/>
                  </a:lnTo>
                  <a:lnTo>
                    <a:pt x="1141" y="543"/>
                  </a:lnTo>
                  <a:lnTo>
                    <a:pt x="1145" y="543"/>
                  </a:lnTo>
                  <a:lnTo>
                    <a:pt x="1148" y="547"/>
                  </a:lnTo>
                  <a:lnTo>
                    <a:pt x="1152" y="547"/>
                  </a:lnTo>
                  <a:lnTo>
                    <a:pt x="1156" y="547"/>
                  </a:lnTo>
                  <a:lnTo>
                    <a:pt x="1156" y="551"/>
                  </a:lnTo>
                  <a:lnTo>
                    <a:pt x="1152" y="551"/>
                  </a:lnTo>
                  <a:lnTo>
                    <a:pt x="1148" y="551"/>
                  </a:lnTo>
                  <a:lnTo>
                    <a:pt x="1148" y="555"/>
                  </a:lnTo>
                  <a:lnTo>
                    <a:pt x="1152" y="555"/>
                  </a:lnTo>
                  <a:lnTo>
                    <a:pt x="1156" y="555"/>
                  </a:lnTo>
                  <a:lnTo>
                    <a:pt x="1156" y="559"/>
                  </a:lnTo>
                  <a:lnTo>
                    <a:pt x="1156" y="563"/>
                  </a:lnTo>
                  <a:lnTo>
                    <a:pt x="1156" y="567"/>
                  </a:lnTo>
                  <a:lnTo>
                    <a:pt x="1152" y="567"/>
                  </a:lnTo>
                  <a:lnTo>
                    <a:pt x="1152" y="563"/>
                  </a:lnTo>
                  <a:lnTo>
                    <a:pt x="1152" y="559"/>
                  </a:lnTo>
                  <a:lnTo>
                    <a:pt x="1148" y="559"/>
                  </a:lnTo>
                  <a:lnTo>
                    <a:pt x="1148" y="555"/>
                  </a:lnTo>
                  <a:lnTo>
                    <a:pt x="1145" y="555"/>
                  </a:lnTo>
                  <a:lnTo>
                    <a:pt x="1148" y="555"/>
                  </a:lnTo>
                  <a:lnTo>
                    <a:pt x="1148" y="559"/>
                  </a:lnTo>
                  <a:lnTo>
                    <a:pt x="1148" y="563"/>
                  </a:lnTo>
                  <a:lnTo>
                    <a:pt x="1152" y="567"/>
                  </a:lnTo>
                  <a:lnTo>
                    <a:pt x="1148" y="567"/>
                  </a:lnTo>
                  <a:lnTo>
                    <a:pt x="1148" y="571"/>
                  </a:lnTo>
                  <a:lnTo>
                    <a:pt x="1152" y="571"/>
                  </a:lnTo>
                  <a:lnTo>
                    <a:pt x="1152" y="575"/>
                  </a:lnTo>
                  <a:lnTo>
                    <a:pt x="1156" y="575"/>
                  </a:lnTo>
                  <a:lnTo>
                    <a:pt x="1152" y="579"/>
                  </a:lnTo>
                  <a:lnTo>
                    <a:pt x="1148" y="575"/>
                  </a:lnTo>
                  <a:lnTo>
                    <a:pt x="1145" y="575"/>
                  </a:lnTo>
                  <a:lnTo>
                    <a:pt x="1148" y="579"/>
                  </a:lnTo>
                  <a:lnTo>
                    <a:pt x="1148" y="583"/>
                  </a:lnTo>
                  <a:lnTo>
                    <a:pt x="1152" y="583"/>
                  </a:lnTo>
                  <a:lnTo>
                    <a:pt x="1148" y="583"/>
                  </a:lnTo>
                  <a:lnTo>
                    <a:pt x="1148" y="587"/>
                  </a:lnTo>
                  <a:lnTo>
                    <a:pt x="1145" y="583"/>
                  </a:lnTo>
                  <a:lnTo>
                    <a:pt x="1145" y="579"/>
                  </a:lnTo>
                  <a:lnTo>
                    <a:pt x="1141" y="579"/>
                  </a:lnTo>
                  <a:lnTo>
                    <a:pt x="1141" y="575"/>
                  </a:lnTo>
                  <a:lnTo>
                    <a:pt x="1137" y="575"/>
                  </a:lnTo>
                  <a:lnTo>
                    <a:pt x="1133" y="575"/>
                  </a:lnTo>
                  <a:lnTo>
                    <a:pt x="1133" y="571"/>
                  </a:lnTo>
                  <a:lnTo>
                    <a:pt x="1129" y="571"/>
                  </a:lnTo>
                  <a:lnTo>
                    <a:pt x="1133" y="575"/>
                  </a:lnTo>
                  <a:lnTo>
                    <a:pt x="1129" y="575"/>
                  </a:lnTo>
                  <a:lnTo>
                    <a:pt x="1129" y="571"/>
                  </a:lnTo>
                  <a:lnTo>
                    <a:pt x="1125" y="571"/>
                  </a:lnTo>
                  <a:lnTo>
                    <a:pt x="1125" y="567"/>
                  </a:lnTo>
                  <a:lnTo>
                    <a:pt x="1125" y="563"/>
                  </a:lnTo>
                  <a:lnTo>
                    <a:pt x="1125" y="567"/>
                  </a:lnTo>
                  <a:lnTo>
                    <a:pt x="1125" y="571"/>
                  </a:lnTo>
                  <a:lnTo>
                    <a:pt x="1125" y="575"/>
                  </a:lnTo>
                  <a:lnTo>
                    <a:pt x="1125" y="571"/>
                  </a:lnTo>
                  <a:lnTo>
                    <a:pt x="1125" y="567"/>
                  </a:lnTo>
                  <a:lnTo>
                    <a:pt x="1121" y="567"/>
                  </a:lnTo>
                  <a:lnTo>
                    <a:pt x="1121" y="571"/>
                  </a:lnTo>
                  <a:lnTo>
                    <a:pt x="1121" y="567"/>
                  </a:lnTo>
                  <a:lnTo>
                    <a:pt x="1121" y="563"/>
                  </a:lnTo>
                  <a:lnTo>
                    <a:pt x="1121" y="567"/>
                  </a:lnTo>
                  <a:lnTo>
                    <a:pt x="1117" y="567"/>
                  </a:lnTo>
                  <a:lnTo>
                    <a:pt x="1113" y="563"/>
                  </a:lnTo>
                  <a:lnTo>
                    <a:pt x="1109" y="559"/>
                  </a:lnTo>
                  <a:lnTo>
                    <a:pt x="1109" y="555"/>
                  </a:lnTo>
                  <a:lnTo>
                    <a:pt x="1105" y="555"/>
                  </a:lnTo>
                  <a:lnTo>
                    <a:pt x="1109" y="559"/>
                  </a:lnTo>
                  <a:lnTo>
                    <a:pt x="1109" y="563"/>
                  </a:lnTo>
                  <a:lnTo>
                    <a:pt x="1109" y="567"/>
                  </a:lnTo>
                  <a:lnTo>
                    <a:pt x="1109" y="563"/>
                  </a:lnTo>
                  <a:lnTo>
                    <a:pt x="1105" y="563"/>
                  </a:lnTo>
                  <a:lnTo>
                    <a:pt x="1105" y="559"/>
                  </a:lnTo>
                  <a:lnTo>
                    <a:pt x="1101" y="559"/>
                  </a:lnTo>
                  <a:lnTo>
                    <a:pt x="1097" y="559"/>
                  </a:lnTo>
                  <a:lnTo>
                    <a:pt x="1097" y="555"/>
                  </a:lnTo>
                  <a:lnTo>
                    <a:pt x="1093" y="555"/>
                  </a:lnTo>
                  <a:lnTo>
                    <a:pt x="1089" y="555"/>
                  </a:lnTo>
                  <a:lnTo>
                    <a:pt x="1093" y="559"/>
                  </a:lnTo>
                  <a:lnTo>
                    <a:pt x="1097" y="563"/>
                  </a:lnTo>
                  <a:lnTo>
                    <a:pt x="1101" y="567"/>
                  </a:lnTo>
                  <a:lnTo>
                    <a:pt x="1101" y="571"/>
                  </a:lnTo>
                  <a:lnTo>
                    <a:pt x="1105" y="571"/>
                  </a:lnTo>
                  <a:lnTo>
                    <a:pt x="1109" y="571"/>
                  </a:lnTo>
                  <a:lnTo>
                    <a:pt x="1109" y="575"/>
                  </a:lnTo>
                  <a:lnTo>
                    <a:pt x="1113" y="575"/>
                  </a:lnTo>
                  <a:lnTo>
                    <a:pt x="1109" y="575"/>
                  </a:lnTo>
                  <a:lnTo>
                    <a:pt x="1113" y="575"/>
                  </a:lnTo>
                  <a:lnTo>
                    <a:pt x="1117" y="579"/>
                  </a:lnTo>
                  <a:lnTo>
                    <a:pt x="1121" y="579"/>
                  </a:lnTo>
                  <a:lnTo>
                    <a:pt x="1121" y="583"/>
                  </a:lnTo>
                  <a:lnTo>
                    <a:pt x="1125" y="583"/>
                  </a:lnTo>
                  <a:lnTo>
                    <a:pt x="1129" y="587"/>
                  </a:lnTo>
                  <a:lnTo>
                    <a:pt x="1129" y="591"/>
                  </a:lnTo>
                  <a:lnTo>
                    <a:pt x="1133" y="591"/>
                  </a:lnTo>
                  <a:lnTo>
                    <a:pt x="1133" y="595"/>
                  </a:lnTo>
                  <a:lnTo>
                    <a:pt x="1137" y="595"/>
                  </a:lnTo>
                  <a:lnTo>
                    <a:pt x="1133" y="595"/>
                  </a:lnTo>
                  <a:lnTo>
                    <a:pt x="1133" y="599"/>
                  </a:lnTo>
                  <a:lnTo>
                    <a:pt x="1137" y="599"/>
                  </a:lnTo>
                  <a:lnTo>
                    <a:pt x="1137" y="603"/>
                  </a:lnTo>
                  <a:lnTo>
                    <a:pt x="1133" y="603"/>
                  </a:lnTo>
                  <a:lnTo>
                    <a:pt x="1129" y="603"/>
                  </a:lnTo>
                  <a:lnTo>
                    <a:pt x="1125" y="603"/>
                  </a:lnTo>
                  <a:lnTo>
                    <a:pt x="1125" y="599"/>
                  </a:lnTo>
                  <a:lnTo>
                    <a:pt x="1121" y="599"/>
                  </a:lnTo>
                  <a:lnTo>
                    <a:pt x="1117" y="599"/>
                  </a:lnTo>
                  <a:lnTo>
                    <a:pt x="1113" y="595"/>
                  </a:lnTo>
                  <a:lnTo>
                    <a:pt x="1109" y="595"/>
                  </a:lnTo>
                  <a:lnTo>
                    <a:pt x="1105" y="595"/>
                  </a:lnTo>
                  <a:lnTo>
                    <a:pt x="1101" y="595"/>
                  </a:lnTo>
                  <a:lnTo>
                    <a:pt x="1097" y="595"/>
                  </a:lnTo>
                  <a:lnTo>
                    <a:pt x="1097" y="591"/>
                  </a:lnTo>
                  <a:lnTo>
                    <a:pt x="1093" y="591"/>
                  </a:lnTo>
                  <a:lnTo>
                    <a:pt x="1089" y="591"/>
                  </a:lnTo>
                  <a:lnTo>
                    <a:pt x="1089" y="587"/>
                  </a:lnTo>
                  <a:lnTo>
                    <a:pt x="1085" y="587"/>
                  </a:lnTo>
                  <a:lnTo>
                    <a:pt x="1085" y="583"/>
                  </a:lnTo>
                  <a:lnTo>
                    <a:pt x="1085" y="587"/>
                  </a:lnTo>
                  <a:lnTo>
                    <a:pt x="1081" y="583"/>
                  </a:lnTo>
                  <a:lnTo>
                    <a:pt x="1081" y="579"/>
                  </a:lnTo>
                  <a:lnTo>
                    <a:pt x="1077" y="579"/>
                  </a:lnTo>
                  <a:lnTo>
                    <a:pt x="1073" y="579"/>
                  </a:lnTo>
                  <a:close/>
                  <a:moveTo>
                    <a:pt x="965" y="311"/>
                  </a:moveTo>
                  <a:lnTo>
                    <a:pt x="961" y="311"/>
                  </a:lnTo>
                  <a:lnTo>
                    <a:pt x="957" y="311"/>
                  </a:lnTo>
                  <a:lnTo>
                    <a:pt x="953" y="311"/>
                  </a:lnTo>
                  <a:lnTo>
                    <a:pt x="949" y="311"/>
                  </a:lnTo>
                  <a:lnTo>
                    <a:pt x="945" y="311"/>
                  </a:lnTo>
                  <a:lnTo>
                    <a:pt x="941" y="311"/>
                  </a:lnTo>
                  <a:lnTo>
                    <a:pt x="937" y="315"/>
                  </a:lnTo>
                  <a:lnTo>
                    <a:pt x="933" y="315"/>
                  </a:lnTo>
                  <a:lnTo>
                    <a:pt x="929" y="315"/>
                  </a:lnTo>
                  <a:lnTo>
                    <a:pt x="925" y="311"/>
                  </a:lnTo>
                  <a:lnTo>
                    <a:pt x="921" y="311"/>
                  </a:lnTo>
                  <a:lnTo>
                    <a:pt x="921" y="307"/>
                  </a:lnTo>
                  <a:lnTo>
                    <a:pt x="921" y="303"/>
                  </a:lnTo>
                  <a:lnTo>
                    <a:pt x="921" y="299"/>
                  </a:lnTo>
                  <a:lnTo>
                    <a:pt x="917" y="299"/>
                  </a:lnTo>
                  <a:lnTo>
                    <a:pt x="913" y="299"/>
                  </a:lnTo>
                  <a:lnTo>
                    <a:pt x="909" y="299"/>
                  </a:lnTo>
                  <a:lnTo>
                    <a:pt x="909" y="295"/>
                  </a:lnTo>
                  <a:lnTo>
                    <a:pt x="909" y="287"/>
                  </a:lnTo>
                  <a:lnTo>
                    <a:pt x="913" y="287"/>
                  </a:lnTo>
                  <a:lnTo>
                    <a:pt x="917" y="287"/>
                  </a:lnTo>
                  <a:lnTo>
                    <a:pt x="921" y="287"/>
                  </a:lnTo>
                  <a:lnTo>
                    <a:pt x="925" y="287"/>
                  </a:lnTo>
                  <a:lnTo>
                    <a:pt x="929" y="287"/>
                  </a:lnTo>
                  <a:lnTo>
                    <a:pt x="929" y="291"/>
                  </a:lnTo>
                  <a:lnTo>
                    <a:pt x="933" y="291"/>
                  </a:lnTo>
                  <a:lnTo>
                    <a:pt x="937" y="291"/>
                  </a:lnTo>
                  <a:lnTo>
                    <a:pt x="937" y="287"/>
                  </a:lnTo>
                  <a:lnTo>
                    <a:pt x="941" y="287"/>
                  </a:lnTo>
                  <a:lnTo>
                    <a:pt x="945" y="287"/>
                  </a:lnTo>
                  <a:lnTo>
                    <a:pt x="949" y="287"/>
                  </a:lnTo>
                  <a:lnTo>
                    <a:pt x="953" y="287"/>
                  </a:lnTo>
                  <a:lnTo>
                    <a:pt x="953" y="291"/>
                  </a:lnTo>
                  <a:lnTo>
                    <a:pt x="957" y="291"/>
                  </a:lnTo>
                  <a:lnTo>
                    <a:pt x="961" y="291"/>
                  </a:lnTo>
                  <a:lnTo>
                    <a:pt x="965" y="291"/>
                  </a:lnTo>
                  <a:lnTo>
                    <a:pt x="965" y="295"/>
                  </a:lnTo>
                  <a:lnTo>
                    <a:pt x="969" y="295"/>
                  </a:lnTo>
                  <a:lnTo>
                    <a:pt x="969" y="299"/>
                  </a:lnTo>
                  <a:lnTo>
                    <a:pt x="973" y="299"/>
                  </a:lnTo>
                  <a:lnTo>
                    <a:pt x="973" y="303"/>
                  </a:lnTo>
                  <a:lnTo>
                    <a:pt x="977" y="303"/>
                  </a:lnTo>
                  <a:lnTo>
                    <a:pt x="977" y="307"/>
                  </a:lnTo>
                  <a:lnTo>
                    <a:pt x="981" y="307"/>
                  </a:lnTo>
                  <a:lnTo>
                    <a:pt x="981" y="311"/>
                  </a:lnTo>
                  <a:lnTo>
                    <a:pt x="977" y="311"/>
                  </a:lnTo>
                  <a:lnTo>
                    <a:pt x="973" y="311"/>
                  </a:lnTo>
                  <a:lnTo>
                    <a:pt x="969" y="311"/>
                  </a:lnTo>
                  <a:lnTo>
                    <a:pt x="965" y="311"/>
                  </a:lnTo>
                  <a:close/>
                  <a:moveTo>
                    <a:pt x="542" y="311"/>
                  </a:moveTo>
                  <a:lnTo>
                    <a:pt x="538" y="307"/>
                  </a:lnTo>
                  <a:lnTo>
                    <a:pt x="538" y="311"/>
                  </a:lnTo>
                  <a:lnTo>
                    <a:pt x="542" y="311"/>
                  </a:lnTo>
                  <a:lnTo>
                    <a:pt x="538" y="311"/>
                  </a:lnTo>
                  <a:lnTo>
                    <a:pt x="534" y="307"/>
                  </a:lnTo>
                  <a:lnTo>
                    <a:pt x="530" y="303"/>
                  </a:lnTo>
                  <a:lnTo>
                    <a:pt x="526" y="303"/>
                  </a:lnTo>
                  <a:lnTo>
                    <a:pt x="526" y="299"/>
                  </a:lnTo>
                  <a:lnTo>
                    <a:pt x="522" y="295"/>
                  </a:lnTo>
                  <a:lnTo>
                    <a:pt x="518" y="295"/>
                  </a:lnTo>
                  <a:lnTo>
                    <a:pt x="514" y="295"/>
                  </a:lnTo>
                  <a:lnTo>
                    <a:pt x="514" y="291"/>
                  </a:lnTo>
                  <a:lnTo>
                    <a:pt x="518" y="287"/>
                  </a:lnTo>
                  <a:lnTo>
                    <a:pt x="522" y="287"/>
                  </a:lnTo>
                  <a:lnTo>
                    <a:pt x="526" y="287"/>
                  </a:lnTo>
                  <a:lnTo>
                    <a:pt x="530" y="287"/>
                  </a:lnTo>
                  <a:lnTo>
                    <a:pt x="534" y="287"/>
                  </a:lnTo>
                  <a:lnTo>
                    <a:pt x="538" y="287"/>
                  </a:lnTo>
                  <a:lnTo>
                    <a:pt x="542" y="287"/>
                  </a:lnTo>
                  <a:lnTo>
                    <a:pt x="546" y="287"/>
                  </a:lnTo>
                  <a:lnTo>
                    <a:pt x="550" y="291"/>
                  </a:lnTo>
                  <a:lnTo>
                    <a:pt x="550" y="295"/>
                  </a:lnTo>
                  <a:lnTo>
                    <a:pt x="550" y="299"/>
                  </a:lnTo>
                  <a:lnTo>
                    <a:pt x="546" y="303"/>
                  </a:lnTo>
                  <a:lnTo>
                    <a:pt x="546" y="307"/>
                  </a:lnTo>
                  <a:lnTo>
                    <a:pt x="542" y="307"/>
                  </a:lnTo>
                  <a:lnTo>
                    <a:pt x="542" y="311"/>
                  </a:lnTo>
                  <a:close/>
                  <a:moveTo>
                    <a:pt x="251" y="291"/>
                  </a:moveTo>
                  <a:lnTo>
                    <a:pt x="255" y="291"/>
                  </a:lnTo>
                  <a:lnTo>
                    <a:pt x="251" y="291"/>
                  </a:lnTo>
                  <a:close/>
                  <a:moveTo>
                    <a:pt x="506" y="291"/>
                  </a:moveTo>
                  <a:lnTo>
                    <a:pt x="502" y="291"/>
                  </a:lnTo>
                  <a:lnTo>
                    <a:pt x="498" y="291"/>
                  </a:lnTo>
                  <a:lnTo>
                    <a:pt x="502" y="291"/>
                  </a:lnTo>
                  <a:lnTo>
                    <a:pt x="506" y="291"/>
                  </a:lnTo>
                  <a:close/>
                  <a:moveTo>
                    <a:pt x="379" y="375"/>
                  </a:moveTo>
                  <a:lnTo>
                    <a:pt x="375" y="375"/>
                  </a:lnTo>
                  <a:lnTo>
                    <a:pt x="371" y="375"/>
                  </a:lnTo>
                  <a:lnTo>
                    <a:pt x="367" y="375"/>
                  </a:lnTo>
                  <a:lnTo>
                    <a:pt x="363" y="375"/>
                  </a:lnTo>
                  <a:lnTo>
                    <a:pt x="359" y="375"/>
                  </a:lnTo>
                  <a:lnTo>
                    <a:pt x="355" y="375"/>
                  </a:lnTo>
                  <a:lnTo>
                    <a:pt x="351" y="375"/>
                  </a:lnTo>
                  <a:lnTo>
                    <a:pt x="351" y="371"/>
                  </a:lnTo>
                  <a:lnTo>
                    <a:pt x="347" y="371"/>
                  </a:lnTo>
                  <a:lnTo>
                    <a:pt x="347" y="367"/>
                  </a:lnTo>
                  <a:lnTo>
                    <a:pt x="343" y="367"/>
                  </a:lnTo>
                  <a:lnTo>
                    <a:pt x="343" y="363"/>
                  </a:lnTo>
                  <a:lnTo>
                    <a:pt x="347" y="359"/>
                  </a:lnTo>
                  <a:lnTo>
                    <a:pt x="351" y="359"/>
                  </a:lnTo>
                  <a:lnTo>
                    <a:pt x="355" y="359"/>
                  </a:lnTo>
                  <a:lnTo>
                    <a:pt x="359" y="359"/>
                  </a:lnTo>
                  <a:lnTo>
                    <a:pt x="363" y="355"/>
                  </a:lnTo>
                  <a:lnTo>
                    <a:pt x="367" y="355"/>
                  </a:lnTo>
                  <a:lnTo>
                    <a:pt x="371" y="355"/>
                  </a:lnTo>
                  <a:lnTo>
                    <a:pt x="375" y="355"/>
                  </a:lnTo>
                  <a:lnTo>
                    <a:pt x="379" y="355"/>
                  </a:lnTo>
                  <a:lnTo>
                    <a:pt x="383" y="355"/>
                  </a:lnTo>
                  <a:lnTo>
                    <a:pt x="383" y="351"/>
                  </a:lnTo>
                  <a:lnTo>
                    <a:pt x="379" y="351"/>
                  </a:lnTo>
                  <a:lnTo>
                    <a:pt x="383" y="351"/>
                  </a:lnTo>
                  <a:lnTo>
                    <a:pt x="387" y="351"/>
                  </a:lnTo>
                  <a:lnTo>
                    <a:pt x="391" y="351"/>
                  </a:lnTo>
                  <a:lnTo>
                    <a:pt x="391" y="347"/>
                  </a:lnTo>
                  <a:lnTo>
                    <a:pt x="391" y="351"/>
                  </a:lnTo>
                  <a:lnTo>
                    <a:pt x="387" y="351"/>
                  </a:lnTo>
                  <a:lnTo>
                    <a:pt x="387" y="347"/>
                  </a:lnTo>
                  <a:lnTo>
                    <a:pt x="383" y="347"/>
                  </a:lnTo>
                  <a:lnTo>
                    <a:pt x="379" y="347"/>
                  </a:lnTo>
                  <a:lnTo>
                    <a:pt x="375" y="351"/>
                  </a:lnTo>
                  <a:lnTo>
                    <a:pt x="371" y="351"/>
                  </a:lnTo>
                  <a:lnTo>
                    <a:pt x="367" y="351"/>
                  </a:lnTo>
                  <a:lnTo>
                    <a:pt x="363" y="351"/>
                  </a:lnTo>
                  <a:lnTo>
                    <a:pt x="359" y="351"/>
                  </a:lnTo>
                  <a:lnTo>
                    <a:pt x="355" y="351"/>
                  </a:lnTo>
                  <a:lnTo>
                    <a:pt x="359" y="351"/>
                  </a:lnTo>
                  <a:lnTo>
                    <a:pt x="355" y="351"/>
                  </a:lnTo>
                  <a:lnTo>
                    <a:pt x="355" y="355"/>
                  </a:lnTo>
                  <a:lnTo>
                    <a:pt x="351" y="351"/>
                  </a:lnTo>
                  <a:lnTo>
                    <a:pt x="351" y="355"/>
                  </a:lnTo>
                  <a:lnTo>
                    <a:pt x="351" y="351"/>
                  </a:lnTo>
                  <a:lnTo>
                    <a:pt x="347" y="351"/>
                  </a:lnTo>
                  <a:lnTo>
                    <a:pt x="343" y="351"/>
                  </a:lnTo>
                  <a:lnTo>
                    <a:pt x="347" y="347"/>
                  </a:lnTo>
                  <a:lnTo>
                    <a:pt x="351" y="347"/>
                  </a:lnTo>
                  <a:lnTo>
                    <a:pt x="355" y="347"/>
                  </a:lnTo>
                  <a:lnTo>
                    <a:pt x="351" y="347"/>
                  </a:lnTo>
                  <a:lnTo>
                    <a:pt x="351" y="343"/>
                  </a:lnTo>
                  <a:lnTo>
                    <a:pt x="347" y="343"/>
                  </a:lnTo>
                  <a:lnTo>
                    <a:pt x="347" y="347"/>
                  </a:lnTo>
                  <a:lnTo>
                    <a:pt x="343" y="347"/>
                  </a:lnTo>
                  <a:lnTo>
                    <a:pt x="339" y="347"/>
                  </a:lnTo>
                  <a:lnTo>
                    <a:pt x="339" y="343"/>
                  </a:lnTo>
                  <a:lnTo>
                    <a:pt x="335" y="343"/>
                  </a:lnTo>
                  <a:lnTo>
                    <a:pt x="335" y="347"/>
                  </a:lnTo>
                  <a:lnTo>
                    <a:pt x="331" y="347"/>
                  </a:lnTo>
                  <a:lnTo>
                    <a:pt x="331" y="343"/>
                  </a:lnTo>
                  <a:lnTo>
                    <a:pt x="331" y="339"/>
                  </a:lnTo>
                  <a:lnTo>
                    <a:pt x="335" y="335"/>
                  </a:lnTo>
                  <a:lnTo>
                    <a:pt x="339" y="335"/>
                  </a:lnTo>
                  <a:lnTo>
                    <a:pt x="335" y="331"/>
                  </a:lnTo>
                  <a:lnTo>
                    <a:pt x="339" y="331"/>
                  </a:lnTo>
                  <a:lnTo>
                    <a:pt x="343" y="331"/>
                  </a:lnTo>
                  <a:lnTo>
                    <a:pt x="347" y="331"/>
                  </a:lnTo>
                  <a:lnTo>
                    <a:pt x="347" y="327"/>
                  </a:lnTo>
                  <a:lnTo>
                    <a:pt x="343" y="327"/>
                  </a:lnTo>
                  <a:lnTo>
                    <a:pt x="339" y="327"/>
                  </a:lnTo>
                  <a:lnTo>
                    <a:pt x="339" y="323"/>
                  </a:lnTo>
                  <a:lnTo>
                    <a:pt x="343" y="319"/>
                  </a:lnTo>
                  <a:lnTo>
                    <a:pt x="347" y="319"/>
                  </a:lnTo>
                  <a:lnTo>
                    <a:pt x="351" y="315"/>
                  </a:lnTo>
                  <a:lnTo>
                    <a:pt x="355" y="315"/>
                  </a:lnTo>
                  <a:lnTo>
                    <a:pt x="355" y="311"/>
                  </a:lnTo>
                  <a:lnTo>
                    <a:pt x="359" y="311"/>
                  </a:lnTo>
                  <a:lnTo>
                    <a:pt x="363" y="311"/>
                  </a:lnTo>
                  <a:lnTo>
                    <a:pt x="363" y="307"/>
                  </a:lnTo>
                  <a:lnTo>
                    <a:pt x="367" y="307"/>
                  </a:lnTo>
                  <a:lnTo>
                    <a:pt x="371" y="307"/>
                  </a:lnTo>
                  <a:lnTo>
                    <a:pt x="375" y="303"/>
                  </a:lnTo>
                  <a:lnTo>
                    <a:pt x="379" y="303"/>
                  </a:lnTo>
                  <a:lnTo>
                    <a:pt x="383" y="303"/>
                  </a:lnTo>
                  <a:lnTo>
                    <a:pt x="387" y="299"/>
                  </a:lnTo>
                  <a:lnTo>
                    <a:pt x="391" y="299"/>
                  </a:lnTo>
                  <a:lnTo>
                    <a:pt x="395" y="299"/>
                  </a:lnTo>
                  <a:lnTo>
                    <a:pt x="399" y="295"/>
                  </a:lnTo>
                  <a:lnTo>
                    <a:pt x="403" y="299"/>
                  </a:lnTo>
                  <a:lnTo>
                    <a:pt x="407" y="299"/>
                  </a:lnTo>
                  <a:lnTo>
                    <a:pt x="407" y="303"/>
                  </a:lnTo>
                  <a:lnTo>
                    <a:pt x="411" y="303"/>
                  </a:lnTo>
                  <a:lnTo>
                    <a:pt x="407" y="307"/>
                  </a:lnTo>
                  <a:lnTo>
                    <a:pt x="407" y="311"/>
                  </a:lnTo>
                  <a:lnTo>
                    <a:pt x="407" y="315"/>
                  </a:lnTo>
                  <a:lnTo>
                    <a:pt x="403" y="315"/>
                  </a:lnTo>
                  <a:lnTo>
                    <a:pt x="403" y="319"/>
                  </a:lnTo>
                  <a:lnTo>
                    <a:pt x="399" y="319"/>
                  </a:lnTo>
                  <a:lnTo>
                    <a:pt x="403" y="319"/>
                  </a:lnTo>
                  <a:lnTo>
                    <a:pt x="407" y="319"/>
                  </a:lnTo>
                  <a:lnTo>
                    <a:pt x="411" y="315"/>
                  </a:lnTo>
                  <a:lnTo>
                    <a:pt x="411" y="319"/>
                  </a:lnTo>
                  <a:lnTo>
                    <a:pt x="415" y="315"/>
                  </a:lnTo>
                  <a:lnTo>
                    <a:pt x="415" y="319"/>
                  </a:lnTo>
                  <a:lnTo>
                    <a:pt x="411" y="319"/>
                  </a:lnTo>
                  <a:lnTo>
                    <a:pt x="415" y="319"/>
                  </a:lnTo>
                  <a:lnTo>
                    <a:pt x="415" y="315"/>
                  </a:lnTo>
                  <a:lnTo>
                    <a:pt x="419" y="315"/>
                  </a:lnTo>
                  <a:lnTo>
                    <a:pt x="415" y="315"/>
                  </a:lnTo>
                  <a:lnTo>
                    <a:pt x="419" y="311"/>
                  </a:lnTo>
                  <a:lnTo>
                    <a:pt x="419" y="307"/>
                  </a:lnTo>
                  <a:lnTo>
                    <a:pt x="423" y="307"/>
                  </a:lnTo>
                  <a:lnTo>
                    <a:pt x="427" y="307"/>
                  </a:lnTo>
                  <a:lnTo>
                    <a:pt x="431" y="307"/>
                  </a:lnTo>
                  <a:lnTo>
                    <a:pt x="431" y="311"/>
                  </a:lnTo>
                  <a:lnTo>
                    <a:pt x="435" y="311"/>
                  </a:lnTo>
                  <a:lnTo>
                    <a:pt x="439" y="311"/>
                  </a:lnTo>
                  <a:lnTo>
                    <a:pt x="442" y="311"/>
                  </a:lnTo>
                  <a:lnTo>
                    <a:pt x="446" y="311"/>
                  </a:lnTo>
                  <a:lnTo>
                    <a:pt x="446" y="315"/>
                  </a:lnTo>
                  <a:lnTo>
                    <a:pt x="450" y="315"/>
                  </a:lnTo>
                  <a:lnTo>
                    <a:pt x="450" y="319"/>
                  </a:lnTo>
                  <a:lnTo>
                    <a:pt x="446" y="323"/>
                  </a:lnTo>
                  <a:lnTo>
                    <a:pt x="442" y="323"/>
                  </a:lnTo>
                  <a:lnTo>
                    <a:pt x="442" y="327"/>
                  </a:lnTo>
                  <a:lnTo>
                    <a:pt x="439" y="327"/>
                  </a:lnTo>
                  <a:lnTo>
                    <a:pt x="442" y="327"/>
                  </a:lnTo>
                  <a:lnTo>
                    <a:pt x="446" y="327"/>
                  </a:lnTo>
                  <a:lnTo>
                    <a:pt x="442" y="327"/>
                  </a:lnTo>
                  <a:lnTo>
                    <a:pt x="446" y="323"/>
                  </a:lnTo>
                  <a:lnTo>
                    <a:pt x="450" y="323"/>
                  </a:lnTo>
                  <a:lnTo>
                    <a:pt x="450" y="327"/>
                  </a:lnTo>
                  <a:lnTo>
                    <a:pt x="450" y="323"/>
                  </a:lnTo>
                  <a:lnTo>
                    <a:pt x="454" y="323"/>
                  </a:lnTo>
                  <a:lnTo>
                    <a:pt x="458" y="323"/>
                  </a:lnTo>
                  <a:lnTo>
                    <a:pt x="454" y="323"/>
                  </a:lnTo>
                  <a:lnTo>
                    <a:pt x="458" y="319"/>
                  </a:lnTo>
                  <a:lnTo>
                    <a:pt x="462" y="319"/>
                  </a:lnTo>
                  <a:lnTo>
                    <a:pt x="458" y="323"/>
                  </a:lnTo>
                  <a:lnTo>
                    <a:pt x="462" y="323"/>
                  </a:lnTo>
                  <a:lnTo>
                    <a:pt x="462" y="319"/>
                  </a:lnTo>
                  <a:lnTo>
                    <a:pt x="466" y="323"/>
                  </a:lnTo>
                  <a:lnTo>
                    <a:pt x="470" y="323"/>
                  </a:lnTo>
                  <a:lnTo>
                    <a:pt x="466" y="323"/>
                  </a:lnTo>
                  <a:lnTo>
                    <a:pt x="466" y="319"/>
                  </a:lnTo>
                  <a:lnTo>
                    <a:pt x="470" y="319"/>
                  </a:lnTo>
                  <a:lnTo>
                    <a:pt x="470" y="323"/>
                  </a:lnTo>
                  <a:lnTo>
                    <a:pt x="470" y="319"/>
                  </a:lnTo>
                  <a:lnTo>
                    <a:pt x="466" y="319"/>
                  </a:lnTo>
                  <a:lnTo>
                    <a:pt x="462" y="315"/>
                  </a:lnTo>
                  <a:lnTo>
                    <a:pt x="466" y="315"/>
                  </a:lnTo>
                  <a:lnTo>
                    <a:pt x="470" y="315"/>
                  </a:lnTo>
                  <a:lnTo>
                    <a:pt x="466" y="315"/>
                  </a:lnTo>
                  <a:lnTo>
                    <a:pt x="466" y="311"/>
                  </a:lnTo>
                  <a:lnTo>
                    <a:pt x="462" y="311"/>
                  </a:lnTo>
                  <a:lnTo>
                    <a:pt x="458" y="311"/>
                  </a:lnTo>
                  <a:lnTo>
                    <a:pt x="458" y="307"/>
                  </a:lnTo>
                  <a:lnTo>
                    <a:pt x="462" y="307"/>
                  </a:lnTo>
                  <a:lnTo>
                    <a:pt x="466" y="307"/>
                  </a:lnTo>
                  <a:lnTo>
                    <a:pt x="470" y="307"/>
                  </a:lnTo>
                  <a:lnTo>
                    <a:pt x="474" y="311"/>
                  </a:lnTo>
                  <a:lnTo>
                    <a:pt x="478" y="315"/>
                  </a:lnTo>
                  <a:lnTo>
                    <a:pt x="482" y="315"/>
                  </a:lnTo>
                  <a:lnTo>
                    <a:pt x="482" y="319"/>
                  </a:lnTo>
                  <a:lnTo>
                    <a:pt x="486" y="319"/>
                  </a:lnTo>
                  <a:lnTo>
                    <a:pt x="490" y="319"/>
                  </a:lnTo>
                  <a:lnTo>
                    <a:pt x="490" y="323"/>
                  </a:lnTo>
                  <a:lnTo>
                    <a:pt x="490" y="327"/>
                  </a:lnTo>
                  <a:lnTo>
                    <a:pt x="490" y="331"/>
                  </a:lnTo>
                  <a:lnTo>
                    <a:pt x="494" y="331"/>
                  </a:lnTo>
                  <a:lnTo>
                    <a:pt x="494" y="335"/>
                  </a:lnTo>
                  <a:lnTo>
                    <a:pt x="494" y="339"/>
                  </a:lnTo>
                  <a:lnTo>
                    <a:pt x="494" y="343"/>
                  </a:lnTo>
                  <a:lnTo>
                    <a:pt x="498" y="343"/>
                  </a:lnTo>
                  <a:lnTo>
                    <a:pt x="498" y="347"/>
                  </a:lnTo>
                  <a:lnTo>
                    <a:pt x="502" y="347"/>
                  </a:lnTo>
                  <a:lnTo>
                    <a:pt x="502" y="343"/>
                  </a:lnTo>
                  <a:lnTo>
                    <a:pt x="506" y="343"/>
                  </a:lnTo>
                  <a:lnTo>
                    <a:pt x="506" y="339"/>
                  </a:lnTo>
                  <a:lnTo>
                    <a:pt x="510" y="339"/>
                  </a:lnTo>
                  <a:lnTo>
                    <a:pt x="506" y="335"/>
                  </a:lnTo>
                  <a:lnTo>
                    <a:pt x="502" y="335"/>
                  </a:lnTo>
                  <a:lnTo>
                    <a:pt x="506" y="335"/>
                  </a:lnTo>
                  <a:lnTo>
                    <a:pt x="506" y="331"/>
                  </a:lnTo>
                  <a:lnTo>
                    <a:pt x="502" y="331"/>
                  </a:lnTo>
                  <a:lnTo>
                    <a:pt x="502" y="327"/>
                  </a:lnTo>
                  <a:lnTo>
                    <a:pt x="502" y="323"/>
                  </a:lnTo>
                  <a:lnTo>
                    <a:pt x="502" y="319"/>
                  </a:lnTo>
                  <a:lnTo>
                    <a:pt x="498" y="319"/>
                  </a:lnTo>
                  <a:lnTo>
                    <a:pt x="498" y="315"/>
                  </a:lnTo>
                  <a:lnTo>
                    <a:pt x="498" y="311"/>
                  </a:lnTo>
                  <a:lnTo>
                    <a:pt x="498" y="307"/>
                  </a:lnTo>
                  <a:lnTo>
                    <a:pt x="494" y="303"/>
                  </a:lnTo>
                  <a:lnTo>
                    <a:pt x="498" y="303"/>
                  </a:lnTo>
                  <a:lnTo>
                    <a:pt x="502" y="303"/>
                  </a:lnTo>
                  <a:lnTo>
                    <a:pt x="498" y="303"/>
                  </a:lnTo>
                  <a:lnTo>
                    <a:pt x="498" y="299"/>
                  </a:lnTo>
                  <a:lnTo>
                    <a:pt x="502" y="299"/>
                  </a:lnTo>
                  <a:lnTo>
                    <a:pt x="506" y="299"/>
                  </a:lnTo>
                  <a:lnTo>
                    <a:pt x="510" y="299"/>
                  </a:lnTo>
                  <a:lnTo>
                    <a:pt x="510" y="303"/>
                  </a:lnTo>
                  <a:lnTo>
                    <a:pt x="514" y="303"/>
                  </a:lnTo>
                  <a:lnTo>
                    <a:pt x="514" y="299"/>
                  </a:lnTo>
                  <a:lnTo>
                    <a:pt x="518" y="299"/>
                  </a:lnTo>
                  <a:lnTo>
                    <a:pt x="518" y="303"/>
                  </a:lnTo>
                  <a:lnTo>
                    <a:pt x="522" y="303"/>
                  </a:lnTo>
                  <a:lnTo>
                    <a:pt x="526" y="303"/>
                  </a:lnTo>
                  <a:lnTo>
                    <a:pt x="530" y="307"/>
                  </a:lnTo>
                  <a:lnTo>
                    <a:pt x="534" y="307"/>
                  </a:lnTo>
                  <a:lnTo>
                    <a:pt x="534" y="311"/>
                  </a:lnTo>
                  <a:lnTo>
                    <a:pt x="538" y="311"/>
                  </a:lnTo>
                  <a:lnTo>
                    <a:pt x="538" y="315"/>
                  </a:lnTo>
                  <a:lnTo>
                    <a:pt x="538" y="319"/>
                  </a:lnTo>
                  <a:lnTo>
                    <a:pt x="542" y="319"/>
                  </a:lnTo>
                  <a:lnTo>
                    <a:pt x="542" y="323"/>
                  </a:lnTo>
                  <a:lnTo>
                    <a:pt x="538" y="323"/>
                  </a:lnTo>
                  <a:lnTo>
                    <a:pt x="542" y="323"/>
                  </a:lnTo>
                  <a:lnTo>
                    <a:pt x="542" y="327"/>
                  </a:lnTo>
                  <a:lnTo>
                    <a:pt x="542" y="331"/>
                  </a:lnTo>
                  <a:lnTo>
                    <a:pt x="546" y="331"/>
                  </a:lnTo>
                  <a:lnTo>
                    <a:pt x="542" y="331"/>
                  </a:lnTo>
                  <a:lnTo>
                    <a:pt x="542" y="335"/>
                  </a:lnTo>
                  <a:lnTo>
                    <a:pt x="546" y="335"/>
                  </a:lnTo>
                  <a:lnTo>
                    <a:pt x="546" y="339"/>
                  </a:lnTo>
                  <a:lnTo>
                    <a:pt x="550" y="339"/>
                  </a:lnTo>
                  <a:lnTo>
                    <a:pt x="550" y="343"/>
                  </a:lnTo>
                  <a:lnTo>
                    <a:pt x="554" y="347"/>
                  </a:lnTo>
                  <a:lnTo>
                    <a:pt x="554" y="351"/>
                  </a:lnTo>
                  <a:lnTo>
                    <a:pt x="554" y="355"/>
                  </a:lnTo>
                  <a:lnTo>
                    <a:pt x="550" y="355"/>
                  </a:lnTo>
                  <a:lnTo>
                    <a:pt x="554" y="355"/>
                  </a:lnTo>
                  <a:lnTo>
                    <a:pt x="554" y="359"/>
                  </a:lnTo>
                  <a:lnTo>
                    <a:pt x="550" y="359"/>
                  </a:lnTo>
                  <a:lnTo>
                    <a:pt x="550" y="363"/>
                  </a:lnTo>
                  <a:lnTo>
                    <a:pt x="554" y="363"/>
                  </a:lnTo>
                  <a:lnTo>
                    <a:pt x="558" y="367"/>
                  </a:lnTo>
                  <a:lnTo>
                    <a:pt x="558" y="371"/>
                  </a:lnTo>
                  <a:lnTo>
                    <a:pt x="562" y="371"/>
                  </a:lnTo>
                  <a:lnTo>
                    <a:pt x="566" y="375"/>
                  </a:lnTo>
                  <a:lnTo>
                    <a:pt x="570" y="375"/>
                  </a:lnTo>
                  <a:lnTo>
                    <a:pt x="574" y="375"/>
                  </a:lnTo>
                  <a:lnTo>
                    <a:pt x="574" y="379"/>
                  </a:lnTo>
                  <a:lnTo>
                    <a:pt x="574" y="375"/>
                  </a:lnTo>
                  <a:lnTo>
                    <a:pt x="574" y="371"/>
                  </a:lnTo>
                  <a:lnTo>
                    <a:pt x="578" y="375"/>
                  </a:lnTo>
                  <a:lnTo>
                    <a:pt x="578" y="379"/>
                  </a:lnTo>
                  <a:lnTo>
                    <a:pt x="582" y="379"/>
                  </a:lnTo>
                  <a:lnTo>
                    <a:pt x="586" y="379"/>
                  </a:lnTo>
                  <a:lnTo>
                    <a:pt x="586" y="383"/>
                  </a:lnTo>
                  <a:lnTo>
                    <a:pt x="590" y="383"/>
                  </a:lnTo>
                  <a:lnTo>
                    <a:pt x="594" y="383"/>
                  </a:lnTo>
                  <a:lnTo>
                    <a:pt x="594" y="387"/>
                  </a:lnTo>
                  <a:lnTo>
                    <a:pt x="598" y="387"/>
                  </a:lnTo>
                  <a:lnTo>
                    <a:pt x="602" y="387"/>
                  </a:lnTo>
                  <a:lnTo>
                    <a:pt x="606" y="387"/>
                  </a:lnTo>
                  <a:lnTo>
                    <a:pt x="606" y="391"/>
                  </a:lnTo>
                  <a:lnTo>
                    <a:pt x="606" y="395"/>
                  </a:lnTo>
                  <a:lnTo>
                    <a:pt x="606" y="399"/>
                  </a:lnTo>
                  <a:lnTo>
                    <a:pt x="602" y="399"/>
                  </a:lnTo>
                  <a:lnTo>
                    <a:pt x="598" y="399"/>
                  </a:lnTo>
                  <a:lnTo>
                    <a:pt x="598" y="395"/>
                  </a:lnTo>
                  <a:lnTo>
                    <a:pt x="598" y="399"/>
                  </a:lnTo>
                  <a:lnTo>
                    <a:pt x="594" y="399"/>
                  </a:lnTo>
                  <a:lnTo>
                    <a:pt x="590" y="399"/>
                  </a:lnTo>
                  <a:lnTo>
                    <a:pt x="590" y="395"/>
                  </a:lnTo>
                  <a:lnTo>
                    <a:pt x="586" y="395"/>
                  </a:lnTo>
                  <a:lnTo>
                    <a:pt x="582" y="399"/>
                  </a:lnTo>
                  <a:lnTo>
                    <a:pt x="578" y="399"/>
                  </a:lnTo>
                  <a:lnTo>
                    <a:pt x="582" y="399"/>
                  </a:lnTo>
                  <a:lnTo>
                    <a:pt x="582" y="403"/>
                  </a:lnTo>
                  <a:lnTo>
                    <a:pt x="578" y="403"/>
                  </a:lnTo>
                  <a:lnTo>
                    <a:pt x="574" y="403"/>
                  </a:lnTo>
                  <a:lnTo>
                    <a:pt x="570" y="399"/>
                  </a:lnTo>
                  <a:lnTo>
                    <a:pt x="566" y="399"/>
                  </a:lnTo>
                  <a:lnTo>
                    <a:pt x="566" y="403"/>
                  </a:lnTo>
                  <a:lnTo>
                    <a:pt x="570" y="403"/>
                  </a:lnTo>
                  <a:lnTo>
                    <a:pt x="574" y="403"/>
                  </a:lnTo>
                  <a:lnTo>
                    <a:pt x="574" y="407"/>
                  </a:lnTo>
                  <a:lnTo>
                    <a:pt x="574" y="411"/>
                  </a:lnTo>
                  <a:lnTo>
                    <a:pt x="570" y="411"/>
                  </a:lnTo>
                  <a:lnTo>
                    <a:pt x="570" y="415"/>
                  </a:lnTo>
                  <a:lnTo>
                    <a:pt x="574" y="415"/>
                  </a:lnTo>
                  <a:lnTo>
                    <a:pt x="574" y="411"/>
                  </a:lnTo>
                  <a:lnTo>
                    <a:pt x="578" y="407"/>
                  </a:lnTo>
                  <a:lnTo>
                    <a:pt x="582" y="407"/>
                  </a:lnTo>
                  <a:lnTo>
                    <a:pt x="582" y="403"/>
                  </a:lnTo>
                  <a:lnTo>
                    <a:pt x="586" y="403"/>
                  </a:lnTo>
                  <a:lnTo>
                    <a:pt x="590" y="403"/>
                  </a:lnTo>
                  <a:lnTo>
                    <a:pt x="590" y="407"/>
                  </a:lnTo>
                  <a:lnTo>
                    <a:pt x="590" y="411"/>
                  </a:lnTo>
                  <a:lnTo>
                    <a:pt x="586" y="411"/>
                  </a:lnTo>
                  <a:lnTo>
                    <a:pt x="586" y="415"/>
                  </a:lnTo>
                  <a:lnTo>
                    <a:pt x="590" y="415"/>
                  </a:lnTo>
                  <a:lnTo>
                    <a:pt x="590" y="411"/>
                  </a:lnTo>
                  <a:lnTo>
                    <a:pt x="594" y="411"/>
                  </a:lnTo>
                  <a:lnTo>
                    <a:pt x="594" y="415"/>
                  </a:lnTo>
                  <a:lnTo>
                    <a:pt x="594" y="419"/>
                  </a:lnTo>
                  <a:lnTo>
                    <a:pt x="590" y="419"/>
                  </a:lnTo>
                  <a:lnTo>
                    <a:pt x="586" y="419"/>
                  </a:lnTo>
                  <a:lnTo>
                    <a:pt x="582" y="419"/>
                  </a:lnTo>
                  <a:lnTo>
                    <a:pt x="582" y="423"/>
                  </a:lnTo>
                  <a:lnTo>
                    <a:pt x="578" y="423"/>
                  </a:lnTo>
                  <a:lnTo>
                    <a:pt x="574" y="423"/>
                  </a:lnTo>
                  <a:lnTo>
                    <a:pt x="570" y="423"/>
                  </a:lnTo>
                  <a:lnTo>
                    <a:pt x="566" y="423"/>
                  </a:lnTo>
                  <a:lnTo>
                    <a:pt x="562" y="423"/>
                  </a:lnTo>
                  <a:lnTo>
                    <a:pt x="558" y="423"/>
                  </a:lnTo>
                  <a:lnTo>
                    <a:pt x="554" y="419"/>
                  </a:lnTo>
                  <a:lnTo>
                    <a:pt x="550" y="423"/>
                  </a:lnTo>
                  <a:lnTo>
                    <a:pt x="546" y="423"/>
                  </a:lnTo>
                  <a:lnTo>
                    <a:pt x="542" y="419"/>
                  </a:lnTo>
                  <a:lnTo>
                    <a:pt x="546" y="415"/>
                  </a:lnTo>
                  <a:lnTo>
                    <a:pt x="542" y="415"/>
                  </a:lnTo>
                  <a:lnTo>
                    <a:pt x="538" y="415"/>
                  </a:lnTo>
                  <a:lnTo>
                    <a:pt x="534" y="415"/>
                  </a:lnTo>
                  <a:lnTo>
                    <a:pt x="530" y="415"/>
                  </a:lnTo>
                  <a:lnTo>
                    <a:pt x="526" y="415"/>
                  </a:lnTo>
                  <a:lnTo>
                    <a:pt x="522" y="411"/>
                  </a:lnTo>
                  <a:lnTo>
                    <a:pt x="526" y="411"/>
                  </a:lnTo>
                  <a:lnTo>
                    <a:pt x="526" y="407"/>
                  </a:lnTo>
                  <a:lnTo>
                    <a:pt x="522" y="407"/>
                  </a:lnTo>
                  <a:lnTo>
                    <a:pt x="522" y="403"/>
                  </a:lnTo>
                  <a:lnTo>
                    <a:pt x="518" y="403"/>
                  </a:lnTo>
                  <a:lnTo>
                    <a:pt x="518" y="407"/>
                  </a:lnTo>
                  <a:lnTo>
                    <a:pt x="514" y="407"/>
                  </a:lnTo>
                  <a:lnTo>
                    <a:pt x="514" y="411"/>
                  </a:lnTo>
                  <a:lnTo>
                    <a:pt x="514" y="415"/>
                  </a:lnTo>
                  <a:lnTo>
                    <a:pt x="510" y="415"/>
                  </a:lnTo>
                  <a:lnTo>
                    <a:pt x="510" y="419"/>
                  </a:lnTo>
                  <a:lnTo>
                    <a:pt x="506" y="419"/>
                  </a:lnTo>
                  <a:lnTo>
                    <a:pt x="502" y="419"/>
                  </a:lnTo>
                  <a:lnTo>
                    <a:pt x="498" y="419"/>
                  </a:lnTo>
                  <a:lnTo>
                    <a:pt x="494" y="419"/>
                  </a:lnTo>
                  <a:lnTo>
                    <a:pt x="490" y="419"/>
                  </a:lnTo>
                  <a:lnTo>
                    <a:pt x="490" y="423"/>
                  </a:lnTo>
                  <a:lnTo>
                    <a:pt x="486" y="423"/>
                  </a:lnTo>
                  <a:lnTo>
                    <a:pt x="482" y="427"/>
                  </a:lnTo>
                  <a:lnTo>
                    <a:pt x="478" y="427"/>
                  </a:lnTo>
                  <a:lnTo>
                    <a:pt x="474" y="427"/>
                  </a:lnTo>
                  <a:lnTo>
                    <a:pt x="470" y="427"/>
                  </a:lnTo>
                  <a:lnTo>
                    <a:pt x="466" y="427"/>
                  </a:lnTo>
                  <a:lnTo>
                    <a:pt x="462" y="427"/>
                  </a:lnTo>
                  <a:lnTo>
                    <a:pt x="462" y="431"/>
                  </a:lnTo>
                  <a:lnTo>
                    <a:pt x="462" y="427"/>
                  </a:lnTo>
                  <a:lnTo>
                    <a:pt x="458" y="427"/>
                  </a:lnTo>
                  <a:lnTo>
                    <a:pt x="458" y="431"/>
                  </a:lnTo>
                  <a:lnTo>
                    <a:pt x="454" y="431"/>
                  </a:lnTo>
                  <a:lnTo>
                    <a:pt x="454" y="427"/>
                  </a:lnTo>
                  <a:lnTo>
                    <a:pt x="454" y="431"/>
                  </a:lnTo>
                  <a:lnTo>
                    <a:pt x="450" y="431"/>
                  </a:lnTo>
                  <a:lnTo>
                    <a:pt x="446" y="431"/>
                  </a:lnTo>
                  <a:lnTo>
                    <a:pt x="450" y="431"/>
                  </a:lnTo>
                  <a:lnTo>
                    <a:pt x="446" y="431"/>
                  </a:lnTo>
                  <a:lnTo>
                    <a:pt x="442" y="431"/>
                  </a:lnTo>
                  <a:lnTo>
                    <a:pt x="439" y="431"/>
                  </a:lnTo>
                  <a:lnTo>
                    <a:pt x="435" y="431"/>
                  </a:lnTo>
                  <a:lnTo>
                    <a:pt x="431" y="431"/>
                  </a:lnTo>
                  <a:lnTo>
                    <a:pt x="427" y="431"/>
                  </a:lnTo>
                  <a:lnTo>
                    <a:pt x="423" y="431"/>
                  </a:lnTo>
                  <a:lnTo>
                    <a:pt x="419" y="431"/>
                  </a:lnTo>
                  <a:lnTo>
                    <a:pt x="423" y="431"/>
                  </a:lnTo>
                  <a:lnTo>
                    <a:pt x="419" y="431"/>
                  </a:lnTo>
                  <a:lnTo>
                    <a:pt x="419" y="427"/>
                  </a:lnTo>
                  <a:lnTo>
                    <a:pt x="415" y="427"/>
                  </a:lnTo>
                  <a:lnTo>
                    <a:pt x="415" y="423"/>
                  </a:lnTo>
                  <a:lnTo>
                    <a:pt x="415" y="419"/>
                  </a:lnTo>
                  <a:lnTo>
                    <a:pt x="415" y="415"/>
                  </a:lnTo>
                  <a:lnTo>
                    <a:pt x="415" y="411"/>
                  </a:lnTo>
                  <a:lnTo>
                    <a:pt x="415" y="415"/>
                  </a:lnTo>
                  <a:lnTo>
                    <a:pt x="415" y="411"/>
                  </a:lnTo>
                  <a:lnTo>
                    <a:pt x="411" y="411"/>
                  </a:lnTo>
                  <a:lnTo>
                    <a:pt x="403" y="411"/>
                  </a:lnTo>
                  <a:lnTo>
                    <a:pt x="399" y="411"/>
                  </a:lnTo>
                  <a:lnTo>
                    <a:pt x="395" y="411"/>
                  </a:lnTo>
                  <a:lnTo>
                    <a:pt x="391" y="411"/>
                  </a:lnTo>
                  <a:lnTo>
                    <a:pt x="387" y="411"/>
                  </a:lnTo>
                  <a:lnTo>
                    <a:pt x="383" y="411"/>
                  </a:lnTo>
                  <a:lnTo>
                    <a:pt x="379" y="411"/>
                  </a:lnTo>
                  <a:lnTo>
                    <a:pt x="375" y="407"/>
                  </a:lnTo>
                  <a:lnTo>
                    <a:pt x="371" y="407"/>
                  </a:lnTo>
                  <a:lnTo>
                    <a:pt x="367" y="407"/>
                  </a:lnTo>
                  <a:lnTo>
                    <a:pt x="371" y="403"/>
                  </a:lnTo>
                  <a:lnTo>
                    <a:pt x="367" y="403"/>
                  </a:lnTo>
                  <a:lnTo>
                    <a:pt x="363" y="403"/>
                  </a:lnTo>
                  <a:lnTo>
                    <a:pt x="367" y="403"/>
                  </a:lnTo>
                  <a:lnTo>
                    <a:pt x="367" y="399"/>
                  </a:lnTo>
                  <a:lnTo>
                    <a:pt x="363" y="399"/>
                  </a:lnTo>
                  <a:lnTo>
                    <a:pt x="359" y="399"/>
                  </a:lnTo>
                  <a:lnTo>
                    <a:pt x="359" y="395"/>
                  </a:lnTo>
                  <a:lnTo>
                    <a:pt x="359" y="391"/>
                  </a:lnTo>
                  <a:lnTo>
                    <a:pt x="355" y="391"/>
                  </a:lnTo>
                  <a:lnTo>
                    <a:pt x="359" y="391"/>
                  </a:lnTo>
                  <a:lnTo>
                    <a:pt x="359" y="387"/>
                  </a:lnTo>
                  <a:lnTo>
                    <a:pt x="363" y="387"/>
                  </a:lnTo>
                  <a:lnTo>
                    <a:pt x="371" y="387"/>
                  </a:lnTo>
                  <a:lnTo>
                    <a:pt x="375" y="387"/>
                  </a:lnTo>
                  <a:lnTo>
                    <a:pt x="379" y="383"/>
                  </a:lnTo>
                  <a:lnTo>
                    <a:pt x="383" y="383"/>
                  </a:lnTo>
                  <a:lnTo>
                    <a:pt x="387" y="383"/>
                  </a:lnTo>
                  <a:lnTo>
                    <a:pt x="391" y="383"/>
                  </a:lnTo>
                  <a:lnTo>
                    <a:pt x="395" y="383"/>
                  </a:lnTo>
                  <a:lnTo>
                    <a:pt x="399" y="383"/>
                  </a:lnTo>
                  <a:lnTo>
                    <a:pt x="403" y="383"/>
                  </a:lnTo>
                  <a:lnTo>
                    <a:pt x="407" y="383"/>
                  </a:lnTo>
                  <a:lnTo>
                    <a:pt x="411" y="383"/>
                  </a:lnTo>
                  <a:lnTo>
                    <a:pt x="415" y="383"/>
                  </a:lnTo>
                  <a:lnTo>
                    <a:pt x="419" y="383"/>
                  </a:lnTo>
                  <a:lnTo>
                    <a:pt x="423" y="383"/>
                  </a:lnTo>
                  <a:lnTo>
                    <a:pt x="427" y="387"/>
                  </a:lnTo>
                  <a:lnTo>
                    <a:pt x="431" y="387"/>
                  </a:lnTo>
                  <a:lnTo>
                    <a:pt x="431" y="383"/>
                  </a:lnTo>
                  <a:lnTo>
                    <a:pt x="435" y="383"/>
                  </a:lnTo>
                  <a:lnTo>
                    <a:pt x="439" y="383"/>
                  </a:lnTo>
                  <a:lnTo>
                    <a:pt x="442" y="383"/>
                  </a:lnTo>
                  <a:lnTo>
                    <a:pt x="446" y="383"/>
                  </a:lnTo>
                  <a:lnTo>
                    <a:pt x="442" y="379"/>
                  </a:lnTo>
                  <a:lnTo>
                    <a:pt x="442" y="383"/>
                  </a:lnTo>
                  <a:lnTo>
                    <a:pt x="439" y="379"/>
                  </a:lnTo>
                  <a:lnTo>
                    <a:pt x="435" y="379"/>
                  </a:lnTo>
                  <a:lnTo>
                    <a:pt x="431" y="375"/>
                  </a:lnTo>
                  <a:lnTo>
                    <a:pt x="427" y="375"/>
                  </a:lnTo>
                  <a:lnTo>
                    <a:pt x="423" y="375"/>
                  </a:lnTo>
                  <a:lnTo>
                    <a:pt x="419" y="375"/>
                  </a:lnTo>
                  <a:lnTo>
                    <a:pt x="415" y="371"/>
                  </a:lnTo>
                  <a:lnTo>
                    <a:pt x="415" y="375"/>
                  </a:lnTo>
                  <a:lnTo>
                    <a:pt x="415" y="371"/>
                  </a:lnTo>
                  <a:lnTo>
                    <a:pt x="411" y="371"/>
                  </a:lnTo>
                  <a:lnTo>
                    <a:pt x="407" y="371"/>
                  </a:lnTo>
                  <a:lnTo>
                    <a:pt x="403" y="371"/>
                  </a:lnTo>
                  <a:lnTo>
                    <a:pt x="403" y="375"/>
                  </a:lnTo>
                  <a:lnTo>
                    <a:pt x="399" y="375"/>
                  </a:lnTo>
                  <a:lnTo>
                    <a:pt x="395" y="375"/>
                  </a:lnTo>
                  <a:lnTo>
                    <a:pt x="391" y="375"/>
                  </a:lnTo>
                  <a:lnTo>
                    <a:pt x="387" y="375"/>
                  </a:lnTo>
                  <a:lnTo>
                    <a:pt x="379" y="375"/>
                  </a:lnTo>
                  <a:close/>
                  <a:moveTo>
                    <a:pt x="670" y="303"/>
                  </a:moveTo>
                  <a:lnTo>
                    <a:pt x="674" y="307"/>
                  </a:lnTo>
                  <a:lnTo>
                    <a:pt x="670" y="307"/>
                  </a:lnTo>
                  <a:lnTo>
                    <a:pt x="670" y="311"/>
                  </a:lnTo>
                  <a:lnTo>
                    <a:pt x="666" y="311"/>
                  </a:lnTo>
                  <a:lnTo>
                    <a:pt x="666" y="307"/>
                  </a:lnTo>
                  <a:lnTo>
                    <a:pt x="662" y="307"/>
                  </a:lnTo>
                  <a:lnTo>
                    <a:pt x="662" y="303"/>
                  </a:lnTo>
                  <a:lnTo>
                    <a:pt x="666" y="303"/>
                  </a:lnTo>
                  <a:lnTo>
                    <a:pt x="670" y="303"/>
                  </a:lnTo>
                  <a:close/>
                  <a:moveTo>
                    <a:pt x="670" y="311"/>
                  </a:moveTo>
                  <a:lnTo>
                    <a:pt x="670" y="315"/>
                  </a:lnTo>
                  <a:lnTo>
                    <a:pt x="666" y="315"/>
                  </a:lnTo>
                  <a:lnTo>
                    <a:pt x="666" y="311"/>
                  </a:lnTo>
                  <a:lnTo>
                    <a:pt x="670" y="311"/>
                  </a:lnTo>
                  <a:close/>
                  <a:moveTo>
                    <a:pt x="1001" y="331"/>
                  </a:moveTo>
                  <a:lnTo>
                    <a:pt x="1005" y="331"/>
                  </a:lnTo>
                  <a:lnTo>
                    <a:pt x="1001" y="331"/>
                  </a:lnTo>
                  <a:close/>
                  <a:moveTo>
                    <a:pt x="1025" y="343"/>
                  </a:moveTo>
                  <a:lnTo>
                    <a:pt x="1025" y="347"/>
                  </a:lnTo>
                  <a:lnTo>
                    <a:pt x="1021" y="347"/>
                  </a:lnTo>
                  <a:lnTo>
                    <a:pt x="1025" y="347"/>
                  </a:lnTo>
                  <a:lnTo>
                    <a:pt x="1025" y="343"/>
                  </a:lnTo>
                  <a:close/>
                  <a:moveTo>
                    <a:pt x="1029" y="347"/>
                  </a:moveTo>
                  <a:lnTo>
                    <a:pt x="1033" y="347"/>
                  </a:lnTo>
                  <a:lnTo>
                    <a:pt x="1033" y="343"/>
                  </a:lnTo>
                  <a:lnTo>
                    <a:pt x="1033" y="347"/>
                  </a:lnTo>
                  <a:lnTo>
                    <a:pt x="1029" y="347"/>
                  </a:lnTo>
                  <a:close/>
                  <a:moveTo>
                    <a:pt x="1029" y="355"/>
                  </a:moveTo>
                  <a:lnTo>
                    <a:pt x="1025" y="355"/>
                  </a:lnTo>
                  <a:lnTo>
                    <a:pt x="1025" y="351"/>
                  </a:lnTo>
                  <a:lnTo>
                    <a:pt x="1025" y="347"/>
                  </a:lnTo>
                  <a:lnTo>
                    <a:pt x="1029" y="347"/>
                  </a:lnTo>
                  <a:lnTo>
                    <a:pt x="1029" y="351"/>
                  </a:lnTo>
                  <a:lnTo>
                    <a:pt x="1025" y="351"/>
                  </a:lnTo>
                  <a:lnTo>
                    <a:pt x="1029" y="351"/>
                  </a:lnTo>
                  <a:lnTo>
                    <a:pt x="1029" y="347"/>
                  </a:lnTo>
                  <a:lnTo>
                    <a:pt x="1029" y="351"/>
                  </a:lnTo>
                  <a:lnTo>
                    <a:pt x="1033" y="351"/>
                  </a:lnTo>
                  <a:lnTo>
                    <a:pt x="1029" y="351"/>
                  </a:lnTo>
                  <a:lnTo>
                    <a:pt x="1029" y="355"/>
                  </a:lnTo>
                  <a:close/>
                  <a:moveTo>
                    <a:pt x="1057" y="359"/>
                  </a:moveTo>
                  <a:lnTo>
                    <a:pt x="1057" y="363"/>
                  </a:lnTo>
                  <a:lnTo>
                    <a:pt x="1057" y="359"/>
                  </a:lnTo>
                  <a:close/>
                  <a:moveTo>
                    <a:pt x="1049" y="363"/>
                  </a:moveTo>
                  <a:lnTo>
                    <a:pt x="1053" y="363"/>
                  </a:lnTo>
                  <a:lnTo>
                    <a:pt x="1053" y="367"/>
                  </a:lnTo>
                  <a:lnTo>
                    <a:pt x="1049" y="367"/>
                  </a:lnTo>
                  <a:lnTo>
                    <a:pt x="1045" y="367"/>
                  </a:lnTo>
                  <a:lnTo>
                    <a:pt x="1041" y="367"/>
                  </a:lnTo>
                  <a:lnTo>
                    <a:pt x="1045" y="367"/>
                  </a:lnTo>
                  <a:lnTo>
                    <a:pt x="1045" y="363"/>
                  </a:lnTo>
                  <a:lnTo>
                    <a:pt x="1049" y="363"/>
                  </a:lnTo>
                  <a:close/>
                  <a:moveTo>
                    <a:pt x="614" y="371"/>
                  </a:moveTo>
                  <a:lnTo>
                    <a:pt x="614" y="375"/>
                  </a:lnTo>
                  <a:lnTo>
                    <a:pt x="618" y="375"/>
                  </a:lnTo>
                  <a:lnTo>
                    <a:pt x="618" y="379"/>
                  </a:lnTo>
                  <a:lnTo>
                    <a:pt x="614" y="379"/>
                  </a:lnTo>
                  <a:lnTo>
                    <a:pt x="614" y="375"/>
                  </a:lnTo>
                  <a:lnTo>
                    <a:pt x="610" y="375"/>
                  </a:lnTo>
                  <a:lnTo>
                    <a:pt x="610" y="371"/>
                  </a:lnTo>
                  <a:lnTo>
                    <a:pt x="614" y="371"/>
                  </a:lnTo>
                  <a:close/>
                  <a:moveTo>
                    <a:pt x="195" y="375"/>
                  </a:moveTo>
                  <a:lnTo>
                    <a:pt x="191" y="375"/>
                  </a:lnTo>
                  <a:lnTo>
                    <a:pt x="191" y="371"/>
                  </a:lnTo>
                  <a:lnTo>
                    <a:pt x="195" y="375"/>
                  </a:lnTo>
                  <a:close/>
                  <a:moveTo>
                    <a:pt x="813" y="387"/>
                  </a:moveTo>
                  <a:lnTo>
                    <a:pt x="817" y="387"/>
                  </a:lnTo>
                  <a:lnTo>
                    <a:pt x="821" y="387"/>
                  </a:lnTo>
                  <a:lnTo>
                    <a:pt x="825" y="387"/>
                  </a:lnTo>
                  <a:lnTo>
                    <a:pt x="825" y="391"/>
                  </a:lnTo>
                  <a:lnTo>
                    <a:pt x="821" y="391"/>
                  </a:lnTo>
                  <a:lnTo>
                    <a:pt x="817" y="391"/>
                  </a:lnTo>
                  <a:lnTo>
                    <a:pt x="813" y="391"/>
                  </a:lnTo>
                  <a:lnTo>
                    <a:pt x="813" y="387"/>
                  </a:lnTo>
                  <a:lnTo>
                    <a:pt x="809" y="387"/>
                  </a:lnTo>
                  <a:lnTo>
                    <a:pt x="813" y="387"/>
                  </a:lnTo>
                  <a:close/>
                  <a:moveTo>
                    <a:pt x="682" y="423"/>
                  </a:moveTo>
                  <a:lnTo>
                    <a:pt x="686" y="419"/>
                  </a:lnTo>
                  <a:lnTo>
                    <a:pt x="686" y="423"/>
                  </a:lnTo>
                  <a:lnTo>
                    <a:pt x="690" y="423"/>
                  </a:lnTo>
                  <a:lnTo>
                    <a:pt x="690" y="419"/>
                  </a:lnTo>
                  <a:lnTo>
                    <a:pt x="694" y="423"/>
                  </a:lnTo>
                  <a:lnTo>
                    <a:pt x="690" y="423"/>
                  </a:lnTo>
                  <a:lnTo>
                    <a:pt x="690" y="427"/>
                  </a:lnTo>
                  <a:lnTo>
                    <a:pt x="686" y="427"/>
                  </a:lnTo>
                  <a:lnTo>
                    <a:pt x="686" y="423"/>
                  </a:lnTo>
                  <a:lnTo>
                    <a:pt x="682" y="427"/>
                  </a:lnTo>
                  <a:lnTo>
                    <a:pt x="678" y="431"/>
                  </a:lnTo>
                  <a:lnTo>
                    <a:pt x="674" y="431"/>
                  </a:lnTo>
                  <a:lnTo>
                    <a:pt x="670" y="431"/>
                  </a:lnTo>
                  <a:lnTo>
                    <a:pt x="666" y="431"/>
                  </a:lnTo>
                  <a:lnTo>
                    <a:pt x="662" y="431"/>
                  </a:lnTo>
                  <a:lnTo>
                    <a:pt x="658" y="431"/>
                  </a:lnTo>
                  <a:lnTo>
                    <a:pt x="654" y="427"/>
                  </a:lnTo>
                  <a:lnTo>
                    <a:pt x="650" y="427"/>
                  </a:lnTo>
                  <a:lnTo>
                    <a:pt x="646" y="427"/>
                  </a:lnTo>
                  <a:lnTo>
                    <a:pt x="646" y="423"/>
                  </a:lnTo>
                  <a:lnTo>
                    <a:pt x="642" y="423"/>
                  </a:lnTo>
                  <a:lnTo>
                    <a:pt x="638" y="423"/>
                  </a:lnTo>
                  <a:lnTo>
                    <a:pt x="638" y="419"/>
                  </a:lnTo>
                  <a:lnTo>
                    <a:pt x="634" y="419"/>
                  </a:lnTo>
                  <a:lnTo>
                    <a:pt x="634" y="423"/>
                  </a:lnTo>
                  <a:lnTo>
                    <a:pt x="630" y="423"/>
                  </a:lnTo>
                  <a:lnTo>
                    <a:pt x="630" y="419"/>
                  </a:lnTo>
                  <a:lnTo>
                    <a:pt x="626" y="419"/>
                  </a:lnTo>
                  <a:lnTo>
                    <a:pt x="626" y="415"/>
                  </a:lnTo>
                  <a:lnTo>
                    <a:pt x="630" y="415"/>
                  </a:lnTo>
                  <a:lnTo>
                    <a:pt x="634" y="415"/>
                  </a:lnTo>
                  <a:lnTo>
                    <a:pt x="638" y="415"/>
                  </a:lnTo>
                  <a:lnTo>
                    <a:pt x="638" y="411"/>
                  </a:lnTo>
                  <a:lnTo>
                    <a:pt x="642" y="411"/>
                  </a:lnTo>
                  <a:lnTo>
                    <a:pt x="646" y="411"/>
                  </a:lnTo>
                  <a:lnTo>
                    <a:pt x="642" y="407"/>
                  </a:lnTo>
                  <a:lnTo>
                    <a:pt x="646" y="407"/>
                  </a:lnTo>
                  <a:lnTo>
                    <a:pt x="642" y="403"/>
                  </a:lnTo>
                  <a:lnTo>
                    <a:pt x="646" y="403"/>
                  </a:lnTo>
                  <a:lnTo>
                    <a:pt x="650" y="407"/>
                  </a:lnTo>
                  <a:lnTo>
                    <a:pt x="646" y="403"/>
                  </a:lnTo>
                  <a:lnTo>
                    <a:pt x="646" y="399"/>
                  </a:lnTo>
                  <a:lnTo>
                    <a:pt x="646" y="395"/>
                  </a:lnTo>
                  <a:lnTo>
                    <a:pt x="650" y="395"/>
                  </a:lnTo>
                  <a:lnTo>
                    <a:pt x="654" y="395"/>
                  </a:lnTo>
                  <a:lnTo>
                    <a:pt x="658" y="395"/>
                  </a:lnTo>
                  <a:lnTo>
                    <a:pt x="658" y="399"/>
                  </a:lnTo>
                  <a:lnTo>
                    <a:pt x="662" y="399"/>
                  </a:lnTo>
                  <a:lnTo>
                    <a:pt x="658" y="399"/>
                  </a:lnTo>
                  <a:lnTo>
                    <a:pt x="658" y="403"/>
                  </a:lnTo>
                  <a:lnTo>
                    <a:pt x="662" y="399"/>
                  </a:lnTo>
                  <a:lnTo>
                    <a:pt x="662" y="403"/>
                  </a:lnTo>
                  <a:lnTo>
                    <a:pt x="666" y="403"/>
                  </a:lnTo>
                  <a:lnTo>
                    <a:pt x="670" y="407"/>
                  </a:lnTo>
                  <a:lnTo>
                    <a:pt x="674" y="407"/>
                  </a:lnTo>
                  <a:lnTo>
                    <a:pt x="678" y="407"/>
                  </a:lnTo>
                  <a:lnTo>
                    <a:pt x="678" y="411"/>
                  </a:lnTo>
                  <a:lnTo>
                    <a:pt x="678" y="415"/>
                  </a:lnTo>
                  <a:lnTo>
                    <a:pt x="678" y="419"/>
                  </a:lnTo>
                  <a:lnTo>
                    <a:pt x="678" y="415"/>
                  </a:lnTo>
                  <a:lnTo>
                    <a:pt x="678" y="411"/>
                  </a:lnTo>
                  <a:lnTo>
                    <a:pt x="682" y="411"/>
                  </a:lnTo>
                  <a:lnTo>
                    <a:pt x="682" y="415"/>
                  </a:lnTo>
                  <a:lnTo>
                    <a:pt x="682" y="419"/>
                  </a:lnTo>
                  <a:lnTo>
                    <a:pt x="682" y="423"/>
                  </a:lnTo>
                  <a:close/>
                  <a:moveTo>
                    <a:pt x="881" y="395"/>
                  </a:moveTo>
                  <a:lnTo>
                    <a:pt x="885" y="395"/>
                  </a:lnTo>
                  <a:lnTo>
                    <a:pt x="881" y="395"/>
                  </a:lnTo>
                  <a:close/>
                  <a:moveTo>
                    <a:pt x="869" y="395"/>
                  </a:moveTo>
                  <a:lnTo>
                    <a:pt x="865" y="399"/>
                  </a:lnTo>
                  <a:lnTo>
                    <a:pt x="869" y="399"/>
                  </a:lnTo>
                  <a:lnTo>
                    <a:pt x="865" y="399"/>
                  </a:lnTo>
                  <a:lnTo>
                    <a:pt x="865" y="395"/>
                  </a:lnTo>
                  <a:lnTo>
                    <a:pt x="869" y="395"/>
                  </a:lnTo>
                  <a:close/>
                  <a:moveTo>
                    <a:pt x="925" y="399"/>
                  </a:moveTo>
                  <a:lnTo>
                    <a:pt x="925" y="395"/>
                  </a:lnTo>
                  <a:lnTo>
                    <a:pt x="929" y="395"/>
                  </a:lnTo>
                  <a:lnTo>
                    <a:pt x="933" y="395"/>
                  </a:lnTo>
                  <a:lnTo>
                    <a:pt x="933" y="399"/>
                  </a:lnTo>
                  <a:lnTo>
                    <a:pt x="929" y="399"/>
                  </a:lnTo>
                  <a:lnTo>
                    <a:pt x="929" y="403"/>
                  </a:lnTo>
                  <a:lnTo>
                    <a:pt x="925" y="403"/>
                  </a:lnTo>
                  <a:lnTo>
                    <a:pt x="925" y="399"/>
                  </a:lnTo>
                  <a:lnTo>
                    <a:pt x="921" y="399"/>
                  </a:lnTo>
                  <a:lnTo>
                    <a:pt x="921" y="403"/>
                  </a:lnTo>
                  <a:lnTo>
                    <a:pt x="925" y="403"/>
                  </a:lnTo>
                  <a:lnTo>
                    <a:pt x="921" y="403"/>
                  </a:lnTo>
                  <a:lnTo>
                    <a:pt x="917" y="403"/>
                  </a:lnTo>
                  <a:lnTo>
                    <a:pt x="917" y="399"/>
                  </a:lnTo>
                  <a:lnTo>
                    <a:pt x="913" y="399"/>
                  </a:lnTo>
                  <a:lnTo>
                    <a:pt x="909" y="399"/>
                  </a:lnTo>
                  <a:lnTo>
                    <a:pt x="913" y="399"/>
                  </a:lnTo>
                  <a:lnTo>
                    <a:pt x="917" y="399"/>
                  </a:lnTo>
                  <a:lnTo>
                    <a:pt x="917" y="395"/>
                  </a:lnTo>
                  <a:lnTo>
                    <a:pt x="921" y="395"/>
                  </a:lnTo>
                  <a:lnTo>
                    <a:pt x="921" y="399"/>
                  </a:lnTo>
                  <a:lnTo>
                    <a:pt x="925" y="399"/>
                  </a:lnTo>
                  <a:close/>
                  <a:moveTo>
                    <a:pt x="881" y="395"/>
                  </a:moveTo>
                  <a:lnTo>
                    <a:pt x="885" y="395"/>
                  </a:lnTo>
                  <a:lnTo>
                    <a:pt x="885" y="399"/>
                  </a:lnTo>
                  <a:lnTo>
                    <a:pt x="881" y="399"/>
                  </a:lnTo>
                  <a:lnTo>
                    <a:pt x="877" y="395"/>
                  </a:lnTo>
                  <a:lnTo>
                    <a:pt x="881" y="395"/>
                  </a:lnTo>
                  <a:close/>
                  <a:moveTo>
                    <a:pt x="949" y="399"/>
                  </a:moveTo>
                  <a:lnTo>
                    <a:pt x="953" y="399"/>
                  </a:lnTo>
                  <a:lnTo>
                    <a:pt x="953" y="403"/>
                  </a:lnTo>
                  <a:lnTo>
                    <a:pt x="949" y="403"/>
                  </a:lnTo>
                  <a:lnTo>
                    <a:pt x="945" y="403"/>
                  </a:lnTo>
                  <a:lnTo>
                    <a:pt x="941" y="403"/>
                  </a:lnTo>
                  <a:lnTo>
                    <a:pt x="941" y="407"/>
                  </a:lnTo>
                  <a:lnTo>
                    <a:pt x="941" y="403"/>
                  </a:lnTo>
                  <a:lnTo>
                    <a:pt x="945" y="403"/>
                  </a:lnTo>
                  <a:lnTo>
                    <a:pt x="945" y="399"/>
                  </a:lnTo>
                  <a:lnTo>
                    <a:pt x="949" y="399"/>
                  </a:lnTo>
                  <a:close/>
                  <a:moveTo>
                    <a:pt x="80" y="419"/>
                  </a:moveTo>
                  <a:lnTo>
                    <a:pt x="84" y="419"/>
                  </a:lnTo>
                  <a:lnTo>
                    <a:pt x="80" y="415"/>
                  </a:lnTo>
                  <a:lnTo>
                    <a:pt x="76" y="415"/>
                  </a:lnTo>
                  <a:lnTo>
                    <a:pt x="76" y="411"/>
                  </a:lnTo>
                  <a:lnTo>
                    <a:pt x="80" y="411"/>
                  </a:lnTo>
                  <a:lnTo>
                    <a:pt x="80" y="415"/>
                  </a:lnTo>
                  <a:lnTo>
                    <a:pt x="84" y="415"/>
                  </a:lnTo>
                  <a:lnTo>
                    <a:pt x="80" y="415"/>
                  </a:lnTo>
                  <a:lnTo>
                    <a:pt x="80" y="411"/>
                  </a:lnTo>
                  <a:lnTo>
                    <a:pt x="76" y="411"/>
                  </a:lnTo>
                  <a:lnTo>
                    <a:pt x="80" y="411"/>
                  </a:lnTo>
                  <a:lnTo>
                    <a:pt x="84" y="407"/>
                  </a:lnTo>
                  <a:lnTo>
                    <a:pt x="84" y="411"/>
                  </a:lnTo>
                  <a:lnTo>
                    <a:pt x="88" y="411"/>
                  </a:lnTo>
                  <a:lnTo>
                    <a:pt x="88" y="407"/>
                  </a:lnTo>
                  <a:lnTo>
                    <a:pt x="91" y="403"/>
                  </a:lnTo>
                  <a:lnTo>
                    <a:pt x="95" y="403"/>
                  </a:lnTo>
                  <a:lnTo>
                    <a:pt x="95" y="407"/>
                  </a:lnTo>
                  <a:lnTo>
                    <a:pt x="99" y="407"/>
                  </a:lnTo>
                  <a:lnTo>
                    <a:pt x="99" y="403"/>
                  </a:lnTo>
                  <a:lnTo>
                    <a:pt x="99" y="399"/>
                  </a:lnTo>
                  <a:lnTo>
                    <a:pt x="103" y="399"/>
                  </a:lnTo>
                  <a:lnTo>
                    <a:pt x="103" y="403"/>
                  </a:lnTo>
                  <a:lnTo>
                    <a:pt x="107" y="403"/>
                  </a:lnTo>
                  <a:lnTo>
                    <a:pt x="107" y="407"/>
                  </a:lnTo>
                  <a:lnTo>
                    <a:pt x="103" y="407"/>
                  </a:lnTo>
                  <a:lnTo>
                    <a:pt x="103" y="411"/>
                  </a:lnTo>
                  <a:lnTo>
                    <a:pt x="99" y="411"/>
                  </a:lnTo>
                  <a:lnTo>
                    <a:pt x="99" y="415"/>
                  </a:lnTo>
                  <a:lnTo>
                    <a:pt x="95" y="415"/>
                  </a:lnTo>
                  <a:lnTo>
                    <a:pt x="95" y="419"/>
                  </a:lnTo>
                  <a:lnTo>
                    <a:pt x="99" y="423"/>
                  </a:lnTo>
                  <a:lnTo>
                    <a:pt x="103" y="427"/>
                  </a:lnTo>
                  <a:lnTo>
                    <a:pt x="99" y="427"/>
                  </a:lnTo>
                  <a:lnTo>
                    <a:pt x="95" y="423"/>
                  </a:lnTo>
                  <a:lnTo>
                    <a:pt x="95" y="419"/>
                  </a:lnTo>
                  <a:lnTo>
                    <a:pt x="91" y="419"/>
                  </a:lnTo>
                  <a:lnTo>
                    <a:pt x="88" y="419"/>
                  </a:lnTo>
                  <a:lnTo>
                    <a:pt x="84" y="419"/>
                  </a:lnTo>
                  <a:lnTo>
                    <a:pt x="80" y="419"/>
                  </a:lnTo>
                  <a:lnTo>
                    <a:pt x="76" y="419"/>
                  </a:lnTo>
                  <a:lnTo>
                    <a:pt x="76" y="415"/>
                  </a:lnTo>
                  <a:lnTo>
                    <a:pt x="76" y="419"/>
                  </a:lnTo>
                  <a:lnTo>
                    <a:pt x="80" y="419"/>
                  </a:lnTo>
                  <a:close/>
                  <a:moveTo>
                    <a:pt x="1105" y="399"/>
                  </a:moveTo>
                  <a:lnTo>
                    <a:pt x="1109" y="399"/>
                  </a:lnTo>
                  <a:lnTo>
                    <a:pt x="1109" y="403"/>
                  </a:lnTo>
                  <a:lnTo>
                    <a:pt x="1105" y="403"/>
                  </a:lnTo>
                  <a:lnTo>
                    <a:pt x="1101" y="403"/>
                  </a:lnTo>
                  <a:lnTo>
                    <a:pt x="1105" y="399"/>
                  </a:lnTo>
                  <a:close/>
                  <a:moveTo>
                    <a:pt x="28" y="403"/>
                  </a:moveTo>
                  <a:lnTo>
                    <a:pt x="24" y="403"/>
                  </a:lnTo>
                  <a:lnTo>
                    <a:pt x="28" y="403"/>
                  </a:lnTo>
                  <a:lnTo>
                    <a:pt x="28" y="399"/>
                  </a:lnTo>
                  <a:lnTo>
                    <a:pt x="32" y="403"/>
                  </a:lnTo>
                  <a:lnTo>
                    <a:pt x="28" y="403"/>
                  </a:lnTo>
                  <a:close/>
                  <a:moveTo>
                    <a:pt x="690" y="403"/>
                  </a:moveTo>
                  <a:lnTo>
                    <a:pt x="690" y="407"/>
                  </a:lnTo>
                  <a:lnTo>
                    <a:pt x="686" y="411"/>
                  </a:lnTo>
                  <a:lnTo>
                    <a:pt x="686" y="407"/>
                  </a:lnTo>
                  <a:lnTo>
                    <a:pt x="686" y="403"/>
                  </a:lnTo>
                  <a:lnTo>
                    <a:pt x="682" y="403"/>
                  </a:lnTo>
                  <a:lnTo>
                    <a:pt x="682" y="407"/>
                  </a:lnTo>
                  <a:lnTo>
                    <a:pt x="682" y="403"/>
                  </a:lnTo>
                  <a:lnTo>
                    <a:pt x="682" y="399"/>
                  </a:lnTo>
                  <a:lnTo>
                    <a:pt x="686" y="399"/>
                  </a:lnTo>
                  <a:lnTo>
                    <a:pt x="686" y="403"/>
                  </a:lnTo>
                  <a:lnTo>
                    <a:pt x="690" y="403"/>
                  </a:lnTo>
                  <a:close/>
                  <a:moveTo>
                    <a:pt x="1113" y="403"/>
                  </a:moveTo>
                  <a:lnTo>
                    <a:pt x="1109" y="403"/>
                  </a:lnTo>
                  <a:lnTo>
                    <a:pt x="1113" y="403"/>
                  </a:lnTo>
                  <a:lnTo>
                    <a:pt x="1117" y="403"/>
                  </a:lnTo>
                  <a:lnTo>
                    <a:pt x="1113" y="403"/>
                  </a:lnTo>
                  <a:close/>
                  <a:moveTo>
                    <a:pt x="606" y="403"/>
                  </a:moveTo>
                  <a:lnTo>
                    <a:pt x="606" y="407"/>
                  </a:lnTo>
                  <a:lnTo>
                    <a:pt x="602" y="407"/>
                  </a:lnTo>
                  <a:lnTo>
                    <a:pt x="602" y="403"/>
                  </a:lnTo>
                  <a:lnTo>
                    <a:pt x="598" y="403"/>
                  </a:lnTo>
                  <a:lnTo>
                    <a:pt x="602" y="403"/>
                  </a:lnTo>
                  <a:lnTo>
                    <a:pt x="606" y="403"/>
                  </a:lnTo>
                  <a:close/>
                  <a:moveTo>
                    <a:pt x="965" y="407"/>
                  </a:moveTo>
                  <a:lnTo>
                    <a:pt x="969" y="407"/>
                  </a:lnTo>
                  <a:lnTo>
                    <a:pt x="973" y="407"/>
                  </a:lnTo>
                  <a:lnTo>
                    <a:pt x="973" y="411"/>
                  </a:lnTo>
                  <a:lnTo>
                    <a:pt x="969" y="411"/>
                  </a:lnTo>
                  <a:lnTo>
                    <a:pt x="969" y="415"/>
                  </a:lnTo>
                  <a:lnTo>
                    <a:pt x="965" y="415"/>
                  </a:lnTo>
                  <a:lnTo>
                    <a:pt x="961" y="411"/>
                  </a:lnTo>
                  <a:lnTo>
                    <a:pt x="961" y="407"/>
                  </a:lnTo>
                  <a:lnTo>
                    <a:pt x="965" y="407"/>
                  </a:lnTo>
                  <a:close/>
                  <a:moveTo>
                    <a:pt x="945" y="407"/>
                  </a:moveTo>
                  <a:lnTo>
                    <a:pt x="949" y="407"/>
                  </a:lnTo>
                  <a:lnTo>
                    <a:pt x="949" y="411"/>
                  </a:lnTo>
                  <a:lnTo>
                    <a:pt x="945" y="411"/>
                  </a:lnTo>
                  <a:lnTo>
                    <a:pt x="945" y="415"/>
                  </a:lnTo>
                  <a:lnTo>
                    <a:pt x="941" y="419"/>
                  </a:lnTo>
                  <a:lnTo>
                    <a:pt x="937" y="419"/>
                  </a:lnTo>
                  <a:lnTo>
                    <a:pt x="937" y="423"/>
                  </a:lnTo>
                  <a:lnTo>
                    <a:pt x="933" y="423"/>
                  </a:lnTo>
                  <a:lnTo>
                    <a:pt x="933" y="419"/>
                  </a:lnTo>
                  <a:lnTo>
                    <a:pt x="933" y="415"/>
                  </a:lnTo>
                  <a:lnTo>
                    <a:pt x="937" y="415"/>
                  </a:lnTo>
                  <a:lnTo>
                    <a:pt x="941" y="415"/>
                  </a:lnTo>
                  <a:lnTo>
                    <a:pt x="941" y="411"/>
                  </a:lnTo>
                  <a:lnTo>
                    <a:pt x="941" y="407"/>
                  </a:lnTo>
                  <a:lnTo>
                    <a:pt x="945" y="407"/>
                  </a:lnTo>
                  <a:close/>
                  <a:moveTo>
                    <a:pt x="594" y="423"/>
                  </a:moveTo>
                  <a:lnTo>
                    <a:pt x="594" y="427"/>
                  </a:lnTo>
                  <a:lnTo>
                    <a:pt x="594" y="431"/>
                  </a:lnTo>
                  <a:lnTo>
                    <a:pt x="590" y="431"/>
                  </a:lnTo>
                  <a:lnTo>
                    <a:pt x="590" y="427"/>
                  </a:lnTo>
                  <a:lnTo>
                    <a:pt x="586" y="427"/>
                  </a:lnTo>
                  <a:lnTo>
                    <a:pt x="586" y="423"/>
                  </a:lnTo>
                  <a:lnTo>
                    <a:pt x="590" y="423"/>
                  </a:lnTo>
                  <a:lnTo>
                    <a:pt x="594" y="423"/>
                  </a:lnTo>
                  <a:close/>
                  <a:moveTo>
                    <a:pt x="997" y="427"/>
                  </a:moveTo>
                  <a:lnTo>
                    <a:pt x="1001" y="431"/>
                  </a:lnTo>
                  <a:lnTo>
                    <a:pt x="1001" y="435"/>
                  </a:lnTo>
                  <a:lnTo>
                    <a:pt x="997" y="435"/>
                  </a:lnTo>
                  <a:lnTo>
                    <a:pt x="993" y="435"/>
                  </a:lnTo>
                  <a:lnTo>
                    <a:pt x="993" y="431"/>
                  </a:lnTo>
                  <a:lnTo>
                    <a:pt x="993" y="427"/>
                  </a:lnTo>
                  <a:lnTo>
                    <a:pt x="997" y="427"/>
                  </a:lnTo>
                  <a:close/>
                  <a:moveTo>
                    <a:pt x="1001" y="427"/>
                  </a:moveTo>
                  <a:lnTo>
                    <a:pt x="1005" y="427"/>
                  </a:lnTo>
                  <a:lnTo>
                    <a:pt x="1005" y="431"/>
                  </a:lnTo>
                  <a:lnTo>
                    <a:pt x="1001" y="431"/>
                  </a:lnTo>
                  <a:lnTo>
                    <a:pt x="1001" y="427"/>
                  </a:lnTo>
                  <a:close/>
                  <a:moveTo>
                    <a:pt x="941" y="435"/>
                  </a:moveTo>
                  <a:lnTo>
                    <a:pt x="941" y="431"/>
                  </a:lnTo>
                  <a:lnTo>
                    <a:pt x="937" y="431"/>
                  </a:lnTo>
                  <a:lnTo>
                    <a:pt x="941" y="431"/>
                  </a:lnTo>
                  <a:lnTo>
                    <a:pt x="941" y="427"/>
                  </a:lnTo>
                  <a:lnTo>
                    <a:pt x="945" y="427"/>
                  </a:lnTo>
                  <a:lnTo>
                    <a:pt x="945" y="431"/>
                  </a:lnTo>
                  <a:lnTo>
                    <a:pt x="941" y="431"/>
                  </a:lnTo>
                  <a:lnTo>
                    <a:pt x="945" y="431"/>
                  </a:lnTo>
                  <a:lnTo>
                    <a:pt x="941" y="431"/>
                  </a:lnTo>
                  <a:lnTo>
                    <a:pt x="941" y="435"/>
                  </a:lnTo>
                  <a:close/>
                  <a:moveTo>
                    <a:pt x="550" y="431"/>
                  </a:moveTo>
                  <a:lnTo>
                    <a:pt x="554" y="431"/>
                  </a:lnTo>
                  <a:lnTo>
                    <a:pt x="554" y="435"/>
                  </a:lnTo>
                  <a:lnTo>
                    <a:pt x="550" y="435"/>
                  </a:lnTo>
                  <a:lnTo>
                    <a:pt x="546" y="435"/>
                  </a:lnTo>
                  <a:lnTo>
                    <a:pt x="546" y="431"/>
                  </a:lnTo>
                  <a:lnTo>
                    <a:pt x="542" y="431"/>
                  </a:lnTo>
                  <a:lnTo>
                    <a:pt x="546" y="431"/>
                  </a:lnTo>
                  <a:lnTo>
                    <a:pt x="550" y="431"/>
                  </a:lnTo>
                  <a:close/>
                  <a:moveTo>
                    <a:pt x="1009" y="431"/>
                  </a:moveTo>
                  <a:lnTo>
                    <a:pt x="1009" y="435"/>
                  </a:lnTo>
                  <a:lnTo>
                    <a:pt x="1013" y="435"/>
                  </a:lnTo>
                  <a:lnTo>
                    <a:pt x="1013" y="439"/>
                  </a:lnTo>
                  <a:lnTo>
                    <a:pt x="1009" y="439"/>
                  </a:lnTo>
                  <a:lnTo>
                    <a:pt x="1009" y="435"/>
                  </a:lnTo>
                  <a:lnTo>
                    <a:pt x="1009" y="431"/>
                  </a:lnTo>
                  <a:close/>
                  <a:moveTo>
                    <a:pt x="937" y="435"/>
                  </a:moveTo>
                  <a:lnTo>
                    <a:pt x="941" y="435"/>
                  </a:lnTo>
                  <a:lnTo>
                    <a:pt x="941" y="439"/>
                  </a:lnTo>
                  <a:lnTo>
                    <a:pt x="937" y="439"/>
                  </a:lnTo>
                  <a:lnTo>
                    <a:pt x="933" y="439"/>
                  </a:lnTo>
                  <a:lnTo>
                    <a:pt x="933" y="435"/>
                  </a:lnTo>
                  <a:lnTo>
                    <a:pt x="937" y="435"/>
                  </a:lnTo>
                  <a:close/>
                  <a:moveTo>
                    <a:pt x="973" y="467"/>
                  </a:moveTo>
                  <a:lnTo>
                    <a:pt x="969" y="463"/>
                  </a:lnTo>
                  <a:lnTo>
                    <a:pt x="965" y="463"/>
                  </a:lnTo>
                  <a:lnTo>
                    <a:pt x="965" y="459"/>
                  </a:lnTo>
                  <a:lnTo>
                    <a:pt x="965" y="455"/>
                  </a:lnTo>
                  <a:lnTo>
                    <a:pt x="965" y="451"/>
                  </a:lnTo>
                  <a:lnTo>
                    <a:pt x="965" y="447"/>
                  </a:lnTo>
                  <a:lnTo>
                    <a:pt x="969" y="439"/>
                  </a:lnTo>
                  <a:lnTo>
                    <a:pt x="973" y="439"/>
                  </a:lnTo>
                  <a:lnTo>
                    <a:pt x="981" y="435"/>
                  </a:lnTo>
                  <a:lnTo>
                    <a:pt x="985" y="435"/>
                  </a:lnTo>
                  <a:lnTo>
                    <a:pt x="989" y="435"/>
                  </a:lnTo>
                  <a:lnTo>
                    <a:pt x="993" y="439"/>
                  </a:lnTo>
                  <a:lnTo>
                    <a:pt x="997" y="439"/>
                  </a:lnTo>
                  <a:lnTo>
                    <a:pt x="997" y="443"/>
                  </a:lnTo>
                  <a:lnTo>
                    <a:pt x="997" y="447"/>
                  </a:lnTo>
                  <a:lnTo>
                    <a:pt x="997" y="451"/>
                  </a:lnTo>
                  <a:lnTo>
                    <a:pt x="997" y="455"/>
                  </a:lnTo>
                  <a:lnTo>
                    <a:pt x="997" y="459"/>
                  </a:lnTo>
                  <a:lnTo>
                    <a:pt x="993" y="463"/>
                  </a:lnTo>
                  <a:lnTo>
                    <a:pt x="989" y="463"/>
                  </a:lnTo>
                  <a:lnTo>
                    <a:pt x="985" y="463"/>
                  </a:lnTo>
                  <a:lnTo>
                    <a:pt x="981" y="463"/>
                  </a:lnTo>
                  <a:lnTo>
                    <a:pt x="977" y="463"/>
                  </a:lnTo>
                  <a:lnTo>
                    <a:pt x="977" y="467"/>
                  </a:lnTo>
                  <a:lnTo>
                    <a:pt x="973" y="467"/>
                  </a:lnTo>
                  <a:close/>
                  <a:moveTo>
                    <a:pt x="825" y="439"/>
                  </a:moveTo>
                  <a:lnTo>
                    <a:pt x="825" y="443"/>
                  </a:lnTo>
                  <a:lnTo>
                    <a:pt x="825" y="447"/>
                  </a:lnTo>
                  <a:lnTo>
                    <a:pt x="825" y="451"/>
                  </a:lnTo>
                  <a:lnTo>
                    <a:pt x="821" y="451"/>
                  </a:lnTo>
                  <a:lnTo>
                    <a:pt x="817" y="451"/>
                  </a:lnTo>
                  <a:lnTo>
                    <a:pt x="817" y="447"/>
                  </a:lnTo>
                  <a:lnTo>
                    <a:pt x="817" y="443"/>
                  </a:lnTo>
                  <a:lnTo>
                    <a:pt x="817" y="439"/>
                  </a:lnTo>
                  <a:lnTo>
                    <a:pt x="821" y="439"/>
                  </a:lnTo>
                  <a:lnTo>
                    <a:pt x="821" y="435"/>
                  </a:lnTo>
                  <a:lnTo>
                    <a:pt x="825" y="439"/>
                  </a:lnTo>
                  <a:close/>
                  <a:moveTo>
                    <a:pt x="1141" y="439"/>
                  </a:moveTo>
                  <a:lnTo>
                    <a:pt x="1141" y="443"/>
                  </a:lnTo>
                  <a:lnTo>
                    <a:pt x="1141" y="439"/>
                  </a:lnTo>
                  <a:close/>
                  <a:moveTo>
                    <a:pt x="1017" y="443"/>
                  </a:moveTo>
                  <a:lnTo>
                    <a:pt x="1021" y="443"/>
                  </a:lnTo>
                  <a:lnTo>
                    <a:pt x="1021" y="447"/>
                  </a:lnTo>
                  <a:lnTo>
                    <a:pt x="1025" y="451"/>
                  </a:lnTo>
                  <a:lnTo>
                    <a:pt x="1021" y="451"/>
                  </a:lnTo>
                  <a:lnTo>
                    <a:pt x="1017" y="451"/>
                  </a:lnTo>
                  <a:lnTo>
                    <a:pt x="1013" y="451"/>
                  </a:lnTo>
                  <a:lnTo>
                    <a:pt x="1009" y="451"/>
                  </a:lnTo>
                  <a:lnTo>
                    <a:pt x="1005" y="451"/>
                  </a:lnTo>
                  <a:lnTo>
                    <a:pt x="1005" y="447"/>
                  </a:lnTo>
                  <a:lnTo>
                    <a:pt x="1001" y="447"/>
                  </a:lnTo>
                  <a:lnTo>
                    <a:pt x="1001" y="443"/>
                  </a:lnTo>
                  <a:lnTo>
                    <a:pt x="1005" y="443"/>
                  </a:lnTo>
                  <a:lnTo>
                    <a:pt x="1009" y="443"/>
                  </a:lnTo>
                  <a:lnTo>
                    <a:pt x="1009" y="439"/>
                  </a:lnTo>
                  <a:lnTo>
                    <a:pt x="1009" y="443"/>
                  </a:lnTo>
                  <a:lnTo>
                    <a:pt x="1013" y="443"/>
                  </a:lnTo>
                  <a:lnTo>
                    <a:pt x="1017" y="443"/>
                  </a:lnTo>
                  <a:close/>
                  <a:moveTo>
                    <a:pt x="486" y="447"/>
                  </a:moveTo>
                  <a:lnTo>
                    <a:pt x="482" y="447"/>
                  </a:lnTo>
                  <a:lnTo>
                    <a:pt x="486" y="447"/>
                  </a:lnTo>
                  <a:close/>
                  <a:moveTo>
                    <a:pt x="454" y="447"/>
                  </a:moveTo>
                  <a:lnTo>
                    <a:pt x="450" y="447"/>
                  </a:lnTo>
                  <a:lnTo>
                    <a:pt x="454" y="447"/>
                  </a:lnTo>
                  <a:close/>
                  <a:moveTo>
                    <a:pt x="494" y="459"/>
                  </a:moveTo>
                  <a:lnTo>
                    <a:pt x="490" y="459"/>
                  </a:lnTo>
                  <a:lnTo>
                    <a:pt x="490" y="455"/>
                  </a:lnTo>
                  <a:lnTo>
                    <a:pt x="494" y="455"/>
                  </a:lnTo>
                  <a:lnTo>
                    <a:pt x="494" y="459"/>
                  </a:lnTo>
                  <a:close/>
                  <a:moveTo>
                    <a:pt x="502" y="459"/>
                  </a:moveTo>
                  <a:lnTo>
                    <a:pt x="502" y="463"/>
                  </a:lnTo>
                  <a:lnTo>
                    <a:pt x="498" y="463"/>
                  </a:lnTo>
                  <a:lnTo>
                    <a:pt x="498" y="459"/>
                  </a:lnTo>
                  <a:lnTo>
                    <a:pt x="502" y="459"/>
                  </a:lnTo>
                  <a:close/>
                  <a:moveTo>
                    <a:pt x="1180" y="471"/>
                  </a:moveTo>
                  <a:lnTo>
                    <a:pt x="1184" y="471"/>
                  </a:lnTo>
                  <a:lnTo>
                    <a:pt x="1184" y="467"/>
                  </a:lnTo>
                  <a:lnTo>
                    <a:pt x="1188" y="467"/>
                  </a:lnTo>
                  <a:lnTo>
                    <a:pt x="1184" y="467"/>
                  </a:lnTo>
                  <a:lnTo>
                    <a:pt x="1184" y="471"/>
                  </a:lnTo>
                  <a:lnTo>
                    <a:pt x="1180" y="471"/>
                  </a:lnTo>
                  <a:close/>
                  <a:moveTo>
                    <a:pt x="1121" y="487"/>
                  </a:moveTo>
                  <a:lnTo>
                    <a:pt x="1125" y="487"/>
                  </a:lnTo>
                  <a:lnTo>
                    <a:pt x="1125" y="491"/>
                  </a:lnTo>
                  <a:lnTo>
                    <a:pt x="1121" y="487"/>
                  </a:lnTo>
                  <a:close/>
                  <a:moveTo>
                    <a:pt x="877" y="491"/>
                  </a:moveTo>
                  <a:lnTo>
                    <a:pt x="873" y="491"/>
                  </a:lnTo>
                  <a:lnTo>
                    <a:pt x="873" y="487"/>
                  </a:lnTo>
                  <a:lnTo>
                    <a:pt x="873" y="491"/>
                  </a:lnTo>
                  <a:lnTo>
                    <a:pt x="877" y="491"/>
                  </a:lnTo>
                  <a:close/>
                  <a:moveTo>
                    <a:pt x="865" y="499"/>
                  </a:moveTo>
                  <a:lnTo>
                    <a:pt x="865" y="503"/>
                  </a:lnTo>
                  <a:lnTo>
                    <a:pt x="869" y="503"/>
                  </a:lnTo>
                  <a:lnTo>
                    <a:pt x="873" y="503"/>
                  </a:lnTo>
                  <a:lnTo>
                    <a:pt x="873" y="507"/>
                  </a:lnTo>
                  <a:lnTo>
                    <a:pt x="869" y="507"/>
                  </a:lnTo>
                  <a:lnTo>
                    <a:pt x="865" y="507"/>
                  </a:lnTo>
                  <a:lnTo>
                    <a:pt x="865" y="503"/>
                  </a:lnTo>
                  <a:lnTo>
                    <a:pt x="861" y="503"/>
                  </a:lnTo>
                  <a:lnTo>
                    <a:pt x="861" y="499"/>
                  </a:lnTo>
                  <a:lnTo>
                    <a:pt x="857" y="499"/>
                  </a:lnTo>
                  <a:lnTo>
                    <a:pt x="857" y="495"/>
                  </a:lnTo>
                  <a:lnTo>
                    <a:pt x="853" y="495"/>
                  </a:lnTo>
                  <a:lnTo>
                    <a:pt x="857" y="495"/>
                  </a:lnTo>
                  <a:lnTo>
                    <a:pt x="861" y="495"/>
                  </a:lnTo>
                  <a:lnTo>
                    <a:pt x="865" y="499"/>
                  </a:lnTo>
                  <a:close/>
                  <a:moveTo>
                    <a:pt x="849" y="499"/>
                  </a:moveTo>
                  <a:lnTo>
                    <a:pt x="849" y="503"/>
                  </a:lnTo>
                  <a:lnTo>
                    <a:pt x="853" y="503"/>
                  </a:lnTo>
                  <a:lnTo>
                    <a:pt x="853" y="507"/>
                  </a:lnTo>
                  <a:lnTo>
                    <a:pt x="849" y="511"/>
                  </a:lnTo>
                  <a:lnTo>
                    <a:pt x="849" y="507"/>
                  </a:lnTo>
                  <a:lnTo>
                    <a:pt x="845" y="503"/>
                  </a:lnTo>
                  <a:lnTo>
                    <a:pt x="845" y="499"/>
                  </a:lnTo>
                  <a:lnTo>
                    <a:pt x="845" y="495"/>
                  </a:lnTo>
                  <a:lnTo>
                    <a:pt x="849" y="499"/>
                  </a:lnTo>
                  <a:close/>
                  <a:moveTo>
                    <a:pt x="825" y="531"/>
                  </a:moveTo>
                  <a:lnTo>
                    <a:pt x="829" y="531"/>
                  </a:lnTo>
                  <a:lnTo>
                    <a:pt x="829" y="527"/>
                  </a:lnTo>
                  <a:lnTo>
                    <a:pt x="829" y="523"/>
                  </a:lnTo>
                  <a:lnTo>
                    <a:pt x="829" y="519"/>
                  </a:lnTo>
                  <a:lnTo>
                    <a:pt x="829" y="515"/>
                  </a:lnTo>
                  <a:lnTo>
                    <a:pt x="829" y="511"/>
                  </a:lnTo>
                  <a:lnTo>
                    <a:pt x="833" y="503"/>
                  </a:lnTo>
                  <a:lnTo>
                    <a:pt x="837" y="503"/>
                  </a:lnTo>
                  <a:lnTo>
                    <a:pt x="837" y="499"/>
                  </a:lnTo>
                  <a:lnTo>
                    <a:pt x="841" y="499"/>
                  </a:lnTo>
                  <a:lnTo>
                    <a:pt x="841" y="503"/>
                  </a:lnTo>
                  <a:lnTo>
                    <a:pt x="837" y="503"/>
                  </a:lnTo>
                  <a:lnTo>
                    <a:pt x="841" y="503"/>
                  </a:lnTo>
                  <a:lnTo>
                    <a:pt x="845" y="503"/>
                  </a:lnTo>
                  <a:lnTo>
                    <a:pt x="845" y="507"/>
                  </a:lnTo>
                  <a:lnTo>
                    <a:pt x="845" y="511"/>
                  </a:lnTo>
                  <a:lnTo>
                    <a:pt x="841" y="507"/>
                  </a:lnTo>
                  <a:lnTo>
                    <a:pt x="841" y="511"/>
                  </a:lnTo>
                  <a:lnTo>
                    <a:pt x="845" y="511"/>
                  </a:lnTo>
                  <a:lnTo>
                    <a:pt x="845" y="515"/>
                  </a:lnTo>
                  <a:lnTo>
                    <a:pt x="849" y="519"/>
                  </a:lnTo>
                  <a:lnTo>
                    <a:pt x="849" y="515"/>
                  </a:lnTo>
                  <a:lnTo>
                    <a:pt x="853" y="511"/>
                  </a:lnTo>
                  <a:lnTo>
                    <a:pt x="857" y="511"/>
                  </a:lnTo>
                  <a:lnTo>
                    <a:pt x="857" y="515"/>
                  </a:lnTo>
                  <a:lnTo>
                    <a:pt x="861" y="515"/>
                  </a:lnTo>
                  <a:lnTo>
                    <a:pt x="857" y="515"/>
                  </a:lnTo>
                  <a:lnTo>
                    <a:pt x="861" y="519"/>
                  </a:lnTo>
                  <a:lnTo>
                    <a:pt x="865" y="519"/>
                  </a:lnTo>
                  <a:lnTo>
                    <a:pt x="869" y="519"/>
                  </a:lnTo>
                  <a:lnTo>
                    <a:pt x="873" y="519"/>
                  </a:lnTo>
                  <a:lnTo>
                    <a:pt x="873" y="523"/>
                  </a:lnTo>
                  <a:lnTo>
                    <a:pt x="877" y="527"/>
                  </a:lnTo>
                  <a:lnTo>
                    <a:pt x="881" y="527"/>
                  </a:lnTo>
                  <a:lnTo>
                    <a:pt x="881" y="531"/>
                  </a:lnTo>
                  <a:lnTo>
                    <a:pt x="885" y="531"/>
                  </a:lnTo>
                  <a:lnTo>
                    <a:pt x="889" y="531"/>
                  </a:lnTo>
                  <a:lnTo>
                    <a:pt x="893" y="531"/>
                  </a:lnTo>
                  <a:lnTo>
                    <a:pt x="893" y="535"/>
                  </a:lnTo>
                  <a:lnTo>
                    <a:pt x="897" y="535"/>
                  </a:lnTo>
                  <a:lnTo>
                    <a:pt x="897" y="539"/>
                  </a:lnTo>
                  <a:lnTo>
                    <a:pt x="897" y="543"/>
                  </a:lnTo>
                  <a:lnTo>
                    <a:pt x="897" y="547"/>
                  </a:lnTo>
                  <a:lnTo>
                    <a:pt x="893" y="547"/>
                  </a:lnTo>
                  <a:lnTo>
                    <a:pt x="893" y="551"/>
                  </a:lnTo>
                  <a:lnTo>
                    <a:pt x="897" y="547"/>
                  </a:lnTo>
                  <a:lnTo>
                    <a:pt x="901" y="547"/>
                  </a:lnTo>
                  <a:lnTo>
                    <a:pt x="905" y="547"/>
                  </a:lnTo>
                  <a:lnTo>
                    <a:pt x="909" y="551"/>
                  </a:lnTo>
                  <a:lnTo>
                    <a:pt x="909" y="547"/>
                  </a:lnTo>
                  <a:lnTo>
                    <a:pt x="913" y="547"/>
                  </a:lnTo>
                  <a:lnTo>
                    <a:pt x="913" y="551"/>
                  </a:lnTo>
                  <a:lnTo>
                    <a:pt x="917" y="551"/>
                  </a:lnTo>
                  <a:lnTo>
                    <a:pt x="913" y="551"/>
                  </a:lnTo>
                  <a:lnTo>
                    <a:pt x="917" y="551"/>
                  </a:lnTo>
                  <a:lnTo>
                    <a:pt x="917" y="555"/>
                  </a:lnTo>
                  <a:lnTo>
                    <a:pt x="921" y="555"/>
                  </a:lnTo>
                  <a:lnTo>
                    <a:pt x="917" y="555"/>
                  </a:lnTo>
                  <a:lnTo>
                    <a:pt x="913" y="559"/>
                  </a:lnTo>
                  <a:lnTo>
                    <a:pt x="909" y="559"/>
                  </a:lnTo>
                  <a:lnTo>
                    <a:pt x="909" y="563"/>
                  </a:lnTo>
                  <a:lnTo>
                    <a:pt x="905" y="563"/>
                  </a:lnTo>
                  <a:lnTo>
                    <a:pt x="901" y="563"/>
                  </a:lnTo>
                  <a:lnTo>
                    <a:pt x="897" y="559"/>
                  </a:lnTo>
                  <a:lnTo>
                    <a:pt x="893" y="559"/>
                  </a:lnTo>
                  <a:lnTo>
                    <a:pt x="893" y="555"/>
                  </a:lnTo>
                  <a:lnTo>
                    <a:pt x="889" y="555"/>
                  </a:lnTo>
                  <a:lnTo>
                    <a:pt x="889" y="559"/>
                  </a:lnTo>
                  <a:lnTo>
                    <a:pt x="885" y="559"/>
                  </a:lnTo>
                  <a:lnTo>
                    <a:pt x="885" y="555"/>
                  </a:lnTo>
                  <a:lnTo>
                    <a:pt x="885" y="551"/>
                  </a:lnTo>
                  <a:lnTo>
                    <a:pt x="881" y="551"/>
                  </a:lnTo>
                  <a:lnTo>
                    <a:pt x="877" y="551"/>
                  </a:lnTo>
                  <a:lnTo>
                    <a:pt x="873" y="547"/>
                  </a:lnTo>
                  <a:lnTo>
                    <a:pt x="877" y="547"/>
                  </a:lnTo>
                  <a:lnTo>
                    <a:pt x="877" y="543"/>
                  </a:lnTo>
                  <a:lnTo>
                    <a:pt x="873" y="543"/>
                  </a:lnTo>
                  <a:lnTo>
                    <a:pt x="873" y="547"/>
                  </a:lnTo>
                  <a:lnTo>
                    <a:pt x="869" y="547"/>
                  </a:lnTo>
                  <a:lnTo>
                    <a:pt x="865" y="547"/>
                  </a:lnTo>
                  <a:lnTo>
                    <a:pt x="865" y="551"/>
                  </a:lnTo>
                  <a:lnTo>
                    <a:pt x="869" y="551"/>
                  </a:lnTo>
                  <a:lnTo>
                    <a:pt x="869" y="555"/>
                  </a:lnTo>
                  <a:lnTo>
                    <a:pt x="865" y="555"/>
                  </a:lnTo>
                  <a:lnTo>
                    <a:pt x="861" y="559"/>
                  </a:lnTo>
                  <a:lnTo>
                    <a:pt x="857" y="559"/>
                  </a:lnTo>
                  <a:lnTo>
                    <a:pt x="857" y="563"/>
                  </a:lnTo>
                  <a:lnTo>
                    <a:pt x="853" y="563"/>
                  </a:lnTo>
                  <a:lnTo>
                    <a:pt x="853" y="567"/>
                  </a:lnTo>
                  <a:lnTo>
                    <a:pt x="849" y="567"/>
                  </a:lnTo>
                  <a:lnTo>
                    <a:pt x="849" y="571"/>
                  </a:lnTo>
                  <a:lnTo>
                    <a:pt x="845" y="571"/>
                  </a:lnTo>
                  <a:lnTo>
                    <a:pt x="841" y="571"/>
                  </a:lnTo>
                  <a:lnTo>
                    <a:pt x="837" y="571"/>
                  </a:lnTo>
                  <a:lnTo>
                    <a:pt x="837" y="567"/>
                  </a:lnTo>
                  <a:lnTo>
                    <a:pt x="837" y="563"/>
                  </a:lnTo>
                  <a:lnTo>
                    <a:pt x="837" y="559"/>
                  </a:lnTo>
                  <a:lnTo>
                    <a:pt x="837" y="555"/>
                  </a:lnTo>
                  <a:lnTo>
                    <a:pt x="833" y="555"/>
                  </a:lnTo>
                  <a:lnTo>
                    <a:pt x="829" y="559"/>
                  </a:lnTo>
                  <a:lnTo>
                    <a:pt x="825" y="559"/>
                  </a:lnTo>
                  <a:lnTo>
                    <a:pt x="821" y="559"/>
                  </a:lnTo>
                  <a:lnTo>
                    <a:pt x="817" y="559"/>
                  </a:lnTo>
                  <a:lnTo>
                    <a:pt x="813" y="559"/>
                  </a:lnTo>
                  <a:lnTo>
                    <a:pt x="813" y="555"/>
                  </a:lnTo>
                  <a:lnTo>
                    <a:pt x="817" y="551"/>
                  </a:lnTo>
                  <a:lnTo>
                    <a:pt x="821" y="551"/>
                  </a:lnTo>
                  <a:lnTo>
                    <a:pt x="825" y="547"/>
                  </a:lnTo>
                  <a:lnTo>
                    <a:pt x="829" y="547"/>
                  </a:lnTo>
                  <a:lnTo>
                    <a:pt x="829" y="543"/>
                  </a:lnTo>
                  <a:lnTo>
                    <a:pt x="825" y="543"/>
                  </a:lnTo>
                  <a:lnTo>
                    <a:pt x="825" y="539"/>
                  </a:lnTo>
                  <a:lnTo>
                    <a:pt x="825" y="535"/>
                  </a:lnTo>
                  <a:lnTo>
                    <a:pt x="825" y="531"/>
                  </a:lnTo>
                  <a:close/>
                  <a:moveTo>
                    <a:pt x="873" y="503"/>
                  </a:moveTo>
                  <a:lnTo>
                    <a:pt x="869" y="503"/>
                  </a:lnTo>
                  <a:lnTo>
                    <a:pt x="869" y="499"/>
                  </a:lnTo>
                  <a:lnTo>
                    <a:pt x="873" y="499"/>
                  </a:lnTo>
                  <a:lnTo>
                    <a:pt x="873" y="503"/>
                  </a:lnTo>
                  <a:close/>
                  <a:moveTo>
                    <a:pt x="1192" y="503"/>
                  </a:moveTo>
                  <a:lnTo>
                    <a:pt x="1192" y="507"/>
                  </a:lnTo>
                  <a:lnTo>
                    <a:pt x="1192" y="503"/>
                  </a:lnTo>
                  <a:lnTo>
                    <a:pt x="1192" y="507"/>
                  </a:lnTo>
                  <a:lnTo>
                    <a:pt x="1188" y="507"/>
                  </a:lnTo>
                  <a:lnTo>
                    <a:pt x="1188" y="503"/>
                  </a:lnTo>
                  <a:lnTo>
                    <a:pt x="1192" y="503"/>
                  </a:lnTo>
                  <a:close/>
                  <a:moveTo>
                    <a:pt x="1145" y="531"/>
                  </a:moveTo>
                  <a:lnTo>
                    <a:pt x="1148" y="531"/>
                  </a:lnTo>
                  <a:lnTo>
                    <a:pt x="1145" y="535"/>
                  </a:lnTo>
                  <a:lnTo>
                    <a:pt x="1141" y="535"/>
                  </a:lnTo>
                  <a:lnTo>
                    <a:pt x="1145" y="531"/>
                  </a:lnTo>
                  <a:close/>
                  <a:moveTo>
                    <a:pt x="957" y="551"/>
                  </a:moveTo>
                  <a:lnTo>
                    <a:pt x="953" y="551"/>
                  </a:lnTo>
                  <a:lnTo>
                    <a:pt x="953" y="547"/>
                  </a:lnTo>
                  <a:lnTo>
                    <a:pt x="957" y="547"/>
                  </a:lnTo>
                  <a:lnTo>
                    <a:pt x="961" y="547"/>
                  </a:lnTo>
                  <a:lnTo>
                    <a:pt x="957" y="551"/>
                  </a:lnTo>
                  <a:close/>
                  <a:moveTo>
                    <a:pt x="1037" y="555"/>
                  </a:moveTo>
                  <a:lnTo>
                    <a:pt x="1037" y="559"/>
                  </a:lnTo>
                  <a:lnTo>
                    <a:pt x="1033" y="559"/>
                  </a:lnTo>
                  <a:lnTo>
                    <a:pt x="1037" y="555"/>
                  </a:lnTo>
                  <a:close/>
                  <a:moveTo>
                    <a:pt x="973" y="563"/>
                  </a:moveTo>
                  <a:lnTo>
                    <a:pt x="977" y="563"/>
                  </a:lnTo>
                  <a:lnTo>
                    <a:pt x="973" y="563"/>
                  </a:lnTo>
                  <a:lnTo>
                    <a:pt x="973" y="567"/>
                  </a:lnTo>
                  <a:lnTo>
                    <a:pt x="969" y="563"/>
                  </a:lnTo>
                  <a:lnTo>
                    <a:pt x="965" y="563"/>
                  </a:lnTo>
                  <a:lnTo>
                    <a:pt x="965" y="559"/>
                  </a:lnTo>
                  <a:lnTo>
                    <a:pt x="961" y="559"/>
                  </a:lnTo>
                  <a:lnTo>
                    <a:pt x="961" y="555"/>
                  </a:lnTo>
                  <a:lnTo>
                    <a:pt x="965" y="559"/>
                  </a:lnTo>
                  <a:lnTo>
                    <a:pt x="969" y="559"/>
                  </a:lnTo>
                  <a:lnTo>
                    <a:pt x="973" y="559"/>
                  </a:lnTo>
                  <a:lnTo>
                    <a:pt x="973" y="563"/>
                  </a:lnTo>
                  <a:close/>
                  <a:moveTo>
                    <a:pt x="1160" y="559"/>
                  </a:moveTo>
                  <a:lnTo>
                    <a:pt x="1160" y="563"/>
                  </a:lnTo>
                  <a:lnTo>
                    <a:pt x="1164" y="567"/>
                  </a:lnTo>
                  <a:lnTo>
                    <a:pt x="1160" y="567"/>
                  </a:lnTo>
                  <a:lnTo>
                    <a:pt x="1160" y="563"/>
                  </a:lnTo>
                  <a:lnTo>
                    <a:pt x="1156" y="559"/>
                  </a:lnTo>
                  <a:lnTo>
                    <a:pt x="1160" y="559"/>
                  </a:lnTo>
                  <a:close/>
                  <a:moveTo>
                    <a:pt x="1152" y="559"/>
                  </a:moveTo>
                  <a:lnTo>
                    <a:pt x="1152" y="563"/>
                  </a:lnTo>
                  <a:lnTo>
                    <a:pt x="1148" y="563"/>
                  </a:lnTo>
                  <a:lnTo>
                    <a:pt x="1148" y="559"/>
                  </a:lnTo>
                  <a:lnTo>
                    <a:pt x="1152" y="559"/>
                  </a:lnTo>
                  <a:close/>
                  <a:moveTo>
                    <a:pt x="949" y="563"/>
                  </a:moveTo>
                  <a:lnTo>
                    <a:pt x="953" y="563"/>
                  </a:lnTo>
                  <a:lnTo>
                    <a:pt x="957" y="563"/>
                  </a:lnTo>
                  <a:lnTo>
                    <a:pt x="961" y="567"/>
                  </a:lnTo>
                  <a:lnTo>
                    <a:pt x="961" y="571"/>
                  </a:lnTo>
                  <a:lnTo>
                    <a:pt x="957" y="571"/>
                  </a:lnTo>
                  <a:lnTo>
                    <a:pt x="953" y="571"/>
                  </a:lnTo>
                  <a:lnTo>
                    <a:pt x="949" y="567"/>
                  </a:lnTo>
                  <a:lnTo>
                    <a:pt x="945" y="567"/>
                  </a:lnTo>
                  <a:lnTo>
                    <a:pt x="945" y="563"/>
                  </a:lnTo>
                  <a:lnTo>
                    <a:pt x="949" y="563"/>
                  </a:lnTo>
                  <a:close/>
                  <a:moveTo>
                    <a:pt x="889" y="575"/>
                  </a:moveTo>
                  <a:lnTo>
                    <a:pt x="893" y="575"/>
                  </a:lnTo>
                  <a:lnTo>
                    <a:pt x="893" y="579"/>
                  </a:lnTo>
                  <a:lnTo>
                    <a:pt x="893" y="583"/>
                  </a:lnTo>
                  <a:lnTo>
                    <a:pt x="889" y="583"/>
                  </a:lnTo>
                  <a:lnTo>
                    <a:pt x="889" y="587"/>
                  </a:lnTo>
                  <a:lnTo>
                    <a:pt x="885" y="587"/>
                  </a:lnTo>
                  <a:lnTo>
                    <a:pt x="885" y="591"/>
                  </a:lnTo>
                  <a:lnTo>
                    <a:pt x="881" y="591"/>
                  </a:lnTo>
                  <a:lnTo>
                    <a:pt x="877" y="595"/>
                  </a:lnTo>
                  <a:lnTo>
                    <a:pt x="873" y="595"/>
                  </a:lnTo>
                  <a:lnTo>
                    <a:pt x="869" y="595"/>
                  </a:lnTo>
                  <a:lnTo>
                    <a:pt x="865" y="595"/>
                  </a:lnTo>
                  <a:lnTo>
                    <a:pt x="865" y="591"/>
                  </a:lnTo>
                  <a:lnTo>
                    <a:pt x="861" y="587"/>
                  </a:lnTo>
                  <a:lnTo>
                    <a:pt x="865" y="587"/>
                  </a:lnTo>
                  <a:lnTo>
                    <a:pt x="869" y="583"/>
                  </a:lnTo>
                  <a:lnTo>
                    <a:pt x="869" y="579"/>
                  </a:lnTo>
                  <a:lnTo>
                    <a:pt x="873" y="575"/>
                  </a:lnTo>
                  <a:lnTo>
                    <a:pt x="873" y="579"/>
                  </a:lnTo>
                  <a:lnTo>
                    <a:pt x="877" y="579"/>
                  </a:lnTo>
                  <a:lnTo>
                    <a:pt x="881" y="579"/>
                  </a:lnTo>
                  <a:lnTo>
                    <a:pt x="881" y="575"/>
                  </a:lnTo>
                  <a:lnTo>
                    <a:pt x="885" y="575"/>
                  </a:lnTo>
                  <a:lnTo>
                    <a:pt x="889" y="575"/>
                  </a:lnTo>
                  <a:close/>
                  <a:moveTo>
                    <a:pt x="1005" y="579"/>
                  </a:moveTo>
                  <a:lnTo>
                    <a:pt x="1009" y="583"/>
                  </a:lnTo>
                  <a:lnTo>
                    <a:pt x="1013" y="583"/>
                  </a:lnTo>
                  <a:lnTo>
                    <a:pt x="1009" y="583"/>
                  </a:lnTo>
                  <a:lnTo>
                    <a:pt x="1005" y="583"/>
                  </a:lnTo>
                  <a:lnTo>
                    <a:pt x="1005" y="579"/>
                  </a:lnTo>
                  <a:close/>
                  <a:moveTo>
                    <a:pt x="1152" y="583"/>
                  </a:moveTo>
                  <a:lnTo>
                    <a:pt x="1152" y="587"/>
                  </a:lnTo>
                  <a:lnTo>
                    <a:pt x="1148" y="587"/>
                  </a:lnTo>
                  <a:lnTo>
                    <a:pt x="1148" y="583"/>
                  </a:lnTo>
                  <a:lnTo>
                    <a:pt x="1152" y="583"/>
                  </a:lnTo>
                  <a:close/>
                  <a:moveTo>
                    <a:pt x="1160" y="587"/>
                  </a:moveTo>
                  <a:lnTo>
                    <a:pt x="1156" y="591"/>
                  </a:lnTo>
                  <a:lnTo>
                    <a:pt x="1152" y="591"/>
                  </a:lnTo>
                  <a:lnTo>
                    <a:pt x="1152" y="587"/>
                  </a:lnTo>
                  <a:lnTo>
                    <a:pt x="1148" y="587"/>
                  </a:lnTo>
                  <a:lnTo>
                    <a:pt x="1152" y="587"/>
                  </a:lnTo>
                  <a:lnTo>
                    <a:pt x="1156" y="587"/>
                  </a:lnTo>
                  <a:lnTo>
                    <a:pt x="1160" y="587"/>
                  </a:lnTo>
                  <a:close/>
                  <a:moveTo>
                    <a:pt x="929" y="603"/>
                  </a:moveTo>
                  <a:lnTo>
                    <a:pt x="929" y="606"/>
                  </a:lnTo>
                  <a:lnTo>
                    <a:pt x="925" y="610"/>
                  </a:lnTo>
                  <a:lnTo>
                    <a:pt x="925" y="606"/>
                  </a:lnTo>
                  <a:lnTo>
                    <a:pt x="921" y="606"/>
                  </a:lnTo>
                  <a:lnTo>
                    <a:pt x="917" y="603"/>
                  </a:lnTo>
                  <a:lnTo>
                    <a:pt x="917" y="599"/>
                  </a:lnTo>
                  <a:lnTo>
                    <a:pt x="917" y="595"/>
                  </a:lnTo>
                  <a:lnTo>
                    <a:pt x="921" y="595"/>
                  </a:lnTo>
                  <a:lnTo>
                    <a:pt x="921" y="591"/>
                  </a:lnTo>
                  <a:lnTo>
                    <a:pt x="925" y="591"/>
                  </a:lnTo>
                  <a:lnTo>
                    <a:pt x="929" y="591"/>
                  </a:lnTo>
                  <a:lnTo>
                    <a:pt x="929" y="587"/>
                  </a:lnTo>
                  <a:lnTo>
                    <a:pt x="929" y="591"/>
                  </a:lnTo>
                  <a:lnTo>
                    <a:pt x="933" y="591"/>
                  </a:lnTo>
                  <a:lnTo>
                    <a:pt x="933" y="595"/>
                  </a:lnTo>
                  <a:lnTo>
                    <a:pt x="933" y="599"/>
                  </a:lnTo>
                  <a:lnTo>
                    <a:pt x="929" y="603"/>
                  </a:lnTo>
                  <a:close/>
                  <a:moveTo>
                    <a:pt x="1148" y="603"/>
                  </a:moveTo>
                  <a:lnTo>
                    <a:pt x="1152" y="603"/>
                  </a:lnTo>
                  <a:lnTo>
                    <a:pt x="1152" y="606"/>
                  </a:lnTo>
                  <a:lnTo>
                    <a:pt x="1148" y="603"/>
                  </a:lnTo>
                  <a:lnTo>
                    <a:pt x="1145" y="603"/>
                  </a:lnTo>
                  <a:lnTo>
                    <a:pt x="1148" y="599"/>
                  </a:lnTo>
                  <a:lnTo>
                    <a:pt x="1148" y="603"/>
                  </a:lnTo>
                  <a:close/>
                  <a:moveTo>
                    <a:pt x="726" y="603"/>
                  </a:moveTo>
                  <a:lnTo>
                    <a:pt x="722" y="603"/>
                  </a:lnTo>
                  <a:lnTo>
                    <a:pt x="726" y="603"/>
                  </a:lnTo>
                  <a:close/>
                  <a:moveTo>
                    <a:pt x="1156" y="610"/>
                  </a:moveTo>
                  <a:lnTo>
                    <a:pt x="1152" y="610"/>
                  </a:lnTo>
                  <a:lnTo>
                    <a:pt x="1156" y="610"/>
                  </a:lnTo>
                  <a:lnTo>
                    <a:pt x="1152" y="614"/>
                  </a:lnTo>
                  <a:lnTo>
                    <a:pt x="1148" y="614"/>
                  </a:lnTo>
                  <a:lnTo>
                    <a:pt x="1148" y="610"/>
                  </a:lnTo>
                  <a:lnTo>
                    <a:pt x="1145" y="610"/>
                  </a:lnTo>
                  <a:lnTo>
                    <a:pt x="1141" y="610"/>
                  </a:lnTo>
                  <a:lnTo>
                    <a:pt x="1145" y="606"/>
                  </a:lnTo>
                  <a:lnTo>
                    <a:pt x="1148" y="606"/>
                  </a:lnTo>
                  <a:lnTo>
                    <a:pt x="1152" y="606"/>
                  </a:lnTo>
                  <a:lnTo>
                    <a:pt x="1156" y="610"/>
                  </a:lnTo>
                  <a:close/>
                  <a:moveTo>
                    <a:pt x="949" y="626"/>
                  </a:moveTo>
                  <a:lnTo>
                    <a:pt x="949" y="630"/>
                  </a:lnTo>
                  <a:lnTo>
                    <a:pt x="945" y="630"/>
                  </a:lnTo>
                  <a:lnTo>
                    <a:pt x="941" y="630"/>
                  </a:lnTo>
                  <a:lnTo>
                    <a:pt x="945" y="630"/>
                  </a:lnTo>
                  <a:lnTo>
                    <a:pt x="945" y="626"/>
                  </a:lnTo>
                  <a:lnTo>
                    <a:pt x="949" y="626"/>
                  </a:lnTo>
                  <a:close/>
                  <a:moveTo>
                    <a:pt x="1105" y="634"/>
                  </a:moveTo>
                  <a:lnTo>
                    <a:pt x="1109" y="638"/>
                  </a:lnTo>
                  <a:lnTo>
                    <a:pt x="1105" y="638"/>
                  </a:lnTo>
                  <a:lnTo>
                    <a:pt x="1105" y="642"/>
                  </a:lnTo>
                  <a:lnTo>
                    <a:pt x="1101" y="642"/>
                  </a:lnTo>
                  <a:lnTo>
                    <a:pt x="1097" y="642"/>
                  </a:lnTo>
                  <a:lnTo>
                    <a:pt x="1101" y="642"/>
                  </a:lnTo>
                  <a:lnTo>
                    <a:pt x="1101" y="638"/>
                  </a:lnTo>
                  <a:lnTo>
                    <a:pt x="1101" y="634"/>
                  </a:lnTo>
                  <a:lnTo>
                    <a:pt x="1105" y="634"/>
                  </a:lnTo>
                  <a:close/>
                  <a:moveTo>
                    <a:pt x="925" y="650"/>
                  </a:moveTo>
                  <a:lnTo>
                    <a:pt x="925" y="654"/>
                  </a:lnTo>
                  <a:lnTo>
                    <a:pt x="921" y="654"/>
                  </a:lnTo>
                  <a:lnTo>
                    <a:pt x="921" y="650"/>
                  </a:lnTo>
                  <a:lnTo>
                    <a:pt x="925" y="650"/>
                  </a:lnTo>
                  <a:close/>
                  <a:moveTo>
                    <a:pt x="1085" y="670"/>
                  </a:moveTo>
                  <a:lnTo>
                    <a:pt x="1085" y="674"/>
                  </a:lnTo>
                  <a:lnTo>
                    <a:pt x="1085" y="670"/>
                  </a:lnTo>
                  <a:close/>
                  <a:moveTo>
                    <a:pt x="1196" y="698"/>
                  </a:moveTo>
                  <a:lnTo>
                    <a:pt x="1196" y="702"/>
                  </a:lnTo>
                  <a:lnTo>
                    <a:pt x="1192" y="702"/>
                  </a:lnTo>
                  <a:lnTo>
                    <a:pt x="1192" y="698"/>
                  </a:lnTo>
                  <a:lnTo>
                    <a:pt x="1196" y="698"/>
                  </a:lnTo>
                  <a:close/>
                  <a:moveTo>
                    <a:pt x="1200" y="702"/>
                  </a:moveTo>
                  <a:lnTo>
                    <a:pt x="1196" y="702"/>
                  </a:lnTo>
                  <a:lnTo>
                    <a:pt x="1196" y="698"/>
                  </a:lnTo>
                  <a:lnTo>
                    <a:pt x="1200" y="698"/>
                  </a:lnTo>
                  <a:lnTo>
                    <a:pt x="1200" y="702"/>
                  </a:lnTo>
                  <a:close/>
                  <a:moveTo>
                    <a:pt x="929" y="706"/>
                  </a:moveTo>
                  <a:lnTo>
                    <a:pt x="929" y="710"/>
                  </a:lnTo>
                  <a:lnTo>
                    <a:pt x="925" y="710"/>
                  </a:lnTo>
                  <a:lnTo>
                    <a:pt x="925" y="706"/>
                  </a:lnTo>
                  <a:lnTo>
                    <a:pt x="929" y="706"/>
                  </a:lnTo>
                  <a:close/>
                  <a:moveTo>
                    <a:pt x="1200" y="710"/>
                  </a:moveTo>
                  <a:lnTo>
                    <a:pt x="1200" y="714"/>
                  </a:lnTo>
                  <a:lnTo>
                    <a:pt x="1200" y="710"/>
                  </a:lnTo>
                  <a:close/>
                  <a:moveTo>
                    <a:pt x="1204" y="722"/>
                  </a:moveTo>
                  <a:lnTo>
                    <a:pt x="1204" y="726"/>
                  </a:lnTo>
                  <a:lnTo>
                    <a:pt x="1200" y="726"/>
                  </a:lnTo>
                  <a:lnTo>
                    <a:pt x="1204" y="726"/>
                  </a:lnTo>
                  <a:lnTo>
                    <a:pt x="1204" y="730"/>
                  </a:lnTo>
                  <a:lnTo>
                    <a:pt x="1204" y="726"/>
                  </a:lnTo>
                  <a:lnTo>
                    <a:pt x="1200" y="726"/>
                  </a:lnTo>
                  <a:lnTo>
                    <a:pt x="1200" y="722"/>
                  </a:lnTo>
                  <a:lnTo>
                    <a:pt x="1204" y="722"/>
                  </a:lnTo>
                  <a:close/>
                  <a:moveTo>
                    <a:pt x="925" y="722"/>
                  </a:moveTo>
                  <a:lnTo>
                    <a:pt x="925" y="726"/>
                  </a:lnTo>
                  <a:lnTo>
                    <a:pt x="925" y="722"/>
                  </a:lnTo>
                  <a:close/>
                  <a:moveTo>
                    <a:pt x="929" y="726"/>
                  </a:moveTo>
                  <a:lnTo>
                    <a:pt x="929" y="730"/>
                  </a:lnTo>
                  <a:lnTo>
                    <a:pt x="929" y="726"/>
                  </a:lnTo>
                  <a:close/>
                  <a:moveTo>
                    <a:pt x="925" y="750"/>
                  </a:moveTo>
                  <a:lnTo>
                    <a:pt x="925" y="746"/>
                  </a:lnTo>
                  <a:lnTo>
                    <a:pt x="929" y="746"/>
                  </a:lnTo>
                  <a:lnTo>
                    <a:pt x="929" y="742"/>
                  </a:lnTo>
                  <a:lnTo>
                    <a:pt x="925" y="746"/>
                  </a:lnTo>
                  <a:lnTo>
                    <a:pt x="921" y="746"/>
                  </a:lnTo>
                  <a:lnTo>
                    <a:pt x="925" y="746"/>
                  </a:lnTo>
                  <a:lnTo>
                    <a:pt x="925" y="742"/>
                  </a:lnTo>
                  <a:lnTo>
                    <a:pt x="929" y="738"/>
                  </a:lnTo>
                  <a:lnTo>
                    <a:pt x="929" y="734"/>
                  </a:lnTo>
                  <a:lnTo>
                    <a:pt x="929" y="730"/>
                  </a:lnTo>
                  <a:lnTo>
                    <a:pt x="933" y="730"/>
                  </a:lnTo>
                  <a:lnTo>
                    <a:pt x="933" y="734"/>
                  </a:lnTo>
                  <a:lnTo>
                    <a:pt x="929" y="738"/>
                  </a:lnTo>
                  <a:lnTo>
                    <a:pt x="933" y="738"/>
                  </a:lnTo>
                  <a:lnTo>
                    <a:pt x="933" y="734"/>
                  </a:lnTo>
                  <a:lnTo>
                    <a:pt x="933" y="730"/>
                  </a:lnTo>
                  <a:lnTo>
                    <a:pt x="937" y="730"/>
                  </a:lnTo>
                  <a:lnTo>
                    <a:pt x="937" y="734"/>
                  </a:lnTo>
                  <a:lnTo>
                    <a:pt x="941" y="734"/>
                  </a:lnTo>
                  <a:lnTo>
                    <a:pt x="937" y="738"/>
                  </a:lnTo>
                  <a:lnTo>
                    <a:pt x="937" y="742"/>
                  </a:lnTo>
                  <a:lnTo>
                    <a:pt x="937" y="746"/>
                  </a:lnTo>
                  <a:lnTo>
                    <a:pt x="933" y="746"/>
                  </a:lnTo>
                  <a:lnTo>
                    <a:pt x="937" y="746"/>
                  </a:lnTo>
                  <a:lnTo>
                    <a:pt x="937" y="742"/>
                  </a:lnTo>
                  <a:lnTo>
                    <a:pt x="937" y="738"/>
                  </a:lnTo>
                  <a:lnTo>
                    <a:pt x="937" y="734"/>
                  </a:lnTo>
                  <a:lnTo>
                    <a:pt x="937" y="738"/>
                  </a:lnTo>
                  <a:lnTo>
                    <a:pt x="933" y="746"/>
                  </a:lnTo>
                  <a:lnTo>
                    <a:pt x="937" y="742"/>
                  </a:lnTo>
                  <a:lnTo>
                    <a:pt x="937" y="738"/>
                  </a:lnTo>
                  <a:lnTo>
                    <a:pt x="933" y="738"/>
                  </a:lnTo>
                  <a:lnTo>
                    <a:pt x="933" y="742"/>
                  </a:lnTo>
                  <a:lnTo>
                    <a:pt x="933" y="746"/>
                  </a:lnTo>
                  <a:lnTo>
                    <a:pt x="929" y="746"/>
                  </a:lnTo>
                  <a:lnTo>
                    <a:pt x="925" y="750"/>
                  </a:lnTo>
                  <a:close/>
                  <a:moveTo>
                    <a:pt x="921" y="738"/>
                  </a:moveTo>
                  <a:lnTo>
                    <a:pt x="925" y="734"/>
                  </a:lnTo>
                  <a:lnTo>
                    <a:pt x="929" y="734"/>
                  </a:lnTo>
                  <a:lnTo>
                    <a:pt x="929" y="730"/>
                  </a:lnTo>
                  <a:lnTo>
                    <a:pt x="929" y="734"/>
                  </a:lnTo>
                  <a:lnTo>
                    <a:pt x="929" y="738"/>
                  </a:lnTo>
                  <a:lnTo>
                    <a:pt x="925" y="738"/>
                  </a:lnTo>
                  <a:lnTo>
                    <a:pt x="921" y="738"/>
                  </a:lnTo>
                  <a:close/>
                  <a:moveTo>
                    <a:pt x="937" y="742"/>
                  </a:moveTo>
                  <a:lnTo>
                    <a:pt x="941" y="738"/>
                  </a:lnTo>
                  <a:lnTo>
                    <a:pt x="941" y="734"/>
                  </a:lnTo>
                  <a:lnTo>
                    <a:pt x="945" y="738"/>
                  </a:lnTo>
                  <a:lnTo>
                    <a:pt x="941" y="738"/>
                  </a:lnTo>
                  <a:lnTo>
                    <a:pt x="941" y="742"/>
                  </a:lnTo>
                  <a:lnTo>
                    <a:pt x="937" y="742"/>
                  </a:lnTo>
                  <a:close/>
                  <a:moveTo>
                    <a:pt x="1200" y="734"/>
                  </a:moveTo>
                  <a:lnTo>
                    <a:pt x="1204" y="734"/>
                  </a:lnTo>
                  <a:lnTo>
                    <a:pt x="1204" y="738"/>
                  </a:lnTo>
                  <a:lnTo>
                    <a:pt x="1200" y="738"/>
                  </a:lnTo>
                  <a:lnTo>
                    <a:pt x="1200" y="734"/>
                  </a:lnTo>
                  <a:close/>
                  <a:moveTo>
                    <a:pt x="1208" y="738"/>
                  </a:moveTo>
                  <a:lnTo>
                    <a:pt x="1212" y="742"/>
                  </a:lnTo>
                  <a:lnTo>
                    <a:pt x="1208" y="742"/>
                  </a:lnTo>
                  <a:lnTo>
                    <a:pt x="1208" y="738"/>
                  </a:lnTo>
                  <a:close/>
                  <a:moveTo>
                    <a:pt x="937" y="742"/>
                  </a:moveTo>
                  <a:lnTo>
                    <a:pt x="937" y="746"/>
                  </a:lnTo>
                  <a:lnTo>
                    <a:pt x="937" y="750"/>
                  </a:lnTo>
                  <a:lnTo>
                    <a:pt x="937" y="746"/>
                  </a:lnTo>
                  <a:lnTo>
                    <a:pt x="937" y="742"/>
                  </a:lnTo>
                  <a:close/>
                  <a:moveTo>
                    <a:pt x="163" y="766"/>
                  </a:moveTo>
                  <a:lnTo>
                    <a:pt x="163" y="770"/>
                  </a:lnTo>
                  <a:lnTo>
                    <a:pt x="159" y="774"/>
                  </a:lnTo>
                  <a:lnTo>
                    <a:pt x="159" y="770"/>
                  </a:lnTo>
                  <a:lnTo>
                    <a:pt x="163" y="770"/>
                  </a:lnTo>
                  <a:lnTo>
                    <a:pt x="163" y="766"/>
                  </a:lnTo>
                  <a:close/>
                  <a:moveTo>
                    <a:pt x="937" y="770"/>
                  </a:moveTo>
                  <a:lnTo>
                    <a:pt x="933" y="770"/>
                  </a:lnTo>
                  <a:lnTo>
                    <a:pt x="929" y="770"/>
                  </a:lnTo>
                  <a:lnTo>
                    <a:pt x="925" y="774"/>
                  </a:lnTo>
                  <a:lnTo>
                    <a:pt x="925" y="770"/>
                  </a:lnTo>
                  <a:lnTo>
                    <a:pt x="929" y="770"/>
                  </a:lnTo>
                  <a:lnTo>
                    <a:pt x="933" y="770"/>
                  </a:lnTo>
                  <a:lnTo>
                    <a:pt x="937" y="770"/>
                  </a:lnTo>
                  <a:close/>
                  <a:moveTo>
                    <a:pt x="155" y="774"/>
                  </a:moveTo>
                  <a:lnTo>
                    <a:pt x="155" y="778"/>
                  </a:lnTo>
                  <a:lnTo>
                    <a:pt x="151" y="778"/>
                  </a:lnTo>
                  <a:lnTo>
                    <a:pt x="151" y="774"/>
                  </a:lnTo>
                  <a:lnTo>
                    <a:pt x="155" y="774"/>
                  </a:lnTo>
                  <a:close/>
                  <a:moveTo>
                    <a:pt x="119" y="798"/>
                  </a:moveTo>
                  <a:lnTo>
                    <a:pt x="119" y="794"/>
                  </a:lnTo>
                  <a:lnTo>
                    <a:pt x="119" y="790"/>
                  </a:lnTo>
                  <a:lnTo>
                    <a:pt x="119" y="786"/>
                  </a:lnTo>
                  <a:lnTo>
                    <a:pt x="123" y="786"/>
                  </a:lnTo>
                  <a:lnTo>
                    <a:pt x="127" y="786"/>
                  </a:lnTo>
                  <a:lnTo>
                    <a:pt x="127" y="790"/>
                  </a:lnTo>
                  <a:lnTo>
                    <a:pt x="123" y="790"/>
                  </a:lnTo>
                  <a:lnTo>
                    <a:pt x="127" y="790"/>
                  </a:lnTo>
                  <a:lnTo>
                    <a:pt x="131" y="786"/>
                  </a:lnTo>
                  <a:lnTo>
                    <a:pt x="131" y="790"/>
                  </a:lnTo>
                  <a:lnTo>
                    <a:pt x="135" y="790"/>
                  </a:lnTo>
                  <a:lnTo>
                    <a:pt x="135" y="794"/>
                  </a:lnTo>
                  <a:lnTo>
                    <a:pt x="131" y="794"/>
                  </a:lnTo>
                  <a:lnTo>
                    <a:pt x="127" y="798"/>
                  </a:lnTo>
                  <a:lnTo>
                    <a:pt x="131" y="798"/>
                  </a:lnTo>
                  <a:lnTo>
                    <a:pt x="135" y="794"/>
                  </a:lnTo>
                  <a:lnTo>
                    <a:pt x="135" y="790"/>
                  </a:lnTo>
                  <a:lnTo>
                    <a:pt x="139" y="790"/>
                  </a:lnTo>
                  <a:lnTo>
                    <a:pt x="139" y="786"/>
                  </a:lnTo>
                  <a:lnTo>
                    <a:pt x="139" y="790"/>
                  </a:lnTo>
                  <a:lnTo>
                    <a:pt x="139" y="794"/>
                  </a:lnTo>
                  <a:lnTo>
                    <a:pt x="135" y="798"/>
                  </a:lnTo>
                  <a:lnTo>
                    <a:pt x="135" y="802"/>
                  </a:lnTo>
                  <a:lnTo>
                    <a:pt x="135" y="806"/>
                  </a:lnTo>
                  <a:lnTo>
                    <a:pt x="131" y="806"/>
                  </a:lnTo>
                  <a:lnTo>
                    <a:pt x="131" y="810"/>
                  </a:lnTo>
                  <a:lnTo>
                    <a:pt x="135" y="810"/>
                  </a:lnTo>
                  <a:lnTo>
                    <a:pt x="131" y="810"/>
                  </a:lnTo>
                  <a:lnTo>
                    <a:pt x="127" y="810"/>
                  </a:lnTo>
                  <a:lnTo>
                    <a:pt x="127" y="806"/>
                  </a:lnTo>
                  <a:lnTo>
                    <a:pt x="123" y="806"/>
                  </a:lnTo>
                  <a:lnTo>
                    <a:pt x="127" y="806"/>
                  </a:lnTo>
                  <a:lnTo>
                    <a:pt x="131" y="806"/>
                  </a:lnTo>
                  <a:lnTo>
                    <a:pt x="127" y="802"/>
                  </a:lnTo>
                  <a:lnTo>
                    <a:pt x="123" y="802"/>
                  </a:lnTo>
                  <a:lnTo>
                    <a:pt x="119" y="802"/>
                  </a:lnTo>
                  <a:lnTo>
                    <a:pt x="119" y="798"/>
                  </a:lnTo>
                  <a:lnTo>
                    <a:pt x="123" y="798"/>
                  </a:lnTo>
                  <a:lnTo>
                    <a:pt x="119" y="798"/>
                  </a:lnTo>
                  <a:close/>
                  <a:moveTo>
                    <a:pt x="159" y="790"/>
                  </a:moveTo>
                  <a:lnTo>
                    <a:pt x="163" y="790"/>
                  </a:lnTo>
                  <a:lnTo>
                    <a:pt x="159" y="794"/>
                  </a:lnTo>
                  <a:lnTo>
                    <a:pt x="159" y="790"/>
                  </a:lnTo>
                  <a:lnTo>
                    <a:pt x="159" y="794"/>
                  </a:lnTo>
                  <a:lnTo>
                    <a:pt x="159" y="790"/>
                  </a:lnTo>
                  <a:lnTo>
                    <a:pt x="155" y="790"/>
                  </a:lnTo>
                  <a:lnTo>
                    <a:pt x="155" y="794"/>
                  </a:lnTo>
                  <a:lnTo>
                    <a:pt x="155" y="790"/>
                  </a:lnTo>
                  <a:lnTo>
                    <a:pt x="159" y="790"/>
                  </a:lnTo>
                  <a:lnTo>
                    <a:pt x="159" y="786"/>
                  </a:lnTo>
                  <a:lnTo>
                    <a:pt x="159" y="790"/>
                  </a:lnTo>
                  <a:close/>
                  <a:moveTo>
                    <a:pt x="163" y="794"/>
                  </a:moveTo>
                  <a:lnTo>
                    <a:pt x="163" y="798"/>
                  </a:lnTo>
                  <a:lnTo>
                    <a:pt x="163" y="802"/>
                  </a:lnTo>
                  <a:lnTo>
                    <a:pt x="163" y="798"/>
                  </a:lnTo>
                  <a:lnTo>
                    <a:pt x="159" y="798"/>
                  </a:lnTo>
                  <a:lnTo>
                    <a:pt x="163" y="794"/>
                  </a:lnTo>
                  <a:close/>
                  <a:moveTo>
                    <a:pt x="183" y="798"/>
                  </a:moveTo>
                  <a:lnTo>
                    <a:pt x="179" y="798"/>
                  </a:lnTo>
                  <a:lnTo>
                    <a:pt x="179" y="802"/>
                  </a:lnTo>
                  <a:lnTo>
                    <a:pt x="179" y="806"/>
                  </a:lnTo>
                  <a:lnTo>
                    <a:pt x="179" y="798"/>
                  </a:lnTo>
                  <a:lnTo>
                    <a:pt x="183" y="798"/>
                  </a:lnTo>
                  <a:close/>
                  <a:moveTo>
                    <a:pt x="159" y="798"/>
                  </a:moveTo>
                  <a:lnTo>
                    <a:pt x="163" y="798"/>
                  </a:lnTo>
                  <a:lnTo>
                    <a:pt x="163" y="802"/>
                  </a:lnTo>
                  <a:lnTo>
                    <a:pt x="167" y="802"/>
                  </a:lnTo>
                  <a:lnTo>
                    <a:pt x="167" y="806"/>
                  </a:lnTo>
                  <a:lnTo>
                    <a:pt x="171" y="810"/>
                  </a:lnTo>
                  <a:lnTo>
                    <a:pt x="167" y="810"/>
                  </a:lnTo>
                  <a:lnTo>
                    <a:pt x="163" y="806"/>
                  </a:lnTo>
                  <a:lnTo>
                    <a:pt x="159" y="806"/>
                  </a:lnTo>
                  <a:lnTo>
                    <a:pt x="159" y="802"/>
                  </a:lnTo>
                  <a:lnTo>
                    <a:pt x="159" y="798"/>
                  </a:lnTo>
                  <a:close/>
                  <a:moveTo>
                    <a:pt x="183" y="802"/>
                  </a:moveTo>
                  <a:lnTo>
                    <a:pt x="183" y="806"/>
                  </a:lnTo>
                  <a:lnTo>
                    <a:pt x="179" y="806"/>
                  </a:lnTo>
                  <a:lnTo>
                    <a:pt x="179" y="802"/>
                  </a:lnTo>
                  <a:lnTo>
                    <a:pt x="183" y="802"/>
                  </a:lnTo>
                  <a:close/>
                  <a:moveTo>
                    <a:pt x="925" y="806"/>
                  </a:moveTo>
                  <a:lnTo>
                    <a:pt x="921" y="806"/>
                  </a:lnTo>
                  <a:lnTo>
                    <a:pt x="925" y="806"/>
                  </a:lnTo>
                  <a:close/>
                  <a:moveTo>
                    <a:pt x="179" y="806"/>
                  </a:moveTo>
                  <a:lnTo>
                    <a:pt x="179" y="810"/>
                  </a:lnTo>
                  <a:lnTo>
                    <a:pt x="175" y="810"/>
                  </a:lnTo>
                  <a:lnTo>
                    <a:pt x="175" y="806"/>
                  </a:lnTo>
                  <a:lnTo>
                    <a:pt x="179" y="806"/>
                  </a:lnTo>
                  <a:close/>
                  <a:moveTo>
                    <a:pt x="905" y="810"/>
                  </a:moveTo>
                  <a:lnTo>
                    <a:pt x="909" y="810"/>
                  </a:lnTo>
                  <a:lnTo>
                    <a:pt x="909" y="814"/>
                  </a:lnTo>
                  <a:lnTo>
                    <a:pt x="913" y="818"/>
                  </a:lnTo>
                  <a:lnTo>
                    <a:pt x="913" y="822"/>
                  </a:lnTo>
                  <a:lnTo>
                    <a:pt x="913" y="818"/>
                  </a:lnTo>
                  <a:lnTo>
                    <a:pt x="909" y="818"/>
                  </a:lnTo>
                  <a:lnTo>
                    <a:pt x="905" y="818"/>
                  </a:lnTo>
                  <a:lnTo>
                    <a:pt x="901" y="818"/>
                  </a:lnTo>
                  <a:lnTo>
                    <a:pt x="897" y="814"/>
                  </a:lnTo>
                  <a:lnTo>
                    <a:pt x="893" y="814"/>
                  </a:lnTo>
                  <a:lnTo>
                    <a:pt x="893" y="810"/>
                  </a:lnTo>
                  <a:lnTo>
                    <a:pt x="897" y="810"/>
                  </a:lnTo>
                  <a:lnTo>
                    <a:pt x="901" y="810"/>
                  </a:lnTo>
                  <a:lnTo>
                    <a:pt x="901" y="806"/>
                  </a:lnTo>
                  <a:lnTo>
                    <a:pt x="901" y="810"/>
                  </a:lnTo>
                  <a:lnTo>
                    <a:pt x="905" y="810"/>
                  </a:lnTo>
                  <a:close/>
                  <a:moveTo>
                    <a:pt x="175" y="810"/>
                  </a:moveTo>
                  <a:lnTo>
                    <a:pt x="175" y="814"/>
                  </a:lnTo>
                  <a:lnTo>
                    <a:pt x="175" y="810"/>
                  </a:lnTo>
                  <a:lnTo>
                    <a:pt x="171" y="810"/>
                  </a:lnTo>
                  <a:lnTo>
                    <a:pt x="175" y="810"/>
                  </a:lnTo>
                  <a:close/>
                  <a:moveTo>
                    <a:pt x="179" y="818"/>
                  </a:moveTo>
                  <a:lnTo>
                    <a:pt x="183" y="822"/>
                  </a:lnTo>
                  <a:lnTo>
                    <a:pt x="183" y="826"/>
                  </a:lnTo>
                  <a:lnTo>
                    <a:pt x="179" y="822"/>
                  </a:lnTo>
                  <a:lnTo>
                    <a:pt x="175" y="818"/>
                  </a:lnTo>
                  <a:lnTo>
                    <a:pt x="179" y="818"/>
                  </a:lnTo>
                  <a:close/>
                  <a:moveTo>
                    <a:pt x="195" y="818"/>
                  </a:moveTo>
                  <a:lnTo>
                    <a:pt x="191" y="818"/>
                  </a:lnTo>
                  <a:lnTo>
                    <a:pt x="191" y="822"/>
                  </a:lnTo>
                  <a:lnTo>
                    <a:pt x="191" y="818"/>
                  </a:lnTo>
                  <a:lnTo>
                    <a:pt x="195" y="818"/>
                  </a:lnTo>
                  <a:close/>
                  <a:moveTo>
                    <a:pt x="191" y="818"/>
                  </a:moveTo>
                  <a:lnTo>
                    <a:pt x="191" y="822"/>
                  </a:lnTo>
                  <a:lnTo>
                    <a:pt x="191" y="826"/>
                  </a:lnTo>
                  <a:lnTo>
                    <a:pt x="187" y="826"/>
                  </a:lnTo>
                  <a:lnTo>
                    <a:pt x="191" y="822"/>
                  </a:lnTo>
                  <a:lnTo>
                    <a:pt x="191" y="818"/>
                  </a:lnTo>
                  <a:close/>
                  <a:moveTo>
                    <a:pt x="143" y="818"/>
                  </a:moveTo>
                  <a:lnTo>
                    <a:pt x="143" y="822"/>
                  </a:lnTo>
                  <a:lnTo>
                    <a:pt x="139" y="818"/>
                  </a:lnTo>
                  <a:lnTo>
                    <a:pt x="143" y="818"/>
                  </a:lnTo>
                  <a:close/>
                  <a:moveTo>
                    <a:pt x="187" y="822"/>
                  </a:moveTo>
                  <a:lnTo>
                    <a:pt x="187" y="826"/>
                  </a:lnTo>
                  <a:lnTo>
                    <a:pt x="183" y="826"/>
                  </a:lnTo>
                  <a:lnTo>
                    <a:pt x="183" y="822"/>
                  </a:lnTo>
                  <a:lnTo>
                    <a:pt x="187" y="822"/>
                  </a:lnTo>
                  <a:close/>
                  <a:moveTo>
                    <a:pt x="187" y="826"/>
                  </a:moveTo>
                  <a:lnTo>
                    <a:pt x="187" y="830"/>
                  </a:lnTo>
                  <a:lnTo>
                    <a:pt x="183" y="826"/>
                  </a:lnTo>
                  <a:lnTo>
                    <a:pt x="187" y="826"/>
                  </a:lnTo>
                  <a:close/>
                  <a:moveTo>
                    <a:pt x="203" y="834"/>
                  </a:moveTo>
                  <a:lnTo>
                    <a:pt x="199" y="834"/>
                  </a:lnTo>
                  <a:lnTo>
                    <a:pt x="199" y="838"/>
                  </a:lnTo>
                  <a:lnTo>
                    <a:pt x="199" y="834"/>
                  </a:lnTo>
                  <a:lnTo>
                    <a:pt x="199" y="830"/>
                  </a:lnTo>
                  <a:lnTo>
                    <a:pt x="203" y="830"/>
                  </a:lnTo>
                  <a:lnTo>
                    <a:pt x="203" y="826"/>
                  </a:lnTo>
                  <a:lnTo>
                    <a:pt x="207" y="826"/>
                  </a:lnTo>
                  <a:lnTo>
                    <a:pt x="207" y="830"/>
                  </a:lnTo>
                  <a:lnTo>
                    <a:pt x="203" y="830"/>
                  </a:lnTo>
                  <a:lnTo>
                    <a:pt x="203" y="834"/>
                  </a:lnTo>
                  <a:close/>
                  <a:moveTo>
                    <a:pt x="195" y="826"/>
                  </a:moveTo>
                  <a:lnTo>
                    <a:pt x="195" y="830"/>
                  </a:lnTo>
                  <a:lnTo>
                    <a:pt x="191" y="830"/>
                  </a:lnTo>
                  <a:lnTo>
                    <a:pt x="195" y="830"/>
                  </a:lnTo>
                  <a:lnTo>
                    <a:pt x="195" y="826"/>
                  </a:lnTo>
                  <a:close/>
                  <a:moveTo>
                    <a:pt x="151" y="834"/>
                  </a:moveTo>
                  <a:lnTo>
                    <a:pt x="151" y="838"/>
                  </a:lnTo>
                  <a:lnTo>
                    <a:pt x="147" y="834"/>
                  </a:lnTo>
                  <a:lnTo>
                    <a:pt x="151" y="834"/>
                  </a:lnTo>
                  <a:close/>
                  <a:moveTo>
                    <a:pt x="933" y="834"/>
                  </a:moveTo>
                  <a:lnTo>
                    <a:pt x="933" y="838"/>
                  </a:lnTo>
                  <a:lnTo>
                    <a:pt x="929" y="838"/>
                  </a:lnTo>
                  <a:lnTo>
                    <a:pt x="929" y="834"/>
                  </a:lnTo>
                  <a:lnTo>
                    <a:pt x="933" y="834"/>
                  </a:lnTo>
                  <a:close/>
                  <a:moveTo>
                    <a:pt x="195" y="842"/>
                  </a:moveTo>
                  <a:lnTo>
                    <a:pt x="195" y="846"/>
                  </a:lnTo>
                  <a:lnTo>
                    <a:pt x="199" y="846"/>
                  </a:lnTo>
                  <a:lnTo>
                    <a:pt x="199" y="850"/>
                  </a:lnTo>
                  <a:lnTo>
                    <a:pt x="195" y="850"/>
                  </a:lnTo>
                  <a:lnTo>
                    <a:pt x="195" y="846"/>
                  </a:lnTo>
                  <a:lnTo>
                    <a:pt x="195" y="842"/>
                  </a:lnTo>
                  <a:close/>
                  <a:moveTo>
                    <a:pt x="1272" y="934"/>
                  </a:moveTo>
                  <a:lnTo>
                    <a:pt x="1268" y="934"/>
                  </a:lnTo>
                  <a:lnTo>
                    <a:pt x="1264" y="934"/>
                  </a:lnTo>
                  <a:lnTo>
                    <a:pt x="1260" y="934"/>
                  </a:lnTo>
                  <a:lnTo>
                    <a:pt x="1256" y="934"/>
                  </a:lnTo>
                  <a:lnTo>
                    <a:pt x="1256" y="930"/>
                  </a:lnTo>
                  <a:lnTo>
                    <a:pt x="1252" y="934"/>
                  </a:lnTo>
                  <a:lnTo>
                    <a:pt x="1244" y="934"/>
                  </a:lnTo>
                  <a:lnTo>
                    <a:pt x="1240" y="934"/>
                  </a:lnTo>
                  <a:lnTo>
                    <a:pt x="1236" y="934"/>
                  </a:lnTo>
                  <a:lnTo>
                    <a:pt x="1236" y="930"/>
                  </a:lnTo>
                  <a:lnTo>
                    <a:pt x="1236" y="926"/>
                  </a:lnTo>
                  <a:lnTo>
                    <a:pt x="1240" y="922"/>
                  </a:lnTo>
                  <a:lnTo>
                    <a:pt x="1244" y="918"/>
                  </a:lnTo>
                  <a:lnTo>
                    <a:pt x="1248" y="914"/>
                  </a:lnTo>
                  <a:lnTo>
                    <a:pt x="1248" y="918"/>
                  </a:lnTo>
                  <a:lnTo>
                    <a:pt x="1248" y="914"/>
                  </a:lnTo>
                  <a:lnTo>
                    <a:pt x="1244" y="914"/>
                  </a:lnTo>
                  <a:lnTo>
                    <a:pt x="1240" y="914"/>
                  </a:lnTo>
                  <a:lnTo>
                    <a:pt x="1236" y="914"/>
                  </a:lnTo>
                  <a:lnTo>
                    <a:pt x="1240" y="910"/>
                  </a:lnTo>
                  <a:lnTo>
                    <a:pt x="1244" y="910"/>
                  </a:lnTo>
                  <a:lnTo>
                    <a:pt x="1240" y="910"/>
                  </a:lnTo>
                  <a:lnTo>
                    <a:pt x="1244" y="914"/>
                  </a:lnTo>
                  <a:lnTo>
                    <a:pt x="1244" y="910"/>
                  </a:lnTo>
                  <a:lnTo>
                    <a:pt x="1248" y="906"/>
                  </a:lnTo>
                  <a:lnTo>
                    <a:pt x="1248" y="902"/>
                  </a:lnTo>
                  <a:lnTo>
                    <a:pt x="1252" y="898"/>
                  </a:lnTo>
                  <a:lnTo>
                    <a:pt x="1252" y="902"/>
                  </a:lnTo>
                  <a:lnTo>
                    <a:pt x="1256" y="902"/>
                  </a:lnTo>
                  <a:lnTo>
                    <a:pt x="1256" y="906"/>
                  </a:lnTo>
                  <a:lnTo>
                    <a:pt x="1256" y="902"/>
                  </a:lnTo>
                  <a:lnTo>
                    <a:pt x="1252" y="902"/>
                  </a:lnTo>
                  <a:lnTo>
                    <a:pt x="1256" y="902"/>
                  </a:lnTo>
                  <a:lnTo>
                    <a:pt x="1256" y="898"/>
                  </a:lnTo>
                  <a:lnTo>
                    <a:pt x="1252" y="898"/>
                  </a:lnTo>
                  <a:lnTo>
                    <a:pt x="1252" y="894"/>
                  </a:lnTo>
                  <a:lnTo>
                    <a:pt x="1256" y="890"/>
                  </a:lnTo>
                  <a:lnTo>
                    <a:pt x="1260" y="894"/>
                  </a:lnTo>
                  <a:lnTo>
                    <a:pt x="1256" y="890"/>
                  </a:lnTo>
                  <a:lnTo>
                    <a:pt x="1256" y="886"/>
                  </a:lnTo>
                  <a:lnTo>
                    <a:pt x="1260" y="886"/>
                  </a:lnTo>
                  <a:lnTo>
                    <a:pt x="1260" y="878"/>
                  </a:lnTo>
                  <a:lnTo>
                    <a:pt x="1264" y="874"/>
                  </a:lnTo>
                  <a:lnTo>
                    <a:pt x="1264" y="870"/>
                  </a:lnTo>
                  <a:lnTo>
                    <a:pt x="1264" y="866"/>
                  </a:lnTo>
                  <a:lnTo>
                    <a:pt x="1268" y="866"/>
                  </a:lnTo>
                  <a:lnTo>
                    <a:pt x="1264" y="866"/>
                  </a:lnTo>
                  <a:lnTo>
                    <a:pt x="1268" y="866"/>
                  </a:lnTo>
                  <a:lnTo>
                    <a:pt x="1268" y="862"/>
                  </a:lnTo>
                  <a:lnTo>
                    <a:pt x="1272" y="862"/>
                  </a:lnTo>
                  <a:lnTo>
                    <a:pt x="1272" y="858"/>
                  </a:lnTo>
                  <a:lnTo>
                    <a:pt x="1272" y="854"/>
                  </a:lnTo>
                  <a:lnTo>
                    <a:pt x="1276" y="850"/>
                  </a:lnTo>
                  <a:lnTo>
                    <a:pt x="1280" y="850"/>
                  </a:lnTo>
                  <a:lnTo>
                    <a:pt x="1280" y="846"/>
                  </a:lnTo>
                  <a:lnTo>
                    <a:pt x="1284" y="846"/>
                  </a:lnTo>
                  <a:lnTo>
                    <a:pt x="1288" y="846"/>
                  </a:lnTo>
                  <a:lnTo>
                    <a:pt x="1292" y="846"/>
                  </a:lnTo>
                  <a:lnTo>
                    <a:pt x="1288" y="846"/>
                  </a:lnTo>
                  <a:lnTo>
                    <a:pt x="1292" y="846"/>
                  </a:lnTo>
                  <a:lnTo>
                    <a:pt x="1296" y="846"/>
                  </a:lnTo>
                  <a:lnTo>
                    <a:pt x="1296" y="850"/>
                  </a:lnTo>
                  <a:lnTo>
                    <a:pt x="1292" y="850"/>
                  </a:lnTo>
                  <a:lnTo>
                    <a:pt x="1288" y="850"/>
                  </a:lnTo>
                  <a:lnTo>
                    <a:pt x="1284" y="850"/>
                  </a:lnTo>
                  <a:lnTo>
                    <a:pt x="1284" y="854"/>
                  </a:lnTo>
                  <a:lnTo>
                    <a:pt x="1288" y="854"/>
                  </a:lnTo>
                  <a:lnTo>
                    <a:pt x="1292" y="854"/>
                  </a:lnTo>
                  <a:lnTo>
                    <a:pt x="1292" y="858"/>
                  </a:lnTo>
                  <a:lnTo>
                    <a:pt x="1288" y="858"/>
                  </a:lnTo>
                  <a:lnTo>
                    <a:pt x="1284" y="862"/>
                  </a:lnTo>
                  <a:lnTo>
                    <a:pt x="1284" y="866"/>
                  </a:lnTo>
                  <a:lnTo>
                    <a:pt x="1284" y="862"/>
                  </a:lnTo>
                  <a:lnTo>
                    <a:pt x="1284" y="866"/>
                  </a:lnTo>
                  <a:lnTo>
                    <a:pt x="1284" y="870"/>
                  </a:lnTo>
                  <a:lnTo>
                    <a:pt x="1280" y="870"/>
                  </a:lnTo>
                  <a:lnTo>
                    <a:pt x="1280" y="874"/>
                  </a:lnTo>
                  <a:lnTo>
                    <a:pt x="1280" y="878"/>
                  </a:lnTo>
                  <a:lnTo>
                    <a:pt x="1276" y="878"/>
                  </a:lnTo>
                  <a:lnTo>
                    <a:pt x="1276" y="882"/>
                  </a:lnTo>
                  <a:lnTo>
                    <a:pt x="1276" y="886"/>
                  </a:lnTo>
                  <a:lnTo>
                    <a:pt x="1272" y="886"/>
                  </a:lnTo>
                  <a:lnTo>
                    <a:pt x="1276" y="886"/>
                  </a:lnTo>
                  <a:lnTo>
                    <a:pt x="1272" y="890"/>
                  </a:lnTo>
                  <a:lnTo>
                    <a:pt x="1276" y="890"/>
                  </a:lnTo>
                  <a:lnTo>
                    <a:pt x="1276" y="886"/>
                  </a:lnTo>
                  <a:lnTo>
                    <a:pt x="1280" y="882"/>
                  </a:lnTo>
                  <a:lnTo>
                    <a:pt x="1284" y="878"/>
                  </a:lnTo>
                  <a:lnTo>
                    <a:pt x="1284" y="882"/>
                  </a:lnTo>
                  <a:lnTo>
                    <a:pt x="1288" y="882"/>
                  </a:lnTo>
                  <a:lnTo>
                    <a:pt x="1292" y="882"/>
                  </a:lnTo>
                  <a:lnTo>
                    <a:pt x="1296" y="882"/>
                  </a:lnTo>
                  <a:lnTo>
                    <a:pt x="1292" y="882"/>
                  </a:lnTo>
                  <a:lnTo>
                    <a:pt x="1292" y="886"/>
                  </a:lnTo>
                  <a:lnTo>
                    <a:pt x="1288" y="886"/>
                  </a:lnTo>
                  <a:lnTo>
                    <a:pt x="1284" y="890"/>
                  </a:lnTo>
                  <a:lnTo>
                    <a:pt x="1288" y="886"/>
                  </a:lnTo>
                  <a:lnTo>
                    <a:pt x="1288" y="890"/>
                  </a:lnTo>
                  <a:lnTo>
                    <a:pt x="1284" y="890"/>
                  </a:lnTo>
                  <a:lnTo>
                    <a:pt x="1284" y="894"/>
                  </a:lnTo>
                  <a:lnTo>
                    <a:pt x="1288" y="894"/>
                  </a:lnTo>
                  <a:lnTo>
                    <a:pt x="1288" y="890"/>
                  </a:lnTo>
                  <a:lnTo>
                    <a:pt x="1292" y="894"/>
                  </a:lnTo>
                  <a:lnTo>
                    <a:pt x="1296" y="894"/>
                  </a:lnTo>
                  <a:lnTo>
                    <a:pt x="1296" y="890"/>
                  </a:lnTo>
                  <a:lnTo>
                    <a:pt x="1296" y="894"/>
                  </a:lnTo>
                  <a:lnTo>
                    <a:pt x="1296" y="898"/>
                  </a:lnTo>
                  <a:lnTo>
                    <a:pt x="1296" y="894"/>
                  </a:lnTo>
                  <a:lnTo>
                    <a:pt x="1296" y="890"/>
                  </a:lnTo>
                  <a:lnTo>
                    <a:pt x="1300" y="890"/>
                  </a:lnTo>
                  <a:lnTo>
                    <a:pt x="1300" y="894"/>
                  </a:lnTo>
                  <a:lnTo>
                    <a:pt x="1296" y="898"/>
                  </a:lnTo>
                  <a:lnTo>
                    <a:pt x="1296" y="902"/>
                  </a:lnTo>
                  <a:lnTo>
                    <a:pt x="1296" y="898"/>
                  </a:lnTo>
                  <a:lnTo>
                    <a:pt x="1300" y="898"/>
                  </a:lnTo>
                  <a:lnTo>
                    <a:pt x="1300" y="894"/>
                  </a:lnTo>
                  <a:lnTo>
                    <a:pt x="1300" y="898"/>
                  </a:lnTo>
                  <a:lnTo>
                    <a:pt x="1304" y="898"/>
                  </a:lnTo>
                  <a:lnTo>
                    <a:pt x="1308" y="894"/>
                  </a:lnTo>
                  <a:lnTo>
                    <a:pt x="1308" y="890"/>
                  </a:lnTo>
                  <a:lnTo>
                    <a:pt x="1308" y="894"/>
                  </a:lnTo>
                  <a:lnTo>
                    <a:pt x="1308" y="898"/>
                  </a:lnTo>
                  <a:lnTo>
                    <a:pt x="1312" y="894"/>
                  </a:lnTo>
                  <a:lnTo>
                    <a:pt x="1316" y="894"/>
                  </a:lnTo>
                  <a:lnTo>
                    <a:pt x="1320" y="894"/>
                  </a:lnTo>
                  <a:lnTo>
                    <a:pt x="1324" y="898"/>
                  </a:lnTo>
                  <a:lnTo>
                    <a:pt x="1324" y="902"/>
                  </a:lnTo>
                  <a:lnTo>
                    <a:pt x="1320" y="902"/>
                  </a:lnTo>
                  <a:lnTo>
                    <a:pt x="1320" y="906"/>
                  </a:lnTo>
                  <a:lnTo>
                    <a:pt x="1316" y="906"/>
                  </a:lnTo>
                  <a:lnTo>
                    <a:pt x="1320" y="906"/>
                  </a:lnTo>
                  <a:lnTo>
                    <a:pt x="1320" y="910"/>
                  </a:lnTo>
                  <a:lnTo>
                    <a:pt x="1316" y="910"/>
                  </a:lnTo>
                  <a:lnTo>
                    <a:pt x="1320" y="910"/>
                  </a:lnTo>
                  <a:lnTo>
                    <a:pt x="1316" y="910"/>
                  </a:lnTo>
                  <a:lnTo>
                    <a:pt x="1320" y="910"/>
                  </a:lnTo>
                  <a:lnTo>
                    <a:pt x="1324" y="910"/>
                  </a:lnTo>
                  <a:lnTo>
                    <a:pt x="1320" y="910"/>
                  </a:lnTo>
                  <a:lnTo>
                    <a:pt x="1316" y="914"/>
                  </a:lnTo>
                  <a:lnTo>
                    <a:pt x="1320" y="914"/>
                  </a:lnTo>
                  <a:lnTo>
                    <a:pt x="1324" y="914"/>
                  </a:lnTo>
                  <a:lnTo>
                    <a:pt x="1324" y="910"/>
                  </a:lnTo>
                  <a:lnTo>
                    <a:pt x="1328" y="910"/>
                  </a:lnTo>
                  <a:lnTo>
                    <a:pt x="1328" y="914"/>
                  </a:lnTo>
                  <a:lnTo>
                    <a:pt x="1328" y="910"/>
                  </a:lnTo>
                  <a:lnTo>
                    <a:pt x="1332" y="910"/>
                  </a:lnTo>
                  <a:lnTo>
                    <a:pt x="1332" y="914"/>
                  </a:lnTo>
                  <a:lnTo>
                    <a:pt x="1332" y="918"/>
                  </a:lnTo>
                  <a:lnTo>
                    <a:pt x="1328" y="918"/>
                  </a:lnTo>
                  <a:lnTo>
                    <a:pt x="1324" y="918"/>
                  </a:lnTo>
                  <a:lnTo>
                    <a:pt x="1320" y="922"/>
                  </a:lnTo>
                  <a:lnTo>
                    <a:pt x="1316" y="922"/>
                  </a:lnTo>
                  <a:lnTo>
                    <a:pt x="1320" y="922"/>
                  </a:lnTo>
                  <a:lnTo>
                    <a:pt x="1320" y="926"/>
                  </a:lnTo>
                  <a:lnTo>
                    <a:pt x="1316" y="926"/>
                  </a:lnTo>
                  <a:lnTo>
                    <a:pt x="1320" y="926"/>
                  </a:lnTo>
                  <a:lnTo>
                    <a:pt x="1324" y="926"/>
                  </a:lnTo>
                  <a:lnTo>
                    <a:pt x="1320" y="930"/>
                  </a:lnTo>
                  <a:lnTo>
                    <a:pt x="1320" y="934"/>
                  </a:lnTo>
                  <a:lnTo>
                    <a:pt x="1324" y="934"/>
                  </a:lnTo>
                  <a:lnTo>
                    <a:pt x="1324" y="930"/>
                  </a:lnTo>
                  <a:lnTo>
                    <a:pt x="1328" y="926"/>
                  </a:lnTo>
                  <a:lnTo>
                    <a:pt x="1328" y="922"/>
                  </a:lnTo>
                  <a:lnTo>
                    <a:pt x="1328" y="926"/>
                  </a:lnTo>
                  <a:lnTo>
                    <a:pt x="1332" y="922"/>
                  </a:lnTo>
                  <a:lnTo>
                    <a:pt x="1336" y="922"/>
                  </a:lnTo>
                  <a:lnTo>
                    <a:pt x="1332" y="922"/>
                  </a:lnTo>
                  <a:lnTo>
                    <a:pt x="1332" y="926"/>
                  </a:lnTo>
                  <a:lnTo>
                    <a:pt x="1332" y="930"/>
                  </a:lnTo>
                  <a:lnTo>
                    <a:pt x="1328" y="934"/>
                  </a:lnTo>
                  <a:lnTo>
                    <a:pt x="1328" y="938"/>
                  </a:lnTo>
                  <a:lnTo>
                    <a:pt x="1332" y="938"/>
                  </a:lnTo>
                  <a:lnTo>
                    <a:pt x="1332" y="934"/>
                  </a:lnTo>
                  <a:lnTo>
                    <a:pt x="1336" y="930"/>
                  </a:lnTo>
                  <a:lnTo>
                    <a:pt x="1336" y="934"/>
                  </a:lnTo>
                  <a:lnTo>
                    <a:pt x="1336" y="938"/>
                  </a:lnTo>
                  <a:lnTo>
                    <a:pt x="1336" y="942"/>
                  </a:lnTo>
                  <a:lnTo>
                    <a:pt x="1332" y="942"/>
                  </a:lnTo>
                  <a:lnTo>
                    <a:pt x="1332" y="946"/>
                  </a:lnTo>
                  <a:lnTo>
                    <a:pt x="1332" y="950"/>
                  </a:lnTo>
                  <a:lnTo>
                    <a:pt x="1332" y="954"/>
                  </a:lnTo>
                  <a:lnTo>
                    <a:pt x="1328" y="954"/>
                  </a:lnTo>
                  <a:lnTo>
                    <a:pt x="1324" y="954"/>
                  </a:lnTo>
                  <a:lnTo>
                    <a:pt x="1320" y="954"/>
                  </a:lnTo>
                  <a:lnTo>
                    <a:pt x="1320" y="950"/>
                  </a:lnTo>
                  <a:lnTo>
                    <a:pt x="1324" y="950"/>
                  </a:lnTo>
                  <a:lnTo>
                    <a:pt x="1320" y="946"/>
                  </a:lnTo>
                  <a:lnTo>
                    <a:pt x="1324" y="946"/>
                  </a:lnTo>
                  <a:lnTo>
                    <a:pt x="1324" y="942"/>
                  </a:lnTo>
                  <a:lnTo>
                    <a:pt x="1320" y="946"/>
                  </a:lnTo>
                  <a:lnTo>
                    <a:pt x="1316" y="950"/>
                  </a:lnTo>
                  <a:lnTo>
                    <a:pt x="1312" y="950"/>
                  </a:lnTo>
                  <a:lnTo>
                    <a:pt x="1312" y="946"/>
                  </a:lnTo>
                  <a:lnTo>
                    <a:pt x="1316" y="946"/>
                  </a:lnTo>
                  <a:lnTo>
                    <a:pt x="1316" y="942"/>
                  </a:lnTo>
                  <a:lnTo>
                    <a:pt x="1320" y="938"/>
                  </a:lnTo>
                  <a:lnTo>
                    <a:pt x="1316" y="938"/>
                  </a:lnTo>
                  <a:lnTo>
                    <a:pt x="1316" y="934"/>
                  </a:lnTo>
                  <a:lnTo>
                    <a:pt x="1320" y="934"/>
                  </a:lnTo>
                  <a:lnTo>
                    <a:pt x="1316" y="934"/>
                  </a:lnTo>
                  <a:lnTo>
                    <a:pt x="1316" y="930"/>
                  </a:lnTo>
                  <a:lnTo>
                    <a:pt x="1312" y="930"/>
                  </a:lnTo>
                  <a:lnTo>
                    <a:pt x="1312" y="934"/>
                  </a:lnTo>
                  <a:lnTo>
                    <a:pt x="1308" y="934"/>
                  </a:lnTo>
                  <a:lnTo>
                    <a:pt x="1308" y="938"/>
                  </a:lnTo>
                  <a:lnTo>
                    <a:pt x="1312" y="934"/>
                  </a:lnTo>
                  <a:lnTo>
                    <a:pt x="1308" y="934"/>
                  </a:lnTo>
                  <a:lnTo>
                    <a:pt x="1308" y="938"/>
                  </a:lnTo>
                  <a:lnTo>
                    <a:pt x="1304" y="938"/>
                  </a:lnTo>
                  <a:lnTo>
                    <a:pt x="1300" y="942"/>
                  </a:lnTo>
                  <a:lnTo>
                    <a:pt x="1300" y="946"/>
                  </a:lnTo>
                  <a:lnTo>
                    <a:pt x="1296" y="950"/>
                  </a:lnTo>
                  <a:lnTo>
                    <a:pt x="1292" y="950"/>
                  </a:lnTo>
                  <a:lnTo>
                    <a:pt x="1288" y="950"/>
                  </a:lnTo>
                  <a:lnTo>
                    <a:pt x="1288" y="946"/>
                  </a:lnTo>
                  <a:lnTo>
                    <a:pt x="1292" y="946"/>
                  </a:lnTo>
                  <a:lnTo>
                    <a:pt x="1296" y="942"/>
                  </a:lnTo>
                  <a:lnTo>
                    <a:pt x="1296" y="938"/>
                  </a:lnTo>
                  <a:lnTo>
                    <a:pt x="1300" y="938"/>
                  </a:lnTo>
                  <a:lnTo>
                    <a:pt x="1304" y="934"/>
                  </a:lnTo>
                  <a:lnTo>
                    <a:pt x="1300" y="934"/>
                  </a:lnTo>
                  <a:lnTo>
                    <a:pt x="1300" y="930"/>
                  </a:lnTo>
                  <a:lnTo>
                    <a:pt x="1304" y="930"/>
                  </a:lnTo>
                  <a:lnTo>
                    <a:pt x="1300" y="930"/>
                  </a:lnTo>
                  <a:lnTo>
                    <a:pt x="1300" y="934"/>
                  </a:lnTo>
                  <a:lnTo>
                    <a:pt x="1296" y="934"/>
                  </a:lnTo>
                  <a:lnTo>
                    <a:pt x="1296" y="930"/>
                  </a:lnTo>
                  <a:lnTo>
                    <a:pt x="1296" y="934"/>
                  </a:lnTo>
                  <a:lnTo>
                    <a:pt x="1296" y="938"/>
                  </a:lnTo>
                  <a:lnTo>
                    <a:pt x="1292" y="938"/>
                  </a:lnTo>
                  <a:lnTo>
                    <a:pt x="1288" y="938"/>
                  </a:lnTo>
                  <a:lnTo>
                    <a:pt x="1288" y="934"/>
                  </a:lnTo>
                  <a:lnTo>
                    <a:pt x="1288" y="938"/>
                  </a:lnTo>
                  <a:lnTo>
                    <a:pt x="1284" y="938"/>
                  </a:lnTo>
                  <a:lnTo>
                    <a:pt x="1284" y="934"/>
                  </a:lnTo>
                  <a:lnTo>
                    <a:pt x="1288" y="934"/>
                  </a:lnTo>
                  <a:lnTo>
                    <a:pt x="1292" y="934"/>
                  </a:lnTo>
                  <a:lnTo>
                    <a:pt x="1288" y="934"/>
                  </a:lnTo>
                  <a:lnTo>
                    <a:pt x="1288" y="930"/>
                  </a:lnTo>
                  <a:lnTo>
                    <a:pt x="1288" y="926"/>
                  </a:lnTo>
                  <a:lnTo>
                    <a:pt x="1288" y="930"/>
                  </a:lnTo>
                  <a:lnTo>
                    <a:pt x="1284" y="930"/>
                  </a:lnTo>
                  <a:lnTo>
                    <a:pt x="1284" y="934"/>
                  </a:lnTo>
                  <a:lnTo>
                    <a:pt x="1280" y="934"/>
                  </a:lnTo>
                  <a:lnTo>
                    <a:pt x="1276" y="934"/>
                  </a:lnTo>
                  <a:lnTo>
                    <a:pt x="1272" y="934"/>
                  </a:lnTo>
                  <a:close/>
                  <a:moveTo>
                    <a:pt x="203" y="874"/>
                  </a:moveTo>
                  <a:lnTo>
                    <a:pt x="203" y="870"/>
                  </a:lnTo>
                  <a:lnTo>
                    <a:pt x="203" y="866"/>
                  </a:lnTo>
                  <a:lnTo>
                    <a:pt x="199" y="866"/>
                  </a:lnTo>
                  <a:lnTo>
                    <a:pt x="203" y="866"/>
                  </a:lnTo>
                  <a:lnTo>
                    <a:pt x="203" y="870"/>
                  </a:lnTo>
                  <a:lnTo>
                    <a:pt x="195" y="870"/>
                  </a:lnTo>
                  <a:lnTo>
                    <a:pt x="191" y="870"/>
                  </a:lnTo>
                  <a:lnTo>
                    <a:pt x="191" y="866"/>
                  </a:lnTo>
                  <a:lnTo>
                    <a:pt x="191" y="862"/>
                  </a:lnTo>
                  <a:lnTo>
                    <a:pt x="195" y="862"/>
                  </a:lnTo>
                  <a:lnTo>
                    <a:pt x="199" y="862"/>
                  </a:lnTo>
                  <a:lnTo>
                    <a:pt x="203" y="862"/>
                  </a:lnTo>
                  <a:lnTo>
                    <a:pt x="203" y="866"/>
                  </a:lnTo>
                  <a:lnTo>
                    <a:pt x="207" y="866"/>
                  </a:lnTo>
                  <a:lnTo>
                    <a:pt x="211" y="866"/>
                  </a:lnTo>
                  <a:lnTo>
                    <a:pt x="215" y="870"/>
                  </a:lnTo>
                  <a:lnTo>
                    <a:pt x="219" y="870"/>
                  </a:lnTo>
                  <a:lnTo>
                    <a:pt x="223" y="870"/>
                  </a:lnTo>
                  <a:lnTo>
                    <a:pt x="227" y="870"/>
                  </a:lnTo>
                  <a:lnTo>
                    <a:pt x="227" y="874"/>
                  </a:lnTo>
                  <a:lnTo>
                    <a:pt x="231" y="874"/>
                  </a:lnTo>
                  <a:lnTo>
                    <a:pt x="235" y="874"/>
                  </a:lnTo>
                  <a:lnTo>
                    <a:pt x="235" y="878"/>
                  </a:lnTo>
                  <a:lnTo>
                    <a:pt x="239" y="878"/>
                  </a:lnTo>
                  <a:lnTo>
                    <a:pt x="239" y="882"/>
                  </a:lnTo>
                  <a:lnTo>
                    <a:pt x="243" y="886"/>
                  </a:lnTo>
                  <a:lnTo>
                    <a:pt x="243" y="890"/>
                  </a:lnTo>
                  <a:lnTo>
                    <a:pt x="243" y="894"/>
                  </a:lnTo>
                  <a:lnTo>
                    <a:pt x="247" y="894"/>
                  </a:lnTo>
                  <a:lnTo>
                    <a:pt x="251" y="898"/>
                  </a:lnTo>
                  <a:lnTo>
                    <a:pt x="255" y="898"/>
                  </a:lnTo>
                  <a:lnTo>
                    <a:pt x="259" y="898"/>
                  </a:lnTo>
                  <a:lnTo>
                    <a:pt x="259" y="902"/>
                  </a:lnTo>
                  <a:lnTo>
                    <a:pt x="263" y="906"/>
                  </a:lnTo>
                  <a:lnTo>
                    <a:pt x="263" y="910"/>
                  </a:lnTo>
                  <a:lnTo>
                    <a:pt x="263" y="914"/>
                  </a:lnTo>
                  <a:lnTo>
                    <a:pt x="263" y="910"/>
                  </a:lnTo>
                  <a:lnTo>
                    <a:pt x="267" y="910"/>
                  </a:lnTo>
                  <a:lnTo>
                    <a:pt x="267" y="914"/>
                  </a:lnTo>
                  <a:lnTo>
                    <a:pt x="267" y="918"/>
                  </a:lnTo>
                  <a:lnTo>
                    <a:pt x="267" y="914"/>
                  </a:lnTo>
                  <a:lnTo>
                    <a:pt x="263" y="918"/>
                  </a:lnTo>
                  <a:lnTo>
                    <a:pt x="259" y="918"/>
                  </a:lnTo>
                  <a:lnTo>
                    <a:pt x="251" y="914"/>
                  </a:lnTo>
                  <a:lnTo>
                    <a:pt x="247" y="914"/>
                  </a:lnTo>
                  <a:lnTo>
                    <a:pt x="247" y="910"/>
                  </a:lnTo>
                  <a:lnTo>
                    <a:pt x="243" y="910"/>
                  </a:lnTo>
                  <a:lnTo>
                    <a:pt x="239" y="910"/>
                  </a:lnTo>
                  <a:lnTo>
                    <a:pt x="239" y="906"/>
                  </a:lnTo>
                  <a:lnTo>
                    <a:pt x="243" y="906"/>
                  </a:lnTo>
                  <a:lnTo>
                    <a:pt x="243" y="902"/>
                  </a:lnTo>
                  <a:lnTo>
                    <a:pt x="243" y="898"/>
                  </a:lnTo>
                  <a:lnTo>
                    <a:pt x="243" y="902"/>
                  </a:lnTo>
                  <a:lnTo>
                    <a:pt x="239" y="902"/>
                  </a:lnTo>
                  <a:lnTo>
                    <a:pt x="239" y="906"/>
                  </a:lnTo>
                  <a:lnTo>
                    <a:pt x="235" y="902"/>
                  </a:lnTo>
                  <a:lnTo>
                    <a:pt x="235" y="906"/>
                  </a:lnTo>
                  <a:lnTo>
                    <a:pt x="231" y="902"/>
                  </a:lnTo>
                  <a:lnTo>
                    <a:pt x="231" y="898"/>
                  </a:lnTo>
                  <a:lnTo>
                    <a:pt x="227" y="898"/>
                  </a:lnTo>
                  <a:lnTo>
                    <a:pt x="227" y="894"/>
                  </a:lnTo>
                  <a:lnTo>
                    <a:pt x="223" y="894"/>
                  </a:lnTo>
                  <a:lnTo>
                    <a:pt x="219" y="894"/>
                  </a:lnTo>
                  <a:lnTo>
                    <a:pt x="219" y="890"/>
                  </a:lnTo>
                  <a:lnTo>
                    <a:pt x="223" y="890"/>
                  </a:lnTo>
                  <a:lnTo>
                    <a:pt x="227" y="890"/>
                  </a:lnTo>
                  <a:lnTo>
                    <a:pt x="223" y="890"/>
                  </a:lnTo>
                  <a:lnTo>
                    <a:pt x="219" y="890"/>
                  </a:lnTo>
                  <a:lnTo>
                    <a:pt x="219" y="886"/>
                  </a:lnTo>
                  <a:lnTo>
                    <a:pt x="215" y="886"/>
                  </a:lnTo>
                  <a:lnTo>
                    <a:pt x="215" y="882"/>
                  </a:lnTo>
                  <a:lnTo>
                    <a:pt x="211" y="882"/>
                  </a:lnTo>
                  <a:lnTo>
                    <a:pt x="211" y="886"/>
                  </a:lnTo>
                  <a:lnTo>
                    <a:pt x="207" y="882"/>
                  </a:lnTo>
                  <a:lnTo>
                    <a:pt x="207" y="878"/>
                  </a:lnTo>
                  <a:lnTo>
                    <a:pt x="211" y="878"/>
                  </a:lnTo>
                  <a:lnTo>
                    <a:pt x="207" y="878"/>
                  </a:lnTo>
                  <a:lnTo>
                    <a:pt x="207" y="882"/>
                  </a:lnTo>
                  <a:lnTo>
                    <a:pt x="203" y="878"/>
                  </a:lnTo>
                  <a:lnTo>
                    <a:pt x="199" y="878"/>
                  </a:lnTo>
                  <a:lnTo>
                    <a:pt x="199" y="874"/>
                  </a:lnTo>
                  <a:lnTo>
                    <a:pt x="195" y="874"/>
                  </a:lnTo>
                  <a:lnTo>
                    <a:pt x="199" y="870"/>
                  </a:lnTo>
                  <a:lnTo>
                    <a:pt x="203" y="870"/>
                  </a:lnTo>
                  <a:lnTo>
                    <a:pt x="203" y="874"/>
                  </a:lnTo>
                  <a:close/>
                  <a:moveTo>
                    <a:pt x="223" y="862"/>
                  </a:moveTo>
                  <a:lnTo>
                    <a:pt x="223" y="866"/>
                  </a:lnTo>
                  <a:lnTo>
                    <a:pt x="219" y="866"/>
                  </a:lnTo>
                  <a:lnTo>
                    <a:pt x="219" y="862"/>
                  </a:lnTo>
                  <a:lnTo>
                    <a:pt x="223" y="862"/>
                  </a:lnTo>
                  <a:close/>
                  <a:moveTo>
                    <a:pt x="235" y="874"/>
                  </a:moveTo>
                  <a:lnTo>
                    <a:pt x="239" y="874"/>
                  </a:lnTo>
                  <a:lnTo>
                    <a:pt x="239" y="878"/>
                  </a:lnTo>
                  <a:lnTo>
                    <a:pt x="239" y="882"/>
                  </a:lnTo>
                  <a:lnTo>
                    <a:pt x="239" y="878"/>
                  </a:lnTo>
                  <a:lnTo>
                    <a:pt x="235" y="878"/>
                  </a:lnTo>
                  <a:lnTo>
                    <a:pt x="235" y="874"/>
                  </a:lnTo>
                  <a:close/>
                  <a:moveTo>
                    <a:pt x="1172" y="886"/>
                  </a:moveTo>
                  <a:lnTo>
                    <a:pt x="1176" y="886"/>
                  </a:lnTo>
                  <a:lnTo>
                    <a:pt x="1180" y="886"/>
                  </a:lnTo>
                  <a:lnTo>
                    <a:pt x="1184" y="890"/>
                  </a:lnTo>
                  <a:lnTo>
                    <a:pt x="1188" y="890"/>
                  </a:lnTo>
                  <a:lnTo>
                    <a:pt x="1188" y="894"/>
                  </a:lnTo>
                  <a:lnTo>
                    <a:pt x="1192" y="894"/>
                  </a:lnTo>
                  <a:lnTo>
                    <a:pt x="1196" y="894"/>
                  </a:lnTo>
                  <a:lnTo>
                    <a:pt x="1196" y="898"/>
                  </a:lnTo>
                  <a:lnTo>
                    <a:pt x="1200" y="898"/>
                  </a:lnTo>
                  <a:lnTo>
                    <a:pt x="1200" y="902"/>
                  </a:lnTo>
                  <a:lnTo>
                    <a:pt x="1196" y="902"/>
                  </a:lnTo>
                  <a:lnTo>
                    <a:pt x="1192" y="902"/>
                  </a:lnTo>
                  <a:lnTo>
                    <a:pt x="1188" y="902"/>
                  </a:lnTo>
                  <a:lnTo>
                    <a:pt x="1184" y="898"/>
                  </a:lnTo>
                  <a:lnTo>
                    <a:pt x="1180" y="898"/>
                  </a:lnTo>
                  <a:lnTo>
                    <a:pt x="1176" y="898"/>
                  </a:lnTo>
                  <a:lnTo>
                    <a:pt x="1172" y="894"/>
                  </a:lnTo>
                  <a:lnTo>
                    <a:pt x="1168" y="890"/>
                  </a:lnTo>
                  <a:lnTo>
                    <a:pt x="1164" y="890"/>
                  </a:lnTo>
                  <a:lnTo>
                    <a:pt x="1164" y="886"/>
                  </a:lnTo>
                  <a:lnTo>
                    <a:pt x="1160" y="886"/>
                  </a:lnTo>
                  <a:lnTo>
                    <a:pt x="1156" y="882"/>
                  </a:lnTo>
                  <a:lnTo>
                    <a:pt x="1160" y="882"/>
                  </a:lnTo>
                  <a:lnTo>
                    <a:pt x="1164" y="882"/>
                  </a:lnTo>
                  <a:lnTo>
                    <a:pt x="1172" y="886"/>
                  </a:lnTo>
                  <a:close/>
                  <a:moveTo>
                    <a:pt x="215" y="882"/>
                  </a:moveTo>
                  <a:lnTo>
                    <a:pt x="215" y="886"/>
                  </a:lnTo>
                  <a:lnTo>
                    <a:pt x="219" y="890"/>
                  </a:lnTo>
                  <a:lnTo>
                    <a:pt x="215" y="890"/>
                  </a:lnTo>
                  <a:lnTo>
                    <a:pt x="211" y="886"/>
                  </a:lnTo>
                  <a:lnTo>
                    <a:pt x="215" y="882"/>
                  </a:lnTo>
                  <a:close/>
                  <a:moveTo>
                    <a:pt x="255" y="894"/>
                  </a:moveTo>
                  <a:lnTo>
                    <a:pt x="251" y="890"/>
                  </a:lnTo>
                  <a:lnTo>
                    <a:pt x="247" y="886"/>
                  </a:lnTo>
                  <a:lnTo>
                    <a:pt x="251" y="886"/>
                  </a:lnTo>
                  <a:lnTo>
                    <a:pt x="255" y="890"/>
                  </a:lnTo>
                  <a:lnTo>
                    <a:pt x="255" y="894"/>
                  </a:lnTo>
                  <a:close/>
                  <a:moveTo>
                    <a:pt x="223" y="894"/>
                  </a:moveTo>
                  <a:lnTo>
                    <a:pt x="227" y="894"/>
                  </a:lnTo>
                  <a:lnTo>
                    <a:pt x="227" y="898"/>
                  </a:lnTo>
                  <a:lnTo>
                    <a:pt x="223" y="898"/>
                  </a:lnTo>
                  <a:lnTo>
                    <a:pt x="223" y="894"/>
                  </a:lnTo>
                  <a:close/>
                  <a:moveTo>
                    <a:pt x="263" y="902"/>
                  </a:moveTo>
                  <a:lnTo>
                    <a:pt x="263" y="906"/>
                  </a:lnTo>
                  <a:lnTo>
                    <a:pt x="267" y="906"/>
                  </a:lnTo>
                  <a:lnTo>
                    <a:pt x="263" y="906"/>
                  </a:lnTo>
                  <a:lnTo>
                    <a:pt x="263" y="902"/>
                  </a:lnTo>
                  <a:close/>
                  <a:moveTo>
                    <a:pt x="263" y="906"/>
                  </a:moveTo>
                  <a:lnTo>
                    <a:pt x="267" y="906"/>
                  </a:lnTo>
                  <a:lnTo>
                    <a:pt x="267" y="910"/>
                  </a:lnTo>
                  <a:lnTo>
                    <a:pt x="263" y="910"/>
                  </a:lnTo>
                  <a:lnTo>
                    <a:pt x="263" y="906"/>
                  </a:lnTo>
                  <a:close/>
                  <a:moveTo>
                    <a:pt x="1156" y="926"/>
                  </a:moveTo>
                  <a:lnTo>
                    <a:pt x="1156" y="930"/>
                  </a:lnTo>
                  <a:lnTo>
                    <a:pt x="1152" y="930"/>
                  </a:lnTo>
                  <a:lnTo>
                    <a:pt x="1156" y="930"/>
                  </a:lnTo>
                  <a:lnTo>
                    <a:pt x="1156" y="926"/>
                  </a:lnTo>
                  <a:close/>
                  <a:moveTo>
                    <a:pt x="1204" y="934"/>
                  </a:moveTo>
                  <a:lnTo>
                    <a:pt x="1200" y="934"/>
                  </a:lnTo>
                  <a:lnTo>
                    <a:pt x="1204" y="934"/>
                  </a:lnTo>
                  <a:lnTo>
                    <a:pt x="1200" y="934"/>
                  </a:lnTo>
                  <a:lnTo>
                    <a:pt x="1196" y="938"/>
                  </a:lnTo>
                  <a:lnTo>
                    <a:pt x="1200" y="938"/>
                  </a:lnTo>
                  <a:lnTo>
                    <a:pt x="1200" y="934"/>
                  </a:lnTo>
                  <a:lnTo>
                    <a:pt x="1200" y="938"/>
                  </a:lnTo>
                  <a:lnTo>
                    <a:pt x="1196" y="938"/>
                  </a:lnTo>
                  <a:lnTo>
                    <a:pt x="1196" y="942"/>
                  </a:lnTo>
                  <a:lnTo>
                    <a:pt x="1200" y="942"/>
                  </a:lnTo>
                  <a:lnTo>
                    <a:pt x="1196" y="942"/>
                  </a:lnTo>
                  <a:lnTo>
                    <a:pt x="1196" y="938"/>
                  </a:lnTo>
                  <a:lnTo>
                    <a:pt x="1200" y="934"/>
                  </a:lnTo>
                  <a:lnTo>
                    <a:pt x="1204" y="934"/>
                  </a:lnTo>
                  <a:close/>
                  <a:moveTo>
                    <a:pt x="1192" y="962"/>
                  </a:moveTo>
                  <a:lnTo>
                    <a:pt x="1188" y="962"/>
                  </a:lnTo>
                  <a:lnTo>
                    <a:pt x="1188" y="966"/>
                  </a:lnTo>
                  <a:lnTo>
                    <a:pt x="1184" y="966"/>
                  </a:lnTo>
                  <a:lnTo>
                    <a:pt x="1188" y="966"/>
                  </a:lnTo>
                  <a:lnTo>
                    <a:pt x="1188" y="970"/>
                  </a:lnTo>
                  <a:lnTo>
                    <a:pt x="1184" y="970"/>
                  </a:lnTo>
                  <a:lnTo>
                    <a:pt x="1180" y="970"/>
                  </a:lnTo>
                  <a:lnTo>
                    <a:pt x="1180" y="966"/>
                  </a:lnTo>
                  <a:lnTo>
                    <a:pt x="1176" y="966"/>
                  </a:lnTo>
                  <a:lnTo>
                    <a:pt x="1180" y="962"/>
                  </a:lnTo>
                  <a:lnTo>
                    <a:pt x="1176" y="966"/>
                  </a:lnTo>
                  <a:lnTo>
                    <a:pt x="1172" y="966"/>
                  </a:lnTo>
                  <a:lnTo>
                    <a:pt x="1168" y="962"/>
                  </a:lnTo>
                  <a:lnTo>
                    <a:pt x="1164" y="962"/>
                  </a:lnTo>
                  <a:lnTo>
                    <a:pt x="1164" y="958"/>
                  </a:lnTo>
                  <a:lnTo>
                    <a:pt x="1164" y="954"/>
                  </a:lnTo>
                  <a:lnTo>
                    <a:pt x="1160" y="954"/>
                  </a:lnTo>
                  <a:lnTo>
                    <a:pt x="1160" y="950"/>
                  </a:lnTo>
                  <a:lnTo>
                    <a:pt x="1164" y="946"/>
                  </a:lnTo>
                  <a:lnTo>
                    <a:pt x="1164" y="950"/>
                  </a:lnTo>
                  <a:lnTo>
                    <a:pt x="1164" y="954"/>
                  </a:lnTo>
                  <a:lnTo>
                    <a:pt x="1168" y="954"/>
                  </a:lnTo>
                  <a:lnTo>
                    <a:pt x="1168" y="958"/>
                  </a:lnTo>
                  <a:lnTo>
                    <a:pt x="1172" y="958"/>
                  </a:lnTo>
                  <a:lnTo>
                    <a:pt x="1176" y="958"/>
                  </a:lnTo>
                  <a:lnTo>
                    <a:pt x="1180" y="958"/>
                  </a:lnTo>
                  <a:lnTo>
                    <a:pt x="1184" y="958"/>
                  </a:lnTo>
                  <a:lnTo>
                    <a:pt x="1188" y="958"/>
                  </a:lnTo>
                  <a:lnTo>
                    <a:pt x="1192" y="958"/>
                  </a:lnTo>
                  <a:lnTo>
                    <a:pt x="1196" y="958"/>
                  </a:lnTo>
                  <a:lnTo>
                    <a:pt x="1192" y="962"/>
                  </a:lnTo>
                  <a:close/>
                  <a:moveTo>
                    <a:pt x="1216" y="978"/>
                  </a:moveTo>
                  <a:lnTo>
                    <a:pt x="1212" y="978"/>
                  </a:lnTo>
                  <a:lnTo>
                    <a:pt x="1208" y="978"/>
                  </a:lnTo>
                  <a:lnTo>
                    <a:pt x="1204" y="978"/>
                  </a:lnTo>
                  <a:lnTo>
                    <a:pt x="1204" y="974"/>
                  </a:lnTo>
                  <a:lnTo>
                    <a:pt x="1204" y="970"/>
                  </a:lnTo>
                  <a:lnTo>
                    <a:pt x="1204" y="966"/>
                  </a:lnTo>
                  <a:lnTo>
                    <a:pt x="1204" y="962"/>
                  </a:lnTo>
                  <a:lnTo>
                    <a:pt x="1208" y="958"/>
                  </a:lnTo>
                  <a:lnTo>
                    <a:pt x="1212" y="954"/>
                  </a:lnTo>
                  <a:lnTo>
                    <a:pt x="1212" y="950"/>
                  </a:lnTo>
                  <a:lnTo>
                    <a:pt x="1216" y="950"/>
                  </a:lnTo>
                  <a:lnTo>
                    <a:pt x="1216" y="946"/>
                  </a:lnTo>
                  <a:lnTo>
                    <a:pt x="1220" y="946"/>
                  </a:lnTo>
                  <a:lnTo>
                    <a:pt x="1216" y="950"/>
                  </a:lnTo>
                  <a:lnTo>
                    <a:pt x="1220" y="950"/>
                  </a:lnTo>
                  <a:lnTo>
                    <a:pt x="1220" y="954"/>
                  </a:lnTo>
                  <a:lnTo>
                    <a:pt x="1216" y="962"/>
                  </a:lnTo>
                  <a:lnTo>
                    <a:pt x="1216" y="966"/>
                  </a:lnTo>
                  <a:lnTo>
                    <a:pt x="1216" y="962"/>
                  </a:lnTo>
                  <a:lnTo>
                    <a:pt x="1220" y="962"/>
                  </a:lnTo>
                  <a:lnTo>
                    <a:pt x="1216" y="966"/>
                  </a:lnTo>
                  <a:lnTo>
                    <a:pt x="1212" y="966"/>
                  </a:lnTo>
                  <a:lnTo>
                    <a:pt x="1212" y="970"/>
                  </a:lnTo>
                  <a:lnTo>
                    <a:pt x="1208" y="970"/>
                  </a:lnTo>
                  <a:lnTo>
                    <a:pt x="1212" y="970"/>
                  </a:lnTo>
                  <a:lnTo>
                    <a:pt x="1212" y="966"/>
                  </a:lnTo>
                  <a:lnTo>
                    <a:pt x="1216" y="966"/>
                  </a:lnTo>
                  <a:lnTo>
                    <a:pt x="1212" y="970"/>
                  </a:lnTo>
                  <a:lnTo>
                    <a:pt x="1208" y="970"/>
                  </a:lnTo>
                  <a:lnTo>
                    <a:pt x="1212" y="970"/>
                  </a:lnTo>
                  <a:lnTo>
                    <a:pt x="1212" y="974"/>
                  </a:lnTo>
                  <a:lnTo>
                    <a:pt x="1208" y="974"/>
                  </a:lnTo>
                  <a:lnTo>
                    <a:pt x="1212" y="974"/>
                  </a:lnTo>
                  <a:lnTo>
                    <a:pt x="1216" y="974"/>
                  </a:lnTo>
                  <a:lnTo>
                    <a:pt x="1216" y="970"/>
                  </a:lnTo>
                  <a:lnTo>
                    <a:pt x="1220" y="970"/>
                  </a:lnTo>
                  <a:lnTo>
                    <a:pt x="1216" y="970"/>
                  </a:lnTo>
                  <a:lnTo>
                    <a:pt x="1212" y="970"/>
                  </a:lnTo>
                  <a:lnTo>
                    <a:pt x="1216" y="970"/>
                  </a:lnTo>
                  <a:lnTo>
                    <a:pt x="1216" y="966"/>
                  </a:lnTo>
                  <a:lnTo>
                    <a:pt x="1220" y="966"/>
                  </a:lnTo>
                  <a:lnTo>
                    <a:pt x="1220" y="962"/>
                  </a:lnTo>
                  <a:lnTo>
                    <a:pt x="1220" y="966"/>
                  </a:lnTo>
                  <a:lnTo>
                    <a:pt x="1216" y="966"/>
                  </a:lnTo>
                  <a:lnTo>
                    <a:pt x="1220" y="962"/>
                  </a:lnTo>
                  <a:lnTo>
                    <a:pt x="1224" y="962"/>
                  </a:lnTo>
                  <a:lnTo>
                    <a:pt x="1224" y="966"/>
                  </a:lnTo>
                  <a:lnTo>
                    <a:pt x="1228" y="966"/>
                  </a:lnTo>
                  <a:lnTo>
                    <a:pt x="1228" y="970"/>
                  </a:lnTo>
                  <a:lnTo>
                    <a:pt x="1224" y="970"/>
                  </a:lnTo>
                  <a:lnTo>
                    <a:pt x="1224" y="974"/>
                  </a:lnTo>
                  <a:lnTo>
                    <a:pt x="1220" y="974"/>
                  </a:lnTo>
                  <a:lnTo>
                    <a:pt x="1220" y="978"/>
                  </a:lnTo>
                  <a:lnTo>
                    <a:pt x="1216" y="978"/>
                  </a:lnTo>
                  <a:close/>
                  <a:moveTo>
                    <a:pt x="1061" y="946"/>
                  </a:moveTo>
                  <a:lnTo>
                    <a:pt x="1061" y="950"/>
                  </a:lnTo>
                  <a:lnTo>
                    <a:pt x="1057" y="950"/>
                  </a:lnTo>
                  <a:lnTo>
                    <a:pt x="1061" y="946"/>
                  </a:lnTo>
                  <a:close/>
                  <a:moveTo>
                    <a:pt x="1212" y="978"/>
                  </a:moveTo>
                  <a:lnTo>
                    <a:pt x="1212" y="982"/>
                  </a:lnTo>
                  <a:lnTo>
                    <a:pt x="1208" y="982"/>
                  </a:lnTo>
                  <a:lnTo>
                    <a:pt x="1208" y="978"/>
                  </a:lnTo>
                  <a:lnTo>
                    <a:pt x="1212" y="978"/>
                  </a:lnTo>
                  <a:close/>
                  <a:moveTo>
                    <a:pt x="1125" y="994"/>
                  </a:moveTo>
                  <a:lnTo>
                    <a:pt x="1125" y="998"/>
                  </a:lnTo>
                  <a:lnTo>
                    <a:pt x="1121" y="998"/>
                  </a:lnTo>
                  <a:lnTo>
                    <a:pt x="1121" y="994"/>
                  </a:lnTo>
                  <a:lnTo>
                    <a:pt x="1125" y="994"/>
                  </a:lnTo>
                  <a:close/>
                  <a:moveTo>
                    <a:pt x="877" y="84"/>
                  </a:moveTo>
                  <a:lnTo>
                    <a:pt x="873" y="84"/>
                  </a:lnTo>
                  <a:lnTo>
                    <a:pt x="873" y="80"/>
                  </a:lnTo>
                  <a:lnTo>
                    <a:pt x="877" y="80"/>
                  </a:lnTo>
                  <a:lnTo>
                    <a:pt x="881" y="80"/>
                  </a:lnTo>
                  <a:lnTo>
                    <a:pt x="885" y="80"/>
                  </a:lnTo>
                  <a:lnTo>
                    <a:pt x="885" y="76"/>
                  </a:lnTo>
                  <a:lnTo>
                    <a:pt x="889" y="76"/>
                  </a:lnTo>
                  <a:lnTo>
                    <a:pt x="893" y="76"/>
                  </a:lnTo>
                  <a:lnTo>
                    <a:pt x="897" y="76"/>
                  </a:lnTo>
                  <a:lnTo>
                    <a:pt x="893" y="72"/>
                  </a:lnTo>
                  <a:lnTo>
                    <a:pt x="893" y="76"/>
                  </a:lnTo>
                  <a:lnTo>
                    <a:pt x="889" y="76"/>
                  </a:lnTo>
                  <a:lnTo>
                    <a:pt x="885" y="76"/>
                  </a:lnTo>
                  <a:lnTo>
                    <a:pt x="877" y="76"/>
                  </a:lnTo>
                  <a:lnTo>
                    <a:pt x="873" y="80"/>
                  </a:lnTo>
                  <a:lnTo>
                    <a:pt x="869" y="80"/>
                  </a:lnTo>
                  <a:lnTo>
                    <a:pt x="869" y="76"/>
                  </a:lnTo>
                  <a:lnTo>
                    <a:pt x="873" y="76"/>
                  </a:lnTo>
                  <a:lnTo>
                    <a:pt x="877" y="76"/>
                  </a:lnTo>
                  <a:lnTo>
                    <a:pt x="873" y="72"/>
                  </a:lnTo>
                  <a:lnTo>
                    <a:pt x="873" y="76"/>
                  </a:lnTo>
                  <a:lnTo>
                    <a:pt x="869" y="76"/>
                  </a:lnTo>
                  <a:lnTo>
                    <a:pt x="865" y="76"/>
                  </a:lnTo>
                  <a:lnTo>
                    <a:pt x="865" y="80"/>
                  </a:lnTo>
                  <a:lnTo>
                    <a:pt x="865" y="84"/>
                  </a:lnTo>
                  <a:lnTo>
                    <a:pt x="861" y="84"/>
                  </a:lnTo>
                  <a:lnTo>
                    <a:pt x="857" y="84"/>
                  </a:lnTo>
                  <a:lnTo>
                    <a:pt x="853" y="84"/>
                  </a:lnTo>
                  <a:lnTo>
                    <a:pt x="849" y="84"/>
                  </a:lnTo>
                  <a:lnTo>
                    <a:pt x="845" y="84"/>
                  </a:lnTo>
                  <a:lnTo>
                    <a:pt x="841" y="84"/>
                  </a:lnTo>
                  <a:lnTo>
                    <a:pt x="837" y="84"/>
                  </a:lnTo>
                  <a:lnTo>
                    <a:pt x="833" y="84"/>
                  </a:lnTo>
                  <a:lnTo>
                    <a:pt x="837" y="80"/>
                  </a:lnTo>
                  <a:lnTo>
                    <a:pt x="833" y="80"/>
                  </a:lnTo>
                  <a:lnTo>
                    <a:pt x="833" y="84"/>
                  </a:lnTo>
                  <a:lnTo>
                    <a:pt x="829" y="84"/>
                  </a:lnTo>
                  <a:lnTo>
                    <a:pt x="825" y="84"/>
                  </a:lnTo>
                  <a:lnTo>
                    <a:pt x="821" y="80"/>
                  </a:lnTo>
                  <a:lnTo>
                    <a:pt x="825" y="76"/>
                  </a:lnTo>
                  <a:lnTo>
                    <a:pt x="829" y="76"/>
                  </a:lnTo>
                  <a:lnTo>
                    <a:pt x="829" y="72"/>
                  </a:lnTo>
                  <a:lnTo>
                    <a:pt x="833" y="72"/>
                  </a:lnTo>
                  <a:lnTo>
                    <a:pt x="837" y="72"/>
                  </a:lnTo>
                  <a:lnTo>
                    <a:pt x="837" y="68"/>
                  </a:lnTo>
                  <a:lnTo>
                    <a:pt x="845" y="68"/>
                  </a:lnTo>
                  <a:lnTo>
                    <a:pt x="849" y="68"/>
                  </a:lnTo>
                  <a:lnTo>
                    <a:pt x="857" y="68"/>
                  </a:lnTo>
                  <a:lnTo>
                    <a:pt x="861" y="68"/>
                  </a:lnTo>
                  <a:lnTo>
                    <a:pt x="865" y="68"/>
                  </a:lnTo>
                  <a:lnTo>
                    <a:pt x="869" y="64"/>
                  </a:lnTo>
                  <a:lnTo>
                    <a:pt x="873" y="64"/>
                  </a:lnTo>
                  <a:lnTo>
                    <a:pt x="877" y="64"/>
                  </a:lnTo>
                  <a:lnTo>
                    <a:pt x="881" y="64"/>
                  </a:lnTo>
                  <a:lnTo>
                    <a:pt x="885" y="64"/>
                  </a:lnTo>
                  <a:lnTo>
                    <a:pt x="881" y="64"/>
                  </a:lnTo>
                  <a:lnTo>
                    <a:pt x="877" y="64"/>
                  </a:lnTo>
                  <a:lnTo>
                    <a:pt x="873" y="64"/>
                  </a:lnTo>
                  <a:lnTo>
                    <a:pt x="869" y="64"/>
                  </a:lnTo>
                  <a:lnTo>
                    <a:pt x="865" y="64"/>
                  </a:lnTo>
                  <a:lnTo>
                    <a:pt x="861" y="64"/>
                  </a:lnTo>
                  <a:lnTo>
                    <a:pt x="857" y="64"/>
                  </a:lnTo>
                  <a:lnTo>
                    <a:pt x="853" y="64"/>
                  </a:lnTo>
                  <a:lnTo>
                    <a:pt x="849" y="68"/>
                  </a:lnTo>
                  <a:lnTo>
                    <a:pt x="845" y="68"/>
                  </a:lnTo>
                  <a:lnTo>
                    <a:pt x="841" y="68"/>
                  </a:lnTo>
                  <a:lnTo>
                    <a:pt x="837" y="68"/>
                  </a:lnTo>
                  <a:lnTo>
                    <a:pt x="833" y="68"/>
                  </a:lnTo>
                  <a:lnTo>
                    <a:pt x="829" y="68"/>
                  </a:lnTo>
                  <a:lnTo>
                    <a:pt x="825" y="72"/>
                  </a:lnTo>
                  <a:lnTo>
                    <a:pt x="817" y="76"/>
                  </a:lnTo>
                  <a:lnTo>
                    <a:pt x="813" y="80"/>
                  </a:lnTo>
                  <a:lnTo>
                    <a:pt x="809" y="80"/>
                  </a:lnTo>
                  <a:lnTo>
                    <a:pt x="805" y="80"/>
                  </a:lnTo>
                  <a:lnTo>
                    <a:pt x="801" y="80"/>
                  </a:lnTo>
                  <a:lnTo>
                    <a:pt x="797" y="80"/>
                  </a:lnTo>
                  <a:lnTo>
                    <a:pt x="797" y="76"/>
                  </a:lnTo>
                  <a:lnTo>
                    <a:pt x="794" y="76"/>
                  </a:lnTo>
                  <a:lnTo>
                    <a:pt x="790" y="76"/>
                  </a:lnTo>
                  <a:lnTo>
                    <a:pt x="786" y="76"/>
                  </a:lnTo>
                  <a:lnTo>
                    <a:pt x="782" y="72"/>
                  </a:lnTo>
                  <a:lnTo>
                    <a:pt x="786" y="72"/>
                  </a:lnTo>
                  <a:lnTo>
                    <a:pt x="790" y="68"/>
                  </a:lnTo>
                  <a:lnTo>
                    <a:pt x="794" y="68"/>
                  </a:lnTo>
                  <a:lnTo>
                    <a:pt x="797" y="68"/>
                  </a:lnTo>
                  <a:lnTo>
                    <a:pt x="801" y="68"/>
                  </a:lnTo>
                  <a:lnTo>
                    <a:pt x="805" y="68"/>
                  </a:lnTo>
                  <a:lnTo>
                    <a:pt x="809" y="68"/>
                  </a:lnTo>
                  <a:lnTo>
                    <a:pt x="813" y="68"/>
                  </a:lnTo>
                  <a:lnTo>
                    <a:pt x="817" y="68"/>
                  </a:lnTo>
                  <a:lnTo>
                    <a:pt x="821" y="68"/>
                  </a:lnTo>
                  <a:lnTo>
                    <a:pt x="825" y="68"/>
                  </a:lnTo>
                  <a:lnTo>
                    <a:pt x="829" y="68"/>
                  </a:lnTo>
                  <a:lnTo>
                    <a:pt x="833" y="64"/>
                  </a:lnTo>
                  <a:lnTo>
                    <a:pt x="837" y="64"/>
                  </a:lnTo>
                  <a:lnTo>
                    <a:pt x="841" y="64"/>
                  </a:lnTo>
                  <a:lnTo>
                    <a:pt x="841" y="60"/>
                  </a:lnTo>
                  <a:lnTo>
                    <a:pt x="845" y="60"/>
                  </a:lnTo>
                  <a:lnTo>
                    <a:pt x="849" y="60"/>
                  </a:lnTo>
                  <a:lnTo>
                    <a:pt x="845" y="60"/>
                  </a:lnTo>
                  <a:lnTo>
                    <a:pt x="841" y="60"/>
                  </a:lnTo>
                  <a:lnTo>
                    <a:pt x="837" y="60"/>
                  </a:lnTo>
                  <a:lnTo>
                    <a:pt x="833" y="60"/>
                  </a:lnTo>
                  <a:lnTo>
                    <a:pt x="829" y="64"/>
                  </a:lnTo>
                  <a:lnTo>
                    <a:pt x="825" y="64"/>
                  </a:lnTo>
                  <a:lnTo>
                    <a:pt x="821" y="64"/>
                  </a:lnTo>
                  <a:lnTo>
                    <a:pt x="817" y="64"/>
                  </a:lnTo>
                  <a:lnTo>
                    <a:pt x="813" y="64"/>
                  </a:lnTo>
                  <a:lnTo>
                    <a:pt x="813" y="68"/>
                  </a:lnTo>
                  <a:lnTo>
                    <a:pt x="805" y="68"/>
                  </a:lnTo>
                  <a:lnTo>
                    <a:pt x="801" y="68"/>
                  </a:lnTo>
                  <a:lnTo>
                    <a:pt x="797" y="68"/>
                  </a:lnTo>
                  <a:lnTo>
                    <a:pt x="794" y="68"/>
                  </a:lnTo>
                  <a:lnTo>
                    <a:pt x="790" y="68"/>
                  </a:lnTo>
                  <a:lnTo>
                    <a:pt x="786" y="68"/>
                  </a:lnTo>
                  <a:lnTo>
                    <a:pt x="782" y="68"/>
                  </a:lnTo>
                  <a:lnTo>
                    <a:pt x="778" y="68"/>
                  </a:lnTo>
                  <a:lnTo>
                    <a:pt x="774" y="68"/>
                  </a:lnTo>
                  <a:lnTo>
                    <a:pt x="770" y="68"/>
                  </a:lnTo>
                  <a:lnTo>
                    <a:pt x="766" y="64"/>
                  </a:lnTo>
                  <a:lnTo>
                    <a:pt x="770" y="60"/>
                  </a:lnTo>
                  <a:lnTo>
                    <a:pt x="774" y="60"/>
                  </a:lnTo>
                  <a:lnTo>
                    <a:pt x="778" y="60"/>
                  </a:lnTo>
                  <a:lnTo>
                    <a:pt x="778" y="64"/>
                  </a:lnTo>
                  <a:lnTo>
                    <a:pt x="782" y="64"/>
                  </a:lnTo>
                  <a:lnTo>
                    <a:pt x="782" y="60"/>
                  </a:lnTo>
                  <a:lnTo>
                    <a:pt x="786" y="60"/>
                  </a:lnTo>
                  <a:lnTo>
                    <a:pt x="782" y="60"/>
                  </a:lnTo>
                  <a:lnTo>
                    <a:pt x="778" y="60"/>
                  </a:lnTo>
                  <a:lnTo>
                    <a:pt x="774" y="60"/>
                  </a:lnTo>
                  <a:lnTo>
                    <a:pt x="774" y="56"/>
                  </a:lnTo>
                  <a:lnTo>
                    <a:pt x="778" y="56"/>
                  </a:lnTo>
                  <a:lnTo>
                    <a:pt x="782" y="56"/>
                  </a:lnTo>
                  <a:lnTo>
                    <a:pt x="786" y="56"/>
                  </a:lnTo>
                  <a:lnTo>
                    <a:pt x="790" y="52"/>
                  </a:lnTo>
                  <a:lnTo>
                    <a:pt x="794" y="52"/>
                  </a:lnTo>
                  <a:lnTo>
                    <a:pt x="797" y="52"/>
                  </a:lnTo>
                  <a:lnTo>
                    <a:pt x="801" y="52"/>
                  </a:lnTo>
                  <a:lnTo>
                    <a:pt x="805" y="52"/>
                  </a:lnTo>
                  <a:lnTo>
                    <a:pt x="809" y="52"/>
                  </a:lnTo>
                  <a:lnTo>
                    <a:pt x="813" y="52"/>
                  </a:lnTo>
                  <a:lnTo>
                    <a:pt x="809" y="52"/>
                  </a:lnTo>
                  <a:lnTo>
                    <a:pt x="805" y="52"/>
                  </a:lnTo>
                  <a:lnTo>
                    <a:pt x="801" y="52"/>
                  </a:lnTo>
                  <a:lnTo>
                    <a:pt x="797" y="52"/>
                  </a:lnTo>
                  <a:lnTo>
                    <a:pt x="794" y="52"/>
                  </a:lnTo>
                  <a:lnTo>
                    <a:pt x="790" y="52"/>
                  </a:lnTo>
                  <a:lnTo>
                    <a:pt x="786" y="52"/>
                  </a:lnTo>
                  <a:lnTo>
                    <a:pt x="782" y="52"/>
                  </a:lnTo>
                  <a:lnTo>
                    <a:pt x="778" y="52"/>
                  </a:lnTo>
                  <a:lnTo>
                    <a:pt x="778" y="56"/>
                  </a:lnTo>
                  <a:lnTo>
                    <a:pt x="770" y="56"/>
                  </a:lnTo>
                  <a:lnTo>
                    <a:pt x="766" y="56"/>
                  </a:lnTo>
                  <a:lnTo>
                    <a:pt x="762" y="56"/>
                  </a:lnTo>
                  <a:lnTo>
                    <a:pt x="766" y="56"/>
                  </a:lnTo>
                  <a:lnTo>
                    <a:pt x="762" y="56"/>
                  </a:lnTo>
                  <a:lnTo>
                    <a:pt x="758" y="56"/>
                  </a:lnTo>
                  <a:lnTo>
                    <a:pt x="758" y="52"/>
                  </a:lnTo>
                  <a:lnTo>
                    <a:pt x="762" y="52"/>
                  </a:lnTo>
                  <a:lnTo>
                    <a:pt x="766" y="52"/>
                  </a:lnTo>
                  <a:lnTo>
                    <a:pt x="770" y="52"/>
                  </a:lnTo>
                  <a:lnTo>
                    <a:pt x="774" y="48"/>
                  </a:lnTo>
                  <a:lnTo>
                    <a:pt x="778" y="48"/>
                  </a:lnTo>
                  <a:lnTo>
                    <a:pt x="774" y="48"/>
                  </a:lnTo>
                  <a:lnTo>
                    <a:pt x="770" y="48"/>
                  </a:lnTo>
                  <a:lnTo>
                    <a:pt x="766" y="48"/>
                  </a:lnTo>
                  <a:lnTo>
                    <a:pt x="762" y="48"/>
                  </a:lnTo>
                  <a:lnTo>
                    <a:pt x="758" y="48"/>
                  </a:lnTo>
                  <a:lnTo>
                    <a:pt x="758" y="52"/>
                  </a:lnTo>
                  <a:lnTo>
                    <a:pt x="754" y="52"/>
                  </a:lnTo>
                  <a:lnTo>
                    <a:pt x="750" y="52"/>
                  </a:lnTo>
                  <a:lnTo>
                    <a:pt x="750" y="48"/>
                  </a:lnTo>
                  <a:lnTo>
                    <a:pt x="746" y="48"/>
                  </a:lnTo>
                  <a:lnTo>
                    <a:pt x="742" y="48"/>
                  </a:lnTo>
                  <a:lnTo>
                    <a:pt x="746" y="48"/>
                  </a:lnTo>
                  <a:lnTo>
                    <a:pt x="746" y="44"/>
                  </a:lnTo>
                  <a:lnTo>
                    <a:pt x="750" y="44"/>
                  </a:lnTo>
                  <a:lnTo>
                    <a:pt x="754" y="44"/>
                  </a:lnTo>
                  <a:lnTo>
                    <a:pt x="758" y="44"/>
                  </a:lnTo>
                  <a:lnTo>
                    <a:pt x="758" y="40"/>
                  </a:lnTo>
                  <a:lnTo>
                    <a:pt x="762" y="40"/>
                  </a:lnTo>
                  <a:lnTo>
                    <a:pt x="766" y="40"/>
                  </a:lnTo>
                  <a:lnTo>
                    <a:pt x="770" y="40"/>
                  </a:lnTo>
                  <a:lnTo>
                    <a:pt x="774" y="40"/>
                  </a:lnTo>
                  <a:lnTo>
                    <a:pt x="778" y="40"/>
                  </a:lnTo>
                  <a:lnTo>
                    <a:pt x="782" y="44"/>
                  </a:lnTo>
                  <a:lnTo>
                    <a:pt x="782" y="40"/>
                  </a:lnTo>
                  <a:lnTo>
                    <a:pt x="786" y="40"/>
                  </a:lnTo>
                  <a:lnTo>
                    <a:pt x="786" y="36"/>
                  </a:lnTo>
                  <a:lnTo>
                    <a:pt x="790" y="36"/>
                  </a:lnTo>
                  <a:lnTo>
                    <a:pt x="794" y="36"/>
                  </a:lnTo>
                  <a:lnTo>
                    <a:pt x="797" y="36"/>
                  </a:lnTo>
                  <a:lnTo>
                    <a:pt x="801" y="32"/>
                  </a:lnTo>
                  <a:lnTo>
                    <a:pt x="805" y="36"/>
                  </a:lnTo>
                  <a:lnTo>
                    <a:pt x="805" y="32"/>
                  </a:lnTo>
                  <a:lnTo>
                    <a:pt x="809" y="32"/>
                  </a:lnTo>
                  <a:lnTo>
                    <a:pt x="809" y="36"/>
                  </a:lnTo>
                  <a:lnTo>
                    <a:pt x="813" y="36"/>
                  </a:lnTo>
                  <a:lnTo>
                    <a:pt x="813" y="40"/>
                  </a:lnTo>
                  <a:lnTo>
                    <a:pt x="817" y="40"/>
                  </a:lnTo>
                  <a:lnTo>
                    <a:pt x="821" y="40"/>
                  </a:lnTo>
                  <a:lnTo>
                    <a:pt x="817" y="40"/>
                  </a:lnTo>
                  <a:lnTo>
                    <a:pt x="813" y="40"/>
                  </a:lnTo>
                  <a:lnTo>
                    <a:pt x="813" y="36"/>
                  </a:lnTo>
                  <a:lnTo>
                    <a:pt x="817" y="36"/>
                  </a:lnTo>
                  <a:lnTo>
                    <a:pt x="821" y="36"/>
                  </a:lnTo>
                  <a:lnTo>
                    <a:pt x="825" y="36"/>
                  </a:lnTo>
                  <a:lnTo>
                    <a:pt x="829" y="36"/>
                  </a:lnTo>
                  <a:lnTo>
                    <a:pt x="833" y="36"/>
                  </a:lnTo>
                  <a:lnTo>
                    <a:pt x="837" y="36"/>
                  </a:lnTo>
                  <a:lnTo>
                    <a:pt x="837" y="40"/>
                  </a:lnTo>
                  <a:lnTo>
                    <a:pt x="841" y="40"/>
                  </a:lnTo>
                  <a:lnTo>
                    <a:pt x="837" y="40"/>
                  </a:lnTo>
                  <a:lnTo>
                    <a:pt x="837" y="36"/>
                  </a:lnTo>
                  <a:lnTo>
                    <a:pt x="841" y="36"/>
                  </a:lnTo>
                  <a:lnTo>
                    <a:pt x="845" y="36"/>
                  </a:lnTo>
                  <a:lnTo>
                    <a:pt x="845" y="40"/>
                  </a:lnTo>
                  <a:lnTo>
                    <a:pt x="849" y="40"/>
                  </a:lnTo>
                  <a:lnTo>
                    <a:pt x="845" y="40"/>
                  </a:lnTo>
                  <a:lnTo>
                    <a:pt x="845" y="36"/>
                  </a:lnTo>
                  <a:lnTo>
                    <a:pt x="849" y="36"/>
                  </a:lnTo>
                  <a:lnTo>
                    <a:pt x="849" y="40"/>
                  </a:lnTo>
                  <a:lnTo>
                    <a:pt x="853" y="40"/>
                  </a:lnTo>
                  <a:lnTo>
                    <a:pt x="849" y="36"/>
                  </a:lnTo>
                  <a:lnTo>
                    <a:pt x="845" y="36"/>
                  </a:lnTo>
                  <a:lnTo>
                    <a:pt x="841" y="36"/>
                  </a:lnTo>
                  <a:lnTo>
                    <a:pt x="837" y="36"/>
                  </a:lnTo>
                  <a:lnTo>
                    <a:pt x="833" y="36"/>
                  </a:lnTo>
                  <a:lnTo>
                    <a:pt x="833" y="32"/>
                  </a:lnTo>
                  <a:lnTo>
                    <a:pt x="829" y="32"/>
                  </a:lnTo>
                  <a:lnTo>
                    <a:pt x="825" y="32"/>
                  </a:lnTo>
                  <a:lnTo>
                    <a:pt x="821" y="32"/>
                  </a:lnTo>
                  <a:lnTo>
                    <a:pt x="817" y="32"/>
                  </a:lnTo>
                  <a:lnTo>
                    <a:pt x="817" y="28"/>
                  </a:lnTo>
                  <a:lnTo>
                    <a:pt x="821" y="28"/>
                  </a:lnTo>
                  <a:lnTo>
                    <a:pt x="825" y="28"/>
                  </a:lnTo>
                  <a:lnTo>
                    <a:pt x="829" y="28"/>
                  </a:lnTo>
                  <a:lnTo>
                    <a:pt x="833" y="28"/>
                  </a:lnTo>
                  <a:lnTo>
                    <a:pt x="837" y="28"/>
                  </a:lnTo>
                  <a:lnTo>
                    <a:pt x="841" y="28"/>
                  </a:lnTo>
                  <a:lnTo>
                    <a:pt x="837" y="24"/>
                  </a:lnTo>
                  <a:lnTo>
                    <a:pt x="841" y="24"/>
                  </a:lnTo>
                  <a:lnTo>
                    <a:pt x="837" y="24"/>
                  </a:lnTo>
                  <a:lnTo>
                    <a:pt x="833" y="24"/>
                  </a:lnTo>
                  <a:lnTo>
                    <a:pt x="833" y="20"/>
                  </a:lnTo>
                  <a:lnTo>
                    <a:pt x="837" y="20"/>
                  </a:lnTo>
                  <a:lnTo>
                    <a:pt x="841" y="20"/>
                  </a:lnTo>
                  <a:lnTo>
                    <a:pt x="845" y="20"/>
                  </a:lnTo>
                  <a:lnTo>
                    <a:pt x="853" y="20"/>
                  </a:lnTo>
                  <a:lnTo>
                    <a:pt x="853" y="24"/>
                  </a:lnTo>
                  <a:lnTo>
                    <a:pt x="849" y="24"/>
                  </a:lnTo>
                  <a:lnTo>
                    <a:pt x="853" y="24"/>
                  </a:lnTo>
                  <a:lnTo>
                    <a:pt x="857" y="24"/>
                  </a:lnTo>
                  <a:lnTo>
                    <a:pt x="861" y="24"/>
                  </a:lnTo>
                  <a:lnTo>
                    <a:pt x="865" y="24"/>
                  </a:lnTo>
                  <a:lnTo>
                    <a:pt x="869" y="28"/>
                  </a:lnTo>
                  <a:lnTo>
                    <a:pt x="873" y="28"/>
                  </a:lnTo>
                  <a:lnTo>
                    <a:pt x="873" y="32"/>
                  </a:lnTo>
                  <a:lnTo>
                    <a:pt x="877" y="32"/>
                  </a:lnTo>
                  <a:lnTo>
                    <a:pt x="877" y="36"/>
                  </a:lnTo>
                  <a:lnTo>
                    <a:pt x="881" y="36"/>
                  </a:lnTo>
                  <a:lnTo>
                    <a:pt x="885" y="36"/>
                  </a:lnTo>
                  <a:lnTo>
                    <a:pt x="889" y="36"/>
                  </a:lnTo>
                  <a:lnTo>
                    <a:pt x="893" y="36"/>
                  </a:lnTo>
                  <a:lnTo>
                    <a:pt x="889" y="36"/>
                  </a:lnTo>
                  <a:lnTo>
                    <a:pt x="885" y="32"/>
                  </a:lnTo>
                  <a:lnTo>
                    <a:pt x="881" y="32"/>
                  </a:lnTo>
                  <a:lnTo>
                    <a:pt x="877" y="32"/>
                  </a:lnTo>
                  <a:lnTo>
                    <a:pt x="877" y="28"/>
                  </a:lnTo>
                  <a:lnTo>
                    <a:pt x="881" y="28"/>
                  </a:lnTo>
                  <a:lnTo>
                    <a:pt x="885" y="28"/>
                  </a:lnTo>
                  <a:lnTo>
                    <a:pt x="889" y="28"/>
                  </a:lnTo>
                  <a:lnTo>
                    <a:pt x="889" y="32"/>
                  </a:lnTo>
                  <a:lnTo>
                    <a:pt x="893" y="32"/>
                  </a:lnTo>
                  <a:lnTo>
                    <a:pt x="897" y="32"/>
                  </a:lnTo>
                  <a:lnTo>
                    <a:pt x="901" y="32"/>
                  </a:lnTo>
                  <a:lnTo>
                    <a:pt x="905" y="36"/>
                  </a:lnTo>
                  <a:lnTo>
                    <a:pt x="909" y="36"/>
                  </a:lnTo>
                  <a:lnTo>
                    <a:pt x="913" y="36"/>
                  </a:lnTo>
                  <a:lnTo>
                    <a:pt x="917" y="36"/>
                  </a:lnTo>
                  <a:lnTo>
                    <a:pt x="921" y="36"/>
                  </a:lnTo>
                  <a:lnTo>
                    <a:pt x="925" y="40"/>
                  </a:lnTo>
                  <a:lnTo>
                    <a:pt x="929" y="40"/>
                  </a:lnTo>
                  <a:lnTo>
                    <a:pt x="929" y="44"/>
                  </a:lnTo>
                  <a:lnTo>
                    <a:pt x="933" y="44"/>
                  </a:lnTo>
                  <a:lnTo>
                    <a:pt x="929" y="40"/>
                  </a:lnTo>
                  <a:lnTo>
                    <a:pt x="925" y="36"/>
                  </a:lnTo>
                  <a:lnTo>
                    <a:pt x="921" y="36"/>
                  </a:lnTo>
                  <a:lnTo>
                    <a:pt x="917" y="36"/>
                  </a:lnTo>
                  <a:lnTo>
                    <a:pt x="913" y="36"/>
                  </a:lnTo>
                  <a:lnTo>
                    <a:pt x="909" y="36"/>
                  </a:lnTo>
                  <a:lnTo>
                    <a:pt x="909" y="32"/>
                  </a:lnTo>
                  <a:lnTo>
                    <a:pt x="905" y="32"/>
                  </a:lnTo>
                  <a:lnTo>
                    <a:pt x="901" y="32"/>
                  </a:lnTo>
                  <a:lnTo>
                    <a:pt x="897" y="28"/>
                  </a:lnTo>
                  <a:lnTo>
                    <a:pt x="893" y="28"/>
                  </a:lnTo>
                  <a:lnTo>
                    <a:pt x="889" y="28"/>
                  </a:lnTo>
                  <a:lnTo>
                    <a:pt x="885" y="28"/>
                  </a:lnTo>
                  <a:lnTo>
                    <a:pt x="885" y="24"/>
                  </a:lnTo>
                  <a:lnTo>
                    <a:pt x="881" y="24"/>
                  </a:lnTo>
                  <a:lnTo>
                    <a:pt x="885" y="20"/>
                  </a:lnTo>
                  <a:lnTo>
                    <a:pt x="889" y="20"/>
                  </a:lnTo>
                  <a:lnTo>
                    <a:pt x="897" y="20"/>
                  </a:lnTo>
                  <a:lnTo>
                    <a:pt x="901" y="20"/>
                  </a:lnTo>
                  <a:lnTo>
                    <a:pt x="897" y="20"/>
                  </a:lnTo>
                  <a:lnTo>
                    <a:pt x="893" y="20"/>
                  </a:lnTo>
                  <a:lnTo>
                    <a:pt x="889" y="20"/>
                  </a:lnTo>
                  <a:lnTo>
                    <a:pt x="889" y="16"/>
                  </a:lnTo>
                  <a:lnTo>
                    <a:pt x="885" y="16"/>
                  </a:lnTo>
                  <a:lnTo>
                    <a:pt x="889" y="16"/>
                  </a:lnTo>
                  <a:lnTo>
                    <a:pt x="893" y="16"/>
                  </a:lnTo>
                  <a:lnTo>
                    <a:pt x="901" y="16"/>
                  </a:lnTo>
                  <a:lnTo>
                    <a:pt x="905" y="20"/>
                  </a:lnTo>
                  <a:lnTo>
                    <a:pt x="909" y="20"/>
                  </a:lnTo>
                  <a:lnTo>
                    <a:pt x="913" y="20"/>
                  </a:lnTo>
                  <a:lnTo>
                    <a:pt x="909" y="16"/>
                  </a:lnTo>
                  <a:lnTo>
                    <a:pt x="905" y="16"/>
                  </a:lnTo>
                  <a:lnTo>
                    <a:pt x="905" y="12"/>
                  </a:lnTo>
                  <a:lnTo>
                    <a:pt x="901" y="12"/>
                  </a:lnTo>
                  <a:lnTo>
                    <a:pt x="897" y="12"/>
                  </a:lnTo>
                  <a:lnTo>
                    <a:pt x="901" y="12"/>
                  </a:lnTo>
                  <a:lnTo>
                    <a:pt x="901" y="8"/>
                  </a:lnTo>
                  <a:lnTo>
                    <a:pt x="909" y="12"/>
                  </a:lnTo>
                  <a:lnTo>
                    <a:pt x="917" y="12"/>
                  </a:lnTo>
                  <a:lnTo>
                    <a:pt x="921" y="12"/>
                  </a:lnTo>
                  <a:lnTo>
                    <a:pt x="921" y="16"/>
                  </a:lnTo>
                  <a:lnTo>
                    <a:pt x="925" y="16"/>
                  </a:lnTo>
                  <a:lnTo>
                    <a:pt x="925" y="12"/>
                  </a:lnTo>
                  <a:lnTo>
                    <a:pt x="929" y="16"/>
                  </a:lnTo>
                  <a:lnTo>
                    <a:pt x="933" y="16"/>
                  </a:lnTo>
                  <a:lnTo>
                    <a:pt x="937" y="16"/>
                  </a:lnTo>
                  <a:lnTo>
                    <a:pt x="941" y="16"/>
                  </a:lnTo>
                  <a:lnTo>
                    <a:pt x="945" y="16"/>
                  </a:lnTo>
                  <a:lnTo>
                    <a:pt x="941" y="16"/>
                  </a:lnTo>
                  <a:lnTo>
                    <a:pt x="937" y="16"/>
                  </a:lnTo>
                  <a:lnTo>
                    <a:pt x="933" y="16"/>
                  </a:lnTo>
                  <a:lnTo>
                    <a:pt x="933" y="12"/>
                  </a:lnTo>
                  <a:lnTo>
                    <a:pt x="929" y="12"/>
                  </a:lnTo>
                  <a:lnTo>
                    <a:pt x="925" y="12"/>
                  </a:lnTo>
                  <a:lnTo>
                    <a:pt x="921" y="12"/>
                  </a:lnTo>
                  <a:lnTo>
                    <a:pt x="925" y="12"/>
                  </a:lnTo>
                  <a:lnTo>
                    <a:pt x="929" y="12"/>
                  </a:lnTo>
                  <a:lnTo>
                    <a:pt x="925" y="8"/>
                  </a:lnTo>
                  <a:lnTo>
                    <a:pt x="921" y="8"/>
                  </a:lnTo>
                  <a:lnTo>
                    <a:pt x="917" y="8"/>
                  </a:lnTo>
                  <a:lnTo>
                    <a:pt x="921" y="8"/>
                  </a:lnTo>
                  <a:lnTo>
                    <a:pt x="925" y="4"/>
                  </a:lnTo>
                  <a:lnTo>
                    <a:pt x="929" y="4"/>
                  </a:lnTo>
                  <a:lnTo>
                    <a:pt x="933" y="4"/>
                  </a:lnTo>
                  <a:lnTo>
                    <a:pt x="937" y="4"/>
                  </a:lnTo>
                  <a:lnTo>
                    <a:pt x="937" y="8"/>
                  </a:lnTo>
                  <a:lnTo>
                    <a:pt x="941" y="8"/>
                  </a:lnTo>
                  <a:lnTo>
                    <a:pt x="945" y="8"/>
                  </a:lnTo>
                  <a:lnTo>
                    <a:pt x="949" y="8"/>
                  </a:lnTo>
                  <a:lnTo>
                    <a:pt x="949" y="12"/>
                  </a:lnTo>
                  <a:lnTo>
                    <a:pt x="953" y="8"/>
                  </a:lnTo>
                  <a:lnTo>
                    <a:pt x="949" y="8"/>
                  </a:lnTo>
                  <a:lnTo>
                    <a:pt x="953" y="8"/>
                  </a:lnTo>
                  <a:lnTo>
                    <a:pt x="957" y="8"/>
                  </a:lnTo>
                  <a:lnTo>
                    <a:pt x="961" y="8"/>
                  </a:lnTo>
                  <a:lnTo>
                    <a:pt x="965" y="8"/>
                  </a:lnTo>
                  <a:lnTo>
                    <a:pt x="969" y="12"/>
                  </a:lnTo>
                  <a:lnTo>
                    <a:pt x="973" y="12"/>
                  </a:lnTo>
                  <a:lnTo>
                    <a:pt x="973" y="16"/>
                  </a:lnTo>
                  <a:lnTo>
                    <a:pt x="977" y="16"/>
                  </a:lnTo>
                  <a:lnTo>
                    <a:pt x="981" y="16"/>
                  </a:lnTo>
                  <a:lnTo>
                    <a:pt x="985" y="16"/>
                  </a:lnTo>
                  <a:lnTo>
                    <a:pt x="985" y="20"/>
                  </a:lnTo>
                  <a:lnTo>
                    <a:pt x="981" y="20"/>
                  </a:lnTo>
                  <a:lnTo>
                    <a:pt x="981" y="24"/>
                  </a:lnTo>
                  <a:lnTo>
                    <a:pt x="981" y="20"/>
                  </a:lnTo>
                  <a:lnTo>
                    <a:pt x="985" y="20"/>
                  </a:lnTo>
                  <a:lnTo>
                    <a:pt x="989" y="16"/>
                  </a:lnTo>
                  <a:lnTo>
                    <a:pt x="993" y="16"/>
                  </a:lnTo>
                  <a:lnTo>
                    <a:pt x="989" y="16"/>
                  </a:lnTo>
                  <a:lnTo>
                    <a:pt x="985" y="16"/>
                  </a:lnTo>
                  <a:lnTo>
                    <a:pt x="981" y="16"/>
                  </a:lnTo>
                  <a:lnTo>
                    <a:pt x="981" y="12"/>
                  </a:lnTo>
                  <a:lnTo>
                    <a:pt x="977" y="12"/>
                  </a:lnTo>
                  <a:lnTo>
                    <a:pt x="981" y="12"/>
                  </a:lnTo>
                  <a:lnTo>
                    <a:pt x="985" y="12"/>
                  </a:lnTo>
                  <a:lnTo>
                    <a:pt x="981" y="12"/>
                  </a:lnTo>
                  <a:lnTo>
                    <a:pt x="977" y="12"/>
                  </a:lnTo>
                  <a:lnTo>
                    <a:pt x="973" y="8"/>
                  </a:lnTo>
                  <a:lnTo>
                    <a:pt x="969" y="8"/>
                  </a:lnTo>
                  <a:lnTo>
                    <a:pt x="965" y="8"/>
                  </a:lnTo>
                  <a:lnTo>
                    <a:pt x="961" y="4"/>
                  </a:lnTo>
                  <a:lnTo>
                    <a:pt x="965" y="4"/>
                  </a:lnTo>
                  <a:lnTo>
                    <a:pt x="969" y="4"/>
                  </a:lnTo>
                  <a:lnTo>
                    <a:pt x="973" y="4"/>
                  </a:lnTo>
                  <a:lnTo>
                    <a:pt x="977" y="4"/>
                  </a:lnTo>
                  <a:lnTo>
                    <a:pt x="981" y="4"/>
                  </a:lnTo>
                  <a:lnTo>
                    <a:pt x="985" y="4"/>
                  </a:lnTo>
                  <a:lnTo>
                    <a:pt x="989" y="4"/>
                  </a:lnTo>
                  <a:lnTo>
                    <a:pt x="993" y="4"/>
                  </a:lnTo>
                  <a:lnTo>
                    <a:pt x="997" y="4"/>
                  </a:lnTo>
                  <a:lnTo>
                    <a:pt x="1001" y="4"/>
                  </a:lnTo>
                  <a:lnTo>
                    <a:pt x="1005" y="4"/>
                  </a:lnTo>
                  <a:lnTo>
                    <a:pt x="1009" y="4"/>
                  </a:lnTo>
                  <a:lnTo>
                    <a:pt x="1013" y="4"/>
                  </a:lnTo>
                  <a:lnTo>
                    <a:pt x="1017" y="8"/>
                  </a:lnTo>
                  <a:lnTo>
                    <a:pt x="1021" y="12"/>
                  </a:lnTo>
                  <a:lnTo>
                    <a:pt x="1025" y="12"/>
                  </a:lnTo>
                  <a:lnTo>
                    <a:pt x="1029" y="12"/>
                  </a:lnTo>
                  <a:lnTo>
                    <a:pt x="1033" y="12"/>
                  </a:lnTo>
                  <a:lnTo>
                    <a:pt x="1033" y="16"/>
                  </a:lnTo>
                  <a:lnTo>
                    <a:pt x="1037" y="12"/>
                  </a:lnTo>
                  <a:lnTo>
                    <a:pt x="1033" y="12"/>
                  </a:lnTo>
                  <a:lnTo>
                    <a:pt x="1029" y="12"/>
                  </a:lnTo>
                  <a:lnTo>
                    <a:pt x="1025" y="12"/>
                  </a:lnTo>
                  <a:lnTo>
                    <a:pt x="1021" y="8"/>
                  </a:lnTo>
                  <a:lnTo>
                    <a:pt x="1025" y="4"/>
                  </a:lnTo>
                  <a:lnTo>
                    <a:pt x="1029" y="4"/>
                  </a:lnTo>
                  <a:lnTo>
                    <a:pt x="1033" y="0"/>
                  </a:lnTo>
                  <a:lnTo>
                    <a:pt x="1037" y="0"/>
                  </a:lnTo>
                  <a:lnTo>
                    <a:pt x="1041" y="0"/>
                  </a:lnTo>
                  <a:lnTo>
                    <a:pt x="1045" y="0"/>
                  </a:lnTo>
                  <a:lnTo>
                    <a:pt x="1049" y="0"/>
                  </a:lnTo>
                  <a:lnTo>
                    <a:pt x="1049" y="4"/>
                  </a:lnTo>
                  <a:lnTo>
                    <a:pt x="1049" y="8"/>
                  </a:lnTo>
                  <a:lnTo>
                    <a:pt x="1053" y="8"/>
                  </a:lnTo>
                  <a:lnTo>
                    <a:pt x="1057" y="8"/>
                  </a:lnTo>
                  <a:lnTo>
                    <a:pt x="1061" y="8"/>
                  </a:lnTo>
                  <a:lnTo>
                    <a:pt x="1057" y="8"/>
                  </a:lnTo>
                  <a:lnTo>
                    <a:pt x="1053" y="4"/>
                  </a:lnTo>
                  <a:lnTo>
                    <a:pt x="1057" y="0"/>
                  </a:lnTo>
                  <a:lnTo>
                    <a:pt x="1061" y="0"/>
                  </a:lnTo>
                  <a:lnTo>
                    <a:pt x="1065" y="0"/>
                  </a:lnTo>
                  <a:lnTo>
                    <a:pt x="1069" y="0"/>
                  </a:lnTo>
                  <a:lnTo>
                    <a:pt x="1073" y="0"/>
                  </a:lnTo>
                  <a:lnTo>
                    <a:pt x="1077" y="0"/>
                  </a:lnTo>
                  <a:lnTo>
                    <a:pt x="1081" y="0"/>
                  </a:lnTo>
                  <a:lnTo>
                    <a:pt x="1081" y="4"/>
                  </a:lnTo>
                  <a:lnTo>
                    <a:pt x="1077" y="4"/>
                  </a:lnTo>
                  <a:lnTo>
                    <a:pt x="1081" y="4"/>
                  </a:lnTo>
                  <a:lnTo>
                    <a:pt x="1085" y="4"/>
                  </a:lnTo>
                  <a:lnTo>
                    <a:pt x="1089" y="4"/>
                  </a:lnTo>
                  <a:lnTo>
                    <a:pt x="1093" y="4"/>
                  </a:lnTo>
                  <a:lnTo>
                    <a:pt x="1097" y="4"/>
                  </a:lnTo>
                  <a:lnTo>
                    <a:pt x="1101" y="4"/>
                  </a:lnTo>
                  <a:lnTo>
                    <a:pt x="1101" y="8"/>
                  </a:lnTo>
                  <a:lnTo>
                    <a:pt x="1105" y="8"/>
                  </a:lnTo>
                  <a:lnTo>
                    <a:pt x="1105" y="4"/>
                  </a:lnTo>
                  <a:lnTo>
                    <a:pt x="1109" y="4"/>
                  </a:lnTo>
                  <a:lnTo>
                    <a:pt x="1113" y="4"/>
                  </a:lnTo>
                  <a:lnTo>
                    <a:pt x="1113" y="8"/>
                  </a:lnTo>
                  <a:lnTo>
                    <a:pt x="1117" y="8"/>
                  </a:lnTo>
                  <a:lnTo>
                    <a:pt x="1117" y="4"/>
                  </a:lnTo>
                  <a:lnTo>
                    <a:pt x="1121" y="4"/>
                  </a:lnTo>
                  <a:lnTo>
                    <a:pt x="1121" y="8"/>
                  </a:lnTo>
                  <a:lnTo>
                    <a:pt x="1125" y="8"/>
                  </a:lnTo>
                  <a:lnTo>
                    <a:pt x="1129" y="8"/>
                  </a:lnTo>
                  <a:lnTo>
                    <a:pt x="1121" y="12"/>
                  </a:lnTo>
                  <a:lnTo>
                    <a:pt x="1117" y="12"/>
                  </a:lnTo>
                  <a:lnTo>
                    <a:pt x="1113" y="12"/>
                  </a:lnTo>
                  <a:lnTo>
                    <a:pt x="1109" y="12"/>
                  </a:lnTo>
                  <a:lnTo>
                    <a:pt x="1105" y="12"/>
                  </a:lnTo>
                  <a:lnTo>
                    <a:pt x="1105" y="16"/>
                  </a:lnTo>
                  <a:lnTo>
                    <a:pt x="1101" y="16"/>
                  </a:lnTo>
                  <a:lnTo>
                    <a:pt x="1097" y="16"/>
                  </a:lnTo>
                  <a:lnTo>
                    <a:pt x="1093" y="16"/>
                  </a:lnTo>
                  <a:lnTo>
                    <a:pt x="1097" y="16"/>
                  </a:lnTo>
                  <a:lnTo>
                    <a:pt x="1101" y="16"/>
                  </a:lnTo>
                  <a:lnTo>
                    <a:pt x="1105" y="16"/>
                  </a:lnTo>
                  <a:lnTo>
                    <a:pt x="1109" y="16"/>
                  </a:lnTo>
                  <a:lnTo>
                    <a:pt x="1113" y="16"/>
                  </a:lnTo>
                  <a:lnTo>
                    <a:pt x="1117" y="16"/>
                  </a:lnTo>
                  <a:lnTo>
                    <a:pt x="1121" y="12"/>
                  </a:lnTo>
                  <a:lnTo>
                    <a:pt x="1125" y="12"/>
                  </a:lnTo>
                  <a:lnTo>
                    <a:pt x="1133" y="12"/>
                  </a:lnTo>
                  <a:lnTo>
                    <a:pt x="1137" y="8"/>
                  </a:lnTo>
                  <a:lnTo>
                    <a:pt x="1141" y="8"/>
                  </a:lnTo>
                  <a:lnTo>
                    <a:pt x="1145" y="8"/>
                  </a:lnTo>
                  <a:lnTo>
                    <a:pt x="1141" y="12"/>
                  </a:lnTo>
                  <a:lnTo>
                    <a:pt x="1145" y="12"/>
                  </a:lnTo>
                  <a:lnTo>
                    <a:pt x="1148" y="12"/>
                  </a:lnTo>
                  <a:lnTo>
                    <a:pt x="1145" y="12"/>
                  </a:lnTo>
                  <a:lnTo>
                    <a:pt x="1145" y="8"/>
                  </a:lnTo>
                  <a:lnTo>
                    <a:pt x="1148" y="8"/>
                  </a:lnTo>
                  <a:lnTo>
                    <a:pt x="1145" y="8"/>
                  </a:lnTo>
                  <a:lnTo>
                    <a:pt x="1148" y="8"/>
                  </a:lnTo>
                  <a:lnTo>
                    <a:pt x="1152" y="8"/>
                  </a:lnTo>
                  <a:lnTo>
                    <a:pt x="1156" y="8"/>
                  </a:lnTo>
                  <a:lnTo>
                    <a:pt x="1152" y="8"/>
                  </a:lnTo>
                  <a:lnTo>
                    <a:pt x="1152" y="12"/>
                  </a:lnTo>
                  <a:lnTo>
                    <a:pt x="1156" y="12"/>
                  </a:lnTo>
                  <a:lnTo>
                    <a:pt x="1160" y="12"/>
                  </a:lnTo>
                  <a:lnTo>
                    <a:pt x="1164" y="8"/>
                  </a:lnTo>
                  <a:lnTo>
                    <a:pt x="1168" y="8"/>
                  </a:lnTo>
                  <a:lnTo>
                    <a:pt x="1172" y="8"/>
                  </a:lnTo>
                  <a:lnTo>
                    <a:pt x="1172" y="12"/>
                  </a:lnTo>
                  <a:lnTo>
                    <a:pt x="1168" y="12"/>
                  </a:lnTo>
                  <a:lnTo>
                    <a:pt x="1172" y="16"/>
                  </a:lnTo>
                  <a:lnTo>
                    <a:pt x="1176" y="16"/>
                  </a:lnTo>
                  <a:lnTo>
                    <a:pt x="1180" y="16"/>
                  </a:lnTo>
                  <a:lnTo>
                    <a:pt x="1180" y="20"/>
                  </a:lnTo>
                  <a:lnTo>
                    <a:pt x="1176" y="20"/>
                  </a:lnTo>
                  <a:lnTo>
                    <a:pt x="1176" y="24"/>
                  </a:lnTo>
                  <a:lnTo>
                    <a:pt x="1180" y="24"/>
                  </a:lnTo>
                  <a:lnTo>
                    <a:pt x="1180" y="20"/>
                  </a:lnTo>
                  <a:lnTo>
                    <a:pt x="1184" y="20"/>
                  </a:lnTo>
                  <a:lnTo>
                    <a:pt x="1188" y="20"/>
                  </a:lnTo>
                  <a:lnTo>
                    <a:pt x="1192" y="20"/>
                  </a:lnTo>
                  <a:lnTo>
                    <a:pt x="1188" y="20"/>
                  </a:lnTo>
                  <a:lnTo>
                    <a:pt x="1192" y="20"/>
                  </a:lnTo>
                  <a:lnTo>
                    <a:pt x="1196" y="20"/>
                  </a:lnTo>
                  <a:lnTo>
                    <a:pt x="1200" y="20"/>
                  </a:lnTo>
                  <a:lnTo>
                    <a:pt x="1204" y="20"/>
                  </a:lnTo>
                  <a:lnTo>
                    <a:pt x="1204" y="24"/>
                  </a:lnTo>
                  <a:lnTo>
                    <a:pt x="1208" y="24"/>
                  </a:lnTo>
                  <a:lnTo>
                    <a:pt x="1208" y="28"/>
                  </a:lnTo>
                  <a:lnTo>
                    <a:pt x="1204" y="32"/>
                  </a:lnTo>
                  <a:lnTo>
                    <a:pt x="1200" y="32"/>
                  </a:lnTo>
                  <a:lnTo>
                    <a:pt x="1196" y="32"/>
                  </a:lnTo>
                  <a:lnTo>
                    <a:pt x="1192" y="36"/>
                  </a:lnTo>
                  <a:lnTo>
                    <a:pt x="1188" y="36"/>
                  </a:lnTo>
                  <a:lnTo>
                    <a:pt x="1180" y="40"/>
                  </a:lnTo>
                  <a:lnTo>
                    <a:pt x="1176" y="40"/>
                  </a:lnTo>
                  <a:lnTo>
                    <a:pt x="1172" y="40"/>
                  </a:lnTo>
                  <a:lnTo>
                    <a:pt x="1168" y="40"/>
                  </a:lnTo>
                  <a:lnTo>
                    <a:pt x="1168" y="44"/>
                  </a:lnTo>
                  <a:lnTo>
                    <a:pt x="1164" y="44"/>
                  </a:lnTo>
                  <a:lnTo>
                    <a:pt x="1160" y="44"/>
                  </a:lnTo>
                  <a:lnTo>
                    <a:pt x="1164" y="44"/>
                  </a:lnTo>
                  <a:lnTo>
                    <a:pt x="1160" y="44"/>
                  </a:lnTo>
                  <a:lnTo>
                    <a:pt x="1156" y="44"/>
                  </a:lnTo>
                  <a:lnTo>
                    <a:pt x="1152" y="44"/>
                  </a:lnTo>
                  <a:lnTo>
                    <a:pt x="1148" y="44"/>
                  </a:lnTo>
                  <a:lnTo>
                    <a:pt x="1145" y="44"/>
                  </a:lnTo>
                  <a:lnTo>
                    <a:pt x="1141" y="48"/>
                  </a:lnTo>
                  <a:lnTo>
                    <a:pt x="1137" y="48"/>
                  </a:lnTo>
                  <a:lnTo>
                    <a:pt x="1133" y="48"/>
                  </a:lnTo>
                  <a:lnTo>
                    <a:pt x="1137" y="48"/>
                  </a:lnTo>
                  <a:lnTo>
                    <a:pt x="1141" y="48"/>
                  </a:lnTo>
                  <a:lnTo>
                    <a:pt x="1145" y="48"/>
                  </a:lnTo>
                  <a:lnTo>
                    <a:pt x="1141" y="48"/>
                  </a:lnTo>
                  <a:lnTo>
                    <a:pt x="1137" y="48"/>
                  </a:lnTo>
                  <a:lnTo>
                    <a:pt x="1133" y="48"/>
                  </a:lnTo>
                  <a:lnTo>
                    <a:pt x="1129" y="48"/>
                  </a:lnTo>
                  <a:lnTo>
                    <a:pt x="1125" y="48"/>
                  </a:lnTo>
                  <a:lnTo>
                    <a:pt x="1121" y="48"/>
                  </a:lnTo>
                  <a:lnTo>
                    <a:pt x="1117" y="48"/>
                  </a:lnTo>
                  <a:lnTo>
                    <a:pt x="1113" y="48"/>
                  </a:lnTo>
                  <a:lnTo>
                    <a:pt x="1109" y="48"/>
                  </a:lnTo>
                  <a:lnTo>
                    <a:pt x="1105" y="52"/>
                  </a:lnTo>
                  <a:lnTo>
                    <a:pt x="1101" y="52"/>
                  </a:lnTo>
                  <a:lnTo>
                    <a:pt x="1097" y="48"/>
                  </a:lnTo>
                  <a:lnTo>
                    <a:pt x="1093" y="48"/>
                  </a:lnTo>
                  <a:lnTo>
                    <a:pt x="1089" y="48"/>
                  </a:lnTo>
                  <a:lnTo>
                    <a:pt x="1085" y="44"/>
                  </a:lnTo>
                  <a:lnTo>
                    <a:pt x="1085" y="48"/>
                  </a:lnTo>
                  <a:lnTo>
                    <a:pt x="1089" y="48"/>
                  </a:lnTo>
                  <a:lnTo>
                    <a:pt x="1093" y="48"/>
                  </a:lnTo>
                  <a:lnTo>
                    <a:pt x="1097" y="48"/>
                  </a:lnTo>
                  <a:lnTo>
                    <a:pt x="1097" y="52"/>
                  </a:lnTo>
                  <a:lnTo>
                    <a:pt x="1101" y="52"/>
                  </a:lnTo>
                  <a:lnTo>
                    <a:pt x="1097" y="52"/>
                  </a:lnTo>
                  <a:lnTo>
                    <a:pt x="1093" y="52"/>
                  </a:lnTo>
                  <a:lnTo>
                    <a:pt x="1097" y="52"/>
                  </a:lnTo>
                  <a:lnTo>
                    <a:pt x="1101" y="52"/>
                  </a:lnTo>
                  <a:lnTo>
                    <a:pt x="1105" y="52"/>
                  </a:lnTo>
                  <a:lnTo>
                    <a:pt x="1109" y="52"/>
                  </a:lnTo>
                  <a:lnTo>
                    <a:pt x="1113" y="52"/>
                  </a:lnTo>
                  <a:lnTo>
                    <a:pt x="1117" y="52"/>
                  </a:lnTo>
                  <a:lnTo>
                    <a:pt x="1121" y="52"/>
                  </a:lnTo>
                  <a:lnTo>
                    <a:pt x="1125" y="52"/>
                  </a:lnTo>
                  <a:lnTo>
                    <a:pt x="1121" y="52"/>
                  </a:lnTo>
                  <a:lnTo>
                    <a:pt x="1117" y="56"/>
                  </a:lnTo>
                  <a:lnTo>
                    <a:pt x="1113" y="56"/>
                  </a:lnTo>
                  <a:lnTo>
                    <a:pt x="1109" y="56"/>
                  </a:lnTo>
                  <a:lnTo>
                    <a:pt x="1105" y="56"/>
                  </a:lnTo>
                  <a:lnTo>
                    <a:pt x="1101" y="56"/>
                  </a:lnTo>
                  <a:lnTo>
                    <a:pt x="1101" y="60"/>
                  </a:lnTo>
                  <a:lnTo>
                    <a:pt x="1097" y="60"/>
                  </a:lnTo>
                  <a:lnTo>
                    <a:pt x="1093" y="60"/>
                  </a:lnTo>
                  <a:lnTo>
                    <a:pt x="1089" y="60"/>
                  </a:lnTo>
                  <a:lnTo>
                    <a:pt x="1085" y="60"/>
                  </a:lnTo>
                  <a:lnTo>
                    <a:pt x="1081" y="60"/>
                  </a:lnTo>
                  <a:lnTo>
                    <a:pt x="1085" y="60"/>
                  </a:lnTo>
                  <a:lnTo>
                    <a:pt x="1081" y="60"/>
                  </a:lnTo>
                  <a:lnTo>
                    <a:pt x="1077" y="64"/>
                  </a:lnTo>
                  <a:lnTo>
                    <a:pt x="1073" y="64"/>
                  </a:lnTo>
                  <a:lnTo>
                    <a:pt x="1077" y="64"/>
                  </a:lnTo>
                  <a:lnTo>
                    <a:pt x="1081" y="64"/>
                  </a:lnTo>
                  <a:lnTo>
                    <a:pt x="1077" y="64"/>
                  </a:lnTo>
                  <a:lnTo>
                    <a:pt x="1073" y="64"/>
                  </a:lnTo>
                  <a:lnTo>
                    <a:pt x="1077" y="64"/>
                  </a:lnTo>
                  <a:lnTo>
                    <a:pt x="1081" y="64"/>
                  </a:lnTo>
                  <a:lnTo>
                    <a:pt x="1085" y="64"/>
                  </a:lnTo>
                  <a:lnTo>
                    <a:pt x="1093" y="60"/>
                  </a:lnTo>
                  <a:lnTo>
                    <a:pt x="1101" y="60"/>
                  </a:lnTo>
                  <a:lnTo>
                    <a:pt x="1105" y="60"/>
                  </a:lnTo>
                  <a:lnTo>
                    <a:pt x="1109" y="60"/>
                  </a:lnTo>
                  <a:lnTo>
                    <a:pt x="1109" y="56"/>
                  </a:lnTo>
                  <a:lnTo>
                    <a:pt x="1113" y="56"/>
                  </a:lnTo>
                  <a:lnTo>
                    <a:pt x="1117" y="56"/>
                  </a:lnTo>
                  <a:lnTo>
                    <a:pt x="1121" y="56"/>
                  </a:lnTo>
                  <a:lnTo>
                    <a:pt x="1125" y="56"/>
                  </a:lnTo>
                  <a:lnTo>
                    <a:pt x="1129" y="56"/>
                  </a:lnTo>
                  <a:lnTo>
                    <a:pt x="1133" y="56"/>
                  </a:lnTo>
                  <a:lnTo>
                    <a:pt x="1137" y="52"/>
                  </a:lnTo>
                  <a:lnTo>
                    <a:pt x="1141" y="52"/>
                  </a:lnTo>
                  <a:lnTo>
                    <a:pt x="1145" y="52"/>
                  </a:lnTo>
                  <a:lnTo>
                    <a:pt x="1148" y="52"/>
                  </a:lnTo>
                  <a:lnTo>
                    <a:pt x="1156" y="52"/>
                  </a:lnTo>
                  <a:lnTo>
                    <a:pt x="1156" y="56"/>
                  </a:lnTo>
                  <a:lnTo>
                    <a:pt x="1152" y="56"/>
                  </a:lnTo>
                  <a:lnTo>
                    <a:pt x="1148" y="60"/>
                  </a:lnTo>
                  <a:lnTo>
                    <a:pt x="1145" y="60"/>
                  </a:lnTo>
                  <a:lnTo>
                    <a:pt x="1141" y="60"/>
                  </a:lnTo>
                  <a:lnTo>
                    <a:pt x="1137" y="60"/>
                  </a:lnTo>
                  <a:lnTo>
                    <a:pt x="1133" y="64"/>
                  </a:lnTo>
                  <a:lnTo>
                    <a:pt x="1129" y="64"/>
                  </a:lnTo>
                  <a:lnTo>
                    <a:pt x="1129" y="68"/>
                  </a:lnTo>
                  <a:lnTo>
                    <a:pt x="1125" y="68"/>
                  </a:lnTo>
                  <a:lnTo>
                    <a:pt x="1121" y="68"/>
                  </a:lnTo>
                  <a:lnTo>
                    <a:pt x="1117" y="72"/>
                  </a:lnTo>
                  <a:lnTo>
                    <a:pt x="1113" y="72"/>
                  </a:lnTo>
                  <a:lnTo>
                    <a:pt x="1109" y="72"/>
                  </a:lnTo>
                  <a:lnTo>
                    <a:pt x="1113" y="72"/>
                  </a:lnTo>
                  <a:lnTo>
                    <a:pt x="1109" y="72"/>
                  </a:lnTo>
                  <a:lnTo>
                    <a:pt x="1105" y="72"/>
                  </a:lnTo>
                  <a:lnTo>
                    <a:pt x="1105" y="76"/>
                  </a:lnTo>
                  <a:lnTo>
                    <a:pt x="1101" y="76"/>
                  </a:lnTo>
                  <a:lnTo>
                    <a:pt x="1093" y="80"/>
                  </a:lnTo>
                  <a:lnTo>
                    <a:pt x="1089" y="80"/>
                  </a:lnTo>
                  <a:lnTo>
                    <a:pt x="1089" y="84"/>
                  </a:lnTo>
                  <a:lnTo>
                    <a:pt x="1085" y="84"/>
                  </a:lnTo>
                  <a:lnTo>
                    <a:pt x="1085" y="88"/>
                  </a:lnTo>
                  <a:lnTo>
                    <a:pt x="1081" y="88"/>
                  </a:lnTo>
                  <a:lnTo>
                    <a:pt x="1077" y="88"/>
                  </a:lnTo>
                  <a:lnTo>
                    <a:pt x="1073" y="88"/>
                  </a:lnTo>
                  <a:lnTo>
                    <a:pt x="1069" y="88"/>
                  </a:lnTo>
                  <a:lnTo>
                    <a:pt x="1069" y="84"/>
                  </a:lnTo>
                  <a:lnTo>
                    <a:pt x="1065" y="84"/>
                  </a:lnTo>
                  <a:lnTo>
                    <a:pt x="1061" y="84"/>
                  </a:lnTo>
                  <a:lnTo>
                    <a:pt x="1065" y="84"/>
                  </a:lnTo>
                  <a:lnTo>
                    <a:pt x="1069" y="84"/>
                  </a:lnTo>
                  <a:lnTo>
                    <a:pt x="1069" y="88"/>
                  </a:lnTo>
                  <a:lnTo>
                    <a:pt x="1069" y="92"/>
                  </a:lnTo>
                  <a:lnTo>
                    <a:pt x="1073" y="92"/>
                  </a:lnTo>
                  <a:lnTo>
                    <a:pt x="1077" y="92"/>
                  </a:lnTo>
                  <a:lnTo>
                    <a:pt x="1073" y="92"/>
                  </a:lnTo>
                  <a:lnTo>
                    <a:pt x="1073" y="96"/>
                  </a:lnTo>
                  <a:lnTo>
                    <a:pt x="1069" y="96"/>
                  </a:lnTo>
                  <a:lnTo>
                    <a:pt x="1065" y="92"/>
                  </a:lnTo>
                  <a:lnTo>
                    <a:pt x="1061" y="96"/>
                  </a:lnTo>
                  <a:lnTo>
                    <a:pt x="1057" y="96"/>
                  </a:lnTo>
                  <a:lnTo>
                    <a:pt x="1053" y="96"/>
                  </a:lnTo>
                  <a:lnTo>
                    <a:pt x="1049" y="96"/>
                  </a:lnTo>
                  <a:lnTo>
                    <a:pt x="1045" y="96"/>
                  </a:lnTo>
                  <a:lnTo>
                    <a:pt x="1041" y="96"/>
                  </a:lnTo>
                  <a:lnTo>
                    <a:pt x="1041" y="92"/>
                  </a:lnTo>
                  <a:lnTo>
                    <a:pt x="1037" y="92"/>
                  </a:lnTo>
                  <a:lnTo>
                    <a:pt x="1041" y="96"/>
                  </a:lnTo>
                  <a:lnTo>
                    <a:pt x="1045" y="96"/>
                  </a:lnTo>
                  <a:lnTo>
                    <a:pt x="1041" y="96"/>
                  </a:lnTo>
                  <a:lnTo>
                    <a:pt x="1037" y="96"/>
                  </a:lnTo>
                  <a:lnTo>
                    <a:pt x="1037" y="100"/>
                  </a:lnTo>
                  <a:lnTo>
                    <a:pt x="1041" y="100"/>
                  </a:lnTo>
                  <a:lnTo>
                    <a:pt x="1045" y="100"/>
                  </a:lnTo>
                  <a:lnTo>
                    <a:pt x="1049" y="100"/>
                  </a:lnTo>
                  <a:lnTo>
                    <a:pt x="1053" y="100"/>
                  </a:lnTo>
                  <a:lnTo>
                    <a:pt x="1053" y="96"/>
                  </a:lnTo>
                  <a:lnTo>
                    <a:pt x="1057" y="96"/>
                  </a:lnTo>
                  <a:lnTo>
                    <a:pt x="1061" y="96"/>
                  </a:lnTo>
                  <a:lnTo>
                    <a:pt x="1065" y="96"/>
                  </a:lnTo>
                  <a:lnTo>
                    <a:pt x="1065" y="100"/>
                  </a:lnTo>
                  <a:lnTo>
                    <a:pt x="1061" y="100"/>
                  </a:lnTo>
                  <a:lnTo>
                    <a:pt x="1057" y="100"/>
                  </a:lnTo>
                  <a:lnTo>
                    <a:pt x="1053" y="104"/>
                  </a:lnTo>
                  <a:lnTo>
                    <a:pt x="1057" y="104"/>
                  </a:lnTo>
                  <a:lnTo>
                    <a:pt x="1061" y="104"/>
                  </a:lnTo>
                  <a:lnTo>
                    <a:pt x="1057" y="108"/>
                  </a:lnTo>
                  <a:lnTo>
                    <a:pt x="1053" y="108"/>
                  </a:lnTo>
                  <a:lnTo>
                    <a:pt x="1049" y="108"/>
                  </a:lnTo>
                  <a:lnTo>
                    <a:pt x="1045" y="108"/>
                  </a:lnTo>
                  <a:lnTo>
                    <a:pt x="1041" y="112"/>
                  </a:lnTo>
                  <a:lnTo>
                    <a:pt x="1037" y="112"/>
                  </a:lnTo>
                  <a:lnTo>
                    <a:pt x="1037" y="108"/>
                  </a:lnTo>
                  <a:lnTo>
                    <a:pt x="1037" y="112"/>
                  </a:lnTo>
                  <a:lnTo>
                    <a:pt x="1033" y="112"/>
                  </a:lnTo>
                  <a:lnTo>
                    <a:pt x="1029" y="108"/>
                  </a:lnTo>
                  <a:lnTo>
                    <a:pt x="1029" y="104"/>
                  </a:lnTo>
                  <a:lnTo>
                    <a:pt x="1025" y="104"/>
                  </a:lnTo>
                  <a:lnTo>
                    <a:pt x="1021" y="104"/>
                  </a:lnTo>
                  <a:lnTo>
                    <a:pt x="1017" y="104"/>
                  </a:lnTo>
                  <a:lnTo>
                    <a:pt x="1013" y="104"/>
                  </a:lnTo>
                  <a:lnTo>
                    <a:pt x="1009" y="104"/>
                  </a:lnTo>
                  <a:lnTo>
                    <a:pt x="1005" y="104"/>
                  </a:lnTo>
                  <a:lnTo>
                    <a:pt x="1001" y="104"/>
                  </a:lnTo>
                  <a:lnTo>
                    <a:pt x="1001" y="108"/>
                  </a:lnTo>
                  <a:lnTo>
                    <a:pt x="1005" y="108"/>
                  </a:lnTo>
                  <a:lnTo>
                    <a:pt x="1009" y="108"/>
                  </a:lnTo>
                  <a:lnTo>
                    <a:pt x="1013" y="108"/>
                  </a:lnTo>
                  <a:lnTo>
                    <a:pt x="1017" y="108"/>
                  </a:lnTo>
                  <a:lnTo>
                    <a:pt x="1021" y="108"/>
                  </a:lnTo>
                  <a:lnTo>
                    <a:pt x="1025" y="108"/>
                  </a:lnTo>
                  <a:lnTo>
                    <a:pt x="1025" y="112"/>
                  </a:lnTo>
                  <a:lnTo>
                    <a:pt x="1025" y="116"/>
                  </a:lnTo>
                  <a:lnTo>
                    <a:pt x="1021" y="116"/>
                  </a:lnTo>
                  <a:lnTo>
                    <a:pt x="1017" y="116"/>
                  </a:lnTo>
                  <a:lnTo>
                    <a:pt x="1013" y="116"/>
                  </a:lnTo>
                  <a:lnTo>
                    <a:pt x="1009" y="116"/>
                  </a:lnTo>
                  <a:lnTo>
                    <a:pt x="1005" y="116"/>
                  </a:lnTo>
                  <a:lnTo>
                    <a:pt x="1001" y="116"/>
                  </a:lnTo>
                  <a:lnTo>
                    <a:pt x="997" y="116"/>
                  </a:lnTo>
                  <a:lnTo>
                    <a:pt x="1001" y="116"/>
                  </a:lnTo>
                  <a:lnTo>
                    <a:pt x="1001" y="120"/>
                  </a:lnTo>
                  <a:lnTo>
                    <a:pt x="997" y="120"/>
                  </a:lnTo>
                  <a:lnTo>
                    <a:pt x="993" y="120"/>
                  </a:lnTo>
                  <a:lnTo>
                    <a:pt x="989" y="120"/>
                  </a:lnTo>
                  <a:lnTo>
                    <a:pt x="985" y="116"/>
                  </a:lnTo>
                  <a:lnTo>
                    <a:pt x="985" y="120"/>
                  </a:lnTo>
                  <a:lnTo>
                    <a:pt x="985" y="116"/>
                  </a:lnTo>
                  <a:lnTo>
                    <a:pt x="981" y="116"/>
                  </a:lnTo>
                  <a:lnTo>
                    <a:pt x="977" y="116"/>
                  </a:lnTo>
                  <a:lnTo>
                    <a:pt x="973" y="116"/>
                  </a:lnTo>
                  <a:lnTo>
                    <a:pt x="969" y="116"/>
                  </a:lnTo>
                  <a:lnTo>
                    <a:pt x="965" y="116"/>
                  </a:lnTo>
                  <a:lnTo>
                    <a:pt x="969" y="116"/>
                  </a:lnTo>
                  <a:lnTo>
                    <a:pt x="973" y="116"/>
                  </a:lnTo>
                  <a:lnTo>
                    <a:pt x="977" y="116"/>
                  </a:lnTo>
                  <a:lnTo>
                    <a:pt x="981" y="116"/>
                  </a:lnTo>
                  <a:lnTo>
                    <a:pt x="981" y="120"/>
                  </a:lnTo>
                  <a:lnTo>
                    <a:pt x="985" y="120"/>
                  </a:lnTo>
                  <a:lnTo>
                    <a:pt x="981" y="120"/>
                  </a:lnTo>
                  <a:lnTo>
                    <a:pt x="977" y="120"/>
                  </a:lnTo>
                  <a:lnTo>
                    <a:pt x="973" y="120"/>
                  </a:lnTo>
                  <a:lnTo>
                    <a:pt x="969" y="120"/>
                  </a:lnTo>
                  <a:lnTo>
                    <a:pt x="965" y="120"/>
                  </a:lnTo>
                  <a:lnTo>
                    <a:pt x="965" y="116"/>
                  </a:lnTo>
                  <a:lnTo>
                    <a:pt x="961" y="116"/>
                  </a:lnTo>
                  <a:lnTo>
                    <a:pt x="965" y="120"/>
                  </a:lnTo>
                  <a:lnTo>
                    <a:pt x="961" y="120"/>
                  </a:lnTo>
                  <a:lnTo>
                    <a:pt x="957" y="120"/>
                  </a:lnTo>
                  <a:lnTo>
                    <a:pt x="953" y="120"/>
                  </a:lnTo>
                  <a:lnTo>
                    <a:pt x="957" y="120"/>
                  </a:lnTo>
                  <a:lnTo>
                    <a:pt x="961" y="120"/>
                  </a:lnTo>
                  <a:lnTo>
                    <a:pt x="961" y="124"/>
                  </a:lnTo>
                  <a:lnTo>
                    <a:pt x="965" y="124"/>
                  </a:lnTo>
                  <a:lnTo>
                    <a:pt x="961" y="124"/>
                  </a:lnTo>
                  <a:lnTo>
                    <a:pt x="965" y="124"/>
                  </a:lnTo>
                  <a:lnTo>
                    <a:pt x="969" y="124"/>
                  </a:lnTo>
                  <a:lnTo>
                    <a:pt x="973" y="124"/>
                  </a:lnTo>
                  <a:lnTo>
                    <a:pt x="981" y="124"/>
                  </a:lnTo>
                  <a:lnTo>
                    <a:pt x="985" y="124"/>
                  </a:lnTo>
                  <a:lnTo>
                    <a:pt x="989" y="124"/>
                  </a:lnTo>
                  <a:lnTo>
                    <a:pt x="993" y="124"/>
                  </a:lnTo>
                  <a:lnTo>
                    <a:pt x="997" y="124"/>
                  </a:lnTo>
                  <a:lnTo>
                    <a:pt x="1001" y="124"/>
                  </a:lnTo>
                  <a:lnTo>
                    <a:pt x="1005" y="124"/>
                  </a:lnTo>
                  <a:lnTo>
                    <a:pt x="1001" y="124"/>
                  </a:lnTo>
                  <a:lnTo>
                    <a:pt x="1001" y="128"/>
                  </a:lnTo>
                  <a:lnTo>
                    <a:pt x="1005" y="128"/>
                  </a:lnTo>
                  <a:lnTo>
                    <a:pt x="1009" y="128"/>
                  </a:lnTo>
                  <a:lnTo>
                    <a:pt x="1005" y="128"/>
                  </a:lnTo>
                  <a:lnTo>
                    <a:pt x="1005" y="132"/>
                  </a:lnTo>
                  <a:lnTo>
                    <a:pt x="1001" y="132"/>
                  </a:lnTo>
                  <a:lnTo>
                    <a:pt x="997" y="132"/>
                  </a:lnTo>
                  <a:lnTo>
                    <a:pt x="993" y="128"/>
                  </a:lnTo>
                  <a:lnTo>
                    <a:pt x="989" y="128"/>
                  </a:lnTo>
                  <a:lnTo>
                    <a:pt x="985" y="128"/>
                  </a:lnTo>
                  <a:lnTo>
                    <a:pt x="985" y="124"/>
                  </a:lnTo>
                  <a:lnTo>
                    <a:pt x="981" y="124"/>
                  </a:lnTo>
                  <a:lnTo>
                    <a:pt x="977" y="124"/>
                  </a:lnTo>
                  <a:lnTo>
                    <a:pt x="969" y="124"/>
                  </a:lnTo>
                  <a:lnTo>
                    <a:pt x="965" y="124"/>
                  </a:lnTo>
                  <a:lnTo>
                    <a:pt x="961" y="124"/>
                  </a:lnTo>
                  <a:lnTo>
                    <a:pt x="957" y="124"/>
                  </a:lnTo>
                  <a:lnTo>
                    <a:pt x="949" y="124"/>
                  </a:lnTo>
                  <a:lnTo>
                    <a:pt x="949" y="128"/>
                  </a:lnTo>
                  <a:lnTo>
                    <a:pt x="953" y="124"/>
                  </a:lnTo>
                  <a:lnTo>
                    <a:pt x="957" y="124"/>
                  </a:lnTo>
                  <a:lnTo>
                    <a:pt x="961" y="124"/>
                  </a:lnTo>
                  <a:lnTo>
                    <a:pt x="965" y="128"/>
                  </a:lnTo>
                  <a:lnTo>
                    <a:pt x="969" y="128"/>
                  </a:lnTo>
                  <a:lnTo>
                    <a:pt x="973" y="128"/>
                  </a:lnTo>
                  <a:lnTo>
                    <a:pt x="977" y="128"/>
                  </a:lnTo>
                  <a:lnTo>
                    <a:pt x="981" y="128"/>
                  </a:lnTo>
                  <a:lnTo>
                    <a:pt x="977" y="128"/>
                  </a:lnTo>
                  <a:lnTo>
                    <a:pt x="973" y="128"/>
                  </a:lnTo>
                  <a:lnTo>
                    <a:pt x="969" y="128"/>
                  </a:lnTo>
                  <a:lnTo>
                    <a:pt x="965" y="128"/>
                  </a:lnTo>
                  <a:lnTo>
                    <a:pt x="961" y="128"/>
                  </a:lnTo>
                  <a:lnTo>
                    <a:pt x="961" y="132"/>
                  </a:lnTo>
                  <a:lnTo>
                    <a:pt x="957" y="132"/>
                  </a:lnTo>
                  <a:lnTo>
                    <a:pt x="957" y="128"/>
                  </a:lnTo>
                  <a:lnTo>
                    <a:pt x="953" y="128"/>
                  </a:lnTo>
                  <a:lnTo>
                    <a:pt x="949" y="128"/>
                  </a:lnTo>
                  <a:lnTo>
                    <a:pt x="945" y="128"/>
                  </a:lnTo>
                  <a:lnTo>
                    <a:pt x="941" y="128"/>
                  </a:lnTo>
                  <a:lnTo>
                    <a:pt x="945" y="128"/>
                  </a:lnTo>
                  <a:lnTo>
                    <a:pt x="949" y="128"/>
                  </a:lnTo>
                  <a:lnTo>
                    <a:pt x="953" y="128"/>
                  </a:lnTo>
                  <a:lnTo>
                    <a:pt x="957" y="128"/>
                  </a:lnTo>
                  <a:lnTo>
                    <a:pt x="957" y="132"/>
                  </a:lnTo>
                  <a:lnTo>
                    <a:pt x="953" y="132"/>
                  </a:lnTo>
                  <a:lnTo>
                    <a:pt x="953" y="136"/>
                  </a:lnTo>
                  <a:lnTo>
                    <a:pt x="949" y="136"/>
                  </a:lnTo>
                  <a:lnTo>
                    <a:pt x="949" y="140"/>
                  </a:lnTo>
                  <a:lnTo>
                    <a:pt x="949" y="136"/>
                  </a:lnTo>
                  <a:lnTo>
                    <a:pt x="953" y="136"/>
                  </a:lnTo>
                  <a:lnTo>
                    <a:pt x="953" y="132"/>
                  </a:lnTo>
                  <a:lnTo>
                    <a:pt x="957" y="132"/>
                  </a:lnTo>
                  <a:lnTo>
                    <a:pt x="961" y="132"/>
                  </a:lnTo>
                  <a:lnTo>
                    <a:pt x="965" y="132"/>
                  </a:lnTo>
                  <a:lnTo>
                    <a:pt x="969" y="132"/>
                  </a:lnTo>
                  <a:lnTo>
                    <a:pt x="973" y="132"/>
                  </a:lnTo>
                  <a:lnTo>
                    <a:pt x="977" y="132"/>
                  </a:lnTo>
                  <a:lnTo>
                    <a:pt x="985" y="132"/>
                  </a:lnTo>
                  <a:lnTo>
                    <a:pt x="989" y="132"/>
                  </a:lnTo>
                  <a:lnTo>
                    <a:pt x="985" y="132"/>
                  </a:lnTo>
                  <a:lnTo>
                    <a:pt x="981" y="132"/>
                  </a:lnTo>
                  <a:lnTo>
                    <a:pt x="981" y="136"/>
                  </a:lnTo>
                  <a:lnTo>
                    <a:pt x="977" y="136"/>
                  </a:lnTo>
                  <a:lnTo>
                    <a:pt x="981" y="136"/>
                  </a:lnTo>
                  <a:lnTo>
                    <a:pt x="985" y="136"/>
                  </a:lnTo>
                  <a:lnTo>
                    <a:pt x="993" y="136"/>
                  </a:lnTo>
                  <a:lnTo>
                    <a:pt x="997" y="136"/>
                  </a:lnTo>
                  <a:lnTo>
                    <a:pt x="1001" y="136"/>
                  </a:lnTo>
                  <a:lnTo>
                    <a:pt x="1001" y="140"/>
                  </a:lnTo>
                  <a:lnTo>
                    <a:pt x="1001" y="144"/>
                  </a:lnTo>
                  <a:lnTo>
                    <a:pt x="997" y="144"/>
                  </a:lnTo>
                  <a:lnTo>
                    <a:pt x="993" y="144"/>
                  </a:lnTo>
                  <a:lnTo>
                    <a:pt x="993" y="148"/>
                  </a:lnTo>
                  <a:lnTo>
                    <a:pt x="985" y="148"/>
                  </a:lnTo>
                  <a:lnTo>
                    <a:pt x="981" y="144"/>
                  </a:lnTo>
                  <a:lnTo>
                    <a:pt x="977" y="144"/>
                  </a:lnTo>
                  <a:lnTo>
                    <a:pt x="973" y="144"/>
                  </a:lnTo>
                  <a:lnTo>
                    <a:pt x="973" y="148"/>
                  </a:lnTo>
                  <a:lnTo>
                    <a:pt x="977" y="148"/>
                  </a:lnTo>
                  <a:lnTo>
                    <a:pt x="981" y="148"/>
                  </a:lnTo>
                  <a:lnTo>
                    <a:pt x="985" y="148"/>
                  </a:lnTo>
                  <a:lnTo>
                    <a:pt x="989" y="148"/>
                  </a:lnTo>
                  <a:lnTo>
                    <a:pt x="993" y="148"/>
                  </a:lnTo>
                  <a:lnTo>
                    <a:pt x="997" y="152"/>
                  </a:lnTo>
                  <a:lnTo>
                    <a:pt x="993" y="152"/>
                  </a:lnTo>
                  <a:lnTo>
                    <a:pt x="993" y="156"/>
                  </a:lnTo>
                  <a:lnTo>
                    <a:pt x="989" y="156"/>
                  </a:lnTo>
                  <a:lnTo>
                    <a:pt x="985" y="156"/>
                  </a:lnTo>
                  <a:lnTo>
                    <a:pt x="981" y="156"/>
                  </a:lnTo>
                  <a:lnTo>
                    <a:pt x="977" y="156"/>
                  </a:lnTo>
                  <a:lnTo>
                    <a:pt x="973" y="156"/>
                  </a:lnTo>
                  <a:lnTo>
                    <a:pt x="969" y="156"/>
                  </a:lnTo>
                  <a:lnTo>
                    <a:pt x="973" y="156"/>
                  </a:lnTo>
                  <a:lnTo>
                    <a:pt x="977" y="156"/>
                  </a:lnTo>
                  <a:lnTo>
                    <a:pt x="985" y="156"/>
                  </a:lnTo>
                  <a:lnTo>
                    <a:pt x="989" y="156"/>
                  </a:lnTo>
                  <a:lnTo>
                    <a:pt x="989" y="160"/>
                  </a:lnTo>
                  <a:lnTo>
                    <a:pt x="985" y="160"/>
                  </a:lnTo>
                  <a:lnTo>
                    <a:pt x="985" y="164"/>
                  </a:lnTo>
                  <a:lnTo>
                    <a:pt x="981" y="160"/>
                  </a:lnTo>
                  <a:lnTo>
                    <a:pt x="977" y="160"/>
                  </a:lnTo>
                  <a:lnTo>
                    <a:pt x="977" y="164"/>
                  </a:lnTo>
                  <a:lnTo>
                    <a:pt x="973" y="164"/>
                  </a:lnTo>
                  <a:lnTo>
                    <a:pt x="969" y="164"/>
                  </a:lnTo>
                  <a:lnTo>
                    <a:pt x="965" y="164"/>
                  </a:lnTo>
                  <a:lnTo>
                    <a:pt x="957" y="164"/>
                  </a:lnTo>
                  <a:lnTo>
                    <a:pt x="953" y="164"/>
                  </a:lnTo>
                  <a:lnTo>
                    <a:pt x="949" y="164"/>
                  </a:lnTo>
                  <a:lnTo>
                    <a:pt x="949" y="160"/>
                  </a:lnTo>
                  <a:lnTo>
                    <a:pt x="945" y="164"/>
                  </a:lnTo>
                  <a:lnTo>
                    <a:pt x="949" y="164"/>
                  </a:lnTo>
                  <a:lnTo>
                    <a:pt x="949" y="168"/>
                  </a:lnTo>
                  <a:lnTo>
                    <a:pt x="953" y="168"/>
                  </a:lnTo>
                  <a:lnTo>
                    <a:pt x="953" y="171"/>
                  </a:lnTo>
                  <a:lnTo>
                    <a:pt x="957" y="171"/>
                  </a:lnTo>
                  <a:lnTo>
                    <a:pt x="953" y="175"/>
                  </a:lnTo>
                  <a:lnTo>
                    <a:pt x="949" y="179"/>
                  </a:lnTo>
                  <a:lnTo>
                    <a:pt x="941" y="183"/>
                  </a:lnTo>
                  <a:lnTo>
                    <a:pt x="941" y="179"/>
                  </a:lnTo>
                  <a:lnTo>
                    <a:pt x="937" y="179"/>
                  </a:lnTo>
                  <a:lnTo>
                    <a:pt x="937" y="183"/>
                  </a:lnTo>
                  <a:lnTo>
                    <a:pt x="933" y="183"/>
                  </a:lnTo>
                  <a:lnTo>
                    <a:pt x="929" y="183"/>
                  </a:lnTo>
                  <a:lnTo>
                    <a:pt x="925" y="183"/>
                  </a:lnTo>
                  <a:lnTo>
                    <a:pt x="921" y="183"/>
                  </a:lnTo>
                  <a:lnTo>
                    <a:pt x="917" y="183"/>
                  </a:lnTo>
                  <a:lnTo>
                    <a:pt x="913" y="179"/>
                  </a:lnTo>
                  <a:lnTo>
                    <a:pt x="909" y="179"/>
                  </a:lnTo>
                  <a:lnTo>
                    <a:pt x="905" y="179"/>
                  </a:lnTo>
                  <a:lnTo>
                    <a:pt x="901" y="179"/>
                  </a:lnTo>
                  <a:lnTo>
                    <a:pt x="901" y="175"/>
                  </a:lnTo>
                  <a:lnTo>
                    <a:pt x="897" y="175"/>
                  </a:lnTo>
                  <a:lnTo>
                    <a:pt x="893" y="171"/>
                  </a:lnTo>
                  <a:lnTo>
                    <a:pt x="897" y="175"/>
                  </a:lnTo>
                  <a:lnTo>
                    <a:pt x="897" y="179"/>
                  </a:lnTo>
                  <a:lnTo>
                    <a:pt x="901" y="179"/>
                  </a:lnTo>
                  <a:lnTo>
                    <a:pt x="905" y="179"/>
                  </a:lnTo>
                  <a:lnTo>
                    <a:pt x="905" y="183"/>
                  </a:lnTo>
                  <a:lnTo>
                    <a:pt x="901" y="183"/>
                  </a:lnTo>
                  <a:lnTo>
                    <a:pt x="893" y="183"/>
                  </a:lnTo>
                  <a:lnTo>
                    <a:pt x="889" y="183"/>
                  </a:lnTo>
                  <a:lnTo>
                    <a:pt x="893" y="183"/>
                  </a:lnTo>
                  <a:lnTo>
                    <a:pt x="893" y="187"/>
                  </a:lnTo>
                  <a:lnTo>
                    <a:pt x="897" y="187"/>
                  </a:lnTo>
                  <a:lnTo>
                    <a:pt x="897" y="183"/>
                  </a:lnTo>
                  <a:lnTo>
                    <a:pt x="901" y="183"/>
                  </a:lnTo>
                  <a:lnTo>
                    <a:pt x="905" y="183"/>
                  </a:lnTo>
                  <a:lnTo>
                    <a:pt x="909" y="183"/>
                  </a:lnTo>
                  <a:lnTo>
                    <a:pt x="913" y="183"/>
                  </a:lnTo>
                  <a:lnTo>
                    <a:pt x="917" y="183"/>
                  </a:lnTo>
                  <a:lnTo>
                    <a:pt x="921" y="183"/>
                  </a:lnTo>
                  <a:lnTo>
                    <a:pt x="921" y="187"/>
                  </a:lnTo>
                  <a:lnTo>
                    <a:pt x="917" y="187"/>
                  </a:lnTo>
                  <a:lnTo>
                    <a:pt x="921" y="187"/>
                  </a:lnTo>
                  <a:lnTo>
                    <a:pt x="925" y="183"/>
                  </a:lnTo>
                  <a:lnTo>
                    <a:pt x="929" y="183"/>
                  </a:lnTo>
                  <a:lnTo>
                    <a:pt x="933" y="183"/>
                  </a:lnTo>
                  <a:lnTo>
                    <a:pt x="937" y="187"/>
                  </a:lnTo>
                  <a:lnTo>
                    <a:pt x="937" y="191"/>
                  </a:lnTo>
                  <a:lnTo>
                    <a:pt x="933" y="191"/>
                  </a:lnTo>
                  <a:lnTo>
                    <a:pt x="933" y="195"/>
                  </a:lnTo>
                  <a:lnTo>
                    <a:pt x="933" y="191"/>
                  </a:lnTo>
                  <a:lnTo>
                    <a:pt x="937" y="191"/>
                  </a:lnTo>
                  <a:lnTo>
                    <a:pt x="941" y="195"/>
                  </a:lnTo>
                  <a:lnTo>
                    <a:pt x="945" y="195"/>
                  </a:lnTo>
                  <a:lnTo>
                    <a:pt x="945" y="191"/>
                  </a:lnTo>
                  <a:lnTo>
                    <a:pt x="949" y="191"/>
                  </a:lnTo>
                  <a:lnTo>
                    <a:pt x="953" y="191"/>
                  </a:lnTo>
                  <a:lnTo>
                    <a:pt x="957" y="199"/>
                  </a:lnTo>
                  <a:lnTo>
                    <a:pt x="957" y="203"/>
                  </a:lnTo>
                  <a:lnTo>
                    <a:pt x="953" y="203"/>
                  </a:lnTo>
                  <a:lnTo>
                    <a:pt x="949" y="203"/>
                  </a:lnTo>
                  <a:lnTo>
                    <a:pt x="949" y="207"/>
                  </a:lnTo>
                  <a:lnTo>
                    <a:pt x="945" y="207"/>
                  </a:lnTo>
                  <a:lnTo>
                    <a:pt x="945" y="203"/>
                  </a:lnTo>
                  <a:lnTo>
                    <a:pt x="941" y="203"/>
                  </a:lnTo>
                  <a:lnTo>
                    <a:pt x="941" y="207"/>
                  </a:lnTo>
                  <a:lnTo>
                    <a:pt x="937" y="207"/>
                  </a:lnTo>
                  <a:lnTo>
                    <a:pt x="933" y="207"/>
                  </a:lnTo>
                  <a:lnTo>
                    <a:pt x="933" y="211"/>
                  </a:lnTo>
                  <a:lnTo>
                    <a:pt x="929" y="211"/>
                  </a:lnTo>
                  <a:lnTo>
                    <a:pt x="925" y="211"/>
                  </a:lnTo>
                  <a:lnTo>
                    <a:pt x="925" y="215"/>
                  </a:lnTo>
                  <a:lnTo>
                    <a:pt x="921" y="215"/>
                  </a:lnTo>
                  <a:lnTo>
                    <a:pt x="917" y="215"/>
                  </a:lnTo>
                  <a:lnTo>
                    <a:pt x="913" y="215"/>
                  </a:lnTo>
                  <a:lnTo>
                    <a:pt x="909" y="215"/>
                  </a:lnTo>
                  <a:lnTo>
                    <a:pt x="905" y="215"/>
                  </a:lnTo>
                  <a:lnTo>
                    <a:pt x="909" y="211"/>
                  </a:lnTo>
                  <a:lnTo>
                    <a:pt x="913" y="207"/>
                  </a:lnTo>
                  <a:lnTo>
                    <a:pt x="909" y="207"/>
                  </a:lnTo>
                  <a:lnTo>
                    <a:pt x="905" y="207"/>
                  </a:lnTo>
                  <a:lnTo>
                    <a:pt x="905" y="203"/>
                  </a:lnTo>
                  <a:lnTo>
                    <a:pt x="901" y="207"/>
                  </a:lnTo>
                  <a:lnTo>
                    <a:pt x="897" y="207"/>
                  </a:lnTo>
                  <a:lnTo>
                    <a:pt x="893" y="207"/>
                  </a:lnTo>
                  <a:lnTo>
                    <a:pt x="893" y="203"/>
                  </a:lnTo>
                  <a:lnTo>
                    <a:pt x="897" y="203"/>
                  </a:lnTo>
                  <a:lnTo>
                    <a:pt x="897" y="199"/>
                  </a:lnTo>
                  <a:lnTo>
                    <a:pt x="893" y="199"/>
                  </a:lnTo>
                  <a:lnTo>
                    <a:pt x="893" y="203"/>
                  </a:lnTo>
                  <a:lnTo>
                    <a:pt x="889" y="203"/>
                  </a:lnTo>
                  <a:lnTo>
                    <a:pt x="885" y="203"/>
                  </a:lnTo>
                  <a:lnTo>
                    <a:pt x="885" y="199"/>
                  </a:lnTo>
                  <a:lnTo>
                    <a:pt x="881" y="195"/>
                  </a:lnTo>
                  <a:lnTo>
                    <a:pt x="881" y="199"/>
                  </a:lnTo>
                  <a:lnTo>
                    <a:pt x="885" y="199"/>
                  </a:lnTo>
                  <a:lnTo>
                    <a:pt x="885" y="203"/>
                  </a:lnTo>
                  <a:lnTo>
                    <a:pt x="889" y="203"/>
                  </a:lnTo>
                  <a:lnTo>
                    <a:pt x="889" y="207"/>
                  </a:lnTo>
                  <a:lnTo>
                    <a:pt x="885" y="207"/>
                  </a:lnTo>
                  <a:lnTo>
                    <a:pt x="881" y="211"/>
                  </a:lnTo>
                  <a:lnTo>
                    <a:pt x="881" y="207"/>
                  </a:lnTo>
                  <a:lnTo>
                    <a:pt x="877" y="207"/>
                  </a:lnTo>
                  <a:lnTo>
                    <a:pt x="877" y="203"/>
                  </a:lnTo>
                  <a:lnTo>
                    <a:pt x="873" y="203"/>
                  </a:lnTo>
                  <a:lnTo>
                    <a:pt x="873" y="199"/>
                  </a:lnTo>
                  <a:lnTo>
                    <a:pt x="869" y="199"/>
                  </a:lnTo>
                  <a:lnTo>
                    <a:pt x="873" y="203"/>
                  </a:lnTo>
                  <a:lnTo>
                    <a:pt x="873" y="207"/>
                  </a:lnTo>
                  <a:lnTo>
                    <a:pt x="869" y="207"/>
                  </a:lnTo>
                  <a:lnTo>
                    <a:pt x="865" y="207"/>
                  </a:lnTo>
                  <a:lnTo>
                    <a:pt x="861" y="207"/>
                  </a:lnTo>
                  <a:lnTo>
                    <a:pt x="861" y="203"/>
                  </a:lnTo>
                  <a:lnTo>
                    <a:pt x="857" y="203"/>
                  </a:lnTo>
                  <a:lnTo>
                    <a:pt x="857" y="207"/>
                  </a:lnTo>
                  <a:lnTo>
                    <a:pt x="861" y="207"/>
                  </a:lnTo>
                  <a:lnTo>
                    <a:pt x="857" y="207"/>
                  </a:lnTo>
                  <a:lnTo>
                    <a:pt x="853" y="207"/>
                  </a:lnTo>
                  <a:lnTo>
                    <a:pt x="849" y="207"/>
                  </a:lnTo>
                  <a:lnTo>
                    <a:pt x="849" y="203"/>
                  </a:lnTo>
                  <a:lnTo>
                    <a:pt x="845" y="203"/>
                  </a:lnTo>
                  <a:lnTo>
                    <a:pt x="845" y="207"/>
                  </a:lnTo>
                  <a:lnTo>
                    <a:pt x="849" y="207"/>
                  </a:lnTo>
                  <a:lnTo>
                    <a:pt x="857" y="211"/>
                  </a:lnTo>
                  <a:lnTo>
                    <a:pt x="853" y="211"/>
                  </a:lnTo>
                  <a:lnTo>
                    <a:pt x="849" y="211"/>
                  </a:lnTo>
                  <a:lnTo>
                    <a:pt x="845" y="211"/>
                  </a:lnTo>
                  <a:lnTo>
                    <a:pt x="841" y="211"/>
                  </a:lnTo>
                  <a:lnTo>
                    <a:pt x="837" y="211"/>
                  </a:lnTo>
                  <a:lnTo>
                    <a:pt x="833" y="211"/>
                  </a:lnTo>
                  <a:lnTo>
                    <a:pt x="829" y="211"/>
                  </a:lnTo>
                  <a:lnTo>
                    <a:pt x="825" y="211"/>
                  </a:lnTo>
                  <a:lnTo>
                    <a:pt x="825" y="207"/>
                  </a:lnTo>
                  <a:lnTo>
                    <a:pt x="829" y="207"/>
                  </a:lnTo>
                  <a:lnTo>
                    <a:pt x="825" y="203"/>
                  </a:lnTo>
                  <a:lnTo>
                    <a:pt x="821" y="203"/>
                  </a:lnTo>
                  <a:lnTo>
                    <a:pt x="825" y="203"/>
                  </a:lnTo>
                  <a:lnTo>
                    <a:pt x="825" y="207"/>
                  </a:lnTo>
                  <a:lnTo>
                    <a:pt x="821" y="207"/>
                  </a:lnTo>
                  <a:lnTo>
                    <a:pt x="821" y="211"/>
                  </a:lnTo>
                  <a:lnTo>
                    <a:pt x="817" y="211"/>
                  </a:lnTo>
                  <a:lnTo>
                    <a:pt x="813" y="207"/>
                  </a:lnTo>
                  <a:lnTo>
                    <a:pt x="809" y="207"/>
                  </a:lnTo>
                  <a:lnTo>
                    <a:pt x="809" y="203"/>
                  </a:lnTo>
                  <a:lnTo>
                    <a:pt x="809" y="207"/>
                  </a:lnTo>
                  <a:lnTo>
                    <a:pt x="809" y="211"/>
                  </a:lnTo>
                  <a:lnTo>
                    <a:pt x="805" y="211"/>
                  </a:lnTo>
                  <a:lnTo>
                    <a:pt x="805" y="207"/>
                  </a:lnTo>
                  <a:lnTo>
                    <a:pt x="805" y="211"/>
                  </a:lnTo>
                  <a:lnTo>
                    <a:pt x="801" y="211"/>
                  </a:lnTo>
                  <a:lnTo>
                    <a:pt x="797" y="211"/>
                  </a:lnTo>
                  <a:lnTo>
                    <a:pt x="794" y="207"/>
                  </a:lnTo>
                  <a:lnTo>
                    <a:pt x="797" y="207"/>
                  </a:lnTo>
                  <a:lnTo>
                    <a:pt x="794" y="203"/>
                  </a:lnTo>
                  <a:lnTo>
                    <a:pt x="794" y="199"/>
                  </a:lnTo>
                  <a:lnTo>
                    <a:pt x="794" y="195"/>
                  </a:lnTo>
                  <a:lnTo>
                    <a:pt x="790" y="199"/>
                  </a:lnTo>
                  <a:lnTo>
                    <a:pt x="794" y="199"/>
                  </a:lnTo>
                  <a:lnTo>
                    <a:pt x="794" y="203"/>
                  </a:lnTo>
                  <a:lnTo>
                    <a:pt x="794" y="207"/>
                  </a:lnTo>
                  <a:lnTo>
                    <a:pt x="790" y="207"/>
                  </a:lnTo>
                  <a:lnTo>
                    <a:pt x="794" y="207"/>
                  </a:lnTo>
                  <a:lnTo>
                    <a:pt x="794" y="203"/>
                  </a:lnTo>
                  <a:lnTo>
                    <a:pt x="790" y="203"/>
                  </a:lnTo>
                  <a:lnTo>
                    <a:pt x="790" y="207"/>
                  </a:lnTo>
                  <a:lnTo>
                    <a:pt x="786" y="207"/>
                  </a:lnTo>
                  <a:lnTo>
                    <a:pt x="782" y="207"/>
                  </a:lnTo>
                  <a:lnTo>
                    <a:pt x="778" y="203"/>
                  </a:lnTo>
                  <a:lnTo>
                    <a:pt x="782" y="199"/>
                  </a:lnTo>
                  <a:lnTo>
                    <a:pt x="778" y="199"/>
                  </a:lnTo>
                  <a:lnTo>
                    <a:pt x="778" y="195"/>
                  </a:lnTo>
                  <a:lnTo>
                    <a:pt x="782" y="195"/>
                  </a:lnTo>
                  <a:lnTo>
                    <a:pt x="786" y="195"/>
                  </a:lnTo>
                  <a:lnTo>
                    <a:pt x="786" y="191"/>
                  </a:lnTo>
                  <a:lnTo>
                    <a:pt x="790" y="191"/>
                  </a:lnTo>
                  <a:lnTo>
                    <a:pt x="794" y="187"/>
                  </a:lnTo>
                  <a:lnTo>
                    <a:pt x="797" y="187"/>
                  </a:lnTo>
                  <a:lnTo>
                    <a:pt x="801" y="187"/>
                  </a:lnTo>
                  <a:lnTo>
                    <a:pt x="805" y="187"/>
                  </a:lnTo>
                  <a:lnTo>
                    <a:pt x="809" y="187"/>
                  </a:lnTo>
                  <a:lnTo>
                    <a:pt x="813" y="187"/>
                  </a:lnTo>
                  <a:lnTo>
                    <a:pt x="809" y="187"/>
                  </a:lnTo>
                  <a:lnTo>
                    <a:pt x="813" y="187"/>
                  </a:lnTo>
                  <a:lnTo>
                    <a:pt x="817" y="187"/>
                  </a:lnTo>
                  <a:lnTo>
                    <a:pt x="821" y="187"/>
                  </a:lnTo>
                  <a:lnTo>
                    <a:pt x="817" y="183"/>
                  </a:lnTo>
                  <a:lnTo>
                    <a:pt x="813" y="183"/>
                  </a:lnTo>
                  <a:lnTo>
                    <a:pt x="817" y="183"/>
                  </a:lnTo>
                  <a:lnTo>
                    <a:pt x="813" y="183"/>
                  </a:lnTo>
                  <a:lnTo>
                    <a:pt x="813" y="179"/>
                  </a:lnTo>
                  <a:lnTo>
                    <a:pt x="817" y="179"/>
                  </a:lnTo>
                  <a:lnTo>
                    <a:pt x="813" y="179"/>
                  </a:lnTo>
                  <a:lnTo>
                    <a:pt x="809" y="179"/>
                  </a:lnTo>
                  <a:lnTo>
                    <a:pt x="805" y="179"/>
                  </a:lnTo>
                  <a:lnTo>
                    <a:pt x="805" y="175"/>
                  </a:lnTo>
                  <a:lnTo>
                    <a:pt x="801" y="171"/>
                  </a:lnTo>
                  <a:lnTo>
                    <a:pt x="797" y="171"/>
                  </a:lnTo>
                  <a:lnTo>
                    <a:pt x="797" y="168"/>
                  </a:lnTo>
                  <a:lnTo>
                    <a:pt x="801" y="168"/>
                  </a:lnTo>
                  <a:lnTo>
                    <a:pt x="805" y="168"/>
                  </a:lnTo>
                  <a:lnTo>
                    <a:pt x="805" y="164"/>
                  </a:lnTo>
                  <a:lnTo>
                    <a:pt x="813" y="164"/>
                  </a:lnTo>
                  <a:lnTo>
                    <a:pt x="817" y="164"/>
                  </a:lnTo>
                  <a:lnTo>
                    <a:pt x="821" y="164"/>
                  </a:lnTo>
                  <a:lnTo>
                    <a:pt x="825" y="168"/>
                  </a:lnTo>
                  <a:lnTo>
                    <a:pt x="829" y="168"/>
                  </a:lnTo>
                  <a:lnTo>
                    <a:pt x="833" y="171"/>
                  </a:lnTo>
                  <a:lnTo>
                    <a:pt x="837" y="175"/>
                  </a:lnTo>
                  <a:lnTo>
                    <a:pt x="837" y="179"/>
                  </a:lnTo>
                  <a:lnTo>
                    <a:pt x="833" y="179"/>
                  </a:lnTo>
                  <a:lnTo>
                    <a:pt x="837" y="179"/>
                  </a:lnTo>
                  <a:lnTo>
                    <a:pt x="837" y="175"/>
                  </a:lnTo>
                  <a:lnTo>
                    <a:pt x="841" y="179"/>
                  </a:lnTo>
                  <a:lnTo>
                    <a:pt x="845" y="179"/>
                  </a:lnTo>
                  <a:lnTo>
                    <a:pt x="849" y="179"/>
                  </a:lnTo>
                  <a:lnTo>
                    <a:pt x="849" y="183"/>
                  </a:lnTo>
                  <a:lnTo>
                    <a:pt x="853" y="183"/>
                  </a:lnTo>
                  <a:lnTo>
                    <a:pt x="853" y="179"/>
                  </a:lnTo>
                  <a:lnTo>
                    <a:pt x="857" y="179"/>
                  </a:lnTo>
                  <a:lnTo>
                    <a:pt x="861" y="179"/>
                  </a:lnTo>
                  <a:lnTo>
                    <a:pt x="865" y="179"/>
                  </a:lnTo>
                  <a:lnTo>
                    <a:pt x="869" y="179"/>
                  </a:lnTo>
                  <a:lnTo>
                    <a:pt x="865" y="179"/>
                  </a:lnTo>
                  <a:lnTo>
                    <a:pt x="865" y="175"/>
                  </a:lnTo>
                  <a:lnTo>
                    <a:pt x="869" y="175"/>
                  </a:lnTo>
                  <a:lnTo>
                    <a:pt x="873" y="175"/>
                  </a:lnTo>
                  <a:lnTo>
                    <a:pt x="877" y="171"/>
                  </a:lnTo>
                  <a:lnTo>
                    <a:pt x="881" y="168"/>
                  </a:lnTo>
                  <a:lnTo>
                    <a:pt x="885" y="164"/>
                  </a:lnTo>
                  <a:lnTo>
                    <a:pt x="885" y="160"/>
                  </a:lnTo>
                  <a:lnTo>
                    <a:pt x="889" y="160"/>
                  </a:lnTo>
                  <a:lnTo>
                    <a:pt x="885" y="160"/>
                  </a:lnTo>
                  <a:lnTo>
                    <a:pt x="881" y="160"/>
                  </a:lnTo>
                  <a:lnTo>
                    <a:pt x="881" y="164"/>
                  </a:lnTo>
                  <a:lnTo>
                    <a:pt x="877" y="164"/>
                  </a:lnTo>
                  <a:lnTo>
                    <a:pt x="877" y="168"/>
                  </a:lnTo>
                  <a:lnTo>
                    <a:pt x="873" y="168"/>
                  </a:lnTo>
                  <a:lnTo>
                    <a:pt x="873" y="171"/>
                  </a:lnTo>
                  <a:lnTo>
                    <a:pt x="869" y="171"/>
                  </a:lnTo>
                  <a:lnTo>
                    <a:pt x="869" y="175"/>
                  </a:lnTo>
                  <a:lnTo>
                    <a:pt x="865" y="175"/>
                  </a:lnTo>
                  <a:lnTo>
                    <a:pt x="861" y="175"/>
                  </a:lnTo>
                  <a:lnTo>
                    <a:pt x="857" y="175"/>
                  </a:lnTo>
                  <a:lnTo>
                    <a:pt x="853" y="175"/>
                  </a:lnTo>
                  <a:lnTo>
                    <a:pt x="849" y="175"/>
                  </a:lnTo>
                  <a:lnTo>
                    <a:pt x="849" y="171"/>
                  </a:lnTo>
                  <a:lnTo>
                    <a:pt x="853" y="171"/>
                  </a:lnTo>
                  <a:lnTo>
                    <a:pt x="857" y="171"/>
                  </a:lnTo>
                  <a:lnTo>
                    <a:pt x="853" y="168"/>
                  </a:lnTo>
                  <a:lnTo>
                    <a:pt x="853" y="171"/>
                  </a:lnTo>
                  <a:lnTo>
                    <a:pt x="849" y="171"/>
                  </a:lnTo>
                  <a:lnTo>
                    <a:pt x="845" y="171"/>
                  </a:lnTo>
                  <a:lnTo>
                    <a:pt x="841" y="171"/>
                  </a:lnTo>
                  <a:lnTo>
                    <a:pt x="841" y="168"/>
                  </a:lnTo>
                  <a:lnTo>
                    <a:pt x="845" y="168"/>
                  </a:lnTo>
                  <a:lnTo>
                    <a:pt x="841" y="168"/>
                  </a:lnTo>
                  <a:lnTo>
                    <a:pt x="841" y="164"/>
                  </a:lnTo>
                  <a:lnTo>
                    <a:pt x="845" y="164"/>
                  </a:lnTo>
                  <a:lnTo>
                    <a:pt x="849" y="164"/>
                  </a:lnTo>
                  <a:lnTo>
                    <a:pt x="853" y="164"/>
                  </a:lnTo>
                  <a:lnTo>
                    <a:pt x="857" y="164"/>
                  </a:lnTo>
                  <a:lnTo>
                    <a:pt x="853" y="164"/>
                  </a:lnTo>
                  <a:lnTo>
                    <a:pt x="849" y="164"/>
                  </a:lnTo>
                  <a:lnTo>
                    <a:pt x="845" y="164"/>
                  </a:lnTo>
                  <a:lnTo>
                    <a:pt x="841" y="164"/>
                  </a:lnTo>
                  <a:lnTo>
                    <a:pt x="837" y="164"/>
                  </a:lnTo>
                  <a:lnTo>
                    <a:pt x="841" y="160"/>
                  </a:lnTo>
                  <a:lnTo>
                    <a:pt x="845" y="160"/>
                  </a:lnTo>
                  <a:lnTo>
                    <a:pt x="849" y="160"/>
                  </a:lnTo>
                  <a:lnTo>
                    <a:pt x="853" y="160"/>
                  </a:lnTo>
                  <a:lnTo>
                    <a:pt x="857" y="160"/>
                  </a:lnTo>
                  <a:lnTo>
                    <a:pt x="853" y="160"/>
                  </a:lnTo>
                  <a:lnTo>
                    <a:pt x="849" y="160"/>
                  </a:lnTo>
                  <a:lnTo>
                    <a:pt x="845" y="160"/>
                  </a:lnTo>
                  <a:lnTo>
                    <a:pt x="845" y="156"/>
                  </a:lnTo>
                  <a:lnTo>
                    <a:pt x="849" y="156"/>
                  </a:lnTo>
                  <a:lnTo>
                    <a:pt x="853" y="156"/>
                  </a:lnTo>
                  <a:lnTo>
                    <a:pt x="857" y="156"/>
                  </a:lnTo>
                  <a:lnTo>
                    <a:pt x="861" y="156"/>
                  </a:lnTo>
                  <a:lnTo>
                    <a:pt x="857" y="156"/>
                  </a:lnTo>
                  <a:lnTo>
                    <a:pt x="853" y="156"/>
                  </a:lnTo>
                  <a:lnTo>
                    <a:pt x="849" y="156"/>
                  </a:lnTo>
                  <a:lnTo>
                    <a:pt x="849" y="152"/>
                  </a:lnTo>
                  <a:lnTo>
                    <a:pt x="853" y="152"/>
                  </a:lnTo>
                  <a:lnTo>
                    <a:pt x="849" y="152"/>
                  </a:lnTo>
                  <a:lnTo>
                    <a:pt x="849" y="148"/>
                  </a:lnTo>
                  <a:lnTo>
                    <a:pt x="849" y="144"/>
                  </a:lnTo>
                  <a:lnTo>
                    <a:pt x="853" y="144"/>
                  </a:lnTo>
                  <a:lnTo>
                    <a:pt x="849" y="148"/>
                  </a:lnTo>
                  <a:lnTo>
                    <a:pt x="849" y="152"/>
                  </a:lnTo>
                  <a:lnTo>
                    <a:pt x="845" y="152"/>
                  </a:lnTo>
                  <a:lnTo>
                    <a:pt x="845" y="156"/>
                  </a:lnTo>
                  <a:lnTo>
                    <a:pt x="841" y="160"/>
                  </a:lnTo>
                  <a:lnTo>
                    <a:pt x="837" y="160"/>
                  </a:lnTo>
                  <a:lnTo>
                    <a:pt x="833" y="160"/>
                  </a:lnTo>
                  <a:lnTo>
                    <a:pt x="829" y="160"/>
                  </a:lnTo>
                  <a:lnTo>
                    <a:pt x="829" y="156"/>
                  </a:lnTo>
                  <a:lnTo>
                    <a:pt x="833" y="156"/>
                  </a:lnTo>
                  <a:lnTo>
                    <a:pt x="833" y="152"/>
                  </a:lnTo>
                  <a:lnTo>
                    <a:pt x="829" y="152"/>
                  </a:lnTo>
                  <a:lnTo>
                    <a:pt x="829" y="156"/>
                  </a:lnTo>
                  <a:lnTo>
                    <a:pt x="825" y="156"/>
                  </a:lnTo>
                  <a:lnTo>
                    <a:pt x="821" y="156"/>
                  </a:lnTo>
                  <a:lnTo>
                    <a:pt x="821" y="160"/>
                  </a:lnTo>
                  <a:lnTo>
                    <a:pt x="817" y="160"/>
                  </a:lnTo>
                  <a:lnTo>
                    <a:pt x="813" y="160"/>
                  </a:lnTo>
                  <a:lnTo>
                    <a:pt x="809" y="160"/>
                  </a:lnTo>
                  <a:lnTo>
                    <a:pt x="809" y="156"/>
                  </a:lnTo>
                  <a:lnTo>
                    <a:pt x="813" y="156"/>
                  </a:lnTo>
                  <a:lnTo>
                    <a:pt x="809" y="156"/>
                  </a:lnTo>
                  <a:lnTo>
                    <a:pt x="809" y="152"/>
                  </a:lnTo>
                  <a:lnTo>
                    <a:pt x="809" y="148"/>
                  </a:lnTo>
                  <a:lnTo>
                    <a:pt x="813" y="148"/>
                  </a:lnTo>
                  <a:lnTo>
                    <a:pt x="813" y="144"/>
                  </a:lnTo>
                  <a:lnTo>
                    <a:pt x="817" y="144"/>
                  </a:lnTo>
                  <a:lnTo>
                    <a:pt x="813" y="144"/>
                  </a:lnTo>
                  <a:lnTo>
                    <a:pt x="817" y="140"/>
                  </a:lnTo>
                  <a:lnTo>
                    <a:pt x="821" y="136"/>
                  </a:lnTo>
                  <a:lnTo>
                    <a:pt x="825" y="136"/>
                  </a:lnTo>
                  <a:lnTo>
                    <a:pt x="829" y="136"/>
                  </a:lnTo>
                  <a:lnTo>
                    <a:pt x="833" y="136"/>
                  </a:lnTo>
                  <a:lnTo>
                    <a:pt x="837" y="136"/>
                  </a:lnTo>
                  <a:lnTo>
                    <a:pt x="841" y="136"/>
                  </a:lnTo>
                  <a:lnTo>
                    <a:pt x="841" y="132"/>
                  </a:lnTo>
                  <a:lnTo>
                    <a:pt x="845" y="132"/>
                  </a:lnTo>
                  <a:lnTo>
                    <a:pt x="849" y="136"/>
                  </a:lnTo>
                  <a:lnTo>
                    <a:pt x="853" y="136"/>
                  </a:lnTo>
                  <a:lnTo>
                    <a:pt x="857" y="136"/>
                  </a:lnTo>
                  <a:lnTo>
                    <a:pt x="861" y="136"/>
                  </a:lnTo>
                  <a:lnTo>
                    <a:pt x="865" y="136"/>
                  </a:lnTo>
                  <a:lnTo>
                    <a:pt x="869" y="136"/>
                  </a:lnTo>
                  <a:lnTo>
                    <a:pt x="873" y="136"/>
                  </a:lnTo>
                  <a:lnTo>
                    <a:pt x="873" y="140"/>
                  </a:lnTo>
                  <a:lnTo>
                    <a:pt x="877" y="140"/>
                  </a:lnTo>
                  <a:lnTo>
                    <a:pt x="881" y="140"/>
                  </a:lnTo>
                  <a:lnTo>
                    <a:pt x="885" y="144"/>
                  </a:lnTo>
                  <a:lnTo>
                    <a:pt x="889" y="144"/>
                  </a:lnTo>
                  <a:lnTo>
                    <a:pt x="885" y="144"/>
                  </a:lnTo>
                  <a:lnTo>
                    <a:pt x="885" y="140"/>
                  </a:lnTo>
                  <a:lnTo>
                    <a:pt x="889" y="140"/>
                  </a:lnTo>
                  <a:lnTo>
                    <a:pt x="885" y="140"/>
                  </a:lnTo>
                  <a:lnTo>
                    <a:pt x="881" y="140"/>
                  </a:lnTo>
                  <a:lnTo>
                    <a:pt x="877" y="140"/>
                  </a:lnTo>
                  <a:lnTo>
                    <a:pt x="877" y="136"/>
                  </a:lnTo>
                  <a:lnTo>
                    <a:pt x="873" y="136"/>
                  </a:lnTo>
                  <a:lnTo>
                    <a:pt x="877" y="136"/>
                  </a:lnTo>
                  <a:lnTo>
                    <a:pt x="881" y="136"/>
                  </a:lnTo>
                  <a:lnTo>
                    <a:pt x="885" y="136"/>
                  </a:lnTo>
                  <a:lnTo>
                    <a:pt x="889" y="136"/>
                  </a:lnTo>
                  <a:lnTo>
                    <a:pt x="893" y="136"/>
                  </a:lnTo>
                  <a:lnTo>
                    <a:pt x="897" y="136"/>
                  </a:lnTo>
                  <a:lnTo>
                    <a:pt x="893" y="136"/>
                  </a:lnTo>
                  <a:lnTo>
                    <a:pt x="897" y="136"/>
                  </a:lnTo>
                  <a:lnTo>
                    <a:pt x="897" y="132"/>
                  </a:lnTo>
                  <a:lnTo>
                    <a:pt x="901" y="132"/>
                  </a:lnTo>
                  <a:lnTo>
                    <a:pt x="901" y="128"/>
                  </a:lnTo>
                  <a:lnTo>
                    <a:pt x="897" y="128"/>
                  </a:lnTo>
                  <a:lnTo>
                    <a:pt x="893" y="132"/>
                  </a:lnTo>
                  <a:lnTo>
                    <a:pt x="889" y="132"/>
                  </a:lnTo>
                  <a:lnTo>
                    <a:pt x="889" y="136"/>
                  </a:lnTo>
                  <a:lnTo>
                    <a:pt x="885" y="136"/>
                  </a:lnTo>
                  <a:lnTo>
                    <a:pt x="881" y="136"/>
                  </a:lnTo>
                  <a:lnTo>
                    <a:pt x="881" y="132"/>
                  </a:lnTo>
                  <a:lnTo>
                    <a:pt x="877" y="132"/>
                  </a:lnTo>
                  <a:lnTo>
                    <a:pt x="873" y="132"/>
                  </a:lnTo>
                  <a:lnTo>
                    <a:pt x="869" y="132"/>
                  </a:lnTo>
                  <a:lnTo>
                    <a:pt x="865" y="132"/>
                  </a:lnTo>
                  <a:lnTo>
                    <a:pt x="861" y="132"/>
                  </a:lnTo>
                  <a:lnTo>
                    <a:pt x="857" y="132"/>
                  </a:lnTo>
                  <a:lnTo>
                    <a:pt x="853" y="132"/>
                  </a:lnTo>
                  <a:lnTo>
                    <a:pt x="849" y="132"/>
                  </a:lnTo>
                  <a:lnTo>
                    <a:pt x="849" y="128"/>
                  </a:lnTo>
                  <a:lnTo>
                    <a:pt x="853" y="128"/>
                  </a:lnTo>
                  <a:lnTo>
                    <a:pt x="861" y="128"/>
                  </a:lnTo>
                  <a:lnTo>
                    <a:pt x="865" y="128"/>
                  </a:lnTo>
                  <a:lnTo>
                    <a:pt x="865" y="132"/>
                  </a:lnTo>
                  <a:lnTo>
                    <a:pt x="869" y="132"/>
                  </a:lnTo>
                  <a:lnTo>
                    <a:pt x="873" y="128"/>
                  </a:lnTo>
                  <a:lnTo>
                    <a:pt x="869" y="128"/>
                  </a:lnTo>
                  <a:lnTo>
                    <a:pt x="865" y="128"/>
                  </a:lnTo>
                  <a:lnTo>
                    <a:pt x="861" y="128"/>
                  </a:lnTo>
                  <a:lnTo>
                    <a:pt x="861" y="124"/>
                  </a:lnTo>
                  <a:lnTo>
                    <a:pt x="857" y="124"/>
                  </a:lnTo>
                  <a:lnTo>
                    <a:pt x="857" y="120"/>
                  </a:lnTo>
                  <a:lnTo>
                    <a:pt x="853" y="120"/>
                  </a:lnTo>
                  <a:lnTo>
                    <a:pt x="853" y="116"/>
                  </a:lnTo>
                  <a:lnTo>
                    <a:pt x="849" y="116"/>
                  </a:lnTo>
                  <a:lnTo>
                    <a:pt x="845" y="112"/>
                  </a:lnTo>
                  <a:lnTo>
                    <a:pt x="841" y="112"/>
                  </a:lnTo>
                  <a:lnTo>
                    <a:pt x="841" y="108"/>
                  </a:lnTo>
                  <a:lnTo>
                    <a:pt x="837" y="108"/>
                  </a:lnTo>
                  <a:lnTo>
                    <a:pt x="833" y="108"/>
                  </a:lnTo>
                  <a:lnTo>
                    <a:pt x="829" y="108"/>
                  </a:lnTo>
                  <a:lnTo>
                    <a:pt x="825" y="108"/>
                  </a:lnTo>
                  <a:lnTo>
                    <a:pt x="825" y="104"/>
                  </a:lnTo>
                  <a:lnTo>
                    <a:pt x="825" y="100"/>
                  </a:lnTo>
                  <a:lnTo>
                    <a:pt x="829" y="100"/>
                  </a:lnTo>
                  <a:lnTo>
                    <a:pt x="833" y="100"/>
                  </a:lnTo>
                  <a:lnTo>
                    <a:pt x="833" y="104"/>
                  </a:lnTo>
                  <a:lnTo>
                    <a:pt x="837" y="104"/>
                  </a:lnTo>
                  <a:lnTo>
                    <a:pt x="841" y="104"/>
                  </a:lnTo>
                  <a:lnTo>
                    <a:pt x="837" y="100"/>
                  </a:lnTo>
                  <a:lnTo>
                    <a:pt x="829" y="100"/>
                  </a:lnTo>
                  <a:lnTo>
                    <a:pt x="825" y="100"/>
                  </a:lnTo>
                  <a:lnTo>
                    <a:pt x="821" y="100"/>
                  </a:lnTo>
                  <a:lnTo>
                    <a:pt x="821" y="96"/>
                  </a:lnTo>
                  <a:lnTo>
                    <a:pt x="825" y="92"/>
                  </a:lnTo>
                  <a:lnTo>
                    <a:pt x="829" y="88"/>
                  </a:lnTo>
                  <a:lnTo>
                    <a:pt x="833" y="88"/>
                  </a:lnTo>
                  <a:lnTo>
                    <a:pt x="837" y="92"/>
                  </a:lnTo>
                  <a:lnTo>
                    <a:pt x="841" y="92"/>
                  </a:lnTo>
                  <a:lnTo>
                    <a:pt x="845" y="92"/>
                  </a:lnTo>
                  <a:lnTo>
                    <a:pt x="849" y="92"/>
                  </a:lnTo>
                  <a:lnTo>
                    <a:pt x="853" y="92"/>
                  </a:lnTo>
                  <a:lnTo>
                    <a:pt x="857" y="92"/>
                  </a:lnTo>
                  <a:lnTo>
                    <a:pt x="861" y="92"/>
                  </a:lnTo>
                  <a:lnTo>
                    <a:pt x="865" y="92"/>
                  </a:lnTo>
                  <a:lnTo>
                    <a:pt x="869" y="92"/>
                  </a:lnTo>
                  <a:lnTo>
                    <a:pt x="869" y="96"/>
                  </a:lnTo>
                  <a:lnTo>
                    <a:pt x="873" y="96"/>
                  </a:lnTo>
                  <a:lnTo>
                    <a:pt x="877" y="96"/>
                  </a:lnTo>
                  <a:lnTo>
                    <a:pt x="877" y="100"/>
                  </a:lnTo>
                  <a:lnTo>
                    <a:pt x="881" y="100"/>
                  </a:lnTo>
                  <a:lnTo>
                    <a:pt x="885" y="100"/>
                  </a:lnTo>
                  <a:lnTo>
                    <a:pt x="889" y="104"/>
                  </a:lnTo>
                  <a:lnTo>
                    <a:pt x="893" y="104"/>
                  </a:lnTo>
                  <a:lnTo>
                    <a:pt x="893" y="108"/>
                  </a:lnTo>
                  <a:lnTo>
                    <a:pt x="897" y="108"/>
                  </a:lnTo>
                  <a:lnTo>
                    <a:pt x="897" y="112"/>
                  </a:lnTo>
                  <a:lnTo>
                    <a:pt x="901" y="112"/>
                  </a:lnTo>
                  <a:lnTo>
                    <a:pt x="905" y="112"/>
                  </a:lnTo>
                  <a:lnTo>
                    <a:pt x="909" y="112"/>
                  </a:lnTo>
                  <a:lnTo>
                    <a:pt x="913" y="112"/>
                  </a:lnTo>
                  <a:lnTo>
                    <a:pt x="917" y="112"/>
                  </a:lnTo>
                  <a:lnTo>
                    <a:pt x="921" y="112"/>
                  </a:lnTo>
                  <a:lnTo>
                    <a:pt x="925" y="112"/>
                  </a:lnTo>
                  <a:lnTo>
                    <a:pt x="925" y="108"/>
                  </a:lnTo>
                  <a:lnTo>
                    <a:pt x="921" y="108"/>
                  </a:lnTo>
                  <a:lnTo>
                    <a:pt x="917" y="108"/>
                  </a:lnTo>
                  <a:lnTo>
                    <a:pt x="917" y="112"/>
                  </a:lnTo>
                  <a:lnTo>
                    <a:pt x="913" y="112"/>
                  </a:lnTo>
                  <a:lnTo>
                    <a:pt x="909" y="112"/>
                  </a:lnTo>
                  <a:lnTo>
                    <a:pt x="905" y="108"/>
                  </a:lnTo>
                  <a:lnTo>
                    <a:pt x="901" y="108"/>
                  </a:lnTo>
                  <a:lnTo>
                    <a:pt x="897" y="104"/>
                  </a:lnTo>
                  <a:lnTo>
                    <a:pt x="901" y="104"/>
                  </a:lnTo>
                  <a:lnTo>
                    <a:pt x="901" y="100"/>
                  </a:lnTo>
                  <a:lnTo>
                    <a:pt x="897" y="100"/>
                  </a:lnTo>
                  <a:lnTo>
                    <a:pt x="893" y="100"/>
                  </a:lnTo>
                  <a:lnTo>
                    <a:pt x="889" y="100"/>
                  </a:lnTo>
                  <a:lnTo>
                    <a:pt x="885" y="100"/>
                  </a:lnTo>
                  <a:lnTo>
                    <a:pt x="881" y="96"/>
                  </a:lnTo>
                  <a:lnTo>
                    <a:pt x="877" y="92"/>
                  </a:lnTo>
                  <a:lnTo>
                    <a:pt x="873" y="92"/>
                  </a:lnTo>
                  <a:lnTo>
                    <a:pt x="873" y="88"/>
                  </a:lnTo>
                  <a:lnTo>
                    <a:pt x="877" y="88"/>
                  </a:lnTo>
                  <a:lnTo>
                    <a:pt x="881" y="88"/>
                  </a:lnTo>
                  <a:lnTo>
                    <a:pt x="885" y="88"/>
                  </a:lnTo>
                  <a:lnTo>
                    <a:pt x="889" y="88"/>
                  </a:lnTo>
                  <a:lnTo>
                    <a:pt x="893" y="88"/>
                  </a:lnTo>
                  <a:lnTo>
                    <a:pt x="897" y="88"/>
                  </a:lnTo>
                  <a:lnTo>
                    <a:pt x="901" y="88"/>
                  </a:lnTo>
                  <a:lnTo>
                    <a:pt x="905" y="88"/>
                  </a:lnTo>
                  <a:lnTo>
                    <a:pt x="909" y="88"/>
                  </a:lnTo>
                  <a:lnTo>
                    <a:pt x="909" y="84"/>
                  </a:lnTo>
                  <a:lnTo>
                    <a:pt x="913" y="84"/>
                  </a:lnTo>
                  <a:lnTo>
                    <a:pt x="917" y="84"/>
                  </a:lnTo>
                  <a:lnTo>
                    <a:pt x="921" y="84"/>
                  </a:lnTo>
                  <a:lnTo>
                    <a:pt x="925" y="84"/>
                  </a:lnTo>
                  <a:lnTo>
                    <a:pt x="929" y="84"/>
                  </a:lnTo>
                  <a:lnTo>
                    <a:pt x="933" y="84"/>
                  </a:lnTo>
                  <a:lnTo>
                    <a:pt x="937" y="84"/>
                  </a:lnTo>
                  <a:lnTo>
                    <a:pt x="941" y="84"/>
                  </a:lnTo>
                  <a:lnTo>
                    <a:pt x="945" y="84"/>
                  </a:lnTo>
                  <a:lnTo>
                    <a:pt x="949" y="84"/>
                  </a:lnTo>
                  <a:lnTo>
                    <a:pt x="953" y="84"/>
                  </a:lnTo>
                  <a:lnTo>
                    <a:pt x="953" y="80"/>
                  </a:lnTo>
                  <a:lnTo>
                    <a:pt x="949" y="80"/>
                  </a:lnTo>
                  <a:lnTo>
                    <a:pt x="941" y="80"/>
                  </a:lnTo>
                  <a:lnTo>
                    <a:pt x="937" y="80"/>
                  </a:lnTo>
                  <a:lnTo>
                    <a:pt x="933" y="80"/>
                  </a:lnTo>
                  <a:lnTo>
                    <a:pt x="929" y="80"/>
                  </a:lnTo>
                  <a:lnTo>
                    <a:pt x="925" y="80"/>
                  </a:lnTo>
                  <a:lnTo>
                    <a:pt x="929" y="80"/>
                  </a:lnTo>
                  <a:lnTo>
                    <a:pt x="933" y="80"/>
                  </a:lnTo>
                  <a:lnTo>
                    <a:pt x="937" y="76"/>
                  </a:lnTo>
                  <a:lnTo>
                    <a:pt x="941" y="76"/>
                  </a:lnTo>
                  <a:lnTo>
                    <a:pt x="945" y="76"/>
                  </a:lnTo>
                  <a:lnTo>
                    <a:pt x="949" y="76"/>
                  </a:lnTo>
                  <a:lnTo>
                    <a:pt x="953" y="76"/>
                  </a:lnTo>
                  <a:lnTo>
                    <a:pt x="957" y="76"/>
                  </a:lnTo>
                  <a:lnTo>
                    <a:pt x="965" y="72"/>
                  </a:lnTo>
                  <a:lnTo>
                    <a:pt x="969" y="72"/>
                  </a:lnTo>
                  <a:lnTo>
                    <a:pt x="973" y="72"/>
                  </a:lnTo>
                  <a:lnTo>
                    <a:pt x="977" y="72"/>
                  </a:lnTo>
                  <a:lnTo>
                    <a:pt x="973" y="72"/>
                  </a:lnTo>
                  <a:lnTo>
                    <a:pt x="969" y="72"/>
                  </a:lnTo>
                  <a:lnTo>
                    <a:pt x="965" y="72"/>
                  </a:lnTo>
                  <a:lnTo>
                    <a:pt x="961" y="72"/>
                  </a:lnTo>
                  <a:lnTo>
                    <a:pt x="957" y="72"/>
                  </a:lnTo>
                  <a:lnTo>
                    <a:pt x="953" y="72"/>
                  </a:lnTo>
                  <a:lnTo>
                    <a:pt x="945" y="72"/>
                  </a:lnTo>
                  <a:lnTo>
                    <a:pt x="941" y="72"/>
                  </a:lnTo>
                  <a:lnTo>
                    <a:pt x="937" y="72"/>
                  </a:lnTo>
                  <a:lnTo>
                    <a:pt x="937" y="68"/>
                  </a:lnTo>
                  <a:lnTo>
                    <a:pt x="941" y="68"/>
                  </a:lnTo>
                  <a:lnTo>
                    <a:pt x="945" y="68"/>
                  </a:lnTo>
                  <a:lnTo>
                    <a:pt x="945" y="64"/>
                  </a:lnTo>
                  <a:lnTo>
                    <a:pt x="949" y="64"/>
                  </a:lnTo>
                  <a:lnTo>
                    <a:pt x="953" y="60"/>
                  </a:lnTo>
                  <a:lnTo>
                    <a:pt x="957" y="60"/>
                  </a:lnTo>
                  <a:lnTo>
                    <a:pt x="961" y="60"/>
                  </a:lnTo>
                  <a:lnTo>
                    <a:pt x="965" y="56"/>
                  </a:lnTo>
                  <a:lnTo>
                    <a:pt x="969" y="56"/>
                  </a:lnTo>
                  <a:lnTo>
                    <a:pt x="973" y="56"/>
                  </a:lnTo>
                  <a:lnTo>
                    <a:pt x="969" y="56"/>
                  </a:lnTo>
                  <a:lnTo>
                    <a:pt x="965" y="56"/>
                  </a:lnTo>
                  <a:lnTo>
                    <a:pt x="961" y="56"/>
                  </a:lnTo>
                  <a:lnTo>
                    <a:pt x="957" y="56"/>
                  </a:lnTo>
                  <a:lnTo>
                    <a:pt x="953" y="60"/>
                  </a:lnTo>
                  <a:lnTo>
                    <a:pt x="949" y="60"/>
                  </a:lnTo>
                  <a:lnTo>
                    <a:pt x="945" y="60"/>
                  </a:lnTo>
                  <a:lnTo>
                    <a:pt x="945" y="64"/>
                  </a:lnTo>
                  <a:lnTo>
                    <a:pt x="941" y="64"/>
                  </a:lnTo>
                  <a:lnTo>
                    <a:pt x="937" y="64"/>
                  </a:lnTo>
                  <a:lnTo>
                    <a:pt x="933" y="64"/>
                  </a:lnTo>
                  <a:lnTo>
                    <a:pt x="929" y="64"/>
                  </a:lnTo>
                  <a:lnTo>
                    <a:pt x="933" y="64"/>
                  </a:lnTo>
                  <a:lnTo>
                    <a:pt x="937" y="64"/>
                  </a:lnTo>
                  <a:lnTo>
                    <a:pt x="937" y="68"/>
                  </a:lnTo>
                  <a:lnTo>
                    <a:pt x="933" y="68"/>
                  </a:lnTo>
                  <a:lnTo>
                    <a:pt x="937" y="68"/>
                  </a:lnTo>
                  <a:lnTo>
                    <a:pt x="933" y="72"/>
                  </a:lnTo>
                  <a:lnTo>
                    <a:pt x="929" y="76"/>
                  </a:lnTo>
                  <a:lnTo>
                    <a:pt x="925" y="76"/>
                  </a:lnTo>
                  <a:lnTo>
                    <a:pt x="921" y="76"/>
                  </a:lnTo>
                  <a:lnTo>
                    <a:pt x="917" y="76"/>
                  </a:lnTo>
                  <a:lnTo>
                    <a:pt x="913" y="76"/>
                  </a:lnTo>
                  <a:lnTo>
                    <a:pt x="913" y="80"/>
                  </a:lnTo>
                  <a:lnTo>
                    <a:pt x="909" y="80"/>
                  </a:lnTo>
                  <a:lnTo>
                    <a:pt x="901" y="80"/>
                  </a:lnTo>
                  <a:lnTo>
                    <a:pt x="897" y="80"/>
                  </a:lnTo>
                  <a:lnTo>
                    <a:pt x="893" y="80"/>
                  </a:lnTo>
                  <a:lnTo>
                    <a:pt x="885" y="84"/>
                  </a:lnTo>
                  <a:lnTo>
                    <a:pt x="881" y="84"/>
                  </a:lnTo>
                  <a:lnTo>
                    <a:pt x="877" y="8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2" name="Freeform 59"/>
            <p:cNvSpPr>
              <a:spLocks/>
            </p:cNvSpPr>
            <p:nvPr>
              <p:custDataLst>
                <p:tags r:id="rId255"/>
              </p:custDataLst>
            </p:nvPr>
          </p:nvSpPr>
          <p:spPr bwMode="gray">
            <a:xfrm>
              <a:off x="2446595" y="4290443"/>
              <a:ext cx="77119" cy="88984"/>
            </a:xfrm>
            <a:custGeom>
              <a:avLst/>
              <a:gdLst/>
              <a:ahLst/>
              <a:cxnLst>
                <a:cxn ang="0">
                  <a:pos x="8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20" y="4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32" y="8"/>
                </a:cxn>
                <a:cxn ang="0">
                  <a:pos x="32" y="8"/>
                </a:cxn>
                <a:cxn ang="0">
                  <a:pos x="36" y="4"/>
                </a:cxn>
                <a:cxn ang="0">
                  <a:pos x="36" y="8"/>
                </a:cxn>
                <a:cxn ang="0">
                  <a:pos x="36" y="8"/>
                </a:cxn>
                <a:cxn ang="0">
                  <a:pos x="40" y="16"/>
                </a:cxn>
                <a:cxn ang="0">
                  <a:pos x="44" y="24"/>
                </a:cxn>
                <a:cxn ang="0">
                  <a:pos x="48" y="28"/>
                </a:cxn>
                <a:cxn ang="0">
                  <a:pos x="52" y="32"/>
                </a:cxn>
                <a:cxn ang="0">
                  <a:pos x="48" y="32"/>
                </a:cxn>
                <a:cxn ang="0">
                  <a:pos x="48" y="28"/>
                </a:cxn>
                <a:cxn ang="0">
                  <a:pos x="44" y="40"/>
                </a:cxn>
                <a:cxn ang="0">
                  <a:pos x="48" y="44"/>
                </a:cxn>
                <a:cxn ang="0">
                  <a:pos x="44" y="44"/>
                </a:cxn>
                <a:cxn ang="0">
                  <a:pos x="44" y="48"/>
                </a:cxn>
                <a:cxn ang="0">
                  <a:pos x="44" y="52"/>
                </a:cxn>
                <a:cxn ang="0">
                  <a:pos x="44" y="52"/>
                </a:cxn>
                <a:cxn ang="0">
                  <a:pos x="44" y="56"/>
                </a:cxn>
                <a:cxn ang="0">
                  <a:pos x="44" y="60"/>
                </a:cxn>
                <a:cxn ang="0">
                  <a:pos x="44" y="56"/>
                </a:cxn>
                <a:cxn ang="0">
                  <a:pos x="40" y="52"/>
                </a:cxn>
                <a:cxn ang="0">
                  <a:pos x="40" y="48"/>
                </a:cxn>
                <a:cxn ang="0">
                  <a:pos x="40" y="44"/>
                </a:cxn>
                <a:cxn ang="0">
                  <a:pos x="36" y="48"/>
                </a:cxn>
                <a:cxn ang="0">
                  <a:pos x="40" y="48"/>
                </a:cxn>
                <a:cxn ang="0">
                  <a:pos x="40" y="52"/>
                </a:cxn>
                <a:cxn ang="0">
                  <a:pos x="40" y="52"/>
                </a:cxn>
                <a:cxn ang="0">
                  <a:pos x="36" y="52"/>
                </a:cxn>
                <a:cxn ang="0">
                  <a:pos x="32" y="48"/>
                </a:cxn>
                <a:cxn ang="0">
                  <a:pos x="36" y="40"/>
                </a:cxn>
                <a:cxn ang="0">
                  <a:pos x="32" y="36"/>
                </a:cxn>
                <a:cxn ang="0">
                  <a:pos x="28" y="32"/>
                </a:cxn>
                <a:cxn ang="0">
                  <a:pos x="24" y="32"/>
                </a:cxn>
                <a:cxn ang="0">
                  <a:pos x="20" y="28"/>
                </a:cxn>
                <a:cxn ang="0">
                  <a:pos x="20" y="28"/>
                </a:cxn>
                <a:cxn ang="0">
                  <a:pos x="16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6" y="24"/>
                </a:cxn>
              </a:cxnLst>
              <a:rect l="0" t="0" r="r" b="b"/>
              <a:pathLst>
                <a:path w="52" h="60">
                  <a:moveTo>
                    <a:pt x="12" y="28"/>
                  </a:move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3" name="Freeform 60"/>
            <p:cNvSpPr>
              <a:spLocks noEditPoints="1"/>
            </p:cNvSpPr>
            <p:nvPr>
              <p:custDataLst>
                <p:tags r:id="rId256"/>
              </p:custDataLst>
            </p:nvPr>
          </p:nvSpPr>
          <p:spPr bwMode="gray">
            <a:xfrm>
              <a:off x="2470324" y="3959720"/>
              <a:ext cx="243222" cy="93433"/>
            </a:xfrm>
            <a:custGeom>
              <a:avLst/>
              <a:gdLst/>
              <a:ahLst/>
              <a:cxnLst>
                <a:cxn ang="0">
                  <a:pos x="88" y="28"/>
                </a:cxn>
                <a:cxn ang="0">
                  <a:pos x="80" y="28"/>
                </a:cxn>
                <a:cxn ang="0">
                  <a:pos x="72" y="24"/>
                </a:cxn>
                <a:cxn ang="0">
                  <a:pos x="64" y="20"/>
                </a:cxn>
                <a:cxn ang="0">
                  <a:pos x="52" y="20"/>
                </a:cxn>
                <a:cxn ang="0">
                  <a:pos x="44" y="20"/>
                </a:cxn>
                <a:cxn ang="0">
                  <a:pos x="40" y="12"/>
                </a:cxn>
                <a:cxn ang="0">
                  <a:pos x="48" y="8"/>
                </a:cxn>
                <a:cxn ang="0">
                  <a:pos x="36" y="8"/>
                </a:cxn>
                <a:cxn ang="0">
                  <a:pos x="28" y="12"/>
                </a:cxn>
                <a:cxn ang="0">
                  <a:pos x="24" y="20"/>
                </a:cxn>
                <a:cxn ang="0">
                  <a:pos x="16" y="20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12" y="8"/>
                </a:cxn>
                <a:cxn ang="0">
                  <a:pos x="24" y="4"/>
                </a:cxn>
                <a:cxn ang="0">
                  <a:pos x="36" y="0"/>
                </a:cxn>
                <a:cxn ang="0">
                  <a:pos x="48" y="0"/>
                </a:cxn>
                <a:cxn ang="0">
                  <a:pos x="56" y="4"/>
                </a:cxn>
                <a:cxn ang="0">
                  <a:pos x="64" y="0"/>
                </a:cxn>
                <a:cxn ang="0">
                  <a:pos x="72" y="4"/>
                </a:cxn>
                <a:cxn ang="0">
                  <a:pos x="80" y="8"/>
                </a:cxn>
                <a:cxn ang="0">
                  <a:pos x="84" y="16"/>
                </a:cxn>
                <a:cxn ang="0">
                  <a:pos x="96" y="16"/>
                </a:cxn>
                <a:cxn ang="0">
                  <a:pos x="104" y="24"/>
                </a:cxn>
                <a:cxn ang="0">
                  <a:pos x="112" y="28"/>
                </a:cxn>
                <a:cxn ang="0">
                  <a:pos x="112" y="24"/>
                </a:cxn>
                <a:cxn ang="0">
                  <a:pos x="116" y="28"/>
                </a:cxn>
                <a:cxn ang="0">
                  <a:pos x="116" y="28"/>
                </a:cxn>
                <a:cxn ang="0">
                  <a:pos x="120" y="36"/>
                </a:cxn>
                <a:cxn ang="0">
                  <a:pos x="128" y="36"/>
                </a:cxn>
                <a:cxn ang="0">
                  <a:pos x="136" y="40"/>
                </a:cxn>
                <a:cxn ang="0">
                  <a:pos x="136" y="44"/>
                </a:cxn>
                <a:cxn ang="0">
                  <a:pos x="144" y="48"/>
                </a:cxn>
                <a:cxn ang="0">
                  <a:pos x="148" y="48"/>
                </a:cxn>
                <a:cxn ang="0">
                  <a:pos x="156" y="51"/>
                </a:cxn>
                <a:cxn ang="0">
                  <a:pos x="164" y="55"/>
                </a:cxn>
                <a:cxn ang="0">
                  <a:pos x="152" y="59"/>
                </a:cxn>
                <a:cxn ang="0">
                  <a:pos x="140" y="63"/>
                </a:cxn>
                <a:cxn ang="0">
                  <a:pos x="132" y="59"/>
                </a:cxn>
                <a:cxn ang="0">
                  <a:pos x="120" y="59"/>
                </a:cxn>
                <a:cxn ang="0">
                  <a:pos x="120" y="63"/>
                </a:cxn>
                <a:cxn ang="0">
                  <a:pos x="112" y="63"/>
                </a:cxn>
                <a:cxn ang="0">
                  <a:pos x="112" y="59"/>
                </a:cxn>
                <a:cxn ang="0">
                  <a:pos x="116" y="51"/>
                </a:cxn>
                <a:cxn ang="0">
                  <a:pos x="112" y="48"/>
                </a:cxn>
                <a:cxn ang="0">
                  <a:pos x="104" y="44"/>
                </a:cxn>
                <a:cxn ang="0">
                  <a:pos x="100" y="40"/>
                </a:cxn>
                <a:cxn ang="0">
                  <a:pos x="96" y="32"/>
                </a:cxn>
                <a:cxn ang="0">
                  <a:pos x="80" y="8"/>
                </a:cxn>
                <a:cxn ang="0">
                  <a:pos x="96" y="16"/>
                </a:cxn>
                <a:cxn ang="0">
                  <a:pos x="92" y="12"/>
                </a:cxn>
                <a:cxn ang="0">
                  <a:pos x="96" y="12"/>
                </a:cxn>
                <a:cxn ang="0">
                  <a:pos x="100" y="16"/>
                </a:cxn>
                <a:cxn ang="0">
                  <a:pos x="104" y="16"/>
                </a:cxn>
                <a:cxn ang="0">
                  <a:pos x="104" y="16"/>
                </a:cxn>
                <a:cxn ang="0">
                  <a:pos x="108" y="24"/>
                </a:cxn>
                <a:cxn ang="0">
                  <a:pos x="108" y="24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32" y="28"/>
                </a:cxn>
                <a:cxn ang="0">
                  <a:pos x="32" y="32"/>
                </a:cxn>
              </a:cxnLst>
              <a:rect l="0" t="0" r="r" b="b"/>
              <a:pathLst>
                <a:path w="164" h="63">
                  <a:moveTo>
                    <a:pt x="96" y="32"/>
                  </a:moveTo>
                  <a:lnTo>
                    <a:pt x="92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0" y="28"/>
                  </a:lnTo>
                  <a:lnTo>
                    <a:pt x="76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0"/>
                  </a:lnTo>
                  <a:lnTo>
                    <a:pt x="64" y="20"/>
                  </a:lnTo>
                  <a:lnTo>
                    <a:pt x="60" y="20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4" y="16"/>
                  </a:lnTo>
                  <a:lnTo>
                    <a:pt x="88" y="16"/>
                  </a:lnTo>
                  <a:lnTo>
                    <a:pt x="92" y="16"/>
                  </a:lnTo>
                  <a:lnTo>
                    <a:pt x="96" y="16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08" y="28"/>
                  </a:lnTo>
                  <a:lnTo>
                    <a:pt x="112" y="28"/>
                  </a:lnTo>
                  <a:lnTo>
                    <a:pt x="116" y="28"/>
                  </a:lnTo>
                  <a:lnTo>
                    <a:pt x="112" y="28"/>
                  </a:lnTo>
                  <a:lnTo>
                    <a:pt x="112" y="24"/>
                  </a:lnTo>
                  <a:lnTo>
                    <a:pt x="108" y="24"/>
                  </a:lnTo>
                  <a:lnTo>
                    <a:pt x="112" y="24"/>
                  </a:lnTo>
                  <a:lnTo>
                    <a:pt x="116" y="28"/>
                  </a:lnTo>
                  <a:lnTo>
                    <a:pt x="112" y="28"/>
                  </a:lnTo>
                  <a:lnTo>
                    <a:pt x="116" y="32"/>
                  </a:lnTo>
                  <a:lnTo>
                    <a:pt x="116" y="28"/>
                  </a:lnTo>
                  <a:lnTo>
                    <a:pt x="120" y="28"/>
                  </a:lnTo>
                  <a:lnTo>
                    <a:pt x="120" y="32"/>
                  </a:lnTo>
                  <a:lnTo>
                    <a:pt x="120" y="36"/>
                  </a:lnTo>
                  <a:lnTo>
                    <a:pt x="124" y="32"/>
                  </a:lnTo>
                  <a:lnTo>
                    <a:pt x="124" y="36"/>
                  </a:lnTo>
                  <a:lnTo>
                    <a:pt x="128" y="36"/>
                  </a:lnTo>
                  <a:lnTo>
                    <a:pt x="132" y="36"/>
                  </a:lnTo>
                  <a:lnTo>
                    <a:pt x="132" y="40"/>
                  </a:lnTo>
                  <a:lnTo>
                    <a:pt x="136" y="40"/>
                  </a:lnTo>
                  <a:lnTo>
                    <a:pt x="140" y="40"/>
                  </a:lnTo>
                  <a:lnTo>
                    <a:pt x="140" y="44"/>
                  </a:lnTo>
                  <a:lnTo>
                    <a:pt x="136" y="44"/>
                  </a:lnTo>
                  <a:lnTo>
                    <a:pt x="136" y="48"/>
                  </a:lnTo>
                  <a:lnTo>
                    <a:pt x="140" y="48"/>
                  </a:lnTo>
                  <a:lnTo>
                    <a:pt x="144" y="48"/>
                  </a:lnTo>
                  <a:lnTo>
                    <a:pt x="144" y="44"/>
                  </a:lnTo>
                  <a:lnTo>
                    <a:pt x="144" y="48"/>
                  </a:lnTo>
                  <a:lnTo>
                    <a:pt x="148" y="48"/>
                  </a:lnTo>
                  <a:lnTo>
                    <a:pt x="152" y="48"/>
                  </a:lnTo>
                  <a:lnTo>
                    <a:pt x="156" y="48"/>
                  </a:lnTo>
                  <a:lnTo>
                    <a:pt x="156" y="51"/>
                  </a:lnTo>
                  <a:lnTo>
                    <a:pt x="160" y="55"/>
                  </a:lnTo>
                  <a:lnTo>
                    <a:pt x="160" y="51"/>
                  </a:lnTo>
                  <a:lnTo>
                    <a:pt x="164" y="55"/>
                  </a:lnTo>
                  <a:lnTo>
                    <a:pt x="160" y="59"/>
                  </a:lnTo>
                  <a:lnTo>
                    <a:pt x="156" y="59"/>
                  </a:lnTo>
                  <a:lnTo>
                    <a:pt x="152" y="59"/>
                  </a:lnTo>
                  <a:lnTo>
                    <a:pt x="148" y="59"/>
                  </a:lnTo>
                  <a:lnTo>
                    <a:pt x="144" y="63"/>
                  </a:lnTo>
                  <a:lnTo>
                    <a:pt x="140" y="63"/>
                  </a:lnTo>
                  <a:lnTo>
                    <a:pt x="140" y="59"/>
                  </a:lnTo>
                  <a:lnTo>
                    <a:pt x="136" y="59"/>
                  </a:lnTo>
                  <a:lnTo>
                    <a:pt x="132" y="59"/>
                  </a:lnTo>
                  <a:lnTo>
                    <a:pt x="128" y="59"/>
                  </a:lnTo>
                  <a:lnTo>
                    <a:pt x="124" y="59"/>
                  </a:lnTo>
                  <a:lnTo>
                    <a:pt x="120" y="59"/>
                  </a:lnTo>
                  <a:lnTo>
                    <a:pt x="120" y="63"/>
                  </a:lnTo>
                  <a:lnTo>
                    <a:pt x="120" y="59"/>
                  </a:lnTo>
                  <a:lnTo>
                    <a:pt x="120" y="63"/>
                  </a:lnTo>
                  <a:lnTo>
                    <a:pt x="116" y="59"/>
                  </a:lnTo>
                  <a:lnTo>
                    <a:pt x="116" y="63"/>
                  </a:lnTo>
                  <a:lnTo>
                    <a:pt x="112" y="63"/>
                  </a:lnTo>
                  <a:lnTo>
                    <a:pt x="108" y="63"/>
                  </a:lnTo>
                  <a:lnTo>
                    <a:pt x="108" y="59"/>
                  </a:lnTo>
                  <a:lnTo>
                    <a:pt x="112" y="59"/>
                  </a:lnTo>
                  <a:lnTo>
                    <a:pt x="112" y="55"/>
                  </a:lnTo>
                  <a:lnTo>
                    <a:pt x="116" y="55"/>
                  </a:lnTo>
                  <a:lnTo>
                    <a:pt x="116" y="51"/>
                  </a:lnTo>
                  <a:lnTo>
                    <a:pt x="120" y="51"/>
                  </a:lnTo>
                  <a:lnTo>
                    <a:pt x="116" y="48"/>
                  </a:lnTo>
                  <a:lnTo>
                    <a:pt x="112" y="48"/>
                  </a:lnTo>
                  <a:lnTo>
                    <a:pt x="108" y="48"/>
                  </a:lnTo>
                  <a:lnTo>
                    <a:pt x="108" y="44"/>
                  </a:lnTo>
                  <a:lnTo>
                    <a:pt x="104" y="44"/>
                  </a:lnTo>
                  <a:lnTo>
                    <a:pt x="104" y="48"/>
                  </a:lnTo>
                  <a:lnTo>
                    <a:pt x="100" y="44"/>
                  </a:lnTo>
                  <a:lnTo>
                    <a:pt x="100" y="40"/>
                  </a:lnTo>
                  <a:lnTo>
                    <a:pt x="96" y="40"/>
                  </a:lnTo>
                  <a:lnTo>
                    <a:pt x="96" y="36"/>
                  </a:lnTo>
                  <a:lnTo>
                    <a:pt x="96" y="32"/>
                  </a:lnTo>
                  <a:close/>
                  <a:moveTo>
                    <a:pt x="84" y="12"/>
                  </a:moveTo>
                  <a:lnTo>
                    <a:pt x="84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12"/>
                  </a:lnTo>
                  <a:close/>
                  <a:moveTo>
                    <a:pt x="96" y="16"/>
                  </a:moveTo>
                  <a:lnTo>
                    <a:pt x="100" y="12"/>
                  </a:lnTo>
                  <a:lnTo>
                    <a:pt x="96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100" y="12"/>
                  </a:lnTo>
                  <a:lnTo>
                    <a:pt x="96" y="12"/>
                  </a:lnTo>
                  <a:lnTo>
                    <a:pt x="96" y="16"/>
                  </a:lnTo>
                  <a:close/>
                  <a:moveTo>
                    <a:pt x="104" y="16"/>
                  </a:moveTo>
                  <a:lnTo>
                    <a:pt x="100" y="16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4" y="16"/>
                  </a:lnTo>
                  <a:close/>
                  <a:moveTo>
                    <a:pt x="108" y="20"/>
                  </a:moveTo>
                  <a:lnTo>
                    <a:pt x="104" y="20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08" y="20"/>
                  </a:lnTo>
                  <a:close/>
                  <a:moveTo>
                    <a:pt x="108" y="24"/>
                  </a:moveTo>
                  <a:lnTo>
                    <a:pt x="104" y="20"/>
                  </a:lnTo>
                  <a:lnTo>
                    <a:pt x="108" y="20"/>
                  </a:lnTo>
                  <a:lnTo>
                    <a:pt x="108" y="24"/>
                  </a:lnTo>
                  <a:close/>
                  <a:moveTo>
                    <a:pt x="28" y="32"/>
                  </a:move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32"/>
                  </a:lnTo>
                  <a:lnTo>
                    <a:pt x="32" y="32"/>
                  </a:lnTo>
                  <a:lnTo>
                    <a:pt x="28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4" name="Freeform 61"/>
            <p:cNvSpPr>
              <a:spLocks noEditPoints="1"/>
            </p:cNvSpPr>
            <p:nvPr>
              <p:custDataLst>
                <p:tags r:id="rId257"/>
              </p:custDataLst>
            </p:nvPr>
          </p:nvSpPr>
          <p:spPr bwMode="gray">
            <a:xfrm>
              <a:off x="2761005" y="4047221"/>
              <a:ext cx="83052" cy="65255"/>
            </a:xfrm>
            <a:custGeom>
              <a:avLst/>
              <a:gdLst/>
              <a:ahLst/>
              <a:cxnLst>
                <a:cxn ang="0">
                  <a:pos x="28" y="32"/>
                </a:cxn>
                <a:cxn ang="0">
                  <a:pos x="24" y="32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36"/>
                </a:cxn>
                <a:cxn ang="0">
                  <a:pos x="12" y="40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8" y="8"/>
                </a:cxn>
                <a:cxn ang="0">
                  <a:pos x="28" y="4"/>
                </a:cxn>
                <a:cxn ang="0">
                  <a:pos x="32" y="8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40" y="12"/>
                </a:cxn>
                <a:cxn ang="0">
                  <a:pos x="44" y="12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40" y="16"/>
                </a:cxn>
                <a:cxn ang="0">
                  <a:pos x="40" y="16"/>
                </a:cxn>
                <a:cxn ang="0">
                  <a:pos x="44" y="20"/>
                </a:cxn>
                <a:cxn ang="0">
                  <a:pos x="48" y="20"/>
                </a:cxn>
                <a:cxn ang="0">
                  <a:pos x="52" y="24"/>
                </a:cxn>
                <a:cxn ang="0">
                  <a:pos x="56" y="28"/>
                </a:cxn>
                <a:cxn ang="0">
                  <a:pos x="52" y="32"/>
                </a:cxn>
                <a:cxn ang="0">
                  <a:pos x="52" y="32"/>
                </a:cxn>
                <a:cxn ang="0">
                  <a:pos x="48" y="32"/>
                </a:cxn>
                <a:cxn ang="0">
                  <a:pos x="48" y="32"/>
                </a:cxn>
                <a:cxn ang="0">
                  <a:pos x="44" y="32"/>
                </a:cxn>
                <a:cxn ang="0">
                  <a:pos x="36" y="28"/>
                </a:cxn>
                <a:cxn ang="0">
                  <a:pos x="32" y="28"/>
                </a:cxn>
                <a:cxn ang="0">
                  <a:pos x="52" y="36"/>
                </a:cxn>
                <a:cxn ang="0">
                  <a:pos x="48" y="36"/>
                </a:cxn>
                <a:cxn ang="0">
                  <a:pos x="52" y="36"/>
                </a:cxn>
              </a:cxnLst>
              <a:rect l="0" t="0" r="r" b="b"/>
              <a:pathLst>
                <a:path w="56" h="44">
                  <a:moveTo>
                    <a:pt x="28" y="28"/>
                  </a:move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8"/>
                  </a:lnTo>
                  <a:lnTo>
                    <a:pt x="56" y="28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28" y="28"/>
                  </a:lnTo>
                  <a:close/>
                  <a:moveTo>
                    <a:pt x="52" y="36"/>
                  </a:move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5" name="Freeform 62"/>
            <p:cNvSpPr>
              <a:spLocks/>
            </p:cNvSpPr>
            <p:nvPr>
              <p:custDataLst>
                <p:tags r:id="rId258"/>
              </p:custDataLst>
            </p:nvPr>
          </p:nvSpPr>
          <p:spPr bwMode="gray">
            <a:xfrm>
              <a:off x="2353162" y="4201460"/>
              <a:ext cx="51907" cy="35594"/>
            </a:xfrm>
            <a:custGeom>
              <a:avLst/>
              <a:gdLst/>
              <a:ahLst/>
              <a:cxnLst>
                <a:cxn ang="0">
                  <a:pos x="35" y="16"/>
                </a:cxn>
                <a:cxn ang="0">
                  <a:pos x="35" y="16"/>
                </a:cxn>
                <a:cxn ang="0">
                  <a:pos x="35" y="20"/>
                </a:cxn>
                <a:cxn ang="0">
                  <a:pos x="35" y="20"/>
                </a:cxn>
                <a:cxn ang="0">
                  <a:pos x="35" y="20"/>
                </a:cxn>
                <a:cxn ang="0">
                  <a:pos x="35" y="24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24" y="24"/>
                </a:cxn>
                <a:cxn ang="0">
                  <a:pos x="24" y="20"/>
                </a:cxn>
                <a:cxn ang="0">
                  <a:pos x="24" y="20"/>
                </a:cxn>
                <a:cxn ang="0">
                  <a:pos x="24" y="24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16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4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4" y="12"/>
                </a:cxn>
                <a:cxn ang="0">
                  <a:pos x="27" y="12"/>
                </a:cxn>
                <a:cxn ang="0">
                  <a:pos x="27" y="12"/>
                </a:cxn>
                <a:cxn ang="0">
                  <a:pos x="27" y="8"/>
                </a:cxn>
                <a:cxn ang="0">
                  <a:pos x="31" y="8"/>
                </a:cxn>
                <a:cxn ang="0">
                  <a:pos x="31" y="12"/>
                </a:cxn>
                <a:cxn ang="0">
                  <a:pos x="31" y="12"/>
                </a:cxn>
                <a:cxn ang="0">
                  <a:pos x="35" y="12"/>
                </a:cxn>
              </a:cxnLst>
              <a:rect l="0" t="0" r="r" b="b"/>
              <a:pathLst>
                <a:path w="35" h="24">
                  <a:moveTo>
                    <a:pt x="35" y="12"/>
                  </a:moveTo>
                  <a:lnTo>
                    <a:pt x="35" y="12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6" name="Freeform 63"/>
            <p:cNvSpPr>
              <a:spLocks noEditPoints="1"/>
            </p:cNvSpPr>
            <p:nvPr>
              <p:custDataLst>
                <p:tags r:id="rId259"/>
              </p:custDataLst>
            </p:nvPr>
          </p:nvSpPr>
          <p:spPr bwMode="gray">
            <a:xfrm>
              <a:off x="2737276" y="1816693"/>
              <a:ext cx="1365901" cy="993653"/>
            </a:xfrm>
            <a:custGeom>
              <a:avLst/>
              <a:gdLst/>
              <a:ahLst/>
              <a:cxnLst>
                <a:cxn ang="0">
                  <a:pos x="506" y="16"/>
                </a:cxn>
                <a:cxn ang="0">
                  <a:pos x="303" y="52"/>
                </a:cxn>
                <a:cxn ang="0">
                  <a:pos x="833" y="144"/>
                </a:cxn>
                <a:cxn ang="0">
                  <a:pos x="36" y="195"/>
                </a:cxn>
                <a:cxn ang="0">
                  <a:pos x="802" y="235"/>
                </a:cxn>
                <a:cxn ang="0">
                  <a:pos x="251" y="307"/>
                </a:cxn>
                <a:cxn ang="0">
                  <a:pos x="259" y="315"/>
                </a:cxn>
                <a:cxn ang="0">
                  <a:pos x="750" y="415"/>
                </a:cxn>
                <a:cxn ang="0">
                  <a:pos x="463" y="599"/>
                </a:cxn>
                <a:cxn ang="0">
                  <a:pos x="451" y="662"/>
                </a:cxn>
                <a:cxn ang="0">
                  <a:pos x="339" y="419"/>
                </a:cxn>
                <a:cxn ang="0">
                  <a:pos x="335" y="391"/>
                </a:cxn>
                <a:cxn ang="0">
                  <a:pos x="295" y="347"/>
                </a:cxn>
                <a:cxn ang="0">
                  <a:pos x="271" y="339"/>
                </a:cxn>
                <a:cxn ang="0">
                  <a:pos x="239" y="275"/>
                </a:cxn>
                <a:cxn ang="0">
                  <a:pos x="123" y="231"/>
                </a:cxn>
                <a:cxn ang="0">
                  <a:pos x="36" y="207"/>
                </a:cxn>
                <a:cxn ang="0">
                  <a:pos x="68" y="191"/>
                </a:cxn>
                <a:cxn ang="0">
                  <a:pos x="56" y="152"/>
                </a:cxn>
                <a:cxn ang="0">
                  <a:pos x="123" y="84"/>
                </a:cxn>
                <a:cxn ang="0">
                  <a:pos x="227" y="64"/>
                </a:cxn>
                <a:cxn ang="0">
                  <a:pos x="331" y="56"/>
                </a:cxn>
                <a:cxn ang="0">
                  <a:pos x="455" y="44"/>
                </a:cxn>
                <a:cxn ang="0">
                  <a:pos x="439" y="24"/>
                </a:cxn>
                <a:cxn ang="0">
                  <a:pos x="474" y="16"/>
                </a:cxn>
                <a:cxn ang="0">
                  <a:pos x="578" y="0"/>
                </a:cxn>
                <a:cxn ang="0">
                  <a:pos x="626" y="16"/>
                </a:cxn>
                <a:cxn ang="0">
                  <a:pos x="710" y="16"/>
                </a:cxn>
                <a:cxn ang="0">
                  <a:pos x="654" y="48"/>
                </a:cxn>
                <a:cxn ang="0">
                  <a:pos x="694" y="72"/>
                </a:cxn>
                <a:cxn ang="0">
                  <a:pos x="798" y="72"/>
                </a:cxn>
                <a:cxn ang="0">
                  <a:pos x="849" y="92"/>
                </a:cxn>
                <a:cxn ang="0">
                  <a:pos x="798" y="124"/>
                </a:cxn>
                <a:cxn ang="0">
                  <a:pos x="778" y="176"/>
                </a:cxn>
                <a:cxn ang="0">
                  <a:pos x="802" y="207"/>
                </a:cxn>
                <a:cxn ang="0">
                  <a:pos x="774" y="239"/>
                </a:cxn>
                <a:cxn ang="0">
                  <a:pos x="794" y="263"/>
                </a:cxn>
                <a:cxn ang="0">
                  <a:pos x="754" y="315"/>
                </a:cxn>
                <a:cxn ang="0">
                  <a:pos x="698" y="319"/>
                </a:cxn>
                <a:cxn ang="0">
                  <a:pos x="754" y="359"/>
                </a:cxn>
                <a:cxn ang="0">
                  <a:pos x="734" y="375"/>
                </a:cxn>
                <a:cxn ang="0">
                  <a:pos x="674" y="379"/>
                </a:cxn>
                <a:cxn ang="0">
                  <a:pos x="758" y="407"/>
                </a:cxn>
                <a:cxn ang="0">
                  <a:pos x="638" y="455"/>
                </a:cxn>
                <a:cxn ang="0">
                  <a:pos x="566" y="507"/>
                </a:cxn>
                <a:cxn ang="0">
                  <a:pos x="490" y="535"/>
                </a:cxn>
                <a:cxn ang="0">
                  <a:pos x="467" y="591"/>
                </a:cxn>
                <a:cxn ang="0">
                  <a:pos x="459" y="642"/>
                </a:cxn>
                <a:cxn ang="0">
                  <a:pos x="423" y="646"/>
                </a:cxn>
                <a:cxn ang="0">
                  <a:pos x="383" y="638"/>
                </a:cxn>
                <a:cxn ang="0">
                  <a:pos x="347" y="591"/>
                </a:cxn>
                <a:cxn ang="0">
                  <a:pos x="323" y="559"/>
                </a:cxn>
                <a:cxn ang="0">
                  <a:pos x="319" y="543"/>
                </a:cxn>
                <a:cxn ang="0">
                  <a:pos x="299" y="511"/>
                </a:cxn>
                <a:cxn ang="0">
                  <a:pos x="303" y="495"/>
                </a:cxn>
                <a:cxn ang="0">
                  <a:pos x="319" y="467"/>
                </a:cxn>
                <a:cxn ang="0">
                  <a:pos x="299" y="467"/>
                </a:cxn>
                <a:cxn ang="0">
                  <a:pos x="295" y="451"/>
                </a:cxn>
                <a:cxn ang="0">
                  <a:pos x="822" y="223"/>
                </a:cxn>
                <a:cxn ang="0">
                  <a:pos x="754" y="331"/>
                </a:cxn>
                <a:cxn ang="0">
                  <a:pos x="706" y="383"/>
                </a:cxn>
                <a:cxn ang="0">
                  <a:pos x="299" y="403"/>
                </a:cxn>
                <a:cxn ang="0">
                  <a:pos x="295" y="459"/>
                </a:cxn>
              </a:cxnLst>
              <a:rect l="0" t="0" r="r" b="b"/>
              <a:pathLst>
                <a:path w="921" h="670">
                  <a:moveTo>
                    <a:pt x="506" y="8"/>
                  </a:moveTo>
                  <a:lnTo>
                    <a:pt x="510" y="8"/>
                  </a:lnTo>
                  <a:lnTo>
                    <a:pt x="514" y="8"/>
                  </a:lnTo>
                  <a:lnTo>
                    <a:pt x="514" y="12"/>
                  </a:lnTo>
                  <a:lnTo>
                    <a:pt x="510" y="12"/>
                  </a:lnTo>
                  <a:lnTo>
                    <a:pt x="506" y="8"/>
                  </a:lnTo>
                  <a:close/>
                  <a:moveTo>
                    <a:pt x="514" y="16"/>
                  </a:moveTo>
                  <a:lnTo>
                    <a:pt x="510" y="16"/>
                  </a:lnTo>
                  <a:lnTo>
                    <a:pt x="506" y="16"/>
                  </a:lnTo>
                  <a:lnTo>
                    <a:pt x="502" y="16"/>
                  </a:lnTo>
                  <a:lnTo>
                    <a:pt x="502" y="12"/>
                  </a:lnTo>
                  <a:lnTo>
                    <a:pt x="498" y="12"/>
                  </a:lnTo>
                  <a:lnTo>
                    <a:pt x="494" y="12"/>
                  </a:lnTo>
                  <a:lnTo>
                    <a:pt x="490" y="12"/>
                  </a:lnTo>
                  <a:lnTo>
                    <a:pt x="490" y="8"/>
                  </a:lnTo>
                  <a:lnTo>
                    <a:pt x="494" y="8"/>
                  </a:lnTo>
                  <a:lnTo>
                    <a:pt x="498" y="12"/>
                  </a:lnTo>
                  <a:lnTo>
                    <a:pt x="502" y="12"/>
                  </a:lnTo>
                  <a:lnTo>
                    <a:pt x="506" y="12"/>
                  </a:lnTo>
                  <a:lnTo>
                    <a:pt x="510" y="12"/>
                  </a:lnTo>
                  <a:lnTo>
                    <a:pt x="510" y="16"/>
                  </a:lnTo>
                  <a:lnTo>
                    <a:pt x="514" y="16"/>
                  </a:lnTo>
                  <a:lnTo>
                    <a:pt x="518" y="16"/>
                  </a:lnTo>
                  <a:lnTo>
                    <a:pt x="514" y="16"/>
                  </a:lnTo>
                  <a:close/>
                  <a:moveTo>
                    <a:pt x="478" y="12"/>
                  </a:moveTo>
                  <a:lnTo>
                    <a:pt x="474" y="12"/>
                  </a:lnTo>
                  <a:lnTo>
                    <a:pt x="478" y="8"/>
                  </a:lnTo>
                  <a:lnTo>
                    <a:pt x="482" y="12"/>
                  </a:lnTo>
                  <a:lnTo>
                    <a:pt x="478" y="12"/>
                  </a:lnTo>
                  <a:close/>
                  <a:moveTo>
                    <a:pt x="463" y="12"/>
                  </a:moveTo>
                  <a:lnTo>
                    <a:pt x="467" y="12"/>
                  </a:lnTo>
                  <a:lnTo>
                    <a:pt x="471" y="12"/>
                  </a:lnTo>
                  <a:lnTo>
                    <a:pt x="467" y="12"/>
                  </a:lnTo>
                  <a:lnTo>
                    <a:pt x="463" y="12"/>
                  </a:lnTo>
                  <a:close/>
                  <a:moveTo>
                    <a:pt x="474" y="12"/>
                  </a:moveTo>
                  <a:lnTo>
                    <a:pt x="478" y="12"/>
                  </a:lnTo>
                  <a:lnTo>
                    <a:pt x="482" y="12"/>
                  </a:lnTo>
                  <a:lnTo>
                    <a:pt x="478" y="12"/>
                  </a:lnTo>
                  <a:lnTo>
                    <a:pt x="474" y="12"/>
                  </a:lnTo>
                  <a:close/>
                  <a:moveTo>
                    <a:pt x="522" y="16"/>
                  </a:moveTo>
                  <a:lnTo>
                    <a:pt x="518" y="16"/>
                  </a:lnTo>
                  <a:lnTo>
                    <a:pt x="522" y="16"/>
                  </a:lnTo>
                  <a:lnTo>
                    <a:pt x="526" y="16"/>
                  </a:lnTo>
                  <a:lnTo>
                    <a:pt x="530" y="16"/>
                  </a:lnTo>
                  <a:lnTo>
                    <a:pt x="526" y="16"/>
                  </a:lnTo>
                  <a:lnTo>
                    <a:pt x="522" y="16"/>
                  </a:lnTo>
                  <a:close/>
                  <a:moveTo>
                    <a:pt x="502" y="20"/>
                  </a:moveTo>
                  <a:lnTo>
                    <a:pt x="498" y="20"/>
                  </a:lnTo>
                  <a:lnTo>
                    <a:pt x="494" y="20"/>
                  </a:lnTo>
                  <a:lnTo>
                    <a:pt x="490" y="20"/>
                  </a:lnTo>
                  <a:lnTo>
                    <a:pt x="486" y="20"/>
                  </a:lnTo>
                  <a:lnTo>
                    <a:pt x="482" y="16"/>
                  </a:lnTo>
                  <a:lnTo>
                    <a:pt x="478" y="16"/>
                  </a:lnTo>
                  <a:lnTo>
                    <a:pt x="482" y="16"/>
                  </a:lnTo>
                  <a:lnTo>
                    <a:pt x="486" y="16"/>
                  </a:lnTo>
                  <a:lnTo>
                    <a:pt x="490" y="16"/>
                  </a:lnTo>
                  <a:lnTo>
                    <a:pt x="494" y="20"/>
                  </a:lnTo>
                  <a:lnTo>
                    <a:pt x="498" y="20"/>
                  </a:lnTo>
                  <a:lnTo>
                    <a:pt x="502" y="20"/>
                  </a:lnTo>
                  <a:close/>
                  <a:moveTo>
                    <a:pt x="506" y="20"/>
                  </a:moveTo>
                  <a:lnTo>
                    <a:pt x="502" y="20"/>
                  </a:lnTo>
                  <a:lnTo>
                    <a:pt x="498" y="20"/>
                  </a:lnTo>
                  <a:lnTo>
                    <a:pt x="498" y="16"/>
                  </a:lnTo>
                  <a:lnTo>
                    <a:pt x="494" y="16"/>
                  </a:lnTo>
                  <a:lnTo>
                    <a:pt x="490" y="16"/>
                  </a:lnTo>
                  <a:lnTo>
                    <a:pt x="494" y="16"/>
                  </a:lnTo>
                  <a:lnTo>
                    <a:pt x="498" y="16"/>
                  </a:lnTo>
                  <a:lnTo>
                    <a:pt x="502" y="16"/>
                  </a:lnTo>
                  <a:lnTo>
                    <a:pt x="506" y="16"/>
                  </a:lnTo>
                  <a:lnTo>
                    <a:pt x="510" y="16"/>
                  </a:lnTo>
                  <a:lnTo>
                    <a:pt x="510" y="20"/>
                  </a:lnTo>
                  <a:lnTo>
                    <a:pt x="506" y="20"/>
                  </a:lnTo>
                  <a:close/>
                  <a:moveTo>
                    <a:pt x="395" y="24"/>
                  </a:moveTo>
                  <a:lnTo>
                    <a:pt x="391" y="24"/>
                  </a:lnTo>
                  <a:lnTo>
                    <a:pt x="395" y="24"/>
                  </a:lnTo>
                  <a:lnTo>
                    <a:pt x="399" y="24"/>
                  </a:lnTo>
                  <a:lnTo>
                    <a:pt x="403" y="24"/>
                  </a:lnTo>
                  <a:lnTo>
                    <a:pt x="399" y="24"/>
                  </a:lnTo>
                  <a:lnTo>
                    <a:pt x="395" y="24"/>
                  </a:lnTo>
                  <a:close/>
                  <a:moveTo>
                    <a:pt x="375" y="28"/>
                  </a:moveTo>
                  <a:lnTo>
                    <a:pt x="371" y="28"/>
                  </a:lnTo>
                  <a:lnTo>
                    <a:pt x="371" y="24"/>
                  </a:lnTo>
                  <a:lnTo>
                    <a:pt x="375" y="24"/>
                  </a:lnTo>
                  <a:lnTo>
                    <a:pt x="379" y="24"/>
                  </a:lnTo>
                  <a:lnTo>
                    <a:pt x="383" y="24"/>
                  </a:lnTo>
                  <a:lnTo>
                    <a:pt x="387" y="24"/>
                  </a:lnTo>
                  <a:lnTo>
                    <a:pt x="387" y="28"/>
                  </a:lnTo>
                  <a:lnTo>
                    <a:pt x="383" y="28"/>
                  </a:lnTo>
                  <a:lnTo>
                    <a:pt x="379" y="28"/>
                  </a:lnTo>
                  <a:lnTo>
                    <a:pt x="375" y="28"/>
                  </a:lnTo>
                  <a:close/>
                  <a:moveTo>
                    <a:pt x="423" y="52"/>
                  </a:moveTo>
                  <a:lnTo>
                    <a:pt x="419" y="48"/>
                  </a:lnTo>
                  <a:lnTo>
                    <a:pt x="415" y="48"/>
                  </a:lnTo>
                  <a:lnTo>
                    <a:pt x="415" y="44"/>
                  </a:lnTo>
                  <a:lnTo>
                    <a:pt x="411" y="44"/>
                  </a:lnTo>
                  <a:lnTo>
                    <a:pt x="407" y="44"/>
                  </a:lnTo>
                  <a:lnTo>
                    <a:pt x="403" y="44"/>
                  </a:lnTo>
                  <a:lnTo>
                    <a:pt x="399" y="44"/>
                  </a:lnTo>
                  <a:lnTo>
                    <a:pt x="395" y="40"/>
                  </a:lnTo>
                  <a:lnTo>
                    <a:pt x="391" y="40"/>
                  </a:lnTo>
                  <a:lnTo>
                    <a:pt x="391" y="36"/>
                  </a:lnTo>
                  <a:lnTo>
                    <a:pt x="387" y="36"/>
                  </a:lnTo>
                  <a:lnTo>
                    <a:pt x="387" y="32"/>
                  </a:lnTo>
                  <a:lnTo>
                    <a:pt x="383" y="32"/>
                  </a:lnTo>
                  <a:lnTo>
                    <a:pt x="387" y="32"/>
                  </a:lnTo>
                  <a:lnTo>
                    <a:pt x="391" y="32"/>
                  </a:lnTo>
                  <a:lnTo>
                    <a:pt x="395" y="32"/>
                  </a:lnTo>
                  <a:lnTo>
                    <a:pt x="399" y="32"/>
                  </a:lnTo>
                  <a:lnTo>
                    <a:pt x="403" y="32"/>
                  </a:lnTo>
                  <a:lnTo>
                    <a:pt x="407" y="32"/>
                  </a:lnTo>
                  <a:lnTo>
                    <a:pt x="411" y="32"/>
                  </a:lnTo>
                  <a:lnTo>
                    <a:pt x="419" y="36"/>
                  </a:lnTo>
                  <a:lnTo>
                    <a:pt x="423" y="36"/>
                  </a:lnTo>
                  <a:lnTo>
                    <a:pt x="427" y="36"/>
                  </a:lnTo>
                  <a:lnTo>
                    <a:pt x="427" y="40"/>
                  </a:lnTo>
                  <a:lnTo>
                    <a:pt x="431" y="40"/>
                  </a:lnTo>
                  <a:lnTo>
                    <a:pt x="431" y="44"/>
                  </a:lnTo>
                  <a:lnTo>
                    <a:pt x="427" y="44"/>
                  </a:lnTo>
                  <a:lnTo>
                    <a:pt x="423" y="44"/>
                  </a:lnTo>
                  <a:lnTo>
                    <a:pt x="423" y="48"/>
                  </a:lnTo>
                  <a:lnTo>
                    <a:pt x="427" y="48"/>
                  </a:lnTo>
                  <a:lnTo>
                    <a:pt x="427" y="52"/>
                  </a:lnTo>
                  <a:lnTo>
                    <a:pt x="423" y="52"/>
                  </a:lnTo>
                  <a:close/>
                  <a:moveTo>
                    <a:pt x="375" y="40"/>
                  </a:moveTo>
                  <a:lnTo>
                    <a:pt x="371" y="36"/>
                  </a:lnTo>
                  <a:lnTo>
                    <a:pt x="367" y="36"/>
                  </a:lnTo>
                  <a:lnTo>
                    <a:pt x="371" y="36"/>
                  </a:lnTo>
                  <a:lnTo>
                    <a:pt x="375" y="36"/>
                  </a:lnTo>
                  <a:lnTo>
                    <a:pt x="379" y="36"/>
                  </a:lnTo>
                  <a:lnTo>
                    <a:pt x="375" y="40"/>
                  </a:lnTo>
                  <a:close/>
                  <a:moveTo>
                    <a:pt x="331" y="52"/>
                  </a:moveTo>
                  <a:lnTo>
                    <a:pt x="327" y="52"/>
                  </a:lnTo>
                  <a:lnTo>
                    <a:pt x="323" y="52"/>
                  </a:lnTo>
                  <a:lnTo>
                    <a:pt x="319" y="52"/>
                  </a:lnTo>
                  <a:lnTo>
                    <a:pt x="315" y="52"/>
                  </a:lnTo>
                  <a:lnTo>
                    <a:pt x="311" y="52"/>
                  </a:lnTo>
                  <a:lnTo>
                    <a:pt x="307" y="52"/>
                  </a:lnTo>
                  <a:lnTo>
                    <a:pt x="303" y="52"/>
                  </a:lnTo>
                  <a:lnTo>
                    <a:pt x="303" y="48"/>
                  </a:lnTo>
                  <a:lnTo>
                    <a:pt x="299" y="48"/>
                  </a:lnTo>
                  <a:lnTo>
                    <a:pt x="299" y="44"/>
                  </a:lnTo>
                  <a:lnTo>
                    <a:pt x="303" y="44"/>
                  </a:lnTo>
                  <a:lnTo>
                    <a:pt x="307" y="44"/>
                  </a:lnTo>
                  <a:lnTo>
                    <a:pt x="311" y="44"/>
                  </a:lnTo>
                  <a:lnTo>
                    <a:pt x="307" y="44"/>
                  </a:lnTo>
                  <a:lnTo>
                    <a:pt x="311" y="44"/>
                  </a:lnTo>
                  <a:lnTo>
                    <a:pt x="311" y="48"/>
                  </a:lnTo>
                  <a:lnTo>
                    <a:pt x="315" y="48"/>
                  </a:lnTo>
                  <a:lnTo>
                    <a:pt x="319" y="48"/>
                  </a:lnTo>
                  <a:lnTo>
                    <a:pt x="327" y="52"/>
                  </a:lnTo>
                  <a:lnTo>
                    <a:pt x="331" y="52"/>
                  </a:lnTo>
                  <a:close/>
                  <a:moveTo>
                    <a:pt x="315" y="44"/>
                  </a:moveTo>
                  <a:lnTo>
                    <a:pt x="319" y="44"/>
                  </a:lnTo>
                  <a:lnTo>
                    <a:pt x="319" y="48"/>
                  </a:lnTo>
                  <a:lnTo>
                    <a:pt x="315" y="48"/>
                  </a:lnTo>
                  <a:lnTo>
                    <a:pt x="315" y="44"/>
                  </a:lnTo>
                  <a:close/>
                  <a:moveTo>
                    <a:pt x="818" y="52"/>
                  </a:moveTo>
                  <a:lnTo>
                    <a:pt x="814" y="48"/>
                  </a:lnTo>
                  <a:lnTo>
                    <a:pt x="810" y="48"/>
                  </a:lnTo>
                  <a:lnTo>
                    <a:pt x="810" y="44"/>
                  </a:lnTo>
                  <a:lnTo>
                    <a:pt x="814" y="44"/>
                  </a:lnTo>
                  <a:lnTo>
                    <a:pt x="814" y="48"/>
                  </a:lnTo>
                  <a:lnTo>
                    <a:pt x="818" y="52"/>
                  </a:lnTo>
                  <a:lnTo>
                    <a:pt x="822" y="52"/>
                  </a:lnTo>
                  <a:lnTo>
                    <a:pt x="818" y="52"/>
                  </a:lnTo>
                  <a:close/>
                  <a:moveTo>
                    <a:pt x="798" y="56"/>
                  </a:moveTo>
                  <a:lnTo>
                    <a:pt x="794" y="52"/>
                  </a:lnTo>
                  <a:lnTo>
                    <a:pt x="790" y="52"/>
                  </a:lnTo>
                  <a:lnTo>
                    <a:pt x="790" y="48"/>
                  </a:lnTo>
                  <a:lnTo>
                    <a:pt x="794" y="48"/>
                  </a:lnTo>
                  <a:lnTo>
                    <a:pt x="798" y="48"/>
                  </a:lnTo>
                  <a:lnTo>
                    <a:pt x="798" y="52"/>
                  </a:lnTo>
                  <a:lnTo>
                    <a:pt x="802" y="52"/>
                  </a:lnTo>
                  <a:lnTo>
                    <a:pt x="806" y="52"/>
                  </a:lnTo>
                  <a:lnTo>
                    <a:pt x="806" y="56"/>
                  </a:lnTo>
                  <a:lnTo>
                    <a:pt x="802" y="56"/>
                  </a:lnTo>
                  <a:lnTo>
                    <a:pt x="798" y="56"/>
                  </a:lnTo>
                  <a:close/>
                  <a:moveTo>
                    <a:pt x="822" y="64"/>
                  </a:moveTo>
                  <a:lnTo>
                    <a:pt x="818" y="64"/>
                  </a:lnTo>
                  <a:lnTo>
                    <a:pt x="814" y="60"/>
                  </a:lnTo>
                  <a:lnTo>
                    <a:pt x="818" y="60"/>
                  </a:lnTo>
                  <a:lnTo>
                    <a:pt x="822" y="60"/>
                  </a:lnTo>
                  <a:lnTo>
                    <a:pt x="825" y="60"/>
                  </a:lnTo>
                  <a:lnTo>
                    <a:pt x="825" y="64"/>
                  </a:lnTo>
                  <a:lnTo>
                    <a:pt x="829" y="64"/>
                  </a:lnTo>
                  <a:lnTo>
                    <a:pt x="825" y="64"/>
                  </a:lnTo>
                  <a:lnTo>
                    <a:pt x="822" y="64"/>
                  </a:lnTo>
                  <a:close/>
                  <a:moveTo>
                    <a:pt x="790" y="64"/>
                  </a:moveTo>
                  <a:lnTo>
                    <a:pt x="786" y="60"/>
                  </a:lnTo>
                  <a:lnTo>
                    <a:pt x="790" y="60"/>
                  </a:lnTo>
                  <a:lnTo>
                    <a:pt x="794" y="64"/>
                  </a:lnTo>
                  <a:lnTo>
                    <a:pt x="798" y="64"/>
                  </a:lnTo>
                  <a:lnTo>
                    <a:pt x="794" y="64"/>
                  </a:lnTo>
                  <a:lnTo>
                    <a:pt x="790" y="64"/>
                  </a:lnTo>
                  <a:close/>
                  <a:moveTo>
                    <a:pt x="92" y="96"/>
                  </a:moveTo>
                  <a:lnTo>
                    <a:pt x="96" y="96"/>
                  </a:lnTo>
                  <a:lnTo>
                    <a:pt x="100" y="96"/>
                  </a:lnTo>
                  <a:lnTo>
                    <a:pt x="96" y="96"/>
                  </a:lnTo>
                  <a:lnTo>
                    <a:pt x="92" y="96"/>
                  </a:lnTo>
                  <a:close/>
                  <a:moveTo>
                    <a:pt x="814" y="140"/>
                  </a:moveTo>
                  <a:lnTo>
                    <a:pt x="814" y="144"/>
                  </a:lnTo>
                  <a:lnTo>
                    <a:pt x="810" y="144"/>
                  </a:lnTo>
                  <a:lnTo>
                    <a:pt x="810" y="140"/>
                  </a:lnTo>
                  <a:lnTo>
                    <a:pt x="814" y="140"/>
                  </a:lnTo>
                  <a:close/>
                  <a:moveTo>
                    <a:pt x="837" y="140"/>
                  </a:moveTo>
                  <a:lnTo>
                    <a:pt x="837" y="144"/>
                  </a:lnTo>
                  <a:lnTo>
                    <a:pt x="833" y="144"/>
                  </a:lnTo>
                  <a:lnTo>
                    <a:pt x="833" y="148"/>
                  </a:lnTo>
                  <a:lnTo>
                    <a:pt x="829" y="148"/>
                  </a:lnTo>
                  <a:lnTo>
                    <a:pt x="829" y="144"/>
                  </a:lnTo>
                  <a:lnTo>
                    <a:pt x="833" y="140"/>
                  </a:lnTo>
                  <a:lnTo>
                    <a:pt x="837" y="140"/>
                  </a:lnTo>
                  <a:close/>
                  <a:moveTo>
                    <a:pt x="829" y="156"/>
                  </a:moveTo>
                  <a:lnTo>
                    <a:pt x="825" y="152"/>
                  </a:lnTo>
                  <a:lnTo>
                    <a:pt x="829" y="152"/>
                  </a:lnTo>
                  <a:lnTo>
                    <a:pt x="829" y="156"/>
                  </a:lnTo>
                  <a:close/>
                  <a:moveTo>
                    <a:pt x="825" y="156"/>
                  </a:moveTo>
                  <a:lnTo>
                    <a:pt x="825" y="160"/>
                  </a:lnTo>
                  <a:lnTo>
                    <a:pt x="822" y="160"/>
                  </a:lnTo>
                  <a:lnTo>
                    <a:pt x="822" y="156"/>
                  </a:lnTo>
                  <a:lnTo>
                    <a:pt x="825" y="156"/>
                  </a:lnTo>
                  <a:close/>
                  <a:moveTo>
                    <a:pt x="814" y="164"/>
                  </a:moveTo>
                  <a:lnTo>
                    <a:pt x="818" y="168"/>
                  </a:lnTo>
                  <a:lnTo>
                    <a:pt x="814" y="168"/>
                  </a:lnTo>
                  <a:lnTo>
                    <a:pt x="810" y="168"/>
                  </a:lnTo>
                  <a:lnTo>
                    <a:pt x="810" y="164"/>
                  </a:lnTo>
                  <a:lnTo>
                    <a:pt x="814" y="164"/>
                  </a:lnTo>
                  <a:close/>
                  <a:moveTo>
                    <a:pt x="810" y="168"/>
                  </a:moveTo>
                  <a:lnTo>
                    <a:pt x="806" y="168"/>
                  </a:lnTo>
                  <a:lnTo>
                    <a:pt x="806" y="164"/>
                  </a:lnTo>
                  <a:lnTo>
                    <a:pt x="810" y="164"/>
                  </a:lnTo>
                  <a:lnTo>
                    <a:pt x="810" y="168"/>
                  </a:lnTo>
                  <a:close/>
                  <a:moveTo>
                    <a:pt x="814" y="172"/>
                  </a:moveTo>
                  <a:lnTo>
                    <a:pt x="814" y="168"/>
                  </a:lnTo>
                  <a:lnTo>
                    <a:pt x="818" y="168"/>
                  </a:lnTo>
                  <a:lnTo>
                    <a:pt x="814" y="172"/>
                  </a:lnTo>
                  <a:close/>
                  <a:moveTo>
                    <a:pt x="798" y="172"/>
                  </a:moveTo>
                  <a:lnTo>
                    <a:pt x="794" y="172"/>
                  </a:lnTo>
                  <a:lnTo>
                    <a:pt x="790" y="172"/>
                  </a:lnTo>
                  <a:lnTo>
                    <a:pt x="794" y="172"/>
                  </a:lnTo>
                  <a:lnTo>
                    <a:pt x="798" y="172"/>
                  </a:lnTo>
                  <a:close/>
                  <a:moveTo>
                    <a:pt x="818" y="172"/>
                  </a:moveTo>
                  <a:lnTo>
                    <a:pt x="818" y="176"/>
                  </a:lnTo>
                  <a:lnTo>
                    <a:pt x="814" y="176"/>
                  </a:lnTo>
                  <a:lnTo>
                    <a:pt x="814" y="172"/>
                  </a:lnTo>
                  <a:lnTo>
                    <a:pt x="818" y="172"/>
                  </a:lnTo>
                  <a:lnTo>
                    <a:pt x="822" y="172"/>
                  </a:lnTo>
                  <a:lnTo>
                    <a:pt x="818" y="172"/>
                  </a:lnTo>
                  <a:close/>
                  <a:moveTo>
                    <a:pt x="786" y="176"/>
                  </a:moveTo>
                  <a:lnTo>
                    <a:pt x="786" y="180"/>
                  </a:lnTo>
                  <a:lnTo>
                    <a:pt x="782" y="180"/>
                  </a:lnTo>
                  <a:lnTo>
                    <a:pt x="782" y="176"/>
                  </a:lnTo>
                  <a:lnTo>
                    <a:pt x="786" y="176"/>
                  </a:lnTo>
                  <a:close/>
                  <a:moveTo>
                    <a:pt x="802" y="187"/>
                  </a:moveTo>
                  <a:lnTo>
                    <a:pt x="802" y="191"/>
                  </a:lnTo>
                  <a:lnTo>
                    <a:pt x="798" y="187"/>
                  </a:lnTo>
                  <a:lnTo>
                    <a:pt x="794" y="187"/>
                  </a:lnTo>
                  <a:lnTo>
                    <a:pt x="798" y="187"/>
                  </a:lnTo>
                  <a:lnTo>
                    <a:pt x="802" y="187"/>
                  </a:lnTo>
                  <a:close/>
                  <a:moveTo>
                    <a:pt x="806" y="191"/>
                  </a:moveTo>
                  <a:lnTo>
                    <a:pt x="802" y="191"/>
                  </a:lnTo>
                  <a:lnTo>
                    <a:pt x="806" y="191"/>
                  </a:lnTo>
                  <a:close/>
                  <a:moveTo>
                    <a:pt x="104" y="191"/>
                  </a:moveTo>
                  <a:lnTo>
                    <a:pt x="100" y="191"/>
                  </a:lnTo>
                  <a:lnTo>
                    <a:pt x="96" y="191"/>
                  </a:lnTo>
                  <a:lnTo>
                    <a:pt x="100" y="191"/>
                  </a:lnTo>
                  <a:lnTo>
                    <a:pt x="104" y="191"/>
                  </a:lnTo>
                  <a:close/>
                  <a:moveTo>
                    <a:pt x="28" y="195"/>
                  </a:moveTo>
                  <a:lnTo>
                    <a:pt x="28" y="191"/>
                  </a:lnTo>
                  <a:lnTo>
                    <a:pt x="32" y="191"/>
                  </a:lnTo>
                  <a:lnTo>
                    <a:pt x="36" y="191"/>
                  </a:lnTo>
                  <a:lnTo>
                    <a:pt x="36" y="195"/>
                  </a:lnTo>
                  <a:lnTo>
                    <a:pt x="40" y="195"/>
                  </a:lnTo>
                  <a:lnTo>
                    <a:pt x="44" y="195"/>
                  </a:lnTo>
                  <a:lnTo>
                    <a:pt x="40" y="195"/>
                  </a:lnTo>
                  <a:lnTo>
                    <a:pt x="36" y="195"/>
                  </a:lnTo>
                  <a:lnTo>
                    <a:pt x="32" y="195"/>
                  </a:lnTo>
                  <a:lnTo>
                    <a:pt x="28" y="195"/>
                  </a:lnTo>
                  <a:lnTo>
                    <a:pt x="24" y="195"/>
                  </a:lnTo>
                  <a:lnTo>
                    <a:pt x="28" y="195"/>
                  </a:lnTo>
                  <a:close/>
                  <a:moveTo>
                    <a:pt x="12" y="195"/>
                  </a:moveTo>
                  <a:lnTo>
                    <a:pt x="16" y="195"/>
                  </a:lnTo>
                  <a:lnTo>
                    <a:pt x="20" y="195"/>
                  </a:lnTo>
                  <a:lnTo>
                    <a:pt x="24" y="195"/>
                  </a:lnTo>
                  <a:lnTo>
                    <a:pt x="20" y="199"/>
                  </a:lnTo>
                  <a:lnTo>
                    <a:pt x="16" y="199"/>
                  </a:lnTo>
                  <a:lnTo>
                    <a:pt x="12" y="199"/>
                  </a:lnTo>
                  <a:lnTo>
                    <a:pt x="12" y="195"/>
                  </a:lnTo>
                  <a:lnTo>
                    <a:pt x="8" y="195"/>
                  </a:lnTo>
                  <a:lnTo>
                    <a:pt x="12" y="195"/>
                  </a:lnTo>
                  <a:close/>
                  <a:moveTo>
                    <a:pt x="806" y="211"/>
                  </a:moveTo>
                  <a:lnTo>
                    <a:pt x="810" y="211"/>
                  </a:lnTo>
                  <a:lnTo>
                    <a:pt x="806" y="215"/>
                  </a:lnTo>
                  <a:lnTo>
                    <a:pt x="806" y="211"/>
                  </a:lnTo>
                  <a:close/>
                  <a:moveTo>
                    <a:pt x="806" y="215"/>
                  </a:moveTo>
                  <a:lnTo>
                    <a:pt x="810" y="215"/>
                  </a:lnTo>
                  <a:lnTo>
                    <a:pt x="806" y="215"/>
                  </a:lnTo>
                  <a:close/>
                  <a:moveTo>
                    <a:pt x="786" y="219"/>
                  </a:moveTo>
                  <a:lnTo>
                    <a:pt x="782" y="219"/>
                  </a:lnTo>
                  <a:lnTo>
                    <a:pt x="778" y="219"/>
                  </a:lnTo>
                  <a:lnTo>
                    <a:pt x="782" y="219"/>
                  </a:lnTo>
                  <a:lnTo>
                    <a:pt x="786" y="219"/>
                  </a:lnTo>
                  <a:close/>
                  <a:moveTo>
                    <a:pt x="52" y="219"/>
                  </a:moveTo>
                  <a:lnTo>
                    <a:pt x="48" y="219"/>
                  </a:lnTo>
                  <a:lnTo>
                    <a:pt x="44" y="219"/>
                  </a:lnTo>
                  <a:lnTo>
                    <a:pt x="48" y="219"/>
                  </a:lnTo>
                  <a:lnTo>
                    <a:pt x="52" y="219"/>
                  </a:lnTo>
                  <a:close/>
                  <a:moveTo>
                    <a:pt x="790" y="223"/>
                  </a:moveTo>
                  <a:lnTo>
                    <a:pt x="790" y="227"/>
                  </a:lnTo>
                  <a:lnTo>
                    <a:pt x="790" y="223"/>
                  </a:lnTo>
                  <a:lnTo>
                    <a:pt x="786" y="223"/>
                  </a:lnTo>
                  <a:lnTo>
                    <a:pt x="790" y="223"/>
                  </a:lnTo>
                  <a:lnTo>
                    <a:pt x="790" y="219"/>
                  </a:lnTo>
                  <a:lnTo>
                    <a:pt x="790" y="223"/>
                  </a:lnTo>
                  <a:close/>
                  <a:moveTo>
                    <a:pt x="44" y="223"/>
                  </a:moveTo>
                  <a:lnTo>
                    <a:pt x="48" y="223"/>
                  </a:lnTo>
                  <a:lnTo>
                    <a:pt x="44" y="223"/>
                  </a:lnTo>
                  <a:close/>
                  <a:moveTo>
                    <a:pt x="798" y="223"/>
                  </a:moveTo>
                  <a:lnTo>
                    <a:pt x="802" y="223"/>
                  </a:lnTo>
                  <a:lnTo>
                    <a:pt x="802" y="227"/>
                  </a:lnTo>
                  <a:lnTo>
                    <a:pt x="798" y="227"/>
                  </a:lnTo>
                  <a:lnTo>
                    <a:pt x="798" y="223"/>
                  </a:lnTo>
                  <a:lnTo>
                    <a:pt x="794" y="227"/>
                  </a:lnTo>
                  <a:lnTo>
                    <a:pt x="794" y="223"/>
                  </a:lnTo>
                  <a:lnTo>
                    <a:pt x="798" y="223"/>
                  </a:lnTo>
                  <a:close/>
                  <a:moveTo>
                    <a:pt x="786" y="227"/>
                  </a:moveTo>
                  <a:lnTo>
                    <a:pt x="790" y="227"/>
                  </a:lnTo>
                  <a:lnTo>
                    <a:pt x="794" y="227"/>
                  </a:lnTo>
                  <a:lnTo>
                    <a:pt x="794" y="231"/>
                  </a:lnTo>
                  <a:lnTo>
                    <a:pt x="794" y="227"/>
                  </a:lnTo>
                  <a:lnTo>
                    <a:pt x="790" y="227"/>
                  </a:lnTo>
                  <a:lnTo>
                    <a:pt x="786" y="227"/>
                  </a:lnTo>
                  <a:close/>
                  <a:moveTo>
                    <a:pt x="798" y="227"/>
                  </a:moveTo>
                  <a:lnTo>
                    <a:pt x="794" y="227"/>
                  </a:lnTo>
                  <a:lnTo>
                    <a:pt x="798" y="227"/>
                  </a:lnTo>
                  <a:lnTo>
                    <a:pt x="802" y="227"/>
                  </a:lnTo>
                  <a:lnTo>
                    <a:pt x="798" y="227"/>
                  </a:lnTo>
                  <a:close/>
                  <a:moveTo>
                    <a:pt x="119" y="235"/>
                  </a:moveTo>
                  <a:lnTo>
                    <a:pt x="123" y="235"/>
                  </a:lnTo>
                  <a:lnTo>
                    <a:pt x="119" y="235"/>
                  </a:lnTo>
                  <a:lnTo>
                    <a:pt x="116" y="235"/>
                  </a:lnTo>
                  <a:lnTo>
                    <a:pt x="119" y="235"/>
                  </a:lnTo>
                  <a:close/>
                  <a:moveTo>
                    <a:pt x="802" y="239"/>
                  </a:moveTo>
                  <a:lnTo>
                    <a:pt x="798" y="239"/>
                  </a:lnTo>
                  <a:lnTo>
                    <a:pt x="802" y="235"/>
                  </a:lnTo>
                  <a:lnTo>
                    <a:pt x="802" y="239"/>
                  </a:lnTo>
                  <a:close/>
                  <a:moveTo>
                    <a:pt x="798" y="263"/>
                  </a:moveTo>
                  <a:lnTo>
                    <a:pt x="802" y="267"/>
                  </a:lnTo>
                  <a:lnTo>
                    <a:pt x="798" y="267"/>
                  </a:lnTo>
                  <a:lnTo>
                    <a:pt x="802" y="267"/>
                  </a:lnTo>
                  <a:lnTo>
                    <a:pt x="806" y="271"/>
                  </a:lnTo>
                  <a:lnTo>
                    <a:pt x="802" y="275"/>
                  </a:lnTo>
                  <a:lnTo>
                    <a:pt x="798" y="275"/>
                  </a:lnTo>
                  <a:lnTo>
                    <a:pt x="794" y="275"/>
                  </a:lnTo>
                  <a:lnTo>
                    <a:pt x="794" y="271"/>
                  </a:lnTo>
                  <a:lnTo>
                    <a:pt x="794" y="267"/>
                  </a:lnTo>
                  <a:lnTo>
                    <a:pt x="794" y="263"/>
                  </a:lnTo>
                  <a:lnTo>
                    <a:pt x="798" y="263"/>
                  </a:lnTo>
                  <a:close/>
                  <a:moveTo>
                    <a:pt x="825" y="275"/>
                  </a:moveTo>
                  <a:lnTo>
                    <a:pt x="822" y="275"/>
                  </a:lnTo>
                  <a:lnTo>
                    <a:pt x="825" y="275"/>
                  </a:lnTo>
                  <a:lnTo>
                    <a:pt x="829" y="275"/>
                  </a:lnTo>
                  <a:lnTo>
                    <a:pt x="825" y="275"/>
                  </a:lnTo>
                  <a:close/>
                  <a:moveTo>
                    <a:pt x="822" y="279"/>
                  </a:moveTo>
                  <a:lnTo>
                    <a:pt x="818" y="279"/>
                  </a:lnTo>
                  <a:lnTo>
                    <a:pt x="814" y="279"/>
                  </a:lnTo>
                  <a:lnTo>
                    <a:pt x="818" y="275"/>
                  </a:lnTo>
                  <a:lnTo>
                    <a:pt x="822" y="275"/>
                  </a:lnTo>
                  <a:lnTo>
                    <a:pt x="822" y="279"/>
                  </a:lnTo>
                  <a:close/>
                  <a:moveTo>
                    <a:pt x="243" y="279"/>
                  </a:moveTo>
                  <a:lnTo>
                    <a:pt x="239" y="279"/>
                  </a:lnTo>
                  <a:lnTo>
                    <a:pt x="243" y="279"/>
                  </a:lnTo>
                  <a:close/>
                  <a:moveTo>
                    <a:pt x="235" y="279"/>
                  </a:moveTo>
                  <a:lnTo>
                    <a:pt x="239" y="279"/>
                  </a:lnTo>
                  <a:lnTo>
                    <a:pt x="243" y="279"/>
                  </a:lnTo>
                  <a:lnTo>
                    <a:pt x="247" y="279"/>
                  </a:lnTo>
                  <a:lnTo>
                    <a:pt x="251" y="279"/>
                  </a:lnTo>
                  <a:lnTo>
                    <a:pt x="247" y="279"/>
                  </a:lnTo>
                  <a:lnTo>
                    <a:pt x="243" y="279"/>
                  </a:lnTo>
                  <a:lnTo>
                    <a:pt x="239" y="283"/>
                  </a:lnTo>
                  <a:lnTo>
                    <a:pt x="235" y="279"/>
                  </a:lnTo>
                  <a:close/>
                  <a:moveTo>
                    <a:pt x="786" y="283"/>
                  </a:moveTo>
                  <a:lnTo>
                    <a:pt x="790" y="283"/>
                  </a:lnTo>
                  <a:lnTo>
                    <a:pt x="794" y="283"/>
                  </a:lnTo>
                  <a:lnTo>
                    <a:pt x="794" y="287"/>
                  </a:lnTo>
                  <a:lnTo>
                    <a:pt x="798" y="287"/>
                  </a:lnTo>
                  <a:lnTo>
                    <a:pt x="802" y="287"/>
                  </a:lnTo>
                  <a:lnTo>
                    <a:pt x="802" y="291"/>
                  </a:lnTo>
                  <a:lnTo>
                    <a:pt x="798" y="291"/>
                  </a:lnTo>
                  <a:lnTo>
                    <a:pt x="794" y="291"/>
                  </a:lnTo>
                  <a:lnTo>
                    <a:pt x="790" y="291"/>
                  </a:lnTo>
                  <a:lnTo>
                    <a:pt x="786" y="291"/>
                  </a:lnTo>
                  <a:lnTo>
                    <a:pt x="782" y="291"/>
                  </a:lnTo>
                  <a:lnTo>
                    <a:pt x="778" y="291"/>
                  </a:lnTo>
                  <a:lnTo>
                    <a:pt x="774" y="291"/>
                  </a:lnTo>
                  <a:lnTo>
                    <a:pt x="774" y="287"/>
                  </a:lnTo>
                  <a:lnTo>
                    <a:pt x="774" y="283"/>
                  </a:lnTo>
                  <a:lnTo>
                    <a:pt x="778" y="283"/>
                  </a:lnTo>
                  <a:lnTo>
                    <a:pt x="782" y="283"/>
                  </a:lnTo>
                  <a:lnTo>
                    <a:pt x="786" y="283"/>
                  </a:lnTo>
                  <a:close/>
                  <a:moveTo>
                    <a:pt x="251" y="299"/>
                  </a:moveTo>
                  <a:lnTo>
                    <a:pt x="247" y="299"/>
                  </a:lnTo>
                  <a:lnTo>
                    <a:pt x="251" y="299"/>
                  </a:lnTo>
                  <a:lnTo>
                    <a:pt x="255" y="299"/>
                  </a:lnTo>
                  <a:lnTo>
                    <a:pt x="259" y="299"/>
                  </a:lnTo>
                  <a:lnTo>
                    <a:pt x="255" y="299"/>
                  </a:lnTo>
                  <a:lnTo>
                    <a:pt x="251" y="299"/>
                  </a:lnTo>
                  <a:close/>
                  <a:moveTo>
                    <a:pt x="251" y="303"/>
                  </a:moveTo>
                  <a:lnTo>
                    <a:pt x="247" y="307"/>
                  </a:lnTo>
                  <a:lnTo>
                    <a:pt x="243" y="307"/>
                  </a:lnTo>
                  <a:lnTo>
                    <a:pt x="243" y="303"/>
                  </a:lnTo>
                  <a:lnTo>
                    <a:pt x="247" y="303"/>
                  </a:lnTo>
                  <a:lnTo>
                    <a:pt x="251" y="303"/>
                  </a:lnTo>
                  <a:close/>
                  <a:moveTo>
                    <a:pt x="251" y="307"/>
                  </a:moveTo>
                  <a:lnTo>
                    <a:pt x="247" y="307"/>
                  </a:lnTo>
                  <a:lnTo>
                    <a:pt x="251" y="307"/>
                  </a:lnTo>
                  <a:lnTo>
                    <a:pt x="251" y="303"/>
                  </a:lnTo>
                  <a:lnTo>
                    <a:pt x="255" y="303"/>
                  </a:lnTo>
                  <a:lnTo>
                    <a:pt x="255" y="307"/>
                  </a:lnTo>
                  <a:lnTo>
                    <a:pt x="251" y="307"/>
                  </a:lnTo>
                  <a:close/>
                  <a:moveTo>
                    <a:pt x="259" y="307"/>
                  </a:moveTo>
                  <a:lnTo>
                    <a:pt x="263" y="307"/>
                  </a:lnTo>
                  <a:lnTo>
                    <a:pt x="263" y="311"/>
                  </a:lnTo>
                  <a:lnTo>
                    <a:pt x="259" y="311"/>
                  </a:lnTo>
                  <a:lnTo>
                    <a:pt x="263" y="311"/>
                  </a:lnTo>
                  <a:lnTo>
                    <a:pt x="259" y="311"/>
                  </a:lnTo>
                  <a:lnTo>
                    <a:pt x="255" y="307"/>
                  </a:lnTo>
                  <a:lnTo>
                    <a:pt x="259" y="307"/>
                  </a:lnTo>
                  <a:close/>
                  <a:moveTo>
                    <a:pt x="259" y="311"/>
                  </a:moveTo>
                  <a:lnTo>
                    <a:pt x="255" y="311"/>
                  </a:lnTo>
                  <a:lnTo>
                    <a:pt x="259" y="311"/>
                  </a:lnTo>
                  <a:close/>
                  <a:moveTo>
                    <a:pt x="734" y="311"/>
                  </a:moveTo>
                  <a:lnTo>
                    <a:pt x="738" y="311"/>
                  </a:lnTo>
                  <a:lnTo>
                    <a:pt x="742" y="315"/>
                  </a:lnTo>
                  <a:lnTo>
                    <a:pt x="746" y="315"/>
                  </a:lnTo>
                  <a:lnTo>
                    <a:pt x="750" y="315"/>
                  </a:lnTo>
                  <a:lnTo>
                    <a:pt x="754" y="315"/>
                  </a:lnTo>
                  <a:lnTo>
                    <a:pt x="754" y="319"/>
                  </a:lnTo>
                  <a:lnTo>
                    <a:pt x="746" y="319"/>
                  </a:lnTo>
                  <a:lnTo>
                    <a:pt x="746" y="315"/>
                  </a:lnTo>
                  <a:lnTo>
                    <a:pt x="742" y="315"/>
                  </a:lnTo>
                  <a:lnTo>
                    <a:pt x="738" y="315"/>
                  </a:lnTo>
                  <a:lnTo>
                    <a:pt x="734" y="315"/>
                  </a:lnTo>
                  <a:lnTo>
                    <a:pt x="730" y="315"/>
                  </a:lnTo>
                  <a:lnTo>
                    <a:pt x="726" y="315"/>
                  </a:lnTo>
                  <a:lnTo>
                    <a:pt x="730" y="315"/>
                  </a:lnTo>
                  <a:lnTo>
                    <a:pt x="734" y="315"/>
                  </a:lnTo>
                  <a:lnTo>
                    <a:pt x="738" y="315"/>
                  </a:lnTo>
                  <a:lnTo>
                    <a:pt x="742" y="315"/>
                  </a:lnTo>
                  <a:lnTo>
                    <a:pt x="742" y="319"/>
                  </a:lnTo>
                  <a:lnTo>
                    <a:pt x="746" y="319"/>
                  </a:lnTo>
                  <a:lnTo>
                    <a:pt x="750" y="319"/>
                  </a:lnTo>
                  <a:lnTo>
                    <a:pt x="754" y="319"/>
                  </a:lnTo>
                  <a:lnTo>
                    <a:pt x="758" y="319"/>
                  </a:lnTo>
                  <a:lnTo>
                    <a:pt x="754" y="319"/>
                  </a:lnTo>
                  <a:lnTo>
                    <a:pt x="750" y="319"/>
                  </a:lnTo>
                  <a:lnTo>
                    <a:pt x="750" y="323"/>
                  </a:lnTo>
                  <a:lnTo>
                    <a:pt x="746" y="323"/>
                  </a:lnTo>
                  <a:lnTo>
                    <a:pt x="742" y="323"/>
                  </a:lnTo>
                  <a:lnTo>
                    <a:pt x="738" y="323"/>
                  </a:lnTo>
                  <a:lnTo>
                    <a:pt x="734" y="323"/>
                  </a:lnTo>
                  <a:lnTo>
                    <a:pt x="730" y="323"/>
                  </a:lnTo>
                  <a:lnTo>
                    <a:pt x="726" y="319"/>
                  </a:lnTo>
                  <a:lnTo>
                    <a:pt x="722" y="319"/>
                  </a:lnTo>
                  <a:lnTo>
                    <a:pt x="718" y="319"/>
                  </a:lnTo>
                  <a:lnTo>
                    <a:pt x="714" y="319"/>
                  </a:lnTo>
                  <a:lnTo>
                    <a:pt x="718" y="315"/>
                  </a:lnTo>
                  <a:lnTo>
                    <a:pt x="722" y="315"/>
                  </a:lnTo>
                  <a:lnTo>
                    <a:pt x="722" y="311"/>
                  </a:lnTo>
                  <a:lnTo>
                    <a:pt x="726" y="311"/>
                  </a:lnTo>
                  <a:lnTo>
                    <a:pt x="730" y="311"/>
                  </a:lnTo>
                  <a:lnTo>
                    <a:pt x="734" y="311"/>
                  </a:lnTo>
                  <a:close/>
                  <a:moveTo>
                    <a:pt x="263" y="315"/>
                  </a:moveTo>
                  <a:lnTo>
                    <a:pt x="267" y="311"/>
                  </a:lnTo>
                  <a:lnTo>
                    <a:pt x="267" y="315"/>
                  </a:lnTo>
                  <a:lnTo>
                    <a:pt x="263" y="315"/>
                  </a:lnTo>
                  <a:close/>
                  <a:moveTo>
                    <a:pt x="259" y="311"/>
                  </a:moveTo>
                  <a:lnTo>
                    <a:pt x="259" y="315"/>
                  </a:lnTo>
                  <a:lnTo>
                    <a:pt x="255" y="315"/>
                  </a:lnTo>
                  <a:lnTo>
                    <a:pt x="255" y="311"/>
                  </a:lnTo>
                  <a:lnTo>
                    <a:pt x="259" y="311"/>
                  </a:lnTo>
                  <a:close/>
                  <a:moveTo>
                    <a:pt x="263" y="315"/>
                  </a:moveTo>
                  <a:lnTo>
                    <a:pt x="259" y="315"/>
                  </a:lnTo>
                  <a:lnTo>
                    <a:pt x="263" y="315"/>
                  </a:lnTo>
                  <a:close/>
                  <a:moveTo>
                    <a:pt x="259" y="315"/>
                  </a:moveTo>
                  <a:lnTo>
                    <a:pt x="259" y="319"/>
                  </a:lnTo>
                  <a:lnTo>
                    <a:pt x="255" y="319"/>
                  </a:lnTo>
                  <a:lnTo>
                    <a:pt x="255" y="315"/>
                  </a:lnTo>
                  <a:lnTo>
                    <a:pt x="259" y="315"/>
                  </a:lnTo>
                  <a:close/>
                  <a:moveTo>
                    <a:pt x="267" y="327"/>
                  </a:moveTo>
                  <a:lnTo>
                    <a:pt x="267" y="323"/>
                  </a:lnTo>
                  <a:lnTo>
                    <a:pt x="263" y="323"/>
                  </a:lnTo>
                  <a:lnTo>
                    <a:pt x="267" y="323"/>
                  </a:lnTo>
                  <a:lnTo>
                    <a:pt x="271" y="323"/>
                  </a:lnTo>
                  <a:lnTo>
                    <a:pt x="271" y="327"/>
                  </a:lnTo>
                  <a:lnTo>
                    <a:pt x="267" y="327"/>
                  </a:lnTo>
                  <a:close/>
                  <a:moveTo>
                    <a:pt x="730" y="327"/>
                  </a:moveTo>
                  <a:lnTo>
                    <a:pt x="730" y="331"/>
                  </a:lnTo>
                  <a:lnTo>
                    <a:pt x="726" y="331"/>
                  </a:lnTo>
                  <a:lnTo>
                    <a:pt x="722" y="327"/>
                  </a:lnTo>
                  <a:lnTo>
                    <a:pt x="726" y="327"/>
                  </a:lnTo>
                  <a:lnTo>
                    <a:pt x="730" y="327"/>
                  </a:lnTo>
                  <a:close/>
                  <a:moveTo>
                    <a:pt x="263" y="327"/>
                  </a:moveTo>
                  <a:lnTo>
                    <a:pt x="267" y="327"/>
                  </a:lnTo>
                  <a:lnTo>
                    <a:pt x="263" y="327"/>
                  </a:lnTo>
                  <a:close/>
                  <a:moveTo>
                    <a:pt x="271" y="327"/>
                  </a:moveTo>
                  <a:lnTo>
                    <a:pt x="271" y="331"/>
                  </a:lnTo>
                  <a:lnTo>
                    <a:pt x="267" y="331"/>
                  </a:lnTo>
                  <a:lnTo>
                    <a:pt x="267" y="335"/>
                  </a:lnTo>
                  <a:lnTo>
                    <a:pt x="263" y="335"/>
                  </a:lnTo>
                  <a:lnTo>
                    <a:pt x="259" y="335"/>
                  </a:lnTo>
                  <a:lnTo>
                    <a:pt x="263" y="331"/>
                  </a:lnTo>
                  <a:lnTo>
                    <a:pt x="267" y="331"/>
                  </a:lnTo>
                  <a:lnTo>
                    <a:pt x="267" y="327"/>
                  </a:lnTo>
                  <a:lnTo>
                    <a:pt x="271" y="327"/>
                  </a:lnTo>
                  <a:close/>
                  <a:moveTo>
                    <a:pt x="263" y="331"/>
                  </a:moveTo>
                  <a:lnTo>
                    <a:pt x="259" y="331"/>
                  </a:lnTo>
                  <a:lnTo>
                    <a:pt x="255" y="335"/>
                  </a:lnTo>
                  <a:lnTo>
                    <a:pt x="255" y="331"/>
                  </a:lnTo>
                  <a:lnTo>
                    <a:pt x="259" y="331"/>
                  </a:lnTo>
                  <a:lnTo>
                    <a:pt x="263" y="331"/>
                  </a:lnTo>
                  <a:close/>
                  <a:moveTo>
                    <a:pt x="271" y="331"/>
                  </a:moveTo>
                  <a:lnTo>
                    <a:pt x="275" y="331"/>
                  </a:lnTo>
                  <a:lnTo>
                    <a:pt x="271" y="331"/>
                  </a:lnTo>
                  <a:close/>
                  <a:moveTo>
                    <a:pt x="271" y="331"/>
                  </a:moveTo>
                  <a:lnTo>
                    <a:pt x="271" y="335"/>
                  </a:lnTo>
                  <a:lnTo>
                    <a:pt x="267" y="335"/>
                  </a:lnTo>
                  <a:lnTo>
                    <a:pt x="267" y="331"/>
                  </a:lnTo>
                  <a:lnTo>
                    <a:pt x="271" y="331"/>
                  </a:lnTo>
                  <a:close/>
                  <a:moveTo>
                    <a:pt x="271" y="335"/>
                  </a:moveTo>
                  <a:lnTo>
                    <a:pt x="267" y="335"/>
                  </a:lnTo>
                  <a:lnTo>
                    <a:pt x="271" y="335"/>
                  </a:lnTo>
                  <a:close/>
                  <a:moveTo>
                    <a:pt x="271" y="339"/>
                  </a:moveTo>
                  <a:lnTo>
                    <a:pt x="271" y="343"/>
                  </a:lnTo>
                  <a:lnTo>
                    <a:pt x="267" y="343"/>
                  </a:lnTo>
                  <a:lnTo>
                    <a:pt x="267" y="347"/>
                  </a:lnTo>
                  <a:lnTo>
                    <a:pt x="263" y="347"/>
                  </a:lnTo>
                  <a:lnTo>
                    <a:pt x="263" y="343"/>
                  </a:lnTo>
                  <a:lnTo>
                    <a:pt x="267" y="343"/>
                  </a:lnTo>
                  <a:lnTo>
                    <a:pt x="271" y="343"/>
                  </a:lnTo>
                  <a:lnTo>
                    <a:pt x="271" y="339"/>
                  </a:lnTo>
                  <a:close/>
                  <a:moveTo>
                    <a:pt x="718" y="375"/>
                  </a:moveTo>
                  <a:lnTo>
                    <a:pt x="722" y="379"/>
                  </a:lnTo>
                  <a:lnTo>
                    <a:pt x="718" y="375"/>
                  </a:lnTo>
                  <a:close/>
                  <a:moveTo>
                    <a:pt x="331" y="395"/>
                  </a:moveTo>
                  <a:lnTo>
                    <a:pt x="327" y="395"/>
                  </a:lnTo>
                  <a:lnTo>
                    <a:pt x="327" y="391"/>
                  </a:lnTo>
                  <a:lnTo>
                    <a:pt x="323" y="391"/>
                  </a:lnTo>
                  <a:lnTo>
                    <a:pt x="327" y="391"/>
                  </a:lnTo>
                  <a:lnTo>
                    <a:pt x="331" y="395"/>
                  </a:lnTo>
                  <a:close/>
                  <a:moveTo>
                    <a:pt x="754" y="415"/>
                  </a:moveTo>
                  <a:lnTo>
                    <a:pt x="750" y="415"/>
                  </a:lnTo>
                  <a:lnTo>
                    <a:pt x="746" y="415"/>
                  </a:lnTo>
                  <a:lnTo>
                    <a:pt x="750" y="415"/>
                  </a:lnTo>
                  <a:lnTo>
                    <a:pt x="754" y="415"/>
                  </a:lnTo>
                  <a:close/>
                  <a:moveTo>
                    <a:pt x="319" y="443"/>
                  </a:moveTo>
                  <a:lnTo>
                    <a:pt x="315" y="447"/>
                  </a:lnTo>
                  <a:lnTo>
                    <a:pt x="311" y="447"/>
                  </a:lnTo>
                  <a:lnTo>
                    <a:pt x="311" y="443"/>
                  </a:lnTo>
                  <a:lnTo>
                    <a:pt x="315" y="443"/>
                  </a:lnTo>
                  <a:lnTo>
                    <a:pt x="319" y="443"/>
                  </a:lnTo>
                  <a:lnTo>
                    <a:pt x="315" y="443"/>
                  </a:lnTo>
                  <a:lnTo>
                    <a:pt x="315" y="447"/>
                  </a:lnTo>
                  <a:lnTo>
                    <a:pt x="319" y="443"/>
                  </a:lnTo>
                  <a:close/>
                  <a:moveTo>
                    <a:pt x="303" y="447"/>
                  </a:moveTo>
                  <a:lnTo>
                    <a:pt x="303" y="451"/>
                  </a:lnTo>
                  <a:lnTo>
                    <a:pt x="299" y="451"/>
                  </a:lnTo>
                  <a:lnTo>
                    <a:pt x="303" y="447"/>
                  </a:lnTo>
                  <a:close/>
                  <a:moveTo>
                    <a:pt x="626" y="455"/>
                  </a:moveTo>
                  <a:lnTo>
                    <a:pt x="622" y="455"/>
                  </a:lnTo>
                  <a:lnTo>
                    <a:pt x="626" y="455"/>
                  </a:lnTo>
                  <a:lnTo>
                    <a:pt x="622" y="455"/>
                  </a:lnTo>
                  <a:lnTo>
                    <a:pt x="626" y="455"/>
                  </a:lnTo>
                  <a:close/>
                  <a:moveTo>
                    <a:pt x="303" y="491"/>
                  </a:moveTo>
                  <a:lnTo>
                    <a:pt x="299" y="491"/>
                  </a:lnTo>
                  <a:lnTo>
                    <a:pt x="295" y="491"/>
                  </a:lnTo>
                  <a:lnTo>
                    <a:pt x="299" y="491"/>
                  </a:lnTo>
                  <a:lnTo>
                    <a:pt x="303" y="491"/>
                  </a:lnTo>
                  <a:close/>
                  <a:moveTo>
                    <a:pt x="546" y="519"/>
                  </a:moveTo>
                  <a:lnTo>
                    <a:pt x="546" y="515"/>
                  </a:lnTo>
                  <a:lnTo>
                    <a:pt x="546" y="519"/>
                  </a:lnTo>
                  <a:close/>
                  <a:moveTo>
                    <a:pt x="546" y="523"/>
                  </a:moveTo>
                  <a:lnTo>
                    <a:pt x="542" y="523"/>
                  </a:lnTo>
                  <a:lnTo>
                    <a:pt x="542" y="519"/>
                  </a:lnTo>
                  <a:lnTo>
                    <a:pt x="546" y="523"/>
                  </a:lnTo>
                  <a:close/>
                  <a:moveTo>
                    <a:pt x="299" y="523"/>
                  </a:moveTo>
                  <a:lnTo>
                    <a:pt x="303" y="523"/>
                  </a:lnTo>
                  <a:lnTo>
                    <a:pt x="303" y="527"/>
                  </a:lnTo>
                  <a:lnTo>
                    <a:pt x="299" y="523"/>
                  </a:lnTo>
                  <a:close/>
                  <a:moveTo>
                    <a:pt x="482" y="559"/>
                  </a:moveTo>
                  <a:lnTo>
                    <a:pt x="486" y="559"/>
                  </a:lnTo>
                  <a:lnTo>
                    <a:pt x="490" y="559"/>
                  </a:lnTo>
                  <a:lnTo>
                    <a:pt x="486" y="559"/>
                  </a:lnTo>
                  <a:lnTo>
                    <a:pt x="482" y="559"/>
                  </a:lnTo>
                  <a:close/>
                  <a:moveTo>
                    <a:pt x="482" y="587"/>
                  </a:moveTo>
                  <a:lnTo>
                    <a:pt x="482" y="583"/>
                  </a:lnTo>
                  <a:lnTo>
                    <a:pt x="478" y="583"/>
                  </a:lnTo>
                  <a:lnTo>
                    <a:pt x="474" y="583"/>
                  </a:lnTo>
                  <a:lnTo>
                    <a:pt x="474" y="579"/>
                  </a:lnTo>
                  <a:lnTo>
                    <a:pt x="471" y="579"/>
                  </a:lnTo>
                  <a:lnTo>
                    <a:pt x="474" y="579"/>
                  </a:lnTo>
                  <a:lnTo>
                    <a:pt x="478" y="579"/>
                  </a:lnTo>
                  <a:lnTo>
                    <a:pt x="478" y="583"/>
                  </a:lnTo>
                  <a:lnTo>
                    <a:pt x="482" y="583"/>
                  </a:lnTo>
                  <a:lnTo>
                    <a:pt x="482" y="587"/>
                  </a:lnTo>
                  <a:close/>
                  <a:moveTo>
                    <a:pt x="482" y="587"/>
                  </a:moveTo>
                  <a:lnTo>
                    <a:pt x="478" y="587"/>
                  </a:lnTo>
                  <a:lnTo>
                    <a:pt x="482" y="587"/>
                  </a:lnTo>
                  <a:close/>
                  <a:moveTo>
                    <a:pt x="335" y="587"/>
                  </a:moveTo>
                  <a:lnTo>
                    <a:pt x="339" y="587"/>
                  </a:lnTo>
                  <a:lnTo>
                    <a:pt x="335" y="587"/>
                  </a:lnTo>
                  <a:close/>
                  <a:moveTo>
                    <a:pt x="478" y="587"/>
                  </a:moveTo>
                  <a:lnTo>
                    <a:pt x="474" y="587"/>
                  </a:lnTo>
                  <a:lnTo>
                    <a:pt x="478" y="587"/>
                  </a:lnTo>
                  <a:lnTo>
                    <a:pt x="478" y="591"/>
                  </a:lnTo>
                  <a:lnTo>
                    <a:pt x="478" y="587"/>
                  </a:lnTo>
                  <a:close/>
                  <a:moveTo>
                    <a:pt x="474" y="595"/>
                  </a:moveTo>
                  <a:lnTo>
                    <a:pt x="474" y="591"/>
                  </a:lnTo>
                  <a:lnTo>
                    <a:pt x="478" y="591"/>
                  </a:lnTo>
                  <a:lnTo>
                    <a:pt x="474" y="595"/>
                  </a:lnTo>
                  <a:close/>
                  <a:moveTo>
                    <a:pt x="463" y="599"/>
                  </a:moveTo>
                  <a:lnTo>
                    <a:pt x="463" y="595"/>
                  </a:lnTo>
                  <a:lnTo>
                    <a:pt x="467" y="595"/>
                  </a:lnTo>
                  <a:lnTo>
                    <a:pt x="471" y="595"/>
                  </a:lnTo>
                  <a:lnTo>
                    <a:pt x="471" y="599"/>
                  </a:lnTo>
                  <a:lnTo>
                    <a:pt x="471" y="595"/>
                  </a:lnTo>
                  <a:lnTo>
                    <a:pt x="467" y="595"/>
                  </a:lnTo>
                  <a:lnTo>
                    <a:pt x="467" y="599"/>
                  </a:lnTo>
                  <a:lnTo>
                    <a:pt x="471" y="599"/>
                  </a:lnTo>
                  <a:lnTo>
                    <a:pt x="467" y="599"/>
                  </a:lnTo>
                  <a:lnTo>
                    <a:pt x="463" y="599"/>
                  </a:lnTo>
                  <a:close/>
                  <a:moveTo>
                    <a:pt x="467" y="603"/>
                  </a:moveTo>
                  <a:lnTo>
                    <a:pt x="463" y="603"/>
                  </a:lnTo>
                  <a:lnTo>
                    <a:pt x="467" y="599"/>
                  </a:lnTo>
                  <a:lnTo>
                    <a:pt x="467" y="603"/>
                  </a:lnTo>
                  <a:close/>
                  <a:moveTo>
                    <a:pt x="355" y="619"/>
                  </a:moveTo>
                  <a:lnTo>
                    <a:pt x="355" y="615"/>
                  </a:lnTo>
                  <a:lnTo>
                    <a:pt x="355" y="619"/>
                  </a:lnTo>
                  <a:close/>
                  <a:moveTo>
                    <a:pt x="467" y="622"/>
                  </a:moveTo>
                  <a:lnTo>
                    <a:pt x="467" y="619"/>
                  </a:lnTo>
                  <a:lnTo>
                    <a:pt x="467" y="622"/>
                  </a:lnTo>
                  <a:close/>
                  <a:moveTo>
                    <a:pt x="371" y="630"/>
                  </a:moveTo>
                  <a:lnTo>
                    <a:pt x="367" y="630"/>
                  </a:lnTo>
                  <a:lnTo>
                    <a:pt x="371" y="630"/>
                  </a:lnTo>
                  <a:close/>
                  <a:moveTo>
                    <a:pt x="375" y="638"/>
                  </a:moveTo>
                  <a:lnTo>
                    <a:pt x="379" y="638"/>
                  </a:lnTo>
                  <a:lnTo>
                    <a:pt x="375" y="638"/>
                  </a:lnTo>
                  <a:lnTo>
                    <a:pt x="371" y="638"/>
                  </a:lnTo>
                  <a:lnTo>
                    <a:pt x="375" y="638"/>
                  </a:lnTo>
                  <a:close/>
                  <a:moveTo>
                    <a:pt x="407" y="642"/>
                  </a:moveTo>
                  <a:lnTo>
                    <a:pt x="403" y="642"/>
                  </a:lnTo>
                  <a:lnTo>
                    <a:pt x="403" y="646"/>
                  </a:lnTo>
                  <a:lnTo>
                    <a:pt x="399" y="646"/>
                  </a:lnTo>
                  <a:lnTo>
                    <a:pt x="395" y="646"/>
                  </a:lnTo>
                  <a:lnTo>
                    <a:pt x="399" y="646"/>
                  </a:lnTo>
                  <a:lnTo>
                    <a:pt x="399" y="642"/>
                  </a:lnTo>
                  <a:lnTo>
                    <a:pt x="403" y="642"/>
                  </a:lnTo>
                  <a:lnTo>
                    <a:pt x="407" y="642"/>
                  </a:lnTo>
                  <a:close/>
                  <a:moveTo>
                    <a:pt x="455" y="642"/>
                  </a:moveTo>
                  <a:lnTo>
                    <a:pt x="459" y="642"/>
                  </a:lnTo>
                  <a:lnTo>
                    <a:pt x="455" y="642"/>
                  </a:lnTo>
                  <a:close/>
                  <a:moveTo>
                    <a:pt x="383" y="646"/>
                  </a:moveTo>
                  <a:lnTo>
                    <a:pt x="379" y="646"/>
                  </a:lnTo>
                  <a:lnTo>
                    <a:pt x="375" y="646"/>
                  </a:lnTo>
                  <a:lnTo>
                    <a:pt x="379" y="642"/>
                  </a:lnTo>
                  <a:lnTo>
                    <a:pt x="383" y="642"/>
                  </a:lnTo>
                  <a:lnTo>
                    <a:pt x="383" y="646"/>
                  </a:lnTo>
                  <a:close/>
                  <a:moveTo>
                    <a:pt x="411" y="646"/>
                  </a:moveTo>
                  <a:lnTo>
                    <a:pt x="407" y="646"/>
                  </a:lnTo>
                  <a:lnTo>
                    <a:pt x="407" y="650"/>
                  </a:lnTo>
                  <a:lnTo>
                    <a:pt x="407" y="646"/>
                  </a:lnTo>
                  <a:lnTo>
                    <a:pt x="411" y="646"/>
                  </a:lnTo>
                  <a:close/>
                  <a:moveTo>
                    <a:pt x="411" y="646"/>
                  </a:moveTo>
                  <a:lnTo>
                    <a:pt x="411" y="650"/>
                  </a:lnTo>
                  <a:lnTo>
                    <a:pt x="407" y="650"/>
                  </a:lnTo>
                  <a:lnTo>
                    <a:pt x="411" y="646"/>
                  </a:lnTo>
                  <a:close/>
                  <a:moveTo>
                    <a:pt x="423" y="654"/>
                  </a:moveTo>
                  <a:lnTo>
                    <a:pt x="423" y="658"/>
                  </a:lnTo>
                  <a:lnTo>
                    <a:pt x="419" y="658"/>
                  </a:lnTo>
                  <a:lnTo>
                    <a:pt x="419" y="654"/>
                  </a:lnTo>
                  <a:lnTo>
                    <a:pt x="423" y="654"/>
                  </a:lnTo>
                  <a:close/>
                  <a:moveTo>
                    <a:pt x="447" y="666"/>
                  </a:moveTo>
                  <a:lnTo>
                    <a:pt x="443" y="666"/>
                  </a:lnTo>
                  <a:lnTo>
                    <a:pt x="439" y="662"/>
                  </a:lnTo>
                  <a:lnTo>
                    <a:pt x="439" y="658"/>
                  </a:lnTo>
                  <a:lnTo>
                    <a:pt x="443" y="662"/>
                  </a:lnTo>
                  <a:lnTo>
                    <a:pt x="447" y="662"/>
                  </a:lnTo>
                  <a:lnTo>
                    <a:pt x="451" y="662"/>
                  </a:lnTo>
                  <a:lnTo>
                    <a:pt x="451" y="666"/>
                  </a:lnTo>
                  <a:lnTo>
                    <a:pt x="451" y="662"/>
                  </a:lnTo>
                  <a:lnTo>
                    <a:pt x="447" y="662"/>
                  </a:lnTo>
                  <a:lnTo>
                    <a:pt x="447" y="666"/>
                  </a:lnTo>
                  <a:close/>
                  <a:moveTo>
                    <a:pt x="435" y="658"/>
                  </a:moveTo>
                  <a:lnTo>
                    <a:pt x="435" y="662"/>
                  </a:lnTo>
                  <a:lnTo>
                    <a:pt x="439" y="662"/>
                  </a:lnTo>
                  <a:lnTo>
                    <a:pt x="435" y="662"/>
                  </a:lnTo>
                  <a:lnTo>
                    <a:pt x="435" y="658"/>
                  </a:lnTo>
                  <a:close/>
                  <a:moveTo>
                    <a:pt x="435" y="662"/>
                  </a:moveTo>
                  <a:lnTo>
                    <a:pt x="435" y="666"/>
                  </a:lnTo>
                  <a:lnTo>
                    <a:pt x="431" y="666"/>
                  </a:lnTo>
                  <a:lnTo>
                    <a:pt x="431" y="662"/>
                  </a:lnTo>
                  <a:lnTo>
                    <a:pt x="435" y="662"/>
                  </a:lnTo>
                  <a:close/>
                  <a:moveTo>
                    <a:pt x="447" y="666"/>
                  </a:moveTo>
                  <a:lnTo>
                    <a:pt x="447" y="662"/>
                  </a:lnTo>
                  <a:lnTo>
                    <a:pt x="451" y="662"/>
                  </a:lnTo>
                  <a:lnTo>
                    <a:pt x="447" y="666"/>
                  </a:lnTo>
                  <a:close/>
                  <a:moveTo>
                    <a:pt x="435" y="666"/>
                  </a:moveTo>
                  <a:lnTo>
                    <a:pt x="435" y="662"/>
                  </a:lnTo>
                  <a:lnTo>
                    <a:pt x="439" y="662"/>
                  </a:lnTo>
                  <a:lnTo>
                    <a:pt x="439" y="666"/>
                  </a:lnTo>
                  <a:lnTo>
                    <a:pt x="435" y="666"/>
                  </a:lnTo>
                  <a:close/>
                  <a:moveTo>
                    <a:pt x="439" y="670"/>
                  </a:moveTo>
                  <a:lnTo>
                    <a:pt x="439" y="666"/>
                  </a:lnTo>
                  <a:lnTo>
                    <a:pt x="443" y="666"/>
                  </a:lnTo>
                  <a:lnTo>
                    <a:pt x="443" y="670"/>
                  </a:lnTo>
                  <a:lnTo>
                    <a:pt x="439" y="670"/>
                  </a:lnTo>
                  <a:close/>
                  <a:moveTo>
                    <a:pt x="335" y="443"/>
                  </a:moveTo>
                  <a:lnTo>
                    <a:pt x="335" y="439"/>
                  </a:lnTo>
                  <a:lnTo>
                    <a:pt x="339" y="439"/>
                  </a:lnTo>
                  <a:lnTo>
                    <a:pt x="335" y="439"/>
                  </a:lnTo>
                  <a:lnTo>
                    <a:pt x="331" y="439"/>
                  </a:lnTo>
                  <a:lnTo>
                    <a:pt x="331" y="443"/>
                  </a:lnTo>
                  <a:lnTo>
                    <a:pt x="331" y="439"/>
                  </a:lnTo>
                  <a:lnTo>
                    <a:pt x="327" y="439"/>
                  </a:lnTo>
                  <a:lnTo>
                    <a:pt x="331" y="439"/>
                  </a:lnTo>
                  <a:lnTo>
                    <a:pt x="335" y="435"/>
                  </a:lnTo>
                  <a:lnTo>
                    <a:pt x="331" y="435"/>
                  </a:lnTo>
                  <a:lnTo>
                    <a:pt x="331" y="431"/>
                  </a:lnTo>
                  <a:lnTo>
                    <a:pt x="335" y="431"/>
                  </a:lnTo>
                  <a:lnTo>
                    <a:pt x="335" y="435"/>
                  </a:lnTo>
                  <a:lnTo>
                    <a:pt x="335" y="431"/>
                  </a:lnTo>
                  <a:lnTo>
                    <a:pt x="339" y="431"/>
                  </a:lnTo>
                  <a:lnTo>
                    <a:pt x="339" y="435"/>
                  </a:lnTo>
                  <a:lnTo>
                    <a:pt x="343" y="435"/>
                  </a:lnTo>
                  <a:lnTo>
                    <a:pt x="339" y="435"/>
                  </a:lnTo>
                  <a:lnTo>
                    <a:pt x="343" y="435"/>
                  </a:lnTo>
                  <a:lnTo>
                    <a:pt x="343" y="431"/>
                  </a:lnTo>
                  <a:lnTo>
                    <a:pt x="343" y="435"/>
                  </a:lnTo>
                  <a:lnTo>
                    <a:pt x="347" y="435"/>
                  </a:lnTo>
                  <a:lnTo>
                    <a:pt x="347" y="431"/>
                  </a:lnTo>
                  <a:lnTo>
                    <a:pt x="343" y="431"/>
                  </a:lnTo>
                  <a:lnTo>
                    <a:pt x="339" y="431"/>
                  </a:lnTo>
                  <a:lnTo>
                    <a:pt x="343" y="431"/>
                  </a:lnTo>
                  <a:lnTo>
                    <a:pt x="347" y="431"/>
                  </a:lnTo>
                  <a:lnTo>
                    <a:pt x="347" y="427"/>
                  </a:lnTo>
                  <a:lnTo>
                    <a:pt x="343" y="427"/>
                  </a:lnTo>
                  <a:lnTo>
                    <a:pt x="339" y="427"/>
                  </a:lnTo>
                  <a:lnTo>
                    <a:pt x="343" y="427"/>
                  </a:lnTo>
                  <a:lnTo>
                    <a:pt x="343" y="423"/>
                  </a:lnTo>
                  <a:lnTo>
                    <a:pt x="339" y="423"/>
                  </a:lnTo>
                  <a:lnTo>
                    <a:pt x="339" y="427"/>
                  </a:lnTo>
                  <a:lnTo>
                    <a:pt x="335" y="431"/>
                  </a:lnTo>
                  <a:lnTo>
                    <a:pt x="331" y="431"/>
                  </a:lnTo>
                  <a:lnTo>
                    <a:pt x="331" y="427"/>
                  </a:lnTo>
                  <a:lnTo>
                    <a:pt x="335" y="427"/>
                  </a:lnTo>
                  <a:lnTo>
                    <a:pt x="335" y="423"/>
                  </a:lnTo>
                  <a:lnTo>
                    <a:pt x="339" y="419"/>
                  </a:lnTo>
                  <a:lnTo>
                    <a:pt x="343" y="419"/>
                  </a:lnTo>
                  <a:lnTo>
                    <a:pt x="339" y="419"/>
                  </a:lnTo>
                  <a:lnTo>
                    <a:pt x="335" y="419"/>
                  </a:lnTo>
                  <a:lnTo>
                    <a:pt x="335" y="415"/>
                  </a:lnTo>
                  <a:lnTo>
                    <a:pt x="339" y="415"/>
                  </a:lnTo>
                  <a:lnTo>
                    <a:pt x="339" y="419"/>
                  </a:lnTo>
                  <a:lnTo>
                    <a:pt x="343" y="419"/>
                  </a:lnTo>
                  <a:lnTo>
                    <a:pt x="343" y="415"/>
                  </a:lnTo>
                  <a:lnTo>
                    <a:pt x="339" y="415"/>
                  </a:lnTo>
                  <a:lnTo>
                    <a:pt x="335" y="415"/>
                  </a:lnTo>
                  <a:lnTo>
                    <a:pt x="339" y="415"/>
                  </a:lnTo>
                  <a:lnTo>
                    <a:pt x="339" y="411"/>
                  </a:lnTo>
                  <a:lnTo>
                    <a:pt x="343" y="415"/>
                  </a:lnTo>
                  <a:lnTo>
                    <a:pt x="347" y="415"/>
                  </a:lnTo>
                  <a:lnTo>
                    <a:pt x="343" y="411"/>
                  </a:lnTo>
                  <a:lnTo>
                    <a:pt x="339" y="411"/>
                  </a:lnTo>
                  <a:lnTo>
                    <a:pt x="339" y="407"/>
                  </a:lnTo>
                  <a:lnTo>
                    <a:pt x="343" y="407"/>
                  </a:lnTo>
                  <a:lnTo>
                    <a:pt x="339" y="407"/>
                  </a:lnTo>
                  <a:lnTo>
                    <a:pt x="335" y="407"/>
                  </a:lnTo>
                  <a:lnTo>
                    <a:pt x="331" y="407"/>
                  </a:lnTo>
                  <a:lnTo>
                    <a:pt x="327" y="407"/>
                  </a:lnTo>
                  <a:lnTo>
                    <a:pt x="331" y="407"/>
                  </a:lnTo>
                  <a:lnTo>
                    <a:pt x="335" y="407"/>
                  </a:lnTo>
                  <a:lnTo>
                    <a:pt x="331" y="403"/>
                  </a:lnTo>
                  <a:lnTo>
                    <a:pt x="327" y="403"/>
                  </a:lnTo>
                  <a:lnTo>
                    <a:pt x="327" y="407"/>
                  </a:lnTo>
                  <a:lnTo>
                    <a:pt x="323" y="407"/>
                  </a:lnTo>
                  <a:lnTo>
                    <a:pt x="319" y="407"/>
                  </a:lnTo>
                  <a:lnTo>
                    <a:pt x="315" y="407"/>
                  </a:lnTo>
                  <a:lnTo>
                    <a:pt x="311" y="407"/>
                  </a:lnTo>
                  <a:lnTo>
                    <a:pt x="311" y="403"/>
                  </a:lnTo>
                  <a:lnTo>
                    <a:pt x="307" y="403"/>
                  </a:lnTo>
                  <a:lnTo>
                    <a:pt x="307" y="399"/>
                  </a:lnTo>
                  <a:lnTo>
                    <a:pt x="303" y="399"/>
                  </a:lnTo>
                  <a:lnTo>
                    <a:pt x="299" y="399"/>
                  </a:lnTo>
                  <a:lnTo>
                    <a:pt x="295" y="395"/>
                  </a:lnTo>
                  <a:lnTo>
                    <a:pt x="291" y="395"/>
                  </a:lnTo>
                  <a:lnTo>
                    <a:pt x="287" y="395"/>
                  </a:lnTo>
                  <a:lnTo>
                    <a:pt x="283" y="395"/>
                  </a:lnTo>
                  <a:lnTo>
                    <a:pt x="283" y="391"/>
                  </a:lnTo>
                  <a:lnTo>
                    <a:pt x="279" y="387"/>
                  </a:lnTo>
                  <a:lnTo>
                    <a:pt x="283" y="387"/>
                  </a:lnTo>
                  <a:lnTo>
                    <a:pt x="283" y="383"/>
                  </a:lnTo>
                  <a:lnTo>
                    <a:pt x="287" y="383"/>
                  </a:lnTo>
                  <a:lnTo>
                    <a:pt x="291" y="383"/>
                  </a:lnTo>
                  <a:lnTo>
                    <a:pt x="295" y="387"/>
                  </a:lnTo>
                  <a:lnTo>
                    <a:pt x="299" y="387"/>
                  </a:lnTo>
                  <a:lnTo>
                    <a:pt x="303" y="387"/>
                  </a:lnTo>
                  <a:lnTo>
                    <a:pt x="307" y="387"/>
                  </a:lnTo>
                  <a:lnTo>
                    <a:pt x="311" y="387"/>
                  </a:lnTo>
                  <a:lnTo>
                    <a:pt x="315" y="391"/>
                  </a:lnTo>
                  <a:lnTo>
                    <a:pt x="319" y="391"/>
                  </a:lnTo>
                  <a:lnTo>
                    <a:pt x="323" y="395"/>
                  </a:lnTo>
                  <a:lnTo>
                    <a:pt x="327" y="395"/>
                  </a:lnTo>
                  <a:lnTo>
                    <a:pt x="331" y="395"/>
                  </a:lnTo>
                  <a:lnTo>
                    <a:pt x="335" y="395"/>
                  </a:lnTo>
                  <a:lnTo>
                    <a:pt x="335" y="399"/>
                  </a:lnTo>
                  <a:lnTo>
                    <a:pt x="339" y="399"/>
                  </a:lnTo>
                  <a:lnTo>
                    <a:pt x="339" y="395"/>
                  </a:lnTo>
                  <a:lnTo>
                    <a:pt x="339" y="391"/>
                  </a:lnTo>
                  <a:lnTo>
                    <a:pt x="339" y="395"/>
                  </a:lnTo>
                  <a:lnTo>
                    <a:pt x="335" y="395"/>
                  </a:lnTo>
                  <a:lnTo>
                    <a:pt x="331" y="395"/>
                  </a:lnTo>
                  <a:lnTo>
                    <a:pt x="335" y="395"/>
                  </a:lnTo>
                  <a:lnTo>
                    <a:pt x="331" y="391"/>
                  </a:lnTo>
                  <a:lnTo>
                    <a:pt x="327" y="391"/>
                  </a:lnTo>
                  <a:lnTo>
                    <a:pt x="331" y="391"/>
                  </a:lnTo>
                  <a:lnTo>
                    <a:pt x="335" y="391"/>
                  </a:lnTo>
                  <a:lnTo>
                    <a:pt x="335" y="387"/>
                  </a:lnTo>
                  <a:lnTo>
                    <a:pt x="335" y="391"/>
                  </a:lnTo>
                  <a:lnTo>
                    <a:pt x="339" y="391"/>
                  </a:lnTo>
                  <a:lnTo>
                    <a:pt x="335" y="387"/>
                  </a:lnTo>
                  <a:lnTo>
                    <a:pt x="331" y="387"/>
                  </a:lnTo>
                  <a:lnTo>
                    <a:pt x="327" y="387"/>
                  </a:lnTo>
                  <a:lnTo>
                    <a:pt x="327" y="383"/>
                  </a:lnTo>
                  <a:lnTo>
                    <a:pt x="331" y="383"/>
                  </a:lnTo>
                  <a:lnTo>
                    <a:pt x="335" y="387"/>
                  </a:lnTo>
                  <a:lnTo>
                    <a:pt x="339" y="387"/>
                  </a:lnTo>
                  <a:lnTo>
                    <a:pt x="335" y="387"/>
                  </a:lnTo>
                  <a:lnTo>
                    <a:pt x="335" y="383"/>
                  </a:lnTo>
                  <a:lnTo>
                    <a:pt x="331" y="383"/>
                  </a:lnTo>
                  <a:lnTo>
                    <a:pt x="327" y="383"/>
                  </a:lnTo>
                  <a:lnTo>
                    <a:pt x="323" y="383"/>
                  </a:lnTo>
                  <a:lnTo>
                    <a:pt x="323" y="379"/>
                  </a:lnTo>
                  <a:lnTo>
                    <a:pt x="319" y="379"/>
                  </a:lnTo>
                  <a:lnTo>
                    <a:pt x="323" y="379"/>
                  </a:lnTo>
                  <a:lnTo>
                    <a:pt x="327" y="379"/>
                  </a:lnTo>
                  <a:lnTo>
                    <a:pt x="331" y="379"/>
                  </a:lnTo>
                  <a:lnTo>
                    <a:pt x="335" y="379"/>
                  </a:lnTo>
                  <a:lnTo>
                    <a:pt x="331" y="379"/>
                  </a:lnTo>
                  <a:lnTo>
                    <a:pt x="327" y="379"/>
                  </a:lnTo>
                  <a:lnTo>
                    <a:pt x="327" y="375"/>
                  </a:lnTo>
                  <a:lnTo>
                    <a:pt x="331" y="375"/>
                  </a:lnTo>
                  <a:lnTo>
                    <a:pt x="327" y="375"/>
                  </a:lnTo>
                  <a:lnTo>
                    <a:pt x="323" y="375"/>
                  </a:lnTo>
                  <a:lnTo>
                    <a:pt x="319" y="375"/>
                  </a:lnTo>
                  <a:lnTo>
                    <a:pt x="315" y="375"/>
                  </a:lnTo>
                  <a:lnTo>
                    <a:pt x="319" y="375"/>
                  </a:lnTo>
                  <a:lnTo>
                    <a:pt x="319" y="371"/>
                  </a:lnTo>
                  <a:lnTo>
                    <a:pt x="323" y="371"/>
                  </a:lnTo>
                  <a:lnTo>
                    <a:pt x="319" y="371"/>
                  </a:lnTo>
                  <a:lnTo>
                    <a:pt x="315" y="371"/>
                  </a:lnTo>
                  <a:lnTo>
                    <a:pt x="315" y="375"/>
                  </a:lnTo>
                  <a:lnTo>
                    <a:pt x="311" y="375"/>
                  </a:lnTo>
                  <a:lnTo>
                    <a:pt x="311" y="371"/>
                  </a:lnTo>
                  <a:lnTo>
                    <a:pt x="315" y="371"/>
                  </a:lnTo>
                  <a:lnTo>
                    <a:pt x="315" y="367"/>
                  </a:lnTo>
                  <a:lnTo>
                    <a:pt x="319" y="367"/>
                  </a:lnTo>
                  <a:lnTo>
                    <a:pt x="323" y="367"/>
                  </a:lnTo>
                  <a:lnTo>
                    <a:pt x="327" y="367"/>
                  </a:lnTo>
                  <a:lnTo>
                    <a:pt x="323" y="367"/>
                  </a:lnTo>
                  <a:lnTo>
                    <a:pt x="319" y="367"/>
                  </a:lnTo>
                  <a:lnTo>
                    <a:pt x="315" y="367"/>
                  </a:lnTo>
                  <a:lnTo>
                    <a:pt x="311" y="367"/>
                  </a:lnTo>
                  <a:lnTo>
                    <a:pt x="307" y="367"/>
                  </a:lnTo>
                  <a:lnTo>
                    <a:pt x="303" y="367"/>
                  </a:lnTo>
                  <a:lnTo>
                    <a:pt x="307" y="367"/>
                  </a:lnTo>
                  <a:lnTo>
                    <a:pt x="307" y="363"/>
                  </a:lnTo>
                  <a:lnTo>
                    <a:pt x="311" y="363"/>
                  </a:lnTo>
                  <a:lnTo>
                    <a:pt x="315" y="363"/>
                  </a:lnTo>
                  <a:lnTo>
                    <a:pt x="319" y="363"/>
                  </a:lnTo>
                  <a:lnTo>
                    <a:pt x="323" y="363"/>
                  </a:lnTo>
                  <a:lnTo>
                    <a:pt x="323" y="359"/>
                  </a:lnTo>
                  <a:lnTo>
                    <a:pt x="319" y="359"/>
                  </a:lnTo>
                  <a:lnTo>
                    <a:pt x="319" y="363"/>
                  </a:lnTo>
                  <a:lnTo>
                    <a:pt x="315" y="363"/>
                  </a:lnTo>
                  <a:lnTo>
                    <a:pt x="311" y="363"/>
                  </a:lnTo>
                  <a:lnTo>
                    <a:pt x="307" y="363"/>
                  </a:lnTo>
                  <a:lnTo>
                    <a:pt x="307" y="359"/>
                  </a:lnTo>
                  <a:lnTo>
                    <a:pt x="303" y="359"/>
                  </a:lnTo>
                  <a:lnTo>
                    <a:pt x="299" y="359"/>
                  </a:lnTo>
                  <a:lnTo>
                    <a:pt x="303" y="359"/>
                  </a:lnTo>
                  <a:lnTo>
                    <a:pt x="303" y="355"/>
                  </a:lnTo>
                  <a:lnTo>
                    <a:pt x="307" y="351"/>
                  </a:lnTo>
                  <a:lnTo>
                    <a:pt x="303" y="355"/>
                  </a:lnTo>
                  <a:lnTo>
                    <a:pt x="299" y="355"/>
                  </a:lnTo>
                  <a:lnTo>
                    <a:pt x="295" y="355"/>
                  </a:lnTo>
                  <a:lnTo>
                    <a:pt x="295" y="351"/>
                  </a:lnTo>
                  <a:lnTo>
                    <a:pt x="295" y="347"/>
                  </a:lnTo>
                  <a:lnTo>
                    <a:pt x="291" y="347"/>
                  </a:lnTo>
                  <a:lnTo>
                    <a:pt x="291" y="343"/>
                  </a:lnTo>
                  <a:lnTo>
                    <a:pt x="295" y="343"/>
                  </a:lnTo>
                  <a:lnTo>
                    <a:pt x="291" y="343"/>
                  </a:lnTo>
                  <a:lnTo>
                    <a:pt x="287" y="343"/>
                  </a:lnTo>
                  <a:lnTo>
                    <a:pt x="291" y="347"/>
                  </a:lnTo>
                  <a:lnTo>
                    <a:pt x="291" y="351"/>
                  </a:lnTo>
                  <a:lnTo>
                    <a:pt x="295" y="351"/>
                  </a:lnTo>
                  <a:lnTo>
                    <a:pt x="295" y="355"/>
                  </a:lnTo>
                  <a:lnTo>
                    <a:pt x="295" y="359"/>
                  </a:lnTo>
                  <a:lnTo>
                    <a:pt x="291" y="359"/>
                  </a:lnTo>
                  <a:lnTo>
                    <a:pt x="287" y="359"/>
                  </a:lnTo>
                  <a:lnTo>
                    <a:pt x="291" y="359"/>
                  </a:lnTo>
                  <a:lnTo>
                    <a:pt x="291" y="363"/>
                  </a:lnTo>
                  <a:lnTo>
                    <a:pt x="287" y="363"/>
                  </a:lnTo>
                  <a:lnTo>
                    <a:pt x="287" y="359"/>
                  </a:lnTo>
                  <a:lnTo>
                    <a:pt x="287" y="363"/>
                  </a:lnTo>
                  <a:lnTo>
                    <a:pt x="291" y="363"/>
                  </a:lnTo>
                  <a:lnTo>
                    <a:pt x="291" y="367"/>
                  </a:lnTo>
                  <a:lnTo>
                    <a:pt x="287" y="367"/>
                  </a:lnTo>
                  <a:lnTo>
                    <a:pt x="283" y="367"/>
                  </a:lnTo>
                  <a:lnTo>
                    <a:pt x="283" y="371"/>
                  </a:lnTo>
                  <a:lnTo>
                    <a:pt x="279" y="371"/>
                  </a:lnTo>
                  <a:lnTo>
                    <a:pt x="275" y="371"/>
                  </a:lnTo>
                  <a:lnTo>
                    <a:pt x="271" y="367"/>
                  </a:lnTo>
                  <a:lnTo>
                    <a:pt x="267" y="367"/>
                  </a:lnTo>
                  <a:lnTo>
                    <a:pt x="271" y="367"/>
                  </a:lnTo>
                  <a:lnTo>
                    <a:pt x="267" y="367"/>
                  </a:lnTo>
                  <a:lnTo>
                    <a:pt x="263" y="367"/>
                  </a:lnTo>
                  <a:lnTo>
                    <a:pt x="263" y="363"/>
                  </a:lnTo>
                  <a:lnTo>
                    <a:pt x="259" y="359"/>
                  </a:lnTo>
                  <a:lnTo>
                    <a:pt x="263" y="359"/>
                  </a:lnTo>
                  <a:lnTo>
                    <a:pt x="267" y="359"/>
                  </a:lnTo>
                  <a:lnTo>
                    <a:pt x="267" y="355"/>
                  </a:lnTo>
                  <a:lnTo>
                    <a:pt x="271" y="355"/>
                  </a:lnTo>
                  <a:lnTo>
                    <a:pt x="275" y="355"/>
                  </a:lnTo>
                  <a:lnTo>
                    <a:pt x="279" y="351"/>
                  </a:lnTo>
                  <a:lnTo>
                    <a:pt x="279" y="347"/>
                  </a:lnTo>
                  <a:lnTo>
                    <a:pt x="283" y="347"/>
                  </a:lnTo>
                  <a:lnTo>
                    <a:pt x="279" y="347"/>
                  </a:lnTo>
                  <a:lnTo>
                    <a:pt x="279" y="351"/>
                  </a:lnTo>
                  <a:lnTo>
                    <a:pt x="275" y="351"/>
                  </a:lnTo>
                  <a:lnTo>
                    <a:pt x="275" y="355"/>
                  </a:lnTo>
                  <a:lnTo>
                    <a:pt x="271" y="355"/>
                  </a:lnTo>
                  <a:lnTo>
                    <a:pt x="267" y="355"/>
                  </a:lnTo>
                  <a:lnTo>
                    <a:pt x="267" y="351"/>
                  </a:lnTo>
                  <a:lnTo>
                    <a:pt x="263" y="351"/>
                  </a:lnTo>
                  <a:lnTo>
                    <a:pt x="267" y="351"/>
                  </a:lnTo>
                  <a:lnTo>
                    <a:pt x="267" y="347"/>
                  </a:lnTo>
                  <a:lnTo>
                    <a:pt x="275" y="343"/>
                  </a:lnTo>
                  <a:lnTo>
                    <a:pt x="271" y="343"/>
                  </a:lnTo>
                  <a:lnTo>
                    <a:pt x="275" y="343"/>
                  </a:lnTo>
                  <a:lnTo>
                    <a:pt x="275" y="339"/>
                  </a:lnTo>
                  <a:lnTo>
                    <a:pt x="271" y="339"/>
                  </a:lnTo>
                  <a:lnTo>
                    <a:pt x="275" y="339"/>
                  </a:lnTo>
                  <a:lnTo>
                    <a:pt x="271" y="339"/>
                  </a:lnTo>
                  <a:lnTo>
                    <a:pt x="267" y="343"/>
                  </a:lnTo>
                  <a:lnTo>
                    <a:pt x="267" y="339"/>
                  </a:lnTo>
                  <a:lnTo>
                    <a:pt x="263" y="339"/>
                  </a:lnTo>
                  <a:lnTo>
                    <a:pt x="263" y="335"/>
                  </a:lnTo>
                  <a:lnTo>
                    <a:pt x="267" y="335"/>
                  </a:lnTo>
                  <a:lnTo>
                    <a:pt x="267" y="339"/>
                  </a:lnTo>
                  <a:lnTo>
                    <a:pt x="271" y="339"/>
                  </a:lnTo>
                  <a:lnTo>
                    <a:pt x="279" y="339"/>
                  </a:lnTo>
                  <a:lnTo>
                    <a:pt x="283" y="339"/>
                  </a:lnTo>
                  <a:lnTo>
                    <a:pt x="279" y="339"/>
                  </a:lnTo>
                  <a:lnTo>
                    <a:pt x="275" y="339"/>
                  </a:lnTo>
                  <a:lnTo>
                    <a:pt x="275" y="335"/>
                  </a:lnTo>
                  <a:lnTo>
                    <a:pt x="271" y="339"/>
                  </a:lnTo>
                  <a:lnTo>
                    <a:pt x="271" y="335"/>
                  </a:lnTo>
                  <a:lnTo>
                    <a:pt x="275" y="335"/>
                  </a:lnTo>
                  <a:lnTo>
                    <a:pt x="279" y="335"/>
                  </a:lnTo>
                  <a:lnTo>
                    <a:pt x="275" y="335"/>
                  </a:lnTo>
                  <a:lnTo>
                    <a:pt x="275" y="331"/>
                  </a:lnTo>
                  <a:lnTo>
                    <a:pt x="279" y="331"/>
                  </a:lnTo>
                  <a:lnTo>
                    <a:pt x="275" y="331"/>
                  </a:lnTo>
                  <a:lnTo>
                    <a:pt x="275" y="327"/>
                  </a:lnTo>
                  <a:lnTo>
                    <a:pt x="279" y="327"/>
                  </a:lnTo>
                  <a:lnTo>
                    <a:pt x="275" y="327"/>
                  </a:lnTo>
                  <a:lnTo>
                    <a:pt x="275" y="323"/>
                  </a:lnTo>
                  <a:lnTo>
                    <a:pt x="271" y="323"/>
                  </a:lnTo>
                  <a:lnTo>
                    <a:pt x="267" y="323"/>
                  </a:lnTo>
                  <a:lnTo>
                    <a:pt x="263" y="323"/>
                  </a:lnTo>
                  <a:lnTo>
                    <a:pt x="263" y="319"/>
                  </a:lnTo>
                  <a:lnTo>
                    <a:pt x="267" y="319"/>
                  </a:lnTo>
                  <a:lnTo>
                    <a:pt x="271" y="319"/>
                  </a:lnTo>
                  <a:lnTo>
                    <a:pt x="267" y="315"/>
                  </a:lnTo>
                  <a:lnTo>
                    <a:pt x="267" y="311"/>
                  </a:lnTo>
                  <a:lnTo>
                    <a:pt x="271" y="311"/>
                  </a:lnTo>
                  <a:lnTo>
                    <a:pt x="271" y="315"/>
                  </a:lnTo>
                  <a:lnTo>
                    <a:pt x="271" y="311"/>
                  </a:lnTo>
                  <a:lnTo>
                    <a:pt x="267" y="311"/>
                  </a:lnTo>
                  <a:lnTo>
                    <a:pt x="263" y="311"/>
                  </a:lnTo>
                  <a:lnTo>
                    <a:pt x="263" y="307"/>
                  </a:lnTo>
                  <a:lnTo>
                    <a:pt x="259" y="307"/>
                  </a:lnTo>
                  <a:lnTo>
                    <a:pt x="255" y="307"/>
                  </a:lnTo>
                  <a:lnTo>
                    <a:pt x="255" y="303"/>
                  </a:lnTo>
                  <a:lnTo>
                    <a:pt x="259" y="303"/>
                  </a:lnTo>
                  <a:lnTo>
                    <a:pt x="255" y="303"/>
                  </a:lnTo>
                  <a:lnTo>
                    <a:pt x="259" y="303"/>
                  </a:lnTo>
                  <a:lnTo>
                    <a:pt x="263" y="303"/>
                  </a:lnTo>
                  <a:lnTo>
                    <a:pt x="259" y="303"/>
                  </a:lnTo>
                  <a:lnTo>
                    <a:pt x="259" y="299"/>
                  </a:lnTo>
                  <a:lnTo>
                    <a:pt x="263" y="299"/>
                  </a:lnTo>
                  <a:lnTo>
                    <a:pt x="259" y="299"/>
                  </a:lnTo>
                  <a:lnTo>
                    <a:pt x="259" y="295"/>
                  </a:lnTo>
                  <a:lnTo>
                    <a:pt x="255" y="295"/>
                  </a:lnTo>
                  <a:lnTo>
                    <a:pt x="259" y="295"/>
                  </a:lnTo>
                  <a:lnTo>
                    <a:pt x="255" y="295"/>
                  </a:lnTo>
                  <a:lnTo>
                    <a:pt x="251" y="295"/>
                  </a:lnTo>
                  <a:lnTo>
                    <a:pt x="251" y="291"/>
                  </a:lnTo>
                  <a:lnTo>
                    <a:pt x="255" y="291"/>
                  </a:lnTo>
                  <a:lnTo>
                    <a:pt x="255" y="287"/>
                  </a:lnTo>
                  <a:lnTo>
                    <a:pt x="251" y="287"/>
                  </a:lnTo>
                  <a:lnTo>
                    <a:pt x="247" y="291"/>
                  </a:lnTo>
                  <a:lnTo>
                    <a:pt x="243" y="291"/>
                  </a:lnTo>
                  <a:lnTo>
                    <a:pt x="239" y="291"/>
                  </a:lnTo>
                  <a:lnTo>
                    <a:pt x="235" y="291"/>
                  </a:lnTo>
                  <a:lnTo>
                    <a:pt x="239" y="291"/>
                  </a:lnTo>
                  <a:lnTo>
                    <a:pt x="243" y="291"/>
                  </a:lnTo>
                  <a:lnTo>
                    <a:pt x="247" y="291"/>
                  </a:lnTo>
                  <a:lnTo>
                    <a:pt x="247" y="287"/>
                  </a:lnTo>
                  <a:lnTo>
                    <a:pt x="251" y="287"/>
                  </a:lnTo>
                  <a:lnTo>
                    <a:pt x="247" y="287"/>
                  </a:lnTo>
                  <a:lnTo>
                    <a:pt x="247" y="283"/>
                  </a:lnTo>
                  <a:lnTo>
                    <a:pt x="251" y="283"/>
                  </a:lnTo>
                  <a:lnTo>
                    <a:pt x="255" y="283"/>
                  </a:lnTo>
                  <a:lnTo>
                    <a:pt x="251" y="283"/>
                  </a:lnTo>
                  <a:lnTo>
                    <a:pt x="247" y="283"/>
                  </a:lnTo>
                  <a:lnTo>
                    <a:pt x="243" y="283"/>
                  </a:lnTo>
                  <a:lnTo>
                    <a:pt x="247" y="283"/>
                  </a:lnTo>
                  <a:lnTo>
                    <a:pt x="251" y="283"/>
                  </a:lnTo>
                  <a:lnTo>
                    <a:pt x="255" y="279"/>
                  </a:lnTo>
                  <a:lnTo>
                    <a:pt x="251" y="279"/>
                  </a:lnTo>
                  <a:lnTo>
                    <a:pt x="247" y="279"/>
                  </a:lnTo>
                  <a:lnTo>
                    <a:pt x="247" y="275"/>
                  </a:lnTo>
                  <a:lnTo>
                    <a:pt x="243" y="275"/>
                  </a:lnTo>
                  <a:lnTo>
                    <a:pt x="239" y="275"/>
                  </a:lnTo>
                  <a:lnTo>
                    <a:pt x="239" y="271"/>
                  </a:lnTo>
                  <a:lnTo>
                    <a:pt x="243" y="271"/>
                  </a:lnTo>
                  <a:lnTo>
                    <a:pt x="243" y="267"/>
                  </a:lnTo>
                  <a:lnTo>
                    <a:pt x="239" y="267"/>
                  </a:lnTo>
                  <a:lnTo>
                    <a:pt x="235" y="267"/>
                  </a:lnTo>
                  <a:lnTo>
                    <a:pt x="231" y="267"/>
                  </a:lnTo>
                  <a:lnTo>
                    <a:pt x="227" y="267"/>
                  </a:lnTo>
                  <a:lnTo>
                    <a:pt x="227" y="263"/>
                  </a:lnTo>
                  <a:lnTo>
                    <a:pt x="223" y="263"/>
                  </a:lnTo>
                  <a:lnTo>
                    <a:pt x="227" y="263"/>
                  </a:lnTo>
                  <a:lnTo>
                    <a:pt x="227" y="259"/>
                  </a:lnTo>
                  <a:lnTo>
                    <a:pt x="223" y="259"/>
                  </a:lnTo>
                  <a:lnTo>
                    <a:pt x="223" y="255"/>
                  </a:lnTo>
                  <a:lnTo>
                    <a:pt x="219" y="255"/>
                  </a:lnTo>
                  <a:lnTo>
                    <a:pt x="215" y="255"/>
                  </a:lnTo>
                  <a:lnTo>
                    <a:pt x="219" y="255"/>
                  </a:lnTo>
                  <a:lnTo>
                    <a:pt x="223" y="255"/>
                  </a:lnTo>
                  <a:lnTo>
                    <a:pt x="223" y="251"/>
                  </a:lnTo>
                  <a:lnTo>
                    <a:pt x="219" y="251"/>
                  </a:lnTo>
                  <a:lnTo>
                    <a:pt x="219" y="247"/>
                  </a:lnTo>
                  <a:lnTo>
                    <a:pt x="223" y="247"/>
                  </a:lnTo>
                  <a:lnTo>
                    <a:pt x="219" y="247"/>
                  </a:lnTo>
                  <a:lnTo>
                    <a:pt x="219" y="243"/>
                  </a:lnTo>
                  <a:lnTo>
                    <a:pt x="215" y="243"/>
                  </a:lnTo>
                  <a:lnTo>
                    <a:pt x="215" y="247"/>
                  </a:lnTo>
                  <a:lnTo>
                    <a:pt x="211" y="247"/>
                  </a:lnTo>
                  <a:lnTo>
                    <a:pt x="207" y="243"/>
                  </a:lnTo>
                  <a:lnTo>
                    <a:pt x="211" y="243"/>
                  </a:lnTo>
                  <a:lnTo>
                    <a:pt x="211" y="239"/>
                  </a:lnTo>
                  <a:lnTo>
                    <a:pt x="207" y="239"/>
                  </a:lnTo>
                  <a:lnTo>
                    <a:pt x="203" y="239"/>
                  </a:lnTo>
                  <a:lnTo>
                    <a:pt x="203" y="243"/>
                  </a:lnTo>
                  <a:lnTo>
                    <a:pt x="199" y="243"/>
                  </a:lnTo>
                  <a:lnTo>
                    <a:pt x="199" y="239"/>
                  </a:lnTo>
                  <a:lnTo>
                    <a:pt x="203" y="239"/>
                  </a:lnTo>
                  <a:lnTo>
                    <a:pt x="199" y="239"/>
                  </a:lnTo>
                  <a:lnTo>
                    <a:pt x="195" y="239"/>
                  </a:lnTo>
                  <a:lnTo>
                    <a:pt x="195" y="235"/>
                  </a:lnTo>
                  <a:lnTo>
                    <a:pt x="191" y="235"/>
                  </a:lnTo>
                  <a:lnTo>
                    <a:pt x="187" y="235"/>
                  </a:lnTo>
                  <a:lnTo>
                    <a:pt x="183" y="235"/>
                  </a:lnTo>
                  <a:lnTo>
                    <a:pt x="183" y="231"/>
                  </a:lnTo>
                  <a:lnTo>
                    <a:pt x="175" y="231"/>
                  </a:lnTo>
                  <a:lnTo>
                    <a:pt x="171" y="231"/>
                  </a:lnTo>
                  <a:lnTo>
                    <a:pt x="167" y="231"/>
                  </a:lnTo>
                  <a:lnTo>
                    <a:pt x="163" y="231"/>
                  </a:lnTo>
                  <a:lnTo>
                    <a:pt x="163" y="227"/>
                  </a:lnTo>
                  <a:lnTo>
                    <a:pt x="159" y="227"/>
                  </a:lnTo>
                  <a:lnTo>
                    <a:pt x="159" y="231"/>
                  </a:lnTo>
                  <a:lnTo>
                    <a:pt x="159" y="227"/>
                  </a:lnTo>
                  <a:lnTo>
                    <a:pt x="155" y="227"/>
                  </a:lnTo>
                  <a:lnTo>
                    <a:pt x="155" y="231"/>
                  </a:lnTo>
                  <a:lnTo>
                    <a:pt x="151" y="231"/>
                  </a:lnTo>
                  <a:lnTo>
                    <a:pt x="155" y="227"/>
                  </a:lnTo>
                  <a:lnTo>
                    <a:pt x="151" y="227"/>
                  </a:lnTo>
                  <a:lnTo>
                    <a:pt x="147" y="227"/>
                  </a:lnTo>
                  <a:lnTo>
                    <a:pt x="143" y="227"/>
                  </a:lnTo>
                  <a:lnTo>
                    <a:pt x="139" y="231"/>
                  </a:lnTo>
                  <a:lnTo>
                    <a:pt x="135" y="231"/>
                  </a:lnTo>
                  <a:lnTo>
                    <a:pt x="131" y="231"/>
                  </a:lnTo>
                  <a:lnTo>
                    <a:pt x="131" y="227"/>
                  </a:lnTo>
                  <a:lnTo>
                    <a:pt x="127" y="231"/>
                  </a:lnTo>
                  <a:lnTo>
                    <a:pt x="127" y="227"/>
                  </a:lnTo>
                  <a:lnTo>
                    <a:pt x="127" y="231"/>
                  </a:lnTo>
                  <a:lnTo>
                    <a:pt x="123" y="231"/>
                  </a:lnTo>
                  <a:lnTo>
                    <a:pt x="127" y="231"/>
                  </a:lnTo>
                  <a:lnTo>
                    <a:pt x="127" y="235"/>
                  </a:lnTo>
                  <a:lnTo>
                    <a:pt x="123" y="235"/>
                  </a:lnTo>
                  <a:lnTo>
                    <a:pt x="123" y="231"/>
                  </a:lnTo>
                  <a:lnTo>
                    <a:pt x="119" y="231"/>
                  </a:lnTo>
                  <a:lnTo>
                    <a:pt x="119" y="235"/>
                  </a:lnTo>
                  <a:lnTo>
                    <a:pt x="119" y="231"/>
                  </a:lnTo>
                  <a:lnTo>
                    <a:pt x="116" y="231"/>
                  </a:lnTo>
                  <a:lnTo>
                    <a:pt x="119" y="231"/>
                  </a:lnTo>
                  <a:lnTo>
                    <a:pt x="116" y="231"/>
                  </a:lnTo>
                  <a:lnTo>
                    <a:pt x="116" y="235"/>
                  </a:lnTo>
                  <a:lnTo>
                    <a:pt x="112" y="235"/>
                  </a:lnTo>
                  <a:lnTo>
                    <a:pt x="108" y="235"/>
                  </a:lnTo>
                  <a:lnTo>
                    <a:pt x="108" y="231"/>
                  </a:lnTo>
                  <a:lnTo>
                    <a:pt x="112" y="231"/>
                  </a:lnTo>
                  <a:lnTo>
                    <a:pt x="108" y="231"/>
                  </a:lnTo>
                  <a:lnTo>
                    <a:pt x="112" y="231"/>
                  </a:lnTo>
                  <a:lnTo>
                    <a:pt x="112" y="227"/>
                  </a:lnTo>
                  <a:lnTo>
                    <a:pt x="108" y="227"/>
                  </a:lnTo>
                  <a:lnTo>
                    <a:pt x="104" y="227"/>
                  </a:lnTo>
                  <a:lnTo>
                    <a:pt x="100" y="231"/>
                  </a:lnTo>
                  <a:lnTo>
                    <a:pt x="100" y="235"/>
                  </a:lnTo>
                  <a:lnTo>
                    <a:pt x="96" y="231"/>
                  </a:lnTo>
                  <a:lnTo>
                    <a:pt x="92" y="231"/>
                  </a:lnTo>
                  <a:lnTo>
                    <a:pt x="92" y="227"/>
                  </a:lnTo>
                  <a:lnTo>
                    <a:pt x="88" y="231"/>
                  </a:lnTo>
                  <a:lnTo>
                    <a:pt x="92" y="231"/>
                  </a:lnTo>
                  <a:lnTo>
                    <a:pt x="92" y="235"/>
                  </a:lnTo>
                  <a:lnTo>
                    <a:pt x="96" y="235"/>
                  </a:lnTo>
                  <a:lnTo>
                    <a:pt x="100" y="239"/>
                  </a:lnTo>
                  <a:lnTo>
                    <a:pt x="96" y="239"/>
                  </a:lnTo>
                  <a:lnTo>
                    <a:pt x="92" y="239"/>
                  </a:lnTo>
                  <a:lnTo>
                    <a:pt x="88" y="235"/>
                  </a:lnTo>
                  <a:lnTo>
                    <a:pt x="84" y="235"/>
                  </a:lnTo>
                  <a:lnTo>
                    <a:pt x="80" y="235"/>
                  </a:lnTo>
                  <a:lnTo>
                    <a:pt x="76" y="235"/>
                  </a:lnTo>
                  <a:lnTo>
                    <a:pt x="72" y="235"/>
                  </a:lnTo>
                  <a:lnTo>
                    <a:pt x="68" y="235"/>
                  </a:lnTo>
                  <a:lnTo>
                    <a:pt x="68" y="231"/>
                  </a:lnTo>
                  <a:lnTo>
                    <a:pt x="64" y="231"/>
                  </a:lnTo>
                  <a:lnTo>
                    <a:pt x="60" y="231"/>
                  </a:lnTo>
                  <a:lnTo>
                    <a:pt x="60" y="227"/>
                  </a:lnTo>
                  <a:lnTo>
                    <a:pt x="56" y="227"/>
                  </a:lnTo>
                  <a:lnTo>
                    <a:pt x="52" y="227"/>
                  </a:lnTo>
                  <a:lnTo>
                    <a:pt x="52" y="223"/>
                  </a:lnTo>
                  <a:lnTo>
                    <a:pt x="56" y="223"/>
                  </a:lnTo>
                  <a:lnTo>
                    <a:pt x="60" y="223"/>
                  </a:lnTo>
                  <a:lnTo>
                    <a:pt x="64" y="219"/>
                  </a:lnTo>
                  <a:lnTo>
                    <a:pt x="68" y="219"/>
                  </a:lnTo>
                  <a:lnTo>
                    <a:pt x="76" y="219"/>
                  </a:lnTo>
                  <a:lnTo>
                    <a:pt x="76" y="215"/>
                  </a:lnTo>
                  <a:lnTo>
                    <a:pt x="72" y="215"/>
                  </a:lnTo>
                  <a:lnTo>
                    <a:pt x="68" y="215"/>
                  </a:lnTo>
                  <a:lnTo>
                    <a:pt x="68" y="219"/>
                  </a:lnTo>
                  <a:lnTo>
                    <a:pt x="64" y="219"/>
                  </a:lnTo>
                  <a:lnTo>
                    <a:pt x="64" y="215"/>
                  </a:lnTo>
                  <a:lnTo>
                    <a:pt x="60" y="215"/>
                  </a:lnTo>
                  <a:lnTo>
                    <a:pt x="56" y="215"/>
                  </a:lnTo>
                  <a:lnTo>
                    <a:pt x="52" y="215"/>
                  </a:lnTo>
                  <a:lnTo>
                    <a:pt x="48" y="215"/>
                  </a:lnTo>
                  <a:lnTo>
                    <a:pt x="44" y="215"/>
                  </a:lnTo>
                  <a:lnTo>
                    <a:pt x="44" y="211"/>
                  </a:lnTo>
                  <a:lnTo>
                    <a:pt x="48" y="211"/>
                  </a:lnTo>
                  <a:lnTo>
                    <a:pt x="48" y="207"/>
                  </a:lnTo>
                  <a:lnTo>
                    <a:pt x="52" y="207"/>
                  </a:lnTo>
                  <a:lnTo>
                    <a:pt x="48" y="207"/>
                  </a:lnTo>
                  <a:lnTo>
                    <a:pt x="44" y="211"/>
                  </a:lnTo>
                  <a:lnTo>
                    <a:pt x="40" y="211"/>
                  </a:lnTo>
                  <a:lnTo>
                    <a:pt x="40" y="215"/>
                  </a:lnTo>
                  <a:lnTo>
                    <a:pt x="36" y="215"/>
                  </a:lnTo>
                  <a:lnTo>
                    <a:pt x="36" y="211"/>
                  </a:lnTo>
                  <a:lnTo>
                    <a:pt x="32" y="211"/>
                  </a:lnTo>
                  <a:lnTo>
                    <a:pt x="36" y="207"/>
                  </a:lnTo>
                  <a:lnTo>
                    <a:pt x="32" y="211"/>
                  </a:lnTo>
                  <a:lnTo>
                    <a:pt x="32" y="207"/>
                  </a:lnTo>
                  <a:lnTo>
                    <a:pt x="28" y="207"/>
                  </a:lnTo>
                  <a:lnTo>
                    <a:pt x="24" y="207"/>
                  </a:lnTo>
                  <a:lnTo>
                    <a:pt x="24" y="203"/>
                  </a:lnTo>
                  <a:lnTo>
                    <a:pt x="28" y="203"/>
                  </a:lnTo>
                  <a:lnTo>
                    <a:pt x="32" y="203"/>
                  </a:lnTo>
                  <a:lnTo>
                    <a:pt x="36" y="199"/>
                  </a:lnTo>
                  <a:lnTo>
                    <a:pt x="40" y="199"/>
                  </a:lnTo>
                  <a:lnTo>
                    <a:pt x="44" y="199"/>
                  </a:lnTo>
                  <a:lnTo>
                    <a:pt x="48" y="199"/>
                  </a:lnTo>
                  <a:lnTo>
                    <a:pt x="52" y="199"/>
                  </a:lnTo>
                  <a:lnTo>
                    <a:pt x="56" y="199"/>
                  </a:lnTo>
                  <a:lnTo>
                    <a:pt x="60" y="199"/>
                  </a:lnTo>
                  <a:lnTo>
                    <a:pt x="60" y="203"/>
                  </a:lnTo>
                  <a:lnTo>
                    <a:pt x="64" y="203"/>
                  </a:lnTo>
                  <a:lnTo>
                    <a:pt x="68" y="203"/>
                  </a:lnTo>
                  <a:lnTo>
                    <a:pt x="72" y="203"/>
                  </a:lnTo>
                  <a:lnTo>
                    <a:pt x="76" y="203"/>
                  </a:lnTo>
                  <a:lnTo>
                    <a:pt x="76" y="199"/>
                  </a:lnTo>
                  <a:lnTo>
                    <a:pt x="80" y="199"/>
                  </a:lnTo>
                  <a:lnTo>
                    <a:pt x="80" y="203"/>
                  </a:lnTo>
                  <a:lnTo>
                    <a:pt x="84" y="203"/>
                  </a:lnTo>
                  <a:lnTo>
                    <a:pt x="88" y="203"/>
                  </a:lnTo>
                  <a:lnTo>
                    <a:pt x="92" y="203"/>
                  </a:lnTo>
                  <a:lnTo>
                    <a:pt x="96" y="203"/>
                  </a:lnTo>
                  <a:lnTo>
                    <a:pt x="100" y="203"/>
                  </a:lnTo>
                  <a:lnTo>
                    <a:pt x="104" y="203"/>
                  </a:lnTo>
                  <a:lnTo>
                    <a:pt x="104" y="199"/>
                  </a:lnTo>
                  <a:lnTo>
                    <a:pt x="100" y="203"/>
                  </a:lnTo>
                  <a:lnTo>
                    <a:pt x="96" y="203"/>
                  </a:lnTo>
                  <a:lnTo>
                    <a:pt x="92" y="203"/>
                  </a:lnTo>
                  <a:lnTo>
                    <a:pt x="88" y="203"/>
                  </a:lnTo>
                  <a:lnTo>
                    <a:pt x="84" y="203"/>
                  </a:lnTo>
                  <a:lnTo>
                    <a:pt x="84" y="199"/>
                  </a:lnTo>
                  <a:lnTo>
                    <a:pt x="80" y="199"/>
                  </a:lnTo>
                  <a:lnTo>
                    <a:pt x="76" y="199"/>
                  </a:lnTo>
                  <a:lnTo>
                    <a:pt x="72" y="199"/>
                  </a:lnTo>
                  <a:lnTo>
                    <a:pt x="68" y="199"/>
                  </a:lnTo>
                  <a:lnTo>
                    <a:pt x="64" y="199"/>
                  </a:lnTo>
                  <a:lnTo>
                    <a:pt x="60" y="199"/>
                  </a:lnTo>
                  <a:lnTo>
                    <a:pt x="64" y="199"/>
                  </a:lnTo>
                  <a:lnTo>
                    <a:pt x="68" y="195"/>
                  </a:lnTo>
                  <a:lnTo>
                    <a:pt x="72" y="195"/>
                  </a:lnTo>
                  <a:lnTo>
                    <a:pt x="76" y="195"/>
                  </a:lnTo>
                  <a:lnTo>
                    <a:pt x="80" y="195"/>
                  </a:lnTo>
                  <a:lnTo>
                    <a:pt x="84" y="195"/>
                  </a:lnTo>
                  <a:lnTo>
                    <a:pt x="88" y="195"/>
                  </a:lnTo>
                  <a:lnTo>
                    <a:pt x="92" y="195"/>
                  </a:lnTo>
                  <a:lnTo>
                    <a:pt x="96" y="195"/>
                  </a:lnTo>
                  <a:lnTo>
                    <a:pt x="96" y="199"/>
                  </a:lnTo>
                  <a:lnTo>
                    <a:pt x="100" y="199"/>
                  </a:lnTo>
                  <a:lnTo>
                    <a:pt x="104" y="199"/>
                  </a:lnTo>
                  <a:lnTo>
                    <a:pt x="100" y="199"/>
                  </a:lnTo>
                  <a:lnTo>
                    <a:pt x="96" y="195"/>
                  </a:lnTo>
                  <a:lnTo>
                    <a:pt x="100" y="195"/>
                  </a:lnTo>
                  <a:lnTo>
                    <a:pt x="104" y="195"/>
                  </a:lnTo>
                  <a:lnTo>
                    <a:pt x="104" y="191"/>
                  </a:lnTo>
                  <a:lnTo>
                    <a:pt x="104" y="187"/>
                  </a:lnTo>
                  <a:lnTo>
                    <a:pt x="100" y="187"/>
                  </a:lnTo>
                  <a:lnTo>
                    <a:pt x="96" y="187"/>
                  </a:lnTo>
                  <a:lnTo>
                    <a:pt x="92" y="187"/>
                  </a:lnTo>
                  <a:lnTo>
                    <a:pt x="88" y="187"/>
                  </a:lnTo>
                  <a:lnTo>
                    <a:pt x="88" y="191"/>
                  </a:lnTo>
                  <a:lnTo>
                    <a:pt x="84" y="191"/>
                  </a:lnTo>
                  <a:lnTo>
                    <a:pt x="80" y="191"/>
                  </a:lnTo>
                  <a:lnTo>
                    <a:pt x="76" y="191"/>
                  </a:lnTo>
                  <a:lnTo>
                    <a:pt x="72" y="191"/>
                  </a:lnTo>
                  <a:lnTo>
                    <a:pt x="68" y="191"/>
                  </a:lnTo>
                  <a:lnTo>
                    <a:pt x="72" y="191"/>
                  </a:lnTo>
                  <a:lnTo>
                    <a:pt x="68" y="191"/>
                  </a:lnTo>
                  <a:lnTo>
                    <a:pt x="68" y="187"/>
                  </a:lnTo>
                  <a:lnTo>
                    <a:pt x="64" y="187"/>
                  </a:lnTo>
                  <a:lnTo>
                    <a:pt x="64" y="191"/>
                  </a:lnTo>
                  <a:lnTo>
                    <a:pt x="68" y="191"/>
                  </a:lnTo>
                  <a:lnTo>
                    <a:pt x="64" y="191"/>
                  </a:lnTo>
                  <a:lnTo>
                    <a:pt x="60" y="191"/>
                  </a:lnTo>
                  <a:lnTo>
                    <a:pt x="60" y="195"/>
                  </a:lnTo>
                  <a:lnTo>
                    <a:pt x="56" y="195"/>
                  </a:lnTo>
                  <a:lnTo>
                    <a:pt x="56" y="191"/>
                  </a:lnTo>
                  <a:lnTo>
                    <a:pt x="52" y="191"/>
                  </a:lnTo>
                  <a:lnTo>
                    <a:pt x="48" y="191"/>
                  </a:lnTo>
                  <a:lnTo>
                    <a:pt x="44" y="191"/>
                  </a:lnTo>
                  <a:lnTo>
                    <a:pt x="40" y="191"/>
                  </a:lnTo>
                  <a:lnTo>
                    <a:pt x="44" y="187"/>
                  </a:lnTo>
                  <a:lnTo>
                    <a:pt x="48" y="187"/>
                  </a:lnTo>
                  <a:lnTo>
                    <a:pt x="52" y="187"/>
                  </a:lnTo>
                  <a:lnTo>
                    <a:pt x="52" y="184"/>
                  </a:lnTo>
                  <a:lnTo>
                    <a:pt x="52" y="187"/>
                  </a:lnTo>
                  <a:lnTo>
                    <a:pt x="48" y="187"/>
                  </a:lnTo>
                  <a:lnTo>
                    <a:pt x="44" y="187"/>
                  </a:lnTo>
                  <a:lnTo>
                    <a:pt x="40" y="187"/>
                  </a:lnTo>
                  <a:lnTo>
                    <a:pt x="36" y="187"/>
                  </a:lnTo>
                  <a:lnTo>
                    <a:pt x="36" y="184"/>
                  </a:lnTo>
                  <a:lnTo>
                    <a:pt x="40" y="184"/>
                  </a:lnTo>
                  <a:lnTo>
                    <a:pt x="44" y="184"/>
                  </a:lnTo>
                  <a:lnTo>
                    <a:pt x="40" y="184"/>
                  </a:lnTo>
                  <a:lnTo>
                    <a:pt x="36" y="184"/>
                  </a:lnTo>
                  <a:lnTo>
                    <a:pt x="32" y="184"/>
                  </a:lnTo>
                  <a:lnTo>
                    <a:pt x="28" y="184"/>
                  </a:lnTo>
                  <a:lnTo>
                    <a:pt x="24" y="184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4" y="180"/>
                  </a:lnTo>
                  <a:lnTo>
                    <a:pt x="24" y="184"/>
                  </a:lnTo>
                  <a:lnTo>
                    <a:pt x="20" y="184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2" y="180"/>
                  </a:lnTo>
                  <a:lnTo>
                    <a:pt x="8" y="176"/>
                  </a:lnTo>
                  <a:lnTo>
                    <a:pt x="12" y="176"/>
                  </a:lnTo>
                  <a:lnTo>
                    <a:pt x="8" y="176"/>
                  </a:lnTo>
                  <a:lnTo>
                    <a:pt x="4" y="176"/>
                  </a:lnTo>
                  <a:lnTo>
                    <a:pt x="0" y="172"/>
                  </a:lnTo>
                  <a:lnTo>
                    <a:pt x="4" y="172"/>
                  </a:lnTo>
                  <a:lnTo>
                    <a:pt x="4" y="168"/>
                  </a:lnTo>
                  <a:lnTo>
                    <a:pt x="8" y="168"/>
                  </a:lnTo>
                  <a:lnTo>
                    <a:pt x="4" y="168"/>
                  </a:lnTo>
                  <a:lnTo>
                    <a:pt x="4" y="164"/>
                  </a:lnTo>
                  <a:lnTo>
                    <a:pt x="8" y="164"/>
                  </a:lnTo>
                  <a:lnTo>
                    <a:pt x="4" y="164"/>
                  </a:lnTo>
                  <a:lnTo>
                    <a:pt x="8" y="160"/>
                  </a:lnTo>
                  <a:lnTo>
                    <a:pt x="12" y="160"/>
                  </a:lnTo>
                  <a:lnTo>
                    <a:pt x="16" y="160"/>
                  </a:lnTo>
                  <a:lnTo>
                    <a:pt x="20" y="160"/>
                  </a:lnTo>
                  <a:lnTo>
                    <a:pt x="24" y="160"/>
                  </a:lnTo>
                  <a:lnTo>
                    <a:pt x="28" y="160"/>
                  </a:lnTo>
                  <a:lnTo>
                    <a:pt x="32" y="160"/>
                  </a:lnTo>
                  <a:lnTo>
                    <a:pt x="32" y="156"/>
                  </a:lnTo>
                  <a:lnTo>
                    <a:pt x="36" y="156"/>
                  </a:lnTo>
                  <a:lnTo>
                    <a:pt x="40" y="156"/>
                  </a:lnTo>
                  <a:lnTo>
                    <a:pt x="44" y="156"/>
                  </a:lnTo>
                  <a:lnTo>
                    <a:pt x="48" y="156"/>
                  </a:lnTo>
                  <a:lnTo>
                    <a:pt x="44" y="156"/>
                  </a:lnTo>
                  <a:lnTo>
                    <a:pt x="44" y="152"/>
                  </a:lnTo>
                  <a:lnTo>
                    <a:pt x="48" y="152"/>
                  </a:lnTo>
                  <a:lnTo>
                    <a:pt x="52" y="152"/>
                  </a:lnTo>
                  <a:lnTo>
                    <a:pt x="56" y="152"/>
                  </a:lnTo>
                  <a:lnTo>
                    <a:pt x="60" y="152"/>
                  </a:lnTo>
                  <a:lnTo>
                    <a:pt x="64" y="152"/>
                  </a:lnTo>
                  <a:lnTo>
                    <a:pt x="60" y="152"/>
                  </a:lnTo>
                  <a:lnTo>
                    <a:pt x="60" y="148"/>
                  </a:lnTo>
                  <a:lnTo>
                    <a:pt x="64" y="148"/>
                  </a:lnTo>
                  <a:lnTo>
                    <a:pt x="72" y="144"/>
                  </a:lnTo>
                  <a:lnTo>
                    <a:pt x="76" y="144"/>
                  </a:lnTo>
                  <a:lnTo>
                    <a:pt x="80" y="148"/>
                  </a:lnTo>
                  <a:lnTo>
                    <a:pt x="80" y="144"/>
                  </a:lnTo>
                  <a:lnTo>
                    <a:pt x="84" y="144"/>
                  </a:lnTo>
                  <a:lnTo>
                    <a:pt x="88" y="144"/>
                  </a:lnTo>
                  <a:lnTo>
                    <a:pt x="92" y="144"/>
                  </a:lnTo>
                  <a:lnTo>
                    <a:pt x="96" y="144"/>
                  </a:lnTo>
                  <a:lnTo>
                    <a:pt x="100" y="144"/>
                  </a:lnTo>
                  <a:lnTo>
                    <a:pt x="104" y="144"/>
                  </a:lnTo>
                  <a:lnTo>
                    <a:pt x="108" y="144"/>
                  </a:lnTo>
                  <a:lnTo>
                    <a:pt x="112" y="140"/>
                  </a:lnTo>
                  <a:lnTo>
                    <a:pt x="116" y="136"/>
                  </a:lnTo>
                  <a:lnTo>
                    <a:pt x="119" y="136"/>
                  </a:lnTo>
                  <a:lnTo>
                    <a:pt x="119" y="132"/>
                  </a:lnTo>
                  <a:lnTo>
                    <a:pt x="123" y="132"/>
                  </a:lnTo>
                  <a:lnTo>
                    <a:pt x="123" y="128"/>
                  </a:lnTo>
                  <a:lnTo>
                    <a:pt x="119" y="128"/>
                  </a:lnTo>
                  <a:lnTo>
                    <a:pt x="119" y="124"/>
                  </a:lnTo>
                  <a:lnTo>
                    <a:pt x="119" y="120"/>
                  </a:lnTo>
                  <a:lnTo>
                    <a:pt x="119" y="116"/>
                  </a:lnTo>
                  <a:lnTo>
                    <a:pt x="123" y="116"/>
                  </a:lnTo>
                  <a:lnTo>
                    <a:pt x="131" y="116"/>
                  </a:lnTo>
                  <a:lnTo>
                    <a:pt x="131" y="112"/>
                  </a:lnTo>
                  <a:lnTo>
                    <a:pt x="135" y="112"/>
                  </a:lnTo>
                  <a:lnTo>
                    <a:pt x="139" y="112"/>
                  </a:lnTo>
                  <a:lnTo>
                    <a:pt x="135" y="112"/>
                  </a:lnTo>
                  <a:lnTo>
                    <a:pt x="131" y="112"/>
                  </a:lnTo>
                  <a:lnTo>
                    <a:pt x="131" y="108"/>
                  </a:lnTo>
                  <a:lnTo>
                    <a:pt x="131" y="112"/>
                  </a:lnTo>
                  <a:lnTo>
                    <a:pt x="127" y="112"/>
                  </a:lnTo>
                  <a:lnTo>
                    <a:pt x="123" y="112"/>
                  </a:lnTo>
                  <a:lnTo>
                    <a:pt x="123" y="116"/>
                  </a:lnTo>
                  <a:lnTo>
                    <a:pt x="119" y="116"/>
                  </a:lnTo>
                  <a:lnTo>
                    <a:pt x="119" y="112"/>
                  </a:lnTo>
                  <a:lnTo>
                    <a:pt x="116" y="112"/>
                  </a:lnTo>
                  <a:lnTo>
                    <a:pt x="116" y="116"/>
                  </a:lnTo>
                  <a:lnTo>
                    <a:pt x="112" y="116"/>
                  </a:lnTo>
                  <a:lnTo>
                    <a:pt x="108" y="116"/>
                  </a:lnTo>
                  <a:lnTo>
                    <a:pt x="104" y="116"/>
                  </a:lnTo>
                  <a:lnTo>
                    <a:pt x="104" y="112"/>
                  </a:lnTo>
                  <a:lnTo>
                    <a:pt x="100" y="112"/>
                  </a:lnTo>
                  <a:lnTo>
                    <a:pt x="96" y="112"/>
                  </a:lnTo>
                  <a:lnTo>
                    <a:pt x="96" y="116"/>
                  </a:lnTo>
                  <a:lnTo>
                    <a:pt x="92" y="116"/>
                  </a:lnTo>
                  <a:lnTo>
                    <a:pt x="88" y="116"/>
                  </a:lnTo>
                  <a:lnTo>
                    <a:pt x="88" y="112"/>
                  </a:lnTo>
                  <a:lnTo>
                    <a:pt x="84" y="112"/>
                  </a:lnTo>
                  <a:lnTo>
                    <a:pt x="84" y="108"/>
                  </a:lnTo>
                  <a:lnTo>
                    <a:pt x="84" y="104"/>
                  </a:lnTo>
                  <a:lnTo>
                    <a:pt x="88" y="104"/>
                  </a:lnTo>
                  <a:lnTo>
                    <a:pt x="92" y="104"/>
                  </a:lnTo>
                  <a:lnTo>
                    <a:pt x="96" y="100"/>
                  </a:lnTo>
                  <a:lnTo>
                    <a:pt x="100" y="100"/>
                  </a:lnTo>
                  <a:lnTo>
                    <a:pt x="100" y="96"/>
                  </a:lnTo>
                  <a:lnTo>
                    <a:pt x="104" y="96"/>
                  </a:lnTo>
                  <a:lnTo>
                    <a:pt x="108" y="96"/>
                  </a:lnTo>
                  <a:lnTo>
                    <a:pt x="112" y="96"/>
                  </a:lnTo>
                  <a:lnTo>
                    <a:pt x="112" y="92"/>
                  </a:lnTo>
                  <a:lnTo>
                    <a:pt x="116" y="92"/>
                  </a:lnTo>
                  <a:lnTo>
                    <a:pt x="119" y="92"/>
                  </a:lnTo>
                  <a:lnTo>
                    <a:pt x="119" y="88"/>
                  </a:lnTo>
                  <a:lnTo>
                    <a:pt x="123" y="88"/>
                  </a:lnTo>
                  <a:lnTo>
                    <a:pt x="123" y="84"/>
                  </a:lnTo>
                  <a:lnTo>
                    <a:pt x="127" y="84"/>
                  </a:lnTo>
                  <a:lnTo>
                    <a:pt x="131" y="84"/>
                  </a:lnTo>
                  <a:lnTo>
                    <a:pt x="135" y="84"/>
                  </a:lnTo>
                  <a:lnTo>
                    <a:pt x="139" y="84"/>
                  </a:lnTo>
                  <a:lnTo>
                    <a:pt x="139" y="80"/>
                  </a:lnTo>
                  <a:lnTo>
                    <a:pt x="143" y="80"/>
                  </a:lnTo>
                  <a:lnTo>
                    <a:pt x="143" y="84"/>
                  </a:lnTo>
                  <a:lnTo>
                    <a:pt x="147" y="88"/>
                  </a:lnTo>
                  <a:lnTo>
                    <a:pt x="151" y="92"/>
                  </a:lnTo>
                  <a:lnTo>
                    <a:pt x="155" y="92"/>
                  </a:lnTo>
                  <a:lnTo>
                    <a:pt x="151" y="92"/>
                  </a:lnTo>
                  <a:lnTo>
                    <a:pt x="151" y="88"/>
                  </a:lnTo>
                  <a:lnTo>
                    <a:pt x="147" y="88"/>
                  </a:lnTo>
                  <a:lnTo>
                    <a:pt x="147" y="84"/>
                  </a:lnTo>
                  <a:lnTo>
                    <a:pt x="147" y="80"/>
                  </a:lnTo>
                  <a:lnTo>
                    <a:pt x="151" y="76"/>
                  </a:lnTo>
                  <a:lnTo>
                    <a:pt x="155" y="76"/>
                  </a:lnTo>
                  <a:lnTo>
                    <a:pt x="155" y="80"/>
                  </a:lnTo>
                  <a:lnTo>
                    <a:pt x="159" y="80"/>
                  </a:lnTo>
                  <a:lnTo>
                    <a:pt x="163" y="80"/>
                  </a:lnTo>
                  <a:lnTo>
                    <a:pt x="167" y="80"/>
                  </a:lnTo>
                  <a:lnTo>
                    <a:pt x="171" y="84"/>
                  </a:lnTo>
                  <a:lnTo>
                    <a:pt x="175" y="84"/>
                  </a:lnTo>
                  <a:lnTo>
                    <a:pt x="175" y="80"/>
                  </a:lnTo>
                  <a:lnTo>
                    <a:pt x="179" y="80"/>
                  </a:lnTo>
                  <a:lnTo>
                    <a:pt x="183" y="80"/>
                  </a:lnTo>
                  <a:lnTo>
                    <a:pt x="179" y="80"/>
                  </a:lnTo>
                  <a:lnTo>
                    <a:pt x="179" y="76"/>
                  </a:lnTo>
                  <a:lnTo>
                    <a:pt x="175" y="72"/>
                  </a:lnTo>
                  <a:lnTo>
                    <a:pt x="179" y="72"/>
                  </a:lnTo>
                  <a:lnTo>
                    <a:pt x="183" y="72"/>
                  </a:lnTo>
                  <a:lnTo>
                    <a:pt x="183" y="68"/>
                  </a:lnTo>
                  <a:lnTo>
                    <a:pt x="179" y="68"/>
                  </a:lnTo>
                  <a:lnTo>
                    <a:pt x="179" y="64"/>
                  </a:lnTo>
                  <a:lnTo>
                    <a:pt x="175" y="64"/>
                  </a:lnTo>
                  <a:lnTo>
                    <a:pt x="175" y="60"/>
                  </a:lnTo>
                  <a:lnTo>
                    <a:pt x="179" y="60"/>
                  </a:lnTo>
                  <a:lnTo>
                    <a:pt x="183" y="56"/>
                  </a:lnTo>
                  <a:lnTo>
                    <a:pt x="187" y="56"/>
                  </a:lnTo>
                  <a:lnTo>
                    <a:pt x="191" y="56"/>
                  </a:lnTo>
                  <a:lnTo>
                    <a:pt x="195" y="56"/>
                  </a:lnTo>
                  <a:lnTo>
                    <a:pt x="199" y="56"/>
                  </a:lnTo>
                  <a:lnTo>
                    <a:pt x="203" y="56"/>
                  </a:lnTo>
                  <a:lnTo>
                    <a:pt x="207" y="56"/>
                  </a:lnTo>
                  <a:lnTo>
                    <a:pt x="211" y="56"/>
                  </a:lnTo>
                  <a:lnTo>
                    <a:pt x="215" y="56"/>
                  </a:lnTo>
                  <a:lnTo>
                    <a:pt x="215" y="60"/>
                  </a:lnTo>
                  <a:lnTo>
                    <a:pt x="215" y="64"/>
                  </a:lnTo>
                  <a:lnTo>
                    <a:pt x="219" y="64"/>
                  </a:lnTo>
                  <a:lnTo>
                    <a:pt x="227" y="64"/>
                  </a:lnTo>
                  <a:lnTo>
                    <a:pt x="227" y="68"/>
                  </a:lnTo>
                  <a:lnTo>
                    <a:pt x="231" y="68"/>
                  </a:lnTo>
                  <a:lnTo>
                    <a:pt x="231" y="64"/>
                  </a:lnTo>
                  <a:lnTo>
                    <a:pt x="231" y="68"/>
                  </a:lnTo>
                  <a:lnTo>
                    <a:pt x="235" y="68"/>
                  </a:lnTo>
                  <a:lnTo>
                    <a:pt x="239" y="68"/>
                  </a:lnTo>
                  <a:lnTo>
                    <a:pt x="239" y="72"/>
                  </a:lnTo>
                  <a:lnTo>
                    <a:pt x="243" y="72"/>
                  </a:lnTo>
                  <a:lnTo>
                    <a:pt x="247" y="72"/>
                  </a:lnTo>
                  <a:lnTo>
                    <a:pt x="247" y="76"/>
                  </a:lnTo>
                  <a:lnTo>
                    <a:pt x="251" y="76"/>
                  </a:lnTo>
                  <a:lnTo>
                    <a:pt x="251" y="72"/>
                  </a:lnTo>
                  <a:lnTo>
                    <a:pt x="247" y="72"/>
                  </a:lnTo>
                  <a:lnTo>
                    <a:pt x="243" y="72"/>
                  </a:lnTo>
                  <a:lnTo>
                    <a:pt x="239" y="72"/>
                  </a:lnTo>
                  <a:lnTo>
                    <a:pt x="239" y="68"/>
                  </a:lnTo>
                  <a:lnTo>
                    <a:pt x="235" y="68"/>
                  </a:lnTo>
                  <a:lnTo>
                    <a:pt x="231" y="64"/>
                  </a:lnTo>
                  <a:lnTo>
                    <a:pt x="227" y="64"/>
                  </a:lnTo>
                  <a:lnTo>
                    <a:pt x="223" y="64"/>
                  </a:lnTo>
                  <a:lnTo>
                    <a:pt x="223" y="60"/>
                  </a:lnTo>
                  <a:lnTo>
                    <a:pt x="219" y="56"/>
                  </a:lnTo>
                  <a:lnTo>
                    <a:pt x="215" y="56"/>
                  </a:lnTo>
                  <a:lnTo>
                    <a:pt x="211" y="56"/>
                  </a:lnTo>
                  <a:lnTo>
                    <a:pt x="207" y="56"/>
                  </a:lnTo>
                  <a:lnTo>
                    <a:pt x="207" y="52"/>
                  </a:lnTo>
                  <a:lnTo>
                    <a:pt x="203" y="52"/>
                  </a:lnTo>
                  <a:lnTo>
                    <a:pt x="207" y="52"/>
                  </a:lnTo>
                  <a:lnTo>
                    <a:pt x="211" y="52"/>
                  </a:lnTo>
                  <a:lnTo>
                    <a:pt x="215" y="48"/>
                  </a:lnTo>
                  <a:lnTo>
                    <a:pt x="219" y="48"/>
                  </a:lnTo>
                  <a:lnTo>
                    <a:pt x="223" y="48"/>
                  </a:lnTo>
                  <a:lnTo>
                    <a:pt x="227" y="48"/>
                  </a:lnTo>
                  <a:lnTo>
                    <a:pt x="231" y="48"/>
                  </a:lnTo>
                  <a:lnTo>
                    <a:pt x="235" y="48"/>
                  </a:lnTo>
                  <a:lnTo>
                    <a:pt x="239" y="48"/>
                  </a:lnTo>
                  <a:lnTo>
                    <a:pt x="243" y="48"/>
                  </a:lnTo>
                  <a:lnTo>
                    <a:pt x="247" y="44"/>
                  </a:lnTo>
                  <a:lnTo>
                    <a:pt x="251" y="44"/>
                  </a:lnTo>
                  <a:lnTo>
                    <a:pt x="251" y="48"/>
                  </a:lnTo>
                  <a:lnTo>
                    <a:pt x="255" y="48"/>
                  </a:lnTo>
                  <a:lnTo>
                    <a:pt x="255" y="44"/>
                  </a:lnTo>
                  <a:lnTo>
                    <a:pt x="259" y="44"/>
                  </a:lnTo>
                  <a:lnTo>
                    <a:pt x="263" y="44"/>
                  </a:lnTo>
                  <a:lnTo>
                    <a:pt x="267" y="44"/>
                  </a:lnTo>
                  <a:lnTo>
                    <a:pt x="267" y="48"/>
                  </a:lnTo>
                  <a:lnTo>
                    <a:pt x="271" y="48"/>
                  </a:lnTo>
                  <a:lnTo>
                    <a:pt x="271" y="44"/>
                  </a:lnTo>
                  <a:lnTo>
                    <a:pt x="267" y="44"/>
                  </a:lnTo>
                  <a:lnTo>
                    <a:pt x="263" y="44"/>
                  </a:lnTo>
                  <a:lnTo>
                    <a:pt x="271" y="44"/>
                  </a:lnTo>
                  <a:lnTo>
                    <a:pt x="275" y="40"/>
                  </a:lnTo>
                  <a:lnTo>
                    <a:pt x="279" y="40"/>
                  </a:lnTo>
                  <a:lnTo>
                    <a:pt x="283" y="40"/>
                  </a:lnTo>
                  <a:lnTo>
                    <a:pt x="287" y="44"/>
                  </a:lnTo>
                  <a:lnTo>
                    <a:pt x="291" y="44"/>
                  </a:lnTo>
                  <a:lnTo>
                    <a:pt x="295" y="48"/>
                  </a:lnTo>
                  <a:lnTo>
                    <a:pt x="295" y="56"/>
                  </a:lnTo>
                  <a:lnTo>
                    <a:pt x="295" y="60"/>
                  </a:lnTo>
                  <a:lnTo>
                    <a:pt x="291" y="60"/>
                  </a:lnTo>
                  <a:lnTo>
                    <a:pt x="291" y="64"/>
                  </a:lnTo>
                  <a:lnTo>
                    <a:pt x="291" y="68"/>
                  </a:lnTo>
                  <a:lnTo>
                    <a:pt x="295" y="68"/>
                  </a:lnTo>
                  <a:lnTo>
                    <a:pt x="295" y="64"/>
                  </a:lnTo>
                  <a:lnTo>
                    <a:pt x="299" y="60"/>
                  </a:lnTo>
                  <a:lnTo>
                    <a:pt x="303" y="60"/>
                  </a:lnTo>
                  <a:lnTo>
                    <a:pt x="303" y="56"/>
                  </a:lnTo>
                  <a:lnTo>
                    <a:pt x="303" y="52"/>
                  </a:lnTo>
                  <a:lnTo>
                    <a:pt x="307" y="52"/>
                  </a:lnTo>
                  <a:lnTo>
                    <a:pt x="311" y="52"/>
                  </a:lnTo>
                  <a:lnTo>
                    <a:pt x="319" y="56"/>
                  </a:lnTo>
                  <a:lnTo>
                    <a:pt x="323" y="56"/>
                  </a:lnTo>
                  <a:lnTo>
                    <a:pt x="327" y="56"/>
                  </a:lnTo>
                  <a:lnTo>
                    <a:pt x="331" y="56"/>
                  </a:lnTo>
                  <a:lnTo>
                    <a:pt x="335" y="60"/>
                  </a:lnTo>
                  <a:lnTo>
                    <a:pt x="339" y="60"/>
                  </a:lnTo>
                  <a:lnTo>
                    <a:pt x="343" y="60"/>
                  </a:lnTo>
                  <a:lnTo>
                    <a:pt x="343" y="64"/>
                  </a:lnTo>
                  <a:lnTo>
                    <a:pt x="347" y="64"/>
                  </a:lnTo>
                  <a:lnTo>
                    <a:pt x="351" y="64"/>
                  </a:lnTo>
                  <a:lnTo>
                    <a:pt x="355" y="64"/>
                  </a:lnTo>
                  <a:lnTo>
                    <a:pt x="351" y="64"/>
                  </a:lnTo>
                  <a:lnTo>
                    <a:pt x="347" y="60"/>
                  </a:lnTo>
                  <a:lnTo>
                    <a:pt x="343" y="60"/>
                  </a:lnTo>
                  <a:lnTo>
                    <a:pt x="339" y="60"/>
                  </a:lnTo>
                  <a:lnTo>
                    <a:pt x="339" y="56"/>
                  </a:lnTo>
                  <a:lnTo>
                    <a:pt x="335" y="56"/>
                  </a:lnTo>
                  <a:lnTo>
                    <a:pt x="331" y="56"/>
                  </a:lnTo>
                  <a:lnTo>
                    <a:pt x="335" y="56"/>
                  </a:lnTo>
                  <a:lnTo>
                    <a:pt x="339" y="56"/>
                  </a:lnTo>
                  <a:lnTo>
                    <a:pt x="343" y="56"/>
                  </a:lnTo>
                  <a:lnTo>
                    <a:pt x="347" y="56"/>
                  </a:lnTo>
                  <a:lnTo>
                    <a:pt x="351" y="56"/>
                  </a:lnTo>
                  <a:lnTo>
                    <a:pt x="355" y="56"/>
                  </a:lnTo>
                  <a:lnTo>
                    <a:pt x="351" y="52"/>
                  </a:lnTo>
                  <a:lnTo>
                    <a:pt x="347" y="52"/>
                  </a:lnTo>
                  <a:lnTo>
                    <a:pt x="343" y="52"/>
                  </a:lnTo>
                  <a:lnTo>
                    <a:pt x="343" y="48"/>
                  </a:lnTo>
                  <a:lnTo>
                    <a:pt x="339" y="48"/>
                  </a:lnTo>
                  <a:lnTo>
                    <a:pt x="335" y="48"/>
                  </a:lnTo>
                  <a:lnTo>
                    <a:pt x="335" y="44"/>
                  </a:lnTo>
                  <a:lnTo>
                    <a:pt x="335" y="40"/>
                  </a:lnTo>
                  <a:lnTo>
                    <a:pt x="331" y="40"/>
                  </a:lnTo>
                  <a:lnTo>
                    <a:pt x="331" y="36"/>
                  </a:lnTo>
                  <a:lnTo>
                    <a:pt x="335" y="36"/>
                  </a:lnTo>
                  <a:lnTo>
                    <a:pt x="339" y="36"/>
                  </a:lnTo>
                  <a:lnTo>
                    <a:pt x="343" y="36"/>
                  </a:lnTo>
                  <a:lnTo>
                    <a:pt x="347" y="36"/>
                  </a:lnTo>
                  <a:lnTo>
                    <a:pt x="351" y="36"/>
                  </a:lnTo>
                  <a:lnTo>
                    <a:pt x="355" y="36"/>
                  </a:lnTo>
                  <a:lnTo>
                    <a:pt x="359" y="36"/>
                  </a:lnTo>
                  <a:lnTo>
                    <a:pt x="363" y="36"/>
                  </a:lnTo>
                  <a:lnTo>
                    <a:pt x="363" y="40"/>
                  </a:lnTo>
                  <a:lnTo>
                    <a:pt x="367" y="40"/>
                  </a:lnTo>
                  <a:lnTo>
                    <a:pt x="371" y="40"/>
                  </a:lnTo>
                  <a:lnTo>
                    <a:pt x="371" y="44"/>
                  </a:lnTo>
                  <a:lnTo>
                    <a:pt x="375" y="44"/>
                  </a:lnTo>
                  <a:lnTo>
                    <a:pt x="379" y="44"/>
                  </a:lnTo>
                  <a:lnTo>
                    <a:pt x="383" y="44"/>
                  </a:lnTo>
                  <a:lnTo>
                    <a:pt x="387" y="44"/>
                  </a:lnTo>
                  <a:lnTo>
                    <a:pt x="387" y="48"/>
                  </a:lnTo>
                  <a:lnTo>
                    <a:pt x="391" y="48"/>
                  </a:lnTo>
                  <a:lnTo>
                    <a:pt x="395" y="48"/>
                  </a:lnTo>
                  <a:lnTo>
                    <a:pt x="399" y="48"/>
                  </a:lnTo>
                  <a:lnTo>
                    <a:pt x="403" y="48"/>
                  </a:lnTo>
                  <a:lnTo>
                    <a:pt x="403" y="52"/>
                  </a:lnTo>
                  <a:lnTo>
                    <a:pt x="407" y="52"/>
                  </a:lnTo>
                  <a:lnTo>
                    <a:pt x="411" y="52"/>
                  </a:lnTo>
                  <a:lnTo>
                    <a:pt x="411" y="56"/>
                  </a:lnTo>
                  <a:lnTo>
                    <a:pt x="407" y="56"/>
                  </a:lnTo>
                  <a:lnTo>
                    <a:pt x="411" y="56"/>
                  </a:lnTo>
                  <a:lnTo>
                    <a:pt x="415" y="56"/>
                  </a:lnTo>
                  <a:lnTo>
                    <a:pt x="419" y="56"/>
                  </a:lnTo>
                  <a:lnTo>
                    <a:pt x="419" y="60"/>
                  </a:lnTo>
                  <a:lnTo>
                    <a:pt x="423" y="60"/>
                  </a:lnTo>
                  <a:lnTo>
                    <a:pt x="427" y="60"/>
                  </a:lnTo>
                  <a:lnTo>
                    <a:pt x="431" y="60"/>
                  </a:lnTo>
                  <a:lnTo>
                    <a:pt x="435" y="60"/>
                  </a:lnTo>
                  <a:lnTo>
                    <a:pt x="435" y="56"/>
                  </a:lnTo>
                  <a:lnTo>
                    <a:pt x="431" y="56"/>
                  </a:lnTo>
                  <a:lnTo>
                    <a:pt x="427" y="56"/>
                  </a:lnTo>
                  <a:lnTo>
                    <a:pt x="431" y="56"/>
                  </a:lnTo>
                  <a:lnTo>
                    <a:pt x="431" y="52"/>
                  </a:lnTo>
                  <a:lnTo>
                    <a:pt x="427" y="52"/>
                  </a:lnTo>
                  <a:lnTo>
                    <a:pt x="423" y="52"/>
                  </a:lnTo>
                  <a:lnTo>
                    <a:pt x="427" y="52"/>
                  </a:lnTo>
                  <a:lnTo>
                    <a:pt x="431" y="52"/>
                  </a:lnTo>
                  <a:lnTo>
                    <a:pt x="431" y="48"/>
                  </a:lnTo>
                  <a:lnTo>
                    <a:pt x="427" y="48"/>
                  </a:lnTo>
                  <a:lnTo>
                    <a:pt x="427" y="44"/>
                  </a:lnTo>
                  <a:lnTo>
                    <a:pt x="431" y="44"/>
                  </a:lnTo>
                  <a:lnTo>
                    <a:pt x="435" y="44"/>
                  </a:lnTo>
                  <a:lnTo>
                    <a:pt x="439" y="44"/>
                  </a:lnTo>
                  <a:lnTo>
                    <a:pt x="443" y="44"/>
                  </a:lnTo>
                  <a:lnTo>
                    <a:pt x="447" y="44"/>
                  </a:lnTo>
                  <a:lnTo>
                    <a:pt x="451" y="44"/>
                  </a:lnTo>
                  <a:lnTo>
                    <a:pt x="455" y="44"/>
                  </a:lnTo>
                  <a:lnTo>
                    <a:pt x="459" y="44"/>
                  </a:lnTo>
                  <a:lnTo>
                    <a:pt x="463" y="44"/>
                  </a:lnTo>
                  <a:lnTo>
                    <a:pt x="459" y="44"/>
                  </a:lnTo>
                  <a:lnTo>
                    <a:pt x="455" y="44"/>
                  </a:lnTo>
                  <a:lnTo>
                    <a:pt x="451" y="44"/>
                  </a:lnTo>
                  <a:lnTo>
                    <a:pt x="447" y="44"/>
                  </a:lnTo>
                  <a:lnTo>
                    <a:pt x="443" y="44"/>
                  </a:lnTo>
                  <a:lnTo>
                    <a:pt x="443" y="40"/>
                  </a:lnTo>
                  <a:lnTo>
                    <a:pt x="439" y="40"/>
                  </a:lnTo>
                  <a:lnTo>
                    <a:pt x="443" y="40"/>
                  </a:lnTo>
                  <a:lnTo>
                    <a:pt x="439" y="40"/>
                  </a:lnTo>
                  <a:lnTo>
                    <a:pt x="435" y="36"/>
                  </a:lnTo>
                  <a:lnTo>
                    <a:pt x="431" y="36"/>
                  </a:lnTo>
                  <a:lnTo>
                    <a:pt x="427" y="36"/>
                  </a:lnTo>
                  <a:lnTo>
                    <a:pt x="427" y="32"/>
                  </a:lnTo>
                  <a:lnTo>
                    <a:pt x="423" y="32"/>
                  </a:lnTo>
                  <a:lnTo>
                    <a:pt x="419" y="32"/>
                  </a:lnTo>
                  <a:lnTo>
                    <a:pt x="415" y="28"/>
                  </a:lnTo>
                  <a:lnTo>
                    <a:pt x="411" y="28"/>
                  </a:lnTo>
                  <a:lnTo>
                    <a:pt x="415" y="28"/>
                  </a:lnTo>
                  <a:lnTo>
                    <a:pt x="419" y="28"/>
                  </a:lnTo>
                  <a:lnTo>
                    <a:pt x="423" y="28"/>
                  </a:lnTo>
                  <a:lnTo>
                    <a:pt x="427" y="28"/>
                  </a:lnTo>
                  <a:lnTo>
                    <a:pt x="431" y="28"/>
                  </a:lnTo>
                  <a:lnTo>
                    <a:pt x="435" y="28"/>
                  </a:lnTo>
                  <a:lnTo>
                    <a:pt x="439" y="28"/>
                  </a:lnTo>
                  <a:lnTo>
                    <a:pt x="443" y="28"/>
                  </a:lnTo>
                  <a:lnTo>
                    <a:pt x="447" y="28"/>
                  </a:lnTo>
                  <a:lnTo>
                    <a:pt x="451" y="28"/>
                  </a:lnTo>
                  <a:lnTo>
                    <a:pt x="455" y="28"/>
                  </a:lnTo>
                  <a:lnTo>
                    <a:pt x="459" y="28"/>
                  </a:lnTo>
                  <a:lnTo>
                    <a:pt x="463" y="28"/>
                  </a:lnTo>
                  <a:lnTo>
                    <a:pt x="467" y="28"/>
                  </a:lnTo>
                  <a:lnTo>
                    <a:pt x="467" y="32"/>
                  </a:lnTo>
                  <a:lnTo>
                    <a:pt x="471" y="32"/>
                  </a:lnTo>
                  <a:lnTo>
                    <a:pt x="471" y="36"/>
                  </a:lnTo>
                  <a:lnTo>
                    <a:pt x="474" y="36"/>
                  </a:lnTo>
                  <a:lnTo>
                    <a:pt x="474" y="32"/>
                  </a:lnTo>
                  <a:lnTo>
                    <a:pt x="471" y="28"/>
                  </a:lnTo>
                  <a:lnTo>
                    <a:pt x="474" y="28"/>
                  </a:lnTo>
                  <a:lnTo>
                    <a:pt x="478" y="28"/>
                  </a:lnTo>
                  <a:lnTo>
                    <a:pt x="478" y="32"/>
                  </a:lnTo>
                  <a:lnTo>
                    <a:pt x="486" y="32"/>
                  </a:lnTo>
                  <a:lnTo>
                    <a:pt x="490" y="32"/>
                  </a:lnTo>
                  <a:lnTo>
                    <a:pt x="490" y="36"/>
                  </a:lnTo>
                  <a:lnTo>
                    <a:pt x="494" y="36"/>
                  </a:lnTo>
                  <a:lnTo>
                    <a:pt x="498" y="36"/>
                  </a:lnTo>
                  <a:lnTo>
                    <a:pt x="498" y="40"/>
                  </a:lnTo>
                  <a:lnTo>
                    <a:pt x="502" y="40"/>
                  </a:lnTo>
                  <a:lnTo>
                    <a:pt x="502" y="36"/>
                  </a:lnTo>
                  <a:lnTo>
                    <a:pt x="498" y="36"/>
                  </a:lnTo>
                  <a:lnTo>
                    <a:pt x="498" y="32"/>
                  </a:lnTo>
                  <a:lnTo>
                    <a:pt x="502" y="32"/>
                  </a:lnTo>
                  <a:lnTo>
                    <a:pt x="498" y="32"/>
                  </a:lnTo>
                  <a:lnTo>
                    <a:pt x="498" y="28"/>
                  </a:lnTo>
                  <a:lnTo>
                    <a:pt x="494" y="28"/>
                  </a:lnTo>
                  <a:lnTo>
                    <a:pt x="490" y="28"/>
                  </a:lnTo>
                  <a:lnTo>
                    <a:pt x="486" y="28"/>
                  </a:lnTo>
                  <a:lnTo>
                    <a:pt x="482" y="28"/>
                  </a:lnTo>
                  <a:lnTo>
                    <a:pt x="478" y="28"/>
                  </a:lnTo>
                  <a:lnTo>
                    <a:pt x="474" y="28"/>
                  </a:lnTo>
                  <a:lnTo>
                    <a:pt x="474" y="24"/>
                  </a:lnTo>
                  <a:lnTo>
                    <a:pt x="467" y="24"/>
                  </a:lnTo>
                  <a:lnTo>
                    <a:pt x="463" y="24"/>
                  </a:lnTo>
                  <a:lnTo>
                    <a:pt x="459" y="24"/>
                  </a:lnTo>
                  <a:lnTo>
                    <a:pt x="455" y="24"/>
                  </a:lnTo>
                  <a:lnTo>
                    <a:pt x="447" y="24"/>
                  </a:lnTo>
                  <a:lnTo>
                    <a:pt x="443" y="24"/>
                  </a:lnTo>
                  <a:lnTo>
                    <a:pt x="439" y="24"/>
                  </a:lnTo>
                  <a:lnTo>
                    <a:pt x="435" y="24"/>
                  </a:lnTo>
                  <a:lnTo>
                    <a:pt x="431" y="24"/>
                  </a:lnTo>
                  <a:lnTo>
                    <a:pt x="427" y="24"/>
                  </a:lnTo>
                  <a:lnTo>
                    <a:pt x="423" y="24"/>
                  </a:lnTo>
                  <a:lnTo>
                    <a:pt x="427" y="24"/>
                  </a:lnTo>
                  <a:lnTo>
                    <a:pt x="423" y="24"/>
                  </a:lnTo>
                  <a:lnTo>
                    <a:pt x="419" y="24"/>
                  </a:lnTo>
                  <a:lnTo>
                    <a:pt x="415" y="24"/>
                  </a:lnTo>
                  <a:lnTo>
                    <a:pt x="411" y="24"/>
                  </a:lnTo>
                  <a:lnTo>
                    <a:pt x="407" y="24"/>
                  </a:lnTo>
                  <a:lnTo>
                    <a:pt x="403" y="24"/>
                  </a:lnTo>
                  <a:lnTo>
                    <a:pt x="399" y="24"/>
                  </a:lnTo>
                  <a:lnTo>
                    <a:pt x="395" y="20"/>
                  </a:lnTo>
                  <a:lnTo>
                    <a:pt x="403" y="20"/>
                  </a:lnTo>
                  <a:lnTo>
                    <a:pt x="407" y="24"/>
                  </a:lnTo>
                  <a:lnTo>
                    <a:pt x="407" y="20"/>
                  </a:lnTo>
                  <a:lnTo>
                    <a:pt x="403" y="20"/>
                  </a:lnTo>
                  <a:lnTo>
                    <a:pt x="399" y="20"/>
                  </a:lnTo>
                  <a:lnTo>
                    <a:pt x="403" y="20"/>
                  </a:lnTo>
                  <a:lnTo>
                    <a:pt x="407" y="20"/>
                  </a:lnTo>
                  <a:lnTo>
                    <a:pt x="407" y="16"/>
                  </a:lnTo>
                  <a:lnTo>
                    <a:pt x="411" y="16"/>
                  </a:lnTo>
                  <a:lnTo>
                    <a:pt x="411" y="20"/>
                  </a:lnTo>
                  <a:lnTo>
                    <a:pt x="415" y="20"/>
                  </a:lnTo>
                  <a:lnTo>
                    <a:pt x="419" y="20"/>
                  </a:lnTo>
                  <a:lnTo>
                    <a:pt x="423" y="20"/>
                  </a:lnTo>
                  <a:lnTo>
                    <a:pt x="423" y="24"/>
                  </a:lnTo>
                  <a:lnTo>
                    <a:pt x="427" y="24"/>
                  </a:lnTo>
                  <a:lnTo>
                    <a:pt x="427" y="20"/>
                  </a:lnTo>
                  <a:lnTo>
                    <a:pt x="431" y="20"/>
                  </a:lnTo>
                  <a:lnTo>
                    <a:pt x="431" y="24"/>
                  </a:lnTo>
                  <a:lnTo>
                    <a:pt x="439" y="24"/>
                  </a:lnTo>
                  <a:lnTo>
                    <a:pt x="443" y="24"/>
                  </a:lnTo>
                  <a:lnTo>
                    <a:pt x="447" y="24"/>
                  </a:lnTo>
                  <a:lnTo>
                    <a:pt x="443" y="24"/>
                  </a:lnTo>
                  <a:lnTo>
                    <a:pt x="439" y="24"/>
                  </a:lnTo>
                  <a:lnTo>
                    <a:pt x="435" y="24"/>
                  </a:lnTo>
                  <a:lnTo>
                    <a:pt x="435" y="20"/>
                  </a:lnTo>
                  <a:lnTo>
                    <a:pt x="431" y="20"/>
                  </a:lnTo>
                  <a:lnTo>
                    <a:pt x="427" y="20"/>
                  </a:lnTo>
                  <a:lnTo>
                    <a:pt x="423" y="20"/>
                  </a:lnTo>
                  <a:lnTo>
                    <a:pt x="419" y="20"/>
                  </a:lnTo>
                  <a:lnTo>
                    <a:pt x="415" y="16"/>
                  </a:lnTo>
                  <a:lnTo>
                    <a:pt x="419" y="16"/>
                  </a:lnTo>
                  <a:lnTo>
                    <a:pt x="423" y="16"/>
                  </a:lnTo>
                  <a:lnTo>
                    <a:pt x="427" y="16"/>
                  </a:lnTo>
                  <a:lnTo>
                    <a:pt x="431" y="16"/>
                  </a:lnTo>
                  <a:lnTo>
                    <a:pt x="435" y="16"/>
                  </a:lnTo>
                  <a:lnTo>
                    <a:pt x="439" y="16"/>
                  </a:lnTo>
                  <a:lnTo>
                    <a:pt x="443" y="16"/>
                  </a:lnTo>
                  <a:lnTo>
                    <a:pt x="447" y="16"/>
                  </a:lnTo>
                  <a:lnTo>
                    <a:pt x="451" y="16"/>
                  </a:lnTo>
                  <a:lnTo>
                    <a:pt x="455" y="16"/>
                  </a:lnTo>
                  <a:lnTo>
                    <a:pt x="451" y="16"/>
                  </a:lnTo>
                  <a:lnTo>
                    <a:pt x="447" y="16"/>
                  </a:lnTo>
                  <a:lnTo>
                    <a:pt x="443" y="16"/>
                  </a:lnTo>
                  <a:lnTo>
                    <a:pt x="439" y="16"/>
                  </a:lnTo>
                  <a:lnTo>
                    <a:pt x="439" y="12"/>
                  </a:lnTo>
                  <a:lnTo>
                    <a:pt x="443" y="12"/>
                  </a:lnTo>
                  <a:lnTo>
                    <a:pt x="447" y="12"/>
                  </a:lnTo>
                  <a:lnTo>
                    <a:pt x="451" y="12"/>
                  </a:lnTo>
                  <a:lnTo>
                    <a:pt x="455" y="12"/>
                  </a:lnTo>
                  <a:lnTo>
                    <a:pt x="451" y="12"/>
                  </a:lnTo>
                  <a:lnTo>
                    <a:pt x="455" y="12"/>
                  </a:lnTo>
                  <a:lnTo>
                    <a:pt x="459" y="12"/>
                  </a:lnTo>
                  <a:lnTo>
                    <a:pt x="463" y="12"/>
                  </a:lnTo>
                  <a:lnTo>
                    <a:pt x="467" y="12"/>
                  </a:lnTo>
                  <a:lnTo>
                    <a:pt x="471" y="12"/>
                  </a:lnTo>
                  <a:lnTo>
                    <a:pt x="474" y="16"/>
                  </a:lnTo>
                  <a:lnTo>
                    <a:pt x="471" y="16"/>
                  </a:lnTo>
                  <a:lnTo>
                    <a:pt x="474" y="16"/>
                  </a:lnTo>
                  <a:lnTo>
                    <a:pt x="478" y="16"/>
                  </a:lnTo>
                  <a:lnTo>
                    <a:pt x="482" y="16"/>
                  </a:lnTo>
                  <a:lnTo>
                    <a:pt x="482" y="20"/>
                  </a:lnTo>
                  <a:lnTo>
                    <a:pt x="486" y="20"/>
                  </a:lnTo>
                  <a:lnTo>
                    <a:pt x="490" y="20"/>
                  </a:lnTo>
                  <a:lnTo>
                    <a:pt x="498" y="20"/>
                  </a:lnTo>
                  <a:lnTo>
                    <a:pt x="502" y="20"/>
                  </a:lnTo>
                  <a:lnTo>
                    <a:pt x="506" y="20"/>
                  </a:lnTo>
                  <a:lnTo>
                    <a:pt x="514" y="24"/>
                  </a:lnTo>
                  <a:lnTo>
                    <a:pt x="514" y="28"/>
                  </a:lnTo>
                  <a:lnTo>
                    <a:pt x="518" y="28"/>
                  </a:lnTo>
                  <a:lnTo>
                    <a:pt x="522" y="28"/>
                  </a:lnTo>
                  <a:lnTo>
                    <a:pt x="518" y="28"/>
                  </a:lnTo>
                  <a:lnTo>
                    <a:pt x="518" y="24"/>
                  </a:lnTo>
                  <a:lnTo>
                    <a:pt x="514" y="24"/>
                  </a:lnTo>
                  <a:lnTo>
                    <a:pt x="510" y="20"/>
                  </a:lnTo>
                  <a:lnTo>
                    <a:pt x="514" y="20"/>
                  </a:lnTo>
                  <a:lnTo>
                    <a:pt x="518" y="20"/>
                  </a:lnTo>
                  <a:lnTo>
                    <a:pt x="522" y="20"/>
                  </a:lnTo>
                  <a:lnTo>
                    <a:pt x="526" y="20"/>
                  </a:lnTo>
                  <a:lnTo>
                    <a:pt x="534" y="20"/>
                  </a:lnTo>
                  <a:lnTo>
                    <a:pt x="538" y="20"/>
                  </a:lnTo>
                  <a:lnTo>
                    <a:pt x="542" y="20"/>
                  </a:lnTo>
                  <a:lnTo>
                    <a:pt x="538" y="20"/>
                  </a:lnTo>
                  <a:lnTo>
                    <a:pt x="534" y="20"/>
                  </a:lnTo>
                  <a:lnTo>
                    <a:pt x="526" y="20"/>
                  </a:lnTo>
                  <a:lnTo>
                    <a:pt x="522" y="20"/>
                  </a:lnTo>
                  <a:lnTo>
                    <a:pt x="518" y="20"/>
                  </a:lnTo>
                  <a:lnTo>
                    <a:pt x="518" y="16"/>
                  </a:lnTo>
                  <a:lnTo>
                    <a:pt x="522" y="16"/>
                  </a:lnTo>
                  <a:lnTo>
                    <a:pt x="526" y="16"/>
                  </a:lnTo>
                  <a:lnTo>
                    <a:pt x="530" y="16"/>
                  </a:lnTo>
                  <a:lnTo>
                    <a:pt x="534" y="16"/>
                  </a:lnTo>
                  <a:lnTo>
                    <a:pt x="538" y="16"/>
                  </a:lnTo>
                  <a:lnTo>
                    <a:pt x="542" y="16"/>
                  </a:lnTo>
                  <a:lnTo>
                    <a:pt x="546" y="16"/>
                  </a:lnTo>
                  <a:lnTo>
                    <a:pt x="542" y="16"/>
                  </a:lnTo>
                  <a:lnTo>
                    <a:pt x="538" y="16"/>
                  </a:lnTo>
                  <a:lnTo>
                    <a:pt x="534" y="16"/>
                  </a:lnTo>
                  <a:lnTo>
                    <a:pt x="530" y="12"/>
                  </a:lnTo>
                  <a:lnTo>
                    <a:pt x="526" y="12"/>
                  </a:lnTo>
                  <a:lnTo>
                    <a:pt x="522" y="12"/>
                  </a:lnTo>
                  <a:lnTo>
                    <a:pt x="518" y="12"/>
                  </a:lnTo>
                  <a:lnTo>
                    <a:pt x="518" y="8"/>
                  </a:lnTo>
                  <a:lnTo>
                    <a:pt x="522" y="8"/>
                  </a:lnTo>
                  <a:lnTo>
                    <a:pt x="526" y="8"/>
                  </a:lnTo>
                  <a:lnTo>
                    <a:pt x="530" y="8"/>
                  </a:lnTo>
                  <a:lnTo>
                    <a:pt x="534" y="8"/>
                  </a:lnTo>
                  <a:lnTo>
                    <a:pt x="530" y="8"/>
                  </a:lnTo>
                  <a:lnTo>
                    <a:pt x="530" y="4"/>
                  </a:lnTo>
                  <a:lnTo>
                    <a:pt x="534" y="4"/>
                  </a:lnTo>
                  <a:lnTo>
                    <a:pt x="538" y="4"/>
                  </a:lnTo>
                  <a:lnTo>
                    <a:pt x="542" y="4"/>
                  </a:lnTo>
                  <a:lnTo>
                    <a:pt x="546" y="8"/>
                  </a:lnTo>
                  <a:lnTo>
                    <a:pt x="550" y="8"/>
                  </a:lnTo>
                  <a:lnTo>
                    <a:pt x="554" y="8"/>
                  </a:lnTo>
                  <a:lnTo>
                    <a:pt x="550" y="8"/>
                  </a:lnTo>
                  <a:lnTo>
                    <a:pt x="550" y="4"/>
                  </a:lnTo>
                  <a:lnTo>
                    <a:pt x="546" y="4"/>
                  </a:lnTo>
                  <a:lnTo>
                    <a:pt x="550" y="4"/>
                  </a:lnTo>
                  <a:lnTo>
                    <a:pt x="554" y="4"/>
                  </a:lnTo>
                  <a:lnTo>
                    <a:pt x="558" y="4"/>
                  </a:lnTo>
                  <a:lnTo>
                    <a:pt x="562" y="4"/>
                  </a:lnTo>
                  <a:lnTo>
                    <a:pt x="566" y="4"/>
                  </a:lnTo>
                  <a:lnTo>
                    <a:pt x="570" y="4"/>
                  </a:lnTo>
                  <a:lnTo>
                    <a:pt x="574" y="0"/>
                  </a:lnTo>
                  <a:lnTo>
                    <a:pt x="578" y="0"/>
                  </a:lnTo>
                  <a:lnTo>
                    <a:pt x="582" y="0"/>
                  </a:lnTo>
                  <a:lnTo>
                    <a:pt x="582" y="4"/>
                  </a:lnTo>
                  <a:lnTo>
                    <a:pt x="582" y="0"/>
                  </a:lnTo>
                  <a:lnTo>
                    <a:pt x="586" y="0"/>
                  </a:lnTo>
                  <a:lnTo>
                    <a:pt x="586" y="4"/>
                  </a:lnTo>
                  <a:lnTo>
                    <a:pt x="590" y="4"/>
                  </a:lnTo>
                  <a:lnTo>
                    <a:pt x="594" y="4"/>
                  </a:lnTo>
                  <a:lnTo>
                    <a:pt x="590" y="4"/>
                  </a:lnTo>
                  <a:lnTo>
                    <a:pt x="590" y="0"/>
                  </a:lnTo>
                  <a:lnTo>
                    <a:pt x="594" y="0"/>
                  </a:lnTo>
                  <a:lnTo>
                    <a:pt x="598" y="0"/>
                  </a:lnTo>
                  <a:lnTo>
                    <a:pt x="602" y="0"/>
                  </a:lnTo>
                  <a:lnTo>
                    <a:pt x="606" y="0"/>
                  </a:lnTo>
                  <a:lnTo>
                    <a:pt x="610" y="0"/>
                  </a:lnTo>
                  <a:lnTo>
                    <a:pt x="614" y="0"/>
                  </a:lnTo>
                  <a:lnTo>
                    <a:pt x="618" y="0"/>
                  </a:lnTo>
                  <a:lnTo>
                    <a:pt x="614" y="0"/>
                  </a:lnTo>
                  <a:lnTo>
                    <a:pt x="618" y="0"/>
                  </a:lnTo>
                  <a:lnTo>
                    <a:pt x="622" y="0"/>
                  </a:lnTo>
                  <a:lnTo>
                    <a:pt x="626" y="0"/>
                  </a:lnTo>
                  <a:lnTo>
                    <a:pt x="630" y="0"/>
                  </a:lnTo>
                  <a:lnTo>
                    <a:pt x="634" y="0"/>
                  </a:lnTo>
                  <a:lnTo>
                    <a:pt x="638" y="0"/>
                  </a:lnTo>
                  <a:lnTo>
                    <a:pt x="642" y="0"/>
                  </a:lnTo>
                  <a:lnTo>
                    <a:pt x="646" y="0"/>
                  </a:lnTo>
                  <a:lnTo>
                    <a:pt x="654" y="0"/>
                  </a:lnTo>
                  <a:lnTo>
                    <a:pt x="658" y="4"/>
                  </a:lnTo>
                  <a:lnTo>
                    <a:pt x="662" y="4"/>
                  </a:lnTo>
                  <a:lnTo>
                    <a:pt x="666" y="4"/>
                  </a:lnTo>
                  <a:lnTo>
                    <a:pt x="670" y="4"/>
                  </a:lnTo>
                  <a:lnTo>
                    <a:pt x="674" y="4"/>
                  </a:lnTo>
                  <a:lnTo>
                    <a:pt x="670" y="4"/>
                  </a:lnTo>
                  <a:lnTo>
                    <a:pt x="666" y="4"/>
                  </a:lnTo>
                  <a:lnTo>
                    <a:pt x="670" y="8"/>
                  </a:lnTo>
                  <a:lnTo>
                    <a:pt x="674" y="8"/>
                  </a:lnTo>
                  <a:lnTo>
                    <a:pt x="678" y="8"/>
                  </a:lnTo>
                  <a:lnTo>
                    <a:pt x="674" y="4"/>
                  </a:lnTo>
                  <a:lnTo>
                    <a:pt x="678" y="4"/>
                  </a:lnTo>
                  <a:lnTo>
                    <a:pt x="682" y="4"/>
                  </a:lnTo>
                  <a:lnTo>
                    <a:pt x="686" y="4"/>
                  </a:lnTo>
                  <a:lnTo>
                    <a:pt x="690" y="4"/>
                  </a:lnTo>
                  <a:lnTo>
                    <a:pt x="694" y="4"/>
                  </a:lnTo>
                  <a:lnTo>
                    <a:pt x="698" y="8"/>
                  </a:lnTo>
                  <a:lnTo>
                    <a:pt x="706" y="8"/>
                  </a:lnTo>
                  <a:lnTo>
                    <a:pt x="710" y="8"/>
                  </a:lnTo>
                  <a:lnTo>
                    <a:pt x="714" y="8"/>
                  </a:lnTo>
                  <a:lnTo>
                    <a:pt x="718" y="12"/>
                  </a:lnTo>
                  <a:lnTo>
                    <a:pt x="714" y="12"/>
                  </a:lnTo>
                  <a:lnTo>
                    <a:pt x="710" y="12"/>
                  </a:lnTo>
                  <a:lnTo>
                    <a:pt x="706" y="12"/>
                  </a:lnTo>
                  <a:lnTo>
                    <a:pt x="702" y="16"/>
                  </a:lnTo>
                  <a:lnTo>
                    <a:pt x="698" y="16"/>
                  </a:lnTo>
                  <a:lnTo>
                    <a:pt x="694" y="16"/>
                  </a:lnTo>
                  <a:lnTo>
                    <a:pt x="690" y="16"/>
                  </a:lnTo>
                  <a:lnTo>
                    <a:pt x="686" y="16"/>
                  </a:lnTo>
                  <a:lnTo>
                    <a:pt x="682" y="16"/>
                  </a:lnTo>
                  <a:lnTo>
                    <a:pt x="678" y="16"/>
                  </a:lnTo>
                  <a:lnTo>
                    <a:pt x="674" y="16"/>
                  </a:lnTo>
                  <a:lnTo>
                    <a:pt x="670" y="16"/>
                  </a:lnTo>
                  <a:lnTo>
                    <a:pt x="662" y="16"/>
                  </a:lnTo>
                  <a:lnTo>
                    <a:pt x="658" y="16"/>
                  </a:lnTo>
                  <a:lnTo>
                    <a:pt x="654" y="16"/>
                  </a:lnTo>
                  <a:lnTo>
                    <a:pt x="650" y="16"/>
                  </a:lnTo>
                  <a:lnTo>
                    <a:pt x="646" y="16"/>
                  </a:lnTo>
                  <a:lnTo>
                    <a:pt x="642" y="16"/>
                  </a:lnTo>
                  <a:lnTo>
                    <a:pt x="638" y="16"/>
                  </a:lnTo>
                  <a:lnTo>
                    <a:pt x="634" y="16"/>
                  </a:lnTo>
                  <a:lnTo>
                    <a:pt x="630" y="16"/>
                  </a:lnTo>
                  <a:lnTo>
                    <a:pt x="626" y="16"/>
                  </a:lnTo>
                  <a:lnTo>
                    <a:pt x="626" y="20"/>
                  </a:lnTo>
                  <a:lnTo>
                    <a:pt x="622" y="20"/>
                  </a:lnTo>
                  <a:lnTo>
                    <a:pt x="618" y="20"/>
                  </a:lnTo>
                  <a:lnTo>
                    <a:pt x="614" y="16"/>
                  </a:lnTo>
                  <a:lnTo>
                    <a:pt x="610" y="16"/>
                  </a:lnTo>
                  <a:lnTo>
                    <a:pt x="602" y="16"/>
                  </a:lnTo>
                  <a:lnTo>
                    <a:pt x="598" y="16"/>
                  </a:lnTo>
                  <a:lnTo>
                    <a:pt x="602" y="16"/>
                  </a:lnTo>
                  <a:lnTo>
                    <a:pt x="606" y="16"/>
                  </a:lnTo>
                  <a:lnTo>
                    <a:pt x="610" y="16"/>
                  </a:lnTo>
                  <a:lnTo>
                    <a:pt x="614" y="20"/>
                  </a:lnTo>
                  <a:lnTo>
                    <a:pt x="610" y="20"/>
                  </a:lnTo>
                  <a:lnTo>
                    <a:pt x="606" y="20"/>
                  </a:lnTo>
                  <a:lnTo>
                    <a:pt x="602" y="20"/>
                  </a:lnTo>
                  <a:lnTo>
                    <a:pt x="598" y="20"/>
                  </a:lnTo>
                  <a:lnTo>
                    <a:pt x="594" y="20"/>
                  </a:lnTo>
                  <a:lnTo>
                    <a:pt x="590" y="24"/>
                  </a:lnTo>
                  <a:lnTo>
                    <a:pt x="586" y="24"/>
                  </a:lnTo>
                  <a:lnTo>
                    <a:pt x="582" y="24"/>
                  </a:lnTo>
                  <a:lnTo>
                    <a:pt x="578" y="24"/>
                  </a:lnTo>
                  <a:lnTo>
                    <a:pt x="574" y="24"/>
                  </a:lnTo>
                  <a:lnTo>
                    <a:pt x="570" y="24"/>
                  </a:lnTo>
                  <a:lnTo>
                    <a:pt x="566" y="24"/>
                  </a:lnTo>
                  <a:lnTo>
                    <a:pt x="570" y="24"/>
                  </a:lnTo>
                  <a:lnTo>
                    <a:pt x="566" y="28"/>
                  </a:lnTo>
                  <a:lnTo>
                    <a:pt x="570" y="28"/>
                  </a:lnTo>
                  <a:lnTo>
                    <a:pt x="570" y="24"/>
                  </a:lnTo>
                  <a:lnTo>
                    <a:pt x="574" y="24"/>
                  </a:lnTo>
                  <a:lnTo>
                    <a:pt x="578" y="24"/>
                  </a:lnTo>
                  <a:lnTo>
                    <a:pt x="582" y="24"/>
                  </a:lnTo>
                  <a:lnTo>
                    <a:pt x="586" y="24"/>
                  </a:lnTo>
                  <a:lnTo>
                    <a:pt x="590" y="24"/>
                  </a:lnTo>
                  <a:lnTo>
                    <a:pt x="594" y="24"/>
                  </a:lnTo>
                  <a:lnTo>
                    <a:pt x="594" y="28"/>
                  </a:lnTo>
                  <a:lnTo>
                    <a:pt x="590" y="28"/>
                  </a:lnTo>
                  <a:lnTo>
                    <a:pt x="594" y="28"/>
                  </a:lnTo>
                  <a:lnTo>
                    <a:pt x="594" y="24"/>
                  </a:lnTo>
                  <a:lnTo>
                    <a:pt x="598" y="24"/>
                  </a:lnTo>
                  <a:lnTo>
                    <a:pt x="598" y="20"/>
                  </a:lnTo>
                  <a:lnTo>
                    <a:pt x="602" y="20"/>
                  </a:lnTo>
                  <a:lnTo>
                    <a:pt x="606" y="20"/>
                  </a:lnTo>
                  <a:lnTo>
                    <a:pt x="614" y="20"/>
                  </a:lnTo>
                  <a:lnTo>
                    <a:pt x="618" y="20"/>
                  </a:lnTo>
                  <a:lnTo>
                    <a:pt x="622" y="20"/>
                  </a:lnTo>
                  <a:lnTo>
                    <a:pt x="626" y="20"/>
                  </a:lnTo>
                  <a:lnTo>
                    <a:pt x="626" y="24"/>
                  </a:lnTo>
                  <a:lnTo>
                    <a:pt x="626" y="20"/>
                  </a:lnTo>
                  <a:lnTo>
                    <a:pt x="630" y="20"/>
                  </a:lnTo>
                  <a:lnTo>
                    <a:pt x="634" y="20"/>
                  </a:lnTo>
                  <a:lnTo>
                    <a:pt x="638" y="20"/>
                  </a:lnTo>
                  <a:lnTo>
                    <a:pt x="638" y="16"/>
                  </a:lnTo>
                  <a:lnTo>
                    <a:pt x="642" y="16"/>
                  </a:lnTo>
                  <a:lnTo>
                    <a:pt x="646" y="16"/>
                  </a:lnTo>
                  <a:lnTo>
                    <a:pt x="650" y="16"/>
                  </a:lnTo>
                  <a:lnTo>
                    <a:pt x="654" y="16"/>
                  </a:lnTo>
                  <a:lnTo>
                    <a:pt x="658" y="16"/>
                  </a:lnTo>
                  <a:lnTo>
                    <a:pt x="662" y="16"/>
                  </a:lnTo>
                  <a:lnTo>
                    <a:pt x="666" y="16"/>
                  </a:lnTo>
                  <a:lnTo>
                    <a:pt x="670" y="16"/>
                  </a:lnTo>
                  <a:lnTo>
                    <a:pt x="674" y="16"/>
                  </a:lnTo>
                  <a:lnTo>
                    <a:pt x="678" y="20"/>
                  </a:lnTo>
                  <a:lnTo>
                    <a:pt x="682" y="20"/>
                  </a:lnTo>
                  <a:lnTo>
                    <a:pt x="682" y="16"/>
                  </a:lnTo>
                  <a:lnTo>
                    <a:pt x="686" y="20"/>
                  </a:lnTo>
                  <a:lnTo>
                    <a:pt x="694" y="20"/>
                  </a:lnTo>
                  <a:lnTo>
                    <a:pt x="702" y="20"/>
                  </a:lnTo>
                  <a:lnTo>
                    <a:pt x="702" y="16"/>
                  </a:lnTo>
                  <a:lnTo>
                    <a:pt x="706" y="16"/>
                  </a:lnTo>
                  <a:lnTo>
                    <a:pt x="710" y="16"/>
                  </a:lnTo>
                  <a:lnTo>
                    <a:pt x="714" y="16"/>
                  </a:lnTo>
                  <a:lnTo>
                    <a:pt x="718" y="16"/>
                  </a:lnTo>
                  <a:lnTo>
                    <a:pt x="722" y="16"/>
                  </a:lnTo>
                  <a:lnTo>
                    <a:pt x="726" y="16"/>
                  </a:lnTo>
                  <a:lnTo>
                    <a:pt x="730" y="16"/>
                  </a:lnTo>
                  <a:lnTo>
                    <a:pt x="726" y="16"/>
                  </a:lnTo>
                  <a:lnTo>
                    <a:pt x="726" y="20"/>
                  </a:lnTo>
                  <a:lnTo>
                    <a:pt x="730" y="20"/>
                  </a:lnTo>
                  <a:lnTo>
                    <a:pt x="726" y="24"/>
                  </a:lnTo>
                  <a:lnTo>
                    <a:pt x="722" y="24"/>
                  </a:lnTo>
                  <a:lnTo>
                    <a:pt x="718" y="28"/>
                  </a:lnTo>
                  <a:lnTo>
                    <a:pt x="714" y="28"/>
                  </a:lnTo>
                  <a:lnTo>
                    <a:pt x="718" y="28"/>
                  </a:lnTo>
                  <a:lnTo>
                    <a:pt x="722" y="28"/>
                  </a:lnTo>
                  <a:lnTo>
                    <a:pt x="726" y="28"/>
                  </a:lnTo>
                  <a:lnTo>
                    <a:pt x="726" y="24"/>
                  </a:lnTo>
                  <a:lnTo>
                    <a:pt x="730" y="24"/>
                  </a:lnTo>
                  <a:lnTo>
                    <a:pt x="734" y="24"/>
                  </a:lnTo>
                  <a:lnTo>
                    <a:pt x="738" y="24"/>
                  </a:lnTo>
                  <a:lnTo>
                    <a:pt x="742" y="24"/>
                  </a:lnTo>
                  <a:lnTo>
                    <a:pt x="746" y="24"/>
                  </a:lnTo>
                  <a:lnTo>
                    <a:pt x="742" y="24"/>
                  </a:lnTo>
                  <a:lnTo>
                    <a:pt x="742" y="28"/>
                  </a:lnTo>
                  <a:lnTo>
                    <a:pt x="746" y="28"/>
                  </a:lnTo>
                  <a:lnTo>
                    <a:pt x="746" y="24"/>
                  </a:lnTo>
                  <a:lnTo>
                    <a:pt x="750" y="24"/>
                  </a:lnTo>
                  <a:lnTo>
                    <a:pt x="754" y="24"/>
                  </a:lnTo>
                  <a:lnTo>
                    <a:pt x="754" y="28"/>
                  </a:lnTo>
                  <a:lnTo>
                    <a:pt x="758" y="28"/>
                  </a:lnTo>
                  <a:lnTo>
                    <a:pt x="762" y="28"/>
                  </a:lnTo>
                  <a:lnTo>
                    <a:pt x="766" y="28"/>
                  </a:lnTo>
                  <a:lnTo>
                    <a:pt x="770" y="28"/>
                  </a:lnTo>
                  <a:lnTo>
                    <a:pt x="774" y="32"/>
                  </a:lnTo>
                  <a:lnTo>
                    <a:pt x="778" y="32"/>
                  </a:lnTo>
                  <a:lnTo>
                    <a:pt x="782" y="32"/>
                  </a:lnTo>
                  <a:lnTo>
                    <a:pt x="782" y="36"/>
                  </a:lnTo>
                  <a:lnTo>
                    <a:pt x="774" y="36"/>
                  </a:lnTo>
                  <a:lnTo>
                    <a:pt x="770" y="36"/>
                  </a:lnTo>
                  <a:lnTo>
                    <a:pt x="770" y="40"/>
                  </a:lnTo>
                  <a:lnTo>
                    <a:pt x="766" y="40"/>
                  </a:lnTo>
                  <a:lnTo>
                    <a:pt x="770" y="40"/>
                  </a:lnTo>
                  <a:lnTo>
                    <a:pt x="766" y="40"/>
                  </a:lnTo>
                  <a:lnTo>
                    <a:pt x="766" y="44"/>
                  </a:lnTo>
                  <a:lnTo>
                    <a:pt x="762" y="44"/>
                  </a:lnTo>
                  <a:lnTo>
                    <a:pt x="758" y="44"/>
                  </a:lnTo>
                  <a:lnTo>
                    <a:pt x="754" y="44"/>
                  </a:lnTo>
                  <a:lnTo>
                    <a:pt x="750" y="44"/>
                  </a:lnTo>
                  <a:lnTo>
                    <a:pt x="746" y="44"/>
                  </a:lnTo>
                  <a:lnTo>
                    <a:pt x="738" y="44"/>
                  </a:lnTo>
                  <a:lnTo>
                    <a:pt x="734" y="44"/>
                  </a:lnTo>
                  <a:lnTo>
                    <a:pt x="734" y="48"/>
                  </a:lnTo>
                  <a:lnTo>
                    <a:pt x="730" y="48"/>
                  </a:lnTo>
                  <a:lnTo>
                    <a:pt x="726" y="48"/>
                  </a:lnTo>
                  <a:lnTo>
                    <a:pt x="722" y="48"/>
                  </a:lnTo>
                  <a:lnTo>
                    <a:pt x="714" y="48"/>
                  </a:lnTo>
                  <a:lnTo>
                    <a:pt x="710" y="48"/>
                  </a:lnTo>
                  <a:lnTo>
                    <a:pt x="702" y="48"/>
                  </a:lnTo>
                  <a:lnTo>
                    <a:pt x="698" y="48"/>
                  </a:lnTo>
                  <a:lnTo>
                    <a:pt x="694" y="48"/>
                  </a:lnTo>
                  <a:lnTo>
                    <a:pt x="690" y="48"/>
                  </a:lnTo>
                  <a:lnTo>
                    <a:pt x="686" y="48"/>
                  </a:lnTo>
                  <a:lnTo>
                    <a:pt x="682" y="48"/>
                  </a:lnTo>
                  <a:lnTo>
                    <a:pt x="678" y="48"/>
                  </a:lnTo>
                  <a:lnTo>
                    <a:pt x="674" y="48"/>
                  </a:lnTo>
                  <a:lnTo>
                    <a:pt x="670" y="48"/>
                  </a:lnTo>
                  <a:lnTo>
                    <a:pt x="666" y="48"/>
                  </a:lnTo>
                  <a:lnTo>
                    <a:pt x="662" y="48"/>
                  </a:lnTo>
                  <a:lnTo>
                    <a:pt x="658" y="48"/>
                  </a:lnTo>
                  <a:lnTo>
                    <a:pt x="654" y="48"/>
                  </a:lnTo>
                  <a:lnTo>
                    <a:pt x="650" y="48"/>
                  </a:lnTo>
                  <a:lnTo>
                    <a:pt x="646" y="48"/>
                  </a:lnTo>
                  <a:lnTo>
                    <a:pt x="642" y="48"/>
                  </a:lnTo>
                  <a:lnTo>
                    <a:pt x="638" y="48"/>
                  </a:lnTo>
                  <a:lnTo>
                    <a:pt x="634" y="48"/>
                  </a:lnTo>
                  <a:lnTo>
                    <a:pt x="630" y="48"/>
                  </a:lnTo>
                  <a:lnTo>
                    <a:pt x="626" y="48"/>
                  </a:lnTo>
                  <a:lnTo>
                    <a:pt x="630" y="48"/>
                  </a:lnTo>
                  <a:lnTo>
                    <a:pt x="634" y="48"/>
                  </a:lnTo>
                  <a:lnTo>
                    <a:pt x="642" y="48"/>
                  </a:lnTo>
                  <a:lnTo>
                    <a:pt x="650" y="48"/>
                  </a:lnTo>
                  <a:lnTo>
                    <a:pt x="654" y="48"/>
                  </a:lnTo>
                  <a:lnTo>
                    <a:pt x="650" y="48"/>
                  </a:lnTo>
                  <a:lnTo>
                    <a:pt x="646" y="52"/>
                  </a:lnTo>
                  <a:lnTo>
                    <a:pt x="642" y="52"/>
                  </a:lnTo>
                  <a:lnTo>
                    <a:pt x="638" y="52"/>
                  </a:lnTo>
                  <a:lnTo>
                    <a:pt x="634" y="52"/>
                  </a:lnTo>
                  <a:lnTo>
                    <a:pt x="630" y="52"/>
                  </a:lnTo>
                  <a:lnTo>
                    <a:pt x="626" y="56"/>
                  </a:lnTo>
                  <a:lnTo>
                    <a:pt x="622" y="56"/>
                  </a:lnTo>
                  <a:lnTo>
                    <a:pt x="618" y="56"/>
                  </a:lnTo>
                  <a:lnTo>
                    <a:pt x="614" y="56"/>
                  </a:lnTo>
                  <a:lnTo>
                    <a:pt x="610" y="56"/>
                  </a:lnTo>
                  <a:lnTo>
                    <a:pt x="606" y="56"/>
                  </a:lnTo>
                  <a:lnTo>
                    <a:pt x="606" y="60"/>
                  </a:lnTo>
                  <a:lnTo>
                    <a:pt x="602" y="60"/>
                  </a:lnTo>
                  <a:lnTo>
                    <a:pt x="606" y="64"/>
                  </a:lnTo>
                  <a:lnTo>
                    <a:pt x="610" y="64"/>
                  </a:lnTo>
                  <a:lnTo>
                    <a:pt x="614" y="64"/>
                  </a:lnTo>
                  <a:lnTo>
                    <a:pt x="614" y="60"/>
                  </a:lnTo>
                  <a:lnTo>
                    <a:pt x="622" y="60"/>
                  </a:lnTo>
                  <a:lnTo>
                    <a:pt x="626" y="60"/>
                  </a:lnTo>
                  <a:lnTo>
                    <a:pt x="630" y="56"/>
                  </a:lnTo>
                  <a:lnTo>
                    <a:pt x="634" y="56"/>
                  </a:lnTo>
                  <a:lnTo>
                    <a:pt x="638" y="56"/>
                  </a:lnTo>
                  <a:lnTo>
                    <a:pt x="642" y="56"/>
                  </a:lnTo>
                  <a:lnTo>
                    <a:pt x="646" y="56"/>
                  </a:lnTo>
                  <a:lnTo>
                    <a:pt x="654" y="56"/>
                  </a:lnTo>
                  <a:lnTo>
                    <a:pt x="658" y="56"/>
                  </a:lnTo>
                  <a:lnTo>
                    <a:pt x="666" y="52"/>
                  </a:lnTo>
                  <a:lnTo>
                    <a:pt x="670" y="52"/>
                  </a:lnTo>
                  <a:lnTo>
                    <a:pt x="674" y="52"/>
                  </a:lnTo>
                  <a:lnTo>
                    <a:pt x="682" y="52"/>
                  </a:lnTo>
                  <a:lnTo>
                    <a:pt x="686" y="52"/>
                  </a:lnTo>
                  <a:lnTo>
                    <a:pt x="690" y="52"/>
                  </a:lnTo>
                  <a:lnTo>
                    <a:pt x="694" y="52"/>
                  </a:lnTo>
                  <a:lnTo>
                    <a:pt x="698" y="52"/>
                  </a:lnTo>
                  <a:lnTo>
                    <a:pt x="702" y="52"/>
                  </a:lnTo>
                  <a:lnTo>
                    <a:pt x="706" y="52"/>
                  </a:lnTo>
                  <a:lnTo>
                    <a:pt x="710" y="52"/>
                  </a:lnTo>
                  <a:lnTo>
                    <a:pt x="718" y="52"/>
                  </a:lnTo>
                  <a:lnTo>
                    <a:pt x="722" y="52"/>
                  </a:lnTo>
                  <a:lnTo>
                    <a:pt x="722" y="60"/>
                  </a:lnTo>
                  <a:lnTo>
                    <a:pt x="718" y="60"/>
                  </a:lnTo>
                  <a:lnTo>
                    <a:pt x="714" y="64"/>
                  </a:lnTo>
                  <a:lnTo>
                    <a:pt x="710" y="64"/>
                  </a:lnTo>
                  <a:lnTo>
                    <a:pt x="706" y="64"/>
                  </a:lnTo>
                  <a:lnTo>
                    <a:pt x="702" y="64"/>
                  </a:lnTo>
                  <a:lnTo>
                    <a:pt x="702" y="68"/>
                  </a:lnTo>
                  <a:lnTo>
                    <a:pt x="698" y="68"/>
                  </a:lnTo>
                  <a:lnTo>
                    <a:pt x="694" y="68"/>
                  </a:lnTo>
                  <a:lnTo>
                    <a:pt x="690" y="68"/>
                  </a:lnTo>
                  <a:lnTo>
                    <a:pt x="686" y="68"/>
                  </a:lnTo>
                  <a:lnTo>
                    <a:pt x="690" y="72"/>
                  </a:lnTo>
                  <a:lnTo>
                    <a:pt x="694" y="72"/>
                  </a:lnTo>
                  <a:lnTo>
                    <a:pt x="690" y="72"/>
                  </a:lnTo>
                  <a:lnTo>
                    <a:pt x="686" y="72"/>
                  </a:lnTo>
                  <a:lnTo>
                    <a:pt x="690" y="72"/>
                  </a:lnTo>
                  <a:lnTo>
                    <a:pt x="694" y="72"/>
                  </a:lnTo>
                  <a:lnTo>
                    <a:pt x="698" y="72"/>
                  </a:lnTo>
                  <a:lnTo>
                    <a:pt x="702" y="72"/>
                  </a:lnTo>
                  <a:lnTo>
                    <a:pt x="702" y="68"/>
                  </a:lnTo>
                  <a:lnTo>
                    <a:pt x="706" y="68"/>
                  </a:lnTo>
                  <a:lnTo>
                    <a:pt x="710" y="68"/>
                  </a:lnTo>
                  <a:lnTo>
                    <a:pt x="718" y="64"/>
                  </a:lnTo>
                  <a:lnTo>
                    <a:pt x="722" y="64"/>
                  </a:lnTo>
                  <a:lnTo>
                    <a:pt x="726" y="64"/>
                  </a:lnTo>
                  <a:lnTo>
                    <a:pt x="730" y="64"/>
                  </a:lnTo>
                  <a:lnTo>
                    <a:pt x="734" y="60"/>
                  </a:lnTo>
                  <a:lnTo>
                    <a:pt x="738" y="64"/>
                  </a:lnTo>
                  <a:lnTo>
                    <a:pt x="738" y="60"/>
                  </a:lnTo>
                  <a:lnTo>
                    <a:pt x="742" y="60"/>
                  </a:lnTo>
                  <a:lnTo>
                    <a:pt x="738" y="60"/>
                  </a:lnTo>
                  <a:lnTo>
                    <a:pt x="738" y="56"/>
                  </a:lnTo>
                  <a:lnTo>
                    <a:pt x="742" y="52"/>
                  </a:lnTo>
                  <a:lnTo>
                    <a:pt x="746" y="52"/>
                  </a:lnTo>
                  <a:lnTo>
                    <a:pt x="750" y="52"/>
                  </a:lnTo>
                  <a:lnTo>
                    <a:pt x="754" y="52"/>
                  </a:lnTo>
                  <a:lnTo>
                    <a:pt x="758" y="52"/>
                  </a:lnTo>
                  <a:lnTo>
                    <a:pt x="762" y="52"/>
                  </a:lnTo>
                  <a:lnTo>
                    <a:pt x="766" y="52"/>
                  </a:lnTo>
                  <a:lnTo>
                    <a:pt x="770" y="52"/>
                  </a:lnTo>
                  <a:lnTo>
                    <a:pt x="770" y="56"/>
                  </a:lnTo>
                  <a:lnTo>
                    <a:pt x="774" y="60"/>
                  </a:lnTo>
                  <a:lnTo>
                    <a:pt x="770" y="68"/>
                  </a:lnTo>
                  <a:lnTo>
                    <a:pt x="766" y="72"/>
                  </a:lnTo>
                  <a:lnTo>
                    <a:pt x="766" y="76"/>
                  </a:lnTo>
                  <a:lnTo>
                    <a:pt x="762" y="76"/>
                  </a:lnTo>
                  <a:lnTo>
                    <a:pt x="758" y="76"/>
                  </a:lnTo>
                  <a:lnTo>
                    <a:pt x="762" y="76"/>
                  </a:lnTo>
                  <a:lnTo>
                    <a:pt x="758" y="80"/>
                  </a:lnTo>
                  <a:lnTo>
                    <a:pt x="754" y="80"/>
                  </a:lnTo>
                  <a:lnTo>
                    <a:pt x="750" y="84"/>
                  </a:lnTo>
                  <a:lnTo>
                    <a:pt x="746" y="84"/>
                  </a:lnTo>
                  <a:lnTo>
                    <a:pt x="742" y="88"/>
                  </a:lnTo>
                  <a:lnTo>
                    <a:pt x="746" y="88"/>
                  </a:lnTo>
                  <a:lnTo>
                    <a:pt x="746" y="92"/>
                  </a:lnTo>
                  <a:lnTo>
                    <a:pt x="742" y="92"/>
                  </a:lnTo>
                  <a:lnTo>
                    <a:pt x="738" y="92"/>
                  </a:lnTo>
                  <a:lnTo>
                    <a:pt x="734" y="96"/>
                  </a:lnTo>
                  <a:lnTo>
                    <a:pt x="738" y="96"/>
                  </a:lnTo>
                  <a:lnTo>
                    <a:pt x="742" y="96"/>
                  </a:lnTo>
                  <a:lnTo>
                    <a:pt x="738" y="96"/>
                  </a:lnTo>
                  <a:lnTo>
                    <a:pt x="734" y="100"/>
                  </a:lnTo>
                  <a:lnTo>
                    <a:pt x="738" y="100"/>
                  </a:lnTo>
                  <a:lnTo>
                    <a:pt x="738" y="96"/>
                  </a:lnTo>
                  <a:lnTo>
                    <a:pt x="742" y="96"/>
                  </a:lnTo>
                  <a:lnTo>
                    <a:pt x="746" y="96"/>
                  </a:lnTo>
                  <a:lnTo>
                    <a:pt x="746" y="92"/>
                  </a:lnTo>
                  <a:lnTo>
                    <a:pt x="750" y="92"/>
                  </a:lnTo>
                  <a:lnTo>
                    <a:pt x="750" y="88"/>
                  </a:lnTo>
                  <a:lnTo>
                    <a:pt x="754" y="88"/>
                  </a:lnTo>
                  <a:lnTo>
                    <a:pt x="758" y="88"/>
                  </a:lnTo>
                  <a:lnTo>
                    <a:pt x="762" y="84"/>
                  </a:lnTo>
                  <a:lnTo>
                    <a:pt x="766" y="80"/>
                  </a:lnTo>
                  <a:lnTo>
                    <a:pt x="770" y="80"/>
                  </a:lnTo>
                  <a:lnTo>
                    <a:pt x="770" y="76"/>
                  </a:lnTo>
                  <a:lnTo>
                    <a:pt x="774" y="76"/>
                  </a:lnTo>
                  <a:lnTo>
                    <a:pt x="778" y="76"/>
                  </a:lnTo>
                  <a:lnTo>
                    <a:pt x="782" y="72"/>
                  </a:lnTo>
                  <a:lnTo>
                    <a:pt x="786" y="68"/>
                  </a:lnTo>
                  <a:lnTo>
                    <a:pt x="790" y="68"/>
                  </a:lnTo>
                  <a:lnTo>
                    <a:pt x="794" y="64"/>
                  </a:lnTo>
                  <a:lnTo>
                    <a:pt x="798" y="64"/>
                  </a:lnTo>
                  <a:lnTo>
                    <a:pt x="802" y="64"/>
                  </a:lnTo>
                  <a:lnTo>
                    <a:pt x="798" y="64"/>
                  </a:lnTo>
                  <a:lnTo>
                    <a:pt x="798" y="68"/>
                  </a:lnTo>
                  <a:lnTo>
                    <a:pt x="798" y="72"/>
                  </a:lnTo>
                  <a:lnTo>
                    <a:pt x="802" y="72"/>
                  </a:lnTo>
                  <a:lnTo>
                    <a:pt x="802" y="68"/>
                  </a:lnTo>
                  <a:lnTo>
                    <a:pt x="810" y="68"/>
                  </a:lnTo>
                  <a:lnTo>
                    <a:pt x="814" y="68"/>
                  </a:lnTo>
                  <a:lnTo>
                    <a:pt x="818" y="68"/>
                  </a:lnTo>
                  <a:lnTo>
                    <a:pt x="822" y="68"/>
                  </a:lnTo>
                  <a:lnTo>
                    <a:pt x="825" y="68"/>
                  </a:lnTo>
                  <a:lnTo>
                    <a:pt x="825" y="72"/>
                  </a:lnTo>
                  <a:lnTo>
                    <a:pt x="829" y="72"/>
                  </a:lnTo>
                  <a:lnTo>
                    <a:pt x="833" y="68"/>
                  </a:lnTo>
                  <a:lnTo>
                    <a:pt x="837" y="68"/>
                  </a:lnTo>
                  <a:lnTo>
                    <a:pt x="837" y="64"/>
                  </a:lnTo>
                  <a:lnTo>
                    <a:pt x="833" y="64"/>
                  </a:lnTo>
                  <a:lnTo>
                    <a:pt x="833" y="60"/>
                  </a:lnTo>
                  <a:lnTo>
                    <a:pt x="837" y="60"/>
                  </a:lnTo>
                  <a:lnTo>
                    <a:pt x="837" y="64"/>
                  </a:lnTo>
                  <a:lnTo>
                    <a:pt x="841" y="64"/>
                  </a:lnTo>
                  <a:lnTo>
                    <a:pt x="841" y="60"/>
                  </a:lnTo>
                  <a:lnTo>
                    <a:pt x="837" y="60"/>
                  </a:lnTo>
                  <a:lnTo>
                    <a:pt x="837" y="56"/>
                  </a:lnTo>
                  <a:lnTo>
                    <a:pt x="841" y="56"/>
                  </a:lnTo>
                  <a:lnTo>
                    <a:pt x="841" y="60"/>
                  </a:lnTo>
                  <a:lnTo>
                    <a:pt x="841" y="56"/>
                  </a:lnTo>
                  <a:lnTo>
                    <a:pt x="845" y="56"/>
                  </a:lnTo>
                  <a:lnTo>
                    <a:pt x="849" y="56"/>
                  </a:lnTo>
                  <a:lnTo>
                    <a:pt x="853" y="56"/>
                  </a:lnTo>
                  <a:lnTo>
                    <a:pt x="857" y="56"/>
                  </a:lnTo>
                  <a:lnTo>
                    <a:pt x="861" y="56"/>
                  </a:lnTo>
                  <a:lnTo>
                    <a:pt x="865" y="56"/>
                  </a:lnTo>
                  <a:lnTo>
                    <a:pt x="869" y="56"/>
                  </a:lnTo>
                  <a:lnTo>
                    <a:pt x="873" y="56"/>
                  </a:lnTo>
                  <a:lnTo>
                    <a:pt x="877" y="56"/>
                  </a:lnTo>
                  <a:lnTo>
                    <a:pt x="881" y="56"/>
                  </a:lnTo>
                  <a:lnTo>
                    <a:pt x="885" y="56"/>
                  </a:lnTo>
                  <a:lnTo>
                    <a:pt x="889" y="56"/>
                  </a:lnTo>
                  <a:lnTo>
                    <a:pt x="893" y="56"/>
                  </a:lnTo>
                  <a:lnTo>
                    <a:pt x="893" y="60"/>
                  </a:lnTo>
                  <a:lnTo>
                    <a:pt x="897" y="60"/>
                  </a:lnTo>
                  <a:lnTo>
                    <a:pt x="901" y="60"/>
                  </a:lnTo>
                  <a:lnTo>
                    <a:pt x="905" y="60"/>
                  </a:lnTo>
                  <a:lnTo>
                    <a:pt x="909" y="60"/>
                  </a:lnTo>
                  <a:lnTo>
                    <a:pt x="913" y="60"/>
                  </a:lnTo>
                  <a:lnTo>
                    <a:pt x="913" y="64"/>
                  </a:lnTo>
                  <a:lnTo>
                    <a:pt x="917" y="64"/>
                  </a:lnTo>
                  <a:lnTo>
                    <a:pt x="921" y="64"/>
                  </a:lnTo>
                  <a:lnTo>
                    <a:pt x="917" y="68"/>
                  </a:lnTo>
                  <a:lnTo>
                    <a:pt x="913" y="68"/>
                  </a:lnTo>
                  <a:lnTo>
                    <a:pt x="913" y="72"/>
                  </a:lnTo>
                  <a:lnTo>
                    <a:pt x="909" y="72"/>
                  </a:lnTo>
                  <a:lnTo>
                    <a:pt x="905" y="72"/>
                  </a:lnTo>
                  <a:lnTo>
                    <a:pt x="905" y="76"/>
                  </a:lnTo>
                  <a:lnTo>
                    <a:pt x="901" y="76"/>
                  </a:lnTo>
                  <a:lnTo>
                    <a:pt x="897" y="76"/>
                  </a:lnTo>
                  <a:lnTo>
                    <a:pt x="893" y="80"/>
                  </a:lnTo>
                  <a:lnTo>
                    <a:pt x="889" y="80"/>
                  </a:lnTo>
                  <a:lnTo>
                    <a:pt x="885" y="80"/>
                  </a:lnTo>
                  <a:lnTo>
                    <a:pt x="881" y="80"/>
                  </a:lnTo>
                  <a:lnTo>
                    <a:pt x="877" y="80"/>
                  </a:lnTo>
                  <a:lnTo>
                    <a:pt x="877" y="84"/>
                  </a:lnTo>
                  <a:lnTo>
                    <a:pt x="881" y="84"/>
                  </a:lnTo>
                  <a:lnTo>
                    <a:pt x="881" y="88"/>
                  </a:lnTo>
                  <a:lnTo>
                    <a:pt x="877" y="88"/>
                  </a:lnTo>
                  <a:lnTo>
                    <a:pt x="873" y="88"/>
                  </a:lnTo>
                  <a:lnTo>
                    <a:pt x="869" y="88"/>
                  </a:lnTo>
                  <a:lnTo>
                    <a:pt x="865" y="92"/>
                  </a:lnTo>
                  <a:lnTo>
                    <a:pt x="861" y="92"/>
                  </a:lnTo>
                  <a:lnTo>
                    <a:pt x="857" y="92"/>
                  </a:lnTo>
                  <a:lnTo>
                    <a:pt x="853" y="92"/>
                  </a:lnTo>
                  <a:lnTo>
                    <a:pt x="849" y="92"/>
                  </a:lnTo>
                  <a:lnTo>
                    <a:pt x="845" y="92"/>
                  </a:lnTo>
                  <a:lnTo>
                    <a:pt x="841" y="92"/>
                  </a:lnTo>
                  <a:lnTo>
                    <a:pt x="837" y="92"/>
                  </a:lnTo>
                  <a:lnTo>
                    <a:pt x="833" y="92"/>
                  </a:lnTo>
                  <a:lnTo>
                    <a:pt x="829" y="92"/>
                  </a:lnTo>
                  <a:lnTo>
                    <a:pt x="829" y="96"/>
                  </a:lnTo>
                  <a:lnTo>
                    <a:pt x="825" y="96"/>
                  </a:lnTo>
                  <a:lnTo>
                    <a:pt x="822" y="96"/>
                  </a:lnTo>
                  <a:lnTo>
                    <a:pt x="818" y="96"/>
                  </a:lnTo>
                  <a:lnTo>
                    <a:pt x="814" y="96"/>
                  </a:lnTo>
                  <a:lnTo>
                    <a:pt x="810" y="96"/>
                  </a:lnTo>
                  <a:lnTo>
                    <a:pt x="806" y="96"/>
                  </a:lnTo>
                  <a:lnTo>
                    <a:pt x="802" y="96"/>
                  </a:lnTo>
                  <a:lnTo>
                    <a:pt x="798" y="96"/>
                  </a:lnTo>
                  <a:lnTo>
                    <a:pt x="794" y="96"/>
                  </a:lnTo>
                  <a:lnTo>
                    <a:pt x="790" y="100"/>
                  </a:lnTo>
                  <a:lnTo>
                    <a:pt x="786" y="100"/>
                  </a:lnTo>
                  <a:lnTo>
                    <a:pt x="786" y="96"/>
                  </a:lnTo>
                  <a:lnTo>
                    <a:pt x="782" y="96"/>
                  </a:lnTo>
                  <a:lnTo>
                    <a:pt x="782" y="100"/>
                  </a:lnTo>
                  <a:lnTo>
                    <a:pt x="786" y="100"/>
                  </a:lnTo>
                  <a:lnTo>
                    <a:pt x="790" y="100"/>
                  </a:lnTo>
                  <a:lnTo>
                    <a:pt x="794" y="100"/>
                  </a:lnTo>
                  <a:lnTo>
                    <a:pt x="798" y="100"/>
                  </a:lnTo>
                  <a:lnTo>
                    <a:pt x="798" y="96"/>
                  </a:lnTo>
                  <a:lnTo>
                    <a:pt x="802" y="96"/>
                  </a:lnTo>
                  <a:lnTo>
                    <a:pt x="806" y="96"/>
                  </a:lnTo>
                  <a:lnTo>
                    <a:pt x="810" y="96"/>
                  </a:lnTo>
                  <a:lnTo>
                    <a:pt x="814" y="96"/>
                  </a:lnTo>
                  <a:lnTo>
                    <a:pt x="818" y="96"/>
                  </a:lnTo>
                  <a:lnTo>
                    <a:pt x="822" y="100"/>
                  </a:lnTo>
                  <a:lnTo>
                    <a:pt x="825" y="100"/>
                  </a:lnTo>
                  <a:lnTo>
                    <a:pt x="829" y="100"/>
                  </a:lnTo>
                  <a:lnTo>
                    <a:pt x="833" y="100"/>
                  </a:lnTo>
                  <a:lnTo>
                    <a:pt x="837" y="96"/>
                  </a:lnTo>
                  <a:lnTo>
                    <a:pt x="841" y="96"/>
                  </a:lnTo>
                  <a:lnTo>
                    <a:pt x="845" y="96"/>
                  </a:lnTo>
                  <a:lnTo>
                    <a:pt x="845" y="100"/>
                  </a:lnTo>
                  <a:lnTo>
                    <a:pt x="849" y="100"/>
                  </a:lnTo>
                  <a:lnTo>
                    <a:pt x="853" y="100"/>
                  </a:lnTo>
                  <a:lnTo>
                    <a:pt x="857" y="100"/>
                  </a:lnTo>
                  <a:lnTo>
                    <a:pt x="861" y="100"/>
                  </a:lnTo>
                  <a:lnTo>
                    <a:pt x="857" y="100"/>
                  </a:lnTo>
                  <a:lnTo>
                    <a:pt x="857" y="104"/>
                  </a:lnTo>
                  <a:lnTo>
                    <a:pt x="853" y="104"/>
                  </a:lnTo>
                  <a:lnTo>
                    <a:pt x="849" y="104"/>
                  </a:lnTo>
                  <a:lnTo>
                    <a:pt x="853" y="104"/>
                  </a:lnTo>
                  <a:lnTo>
                    <a:pt x="849" y="108"/>
                  </a:lnTo>
                  <a:lnTo>
                    <a:pt x="845" y="108"/>
                  </a:lnTo>
                  <a:lnTo>
                    <a:pt x="841" y="108"/>
                  </a:lnTo>
                  <a:lnTo>
                    <a:pt x="837" y="108"/>
                  </a:lnTo>
                  <a:lnTo>
                    <a:pt x="833" y="108"/>
                  </a:lnTo>
                  <a:lnTo>
                    <a:pt x="829" y="108"/>
                  </a:lnTo>
                  <a:lnTo>
                    <a:pt x="825" y="108"/>
                  </a:lnTo>
                  <a:lnTo>
                    <a:pt x="822" y="108"/>
                  </a:lnTo>
                  <a:lnTo>
                    <a:pt x="818" y="108"/>
                  </a:lnTo>
                  <a:lnTo>
                    <a:pt x="814" y="108"/>
                  </a:lnTo>
                  <a:lnTo>
                    <a:pt x="810" y="108"/>
                  </a:lnTo>
                  <a:lnTo>
                    <a:pt x="806" y="108"/>
                  </a:lnTo>
                  <a:lnTo>
                    <a:pt x="802" y="108"/>
                  </a:lnTo>
                  <a:lnTo>
                    <a:pt x="802" y="112"/>
                  </a:lnTo>
                  <a:lnTo>
                    <a:pt x="798" y="112"/>
                  </a:lnTo>
                  <a:lnTo>
                    <a:pt x="794" y="112"/>
                  </a:lnTo>
                  <a:lnTo>
                    <a:pt x="798" y="112"/>
                  </a:lnTo>
                  <a:lnTo>
                    <a:pt x="794" y="116"/>
                  </a:lnTo>
                  <a:lnTo>
                    <a:pt x="790" y="120"/>
                  </a:lnTo>
                  <a:lnTo>
                    <a:pt x="794" y="120"/>
                  </a:lnTo>
                  <a:lnTo>
                    <a:pt x="798" y="120"/>
                  </a:lnTo>
                  <a:lnTo>
                    <a:pt x="798" y="124"/>
                  </a:lnTo>
                  <a:lnTo>
                    <a:pt x="802" y="124"/>
                  </a:lnTo>
                  <a:lnTo>
                    <a:pt x="802" y="120"/>
                  </a:lnTo>
                  <a:lnTo>
                    <a:pt x="806" y="120"/>
                  </a:lnTo>
                  <a:lnTo>
                    <a:pt x="802" y="120"/>
                  </a:lnTo>
                  <a:lnTo>
                    <a:pt x="798" y="120"/>
                  </a:lnTo>
                  <a:lnTo>
                    <a:pt x="802" y="116"/>
                  </a:lnTo>
                  <a:lnTo>
                    <a:pt x="806" y="116"/>
                  </a:lnTo>
                  <a:lnTo>
                    <a:pt x="810" y="116"/>
                  </a:lnTo>
                  <a:lnTo>
                    <a:pt x="810" y="112"/>
                  </a:lnTo>
                  <a:lnTo>
                    <a:pt x="814" y="112"/>
                  </a:lnTo>
                  <a:lnTo>
                    <a:pt x="818" y="112"/>
                  </a:lnTo>
                  <a:lnTo>
                    <a:pt x="822" y="112"/>
                  </a:lnTo>
                  <a:lnTo>
                    <a:pt x="825" y="112"/>
                  </a:lnTo>
                  <a:lnTo>
                    <a:pt x="829" y="112"/>
                  </a:lnTo>
                  <a:lnTo>
                    <a:pt x="833" y="112"/>
                  </a:lnTo>
                  <a:lnTo>
                    <a:pt x="837" y="112"/>
                  </a:lnTo>
                  <a:lnTo>
                    <a:pt x="841" y="112"/>
                  </a:lnTo>
                  <a:lnTo>
                    <a:pt x="841" y="116"/>
                  </a:lnTo>
                  <a:lnTo>
                    <a:pt x="837" y="116"/>
                  </a:lnTo>
                  <a:lnTo>
                    <a:pt x="833" y="120"/>
                  </a:lnTo>
                  <a:lnTo>
                    <a:pt x="833" y="124"/>
                  </a:lnTo>
                  <a:lnTo>
                    <a:pt x="829" y="124"/>
                  </a:lnTo>
                  <a:lnTo>
                    <a:pt x="825" y="124"/>
                  </a:lnTo>
                  <a:lnTo>
                    <a:pt x="822" y="124"/>
                  </a:lnTo>
                  <a:lnTo>
                    <a:pt x="818" y="124"/>
                  </a:lnTo>
                  <a:lnTo>
                    <a:pt x="814" y="124"/>
                  </a:lnTo>
                  <a:lnTo>
                    <a:pt x="810" y="124"/>
                  </a:lnTo>
                  <a:lnTo>
                    <a:pt x="810" y="128"/>
                  </a:lnTo>
                  <a:lnTo>
                    <a:pt x="806" y="128"/>
                  </a:lnTo>
                  <a:lnTo>
                    <a:pt x="810" y="128"/>
                  </a:lnTo>
                  <a:lnTo>
                    <a:pt x="810" y="132"/>
                  </a:lnTo>
                  <a:lnTo>
                    <a:pt x="806" y="132"/>
                  </a:lnTo>
                  <a:lnTo>
                    <a:pt x="806" y="136"/>
                  </a:lnTo>
                  <a:lnTo>
                    <a:pt x="806" y="140"/>
                  </a:lnTo>
                  <a:lnTo>
                    <a:pt x="806" y="144"/>
                  </a:lnTo>
                  <a:lnTo>
                    <a:pt x="806" y="140"/>
                  </a:lnTo>
                  <a:lnTo>
                    <a:pt x="810" y="136"/>
                  </a:lnTo>
                  <a:lnTo>
                    <a:pt x="814" y="136"/>
                  </a:lnTo>
                  <a:lnTo>
                    <a:pt x="818" y="136"/>
                  </a:lnTo>
                  <a:lnTo>
                    <a:pt x="818" y="140"/>
                  </a:lnTo>
                  <a:lnTo>
                    <a:pt x="814" y="140"/>
                  </a:lnTo>
                  <a:lnTo>
                    <a:pt x="818" y="140"/>
                  </a:lnTo>
                  <a:lnTo>
                    <a:pt x="814" y="140"/>
                  </a:lnTo>
                  <a:lnTo>
                    <a:pt x="810" y="140"/>
                  </a:lnTo>
                  <a:lnTo>
                    <a:pt x="810" y="144"/>
                  </a:lnTo>
                  <a:lnTo>
                    <a:pt x="806" y="144"/>
                  </a:lnTo>
                  <a:lnTo>
                    <a:pt x="802" y="144"/>
                  </a:lnTo>
                  <a:lnTo>
                    <a:pt x="802" y="148"/>
                  </a:lnTo>
                  <a:lnTo>
                    <a:pt x="802" y="152"/>
                  </a:lnTo>
                  <a:lnTo>
                    <a:pt x="798" y="152"/>
                  </a:lnTo>
                  <a:lnTo>
                    <a:pt x="794" y="152"/>
                  </a:lnTo>
                  <a:lnTo>
                    <a:pt x="790" y="152"/>
                  </a:lnTo>
                  <a:lnTo>
                    <a:pt x="786" y="152"/>
                  </a:lnTo>
                  <a:lnTo>
                    <a:pt x="786" y="156"/>
                  </a:lnTo>
                  <a:lnTo>
                    <a:pt x="790" y="156"/>
                  </a:lnTo>
                  <a:lnTo>
                    <a:pt x="786" y="156"/>
                  </a:lnTo>
                  <a:lnTo>
                    <a:pt x="782" y="156"/>
                  </a:lnTo>
                  <a:lnTo>
                    <a:pt x="782" y="160"/>
                  </a:lnTo>
                  <a:lnTo>
                    <a:pt x="786" y="160"/>
                  </a:lnTo>
                  <a:lnTo>
                    <a:pt x="786" y="156"/>
                  </a:lnTo>
                  <a:lnTo>
                    <a:pt x="790" y="156"/>
                  </a:lnTo>
                  <a:lnTo>
                    <a:pt x="790" y="160"/>
                  </a:lnTo>
                  <a:lnTo>
                    <a:pt x="786" y="160"/>
                  </a:lnTo>
                  <a:lnTo>
                    <a:pt x="786" y="164"/>
                  </a:lnTo>
                  <a:lnTo>
                    <a:pt x="782" y="168"/>
                  </a:lnTo>
                  <a:lnTo>
                    <a:pt x="782" y="172"/>
                  </a:lnTo>
                  <a:lnTo>
                    <a:pt x="778" y="172"/>
                  </a:lnTo>
                  <a:lnTo>
                    <a:pt x="774" y="172"/>
                  </a:lnTo>
                  <a:lnTo>
                    <a:pt x="778" y="176"/>
                  </a:lnTo>
                  <a:lnTo>
                    <a:pt x="782" y="176"/>
                  </a:lnTo>
                  <a:lnTo>
                    <a:pt x="778" y="176"/>
                  </a:lnTo>
                  <a:lnTo>
                    <a:pt x="774" y="180"/>
                  </a:lnTo>
                  <a:lnTo>
                    <a:pt x="778" y="180"/>
                  </a:lnTo>
                  <a:lnTo>
                    <a:pt x="774" y="184"/>
                  </a:lnTo>
                  <a:lnTo>
                    <a:pt x="770" y="187"/>
                  </a:lnTo>
                  <a:lnTo>
                    <a:pt x="774" y="187"/>
                  </a:lnTo>
                  <a:lnTo>
                    <a:pt x="778" y="187"/>
                  </a:lnTo>
                  <a:lnTo>
                    <a:pt x="782" y="187"/>
                  </a:lnTo>
                  <a:lnTo>
                    <a:pt x="778" y="187"/>
                  </a:lnTo>
                  <a:lnTo>
                    <a:pt x="778" y="191"/>
                  </a:lnTo>
                  <a:lnTo>
                    <a:pt x="782" y="187"/>
                  </a:lnTo>
                  <a:lnTo>
                    <a:pt x="782" y="184"/>
                  </a:lnTo>
                  <a:lnTo>
                    <a:pt x="786" y="180"/>
                  </a:lnTo>
                  <a:lnTo>
                    <a:pt x="790" y="176"/>
                  </a:lnTo>
                  <a:lnTo>
                    <a:pt x="794" y="180"/>
                  </a:lnTo>
                  <a:lnTo>
                    <a:pt x="798" y="180"/>
                  </a:lnTo>
                  <a:lnTo>
                    <a:pt x="802" y="184"/>
                  </a:lnTo>
                  <a:lnTo>
                    <a:pt x="806" y="184"/>
                  </a:lnTo>
                  <a:lnTo>
                    <a:pt x="810" y="184"/>
                  </a:lnTo>
                  <a:lnTo>
                    <a:pt x="814" y="184"/>
                  </a:lnTo>
                  <a:lnTo>
                    <a:pt x="818" y="187"/>
                  </a:lnTo>
                  <a:lnTo>
                    <a:pt x="814" y="187"/>
                  </a:lnTo>
                  <a:lnTo>
                    <a:pt x="814" y="191"/>
                  </a:lnTo>
                  <a:lnTo>
                    <a:pt x="810" y="187"/>
                  </a:lnTo>
                  <a:lnTo>
                    <a:pt x="802" y="187"/>
                  </a:lnTo>
                  <a:lnTo>
                    <a:pt x="802" y="184"/>
                  </a:lnTo>
                  <a:lnTo>
                    <a:pt x="798" y="184"/>
                  </a:lnTo>
                  <a:lnTo>
                    <a:pt x="798" y="187"/>
                  </a:lnTo>
                  <a:lnTo>
                    <a:pt x="794" y="187"/>
                  </a:lnTo>
                  <a:lnTo>
                    <a:pt x="790" y="187"/>
                  </a:lnTo>
                  <a:lnTo>
                    <a:pt x="794" y="187"/>
                  </a:lnTo>
                  <a:lnTo>
                    <a:pt x="798" y="187"/>
                  </a:lnTo>
                  <a:lnTo>
                    <a:pt x="798" y="191"/>
                  </a:lnTo>
                  <a:lnTo>
                    <a:pt x="794" y="191"/>
                  </a:lnTo>
                  <a:lnTo>
                    <a:pt x="798" y="191"/>
                  </a:lnTo>
                  <a:lnTo>
                    <a:pt x="794" y="191"/>
                  </a:lnTo>
                  <a:lnTo>
                    <a:pt x="790" y="191"/>
                  </a:lnTo>
                  <a:lnTo>
                    <a:pt x="786" y="191"/>
                  </a:lnTo>
                  <a:lnTo>
                    <a:pt x="790" y="191"/>
                  </a:lnTo>
                  <a:lnTo>
                    <a:pt x="794" y="191"/>
                  </a:lnTo>
                  <a:lnTo>
                    <a:pt x="798" y="191"/>
                  </a:lnTo>
                  <a:lnTo>
                    <a:pt x="802" y="195"/>
                  </a:lnTo>
                  <a:lnTo>
                    <a:pt x="798" y="195"/>
                  </a:lnTo>
                  <a:lnTo>
                    <a:pt x="794" y="195"/>
                  </a:lnTo>
                  <a:lnTo>
                    <a:pt x="790" y="195"/>
                  </a:lnTo>
                  <a:lnTo>
                    <a:pt x="794" y="195"/>
                  </a:lnTo>
                  <a:lnTo>
                    <a:pt x="798" y="195"/>
                  </a:lnTo>
                  <a:lnTo>
                    <a:pt x="802" y="195"/>
                  </a:lnTo>
                  <a:lnTo>
                    <a:pt x="806" y="195"/>
                  </a:lnTo>
                  <a:lnTo>
                    <a:pt x="810" y="195"/>
                  </a:lnTo>
                  <a:lnTo>
                    <a:pt x="810" y="199"/>
                  </a:lnTo>
                  <a:lnTo>
                    <a:pt x="814" y="199"/>
                  </a:lnTo>
                  <a:lnTo>
                    <a:pt x="818" y="199"/>
                  </a:lnTo>
                  <a:lnTo>
                    <a:pt x="818" y="195"/>
                  </a:lnTo>
                  <a:lnTo>
                    <a:pt x="822" y="195"/>
                  </a:lnTo>
                  <a:lnTo>
                    <a:pt x="825" y="195"/>
                  </a:lnTo>
                  <a:lnTo>
                    <a:pt x="829" y="199"/>
                  </a:lnTo>
                  <a:lnTo>
                    <a:pt x="829" y="203"/>
                  </a:lnTo>
                  <a:lnTo>
                    <a:pt x="829" y="207"/>
                  </a:lnTo>
                  <a:lnTo>
                    <a:pt x="829" y="211"/>
                  </a:lnTo>
                  <a:lnTo>
                    <a:pt x="825" y="211"/>
                  </a:lnTo>
                  <a:lnTo>
                    <a:pt x="825" y="215"/>
                  </a:lnTo>
                  <a:lnTo>
                    <a:pt x="822" y="211"/>
                  </a:lnTo>
                  <a:lnTo>
                    <a:pt x="818" y="211"/>
                  </a:lnTo>
                  <a:lnTo>
                    <a:pt x="814" y="211"/>
                  </a:lnTo>
                  <a:lnTo>
                    <a:pt x="810" y="211"/>
                  </a:lnTo>
                  <a:lnTo>
                    <a:pt x="806" y="207"/>
                  </a:lnTo>
                  <a:lnTo>
                    <a:pt x="802" y="207"/>
                  </a:lnTo>
                  <a:lnTo>
                    <a:pt x="798" y="207"/>
                  </a:lnTo>
                  <a:lnTo>
                    <a:pt x="790" y="207"/>
                  </a:lnTo>
                  <a:lnTo>
                    <a:pt x="786" y="207"/>
                  </a:lnTo>
                  <a:lnTo>
                    <a:pt x="790" y="207"/>
                  </a:lnTo>
                  <a:lnTo>
                    <a:pt x="794" y="207"/>
                  </a:lnTo>
                  <a:lnTo>
                    <a:pt x="794" y="211"/>
                  </a:lnTo>
                  <a:lnTo>
                    <a:pt x="790" y="211"/>
                  </a:lnTo>
                  <a:lnTo>
                    <a:pt x="786" y="211"/>
                  </a:lnTo>
                  <a:lnTo>
                    <a:pt x="782" y="211"/>
                  </a:lnTo>
                  <a:lnTo>
                    <a:pt x="778" y="211"/>
                  </a:lnTo>
                  <a:lnTo>
                    <a:pt x="782" y="211"/>
                  </a:lnTo>
                  <a:lnTo>
                    <a:pt x="786" y="211"/>
                  </a:lnTo>
                  <a:lnTo>
                    <a:pt x="790" y="211"/>
                  </a:lnTo>
                  <a:lnTo>
                    <a:pt x="786" y="211"/>
                  </a:lnTo>
                  <a:lnTo>
                    <a:pt x="786" y="215"/>
                  </a:lnTo>
                  <a:lnTo>
                    <a:pt x="786" y="211"/>
                  </a:lnTo>
                  <a:lnTo>
                    <a:pt x="782" y="211"/>
                  </a:lnTo>
                  <a:lnTo>
                    <a:pt x="782" y="215"/>
                  </a:lnTo>
                  <a:lnTo>
                    <a:pt x="778" y="219"/>
                  </a:lnTo>
                  <a:lnTo>
                    <a:pt x="774" y="219"/>
                  </a:lnTo>
                  <a:lnTo>
                    <a:pt x="774" y="215"/>
                  </a:lnTo>
                  <a:lnTo>
                    <a:pt x="770" y="211"/>
                  </a:lnTo>
                  <a:lnTo>
                    <a:pt x="766" y="211"/>
                  </a:lnTo>
                  <a:lnTo>
                    <a:pt x="766" y="215"/>
                  </a:lnTo>
                  <a:lnTo>
                    <a:pt x="762" y="215"/>
                  </a:lnTo>
                  <a:lnTo>
                    <a:pt x="766" y="219"/>
                  </a:lnTo>
                  <a:lnTo>
                    <a:pt x="766" y="223"/>
                  </a:lnTo>
                  <a:lnTo>
                    <a:pt x="766" y="219"/>
                  </a:lnTo>
                  <a:lnTo>
                    <a:pt x="770" y="219"/>
                  </a:lnTo>
                  <a:lnTo>
                    <a:pt x="774" y="219"/>
                  </a:lnTo>
                  <a:lnTo>
                    <a:pt x="778" y="223"/>
                  </a:lnTo>
                  <a:lnTo>
                    <a:pt x="774" y="223"/>
                  </a:lnTo>
                  <a:lnTo>
                    <a:pt x="770" y="223"/>
                  </a:lnTo>
                  <a:lnTo>
                    <a:pt x="774" y="223"/>
                  </a:lnTo>
                  <a:lnTo>
                    <a:pt x="778" y="223"/>
                  </a:lnTo>
                  <a:lnTo>
                    <a:pt x="774" y="223"/>
                  </a:lnTo>
                  <a:lnTo>
                    <a:pt x="770" y="223"/>
                  </a:lnTo>
                  <a:lnTo>
                    <a:pt x="766" y="223"/>
                  </a:lnTo>
                  <a:lnTo>
                    <a:pt x="770" y="223"/>
                  </a:lnTo>
                  <a:lnTo>
                    <a:pt x="774" y="223"/>
                  </a:lnTo>
                  <a:lnTo>
                    <a:pt x="778" y="223"/>
                  </a:lnTo>
                  <a:lnTo>
                    <a:pt x="778" y="227"/>
                  </a:lnTo>
                  <a:lnTo>
                    <a:pt x="778" y="231"/>
                  </a:lnTo>
                  <a:lnTo>
                    <a:pt x="782" y="227"/>
                  </a:lnTo>
                  <a:lnTo>
                    <a:pt x="786" y="227"/>
                  </a:lnTo>
                  <a:lnTo>
                    <a:pt x="786" y="231"/>
                  </a:lnTo>
                  <a:lnTo>
                    <a:pt x="790" y="231"/>
                  </a:lnTo>
                  <a:lnTo>
                    <a:pt x="794" y="231"/>
                  </a:lnTo>
                  <a:lnTo>
                    <a:pt x="798" y="231"/>
                  </a:lnTo>
                  <a:lnTo>
                    <a:pt x="794" y="231"/>
                  </a:lnTo>
                  <a:lnTo>
                    <a:pt x="790" y="231"/>
                  </a:lnTo>
                  <a:lnTo>
                    <a:pt x="786" y="227"/>
                  </a:lnTo>
                  <a:lnTo>
                    <a:pt x="790" y="227"/>
                  </a:lnTo>
                  <a:lnTo>
                    <a:pt x="794" y="227"/>
                  </a:lnTo>
                  <a:lnTo>
                    <a:pt x="794" y="231"/>
                  </a:lnTo>
                  <a:lnTo>
                    <a:pt x="798" y="231"/>
                  </a:lnTo>
                  <a:lnTo>
                    <a:pt x="802" y="231"/>
                  </a:lnTo>
                  <a:lnTo>
                    <a:pt x="802" y="227"/>
                  </a:lnTo>
                  <a:lnTo>
                    <a:pt x="806" y="231"/>
                  </a:lnTo>
                  <a:lnTo>
                    <a:pt x="806" y="235"/>
                  </a:lnTo>
                  <a:lnTo>
                    <a:pt x="802" y="235"/>
                  </a:lnTo>
                  <a:lnTo>
                    <a:pt x="798" y="235"/>
                  </a:lnTo>
                  <a:lnTo>
                    <a:pt x="798" y="239"/>
                  </a:lnTo>
                  <a:lnTo>
                    <a:pt x="794" y="239"/>
                  </a:lnTo>
                  <a:lnTo>
                    <a:pt x="790" y="235"/>
                  </a:lnTo>
                  <a:lnTo>
                    <a:pt x="782" y="235"/>
                  </a:lnTo>
                  <a:lnTo>
                    <a:pt x="782" y="239"/>
                  </a:lnTo>
                  <a:lnTo>
                    <a:pt x="778" y="239"/>
                  </a:lnTo>
                  <a:lnTo>
                    <a:pt x="774" y="239"/>
                  </a:lnTo>
                  <a:lnTo>
                    <a:pt x="774" y="235"/>
                  </a:lnTo>
                  <a:lnTo>
                    <a:pt x="774" y="239"/>
                  </a:lnTo>
                  <a:lnTo>
                    <a:pt x="778" y="239"/>
                  </a:lnTo>
                  <a:lnTo>
                    <a:pt x="782" y="239"/>
                  </a:lnTo>
                  <a:lnTo>
                    <a:pt x="786" y="239"/>
                  </a:lnTo>
                  <a:lnTo>
                    <a:pt x="790" y="239"/>
                  </a:lnTo>
                  <a:lnTo>
                    <a:pt x="794" y="239"/>
                  </a:lnTo>
                  <a:lnTo>
                    <a:pt x="798" y="239"/>
                  </a:lnTo>
                  <a:lnTo>
                    <a:pt x="802" y="239"/>
                  </a:lnTo>
                  <a:lnTo>
                    <a:pt x="806" y="239"/>
                  </a:lnTo>
                  <a:lnTo>
                    <a:pt x="810" y="243"/>
                  </a:lnTo>
                  <a:lnTo>
                    <a:pt x="810" y="247"/>
                  </a:lnTo>
                  <a:lnTo>
                    <a:pt x="810" y="251"/>
                  </a:lnTo>
                  <a:lnTo>
                    <a:pt x="814" y="255"/>
                  </a:lnTo>
                  <a:lnTo>
                    <a:pt x="810" y="255"/>
                  </a:lnTo>
                  <a:lnTo>
                    <a:pt x="810" y="259"/>
                  </a:lnTo>
                  <a:lnTo>
                    <a:pt x="810" y="263"/>
                  </a:lnTo>
                  <a:lnTo>
                    <a:pt x="806" y="263"/>
                  </a:lnTo>
                  <a:lnTo>
                    <a:pt x="802" y="263"/>
                  </a:lnTo>
                  <a:lnTo>
                    <a:pt x="802" y="259"/>
                  </a:lnTo>
                  <a:lnTo>
                    <a:pt x="802" y="255"/>
                  </a:lnTo>
                  <a:lnTo>
                    <a:pt x="798" y="255"/>
                  </a:lnTo>
                  <a:lnTo>
                    <a:pt x="794" y="255"/>
                  </a:lnTo>
                  <a:lnTo>
                    <a:pt x="794" y="259"/>
                  </a:lnTo>
                  <a:lnTo>
                    <a:pt x="790" y="259"/>
                  </a:lnTo>
                  <a:lnTo>
                    <a:pt x="786" y="255"/>
                  </a:lnTo>
                  <a:lnTo>
                    <a:pt x="782" y="251"/>
                  </a:lnTo>
                  <a:lnTo>
                    <a:pt x="778" y="251"/>
                  </a:lnTo>
                  <a:lnTo>
                    <a:pt x="778" y="247"/>
                  </a:lnTo>
                  <a:lnTo>
                    <a:pt x="774" y="247"/>
                  </a:lnTo>
                  <a:lnTo>
                    <a:pt x="770" y="247"/>
                  </a:lnTo>
                  <a:lnTo>
                    <a:pt x="766" y="247"/>
                  </a:lnTo>
                  <a:lnTo>
                    <a:pt x="770" y="247"/>
                  </a:lnTo>
                  <a:lnTo>
                    <a:pt x="774" y="247"/>
                  </a:lnTo>
                  <a:lnTo>
                    <a:pt x="774" y="251"/>
                  </a:lnTo>
                  <a:lnTo>
                    <a:pt x="778" y="251"/>
                  </a:lnTo>
                  <a:lnTo>
                    <a:pt x="782" y="251"/>
                  </a:lnTo>
                  <a:lnTo>
                    <a:pt x="778" y="251"/>
                  </a:lnTo>
                  <a:lnTo>
                    <a:pt x="774" y="251"/>
                  </a:lnTo>
                  <a:lnTo>
                    <a:pt x="770" y="251"/>
                  </a:lnTo>
                  <a:lnTo>
                    <a:pt x="766" y="251"/>
                  </a:lnTo>
                  <a:lnTo>
                    <a:pt x="770" y="251"/>
                  </a:lnTo>
                  <a:lnTo>
                    <a:pt x="774" y="251"/>
                  </a:lnTo>
                  <a:lnTo>
                    <a:pt x="778" y="251"/>
                  </a:lnTo>
                  <a:lnTo>
                    <a:pt x="782" y="255"/>
                  </a:lnTo>
                  <a:lnTo>
                    <a:pt x="786" y="255"/>
                  </a:lnTo>
                  <a:lnTo>
                    <a:pt x="790" y="259"/>
                  </a:lnTo>
                  <a:lnTo>
                    <a:pt x="794" y="259"/>
                  </a:lnTo>
                  <a:lnTo>
                    <a:pt x="794" y="263"/>
                  </a:lnTo>
                  <a:lnTo>
                    <a:pt x="790" y="263"/>
                  </a:lnTo>
                  <a:lnTo>
                    <a:pt x="786" y="263"/>
                  </a:lnTo>
                  <a:lnTo>
                    <a:pt x="782" y="263"/>
                  </a:lnTo>
                  <a:lnTo>
                    <a:pt x="782" y="267"/>
                  </a:lnTo>
                  <a:lnTo>
                    <a:pt x="778" y="267"/>
                  </a:lnTo>
                  <a:lnTo>
                    <a:pt x="774" y="267"/>
                  </a:lnTo>
                  <a:lnTo>
                    <a:pt x="774" y="263"/>
                  </a:lnTo>
                  <a:lnTo>
                    <a:pt x="770" y="263"/>
                  </a:lnTo>
                  <a:lnTo>
                    <a:pt x="766" y="263"/>
                  </a:lnTo>
                  <a:lnTo>
                    <a:pt x="766" y="259"/>
                  </a:lnTo>
                  <a:lnTo>
                    <a:pt x="766" y="263"/>
                  </a:lnTo>
                  <a:lnTo>
                    <a:pt x="770" y="263"/>
                  </a:lnTo>
                  <a:lnTo>
                    <a:pt x="774" y="263"/>
                  </a:lnTo>
                  <a:lnTo>
                    <a:pt x="774" y="267"/>
                  </a:lnTo>
                  <a:lnTo>
                    <a:pt x="778" y="267"/>
                  </a:lnTo>
                  <a:lnTo>
                    <a:pt x="782" y="267"/>
                  </a:lnTo>
                  <a:lnTo>
                    <a:pt x="782" y="263"/>
                  </a:lnTo>
                  <a:lnTo>
                    <a:pt x="786" y="263"/>
                  </a:lnTo>
                  <a:lnTo>
                    <a:pt x="790" y="263"/>
                  </a:lnTo>
                  <a:lnTo>
                    <a:pt x="794" y="263"/>
                  </a:lnTo>
                  <a:lnTo>
                    <a:pt x="794" y="267"/>
                  </a:lnTo>
                  <a:lnTo>
                    <a:pt x="790" y="271"/>
                  </a:lnTo>
                  <a:lnTo>
                    <a:pt x="794" y="271"/>
                  </a:lnTo>
                  <a:lnTo>
                    <a:pt x="794" y="275"/>
                  </a:lnTo>
                  <a:lnTo>
                    <a:pt x="790" y="275"/>
                  </a:lnTo>
                  <a:lnTo>
                    <a:pt x="786" y="275"/>
                  </a:lnTo>
                  <a:lnTo>
                    <a:pt x="790" y="275"/>
                  </a:lnTo>
                  <a:lnTo>
                    <a:pt x="794" y="275"/>
                  </a:lnTo>
                  <a:lnTo>
                    <a:pt x="798" y="275"/>
                  </a:lnTo>
                  <a:lnTo>
                    <a:pt x="802" y="275"/>
                  </a:lnTo>
                  <a:lnTo>
                    <a:pt x="806" y="279"/>
                  </a:lnTo>
                  <a:lnTo>
                    <a:pt x="810" y="275"/>
                  </a:lnTo>
                  <a:lnTo>
                    <a:pt x="814" y="275"/>
                  </a:lnTo>
                  <a:lnTo>
                    <a:pt x="814" y="279"/>
                  </a:lnTo>
                  <a:lnTo>
                    <a:pt x="818" y="279"/>
                  </a:lnTo>
                  <a:lnTo>
                    <a:pt x="818" y="283"/>
                  </a:lnTo>
                  <a:lnTo>
                    <a:pt x="814" y="283"/>
                  </a:lnTo>
                  <a:lnTo>
                    <a:pt x="814" y="287"/>
                  </a:lnTo>
                  <a:lnTo>
                    <a:pt x="810" y="287"/>
                  </a:lnTo>
                  <a:lnTo>
                    <a:pt x="806" y="287"/>
                  </a:lnTo>
                  <a:lnTo>
                    <a:pt x="802" y="287"/>
                  </a:lnTo>
                  <a:lnTo>
                    <a:pt x="798" y="287"/>
                  </a:lnTo>
                  <a:lnTo>
                    <a:pt x="798" y="283"/>
                  </a:lnTo>
                  <a:lnTo>
                    <a:pt x="794" y="283"/>
                  </a:lnTo>
                  <a:lnTo>
                    <a:pt x="790" y="283"/>
                  </a:lnTo>
                  <a:lnTo>
                    <a:pt x="786" y="283"/>
                  </a:lnTo>
                  <a:lnTo>
                    <a:pt x="782" y="283"/>
                  </a:lnTo>
                  <a:lnTo>
                    <a:pt x="778" y="283"/>
                  </a:lnTo>
                  <a:lnTo>
                    <a:pt x="774" y="283"/>
                  </a:lnTo>
                  <a:lnTo>
                    <a:pt x="774" y="279"/>
                  </a:lnTo>
                  <a:lnTo>
                    <a:pt x="770" y="279"/>
                  </a:lnTo>
                  <a:lnTo>
                    <a:pt x="774" y="279"/>
                  </a:lnTo>
                  <a:lnTo>
                    <a:pt x="774" y="283"/>
                  </a:lnTo>
                  <a:lnTo>
                    <a:pt x="774" y="287"/>
                  </a:lnTo>
                  <a:lnTo>
                    <a:pt x="770" y="287"/>
                  </a:lnTo>
                  <a:lnTo>
                    <a:pt x="766" y="287"/>
                  </a:lnTo>
                  <a:lnTo>
                    <a:pt x="770" y="287"/>
                  </a:lnTo>
                  <a:lnTo>
                    <a:pt x="770" y="291"/>
                  </a:lnTo>
                  <a:lnTo>
                    <a:pt x="766" y="291"/>
                  </a:lnTo>
                  <a:lnTo>
                    <a:pt x="770" y="295"/>
                  </a:lnTo>
                  <a:lnTo>
                    <a:pt x="774" y="295"/>
                  </a:lnTo>
                  <a:lnTo>
                    <a:pt x="774" y="299"/>
                  </a:lnTo>
                  <a:lnTo>
                    <a:pt x="774" y="303"/>
                  </a:lnTo>
                  <a:lnTo>
                    <a:pt x="778" y="303"/>
                  </a:lnTo>
                  <a:lnTo>
                    <a:pt x="774" y="299"/>
                  </a:lnTo>
                  <a:lnTo>
                    <a:pt x="774" y="295"/>
                  </a:lnTo>
                  <a:lnTo>
                    <a:pt x="778" y="291"/>
                  </a:lnTo>
                  <a:lnTo>
                    <a:pt x="778" y="295"/>
                  </a:lnTo>
                  <a:lnTo>
                    <a:pt x="782" y="295"/>
                  </a:lnTo>
                  <a:lnTo>
                    <a:pt x="786" y="295"/>
                  </a:lnTo>
                  <a:lnTo>
                    <a:pt x="790" y="299"/>
                  </a:lnTo>
                  <a:lnTo>
                    <a:pt x="794" y="299"/>
                  </a:lnTo>
                  <a:lnTo>
                    <a:pt x="798" y="299"/>
                  </a:lnTo>
                  <a:lnTo>
                    <a:pt x="798" y="303"/>
                  </a:lnTo>
                  <a:lnTo>
                    <a:pt x="794" y="303"/>
                  </a:lnTo>
                  <a:lnTo>
                    <a:pt x="794" y="307"/>
                  </a:lnTo>
                  <a:lnTo>
                    <a:pt x="798" y="307"/>
                  </a:lnTo>
                  <a:lnTo>
                    <a:pt x="794" y="311"/>
                  </a:lnTo>
                  <a:lnTo>
                    <a:pt x="790" y="311"/>
                  </a:lnTo>
                  <a:lnTo>
                    <a:pt x="786" y="311"/>
                  </a:lnTo>
                  <a:lnTo>
                    <a:pt x="782" y="311"/>
                  </a:lnTo>
                  <a:lnTo>
                    <a:pt x="778" y="311"/>
                  </a:lnTo>
                  <a:lnTo>
                    <a:pt x="774" y="311"/>
                  </a:lnTo>
                  <a:lnTo>
                    <a:pt x="774" y="315"/>
                  </a:lnTo>
                  <a:lnTo>
                    <a:pt x="770" y="315"/>
                  </a:lnTo>
                  <a:lnTo>
                    <a:pt x="766" y="315"/>
                  </a:lnTo>
                  <a:lnTo>
                    <a:pt x="762" y="315"/>
                  </a:lnTo>
                  <a:lnTo>
                    <a:pt x="758" y="315"/>
                  </a:lnTo>
                  <a:lnTo>
                    <a:pt x="754" y="315"/>
                  </a:lnTo>
                  <a:lnTo>
                    <a:pt x="754" y="311"/>
                  </a:lnTo>
                  <a:lnTo>
                    <a:pt x="750" y="311"/>
                  </a:lnTo>
                  <a:lnTo>
                    <a:pt x="746" y="311"/>
                  </a:lnTo>
                  <a:lnTo>
                    <a:pt x="746" y="307"/>
                  </a:lnTo>
                  <a:lnTo>
                    <a:pt x="742" y="307"/>
                  </a:lnTo>
                  <a:lnTo>
                    <a:pt x="742" y="303"/>
                  </a:lnTo>
                  <a:lnTo>
                    <a:pt x="746" y="303"/>
                  </a:lnTo>
                  <a:lnTo>
                    <a:pt x="750" y="303"/>
                  </a:lnTo>
                  <a:lnTo>
                    <a:pt x="754" y="307"/>
                  </a:lnTo>
                  <a:lnTo>
                    <a:pt x="758" y="307"/>
                  </a:lnTo>
                  <a:lnTo>
                    <a:pt x="762" y="307"/>
                  </a:lnTo>
                  <a:lnTo>
                    <a:pt x="766" y="307"/>
                  </a:lnTo>
                  <a:lnTo>
                    <a:pt x="770" y="307"/>
                  </a:lnTo>
                  <a:lnTo>
                    <a:pt x="766" y="307"/>
                  </a:lnTo>
                  <a:lnTo>
                    <a:pt x="762" y="307"/>
                  </a:lnTo>
                  <a:lnTo>
                    <a:pt x="758" y="307"/>
                  </a:lnTo>
                  <a:lnTo>
                    <a:pt x="754" y="303"/>
                  </a:lnTo>
                  <a:lnTo>
                    <a:pt x="750" y="303"/>
                  </a:lnTo>
                  <a:lnTo>
                    <a:pt x="746" y="303"/>
                  </a:lnTo>
                  <a:lnTo>
                    <a:pt x="742" y="303"/>
                  </a:lnTo>
                  <a:lnTo>
                    <a:pt x="742" y="299"/>
                  </a:lnTo>
                  <a:lnTo>
                    <a:pt x="738" y="299"/>
                  </a:lnTo>
                  <a:lnTo>
                    <a:pt x="738" y="303"/>
                  </a:lnTo>
                  <a:lnTo>
                    <a:pt x="734" y="303"/>
                  </a:lnTo>
                  <a:lnTo>
                    <a:pt x="734" y="307"/>
                  </a:lnTo>
                  <a:lnTo>
                    <a:pt x="730" y="307"/>
                  </a:lnTo>
                  <a:lnTo>
                    <a:pt x="726" y="307"/>
                  </a:lnTo>
                  <a:lnTo>
                    <a:pt x="726" y="303"/>
                  </a:lnTo>
                  <a:lnTo>
                    <a:pt x="722" y="303"/>
                  </a:lnTo>
                  <a:lnTo>
                    <a:pt x="722" y="299"/>
                  </a:lnTo>
                  <a:lnTo>
                    <a:pt x="718" y="299"/>
                  </a:lnTo>
                  <a:lnTo>
                    <a:pt x="718" y="295"/>
                  </a:lnTo>
                  <a:lnTo>
                    <a:pt x="714" y="295"/>
                  </a:lnTo>
                  <a:lnTo>
                    <a:pt x="714" y="299"/>
                  </a:lnTo>
                  <a:lnTo>
                    <a:pt x="718" y="299"/>
                  </a:lnTo>
                  <a:lnTo>
                    <a:pt x="722" y="303"/>
                  </a:lnTo>
                  <a:lnTo>
                    <a:pt x="726" y="303"/>
                  </a:lnTo>
                  <a:lnTo>
                    <a:pt x="726" y="307"/>
                  </a:lnTo>
                  <a:lnTo>
                    <a:pt x="730" y="307"/>
                  </a:lnTo>
                  <a:lnTo>
                    <a:pt x="730" y="311"/>
                  </a:lnTo>
                  <a:lnTo>
                    <a:pt x="726" y="311"/>
                  </a:lnTo>
                  <a:lnTo>
                    <a:pt x="722" y="311"/>
                  </a:lnTo>
                  <a:lnTo>
                    <a:pt x="718" y="311"/>
                  </a:lnTo>
                  <a:lnTo>
                    <a:pt x="718" y="315"/>
                  </a:lnTo>
                  <a:lnTo>
                    <a:pt x="714" y="315"/>
                  </a:lnTo>
                  <a:lnTo>
                    <a:pt x="710" y="315"/>
                  </a:lnTo>
                  <a:lnTo>
                    <a:pt x="706" y="315"/>
                  </a:lnTo>
                  <a:lnTo>
                    <a:pt x="702" y="315"/>
                  </a:lnTo>
                  <a:lnTo>
                    <a:pt x="698" y="315"/>
                  </a:lnTo>
                  <a:lnTo>
                    <a:pt x="698" y="311"/>
                  </a:lnTo>
                  <a:lnTo>
                    <a:pt x="694" y="311"/>
                  </a:lnTo>
                  <a:lnTo>
                    <a:pt x="690" y="311"/>
                  </a:lnTo>
                  <a:lnTo>
                    <a:pt x="694" y="315"/>
                  </a:lnTo>
                  <a:lnTo>
                    <a:pt x="698" y="315"/>
                  </a:lnTo>
                  <a:lnTo>
                    <a:pt x="702" y="315"/>
                  </a:lnTo>
                  <a:lnTo>
                    <a:pt x="706" y="315"/>
                  </a:lnTo>
                  <a:lnTo>
                    <a:pt x="702" y="315"/>
                  </a:lnTo>
                  <a:lnTo>
                    <a:pt x="702" y="319"/>
                  </a:lnTo>
                  <a:lnTo>
                    <a:pt x="698" y="319"/>
                  </a:lnTo>
                  <a:lnTo>
                    <a:pt x="694" y="319"/>
                  </a:lnTo>
                  <a:lnTo>
                    <a:pt x="690" y="319"/>
                  </a:lnTo>
                  <a:lnTo>
                    <a:pt x="686" y="319"/>
                  </a:lnTo>
                  <a:lnTo>
                    <a:pt x="690" y="319"/>
                  </a:lnTo>
                  <a:lnTo>
                    <a:pt x="690" y="323"/>
                  </a:lnTo>
                  <a:lnTo>
                    <a:pt x="690" y="327"/>
                  </a:lnTo>
                  <a:lnTo>
                    <a:pt x="690" y="323"/>
                  </a:lnTo>
                  <a:lnTo>
                    <a:pt x="690" y="319"/>
                  </a:lnTo>
                  <a:lnTo>
                    <a:pt x="694" y="319"/>
                  </a:lnTo>
                  <a:lnTo>
                    <a:pt x="698" y="319"/>
                  </a:lnTo>
                  <a:lnTo>
                    <a:pt x="702" y="319"/>
                  </a:lnTo>
                  <a:lnTo>
                    <a:pt x="706" y="319"/>
                  </a:lnTo>
                  <a:lnTo>
                    <a:pt x="710" y="319"/>
                  </a:lnTo>
                  <a:lnTo>
                    <a:pt x="714" y="319"/>
                  </a:lnTo>
                  <a:lnTo>
                    <a:pt x="718" y="319"/>
                  </a:lnTo>
                  <a:lnTo>
                    <a:pt x="722" y="319"/>
                  </a:lnTo>
                  <a:lnTo>
                    <a:pt x="722" y="323"/>
                  </a:lnTo>
                  <a:lnTo>
                    <a:pt x="726" y="319"/>
                  </a:lnTo>
                  <a:lnTo>
                    <a:pt x="726" y="323"/>
                  </a:lnTo>
                  <a:lnTo>
                    <a:pt x="726" y="327"/>
                  </a:lnTo>
                  <a:lnTo>
                    <a:pt x="722" y="327"/>
                  </a:lnTo>
                  <a:lnTo>
                    <a:pt x="718" y="327"/>
                  </a:lnTo>
                  <a:lnTo>
                    <a:pt x="714" y="327"/>
                  </a:lnTo>
                  <a:lnTo>
                    <a:pt x="710" y="331"/>
                  </a:lnTo>
                  <a:lnTo>
                    <a:pt x="706" y="331"/>
                  </a:lnTo>
                  <a:lnTo>
                    <a:pt x="702" y="327"/>
                  </a:lnTo>
                  <a:lnTo>
                    <a:pt x="698" y="327"/>
                  </a:lnTo>
                  <a:lnTo>
                    <a:pt x="694" y="327"/>
                  </a:lnTo>
                  <a:lnTo>
                    <a:pt x="690" y="327"/>
                  </a:lnTo>
                  <a:lnTo>
                    <a:pt x="694" y="327"/>
                  </a:lnTo>
                  <a:lnTo>
                    <a:pt x="698" y="327"/>
                  </a:lnTo>
                  <a:lnTo>
                    <a:pt x="702" y="327"/>
                  </a:lnTo>
                  <a:lnTo>
                    <a:pt x="706" y="331"/>
                  </a:lnTo>
                  <a:lnTo>
                    <a:pt x="702" y="331"/>
                  </a:lnTo>
                  <a:lnTo>
                    <a:pt x="698" y="331"/>
                  </a:lnTo>
                  <a:lnTo>
                    <a:pt x="702" y="331"/>
                  </a:lnTo>
                  <a:lnTo>
                    <a:pt x="706" y="331"/>
                  </a:lnTo>
                  <a:lnTo>
                    <a:pt x="706" y="335"/>
                  </a:lnTo>
                  <a:lnTo>
                    <a:pt x="706" y="331"/>
                  </a:lnTo>
                  <a:lnTo>
                    <a:pt x="710" y="331"/>
                  </a:lnTo>
                  <a:lnTo>
                    <a:pt x="714" y="331"/>
                  </a:lnTo>
                  <a:lnTo>
                    <a:pt x="718" y="327"/>
                  </a:lnTo>
                  <a:lnTo>
                    <a:pt x="722" y="331"/>
                  </a:lnTo>
                  <a:lnTo>
                    <a:pt x="726" y="331"/>
                  </a:lnTo>
                  <a:lnTo>
                    <a:pt x="730" y="331"/>
                  </a:lnTo>
                  <a:lnTo>
                    <a:pt x="730" y="335"/>
                  </a:lnTo>
                  <a:lnTo>
                    <a:pt x="734" y="335"/>
                  </a:lnTo>
                  <a:lnTo>
                    <a:pt x="730" y="339"/>
                  </a:lnTo>
                  <a:lnTo>
                    <a:pt x="726" y="339"/>
                  </a:lnTo>
                  <a:lnTo>
                    <a:pt x="722" y="339"/>
                  </a:lnTo>
                  <a:lnTo>
                    <a:pt x="718" y="339"/>
                  </a:lnTo>
                  <a:lnTo>
                    <a:pt x="714" y="339"/>
                  </a:lnTo>
                  <a:lnTo>
                    <a:pt x="718" y="339"/>
                  </a:lnTo>
                  <a:lnTo>
                    <a:pt x="722" y="339"/>
                  </a:lnTo>
                  <a:lnTo>
                    <a:pt x="722" y="343"/>
                  </a:lnTo>
                  <a:lnTo>
                    <a:pt x="718" y="343"/>
                  </a:lnTo>
                  <a:lnTo>
                    <a:pt x="718" y="347"/>
                  </a:lnTo>
                  <a:lnTo>
                    <a:pt x="722" y="347"/>
                  </a:lnTo>
                  <a:lnTo>
                    <a:pt x="722" y="343"/>
                  </a:lnTo>
                  <a:lnTo>
                    <a:pt x="726" y="343"/>
                  </a:lnTo>
                  <a:lnTo>
                    <a:pt x="726" y="339"/>
                  </a:lnTo>
                  <a:lnTo>
                    <a:pt x="730" y="339"/>
                  </a:lnTo>
                  <a:lnTo>
                    <a:pt x="734" y="339"/>
                  </a:lnTo>
                  <a:lnTo>
                    <a:pt x="734" y="343"/>
                  </a:lnTo>
                  <a:lnTo>
                    <a:pt x="738" y="343"/>
                  </a:lnTo>
                  <a:lnTo>
                    <a:pt x="742" y="343"/>
                  </a:lnTo>
                  <a:lnTo>
                    <a:pt x="746" y="343"/>
                  </a:lnTo>
                  <a:lnTo>
                    <a:pt x="746" y="347"/>
                  </a:lnTo>
                  <a:lnTo>
                    <a:pt x="750" y="347"/>
                  </a:lnTo>
                  <a:lnTo>
                    <a:pt x="754" y="347"/>
                  </a:lnTo>
                  <a:lnTo>
                    <a:pt x="754" y="351"/>
                  </a:lnTo>
                  <a:lnTo>
                    <a:pt x="758" y="351"/>
                  </a:lnTo>
                  <a:lnTo>
                    <a:pt x="762" y="351"/>
                  </a:lnTo>
                  <a:lnTo>
                    <a:pt x="762" y="355"/>
                  </a:lnTo>
                  <a:lnTo>
                    <a:pt x="766" y="355"/>
                  </a:lnTo>
                  <a:lnTo>
                    <a:pt x="762" y="355"/>
                  </a:lnTo>
                  <a:lnTo>
                    <a:pt x="762" y="359"/>
                  </a:lnTo>
                  <a:lnTo>
                    <a:pt x="758" y="359"/>
                  </a:lnTo>
                  <a:lnTo>
                    <a:pt x="754" y="359"/>
                  </a:lnTo>
                  <a:lnTo>
                    <a:pt x="754" y="363"/>
                  </a:lnTo>
                  <a:lnTo>
                    <a:pt x="758" y="363"/>
                  </a:lnTo>
                  <a:lnTo>
                    <a:pt x="758" y="359"/>
                  </a:lnTo>
                  <a:lnTo>
                    <a:pt x="762" y="359"/>
                  </a:lnTo>
                  <a:lnTo>
                    <a:pt x="766" y="359"/>
                  </a:lnTo>
                  <a:lnTo>
                    <a:pt x="762" y="359"/>
                  </a:lnTo>
                  <a:lnTo>
                    <a:pt x="762" y="363"/>
                  </a:lnTo>
                  <a:lnTo>
                    <a:pt x="766" y="363"/>
                  </a:lnTo>
                  <a:lnTo>
                    <a:pt x="766" y="359"/>
                  </a:lnTo>
                  <a:lnTo>
                    <a:pt x="770" y="359"/>
                  </a:lnTo>
                  <a:lnTo>
                    <a:pt x="774" y="359"/>
                  </a:lnTo>
                  <a:lnTo>
                    <a:pt x="770" y="359"/>
                  </a:lnTo>
                  <a:lnTo>
                    <a:pt x="770" y="363"/>
                  </a:lnTo>
                  <a:lnTo>
                    <a:pt x="766" y="363"/>
                  </a:lnTo>
                  <a:lnTo>
                    <a:pt x="762" y="367"/>
                  </a:lnTo>
                  <a:lnTo>
                    <a:pt x="766" y="367"/>
                  </a:lnTo>
                  <a:lnTo>
                    <a:pt x="766" y="371"/>
                  </a:lnTo>
                  <a:lnTo>
                    <a:pt x="766" y="367"/>
                  </a:lnTo>
                  <a:lnTo>
                    <a:pt x="770" y="367"/>
                  </a:lnTo>
                  <a:lnTo>
                    <a:pt x="774" y="367"/>
                  </a:lnTo>
                  <a:lnTo>
                    <a:pt x="778" y="367"/>
                  </a:lnTo>
                  <a:lnTo>
                    <a:pt x="774" y="367"/>
                  </a:lnTo>
                  <a:lnTo>
                    <a:pt x="774" y="371"/>
                  </a:lnTo>
                  <a:lnTo>
                    <a:pt x="778" y="371"/>
                  </a:lnTo>
                  <a:lnTo>
                    <a:pt x="774" y="371"/>
                  </a:lnTo>
                  <a:lnTo>
                    <a:pt x="778" y="371"/>
                  </a:lnTo>
                  <a:lnTo>
                    <a:pt x="778" y="375"/>
                  </a:lnTo>
                  <a:lnTo>
                    <a:pt x="774" y="375"/>
                  </a:lnTo>
                  <a:lnTo>
                    <a:pt x="774" y="379"/>
                  </a:lnTo>
                  <a:lnTo>
                    <a:pt x="770" y="379"/>
                  </a:lnTo>
                  <a:lnTo>
                    <a:pt x="766" y="379"/>
                  </a:lnTo>
                  <a:lnTo>
                    <a:pt x="770" y="379"/>
                  </a:lnTo>
                  <a:lnTo>
                    <a:pt x="774" y="379"/>
                  </a:lnTo>
                  <a:lnTo>
                    <a:pt x="778" y="379"/>
                  </a:lnTo>
                  <a:lnTo>
                    <a:pt x="778" y="383"/>
                  </a:lnTo>
                  <a:lnTo>
                    <a:pt x="774" y="383"/>
                  </a:lnTo>
                  <a:lnTo>
                    <a:pt x="774" y="387"/>
                  </a:lnTo>
                  <a:lnTo>
                    <a:pt x="774" y="383"/>
                  </a:lnTo>
                  <a:lnTo>
                    <a:pt x="774" y="387"/>
                  </a:lnTo>
                  <a:lnTo>
                    <a:pt x="778" y="387"/>
                  </a:lnTo>
                  <a:lnTo>
                    <a:pt x="778" y="383"/>
                  </a:lnTo>
                  <a:lnTo>
                    <a:pt x="778" y="387"/>
                  </a:lnTo>
                  <a:lnTo>
                    <a:pt x="774" y="387"/>
                  </a:lnTo>
                  <a:lnTo>
                    <a:pt x="778" y="387"/>
                  </a:lnTo>
                  <a:lnTo>
                    <a:pt x="774" y="391"/>
                  </a:lnTo>
                  <a:lnTo>
                    <a:pt x="778" y="391"/>
                  </a:lnTo>
                  <a:lnTo>
                    <a:pt x="782" y="391"/>
                  </a:lnTo>
                  <a:lnTo>
                    <a:pt x="778" y="395"/>
                  </a:lnTo>
                  <a:lnTo>
                    <a:pt x="774" y="395"/>
                  </a:lnTo>
                  <a:lnTo>
                    <a:pt x="770" y="395"/>
                  </a:lnTo>
                  <a:lnTo>
                    <a:pt x="766" y="395"/>
                  </a:lnTo>
                  <a:lnTo>
                    <a:pt x="766" y="391"/>
                  </a:lnTo>
                  <a:lnTo>
                    <a:pt x="766" y="387"/>
                  </a:lnTo>
                  <a:lnTo>
                    <a:pt x="766" y="383"/>
                  </a:lnTo>
                  <a:lnTo>
                    <a:pt x="762" y="383"/>
                  </a:lnTo>
                  <a:lnTo>
                    <a:pt x="762" y="387"/>
                  </a:lnTo>
                  <a:lnTo>
                    <a:pt x="762" y="391"/>
                  </a:lnTo>
                  <a:lnTo>
                    <a:pt x="762" y="395"/>
                  </a:lnTo>
                  <a:lnTo>
                    <a:pt x="758" y="395"/>
                  </a:lnTo>
                  <a:lnTo>
                    <a:pt x="754" y="395"/>
                  </a:lnTo>
                  <a:lnTo>
                    <a:pt x="750" y="395"/>
                  </a:lnTo>
                  <a:lnTo>
                    <a:pt x="746" y="391"/>
                  </a:lnTo>
                  <a:lnTo>
                    <a:pt x="742" y="391"/>
                  </a:lnTo>
                  <a:lnTo>
                    <a:pt x="742" y="387"/>
                  </a:lnTo>
                  <a:lnTo>
                    <a:pt x="738" y="387"/>
                  </a:lnTo>
                  <a:lnTo>
                    <a:pt x="738" y="383"/>
                  </a:lnTo>
                  <a:lnTo>
                    <a:pt x="738" y="379"/>
                  </a:lnTo>
                  <a:lnTo>
                    <a:pt x="738" y="375"/>
                  </a:lnTo>
                  <a:lnTo>
                    <a:pt x="734" y="375"/>
                  </a:lnTo>
                  <a:lnTo>
                    <a:pt x="730" y="371"/>
                  </a:lnTo>
                  <a:lnTo>
                    <a:pt x="726" y="371"/>
                  </a:lnTo>
                  <a:lnTo>
                    <a:pt x="722" y="371"/>
                  </a:lnTo>
                  <a:lnTo>
                    <a:pt x="722" y="367"/>
                  </a:lnTo>
                  <a:lnTo>
                    <a:pt x="718" y="367"/>
                  </a:lnTo>
                  <a:lnTo>
                    <a:pt x="718" y="363"/>
                  </a:lnTo>
                  <a:lnTo>
                    <a:pt x="714" y="363"/>
                  </a:lnTo>
                  <a:lnTo>
                    <a:pt x="706" y="363"/>
                  </a:lnTo>
                  <a:lnTo>
                    <a:pt x="702" y="363"/>
                  </a:lnTo>
                  <a:lnTo>
                    <a:pt x="698" y="363"/>
                  </a:lnTo>
                  <a:lnTo>
                    <a:pt x="694" y="359"/>
                  </a:lnTo>
                  <a:lnTo>
                    <a:pt x="690" y="359"/>
                  </a:lnTo>
                  <a:lnTo>
                    <a:pt x="690" y="355"/>
                  </a:lnTo>
                  <a:lnTo>
                    <a:pt x="686" y="355"/>
                  </a:lnTo>
                  <a:lnTo>
                    <a:pt x="686" y="351"/>
                  </a:lnTo>
                  <a:lnTo>
                    <a:pt x="682" y="351"/>
                  </a:lnTo>
                  <a:lnTo>
                    <a:pt x="678" y="351"/>
                  </a:lnTo>
                  <a:lnTo>
                    <a:pt x="674" y="347"/>
                  </a:lnTo>
                  <a:lnTo>
                    <a:pt x="670" y="347"/>
                  </a:lnTo>
                  <a:lnTo>
                    <a:pt x="670" y="351"/>
                  </a:lnTo>
                  <a:lnTo>
                    <a:pt x="674" y="351"/>
                  </a:lnTo>
                  <a:lnTo>
                    <a:pt x="674" y="355"/>
                  </a:lnTo>
                  <a:lnTo>
                    <a:pt x="678" y="355"/>
                  </a:lnTo>
                  <a:lnTo>
                    <a:pt x="682" y="355"/>
                  </a:lnTo>
                  <a:lnTo>
                    <a:pt x="686" y="359"/>
                  </a:lnTo>
                  <a:lnTo>
                    <a:pt x="690" y="359"/>
                  </a:lnTo>
                  <a:lnTo>
                    <a:pt x="690" y="363"/>
                  </a:lnTo>
                  <a:lnTo>
                    <a:pt x="686" y="363"/>
                  </a:lnTo>
                  <a:lnTo>
                    <a:pt x="682" y="363"/>
                  </a:lnTo>
                  <a:lnTo>
                    <a:pt x="678" y="363"/>
                  </a:lnTo>
                  <a:lnTo>
                    <a:pt x="674" y="363"/>
                  </a:lnTo>
                  <a:lnTo>
                    <a:pt x="678" y="363"/>
                  </a:lnTo>
                  <a:lnTo>
                    <a:pt x="682" y="363"/>
                  </a:lnTo>
                  <a:lnTo>
                    <a:pt x="686" y="363"/>
                  </a:lnTo>
                  <a:lnTo>
                    <a:pt x="690" y="363"/>
                  </a:lnTo>
                  <a:lnTo>
                    <a:pt x="694" y="363"/>
                  </a:lnTo>
                  <a:lnTo>
                    <a:pt x="690" y="363"/>
                  </a:lnTo>
                  <a:lnTo>
                    <a:pt x="690" y="367"/>
                  </a:lnTo>
                  <a:lnTo>
                    <a:pt x="694" y="367"/>
                  </a:lnTo>
                  <a:lnTo>
                    <a:pt x="694" y="363"/>
                  </a:lnTo>
                  <a:lnTo>
                    <a:pt x="698" y="363"/>
                  </a:lnTo>
                  <a:lnTo>
                    <a:pt x="698" y="367"/>
                  </a:lnTo>
                  <a:lnTo>
                    <a:pt x="702" y="367"/>
                  </a:lnTo>
                  <a:lnTo>
                    <a:pt x="706" y="367"/>
                  </a:lnTo>
                  <a:lnTo>
                    <a:pt x="710" y="367"/>
                  </a:lnTo>
                  <a:lnTo>
                    <a:pt x="714" y="367"/>
                  </a:lnTo>
                  <a:lnTo>
                    <a:pt x="718" y="367"/>
                  </a:lnTo>
                  <a:lnTo>
                    <a:pt x="722" y="371"/>
                  </a:lnTo>
                  <a:lnTo>
                    <a:pt x="718" y="375"/>
                  </a:lnTo>
                  <a:lnTo>
                    <a:pt x="718" y="371"/>
                  </a:lnTo>
                  <a:lnTo>
                    <a:pt x="714" y="371"/>
                  </a:lnTo>
                  <a:lnTo>
                    <a:pt x="718" y="375"/>
                  </a:lnTo>
                  <a:lnTo>
                    <a:pt x="710" y="379"/>
                  </a:lnTo>
                  <a:lnTo>
                    <a:pt x="706" y="379"/>
                  </a:lnTo>
                  <a:lnTo>
                    <a:pt x="698" y="383"/>
                  </a:lnTo>
                  <a:lnTo>
                    <a:pt x="698" y="379"/>
                  </a:lnTo>
                  <a:lnTo>
                    <a:pt x="694" y="383"/>
                  </a:lnTo>
                  <a:lnTo>
                    <a:pt x="690" y="383"/>
                  </a:lnTo>
                  <a:lnTo>
                    <a:pt x="690" y="379"/>
                  </a:lnTo>
                  <a:lnTo>
                    <a:pt x="686" y="379"/>
                  </a:lnTo>
                  <a:lnTo>
                    <a:pt x="686" y="375"/>
                  </a:lnTo>
                  <a:lnTo>
                    <a:pt x="682" y="375"/>
                  </a:lnTo>
                  <a:lnTo>
                    <a:pt x="682" y="379"/>
                  </a:lnTo>
                  <a:lnTo>
                    <a:pt x="686" y="379"/>
                  </a:lnTo>
                  <a:lnTo>
                    <a:pt x="686" y="383"/>
                  </a:lnTo>
                  <a:lnTo>
                    <a:pt x="686" y="379"/>
                  </a:lnTo>
                  <a:lnTo>
                    <a:pt x="682" y="379"/>
                  </a:lnTo>
                  <a:lnTo>
                    <a:pt x="678" y="379"/>
                  </a:lnTo>
                  <a:lnTo>
                    <a:pt x="674" y="379"/>
                  </a:lnTo>
                  <a:lnTo>
                    <a:pt x="678" y="379"/>
                  </a:lnTo>
                  <a:lnTo>
                    <a:pt x="678" y="383"/>
                  </a:lnTo>
                  <a:lnTo>
                    <a:pt x="682" y="383"/>
                  </a:lnTo>
                  <a:lnTo>
                    <a:pt x="682" y="387"/>
                  </a:lnTo>
                  <a:lnTo>
                    <a:pt x="678" y="391"/>
                  </a:lnTo>
                  <a:lnTo>
                    <a:pt x="674" y="391"/>
                  </a:lnTo>
                  <a:lnTo>
                    <a:pt x="670" y="391"/>
                  </a:lnTo>
                  <a:lnTo>
                    <a:pt x="666" y="395"/>
                  </a:lnTo>
                  <a:lnTo>
                    <a:pt x="662" y="395"/>
                  </a:lnTo>
                  <a:lnTo>
                    <a:pt x="666" y="395"/>
                  </a:lnTo>
                  <a:lnTo>
                    <a:pt x="670" y="395"/>
                  </a:lnTo>
                  <a:lnTo>
                    <a:pt x="674" y="395"/>
                  </a:lnTo>
                  <a:lnTo>
                    <a:pt x="678" y="391"/>
                  </a:lnTo>
                  <a:lnTo>
                    <a:pt x="678" y="395"/>
                  </a:lnTo>
                  <a:lnTo>
                    <a:pt x="674" y="395"/>
                  </a:lnTo>
                  <a:lnTo>
                    <a:pt x="678" y="395"/>
                  </a:lnTo>
                  <a:lnTo>
                    <a:pt x="682" y="395"/>
                  </a:lnTo>
                  <a:lnTo>
                    <a:pt x="686" y="395"/>
                  </a:lnTo>
                  <a:lnTo>
                    <a:pt x="694" y="395"/>
                  </a:lnTo>
                  <a:lnTo>
                    <a:pt x="698" y="395"/>
                  </a:lnTo>
                  <a:lnTo>
                    <a:pt x="702" y="395"/>
                  </a:lnTo>
                  <a:lnTo>
                    <a:pt x="706" y="395"/>
                  </a:lnTo>
                  <a:lnTo>
                    <a:pt x="706" y="399"/>
                  </a:lnTo>
                  <a:lnTo>
                    <a:pt x="702" y="399"/>
                  </a:lnTo>
                  <a:lnTo>
                    <a:pt x="698" y="399"/>
                  </a:lnTo>
                  <a:lnTo>
                    <a:pt x="694" y="399"/>
                  </a:lnTo>
                  <a:lnTo>
                    <a:pt x="690" y="399"/>
                  </a:lnTo>
                  <a:lnTo>
                    <a:pt x="690" y="403"/>
                  </a:lnTo>
                  <a:lnTo>
                    <a:pt x="686" y="403"/>
                  </a:lnTo>
                  <a:lnTo>
                    <a:pt x="682" y="403"/>
                  </a:lnTo>
                  <a:lnTo>
                    <a:pt x="678" y="403"/>
                  </a:lnTo>
                  <a:lnTo>
                    <a:pt x="674" y="403"/>
                  </a:lnTo>
                  <a:lnTo>
                    <a:pt x="674" y="407"/>
                  </a:lnTo>
                  <a:lnTo>
                    <a:pt x="678" y="403"/>
                  </a:lnTo>
                  <a:lnTo>
                    <a:pt x="678" y="407"/>
                  </a:lnTo>
                  <a:lnTo>
                    <a:pt x="682" y="407"/>
                  </a:lnTo>
                  <a:lnTo>
                    <a:pt x="686" y="407"/>
                  </a:lnTo>
                  <a:lnTo>
                    <a:pt x="690" y="407"/>
                  </a:lnTo>
                  <a:lnTo>
                    <a:pt x="694" y="403"/>
                  </a:lnTo>
                  <a:lnTo>
                    <a:pt x="698" y="399"/>
                  </a:lnTo>
                  <a:lnTo>
                    <a:pt x="702" y="399"/>
                  </a:lnTo>
                  <a:lnTo>
                    <a:pt x="702" y="403"/>
                  </a:lnTo>
                  <a:lnTo>
                    <a:pt x="706" y="403"/>
                  </a:lnTo>
                  <a:lnTo>
                    <a:pt x="710" y="399"/>
                  </a:lnTo>
                  <a:lnTo>
                    <a:pt x="714" y="399"/>
                  </a:lnTo>
                  <a:lnTo>
                    <a:pt x="718" y="399"/>
                  </a:lnTo>
                  <a:lnTo>
                    <a:pt x="722" y="395"/>
                  </a:lnTo>
                  <a:lnTo>
                    <a:pt x="722" y="399"/>
                  </a:lnTo>
                  <a:lnTo>
                    <a:pt x="726" y="399"/>
                  </a:lnTo>
                  <a:lnTo>
                    <a:pt x="726" y="395"/>
                  </a:lnTo>
                  <a:lnTo>
                    <a:pt x="726" y="399"/>
                  </a:lnTo>
                  <a:lnTo>
                    <a:pt x="730" y="399"/>
                  </a:lnTo>
                  <a:lnTo>
                    <a:pt x="734" y="399"/>
                  </a:lnTo>
                  <a:lnTo>
                    <a:pt x="742" y="403"/>
                  </a:lnTo>
                  <a:lnTo>
                    <a:pt x="746" y="403"/>
                  </a:lnTo>
                  <a:lnTo>
                    <a:pt x="750" y="403"/>
                  </a:lnTo>
                  <a:lnTo>
                    <a:pt x="754" y="403"/>
                  </a:lnTo>
                  <a:lnTo>
                    <a:pt x="758" y="403"/>
                  </a:lnTo>
                  <a:lnTo>
                    <a:pt x="762" y="403"/>
                  </a:lnTo>
                  <a:lnTo>
                    <a:pt x="766" y="403"/>
                  </a:lnTo>
                  <a:lnTo>
                    <a:pt x="770" y="403"/>
                  </a:lnTo>
                  <a:lnTo>
                    <a:pt x="770" y="407"/>
                  </a:lnTo>
                  <a:lnTo>
                    <a:pt x="766" y="407"/>
                  </a:lnTo>
                  <a:lnTo>
                    <a:pt x="762" y="407"/>
                  </a:lnTo>
                  <a:lnTo>
                    <a:pt x="758" y="407"/>
                  </a:lnTo>
                  <a:lnTo>
                    <a:pt x="758" y="411"/>
                  </a:lnTo>
                  <a:lnTo>
                    <a:pt x="762" y="411"/>
                  </a:lnTo>
                  <a:lnTo>
                    <a:pt x="758" y="411"/>
                  </a:lnTo>
                  <a:lnTo>
                    <a:pt x="758" y="407"/>
                  </a:lnTo>
                  <a:lnTo>
                    <a:pt x="754" y="407"/>
                  </a:lnTo>
                  <a:lnTo>
                    <a:pt x="754" y="411"/>
                  </a:lnTo>
                  <a:lnTo>
                    <a:pt x="758" y="411"/>
                  </a:lnTo>
                  <a:lnTo>
                    <a:pt x="754" y="411"/>
                  </a:lnTo>
                  <a:lnTo>
                    <a:pt x="758" y="411"/>
                  </a:lnTo>
                  <a:lnTo>
                    <a:pt x="758" y="415"/>
                  </a:lnTo>
                  <a:lnTo>
                    <a:pt x="754" y="415"/>
                  </a:lnTo>
                  <a:lnTo>
                    <a:pt x="754" y="411"/>
                  </a:lnTo>
                  <a:lnTo>
                    <a:pt x="750" y="411"/>
                  </a:lnTo>
                  <a:lnTo>
                    <a:pt x="754" y="411"/>
                  </a:lnTo>
                  <a:lnTo>
                    <a:pt x="754" y="415"/>
                  </a:lnTo>
                  <a:lnTo>
                    <a:pt x="750" y="415"/>
                  </a:lnTo>
                  <a:lnTo>
                    <a:pt x="746" y="415"/>
                  </a:lnTo>
                  <a:lnTo>
                    <a:pt x="742" y="415"/>
                  </a:lnTo>
                  <a:lnTo>
                    <a:pt x="746" y="415"/>
                  </a:lnTo>
                  <a:lnTo>
                    <a:pt x="750" y="415"/>
                  </a:lnTo>
                  <a:lnTo>
                    <a:pt x="746" y="419"/>
                  </a:lnTo>
                  <a:lnTo>
                    <a:pt x="742" y="419"/>
                  </a:lnTo>
                  <a:lnTo>
                    <a:pt x="738" y="419"/>
                  </a:lnTo>
                  <a:lnTo>
                    <a:pt x="742" y="419"/>
                  </a:lnTo>
                  <a:lnTo>
                    <a:pt x="738" y="423"/>
                  </a:lnTo>
                  <a:lnTo>
                    <a:pt x="734" y="423"/>
                  </a:lnTo>
                  <a:lnTo>
                    <a:pt x="730" y="423"/>
                  </a:lnTo>
                  <a:lnTo>
                    <a:pt x="734" y="427"/>
                  </a:lnTo>
                  <a:lnTo>
                    <a:pt x="730" y="427"/>
                  </a:lnTo>
                  <a:lnTo>
                    <a:pt x="726" y="427"/>
                  </a:lnTo>
                  <a:lnTo>
                    <a:pt x="722" y="427"/>
                  </a:lnTo>
                  <a:lnTo>
                    <a:pt x="726" y="427"/>
                  </a:lnTo>
                  <a:lnTo>
                    <a:pt x="726" y="431"/>
                  </a:lnTo>
                  <a:lnTo>
                    <a:pt x="722" y="431"/>
                  </a:lnTo>
                  <a:lnTo>
                    <a:pt x="722" y="435"/>
                  </a:lnTo>
                  <a:lnTo>
                    <a:pt x="718" y="431"/>
                  </a:lnTo>
                  <a:lnTo>
                    <a:pt x="718" y="435"/>
                  </a:lnTo>
                  <a:lnTo>
                    <a:pt x="714" y="435"/>
                  </a:lnTo>
                  <a:lnTo>
                    <a:pt x="718" y="435"/>
                  </a:lnTo>
                  <a:lnTo>
                    <a:pt x="718" y="439"/>
                  </a:lnTo>
                  <a:lnTo>
                    <a:pt x="714" y="439"/>
                  </a:lnTo>
                  <a:lnTo>
                    <a:pt x="710" y="439"/>
                  </a:lnTo>
                  <a:lnTo>
                    <a:pt x="706" y="443"/>
                  </a:lnTo>
                  <a:lnTo>
                    <a:pt x="702" y="443"/>
                  </a:lnTo>
                  <a:lnTo>
                    <a:pt x="698" y="443"/>
                  </a:lnTo>
                  <a:lnTo>
                    <a:pt x="694" y="447"/>
                  </a:lnTo>
                  <a:lnTo>
                    <a:pt x="694" y="443"/>
                  </a:lnTo>
                  <a:lnTo>
                    <a:pt x="690" y="443"/>
                  </a:lnTo>
                  <a:lnTo>
                    <a:pt x="690" y="447"/>
                  </a:lnTo>
                  <a:lnTo>
                    <a:pt x="694" y="447"/>
                  </a:lnTo>
                  <a:lnTo>
                    <a:pt x="690" y="447"/>
                  </a:lnTo>
                  <a:lnTo>
                    <a:pt x="686" y="447"/>
                  </a:lnTo>
                  <a:lnTo>
                    <a:pt x="682" y="447"/>
                  </a:lnTo>
                  <a:lnTo>
                    <a:pt x="678" y="451"/>
                  </a:lnTo>
                  <a:lnTo>
                    <a:pt x="674" y="447"/>
                  </a:lnTo>
                  <a:lnTo>
                    <a:pt x="670" y="451"/>
                  </a:lnTo>
                  <a:lnTo>
                    <a:pt x="666" y="451"/>
                  </a:lnTo>
                  <a:lnTo>
                    <a:pt x="662" y="451"/>
                  </a:lnTo>
                  <a:lnTo>
                    <a:pt x="666" y="451"/>
                  </a:lnTo>
                  <a:lnTo>
                    <a:pt x="666" y="455"/>
                  </a:lnTo>
                  <a:lnTo>
                    <a:pt x="662" y="455"/>
                  </a:lnTo>
                  <a:lnTo>
                    <a:pt x="662" y="451"/>
                  </a:lnTo>
                  <a:lnTo>
                    <a:pt x="662" y="455"/>
                  </a:lnTo>
                  <a:lnTo>
                    <a:pt x="658" y="455"/>
                  </a:lnTo>
                  <a:lnTo>
                    <a:pt x="654" y="451"/>
                  </a:lnTo>
                  <a:lnTo>
                    <a:pt x="650" y="451"/>
                  </a:lnTo>
                  <a:lnTo>
                    <a:pt x="646" y="455"/>
                  </a:lnTo>
                  <a:lnTo>
                    <a:pt x="650" y="455"/>
                  </a:lnTo>
                  <a:lnTo>
                    <a:pt x="650" y="459"/>
                  </a:lnTo>
                  <a:lnTo>
                    <a:pt x="646" y="459"/>
                  </a:lnTo>
                  <a:lnTo>
                    <a:pt x="646" y="455"/>
                  </a:lnTo>
                  <a:lnTo>
                    <a:pt x="642" y="455"/>
                  </a:lnTo>
                  <a:lnTo>
                    <a:pt x="638" y="455"/>
                  </a:lnTo>
                  <a:lnTo>
                    <a:pt x="642" y="455"/>
                  </a:lnTo>
                  <a:lnTo>
                    <a:pt x="646" y="459"/>
                  </a:lnTo>
                  <a:lnTo>
                    <a:pt x="642" y="459"/>
                  </a:lnTo>
                  <a:lnTo>
                    <a:pt x="638" y="459"/>
                  </a:lnTo>
                  <a:lnTo>
                    <a:pt x="634" y="459"/>
                  </a:lnTo>
                  <a:lnTo>
                    <a:pt x="630" y="459"/>
                  </a:lnTo>
                  <a:lnTo>
                    <a:pt x="630" y="455"/>
                  </a:lnTo>
                  <a:lnTo>
                    <a:pt x="626" y="459"/>
                  </a:lnTo>
                  <a:lnTo>
                    <a:pt x="630" y="459"/>
                  </a:lnTo>
                  <a:lnTo>
                    <a:pt x="626" y="459"/>
                  </a:lnTo>
                  <a:lnTo>
                    <a:pt x="626" y="455"/>
                  </a:lnTo>
                  <a:lnTo>
                    <a:pt x="622" y="455"/>
                  </a:lnTo>
                  <a:lnTo>
                    <a:pt x="618" y="455"/>
                  </a:lnTo>
                  <a:lnTo>
                    <a:pt x="618" y="451"/>
                  </a:lnTo>
                  <a:lnTo>
                    <a:pt x="614" y="451"/>
                  </a:lnTo>
                  <a:lnTo>
                    <a:pt x="614" y="447"/>
                  </a:lnTo>
                  <a:lnTo>
                    <a:pt x="614" y="443"/>
                  </a:lnTo>
                  <a:lnTo>
                    <a:pt x="614" y="447"/>
                  </a:lnTo>
                  <a:lnTo>
                    <a:pt x="610" y="447"/>
                  </a:lnTo>
                  <a:lnTo>
                    <a:pt x="614" y="447"/>
                  </a:lnTo>
                  <a:lnTo>
                    <a:pt x="614" y="451"/>
                  </a:lnTo>
                  <a:lnTo>
                    <a:pt x="618" y="451"/>
                  </a:lnTo>
                  <a:lnTo>
                    <a:pt x="618" y="455"/>
                  </a:lnTo>
                  <a:lnTo>
                    <a:pt x="614" y="455"/>
                  </a:lnTo>
                  <a:lnTo>
                    <a:pt x="618" y="455"/>
                  </a:lnTo>
                  <a:lnTo>
                    <a:pt x="622" y="459"/>
                  </a:lnTo>
                  <a:lnTo>
                    <a:pt x="618" y="459"/>
                  </a:lnTo>
                  <a:lnTo>
                    <a:pt x="618" y="463"/>
                  </a:lnTo>
                  <a:lnTo>
                    <a:pt x="614" y="463"/>
                  </a:lnTo>
                  <a:lnTo>
                    <a:pt x="610" y="463"/>
                  </a:lnTo>
                  <a:lnTo>
                    <a:pt x="614" y="463"/>
                  </a:lnTo>
                  <a:lnTo>
                    <a:pt x="614" y="467"/>
                  </a:lnTo>
                  <a:lnTo>
                    <a:pt x="610" y="467"/>
                  </a:lnTo>
                  <a:lnTo>
                    <a:pt x="606" y="467"/>
                  </a:lnTo>
                  <a:lnTo>
                    <a:pt x="606" y="471"/>
                  </a:lnTo>
                  <a:lnTo>
                    <a:pt x="602" y="471"/>
                  </a:lnTo>
                  <a:lnTo>
                    <a:pt x="602" y="467"/>
                  </a:lnTo>
                  <a:lnTo>
                    <a:pt x="602" y="471"/>
                  </a:lnTo>
                  <a:lnTo>
                    <a:pt x="606" y="471"/>
                  </a:lnTo>
                  <a:lnTo>
                    <a:pt x="602" y="471"/>
                  </a:lnTo>
                  <a:lnTo>
                    <a:pt x="602" y="475"/>
                  </a:lnTo>
                  <a:lnTo>
                    <a:pt x="602" y="479"/>
                  </a:lnTo>
                  <a:lnTo>
                    <a:pt x="598" y="479"/>
                  </a:lnTo>
                  <a:lnTo>
                    <a:pt x="598" y="483"/>
                  </a:lnTo>
                  <a:lnTo>
                    <a:pt x="594" y="483"/>
                  </a:lnTo>
                  <a:lnTo>
                    <a:pt x="594" y="487"/>
                  </a:lnTo>
                  <a:lnTo>
                    <a:pt x="590" y="487"/>
                  </a:lnTo>
                  <a:lnTo>
                    <a:pt x="590" y="491"/>
                  </a:lnTo>
                  <a:lnTo>
                    <a:pt x="590" y="495"/>
                  </a:lnTo>
                  <a:lnTo>
                    <a:pt x="586" y="499"/>
                  </a:lnTo>
                  <a:lnTo>
                    <a:pt x="586" y="495"/>
                  </a:lnTo>
                  <a:lnTo>
                    <a:pt x="586" y="499"/>
                  </a:lnTo>
                  <a:lnTo>
                    <a:pt x="582" y="499"/>
                  </a:lnTo>
                  <a:lnTo>
                    <a:pt x="582" y="495"/>
                  </a:lnTo>
                  <a:lnTo>
                    <a:pt x="586" y="495"/>
                  </a:lnTo>
                  <a:lnTo>
                    <a:pt x="582" y="495"/>
                  </a:lnTo>
                  <a:lnTo>
                    <a:pt x="582" y="499"/>
                  </a:lnTo>
                  <a:lnTo>
                    <a:pt x="582" y="503"/>
                  </a:lnTo>
                  <a:lnTo>
                    <a:pt x="578" y="503"/>
                  </a:lnTo>
                  <a:lnTo>
                    <a:pt x="578" y="507"/>
                  </a:lnTo>
                  <a:lnTo>
                    <a:pt x="574" y="507"/>
                  </a:lnTo>
                  <a:lnTo>
                    <a:pt x="574" y="503"/>
                  </a:lnTo>
                  <a:lnTo>
                    <a:pt x="570" y="503"/>
                  </a:lnTo>
                  <a:lnTo>
                    <a:pt x="570" y="507"/>
                  </a:lnTo>
                  <a:lnTo>
                    <a:pt x="574" y="507"/>
                  </a:lnTo>
                  <a:lnTo>
                    <a:pt x="570" y="507"/>
                  </a:lnTo>
                  <a:lnTo>
                    <a:pt x="566" y="507"/>
                  </a:lnTo>
                  <a:lnTo>
                    <a:pt x="562" y="503"/>
                  </a:lnTo>
                  <a:lnTo>
                    <a:pt x="566" y="507"/>
                  </a:lnTo>
                  <a:lnTo>
                    <a:pt x="566" y="511"/>
                  </a:lnTo>
                  <a:lnTo>
                    <a:pt x="562" y="511"/>
                  </a:lnTo>
                  <a:lnTo>
                    <a:pt x="562" y="515"/>
                  </a:lnTo>
                  <a:lnTo>
                    <a:pt x="558" y="515"/>
                  </a:lnTo>
                  <a:lnTo>
                    <a:pt x="554" y="515"/>
                  </a:lnTo>
                  <a:lnTo>
                    <a:pt x="554" y="511"/>
                  </a:lnTo>
                  <a:lnTo>
                    <a:pt x="550" y="511"/>
                  </a:lnTo>
                  <a:lnTo>
                    <a:pt x="554" y="511"/>
                  </a:lnTo>
                  <a:lnTo>
                    <a:pt x="550" y="515"/>
                  </a:lnTo>
                  <a:lnTo>
                    <a:pt x="546" y="515"/>
                  </a:lnTo>
                  <a:lnTo>
                    <a:pt x="546" y="519"/>
                  </a:lnTo>
                  <a:lnTo>
                    <a:pt x="542" y="519"/>
                  </a:lnTo>
                  <a:lnTo>
                    <a:pt x="542" y="515"/>
                  </a:lnTo>
                  <a:lnTo>
                    <a:pt x="542" y="511"/>
                  </a:lnTo>
                  <a:lnTo>
                    <a:pt x="542" y="515"/>
                  </a:lnTo>
                  <a:lnTo>
                    <a:pt x="542" y="519"/>
                  </a:lnTo>
                  <a:lnTo>
                    <a:pt x="538" y="519"/>
                  </a:lnTo>
                  <a:lnTo>
                    <a:pt x="538" y="515"/>
                  </a:lnTo>
                  <a:lnTo>
                    <a:pt x="534" y="515"/>
                  </a:lnTo>
                  <a:lnTo>
                    <a:pt x="534" y="511"/>
                  </a:lnTo>
                  <a:lnTo>
                    <a:pt x="538" y="507"/>
                  </a:lnTo>
                  <a:lnTo>
                    <a:pt x="542" y="507"/>
                  </a:lnTo>
                  <a:lnTo>
                    <a:pt x="542" y="503"/>
                  </a:lnTo>
                  <a:lnTo>
                    <a:pt x="538" y="503"/>
                  </a:lnTo>
                  <a:lnTo>
                    <a:pt x="538" y="507"/>
                  </a:lnTo>
                  <a:lnTo>
                    <a:pt x="534" y="507"/>
                  </a:lnTo>
                  <a:lnTo>
                    <a:pt x="534" y="503"/>
                  </a:lnTo>
                  <a:lnTo>
                    <a:pt x="530" y="503"/>
                  </a:lnTo>
                  <a:lnTo>
                    <a:pt x="526" y="503"/>
                  </a:lnTo>
                  <a:lnTo>
                    <a:pt x="530" y="503"/>
                  </a:lnTo>
                  <a:lnTo>
                    <a:pt x="530" y="507"/>
                  </a:lnTo>
                  <a:lnTo>
                    <a:pt x="534" y="507"/>
                  </a:lnTo>
                  <a:lnTo>
                    <a:pt x="530" y="507"/>
                  </a:lnTo>
                  <a:lnTo>
                    <a:pt x="530" y="511"/>
                  </a:lnTo>
                  <a:lnTo>
                    <a:pt x="530" y="515"/>
                  </a:lnTo>
                  <a:lnTo>
                    <a:pt x="526" y="515"/>
                  </a:lnTo>
                  <a:lnTo>
                    <a:pt x="522" y="515"/>
                  </a:lnTo>
                  <a:lnTo>
                    <a:pt x="522" y="511"/>
                  </a:lnTo>
                  <a:lnTo>
                    <a:pt x="522" y="515"/>
                  </a:lnTo>
                  <a:lnTo>
                    <a:pt x="526" y="519"/>
                  </a:lnTo>
                  <a:lnTo>
                    <a:pt x="526" y="523"/>
                  </a:lnTo>
                  <a:lnTo>
                    <a:pt x="522" y="523"/>
                  </a:lnTo>
                  <a:lnTo>
                    <a:pt x="518" y="523"/>
                  </a:lnTo>
                  <a:lnTo>
                    <a:pt x="522" y="523"/>
                  </a:lnTo>
                  <a:lnTo>
                    <a:pt x="518" y="523"/>
                  </a:lnTo>
                  <a:lnTo>
                    <a:pt x="514" y="523"/>
                  </a:lnTo>
                  <a:lnTo>
                    <a:pt x="510" y="523"/>
                  </a:lnTo>
                  <a:lnTo>
                    <a:pt x="510" y="519"/>
                  </a:lnTo>
                  <a:lnTo>
                    <a:pt x="510" y="523"/>
                  </a:lnTo>
                  <a:lnTo>
                    <a:pt x="510" y="527"/>
                  </a:lnTo>
                  <a:lnTo>
                    <a:pt x="506" y="527"/>
                  </a:lnTo>
                  <a:lnTo>
                    <a:pt x="506" y="523"/>
                  </a:lnTo>
                  <a:lnTo>
                    <a:pt x="502" y="523"/>
                  </a:lnTo>
                  <a:lnTo>
                    <a:pt x="502" y="527"/>
                  </a:lnTo>
                  <a:lnTo>
                    <a:pt x="498" y="527"/>
                  </a:lnTo>
                  <a:lnTo>
                    <a:pt x="498" y="523"/>
                  </a:lnTo>
                  <a:lnTo>
                    <a:pt x="494" y="527"/>
                  </a:lnTo>
                  <a:lnTo>
                    <a:pt x="498" y="527"/>
                  </a:lnTo>
                  <a:lnTo>
                    <a:pt x="502" y="527"/>
                  </a:lnTo>
                  <a:lnTo>
                    <a:pt x="502" y="531"/>
                  </a:lnTo>
                  <a:lnTo>
                    <a:pt x="502" y="527"/>
                  </a:lnTo>
                  <a:lnTo>
                    <a:pt x="498" y="531"/>
                  </a:lnTo>
                  <a:lnTo>
                    <a:pt x="502" y="531"/>
                  </a:lnTo>
                  <a:lnTo>
                    <a:pt x="502" y="535"/>
                  </a:lnTo>
                  <a:lnTo>
                    <a:pt x="498" y="535"/>
                  </a:lnTo>
                  <a:lnTo>
                    <a:pt x="498" y="539"/>
                  </a:lnTo>
                  <a:lnTo>
                    <a:pt x="494" y="539"/>
                  </a:lnTo>
                  <a:lnTo>
                    <a:pt x="490" y="539"/>
                  </a:lnTo>
                  <a:lnTo>
                    <a:pt x="490" y="535"/>
                  </a:lnTo>
                  <a:lnTo>
                    <a:pt x="490" y="539"/>
                  </a:lnTo>
                  <a:lnTo>
                    <a:pt x="482" y="539"/>
                  </a:lnTo>
                  <a:lnTo>
                    <a:pt x="482" y="543"/>
                  </a:lnTo>
                  <a:lnTo>
                    <a:pt x="486" y="543"/>
                  </a:lnTo>
                  <a:lnTo>
                    <a:pt x="486" y="547"/>
                  </a:lnTo>
                  <a:lnTo>
                    <a:pt x="490" y="547"/>
                  </a:lnTo>
                  <a:lnTo>
                    <a:pt x="490" y="551"/>
                  </a:lnTo>
                  <a:lnTo>
                    <a:pt x="490" y="555"/>
                  </a:lnTo>
                  <a:lnTo>
                    <a:pt x="494" y="555"/>
                  </a:lnTo>
                  <a:lnTo>
                    <a:pt x="490" y="555"/>
                  </a:lnTo>
                  <a:lnTo>
                    <a:pt x="486" y="555"/>
                  </a:lnTo>
                  <a:lnTo>
                    <a:pt x="482" y="559"/>
                  </a:lnTo>
                  <a:lnTo>
                    <a:pt x="478" y="555"/>
                  </a:lnTo>
                  <a:lnTo>
                    <a:pt x="474" y="555"/>
                  </a:lnTo>
                  <a:lnTo>
                    <a:pt x="474" y="559"/>
                  </a:lnTo>
                  <a:lnTo>
                    <a:pt x="478" y="559"/>
                  </a:lnTo>
                  <a:lnTo>
                    <a:pt x="482" y="563"/>
                  </a:lnTo>
                  <a:lnTo>
                    <a:pt x="486" y="563"/>
                  </a:lnTo>
                  <a:lnTo>
                    <a:pt x="486" y="559"/>
                  </a:lnTo>
                  <a:lnTo>
                    <a:pt x="490" y="563"/>
                  </a:lnTo>
                  <a:lnTo>
                    <a:pt x="486" y="567"/>
                  </a:lnTo>
                  <a:lnTo>
                    <a:pt x="490" y="567"/>
                  </a:lnTo>
                  <a:lnTo>
                    <a:pt x="490" y="571"/>
                  </a:lnTo>
                  <a:lnTo>
                    <a:pt x="490" y="575"/>
                  </a:lnTo>
                  <a:lnTo>
                    <a:pt x="486" y="575"/>
                  </a:lnTo>
                  <a:lnTo>
                    <a:pt x="486" y="571"/>
                  </a:lnTo>
                  <a:lnTo>
                    <a:pt x="482" y="571"/>
                  </a:lnTo>
                  <a:lnTo>
                    <a:pt x="478" y="571"/>
                  </a:lnTo>
                  <a:lnTo>
                    <a:pt x="474" y="571"/>
                  </a:lnTo>
                  <a:lnTo>
                    <a:pt x="478" y="571"/>
                  </a:lnTo>
                  <a:lnTo>
                    <a:pt x="482" y="571"/>
                  </a:lnTo>
                  <a:lnTo>
                    <a:pt x="482" y="575"/>
                  </a:lnTo>
                  <a:lnTo>
                    <a:pt x="486" y="575"/>
                  </a:lnTo>
                  <a:lnTo>
                    <a:pt x="486" y="579"/>
                  </a:lnTo>
                  <a:lnTo>
                    <a:pt x="486" y="575"/>
                  </a:lnTo>
                  <a:lnTo>
                    <a:pt x="482" y="575"/>
                  </a:lnTo>
                  <a:lnTo>
                    <a:pt x="482" y="579"/>
                  </a:lnTo>
                  <a:lnTo>
                    <a:pt x="478" y="579"/>
                  </a:lnTo>
                  <a:lnTo>
                    <a:pt x="478" y="575"/>
                  </a:lnTo>
                  <a:lnTo>
                    <a:pt x="478" y="579"/>
                  </a:lnTo>
                  <a:lnTo>
                    <a:pt x="482" y="579"/>
                  </a:lnTo>
                  <a:lnTo>
                    <a:pt x="478" y="579"/>
                  </a:lnTo>
                  <a:lnTo>
                    <a:pt x="474" y="579"/>
                  </a:lnTo>
                  <a:lnTo>
                    <a:pt x="478" y="579"/>
                  </a:lnTo>
                  <a:lnTo>
                    <a:pt x="482" y="583"/>
                  </a:lnTo>
                  <a:lnTo>
                    <a:pt x="478" y="583"/>
                  </a:lnTo>
                  <a:lnTo>
                    <a:pt x="478" y="579"/>
                  </a:lnTo>
                  <a:lnTo>
                    <a:pt x="474" y="579"/>
                  </a:lnTo>
                  <a:lnTo>
                    <a:pt x="471" y="579"/>
                  </a:lnTo>
                  <a:lnTo>
                    <a:pt x="474" y="583"/>
                  </a:lnTo>
                  <a:lnTo>
                    <a:pt x="478" y="583"/>
                  </a:lnTo>
                  <a:lnTo>
                    <a:pt x="478" y="587"/>
                  </a:lnTo>
                  <a:lnTo>
                    <a:pt x="474" y="587"/>
                  </a:lnTo>
                  <a:lnTo>
                    <a:pt x="471" y="587"/>
                  </a:lnTo>
                  <a:lnTo>
                    <a:pt x="471" y="583"/>
                  </a:lnTo>
                  <a:lnTo>
                    <a:pt x="471" y="587"/>
                  </a:lnTo>
                  <a:lnTo>
                    <a:pt x="474" y="587"/>
                  </a:lnTo>
                  <a:lnTo>
                    <a:pt x="474" y="591"/>
                  </a:lnTo>
                  <a:lnTo>
                    <a:pt x="471" y="591"/>
                  </a:lnTo>
                  <a:lnTo>
                    <a:pt x="471" y="587"/>
                  </a:lnTo>
                  <a:lnTo>
                    <a:pt x="467" y="587"/>
                  </a:lnTo>
                  <a:lnTo>
                    <a:pt x="471" y="591"/>
                  </a:lnTo>
                  <a:lnTo>
                    <a:pt x="474" y="591"/>
                  </a:lnTo>
                  <a:lnTo>
                    <a:pt x="474" y="595"/>
                  </a:lnTo>
                  <a:lnTo>
                    <a:pt x="471" y="595"/>
                  </a:lnTo>
                  <a:lnTo>
                    <a:pt x="467" y="595"/>
                  </a:lnTo>
                  <a:lnTo>
                    <a:pt x="463" y="595"/>
                  </a:lnTo>
                  <a:lnTo>
                    <a:pt x="463" y="591"/>
                  </a:lnTo>
                  <a:lnTo>
                    <a:pt x="467" y="591"/>
                  </a:lnTo>
                  <a:lnTo>
                    <a:pt x="463" y="591"/>
                  </a:lnTo>
                  <a:lnTo>
                    <a:pt x="463" y="595"/>
                  </a:lnTo>
                  <a:lnTo>
                    <a:pt x="463" y="599"/>
                  </a:lnTo>
                  <a:lnTo>
                    <a:pt x="459" y="595"/>
                  </a:lnTo>
                  <a:lnTo>
                    <a:pt x="459" y="599"/>
                  </a:lnTo>
                  <a:lnTo>
                    <a:pt x="455" y="599"/>
                  </a:lnTo>
                  <a:lnTo>
                    <a:pt x="451" y="595"/>
                  </a:lnTo>
                  <a:lnTo>
                    <a:pt x="451" y="599"/>
                  </a:lnTo>
                  <a:lnTo>
                    <a:pt x="455" y="599"/>
                  </a:lnTo>
                  <a:lnTo>
                    <a:pt x="459" y="599"/>
                  </a:lnTo>
                  <a:lnTo>
                    <a:pt x="463" y="603"/>
                  </a:lnTo>
                  <a:lnTo>
                    <a:pt x="467" y="603"/>
                  </a:lnTo>
                  <a:lnTo>
                    <a:pt x="467" y="607"/>
                  </a:lnTo>
                  <a:lnTo>
                    <a:pt x="463" y="607"/>
                  </a:lnTo>
                  <a:lnTo>
                    <a:pt x="463" y="603"/>
                  </a:lnTo>
                  <a:lnTo>
                    <a:pt x="459" y="603"/>
                  </a:lnTo>
                  <a:lnTo>
                    <a:pt x="455" y="603"/>
                  </a:lnTo>
                  <a:lnTo>
                    <a:pt x="459" y="603"/>
                  </a:lnTo>
                  <a:lnTo>
                    <a:pt x="459" y="607"/>
                  </a:lnTo>
                  <a:lnTo>
                    <a:pt x="463" y="607"/>
                  </a:lnTo>
                  <a:lnTo>
                    <a:pt x="467" y="611"/>
                  </a:lnTo>
                  <a:lnTo>
                    <a:pt x="463" y="611"/>
                  </a:lnTo>
                  <a:lnTo>
                    <a:pt x="463" y="615"/>
                  </a:lnTo>
                  <a:lnTo>
                    <a:pt x="467" y="615"/>
                  </a:lnTo>
                  <a:lnTo>
                    <a:pt x="467" y="619"/>
                  </a:lnTo>
                  <a:lnTo>
                    <a:pt x="463" y="619"/>
                  </a:lnTo>
                  <a:lnTo>
                    <a:pt x="467" y="619"/>
                  </a:lnTo>
                  <a:lnTo>
                    <a:pt x="463" y="622"/>
                  </a:lnTo>
                  <a:lnTo>
                    <a:pt x="459" y="622"/>
                  </a:lnTo>
                  <a:lnTo>
                    <a:pt x="459" y="619"/>
                  </a:lnTo>
                  <a:lnTo>
                    <a:pt x="455" y="619"/>
                  </a:lnTo>
                  <a:lnTo>
                    <a:pt x="455" y="622"/>
                  </a:lnTo>
                  <a:lnTo>
                    <a:pt x="459" y="619"/>
                  </a:lnTo>
                  <a:lnTo>
                    <a:pt x="459" y="622"/>
                  </a:lnTo>
                  <a:lnTo>
                    <a:pt x="463" y="622"/>
                  </a:lnTo>
                  <a:lnTo>
                    <a:pt x="463" y="626"/>
                  </a:lnTo>
                  <a:lnTo>
                    <a:pt x="459" y="626"/>
                  </a:lnTo>
                  <a:lnTo>
                    <a:pt x="455" y="626"/>
                  </a:lnTo>
                  <a:lnTo>
                    <a:pt x="459" y="626"/>
                  </a:lnTo>
                  <a:lnTo>
                    <a:pt x="463" y="626"/>
                  </a:lnTo>
                  <a:lnTo>
                    <a:pt x="463" y="630"/>
                  </a:lnTo>
                  <a:lnTo>
                    <a:pt x="459" y="630"/>
                  </a:lnTo>
                  <a:lnTo>
                    <a:pt x="459" y="634"/>
                  </a:lnTo>
                  <a:lnTo>
                    <a:pt x="459" y="630"/>
                  </a:lnTo>
                  <a:lnTo>
                    <a:pt x="455" y="630"/>
                  </a:lnTo>
                  <a:lnTo>
                    <a:pt x="451" y="630"/>
                  </a:lnTo>
                  <a:lnTo>
                    <a:pt x="455" y="630"/>
                  </a:lnTo>
                  <a:lnTo>
                    <a:pt x="459" y="634"/>
                  </a:lnTo>
                  <a:lnTo>
                    <a:pt x="455" y="634"/>
                  </a:lnTo>
                  <a:lnTo>
                    <a:pt x="459" y="634"/>
                  </a:lnTo>
                  <a:lnTo>
                    <a:pt x="455" y="634"/>
                  </a:lnTo>
                  <a:lnTo>
                    <a:pt x="451" y="634"/>
                  </a:lnTo>
                  <a:lnTo>
                    <a:pt x="455" y="634"/>
                  </a:lnTo>
                  <a:lnTo>
                    <a:pt x="459" y="634"/>
                  </a:lnTo>
                  <a:lnTo>
                    <a:pt x="459" y="638"/>
                  </a:lnTo>
                  <a:lnTo>
                    <a:pt x="455" y="638"/>
                  </a:lnTo>
                  <a:lnTo>
                    <a:pt x="451" y="638"/>
                  </a:lnTo>
                  <a:lnTo>
                    <a:pt x="447" y="634"/>
                  </a:lnTo>
                  <a:lnTo>
                    <a:pt x="447" y="638"/>
                  </a:lnTo>
                  <a:lnTo>
                    <a:pt x="451" y="638"/>
                  </a:lnTo>
                  <a:lnTo>
                    <a:pt x="455" y="638"/>
                  </a:lnTo>
                  <a:lnTo>
                    <a:pt x="459" y="638"/>
                  </a:lnTo>
                  <a:lnTo>
                    <a:pt x="459" y="642"/>
                  </a:lnTo>
                  <a:lnTo>
                    <a:pt x="455" y="642"/>
                  </a:lnTo>
                  <a:lnTo>
                    <a:pt x="451" y="642"/>
                  </a:lnTo>
                  <a:lnTo>
                    <a:pt x="447" y="642"/>
                  </a:lnTo>
                  <a:lnTo>
                    <a:pt x="451" y="642"/>
                  </a:lnTo>
                  <a:lnTo>
                    <a:pt x="455" y="642"/>
                  </a:lnTo>
                  <a:lnTo>
                    <a:pt x="459" y="642"/>
                  </a:lnTo>
                  <a:lnTo>
                    <a:pt x="459" y="646"/>
                  </a:lnTo>
                  <a:lnTo>
                    <a:pt x="455" y="646"/>
                  </a:lnTo>
                  <a:lnTo>
                    <a:pt x="455" y="642"/>
                  </a:lnTo>
                  <a:lnTo>
                    <a:pt x="451" y="642"/>
                  </a:lnTo>
                  <a:lnTo>
                    <a:pt x="447" y="642"/>
                  </a:lnTo>
                  <a:lnTo>
                    <a:pt x="451" y="646"/>
                  </a:lnTo>
                  <a:lnTo>
                    <a:pt x="455" y="646"/>
                  </a:lnTo>
                  <a:lnTo>
                    <a:pt x="459" y="646"/>
                  </a:lnTo>
                  <a:lnTo>
                    <a:pt x="455" y="646"/>
                  </a:lnTo>
                  <a:lnTo>
                    <a:pt x="451" y="646"/>
                  </a:lnTo>
                  <a:lnTo>
                    <a:pt x="455" y="646"/>
                  </a:lnTo>
                  <a:lnTo>
                    <a:pt x="455" y="650"/>
                  </a:lnTo>
                  <a:lnTo>
                    <a:pt x="455" y="646"/>
                  </a:lnTo>
                  <a:lnTo>
                    <a:pt x="459" y="646"/>
                  </a:lnTo>
                  <a:lnTo>
                    <a:pt x="455" y="650"/>
                  </a:lnTo>
                  <a:lnTo>
                    <a:pt x="451" y="650"/>
                  </a:lnTo>
                  <a:lnTo>
                    <a:pt x="451" y="654"/>
                  </a:lnTo>
                  <a:lnTo>
                    <a:pt x="447" y="650"/>
                  </a:lnTo>
                  <a:lnTo>
                    <a:pt x="443" y="650"/>
                  </a:lnTo>
                  <a:lnTo>
                    <a:pt x="443" y="646"/>
                  </a:lnTo>
                  <a:lnTo>
                    <a:pt x="443" y="650"/>
                  </a:lnTo>
                  <a:lnTo>
                    <a:pt x="439" y="650"/>
                  </a:lnTo>
                  <a:lnTo>
                    <a:pt x="435" y="650"/>
                  </a:lnTo>
                  <a:lnTo>
                    <a:pt x="439" y="650"/>
                  </a:lnTo>
                  <a:lnTo>
                    <a:pt x="447" y="650"/>
                  </a:lnTo>
                  <a:lnTo>
                    <a:pt x="451" y="654"/>
                  </a:lnTo>
                  <a:lnTo>
                    <a:pt x="447" y="654"/>
                  </a:lnTo>
                  <a:lnTo>
                    <a:pt x="447" y="658"/>
                  </a:lnTo>
                  <a:lnTo>
                    <a:pt x="447" y="654"/>
                  </a:lnTo>
                  <a:lnTo>
                    <a:pt x="451" y="654"/>
                  </a:lnTo>
                  <a:lnTo>
                    <a:pt x="451" y="658"/>
                  </a:lnTo>
                  <a:lnTo>
                    <a:pt x="451" y="662"/>
                  </a:lnTo>
                  <a:lnTo>
                    <a:pt x="447" y="662"/>
                  </a:lnTo>
                  <a:lnTo>
                    <a:pt x="443" y="662"/>
                  </a:lnTo>
                  <a:lnTo>
                    <a:pt x="443" y="658"/>
                  </a:lnTo>
                  <a:lnTo>
                    <a:pt x="439" y="658"/>
                  </a:lnTo>
                  <a:lnTo>
                    <a:pt x="439" y="654"/>
                  </a:lnTo>
                  <a:lnTo>
                    <a:pt x="439" y="658"/>
                  </a:lnTo>
                  <a:lnTo>
                    <a:pt x="435" y="658"/>
                  </a:lnTo>
                  <a:lnTo>
                    <a:pt x="435" y="662"/>
                  </a:lnTo>
                  <a:lnTo>
                    <a:pt x="431" y="658"/>
                  </a:lnTo>
                  <a:lnTo>
                    <a:pt x="431" y="662"/>
                  </a:lnTo>
                  <a:lnTo>
                    <a:pt x="431" y="666"/>
                  </a:lnTo>
                  <a:lnTo>
                    <a:pt x="427" y="662"/>
                  </a:lnTo>
                  <a:lnTo>
                    <a:pt x="423" y="662"/>
                  </a:lnTo>
                  <a:lnTo>
                    <a:pt x="423" y="658"/>
                  </a:lnTo>
                  <a:lnTo>
                    <a:pt x="427" y="658"/>
                  </a:lnTo>
                  <a:lnTo>
                    <a:pt x="427" y="654"/>
                  </a:lnTo>
                  <a:lnTo>
                    <a:pt x="431" y="654"/>
                  </a:lnTo>
                  <a:lnTo>
                    <a:pt x="431" y="650"/>
                  </a:lnTo>
                  <a:lnTo>
                    <a:pt x="427" y="658"/>
                  </a:lnTo>
                  <a:lnTo>
                    <a:pt x="423" y="658"/>
                  </a:lnTo>
                  <a:lnTo>
                    <a:pt x="423" y="662"/>
                  </a:lnTo>
                  <a:lnTo>
                    <a:pt x="419" y="662"/>
                  </a:lnTo>
                  <a:lnTo>
                    <a:pt x="423" y="658"/>
                  </a:lnTo>
                  <a:lnTo>
                    <a:pt x="419" y="658"/>
                  </a:lnTo>
                  <a:lnTo>
                    <a:pt x="423" y="658"/>
                  </a:lnTo>
                  <a:lnTo>
                    <a:pt x="423" y="654"/>
                  </a:lnTo>
                  <a:lnTo>
                    <a:pt x="427" y="654"/>
                  </a:lnTo>
                  <a:lnTo>
                    <a:pt x="427" y="646"/>
                  </a:lnTo>
                  <a:lnTo>
                    <a:pt x="431" y="646"/>
                  </a:lnTo>
                  <a:lnTo>
                    <a:pt x="427" y="646"/>
                  </a:lnTo>
                  <a:lnTo>
                    <a:pt x="427" y="650"/>
                  </a:lnTo>
                  <a:lnTo>
                    <a:pt x="423" y="650"/>
                  </a:lnTo>
                  <a:lnTo>
                    <a:pt x="423" y="654"/>
                  </a:lnTo>
                  <a:lnTo>
                    <a:pt x="419" y="654"/>
                  </a:lnTo>
                  <a:lnTo>
                    <a:pt x="419" y="650"/>
                  </a:lnTo>
                  <a:lnTo>
                    <a:pt x="423" y="650"/>
                  </a:lnTo>
                  <a:lnTo>
                    <a:pt x="423" y="646"/>
                  </a:lnTo>
                  <a:lnTo>
                    <a:pt x="423" y="650"/>
                  </a:lnTo>
                  <a:lnTo>
                    <a:pt x="419" y="650"/>
                  </a:lnTo>
                  <a:lnTo>
                    <a:pt x="415" y="650"/>
                  </a:lnTo>
                  <a:lnTo>
                    <a:pt x="419" y="650"/>
                  </a:lnTo>
                  <a:lnTo>
                    <a:pt x="419" y="646"/>
                  </a:lnTo>
                  <a:lnTo>
                    <a:pt x="419" y="650"/>
                  </a:lnTo>
                  <a:lnTo>
                    <a:pt x="415" y="650"/>
                  </a:lnTo>
                  <a:lnTo>
                    <a:pt x="415" y="654"/>
                  </a:lnTo>
                  <a:lnTo>
                    <a:pt x="411" y="650"/>
                  </a:lnTo>
                  <a:lnTo>
                    <a:pt x="415" y="650"/>
                  </a:lnTo>
                  <a:lnTo>
                    <a:pt x="411" y="650"/>
                  </a:lnTo>
                  <a:lnTo>
                    <a:pt x="415" y="646"/>
                  </a:lnTo>
                  <a:lnTo>
                    <a:pt x="411" y="646"/>
                  </a:lnTo>
                  <a:lnTo>
                    <a:pt x="415" y="646"/>
                  </a:lnTo>
                  <a:lnTo>
                    <a:pt x="419" y="642"/>
                  </a:lnTo>
                  <a:lnTo>
                    <a:pt x="419" y="638"/>
                  </a:lnTo>
                  <a:lnTo>
                    <a:pt x="419" y="642"/>
                  </a:lnTo>
                  <a:lnTo>
                    <a:pt x="415" y="642"/>
                  </a:lnTo>
                  <a:lnTo>
                    <a:pt x="415" y="646"/>
                  </a:lnTo>
                  <a:lnTo>
                    <a:pt x="411" y="646"/>
                  </a:lnTo>
                  <a:lnTo>
                    <a:pt x="411" y="642"/>
                  </a:lnTo>
                  <a:lnTo>
                    <a:pt x="411" y="646"/>
                  </a:lnTo>
                  <a:lnTo>
                    <a:pt x="407" y="646"/>
                  </a:lnTo>
                  <a:lnTo>
                    <a:pt x="407" y="642"/>
                  </a:lnTo>
                  <a:lnTo>
                    <a:pt x="411" y="642"/>
                  </a:lnTo>
                  <a:lnTo>
                    <a:pt x="407" y="642"/>
                  </a:lnTo>
                  <a:lnTo>
                    <a:pt x="407" y="646"/>
                  </a:lnTo>
                  <a:lnTo>
                    <a:pt x="407" y="642"/>
                  </a:lnTo>
                  <a:lnTo>
                    <a:pt x="411" y="642"/>
                  </a:lnTo>
                  <a:lnTo>
                    <a:pt x="415" y="642"/>
                  </a:lnTo>
                  <a:lnTo>
                    <a:pt x="415" y="638"/>
                  </a:lnTo>
                  <a:lnTo>
                    <a:pt x="419" y="638"/>
                  </a:lnTo>
                  <a:lnTo>
                    <a:pt x="419" y="634"/>
                  </a:lnTo>
                  <a:lnTo>
                    <a:pt x="419" y="638"/>
                  </a:lnTo>
                  <a:lnTo>
                    <a:pt x="419" y="634"/>
                  </a:lnTo>
                  <a:lnTo>
                    <a:pt x="415" y="634"/>
                  </a:lnTo>
                  <a:lnTo>
                    <a:pt x="415" y="638"/>
                  </a:lnTo>
                  <a:lnTo>
                    <a:pt x="411" y="642"/>
                  </a:lnTo>
                  <a:lnTo>
                    <a:pt x="411" y="638"/>
                  </a:lnTo>
                  <a:lnTo>
                    <a:pt x="411" y="642"/>
                  </a:lnTo>
                  <a:lnTo>
                    <a:pt x="407" y="642"/>
                  </a:lnTo>
                  <a:lnTo>
                    <a:pt x="407" y="638"/>
                  </a:lnTo>
                  <a:lnTo>
                    <a:pt x="411" y="638"/>
                  </a:lnTo>
                  <a:lnTo>
                    <a:pt x="415" y="634"/>
                  </a:lnTo>
                  <a:lnTo>
                    <a:pt x="411" y="634"/>
                  </a:lnTo>
                  <a:lnTo>
                    <a:pt x="411" y="630"/>
                  </a:lnTo>
                  <a:lnTo>
                    <a:pt x="415" y="630"/>
                  </a:lnTo>
                  <a:lnTo>
                    <a:pt x="411" y="630"/>
                  </a:lnTo>
                  <a:lnTo>
                    <a:pt x="407" y="634"/>
                  </a:lnTo>
                  <a:lnTo>
                    <a:pt x="411" y="634"/>
                  </a:lnTo>
                  <a:lnTo>
                    <a:pt x="411" y="638"/>
                  </a:lnTo>
                  <a:lnTo>
                    <a:pt x="407" y="638"/>
                  </a:lnTo>
                  <a:lnTo>
                    <a:pt x="403" y="638"/>
                  </a:lnTo>
                  <a:lnTo>
                    <a:pt x="399" y="638"/>
                  </a:lnTo>
                  <a:lnTo>
                    <a:pt x="399" y="642"/>
                  </a:lnTo>
                  <a:lnTo>
                    <a:pt x="395" y="642"/>
                  </a:lnTo>
                  <a:lnTo>
                    <a:pt x="399" y="642"/>
                  </a:lnTo>
                  <a:lnTo>
                    <a:pt x="395" y="646"/>
                  </a:lnTo>
                  <a:lnTo>
                    <a:pt x="395" y="642"/>
                  </a:lnTo>
                  <a:lnTo>
                    <a:pt x="395" y="638"/>
                  </a:lnTo>
                  <a:lnTo>
                    <a:pt x="391" y="642"/>
                  </a:lnTo>
                  <a:lnTo>
                    <a:pt x="387" y="642"/>
                  </a:lnTo>
                  <a:lnTo>
                    <a:pt x="383" y="642"/>
                  </a:lnTo>
                  <a:lnTo>
                    <a:pt x="387" y="642"/>
                  </a:lnTo>
                  <a:lnTo>
                    <a:pt x="383" y="642"/>
                  </a:lnTo>
                  <a:lnTo>
                    <a:pt x="379" y="642"/>
                  </a:lnTo>
                  <a:lnTo>
                    <a:pt x="375" y="642"/>
                  </a:lnTo>
                  <a:lnTo>
                    <a:pt x="379" y="642"/>
                  </a:lnTo>
                  <a:lnTo>
                    <a:pt x="383" y="638"/>
                  </a:lnTo>
                  <a:lnTo>
                    <a:pt x="379" y="638"/>
                  </a:lnTo>
                  <a:lnTo>
                    <a:pt x="375" y="642"/>
                  </a:lnTo>
                  <a:lnTo>
                    <a:pt x="375" y="638"/>
                  </a:lnTo>
                  <a:lnTo>
                    <a:pt x="371" y="638"/>
                  </a:lnTo>
                  <a:lnTo>
                    <a:pt x="375" y="638"/>
                  </a:lnTo>
                  <a:lnTo>
                    <a:pt x="379" y="638"/>
                  </a:lnTo>
                  <a:lnTo>
                    <a:pt x="375" y="638"/>
                  </a:lnTo>
                  <a:lnTo>
                    <a:pt x="375" y="634"/>
                  </a:lnTo>
                  <a:lnTo>
                    <a:pt x="379" y="630"/>
                  </a:lnTo>
                  <a:lnTo>
                    <a:pt x="375" y="630"/>
                  </a:lnTo>
                  <a:lnTo>
                    <a:pt x="375" y="634"/>
                  </a:lnTo>
                  <a:lnTo>
                    <a:pt x="375" y="638"/>
                  </a:lnTo>
                  <a:lnTo>
                    <a:pt x="371" y="634"/>
                  </a:lnTo>
                  <a:lnTo>
                    <a:pt x="375" y="634"/>
                  </a:lnTo>
                  <a:lnTo>
                    <a:pt x="371" y="634"/>
                  </a:lnTo>
                  <a:lnTo>
                    <a:pt x="367" y="634"/>
                  </a:lnTo>
                  <a:lnTo>
                    <a:pt x="371" y="634"/>
                  </a:lnTo>
                  <a:lnTo>
                    <a:pt x="371" y="630"/>
                  </a:lnTo>
                  <a:lnTo>
                    <a:pt x="367" y="630"/>
                  </a:lnTo>
                  <a:lnTo>
                    <a:pt x="363" y="630"/>
                  </a:lnTo>
                  <a:lnTo>
                    <a:pt x="367" y="626"/>
                  </a:lnTo>
                  <a:lnTo>
                    <a:pt x="371" y="626"/>
                  </a:lnTo>
                  <a:lnTo>
                    <a:pt x="375" y="626"/>
                  </a:lnTo>
                  <a:lnTo>
                    <a:pt x="371" y="626"/>
                  </a:lnTo>
                  <a:lnTo>
                    <a:pt x="367" y="626"/>
                  </a:lnTo>
                  <a:lnTo>
                    <a:pt x="363" y="626"/>
                  </a:lnTo>
                  <a:lnTo>
                    <a:pt x="359" y="626"/>
                  </a:lnTo>
                  <a:lnTo>
                    <a:pt x="363" y="626"/>
                  </a:lnTo>
                  <a:lnTo>
                    <a:pt x="367" y="626"/>
                  </a:lnTo>
                  <a:lnTo>
                    <a:pt x="371" y="622"/>
                  </a:lnTo>
                  <a:lnTo>
                    <a:pt x="367" y="622"/>
                  </a:lnTo>
                  <a:lnTo>
                    <a:pt x="363" y="626"/>
                  </a:lnTo>
                  <a:lnTo>
                    <a:pt x="363" y="622"/>
                  </a:lnTo>
                  <a:lnTo>
                    <a:pt x="359" y="622"/>
                  </a:lnTo>
                  <a:lnTo>
                    <a:pt x="363" y="619"/>
                  </a:lnTo>
                  <a:lnTo>
                    <a:pt x="363" y="615"/>
                  </a:lnTo>
                  <a:lnTo>
                    <a:pt x="367" y="615"/>
                  </a:lnTo>
                  <a:lnTo>
                    <a:pt x="363" y="615"/>
                  </a:lnTo>
                  <a:lnTo>
                    <a:pt x="359" y="619"/>
                  </a:lnTo>
                  <a:lnTo>
                    <a:pt x="359" y="622"/>
                  </a:lnTo>
                  <a:lnTo>
                    <a:pt x="359" y="619"/>
                  </a:lnTo>
                  <a:lnTo>
                    <a:pt x="355" y="619"/>
                  </a:lnTo>
                  <a:lnTo>
                    <a:pt x="359" y="615"/>
                  </a:lnTo>
                  <a:lnTo>
                    <a:pt x="363" y="615"/>
                  </a:lnTo>
                  <a:lnTo>
                    <a:pt x="367" y="615"/>
                  </a:lnTo>
                  <a:lnTo>
                    <a:pt x="363" y="615"/>
                  </a:lnTo>
                  <a:lnTo>
                    <a:pt x="363" y="611"/>
                  </a:lnTo>
                  <a:lnTo>
                    <a:pt x="359" y="611"/>
                  </a:lnTo>
                  <a:lnTo>
                    <a:pt x="359" y="615"/>
                  </a:lnTo>
                  <a:lnTo>
                    <a:pt x="355" y="615"/>
                  </a:lnTo>
                  <a:lnTo>
                    <a:pt x="351" y="615"/>
                  </a:lnTo>
                  <a:lnTo>
                    <a:pt x="351" y="611"/>
                  </a:lnTo>
                  <a:lnTo>
                    <a:pt x="355" y="611"/>
                  </a:lnTo>
                  <a:lnTo>
                    <a:pt x="355" y="615"/>
                  </a:lnTo>
                  <a:lnTo>
                    <a:pt x="359" y="611"/>
                  </a:lnTo>
                  <a:lnTo>
                    <a:pt x="355" y="611"/>
                  </a:lnTo>
                  <a:lnTo>
                    <a:pt x="359" y="611"/>
                  </a:lnTo>
                  <a:lnTo>
                    <a:pt x="359" y="607"/>
                  </a:lnTo>
                  <a:lnTo>
                    <a:pt x="355" y="611"/>
                  </a:lnTo>
                  <a:lnTo>
                    <a:pt x="351" y="607"/>
                  </a:lnTo>
                  <a:lnTo>
                    <a:pt x="351" y="611"/>
                  </a:lnTo>
                  <a:lnTo>
                    <a:pt x="351" y="607"/>
                  </a:lnTo>
                  <a:lnTo>
                    <a:pt x="347" y="607"/>
                  </a:lnTo>
                  <a:lnTo>
                    <a:pt x="343" y="603"/>
                  </a:lnTo>
                  <a:lnTo>
                    <a:pt x="343" y="599"/>
                  </a:lnTo>
                  <a:lnTo>
                    <a:pt x="347" y="595"/>
                  </a:lnTo>
                  <a:lnTo>
                    <a:pt x="343" y="599"/>
                  </a:lnTo>
                  <a:lnTo>
                    <a:pt x="343" y="595"/>
                  </a:lnTo>
                  <a:lnTo>
                    <a:pt x="347" y="591"/>
                  </a:lnTo>
                  <a:lnTo>
                    <a:pt x="351" y="591"/>
                  </a:lnTo>
                  <a:lnTo>
                    <a:pt x="351" y="587"/>
                  </a:lnTo>
                  <a:lnTo>
                    <a:pt x="351" y="591"/>
                  </a:lnTo>
                  <a:lnTo>
                    <a:pt x="347" y="591"/>
                  </a:lnTo>
                  <a:lnTo>
                    <a:pt x="343" y="595"/>
                  </a:lnTo>
                  <a:lnTo>
                    <a:pt x="343" y="591"/>
                  </a:lnTo>
                  <a:lnTo>
                    <a:pt x="347" y="591"/>
                  </a:lnTo>
                  <a:lnTo>
                    <a:pt x="343" y="591"/>
                  </a:lnTo>
                  <a:lnTo>
                    <a:pt x="339" y="591"/>
                  </a:lnTo>
                  <a:lnTo>
                    <a:pt x="339" y="587"/>
                  </a:lnTo>
                  <a:lnTo>
                    <a:pt x="343" y="587"/>
                  </a:lnTo>
                  <a:lnTo>
                    <a:pt x="347" y="583"/>
                  </a:lnTo>
                  <a:lnTo>
                    <a:pt x="343" y="583"/>
                  </a:lnTo>
                  <a:lnTo>
                    <a:pt x="343" y="587"/>
                  </a:lnTo>
                  <a:lnTo>
                    <a:pt x="339" y="587"/>
                  </a:lnTo>
                  <a:lnTo>
                    <a:pt x="339" y="583"/>
                  </a:lnTo>
                  <a:lnTo>
                    <a:pt x="335" y="587"/>
                  </a:lnTo>
                  <a:lnTo>
                    <a:pt x="335" y="583"/>
                  </a:lnTo>
                  <a:lnTo>
                    <a:pt x="335" y="587"/>
                  </a:lnTo>
                  <a:lnTo>
                    <a:pt x="331" y="587"/>
                  </a:lnTo>
                  <a:lnTo>
                    <a:pt x="331" y="583"/>
                  </a:lnTo>
                  <a:lnTo>
                    <a:pt x="335" y="583"/>
                  </a:lnTo>
                  <a:lnTo>
                    <a:pt x="339" y="583"/>
                  </a:lnTo>
                  <a:lnTo>
                    <a:pt x="343" y="579"/>
                  </a:lnTo>
                  <a:lnTo>
                    <a:pt x="339" y="579"/>
                  </a:lnTo>
                  <a:lnTo>
                    <a:pt x="335" y="579"/>
                  </a:lnTo>
                  <a:lnTo>
                    <a:pt x="331" y="579"/>
                  </a:lnTo>
                  <a:lnTo>
                    <a:pt x="335" y="579"/>
                  </a:lnTo>
                  <a:lnTo>
                    <a:pt x="335" y="575"/>
                  </a:lnTo>
                  <a:lnTo>
                    <a:pt x="331" y="575"/>
                  </a:lnTo>
                  <a:lnTo>
                    <a:pt x="331" y="579"/>
                  </a:lnTo>
                  <a:lnTo>
                    <a:pt x="331" y="575"/>
                  </a:lnTo>
                  <a:lnTo>
                    <a:pt x="335" y="575"/>
                  </a:lnTo>
                  <a:lnTo>
                    <a:pt x="339" y="575"/>
                  </a:lnTo>
                  <a:lnTo>
                    <a:pt x="335" y="575"/>
                  </a:lnTo>
                  <a:lnTo>
                    <a:pt x="331" y="575"/>
                  </a:lnTo>
                  <a:lnTo>
                    <a:pt x="331" y="579"/>
                  </a:lnTo>
                  <a:lnTo>
                    <a:pt x="327" y="575"/>
                  </a:lnTo>
                  <a:lnTo>
                    <a:pt x="323" y="575"/>
                  </a:lnTo>
                  <a:lnTo>
                    <a:pt x="323" y="571"/>
                  </a:lnTo>
                  <a:lnTo>
                    <a:pt x="327" y="571"/>
                  </a:lnTo>
                  <a:lnTo>
                    <a:pt x="331" y="571"/>
                  </a:lnTo>
                  <a:lnTo>
                    <a:pt x="331" y="567"/>
                  </a:lnTo>
                  <a:lnTo>
                    <a:pt x="335" y="567"/>
                  </a:lnTo>
                  <a:lnTo>
                    <a:pt x="331" y="567"/>
                  </a:lnTo>
                  <a:lnTo>
                    <a:pt x="327" y="567"/>
                  </a:lnTo>
                  <a:lnTo>
                    <a:pt x="327" y="571"/>
                  </a:lnTo>
                  <a:lnTo>
                    <a:pt x="327" y="567"/>
                  </a:lnTo>
                  <a:lnTo>
                    <a:pt x="323" y="567"/>
                  </a:lnTo>
                  <a:lnTo>
                    <a:pt x="323" y="563"/>
                  </a:lnTo>
                  <a:lnTo>
                    <a:pt x="327" y="563"/>
                  </a:lnTo>
                  <a:lnTo>
                    <a:pt x="335" y="563"/>
                  </a:lnTo>
                  <a:lnTo>
                    <a:pt x="339" y="563"/>
                  </a:lnTo>
                  <a:lnTo>
                    <a:pt x="339" y="559"/>
                  </a:lnTo>
                  <a:lnTo>
                    <a:pt x="339" y="563"/>
                  </a:lnTo>
                  <a:lnTo>
                    <a:pt x="343" y="559"/>
                  </a:lnTo>
                  <a:lnTo>
                    <a:pt x="347" y="559"/>
                  </a:lnTo>
                  <a:lnTo>
                    <a:pt x="343" y="559"/>
                  </a:lnTo>
                  <a:lnTo>
                    <a:pt x="339" y="559"/>
                  </a:lnTo>
                  <a:lnTo>
                    <a:pt x="335" y="559"/>
                  </a:lnTo>
                  <a:lnTo>
                    <a:pt x="335" y="563"/>
                  </a:lnTo>
                  <a:lnTo>
                    <a:pt x="331" y="563"/>
                  </a:lnTo>
                  <a:lnTo>
                    <a:pt x="327" y="563"/>
                  </a:lnTo>
                  <a:lnTo>
                    <a:pt x="323" y="563"/>
                  </a:lnTo>
                  <a:lnTo>
                    <a:pt x="323" y="559"/>
                  </a:lnTo>
                  <a:lnTo>
                    <a:pt x="327" y="559"/>
                  </a:lnTo>
                  <a:lnTo>
                    <a:pt x="327" y="563"/>
                  </a:lnTo>
                  <a:lnTo>
                    <a:pt x="327" y="559"/>
                  </a:lnTo>
                  <a:lnTo>
                    <a:pt x="323" y="559"/>
                  </a:lnTo>
                  <a:lnTo>
                    <a:pt x="323" y="563"/>
                  </a:lnTo>
                  <a:lnTo>
                    <a:pt x="323" y="559"/>
                  </a:lnTo>
                  <a:lnTo>
                    <a:pt x="327" y="559"/>
                  </a:lnTo>
                  <a:lnTo>
                    <a:pt x="331" y="559"/>
                  </a:lnTo>
                  <a:lnTo>
                    <a:pt x="335" y="559"/>
                  </a:lnTo>
                  <a:lnTo>
                    <a:pt x="331" y="559"/>
                  </a:lnTo>
                  <a:lnTo>
                    <a:pt x="335" y="555"/>
                  </a:lnTo>
                  <a:lnTo>
                    <a:pt x="339" y="555"/>
                  </a:lnTo>
                  <a:lnTo>
                    <a:pt x="343" y="555"/>
                  </a:lnTo>
                  <a:lnTo>
                    <a:pt x="347" y="555"/>
                  </a:lnTo>
                  <a:lnTo>
                    <a:pt x="347" y="551"/>
                  </a:lnTo>
                  <a:lnTo>
                    <a:pt x="343" y="551"/>
                  </a:lnTo>
                  <a:lnTo>
                    <a:pt x="343" y="555"/>
                  </a:lnTo>
                  <a:lnTo>
                    <a:pt x="339" y="555"/>
                  </a:lnTo>
                  <a:lnTo>
                    <a:pt x="339" y="551"/>
                  </a:lnTo>
                  <a:lnTo>
                    <a:pt x="343" y="551"/>
                  </a:lnTo>
                  <a:lnTo>
                    <a:pt x="339" y="551"/>
                  </a:lnTo>
                  <a:lnTo>
                    <a:pt x="335" y="551"/>
                  </a:lnTo>
                  <a:lnTo>
                    <a:pt x="335" y="547"/>
                  </a:lnTo>
                  <a:lnTo>
                    <a:pt x="339" y="547"/>
                  </a:lnTo>
                  <a:lnTo>
                    <a:pt x="343" y="547"/>
                  </a:lnTo>
                  <a:lnTo>
                    <a:pt x="339" y="547"/>
                  </a:lnTo>
                  <a:lnTo>
                    <a:pt x="343" y="547"/>
                  </a:lnTo>
                  <a:lnTo>
                    <a:pt x="343" y="551"/>
                  </a:lnTo>
                  <a:lnTo>
                    <a:pt x="347" y="551"/>
                  </a:lnTo>
                  <a:lnTo>
                    <a:pt x="347" y="555"/>
                  </a:lnTo>
                  <a:lnTo>
                    <a:pt x="351" y="555"/>
                  </a:lnTo>
                  <a:lnTo>
                    <a:pt x="355" y="555"/>
                  </a:lnTo>
                  <a:lnTo>
                    <a:pt x="351" y="555"/>
                  </a:lnTo>
                  <a:lnTo>
                    <a:pt x="347" y="551"/>
                  </a:lnTo>
                  <a:lnTo>
                    <a:pt x="347" y="547"/>
                  </a:lnTo>
                  <a:lnTo>
                    <a:pt x="343" y="547"/>
                  </a:lnTo>
                  <a:lnTo>
                    <a:pt x="347" y="543"/>
                  </a:lnTo>
                  <a:lnTo>
                    <a:pt x="343" y="543"/>
                  </a:lnTo>
                  <a:lnTo>
                    <a:pt x="343" y="547"/>
                  </a:lnTo>
                  <a:lnTo>
                    <a:pt x="339" y="547"/>
                  </a:lnTo>
                  <a:lnTo>
                    <a:pt x="339" y="543"/>
                  </a:lnTo>
                  <a:lnTo>
                    <a:pt x="339" y="539"/>
                  </a:lnTo>
                  <a:lnTo>
                    <a:pt x="335" y="539"/>
                  </a:lnTo>
                  <a:lnTo>
                    <a:pt x="335" y="535"/>
                  </a:lnTo>
                  <a:lnTo>
                    <a:pt x="335" y="539"/>
                  </a:lnTo>
                  <a:lnTo>
                    <a:pt x="339" y="543"/>
                  </a:lnTo>
                  <a:lnTo>
                    <a:pt x="339" y="547"/>
                  </a:lnTo>
                  <a:lnTo>
                    <a:pt x="335" y="547"/>
                  </a:lnTo>
                  <a:lnTo>
                    <a:pt x="331" y="547"/>
                  </a:lnTo>
                  <a:lnTo>
                    <a:pt x="331" y="551"/>
                  </a:lnTo>
                  <a:lnTo>
                    <a:pt x="331" y="547"/>
                  </a:lnTo>
                  <a:lnTo>
                    <a:pt x="331" y="543"/>
                  </a:lnTo>
                  <a:lnTo>
                    <a:pt x="331" y="547"/>
                  </a:lnTo>
                  <a:lnTo>
                    <a:pt x="327" y="547"/>
                  </a:lnTo>
                  <a:lnTo>
                    <a:pt x="327" y="551"/>
                  </a:lnTo>
                  <a:lnTo>
                    <a:pt x="323" y="555"/>
                  </a:lnTo>
                  <a:lnTo>
                    <a:pt x="323" y="559"/>
                  </a:lnTo>
                  <a:lnTo>
                    <a:pt x="319" y="559"/>
                  </a:lnTo>
                  <a:lnTo>
                    <a:pt x="319" y="555"/>
                  </a:lnTo>
                  <a:lnTo>
                    <a:pt x="315" y="555"/>
                  </a:lnTo>
                  <a:lnTo>
                    <a:pt x="315" y="551"/>
                  </a:lnTo>
                  <a:lnTo>
                    <a:pt x="315" y="547"/>
                  </a:lnTo>
                  <a:lnTo>
                    <a:pt x="319" y="543"/>
                  </a:lnTo>
                  <a:lnTo>
                    <a:pt x="323" y="543"/>
                  </a:lnTo>
                  <a:lnTo>
                    <a:pt x="327" y="543"/>
                  </a:lnTo>
                  <a:lnTo>
                    <a:pt x="327" y="539"/>
                  </a:lnTo>
                  <a:lnTo>
                    <a:pt x="331" y="539"/>
                  </a:lnTo>
                  <a:lnTo>
                    <a:pt x="327" y="539"/>
                  </a:lnTo>
                  <a:lnTo>
                    <a:pt x="323" y="543"/>
                  </a:lnTo>
                  <a:lnTo>
                    <a:pt x="323" y="539"/>
                  </a:lnTo>
                  <a:lnTo>
                    <a:pt x="319" y="543"/>
                  </a:lnTo>
                  <a:lnTo>
                    <a:pt x="315" y="543"/>
                  </a:lnTo>
                  <a:lnTo>
                    <a:pt x="319" y="543"/>
                  </a:lnTo>
                  <a:lnTo>
                    <a:pt x="315" y="543"/>
                  </a:lnTo>
                  <a:lnTo>
                    <a:pt x="315" y="539"/>
                  </a:lnTo>
                  <a:lnTo>
                    <a:pt x="319" y="539"/>
                  </a:lnTo>
                  <a:lnTo>
                    <a:pt x="315" y="539"/>
                  </a:lnTo>
                  <a:lnTo>
                    <a:pt x="315" y="535"/>
                  </a:lnTo>
                  <a:lnTo>
                    <a:pt x="315" y="531"/>
                  </a:lnTo>
                  <a:lnTo>
                    <a:pt x="315" y="535"/>
                  </a:lnTo>
                  <a:lnTo>
                    <a:pt x="311" y="535"/>
                  </a:lnTo>
                  <a:lnTo>
                    <a:pt x="315" y="535"/>
                  </a:lnTo>
                  <a:lnTo>
                    <a:pt x="315" y="531"/>
                  </a:lnTo>
                  <a:lnTo>
                    <a:pt x="311" y="531"/>
                  </a:lnTo>
                  <a:lnTo>
                    <a:pt x="311" y="535"/>
                  </a:lnTo>
                  <a:lnTo>
                    <a:pt x="311" y="531"/>
                  </a:lnTo>
                  <a:lnTo>
                    <a:pt x="315" y="527"/>
                  </a:lnTo>
                  <a:lnTo>
                    <a:pt x="319" y="527"/>
                  </a:lnTo>
                  <a:lnTo>
                    <a:pt x="319" y="523"/>
                  </a:lnTo>
                  <a:lnTo>
                    <a:pt x="323" y="523"/>
                  </a:lnTo>
                  <a:lnTo>
                    <a:pt x="319" y="523"/>
                  </a:lnTo>
                  <a:lnTo>
                    <a:pt x="323" y="523"/>
                  </a:lnTo>
                  <a:lnTo>
                    <a:pt x="323" y="519"/>
                  </a:lnTo>
                  <a:lnTo>
                    <a:pt x="327" y="519"/>
                  </a:lnTo>
                  <a:lnTo>
                    <a:pt x="331" y="519"/>
                  </a:lnTo>
                  <a:lnTo>
                    <a:pt x="335" y="519"/>
                  </a:lnTo>
                  <a:lnTo>
                    <a:pt x="335" y="523"/>
                  </a:lnTo>
                  <a:lnTo>
                    <a:pt x="339" y="523"/>
                  </a:lnTo>
                  <a:lnTo>
                    <a:pt x="339" y="519"/>
                  </a:lnTo>
                  <a:lnTo>
                    <a:pt x="335" y="519"/>
                  </a:lnTo>
                  <a:lnTo>
                    <a:pt x="331" y="519"/>
                  </a:lnTo>
                  <a:lnTo>
                    <a:pt x="327" y="519"/>
                  </a:lnTo>
                  <a:lnTo>
                    <a:pt x="323" y="519"/>
                  </a:lnTo>
                  <a:lnTo>
                    <a:pt x="319" y="523"/>
                  </a:lnTo>
                  <a:lnTo>
                    <a:pt x="319" y="527"/>
                  </a:lnTo>
                  <a:lnTo>
                    <a:pt x="315" y="527"/>
                  </a:lnTo>
                  <a:lnTo>
                    <a:pt x="311" y="527"/>
                  </a:lnTo>
                  <a:lnTo>
                    <a:pt x="311" y="531"/>
                  </a:lnTo>
                  <a:lnTo>
                    <a:pt x="307" y="527"/>
                  </a:lnTo>
                  <a:lnTo>
                    <a:pt x="311" y="523"/>
                  </a:lnTo>
                  <a:lnTo>
                    <a:pt x="307" y="523"/>
                  </a:lnTo>
                  <a:lnTo>
                    <a:pt x="307" y="527"/>
                  </a:lnTo>
                  <a:lnTo>
                    <a:pt x="307" y="523"/>
                  </a:lnTo>
                  <a:lnTo>
                    <a:pt x="307" y="519"/>
                  </a:lnTo>
                  <a:lnTo>
                    <a:pt x="307" y="523"/>
                  </a:lnTo>
                  <a:lnTo>
                    <a:pt x="303" y="523"/>
                  </a:lnTo>
                  <a:lnTo>
                    <a:pt x="299" y="523"/>
                  </a:lnTo>
                  <a:lnTo>
                    <a:pt x="299" y="519"/>
                  </a:lnTo>
                  <a:lnTo>
                    <a:pt x="303" y="519"/>
                  </a:lnTo>
                  <a:lnTo>
                    <a:pt x="299" y="519"/>
                  </a:lnTo>
                  <a:lnTo>
                    <a:pt x="303" y="519"/>
                  </a:lnTo>
                  <a:lnTo>
                    <a:pt x="303" y="515"/>
                  </a:lnTo>
                  <a:lnTo>
                    <a:pt x="307" y="515"/>
                  </a:lnTo>
                  <a:lnTo>
                    <a:pt x="311" y="515"/>
                  </a:lnTo>
                  <a:lnTo>
                    <a:pt x="315" y="515"/>
                  </a:lnTo>
                  <a:lnTo>
                    <a:pt x="319" y="515"/>
                  </a:lnTo>
                  <a:lnTo>
                    <a:pt x="319" y="511"/>
                  </a:lnTo>
                  <a:lnTo>
                    <a:pt x="315" y="515"/>
                  </a:lnTo>
                  <a:lnTo>
                    <a:pt x="311" y="515"/>
                  </a:lnTo>
                  <a:lnTo>
                    <a:pt x="307" y="515"/>
                  </a:lnTo>
                  <a:lnTo>
                    <a:pt x="303" y="515"/>
                  </a:lnTo>
                  <a:lnTo>
                    <a:pt x="299" y="519"/>
                  </a:lnTo>
                  <a:lnTo>
                    <a:pt x="299" y="515"/>
                  </a:lnTo>
                  <a:lnTo>
                    <a:pt x="303" y="515"/>
                  </a:lnTo>
                  <a:lnTo>
                    <a:pt x="303" y="511"/>
                  </a:lnTo>
                  <a:lnTo>
                    <a:pt x="303" y="515"/>
                  </a:lnTo>
                  <a:lnTo>
                    <a:pt x="299" y="515"/>
                  </a:lnTo>
                  <a:lnTo>
                    <a:pt x="295" y="515"/>
                  </a:lnTo>
                  <a:lnTo>
                    <a:pt x="299" y="515"/>
                  </a:lnTo>
                  <a:lnTo>
                    <a:pt x="299" y="511"/>
                  </a:lnTo>
                  <a:lnTo>
                    <a:pt x="299" y="515"/>
                  </a:lnTo>
                  <a:lnTo>
                    <a:pt x="299" y="511"/>
                  </a:lnTo>
                  <a:lnTo>
                    <a:pt x="295" y="511"/>
                  </a:lnTo>
                  <a:lnTo>
                    <a:pt x="299" y="511"/>
                  </a:lnTo>
                  <a:lnTo>
                    <a:pt x="303" y="511"/>
                  </a:lnTo>
                  <a:lnTo>
                    <a:pt x="303" y="507"/>
                  </a:lnTo>
                  <a:lnTo>
                    <a:pt x="307" y="507"/>
                  </a:lnTo>
                  <a:lnTo>
                    <a:pt x="307" y="503"/>
                  </a:lnTo>
                  <a:lnTo>
                    <a:pt x="311" y="503"/>
                  </a:lnTo>
                  <a:lnTo>
                    <a:pt x="315" y="503"/>
                  </a:lnTo>
                  <a:lnTo>
                    <a:pt x="315" y="499"/>
                  </a:lnTo>
                  <a:lnTo>
                    <a:pt x="319" y="499"/>
                  </a:lnTo>
                  <a:lnTo>
                    <a:pt x="319" y="495"/>
                  </a:lnTo>
                  <a:lnTo>
                    <a:pt x="323" y="495"/>
                  </a:lnTo>
                  <a:lnTo>
                    <a:pt x="327" y="495"/>
                  </a:lnTo>
                  <a:lnTo>
                    <a:pt x="327" y="491"/>
                  </a:lnTo>
                  <a:lnTo>
                    <a:pt x="331" y="491"/>
                  </a:lnTo>
                  <a:lnTo>
                    <a:pt x="335" y="491"/>
                  </a:lnTo>
                  <a:lnTo>
                    <a:pt x="339" y="491"/>
                  </a:lnTo>
                  <a:lnTo>
                    <a:pt x="343" y="491"/>
                  </a:lnTo>
                  <a:lnTo>
                    <a:pt x="339" y="491"/>
                  </a:lnTo>
                  <a:lnTo>
                    <a:pt x="335" y="491"/>
                  </a:lnTo>
                  <a:lnTo>
                    <a:pt x="331" y="491"/>
                  </a:lnTo>
                  <a:lnTo>
                    <a:pt x="335" y="491"/>
                  </a:lnTo>
                  <a:lnTo>
                    <a:pt x="335" y="487"/>
                  </a:lnTo>
                  <a:lnTo>
                    <a:pt x="339" y="487"/>
                  </a:lnTo>
                  <a:lnTo>
                    <a:pt x="343" y="487"/>
                  </a:lnTo>
                  <a:lnTo>
                    <a:pt x="347" y="487"/>
                  </a:lnTo>
                  <a:lnTo>
                    <a:pt x="343" y="487"/>
                  </a:lnTo>
                  <a:lnTo>
                    <a:pt x="339" y="487"/>
                  </a:lnTo>
                  <a:lnTo>
                    <a:pt x="343" y="487"/>
                  </a:lnTo>
                  <a:lnTo>
                    <a:pt x="339" y="487"/>
                  </a:lnTo>
                  <a:lnTo>
                    <a:pt x="335" y="487"/>
                  </a:lnTo>
                  <a:lnTo>
                    <a:pt x="331" y="487"/>
                  </a:lnTo>
                  <a:lnTo>
                    <a:pt x="331" y="491"/>
                  </a:lnTo>
                  <a:lnTo>
                    <a:pt x="327" y="491"/>
                  </a:lnTo>
                  <a:lnTo>
                    <a:pt x="323" y="491"/>
                  </a:lnTo>
                  <a:lnTo>
                    <a:pt x="323" y="495"/>
                  </a:lnTo>
                  <a:lnTo>
                    <a:pt x="319" y="495"/>
                  </a:lnTo>
                  <a:lnTo>
                    <a:pt x="319" y="499"/>
                  </a:lnTo>
                  <a:lnTo>
                    <a:pt x="315" y="499"/>
                  </a:lnTo>
                  <a:lnTo>
                    <a:pt x="311" y="503"/>
                  </a:lnTo>
                  <a:lnTo>
                    <a:pt x="307" y="503"/>
                  </a:lnTo>
                  <a:lnTo>
                    <a:pt x="307" y="507"/>
                  </a:lnTo>
                  <a:lnTo>
                    <a:pt x="303" y="507"/>
                  </a:lnTo>
                  <a:lnTo>
                    <a:pt x="299" y="511"/>
                  </a:lnTo>
                  <a:lnTo>
                    <a:pt x="295" y="511"/>
                  </a:lnTo>
                  <a:lnTo>
                    <a:pt x="295" y="507"/>
                  </a:lnTo>
                  <a:lnTo>
                    <a:pt x="299" y="507"/>
                  </a:lnTo>
                  <a:lnTo>
                    <a:pt x="295" y="507"/>
                  </a:lnTo>
                  <a:lnTo>
                    <a:pt x="291" y="507"/>
                  </a:lnTo>
                  <a:lnTo>
                    <a:pt x="291" y="503"/>
                  </a:lnTo>
                  <a:lnTo>
                    <a:pt x="291" y="499"/>
                  </a:lnTo>
                  <a:lnTo>
                    <a:pt x="295" y="499"/>
                  </a:lnTo>
                  <a:lnTo>
                    <a:pt x="299" y="499"/>
                  </a:lnTo>
                  <a:lnTo>
                    <a:pt x="303" y="499"/>
                  </a:lnTo>
                  <a:lnTo>
                    <a:pt x="307" y="499"/>
                  </a:lnTo>
                  <a:lnTo>
                    <a:pt x="311" y="499"/>
                  </a:lnTo>
                  <a:lnTo>
                    <a:pt x="307" y="499"/>
                  </a:lnTo>
                  <a:lnTo>
                    <a:pt x="303" y="499"/>
                  </a:lnTo>
                  <a:lnTo>
                    <a:pt x="299" y="499"/>
                  </a:lnTo>
                  <a:lnTo>
                    <a:pt x="295" y="499"/>
                  </a:lnTo>
                  <a:lnTo>
                    <a:pt x="295" y="495"/>
                  </a:lnTo>
                  <a:lnTo>
                    <a:pt x="299" y="495"/>
                  </a:lnTo>
                  <a:lnTo>
                    <a:pt x="303" y="495"/>
                  </a:lnTo>
                  <a:lnTo>
                    <a:pt x="307" y="495"/>
                  </a:lnTo>
                  <a:lnTo>
                    <a:pt x="303" y="495"/>
                  </a:lnTo>
                  <a:lnTo>
                    <a:pt x="299" y="495"/>
                  </a:lnTo>
                  <a:lnTo>
                    <a:pt x="303" y="495"/>
                  </a:lnTo>
                  <a:lnTo>
                    <a:pt x="303" y="491"/>
                  </a:lnTo>
                  <a:lnTo>
                    <a:pt x="303" y="495"/>
                  </a:lnTo>
                  <a:lnTo>
                    <a:pt x="299" y="495"/>
                  </a:lnTo>
                  <a:lnTo>
                    <a:pt x="303" y="495"/>
                  </a:lnTo>
                  <a:lnTo>
                    <a:pt x="303" y="491"/>
                  </a:lnTo>
                  <a:lnTo>
                    <a:pt x="307" y="491"/>
                  </a:lnTo>
                  <a:lnTo>
                    <a:pt x="311" y="491"/>
                  </a:lnTo>
                  <a:lnTo>
                    <a:pt x="315" y="491"/>
                  </a:lnTo>
                  <a:lnTo>
                    <a:pt x="311" y="491"/>
                  </a:lnTo>
                  <a:lnTo>
                    <a:pt x="307" y="491"/>
                  </a:lnTo>
                  <a:lnTo>
                    <a:pt x="303" y="491"/>
                  </a:lnTo>
                  <a:lnTo>
                    <a:pt x="299" y="491"/>
                  </a:lnTo>
                  <a:lnTo>
                    <a:pt x="295" y="491"/>
                  </a:lnTo>
                  <a:lnTo>
                    <a:pt x="291" y="491"/>
                  </a:lnTo>
                  <a:lnTo>
                    <a:pt x="291" y="487"/>
                  </a:lnTo>
                  <a:lnTo>
                    <a:pt x="295" y="487"/>
                  </a:lnTo>
                  <a:lnTo>
                    <a:pt x="299" y="487"/>
                  </a:lnTo>
                  <a:lnTo>
                    <a:pt x="295" y="487"/>
                  </a:lnTo>
                  <a:lnTo>
                    <a:pt x="291" y="487"/>
                  </a:lnTo>
                  <a:lnTo>
                    <a:pt x="295" y="487"/>
                  </a:lnTo>
                  <a:lnTo>
                    <a:pt x="295" y="483"/>
                  </a:lnTo>
                  <a:lnTo>
                    <a:pt x="291" y="487"/>
                  </a:lnTo>
                  <a:lnTo>
                    <a:pt x="287" y="487"/>
                  </a:lnTo>
                  <a:lnTo>
                    <a:pt x="287" y="483"/>
                  </a:lnTo>
                  <a:lnTo>
                    <a:pt x="291" y="483"/>
                  </a:lnTo>
                  <a:lnTo>
                    <a:pt x="295" y="483"/>
                  </a:lnTo>
                  <a:lnTo>
                    <a:pt x="295" y="479"/>
                  </a:lnTo>
                  <a:lnTo>
                    <a:pt x="299" y="479"/>
                  </a:lnTo>
                  <a:lnTo>
                    <a:pt x="303" y="479"/>
                  </a:lnTo>
                  <a:lnTo>
                    <a:pt x="307" y="479"/>
                  </a:lnTo>
                  <a:lnTo>
                    <a:pt x="311" y="479"/>
                  </a:lnTo>
                  <a:lnTo>
                    <a:pt x="315" y="479"/>
                  </a:lnTo>
                  <a:lnTo>
                    <a:pt x="319" y="479"/>
                  </a:lnTo>
                  <a:lnTo>
                    <a:pt x="323" y="479"/>
                  </a:lnTo>
                  <a:lnTo>
                    <a:pt x="327" y="479"/>
                  </a:lnTo>
                  <a:lnTo>
                    <a:pt x="327" y="483"/>
                  </a:lnTo>
                  <a:lnTo>
                    <a:pt x="331" y="483"/>
                  </a:lnTo>
                  <a:lnTo>
                    <a:pt x="335" y="483"/>
                  </a:lnTo>
                  <a:lnTo>
                    <a:pt x="339" y="483"/>
                  </a:lnTo>
                  <a:lnTo>
                    <a:pt x="343" y="483"/>
                  </a:lnTo>
                  <a:lnTo>
                    <a:pt x="339" y="483"/>
                  </a:lnTo>
                  <a:lnTo>
                    <a:pt x="335" y="483"/>
                  </a:lnTo>
                  <a:lnTo>
                    <a:pt x="331" y="483"/>
                  </a:lnTo>
                  <a:lnTo>
                    <a:pt x="327" y="479"/>
                  </a:lnTo>
                  <a:lnTo>
                    <a:pt x="323" y="479"/>
                  </a:lnTo>
                  <a:lnTo>
                    <a:pt x="327" y="479"/>
                  </a:lnTo>
                  <a:lnTo>
                    <a:pt x="331" y="475"/>
                  </a:lnTo>
                  <a:lnTo>
                    <a:pt x="327" y="475"/>
                  </a:lnTo>
                  <a:lnTo>
                    <a:pt x="323" y="479"/>
                  </a:lnTo>
                  <a:lnTo>
                    <a:pt x="319" y="479"/>
                  </a:lnTo>
                  <a:lnTo>
                    <a:pt x="315" y="479"/>
                  </a:lnTo>
                  <a:lnTo>
                    <a:pt x="315" y="475"/>
                  </a:lnTo>
                  <a:lnTo>
                    <a:pt x="307" y="479"/>
                  </a:lnTo>
                  <a:lnTo>
                    <a:pt x="303" y="479"/>
                  </a:lnTo>
                  <a:lnTo>
                    <a:pt x="299" y="479"/>
                  </a:lnTo>
                  <a:lnTo>
                    <a:pt x="295" y="479"/>
                  </a:lnTo>
                  <a:lnTo>
                    <a:pt x="291" y="483"/>
                  </a:lnTo>
                  <a:lnTo>
                    <a:pt x="291" y="479"/>
                  </a:lnTo>
                  <a:lnTo>
                    <a:pt x="291" y="475"/>
                  </a:lnTo>
                  <a:lnTo>
                    <a:pt x="295" y="475"/>
                  </a:lnTo>
                  <a:lnTo>
                    <a:pt x="299" y="471"/>
                  </a:lnTo>
                  <a:lnTo>
                    <a:pt x="303" y="471"/>
                  </a:lnTo>
                  <a:lnTo>
                    <a:pt x="299" y="471"/>
                  </a:lnTo>
                  <a:lnTo>
                    <a:pt x="303" y="471"/>
                  </a:lnTo>
                  <a:lnTo>
                    <a:pt x="303" y="467"/>
                  </a:lnTo>
                  <a:lnTo>
                    <a:pt x="307" y="467"/>
                  </a:lnTo>
                  <a:lnTo>
                    <a:pt x="311" y="467"/>
                  </a:lnTo>
                  <a:lnTo>
                    <a:pt x="307" y="467"/>
                  </a:lnTo>
                  <a:lnTo>
                    <a:pt x="311" y="467"/>
                  </a:lnTo>
                  <a:lnTo>
                    <a:pt x="315" y="467"/>
                  </a:lnTo>
                  <a:lnTo>
                    <a:pt x="319" y="467"/>
                  </a:lnTo>
                  <a:lnTo>
                    <a:pt x="319" y="471"/>
                  </a:lnTo>
                  <a:lnTo>
                    <a:pt x="323" y="471"/>
                  </a:lnTo>
                  <a:lnTo>
                    <a:pt x="327" y="471"/>
                  </a:lnTo>
                  <a:lnTo>
                    <a:pt x="331" y="471"/>
                  </a:lnTo>
                  <a:lnTo>
                    <a:pt x="335" y="471"/>
                  </a:lnTo>
                  <a:lnTo>
                    <a:pt x="335" y="475"/>
                  </a:lnTo>
                  <a:lnTo>
                    <a:pt x="339" y="475"/>
                  </a:lnTo>
                  <a:lnTo>
                    <a:pt x="343" y="475"/>
                  </a:lnTo>
                  <a:lnTo>
                    <a:pt x="347" y="475"/>
                  </a:lnTo>
                  <a:lnTo>
                    <a:pt x="343" y="475"/>
                  </a:lnTo>
                  <a:lnTo>
                    <a:pt x="339" y="475"/>
                  </a:lnTo>
                  <a:lnTo>
                    <a:pt x="339" y="471"/>
                  </a:lnTo>
                  <a:lnTo>
                    <a:pt x="335" y="471"/>
                  </a:lnTo>
                  <a:lnTo>
                    <a:pt x="339" y="471"/>
                  </a:lnTo>
                  <a:lnTo>
                    <a:pt x="343" y="471"/>
                  </a:lnTo>
                  <a:lnTo>
                    <a:pt x="343" y="467"/>
                  </a:lnTo>
                  <a:lnTo>
                    <a:pt x="347" y="467"/>
                  </a:lnTo>
                  <a:lnTo>
                    <a:pt x="347" y="471"/>
                  </a:lnTo>
                  <a:lnTo>
                    <a:pt x="347" y="467"/>
                  </a:lnTo>
                  <a:lnTo>
                    <a:pt x="343" y="467"/>
                  </a:lnTo>
                  <a:lnTo>
                    <a:pt x="339" y="467"/>
                  </a:lnTo>
                  <a:lnTo>
                    <a:pt x="339" y="471"/>
                  </a:lnTo>
                  <a:lnTo>
                    <a:pt x="335" y="471"/>
                  </a:lnTo>
                  <a:lnTo>
                    <a:pt x="331" y="471"/>
                  </a:lnTo>
                  <a:lnTo>
                    <a:pt x="331" y="467"/>
                  </a:lnTo>
                  <a:lnTo>
                    <a:pt x="335" y="467"/>
                  </a:lnTo>
                  <a:lnTo>
                    <a:pt x="339" y="467"/>
                  </a:lnTo>
                  <a:lnTo>
                    <a:pt x="343" y="467"/>
                  </a:lnTo>
                  <a:lnTo>
                    <a:pt x="343" y="463"/>
                  </a:lnTo>
                  <a:lnTo>
                    <a:pt x="335" y="463"/>
                  </a:lnTo>
                  <a:lnTo>
                    <a:pt x="339" y="463"/>
                  </a:lnTo>
                  <a:lnTo>
                    <a:pt x="339" y="467"/>
                  </a:lnTo>
                  <a:lnTo>
                    <a:pt x="335" y="467"/>
                  </a:lnTo>
                  <a:lnTo>
                    <a:pt x="331" y="467"/>
                  </a:lnTo>
                  <a:lnTo>
                    <a:pt x="327" y="463"/>
                  </a:lnTo>
                  <a:lnTo>
                    <a:pt x="331" y="463"/>
                  </a:lnTo>
                  <a:lnTo>
                    <a:pt x="335" y="463"/>
                  </a:lnTo>
                  <a:lnTo>
                    <a:pt x="331" y="463"/>
                  </a:lnTo>
                  <a:lnTo>
                    <a:pt x="327" y="463"/>
                  </a:lnTo>
                  <a:lnTo>
                    <a:pt x="323" y="463"/>
                  </a:lnTo>
                  <a:lnTo>
                    <a:pt x="327" y="463"/>
                  </a:lnTo>
                  <a:lnTo>
                    <a:pt x="327" y="467"/>
                  </a:lnTo>
                  <a:lnTo>
                    <a:pt x="323" y="467"/>
                  </a:lnTo>
                  <a:lnTo>
                    <a:pt x="327" y="467"/>
                  </a:lnTo>
                  <a:lnTo>
                    <a:pt x="323" y="467"/>
                  </a:lnTo>
                  <a:lnTo>
                    <a:pt x="319" y="467"/>
                  </a:lnTo>
                  <a:lnTo>
                    <a:pt x="323" y="467"/>
                  </a:lnTo>
                  <a:lnTo>
                    <a:pt x="319" y="467"/>
                  </a:lnTo>
                  <a:lnTo>
                    <a:pt x="315" y="467"/>
                  </a:lnTo>
                  <a:lnTo>
                    <a:pt x="311" y="467"/>
                  </a:lnTo>
                  <a:lnTo>
                    <a:pt x="315" y="463"/>
                  </a:lnTo>
                  <a:lnTo>
                    <a:pt x="319" y="463"/>
                  </a:lnTo>
                  <a:lnTo>
                    <a:pt x="323" y="463"/>
                  </a:lnTo>
                  <a:lnTo>
                    <a:pt x="319" y="463"/>
                  </a:lnTo>
                  <a:lnTo>
                    <a:pt x="315" y="463"/>
                  </a:lnTo>
                  <a:lnTo>
                    <a:pt x="311" y="463"/>
                  </a:lnTo>
                  <a:lnTo>
                    <a:pt x="311" y="467"/>
                  </a:lnTo>
                  <a:lnTo>
                    <a:pt x="307" y="467"/>
                  </a:lnTo>
                  <a:lnTo>
                    <a:pt x="303" y="467"/>
                  </a:lnTo>
                  <a:lnTo>
                    <a:pt x="299" y="471"/>
                  </a:lnTo>
                  <a:lnTo>
                    <a:pt x="295" y="475"/>
                  </a:lnTo>
                  <a:lnTo>
                    <a:pt x="291" y="475"/>
                  </a:lnTo>
                  <a:lnTo>
                    <a:pt x="291" y="471"/>
                  </a:lnTo>
                  <a:lnTo>
                    <a:pt x="295" y="471"/>
                  </a:lnTo>
                  <a:lnTo>
                    <a:pt x="295" y="467"/>
                  </a:lnTo>
                  <a:lnTo>
                    <a:pt x="291" y="467"/>
                  </a:lnTo>
                  <a:lnTo>
                    <a:pt x="295" y="463"/>
                  </a:lnTo>
                  <a:lnTo>
                    <a:pt x="295" y="467"/>
                  </a:lnTo>
                  <a:lnTo>
                    <a:pt x="299" y="467"/>
                  </a:lnTo>
                  <a:lnTo>
                    <a:pt x="295" y="467"/>
                  </a:lnTo>
                  <a:lnTo>
                    <a:pt x="295" y="463"/>
                  </a:lnTo>
                  <a:lnTo>
                    <a:pt x="299" y="463"/>
                  </a:lnTo>
                  <a:lnTo>
                    <a:pt x="299" y="467"/>
                  </a:lnTo>
                  <a:lnTo>
                    <a:pt x="299" y="463"/>
                  </a:lnTo>
                  <a:lnTo>
                    <a:pt x="303" y="463"/>
                  </a:lnTo>
                  <a:lnTo>
                    <a:pt x="299" y="463"/>
                  </a:lnTo>
                  <a:lnTo>
                    <a:pt x="303" y="463"/>
                  </a:lnTo>
                  <a:lnTo>
                    <a:pt x="303" y="459"/>
                  </a:lnTo>
                  <a:lnTo>
                    <a:pt x="299" y="463"/>
                  </a:lnTo>
                  <a:lnTo>
                    <a:pt x="299" y="459"/>
                  </a:lnTo>
                  <a:lnTo>
                    <a:pt x="303" y="459"/>
                  </a:lnTo>
                  <a:lnTo>
                    <a:pt x="307" y="463"/>
                  </a:lnTo>
                  <a:lnTo>
                    <a:pt x="311" y="463"/>
                  </a:lnTo>
                  <a:lnTo>
                    <a:pt x="315" y="463"/>
                  </a:lnTo>
                  <a:lnTo>
                    <a:pt x="311" y="463"/>
                  </a:lnTo>
                  <a:lnTo>
                    <a:pt x="307" y="463"/>
                  </a:lnTo>
                  <a:lnTo>
                    <a:pt x="307" y="459"/>
                  </a:lnTo>
                  <a:lnTo>
                    <a:pt x="303" y="459"/>
                  </a:lnTo>
                  <a:lnTo>
                    <a:pt x="299" y="459"/>
                  </a:lnTo>
                  <a:lnTo>
                    <a:pt x="295" y="455"/>
                  </a:lnTo>
                  <a:lnTo>
                    <a:pt x="299" y="455"/>
                  </a:lnTo>
                  <a:lnTo>
                    <a:pt x="303" y="455"/>
                  </a:lnTo>
                  <a:lnTo>
                    <a:pt x="307" y="459"/>
                  </a:lnTo>
                  <a:lnTo>
                    <a:pt x="311" y="459"/>
                  </a:lnTo>
                  <a:lnTo>
                    <a:pt x="307" y="459"/>
                  </a:lnTo>
                  <a:lnTo>
                    <a:pt x="307" y="455"/>
                  </a:lnTo>
                  <a:lnTo>
                    <a:pt x="311" y="455"/>
                  </a:lnTo>
                  <a:lnTo>
                    <a:pt x="311" y="459"/>
                  </a:lnTo>
                  <a:lnTo>
                    <a:pt x="315" y="459"/>
                  </a:lnTo>
                  <a:lnTo>
                    <a:pt x="319" y="459"/>
                  </a:lnTo>
                  <a:lnTo>
                    <a:pt x="323" y="459"/>
                  </a:lnTo>
                  <a:lnTo>
                    <a:pt x="327" y="459"/>
                  </a:lnTo>
                  <a:lnTo>
                    <a:pt x="331" y="459"/>
                  </a:lnTo>
                  <a:lnTo>
                    <a:pt x="339" y="463"/>
                  </a:lnTo>
                  <a:lnTo>
                    <a:pt x="343" y="463"/>
                  </a:lnTo>
                  <a:lnTo>
                    <a:pt x="347" y="463"/>
                  </a:lnTo>
                  <a:lnTo>
                    <a:pt x="343" y="463"/>
                  </a:lnTo>
                  <a:lnTo>
                    <a:pt x="339" y="463"/>
                  </a:lnTo>
                  <a:lnTo>
                    <a:pt x="339" y="459"/>
                  </a:lnTo>
                  <a:lnTo>
                    <a:pt x="335" y="459"/>
                  </a:lnTo>
                  <a:lnTo>
                    <a:pt x="331" y="459"/>
                  </a:lnTo>
                  <a:lnTo>
                    <a:pt x="327" y="455"/>
                  </a:lnTo>
                  <a:lnTo>
                    <a:pt x="331" y="455"/>
                  </a:lnTo>
                  <a:lnTo>
                    <a:pt x="335" y="455"/>
                  </a:lnTo>
                  <a:lnTo>
                    <a:pt x="331" y="455"/>
                  </a:lnTo>
                  <a:lnTo>
                    <a:pt x="331" y="451"/>
                  </a:lnTo>
                  <a:lnTo>
                    <a:pt x="335" y="447"/>
                  </a:lnTo>
                  <a:lnTo>
                    <a:pt x="331" y="451"/>
                  </a:lnTo>
                  <a:lnTo>
                    <a:pt x="327" y="451"/>
                  </a:lnTo>
                  <a:lnTo>
                    <a:pt x="323" y="451"/>
                  </a:lnTo>
                  <a:lnTo>
                    <a:pt x="327" y="451"/>
                  </a:lnTo>
                  <a:lnTo>
                    <a:pt x="331" y="451"/>
                  </a:lnTo>
                  <a:lnTo>
                    <a:pt x="327" y="455"/>
                  </a:lnTo>
                  <a:lnTo>
                    <a:pt x="323" y="455"/>
                  </a:lnTo>
                  <a:lnTo>
                    <a:pt x="319" y="455"/>
                  </a:lnTo>
                  <a:lnTo>
                    <a:pt x="315" y="455"/>
                  </a:lnTo>
                  <a:lnTo>
                    <a:pt x="311" y="455"/>
                  </a:lnTo>
                  <a:lnTo>
                    <a:pt x="307" y="455"/>
                  </a:lnTo>
                  <a:lnTo>
                    <a:pt x="303" y="455"/>
                  </a:lnTo>
                  <a:lnTo>
                    <a:pt x="303" y="451"/>
                  </a:lnTo>
                  <a:lnTo>
                    <a:pt x="307" y="451"/>
                  </a:lnTo>
                  <a:lnTo>
                    <a:pt x="303" y="451"/>
                  </a:lnTo>
                  <a:lnTo>
                    <a:pt x="303" y="455"/>
                  </a:lnTo>
                  <a:lnTo>
                    <a:pt x="299" y="455"/>
                  </a:lnTo>
                  <a:lnTo>
                    <a:pt x="299" y="451"/>
                  </a:lnTo>
                  <a:lnTo>
                    <a:pt x="299" y="455"/>
                  </a:lnTo>
                  <a:lnTo>
                    <a:pt x="295" y="455"/>
                  </a:lnTo>
                  <a:lnTo>
                    <a:pt x="295" y="451"/>
                  </a:lnTo>
                  <a:lnTo>
                    <a:pt x="299" y="451"/>
                  </a:lnTo>
                  <a:lnTo>
                    <a:pt x="303" y="451"/>
                  </a:lnTo>
                  <a:lnTo>
                    <a:pt x="307" y="447"/>
                  </a:lnTo>
                  <a:lnTo>
                    <a:pt x="311" y="447"/>
                  </a:lnTo>
                  <a:lnTo>
                    <a:pt x="315" y="447"/>
                  </a:lnTo>
                  <a:lnTo>
                    <a:pt x="319" y="447"/>
                  </a:lnTo>
                  <a:lnTo>
                    <a:pt x="323" y="447"/>
                  </a:lnTo>
                  <a:lnTo>
                    <a:pt x="327" y="447"/>
                  </a:lnTo>
                  <a:lnTo>
                    <a:pt x="331" y="447"/>
                  </a:lnTo>
                  <a:lnTo>
                    <a:pt x="331" y="443"/>
                  </a:lnTo>
                  <a:lnTo>
                    <a:pt x="335" y="443"/>
                  </a:lnTo>
                  <a:close/>
                  <a:moveTo>
                    <a:pt x="818" y="112"/>
                  </a:moveTo>
                  <a:lnTo>
                    <a:pt x="814" y="112"/>
                  </a:lnTo>
                  <a:lnTo>
                    <a:pt x="810" y="112"/>
                  </a:lnTo>
                  <a:lnTo>
                    <a:pt x="806" y="112"/>
                  </a:lnTo>
                  <a:lnTo>
                    <a:pt x="802" y="116"/>
                  </a:lnTo>
                  <a:lnTo>
                    <a:pt x="802" y="112"/>
                  </a:lnTo>
                  <a:lnTo>
                    <a:pt x="806" y="108"/>
                  </a:lnTo>
                  <a:lnTo>
                    <a:pt x="810" y="108"/>
                  </a:lnTo>
                  <a:lnTo>
                    <a:pt x="818" y="112"/>
                  </a:lnTo>
                  <a:close/>
                  <a:moveTo>
                    <a:pt x="810" y="156"/>
                  </a:moveTo>
                  <a:lnTo>
                    <a:pt x="806" y="156"/>
                  </a:lnTo>
                  <a:lnTo>
                    <a:pt x="806" y="152"/>
                  </a:lnTo>
                  <a:lnTo>
                    <a:pt x="810" y="148"/>
                  </a:lnTo>
                  <a:lnTo>
                    <a:pt x="814" y="148"/>
                  </a:lnTo>
                  <a:lnTo>
                    <a:pt x="814" y="152"/>
                  </a:lnTo>
                  <a:lnTo>
                    <a:pt x="810" y="152"/>
                  </a:lnTo>
                  <a:lnTo>
                    <a:pt x="814" y="152"/>
                  </a:lnTo>
                  <a:lnTo>
                    <a:pt x="814" y="156"/>
                  </a:lnTo>
                  <a:lnTo>
                    <a:pt x="810" y="156"/>
                  </a:lnTo>
                  <a:close/>
                  <a:moveTo>
                    <a:pt x="806" y="180"/>
                  </a:moveTo>
                  <a:lnTo>
                    <a:pt x="810" y="180"/>
                  </a:lnTo>
                  <a:lnTo>
                    <a:pt x="814" y="180"/>
                  </a:lnTo>
                  <a:lnTo>
                    <a:pt x="814" y="184"/>
                  </a:lnTo>
                  <a:lnTo>
                    <a:pt x="810" y="184"/>
                  </a:lnTo>
                  <a:lnTo>
                    <a:pt x="806" y="184"/>
                  </a:lnTo>
                  <a:lnTo>
                    <a:pt x="802" y="180"/>
                  </a:lnTo>
                  <a:lnTo>
                    <a:pt x="798" y="180"/>
                  </a:lnTo>
                  <a:lnTo>
                    <a:pt x="794" y="180"/>
                  </a:lnTo>
                  <a:lnTo>
                    <a:pt x="798" y="180"/>
                  </a:lnTo>
                  <a:lnTo>
                    <a:pt x="802" y="180"/>
                  </a:lnTo>
                  <a:lnTo>
                    <a:pt x="806" y="180"/>
                  </a:lnTo>
                  <a:close/>
                  <a:moveTo>
                    <a:pt x="837" y="180"/>
                  </a:moveTo>
                  <a:lnTo>
                    <a:pt x="837" y="184"/>
                  </a:lnTo>
                  <a:lnTo>
                    <a:pt x="837" y="187"/>
                  </a:lnTo>
                  <a:lnTo>
                    <a:pt x="833" y="187"/>
                  </a:lnTo>
                  <a:lnTo>
                    <a:pt x="829" y="187"/>
                  </a:lnTo>
                  <a:lnTo>
                    <a:pt x="829" y="184"/>
                  </a:lnTo>
                  <a:lnTo>
                    <a:pt x="833" y="184"/>
                  </a:lnTo>
                  <a:lnTo>
                    <a:pt x="833" y="180"/>
                  </a:lnTo>
                  <a:lnTo>
                    <a:pt x="837" y="180"/>
                  </a:lnTo>
                  <a:close/>
                  <a:moveTo>
                    <a:pt x="822" y="231"/>
                  </a:moveTo>
                  <a:lnTo>
                    <a:pt x="825" y="235"/>
                  </a:lnTo>
                  <a:lnTo>
                    <a:pt x="825" y="239"/>
                  </a:lnTo>
                  <a:lnTo>
                    <a:pt x="822" y="239"/>
                  </a:lnTo>
                  <a:lnTo>
                    <a:pt x="822" y="235"/>
                  </a:lnTo>
                  <a:lnTo>
                    <a:pt x="822" y="231"/>
                  </a:lnTo>
                  <a:lnTo>
                    <a:pt x="818" y="231"/>
                  </a:lnTo>
                  <a:lnTo>
                    <a:pt x="818" y="227"/>
                  </a:lnTo>
                  <a:lnTo>
                    <a:pt x="818" y="223"/>
                  </a:lnTo>
                  <a:lnTo>
                    <a:pt x="814" y="223"/>
                  </a:lnTo>
                  <a:lnTo>
                    <a:pt x="814" y="219"/>
                  </a:lnTo>
                  <a:lnTo>
                    <a:pt x="818" y="219"/>
                  </a:lnTo>
                  <a:lnTo>
                    <a:pt x="822" y="219"/>
                  </a:lnTo>
                  <a:lnTo>
                    <a:pt x="818" y="219"/>
                  </a:lnTo>
                  <a:lnTo>
                    <a:pt x="818" y="215"/>
                  </a:lnTo>
                  <a:lnTo>
                    <a:pt x="822" y="215"/>
                  </a:lnTo>
                  <a:lnTo>
                    <a:pt x="822" y="219"/>
                  </a:lnTo>
                  <a:lnTo>
                    <a:pt x="822" y="223"/>
                  </a:lnTo>
                  <a:lnTo>
                    <a:pt x="822" y="227"/>
                  </a:lnTo>
                  <a:lnTo>
                    <a:pt x="822" y="231"/>
                  </a:lnTo>
                  <a:close/>
                  <a:moveTo>
                    <a:pt x="833" y="255"/>
                  </a:moveTo>
                  <a:lnTo>
                    <a:pt x="833" y="259"/>
                  </a:lnTo>
                  <a:lnTo>
                    <a:pt x="829" y="259"/>
                  </a:lnTo>
                  <a:lnTo>
                    <a:pt x="833" y="263"/>
                  </a:lnTo>
                  <a:lnTo>
                    <a:pt x="837" y="263"/>
                  </a:lnTo>
                  <a:lnTo>
                    <a:pt x="841" y="263"/>
                  </a:lnTo>
                  <a:lnTo>
                    <a:pt x="841" y="267"/>
                  </a:lnTo>
                  <a:lnTo>
                    <a:pt x="837" y="267"/>
                  </a:lnTo>
                  <a:lnTo>
                    <a:pt x="833" y="267"/>
                  </a:lnTo>
                  <a:lnTo>
                    <a:pt x="833" y="263"/>
                  </a:lnTo>
                  <a:lnTo>
                    <a:pt x="829" y="263"/>
                  </a:lnTo>
                  <a:lnTo>
                    <a:pt x="829" y="267"/>
                  </a:lnTo>
                  <a:lnTo>
                    <a:pt x="825" y="267"/>
                  </a:lnTo>
                  <a:lnTo>
                    <a:pt x="822" y="267"/>
                  </a:lnTo>
                  <a:lnTo>
                    <a:pt x="818" y="267"/>
                  </a:lnTo>
                  <a:lnTo>
                    <a:pt x="818" y="263"/>
                  </a:lnTo>
                  <a:lnTo>
                    <a:pt x="822" y="263"/>
                  </a:lnTo>
                  <a:lnTo>
                    <a:pt x="822" y="259"/>
                  </a:lnTo>
                  <a:lnTo>
                    <a:pt x="818" y="259"/>
                  </a:lnTo>
                  <a:lnTo>
                    <a:pt x="822" y="255"/>
                  </a:lnTo>
                  <a:lnTo>
                    <a:pt x="825" y="255"/>
                  </a:lnTo>
                  <a:lnTo>
                    <a:pt x="825" y="259"/>
                  </a:lnTo>
                  <a:lnTo>
                    <a:pt x="829" y="259"/>
                  </a:lnTo>
                  <a:lnTo>
                    <a:pt x="829" y="255"/>
                  </a:lnTo>
                  <a:lnTo>
                    <a:pt x="833" y="255"/>
                  </a:lnTo>
                  <a:close/>
                  <a:moveTo>
                    <a:pt x="774" y="331"/>
                  </a:moveTo>
                  <a:lnTo>
                    <a:pt x="770" y="331"/>
                  </a:lnTo>
                  <a:lnTo>
                    <a:pt x="766" y="331"/>
                  </a:lnTo>
                  <a:lnTo>
                    <a:pt x="762" y="331"/>
                  </a:lnTo>
                  <a:lnTo>
                    <a:pt x="762" y="327"/>
                  </a:lnTo>
                  <a:lnTo>
                    <a:pt x="758" y="327"/>
                  </a:lnTo>
                  <a:lnTo>
                    <a:pt x="754" y="327"/>
                  </a:lnTo>
                  <a:lnTo>
                    <a:pt x="750" y="327"/>
                  </a:lnTo>
                  <a:lnTo>
                    <a:pt x="746" y="327"/>
                  </a:lnTo>
                  <a:lnTo>
                    <a:pt x="742" y="327"/>
                  </a:lnTo>
                  <a:lnTo>
                    <a:pt x="738" y="327"/>
                  </a:lnTo>
                  <a:lnTo>
                    <a:pt x="734" y="327"/>
                  </a:lnTo>
                  <a:lnTo>
                    <a:pt x="734" y="323"/>
                  </a:lnTo>
                  <a:lnTo>
                    <a:pt x="738" y="323"/>
                  </a:lnTo>
                  <a:lnTo>
                    <a:pt x="742" y="323"/>
                  </a:lnTo>
                  <a:lnTo>
                    <a:pt x="746" y="323"/>
                  </a:lnTo>
                  <a:lnTo>
                    <a:pt x="750" y="323"/>
                  </a:lnTo>
                  <a:lnTo>
                    <a:pt x="754" y="323"/>
                  </a:lnTo>
                  <a:lnTo>
                    <a:pt x="758" y="323"/>
                  </a:lnTo>
                  <a:lnTo>
                    <a:pt x="762" y="323"/>
                  </a:lnTo>
                  <a:lnTo>
                    <a:pt x="766" y="323"/>
                  </a:lnTo>
                  <a:lnTo>
                    <a:pt x="770" y="323"/>
                  </a:lnTo>
                  <a:lnTo>
                    <a:pt x="770" y="327"/>
                  </a:lnTo>
                  <a:lnTo>
                    <a:pt x="774" y="327"/>
                  </a:lnTo>
                  <a:lnTo>
                    <a:pt x="770" y="327"/>
                  </a:lnTo>
                  <a:lnTo>
                    <a:pt x="770" y="331"/>
                  </a:lnTo>
                  <a:lnTo>
                    <a:pt x="774" y="331"/>
                  </a:lnTo>
                  <a:close/>
                  <a:moveTo>
                    <a:pt x="766" y="347"/>
                  </a:moveTo>
                  <a:lnTo>
                    <a:pt x="762" y="347"/>
                  </a:lnTo>
                  <a:lnTo>
                    <a:pt x="758" y="343"/>
                  </a:lnTo>
                  <a:lnTo>
                    <a:pt x="754" y="343"/>
                  </a:lnTo>
                  <a:lnTo>
                    <a:pt x="750" y="339"/>
                  </a:lnTo>
                  <a:lnTo>
                    <a:pt x="742" y="339"/>
                  </a:lnTo>
                  <a:lnTo>
                    <a:pt x="742" y="335"/>
                  </a:lnTo>
                  <a:lnTo>
                    <a:pt x="738" y="335"/>
                  </a:lnTo>
                  <a:lnTo>
                    <a:pt x="734" y="327"/>
                  </a:lnTo>
                  <a:lnTo>
                    <a:pt x="738" y="327"/>
                  </a:lnTo>
                  <a:lnTo>
                    <a:pt x="742" y="327"/>
                  </a:lnTo>
                  <a:lnTo>
                    <a:pt x="746" y="327"/>
                  </a:lnTo>
                  <a:lnTo>
                    <a:pt x="750" y="327"/>
                  </a:lnTo>
                  <a:lnTo>
                    <a:pt x="754" y="327"/>
                  </a:lnTo>
                  <a:lnTo>
                    <a:pt x="754" y="331"/>
                  </a:lnTo>
                  <a:lnTo>
                    <a:pt x="758" y="331"/>
                  </a:lnTo>
                  <a:lnTo>
                    <a:pt x="762" y="331"/>
                  </a:lnTo>
                  <a:lnTo>
                    <a:pt x="762" y="335"/>
                  </a:lnTo>
                  <a:lnTo>
                    <a:pt x="766" y="335"/>
                  </a:lnTo>
                  <a:lnTo>
                    <a:pt x="770" y="335"/>
                  </a:lnTo>
                  <a:lnTo>
                    <a:pt x="774" y="339"/>
                  </a:lnTo>
                  <a:lnTo>
                    <a:pt x="770" y="339"/>
                  </a:lnTo>
                  <a:lnTo>
                    <a:pt x="766" y="339"/>
                  </a:lnTo>
                  <a:lnTo>
                    <a:pt x="762" y="339"/>
                  </a:lnTo>
                  <a:lnTo>
                    <a:pt x="762" y="343"/>
                  </a:lnTo>
                  <a:lnTo>
                    <a:pt x="766" y="343"/>
                  </a:lnTo>
                  <a:lnTo>
                    <a:pt x="770" y="343"/>
                  </a:lnTo>
                  <a:lnTo>
                    <a:pt x="770" y="347"/>
                  </a:lnTo>
                  <a:lnTo>
                    <a:pt x="766" y="347"/>
                  </a:lnTo>
                  <a:close/>
                  <a:moveTo>
                    <a:pt x="263" y="355"/>
                  </a:moveTo>
                  <a:lnTo>
                    <a:pt x="267" y="355"/>
                  </a:lnTo>
                  <a:lnTo>
                    <a:pt x="263" y="355"/>
                  </a:lnTo>
                  <a:lnTo>
                    <a:pt x="259" y="355"/>
                  </a:lnTo>
                  <a:lnTo>
                    <a:pt x="263" y="355"/>
                  </a:lnTo>
                  <a:close/>
                  <a:moveTo>
                    <a:pt x="299" y="363"/>
                  </a:moveTo>
                  <a:lnTo>
                    <a:pt x="295" y="363"/>
                  </a:lnTo>
                  <a:lnTo>
                    <a:pt x="295" y="359"/>
                  </a:lnTo>
                  <a:lnTo>
                    <a:pt x="299" y="359"/>
                  </a:lnTo>
                  <a:lnTo>
                    <a:pt x="303" y="363"/>
                  </a:lnTo>
                  <a:lnTo>
                    <a:pt x="307" y="363"/>
                  </a:lnTo>
                  <a:lnTo>
                    <a:pt x="307" y="359"/>
                  </a:lnTo>
                  <a:lnTo>
                    <a:pt x="307" y="363"/>
                  </a:lnTo>
                  <a:lnTo>
                    <a:pt x="303" y="363"/>
                  </a:lnTo>
                  <a:lnTo>
                    <a:pt x="299" y="363"/>
                  </a:lnTo>
                  <a:close/>
                  <a:moveTo>
                    <a:pt x="299" y="371"/>
                  </a:moveTo>
                  <a:lnTo>
                    <a:pt x="303" y="371"/>
                  </a:lnTo>
                  <a:lnTo>
                    <a:pt x="303" y="367"/>
                  </a:lnTo>
                  <a:lnTo>
                    <a:pt x="307" y="371"/>
                  </a:lnTo>
                  <a:lnTo>
                    <a:pt x="311" y="371"/>
                  </a:lnTo>
                  <a:lnTo>
                    <a:pt x="307" y="371"/>
                  </a:lnTo>
                  <a:lnTo>
                    <a:pt x="307" y="375"/>
                  </a:lnTo>
                  <a:lnTo>
                    <a:pt x="303" y="375"/>
                  </a:lnTo>
                  <a:lnTo>
                    <a:pt x="299" y="375"/>
                  </a:lnTo>
                  <a:lnTo>
                    <a:pt x="299" y="371"/>
                  </a:lnTo>
                  <a:close/>
                  <a:moveTo>
                    <a:pt x="295" y="371"/>
                  </a:moveTo>
                  <a:lnTo>
                    <a:pt x="295" y="375"/>
                  </a:lnTo>
                  <a:lnTo>
                    <a:pt x="295" y="379"/>
                  </a:lnTo>
                  <a:lnTo>
                    <a:pt x="291" y="379"/>
                  </a:lnTo>
                  <a:lnTo>
                    <a:pt x="287" y="375"/>
                  </a:lnTo>
                  <a:lnTo>
                    <a:pt x="291" y="375"/>
                  </a:lnTo>
                  <a:lnTo>
                    <a:pt x="291" y="371"/>
                  </a:lnTo>
                  <a:lnTo>
                    <a:pt x="295" y="371"/>
                  </a:lnTo>
                  <a:close/>
                  <a:moveTo>
                    <a:pt x="718" y="379"/>
                  </a:moveTo>
                  <a:lnTo>
                    <a:pt x="722" y="383"/>
                  </a:lnTo>
                  <a:lnTo>
                    <a:pt x="722" y="387"/>
                  </a:lnTo>
                  <a:lnTo>
                    <a:pt x="718" y="391"/>
                  </a:lnTo>
                  <a:lnTo>
                    <a:pt x="714" y="391"/>
                  </a:lnTo>
                  <a:lnTo>
                    <a:pt x="710" y="391"/>
                  </a:lnTo>
                  <a:lnTo>
                    <a:pt x="706" y="391"/>
                  </a:lnTo>
                  <a:lnTo>
                    <a:pt x="702" y="391"/>
                  </a:lnTo>
                  <a:lnTo>
                    <a:pt x="698" y="391"/>
                  </a:lnTo>
                  <a:lnTo>
                    <a:pt x="694" y="395"/>
                  </a:lnTo>
                  <a:lnTo>
                    <a:pt x="686" y="395"/>
                  </a:lnTo>
                  <a:lnTo>
                    <a:pt x="682" y="395"/>
                  </a:lnTo>
                  <a:lnTo>
                    <a:pt x="678" y="395"/>
                  </a:lnTo>
                  <a:lnTo>
                    <a:pt x="678" y="391"/>
                  </a:lnTo>
                  <a:lnTo>
                    <a:pt x="682" y="391"/>
                  </a:lnTo>
                  <a:lnTo>
                    <a:pt x="686" y="391"/>
                  </a:lnTo>
                  <a:lnTo>
                    <a:pt x="686" y="387"/>
                  </a:lnTo>
                  <a:lnTo>
                    <a:pt x="690" y="387"/>
                  </a:lnTo>
                  <a:lnTo>
                    <a:pt x="694" y="383"/>
                  </a:lnTo>
                  <a:lnTo>
                    <a:pt x="698" y="383"/>
                  </a:lnTo>
                  <a:lnTo>
                    <a:pt x="702" y="383"/>
                  </a:lnTo>
                  <a:lnTo>
                    <a:pt x="706" y="383"/>
                  </a:lnTo>
                  <a:lnTo>
                    <a:pt x="706" y="379"/>
                  </a:lnTo>
                  <a:lnTo>
                    <a:pt x="710" y="379"/>
                  </a:lnTo>
                  <a:lnTo>
                    <a:pt x="714" y="379"/>
                  </a:lnTo>
                  <a:lnTo>
                    <a:pt x="718" y="379"/>
                  </a:lnTo>
                  <a:close/>
                  <a:moveTo>
                    <a:pt x="319" y="379"/>
                  </a:moveTo>
                  <a:lnTo>
                    <a:pt x="323" y="383"/>
                  </a:lnTo>
                  <a:lnTo>
                    <a:pt x="319" y="383"/>
                  </a:lnTo>
                  <a:lnTo>
                    <a:pt x="315" y="383"/>
                  </a:lnTo>
                  <a:lnTo>
                    <a:pt x="315" y="379"/>
                  </a:lnTo>
                  <a:lnTo>
                    <a:pt x="319" y="379"/>
                  </a:lnTo>
                  <a:close/>
                  <a:moveTo>
                    <a:pt x="694" y="383"/>
                  </a:moveTo>
                  <a:lnTo>
                    <a:pt x="690" y="383"/>
                  </a:lnTo>
                  <a:lnTo>
                    <a:pt x="686" y="387"/>
                  </a:lnTo>
                  <a:lnTo>
                    <a:pt x="686" y="383"/>
                  </a:lnTo>
                  <a:lnTo>
                    <a:pt x="690" y="383"/>
                  </a:lnTo>
                  <a:lnTo>
                    <a:pt x="694" y="383"/>
                  </a:lnTo>
                  <a:close/>
                  <a:moveTo>
                    <a:pt x="323" y="391"/>
                  </a:moveTo>
                  <a:lnTo>
                    <a:pt x="323" y="387"/>
                  </a:lnTo>
                  <a:lnTo>
                    <a:pt x="319" y="387"/>
                  </a:lnTo>
                  <a:lnTo>
                    <a:pt x="323" y="387"/>
                  </a:lnTo>
                  <a:lnTo>
                    <a:pt x="327" y="387"/>
                  </a:lnTo>
                  <a:lnTo>
                    <a:pt x="323" y="391"/>
                  </a:lnTo>
                  <a:close/>
                  <a:moveTo>
                    <a:pt x="710" y="391"/>
                  </a:moveTo>
                  <a:lnTo>
                    <a:pt x="710" y="395"/>
                  </a:lnTo>
                  <a:lnTo>
                    <a:pt x="706" y="395"/>
                  </a:lnTo>
                  <a:lnTo>
                    <a:pt x="706" y="391"/>
                  </a:lnTo>
                  <a:lnTo>
                    <a:pt x="710" y="391"/>
                  </a:lnTo>
                  <a:close/>
                  <a:moveTo>
                    <a:pt x="271" y="395"/>
                  </a:moveTo>
                  <a:lnTo>
                    <a:pt x="275" y="395"/>
                  </a:lnTo>
                  <a:lnTo>
                    <a:pt x="279" y="395"/>
                  </a:lnTo>
                  <a:lnTo>
                    <a:pt x="275" y="395"/>
                  </a:lnTo>
                  <a:lnTo>
                    <a:pt x="271" y="395"/>
                  </a:lnTo>
                  <a:close/>
                  <a:moveTo>
                    <a:pt x="283" y="423"/>
                  </a:moveTo>
                  <a:lnTo>
                    <a:pt x="287" y="423"/>
                  </a:lnTo>
                  <a:lnTo>
                    <a:pt x="291" y="423"/>
                  </a:lnTo>
                  <a:lnTo>
                    <a:pt x="295" y="423"/>
                  </a:lnTo>
                  <a:lnTo>
                    <a:pt x="295" y="419"/>
                  </a:lnTo>
                  <a:lnTo>
                    <a:pt x="299" y="419"/>
                  </a:lnTo>
                  <a:lnTo>
                    <a:pt x="295" y="419"/>
                  </a:lnTo>
                  <a:lnTo>
                    <a:pt x="291" y="419"/>
                  </a:lnTo>
                  <a:lnTo>
                    <a:pt x="291" y="423"/>
                  </a:lnTo>
                  <a:lnTo>
                    <a:pt x="291" y="419"/>
                  </a:lnTo>
                  <a:lnTo>
                    <a:pt x="287" y="419"/>
                  </a:lnTo>
                  <a:lnTo>
                    <a:pt x="291" y="419"/>
                  </a:lnTo>
                  <a:lnTo>
                    <a:pt x="287" y="419"/>
                  </a:lnTo>
                  <a:lnTo>
                    <a:pt x="279" y="419"/>
                  </a:lnTo>
                  <a:lnTo>
                    <a:pt x="275" y="419"/>
                  </a:lnTo>
                  <a:lnTo>
                    <a:pt x="271" y="415"/>
                  </a:lnTo>
                  <a:lnTo>
                    <a:pt x="275" y="415"/>
                  </a:lnTo>
                  <a:lnTo>
                    <a:pt x="279" y="415"/>
                  </a:lnTo>
                  <a:lnTo>
                    <a:pt x="283" y="415"/>
                  </a:lnTo>
                  <a:lnTo>
                    <a:pt x="279" y="415"/>
                  </a:lnTo>
                  <a:lnTo>
                    <a:pt x="279" y="411"/>
                  </a:lnTo>
                  <a:lnTo>
                    <a:pt x="275" y="411"/>
                  </a:lnTo>
                  <a:lnTo>
                    <a:pt x="275" y="407"/>
                  </a:lnTo>
                  <a:lnTo>
                    <a:pt x="279" y="407"/>
                  </a:lnTo>
                  <a:lnTo>
                    <a:pt x="283" y="407"/>
                  </a:lnTo>
                  <a:lnTo>
                    <a:pt x="283" y="411"/>
                  </a:lnTo>
                  <a:lnTo>
                    <a:pt x="283" y="407"/>
                  </a:lnTo>
                  <a:lnTo>
                    <a:pt x="279" y="407"/>
                  </a:lnTo>
                  <a:lnTo>
                    <a:pt x="275" y="407"/>
                  </a:lnTo>
                  <a:lnTo>
                    <a:pt x="275" y="403"/>
                  </a:lnTo>
                  <a:lnTo>
                    <a:pt x="275" y="399"/>
                  </a:lnTo>
                  <a:lnTo>
                    <a:pt x="279" y="399"/>
                  </a:lnTo>
                  <a:lnTo>
                    <a:pt x="283" y="399"/>
                  </a:lnTo>
                  <a:lnTo>
                    <a:pt x="287" y="399"/>
                  </a:lnTo>
                  <a:lnTo>
                    <a:pt x="291" y="399"/>
                  </a:lnTo>
                  <a:lnTo>
                    <a:pt x="295" y="399"/>
                  </a:lnTo>
                  <a:lnTo>
                    <a:pt x="299" y="403"/>
                  </a:lnTo>
                  <a:lnTo>
                    <a:pt x="303" y="403"/>
                  </a:lnTo>
                  <a:lnTo>
                    <a:pt x="303" y="407"/>
                  </a:lnTo>
                  <a:lnTo>
                    <a:pt x="307" y="407"/>
                  </a:lnTo>
                  <a:lnTo>
                    <a:pt x="307" y="411"/>
                  </a:lnTo>
                  <a:lnTo>
                    <a:pt x="311" y="411"/>
                  </a:lnTo>
                  <a:lnTo>
                    <a:pt x="315" y="411"/>
                  </a:lnTo>
                  <a:lnTo>
                    <a:pt x="319" y="411"/>
                  </a:lnTo>
                  <a:lnTo>
                    <a:pt x="319" y="415"/>
                  </a:lnTo>
                  <a:lnTo>
                    <a:pt x="319" y="419"/>
                  </a:lnTo>
                  <a:lnTo>
                    <a:pt x="315" y="419"/>
                  </a:lnTo>
                  <a:lnTo>
                    <a:pt x="315" y="423"/>
                  </a:lnTo>
                  <a:lnTo>
                    <a:pt x="311" y="423"/>
                  </a:lnTo>
                  <a:lnTo>
                    <a:pt x="307" y="423"/>
                  </a:lnTo>
                  <a:lnTo>
                    <a:pt x="303" y="423"/>
                  </a:lnTo>
                  <a:lnTo>
                    <a:pt x="299" y="427"/>
                  </a:lnTo>
                  <a:lnTo>
                    <a:pt x="295" y="427"/>
                  </a:lnTo>
                  <a:lnTo>
                    <a:pt x="291" y="427"/>
                  </a:lnTo>
                  <a:lnTo>
                    <a:pt x="287" y="427"/>
                  </a:lnTo>
                  <a:lnTo>
                    <a:pt x="287" y="423"/>
                  </a:lnTo>
                  <a:lnTo>
                    <a:pt x="283" y="423"/>
                  </a:lnTo>
                  <a:close/>
                  <a:moveTo>
                    <a:pt x="331" y="411"/>
                  </a:moveTo>
                  <a:lnTo>
                    <a:pt x="335" y="411"/>
                  </a:lnTo>
                  <a:lnTo>
                    <a:pt x="339" y="411"/>
                  </a:lnTo>
                  <a:lnTo>
                    <a:pt x="335" y="415"/>
                  </a:lnTo>
                  <a:lnTo>
                    <a:pt x="335" y="419"/>
                  </a:lnTo>
                  <a:lnTo>
                    <a:pt x="331" y="419"/>
                  </a:lnTo>
                  <a:lnTo>
                    <a:pt x="327" y="415"/>
                  </a:lnTo>
                  <a:lnTo>
                    <a:pt x="327" y="411"/>
                  </a:lnTo>
                  <a:lnTo>
                    <a:pt x="331" y="411"/>
                  </a:lnTo>
                  <a:lnTo>
                    <a:pt x="327" y="411"/>
                  </a:lnTo>
                  <a:lnTo>
                    <a:pt x="331" y="411"/>
                  </a:lnTo>
                  <a:lnTo>
                    <a:pt x="331" y="407"/>
                  </a:lnTo>
                  <a:lnTo>
                    <a:pt x="331" y="411"/>
                  </a:lnTo>
                  <a:close/>
                  <a:moveTo>
                    <a:pt x="315" y="443"/>
                  </a:moveTo>
                  <a:lnTo>
                    <a:pt x="311" y="443"/>
                  </a:lnTo>
                  <a:lnTo>
                    <a:pt x="307" y="443"/>
                  </a:lnTo>
                  <a:lnTo>
                    <a:pt x="303" y="443"/>
                  </a:lnTo>
                  <a:lnTo>
                    <a:pt x="303" y="447"/>
                  </a:lnTo>
                  <a:lnTo>
                    <a:pt x="299" y="447"/>
                  </a:lnTo>
                  <a:lnTo>
                    <a:pt x="303" y="443"/>
                  </a:lnTo>
                  <a:lnTo>
                    <a:pt x="307" y="443"/>
                  </a:lnTo>
                  <a:lnTo>
                    <a:pt x="303" y="443"/>
                  </a:lnTo>
                  <a:lnTo>
                    <a:pt x="307" y="443"/>
                  </a:lnTo>
                  <a:lnTo>
                    <a:pt x="311" y="443"/>
                  </a:lnTo>
                  <a:lnTo>
                    <a:pt x="315" y="443"/>
                  </a:lnTo>
                  <a:close/>
                  <a:moveTo>
                    <a:pt x="315" y="455"/>
                  </a:moveTo>
                  <a:lnTo>
                    <a:pt x="319" y="455"/>
                  </a:lnTo>
                  <a:lnTo>
                    <a:pt x="323" y="455"/>
                  </a:lnTo>
                  <a:lnTo>
                    <a:pt x="327" y="455"/>
                  </a:lnTo>
                  <a:lnTo>
                    <a:pt x="323" y="455"/>
                  </a:lnTo>
                  <a:lnTo>
                    <a:pt x="319" y="455"/>
                  </a:lnTo>
                  <a:lnTo>
                    <a:pt x="319" y="459"/>
                  </a:lnTo>
                  <a:lnTo>
                    <a:pt x="315" y="459"/>
                  </a:lnTo>
                  <a:lnTo>
                    <a:pt x="311" y="455"/>
                  </a:lnTo>
                  <a:lnTo>
                    <a:pt x="315" y="455"/>
                  </a:lnTo>
                  <a:close/>
                  <a:moveTo>
                    <a:pt x="654" y="455"/>
                  </a:moveTo>
                  <a:lnTo>
                    <a:pt x="654" y="459"/>
                  </a:lnTo>
                  <a:lnTo>
                    <a:pt x="654" y="455"/>
                  </a:lnTo>
                  <a:lnTo>
                    <a:pt x="650" y="455"/>
                  </a:lnTo>
                  <a:lnTo>
                    <a:pt x="654" y="455"/>
                  </a:lnTo>
                  <a:close/>
                  <a:moveTo>
                    <a:pt x="319" y="459"/>
                  </a:moveTo>
                  <a:lnTo>
                    <a:pt x="327" y="455"/>
                  </a:lnTo>
                  <a:lnTo>
                    <a:pt x="331" y="459"/>
                  </a:lnTo>
                  <a:lnTo>
                    <a:pt x="327" y="459"/>
                  </a:lnTo>
                  <a:lnTo>
                    <a:pt x="323" y="459"/>
                  </a:lnTo>
                  <a:lnTo>
                    <a:pt x="319" y="459"/>
                  </a:lnTo>
                  <a:close/>
                  <a:moveTo>
                    <a:pt x="295" y="459"/>
                  </a:moveTo>
                  <a:lnTo>
                    <a:pt x="299" y="459"/>
                  </a:lnTo>
                  <a:lnTo>
                    <a:pt x="295" y="459"/>
                  </a:lnTo>
                  <a:close/>
                  <a:moveTo>
                    <a:pt x="291" y="471"/>
                  </a:moveTo>
                  <a:lnTo>
                    <a:pt x="291" y="467"/>
                  </a:lnTo>
                  <a:lnTo>
                    <a:pt x="295" y="467"/>
                  </a:lnTo>
                  <a:lnTo>
                    <a:pt x="291" y="471"/>
                  </a:lnTo>
                  <a:close/>
                  <a:moveTo>
                    <a:pt x="291" y="511"/>
                  </a:moveTo>
                  <a:lnTo>
                    <a:pt x="295" y="511"/>
                  </a:lnTo>
                  <a:lnTo>
                    <a:pt x="291" y="511"/>
                  </a:lnTo>
                  <a:close/>
                  <a:moveTo>
                    <a:pt x="550" y="519"/>
                  </a:moveTo>
                  <a:lnTo>
                    <a:pt x="550" y="515"/>
                  </a:lnTo>
                  <a:lnTo>
                    <a:pt x="550" y="519"/>
                  </a:lnTo>
                  <a:close/>
                  <a:moveTo>
                    <a:pt x="554" y="519"/>
                  </a:moveTo>
                  <a:lnTo>
                    <a:pt x="554" y="515"/>
                  </a:lnTo>
                  <a:lnTo>
                    <a:pt x="558" y="515"/>
                  </a:lnTo>
                  <a:lnTo>
                    <a:pt x="558" y="519"/>
                  </a:lnTo>
                  <a:lnTo>
                    <a:pt x="554" y="519"/>
                  </a:lnTo>
                  <a:close/>
                  <a:moveTo>
                    <a:pt x="534" y="523"/>
                  </a:moveTo>
                  <a:lnTo>
                    <a:pt x="530" y="523"/>
                  </a:lnTo>
                  <a:lnTo>
                    <a:pt x="530" y="519"/>
                  </a:lnTo>
                  <a:lnTo>
                    <a:pt x="530" y="515"/>
                  </a:lnTo>
                  <a:lnTo>
                    <a:pt x="534" y="515"/>
                  </a:lnTo>
                  <a:lnTo>
                    <a:pt x="538" y="515"/>
                  </a:lnTo>
                  <a:lnTo>
                    <a:pt x="538" y="519"/>
                  </a:lnTo>
                  <a:lnTo>
                    <a:pt x="542" y="519"/>
                  </a:lnTo>
                  <a:lnTo>
                    <a:pt x="538" y="519"/>
                  </a:lnTo>
                  <a:lnTo>
                    <a:pt x="538" y="523"/>
                  </a:lnTo>
                  <a:lnTo>
                    <a:pt x="534" y="523"/>
                  </a:lnTo>
                  <a:close/>
                  <a:moveTo>
                    <a:pt x="506" y="531"/>
                  </a:moveTo>
                  <a:lnTo>
                    <a:pt x="502" y="531"/>
                  </a:lnTo>
                  <a:lnTo>
                    <a:pt x="506" y="531"/>
                  </a:lnTo>
                  <a:close/>
                  <a:moveTo>
                    <a:pt x="494" y="555"/>
                  </a:moveTo>
                  <a:lnTo>
                    <a:pt x="494" y="551"/>
                  </a:lnTo>
                  <a:lnTo>
                    <a:pt x="490" y="551"/>
                  </a:lnTo>
                  <a:lnTo>
                    <a:pt x="490" y="547"/>
                  </a:lnTo>
                  <a:lnTo>
                    <a:pt x="486" y="543"/>
                  </a:lnTo>
                  <a:lnTo>
                    <a:pt x="490" y="543"/>
                  </a:lnTo>
                  <a:lnTo>
                    <a:pt x="494" y="547"/>
                  </a:lnTo>
                  <a:lnTo>
                    <a:pt x="490" y="547"/>
                  </a:lnTo>
                  <a:lnTo>
                    <a:pt x="494" y="551"/>
                  </a:lnTo>
                  <a:lnTo>
                    <a:pt x="498" y="551"/>
                  </a:lnTo>
                  <a:lnTo>
                    <a:pt x="498" y="555"/>
                  </a:lnTo>
                  <a:lnTo>
                    <a:pt x="494" y="555"/>
                  </a:lnTo>
                  <a:close/>
                  <a:moveTo>
                    <a:pt x="331" y="551"/>
                  </a:moveTo>
                  <a:lnTo>
                    <a:pt x="331" y="555"/>
                  </a:lnTo>
                  <a:lnTo>
                    <a:pt x="327" y="555"/>
                  </a:lnTo>
                  <a:lnTo>
                    <a:pt x="327" y="551"/>
                  </a:lnTo>
                  <a:lnTo>
                    <a:pt x="331" y="551"/>
                  </a:lnTo>
                  <a:close/>
                  <a:moveTo>
                    <a:pt x="335" y="551"/>
                  </a:moveTo>
                  <a:lnTo>
                    <a:pt x="335" y="555"/>
                  </a:lnTo>
                  <a:lnTo>
                    <a:pt x="331" y="555"/>
                  </a:lnTo>
                  <a:lnTo>
                    <a:pt x="331" y="559"/>
                  </a:lnTo>
                  <a:lnTo>
                    <a:pt x="327" y="559"/>
                  </a:lnTo>
                  <a:lnTo>
                    <a:pt x="331" y="555"/>
                  </a:lnTo>
                  <a:lnTo>
                    <a:pt x="331" y="551"/>
                  </a:lnTo>
                  <a:lnTo>
                    <a:pt x="335" y="551"/>
                  </a:lnTo>
                  <a:close/>
                  <a:moveTo>
                    <a:pt x="327" y="555"/>
                  </a:moveTo>
                  <a:lnTo>
                    <a:pt x="327" y="559"/>
                  </a:lnTo>
                  <a:lnTo>
                    <a:pt x="323" y="559"/>
                  </a:lnTo>
                  <a:lnTo>
                    <a:pt x="327" y="555"/>
                  </a:lnTo>
                  <a:close/>
                  <a:moveTo>
                    <a:pt x="482" y="559"/>
                  </a:moveTo>
                  <a:lnTo>
                    <a:pt x="478" y="559"/>
                  </a:lnTo>
                  <a:lnTo>
                    <a:pt x="478" y="555"/>
                  </a:lnTo>
                  <a:lnTo>
                    <a:pt x="482" y="55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7" name="Freeform 64"/>
            <p:cNvSpPr>
              <a:spLocks/>
            </p:cNvSpPr>
            <p:nvPr>
              <p:custDataLst>
                <p:tags r:id="rId260"/>
              </p:custDataLst>
            </p:nvPr>
          </p:nvSpPr>
          <p:spPr bwMode="gray">
            <a:xfrm>
              <a:off x="2305704" y="4106544"/>
              <a:ext cx="87500" cy="112713"/>
            </a:xfrm>
            <a:custGeom>
              <a:avLst/>
              <a:gdLst/>
              <a:ahLst/>
              <a:cxnLst>
                <a:cxn ang="0">
                  <a:pos x="40" y="64"/>
                </a:cxn>
                <a:cxn ang="0">
                  <a:pos x="40" y="68"/>
                </a:cxn>
                <a:cxn ang="0">
                  <a:pos x="40" y="68"/>
                </a:cxn>
                <a:cxn ang="0">
                  <a:pos x="40" y="68"/>
                </a:cxn>
                <a:cxn ang="0">
                  <a:pos x="36" y="72"/>
                </a:cxn>
                <a:cxn ang="0">
                  <a:pos x="32" y="76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2"/>
                </a:cxn>
                <a:cxn ang="0">
                  <a:pos x="24" y="72"/>
                </a:cxn>
                <a:cxn ang="0">
                  <a:pos x="16" y="72"/>
                </a:cxn>
                <a:cxn ang="0">
                  <a:pos x="12" y="72"/>
                </a:cxn>
                <a:cxn ang="0">
                  <a:pos x="8" y="72"/>
                </a:cxn>
                <a:cxn ang="0">
                  <a:pos x="8" y="68"/>
                </a:cxn>
                <a:cxn ang="0">
                  <a:pos x="4" y="68"/>
                </a:cxn>
                <a:cxn ang="0">
                  <a:pos x="0" y="64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0" y="56"/>
                </a:cxn>
                <a:cxn ang="0">
                  <a:pos x="0" y="48"/>
                </a:cxn>
                <a:cxn ang="0">
                  <a:pos x="8" y="32"/>
                </a:cxn>
                <a:cxn ang="0">
                  <a:pos x="20" y="32"/>
                </a:cxn>
                <a:cxn ang="0">
                  <a:pos x="28" y="32"/>
                </a:cxn>
                <a:cxn ang="0">
                  <a:pos x="28" y="32"/>
                </a:cxn>
                <a:cxn ang="0">
                  <a:pos x="28" y="28"/>
                </a:cxn>
                <a:cxn ang="0">
                  <a:pos x="24" y="28"/>
                </a:cxn>
                <a:cxn ang="0">
                  <a:pos x="24" y="24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16" y="16"/>
                </a:cxn>
                <a:cxn ang="0">
                  <a:pos x="12" y="12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44" y="0"/>
                </a:cxn>
                <a:cxn ang="0">
                  <a:pos x="48" y="16"/>
                </a:cxn>
                <a:cxn ang="0">
                  <a:pos x="44" y="36"/>
                </a:cxn>
                <a:cxn ang="0">
                  <a:pos x="52" y="36"/>
                </a:cxn>
                <a:cxn ang="0">
                  <a:pos x="52" y="36"/>
                </a:cxn>
                <a:cxn ang="0">
                  <a:pos x="56" y="40"/>
                </a:cxn>
                <a:cxn ang="0">
                  <a:pos x="56" y="36"/>
                </a:cxn>
                <a:cxn ang="0">
                  <a:pos x="59" y="40"/>
                </a:cxn>
                <a:cxn ang="0">
                  <a:pos x="59" y="40"/>
                </a:cxn>
                <a:cxn ang="0">
                  <a:pos x="56" y="48"/>
                </a:cxn>
                <a:cxn ang="0">
                  <a:pos x="48" y="52"/>
                </a:cxn>
                <a:cxn ang="0">
                  <a:pos x="48" y="52"/>
                </a:cxn>
                <a:cxn ang="0">
                  <a:pos x="44" y="56"/>
                </a:cxn>
                <a:cxn ang="0">
                  <a:pos x="48" y="60"/>
                </a:cxn>
                <a:cxn ang="0">
                  <a:pos x="44" y="64"/>
                </a:cxn>
              </a:cxnLst>
              <a:rect l="0" t="0" r="r" b="b"/>
              <a:pathLst>
                <a:path w="59" h="76">
                  <a:moveTo>
                    <a:pt x="44" y="64"/>
                  </a:moveTo>
                  <a:lnTo>
                    <a:pt x="44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20" y="12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16"/>
                  </a:lnTo>
                  <a:lnTo>
                    <a:pt x="48" y="28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9" y="36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4" y="6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8" name="Freeform 65"/>
            <p:cNvSpPr>
              <a:spLocks noEditPoints="1"/>
            </p:cNvSpPr>
            <p:nvPr>
              <p:custDataLst>
                <p:tags r:id="rId261"/>
              </p:custDataLst>
            </p:nvPr>
          </p:nvSpPr>
          <p:spPr bwMode="gray">
            <a:xfrm>
              <a:off x="2701682" y="4047221"/>
              <a:ext cx="65255" cy="53390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28" y="0"/>
                </a:cxn>
                <a:cxn ang="0">
                  <a:pos x="28" y="0"/>
                </a:cxn>
                <a:cxn ang="0">
                  <a:pos x="20" y="8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6" y="4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12"/>
                </a:cxn>
                <a:cxn ang="0">
                  <a:pos x="44" y="16"/>
                </a:cxn>
                <a:cxn ang="0">
                  <a:pos x="44" y="20"/>
                </a:cxn>
                <a:cxn ang="0">
                  <a:pos x="44" y="24"/>
                </a:cxn>
                <a:cxn ang="0">
                  <a:pos x="44" y="24"/>
                </a:cxn>
                <a:cxn ang="0">
                  <a:pos x="40" y="24"/>
                </a:cxn>
                <a:cxn ang="0">
                  <a:pos x="40" y="24"/>
                </a:cxn>
                <a:cxn ang="0">
                  <a:pos x="40" y="28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36"/>
                </a:cxn>
                <a:cxn ang="0">
                  <a:pos x="40" y="36"/>
                </a:cxn>
                <a:cxn ang="0">
                  <a:pos x="36" y="32"/>
                </a:cxn>
                <a:cxn ang="0">
                  <a:pos x="32" y="32"/>
                </a:cxn>
                <a:cxn ang="0">
                  <a:pos x="28" y="36"/>
                </a:cxn>
                <a:cxn ang="0">
                  <a:pos x="28" y="36"/>
                </a:cxn>
                <a:cxn ang="0">
                  <a:pos x="24" y="36"/>
                </a:cxn>
                <a:cxn ang="0">
                  <a:pos x="20" y="32"/>
                </a:cxn>
                <a:cxn ang="0">
                  <a:pos x="12" y="36"/>
                </a:cxn>
                <a:cxn ang="0">
                  <a:pos x="12" y="36"/>
                </a:cxn>
                <a:cxn ang="0">
                  <a:pos x="12" y="36"/>
                </a:cxn>
                <a:cxn ang="0">
                  <a:pos x="12" y="36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0" y="32"/>
                </a:cxn>
                <a:cxn ang="0">
                  <a:pos x="4" y="24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16" y="28"/>
                </a:cxn>
                <a:cxn ang="0">
                  <a:pos x="12" y="28"/>
                </a:cxn>
                <a:cxn ang="0">
                  <a:pos x="16" y="28"/>
                </a:cxn>
                <a:cxn ang="0">
                  <a:pos x="20" y="28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28" y="28"/>
                </a:cxn>
                <a:cxn ang="0">
                  <a:pos x="32" y="28"/>
                </a:cxn>
                <a:cxn ang="0">
                  <a:pos x="32" y="28"/>
                </a:cxn>
                <a:cxn ang="0">
                  <a:pos x="32" y="24"/>
                </a:cxn>
                <a:cxn ang="0">
                  <a:pos x="32" y="24"/>
                </a:cxn>
                <a:cxn ang="0">
                  <a:pos x="28" y="20"/>
                </a:cxn>
                <a:cxn ang="0">
                  <a:pos x="28" y="12"/>
                </a:cxn>
                <a:cxn ang="0">
                  <a:pos x="24" y="8"/>
                </a:cxn>
                <a:cxn ang="0">
                  <a:pos x="24" y="24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8" y="24"/>
                </a:cxn>
                <a:cxn ang="0">
                  <a:pos x="28" y="24"/>
                </a:cxn>
              </a:cxnLst>
              <a:rect l="0" t="0" r="r" b="b"/>
              <a:pathLst>
                <a:path w="44" h="36">
                  <a:moveTo>
                    <a:pt x="28" y="0"/>
                  </a:moveTo>
                  <a:lnTo>
                    <a:pt x="28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close/>
                  <a:moveTo>
                    <a:pt x="24" y="8"/>
                  </a:move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close/>
                  <a:moveTo>
                    <a:pt x="28" y="24"/>
                  </a:moveTo>
                  <a:lnTo>
                    <a:pt x="2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69" name="Freeform 66"/>
            <p:cNvSpPr>
              <a:spLocks noEditPoints="1"/>
            </p:cNvSpPr>
            <p:nvPr>
              <p:custDataLst>
                <p:tags r:id="rId262"/>
              </p:custDataLst>
            </p:nvPr>
          </p:nvSpPr>
          <p:spPr bwMode="gray">
            <a:xfrm>
              <a:off x="2370958" y="4148069"/>
              <a:ext cx="140891" cy="94916"/>
            </a:xfrm>
            <a:custGeom>
              <a:avLst/>
              <a:gdLst/>
              <a:ahLst/>
              <a:cxnLst>
                <a:cxn ang="0">
                  <a:pos x="39" y="56"/>
                </a:cxn>
                <a:cxn ang="0">
                  <a:pos x="35" y="60"/>
                </a:cxn>
                <a:cxn ang="0">
                  <a:pos x="35" y="64"/>
                </a:cxn>
                <a:cxn ang="0">
                  <a:pos x="27" y="60"/>
                </a:cxn>
                <a:cxn ang="0">
                  <a:pos x="27" y="56"/>
                </a:cxn>
                <a:cxn ang="0">
                  <a:pos x="27" y="56"/>
                </a:cxn>
                <a:cxn ang="0">
                  <a:pos x="23" y="56"/>
                </a:cxn>
                <a:cxn ang="0">
                  <a:pos x="23" y="56"/>
                </a:cxn>
                <a:cxn ang="0">
                  <a:pos x="23" y="48"/>
                </a:cxn>
                <a:cxn ang="0">
                  <a:pos x="19" y="48"/>
                </a:cxn>
                <a:cxn ang="0">
                  <a:pos x="19" y="44"/>
                </a:cxn>
                <a:cxn ang="0">
                  <a:pos x="15" y="48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4" y="40"/>
                </a:cxn>
                <a:cxn ang="0">
                  <a:pos x="0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12" y="16"/>
                </a:cxn>
                <a:cxn ang="0">
                  <a:pos x="15" y="12"/>
                </a:cxn>
                <a:cxn ang="0">
                  <a:pos x="19" y="8"/>
                </a:cxn>
                <a:cxn ang="0">
                  <a:pos x="23" y="8"/>
                </a:cxn>
                <a:cxn ang="0">
                  <a:pos x="31" y="8"/>
                </a:cxn>
                <a:cxn ang="0">
                  <a:pos x="39" y="12"/>
                </a:cxn>
                <a:cxn ang="0">
                  <a:pos x="43" y="12"/>
                </a:cxn>
                <a:cxn ang="0">
                  <a:pos x="47" y="8"/>
                </a:cxn>
                <a:cxn ang="0">
                  <a:pos x="51" y="8"/>
                </a:cxn>
                <a:cxn ang="0">
                  <a:pos x="51" y="8"/>
                </a:cxn>
                <a:cxn ang="0">
                  <a:pos x="55" y="8"/>
                </a:cxn>
                <a:cxn ang="0">
                  <a:pos x="63" y="8"/>
                </a:cxn>
                <a:cxn ang="0">
                  <a:pos x="71" y="8"/>
                </a:cxn>
                <a:cxn ang="0">
                  <a:pos x="71" y="8"/>
                </a:cxn>
                <a:cxn ang="0">
                  <a:pos x="83" y="16"/>
                </a:cxn>
                <a:cxn ang="0">
                  <a:pos x="79" y="20"/>
                </a:cxn>
                <a:cxn ang="0">
                  <a:pos x="79" y="20"/>
                </a:cxn>
                <a:cxn ang="0">
                  <a:pos x="83" y="20"/>
                </a:cxn>
                <a:cxn ang="0">
                  <a:pos x="87" y="20"/>
                </a:cxn>
                <a:cxn ang="0">
                  <a:pos x="87" y="24"/>
                </a:cxn>
                <a:cxn ang="0">
                  <a:pos x="87" y="20"/>
                </a:cxn>
                <a:cxn ang="0">
                  <a:pos x="91" y="20"/>
                </a:cxn>
                <a:cxn ang="0">
                  <a:pos x="91" y="24"/>
                </a:cxn>
                <a:cxn ang="0">
                  <a:pos x="91" y="24"/>
                </a:cxn>
                <a:cxn ang="0">
                  <a:pos x="83" y="28"/>
                </a:cxn>
                <a:cxn ang="0">
                  <a:pos x="71" y="32"/>
                </a:cxn>
                <a:cxn ang="0">
                  <a:pos x="63" y="32"/>
                </a:cxn>
                <a:cxn ang="0">
                  <a:pos x="63" y="36"/>
                </a:cxn>
                <a:cxn ang="0">
                  <a:pos x="63" y="40"/>
                </a:cxn>
                <a:cxn ang="0">
                  <a:pos x="59" y="40"/>
                </a:cxn>
                <a:cxn ang="0">
                  <a:pos x="55" y="48"/>
                </a:cxn>
                <a:cxn ang="0">
                  <a:pos x="51" y="44"/>
                </a:cxn>
                <a:cxn ang="0">
                  <a:pos x="47" y="44"/>
                </a:cxn>
                <a:cxn ang="0">
                  <a:pos x="39" y="48"/>
                </a:cxn>
                <a:cxn ang="0">
                  <a:pos x="39" y="0"/>
                </a:cxn>
                <a:cxn ang="0">
                  <a:pos x="43" y="0"/>
                </a:cxn>
                <a:cxn ang="0">
                  <a:pos x="39" y="0"/>
                </a:cxn>
              </a:cxnLst>
              <a:rect l="0" t="0" r="r" b="b"/>
              <a:pathLst>
                <a:path w="95" h="64">
                  <a:moveTo>
                    <a:pt x="39" y="48"/>
                  </a:moveTo>
                  <a:lnTo>
                    <a:pt x="39" y="52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5" y="56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4"/>
                  </a:lnTo>
                  <a:lnTo>
                    <a:pt x="35" y="64"/>
                  </a:lnTo>
                  <a:lnTo>
                    <a:pt x="35" y="64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1" y="64"/>
                  </a:lnTo>
                  <a:lnTo>
                    <a:pt x="31" y="60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8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7" y="8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31" y="8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9" y="8"/>
                  </a:lnTo>
                  <a:lnTo>
                    <a:pt x="59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7" y="8"/>
                  </a:lnTo>
                  <a:lnTo>
                    <a:pt x="71" y="8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71" y="12"/>
                  </a:lnTo>
                  <a:lnTo>
                    <a:pt x="75" y="12"/>
                  </a:lnTo>
                  <a:lnTo>
                    <a:pt x="71" y="8"/>
                  </a:lnTo>
                  <a:lnTo>
                    <a:pt x="71" y="8"/>
                  </a:lnTo>
                  <a:lnTo>
                    <a:pt x="75" y="12"/>
                  </a:lnTo>
                  <a:lnTo>
                    <a:pt x="79" y="12"/>
                  </a:lnTo>
                  <a:lnTo>
                    <a:pt x="79" y="12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5" y="16"/>
                  </a:lnTo>
                  <a:lnTo>
                    <a:pt x="75" y="16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20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3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5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91" y="24"/>
                  </a:lnTo>
                  <a:lnTo>
                    <a:pt x="87" y="24"/>
                  </a:lnTo>
                  <a:lnTo>
                    <a:pt x="87" y="28"/>
                  </a:lnTo>
                  <a:lnTo>
                    <a:pt x="87" y="28"/>
                  </a:lnTo>
                  <a:lnTo>
                    <a:pt x="83" y="28"/>
                  </a:lnTo>
                  <a:lnTo>
                    <a:pt x="83" y="28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5" y="32"/>
                  </a:lnTo>
                  <a:lnTo>
                    <a:pt x="75" y="32"/>
                  </a:lnTo>
                  <a:lnTo>
                    <a:pt x="71" y="32"/>
                  </a:lnTo>
                  <a:lnTo>
                    <a:pt x="71" y="32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2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36"/>
                  </a:lnTo>
                  <a:lnTo>
                    <a:pt x="63" y="40"/>
                  </a:lnTo>
                  <a:lnTo>
                    <a:pt x="63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4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8"/>
                  </a:lnTo>
                  <a:close/>
                  <a:moveTo>
                    <a:pt x="39" y="0"/>
                  </a:move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0" name="Freeform 67"/>
            <p:cNvSpPr>
              <a:spLocks/>
            </p:cNvSpPr>
            <p:nvPr>
              <p:custDataLst>
                <p:tags r:id="rId263"/>
              </p:custDataLst>
            </p:nvPr>
          </p:nvSpPr>
          <p:spPr bwMode="gray">
            <a:xfrm>
              <a:off x="2618631" y="4088747"/>
              <a:ext cx="47458" cy="23729"/>
            </a:xfrm>
            <a:custGeom>
              <a:avLst/>
              <a:gdLst/>
              <a:ahLst/>
              <a:cxnLst>
                <a:cxn ang="0">
                  <a:pos x="24" y="12"/>
                </a:cxn>
                <a:cxn ang="0">
                  <a:pos x="24" y="12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32" y="8"/>
                </a:cxn>
                <a:cxn ang="0">
                  <a:pos x="32" y="12"/>
                </a:cxn>
                <a:cxn ang="0">
                  <a:pos x="28" y="12"/>
                </a:cxn>
                <a:cxn ang="0">
                  <a:pos x="24" y="12"/>
                </a:cxn>
              </a:cxnLst>
              <a:rect l="0" t="0" r="r" b="b"/>
              <a:pathLst>
                <a:path w="32" h="16">
                  <a:moveTo>
                    <a:pt x="24" y="12"/>
                  </a:move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1" name="Freeform 68"/>
            <p:cNvSpPr>
              <a:spLocks noEditPoints="1"/>
            </p:cNvSpPr>
            <p:nvPr>
              <p:custDataLst>
                <p:tags r:id="rId264"/>
              </p:custDataLst>
            </p:nvPr>
          </p:nvSpPr>
          <p:spPr bwMode="gray">
            <a:xfrm>
              <a:off x="1719894" y="3680904"/>
              <a:ext cx="708905" cy="514623"/>
            </a:xfrm>
            <a:custGeom>
              <a:avLst/>
              <a:gdLst/>
              <a:ahLst/>
              <a:cxnLst>
                <a:cxn ang="0">
                  <a:pos x="96" y="144"/>
                </a:cxn>
                <a:cxn ang="0">
                  <a:pos x="80" y="120"/>
                </a:cxn>
                <a:cxn ang="0">
                  <a:pos x="64" y="112"/>
                </a:cxn>
                <a:cxn ang="0">
                  <a:pos x="60" y="96"/>
                </a:cxn>
                <a:cxn ang="0">
                  <a:pos x="52" y="68"/>
                </a:cxn>
                <a:cxn ang="0">
                  <a:pos x="36" y="40"/>
                </a:cxn>
                <a:cxn ang="0">
                  <a:pos x="20" y="4"/>
                </a:cxn>
                <a:cxn ang="0">
                  <a:pos x="56" y="8"/>
                </a:cxn>
                <a:cxn ang="0">
                  <a:pos x="111" y="28"/>
                </a:cxn>
                <a:cxn ang="0">
                  <a:pos x="167" y="20"/>
                </a:cxn>
                <a:cxn ang="0">
                  <a:pos x="195" y="40"/>
                </a:cxn>
                <a:cxn ang="0">
                  <a:pos x="223" y="72"/>
                </a:cxn>
                <a:cxn ang="0">
                  <a:pos x="247" y="60"/>
                </a:cxn>
                <a:cxn ang="0">
                  <a:pos x="275" y="88"/>
                </a:cxn>
                <a:cxn ang="0">
                  <a:pos x="295" y="124"/>
                </a:cxn>
                <a:cxn ang="0">
                  <a:pos x="319" y="140"/>
                </a:cxn>
                <a:cxn ang="0">
                  <a:pos x="311" y="184"/>
                </a:cxn>
                <a:cxn ang="0">
                  <a:pos x="315" y="224"/>
                </a:cxn>
                <a:cxn ang="0">
                  <a:pos x="315" y="228"/>
                </a:cxn>
                <a:cxn ang="0">
                  <a:pos x="339" y="267"/>
                </a:cxn>
                <a:cxn ang="0">
                  <a:pos x="375" y="279"/>
                </a:cxn>
                <a:cxn ang="0">
                  <a:pos x="399" y="275"/>
                </a:cxn>
                <a:cxn ang="0">
                  <a:pos x="419" y="255"/>
                </a:cxn>
                <a:cxn ang="0">
                  <a:pos x="431" y="224"/>
                </a:cxn>
                <a:cxn ang="0">
                  <a:pos x="462" y="220"/>
                </a:cxn>
                <a:cxn ang="0">
                  <a:pos x="474" y="236"/>
                </a:cxn>
                <a:cxn ang="0">
                  <a:pos x="462" y="259"/>
                </a:cxn>
                <a:cxn ang="0">
                  <a:pos x="458" y="267"/>
                </a:cxn>
                <a:cxn ang="0">
                  <a:pos x="439" y="287"/>
                </a:cxn>
                <a:cxn ang="0">
                  <a:pos x="419" y="311"/>
                </a:cxn>
                <a:cxn ang="0">
                  <a:pos x="395" y="343"/>
                </a:cxn>
                <a:cxn ang="0">
                  <a:pos x="371" y="323"/>
                </a:cxn>
                <a:cxn ang="0">
                  <a:pos x="355" y="315"/>
                </a:cxn>
                <a:cxn ang="0">
                  <a:pos x="319" y="323"/>
                </a:cxn>
                <a:cxn ang="0">
                  <a:pos x="283" y="307"/>
                </a:cxn>
                <a:cxn ang="0">
                  <a:pos x="247" y="287"/>
                </a:cxn>
                <a:cxn ang="0">
                  <a:pos x="219" y="267"/>
                </a:cxn>
                <a:cxn ang="0">
                  <a:pos x="191" y="243"/>
                </a:cxn>
                <a:cxn ang="0">
                  <a:pos x="195" y="212"/>
                </a:cxn>
                <a:cxn ang="0">
                  <a:pos x="175" y="176"/>
                </a:cxn>
                <a:cxn ang="0">
                  <a:pos x="155" y="160"/>
                </a:cxn>
                <a:cxn ang="0">
                  <a:pos x="139" y="144"/>
                </a:cxn>
                <a:cxn ang="0">
                  <a:pos x="139" y="128"/>
                </a:cxn>
                <a:cxn ang="0">
                  <a:pos x="115" y="96"/>
                </a:cxn>
                <a:cxn ang="0">
                  <a:pos x="92" y="76"/>
                </a:cxn>
                <a:cxn ang="0">
                  <a:pos x="80" y="36"/>
                </a:cxn>
                <a:cxn ang="0">
                  <a:pos x="52" y="20"/>
                </a:cxn>
                <a:cxn ang="0">
                  <a:pos x="56" y="48"/>
                </a:cxn>
                <a:cxn ang="0">
                  <a:pos x="76" y="76"/>
                </a:cxn>
                <a:cxn ang="0">
                  <a:pos x="96" y="116"/>
                </a:cxn>
                <a:cxn ang="0">
                  <a:pos x="107" y="136"/>
                </a:cxn>
                <a:cxn ang="0">
                  <a:pos x="119" y="168"/>
                </a:cxn>
                <a:cxn ang="0">
                  <a:pos x="131" y="188"/>
                </a:cxn>
                <a:cxn ang="0">
                  <a:pos x="115" y="152"/>
                </a:cxn>
                <a:cxn ang="0">
                  <a:pos x="92" y="152"/>
                </a:cxn>
                <a:cxn ang="0">
                  <a:pos x="76" y="64"/>
                </a:cxn>
                <a:cxn ang="0">
                  <a:pos x="0" y="76"/>
                </a:cxn>
                <a:cxn ang="0">
                  <a:pos x="107" y="136"/>
                </a:cxn>
                <a:cxn ang="0">
                  <a:pos x="175" y="220"/>
                </a:cxn>
                <a:cxn ang="0">
                  <a:pos x="478" y="239"/>
                </a:cxn>
              </a:cxnLst>
              <a:rect l="0" t="0" r="r" b="b"/>
              <a:pathLst>
                <a:path w="478" h="347">
                  <a:moveTo>
                    <a:pt x="103" y="164"/>
                  </a:moveTo>
                  <a:lnTo>
                    <a:pt x="99" y="164"/>
                  </a:lnTo>
                  <a:lnTo>
                    <a:pt x="99" y="160"/>
                  </a:lnTo>
                  <a:lnTo>
                    <a:pt x="96" y="160"/>
                  </a:lnTo>
                  <a:lnTo>
                    <a:pt x="96" y="156"/>
                  </a:lnTo>
                  <a:lnTo>
                    <a:pt x="96" y="152"/>
                  </a:lnTo>
                  <a:lnTo>
                    <a:pt x="92" y="152"/>
                  </a:lnTo>
                  <a:lnTo>
                    <a:pt x="92" y="156"/>
                  </a:lnTo>
                  <a:lnTo>
                    <a:pt x="92" y="152"/>
                  </a:lnTo>
                  <a:lnTo>
                    <a:pt x="92" y="148"/>
                  </a:lnTo>
                  <a:lnTo>
                    <a:pt x="96" y="148"/>
                  </a:lnTo>
                  <a:lnTo>
                    <a:pt x="96" y="144"/>
                  </a:lnTo>
                  <a:lnTo>
                    <a:pt x="96" y="140"/>
                  </a:lnTo>
                  <a:lnTo>
                    <a:pt x="96" y="144"/>
                  </a:lnTo>
                  <a:lnTo>
                    <a:pt x="96" y="140"/>
                  </a:lnTo>
                  <a:lnTo>
                    <a:pt x="96" y="136"/>
                  </a:lnTo>
                  <a:lnTo>
                    <a:pt x="92" y="136"/>
                  </a:lnTo>
                  <a:lnTo>
                    <a:pt x="92" y="132"/>
                  </a:lnTo>
                  <a:lnTo>
                    <a:pt x="92" y="128"/>
                  </a:lnTo>
                  <a:lnTo>
                    <a:pt x="88" y="128"/>
                  </a:lnTo>
                  <a:lnTo>
                    <a:pt x="84" y="128"/>
                  </a:lnTo>
                  <a:lnTo>
                    <a:pt x="84" y="124"/>
                  </a:lnTo>
                  <a:lnTo>
                    <a:pt x="80" y="124"/>
                  </a:lnTo>
                  <a:lnTo>
                    <a:pt x="80" y="120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80" y="116"/>
                  </a:lnTo>
                  <a:lnTo>
                    <a:pt x="76" y="116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72" y="120"/>
                  </a:lnTo>
                  <a:lnTo>
                    <a:pt x="68" y="116"/>
                  </a:lnTo>
                  <a:lnTo>
                    <a:pt x="68" y="112"/>
                  </a:lnTo>
                  <a:lnTo>
                    <a:pt x="64" y="116"/>
                  </a:lnTo>
                  <a:lnTo>
                    <a:pt x="64" y="112"/>
                  </a:lnTo>
                  <a:lnTo>
                    <a:pt x="60" y="112"/>
                  </a:lnTo>
                  <a:lnTo>
                    <a:pt x="60" y="108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48" y="100"/>
                  </a:lnTo>
                  <a:lnTo>
                    <a:pt x="52" y="96"/>
                  </a:lnTo>
                  <a:lnTo>
                    <a:pt x="52" y="100"/>
                  </a:lnTo>
                  <a:lnTo>
                    <a:pt x="56" y="100"/>
                  </a:lnTo>
                  <a:lnTo>
                    <a:pt x="60" y="100"/>
                  </a:lnTo>
                  <a:lnTo>
                    <a:pt x="64" y="100"/>
                  </a:lnTo>
                  <a:lnTo>
                    <a:pt x="60" y="96"/>
                  </a:lnTo>
                  <a:lnTo>
                    <a:pt x="64" y="96"/>
                  </a:lnTo>
                  <a:lnTo>
                    <a:pt x="64" y="92"/>
                  </a:lnTo>
                  <a:lnTo>
                    <a:pt x="64" y="96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4" y="84"/>
                  </a:lnTo>
                  <a:lnTo>
                    <a:pt x="64" y="80"/>
                  </a:lnTo>
                  <a:lnTo>
                    <a:pt x="60" y="80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0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4" y="24"/>
                  </a:lnTo>
                  <a:lnTo>
                    <a:pt x="28" y="20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4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24"/>
                  </a:lnTo>
                  <a:lnTo>
                    <a:pt x="103" y="28"/>
                  </a:lnTo>
                  <a:lnTo>
                    <a:pt x="111" y="28"/>
                  </a:lnTo>
                  <a:lnTo>
                    <a:pt x="119" y="28"/>
                  </a:lnTo>
                  <a:lnTo>
                    <a:pt x="123" y="28"/>
                  </a:lnTo>
                  <a:lnTo>
                    <a:pt x="127" y="28"/>
                  </a:lnTo>
                  <a:lnTo>
                    <a:pt x="131" y="28"/>
                  </a:lnTo>
                  <a:lnTo>
                    <a:pt x="139" y="28"/>
                  </a:lnTo>
                  <a:lnTo>
                    <a:pt x="143" y="28"/>
                  </a:lnTo>
                  <a:lnTo>
                    <a:pt x="151" y="28"/>
                  </a:lnTo>
                  <a:lnTo>
                    <a:pt x="151" y="24"/>
                  </a:lnTo>
                  <a:lnTo>
                    <a:pt x="151" y="20"/>
                  </a:lnTo>
                  <a:lnTo>
                    <a:pt x="159" y="20"/>
                  </a:lnTo>
                  <a:lnTo>
                    <a:pt x="163" y="20"/>
                  </a:lnTo>
                  <a:lnTo>
                    <a:pt x="167" y="20"/>
                  </a:lnTo>
                  <a:lnTo>
                    <a:pt x="171" y="20"/>
                  </a:lnTo>
                  <a:lnTo>
                    <a:pt x="175" y="20"/>
                  </a:lnTo>
                  <a:lnTo>
                    <a:pt x="179" y="20"/>
                  </a:lnTo>
                  <a:lnTo>
                    <a:pt x="179" y="24"/>
                  </a:lnTo>
                  <a:lnTo>
                    <a:pt x="183" y="24"/>
                  </a:lnTo>
                  <a:lnTo>
                    <a:pt x="183" y="28"/>
                  </a:lnTo>
                  <a:lnTo>
                    <a:pt x="187" y="28"/>
                  </a:lnTo>
                  <a:lnTo>
                    <a:pt x="187" y="32"/>
                  </a:lnTo>
                  <a:lnTo>
                    <a:pt x="191" y="32"/>
                  </a:lnTo>
                  <a:lnTo>
                    <a:pt x="191" y="36"/>
                  </a:lnTo>
                  <a:lnTo>
                    <a:pt x="195" y="36"/>
                  </a:lnTo>
                  <a:lnTo>
                    <a:pt x="195" y="40"/>
                  </a:lnTo>
                  <a:lnTo>
                    <a:pt x="199" y="40"/>
                  </a:lnTo>
                  <a:lnTo>
                    <a:pt x="203" y="44"/>
                  </a:lnTo>
                  <a:lnTo>
                    <a:pt x="203" y="48"/>
                  </a:lnTo>
                  <a:lnTo>
                    <a:pt x="207" y="52"/>
                  </a:lnTo>
                  <a:lnTo>
                    <a:pt x="207" y="56"/>
                  </a:lnTo>
                  <a:lnTo>
                    <a:pt x="207" y="60"/>
                  </a:lnTo>
                  <a:lnTo>
                    <a:pt x="211" y="64"/>
                  </a:lnTo>
                  <a:lnTo>
                    <a:pt x="215" y="64"/>
                  </a:lnTo>
                  <a:lnTo>
                    <a:pt x="215" y="68"/>
                  </a:lnTo>
                  <a:lnTo>
                    <a:pt x="219" y="68"/>
                  </a:lnTo>
                  <a:lnTo>
                    <a:pt x="219" y="72"/>
                  </a:lnTo>
                  <a:lnTo>
                    <a:pt x="223" y="72"/>
                  </a:lnTo>
                  <a:lnTo>
                    <a:pt x="227" y="76"/>
                  </a:lnTo>
                  <a:lnTo>
                    <a:pt x="231" y="76"/>
                  </a:lnTo>
                  <a:lnTo>
                    <a:pt x="231" y="72"/>
                  </a:lnTo>
                  <a:lnTo>
                    <a:pt x="235" y="72"/>
                  </a:lnTo>
                  <a:lnTo>
                    <a:pt x="235" y="68"/>
                  </a:lnTo>
                  <a:lnTo>
                    <a:pt x="235" y="64"/>
                  </a:lnTo>
                  <a:lnTo>
                    <a:pt x="235" y="60"/>
                  </a:lnTo>
                  <a:lnTo>
                    <a:pt x="239" y="60"/>
                  </a:lnTo>
                  <a:lnTo>
                    <a:pt x="243" y="60"/>
                  </a:lnTo>
                  <a:lnTo>
                    <a:pt x="243" y="56"/>
                  </a:lnTo>
                  <a:lnTo>
                    <a:pt x="243" y="60"/>
                  </a:lnTo>
                  <a:lnTo>
                    <a:pt x="247" y="60"/>
                  </a:lnTo>
                  <a:lnTo>
                    <a:pt x="251" y="60"/>
                  </a:lnTo>
                  <a:lnTo>
                    <a:pt x="255" y="60"/>
                  </a:lnTo>
                  <a:lnTo>
                    <a:pt x="255" y="64"/>
                  </a:lnTo>
                  <a:lnTo>
                    <a:pt x="259" y="64"/>
                  </a:lnTo>
                  <a:lnTo>
                    <a:pt x="263" y="64"/>
                  </a:lnTo>
                  <a:lnTo>
                    <a:pt x="263" y="68"/>
                  </a:lnTo>
                  <a:lnTo>
                    <a:pt x="267" y="72"/>
                  </a:lnTo>
                  <a:lnTo>
                    <a:pt x="267" y="76"/>
                  </a:lnTo>
                  <a:lnTo>
                    <a:pt x="271" y="80"/>
                  </a:lnTo>
                  <a:lnTo>
                    <a:pt x="271" y="84"/>
                  </a:lnTo>
                  <a:lnTo>
                    <a:pt x="271" y="88"/>
                  </a:lnTo>
                  <a:lnTo>
                    <a:pt x="275" y="88"/>
                  </a:lnTo>
                  <a:lnTo>
                    <a:pt x="275" y="92"/>
                  </a:lnTo>
                  <a:lnTo>
                    <a:pt x="279" y="96"/>
                  </a:lnTo>
                  <a:lnTo>
                    <a:pt x="279" y="100"/>
                  </a:lnTo>
                  <a:lnTo>
                    <a:pt x="283" y="100"/>
                  </a:lnTo>
                  <a:lnTo>
                    <a:pt x="283" y="104"/>
                  </a:lnTo>
                  <a:lnTo>
                    <a:pt x="287" y="104"/>
                  </a:lnTo>
                  <a:lnTo>
                    <a:pt x="287" y="108"/>
                  </a:lnTo>
                  <a:lnTo>
                    <a:pt x="287" y="112"/>
                  </a:lnTo>
                  <a:lnTo>
                    <a:pt x="287" y="116"/>
                  </a:lnTo>
                  <a:lnTo>
                    <a:pt x="291" y="120"/>
                  </a:lnTo>
                  <a:lnTo>
                    <a:pt x="291" y="124"/>
                  </a:lnTo>
                  <a:lnTo>
                    <a:pt x="295" y="124"/>
                  </a:lnTo>
                  <a:lnTo>
                    <a:pt x="295" y="128"/>
                  </a:lnTo>
                  <a:lnTo>
                    <a:pt x="299" y="128"/>
                  </a:lnTo>
                  <a:lnTo>
                    <a:pt x="303" y="128"/>
                  </a:lnTo>
                  <a:lnTo>
                    <a:pt x="303" y="132"/>
                  </a:lnTo>
                  <a:lnTo>
                    <a:pt x="307" y="132"/>
                  </a:lnTo>
                  <a:lnTo>
                    <a:pt x="311" y="132"/>
                  </a:lnTo>
                  <a:lnTo>
                    <a:pt x="315" y="132"/>
                  </a:lnTo>
                  <a:lnTo>
                    <a:pt x="315" y="136"/>
                  </a:lnTo>
                  <a:lnTo>
                    <a:pt x="319" y="136"/>
                  </a:lnTo>
                  <a:lnTo>
                    <a:pt x="319" y="132"/>
                  </a:lnTo>
                  <a:lnTo>
                    <a:pt x="319" y="136"/>
                  </a:lnTo>
                  <a:lnTo>
                    <a:pt x="319" y="140"/>
                  </a:lnTo>
                  <a:lnTo>
                    <a:pt x="319" y="144"/>
                  </a:lnTo>
                  <a:lnTo>
                    <a:pt x="315" y="148"/>
                  </a:lnTo>
                  <a:lnTo>
                    <a:pt x="315" y="152"/>
                  </a:lnTo>
                  <a:lnTo>
                    <a:pt x="315" y="156"/>
                  </a:lnTo>
                  <a:lnTo>
                    <a:pt x="315" y="160"/>
                  </a:lnTo>
                  <a:lnTo>
                    <a:pt x="311" y="160"/>
                  </a:lnTo>
                  <a:lnTo>
                    <a:pt x="311" y="164"/>
                  </a:lnTo>
                  <a:lnTo>
                    <a:pt x="311" y="168"/>
                  </a:lnTo>
                  <a:lnTo>
                    <a:pt x="311" y="172"/>
                  </a:lnTo>
                  <a:lnTo>
                    <a:pt x="311" y="176"/>
                  </a:lnTo>
                  <a:lnTo>
                    <a:pt x="311" y="180"/>
                  </a:lnTo>
                  <a:lnTo>
                    <a:pt x="311" y="184"/>
                  </a:lnTo>
                  <a:lnTo>
                    <a:pt x="311" y="188"/>
                  </a:lnTo>
                  <a:lnTo>
                    <a:pt x="311" y="192"/>
                  </a:lnTo>
                  <a:lnTo>
                    <a:pt x="311" y="196"/>
                  </a:lnTo>
                  <a:lnTo>
                    <a:pt x="311" y="200"/>
                  </a:lnTo>
                  <a:lnTo>
                    <a:pt x="311" y="204"/>
                  </a:lnTo>
                  <a:lnTo>
                    <a:pt x="311" y="208"/>
                  </a:lnTo>
                  <a:lnTo>
                    <a:pt x="311" y="212"/>
                  </a:lnTo>
                  <a:lnTo>
                    <a:pt x="315" y="212"/>
                  </a:lnTo>
                  <a:lnTo>
                    <a:pt x="315" y="216"/>
                  </a:lnTo>
                  <a:lnTo>
                    <a:pt x="319" y="216"/>
                  </a:lnTo>
                  <a:lnTo>
                    <a:pt x="319" y="220"/>
                  </a:lnTo>
                  <a:lnTo>
                    <a:pt x="315" y="224"/>
                  </a:lnTo>
                  <a:lnTo>
                    <a:pt x="315" y="220"/>
                  </a:lnTo>
                  <a:lnTo>
                    <a:pt x="319" y="220"/>
                  </a:lnTo>
                  <a:lnTo>
                    <a:pt x="315" y="220"/>
                  </a:lnTo>
                  <a:lnTo>
                    <a:pt x="315" y="216"/>
                  </a:lnTo>
                  <a:lnTo>
                    <a:pt x="315" y="212"/>
                  </a:lnTo>
                  <a:lnTo>
                    <a:pt x="311" y="212"/>
                  </a:lnTo>
                  <a:lnTo>
                    <a:pt x="311" y="208"/>
                  </a:lnTo>
                  <a:lnTo>
                    <a:pt x="311" y="212"/>
                  </a:lnTo>
                  <a:lnTo>
                    <a:pt x="311" y="216"/>
                  </a:lnTo>
                  <a:lnTo>
                    <a:pt x="315" y="220"/>
                  </a:lnTo>
                  <a:lnTo>
                    <a:pt x="315" y="224"/>
                  </a:lnTo>
                  <a:lnTo>
                    <a:pt x="315" y="228"/>
                  </a:lnTo>
                  <a:lnTo>
                    <a:pt x="319" y="228"/>
                  </a:lnTo>
                  <a:lnTo>
                    <a:pt x="319" y="232"/>
                  </a:lnTo>
                  <a:lnTo>
                    <a:pt x="319" y="236"/>
                  </a:lnTo>
                  <a:lnTo>
                    <a:pt x="323" y="236"/>
                  </a:lnTo>
                  <a:lnTo>
                    <a:pt x="327" y="243"/>
                  </a:lnTo>
                  <a:lnTo>
                    <a:pt x="331" y="247"/>
                  </a:lnTo>
                  <a:lnTo>
                    <a:pt x="331" y="251"/>
                  </a:lnTo>
                  <a:lnTo>
                    <a:pt x="331" y="255"/>
                  </a:lnTo>
                  <a:lnTo>
                    <a:pt x="335" y="259"/>
                  </a:lnTo>
                  <a:lnTo>
                    <a:pt x="335" y="263"/>
                  </a:lnTo>
                  <a:lnTo>
                    <a:pt x="339" y="263"/>
                  </a:lnTo>
                  <a:lnTo>
                    <a:pt x="339" y="267"/>
                  </a:lnTo>
                  <a:lnTo>
                    <a:pt x="339" y="271"/>
                  </a:lnTo>
                  <a:lnTo>
                    <a:pt x="343" y="271"/>
                  </a:lnTo>
                  <a:lnTo>
                    <a:pt x="347" y="271"/>
                  </a:lnTo>
                  <a:lnTo>
                    <a:pt x="351" y="271"/>
                  </a:lnTo>
                  <a:lnTo>
                    <a:pt x="351" y="275"/>
                  </a:lnTo>
                  <a:lnTo>
                    <a:pt x="355" y="275"/>
                  </a:lnTo>
                  <a:lnTo>
                    <a:pt x="355" y="279"/>
                  </a:lnTo>
                  <a:lnTo>
                    <a:pt x="359" y="283"/>
                  </a:lnTo>
                  <a:lnTo>
                    <a:pt x="363" y="283"/>
                  </a:lnTo>
                  <a:lnTo>
                    <a:pt x="367" y="279"/>
                  </a:lnTo>
                  <a:lnTo>
                    <a:pt x="371" y="279"/>
                  </a:lnTo>
                  <a:lnTo>
                    <a:pt x="375" y="279"/>
                  </a:lnTo>
                  <a:lnTo>
                    <a:pt x="375" y="275"/>
                  </a:lnTo>
                  <a:lnTo>
                    <a:pt x="371" y="279"/>
                  </a:lnTo>
                  <a:lnTo>
                    <a:pt x="375" y="275"/>
                  </a:lnTo>
                  <a:lnTo>
                    <a:pt x="379" y="275"/>
                  </a:lnTo>
                  <a:lnTo>
                    <a:pt x="379" y="279"/>
                  </a:lnTo>
                  <a:lnTo>
                    <a:pt x="383" y="279"/>
                  </a:lnTo>
                  <a:lnTo>
                    <a:pt x="383" y="275"/>
                  </a:lnTo>
                  <a:lnTo>
                    <a:pt x="387" y="275"/>
                  </a:lnTo>
                  <a:lnTo>
                    <a:pt x="391" y="271"/>
                  </a:lnTo>
                  <a:lnTo>
                    <a:pt x="395" y="271"/>
                  </a:lnTo>
                  <a:lnTo>
                    <a:pt x="399" y="271"/>
                  </a:lnTo>
                  <a:lnTo>
                    <a:pt x="399" y="275"/>
                  </a:lnTo>
                  <a:lnTo>
                    <a:pt x="403" y="275"/>
                  </a:lnTo>
                  <a:lnTo>
                    <a:pt x="399" y="275"/>
                  </a:lnTo>
                  <a:lnTo>
                    <a:pt x="403" y="279"/>
                  </a:lnTo>
                  <a:lnTo>
                    <a:pt x="403" y="275"/>
                  </a:lnTo>
                  <a:lnTo>
                    <a:pt x="407" y="275"/>
                  </a:lnTo>
                  <a:lnTo>
                    <a:pt x="411" y="271"/>
                  </a:lnTo>
                  <a:lnTo>
                    <a:pt x="407" y="271"/>
                  </a:lnTo>
                  <a:lnTo>
                    <a:pt x="407" y="267"/>
                  </a:lnTo>
                  <a:lnTo>
                    <a:pt x="411" y="267"/>
                  </a:lnTo>
                  <a:lnTo>
                    <a:pt x="415" y="263"/>
                  </a:lnTo>
                  <a:lnTo>
                    <a:pt x="419" y="259"/>
                  </a:lnTo>
                  <a:lnTo>
                    <a:pt x="419" y="255"/>
                  </a:lnTo>
                  <a:lnTo>
                    <a:pt x="419" y="251"/>
                  </a:lnTo>
                  <a:lnTo>
                    <a:pt x="423" y="247"/>
                  </a:lnTo>
                  <a:lnTo>
                    <a:pt x="423" y="243"/>
                  </a:lnTo>
                  <a:lnTo>
                    <a:pt x="423" y="239"/>
                  </a:lnTo>
                  <a:lnTo>
                    <a:pt x="423" y="236"/>
                  </a:lnTo>
                  <a:lnTo>
                    <a:pt x="423" y="232"/>
                  </a:lnTo>
                  <a:lnTo>
                    <a:pt x="423" y="228"/>
                  </a:lnTo>
                  <a:lnTo>
                    <a:pt x="423" y="232"/>
                  </a:lnTo>
                  <a:lnTo>
                    <a:pt x="423" y="228"/>
                  </a:lnTo>
                  <a:lnTo>
                    <a:pt x="427" y="228"/>
                  </a:lnTo>
                  <a:lnTo>
                    <a:pt x="427" y="224"/>
                  </a:lnTo>
                  <a:lnTo>
                    <a:pt x="431" y="224"/>
                  </a:lnTo>
                  <a:lnTo>
                    <a:pt x="435" y="224"/>
                  </a:lnTo>
                  <a:lnTo>
                    <a:pt x="439" y="224"/>
                  </a:lnTo>
                  <a:lnTo>
                    <a:pt x="443" y="220"/>
                  </a:lnTo>
                  <a:lnTo>
                    <a:pt x="447" y="220"/>
                  </a:lnTo>
                  <a:lnTo>
                    <a:pt x="451" y="220"/>
                  </a:lnTo>
                  <a:lnTo>
                    <a:pt x="454" y="220"/>
                  </a:lnTo>
                  <a:lnTo>
                    <a:pt x="458" y="216"/>
                  </a:lnTo>
                  <a:lnTo>
                    <a:pt x="454" y="216"/>
                  </a:lnTo>
                  <a:lnTo>
                    <a:pt x="454" y="220"/>
                  </a:lnTo>
                  <a:lnTo>
                    <a:pt x="454" y="216"/>
                  </a:lnTo>
                  <a:lnTo>
                    <a:pt x="458" y="216"/>
                  </a:lnTo>
                  <a:lnTo>
                    <a:pt x="462" y="220"/>
                  </a:lnTo>
                  <a:lnTo>
                    <a:pt x="466" y="220"/>
                  </a:lnTo>
                  <a:lnTo>
                    <a:pt x="470" y="220"/>
                  </a:lnTo>
                  <a:lnTo>
                    <a:pt x="466" y="220"/>
                  </a:lnTo>
                  <a:lnTo>
                    <a:pt x="470" y="220"/>
                  </a:lnTo>
                  <a:lnTo>
                    <a:pt x="470" y="216"/>
                  </a:lnTo>
                  <a:lnTo>
                    <a:pt x="474" y="216"/>
                  </a:lnTo>
                  <a:lnTo>
                    <a:pt x="474" y="220"/>
                  </a:lnTo>
                  <a:lnTo>
                    <a:pt x="478" y="220"/>
                  </a:lnTo>
                  <a:lnTo>
                    <a:pt x="478" y="224"/>
                  </a:lnTo>
                  <a:lnTo>
                    <a:pt x="478" y="228"/>
                  </a:lnTo>
                  <a:lnTo>
                    <a:pt x="474" y="232"/>
                  </a:lnTo>
                  <a:lnTo>
                    <a:pt x="474" y="236"/>
                  </a:lnTo>
                  <a:lnTo>
                    <a:pt x="470" y="236"/>
                  </a:lnTo>
                  <a:lnTo>
                    <a:pt x="470" y="239"/>
                  </a:lnTo>
                  <a:lnTo>
                    <a:pt x="466" y="243"/>
                  </a:lnTo>
                  <a:lnTo>
                    <a:pt x="466" y="247"/>
                  </a:lnTo>
                  <a:lnTo>
                    <a:pt x="466" y="251"/>
                  </a:lnTo>
                  <a:lnTo>
                    <a:pt x="466" y="247"/>
                  </a:lnTo>
                  <a:lnTo>
                    <a:pt x="466" y="251"/>
                  </a:lnTo>
                  <a:lnTo>
                    <a:pt x="462" y="251"/>
                  </a:lnTo>
                  <a:lnTo>
                    <a:pt x="462" y="255"/>
                  </a:lnTo>
                  <a:lnTo>
                    <a:pt x="466" y="255"/>
                  </a:lnTo>
                  <a:lnTo>
                    <a:pt x="466" y="259"/>
                  </a:lnTo>
                  <a:lnTo>
                    <a:pt x="462" y="259"/>
                  </a:lnTo>
                  <a:lnTo>
                    <a:pt x="462" y="263"/>
                  </a:lnTo>
                  <a:lnTo>
                    <a:pt x="466" y="259"/>
                  </a:lnTo>
                  <a:lnTo>
                    <a:pt x="466" y="263"/>
                  </a:lnTo>
                  <a:lnTo>
                    <a:pt x="466" y="267"/>
                  </a:lnTo>
                  <a:lnTo>
                    <a:pt x="462" y="267"/>
                  </a:lnTo>
                  <a:lnTo>
                    <a:pt x="462" y="271"/>
                  </a:lnTo>
                  <a:lnTo>
                    <a:pt x="462" y="275"/>
                  </a:lnTo>
                  <a:lnTo>
                    <a:pt x="462" y="279"/>
                  </a:lnTo>
                  <a:lnTo>
                    <a:pt x="458" y="279"/>
                  </a:lnTo>
                  <a:lnTo>
                    <a:pt x="458" y="275"/>
                  </a:lnTo>
                  <a:lnTo>
                    <a:pt x="458" y="271"/>
                  </a:lnTo>
                  <a:lnTo>
                    <a:pt x="458" y="267"/>
                  </a:lnTo>
                  <a:lnTo>
                    <a:pt x="458" y="271"/>
                  </a:lnTo>
                  <a:lnTo>
                    <a:pt x="454" y="271"/>
                  </a:lnTo>
                  <a:lnTo>
                    <a:pt x="454" y="275"/>
                  </a:lnTo>
                  <a:lnTo>
                    <a:pt x="451" y="275"/>
                  </a:lnTo>
                  <a:lnTo>
                    <a:pt x="451" y="279"/>
                  </a:lnTo>
                  <a:lnTo>
                    <a:pt x="447" y="279"/>
                  </a:lnTo>
                  <a:lnTo>
                    <a:pt x="447" y="283"/>
                  </a:lnTo>
                  <a:lnTo>
                    <a:pt x="447" y="287"/>
                  </a:lnTo>
                  <a:lnTo>
                    <a:pt x="443" y="287"/>
                  </a:lnTo>
                  <a:lnTo>
                    <a:pt x="443" y="283"/>
                  </a:lnTo>
                  <a:lnTo>
                    <a:pt x="443" y="287"/>
                  </a:lnTo>
                  <a:lnTo>
                    <a:pt x="439" y="287"/>
                  </a:lnTo>
                  <a:lnTo>
                    <a:pt x="431" y="287"/>
                  </a:lnTo>
                  <a:lnTo>
                    <a:pt x="427" y="287"/>
                  </a:lnTo>
                  <a:lnTo>
                    <a:pt x="419" y="287"/>
                  </a:lnTo>
                  <a:lnTo>
                    <a:pt x="415" y="287"/>
                  </a:lnTo>
                  <a:lnTo>
                    <a:pt x="415" y="291"/>
                  </a:lnTo>
                  <a:lnTo>
                    <a:pt x="415" y="299"/>
                  </a:lnTo>
                  <a:lnTo>
                    <a:pt x="407" y="299"/>
                  </a:lnTo>
                  <a:lnTo>
                    <a:pt x="411" y="299"/>
                  </a:lnTo>
                  <a:lnTo>
                    <a:pt x="411" y="303"/>
                  </a:lnTo>
                  <a:lnTo>
                    <a:pt x="415" y="307"/>
                  </a:lnTo>
                  <a:lnTo>
                    <a:pt x="419" y="307"/>
                  </a:lnTo>
                  <a:lnTo>
                    <a:pt x="419" y="311"/>
                  </a:lnTo>
                  <a:lnTo>
                    <a:pt x="419" y="315"/>
                  </a:lnTo>
                  <a:lnTo>
                    <a:pt x="423" y="315"/>
                  </a:lnTo>
                  <a:lnTo>
                    <a:pt x="423" y="319"/>
                  </a:lnTo>
                  <a:lnTo>
                    <a:pt x="419" y="319"/>
                  </a:lnTo>
                  <a:lnTo>
                    <a:pt x="415" y="319"/>
                  </a:lnTo>
                  <a:lnTo>
                    <a:pt x="407" y="319"/>
                  </a:lnTo>
                  <a:lnTo>
                    <a:pt x="403" y="319"/>
                  </a:lnTo>
                  <a:lnTo>
                    <a:pt x="403" y="323"/>
                  </a:lnTo>
                  <a:lnTo>
                    <a:pt x="395" y="331"/>
                  </a:lnTo>
                  <a:lnTo>
                    <a:pt x="395" y="335"/>
                  </a:lnTo>
                  <a:lnTo>
                    <a:pt x="399" y="339"/>
                  </a:lnTo>
                  <a:lnTo>
                    <a:pt x="395" y="343"/>
                  </a:lnTo>
                  <a:lnTo>
                    <a:pt x="395" y="347"/>
                  </a:lnTo>
                  <a:lnTo>
                    <a:pt x="391" y="347"/>
                  </a:lnTo>
                  <a:lnTo>
                    <a:pt x="391" y="343"/>
                  </a:lnTo>
                  <a:lnTo>
                    <a:pt x="387" y="343"/>
                  </a:lnTo>
                  <a:lnTo>
                    <a:pt x="387" y="339"/>
                  </a:lnTo>
                  <a:lnTo>
                    <a:pt x="387" y="335"/>
                  </a:lnTo>
                  <a:lnTo>
                    <a:pt x="383" y="335"/>
                  </a:lnTo>
                  <a:lnTo>
                    <a:pt x="383" y="331"/>
                  </a:lnTo>
                  <a:lnTo>
                    <a:pt x="379" y="331"/>
                  </a:lnTo>
                  <a:lnTo>
                    <a:pt x="379" y="327"/>
                  </a:lnTo>
                  <a:lnTo>
                    <a:pt x="375" y="327"/>
                  </a:lnTo>
                  <a:lnTo>
                    <a:pt x="371" y="323"/>
                  </a:lnTo>
                  <a:lnTo>
                    <a:pt x="371" y="319"/>
                  </a:lnTo>
                  <a:lnTo>
                    <a:pt x="367" y="319"/>
                  </a:lnTo>
                  <a:lnTo>
                    <a:pt x="363" y="319"/>
                  </a:lnTo>
                  <a:lnTo>
                    <a:pt x="363" y="315"/>
                  </a:lnTo>
                  <a:lnTo>
                    <a:pt x="363" y="319"/>
                  </a:lnTo>
                  <a:lnTo>
                    <a:pt x="367" y="319"/>
                  </a:lnTo>
                  <a:lnTo>
                    <a:pt x="367" y="323"/>
                  </a:lnTo>
                  <a:lnTo>
                    <a:pt x="363" y="319"/>
                  </a:lnTo>
                  <a:lnTo>
                    <a:pt x="359" y="319"/>
                  </a:lnTo>
                  <a:lnTo>
                    <a:pt x="359" y="315"/>
                  </a:lnTo>
                  <a:lnTo>
                    <a:pt x="355" y="319"/>
                  </a:lnTo>
                  <a:lnTo>
                    <a:pt x="355" y="315"/>
                  </a:lnTo>
                  <a:lnTo>
                    <a:pt x="351" y="315"/>
                  </a:lnTo>
                  <a:lnTo>
                    <a:pt x="351" y="319"/>
                  </a:lnTo>
                  <a:lnTo>
                    <a:pt x="355" y="319"/>
                  </a:lnTo>
                  <a:lnTo>
                    <a:pt x="351" y="319"/>
                  </a:lnTo>
                  <a:lnTo>
                    <a:pt x="347" y="323"/>
                  </a:lnTo>
                  <a:lnTo>
                    <a:pt x="343" y="323"/>
                  </a:lnTo>
                  <a:lnTo>
                    <a:pt x="339" y="327"/>
                  </a:lnTo>
                  <a:lnTo>
                    <a:pt x="335" y="327"/>
                  </a:lnTo>
                  <a:lnTo>
                    <a:pt x="331" y="327"/>
                  </a:lnTo>
                  <a:lnTo>
                    <a:pt x="327" y="327"/>
                  </a:lnTo>
                  <a:lnTo>
                    <a:pt x="323" y="323"/>
                  </a:lnTo>
                  <a:lnTo>
                    <a:pt x="319" y="323"/>
                  </a:lnTo>
                  <a:lnTo>
                    <a:pt x="315" y="323"/>
                  </a:lnTo>
                  <a:lnTo>
                    <a:pt x="311" y="323"/>
                  </a:lnTo>
                  <a:lnTo>
                    <a:pt x="307" y="319"/>
                  </a:lnTo>
                  <a:lnTo>
                    <a:pt x="303" y="319"/>
                  </a:lnTo>
                  <a:lnTo>
                    <a:pt x="303" y="315"/>
                  </a:lnTo>
                  <a:lnTo>
                    <a:pt x="299" y="315"/>
                  </a:lnTo>
                  <a:lnTo>
                    <a:pt x="295" y="315"/>
                  </a:lnTo>
                  <a:lnTo>
                    <a:pt x="295" y="311"/>
                  </a:lnTo>
                  <a:lnTo>
                    <a:pt x="291" y="311"/>
                  </a:lnTo>
                  <a:lnTo>
                    <a:pt x="287" y="311"/>
                  </a:lnTo>
                  <a:lnTo>
                    <a:pt x="283" y="311"/>
                  </a:lnTo>
                  <a:lnTo>
                    <a:pt x="283" y="307"/>
                  </a:lnTo>
                  <a:lnTo>
                    <a:pt x="279" y="307"/>
                  </a:lnTo>
                  <a:lnTo>
                    <a:pt x="275" y="303"/>
                  </a:lnTo>
                  <a:lnTo>
                    <a:pt x="271" y="303"/>
                  </a:lnTo>
                  <a:lnTo>
                    <a:pt x="267" y="299"/>
                  </a:lnTo>
                  <a:lnTo>
                    <a:pt x="263" y="299"/>
                  </a:lnTo>
                  <a:lnTo>
                    <a:pt x="259" y="299"/>
                  </a:lnTo>
                  <a:lnTo>
                    <a:pt x="259" y="295"/>
                  </a:lnTo>
                  <a:lnTo>
                    <a:pt x="255" y="295"/>
                  </a:lnTo>
                  <a:lnTo>
                    <a:pt x="255" y="291"/>
                  </a:lnTo>
                  <a:lnTo>
                    <a:pt x="251" y="291"/>
                  </a:lnTo>
                  <a:lnTo>
                    <a:pt x="251" y="287"/>
                  </a:lnTo>
                  <a:lnTo>
                    <a:pt x="247" y="287"/>
                  </a:lnTo>
                  <a:lnTo>
                    <a:pt x="247" y="283"/>
                  </a:lnTo>
                  <a:lnTo>
                    <a:pt x="247" y="287"/>
                  </a:lnTo>
                  <a:lnTo>
                    <a:pt x="243" y="287"/>
                  </a:lnTo>
                  <a:lnTo>
                    <a:pt x="239" y="283"/>
                  </a:lnTo>
                  <a:lnTo>
                    <a:pt x="235" y="283"/>
                  </a:lnTo>
                  <a:lnTo>
                    <a:pt x="231" y="283"/>
                  </a:lnTo>
                  <a:lnTo>
                    <a:pt x="231" y="279"/>
                  </a:lnTo>
                  <a:lnTo>
                    <a:pt x="227" y="279"/>
                  </a:lnTo>
                  <a:lnTo>
                    <a:pt x="223" y="279"/>
                  </a:lnTo>
                  <a:lnTo>
                    <a:pt x="223" y="275"/>
                  </a:lnTo>
                  <a:lnTo>
                    <a:pt x="219" y="271"/>
                  </a:lnTo>
                  <a:lnTo>
                    <a:pt x="219" y="267"/>
                  </a:lnTo>
                  <a:lnTo>
                    <a:pt x="215" y="267"/>
                  </a:lnTo>
                  <a:lnTo>
                    <a:pt x="211" y="267"/>
                  </a:lnTo>
                  <a:lnTo>
                    <a:pt x="211" y="263"/>
                  </a:lnTo>
                  <a:lnTo>
                    <a:pt x="207" y="263"/>
                  </a:lnTo>
                  <a:lnTo>
                    <a:pt x="203" y="259"/>
                  </a:lnTo>
                  <a:lnTo>
                    <a:pt x="199" y="259"/>
                  </a:lnTo>
                  <a:lnTo>
                    <a:pt x="199" y="255"/>
                  </a:lnTo>
                  <a:lnTo>
                    <a:pt x="199" y="251"/>
                  </a:lnTo>
                  <a:lnTo>
                    <a:pt x="195" y="251"/>
                  </a:lnTo>
                  <a:lnTo>
                    <a:pt x="195" y="247"/>
                  </a:lnTo>
                  <a:lnTo>
                    <a:pt x="191" y="247"/>
                  </a:lnTo>
                  <a:lnTo>
                    <a:pt x="191" y="243"/>
                  </a:lnTo>
                  <a:lnTo>
                    <a:pt x="191" y="239"/>
                  </a:lnTo>
                  <a:lnTo>
                    <a:pt x="195" y="239"/>
                  </a:lnTo>
                  <a:lnTo>
                    <a:pt x="195" y="236"/>
                  </a:lnTo>
                  <a:lnTo>
                    <a:pt x="199" y="236"/>
                  </a:lnTo>
                  <a:lnTo>
                    <a:pt x="195" y="232"/>
                  </a:lnTo>
                  <a:lnTo>
                    <a:pt x="195" y="228"/>
                  </a:lnTo>
                  <a:lnTo>
                    <a:pt x="199" y="228"/>
                  </a:lnTo>
                  <a:lnTo>
                    <a:pt x="199" y="224"/>
                  </a:lnTo>
                  <a:lnTo>
                    <a:pt x="199" y="220"/>
                  </a:lnTo>
                  <a:lnTo>
                    <a:pt x="195" y="220"/>
                  </a:lnTo>
                  <a:lnTo>
                    <a:pt x="195" y="216"/>
                  </a:lnTo>
                  <a:lnTo>
                    <a:pt x="195" y="212"/>
                  </a:lnTo>
                  <a:lnTo>
                    <a:pt x="191" y="212"/>
                  </a:lnTo>
                  <a:lnTo>
                    <a:pt x="191" y="208"/>
                  </a:lnTo>
                  <a:lnTo>
                    <a:pt x="191" y="204"/>
                  </a:lnTo>
                  <a:lnTo>
                    <a:pt x="191" y="200"/>
                  </a:lnTo>
                  <a:lnTo>
                    <a:pt x="191" y="196"/>
                  </a:lnTo>
                  <a:lnTo>
                    <a:pt x="187" y="196"/>
                  </a:lnTo>
                  <a:lnTo>
                    <a:pt x="183" y="192"/>
                  </a:lnTo>
                  <a:lnTo>
                    <a:pt x="183" y="188"/>
                  </a:lnTo>
                  <a:lnTo>
                    <a:pt x="179" y="188"/>
                  </a:lnTo>
                  <a:lnTo>
                    <a:pt x="179" y="184"/>
                  </a:lnTo>
                  <a:lnTo>
                    <a:pt x="175" y="180"/>
                  </a:lnTo>
                  <a:lnTo>
                    <a:pt x="175" y="176"/>
                  </a:lnTo>
                  <a:lnTo>
                    <a:pt x="171" y="176"/>
                  </a:lnTo>
                  <a:lnTo>
                    <a:pt x="171" y="172"/>
                  </a:lnTo>
                  <a:lnTo>
                    <a:pt x="163" y="168"/>
                  </a:lnTo>
                  <a:lnTo>
                    <a:pt x="163" y="164"/>
                  </a:lnTo>
                  <a:lnTo>
                    <a:pt x="159" y="164"/>
                  </a:lnTo>
                  <a:lnTo>
                    <a:pt x="163" y="164"/>
                  </a:lnTo>
                  <a:lnTo>
                    <a:pt x="163" y="160"/>
                  </a:lnTo>
                  <a:lnTo>
                    <a:pt x="159" y="164"/>
                  </a:lnTo>
                  <a:lnTo>
                    <a:pt x="159" y="160"/>
                  </a:lnTo>
                  <a:lnTo>
                    <a:pt x="155" y="160"/>
                  </a:lnTo>
                  <a:lnTo>
                    <a:pt x="159" y="160"/>
                  </a:lnTo>
                  <a:lnTo>
                    <a:pt x="155" y="160"/>
                  </a:lnTo>
                  <a:lnTo>
                    <a:pt x="155" y="156"/>
                  </a:lnTo>
                  <a:lnTo>
                    <a:pt x="155" y="152"/>
                  </a:lnTo>
                  <a:lnTo>
                    <a:pt x="155" y="156"/>
                  </a:lnTo>
                  <a:lnTo>
                    <a:pt x="151" y="152"/>
                  </a:lnTo>
                  <a:lnTo>
                    <a:pt x="155" y="152"/>
                  </a:lnTo>
                  <a:lnTo>
                    <a:pt x="151" y="148"/>
                  </a:lnTo>
                  <a:lnTo>
                    <a:pt x="147" y="148"/>
                  </a:lnTo>
                  <a:lnTo>
                    <a:pt x="147" y="144"/>
                  </a:lnTo>
                  <a:lnTo>
                    <a:pt x="143" y="144"/>
                  </a:lnTo>
                  <a:lnTo>
                    <a:pt x="143" y="140"/>
                  </a:lnTo>
                  <a:lnTo>
                    <a:pt x="143" y="144"/>
                  </a:lnTo>
                  <a:lnTo>
                    <a:pt x="139" y="144"/>
                  </a:lnTo>
                  <a:lnTo>
                    <a:pt x="139" y="140"/>
                  </a:lnTo>
                  <a:lnTo>
                    <a:pt x="143" y="140"/>
                  </a:lnTo>
                  <a:lnTo>
                    <a:pt x="143" y="136"/>
                  </a:lnTo>
                  <a:lnTo>
                    <a:pt x="143" y="140"/>
                  </a:lnTo>
                  <a:lnTo>
                    <a:pt x="139" y="140"/>
                  </a:lnTo>
                  <a:lnTo>
                    <a:pt x="135" y="140"/>
                  </a:lnTo>
                  <a:lnTo>
                    <a:pt x="135" y="136"/>
                  </a:lnTo>
                  <a:lnTo>
                    <a:pt x="135" y="132"/>
                  </a:lnTo>
                  <a:lnTo>
                    <a:pt x="135" y="128"/>
                  </a:lnTo>
                  <a:lnTo>
                    <a:pt x="135" y="132"/>
                  </a:lnTo>
                  <a:lnTo>
                    <a:pt x="135" y="128"/>
                  </a:lnTo>
                  <a:lnTo>
                    <a:pt x="139" y="128"/>
                  </a:lnTo>
                  <a:lnTo>
                    <a:pt x="135" y="124"/>
                  </a:lnTo>
                  <a:lnTo>
                    <a:pt x="135" y="120"/>
                  </a:lnTo>
                  <a:lnTo>
                    <a:pt x="131" y="120"/>
                  </a:lnTo>
                  <a:lnTo>
                    <a:pt x="127" y="120"/>
                  </a:lnTo>
                  <a:lnTo>
                    <a:pt x="127" y="116"/>
                  </a:lnTo>
                  <a:lnTo>
                    <a:pt x="127" y="112"/>
                  </a:lnTo>
                  <a:lnTo>
                    <a:pt x="123" y="112"/>
                  </a:lnTo>
                  <a:lnTo>
                    <a:pt x="119" y="112"/>
                  </a:lnTo>
                  <a:lnTo>
                    <a:pt x="119" y="108"/>
                  </a:lnTo>
                  <a:lnTo>
                    <a:pt x="115" y="104"/>
                  </a:lnTo>
                  <a:lnTo>
                    <a:pt x="115" y="100"/>
                  </a:lnTo>
                  <a:lnTo>
                    <a:pt x="115" y="96"/>
                  </a:lnTo>
                  <a:lnTo>
                    <a:pt x="119" y="96"/>
                  </a:lnTo>
                  <a:lnTo>
                    <a:pt x="115" y="96"/>
                  </a:lnTo>
                  <a:lnTo>
                    <a:pt x="111" y="96"/>
                  </a:lnTo>
                  <a:lnTo>
                    <a:pt x="107" y="96"/>
                  </a:lnTo>
                  <a:lnTo>
                    <a:pt x="107" y="92"/>
                  </a:lnTo>
                  <a:lnTo>
                    <a:pt x="103" y="92"/>
                  </a:lnTo>
                  <a:lnTo>
                    <a:pt x="103" y="88"/>
                  </a:lnTo>
                  <a:lnTo>
                    <a:pt x="99" y="84"/>
                  </a:lnTo>
                  <a:lnTo>
                    <a:pt x="99" y="80"/>
                  </a:lnTo>
                  <a:lnTo>
                    <a:pt x="96" y="80"/>
                  </a:lnTo>
                  <a:lnTo>
                    <a:pt x="96" y="76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92" y="68"/>
                  </a:lnTo>
                  <a:lnTo>
                    <a:pt x="88" y="68"/>
                  </a:lnTo>
                  <a:lnTo>
                    <a:pt x="92" y="64"/>
                  </a:lnTo>
                  <a:lnTo>
                    <a:pt x="88" y="64"/>
                  </a:lnTo>
                  <a:lnTo>
                    <a:pt x="88" y="60"/>
                  </a:lnTo>
                  <a:lnTo>
                    <a:pt x="84" y="56"/>
                  </a:lnTo>
                  <a:lnTo>
                    <a:pt x="84" y="52"/>
                  </a:lnTo>
                  <a:lnTo>
                    <a:pt x="84" y="48"/>
                  </a:lnTo>
                  <a:lnTo>
                    <a:pt x="80" y="44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0" y="32"/>
                  </a:lnTo>
                  <a:lnTo>
                    <a:pt x="76" y="32"/>
                  </a:lnTo>
                  <a:lnTo>
                    <a:pt x="72" y="32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0" y="24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4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60" y="56"/>
                  </a:lnTo>
                  <a:lnTo>
                    <a:pt x="60" y="60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72" y="68"/>
                  </a:lnTo>
                  <a:lnTo>
                    <a:pt x="72" y="72"/>
                  </a:lnTo>
                  <a:lnTo>
                    <a:pt x="72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84"/>
                  </a:lnTo>
                  <a:lnTo>
                    <a:pt x="84" y="88"/>
                  </a:lnTo>
                  <a:lnTo>
                    <a:pt x="84" y="92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8" y="100"/>
                  </a:lnTo>
                  <a:lnTo>
                    <a:pt x="92" y="104"/>
                  </a:lnTo>
                  <a:lnTo>
                    <a:pt x="92" y="108"/>
                  </a:lnTo>
                  <a:lnTo>
                    <a:pt x="96" y="112"/>
                  </a:lnTo>
                  <a:lnTo>
                    <a:pt x="96" y="116"/>
                  </a:lnTo>
                  <a:lnTo>
                    <a:pt x="96" y="120"/>
                  </a:lnTo>
                  <a:lnTo>
                    <a:pt x="99" y="120"/>
                  </a:lnTo>
                  <a:lnTo>
                    <a:pt x="99" y="124"/>
                  </a:lnTo>
                  <a:lnTo>
                    <a:pt x="99" y="120"/>
                  </a:lnTo>
                  <a:lnTo>
                    <a:pt x="99" y="116"/>
                  </a:lnTo>
                  <a:lnTo>
                    <a:pt x="99" y="120"/>
                  </a:lnTo>
                  <a:lnTo>
                    <a:pt x="103" y="120"/>
                  </a:lnTo>
                  <a:lnTo>
                    <a:pt x="103" y="124"/>
                  </a:lnTo>
                  <a:lnTo>
                    <a:pt x="103" y="128"/>
                  </a:lnTo>
                  <a:lnTo>
                    <a:pt x="103" y="132"/>
                  </a:lnTo>
                  <a:lnTo>
                    <a:pt x="103" y="136"/>
                  </a:lnTo>
                  <a:lnTo>
                    <a:pt x="107" y="136"/>
                  </a:lnTo>
                  <a:lnTo>
                    <a:pt x="107" y="140"/>
                  </a:lnTo>
                  <a:lnTo>
                    <a:pt x="111" y="144"/>
                  </a:lnTo>
                  <a:lnTo>
                    <a:pt x="111" y="148"/>
                  </a:lnTo>
                  <a:lnTo>
                    <a:pt x="111" y="152"/>
                  </a:lnTo>
                  <a:lnTo>
                    <a:pt x="115" y="152"/>
                  </a:lnTo>
                  <a:lnTo>
                    <a:pt x="115" y="156"/>
                  </a:lnTo>
                  <a:lnTo>
                    <a:pt x="115" y="160"/>
                  </a:lnTo>
                  <a:lnTo>
                    <a:pt x="115" y="164"/>
                  </a:lnTo>
                  <a:lnTo>
                    <a:pt x="115" y="168"/>
                  </a:lnTo>
                  <a:lnTo>
                    <a:pt x="119" y="168"/>
                  </a:lnTo>
                  <a:lnTo>
                    <a:pt x="123" y="168"/>
                  </a:lnTo>
                  <a:lnTo>
                    <a:pt x="119" y="168"/>
                  </a:lnTo>
                  <a:lnTo>
                    <a:pt x="119" y="164"/>
                  </a:lnTo>
                  <a:lnTo>
                    <a:pt x="123" y="164"/>
                  </a:lnTo>
                  <a:lnTo>
                    <a:pt x="123" y="168"/>
                  </a:lnTo>
                  <a:lnTo>
                    <a:pt x="127" y="168"/>
                  </a:lnTo>
                  <a:lnTo>
                    <a:pt x="127" y="172"/>
                  </a:lnTo>
                  <a:lnTo>
                    <a:pt x="127" y="176"/>
                  </a:lnTo>
                  <a:lnTo>
                    <a:pt x="131" y="176"/>
                  </a:lnTo>
                  <a:lnTo>
                    <a:pt x="131" y="180"/>
                  </a:lnTo>
                  <a:lnTo>
                    <a:pt x="135" y="180"/>
                  </a:lnTo>
                  <a:lnTo>
                    <a:pt x="135" y="184"/>
                  </a:lnTo>
                  <a:lnTo>
                    <a:pt x="135" y="188"/>
                  </a:lnTo>
                  <a:lnTo>
                    <a:pt x="131" y="188"/>
                  </a:lnTo>
                  <a:lnTo>
                    <a:pt x="131" y="192"/>
                  </a:lnTo>
                  <a:lnTo>
                    <a:pt x="127" y="192"/>
                  </a:lnTo>
                  <a:lnTo>
                    <a:pt x="123" y="192"/>
                  </a:lnTo>
                  <a:lnTo>
                    <a:pt x="123" y="188"/>
                  </a:lnTo>
                  <a:lnTo>
                    <a:pt x="123" y="184"/>
                  </a:lnTo>
                  <a:lnTo>
                    <a:pt x="119" y="180"/>
                  </a:lnTo>
                  <a:lnTo>
                    <a:pt x="115" y="176"/>
                  </a:lnTo>
                  <a:lnTo>
                    <a:pt x="111" y="172"/>
                  </a:lnTo>
                  <a:lnTo>
                    <a:pt x="111" y="168"/>
                  </a:lnTo>
                  <a:lnTo>
                    <a:pt x="107" y="168"/>
                  </a:lnTo>
                  <a:lnTo>
                    <a:pt x="103" y="164"/>
                  </a:lnTo>
                  <a:close/>
                  <a:moveTo>
                    <a:pt x="115" y="152"/>
                  </a:moveTo>
                  <a:lnTo>
                    <a:pt x="119" y="156"/>
                  </a:lnTo>
                  <a:lnTo>
                    <a:pt x="115" y="156"/>
                  </a:lnTo>
                  <a:lnTo>
                    <a:pt x="115" y="152"/>
                  </a:lnTo>
                  <a:close/>
                  <a:moveTo>
                    <a:pt x="92" y="148"/>
                  </a:moveTo>
                  <a:lnTo>
                    <a:pt x="96" y="148"/>
                  </a:lnTo>
                  <a:lnTo>
                    <a:pt x="92" y="148"/>
                  </a:lnTo>
                  <a:lnTo>
                    <a:pt x="92" y="152"/>
                  </a:lnTo>
                  <a:lnTo>
                    <a:pt x="92" y="156"/>
                  </a:lnTo>
                  <a:lnTo>
                    <a:pt x="96" y="160"/>
                  </a:lnTo>
                  <a:lnTo>
                    <a:pt x="92" y="160"/>
                  </a:lnTo>
                  <a:lnTo>
                    <a:pt x="92" y="156"/>
                  </a:lnTo>
                  <a:lnTo>
                    <a:pt x="92" y="152"/>
                  </a:lnTo>
                  <a:lnTo>
                    <a:pt x="92" y="148"/>
                  </a:lnTo>
                  <a:close/>
                  <a:moveTo>
                    <a:pt x="111" y="271"/>
                  </a:moveTo>
                  <a:lnTo>
                    <a:pt x="107" y="271"/>
                  </a:lnTo>
                  <a:lnTo>
                    <a:pt x="111" y="271"/>
                  </a:lnTo>
                  <a:lnTo>
                    <a:pt x="111" y="267"/>
                  </a:lnTo>
                  <a:lnTo>
                    <a:pt x="111" y="271"/>
                  </a:lnTo>
                  <a:close/>
                  <a:moveTo>
                    <a:pt x="80" y="76"/>
                  </a:moveTo>
                  <a:lnTo>
                    <a:pt x="76" y="76"/>
                  </a:lnTo>
                  <a:lnTo>
                    <a:pt x="76" y="72"/>
                  </a:lnTo>
                  <a:lnTo>
                    <a:pt x="72" y="68"/>
                  </a:lnTo>
                  <a:lnTo>
                    <a:pt x="72" y="64"/>
                  </a:lnTo>
                  <a:lnTo>
                    <a:pt x="76" y="64"/>
                  </a:lnTo>
                  <a:lnTo>
                    <a:pt x="76" y="68"/>
                  </a:lnTo>
                  <a:lnTo>
                    <a:pt x="76" y="72"/>
                  </a:lnTo>
                  <a:lnTo>
                    <a:pt x="80" y="72"/>
                  </a:lnTo>
                  <a:lnTo>
                    <a:pt x="80" y="76"/>
                  </a:lnTo>
                  <a:close/>
                  <a:moveTo>
                    <a:pt x="92" y="80"/>
                  </a:moveTo>
                  <a:lnTo>
                    <a:pt x="88" y="80"/>
                  </a:lnTo>
                  <a:lnTo>
                    <a:pt x="88" y="76"/>
                  </a:lnTo>
                  <a:lnTo>
                    <a:pt x="88" y="72"/>
                  </a:lnTo>
                  <a:lnTo>
                    <a:pt x="92" y="72"/>
                  </a:lnTo>
                  <a:lnTo>
                    <a:pt x="92" y="76"/>
                  </a:lnTo>
                  <a:lnTo>
                    <a:pt x="92" y="80"/>
                  </a:lnTo>
                  <a:close/>
                  <a:moveTo>
                    <a:pt x="0" y="76"/>
                  </a:moveTo>
                  <a:lnTo>
                    <a:pt x="0" y="72"/>
                  </a:lnTo>
                  <a:lnTo>
                    <a:pt x="0" y="76"/>
                  </a:lnTo>
                  <a:close/>
                  <a:moveTo>
                    <a:pt x="48" y="96"/>
                  </a:moveTo>
                  <a:lnTo>
                    <a:pt x="48" y="92"/>
                  </a:lnTo>
                  <a:lnTo>
                    <a:pt x="44" y="92"/>
                  </a:lnTo>
                  <a:lnTo>
                    <a:pt x="48" y="92"/>
                  </a:lnTo>
                  <a:lnTo>
                    <a:pt x="48" y="88"/>
                  </a:lnTo>
                  <a:lnTo>
                    <a:pt x="48" y="92"/>
                  </a:lnTo>
                  <a:lnTo>
                    <a:pt x="48" y="96"/>
                  </a:lnTo>
                  <a:close/>
                  <a:moveTo>
                    <a:pt x="107" y="136"/>
                  </a:moveTo>
                  <a:lnTo>
                    <a:pt x="107" y="132"/>
                  </a:lnTo>
                  <a:lnTo>
                    <a:pt x="107" y="136"/>
                  </a:lnTo>
                  <a:close/>
                  <a:moveTo>
                    <a:pt x="119" y="164"/>
                  </a:moveTo>
                  <a:lnTo>
                    <a:pt x="119" y="160"/>
                  </a:lnTo>
                  <a:lnTo>
                    <a:pt x="119" y="164"/>
                  </a:lnTo>
                  <a:close/>
                  <a:moveTo>
                    <a:pt x="99" y="164"/>
                  </a:moveTo>
                  <a:lnTo>
                    <a:pt x="96" y="164"/>
                  </a:lnTo>
                  <a:lnTo>
                    <a:pt x="96" y="160"/>
                  </a:lnTo>
                  <a:lnTo>
                    <a:pt x="99" y="160"/>
                  </a:lnTo>
                  <a:lnTo>
                    <a:pt x="99" y="164"/>
                  </a:lnTo>
                  <a:close/>
                  <a:moveTo>
                    <a:pt x="127" y="168"/>
                  </a:moveTo>
                  <a:lnTo>
                    <a:pt x="127" y="164"/>
                  </a:lnTo>
                  <a:lnTo>
                    <a:pt x="127" y="168"/>
                  </a:lnTo>
                  <a:close/>
                  <a:moveTo>
                    <a:pt x="175" y="220"/>
                  </a:moveTo>
                  <a:lnTo>
                    <a:pt x="175" y="216"/>
                  </a:lnTo>
                  <a:lnTo>
                    <a:pt x="179" y="216"/>
                  </a:lnTo>
                  <a:lnTo>
                    <a:pt x="179" y="220"/>
                  </a:lnTo>
                  <a:lnTo>
                    <a:pt x="175" y="220"/>
                  </a:lnTo>
                  <a:close/>
                  <a:moveTo>
                    <a:pt x="179" y="220"/>
                  </a:moveTo>
                  <a:lnTo>
                    <a:pt x="183" y="220"/>
                  </a:lnTo>
                  <a:lnTo>
                    <a:pt x="179" y="220"/>
                  </a:lnTo>
                  <a:close/>
                  <a:moveTo>
                    <a:pt x="474" y="243"/>
                  </a:moveTo>
                  <a:lnTo>
                    <a:pt x="474" y="239"/>
                  </a:lnTo>
                  <a:lnTo>
                    <a:pt x="474" y="236"/>
                  </a:lnTo>
                  <a:lnTo>
                    <a:pt x="478" y="236"/>
                  </a:lnTo>
                  <a:lnTo>
                    <a:pt x="478" y="239"/>
                  </a:lnTo>
                  <a:lnTo>
                    <a:pt x="474" y="239"/>
                  </a:lnTo>
                  <a:lnTo>
                    <a:pt x="474" y="243"/>
                  </a:lnTo>
                  <a:close/>
                  <a:moveTo>
                    <a:pt x="403" y="271"/>
                  </a:moveTo>
                  <a:lnTo>
                    <a:pt x="399" y="271"/>
                  </a:lnTo>
                  <a:lnTo>
                    <a:pt x="403" y="271"/>
                  </a:lnTo>
                  <a:lnTo>
                    <a:pt x="407" y="271"/>
                  </a:lnTo>
                  <a:lnTo>
                    <a:pt x="403" y="27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2" name="Freeform 69"/>
            <p:cNvSpPr>
              <a:spLocks noEditPoints="1"/>
            </p:cNvSpPr>
            <p:nvPr>
              <p:custDataLst>
                <p:tags r:id="rId265"/>
              </p:custDataLst>
            </p:nvPr>
          </p:nvSpPr>
          <p:spPr bwMode="gray">
            <a:xfrm>
              <a:off x="2826259" y="4260782"/>
              <a:ext cx="17797" cy="5932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</a:cxnLst>
              <a:rect l="0" t="0" r="r" b="b"/>
              <a:pathLst>
                <a:path w="12" h="4"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3" name="Freeform 70"/>
            <p:cNvSpPr>
              <a:spLocks/>
            </p:cNvSpPr>
            <p:nvPr>
              <p:custDataLst>
                <p:tags r:id="rId266"/>
              </p:custDataLst>
            </p:nvPr>
          </p:nvSpPr>
          <p:spPr bwMode="gray">
            <a:xfrm>
              <a:off x="2405069" y="4183663"/>
              <a:ext cx="106781" cy="118645"/>
            </a:xfrm>
            <a:custGeom>
              <a:avLst/>
              <a:gdLst/>
              <a:ahLst/>
              <a:cxnLst>
                <a:cxn ang="0">
                  <a:pos x="68" y="4"/>
                </a:cxn>
                <a:cxn ang="0">
                  <a:pos x="68" y="8"/>
                </a:cxn>
                <a:cxn ang="0">
                  <a:pos x="68" y="12"/>
                </a:cxn>
                <a:cxn ang="0">
                  <a:pos x="68" y="20"/>
                </a:cxn>
                <a:cxn ang="0">
                  <a:pos x="64" y="24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64" y="44"/>
                </a:cxn>
                <a:cxn ang="0">
                  <a:pos x="64" y="48"/>
                </a:cxn>
                <a:cxn ang="0">
                  <a:pos x="64" y="48"/>
                </a:cxn>
                <a:cxn ang="0">
                  <a:pos x="64" y="48"/>
                </a:cxn>
                <a:cxn ang="0">
                  <a:pos x="64" y="44"/>
                </a:cxn>
                <a:cxn ang="0">
                  <a:pos x="60" y="48"/>
                </a:cxn>
                <a:cxn ang="0">
                  <a:pos x="60" y="56"/>
                </a:cxn>
                <a:cxn ang="0">
                  <a:pos x="60" y="60"/>
                </a:cxn>
                <a:cxn ang="0">
                  <a:pos x="60" y="60"/>
                </a:cxn>
                <a:cxn ang="0">
                  <a:pos x="64" y="64"/>
                </a:cxn>
                <a:cxn ang="0">
                  <a:pos x="60" y="68"/>
                </a:cxn>
                <a:cxn ang="0">
                  <a:pos x="60" y="72"/>
                </a:cxn>
                <a:cxn ang="0">
                  <a:pos x="60" y="76"/>
                </a:cxn>
                <a:cxn ang="0">
                  <a:pos x="64" y="80"/>
                </a:cxn>
                <a:cxn ang="0">
                  <a:pos x="60" y="80"/>
                </a:cxn>
                <a:cxn ang="0">
                  <a:pos x="56" y="80"/>
                </a:cxn>
                <a:cxn ang="0">
                  <a:pos x="52" y="80"/>
                </a:cxn>
                <a:cxn ang="0">
                  <a:pos x="40" y="76"/>
                </a:cxn>
                <a:cxn ang="0">
                  <a:pos x="40" y="76"/>
                </a:cxn>
                <a:cxn ang="0">
                  <a:pos x="32" y="72"/>
                </a:cxn>
                <a:cxn ang="0">
                  <a:pos x="28" y="72"/>
                </a:cxn>
                <a:cxn ang="0">
                  <a:pos x="24" y="68"/>
                </a:cxn>
                <a:cxn ang="0">
                  <a:pos x="20" y="60"/>
                </a:cxn>
                <a:cxn ang="0">
                  <a:pos x="16" y="56"/>
                </a:cxn>
                <a:cxn ang="0">
                  <a:pos x="16" y="52"/>
                </a:cxn>
                <a:cxn ang="0">
                  <a:pos x="12" y="48"/>
                </a:cxn>
                <a:cxn ang="0">
                  <a:pos x="4" y="44"/>
                </a:cxn>
                <a:cxn ang="0">
                  <a:pos x="0" y="40"/>
                </a:cxn>
                <a:cxn ang="0">
                  <a:pos x="4" y="40"/>
                </a:cxn>
                <a:cxn ang="0">
                  <a:pos x="8" y="40"/>
                </a:cxn>
                <a:cxn ang="0">
                  <a:pos x="12" y="40"/>
                </a:cxn>
                <a:cxn ang="0">
                  <a:pos x="12" y="36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24"/>
                </a:cxn>
                <a:cxn ang="0">
                  <a:pos x="24" y="20"/>
                </a:cxn>
                <a:cxn ang="0">
                  <a:pos x="28" y="20"/>
                </a:cxn>
                <a:cxn ang="0">
                  <a:pos x="32" y="24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0" y="8"/>
                </a:cxn>
                <a:cxn ang="0">
                  <a:pos x="48" y="8"/>
                </a:cxn>
                <a:cxn ang="0">
                  <a:pos x="56" y="8"/>
                </a:cxn>
                <a:cxn ang="0">
                  <a:pos x="64" y="4"/>
                </a:cxn>
                <a:cxn ang="0">
                  <a:pos x="68" y="0"/>
                </a:cxn>
              </a:cxnLst>
              <a:rect l="0" t="0" r="r" b="b"/>
              <a:pathLst>
                <a:path w="72" h="80">
                  <a:moveTo>
                    <a:pt x="72" y="0"/>
                  </a:move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4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2" y="80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4" name="Freeform 71"/>
            <p:cNvSpPr>
              <a:spLocks noEditPoints="1"/>
            </p:cNvSpPr>
            <p:nvPr>
              <p:custDataLst>
                <p:tags r:id="rId267"/>
              </p:custDataLst>
            </p:nvPr>
          </p:nvSpPr>
          <p:spPr bwMode="gray">
            <a:xfrm>
              <a:off x="2511850" y="4331969"/>
              <a:ext cx="130510" cy="65255"/>
            </a:xfrm>
            <a:custGeom>
              <a:avLst/>
              <a:gdLst/>
              <a:ahLst/>
              <a:cxnLst>
                <a:cxn ang="0">
                  <a:pos x="40" y="24"/>
                </a:cxn>
                <a:cxn ang="0">
                  <a:pos x="40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36" y="44"/>
                </a:cxn>
                <a:cxn ang="0">
                  <a:pos x="32" y="44"/>
                </a:cxn>
                <a:cxn ang="0">
                  <a:pos x="32" y="36"/>
                </a:cxn>
                <a:cxn ang="0">
                  <a:pos x="28" y="32"/>
                </a:cxn>
                <a:cxn ang="0">
                  <a:pos x="24" y="36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12" y="28"/>
                </a:cxn>
                <a:cxn ang="0">
                  <a:pos x="8" y="28"/>
                </a:cxn>
                <a:cxn ang="0">
                  <a:pos x="4" y="24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0" y="16"/>
                </a:cxn>
                <a:cxn ang="0">
                  <a:pos x="0" y="12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0" y="16"/>
                </a:cxn>
                <a:cxn ang="0">
                  <a:pos x="28" y="16"/>
                </a:cxn>
                <a:cxn ang="0">
                  <a:pos x="32" y="16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52" y="4"/>
                </a:cxn>
                <a:cxn ang="0">
                  <a:pos x="60" y="4"/>
                </a:cxn>
                <a:cxn ang="0">
                  <a:pos x="60" y="4"/>
                </a:cxn>
                <a:cxn ang="0">
                  <a:pos x="68" y="4"/>
                </a:cxn>
                <a:cxn ang="0">
                  <a:pos x="76" y="12"/>
                </a:cxn>
                <a:cxn ang="0">
                  <a:pos x="84" y="16"/>
                </a:cxn>
                <a:cxn ang="0">
                  <a:pos x="84" y="20"/>
                </a:cxn>
                <a:cxn ang="0">
                  <a:pos x="84" y="24"/>
                </a:cxn>
                <a:cxn ang="0">
                  <a:pos x="88" y="28"/>
                </a:cxn>
                <a:cxn ang="0">
                  <a:pos x="88" y="36"/>
                </a:cxn>
                <a:cxn ang="0">
                  <a:pos x="80" y="36"/>
                </a:cxn>
                <a:cxn ang="0">
                  <a:pos x="80" y="40"/>
                </a:cxn>
                <a:cxn ang="0">
                  <a:pos x="72" y="40"/>
                </a:cxn>
                <a:cxn ang="0">
                  <a:pos x="72" y="32"/>
                </a:cxn>
                <a:cxn ang="0">
                  <a:pos x="72" y="32"/>
                </a:cxn>
                <a:cxn ang="0">
                  <a:pos x="72" y="28"/>
                </a:cxn>
                <a:cxn ang="0">
                  <a:pos x="76" y="28"/>
                </a:cxn>
                <a:cxn ang="0">
                  <a:pos x="80" y="28"/>
                </a:cxn>
                <a:cxn ang="0">
                  <a:pos x="76" y="24"/>
                </a:cxn>
                <a:cxn ang="0">
                  <a:pos x="68" y="24"/>
                </a:cxn>
                <a:cxn ang="0">
                  <a:pos x="64" y="16"/>
                </a:cxn>
                <a:cxn ang="0">
                  <a:pos x="60" y="12"/>
                </a:cxn>
                <a:cxn ang="0">
                  <a:pos x="60" y="12"/>
                </a:cxn>
                <a:cxn ang="0">
                  <a:pos x="52" y="12"/>
                </a:cxn>
                <a:cxn ang="0">
                  <a:pos x="48" y="16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64" y="24"/>
                </a:cxn>
                <a:cxn ang="0">
                  <a:pos x="20" y="36"/>
                </a:cxn>
                <a:cxn ang="0">
                  <a:pos x="20" y="44"/>
                </a:cxn>
                <a:cxn ang="0">
                  <a:pos x="20" y="44"/>
                </a:cxn>
                <a:cxn ang="0">
                  <a:pos x="16" y="40"/>
                </a:cxn>
              </a:cxnLst>
              <a:rect l="0" t="0" r="r" b="b"/>
              <a:pathLst>
                <a:path w="88" h="44">
                  <a:moveTo>
                    <a:pt x="44" y="24"/>
                  </a:move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6" y="24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4"/>
                  </a:lnTo>
                  <a:close/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close/>
                  <a:moveTo>
                    <a:pt x="64" y="24"/>
                  </a:move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4" y="24"/>
                  </a:lnTo>
                  <a:close/>
                  <a:moveTo>
                    <a:pt x="20" y="36"/>
                  </a:move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36"/>
                  </a:lnTo>
                  <a:lnTo>
                    <a:pt x="20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5" name="Freeform 72"/>
            <p:cNvSpPr>
              <a:spLocks noEditPoints="1"/>
            </p:cNvSpPr>
            <p:nvPr>
              <p:custDataLst>
                <p:tags r:id="rId268"/>
              </p:custDataLst>
            </p:nvPr>
          </p:nvSpPr>
          <p:spPr bwMode="gray">
            <a:xfrm>
              <a:off x="2867785" y="4088747"/>
              <a:ext cx="41526" cy="17797"/>
            </a:xfrm>
            <a:custGeom>
              <a:avLst/>
              <a:gdLst/>
              <a:ahLst/>
              <a:cxnLst>
                <a:cxn ang="0">
                  <a:pos x="20" y="8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4" y="8"/>
                </a:cxn>
              </a:cxnLst>
              <a:rect l="0" t="0" r="r" b="b"/>
              <a:pathLst>
                <a:path w="28" h="12">
                  <a:moveTo>
                    <a:pt x="20" y="8"/>
                  </a:move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8"/>
                  </a:lnTo>
                  <a:lnTo>
                    <a:pt x="20" y="8"/>
                  </a:lnTo>
                  <a:close/>
                  <a:moveTo>
                    <a:pt x="24" y="8"/>
                  </a:move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4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6" name="Freeform 73"/>
            <p:cNvSpPr>
              <a:spLocks noEditPoints="1"/>
            </p:cNvSpPr>
            <p:nvPr>
              <p:custDataLst>
                <p:tags r:id="rId269"/>
              </p:custDataLst>
            </p:nvPr>
          </p:nvSpPr>
          <p:spPr bwMode="gray">
            <a:xfrm>
              <a:off x="3109524" y="3243400"/>
              <a:ext cx="5932" cy="1186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</a:cxnLst>
              <a:rect l="0" t="0" r="r" b="b"/>
              <a:pathLst>
                <a:path w="4" h="8">
                  <a:moveTo>
                    <a:pt x="0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7" name="Freeform 74"/>
            <p:cNvSpPr>
              <a:spLocks noEditPoints="1"/>
            </p:cNvSpPr>
            <p:nvPr>
              <p:custDataLst>
                <p:tags r:id="rId270"/>
              </p:custDataLst>
            </p:nvPr>
          </p:nvSpPr>
          <p:spPr bwMode="gray">
            <a:xfrm>
              <a:off x="2600834" y="3852939"/>
              <a:ext cx="142374" cy="172035"/>
            </a:xfrm>
            <a:custGeom>
              <a:avLst/>
              <a:gdLst/>
              <a:ahLst/>
              <a:cxnLst>
                <a:cxn ang="0">
                  <a:pos x="56" y="52"/>
                </a:cxn>
                <a:cxn ang="0">
                  <a:pos x="52" y="48"/>
                </a:cxn>
                <a:cxn ang="0">
                  <a:pos x="68" y="56"/>
                </a:cxn>
                <a:cxn ang="0">
                  <a:pos x="68" y="56"/>
                </a:cxn>
                <a:cxn ang="0">
                  <a:pos x="88" y="88"/>
                </a:cxn>
                <a:cxn ang="0">
                  <a:pos x="96" y="88"/>
                </a:cxn>
                <a:cxn ang="0">
                  <a:pos x="24" y="0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6"/>
                </a:cxn>
                <a:cxn ang="0">
                  <a:pos x="28" y="12"/>
                </a:cxn>
                <a:cxn ang="0">
                  <a:pos x="24" y="4"/>
                </a:cxn>
                <a:cxn ang="0">
                  <a:pos x="16" y="0"/>
                </a:cxn>
                <a:cxn ang="0">
                  <a:pos x="4" y="4"/>
                </a:cxn>
                <a:cxn ang="0">
                  <a:pos x="16" y="4"/>
                </a:cxn>
                <a:cxn ang="0">
                  <a:pos x="4" y="8"/>
                </a:cxn>
                <a:cxn ang="0">
                  <a:pos x="40" y="28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4" y="36"/>
                </a:cxn>
                <a:cxn ang="0">
                  <a:pos x="40" y="28"/>
                </a:cxn>
                <a:cxn ang="0">
                  <a:pos x="12" y="32"/>
                </a:cxn>
                <a:cxn ang="0">
                  <a:pos x="16" y="40"/>
                </a:cxn>
                <a:cxn ang="0">
                  <a:pos x="20" y="48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24" y="36"/>
                </a:cxn>
                <a:cxn ang="0">
                  <a:pos x="20" y="52"/>
                </a:cxn>
                <a:cxn ang="0">
                  <a:pos x="24" y="52"/>
                </a:cxn>
                <a:cxn ang="0">
                  <a:pos x="20" y="60"/>
                </a:cxn>
                <a:cxn ang="0">
                  <a:pos x="16" y="56"/>
                </a:cxn>
                <a:cxn ang="0">
                  <a:pos x="48" y="64"/>
                </a:cxn>
                <a:cxn ang="0">
                  <a:pos x="48" y="60"/>
                </a:cxn>
                <a:cxn ang="0">
                  <a:pos x="60" y="72"/>
                </a:cxn>
                <a:cxn ang="0">
                  <a:pos x="64" y="72"/>
                </a:cxn>
                <a:cxn ang="0">
                  <a:pos x="56" y="64"/>
                </a:cxn>
                <a:cxn ang="0">
                  <a:pos x="72" y="76"/>
                </a:cxn>
                <a:cxn ang="0">
                  <a:pos x="72" y="92"/>
                </a:cxn>
                <a:cxn ang="0">
                  <a:pos x="76" y="84"/>
                </a:cxn>
                <a:cxn ang="0">
                  <a:pos x="76" y="80"/>
                </a:cxn>
                <a:cxn ang="0">
                  <a:pos x="76" y="88"/>
                </a:cxn>
                <a:cxn ang="0">
                  <a:pos x="80" y="116"/>
                </a:cxn>
                <a:cxn ang="0">
                  <a:pos x="84" y="108"/>
                </a:cxn>
                <a:cxn ang="0">
                  <a:pos x="88" y="108"/>
                </a:cxn>
                <a:cxn ang="0">
                  <a:pos x="88" y="112"/>
                </a:cxn>
                <a:cxn ang="0">
                  <a:pos x="84" y="112"/>
                </a:cxn>
              </a:cxnLst>
              <a:rect l="0" t="0" r="r" b="b"/>
              <a:pathLst>
                <a:path w="96" h="116">
                  <a:moveTo>
                    <a:pt x="56" y="52"/>
                  </a:moveTo>
                  <a:lnTo>
                    <a:pt x="52" y="52"/>
                  </a:lnTo>
                  <a:lnTo>
                    <a:pt x="56" y="52"/>
                  </a:lnTo>
                  <a:lnTo>
                    <a:pt x="52" y="48"/>
                  </a:lnTo>
                  <a:lnTo>
                    <a:pt x="52" y="44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56" y="52"/>
                  </a:lnTo>
                  <a:close/>
                  <a:moveTo>
                    <a:pt x="68" y="56"/>
                  </a:moveTo>
                  <a:lnTo>
                    <a:pt x="68" y="52"/>
                  </a:lnTo>
                  <a:lnTo>
                    <a:pt x="72" y="56"/>
                  </a:lnTo>
                  <a:lnTo>
                    <a:pt x="68" y="56"/>
                  </a:lnTo>
                  <a:close/>
                  <a:moveTo>
                    <a:pt x="96" y="88"/>
                  </a:moveTo>
                  <a:lnTo>
                    <a:pt x="92" y="88"/>
                  </a:lnTo>
                  <a:lnTo>
                    <a:pt x="88" y="88"/>
                  </a:lnTo>
                  <a:lnTo>
                    <a:pt x="88" y="84"/>
                  </a:lnTo>
                  <a:lnTo>
                    <a:pt x="92" y="84"/>
                  </a:lnTo>
                  <a:lnTo>
                    <a:pt x="96" y="88"/>
                  </a:lnTo>
                  <a:close/>
                  <a:moveTo>
                    <a:pt x="16" y="0"/>
                  </a:moveTo>
                  <a:lnTo>
                    <a:pt x="20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16" y="0"/>
                  </a:lnTo>
                  <a:close/>
                  <a:moveTo>
                    <a:pt x="4" y="8"/>
                  </a:moveTo>
                  <a:lnTo>
                    <a:pt x="0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2" y="4"/>
                  </a:lnTo>
                  <a:lnTo>
                    <a:pt x="8" y="8"/>
                  </a:lnTo>
                  <a:lnTo>
                    <a:pt x="4" y="8"/>
                  </a:lnTo>
                  <a:close/>
                  <a:moveTo>
                    <a:pt x="36" y="24"/>
                  </a:moveTo>
                  <a:lnTo>
                    <a:pt x="36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36" y="28"/>
                  </a:lnTo>
                  <a:lnTo>
                    <a:pt x="36" y="24"/>
                  </a:lnTo>
                  <a:close/>
                  <a:moveTo>
                    <a:pt x="12" y="32"/>
                  </a:moveTo>
                  <a:lnTo>
                    <a:pt x="16" y="32"/>
                  </a:lnTo>
                  <a:lnTo>
                    <a:pt x="16" y="36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0" y="44"/>
                  </a:lnTo>
                  <a:lnTo>
                    <a:pt x="20" y="48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2"/>
                  </a:lnTo>
                  <a:close/>
                  <a:moveTo>
                    <a:pt x="24" y="36"/>
                  </a:moveTo>
                  <a:lnTo>
                    <a:pt x="28" y="36"/>
                  </a:lnTo>
                  <a:lnTo>
                    <a:pt x="24" y="36"/>
                  </a:lnTo>
                  <a:close/>
                  <a:moveTo>
                    <a:pt x="20" y="52"/>
                  </a:moveTo>
                  <a:lnTo>
                    <a:pt x="20" y="56"/>
                  </a:lnTo>
                  <a:lnTo>
                    <a:pt x="20" y="52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4" y="60"/>
                  </a:lnTo>
                  <a:lnTo>
                    <a:pt x="20" y="60"/>
                  </a:lnTo>
                  <a:lnTo>
                    <a:pt x="24" y="60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20" y="52"/>
                  </a:lnTo>
                  <a:close/>
                  <a:moveTo>
                    <a:pt x="48" y="60"/>
                  </a:moveTo>
                  <a:lnTo>
                    <a:pt x="48" y="64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60"/>
                  </a:lnTo>
                  <a:close/>
                  <a:moveTo>
                    <a:pt x="56" y="64"/>
                  </a:move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56" y="64"/>
                  </a:lnTo>
                  <a:close/>
                  <a:moveTo>
                    <a:pt x="76" y="80"/>
                  </a:moveTo>
                  <a:lnTo>
                    <a:pt x="72" y="80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76" y="80"/>
                  </a:lnTo>
                  <a:close/>
                  <a:moveTo>
                    <a:pt x="72" y="92"/>
                  </a:moveTo>
                  <a:lnTo>
                    <a:pt x="72" y="88"/>
                  </a:lnTo>
                  <a:lnTo>
                    <a:pt x="76" y="88"/>
                  </a:lnTo>
                  <a:lnTo>
                    <a:pt x="76" y="84"/>
                  </a:lnTo>
                  <a:lnTo>
                    <a:pt x="80" y="84"/>
                  </a:lnTo>
                  <a:lnTo>
                    <a:pt x="76" y="84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84"/>
                  </a:lnTo>
                  <a:lnTo>
                    <a:pt x="76" y="88"/>
                  </a:lnTo>
                  <a:lnTo>
                    <a:pt x="72" y="88"/>
                  </a:lnTo>
                  <a:lnTo>
                    <a:pt x="72" y="92"/>
                  </a:lnTo>
                  <a:close/>
                  <a:moveTo>
                    <a:pt x="80" y="116"/>
                  </a:moveTo>
                  <a:lnTo>
                    <a:pt x="80" y="112"/>
                  </a:lnTo>
                  <a:lnTo>
                    <a:pt x="84" y="112"/>
                  </a:lnTo>
                  <a:lnTo>
                    <a:pt x="84" y="108"/>
                  </a:lnTo>
                  <a:lnTo>
                    <a:pt x="88" y="108"/>
                  </a:lnTo>
                  <a:lnTo>
                    <a:pt x="88" y="112"/>
                  </a:lnTo>
                  <a:lnTo>
                    <a:pt x="88" y="108"/>
                  </a:lnTo>
                  <a:lnTo>
                    <a:pt x="92" y="108"/>
                  </a:lnTo>
                  <a:lnTo>
                    <a:pt x="92" y="112"/>
                  </a:lnTo>
                  <a:lnTo>
                    <a:pt x="88" y="112"/>
                  </a:lnTo>
                  <a:lnTo>
                    <a:pt x="88" y="116"/>
                  </a:lnTo>
                  <a:lnTo>
                    <a:pt x="84" y="116"/>
                  </a:lnTo>
                  <a:lnTo>
                    <a:pt x="84" y="112"/>
                  </a:lnTo>
                  <a:lnTo>
                    <a:pt x="80" y="1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8" name="Freeform 75"/>
            <p:cNvSpPr>
              <a:spLocks noEditPoints="1"/>
            </p:cNvSpPr>
            <p:nvPr>
              <p:custDataLst>
                <p:tags r:id="rId271"/>
              </p:custDataLst>
            </p:nvPr>
          </p:nvSpPr>
          <p:spPr bwMode="gray">
            <a:xfrm>
              <a:off x="2984947" y="4284511"/>
              <a:ext cx="29661" cy="35594"/>
            </a:xfrm>
            <a:custGeom>
              <a:avLst/>
              <a:gdLst/>
              <a:ahLst/>
              <a:cxnLst>
                <a:cxn ang="0">
                  <a:pos x="16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16" y="4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16" y="20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2" y="12"/>
                </a:cxn>
              </a:cxnLst>
              <a:rect l="0" t="0" r="r" b="b"/>
              <a:pathLst>
                <a:path w="20" h="24">
                  <a:moveTo>
                    <a:pt x="16" y="4"/>
                  </a:move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6" y="4"/>
                  </a:lnTo>
                  <a:lnTo>
                    <a:pt x="16" y="4"/>
                  </a:lnTo>
                  <a:close/>
                  <a:moveTo>
                    <a:pt x="12" y="12"/>
                  </a:move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79" name="Freeform 76"/>
            <p:cNvSpPr>
              <a:spLocks noEditPoints="1"/>
            </p:cNvSpPr>
            <p:nvPr>
              <p:custDataLst>
                <p:tags r:id="rId272"/>
              </p:custDataLst>
            </p:nvPr>
          </p:nvSpPr>
          <p:spPr bwMode="gray">
            <a:xfrm>
              <a:off x="2761005" y="3995313"/>
              <a:ext cx="17797" cy="11865"/>
            </a:xfrm>
            <a:custGeom>
              <a:avLst/>
              <a:gdLst/>
              <a:ahLst/>
              <a:cxnLst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</a:cxnLst>
              <a:rect l="0" t="0" r="r" b="b"/>
              <a:pathLst>
                <a:path w="12" h="8">
                  <a:moveTo>
                    <a:pt x="12" y="8"/>
                  </a:move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0" name="Freeform 77"/>
            <p:cNvSpPr>
              <a:spLocks/>
            </p:cNvSpPr>
            <p:nvPr>
              <p:custDataLst>
                <p:tags r:id="rId273"/>
              </p:custDataLst>
            </p:nvPr>
          </p:nvSpPr>
          <p:spPr bwMode="gray">
            <a:xfrm>
              <a:off x="4807633" y="3385775"/>
              <a:ext cx="41526" cy="87500"/>
            </a:xfrm>
            <a:custGeom>
              <a:avLst/>
              <a:gdLst/>
              <a:ahLst/>
              <a:cxnLst>
                <a:cxn ang="0">
                  <a:pos x="4" y="15"/>
                </a:cxn>
                <a:cxn ang="0">
                  <a:pos x="4" y="15"/>
                </a:cxn>
                <a:cxn ang="0">
                  <a:pos x="4" y="15"/>
                </a:cxn>
                <a:cxn ang="0">
                  <a:pos x="4" y="11"/>
                </a:cxn>
                <a:cxn ang="0">
                  <a:pos x="0" y="7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3"/>
                </a:cxn>
                <a:cxn ang="0">
                  <a:pos x="20" y="7"/>
                </a:cxn>
                <a:cxn ang="0">
                  <a:pos x="20" y="11"/>
                </a:cxn>
                <a:cxn ang="0">
                  <a:pos x="20" y="11"/>
                </a:cxn>
                <a:cxn ang="0">
                  <a:pos x="20" y="15"/>
                </a:cxn>
                <a:cxn ang="0">
                  <a:pos x="20" y="19"/>
                </a:cxn>
                <a:cxn ang="0">
                  <a:pos x="20" y="23"/>
                </a:cxn>
                <a:cxn ang="0">
                  <a:pos x="20" y="23"/>
                </a:cxn>
                <a:cxn ang="0">
                  <a:pos x="20" y="27"/>
                </a:cxn>
                <a:cxn ang="0">
                  <a:pos x="20" y="31"/>
                </a:cxn>
                <a:cxn ang="0">
                  <a:pos x="24" y="35"/>
                </a:cxn>
                <a:cxn ang="0">
                  <a:pos x="28" y="35"/>
                </a:cxn>
                <a:cxn ang="0">
                  <a:pos x="28" y="35"/>
                </a:cxn>
                <a:cxn ang="0">
                  <a:pos x="28" y="39"/>
                </a:cxn>
                <a:cxn ang="0">
                  <a:pos x="24" y="43"/>
                </a:cxn>
                <a:cxn ang="0">
                  <a:pos x="24" y="43"/>
                </a:cxn>
                <a:cxn ang="0">
                  <a:pos x="24" y="47"/>
                </a:cxn>
                <a:cxn ang="0">
                  <a:pos x="20" y="51"/>
                </a:cxn>
                <a:cxn ang="0">
                  <a:pos x="20" y="51"/>
                </a:cxn>
                <a:cxn ang="0">
                  <a:pos x="20" y="51"/>
                </a:cxn>
                <a:cxn ang="0">
                  <a:pos x="16" y="55"/>
                </a:cxn>
                <a:cxn ang="0">
                  <a:pos x="16" y="55"/>
                </a:cxn>
                <a:cxn ang="0">
                  <a:pos x="16" y="55"/>
                </a:cxn>
                <a:cxn ang="0">
                  <a:pos x="16" y="59"/>
                </a:cxn>
                <a:cxn ang="0">
                  <a:pos x="16" y="59"/>
                </a:cxn>
                <a:cxn ang="0">
                  <a:pos x="12" y="59"/>
                </a:cxn>
                <a:cxn ang="0">
                  <a:pos x="12" y="59"/>
                </a:cxn>
                <a:cxn ang="0">
                  <a:pos x="8" y="51"/>
                </a:cxn>
                <a:cxn ang="0">
                  <a:pos x="8" y="51"/>
                </a:cxn>
                <a:cxn ang="0">
                  <a:pos x="4" y="47"/>
                </a:cxn>
                <a:cxn ang="0">
                  <a:pos x="0" y="43"/>
                </a:cxn>
                <a:cxn ang="0">
                  <a:pos x="4" y="43"/>
                </a:cxn>
                <a:cxn ang="0">
                  <a:pos x="4" y="47"/>
                </a:cxn>
                <a:cxn ang="0">
                  <a:pos x="4" y="43"/>
                </a:cxn>
                <a:cxn ang="0">
                  <a:pos x="4" y="39"/>
                </a:cxn>
                <a:cxn ang="0">
                  <a:pos x="0" y="39"/>
                </a:cxn>
                <a:cxn ang="0">
                  <a:pos x="4" y="35"/>
                </a:cxn>
                <a:cxn ang="0">
                  <a:pos x="4" y="35"/>
                </a:cxn>
                <a:cxn ang="0">
                  <a:pos x="4" y="31"/>
                </a:cxn>
                <a:cxn ang="0">
                  <a:pos x="4" y="27"/>
                </a:cxn>
                <a:cxn ang="0">
                  <a:pos x="4" y="27"/>
                </a:cxn>
                <a:cxn ang="0">
                  <a:pos x="4" y="19"/>
                </a:cxn>
                <a:cxn ang="0">
                  <a:pos x="4" y="19"/>
                </a:cxn>
              </a:cxnLst>
              <a:rect l="0" t="0" r="r" b="b"/>
              <a:pathLst>
                <a:path w="28" h="59">
                  <a:moveTo>
                    <a:pt x="4" y="19"/>
                  </a:moveTo>
                  <a:lnTo>
                    <a:pt x="4" y="19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4" y="11"/>
                  </a:lnTo>
                  <a:lnTo>
                    <a:pt x="4" y="7"/>
                  </a:lnTo>
                  <a:lnTo>
                    <a:pt x="4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4" y="3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3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16" y="51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9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4" y="51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4" y="43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7"/>
                  </a:lnTo>
                  <a:lnTo>
                    <a:pt x="4" y="43"/>
                  </a:lnTo>
                  <a:lnTo>
                    <a:pt x="4" y="43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3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1" name="Freeform 78"/>
            <p:cNvSpPr>
              <a:spLocks/>
            </p:cNvSpPr>
            <p:nvPr>
              <p:custDataLst>
                <p:tags r:id="rId274"/>
              </p:custDataLst>
            </p:nvPr>
          </p:nvSpPr>
          <p:spPr bwMode="gray">
            <a:xfrm>
              <a:off x="4405722" y="3385775"/>
              <a:ext cx="11865" cy="444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4" y="3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8" h="3">
                  <a:moveTo>
                    <a:pt x="0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2" name="Freeform 79"/>
            <p:cNvSpPr>
              <a:spLocks/>
            </p:cNvSpPr>
            <p:nvPr>
              <p:custDataLst>
                <p:tags r:id="rId275"/>
              </p:custDataLst>
            </p:nvPr>
          </p:nvSpPr>
          <p:spPr bwMode="gray">
            <a:xfrm>
              <a:off x="4588139" y="3178146"/>
              <a:ext cx="172035" cy="83052"/>
            </a:xfrm>
            <a:custGeom>
              <a:avLst/>
              <a:gdLst/>
              <a:ahLst/>
              <a:cxnLst>
                <a:cxn ang="0">
                  <a:pos x="12" y="44"/>
                </a:cxn>
                <a:cxn ang="0">
                  <a:pos x="8" y="48"/>
                </a:cxn>
                <a:cxn ang="0">
                  <a:pos x="4" y="44"/>
                </a:cxn>
                <a:cxn ang="0">
                  <a:pos x="4" y="44"/>
                </a:cxn>
                <a:cxn ang="0">
                  <a:pos x="4" y="36"/>
                </a:cxn>
                <a:cxn ang="0">
                  <a:pos x="0" y="32"/>
                </a:cxn>
                <a:cxn ang="0">
                  <a:pos x="4" y="32"/>
                </a:cxn>
                <a:cxn ang="0">
                  <a:pos x="12" y="40"/>
                </a:cxn>
                <a:cxn ang="0">
                  <a:pos x="16" y="36"/>
                </a:cxn>
                <a:cxn ang="0">
                  <a:pos x="20" y="32"/>
                </a:cxn>
                <a:cxn ang="0">
                  <a:pos x="28" y="32"/>
                </a:cxn>
                <a:cxn ang="0">
                  <a:pos x="40" y="32"/>
                </a:cxn>
                <a:cxn ang="0">
                  <a:pos x="40" y="32"/>
                </a:cxn>
                <a:cxn ang="0">
                  <a:pos x="48" y="32"/>
                </a:cxn>
                <a:cxn ang="0">
                  <a:pos x="52" y="36"/>
                </a:cxn>
                <a:cxn ang="0">
                  <a:pos x="52" y="28"/>
                </a:cxn>
                <a:cxn ang="0">
                  <a:pos x="52" y="24"/>
                </a:cxn>
                <a:cxn ang="0">
                  <a:pos x="48" y="20"/>
                </a:cxn>
                <a:cxn ang="0">
                  <a:pos x="56" y="16"/>
                </a:cxn>
                <a:cxn ang="0">
                  <a:pos x="60" y="12"/>
                </a:cxn>
                <a:cxn ang="0">
                  <a:pos x="64" y="12"/>
                </a:cxn>
                <a:cxn ang="0">
                  <a:pos x="68" y="8"/>
                </a:cxn>
                <a:cxn ang="0">
                  <a:pos x="76" y="8"/>
                </a:cxn>
                <a:cxn ang="0">
                  <a:pos x="80" y="8"/>
                </a:cxn>
                <a:cxn ang="0">
                  <a:pos x="84" y="4"/>
                </a:cxn>
                <a:cxn ang="0">
                  <a:pos x="88" y="0"/>
                </a:cxn>
                <a:cxn ang="0">
                  <a:pos x="92" y="4"/>
                </a:cxn>
                <a:cxn ang="0">
                  <a:pos x="100" y="4"/>
                </a:cxn>
                <a:cxn ang="0">
                  <a:pos x="104" y="8"/>
                </a:cxn>
                <a:cxn ang="0">
                  <a:pos x="108" y="8"/>
                </a:cxn>
                <a:cxn ang="0">
                  <a:pos x="112" y="8"/>
                </a:cxn>
                <a:cxn ang="0">
                  <a:pos x="112" y="16"/>
                </a:cxn>
                <a:cxn ang="0">
                  <a:pos x="116" y="20"/>
                </a:cxn>
                <a:cxn ang="0">
                  <a:pos x="116" y="24"/>
                </a:cxn>
                <a:cxn ang="0">
                  <a:pos x="116" y="28"/>
                </a:cxn>
                <a:cxn ang="0">
                  <a:pos x="108" y="28"/>
                </a:cxn>
                <a:cxn ang="0">
                  <a:pos x="108" y="32"/>
                </a:cxn>
                <a:cxn ang="0">
                  <a:pos x="108" y="36"/>
                </a:cxn>
                <a:cxn ang="0">
                  <a:pos x="108" y="40"/>
                </a:cxn>
                <a:cxn ang="0">
                  <a:pos x="104" y="44"/>
                </a:cxn>
                <a:cxn ang="0">
                  <a:pos x="100" y="48"/>
                </a:cxn>
                <a:cxn ang="0">
                  <a:pos x="96" y="52"/>
                </a:cxn>
                <a:cxn ang="0">
                  <a:pos x="84" y="52"/>
                </a:cxn>
                <a:cxn ang="0">
                  <a:pos x="76" y="56"/>
                </a:cxn>
                <a:cxn ang="0">
                  <a:pos x="68" y="56"/>
                </a:cxn>
                <a:cxn ang="0">
                  <a:pos x="60" y="56"/>
                </a:cxn>
                <a:cxn ang="0">
                  <a:pos x="48" y="52"/>
                </a:cxn>
                <a:cxn ang="0">
                  <a:pos x="44" y="52"/>
                </a:cxn>
                <a:cxn ang="0">
                  <a:pos x="40" y="44"/>
                </a:cxn>
                <a:cxn ang="0">
                  <a:pos x="40" y="44"/>
                </a:cxn>
                <a:cxn ang="0">
                  <a:pos x="32" y="44"/>
                </a:cxn>
                <a:cxn ang="0">
                  <a:pos x="24" y="48"/>
                </a:cxn>
                <a:cxn ang="0">
                  <a:pos x="20" y="48"/>
                </a:cxn>
                <a:cxn ang="0">
                  <a:pos x="16" y="48"/>
                </a:cxn>
              </a:cxnLst>
              <a:rect l="0" t="0" r="r" b="b"/>
              <a:pathLst>
                <a:path w="116" h="56">
                  <a:moveTo>
                    <a:pt x="16" y="48"/>
                  </a:moveTo>
                  <a:lnTo>
                    <a:pt x="16" y="48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6" y="12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88" y="0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100" y="4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08" y="4"/>
                  </a:lnTo>
                  <a:lnTo>
                    <a:pt x="108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16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16" y="20"/>
                  </a:lnTo>
                  <a:lnTo>
                    <a:pt x="116" y="20"/>
                  </a:lnTo>
                  <a:lnTo>
                    <a:pt x="116" y="20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28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4" y="28"/>
                  </a:lnTo>
                  <a:lnTo>
                    <a:pt x="104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4" y="36"/>
                  </a:lnTo>
                  <a:lnTo>
                    <a:pt x="104" y="36"/>
                  </a:lnTo>
                  <a:lnTo>
                    <a:pt x="108" y="40"/>
                  </a:lnTo>
                  <a:lnTo>
                    <a:pt x="108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0" y="48"/>
                  </a:lnTo>
                  <a:lnTo>
                    <a:pt x="100" y="48"/>
                  </a:lnTo>
                  <a:lnTo>
                    <a:pt x="100" y="48"/>
                  </a:lnTo>
                  <a:lnTo>
                    <a:pt x="100" y="48"/>
                  </a:lnTo>
                  <a:lnTo>
                    <a:pt x="100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2" y="52"/>
                  </a:lnTo>
                  <a:lnTo>
                    <a:pt x="88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24" y="44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3" name="Freeform 80"/>
            <p:cNvSpPr>
              <a:spLocks/>
            </p:cNvSpPr>
            <p:nvPr>
              <p:custDataLst>
                <p:tags r:id="rId276"/>
              </p:custDataLst>
            </p:nvPr>
          </p:nvSpPr>
          <p:spPr bwMode="gray">
            <a:xfrm>
              <a:off x="4896617" y="2934923"/>
              <a:ext cx="212078" cy="172035"/>
            </a:xfrm>
            <a:custGeom>
              <a:avLst/>
              <a:gdLst/>
              <a:ahLst/>
              <a:cxnLst>
                <a:cxn ang="0">
                  <a:pos x="28" y="100"/>
                </a:cxn>
                <a:cxn ang="0">
                  <a:pos x="16" y="104"/>
                </a:cxn>
                <a:cxn ang="0">
                  <a:pos x="12" y="108"/>
                </a:cxn>
                <a:cxn ang="0">
                  <a:pos x="4" y="108"/>
                </a:cxn>
                <a:cxn ang="0">
                  <a:pos x="8" y="96"/>
                </a:cxn>
                <a:cxn ang="0">
                  <a:pos x="0" y="88"/>
                </a:cxn>
                <a:cxn ang="0">
                  <a:pos x="8" y="84"/>
                </a:cxn>
                <a:cxn ang="0">
                  <a:pos x="12" y="80"/>
                </a:cxn>
                <a:cxn ang="0">
                  <a:pos x="8" y="64"/>
                </a:cxn>
                <a:cxn ang="0">
                  <a:pos x="4" y="56"/>
                </a:cxn>
                <a:cxn ang="0">
                  <a:pos x="8" y="52"/>
                </a:cxn>
                <a:cxn ang="0">
                  <a:pos x="16" y="52"/>
                </a:cxn>
                <a:cxn ang="0">
                  <a:pos x="20" y="52"/>
                </a:cxn>
                <a:cxn ang="0">
                  <a:pos x="24" y="48"/>
                </a:cxn>
                <a:cxn ang="0">
                  <a:pos x="32" y="48"/>
                </a:cxn>
                <a:cxn ang="0">
                  <a:pos x="36" y="48"/>
                </a:cxn>
                <a:cxn ang="0">
                  <a:pos x="40" y="44"/>
                </a:cxn>
                <a:cxn ang="0">
                  <a:pos x="40" y="40"/>
                </a:cxn>
                <a:cxn ang="0">
                  <a:pos x="40" y="32"/>
                </a:cxn>
                <a:cxn ang="0">
                  <a:pos x="48" y="24"/>
                </a:cxn>
                <a:cxn ang="0">
                  <a:pos x="52" y="20"/>
                </a:cxn>
                <a:cxn ang="0">
                  <a:pos x="52" y="12"/>
                </a:cxn>
                <a:cxn ang="0">
                  <a:pos x="56" y="12"/>
                </a:cxn>
                <a:cxn ang="0">
                  <a:pos x="68" y="12"/>
                </a:cxn>
                <a:cxn ang="0">
                  <a:pos x="72" y="4"/>
                </a:cxn>
                <a:cxn ang="0">
                  <a:pos x="79" y="4"/>
                </a:cxn>
                <a:cxn ang="0">
                  <a:pos x="83" y="8"/>
                </a:cxn>
                <a:cxn ang="0">
                  <a:pos x="95" y="8"/>
                </a:cxn>
                <a:cxn ang="0">
                  <a:pos x="103" y="8"/>
                </a:cxn>
                <a:cxn ang="0">
                  <a:pos x="115" y="16"/>
                </a:cxn>
                <a:cxn ang="0">
                  <a:pos x="115" y="20"/>
                </a:cxn>
                <a:cxn ang="0">
                  <a:pos x="119" y="28"/>
                </a:cxn>
                <a:cxn ang="0">
                  <a:pos x="115" y="36"/>
                </a:cxn>
                <a:cxn ang="0">
                  <a:pos x="119" y="40"/>
                </a:cxn>
                <a:cxn ang="0">
                  <a:pos x="127" y="48"/>
                </a:cxn>
                <a:cxn ang="0">
                  <a:pos x="131" y="56"/>
                </a:cxn>
                <a:cxn ang="0">
                  <a:pos x="139" y="60"/>
                </a:cxn>
                <a:cxn ang="0">
                  <a:pos x="143" y="64"/>
                </a:cxn>
                <a:cxn ang="0">
                  <a:pos x="139" y="72"/>
                </a:cxn>
                <a:cxn ang="0">
                  <a:pos x="131" y="72"/>
                </a:cxn>
                <a:cxn ang="0">
                  <a:pos x="123" y="76"/>
                </a:cxn>
                <a:cxn ang="0">
                  <a:pos x="127" y="80"/>
                </a:cxn>
                <a:cxn ang="0">
                  <a:pos x="127" y="92"/>
                </a:cxn>
                <a:cxn ang="0">
                  <a:pos x="127" y="96"/>
                </a:cxn>
                <a:cxn ang="0">
                  <a:pos x="119" y="96"/>
                </a:cxn>
                <a:cxn ang="0">
                  <a:pos x="111" y="100"/>
                </a:cxn>
                <a:cxn ang="0">
                  <a:pos x="111" y="112"/>
                </a:cxn>
                <a:cxn ang="0">
                  <a:pos x="103" y="108"/>
                </a:cxn>
                <a:cxn ang="0">
                  <a:pos x="99" y="112"/>
                </a:cxn>
                <a:cxn ang="0">
                  <a:pos x="91" y="108"/>
                </a:cxn>
                <a:cxn ang="0">
                  <a:pos x="83" y="108"/>
                </a:cxn>
                <a:cxn ang="0">
                  <a:pos x="83" y="108"/>
                </a:cxn>
                <a:cxn ang="0">
                  <a:pos x="75" y="108"/>
                </a:cxn>
                <a:cxn ang="0">
                  <a:pos x="72" y="108"/>
                </a:cxn>
                <a:cxn ang="0">
                  <a:pos x="68" y="108"/>
                </a:cxn>
                <a:cxn ang="0">
                  <a:pos x="64" y="108"/>
                </a:cxn>
                <a:cxn ang="0">
                  <a:pos x="56" y="104"/>
                </a:cxn>
                <a:cxn ang="0">
                  <a:pos x="52" y="100"/>
                </a:cxn>
                <a:cxn ang="0">
                  <a:pos x="48" y="100"/>
                </a:cxn>
                <a:cxn ang="0">
                  <a:pos x="40" y="100"/>
                </a:cxn>
              </a:cxnLst>
              <a:rect l="0" t="0" r="r" b="b"/>
              <a:pathLst>
                <a:path w="143" h="116">
                  <a:moveTo>
                    <a:pt x="36" y="100"/>
                  </a:moveTo>
                  <a:lnTo>
                    <a:pt x="36" y="100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28" y="100"/>
                  </a:lnTo>
                  <a:lnTo>
                    <a:pt x="28" y="100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4"/>
                  </a:lnTo>
                  <a:lnTo>
                    <a:pt x="16" y="104"/>
                  </a:lnTo>
                  <a:lnTo>
                    <a:pt x="16" y="104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8" y="104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4" y="108"/>
                  </a:lnTo>
                  <a:lnTo>
                    <a:pt x="4" y="108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8" y="100"/>
                  </a:lnTo>
                  <a:lnTo>
                    <a:pt x="8" y="100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4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79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3" y="4"/>
                  </a:lnTo>
                  <a:lnTo>
                    <a:pt x="83" y="8"/>
                  </a:lnTo>
                  <a:lnTo>
                    <a:pt x="83" y="8"/>
                  </a:lnTo>
                  <a:lnTo>
                    <a:pt x="83" y="8"/>
                  </a:lnTo>
                  <a:lnTo>
                    <a:pt x="87" y="8"/>
                  </a:lnTo>
                  <a:lnTo>
                    <a:pt x="87" y="4"/>
                  </a:lnTo>
                  <a:lnTo>
                    <a:pt x="87" y="4"/>
                  </a:lnTo>
                  <a:lnTo>
                    <a:pt x="87" y="4"/>
                  </a:lnTo>
                  <a:lnTo>
                    <a:pt x="91" y="4"/>
                  </a:lnTo>
                  <a:lnTo>
                    <a:pt x="91" y="4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1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99" y="8"/>
                  </a:lnTo>
                  <a:lnTo>
                    <a:pt x="103" y="8"/>
                  </a:lnTo>
                  <a:lnTo>
                    <a:pt x="103" y="8"/>
                  </a:lnTo>
                  <a:lnTo>
                    <a:pt x="107" y="8"/>
                  </a:lnTo>
                  <a:lnTo>
                    <a:pt x="111" y="12"/>
                  </a:lnTo>
                  <a:lnTo>
                    <a:pt x="111" y="12"/>
                  </a:lnTo>
                  <a:lnTo>
                    <a:pt x="111" y="12"/>
                  </a:lnTo>
                  <a:lnTo>
                    <a:pt x="111" y="12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16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0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9" y="24"/>
                  </a:lnTo>
                  <a:lnTo>
                    <a:pt x="119" y="28"/>
                  </a:lnTo>
                  <a:lnTo>
                    <a:pt x="115" y="28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19" y="40"/>
                  </a:lnTo>
                  <a:lnTo>
                    <a:pt x="123" y="40"/>
                  </a:lnTo>
                  <a:lnTo>
                    <a:pt x="123" y="44"/>
                  </a:lnTo>
                  <a:lnTo>
                    <a:pt x="123" y="44"/>
                  </a:lnTo>
                  <a:lnTo>
                    <a:pt x="123" y="48"/>
                  </a:lnTo>
                  <a:lnTo>
                    <a:pt x="127" y="48"/>
                  </a:lnTo>
                  <a:lnTo>
                    <a:pt x="127" y="48"/>
                  </a:lnTo>
                  <a:lnTo>
                    <a:pt x="127" y="48"/>
                  </a:lnTo>
                  <a:lnTo>
                    <a:pt x="127" y="48"/>
                  </a:lnTo>
                  <a:lnTo>
                    <a:pt x="131" y="48"/>
                  </a:lnTo>
                  <a:lnTo>
                    <a:pt x="131" y="52"/>
                  </a:lnTo>
                  <a:lnTo>
                    <a:pt x="131" y="52"/>
                  </a:lnTo>
                  <a:lnTo>
                    <a:pt x="131" y="52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5" y="56"/>
                  </a:lnTo>
                  <a:lnTo>
                    <a:pt x="139" y="56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0"/>
                  </a:lnTo>
                  <a:lnTo>
                    <a:pt x="139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8"/>
                  </a:lnTo>
                  <a:lnTo>
                    <a:pt x="143" y="68"/>
                  </a:lnTo>
                  <a:lnTo>
                    <a:pt x="139" y="72"/>
                  </a:lnTo>
                  <a:lnTo>
                    <a:pt x="139" y="72"/>
                  </a:lnTo>
                  <a:lnTo>
                    <a:pt x="139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27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6"/>
                  </a:lnTo>
                  <a:lnTo>
                    <a:pt x="123" y="76"/>
                  </a:lnTo>
                  <a:lnTo>
                    <a:pt x="123" y="76"/>
                  </a:lnTo>
                  <a:lnTo>
                    <a:pt x="123" y="76"/>
                  </a:lnTo>
                  <a:lnTo>
                    <a:pt x="123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7" y="92"/>
                  </a:lnTo>
                  <a:lnTo>
                    <a:pt x="127" y="92"/>
                  </a:lnTo>
                  <a:lnTo>
                    <a:pt x="127" y="92"/>
                  </a:lnTo>
                  <a:lnTo>
                    <a:pt x="131" y="92"/>
                  </a:lnTo>
                  <a:lnTo>
                    <a:pt x="131" y="96"/>
                  </a:lnTo>
                  <a:lnTo>
                    <a:pt x="131" y="96"/>
                  </a:lnTo>
                  <a:lnTo>
                    <a:pt x="131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3" y="96"/>
                  </a:lnTo>
                  <a:lnTo>
                    <a:pt x="123" y="96"/>
                  </a:lnTo>
                  <a:lnTo>
                    <a:pt x="123" y="96"/>
                  </a:lnTo>
                  <a:lnTo>
                    <a:pt x="123" y="96"/>
                  </a:lnTo>
                  <a:lnTo>
                    <a:pt x="123" y="96"/>
                  </a:lnTo>
                  <a:lnTo>
                    <a:pt x="119" y="96"/>
                  </a:lnTo>
                  <a:lnTo>
                    <a:pt x="119" y="96"/>
                  </a:lnTo>
                  <a:lnTo>
                    <a:pt x="115" y="96"/>
                  </a:lnTo>
                  <a:lnTo>
                    <a:pt x="115" y="96"/>
                  </a:lnTo>
                  <a:lnTo>
                    <a:pt x="115" y="96"/>
                  </a:lnTo>
                  <a:lnTo>
                    <a:pt x="115" y="96"/>
                  </a:lnTo>
                  <a:lnTo>
                    <a:pt x="115" y="100"/>
                  </a:lnTo>
                  <a:lnTo>
                    <a:pt x="115" y="100"/>
                  </a:lnTo>
                  <a:lnTo>
                    <a:pt x="115" y="100"/>
                  </a:lnTo>
                  <a:lnTo>
                    <a:pt x="111" y="100"/>
                  </a:lnTo>
                  <a:lnTo>
                    <a:pt x="111" y="104"/>
                  </a:lnTo>
                  <a:lnTo>
                    <a:pt x="111" y="104"/>
                  </a:lnTo>
                  <a:lnTo>
                    <a:pt x="111" y="104"/>
                  </a:lnTo>
                  <a:lnTo>
                    <a:pt x="111" y="108"/>
                  </a:lnTo>
                  <a:lnTo>
                    <a:pt x="111" y="108"/>
                  </a:lnTo>
                  <a:lnTo>
                    <a:pt x="111" y="112"/>
                  </a:lnTo>
                  <a:lnTo>
                    <a:pt x="111" y="112"/>
                  </a:lnTo>
                  <a:lnTo>
                    <a:pt x="111" y="112"/>
                  </a:lnTo>
                  <a:lnTo>
                    <a:pt x="111" y="112"/>
                  </a:lnTo>
                  <a:lnTo>
                    <a:pt x="111" y="116"/>
                  </a:lnTo>
                  <a:lnTo>
                    <a:pt x="111" y="112"/>
                  </a:lnTo>
                  <a:lnTo>
                    <a:pt x="107" y="112"/>
                  </a:lnTo>
                  <a:lnTo>
                    <a:pt x="107" y="112"/>
                  </a:lnTo>
                  <a:lnTo>
                    <a:pt x="107" y="108"/>
                  </a:lnTo>
                  <a:lnTo>
                    <a:pt x="107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99" y="112"/>
                  </a:lnTo>
                  <a:lnTo>
                    <a:pt x="99" y="112"/>
                  </a:lnTo>
                  <a:lnTo>
                    <a:pt x="99" y="112"/>
                  </a:lnTo>
                  <a:lnTo>
                    <a:pt x="99" y="112"/>
                  </a:lnTo>
                  <a:lnTo>
                    <a:pt x="99" y="108"/>
                  </a:lnTo>
                  <a:lnTo>
                    <a:pt x="99" y="108"/>
                  </a:lnTo>
                  <a:lnTo>
                    <a:pt x="95" y="108"/>
                  </a:lnTo>
                  <a:lnTo>
                    <a:pt x="95" y="112"/>
                  </a:lnTo>
                  <a:lnTo>
                    <a:pt x="91" y="112"/>
                  </a:lnTo>
                  <a:lnTo>
                    <a:pt x="91" y="112"/>
                  </a:lnTo>
                  <a:lnTo>
                    <a:pt x="91" y="112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91" y="108"/>
                  </a:lnTo>
                  <a:lnTo>
                    <a:pt x="87" y="108"/>
                  </a:lnTo>
                  <a:lnTo>
                    <a:pt x="87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12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83" y="108"/>
                  </a:lnTo>
                  <a:lnTo>
                    <a:pt x="79" y="108"/>
                  </a:lnTo>
                  <a:lnTo>
                    <a:pt x="79" y="108"/>
                  </a:lnTo>
                  <a:lnTo>
                    <a:pt x="79" y="108"/>
                  </a:lnTo>
                  <a:lnTo>
                    <a:pt x="75" y="108"/>
                  </a:lnTo>
                  <a:lnTo>
                    <a:pt x="75" y="104"/>
                  </a:lnTo>
                  <a:lnTo>
                    <a:pt x="75" y="104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5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4" name="Freeform 81"/>
            <p:cNvSpPr>
              <a:spLocks/>
            </p:cNvSpPr>
            <p:nvPr>
              <p:custDataLst>
                <p:tags r:id="rId277"/>
              </p:custDataLst>
            </p:nvPr>
          </p:nvSpPr>
          <p:spPr bwMode="gray">
            <a:xfrm>
              <a:off x="4435383" y="3095094"/>
              <a:ext cx="81568" cy="65255"/>
            </a:xfrm>
            <a:custGeom>
              <a:avLst/>
              <a:gdLst/>
              <a:ahLst/>
              <a:cxnLst>
                <a:cxn ang="0">
                  <a:pos x="24" y="28"/>
                </a:cxn>
                <a:cxn ang="0">
                  <a:pos x="20" y="28"/>
                </a:cxn>
                <a:cxn ang="0">
                  <a:pos x="16" y="24"/>
                </a:cxn>
                <a:cxn ang="0">
                  <a:pos x="12" y="24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4" y="8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32" y="0"/>
                </a:cxn>
                <a:cxn ang="0">
                  <a:pos x="35" y="4"/>
                </a:cxn>
                <a:cxn ang="0">
                  <a:pos x="35" y="0"/>
                </a:cxn>
                <a:cxn ang="0">
                  <a:pos x="39" y="4"/>
                </a:cxn>
                <a:cxn ang="0">
                  <a:pos x="39" y="8"/>
                </a:cxn>
                <a:cxn ang="0">
                  <a:pos x="43" y="8"/>
                </a:cxn>
                <a:cxn ang="0">
                  <a:pos x="47" y="8"/>
                </a:cxn>
                <a:cxn ang="0">
                  <a:pos x="47" y="12"/>
                </a:cxn>
                <a:cxn ang="0">
                  <a:pos x="47" y="16"/>
                </a:cxn>
                <a:cxn ang="0">
                  <a:pos x="47" y="16"/>
                </a:cxn>
                <a:cxn ang="0">
                  <a:pos x="47" y="16"/>
                </a:cxn>
                <a:cxn ang="0">
                  <a:pos x="51" y="20"/>
                </a:cxn>
                <a:cxn ang="0">
                  <a:pos x="55" y="24"/>
                </a:cxn>
                <a:cxn ang="0">
                  <a:pos x="55" y="28"/>
                </a:cxn>
                <a:cxn ang="0">
                  <a:pos x="51" y="32"/>
                </a:cxn>
                <a:cxn ang="0">
                  <a:pos x="51" y="32"/>
                </a:cxn>
                <a:cxn ang="0">
                  <a:pos x="47" y="32"/>
                </a:cxn>
                <a:cxn ang="0">
                  <a:pos x="47" y="40"/>
                </a:cxn>
                <a:cxn ang="0">
                  <a:pos x="47" y="40"/>
                </a:cxn>
                <a:cxn ang="0">
                  <a:pos x="47" y="44"/>
                </a:cxn>
                <a:cxn ang="0">
                  <a:pos x="43" y="44"/>
                </a:cxn>
                <a:cxn ang="0">
                  <a:pos x="43" y="44"/>
                </a:cxn>
                <a:cxn ang="0">
                  <a:pos x="39" y="44"/>
                </a:cxn>
                <a:cxn ang="0">
                  <a:pos x="35" y="40"/>
                </a:cxn>
                <a:cxn ang="0">
                  <a:pos x="32" y="32"/>
                </a:cxn>
                <a:cxn ang="0">
                  <a:pos x="32" y="32"/>
                </a:cxn>
                <a:cxn ang="0">
                  <a:pos x="28" y="36"/>
                </a:cxn>
                <a:cxn ang="0">
                  <a:pos x="24" y="36"/>
                </a:cxn>
              </a:cxnLst>
              <a:rect l="0" t="0" r="r" b="b"/>
              <a:pathLst>
                <a:path w="55" h="44">
                  <a:moveTo>
                    <a:pt x="24" y="36"/>
                  </a:moveTo>
                  <a:lnTo>
                    <a:pt x="24" y="36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3" y="4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8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16"/>
                  </a:lnTo>
                  <a:lnTo>
                    <a:pt x="47" y="20"/>
                  </a:lnTo>
                  <a:lnTo>
                    <a:pt x="47" y="16"/>
                  </a:lnTo>
                  <a:lnTo>
                    <a:pt x="51" y="16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5" y="20"/>
                  </a:lnTo>
                  <a:lnTo>
                    <a:pt x="55" y="20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1" y="28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47" y="32"/>
                  </a:lnTo>
                  <a:lnTo>
                    <a:pt x="47" y="32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0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5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5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5" name="Freeform 82"/>
            <p:cNvSpPr>
              <a:spLocks/>
            </p:cNvSpPr>
            <p:nvPr>
              <p:custDataLst>
                <p:tags r:id="rId278"/>
              </p:custDataLst>
            </p:nvPr>
          </p:nvSpPr>
          <p:spPr bwMode="gray">
            <a:xfrm>
              <a:off x="4730513" y="3302723"/>
              <a:ext cx="83052" cy="83052"/>
            </a:xfrm>
            <a:custGeom>
              <a:avLst/>
              <a:gdLst/>
              <a:ahLst/>
              <a:cxnLst>
                <a:cxn ang="0">
                  <a:pos x="28" y="48"/>
                </a:cxn>
                <a:cxn ang="0">
                  <a:pos x="28" y="44"/>
                </a:cxn>
                <a:cxn ang="0">
                  <a:pos x="24" y="40"/>
                </a:cxn>
                <a:cxn ang="0">
                  <a:pos x="20" y="36"/>
                </a:cxn>
                <a:cxn ang="0">
                  <a:pos x="20" y="36"/>
                </a:cxn>
                <a:cxn ang="0">
                  <a:pos x="16" y="32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40" y="0"/>
                </a:cxn>
                <a:cxn ang="0">
                  <a:pos x="44" y="4"/>
                </a:cxn>
                <a:cxn ang="0">
                  <a:pos x="48" y="8"/>
                </a:cxn>
                <a:cxn ang="0">
                  <a:pos x="52" y="4"/>
                </a:cxn>
                <a:cxn ang="0">
                  <a:pos x="52" y="8"/>
                </a:cxn>
                <a:cxn ang="0">
                  <a:pos x="52" y="16"/>
                </a:cxn>
                <a:cxn ang="0">
                  <a:pos x="52" y="20"/>
                </a:cxn>
                <a:cxn ang="0">
                  <a:pos x="56" y="24"/>
                </a:cxn>
                <a:cxn ang="0">
                  <a:pos x="56" y="28"/>
                </a:cxn>
                <a:cxn ang="0">
                  <a:pos x="52" y="24"/>
                </a:cxn>
                <a:cxn ang="0">
                  <a:pos x="56" y="32"/>
                </a:cxn>
                <a:cxn ang="0">
                  <a:pos x="56" y="32"/>
                </a:cxn>
                <a:cxn ang="0">
                  <a:pos x="52" y="36"/>
                </a:cxn>
                <a:cxn ang="0">
                  <a:pos x="48" y="36"/>
                </a:cxn>
                <a:cxn ang="0">
                  <a:pos x="48" y="36"/>
                </a:cxn>
                <a:cxn ang="0">
                  <a:pos x="48" y="40"/>
                </a:cxn>
                <a:cxn ang="0">
                  <a:pos x="48" y="40"/>
                </a:cxn>
                <a:cxn ang="0">
                  <a:pos x="44" y="44"/>
                </a:cxn>
                <a:cxn ang="0">
                  <a:pos x="40" y="48"/>
                </a:cxn>
                <a:cxn ang="0">
                  <a:pos x="40" y="52"/>
                </a:cxn>
                <a:cxn ang="0">
                  <a:pos x="40" y="56"/>
                </a:cxn>
                <a:cxn ang="0">
                  <a:pos x="40" y="56"/>
                </a:cxn>
                <a:cxn ang="0">
                  <a:pos x="36" y="56"/>
                </a:cxn>
                <a:cxn ang="0">
                  <a:pos x="32" y="52"/>
                </a:cxn>
                <a:cxn ang="0">
                  <a:pos x="32" y="48"/>
                </a:cxn>
                <a:cxn ang="0">
                  <a:pos x="28" y="48"/>
                </a:cxn>
              </a:cxnLst>
              <a:rect l="0" t="0" r="r" b="b"/>
              <a:pathLst>
                <a:path w="56" h="56">
                  <a:moveTo>
                    <a:pt x="28" y="48"/>
                  </a:move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8"/>
                  </a:lnTo>
                  <a:lnTo>
                    <a:pt x="56" y="28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6" y="28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6" name="Freeform 83"/>
            <p:cNvSpPr>
              <a:spLocks/>
            </p:cNvSpPr>
            <p:nvPr>
              <p:custDataLst>
                <p:tags r:id="rId279"/>
              </p:custDataLst>
            </p:nvPr>
          </p:nvSpPr>
          <p:spPr bwMode="gray">
            <a:xfrm>
              <a:off x="4878820" y="3332384"/>
              <a:ext cx="140891" cy="93433"/>
            </a:xfrm>
            <a:custGeom>
              <a:avLst/>
              <a:gdLst/>
              <a:ahLst/>
              <a:cxnLst>
                <a:cxn ang="0">
                  <a:pos x="8" y="55"/>
                </a:cxn>
                <a:cxn ang="0">
                  <a:pos x="8" y="51"/>
                </a:cxn>
                <a:cxn ang="0">
                  <a:pos x="8" y="47"/>
                </a:cxn>
                <a:cxn ang="0">
                  <a:pos x="0" y="39"/>
                </a:cxn>
                <a:cxn ang="0">
                  <a:pos x="4" y="36"/>
                </a:cxn>
                <a:cxn ang="0">
                  <a:pos x="0" y="32"/>
                </a:cxn>
                <a:cxn ang="0">
                  <a:pos x="4" y="28"/>
                </a:cxn>
                <a:cxn ang="0">
                  <a:pos x="8" y="24"/>
                </a:cxn>
                <a:cxn ang="0">
                  <a:pos x="4" y="20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40" y="12"/>
                </a:cxn>
                <a:cxn ang="0">
                  <a:pos x="44" y="12"/>
                </a:cxn>
                <a:cxn ang="0">
                  <a:pos x="48" y="12"/>
                </a:cxn>
                <a:cxn ang="0">
                  <a:pos x="52" y="8"/>
                </a:cxn>
                <a:cxn ang="0">
                  <a:pos x="60" y="4"/>
                </a:cxn>
                <a:cxn ang="0">
                  <a:pos x="68" y="4"/>
                </a:cxn>
                <a:cxn ang="0">
                  <a:pos x="72" y="4"/>
                </a:cxn>
                <a:cxn ang="0">
                  <a:pos x="72" y="4"/>
                </a:cxn>
                <a:cxn ang="0">
                  <a:pos x="80" y="4"/>
                </a:cxn>
                <a:cxn ang="0">
                  <a:pos x="80" y="8"/>
                </a:cxn>
                <a:cxn ang="0">
                  <a:pos x="84" y="8"/>
                </a:cxn>
                <a:cxn ang="0">
                  <a:pos x="87" y="12"/>
                </a:cxn>
                <a:cxn ang="0">
                  <a:pos x="91" y="12"/>
                </a:cxn>
                <a:cxn ang="0">
                  <a:pos x="95" y="16"/>
                </a:cxn>
                <a:cxn ang="0">
                  <a:pos x="91" y="20"/>
                </a:cxn>
                <a:cxn ang="0">
                  <a:pos x="91" y="16"/>
                </a:cxn>
                <a:cxn ang="0">
                  <a:pos x="87" y="20"/>
                </a:cxn>
                <a:cxn ang="0">
                  <a:pos x="84" y="28"/>
                </a:cxn>
                <a:cxn ang="0">
                  <a:pos x="84" y="32"/>
                </a:cxn>
                <a:cxn ang="0">
                  <a:pos x="80" y="36"/>
                </a:cxn>
                <a:cxn ang="0">
                  <a:pos x="76" y="39"/>
                </a:cxn>
                <a:cxn ang="0">
                  <a:pos x="80" y="39"/>
                </a:cxn>
                <a:cxn ang="0">
                  <a:pos x="84" y="43"/>
                </a:cxn>
                <a:cxn ang="0">
                  <a:pos x="84" y="47"/>
                </a:cxn>
                <a:cxn ang="0">
                  <a:pos x="80" y="47"/>
                </a:cxn>
                <a:cxn ang="0">
                  <a:pos x="76" y="47"/>
                </a:cxn>
                <a:cxn ang="0">
                  <a:pos x="72" y="43"/>
                </a:cxn>
                <a:cxn ang="0">
                  <a:pos x="64" y="47"/>
                </a:cxn>
                <a:cxn ang="0">
                  <a:pos x="64" y="51"/>
                </a:cxn>
                <a:cxn ang="0">
                  <a:pos x="60" y="51"/>
                </a:cxn>
                <a:cxn ang="0">
                  <a:pos x="60" y="51"/>
                </a:cxn>
                <a:cxn ang="0">
                  <a:pos x="56" y="55"/>
                </a:cxn>
                <a:cxn ang="0">
                  <a:pos x="56" y="59"/>
                </a:cxn>
                <a:cxn ang="0">
                  <a:pos x="48" y="63"/>
                </a:cxn>
                <a:cxn ang="0">
                  <a:pos x="44" y="63"/>
                </a:cxn>
                <a:cxn ang="0">
                  <a:pos x="40" y="59"/>
                </a:cxn>
                <a:cxn ang="0">
                  <a:pos x="36" y="59"/>
                </a:cxn>
                <a:cxn ang="0">
                  <a:pos x="28" y="55"/>
                </a:cxn>
                <a:cxn ang="0">
                  <a:pos x="24" y="59"/>
                </a:cxn>
                <a:cxn ang="0">
                  <a:pos x="20" y="59"/>
                </a:cxn>
                <a:cxn ang="0">
                  <a:pos x="12" y="59"/>
                </a:cxn>
                <a:cxn ang="0">
                  <a:pos x="12" y="63"/>
                </a:cxn>
              </a:cxnLst>
              <a:rect l="0" t="0" r="r" b="b"/>
              <a:pathLst>
                <a:path w="95" h="63">
                  <a:moveTo>
                    <a:pt x="8" y="59"/>
                  </a:moveTo>
                  <a:lnTo>
                    <a:pt x="8" y="59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4" y="47"/>
                  </a:lnTo>
                  <a:lnTo>
                    <a:pt x="4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4" y="39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4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7" y="8"/>
                  </a:lnTo>
                  <a:lnTo>
                    <a:pt x="87" y="12"/>
                  </a:lnTo>
                  <a:lnTo>
                    <a:pt x="87" y="12"/>
                  </a:lnTo>
                  <a:lnTo>
                    <a:pt x="87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16"/>
                  </a:lnTo>
                  <a:lnTo>
                    <a:pt x="87" y="16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3"/>
                  </a:lnTo>
                  <a:lnTo>
                    <a:pt x="72" y="43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68" y="47"/>
                  </a:lnTo>
                  <a:lnTo>
                    <a:pt x="68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5"/>
                  </a:lnTo>
                  <a:lnTo>
                    <a:pt x="60" y="55"/>
                  </a:lnTo>
                  <a:lnTo>
                    <a:pt x="60" y="55"/>
                  </a:lnTo>
                  <a:lnTo>
                    <a:pt x="60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59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0" y="63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2" y="59"/>
                  </a:lnTo>
                  <a:lnTo>
                    <a:pt x="32" y="59"/>
                  </a:lnTo>
                  <a:lnTo>
                    <a:pt x="32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4" y="55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8" y="59"/>
                  </a:lnTo>
                  <a:lnTo>
                    <a:pt x="8" y="5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7" name="Freeform 84"/>
            <p:cNvSpPr>
              <a:spLocks noEditPoints="1"/>
            </p:cNvSpPr>
            <p:nvPr>
              <p:custDataLst>
                <p:tags r:id="rId280"/>
              </p:custDataLst>
            </p:nvPr>
          </p:nvSpPr>
          <p:spPr bwMode="gray">
            <a:xfrm>
              <a:off x="4677123" y="3261197"/>
              <a:ext cx="136442" cy="129026"/>
            </a:xfrm>
            <a:custGeom>
              <a:avLst/>
              <a:gdLst/>
              <a:ahLst/>
              <a:cxnLst>
                <a:cxn ang="0">
                  <a:pos x="72" y="80"/>
                </a:cxn>
                <a:cxn ang="0">
                  <a:pos x="76" y="84"/>
                </a:cxn>
                <a:cxn ang="0">
                  <a:pos x="60" y="76"/>
                </a:cxn>
                <a:cxn ang="0">
                  <a:pos x="64" y="76"/>
                </a:cxn>
                <a:cxn ang="0">
                  <a:pos x="20" y="28"/>
                </a:cxn>
                <a:cxn ang="0">
                  <a:pos x="16" y="36"/>
                </a:cxn>
                <a:cxn ang="0">
                  <a:pos x="16" y="28"/>
                </a:cxn>
                <a:cxn ang="0">
                  <a:pos x="16" y="36"/>
                </a:cxn>
                <a:cxn ang="0">
                  <a:pos x="12" y="40"/>
                </a:cxn>
                <a:cxn ang="0">
                  <a:pos x="24" y="40"/>
                </a:cxn>
                <a:cxn ang="0">
                  <a:pos x="24" y="44"/>
                </a:cxn>
                <a:cxn ang="0">
                  <a:pos x="24" y="52"/>
                </a:cxn>
                <a:cxn ang="0">
                  <a:pos x="24" y="56"/>
                </a:cxn>
                <a:cxn ang="0">
                  <a:pos x="48" y="68"/>
                </a:cxn>
                <a:cxn ang="0">
                  <a:pos x="52" y="72"/>
                </a:cxn>
                <a:cxn ang="0">
                  <a:pos x="52" y="72"/>
                </a:cxn>
                <a:cxn ang="0">
                  <a:pos x="44" y="72"/>
                </a:cxn>
                <a:cxn ang="0">
                  <a:pos x="48" y="76"/>
                </a:cxn>
                <a:cxn ang="0">
                  <a:pos x="64" y="80"/>
                </a:cxn>
                <a:cxn ang="0">
                  <a:pos x="60" y="76"/>
                </a:cxn>
                <a:cxn ang="0">
                  <a:pos x="52" y="68"/>
                </a:cxn>
                <a:cxn ang="0">
                  <a:pos x="36" y="64"/>
                </a:cxn>
                <a:cxn ang="0">
                  <a:pos x="32" y="56"/>
                </a:cxn>
                <a:cxn ang="0">
                  <a:pos x="24" y="48"/>
                </a:cxn>
                <a:cxn ang="0">
                  <a:pos x="24" y="44"/>
                </a:cxn>
                <a:cxn ang="0">
                  <a:pos x="24" y="32"/>
                </a:cxn>
                <a:cxn ang="0">
                  <a:pos x="12" y="24"/>
                </a:cxn>
                <a:cxn ang="0">
                  <a:pos x="8" y="36"/>
                </a:cxn>
                <a:cxn ang="0">
                  <a:pos x="4" y="28"/>
                </a:cxn>
                <a:cxn ang="0">
                  <a:pos x="4" y="20"/>
                </a:cxn>
                <a:cxn ang="0">
                  <a:pos x="16" y="20"/>
                </a:cxn>
                <a:cxn ang="0">
                  <a:pos x="20" y="24"/>
                </a:cxn>
                <a:cxn ang="0">
                  <a:pos x="28" y="20"/>
                </a:cxn>
                <a:cxn ang="0">
                  <a:pos x="36" y="12"/>
                </a:cxn>
                <a:cxn ang="0">
                  <a:pos x="36" y="4"/>
                </a:cxn>
                <a:cxn ang="0">
                  <a:pos x="48" y="0"/>
                </a:cxn>
                <a:cxn ang="0">
                  <a:pos x="60" y="12"/>
                </a:cxn>
                <a:cxn ang="0">
                  <a:pos x="72" y="16"/>
                </a:cxn>
                <a:cxn ang="0">
                  <a:pos x="84" y="16"/>
                </a:cxn>
                <a:cxn ang="0">
                  <a:pos x="88" y="28"/>
                </a:cxn>
                <a:cxn ang="0">
                  <a:pos x="84" y="32"/>
                </a:cxn>
                <a:cxn ang="0">
                  <a:pos x="76" y="28"/>
                </a:cxn>
                <a:cxn ang="0">
                  <a:pos x="64" y="32"/>
                </a:cxn>
                <a:cxn ang="0">
                  <a:pos x="52" y="28"/>
                </a:cxn>
                <a:cxn ang="0">
                  <a:pos x="40" y="32"/>
                </a:cxn>
                <a:cxn ang="0">
                  <a:pos x="36" y="36"/>
                </a:cxn>
                <a:cxn ang="0">
                  <a:pos x="40" y="48"/>
                </a:cxn>
                <a:cxn ang="0">
                  <a:pos x="48" y="56"/>
                </a:cxn>
                <a:cxn ang="0">
                  <a:pos x="60" y="64"/>
                </a:cxn>
                <a:cxn ang="0">
                  <a:pos x="64" y="72"/>
                </a:cxn>
              </a:cxnLst>
              <a:rect l="0" t="0" r="r" b="b"/>
              <a:pathLst>
                <a:path w="92" h="87">
                  <a:moveTo>
                    <a:pt x="64" y="76"/>
                  </a:moveTo>
                  <a:lnTo>
                    <a:pt x="68" y="76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72" y="84"/>
                  </a:lnTo>
                  <a:lnTo>
                    <a:pt x="76" y="84"/>
                  </a:lnTo>
                  <a:lnTo>
                    <a:pt x="76" y="87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68" y="80"/>
                  </a:lnTo>
                  <a:lnTo>
                    <a:pt x="64" y="80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60" y="76"/>
                  </a:lnTo>
                  <a:lnTo>
                    <a:pt x="64" y="76"/>
                  </a:lnTo>
                  <a:close/>
                  <a:moveTo>
                    <a:pt x="20" y="32"/>
                  </a:moveTo>
                  <a:lnTo>
                    <a:pt x="16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32"/>
                  </a:lnTo>
                  <a:close/>
                  <a:moveTo>
                    <a:pt x="16" y="40"/>
                  </a:moveTo>
                  <a:lnTo>
                    <a:pt x="12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6"/>
                  </a:lnTo>
                  <a:lnTo>
                    <a:pt x="16" y="40"/>
                  </a:lnTo>
                  <a:close/>
                  <a:moveTo>
                    <a:pt x="16" y="44"/>
                  </a:moveTo>
                  <a:lnTo>
                    <a:pt x="16" y="40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44"/>
                  </a:lnTo>
                  <a:close/>
                  <a:moveTo>
                    <a:pt x="20" y="40"/>
                  </a:moveTo>
                  <a:lnTo>
                    <a:pt x="24" y="40"/>
                  </a:lnTo>
                  <a:lnTo>
                    <a:pt x="24" y="44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0" y="40"/>
                  </a:lnTo>
                  <a:close/>
                  <a:moveTo>
                    <a:pt x="28" y="56"/>
                  </a:moveTo>
                  <a:lnTo>
                    <a:pt x="24" y="56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8" y="56"/>
                  </a:lnTo>
                  <a:close/>
                  <a:moveTo>
                    <a:pt x="48" y="68"/>
                  </a:moveTo>
                  <a:lnTo>
                    <a:pt x="44" y="68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48" y="68"/>
                  </a:lnTo>
                  <a:close/>
                  <a:moveTo>
                    <a:pt x="56" y="72"/>
                  </a:moveTo>
                  <a:lnTo>
                    <a:pt x="52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8" y="72"/>
                  </a:lnTo>
                  <a:lnTo>
                    <a:pt x="52" y="72"/>
                  </a:lnTo>
                  <a:lnTo>
                    <a:pt x="56" y="72"/>
                  </a:lnTo>
                  <a:close/>
                  <a:moveTo>
                    <a:pt x="40" y="76"/>
                  </a:moveTo>
                  <a:lnTo>
                    <a:pt x="40" y="72"/>
                  </a:lnTo>
                  <a:lnTo>
                    <a:pt x="44" y="72"/>
                  </a:lnTo>
                  <a:lnTo>
                    <a:pt x="44" y="76"/>
                  </a:lnTo>
                  <a:lnTo>
                    <a:pt x="40" y="76"/>
                  </a:lnTo>
                  <a:close/>
                  <a:moveTo>
                    <a:pt x="52" y="76"/>
                  </a:moveTo>
                  <a:lnTo>
                    <a:pt x="48" y="76"/>
                  </a:lnTo>
                  <a:lnTo>
                    <a:pt x="52" y="76"/>
                  </a:lnTo>
                  <a:lnTo>
                    <a:pt x="56" y="76"/>
                  </a:lnTo>
                  <a:lnTo>
                    <a:pt x="52" y="76"/>
                  </a:lnTo>
                  <a:close/>
                  <a:moveTo>
                    <a:pt x="64" y="80"/>
                  </a:moveTo>
                  <a:lnTo>
                    <a:pt x="60" y="80"/>
                  </a:lnTo>
                  <a:lnTo>
                    <a:pt x="64" y="80"/>
                  </a:lnTo>
                  <a:close/>
                  <a:moveTo>
                    <a:pt x="64" y="76"/>
                  </a:moveTo>
                  <a:lnTo>
                    <a:pt x="60" y="76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2" y="56"/>
                  </a:lnTo>
                  <a:lnTo>
                    <a:pt x="28" y="56"/>
                  </a:lnTo>
                  <a:lnTo>
                    <a:pt x="28" y="52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8" y="48"/>
                  </a:lnTo>
                  <a:lnTo>
                    <a:pt x="32" y="48"/>
                  </a:lnTo>
                  <a:lnTo>
                    <a:pt x="28" y="44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4" y="32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4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12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88" y="28"/>
                  </a:lnTo>
                  <a:lnTo>
                    <a:pt x="92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4" y="36"/>
                  </a:lnTo>
                  <a:lnTo>
                    <a:pt x="80" y="36"/>
                  </a:lnTo>
                  <a:lnTo>
                    <a:pt x="80" y="32"/>
                  </a:lnTo>
                  <a:lnTo>
                    <a:pt x="76" y="28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68" y="32"/>
                  </a:lnTo>
                  <a:lnTo>
                    <a:pt x="64" y="32"/>
                  </a:lnTo>
                  <a:lnTo>
                    <a:pt x="64" y="28"/>
                  </a:lnTo>
                  <a:lnTo>
                    <a:pt x="60" y="28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36" y="28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40" y="40"/>
                  </a:lnTo>
                  <a:lnTo>
                    <a:pt x="40" y="44"/>
                  </a:lnTo>
                  <a:lnTo>
                    <a:pt x="40" y="48"/>
                  </a:lnTo>
                  <a:lnTo>
                    <a:pt x="44" y="48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52" y="60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8" name="Freeform 85"/>
            <p:cNvSpPr>
              <a:spLocks/>
            </p:cNvSpPr>
            <p:nvPr>
              <p:custDataLst>
                <p:tags r:id="rId281"/>
              </p:custDataLst>
            </p:nvPr>
          </p:nvSpPr>
          <p:spPr bwMode="gray">
            <a:xfrm>
              <a:off x="4647462" y="3112891"/>
              <a:ext cx="154239" cy="83052"/>
            </a:xfrm>
            <a:custGeom>
              <a:avLst/>
              <a:gdLst/>
              <a:ahLst/>
              <a:cxnLst>
                <a:cxn ang="0">
                  <a:pos x="88" y="44"/>
                </a:cxn>
                <a:cxn ang="0">
                  <a:pos x="84" y="48"/>
                </a:cxn>
                <a:cxn ang="0">
                  <a:pos x="76" y="48"/>
                </a:cxn>
                <a:cxn ang="0">
                  <a:pos x="72" y="52"/>
                </a:cxn>
                <a:cxn ang="0">
                  <a:pos x="72" y="52"/>
                </a:cxn>
                <a:cxn ang="0">
                  <a:pos x="64" y="48"/>
                </a:cxn>
                <a:cxn ang="0">
                  <a:pos x="60" y="52"/>
                </a:cxn>
                <a:cxn ang="0">
                  <a:pos x="56" y="48"/>
                </a:cxn>
                <a:cxn ang="0">
                  <a:pos x="52" y="48"/>
                </a:cxn>
                <a:cxn ang="0">
                  <a:pos x="48" y="44"/>
                </a:cxn>
                <a:cxn ang="0">
                  <a:pos x="44" y="44"/>
                </a:cxn>
                <a:cxn ang="0">
                  <a:pos x="40" y="48"/>
                </a:cxn>
                <a:cxn ang="0">
                  <a:pos x="40" y="56"/>
                </a:cxn>
                <a:cxn ang="0">
                  <a:pos x="36" y="56"/>
                </a:cxn>
                <a:cxn ang="0">
                  <a:pos x="28" y="52"/>
                </a:cxn>
                <a:cxn ang="0">
                  <a:pos x="24" y="48"/>
                </a:cxn>
                <a:cxn ang="0">
                  <a:pos x="24" y="48"/>
                </a:cxn>
                <a:cxn ang="0">
                  <a:pos x="20" y="44"/>
                </a:cxn>
                <a:cxn ang="0">
                  <a:pos x="12" y="40"/>
                </a:cxn>
                <a:cxn ang="0">
                  <a:pos x="8" y="32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8" y="4"/>
                </a:cxn>
                <a:cxn ang="0">
                  <a:pos x="32" y="0"/>
                </a:cxn>
                <a:cxn ang="0">
                  <a:pos x="36" y="0"/>
                </a:cxn>
                <a:cxn ang="0">
                  <a:pos x="40" y="4"/>
                </a:cxn>
                <a:cxn ang="0">
                  <a:pos x="40" y="4"/>
                </a:cxn>
                <a:cxn ang="0">
                  <a:pos x="48" y="0"/>
                </a:cxn>
                <a:cxn ang="0">
                  <a:pos x="48" y="4"/>
                </a:cxn>
                <a:cxn ang="0">
                  <a:pos x="52" y="4"/>
                </a:cxn>
                <a:cxn ang="0">
                  <a:pos x="60" y="8"/>
                </a:cxn>
                <a:cxn ang="0">
                  <a:pos x="64" y="8"/>
                </a:cxn>
                <a:cxn ang="0">
                  <a:pos x="64" y="12"/>
                </a:cxn>
                <a:cxn ang="0">
                  <a:pos x="64" y="16"/>
                </a:cxn>
                <a:cxn ang="0">
                  <a:pos x="68" y="20"/>
                </a:cxn>
                <a:cxn ang="0">
                  <a:pos x="72" y="20"/>
                </a:cxn>
                <a:cxn ang="0">
                  <a:pos x="76" y="20"/>
                </a:cxn>
                <a:cxn ang="0">
                  <a:pos x="72" y="12"/>
                </a:cxn>
                <a:cxn ang="0">
                  <a:pos x="76" y="16"/>
                </a:cxn>
                <a:cxn ang="0">
                  <a:pos x="84" y="16"/>
                </a:cxn>
                <a:cxn ang="0">
                  <a:pos x="84" y="16"/>
                </a:cxn>
                <a:cxn ang="0">
                  <a:pos x="84" y="20"/>
                </a:cxn>
                <a:cxn ang="0">
                  <a:pos x="92" y="20"/>
                </a:cxn>
                <a:cxn ang="0">
                  <a:pos x="100" y="24"/>
                </a:cxn>
                <a:cxn ang="0">
                  <a:pos x="100" y="32"/>
                </a:cxn>
                <a:cxn ang="0">
                  <a:pos x="100" y="32"/>
                </a:cxn>
                <a:cxn ang="0">
                  <a:pos x="92" y="40"/>
                </a:cxn>
                <a:cxn ang="0">
                  <a:pos x="92" y="40"/>
                </a:cxn>
              </a:cxnLst>
              <a:rect l="0" t="0" r="r" b="b"/>
              <a:pathLst>
                <a:path w="104" h="56">
                  <a:moveTo>
                    <a:pt x="92" y="40"/>
                  </a:move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88" y="44"/>
                  </a:lnTo>
                  <a:lnTo>
                    <a:pt x="88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4" y="52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6" y="20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6" y="12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96" y="36"/>
                  </a:lnTo>
                  <a:lnTo>
                    <a:pt x="96" y="36"/>
                  </a:lnTo>
                  <a:lnTo>
                    <a:pt x="96" y="36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2" y="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89" name="Denmark"/>
            <p:cNvSpPr>
              <a:spLocks noEditPoints="1"/>
            </p:cNvSpPr>
            <p:nvPr>
              <p:custDataLst>
                <p:tags r:id="rId282"/>
              </p:custDataLst>
            </p:nvPr>
          </p:nvSpPr>
          <p:spPr bwMode="gray">
            <a:xfrm>
              <a:off x="4558478" y="2881533"/>
              <a:ext cx="154239" cy="112713"/>
            </a:xfrm>
            <a:custGeom>
              <a:avLst/>
              <a:gdLst/>
              <a:ahLst/>
              <a:cxnLst>
                <a:cxn ang="0">
                  <a:pos x="4" y="24"/>
                </a:cxn>
                <a:cxn ang="0">
                  <a:pos x="8" y="16"/>
                </a:cxn>
                <a:cxn ang="0">
                  <a:pos x="24" y="12"/>
                </a:cxn>
                <a:cxn ang="0">
                  <a:pos x="36" y="4"/>
                </a:cxn>
                <a:cxn ang="0">
                  <a:pos x="32" y="16"/>
                </a:cxn>
                <a:cxn ang="0">
                  <a:pos x="16" y="16"/>
                </a:cxn>
                <a:cxn ang="0">
                  <a:pos x="4" y="24"/>
                </a:cxn>
                <a:cxn ang="0">
                  <a:pos x="24" y="64"/>
                </a:cxn>
                <a:cxn ang="0">
                  <a:pos x="16" y="68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0" y="40"/>
                </a:cxn>
                <a:cxn ang="0">
                  <a:pos x="4" y="40"/>
                </a:cxn>
                <a:cxn ang="0">
                  <a:pos x="0" y="28"/>
                </a:cxn>
                <a:cxn ang="0">
                  <a:pos x="12" y="24"/>
                </a:cxn>
                <a:cxn ang="0">
                  <a:pos x="16" y="28"/>
                </a:cxn>
                <a:cxn ang="0">
                  <a:pos x="24" y="16"/>
                </a:cxn>
                <a:cxn ang="0">
                  <a:pos x="24" y="28"/>
                </a:cxn>
                <a:cxn ang="0">
                  <a:pos x="32" y="32"/>
                </a:cxn>
                <a:cxn ang="0">
                  <a:pos x="40" y="32"/>
                </a:cxn>
                <a:cxn ang="0">
                  <a:pos x="36" y="36"/>
                </a:cxn>
                <a:cxn ang="0">
                  <a:pos x="24" y="44"/>
                </a:cxn>
                <a:cxn ang="0">
                  <a:pos x="24" y="48"/>
                </a:cxn>
                <a:cxn ang="0">
                  <a:pos x="44" y="12"/>
                </a:cxn>
                <a:cxn ang="0">
                  <a:pos x="12" y="24"/>
                </a:cxn>
                <a:cxn ang="0">
                  <a:pos x="64" y="56"/>
                </a:cxn>
                <a:cxn ang="0">
                  <a:pos x="56" y="60"/>
                </a:cxn>
                <a:cxn ang="0">
                  <a:pos x="44" y="52"/>
                </a:cxn>
                <a:cxn ang="0">
                  <a:pos x="52" y="44"/>
                </a:cxn>
                <a:cxn ang="0">
                  <a:pos x="56" y="44"/>
                </a:cxn>
                <a:cxn ang="0">
                  <a:pos x="60" y="44"/>
                </a:cxn>
                <a:cxn ang="0">
                  <a:pos x="56" y="44"/>
                </a:cxn>
                <a:cxn ang="0">
                  <a:pos x="68" y="44"/>
                </a:cxn>
                <a:cxn ang="0">
                  <a:pos x="36" y="48"/>
                </a:cxn>
                <a:cxn ang="0">
                  <a:pos x="32" y="52"/>
                </a:cxn>
                <a:cxn ang="0">
                  <a:pos x="40" y="56"/>
                </a:cxn>
                <a:cxn ang="0">
                  <a:pos x="28" y="64"/>
                </a:cxn>
                <a:cxn ang="0">
                  <a:pos x="24" y="52"/>
                </a:cxn>
                <a:cxn ang="0">
                  <a:pos x="100" y="56"/>
                </a:cxn>
                <a:cxn ang="0">
                  <a:pos x="36" y="68"/>
                </a:cxn>
                <a:cxn ang="0">
                  <a:pos x="44" y="64"/>
                </a:cxn>
                <a:cxn ang="0">
                  <a:pos x="28" y="68"/>
                </a:cxn>
                <a:cxn ang="0">
                  <a:pos x="28" y="64"/>
                </a:cxn>
                <a:cxn ang="0">
                  <a:pos x="36" y="68"/>
                </a:cxn>
                <a:cxn ang="0">
                  <a:pos x="68" y="68"/>
                </a:cxn>
                <a:cxn ang="0">
                  <a:pos x="32" y="68"/>
                </a:cxn>
                <a:cxn ang="0">
                  <a:pos x="56" y="68"/>
                </a:cxn>
                <a:cxn ang="0">
                  <a:pos x="56" y="72"/>
                </a:cxn>
                <a:cxn ang="0">
                  <a:pos x="56" y="68"/>
                </a:cxn>
                <a:cxn ang="0">
                  <a:pos x="52" y="68"/>
                </a:cxn>
                <a:cxn ang="0">
                  <a:pos x="44" y="72"/>
                </a:cxn>
              </a:cxnLst>
              <a:rect l="0" t="0" r="r" b="b"/>
              <a:pathLst>
                <a:path w="104" h="76">
                  <a:moveTo>
                    <a:pt x="4" y="24"/>
                  </a:moveTo>
                  <a:lnTo>
                    <a:pt x="8" y="24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28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4"/>
                  </a:lnTo>
                  <a:lnTo>
                    <a:pt x="4" y="24"/>
                  </a:lnTo>
                  <a:close/>
                  <a:moveTo>
                    <a:pt x="20" y="56"/>
                  </a:moveTo>
                  <a:lnTo>
                    <a:pt x="24" y="60"/>
                  </a:lnTo>
                  <a:lnTo>
                    <a:pt x="20" y="60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44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2" y="32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40"/>
                  </a:lnTo>
                  <a:lnTo>
                    <a:pt x="32" y="44"/>
                  </a:lnTo>
                  <a:lnTo>
                    <a:pt x="28" y="44"/>
                  </a:lnTo>
                  <a:lnTo>
                    <a:pt x="24" y="44"/>
                  </a:lnTo>
                  <a:lnTo>
                    <a:pt x="28" y="44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0" y="56"/>
                  </a:lnTo>
                  <a:close/>
                  <a:moveTo>
                    <a:pt x="44" y="12"/>
                  </a:moveTo>
                  <a:lnTo>
                    <a:pt x="40" y="12"/>
                  </a:lnTo>
                  <a:lnTo>
                    <a:pt x="44" y="12"/>
                  </a:lnTo>
                  <a:close/>
                  <a:moveTo>
                    <a:pt x="8" y="24"/>
                  </a:moveTo>
                  <a:lnTo>
                    <a:pt x="4" y="24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8" y="24"/>
                  </a:lnTo>
                  <a:close/>
                  <a:moveTo>
                    <a:pt x="64" y="52"/>
                  </a:moveTo>
                  <a:lnTo>
                    <a:pt x="60" y="52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0" y="60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56" y="60"/>
                  </a:lnTo>
                  <a:lnTo>
                    <a:pt x="52" y="60"/>
                  </a:lnTo>
                  <a:lnTo>
                    <a:pt x="48" y="60"/>
                  </a:lnTo>
                  <a:lnTo>
                    <a:pt x="44" y="56"/>
                  </a:lnTo>
                  <a:lnTo>
                    <a:pt x="48" y="56"/>
                  </a:lnTo>
                  <a:lnTo>
                    <a:pt x="44" y="52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4" y="48"/>
                  </a:lnTo>
                  <a:lnTo>
                    <a:pt x="48" y="48"/>
                  </a:lnTo>
                  <a:lnTo>
                    <a:pt x="52" y="44"/>
                  </a:lnTo>
                  <a:lnTo>
                    <a:pt x="48" y="44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52" y="44"/>
                  </a:lnTo>
                  <a:lnTo>
                    <a:pt x="56" y="44"/>
                  </a:lnTo>
                  <a:lnTo>
                    <a:pt x="52" y="44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60" y="48"/>
                  </a:lnTo>
                  <a:lnTo>
                    <a:pt x="60" y="44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60" y="40"/>
                  </a:lnTo>
                  <a:lnTo>
                    <a:pt x="64" y="40"/>
                  </a:lnTo>
                  <a:lnTo>
                    <a:pt x="68" y="40"/>
                  </a:lnTo>
                  <a:lnTo>
                    <a:pt x="68" y="44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4" y="52"/>
                  </a:lnTo>
                  <a:close/>
                  <a:moveTo>
                    <a:pt x="36" y="44"/>
                  </a:moveTo>
                  <a:lnTo>
                    <a:pt x="36" y="48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6" y="44"/>
                  </a:lnTo>
                  <a:close/>
                  <a:moveTo>
                    <a:pt x="28" y="52"/>
                  </a:moveTo>
                  <a:lnTo>
                    <a:pt x="32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32" y="64"/>
                  </a:lnTo>
                  <a:lnTo>
                    <a:pt x="28" y="64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8" y="56"/>
                  </a:lnTo>
                  <a:lnTo>
                    <a:pt x="24" y="56"/>
                  </a:lnTo>
                  <a:lnTo>
                    <a:pt x="24" y="52"/>
                  </a:lnTo>
                  <a:lnTo>
                    <a:pt x="28" y="52"/>
                  </a:lnTo>
                  <a:close/>
                  <a:moveTo>
                    <a:pt x="104" y="64"/>
                  </a:moveTo>
                  <a:lnTo>
                    <a:pt x="100" y="64"/>
                  </a:lnTo>
                  <a:lnTo>
                    <a:pt x="100" y="60"/>
                  </a:lnTo>
                  <a:lnTo>
                    <a:pt x="100" y="56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4" y="64"/>
                  </a:lnTo>
                  <a:close/>
                  <a:moveTo>
                    <a:pt x="40" y="72"/>
                  </a:moveTo>
                  <a:lnTo>
                    <a:pt x="36" y="68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72"/>
                  </a:lnTo>
                  <a:close/>
                  <a:moveTo>
                    <a:pt x="28" y="64"/>
                  </a:moveTo>
                  <a:lnTo>
                    <a:pt x="28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8" y="64"/>
                  </a:lnTo>
                  <a:close/>
                  <a:moveTo>
                    <a:pt x="36" y="68"/>
                  </a:moveTo>
                  <a:lnTo>
                    <a:pt x="36" y="64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36" y="68"/>
                  </a:lnTo>
                  <a:close/>
                  <a:moveTo>
                    <a:pt x="60" y="68"/>
                  </a:moveTo>
                  <a:lnTo>
                    <a:pt x="60" y="64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4" y="68"/>
                  </a:lnTo>
                  <a:lnTo>
                    <a:pt x="60" y="68"/>
                  </a:lnTo>
                  <a:close/>
                  <a:moveTo>
                    <a:pt x="32" y="68"/>
                  </a:moveTo>
                  <a:lnTo>
                    <a:pt x="32" y="64"/>
                  </a:lnTo>
                  <a:lnTo>
                    <a:pt x="32" y="68"/>
                  </a:lnTo>
                  <a:lnTo>
                    <a:pt x="36" y="68"/>
                  </a:lnTo>
                  <a:lnTo>
                    <a:pt x="32" y="68"/>
                  </a:lnTo>
                  <a:close/>
                  <a:moveTo>
                    <a:pt x="56" y="68"/>
                  </a:moveTo>
                  <a:lnTo>
                    <a:pt x="60" y="68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56" y="68"/>
                  </a:lnTo>
                  <a:close/>
                  <a:moveTo>
                    <a:pt x="44" y="68"/>
                  </a:moveTo>
                  <a:lnTo>
                    <a:pt x="44" y="64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6" y="68"/>
                  </a:lnTo>
                  <a:lnTo>
                    <a:pt x="56" y="72"/>
                  </a:lnTo>
                  <a:lnTo>
                    <a:pt x="52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4" y="68"/>
                  </a:lnTo>
                  <a:close/>
                </a:path>
              </a:pathLst>
            </a:custGeom>
            <a:solidFill>
              <a:schemeClr val="accent4"/>
            </a:solidFill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0" name="Freeform 87"/>
            <p:cNvSpPr>
              <a:spLocks noEditPoints="1"/>
            </p:cNvSpPr>
            <p:nvPr>
              <p:custDataLst>
                <p:tags r:id="rId283"/>
              </p:custDataLst>
            </p:nvPr>
          </p:nvSpPr>
          <p:spPr bwMode="gray">
            <a:xfrm>
              <a:off x="4866955" y="2810346"/>
              <a:ext cx="140891" cy="77119"/>
            </a:xfrm>
            <a:custGeom>
              <a:avLst/>
              <a:gdLst/>
              <a:ahLst/>
              <a:cxnLst>
                <a:cxn ang="0">
                  <a:pos x="95" y="12"/>
                </a:cxn>
                <a:cxn ang="0">
                  <a:pos x="92" y="12"/>
                </a:cxn>
                <a:cxn ang="0">
                  <a:pos x="88" y="20"/>
                </a:cxn>
                <a:cxn ang="0">
                  <a:pos x="84" y="24"/>
                </a:cxn>
                <a:cxn ang="0">
                  <a:pos x="88" y="32"/>
                </a:cxn>
                <a:cxn ang="0">
                  <a:pos x="88" y="40"/>
                </a:cxn>
                <a:cxn ang="0">
                  <a:pos x="92" y="44"/>
                </a:cxn>
                <a:cxn ang="0">
                  <a:pos x="88" y="48"/>
                </a:cxn>
                <a:cxn ang="0">
                  <a:pos x="80" y="52"/>
                </a:cxn>
                <a:cxn ang="0">
                  <a:pos x="72" y="52"/>
                </a:cxn>
                <a:cxn ang="0">
                  <a:pos x="64" y="48"/>
                </a:cxn>
                <a:cxn ang="0">
                  <a:pos x="56" y="40"/>
                </a:cxn>
                <a:cxn ang="0">
                  <a:pos x="52" y="40"/>
                </a:cxn>
                <a:cxn ang="0">
                  <a:pos x="48" y="40"/>
                </a:cxn>
                <a:cxn ang="0">
                  <a:pos x="36" y="44"/>
                </a:cxn>
                <a:cxn ang="0">
                  <a:pos x="40" y="40"/>
                </a:cxn>
                <a:cxn ang="0">
                  <a:pos x="40" y="36"/>
                </a:cxn>
                <a:cxn ang="0">
                  <a:pos x="36" y="32"/>
                </a:cxn>
                <a:cxn ang="0">
                  <a:pos x="32" y="36"/>
                </a:cxn>
                <a:cxn ang="0">
                  <a:pos x="28" y="32"/>
                </a:cxn>
                <a:cxn ang="0">
                  <a:pos x="28" y="24"/>
                </a:cxn>
                <a:cxn ang="0">
                  <a:pos x="24" y="20"/>
                </a:cxn>
                <a:cxn ang="0">
                  <a:pos x="28" y="16"/>
                </a:cxn>
                <a:cxn ang="0">
                  <a:pos x="24" y="16"/>
                </a:cxn>
                <a:cxn ang="0">
                  <a:pos x="28" y="12"/>
                </a:cxn>
                <a:cxn ang="0">
                  <a:pos x="32" y="12"/>
                </a:cxn>
                <a:cxn ang="0">
                  <a:pos x="36" y="8"/>
                </a:cxn>
                <a:cxn ang="0">
                  <a:pos x="40" y="8"/>
                </a:cxn>
                <a:cxn ang="0">
                  <a:pos x="48" y="4"/>
                </a:cxn>
                <a:cxn ang="0">
                  <a:pos x="52" y="8"/>
                </a:cxn>
                <a:cxn ang="0">
                  <a:pos x="60" y="4"/>
                </a:cxn>
                <a:cxn ang="0">
                  <a:pos x="64" y="4"/>
                </a:cxn>
                <a:cxn ang="0">
                  <a:pos x="72" y="4"/>
                </a:cxn>
                <a:cxn ang="0">
                  <a:pos x="76" y="8"/>
                </a:cxn>
                <a:cxn ang="0">
                  <a:pos x="80" y="8"/>
                </a:cxn>
                <a:cxn ang="0">
                  <a:pos x="92" y="8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16" y="20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20" y="16"/>
                </a:cxn>
                <a:cxn ang="0">
                  <a:pos x="24" y="28"/>
                </a:cxn>
                <a:cxn ang="0">
                  <a:pos x="20" y="28"/>
                </a:cxn>
                <a:cxn ang="0">
                  <a:pos x="20" y="24"/>
                </a:cxn>
                <a:cxn ang="0">
                  <a:pos x="4" y="40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12" y="28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8" y="36"/>
                </a:cxn>
                <a:cxn ang="0">
                  <a:pos x="4" y="44"/>
                </a:cxn>
              </a:cxnLst>
              <a:rect l="0" t="0" r="r" b="b"/>
              <a:pathLst>
                <a:path w="95" h="52">
                  <a:moveTo>
                    <a:pt x="92" y="8"/>
                  </a:moveTo>
                  <a:lnTo>
                    <a:pt x="92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88" y="44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4" y="48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52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4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40" y="44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close/>
                  <a:moveTo>
                    <a:pt x="12" y="24"/>
                  </a:move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close/>
                  <a:moveTo>
                    <a:pt x="20" y="16"/>
                  </a:move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close/>
                  <a:moveTo>
                    <a:pt x="20" y="24"/>
                  </a:move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close/>
                  <a:moveTo>
                    <a:pt x="4" y="44"/>
                  </a:moveTo>
                  <a:lnTo>
                    <a:pt x="4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1" name="Freeform 88"/>
            <p:cNvSpPr>
              <a:spLocks noEditPoints="1"/>
            </p:cNvSpPr>
            <p:nvPr>
              <p:custDataLst>
                <p:tags r:id="rId284"/>
              </p:custDataLst>
            </p:nvPr>
          </p:nvSpPr>
          <p:spPr bwMode="gray">
            <a:xfrm>
              <a:off x="4209958" y="2716912"/>
              <a:ext cx="23729" cy="34110"/>
            </a:xfrm>
            <a:custGeom>
              <a:avLst/>
              <a:gdLst/>
              <a:ahLst/>
              <a:cxnLst>
                <a:cxn ang="0">
                  <a:pos x="12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5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12" y="23"/>
                </a:cxn>
                <a:cxn ang="0">
                  <a:pos x="8" y="19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8" y="15"/>
                </a:cxn>
                <a:cxn ang="0">
                  <a:pos x="12" y="19"/>
                </a:cxn>
                <a:cxn ang="0">
                  <a:pos x="12" y="23"/>
                </a:cxn>
                <a:cxn ang="0">
                  <a:pos x="12" y="23"/>
                </a:cxn>
              </a:cxnLst>
              <a:rect l="0" t="0" r="r" b="b"/>
              <a:pathLst>
                <a:path w="16" h="23">
                  <a:moveTo>
                    <a:pt x="12" y="15"/>
                  </a:moveTo>
                  <a:lnTo>
                    <a:pt x="12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5"/>
                  </a:lnTo>
                  <a:close/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2" y="4"/>
                  </a:lnTo>
                  <a:close/>
                  <a:moveTo>
                    <a:pt x="12" y="8"/>
                  </a:moveTo>
                  <a:lnTo>
                    <a:pt x="12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close/>
                  <a:moveTo>
                    <a:pt x="12" y="12"/>
                  </a:move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12"/>
                  </a:lnTo>
                  <a:close/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close/>
                  <a:moveTo>
                    <a:pt x="12" y="23"/>
                  </a:moveTo>
                  <a:lnTo>
                    <a:pt x="12" y="23"/>
                  </a:lnTo>
                  <a:lnTo>
                    <a:pt x="12" y="23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9"/>
                  </a:lnTo>
                  <a:lnTo>
                    <a:pt x="12" y="19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2" name="Freeform 89"/>
            <p:cNvSpPr>
              <a:spLocks noEditPoints="1"/>
            </p:cNvSpPr>
            <p:nvPr>
              <p:custDataLst>
                <p:tags r:id="rId285"/>
              </p:custDataLst>
            </p:nvPr>
          </p:nvSpPr>
          <p:spPr bwMode="gray">
            <a:xfrm>
              <a:off x="4813565" y="2414367"/>
              <a:ext cx="271400" cy="395978"/>
            </a:xfrm>
            <a:custGeom>
              <a:avLst/>
              <a:gdLst/>
              <a:ahLst/>
              <a:cxnLst>
                <a:cxn ang="0">
                  <a:pos x="44" y="255"/>
                </a:cxn>
                <a:cxn ang="0">
                  <a:pos x="36" y="251"/>
                </a:cxn>
                <a:cxn ang="0">
                  <a:pos x="28" y="235"/>
                </a:cxn>
                <a:cxn ang="0">
                  <a:pos x="32" y="223"/>
                </a:cxn>
                <a:cxn ang="0">
                  <a:pos x="28" y="208"/>
                </a:cxn>
                <a:cxn ang="0">
                  <a:pos x="28" y="192"/>
                </a:cxn>
                <a:cxn ang="0">
                  <a:pos x="32" y="184"/>
                </a:cxn>
                <a:cxn ang="0">
                  <a:pos x="40" y="176"/>
                </a:cxn>
                <a:cxn ang="0">
                  <a:pos x="52" y="168"/>
                </a:cxn>
                <a:cxn ang="0">
                  <a:pos x="68" y="156"/>
                </a:cxn>
                <a:cxn ang="0">
                  <a:pos x="80" y="140"/>
                </a:cxn>
                <a:cxn ang="0">
                  <a:pos x="88" y="132"/>
                </a:cxn>
                <a:cxn ang="0">
                  <a:pos x="84" y="120"/>
                </a:cxn>
                <a:cxn ang="0">
                  <a:pos x="72" y="116"/>
                </a:cxn>
                <a:cxn ang="0">
                  <a:pos x="68" y="96"/>
                </a:cxn>
                <a:cxn ang="0">
                  <a:pos x="64" y="72"/>
                </a:cxn>
                <a:cxn ang="0">
                  <a:pos x="60" y="56"/>
                </a:cxn>
                <a:cxn ang="0">
                  <a:pos x="32" y="44"/>
                </a:cxn>
                <a:cxn ang="0">
                  <a:pos x="16" y="28"/>
                </a:cxn>
                <a:cxn ang="0">
                  <a:pos x="28" y="24"/>
                </a:cxn>
                <a:cxn ang="0">
                  <a:pos x="44" y="40"/>
                </a:cxn>
                <a:cxn ang="0">
                  <a:pos x="64" y="36"/>
                </a:cxn>
                <a:cxn ang="0">
                  <a:pos x="84" y="44"/>
                </a:cxn>
                <a:cxn ang="0">
                  <a:pos x="92" y="36"/>
                </a:cxn>
                <a:cxn ang="0">
                  <a:pos x="96" y="16"/>
                </a:cxn>
                <a:cxn ang="0">
                  <a:pos x="104" y="4"/>
                </a:cxn>
                <a:cxn ang="0">
                  <a:pos x="124" y="0"/>
                </a:cxn>
                <a:cxn ang="0">
                  <a:pos x="139" y="12"/>
                </a:cxn>
                <a:cxn ang="0">
                  <a:pos x="143" y="24"/>
                </a:cxn>
                <a:cxn ang="0">
                  <a:pos x="135" y="32"/>
                </a:cxn>
                <a:cxn ang="0">
                  <a:pos x="139" y="52"/>
                </a:cxn>
                <a:cxn ang="0">
                  <a:pos x="159" y="68"/>
                </a:cxn>
                <a:cxn ang="0">
                  <a:pos x="143" y="88"/>
                </a:cxn>
                <a:cxn ang="0">
                  <a:pos x="155" y="108"/>
                </a:cxn>
                <a:cxn ang="0">
                  <a:pos x="155" y="124"/>
                </a:cxn>
                <a:cxn ang="0">
                  <a:pos x="151" y="136"/>
                </a:cxn>
                <a:cxn ang="0">
                  <a:pos x="159" y="148"/>
                </a:cxn>
                <a:cxn ang="0">
                  <a:pos x="167" y="164"/>
                </a:cxn>
                <a:cxn ang="0">
                  <a:pos x="171" y="176"/>
                </a:cxn>
                <a:cxn ang="0">
                  <a:pos x="179" y="192"/>
                </a:cxn>
                <a:cxn ang="0">
                  <a:pos x="167" y="208"/>
                </a:cxn>
                <a:cxn ang="0">
                  <a:pos x="151" y="227"/>
                </a:cxn>
                <a:cxn ang="0">
                  <a:pos x="135" y="239"/>
                </a:cxn>
                <a:cxn ang="0">
                  <a:pos x="120" y="251"/>
                </a:cxn>
                <a:cxn ang="0">
                  <a:pos x="108" y="247"/>
                </a:cxn>
                <a:cxn ang="0">
                  <a:pos x="104" y="251"/>
                </a:cxn>
                <a:cxn ang="0">
                  <a:pos x="92" y="255"/>
                </a:cxn>
                <a:cxn ang="0">
                  <a:pos x="84" y="255"/>
                </a:cxn>
                <a:cxn ang="0">
                  <a:pos x="72" y="259"/>
                </a:cxn>
                <a:cxn ang="0">
                  <a:pos x="56" y="263"/>
                </a:cxn>
                <a:cxn ang="0">
                  <a:pos x="56" y="263"/>
                </a:cxn>
                <a:cxn ang="0">
                  <a:pos x="80" y="136"/>
                </a:cxn>
                <a:cxn ang="0">
                  <a:pos x="28" y="184"/>
                </a:cxn>
                <a:cxn ang="0">
                  <a:pos x="4" y="259"/>
                </a:cxn>
                <a:cxn ang="0">
                  <a:pos x="4" y="251"/>
                </a:cxn>
                <a:cxn ang="0">
                  <a:pos x="44" y="255"/>
                </a:cxn>
                <a:cxn ang="0">
                  <a:pos x="48" y="263"/>
                </a:cxn>
                <a:cxn ang="0">
                  <a:pos x="52" y="259"/>
                </a:cxn>
                <a:cxn ang="0">
                  <a:pos x="36" y="255"/>
                </a:cxn>
                <a:cxn ang="0">
                  <a:pos x="52" y="263"/>
                </a:cxn>
              </a:cxnLst>
              <a:rect l="0" t="0" r="r" b="b"/>
              <a:pathLst>
                <a:path w="183" h="267">
                  <a:moveTo>
                    <a:pt x="52" y="259"/>
                  </a:moveTo>
                  <a:lnTo>
                    <a:pt x="52" y="255"/>
                  </a:lnTo>
                  <a:lnTo>
                    <a:pt x="56" y="251"/>
                  </a:lnTo>
                  <a:lnTo>
                    <a:pt x="52" y="255"/>
                  </a:lnTo>
                  <a:lnTo>
                    <a:pt x="48" y="255"/>
                  </a:lnTo>
                  <a:lnTo>
                    <a:pt x="44" y="255"/>
                  </a:lnTo>
                  <a:lnTo>
                    <a:pt x="48" y="255"/>
                  </a:lnTo>
                  <a:lnTo>
                    <a:pt x="48" y="251"/>
                  </a:lnTo>
                  <a:lnTo>
                    <a:pt x="44" y="251"/>
                  </a:lnTo>
                  <a:lnTo>
                    <a:pt x="40" y="251"/>
                  </a:lnTo>
                  <a:lnTo>
                    <a:pt x="36" y="247"/>
                  </a:lnTo>
                  <a:lnTo>
                    <a:pt x="36" y="251"/>
                  </a:lnTo>
                  <a:lnTo>
                    <a:pt x="36" y="247"/>
                  </a:lnTo>
                  <a:lnTo>
                    <a:pt x="32" y="247"/>
                  </a:lnTo>
                  <a:lnTo>
                    <a:pt x="28" y="247"/>
                  </a:lnTo>
                  <a:lnTo>
                    <a:pt x="28" y="243"/>
                  </a:lnTo>
                  <a:lnTo>
                    <a:pt x="28" y="239"/>
                  </a:lnTo>
                  <a:lnTo>
                    <a:pt x="28" y="235"/>
                  </a:lnTo>
                  <a:lnTo>
                    <a:pt x="28" y="231"/>
                  </a:lnTo>
                  <a:lnTo>
                    <a:pt x="32" y="231"/>
                  </a:lnTo>
                  <a:lnTo>
                    <a:pt x="32" y="227"/>
                  </a:lnTo>
                  <a:lnTo>
                    <a:pt x="32" y="223"/>
                  </a:lnTo>
                  <a:lnTo>
                    <a:pt x="28" y="223"/>
                  </a:lnTo>
                  <a:lnTo>
                    <a:pt x="32" y="223"/>
                  </a:lnTo>
                  <a:lnTo>
                    <a:pt x="32" y="219"/>
                  </a:lnTo>
                  <a:lnTo>
                    <a:pt x="28" y="219"/>
                  </a:lnTo>
                  <a:lnTo>
                    <a:pt x="32" y="216"/>
                  </a:lnTo>
                  <a:lnTo>
                    <a:pt x="28" y="216"/>
                  </a:lnTo>
                  <a:lnTo>
                    <a:pt x="28" y="212"/>
                  </a:lnTo>
                  <a:lnTo>
                    <a:pt x="28" y="208"/>
                  </a:lnTo>
                  <a:lnTo>
                    <a:pt x="28" y="204"/>
                  </a:lnTo>
                  <a:lnTo>
                    <a:pt x="24" y="204"/>
                  </a:lnTo>
                  <a:lnTo>
                    <a:pt x="24" y="200"/>
                  </a:lnTo>
                  <a:lnTo>
                    <a:pt x="24" y="196"/>
                  </a:lnTo>
                  <a:lnTo>
                    <a:pt x="24" y="192"/>
                  </a:lnTo>
                  <a:lnTo>
                    <a:pt x="28" y="192"/>
                  </a:lnTo>
                  <a:lnTo>
                    <a:pt x="28" y="188"/>
                  </a:lnTo>
                  <a:lnTo>
                    <a:pt x="32" y="184"/>
                  </a:lnTo>
                  <a:lnTo>
                    <a:pt x="32" y="188"/>
                  </a:lnTo>
                  <a:lnTo>
                    <a:pt x="32" y="184"/>
                  </a:lnTo>
                  <a:lnTo>
                    <a:pt x="32" y="180"/>
                  </a:lnTo>
                  <a:lnTo>
                    <a:pt x="32" y="184"/>
                  </a:lnTo>
                  <a:lnTo>
                    <a:pt x="36" y="180"/>
                  </a:lnTo>
                  <a:lnTo>
                    <a:pt x="36" y="184"/>
                  </a:lnTo>
                  <a:lnTo>
                    <a:pt x="40" y="180"/>
                  </a:lnTo>
                  <a:lnTo>
                    <a:pt x="44" y="180"/>
                  </a:lnTo>
                  <a:lnTo>
                    <a:pt x="44" y="176"/>
                  </a:lnTo>
                  <a:lnTo>
                    <a:pt x="40" y="176"/>
                  </a:lnTo>
                  <a:lnTo>
                    <a:pt x="44" y="176"/>
                  </a:lnTo>
                  <a:lnTo>
                    <a:pt x="44" y="172"/>
                  </a:lnTo>
                  <a:lnTo>
                    <a:pt x="48" y="168"/>
                  </a:lnTo>
                  <a:lnTo>
                    <a:pt x="48" y="172"/>
                  </a:lnTo>
                  <a:lnTo>
                    <a:pt x="52" y="172"/>
                  </a:lnTo>
                  <a:lnTo>
                    <a:pt x="52" y="168"/>
                  </a:lnTo>
                  <a:lnTo>
                    <a:pt x="56" y="164"/>
                  </a:lnTo>
                  <a:lnTo>
                    <a:pt x="60" y="164"/>
                  </a:lnTo>
                  <a:lnTo>
                    <a:pt x="60" y="160"/>
                  </a:lnTo>
                  <a:lnTo>
                    <a:pt x="64" y="160"/>
                  </a:lnTo>
                  <a:lnTo>
                    <a:pt x="64" y="156"/>
                  </a:lnTo>
                  <a:lnTo>
                    <a:pt x="68" y="156"/>
                  </a:lnTo>
                  <a:lnTo>
                    <a:pt x="68" y="152"/>
                  </a:lnTo>
                  <a:lnTo>
                    <a:pt x="72" y="152"/>
                  </a:lnTo>
                  <a:lnTo>
                    <a:pt x="72" y="148"/>
                  </a:lnTo>
                  <a:lnTo>
                    <a:pt x="76" y="144"/>
                  </a:lnTo>
                  <a:lnTo>
                    <a:pt x="76" y="140"/>
                  </a:lnTo>
                  <a:lnTo>
                    <a:pt x="80" y="140"/>
                  </a:lnTo>
                  <a:lnTo>
                    <a:pt x="84" y="140"/>
                  </a:lnTo>
                  <a:lnTo>
                    <a:pt x="88" y="140"/>
                  </a:lnTo>
                  <a:lnTo>
                    <a:pt x="88" y="136"/>
                  </a:lnTo>
                  <a:lnTo>
                    <a:pt x="92" y="136"/>
                  </a:lnTo>
                  <a:lnTo>
                    <a:pt x="88" y="136"/>
                  </a:lnTo>
                  <a:lnTo>
                    <a:pt x="88" y="132"/>
                  </a:lnTo>
                  <a:lnTo>
                    <a:pt x="88" y="128"/>
                  </a:lnTo>
                  <a:lnTo>
                    <a:pt x="88" y="124"/>
                  </a:lnTo>
                  <a:lnTo>
                    <a:pt x="88" y="120"/>
                  </a:lnTo>
                  <a:lnTo>
                    <a:pt x="84" y="120"/>
                  </a:lnTo>
                  <a:lnTo>
                    <a:pt x="84" y="124"/>
                  </a:lnTo>
                  <a:lnTo>
                    <a:pt x="84" y="120"/>
                  </a:lnTo>
                  <a:lnTo>
                    <a:pt x="80" y="120"/>
                  </a:lnTo>
                  <a:lnTo>
                    <a:pt x="76" y="116"/>
                  </a:lnTo>
                  <a:lnTo>
                    <a:pt x="80" y="112"/>
                  </a:lnTo>
                  <a:lnTo>
                    <a:pt x="76" y="112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68" y="108"/>
                  </a:lnTo>
                  <a:lnTo>
                    <a:pt x="64" y="108"/>
                  </a:lnTo>
                  <a:lnTo>
                    <a:pt x="64" y="104"/>
                  </a:lnTo>
                  <a:lnTo>
                    <a:pt x="64" y="100"/>
                  </a:lnTo>
                  <a:lnTo>
                    <a:pt x="64" y="96"/>
                  </a:lnTo>
                  <a:lnTo>
                    <a:pt x="68" y="96"/>
                  </a:lnTo>
                  <a:lnTo>
                    <a:pt x="68" y="92"/>
                  </a:lnTo>
                  <a:lnTo>
                    <a:pt x="68" y="88"/>
                  </a:lnTo>
                  <a:lnTo>
                    <a:pt x="64" y="84"/>
                  </a:lnTo>
                  <a:lnTo>
                    <a:pt x="60" y="80"/>
                  </a:lnTo>
                  <a:lnTo>
                    <a:pt x="64" y="76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64" y="60"/>
                  </a:lnTo>
                  <a:lnTo>
                    <a:pt x="60" y="56"/>
                  </a:lnTo>
                  <a:lnTo>
                    <a:pt x="52" y="48"/>
                  </a:lnTo>
                  <a:lnTo>
                    <a:pt x="48" y="48"/>
                  </a:lnTo>
                  <a:lnTo>
                    <a:pt x="44" y="44"/>
                  </a:lnTo>
                  <a:lnTo>
                    <a:pt x="40" y="44"/>
                  </a:lnTo>
                  <a:lnTo>
                    <a:pt x="36" y="44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4" y="36"/>
                  </a:lnTo>
                  <a:lnTo>
                    <a:pt x="20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8" y="36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60" y="40"/>
                  </a:lnTo>
                  <a:lnTo>
                    <a:pt x="64" y="40"/>
                  </a:lnTo>
                  <a:lnTo>
                    <a:pt x="64" y="36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6" y="40"/>
                  </a:lnTo>
                  <a:lnTo>
                    <a:pt x="80" y="40"/>
                  </a:lnTo>
                  <a:lnTo>
                    <a:pt x="84" y="44"/>
                  </a:lnTo>
                  <a:lnTo>
                    <a:pt x="84" y="40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96" y="28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0" y="12"/>
                  </a:lnTo>
                  <a:lnTo>
                    <a:pt x="96" y="12"/>
                  </a:lnTo>
                  <a:lnTo>
                    <a:pt x="100" y="12"/>
                  </a:lnTo>
                  <a:lnTo>
                    <a:pt x="104" y="8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6" y="8"/>
                  </a:lnTo>
                  <a:lnTo>
                    <a:pt x="116" y="4"/>
                  </a:lnTo>
                  <a:lnTo>
                    <a:pt x="120" y="4"/>
                  </a:lnTo>
                  <a:lnTo>
                    <a:pt x="124" y="0"/>
                  </a:lnTo>
                  <a:lnTo>
                    <a:pt x="128" y="0"/>
                  </a:lnTo>
                  <a:lnTo>
                    <a:pt x="128" y="4"/>
                  </a:lnTo>
                  <a:lnTo>
                    <a:pt x="131" y="4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12"/>
                  </a:lnTo>
                  <a:lnTo>
                    <a:pt x="143" y="12"/>
                  </a:lnTo>
                  <a:lnTo>
                    <a:pt x="147" y="12"/>
                  </a:lnTo>
                  <a:lnTo>
                    <a:pt x="147" y="16"/>
                  </a:lnTo>
                  <a:lnTo>
                    <a:pt x="147" y="20"/>
                  </a:lnTo>
                  <a:lnTo>
                    <a:pt x="143" y="20"/>
                  </a:lnTo>
                  <a:lnTo>
                    <a:pt x="143" y="24"/>
                  </a:lnTo>
                  <a:lnTo>
                    <a:pt x="139" y="24"/>
                  </a:lnTo>
                  <a:lnTo>
                    <a:pt x="139" y="28"/>
                  </a:lnTo>
                  <a:lnTo>
                    <a:pt x="143" y="28"/>
                  </a:lnTo>
                  <a:lnTo>
                    <a:pt x="143" y="32"/>
                  </a:lnTo>
                  <a:lnTo>
                    <a:pt x="139" y="32"/>
                  </a:lnTo>
                  <a:lnTo>
                    <a:pt x="135" y="32"/>
                  </a:lnTo>
                  <a:lnTo>
                    <a:pt x="135" y="36"/>
                  </a:lnTo>
                  <a:lnTo>
                    <a:pt x="139" y="36"/>
                  </a:lnTo>
                  <a:lnTo>
                    <a:pt x="139" y="40"/>
                  </a:lnTo>
                  <a:lnTo>
                    <a:pt x="135" y="44"/>
                  </a:lnTo>
                  <a:lnTo>
                    <a:pt x="135" y="48"/>
                  </a:lnTo>
                  <a:lnTo>
                    <a:pt x="139" y="52"/>
                  </a:lnTo>
                  <a:lnTo>
                    <a:pt x="147" y="56"/>
                  </a:lnTo>
                  <a:lnTo>
                    <a:pt x="151" y="56"/>
                  </a:lnTo>
                  <a:lnTo>
                    <a:pt x="151" y="60"/>
                  </a:lnTo>
                  <a:lnTo>
                    <a:pt x="155" y="64"/>
                  </a:lnTo>
                  <a:lnTo>
                    <a:pt x="159" y="64"/>
                  </a:lnTo>
                  <a:lnTo>
                    <a:pt x="159" y="68"/>
                  </a:lnTo>
                  <a:lnTo>
                    <a:pt x="159" y="72"/>
                  </a:lnTo>
                  <a:lnTo>
                    <a:pt x="155" y="72"/>
                  </a:lnTo>
                  <a:lnTo>
                    <a:pt x="151" y="76"/>
                  </a:lnTo>
                  <a:lnTo>
                    <a:pt x="147" y="84"/>
                  </a:lnTo>
                  <a:lnTo>
                    <a:pt x="143" y="84"/>
                  </a:lnTo>
                  <a:lnTo>
                    <a:pt x="143" y="88"/>
                  </a:lnTo>
                  <a:lnTo>
                    <a:pt x="147" y="88"/>
                  </a:lnTo>
                  <a:lnTo>
                    <a:pt x="147" y="92"/>
                  </a:lnTo>
                  <a:lnTo>
                    <a:pt x="151" y="96"/>
                  </a:lnTo>
                  <a:lnTo>
                    <a:pt x="151" y="100"/>
                  </a:lnTo>
                  <a:lnTo>
                    <a:pt x="155" y="104"/>
                  </a:lnTo>
                  <a:lnTo>
                    <a:pt x="155" y="108"/>
                  </a:lnTo>
                  <a:lnTo>
                    <a:pt x="159" y="108"/>
                  </a:lnTo>
                  <a:lnTo>
                    <a:pt x="159" y="112"/>
                  </a:lnTo>
                  <a:lnTo>
                    <a:pt x="159" y="116"/>
                  </a:lnTo>
                  <a:lnTo>
                    <a:pt x="159" y="120"/>
                  </a:lnTo>
                  <a:lnTo>
                    <a:pt x="155" y="120"/>
                  </a:lnTo>
                  <a:lnTo>
                    <a:pt x="155" y="124"/>
                  </a:lnTo>
                  <a:lnTo>
                    <a:pt x="155" y="128"/>
                  </a:lnTo>
                  <a:lnTo>
                    <a:pt x="151" y="128"/>
                  </a:lnTo>
                  <a:lnTo>
                    <a:pt x="151" y="132"/>
                  </a:lnTo>
                  <a:lnTo>
                    <a:pt x="155" y="132"/>
                  </a:lnTo>
                  <a:lnTo>
                    <a:pt x="155" y="136"/>
                  </a:lnTo>
                  <a:lnTo>
                    <a:pt x="151" y="136"/>
                  </a:lnTo>
                  <a:lnTo>
                    <a:pt x="151" y="140"/>
                  </a:lnTo>
                  <a:lnTo>
                    <a:pt x="155" y="140"/>
                  </a:lnTo>
                  <a:lnTo>
                    <a:pt x="159" y="140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59" y="148"/>
                  </a:lnTo>
                  <a:lnTo>
                    <a:pt x="159" y="152"/>
                  </a:lnTo>
                  <a:lnTo>
                    <a:pt x="163" y="152"/>
                  </a:lnTo>
                  <a:lnTo>
                    <a:pt x="163" y="156"/>
                  </a:lnTo>
                  <a:lnTo>
                    <a:pt x="167" y="156"/>
                  </a:lnTo>
                  <a:lnTo>
                    <a:pt x="167" y="160"/>
                  </a:lnTo>
                  <a:lnTo>
                    <a:pt x="167" y="164"/>
                  </a:lnTo>
                  <a:lnTo>
                    <a:pt x="163" y="164"/>
                  </a:lnTo>
                  <a:lnTo>
                    <a:pt x="163" y="168"/>
                  </a:lnTo>
                  <a:lnTo>
                    <a:pt x="159" y="168"/>
                  </a:lnTo>
                  <a:lnTo>
                    <a:pt x="163" y="172"/>
                  </a:lnTo>
                  <a:lnTo>
                    <a:pt x="167" y="176"/>
                  </a:lnTo>
                  <a:lnTo>
                    <a:pt x="171" y="176"/>
                  </a:lnTo>
                  <a:lnTo>
                    <a:pt x="171" y="180"/>
                  </a:lnTo>
                  <a:lnTo>
                    <a:pt x="175" y="180"/>
                  </a:lnTo>
                  <a:lnTo>
                    <a:pt x="179" y="184"/>
                  </a:lnTo>
                  <a:lnTo>
                    <a:pt x="183" y="188"/>
                  </a:lnTo>
                  <a:lnTo>
                    <a:pt x="183" y="192"/>
                  </a:lnTo>
                  <a:lnTo>
                    <a:pt x="179" y="192"/>
                  </a:lnTo>
                  <a:lnTo>
                    <a:pt x="179" y="196"/>
                  </a:lnTo>
                  <a:lnTo>
                    <a:pt x="179" y="200"/>
                  </a:lnTo>
                  <a:lnTo>
                    <a:pt x="175" y="204"/>
                  </a:lnTo>
                  <a:lnTo>
                    <a:pt x="171" y="204"/>
                  </a:lnTo>
                  <a:lnTo>
                    <a:pt x="171" y="208"/>
                  </a:lnTo>
                  <a:lnTo>
                    <a:pt x="167" y="208"/>
                  </a:lnTo>
                  <a:lnTo>
                    <a:pt x="163" y="212"/>
                  </a:lnTo>
                  <a:lnTo>
                    <a:pt x="163" y="216"/>
                  </a:lnTo>
                  <a:lnTo>
                    <a:pt x="159" y="216"/>
                  </a:lnTo>
                  <a:lnTo>
                    <a:pt x="159" y="219"/>
                  </a:lnTo>
                  <a:lnTo>
                    <a:pt x="155" y="223"/>
                  </a:lnTo>
                  <a:lnTo>
                    <a:pt x="151" y="227"/>
                  </a:lnTo>
                  <a:lnTo>
                    <a:pt x="147" y="227"/>
                  </a:lnTo>
                  <a:lnTo>
                    <a:pt x="147" y="231"/>
                  </a:lnTo>
                  <a:lnTo>
                    <a:pt x="143" y="231"/>
                  </a:lnTo>
                  <a:lnTo>
                    <a:pt x="139" y="235"/>
                  </a:lnTo>
                  <a:lnTo>
                    <a:pt x="139" y="239"/>
                  </a:lnTo>
                  <a:lnTo>
                    <a:pt x="135" y="239"/>
                  </a:lnTo>
                  <a:lnTo>
                    <a:pt x="131" y="239"/>
                  </a:lnTo>
                  <a:lnTo>
                    <a:pt x="131" y="243"/>
                  </a:lnTo>
                  <a:lnTo>
                    <a:pt x="128" y="247"/>
                  </a:lnTo>
                  <a:lnTo>
                    <a:pt x="124" y="247"/>
                  </a:lnTo>
                  <a:lnTo>
                    <a:pt x="120" y="247"/>
                  </a:lnTo>
                  <a:lnTo>
                    <a:pt x="120" y="251"/>
                  </a:lnTo>
                  <a:lnTo>
                    <a:pt x="120" y="247"/>
                  </a:lnTo>
                  <a:lnTo>
                    <a:pt x="116" y="247"/>
                  </a:lnTo>
                  <a:lnTo>
                    <a:pt x="112" y="251"/>
                  </a:lnTo>
                  <a:lnTo>
                    <a:pt x="108" y="251"/>
                  </a:lnTo>
                  <a:lnTo>
                    <a:pt x="104" y="251"/>
                  </a:lnTo>
                  <a:lnTo>
                    <a:pt x="108" y="247"/>
                  </a:lnTo>
                  <a:lnTo>
                    <a:pt x="112" y="247"/>
                  </a:lnTo>
                  <a:lnTo>
                    <a:pt x="108" y="247"/>
                  </a:lnTo>
                  <a:lnTo>
                    <a:pt x="108" y="243"/>
                  </a:lnTo>
                  <a:lnTo>
                    <a:pt x="108" y="247"/>
                  </a:lnTo>
                  <a:lnTo>
                    <a:pt x="104" y="247"/>
                  </a:lnTo>
                  <a:lnTo>
                    <a:pt x="104" y="251"/>
                  </a:lnTo>
                  <a:lnTo>
                    <a:pt x="100" y="251"/>
                  </a:lnTo>
                  <a:lnTo>
                    <a:pt x="100" y="255"/>
                  </a:lnTo>
                  <a:lnTo>
                    <a:pt x="100" y="251"/>
                  </a:lnTo>
                  <a:lnTo>
                    <a:pt x="96" y="251"/>
                  </a:lnTo>
                  <a:lnTo>
                    <a:pt x="96" y="255"/>
                  </a:lnTo>
                  <a:lnTo>
                    <a:pt x="92" y="255"/>
                  </a:lnTo>
                  <a:lnTo>
                    <a:pt x="92" y="251"/>
                  </a:lnTo>
                  <a:lnTo>
                    <a:pt x="92" y="255"/>
                  </a:lnTo>
                  <a:lnTo>
                    <a:pt x="88" y="255"/>
                  </a:lnTo>
                  <a:lnTo>
                    <a:pt x="84" y="255"/>
                  </a:lnTo>
                  <a:lnTo>
                    <a:pt x="88" y="255"/>
                  </a:lnTo>
                  <a:lnTo>
                    <a:pt x="84" y="255"/>
                  </a:lnTo>
                  <a:lnTo>
                    <a:pt x="84" y="259"/>
                  </a:lnTo>
                  <a:lnTo>
                    <a:pt x="80" y="259"/>
                  </a:lnTo>
                  <a:lnTo>
                    <a:pt x="76" y="259"/>
                  </a:lnTo>
                  <a:lnTo>
                    <a:pt x="76" y="263"/>
                  </a:lnTo>
                  <a:lnTo>
                    <a:pt x="76" y="259"/>
                  </a:lnTo>
                  <a:lnTo>
                    <a:pt x="72" y="259"/>
                  </a:lnTo>
                  <a:lnTo>
                    <a:pt x="68" y="259"/>
                  </a:lnTo>
                  <a:lnTo>
                    <a:pt x="64" y="263"/>
                  </a:lnTo>
                  <a:lnTo>
                    <a:pt x="60" y="263"/>
                  </a:lnTo>
                  <a:lnTo>
                    <a:pt x="60" y="259"/>
                  </a:lnTo>
                  <a:lnTo>
                    <a:pt x="60" y="263"/>
                  </a:lnTo>
                  <a:lnTo>
                    <a:pt x="56" y="263"/>
                  </a:lnTo>
                  <a:lnTo>
                    <a:pt x="52" y="267"/>
                  </a:lnTo>
                  <a:lnTo>
                    <a:pt x="52" y="263"/>
                  </a:lnTo>
                  <a:lnTo>
                    <a:pt x="56" y="263"/>
                  </a:lnTo>
                  <a:lnTo>
                    <a:pt x="60" y="259"/>
                  </a:lnTo>
                  <a:lnTo>
                    <a:pt x="56" y="259"/>
                  </a:lnTo>
                  <a:lnTo>
                    <a:pt x="56" y="263"/>
                  </a:lnTo>
                  <a:lnTo>
                    <a:pt x="56" y="259"/>
                  </a:lnTo>
                  <a:lnTo>
                    <a:pt x="52" y="259"/>
                  </a:lnTo>
                  <a:close/>
                  <a:moveTo>
                    <a:pt x="84" y="136"/>
                  </a:moveTo>
                  <a:lnTo>
                    <a:pt x="80" y="136"/>
                  </a:lnTo>
                  <a:lnTo>
                    <a:pt x="76" y="136"/>
                  </a:lnTo>
                  <a:lnTo>
                    <a:pt x="80" y="136"/>
                  </a:lnTo>
                  <a:lnTo>
                    <a:pt x="84" y="136"/>
                  </a:lnTo>
                  <a:close/>
                  <a:moveTo>
                    <a:pt x="52" y="168"/>
                  </a:moveTo>
                  <a:lnTo>
                    <a:pt x="48" y="168"/>
                  </a:lnTo>
                  <a:lnTo>
                    <a:pt x="52" y="164"/>
                  </a:lnTo>
                  <a:lnTo>
                    <a:pt x="52" y="168"/>
                  </a:lnTo>
                  <a:close/>
                  <a:moveTo>
                    <a:pt x="28" y="184"/>
                  </a:moveTo>
                  <a:lnTo>
                    <a:pt x="24" y="184"/>
                  </a:lnTo>
                  <a:lnTo>
                    <a:pt x="24" y="180"/>
                  </a:lnTo>
                  <a:lnTo>
                    <a:pt x="28" y="180"/>
                  </a:lnTo>
                  <a:lnTo>
                    <a:pt x="28" y="184"/>
                  </a:lnTo>
                  <a:close/>
                  <a:moveTo>
                    <a:pt x="8" y="259"/>
                  </a:moveTo>
                  <a:lnTo>
                    <a:pt x="4" y="259"/>
                  </a:lnTo>
                  <a:lnTo>
                    <a:pt x="4" y="255"/>
                  </a:lnTo>
                  <a:lnTo>
                    <a:pt x="8" y="255"/>
                  </a:lnTo>
                  <a:lnTo>
                    <a:pt x="8" y="251"/>
                  </a:lnTo>
                  <a:lnTo>
                    <a:pt x="4" y="251"/>
                  </a:lnTo>
                  <a:lnTo>
                    <a:pt x="4" y="255"/>
                  </a:lnTo>
                  <a:lnTo>
                    <a:pt x="4" y="251"/>
                  </a:lnTo>
                  <a:lnTo>
                    <a:pt x="8" y="251"/>
                  </a:lnTo>
                  <a:lnTo>
                    <a:pt x="12" y="255"/>
                  </a:lnTo>
                  <a:lnTo>
                    <a:pt x="8" y="255"/>
                  </a:lnTo>
                  <a:lnTo>
                    <a:pt x="8" y="259"/>
                  </a:lnTo>
                  <a:close/>
                  <a:moveTo>
                    <a:pt x="40" y="255"/>
                  </a:moveTo>
                  <a:lnTo>
                    <a:pt x="44" y="255"/>
                  </a:lnTo>
                  <a:lnTo>
                    <a:pt x="40" y="255"/>
                  </a:lnTo>
                  <a:close/>
                  <a:moveTo>
                    <a:pt x="0" y="259"/>
                  </a:moveTo>
                  <a:lnTo>
                    <a:pt x="0" y="255"/>
                  </a:lnTo>
                  <a:lnTo>
                    <a:pt x="4" y="255"/>
                  </a:lnTo>
                  <a:lnTo>
                    <a:pt x="0" y="259"/>
                  </a:lnTo>
                  <a:close/>
                  <a:moveTo>
                    <a:pt x="48" y="263"/>
                  </a:moveTo>
                  <a:lnTo>
                    <a:pt x="48" y="259"/>
                  </a:lnTo>
                  <a:lnTo>
                    <a:pt x="44" y="259"/>
                  </a:lnTo>
                  <a:lnTo>
                    <a:pt x="44" y="255"/>
                  </a:lnTo>
                  <a:lnTo>
                    <a:pt x="48" y="255"/>
                  </a:lnTo>
                  <a:lnTo>
                    <a:pt x="52" y="255"/>
                  </a:lnTo>
                  <a:lnTo>
                    <a:pt x="52" y="259"/>
                  </a:lnTo>
                  <a:lnTo>
                    <a:pt x="48" y="259"/>
                  </a:lnTo>
                  <a:lnTo>
                    <a:pt x="48" y="263"/>
                  </a:lnTo>
                  <a:close/>
                  <a:moveTo>
                    <a:pt x="36" y="259"/>
                  </a:moveTo>
                  <a:lnTo>
                    <a:pt x="32" y="259"/>
                  </a:lnTo>
                  <a:lnTo>
                    <a:pt x="32" y="255"/>
                  </a:lnTo>
                  <a:lnTo>
                    <a:pt x="36" y="255"/>
                  </a:lnTo>
                  <a:lnTo>
                    <a:pt x="36" y="259"/>
                  </a:lnTo>
                  <a:close/>
                  <a:moveTo>
                    <a:pt x="8" y="259"/>
                  </a:moveTo>
                  <a:lnTo>
                    <a:pt x="12" y="259"/>
                  </a:lnTo>
                  <a:lnTo>
                    <a:pt x="12" y="263"/>
                  </a:lnTo>
                  <a:lnTo>
                    <a:pt x="8" y="259"/>
                  </a:lnTo>
                  <a:close/>
                  <a:moveTo>
                    <a:pt x="52" y="263"/>
                  </a:moveTo>
                  <a:lnTo>
                    <a:pt x="56" y="263"/>
                  </a:lnTo>
                  <a:lnTo>
                    <a:pt x="52" y="263"/>
                  </a:lnTo>
                  <a:close/>
                  <a:moveTo>
                    <a:pt x="60" y="263"/>
                  </a:moveTo>
                  <a:lnTo>
                    <a:pt x="64" y="263"/>
                  </a:lnTo>
                  <a:lnTo>
                    <a:pt x="60" y="26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3" name="Freeform 90"/>
            <p:cNvSpPr>
              <a:spLocks noEditPoints="1"/>
            </p:cNvSpPr>
            <p:nvPr>
              <p:custDataLst>
                <p:tags r:id="rId286"/>
              </p:custDataLst>
            </p:nvPr>
          </p:nvSpPr>
          <p:spPr bwMode="gray">
            <a:xfrm>
              <a:off x="4269280" y="3112891"/>
              <a:ext cx="318858" cy="306994"/>
            </a:xfrm>
            <a:custGeom>
              <a:avLst/>
              <a:gdLst/>
              <a:ahLst/>
              <a:cxnLst>
                <a:cxn ang="0">
                  <a:pos x="84" y="180"/>
                </a:cxn>
                <a:cxn ang="0">
                  <a:pos x="76" y="180"/>
                </a:cxn>
                <a:cxn ang="0">
                  <a:pos x="52" y="172"/>
                </a:cxn>
                <a:cxn ang="0">
                  <a:pos x="48" y="168"/>
                </a:cxn>
                <a:cxn ang="0">
                  <a:pos x="52" y="148"/>
                </a:cxn>
                <a:cxn ang="0">
                  <a:pos x="52" y="136"/>
                </a:cxn>
                <a:cxn ang="0">
                  <a:pos x="60" y="124"/>
                </a:cxn>
                <a:cxn ang="0">
                  <a:pos x="60" y="124"/>
                </a:cxn>
                <a:cxn ang="0">
                  <a:pos x="56" y="112"/>
                </a:cxn>
                <a:cxn ang="0">
                  <a:pos x="44" y="100"/>
                </a:cxn>
                <a:cxn ang="0">
                  <a:pos x="44" y="84"/>
                </a:cxn>
                <a:cxn ang="0">
                  <a:pos x="36" y="76"/>
                </a:cxn>
                <a:cxn ang="0">
                  <a:pos x="24" y="76"/>
                </a:cxn>
                <a:cxn ang="0">
                  <a:pos x="12" y="68"/>
                </a:cxn>
                <a:cxn ang="0">
                  <a:pos x="0" y="68"/>
                </a:cxn>
                <a:cxn ang="0">
                  <a:pos x="0" y="60"/>
                </a:cxn>
                <a:cxn ang="0">
                  <a:pos x="4" y="56"/>
                </a:cxn>
                <a:cxn ang="0">
                  <a:pos x="16" y="52"/>
                </a:cxn>
                <a:cxn ang="0">
                  <a:pos x="36" y="52"/>
                </a:cxn>
                <a:cxn ang="0">
                  <a:pos x="48" y="52"/>
                </a:cxn>
                <a:cxn ang="0">
                  <a:pos x="44" y="36"/>
                </a:cxn>
                <a:cxn ang="0">
                  <a:pos x="52" y="28"/>
                </a:cxn>
                <a:cxn ang="0">
                  <a:pos x="68" y="36"/>
                </a:cxn>
                <a:cxn ang="0">
                  <a:pos x="76" y="36"/>
                </a:cxn>
                <a:cxn ang="0">
                  <a:pos x="84" y="24"/>
                </a:cxn>
                <a:cxn ang="0">
                  <a:pos x="96" y="12"/>
                </a:cxn>
                <a:cxn ang="0">
                  <a:pos x="112" y="0"/>
                </a:cxn>
                <a:cxn ang="0">
                  <a:pos x="120" y="8"/>
                </a:cxn>
                <a:cxn ang="0">
                  <a:pos x="136" y="16"/>
                </a:cxn>
                <a:cxn ang="0">
                  <a:pos x="147" y="20"/>
                </a:cxn>
                <a:cxn ang="0">
                  <a:pos x="155" y="32"/>
                </a:cxn>
                <a:cxn ang="0">
                  <a:pos x="167" y="36"/>
                </a:cxn>
                <a:cxn ang="0">
                  <a:pos x="183" y="44"/>
                </a:cxn>
                <a:cxn ang="0">
                  <a:pos x="191" y="52"/>
                </a:cxn>
                <a:cxn ang="0">
                  <a:pos x="187" y="72"/>
                </a:cxn>
                <a:cxn ang="0">
                  <a:pos x="179" y="80"/>
                </a:cxn>
                <a:cxn ang="0">
                  <a:pos x="171" y="92"/>
                </a:cxn>
                <a:cxn ang="0">
                  <a:pos x="163" y="104"/>
                </a:cxn>
                <a:cxn ang="0">
                  <a:pos x="175" y="100"/>
                </a:cxn>
                <a:cxn ang="0">
                  <a:pos x="175" y="120"/>
                </a:cxn>
                <a:cxn ang="0">
                  <a:pos x="171" y="132"/>
                </a:cxn>
                <a:cxn ang="0">
                  <a:pos x="179" y="148"/>
                </a:cxn>
                <a:cxn ang="0">
                  <a:pos x="183" y="156"/>
                </a:cxn>
                <a:cxn ang="0">
                  <a:pos x="175" y="164"/>
                </a:cxn>
                <a:cxn ang="0">
                  <a:pos x="155" y="172"/>
                </a:cxn>
                <a:cxn ang="0">
                  <a:pos x="147" y="164"/>
                </a:cxn>
                <a:cxn ang="0">
                  <a:pos x="136" y="164"/>
                </a:cxn>
                <a:cxn ang="0">
                  <a:pos x="116" y="176"/>
                </a:cxn>
                <a:cxn ang="0">
                  <a:pos x="112" y="187"/>
                </a:cxn>
                <a:cxn ang="0">
                  <a:pos x="52" y="112"/>
                </a:cxn>
                <a:cxn ang="0">
                  <a:pos x="24" y="84"/>
                </a:cxn>
                <a:cxn ang="0">
                  <a:pos x="52" y="108"/>
                </a:cxn>
                <a:cxn ang="0">
                  <a:pos x="207" y="180"/>
                </a:cxn>
                <a:cxn ang="0">
                  <a:pos x="215" y="191"/>
                </a:cxn>
                <a:cxn ang="0">
                  <a:pos x="207" y="207"/>
                </a:cxn>
              </a:cxnLst>
              <a:rect l="0" t="0" r="r" b="b"/>
              <a:pathLst>
                <a:path w="215" h="207">
                  <a:moveTo>
                    <a:pt x="100" y="184"/>
                  </a:moveTo>
                  <a:lnTo>
                    <a:pt x="96" y="184"/>
                  </a:lnTo>
                  <a:lnTo>
                    <a:pt x="92" y="184"/>
                  </a:lnTo>
                  <a:lnTo>
                    <a:pt x="92" y="180"/>
                  </a:lnTo>
                  <a:lnTo>
                    <a:pt x="88" y="180"/>
                  </a:lnTo>
                  <a:lnTo>
                    <a:pt x="84" y="180"/>
                  </a:lnTo>
                  <a:lnTo>
                    <a:pt x="84" y="176"/>
                  </a:lnTo>
                  <a:lnTo>
                    <a:pt x="84" y="180"/>
                  </a:lnTo>
                  <a:lnTo>
                    <a:pt x="80" y="180"/>
                  </a:lnTo>
                  <a:lnTo>
                    <a:pt x="84" y="180"/>
                  </a:lnTo>
                  <a:lnTo>
                    <a:pt x="80" y="180"/>
                  </a:lnTo>
                  <a:lnTo>
                    <a:pt x="76" y="180"/>
                  </a:lnTo>
                  <a:lnTo>
                    <a:pt x="72" y="180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0" y="176"/>
                  </a:lnTo>
                  <a:lnTo>
                    <a:pt x="56" y="176"/>
                  </a:lnTo>
                  <a:lnTo>
                    <a:pt x="52" y="172"/>
                  </a:lnTo>
                  <a:lnTo>
                    <a:pt x="52" y="176"/>
                  </a:lnTo>
                  <a:lnTo>
                    <a:pt x="52" y="172"/>
                  </a:lnTo>
                  <a:lnTo>
                    <a:pt x="48" y="172"/>
                  </a:lnTo>
                  <a:lnTo>
                    <a:pt x="52" y="172"/>
                  </a:lnTo>
                  <a:lnTo>
                    <a:pt x="52" y="168"/>
                  </a:lnTo>
                  <a:lnTo>
                    <a:pt x="48" y="168"/>
                  </a:lnTo>
                  <a:lnTo>
                    <a:pt x="44" y="168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52" y="160"/>
                  </a:lnTo>
                  <a:lnTo>
                    <a:pt x="52" y="152"/>
                  </a:lnTo>
                  <a:lnTo>
                    <a:pt x="52" y="148"/>
                  </a:lnTo>
                  <a:lnTo>
                    <a:pt x="52" y="144"/>
                  </a:lnTo>
                  <a:lnTo>
                    <a:pt x="52" y="140"/>
                  </a:lnTo>
                  <a:lnTo>
                    <a:pt x="56" y="140"/>
                  </a:lnTo>
                  <a:lnTo>
                    <a:pt x="56" y="136"/>
                  </a:lnTo>
                  <a:lnTo>
                    <a:pt x="52" y="140"/>
                  </a:lnTo>
                  <a:lnTo>
                    <a:pt x="52" y="136"/>
                  </a:lnTo>
                  <a:lnTo>
                    <a:pt x="52" y="132"/>
                  </a:lnTo>
                  <a:lnTo>
                    <a:pt x="56" y="128"/>
                  </a:lnTo>
                  <a:lnTo>
                    <a:pt x="56" y="124"/>
                  </a:lnTo>
                  <a:lnTo>
                    <a:pt x="56" y="120"/>
                  </a:lnTo>
                  <a:lnTo>
                    <a:pt x="56" y="124"/>
                  </a:lnTo>
                  <a:lnTo>
                    <a:pt x="60" y="124"/>
                  </a:lnTo>
                  <a:lnTo>
                    <a:pt x="60" y="128"/>
                  </a:lnTo>
                  <a:lnTo>
                    <a:pt x="60" y="132"/>
                  </a:lnTo>
                  <a:lnTo>
                    <a:pt x="64" y="136"/>
                  </a:lnTo>
                  <a:lnTo>
                    <a:pt x="64" y="132"/>
                  </a:lnTo>
                  <a:lnTo>
                    <a:pt x="60" y="128"/>
                  </a:lnTo>
                  <a:lnTo>
                    <a:pt x="60" y="124"/>
                  </a:lnTo>
                  <a:lnTo>
                    <a:pt x="60" y="120"/>
                  </a:lnTo>
                  <a:lnTo>
                    <a:pt x="56" y="120"/>
                  </a:lnTo>
                  <a:lnTo>
                    <a:pt x="56" y="116"/>
                  </a:lnTo>
                  <a:lnTo>
                    <a:pt x="52" y="116"/>
                  </a:lnTo>
                  <a:lnTo>
                    <a:pt x="56" y="116"/>
                  </a:lnTo>
                  <a:lnTo>
                    <a:pt x="56" y="112"/>
                  </a:lnTo>
                  <a:lnTo>
                    <a:pt x="56" y="108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0"/>
                  </a:lnTo>
                  <a:lnTo>
                    <a:pt x="44" y="100"/>
                  </a:lnTo>
                  <a:lnTo>
                    <a:pt x="44" y="96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40" y="88"/>
                  </a:lnTo>
                  <a:lnTo>
                    <a:pt x="40" y="84"/>
                  </a:lnTo>
                  <a:lnTo>
                    <a:pt x="44" y="84"/>
                  </a:lnTo>
                  <a:lnTo>
                    <a:pt x="40" y="84"/>
                  </a:lnTo>
                  <a:lnTo>
                    <a:pt x="36" y="84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2" y="76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8" y="68"/>
                  </a:lnTo>
                  <a:lnTo>
                    <a:pt x="8" y="72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4" y="64"/>
                  </a:lnTo>
                  <a:lnTo>
                    <a:pt x="8" y="64"/>
                  </a:lnTo>
                  <a:lnTo>
                    <a:pt x="4" y="60"/>
                  </a:lnTo>
                  <a:lnTo>
                    <a:pt x="4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6" y="52"/>
                  </a:lnTo>
                  <a:lnTo>
                    <a:pt x="20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8" y="52"/>
                  </a:lnTo>
                  <a:lnTo>
                    <a:pt x="32" y="56"/>
                  </a:lnTo>
                  <a:lnTo>
                    <a:pt x="36" y="52"/>
                  </a:lnTo>
                  <a:lnTo>
                    <a:pt x="40" y="52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48"/>
                  </a:lnTo>
                  <a:lnTo>
                    <a:pt x="48" y="44"/>
                  </a:lnTo>
                  <a:lnTo>
                    <a:pt x="48" y="40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60" y="36"/>
                  </a:lnTo>
                  <a:lnTo>
                    <a:pt x="64" y="36"/>
                  </a:lnTo>
                  <a:lnTo>
                    <a:pt x="68" y="36"/>
                  </a:lnTo>
                  <a:lnTo>
                    <a:pt x="68" y="40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76" y="36"/>
                  </a:lnTo>
                  <a:lnTo>
                    <a:pt x="72" y="36"/>
                  </a:lnTo>
                  <a:lnTo>
                    <a:pt x="72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96" y="16"/>
                  </a:lnTo>
                  <a:lnTo>
                    <a:pt x="96" y="12"/>
                  </a:lnTo>
                  <a:lnTo>
                    <a:pt x="96" y="8"/>
                  </a:lnTo>
                  <a:lnTo>
                    <a:pt x="96" y="4"/>
                  </a:lnTo>
                  <a:lnTo>
                    <a:pt x="100" y="0"/>
                  </a:lnTo>
                  <a:lnTo>
                    <a:pt x="104" y="0"/>
                  </a:lnTo>
                  <a:lnTo>
                    <a:pt x="108" y="0"/>
                  </a:lnTo>
                  <a:lnTo>
                    <a:pt x="112" y="0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16" y="4"/>
                  </a:lnTo>
                  <a:lnTo>
                    <a:pt x="120" y="4"/>
                  </a:lnTo>
                  <a:lnTo>
                    <a:pt x="120" y="8"/>
                  </a:lnTo>
                  <a:lnTo>
                    <a:pt x="120" y="12"/>
                  </a:lnTo>
                  <a:lnTo>
                    <a:pt x="124" y="12"/>
                  </a:lnTo>
                  <a:lnTo>
                    <a:pt x="128" y="12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20"/>
                  </a:lnTo>
                  <a:lnTo>
                    <a:pt x="136" y="24"/>
                  </a:lnTo>
                  <a:lnTo>
                    <a:pt x="140" y="24"/>
                  </a:lnTo>
                  <a:lnTo>
                    <a:pt x="144" y="24"/>
                  </a:lnTo>
                  <a:lnTo>
                    <a:pt x="144" y="20"/>
                  </a:lnTo>
                  <a:lnTo>
                    <a:pt x="147" y="20"/>
                  </a:lnTo>
                  <a:lnTo>
                    <a:pt x="144" y="20"/>
                  </a:lnTo>
                  <a:lnTo>
                    <a:pt x="144" y="24"/>
                  </a:lnTo>
                  <a:lnTo>
                    <a:pt x="144" y="28"/>
                  </a:lnTo>
                  <a:lnTo>
                    <a:pt x="147" y="28"/>
                  </a:lnTo>
                  <a:lnTo>
                    <a:pt x="151" y="32"/>
                  </a:lnTo>
                  <a:lnTo>
                    <a:pt x="155" y="32"/>
                  </a:lnTo>
                  <a:lnTo>
                    <a:pt x="159" y="32"/>
                  </a:lnTo>
                  <a:lnTo>
                    <a:pt x="159" y="36"/>
                  </a:lnTo>
                  <a:lnTo>
                    <a:pt x="163" y="36"/>
                  </a:lnTo>
                  <a:lnTo>
                    <a:pt x="163" y="32"/>
                  </a:lnTo>
                  <a:lnTo>
                    <a:pt x="167" y="32"/>
                  </a:lnTo>
                  <a:lnTo>
                    <a:pt x="167" y="36"/>
                  </a:lnTo>
                  <a:lnTo>
                    <a:pt x="171" y="36"/>
                  </a:lnTo>
                  <a:lnTo>
                    <a:pt x="171" y="40"/>
                  </a:lnTo>
                  <a:lnTo>
                    <a:pt x="175" y="40"/>
                  </a:lnTo>
                  <a:lnTo>
                    <a:pt x="179" y="40"/>
                  </a:lnTo>
                  <a:lnTo>
                    <a:pt x="179" y="44"/>
                  </a:lnTo>
                  <a:lnTo>
                    <a:pt x="183" y="44"/>
                  </a:lnTo>
                  <a:lnTo>
                    <a:pt x="183" y="40"/>
                  </a:lnTo>
                  <a:lnTo>
                    <a:pt x="187" y="44"/>
                  </a:lnTo>
                  <a:lnTo>
                    <a:pt x="191" y="44"/>
                  </a:lnTo>
                  <a:lnTo>
                    <a:pt x="195" y="44"/>
                  </a:lnTo>
                  <a:lnTo>
                    <a:pt x="195" y="48"/>
                  </a:lnTo>
                  <a:lnTo>
                    <a:pt x="191" y="52"/>
                  </a:lnTo>
                  <a:lnTo>
                    <a:pt x="191" y="56"/>
                  </a:lnTo>
                  <a:lnTo>
                    <a:pt x="187" y="56"/>
                  </a:lnTo>
                  <a:lnTo>
                    <a:pt x="187" y="60"/>
                  </a:lnTo>
                  <a:lnTo>
                    <a:pt x="187" y="64"/>
                  </a:lnTo>
                  <a:lnTo>
                    <a:pt x="187" y="68"/>
                  </a:lnTo>
                  <a:lnTo>
                    <a:pt x="187" y="72"/>
                  </a:lnTo>
                  <a:lnTo>
                    <a:pt x="187" y="76"/>
                  </a:lnTo>
                  <a:lnTo>
                    <a:pt x="183" y="76"/>
                  </a:lnTo>
                  <a:lnTo>
                    <a:pt x="183" y="80"/>
                  </a:lnTo>
                  <a:lnTo>
                    <a:pt x="179" y="80"/>
                  </a:lnTo>
                  <a:lnTo>
                    <a:pt x="179" y="76"/>
                  </a:lnTo>
                  <a:lnTo>
                    <a:pt x="179" y="80"/>
                  </a:lnTo>
                  <a:lnTo>
                    <a:pt x="175" y="80"/>
                  </a:lnTo>
                  <a:lnTo>
                    <a:pt x="179" y="80"/>
                  </a:lnTo>
                  <a:lnTo>
                    <a:pt x="175" y="84"/>
                  </a:lnTo>
                  <a:lnTo>
                    <a:pt x="175" y="88"/>
                  </a:lnTo>
                  <a:lnTo>
                    <a:pt x="171" y="88"/>
                  </a:lnTo>
                  <a:lnTo>
                    <a:pt x="171" y="92"/>
                  </a:lnTo>
                  <a:lnTo>
                    <a:pt x="167" y="92"/>
                  </a:lnTo>
                  <a:lnTo>
                    <a:pt x="171" y="92"/>
                  </a:lnTo>
                  <a:lnTo>
                    <a:pt x="167" y="96"/>
                  </a:lnTo>
                  <a:lnTo>
                    <a:pt x="163" y="96"/>
                  </a:lnTo>
                  <a:lnTo>
                    <a:pt x="163" y="100"/>
                  </a:lnTo>
                  <a:lnTo>
                    <a:pt x="163" y="104"/>
                  </a:lnTo>
                  <a:lnTo>
                    <a:pt x="163" y="108"/>
                  </a:lnTo>
                  <a:lnTo>
                    <a:pt x="167" y="108"/>
                  </a:lnTo>
                  <a:lnTo>
                    <a:pt x="167" y="104"/>
                  </a:lnTo>
                  <a:lnTo>
                    <a:pt x="167" y="100"/>
                  </a:lnTo>
                  <a:lnTo>
                    <a:pt x="171" y="100"/>
                  </a:lnTo>
                  <a:lnTo>
                    <a:pt x="175" y="100"/>
                  </a:lnTo>
                  <a:lnTo>
                    <a:pt x="175" y="104"/>
                  </a:lnTo>
                  <a:lnTo>
                    <a:pt x="175" y="108"/>
                  </a:lnTo>
                  <a:lnTo>
                    <a:pt x="179" y="112"/>
                  </a:lnTo>
                  <a:lnTo>
                    <a:pt x="175" y="112"/>
                  </a:lnTo>
                  <a:lnTo>
                    <a:pt x="175" y="116"/>
                  </a:lnTo>
                  <a:lnTo>
                    <a:pt x="175" y="120"/>
                  </a:lnTo>
                  <a:lnTo>
                    <a:pt x="179" y="120"/>
                  </a:lnTo>
                  <a:lnTo>
                    <a:pt x="179" y="124"/>
                  </a:lnTo>
                  <a:lnTo>
                    <a:pt x="179" y="128"/>
                  </a:lnTo>
                  <a:lnTo>
                    <a:pt x="175" y="128"/>
                  </a:lnTo>
                  <a:lnTo>
                    <a:pt x="171" y="128"/>
                  </a:lnTo>
                  <a:lnTo>
                    <a:pt x="171" y="132"/>
                  </a:lnTo>
                  <a:lnTo>
                    <a:pt x="175" y="136"/>
                  </a:lnTo>
                  <a:lnTo>
                    <a:pt x="179" y="136"/>
                  </a:lnTo>
                  <a:lnTo>
                    <a:pt x="175" y="140"/>
                  </a:lnTo>
                  <a:lnTo>
                    <a:pt x="175" y="144"/>
                  </a:lnTo>
                  <a:lnTo>
                    <a:pt x="175" y="148"/>
                  </a:lnTo>
                  <a:lnTo>
                    <a:pt x="179" y="148"/>
                  </a:lnTo>
                  <a:lnTo>
                    <a:pt x="183" y="152"/>
                  </a:lnTo>
                  <a:lnTo>
                    <a:pt x="187" y="152"/>
                  </a:lnTo>
                  <a:lnTo>
                    <a:pt x="187" y="148"/>
                  </a:lnTo>
                  <a:lnTo>
                    <a:pt x="187" y="152"/>
                  </a:lnTo>
                  <a:lnTo>
                    <a:pt x="187" y="156"/>
                  </a:lnTo>
                  <a:lnTo>
                    <a:pt x="183" y="156"/>
                  </a:lnTo>
                  <a:lnTo>
                    <a:pt x="187" y="156"/>
                  </a:lnTo>
                  <a:lnTo>
                    <a:pt x="187" y="160"/>
                  </a:lnTo>
                  <a:lnTo>
                    <a:pt x="183" y="160"/>
                  </a:lnTo>
                  <a:lnTo>
                    <a:pt x="179" y="160"/>
                  </a:lnTo>
                  <a:lnTo>
                    <a:pt x="179" y="164"/>
                  </a:lnTo>
                  <a:lnTo>
                    <a:pt x="175" y="164"/>
                  </a:lnTo>
                  <a:lnTo>
                    <a:pt x="171" y="168"/>
                  </a:lnTo>
                  <a:lnTo>
                    <a:pt x="171" y="172"/>
                  </a:lnTo>
                  <a:lnTo>
                    <a:pt x="167" y="172"/>
                  </a:lnTo>
                  <a:lnTo>
                    <a:pt x="163" y="172"/>
                  </a:lnTo>
                  <a:lnTo>
                    <a:pt x="159" y="172"/>
                  </a:lnTo>
                  <a:lnTo>
                    <a:pt x="155" y="172"/>
                  </a:lnTo>
                  <a:lnTo>
                    <a:pt x="151" y="172"/>
                  </a:lnTo>
                  <a:lnTo>
                    <a:pt x="151" y="168"/>
                  </a:lnTo>
                  <a:lnTo>
                    <a:pt x="147" y="168"/>
                  </a:lnTo>
                  <a:lnTo>
                    <a:pt x="151" y="168"/>
                  </a:lnTo>
                  <a:lnTo>
                    <a:pt x="151" y="164"/>
                  </a:lnTo>
                  <a:lnTo>
                    <a:pt x="147" y="164"/>
                  </a:lnTo>
                  <a:lnTo>
                    <a:pt x="144" y="168"/>
                  </a:lnTo>
                  <a:lnTo>
                    <a:pt x="144" y="164"/>
                  </a:lnTo>
                  <a:lnTo>
                    <a:pt x="144" y="168"/>
                  </a:lnTo>
                  <a:lnTo>
                    <a:pt x="140" y="168"/>
                  </a:lnTo>
                  <a:lnTo>
                    <a:pt x="140" y="164"/>
                  </a:lnTo>
                  <a:lnTo>
                    <a:pt x="136" y="164"/>
                  </a:lnTo>
                  <a:lnTo>
                    <a:pt x="132" y="164"/>
                  </a:lnTo>
                  <a:lnTo>
                    <a:pt x="128" y="168"/>
                  </a:lnTo>
                  <a:lnTo>
                    <a:pt x="124" y="168"/>
                  </a:lnTo>
                  <a:lnTo>
                    <a:pt x="120" y="172"/>
                  </a:lnTo>
                  <a:lnTo>
                    <a:pt x="120" y="176"/>
                  </a:lnTo>
                  <a:lnTo>
                    <a:pt x="116" y="176"/>
                  </a:lnTo>
                  <a:lnTo>
                    <a:pt x="116" y="180"/>
                  </a:lnTo>
                  <a:lnTo>
                    <a:pt x="120" y="180"/>
                  </a:lnTo>
                  <a:lnTo>
                    <a:pt x="120" y="184"/>
                  </a:lnTo>
                  <a:lnTo>
                    <a:pt x="120" y="187"/>
                  </a:lnTo>
                  <a:lnTo>
                    <a:pt x="116" y="184"/>
                  </a:lnTo>
                  <a:lnTo>
                    <a:pt x="112" y="187"/>
                  </a:lnTo>
                  <a:lnTo>
                    <a:pt x="108" y="187"/>
                  </a:lnTo>
                  <a:lnTo>
                    <a:pt x="104" y="187"/>
                  </a:lnTo>
                  <a:lnTo>
                    <a:pt x="100" y="187"/>
                  </a:lnTo>
                  <a:lnTo>
                    <a:pt x="100" y="184"/>
                  </a:lnTo>
                  <a:close/>
                  <a:moveTo>
                    <a:pt x="52" y="116"/>
                  </a:moveTo>
                  <a:lnTo>
                    <a:pt x="52" y="112"/>
                  </a:lnTo>
                  <a:lnTo>
                    <a:pt x="52" y="108"/>
                  </a:lnTo>
                  <a:lnTo>
                    <a:pt x="52" y="112"/>
                  </a:lnTo>
                  <a:lnTo>
                    <a:pt x="56" y="112"/>
                  </a:lnTo>
                  <a:lnTo>
                    <a:pt x="56" y="116"/>
                  </a:lnTo>
                  <a:lnTo>
                    <a:pt x="52" y="116"/>
                  </a:lnTo>
                  <a:close/>
                  <a:moveTo>
                    <a:pt x="24" y="84"/>
                  </a:moveTo>
                  <a:lnTo>
                    <a:pt x="24" y="80"/>
                  </a:lnTo>
                  <a:lnTo>
                    <a:pt x="24" y="84"/>
                  </a:lnTo>
                  <a:close/>
                  <a:moveTo>
                    <a:pt x="52" y="108"/>
                  </a:moveTo>
                  <a:lnTo>
                    <a:pt x="48" y="108"/>
                  </a:lnTo>
                  <a:lnTo>
                    <a:pt x="48" y="104"/>
                  </a:lnTo>
                  <a:lnTo>
                    <a:pt x="52" y="108"/>
                  </a:lnTo>
                  <a:close/>
                  <a:moveTo>
                    <a:pt x="203" y="195"/>
                  </a:moveTo>
                  <a:lnTo>
                    <a:pt x="203" y="191"/>
                  </a:lnTo>
                  <a:lnTo>
                    <a:pt x="203" y="187"/>
                  </a:lnTo>
                  <a:lnTo>
                    <a:pt x="203" y="184"/>
                  </a:lnTo>
                  <a:lnTo>
                    <a:pt x="207" y="184"/>
                  </a:lnTo>
                  <a:lnTo>
                    <a:pt x="207" y="180"/>
                  </a:lnTo>
                  <a:lnTo>
                    <a:pt x="211" y="180"/>
                  </a:lnTo>
                  <a:lnTo>
                    <a:pt x="211" y="176"/>
                  </a:lnTo>
                  <a:lnTo>
                    <a:pt x="215" y="176"/>
                  </a:lnTo>
                  <a:lnTo>
                    <a:pt x="215" y="180"/>
                  </a:lnTo>
                  <a:lnTo>
                    <a:pt x="215" y="184"/>
                  </a:lnTo>
                  <a:lnTo>
                    <a:pt x="215" y="191"/>
                  </a:lnTo>
                  <a:lnTo>
                    <a:pt x="215" y="195"/>
                  </a:lnTo>
                  <a:lnTo>
                    <a:pt x="215" y="199"/>
                  </a:lnTo>
                  <a:lnTo>
                    <a:pt x="215" y="203"/>
                  </a:lnTo>
                  <a:lnTo>
                    <a:pt x="211" y="203"/>
                  </a:lnTo>
                  <a:lnTo>
                    <a:pt x="211" y="207"/>
                  </a:lnTo>
                  <a:lnTo>
                    <a:pt x="207" y="207"/>
                  </a:lnTo>
                  <a:lnTo>
                    <a:pt x="203" y="203"/>
                  </a:lnTo>
                  <a:lnTo>
                    <a:pt x="207" y="203"/>
                  </a:lnTo>
                  <a:lnTo>
                    <a:pt x="203" y="203"/>
                  </a:lnTo>
                  <a:lnTo>
                    <a:pt x="203" y="199"/>
                  </a:lnTo>
                  <a:lnTo>
                    <a:pt x="203" y="195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4" name="Freeform 91"/>
            <p:cNvSpPr>
              <a:spLocks noEditPoints="1"/>
            </p:cNvSpPr>
            <p:nvPr>
              <p:custDataLst>
                <p:tags r:id="rId287"/>
              </p:custDataLst>
            </p:nvPr>
          </p:nvSpPr>
          <p:spPr bwMode="gray">
            <a:xfrm>
              <a:off x="4505088" y="2976449"/>
              <a:ext cx="207629" cy="261019"/>
            </a:xfrm>
            <a:custGeom>
              <a:avLst/>
              <a:gdLst/>
              <a:ahLst/>
              <a:cxnLst>
                <a:cxn ang="0">
                  <a:pos x="28" y="152"/>
                </a:cxn>
                <a:cxn ang="0">
                  <a:pos x="36" y="136"/>
                </a:cxn>
                <a:cxn ang="0">
                  <a:pos x="20" y="136"/>
                </a:cxn>
                <a:cxn ang="0">
                  <a:pos x="8" y="128"/>
                </a:cxn>
                <a:cxn ang="0">
                  <a:pos x="4" y="116"/>
                </a:cxn>
                <a:cxn ang="0">
                  <a:pos x="8" y="100"/>
                </a:cxn>
                <a:cxn ang="0">
                  <a:pos x="4" y="92"/>
                </a:cxn>
                <a:cxn ang="0">
                  <a:pos x="4" y="80"/>
                </a:cxn>
                <a:cxn ang="0">
                  <a:pos x="16" y="72"/>
                </a:cxn>
                <a:cxn ang="0">
                  <a:pos x="16" y="60"/>
                </a:cxn>
                <a:cxn ang="0">
                  <a:pos x="20" y="52"/>
                </a:cxn>
                <a:cxn ang="0">
                  <a:pos x="20" y="40"/>
                </a:cxn>
                <a:cxn ang="0">
                  <a:pos x="32" y="32"/>
                </a:cxn>
                <a:cxn ang="0">
                  <a:pos x="36" y="32"/>
                </a:cxn>
                <a:cxn ang="0">
                  <a:pos x="44" y="36"/>
                </a:cxn>
                <a:cxn ang="0">
                  <a:pos x="52" y="28"/>
                </a:cxn>
                <a:cxn ang="0">
                  <a:pos x="56" y="32"/>
                </a:cxn>
                <a:cxn ang="0">
                  <a:pos x="48" y="20"/>
                </a:cxn>
                <a:cxn ang="0">
                  <a:pos x="48" y="16"/>
                </a:cxn>
                <a:cxn ang="0">
                  <a:pos x="40" y="4"/>
                </a:cxn>
                <a:cxn ang="0">
                  <a:pos x="40" y="0"/>
                </a:cxn>
                <a:cxn ang="0">
                  <a:pos x="56" y="4"/>
                </a:cxn>
                <a:cxn ang="0">
                  <a:pos x="60" y="12"/>
                </a:cxn>
                <a:cxn ang="0">
                  <a:pos x="80" y="16"/>
                </a:cxn>
                <a:cxn ang="0">
                  <a:pos x="80" y="24"/>
                </a:cxn>
                <a:cxn ang="0">
                  <a:pos x="92" y="20"/>
                </a:cxn>
                <a:cxn ang="0">
                  <a:pos x="108" y="12"/>
                </a:cxn>
                <a:cxn ang="0">
                  <a:pos x="100" y="16"/>
                </a:cxn>
                <a:cxn ang="0">
                  <a:pos x="116" y="20"/>
                </a:cxn>
                <a:cxn ang="0">
                  <a:pos x="124" y="28"/>
                </a:cxn>
                <a:cxn ang="0">
                  <a:pos x="132" y="40"/>
                </a:cxn>
                <a:cxn ang="0">
                  <a:pos x="132" y="56"/>
                </a:cxn>
                <a:cxn ang="0">
                  <a:pos x="136" y="64"/>
                </a:cxn>
                <a:cxn ang="0">
                  <a:pos x="136" y="80"/>
                </a:cxn>
                <a:cxn ang="0">
                  <a:pos x="136" y="96"/>
                </a:cxn>
                <a:cxn ang="0">
                  <a:pos x="132" y="92"/>
                </a:cxn>
                <a:cxn ang="0">
                  <a:pos x="112" y="100"/>
                </a:cxn>
                <a:cxn ang="0">
                  <a:pos x="100" y="112"/>
                </a:cxn>
                <a:cxn ang="0">
                  <a:pos x="104" y="116"/>
                </a:cxn>
                <a:cxn ang="0">
                  <a:pos x="108" y="128"/>
                </a:cxn>
                <a:cxn ang="0">
                  <a:pos x="120" y="144"/>
                </a:cxn>
                <a:cxn ang="0">
                  <a:pos x="108" y="152"/>
                </a:cxn>
                <a:cxn ang="0">
                  <a:pos x="108" y="164"/>
                </a:cxn>
                <a:cxn ang="0">
                  <a:pos x="108" y="168"/>
                </a:cxn>
                <a:cxn ang="0">
                  <a:pos x="88" y="168"/>
                </a:cxn>
                <a:cxn ang="0">
                  <a:pos x="72" y="168"/>
                </a:cxn>
                <a:cxn ang="0">
                  <a:pos x="64" y="168"/>
                </a:cxn>
                <a:cxn ang="0">
                  <a:pos x="48" y="164"/>
                </a:cxn>
                <a:cxn ang="0">
                  <a:pos x="44" y="164"/>
                </a:cxn>
                <a:cxn ang="0">
                  <a:pos x="36" y="168"/>
                </a:cxn>
                <a:cxn ang="0">
                  <a:pos x="120" y="28"/>
                </a:cxn>
                <a:cxn ang="0">
                  <a:pos x="124" y="20"/>
                </a:cxn>
                <a:cxn ang="0">
                  <a:pos x="84" y="16"/>
                </a:cxn>
                <a:cxn ang="0">
                  <a:pos x="40" y="8"/>
                </a:cxn>
                <a:cxn ang="0">
                  <a:pos x="116" y="12"/>
                </a:cxn>
                <a:cxn ang="0">
                  <a:pos x="120" y="12"/>
                </a:cxn>
              </a:cxnLst>
              <a:rect l="0" t="0" r="r" b="b"/>
              <a:pathLst>
                <a:path w="140" h="176">
                  <a:moveTo>
                    <a:pt x="28" y="168"/>
                  </a:moveTo>
                  <a:lnTo>
                    <a:pt x="28" y="164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8" y="152"/>
                  </a:lnTo>
                  <a:lnTo>
                    <a:pt x="28" y="148"/>
                  </a:lnTo>
                  <a:lnTo>
                    <a:pt x="32" y="148"/>
                  </a:lnTo>
                  <a:lnTo>
                    <a:pt x="32" y="144"/>
                  </a:lnTo>
                  <a:lnTo>
                    <a:pt x="36" y="140"/>
                  </a:lnTo>
                  <a:lnTo>
                    <a:pt x="36" y="136"/>
                  </a:lnTo>
                  <a:lnTo>
                    <a:pt x="32" y="136"/>
                  </a:lnTo>
                  <a:lnTo>
                    <a:pt x="28" y="136"/>
                  </a:lnTo>
                  <a:lnTo>
                    <a:pt x="24" y="132"/>
                  </a:lnTo>
                  <a:lnTo>
                    <a:pt x="24" y="136"/>
                  </a:lnTo>
                  <a:lnTo>
                    <a:pt x="20" y="136"/>
                  </a:lnTo>
                  <a:lnTo>
                    <a:pt x="20" y="132"/>
                  </a:lnTo>
                  <a:lnTo>
                    <a:pt x="16" y="132"/>
                  </a:lnTo>
                  <a:lnTo>
                    <a:pt x="12" y="132"/>
                  </a:lnTo>
                  <a:lnTo>
                    <a:pt x="12" y="128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12" y="120"/>
                  </a:lnTo>
                  <a:lnTo>
                    <a:pt x="8" y="120"/>
                  </a:lnTo>
                  <a:lnTo>
                    <a:pt x="8" y="116"/>
                  </a:lnTo>
                  <a:lnTo>
                    <a:pt x="4" y="116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8" y="108"/>
                  </a:lnTo>
                  <a:lnTo>
                    <a:pt x="8" y="104"/>
                  </a:lnTo>
                  <a:lnTo>
                    <a:pt x="8" y="100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4" y="92"/>
                  </a:lnTo>
                  <a:lnTo>
                    <a:pt x="0" y="92"/>
                  </a:lnTo>
                  <a:lnTo>
                    <a:pt x="4" y="92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4" y="36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6" y="28"/>
                  </a:lnTo>
                  <a:lnTo>
                    <a:pt x="56" y="32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6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44" y="20"/>
                  </a:lnTo>
                  <a:lnTo>
                    <a:pt x="48" y="20"/>
                  </a:lnTo>
                  <a:lnTo>
                    <a:pt x="48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20"/>
                  </a:lnTo>
                  <a:lnTo>
                    <a:pt x="76" y="24"/>
                  </a:lnTo>
                  <a:lnTo>
                    <a:pt x="76" y="28"/>
                  </a:lnTo>
                  <a:lnTo>
                    <a:pt x="76" y="24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8" y="24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100" y="16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04" y="16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0" y="16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16" y="24"/>
                  </a:lnTo>
                  <a:lnTo>
                    <a:pt x="116" y="20"/>
                  </a:lnTo>
                  <a:lnTo>
                    <a:pt x="120" y="20"/>
                  </a:lnTo>
                  <a:lnTo>
                    <a:pt x="120" y="24"/>
                  </a:lnTo>
                  <a:lnTo>
                    <a:pt x="124" y="28"/>
                  </a:lnTo>
                  <a:lnTo>
                    <a:pt x="120" y="28"/>
                  </a:lnTo>
                  <a:lnTo>
                    <a:pt x="124" y="28"/>
                  </a:lnTo>
                  <a:lnTo>
                    <a:pt x="128" y="32"/>
                  </a:lnTo>
                  <a:lnTo>
                    <a:pt x="128" y="36"/>
                  </a:lnTo>
                  <a:lnTo>
                    <a:pt x="132" y="40"/>
                  </a:lnTo>
                  <a:lnTo>
                    <a:pt x="132" y="44"/>
                  </a:lnTo>
                  <a:lnTo>
                    <a:pt x="128" y="48"/>
                  </a:lnTo>
                  <a:lnTo>
                    <a:pt x="128" y="52"/>
                  </a:lnTo>
                  <a:lnTo>
                    <a:pt x="132" y="52"/>
                  </a:lnTo>
                  <a:lnTo>
                    <a:pt x="132" y="56"/>
                  </a:lnTo>
                  <a:lnTo>
                    <a:pt x="136" y="56"/>
                  </a:lnTo>
                  <a:lnTo>
                    <a:pt x="136" y="60"/>
                  </a:lnTo>
                  <a:lnTo>
                    <a:pt x="132" y="60"/>
                  </a:lnTo>
                  <a:lnTo>
                    <a:pt x="132" y="64"/>
                  </a:lnTo>
                  <a:lnTo>
                    <a:pt x="136" y="64"/>
                  </a:lnTo>
                  <a:lnTo>
                    <a:pt x="136" y="68"/>
                  </a:lnTo>
                  <a:lnTo>
                    <a:pt x="136" y="72"/>
                  </a:lnTo>
                  <a:lnTo>
                    <a:pt x="132" y="72"/>
                  </a:lnTo>
                  <a:lnTo>
                    <a:pt x="136" y="76"/>
                  </a:lnTo>
                  <a:lnTo>
                    <a:pt x="136" y="80"/>
                  </a:lnTo>
                  <a:lnTo>
                    <a:pt x="140" y="80"/>
                  </a:lnTo>
                  <a:lnTo>
                    <a:pt x="140" y="84"/>
                  </a:lnTo>
                  <a:lnTo>
                    <a:pt x="140" y="88"/>
                  </a:lnTo>
                  <a:lnTo>
                    <a:pt x="140" y="92"/>
                  </a:lnTo>
                  <a:lnTo>
                    <a:pt x="136" y="96"/>
                  </a:lnTo>
                  <a:lnTo>
                    <a:pt x="132" y="96"/>
                  </a:lnTo>
                  <a:lnTo>
                    <a:pt x="136" y="96"/>
                  </a:lnTo>
                  <a:lnTo>
                    <a:pt x="132" y="92"/>
                  </a:lnTo>
                  <a:lnTo>
                    <a:pt x="128" y="92"/>
                  </a:lnTo>
                  <a:lnTo>
                    <a:pt x="132" y="92"/>
                  </a:lnTo>
                  <a:lnTo>
                    <a:pt x="128" y="96"/>
                  </a:lnTo>
                  <a:lnTo>
                    <a:pt x="124" y="96"/>
                  </a:lnTo>
                  <a:lnTo>
                    <a:pt x="120" y="100"/>
                  </a:lnTo>
                  <a:lnTo>
                    <a:pt x="116" y="100"/>
                  </a:lnTo>
                  <a:lnTo>
                    <a:pt x="112" y="100"/>
                  </a:lnTo>
                  <a:lnTo>
                    <a:pt x="112" y="104"/>
                  </a:lnTo>
                  <a:lnTo>
                    <a:pt x="108" y="104"/>
                  </a:lnTo>
                  <a:lnTo>
                    <a:pt x="104" y="104"/>
                  </a:lnTo>
                  <a:lnTo>
                    <a:pt x="100" y="108"/>
                  </a:lnTo>
                  <a:lnTo>
                    <a:pt x="100" y="112"/>
                  </a:lnTo>
                  <a:lnTo>
                    <a:pt x="96" y="108"/>
                  </a:lnTo>
                  <a:lnTo>
                    <a:pt x="96" y="112"/>
                  </a:lnTo>
                  <a:lnTo>
                    <a:pt x="100" y="112"/>
                  </a:lnTo>
                  <a:lnTo>
                    <a:pt x="100" y="116"/>
                  </a:lnTo>
                  <a:lnTo>
                    <a:pt x="104" y="116"/>
                  </a:lnTo>
                  <a:lnTo>
                    <a:pt x="100" y="120"/>
                  </a:lnTo>
                  <a:lnTo>
                    <a:pt x="100" y="124"/>
                  </a:lnTo>
                  <a:lnTo>
                    <a:pt x="104" y="124"/>
                  </a:lnTo>
                  <a:lnTo>
                    <a:pt x="104" y="128"/>
                  </a:lnTo>
                  <a:lnTo>
                    <a:pt x="108" y="128"/>
                  </a:lnTo>
                  <a:lnTo>
                    <a:pt x="108" y="132"/>
                  </a:lnTo>
                  <a:lnTo>
                    <a:pt x="112" y="132"/>
                  </a:lnTo>
                  <a:lnTo>
                    <a:pt x="116" y="136"/>
                  </a:lnTo>
                  <a:lnTo>
                    <a:pt x="120" y="140"/>
                  </a:lnTo>
                  <a:lnTo>
                    <a:pt x="120" y="144"/>
                  </a:lnTo>
                  <a:lnTo>
                    <a:pt x="120" y="148"/>
                  </a:lnTo>
                  <a:lnTo>
                    <a:pt x="116" y="148"/>
                  </a:lnTo>
                  <a:lnTo>
                    <a:pt x="116" y="152"/>
                  </a:lnTo>
                  <a:lnTo>
                    <a:pt x="112" y="152"/>
                  </a:lnTo>
                  <a:lnTo>
                    <a:pt x="108" y="152"/>
                  </a:lnTo>
                  <a:lnTo>
                    <a:pt x="108" y="156"/>
                  </a:lnTo>
                  <a:lnTo>
                    <a:pt x="104" y="156"/>
                  </a:lnTo>
                  <a:lnTo>
                    <a:pt x="108" y="156"/>
                  </a:lnTo>
                  <a:lnTo>
                    <a:pt x="108" y="160"/>
                  </a:lnTo>
                  <a:lnTo>
                    <a:pt x="108" y="164"/>
                  </a:lnTo>
                  <a:lnTo>
                    <a:pt x="112" y="164"/>
                  </a:lnTo>
                  <a:lnTo>
                    <a:pt x="112" y="168"/>
                  </a:lnTo>
                  <a:lnTo>
                    <a:pt x="112" y="172"/>
                  </a:lnTo>
                  <a:lnTo>
                    <a:pt x="108" y="172"/>
                  </a:lnTo>
                  <a:lnTo>
                    <a:pt x="108" y="168"/>
                  </a:lnTo>
                  <a:lnTo>
                    <a:pt x="104" y="168"/>
                  </a:lnTo>
                  <a:lnTo>
                    <a:pt x="100" y="168"/>
                  </a:lnTo>
                  <a:lnTo>
                    <a:pt x="96" y="168"/>
                  </a:lnTo>
                  <a:lnTo>
                    <a:pt x="92" y="168"/>
                  </a:lnTo>
                  <a:lnTo>
                    <a:pt x="88" y="168"/>
                  </a:lnTo>
                  <a:lnTo>
                    <a:pt x="84" y="168"/>
                  </a:lnTo>
                  <a:lnTo>
                    <a:pt x="84" y="172"/>
                  </a:lnTo>
                  <a:lnTo>
                    <a:pt x="80" y="172"/>
                  </a:lnTo>
                  <a:lnTo>
                    <a:pt x="76" y="168"/>
                  </a:lnTo>
                  <a:lnTo>
                    <a:pt x="72" y="168"/>
                  </a:lnTo>
                  <a:lnTo>
                    <a:pt x="72" y="172"/>
                  </a:lnTo>
                  <a:lnTo>
                    <a:pt x="68" y="176"/>
                  </a:lnTo>
                  <a:lnTo>
                    <a:pt x="68" y="172"/>
                  </a:lnTo>
                  <a:lnTo>
                    <a:pt x="64" y="172"/>
                  </a:lnTo>
                  <a:lnTo>
                    <a:pt x="64" y="168"/>
                  </a:lnTo>
                  <a:lnTo>
                    <a:pt x="60" y="168"/>
                  </a:lnTo>
                  <a:lnTo>
                    <a:pt x="56" y="168"/>
                  </a:lnTo>
                  <a:lnTo>
                    <a:pt x="52" y="168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44" y="164"/>
                  </a:lnTo>
                  <a:lnTo>
                    <a:pt x="44" y="168"/>
                  </a:lnTo>
                  <a:lnTo>
                    <a:pt x="44" y="164"/>
                  </a:lnTo>
                  <a:lnTo>
                    <a:pt x="40" y="164"/>
                  </a:lnTo>
                  <a:lnTo>
                    <a:pt x="40" y="168"/>
                  </a:lnTo>
                  <a:lnTo>
                    <a:pt x="44" y="168"/>
                  </a:lnTo>
                  <a:lnTo>
                    <a:pt x="40" y="168"/>
                  </a:lnTo>
                  <a:lnTo>
                    <a:pt x="36" y="168"/>
                  </a:lnTo>
                  <a:lnTo>
                    <a:pt x="32" y="168"/>
                  </a:lnTo>
                  <a:lnTo>
                    <a:pt x="28" y="168"/>
                  </a:lnTo>
                  <a:close/>
                  <a:moveTo>
                    <a:pt x="128" y="28"/>
                  </a:moveTo>
                  <a:lnTo>
                    <a:pt x="124" y="28"/>
                  </a:lnTo>
                  <a:lnTo>
                    <a:pt x="120" y="28"/>
                  </a:lnTo>
                  <a:lnTo>
                    <a:pt x="124" y="28"/>
                  </a:lnTo>
                  <a:lnTo>
                    <a:pt x="124" y="24"/>
                  </a:lnTo>
                  <a:lnTo>
                    <a:pt x="120" y="24"/>
                  </a:lnTo>
                  <a:lnTo>
                    <a:pt x="120" y="20"/>
                  </a:lnTo>
                  <a:lnTo>
                    <a:pt x="124" y="20"/>
                  </a:lnTo>
                  <a:lnTo>
                    <a:pt x="124" y="24"/>
                  </a:lnTo>
                  <a:lnTo>
                    <a:pt x="128" y="24"/>
                  </a:lnTo>
                  <a:lnTo>
                    <a:pt x="128" y="28"/>
                  </a:lnTo>
                  <a:close/>
                  <a:moveTo>
                    <a:pt x="84" y="12"/>
                  </a:moveTo>
                  <a:lnTo>
                    <a:pt x="84" y="16"/>
                  </a:lnTo>
                  <a:lnTo>
                    <a:pt x="80" y="16"/>
                  </a:lnTo>
                  <a:lnTo>
                    <a:pt x="80" y="12"/>
                  </a:lnTo>
                  <a:lnTo>
                    <a:pt x="84" y="12"/>
                  </a:lnTo>
                  <a:close/>
                  <a:moveTo>
                    <a:pt x="44" y="8"/>
                  </a:moveTo>
                  <a:lnTo>
                    <a:pt x="40" y="8"/>
                  </a:lnTo>
                  <a:lnTo>
                    <a:pt x="44" y="8"/>
                  </a:lnTo>
                  <a:close/>
                  <a:moveTo>
                    <a:pt x="112" y="20"/>
                  </a:moveTo>
                  <a:lnTo>
                    <a:pt x="112" y="16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12" y="12"/>
                  </a:lnTo>
                  <a:lnTo>
                    <a:pt x="112" y="8"/>
                  </a:lnTo>
                  <a:lnTo>
                    <a:pt x="116" y="8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16" y="16"/>
                  </a:lnTo>
                  <a:lnTo>
                    <a:pt x="116" y="20"/>
                  </a:lnTo>
                  <a:lnTo>
                    <a:pt x="112" y="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5" name="Freeform 92"/>
            <p:cNvSpPr>
              <a:spLocks noEditPoints="1"/>
            </p:cNvSpPr>
            <p:nvPr>
              <p:custDataLst>
                <p:tags r:id="rId288"/>
              </p:custDataLst>
            </p:nvPr>
          </p:nvSpPr>
          <p:spPr bwMode="gray">
            <a:xfrm>
              <a:off x="4819497" y="3408020"/>
              <a:ext cx="188349" cy="207629"/>
            </a:xfrm>
            <a:custGeom>
              <a:avLst/>
              <a:gdLst/>
              <a:ahLst/>
              <a:cxnLst>
                <a:cxn ang="0">
                  <a:pos x="12" y="52"/>
                </a:cxn>
                <a:cxn ang="0">
                  <a:pos x="8" y="44"/>
                </a:cxn>
                <a:cxn ang="0">
                  <a:pos x="20" y="24"/>
                </a:cxn>
                <a:cxn ang="0">
                  <a:pos x="40" y="12"/>
                </a:cxn>
                <a:cxn ang="0">
                  <a:pos x="56" y="8"/>
                </a:cxn>
                <a:cxn ang="0">
                  <a:pos x="76" y="8"/>
                </a:cxn>
                <a:cxn ang="0">
                  <a:pos x="96" y="12"/>
                </a:cxn>
                <a:cxn ang="0">
                  <a:pos x="104" y="8"/>
                </a:cxn>
                <a:cxn ang="0">
                  <a:pos x="96" y="20"/>
                </a:cxn>
                <a:cxn ang="0">
                  <a:pos x="72" y="16"/>
                </a:cxn>
                <a:cxn ang="0">
                  <a:pos x="60" y="24"/>
                </a:cxn>
                <a:cxn ang="0">
                  <a:pos x="68" y="32"/>
                </a:cxn>
                <a:cxn ang="0">
                  <a:pos x="56" y="32"/>
                </a:cxn>
                <a:cxn ang="0">
                  <a:pos x="52" y="32"/>
                </a:cxn>
                <a:cxn ang="0">
                  <a:pos x="48" y="44"/>
                </a:cxn>
                <a:cxn ang="0">
                  <a:pos x="48" y="56"/>
                </a:cxn>
                <a:cxn ang="0">
                  <a:pos x="44" y="60"/>
                </a:cxn>
                <a:cxn ang="0">
                  <a:pos x="52" y="64"/>
                </a:cxn>
                <a:cxn ang="0">
                  <a:pos x="60" y="72"/>
                </a:cxn>
                <a:cxn ang="0">
                  <a:pos x="60" y="84"/>
                </a:cxn>
                <a:cxn ang="0">
                  <a:pos x="52" y="84"/>
                </a:cxn>
                <a:cxn ang="0">
                  <a:pos x="44" y="92"/>
                </a:cxn>
                <a:cxn ang="0">
                  <a:pos x="48" y="108"/>
                </a:cxn>
                <a:cxn ang="0">
                  <a:pos x="40" y="108"/>
                </a:cxn>
                <a:cxn ang="0">
                  <a:pos x="28" y="100"/>
                </a:cxn>
                <a:cxn ang="0">
                  <a:pos x="20" y="80"/>
                </a:cxn>
                <a:cxn ang="0">
                  <a:pos x="36" y="76"/>
                </a:cxn>
                <a:cxn ang="0">
                  <a:pos x="48" y="76"/>
                </a:cxn>
                <a:cxn ang="0">
                  <a:pos x="32" y="72"/>
                </a:cxn>
                <a:cxn ang="0">
                  <a:pos x="16" y="60"/>
                </a:cxn>
                <a:cxn ang="0">
                  <a:pos x="76" y="24"/>
                </a:cxn>
                <a:cxn ang="0">
                  <a:pos x="84" y="40"/>
                </a:cxn>
                <a:cxn ang="0">
                  <a:pos x="0" y="40"/>
                </a:cxn>
                <a:cxn ang="0">
                  <a:pos x="0" y="44"/>
                </a:cxn>
                <a:cxn ang="0">
                  <a:pos x="96" y="56"/>
                </a:cxn>
                <a:cxn ang="0">
                  <a:pos x="64" y="72"/>
                </a:cxn>
                <a:cxn ang="0">
                  <a:pos x="52" y="60"/>
                </a:cxn>
                <a:cxn ang="0">
                  <a:pos x="68" y="68"/>
                </a:cxn>
                <a:cxn ang="0">
                  <a:pos x="68" y="72"/>
                </a:cxn>
                <a:cxn ang="0">
                  <a:pos x="16" y="64"/>
                </a:cxn>
                <a:cxn ang="0">
                  <a:pos x="92" y="76"/>
                </a:cxn>
                <a:cxn ang="0">
                  <a:pos x="16" y="72"/>
                </a:cxn>
                <a:cxn ang="0">
                  <a:pos x="16" y="76"/>
                </a:cxn>
                <a:cxn ang="0">
                  <a:pos x="76" y="84"/>
                </a:cxn>
                <a:cxn ang="0">
                  <a:pos x="12" y="80"/>
                </a:cxn>
                <a:cxn ang="0">
                  <a:pos x="108" y="84"/>
                </a:cxn>
                <a:cxn ang="0">
                  <a:pos x="100" y="84"/>
                </a:cxn>
                <a:cxn ang="0">
                  <a:pos x="68" y="88"/>
                </a:cxn>
                <a:cxn ang="0">
                  <a:pos x="72" y="92"/>
                </a:cxn>
                <a:cxn ang="0">
                  <a:pos x="88" y="100"/>
                </a:cxn>
                <a:cxn ang="0">
                  <a:pos x="108" y="96"/>
                </a:cxn>
                <a:cxn ang="0">
                  <a:pos x="112" y="100"/>
                </a:cxn>
                <a:cxn ang="0">
                  <a:pos x="84" y="104"/>
                </a:cxn>
                <a:cxn ang="0">
                  <a:pos x="127" y="112"/>
                </a:cxn>
                <a:cxn ang="0">
                  <a:pos x="127" y="112"/>
                </a:cxn>
                <a:cxn ang="0">
                  <a:pos x="112" y="124"/>
                </a:cxn>
                <a:cxn ang="0">
                  <a:pos x="64" y="128"/>
                </a:cxn>
                <a:cxn ang="0">
                  <a:pos x="84" y="132"/>
                </a:cxn>
                <a:cxn ang="0">
                  <a:pos x="100" y="140"/>
                </a:cxn>
                <a:cxn ang="0">
                  <a:pos x="72" y="136"/>
                </a:cxn>
              </a:cxnLst>
              <a:rect l="0" t="0" r="r" b="b"/>
              <a:pathLst>
                <a:path w="127" h="140">
                  <a:moveTo>
                    <a:pt x="20" y="56"/>
                  </a:moveTo>
                  <a:lnTo>
                    <a:pt x="20" y="60"/>
                  </a:lnTo>
                  <a:lnTo>
                    <a:pt x="16" y="56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12"/>
                  </a:lnTo>
                  <a:lnTo>
                    <a:pt x="48" y="8"/>
                  </a:lnTo>
                  <a:lnTo>
                    <a:pt x="52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92" y="8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8"/>
                  </a:lnTo>
                  <a:lnTo>
                    <a:pt x="96" y="4"/>
                  </a:lnTo>
                  <a:lnTo>
                    <a:pt x="96" y="0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4" y="4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0" y="12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96" y="20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2" y="20"/>
                  </a:lnTo>
                  <a:lnTo>
                    <a:pt x="88" y="20"/>
                  </a:lnTo>
                  <a:lnTo>
                    <a:pt x="84" y="20"/>
                  </a:lnTo>
                  <a:lnTo>
                    <a:pt x="80" y="16"/>
                  </a:lnTo>
                  <a:lnTo>
                    <a:pt x="76" y="20"/>
                  </a:lnTo>
                  <a:lnTo>
                    <a:pt x="72" y="20"/>
                  </a:lnTo>
                  <a:lnTo>
                    <a:pt x="72" y="16"/>
                  </a:lnTo>
                  <a:lnTo>
                    <a:pt x="72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0" y="20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8" y="32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68" y="36"/>
                  </a:lnTo>
                  <a:lnTo>
                    <a:pt x="68" y="32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60" y="36"/>
                  </a:lnTo>
                  <a:lnTo>
                    <a:pt x="60" y="40"/>
                  </a:lnTo>
                  <a:lnTo>
                    <a:pt x="56" y="40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52" y="32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8" y="44"/>
                  </a:lnTo>
                  <a:lnTo>
                    <a:pt x="48" y="48"/>
                  </a:lnTo>
                  <a:lnTo>
                    <a:pt x="52" y="48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52" y="64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84"/>
                  </a:lnTo>
                  <a:lnTo>
                    <a:pt x="60" y="84"/>
                  </a:lnTo>
                  <a:lnTo>
                    <a:pt x="56" y="80"/>
                  </a:lnTo>
                  <a:lnTo>
                    <a:pt x="60" y="80"/>
                  </a:lnTo>
                  <a:lnTo>
                    <a:pt x="56" y="80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84"/>
                  </a:lnTo>
                  <a:lnTo>
                    <a:pt x="52" y="84"/>
                  </a:lnTo>
                  <a:lnTo>
                    <a:pt x="52" y="88"/>
                  </a:lnTo>
                  <a:lnTo>
                    <a:pt x="56" y="88"/>
                  </a:lnTo>
                  <a:lnTo>
                    <a:pt x="56" y="92"/>
                  </a:lnTo>
                  <a:lnTo>
                    <a:pt x="52" y="92"/>
                  </a:lnTo>
                  <a:lnTo>
                    <a:pt x="48" y="88"/>
                  </a:lnTo>
                  <a:lnTo>
                    <a:pt x="44" y="88"/>
                  </a:lnTo>
                  <a:lnTo>
                    <a:pt x="44" y="92"/>
                  </a:lnTo>
                  <a:lnTo>
                    <a:pt x="48" y="92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48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8"/>
                  </a:lnTo>
                  <a:lnTo>
                    <a:pt x="52" y="108"/>
                  </a:lnTo>
                  <a:lnTo>
                    <a:pt x="52" y="112"/>
                  </a:lnTo>
                  <a:lnTo>
                    <a:pt x="48" y="108"/>
                  </a:lnTo>
                  <a:lnTo>
                    <a:pt x="44" y="104"/>
                  </a:lnTo>
                  <a:lnTo>
                    <a:pt x="40" y="108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0" y="104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32" y="100"/>
                  </a:lnTo>
                  <a:lnTo>
                    <a:pt x="32" y="104"/>
                  </a:lnTo>
                  <a:lnTo>
                    <a:pt x="28" y="104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28" y="92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8" y="76"/>
                  </a:lnTo>
                  <a:lnTo>
                    <a:pt x="28" y="72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36" y="76"/>
                  </a:lnTo>
                  <a:lnTo>
                    <a:pt x="40" y="76"/>
                  </a:lnTo>
                  <a:lnTo>
                    <a:pt x="44" y="76"/>
                  </a:lnTo>
                  <a:lnTo>
                    <a:pt x="44" y="80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40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28" y="72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0" y="56"/>
                  </a:lnTo>
                  <a:close/>
                  <a:moveTo>
                    <a:pt x="76" y="24"/>
                  </a:moveTo>
                  <a:lnTo>
                    <a:pt x="72" y="24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24"/>
                  </a:lnTo>
                  <a:close/>
                  <a:moveTo>
                    <a:pt x="88" y="28"/>
                  </a:moveTo>
                  <a:lnTo>
                    <a:pt x="92" y="28"/>
                  </a:lnTo>
                  <a:lnTo>
                    <a:pt x="88" y="28"/>
                  </a:lnTo>
                  <a:close/>
                  <a:moveTo>
                    <a:pt x="88" y="36"/>
                  </a:moveTo>
                  <a:lnTo>
                    <a:pt x="84" y="40"/>
                  </a:lnTo>
                  <a:lnTo>
                    <a:pt x="84" y="44"/>
                  </a:lnTo>
                  <a:lnTo>
                    <a:pt x="84" y="40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36"/>
                  </a:lnTo>
                  <a:lnTo>
                    <a:pt x="88" y="36"/>
                  </a:lnTo>
                  <a:close/>
                  <a:moveTo>
                    <a:pt x="0" y="40"/>
                  </a:moveTo>
                  <a:lnTo>
                    <a:pt x="4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8"/>
                  </a:lnTo>
                  <a:lnTo>
                    <a:pt x="4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0"/>
                  </a:lnTo>
                  <a:close/>
                  <a:moveTo>
                    <a:pt x="100" y="52"/>
                  </a:moveTo>
                  <a:lnTo>
                    <a:pt x="104" y="56"/>
                  </a:lnTo>
                  <a:lnTo>
                    <a:pt x="104" y="60"/>
                  </a:lnTo>
                  <a:lnTo>
                    <a:pt x="100" y="60"/>
                  </a:lnTo>
                  <a:lnTo>
                    <a:pt x="96" y="60"/>
                  </a:lnTo>
                  <a:lnTo>
                    <a:pt x="96" y="56"/>
                  </a:lnTo>
                  <a:lnTo>
                    <a:pt x="100" y="56"/>
                  </a:lnTo>
                  <a:lnTo>
                    <a:pt x="96" y="56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96" y="52"/>
                  </a:lnTo>
                  <a:lnTo>
                    <a:pt x="100" y="52"/>
                  </a:lnTo>
                  <a:close/>
                  <a:moveTo>
                    <a:pt x="64" y="72"/>
                  </a:moveTo>
                  <a:lnTo>
                    <a:pt x="60" y="72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52" y="60"/>
                  </a:lnTo>
                  <a:lnTo>
                    <a:pt x="48" y="60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4" y="72"/>
                  </a:lnTo>
                  <a:close/>
                  <a:moveTo>
                    <a:pt x="72" y="64"/>
                  </a:moveTo>
                  <a:lnTo>
                    <a:pt x="72" y="60"/>
                  </a:lnTo>
                  <a:lnTo>
                    <a:pt x="76" y="64"/>
                  </a:lnTo>
                  <a:lnTo>
                    <a:pt x="72" y="64"/>
                  </a:lnTo>
                  <a:close/>
                  <a:moveTo>
                    <a:pt x="16" y="60"/>
                  </a:moveTo>
                  <a:lnTo>
                    <a:pt x="16" y="64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6" y="60"/>
                  </a:lnTo>
                  <a:close/>
                  <a:moveTo>
                    <a:pt x="96" y="76"/>
                  </a:moveTo>
                  <a:lnTo>
                    <a:pt x="92" y="76"/>
                  </a:lnTo>
                  <a:lnTo>
                    <a:pt x="92" y="72"/>
                  </a:lnTo>
                  <a:lnTo>
                    <a:pt x="96" y="72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96" y="76"/>
                  </a:lnTo>
                  <a:close/>
                  <a:moveTo>
                    <a:pt x="16" y="72"/>
                  </a:moveTo>
                  <a:lnTo>
                    <a:pt x="12" y="72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72"/>
                  </a:lnTo>
                  <a:close/>
                  <a:moveTo>
                    <a:pt x="12" y="68"/>
                  </a:moveTo>
                  <a:lnTo>
                    <a:pt x="12" y="72"/>
                  </a:lnTo>
                  <a:lnTo>
                    <a:pt x="16" y="76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68"/>
                  </a:lnTo>
                  <a:close/>
                  <a:moveTo>
                    <a:pt x="80" y="84"/>
                  </a:moveTo>
                  <a:lnTo>
                    <a:pt x="76" y="84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84"/>
                  </a:lnTo>
                  <a:close/>
                  <a:moveTo>
                    <a:pt x="16" y="88"/>
                  </a:moveTo>
                  <a:lnTo>
                    <a:pt x="16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84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6" y="88"/>
                  </a:lnTo>
                  <a:close/>
                  <a:moveTo>
                    <a:pt x="108" y="88"/>
                  </a:moveTo>
                  <a:lnTo>
                    <a:pt x="108" y="84"/>
                  </a:lnTo>
                  <a:lnTo>
                    <a:pt x="104" y="84"/>
                  </a:lnTo>
                  <a:lnTo>
                    <a:pt x="108" y="84"/>
                  </a:lnTo>
                  <a:lnTo>
                    <a:pt x="112" y="84"/>
                  </a:lnTo>
                  <a:lnTo>
                    <a:pt x="108" y="84"/>
                  </a:lnTo>
                  <a:lnTo>
                    <a:pt x="108" y="88"/>
                  </a:lnTo>
                  <a:close/>
                  <a:moveTo>
                    <a:pt x="96" y="88"/>
                  </a:moveTo>
                  <a:lnTo>
                    <a:pt x="100" y="84"/>
                  </a:lnTo>
                  <a:lnTo>
                    <a:pt x="100" y="88"/>
                  </a:lnTo>
                  <a:lnTo>
                    <a:pt x="96" y="88"/>
                  </a:lnTo>
                  <a:close/>
                  <a:moveTo>
                    <a:pt x="68" y="88"/>
                  </a:moveTo>
                  <a:lnTo>
                    <a:pt x="68" y="84"/>
                  </a:lnTo>
                  <a:lnTo>
                    <a:pt x="72" y="84"/>
                  </a:lnTo>
                  <a:lnTo>
                    <a:pt x="72" y="88"/>
                  </a:lnTo>
                  <a:lnTo>
                    <a:pt x="68" y="88"/>
                  </a:lnTo>
                  <a:close/>
                  <a:moveTo>
                    <a:pt x="80" y="84"/>
                  </a:moveTo>
                  <a:lnTo>
                    <a:pt x="80" y="88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80" y="84"/>
                  </a:lnTo>
                  <a:close/>
                  <a:moveTo>
                    <a:pt x="72" y="88"/>
                  </a:moveTo>
                  <a:lnTo>
                    <a:pt x="72" y="92"/>
                  </a:lnTo>
                  <a:lnTo>
                    <a:pt x="68" y="92"/>
                  </a:lnTo>
                  <a:lnTo>
                    <a:pt x="72" y="92"/>
                  </a:lnTo>
                  <a:lnTo>
                    <a:pt x="72" y="88"/>
                  </a:lnTo>
                  <a:close/>
                  <a:moveTo>
                    <a:pt x="88" y="100"/>
                  </a:moveTo>
                  <a:lnTo>
                    <a:pt x="84" y="96"/>
                  </a:lnTo>
                  <a:lnTo>
                    <a:pt x="88" y="96"/>
                  </a:lnTo>
                  <a:lnTo>
                    <a:pt x="88" y="100"/>
                  </a:lnTo>
                  <a:close/>
                  <a:moveTo>
                    <a:pt x="84" y="100"/>
                  </a:moveTo>
                  <a:lnTo>
                    <a:pt x="80" y="100"/>
                  </a:lnTo>
                  <a:lnTo>
                    <a:pt x="80" y="96"/>
                  </a:lnTo>
                  <a:lnTo>
                    <a:pt x="84" y="96"/>
                  </a:lnTo>
                  <a:lnTo>
                    <a:pt x="84" y="100"/>
                  </a:lnTo>
                  <a:close/>
                  <a:moveTo>
                    <a:pt x="108" y="100"/>
                  </a:moveTo>
                  <a:lnTo>
                    <a:pt x="108" y="96"/>
                  </a:lnTo>
                  <a:lnTo>
                    <a:pt x="108" y="100"/>
                  </a:lnTo>
                  <a:lnTo>
                    <a:pt x="112" y="100"/>
                  </a:lnTo>
                  <a:lnTo>
                    <a:pt x="108" y="100"/>
                  </a:lnTo>
                  <a:close/>
                  <a:moveTo>
                    <a:pt x="108" y="108"/>
                  </a:moveTo>
                  <a:lnTo>
                    <a:pt x="108" y="104"/>
                  </a:lnTo>
                  <a:lnTo>
                    <a:pt x="112" y="104"/>
                  </a:lnTo>
                  <a:lnTo>
                    <a:pt x="112" y="100"/>
                  </a:lnTo>
                  <a:lnTo>
                    <a:pt x="116" y="100"/>
                  </a:lnTo>
                  <a:lnTo>
                    <a:pt x="116" y="104"/>
                  </a:lnTo>
                  <a:lnTo>
                    <a:pt x="112" y="104"/>
                  </a:lnTo>
                  <a:lnTo>
                    <a:pt x="108" y="104"/>
                  </a:lnTo>
                  <a:lnTo>
                    <a:pt x="108" y="108"/>
                  </a:lnTo>
                  <a:close/>
                  <a:moveTo>
                    <a:pt x="84" y="108"/>
                  </a:moveTo>
                  <a:lnTo>
                    <a:pt x="84" y="104"/>
                  </a:lnTo>
                  <a:lnTo>
                    <a:pt x="84" y="108"/>
                  </a:lnTo>
                  <a:close/>
                  <a:moveTo>
                    <a:pt x="68" y="108"/>
                  </a:moveTo>
                  <a:lnTo>
                    <a:pt x="68" y="104"/>
                  </a:lnTo>
                  <a:lnTo>
                    <a:pt x="72" y="104"/>
                  </a:lnTo>
                  <a:lnTo>
                    <a:pt x="72" y="108"/>
                  </a:lnTo>
                  <a:lnTo>
                    <a:pt x="68" y="108"/>
                  </a:lnTo>
                  <a:close/>
                  <a:moveTo>
                    <a:pt x="127" y="112"/>
                  </a:moveTo>
                  <a:lnTo>
                    <a:pt x="127" y="116"/>
                  </a:lnTo>
                  <a:lnTo>
                    <a:pt x="124" y="120"/>
                  </a:lnTo>
                  <a:lnTo>
                    <a:pt x="120" y="120"/>
                  </a:lnTo>
                  <a:lnTo>
                    <a:pt x="120" y="116"/>
                  </a:lnTo>
                  <a:lnTo>
                    <a:pt x="124" y="116"/>
                  </a:lnTo>
                  <a:lnTo>
                    <a:pt x="124" y="112"/>
                  </a:lnTo>
                  <a:lnTo>
                    <a:pt x="127" y="112"/>
                  </a:lnTo>
                  <a:close/>
                  <a:moveTo>
                    <a:pt x="48" y="112"/>
                  </a:moveTo>
                  <a:lnTo>
                    <a:pt x="52" y="116"/>
                  </a:lnTo>
                  <a:lnTo>
                    <a:pt x="48" y="116"/>
                  </a:lnTo>
                  <a:lnTo>
                    <a:pt x="48" y="112"/>
                  </a:lnTo>
                  <a:close/>
                  <a:moveTo>
                    <a:pt x="112" y="132"/>
                  </a:moveTo>
                  <a:lnTo>
                    <a:pt x="112" y="128"/>
                  </a:lnTo>
                  <a:lnTo>
                    <a:pt x="112" y="124"/>
                  </a:lnTo>
                  <a:lnTo>
                    <a:pt x="112" y="128"/>
                  </a:lnTo>
                  <a:lnTo>
                    <a:pt x="112" y="132"/>
                  </a:lnTo>
                  <a:close/>
                  <a:moveTo>
                    <a:pt x="60" y="136"/>
                  </a:moveTo>
                  <a:lnTo>
                    <a:pt x="56" y="136"/>
                  </a:lnTo>
                  <a:lnTo>
                    <a:pt x="56" y="128"/>
                  </a:lnTo>
                  <a:lnTo>
                    <a:pt x="60" y="128"/>
                  </a:lnTo>
                  <a:lnTo>
                    <a:pt x="64" y="128"/>
                  </a:lnTo>
                  <a:lnTo>
                    <a:pt x="68" y="128"/>
                  </a:lnTo>
                  <a:lnTo>
                    <a:pt x="64" y="132"/>
                  </a:lnTo>
                  <a:lnTo>
                    <a:pt x="68" y="132"/>
                  </a:lnTo>
                  <a:lnTo>
                    <a:pt x="72" y="132"/>
                  </a:lnTo>
                  <a:lnTo>
                    <a:pt x="76" y="132"/>
                  </a:lnTo>
                  <a:lnTo>
                    <a:pt x="80" y="132"/>
                  </a:lnTo>
                  <a:lnTo>
                    <a:pt x="84" y="132"/>
                  </a:lnTo>
                  <a:lnTo>
                    <a:pt x="88" y="136"/>
                  </a:lnTo>
                  <a:lnTo>
                    <a:pt x="88" y="132"/>
                  </a:lnTo>
                  <a:lnTo>
                    <a:pt x="92" y="132"/>
                  </a:lnTo>
                  <a:lnTo>
                    <a:pt x="92" y="136"/>
                  </a:lnTo>
                  <a:lnTo>
                    <a:pt x="96" y="136"/>
                  </a:lnTo>
                  <a:lnTo>
                    <a:pt x="100" y="136"/>
                  </a:lnTo>
                  <a:lnTo>
                    <a:pt x="100" y="140"/>
                  </a:lnTo>
                  <a:lnTo>
                    <a:pt x="96" y="140"/>
                  </a:lnTo>
                  <a:lnTo>
                    <a:pt x="88" y="140"/>
                  </a:lnTo>
                  <a:lnTo>
                    <a:pt x="84" y="140"/>
                  </a:lnTo>
                  <a:lnTo>
                    <a:pt x="80" y="140"/>
                  </a:lnTo>
                  <a:lnTo>
                    <a:pt x="76" y="140"/>
                  </a:lnTo>
                  <a:lnTo>
                    <a:pt x="72" y="140"/>
                  </a:lnTo>
                  <a:lnTo>
                    <a:pt x="72" y="136"/>
                  </a:lnTo>
                  <a:lnTo>
                    <a:pt x="68" y="136"/>
                  </a:lnTo>
                  <a:lnTo>
                    <a:pt x="64" y="136"/>
                  </a:lnTo>
                  <a:lnTo>
                    <a:pt x="60" y="13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6" name="Freeform 93"/>
            <p:cNvSpPr>
              <a:spLocks/>
            </p:cNvSpPr>
            <p:nvPr>
              <p:custDataLst>
                <p:tags r:id="rId289"/>
              </p:custDataLst>
            </p:nvPr>
          </p:nvSpPr>
          <p:spPr bwMode="gray">
            <a:xfrm>
              <a:off x="4316738" y="3160349"/>
              <a:ext cx="5932" cy="5932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7" name="Freeform 94"/>
            <p:cNvSpPr>
              <a:spLocks/>
            </p:cNvSpPr>
            <p:nvPr>
              <p:custDataLst>
                <p:tags r:id="rId290"/>
              </p:custDataLst>
            </p:nvPr>
          </p:nvSpPr>
          <p:spPr bwMode="gray">
            <a:xfrm>
              <a:off x="4736446" y="3195942"/>
              <a:ext cx="154239" cy="88984"/>
            </a:xfrm>
            <a:custGeom>
              <a:avLst/>
              <a:gdLst/>
              <a:ahLst/>
              <a:cxnLst>
                <a:cxn ang="0">
                  <a:pos x="80" y="44"/>
                </a:cxn>
                <a:cxn ang="0">
                  <a:pos x="76" y="48"/>
                </a:cxn>
                <a:cxn ang="0">
                  <a:pos x="72" y="48"/>
                </a:cxn>
                <a:cxn ang="0">
                  <a:pos x="72" y="48"/>
                </a:cxn>
                <a:cxn ang="0">
                  <a:pos x="68" y="52"/>
                </a:cxn>
                <a:cxn ang="0">
                  <a:pos x="64" y="52"/>
                </a:cxn>
                <a:cxn ang="0">
                  <a:pos x="60" y="52"/>
                </a:cxn>
                <a:cxn ang="0">
                  <a:pos x="56" y="52"/>
                </a:cxn>
                <a:cxn ang="0">
                  <a:pos x="48" y="56"/>
                </a:cxn>
                <a:cxn ang="0">
                  <a:pos x="44" y="56"/>
                </a:cxn>
                <a:cxn ang="0">
                  <a:pos x="40" y="56"/>
                </a:cxn>
                <a:cxn ang="0">
                  <a:pos x="36" y="60"/>
                </a:cxn>
                <a:cxn ang="0">
                  <a:pos x="32" y="60"/>
                </a:cxn>
                <a:cxn ang="0">
                  <a:pos x="24" y="56"/>
                </a:cxn>
                <a:cxn ang="0">
                  <a:pos x="20" y="56"/>
                </a:cxn>
                <a:cxn ang="0">
                  <a:pos x="16" y="52"/>
                </a:cxn>
                <a:cxn ang="0">
                  <a:pos x="12" y="48"/>
                </a:cxn>
                <a:cxn ang="0">
                  <a:pos x="12" y="48"/>
                </a:cxn>
                <a:cxn ang="0">
                  <a:pos x="8" y="44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0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12" y="16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8" y="16"/>
                </a:cxn>
                <a:cxn ang="0">
                  <a:pos x="36" y="16"/>
                </a:cxn>
                <a:cxn ang="0">
                  <a:pos x="40" y="16"/>
                </a:cxn>
                <a:cxn ang="0">
                  <a:pos x="40" y="16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52" y="8"/>
                </a:cxn>
                <a:cxn ang="0">
                  <a:pos x="60" y="8"/>
                </a:cxn>
                <a:cxn ang="0">
                  <a:pos x="60" y="8"/>
                </a:cxn>
                <a:cxn ang="0">
                  <a:pos x="64" y="4"/>
                </a:cxn>
                <a:cxn ang="0">
                  <a:pos x="68" y="0"/>
                </a:cxn>
                <a:cxn ang="0">
                  <a:pos x="72" y="0"/>
                </a:cxn>
                <a:cxn ang="0">
                  <a:pos x="76" y="0"/>
                </a:cxn>
                <a:cxn ang="0">
                  <a:pos x="84" y="0"/>
                </a:cxn>
                <a:cxn ang="0">
                  <a:pos x="88" y="4"/>
                </a:cxn>
                <a:cxn ang="0">
                  <a:pos x="92" y="4"/>
                </a:cxn>
                <a:cxn ang="0">
                  <a:pos x="92" y="0"/>
                </a:cxn>
                <a:cxn ang="0">
                  <a:pos x="96" y="4"/>
                </a:cxn>
                <a:cxn ang="0">
                  <a:pos x="100" y="8"/>
                </a:cxn>
                <a:cxn ang="0">
                  <a:pos x="104" y="8"/>
                </a:cxn>
                <a:cxn ang="0">
                  <a:pos x="100" y="16"/>
                </a:cxn>
                <a:cxn ang="0">
                  <a:pos x="96" y="16"/>
                </a:cxn>
                <a:cxn ang="0">
                  <a:pos x="92" y="20"/>
                </a:cxn>
                <a:cxn ang="0">
                  <a:pos x="92" y="20"/>
                </a:cxn>
                <a:cxn ang="0">
                  <a:pos x="92" y="24"/>
                </a:cxn>
                <a:cxn ang="0">
                  <a:pos x="88" y="28"/>
                </a:cxn>
                <a:cxn ang="0">
                  <a:pos x="84" y="32"/>
                </a:cxn>
                <a:cxn ang="0">
                  <a:pos x="84" y="36"/>
                </a:cxn>
              </a:cxnLst>
              <a:rect l="0" t="0" r="r" b="b"/>
              <a:pathLst>
                <a:path w="104" h="60">
                  <a:moveTo>
                    <a:pt x="84" y="40"/>
                  </a:move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4" y="60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0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8" name="Freeform 95"/>
            <p:cNvSpPr>
              <a:spLocks/>
            </p:cNvSpPr>
            <p:nvPr>
              <p:custDataLst>
                <p:tags r:id="rId291"/>
              </p:custDataLst>
            </p:nvPr>
          </p:nvSpPr>
          <p:spPr bwMode="gray">
            <a:xfrm>
              <a:off x="3825844" y="2556741"/>
              <a:ext cx="247671" cy="118645"/>
            </a:xfrm>
            <a:custGeom>
              <a:avLst/>
              <a:gdLst/>
              <a:ahLst/>
              <a:cxnLst>
                <a:cxn ang="0">
                  <a:pos x="40" y="52"/>
                </a:cxn>
                <a:cxn ang="0">
                  <a:pos x="32" y="48"/>
                </a:cxn>
                <a:cxn ang="0">
                  <a:pos x="16" y="44"/>
                </a:cxn>
                <a:cxn ang="0">
                  <a:pos x="16" y="44"/>
                </a:cxn>
                <a:cxn ang="0">
                  <a:pos x="32" y="40"/>
                </a:cxn>
                <a:cxn ang="0">
                  <a:pos x="36" y="36"/>
                </a:cxn>
                <a:cxn ang="0">
                  <a:pos x="36" y="32"/>
                </a:cxn>
                <a:cxn ang="0">
                  <a:pos x="36" y="28"/>
                </a:cxn>
                <a:cxn ang="0">
                  <a:pos x="32" y="28"/>
                </a:cxn>
                <a:cxn ang="0">
                  <a:pos x="20" y="28"/>
                </a:cxn>
                <a:cxn ang="0">
                  <a:pos x="0" y="28"/>
                </a:cxn>
                <a:cxn ang="0">
                  <a:pos x="8" y="28"/>
                </a:cxn>
                <a:cxn ang="0">
                  <a:pos x="8" y="24"/>
                </a:cxn>
                <a:cxn ang="0">
                  <a:pos x="12" y="24"/>
                </a:cxn>
                <a:cxn ang="0">
                  <a:pos x="12" y="20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8" y="20"/>
                </a:cxn>
                <a:cxn ang="0">
                  <a:pos x="32" y="12"/>
                </a:cxn>
                <a:cxn ang="0">
                  <a:pos x="32" y="8"/>
                </a:cxn>
                <a:cxn ang="0">
                  <a:pos x="24" y="4"/>
                </a:cxn>
                <a:cxn ang="0">
                  <a:pos x="36" y="4"/>
                </a:cxn>
                <a:cxn ang="0">
                  <a:pos x="48" y="16"/>
                </a:cxn>
                <a:cxn ang="0">
                  <a:pos x="44" y="24"/>
                </a:cxn>
                <a:cxn ang="0">
                  <a:pos x="48" y="28"/>
                </a:cxn>
                <a:cxn ang="0">
                  <a:pos x="56" y="24"/>
                </a:cxn>
                <a:cxn ang="0">
                  <a:pos x="64" y="16"/>
                </a:cxn>
                <a:cxn ang="0">
                  <a:pos x="72" y="20"/>
                </a:cxn>
                <a:cxn ang="0">
                  <a:pos x="84" y="12"/>
                </a:cxn>
                <a:cxn ang="0">
                  <a:pos x="91" y="16"/>
                </a:cxn>
                <a:cxn ang="0">
                  <a:pos x="95" y="20"/>
                </a:cxn>
                <a:cxn ang="0">
                  <a:pos x="99" y="12"/>
                </a:cxn>
                <a:cxn ang="0">
                  <a:pos x="111" y="8"/>
                </a:cxn>
                <a:cxn ang="0">
                  <a:pos x="123" y="8"/>
                </a:cxn>
                <a:cxn ang="0">
                  <a:pos x="131" y="0"/>
                </a:cxn>
                <a:cxn ang="0">
                  <a:pos x="139" y="8"/>
                </a:cxn>
                <a:cxn ang="0">
                  <a:pos x="143" y="12"/>
                </a:cxn>
                <a:cxn ang="0">
                  <a:pos x="147" y="16"/>
                </a:cxn>
                <a:cxn ang="0">
                  <a:pos x="151" y="24"/>
                </a:cxn>
                <a:cxn ang="0">
                  <a:pos x="163" y="32"/>
                </a:cxn>
                <a:cxn ang="0">
                  <a:pos x="167" y="36"/>
                </a:cxn>
                <a:cxn ang="0">
                  <a:pos x="163" y="44"/>
                </a:cxn>
                <a:cxn ang="0">
                  <a:pos x="155" y="48"/>
                </a:cxn>
                <a:cxn ang="0">
                  <a:pos x="151" y="56"/>
                </a:cxn>
                <a:cxn ang="0">
                  <a:pos x="139" y="60"/>
                </a:cxn>
                <a:cxn ang="0">
                  <a:pos x="127" y="64"/>
                </a:cxn>
                <a:cxn ang="0">
                  <a:pos x="115" y="68"/>
                </a:cxn>
                <a:cxn ang="0">
                  <a:pos x="99" y="72"/>
                </a:cxn>
                <a:cxn ang="0">
                  <a:pos x="88" y="80"/>
                </a:cxn>
                <a:cxn ang="0">
                  <a:pos x="68" y="76"/>
                </a:cxn>
                <a:cxn ang="0">
                  <a:pos x="60" y="72"/>
                </a:cxn>
                <a:cxn ang="0">
                  <a:pos x="52" y="72"/>
                </a:cxn>
                <a:cxn ang="0">
                  <a:pos x="40" y="68"/>
                </a:cxn>
                <a:cxn ang="0">
                  <a:pos x="28" y="72"/>
                </a:cxn>
                <a:cxn ang="0">
                  <a:pos x="32" y="64"/>
                </a:cxn>
                <a:cxn ang="0">
                  <a:pos x="40" y="60"/>
                </a:cxn>
                <a:cxn ang="0">
                  <a:pos x="48" y="56"/>
                </a:cxn>
                <a:cxn ang="0">
                  <a:pos x="36" y="56"/>
                </a:cxn>
              </a:cxnLst>
              <a:rect l="0" t="0" r="r" b="b"/>
              <a:pathLst>
                <a:path w="167" h="80">
                  <a:moveTo>
                    <a:pt x="36" y="56"/>
                  </a:moveTo>
                  <a:lnTo>
                    <a:pt x="40" y="52"/>
                  </a:lnTo>
                  <a:lnTo>
                    <a:pt x="44" y="52"/>
                  </a:lnTo>
                  <a:lnTo>
                    <a:pt x="44" y="48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28" y="44"/>
                  </a:lnTo>
                  <a:lnTo>
                    <a:pt x="24" y="44"/>
                  </a:lnTo>
                  <a:lnTo>
                    <a:pt x="20" y="44"/>
                  </a:lnTo>
                  <a:lnTo>
                    <a:pt x="16" y="44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4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40"/>
                  </a:lnTo>
                  <a:lnTo>
                    <a:pt x="40" y="40"/>
                  </a:lnTo>
                  <a:lnTo>
                    <a:pt x="44" y="36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0" y="28"/>
                  </a:lnTo>
                  <a:lnTo>
                    <a:pt x="36" y="28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2" y="28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20" y="20"/>
                  </a:lnTo>
                  <a:lnTo>
                    <a:pt x="16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28" y="8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28"/>
                  </a:lnTo>
                  <a:lnTo>
                    <a:pt x="56" y="24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4" y="16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16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12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5" y="20"/>
                  </a:lnTo>
                  <a:lnTo>
                    <a:pt x="95" y="24"/>
                  </a:lnTo>
                  <a:lnTo>
                    <a:pt x="99" y="24"/>
                  </a:lnTo>
                  <a:lnTo>
                    <a:pt x="95" y="20"/>
                  </a:lnTo>
                  <a:lnTo>
                    <a:pt x="95" y="16"/>
                  </a:lnTo>
                  <a:lnTo>
                    <a:pt x="91" y="12"/>
                  </a:lnTo>
                  <a:lnTo>
                    <a:pt x="95" y="8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103" y="12"/>
                  </a:lnTo>
                  <a:lnTo>
                    <a:pt x="103" y="16"/>
                  </a:lnTo>
                  <a:lnTo>
                    <a:pt x="107" y="16"/>
                  </a:lnTo>
                  <a:lnTo>
                    <a:pt x="107" y="12"/>
                  </a:lnTo>
                  <a:lnTo>
                    <a:pt x="111" y="8"/>
                  </a:lnTo>
                  <a:lnTo>
                    <a:pt x="115" y="8"/>
                  </a:lnTo>
                  <a:lnTo>
                    <a:pt x="115" y="12"/>
                  </a:lnTo>
                  <a:lnTo>
                    <a:pt x="119" y="12"/>
                  </a:lnTo>
                  <a:lnTo>
                    <a:pt x="119" y="8"/>
                  </a:lnTo>
                  <a:lnTo>
                    <a:pt x="123" y="8"/>
                  </a:lnTo>
                  <a:lnTo>
                    <a:pt x="119" y="4"/>
                  </a:lnTo>
                  <a:lnTo>
                    <a:pt x="119" y="0"/>
                  </a:lnTo>
                  <a:lnTo>
                    <a:pt x="123" y="0"/>
                  </a:lnTo>
                  <a:lnTo>
                    <a:pt x="127" y="0"/>
                  </a:lnTo>
                  <a:lnTo>
                    <a:pt x="131" y="0"/>
                  </a:lnTo>
                  <a:lnTo>
                    <a:pt x="131" y="4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12"/>
                  </a:lnTo>
                  <a:lnTo>
                    <a:pt x="139" y="8"/>
                  </a:lnTo>
                  <a:lnTo>
                    <a:pt x="143" y="8"/>
                  </a:lnTo>
                  <a:lnTo>
                    <a:pt x="143" y="4"/>
                  </a:lnTo>
                  <a:lnTo>
                    <a:pt x="147" y="4"/>
                  </a:lnTo>
                  <a:lnTo>
                    <a:pt x="143" y="8"/>
                  </a:lnTo>
                  <a:lnTo>
                    <a:pt x="143" y="12"/>
                  </a:lnTo>
                  <a:lnTo>
                    <a:pt x="139" y="12"/>
                  </a:lnTo>
                  <a:lnTo>
                    <a:pt x="143" y="12"/>
                  </a:lnTo>
                  <a:lnTo>
                    <a:pt x="147" y="12"/>
                  </a:lnTo>
                  <a:lnTo>
                    <a:pt x="151" y="16"/>
                  </a:lnTo>
                  <a:lnTo>
                    <a:pt x="147" y="16"/>
                  </a:lnTo>
                  <a:lnTo>
                    <a:pt x="147" y="20"/>
                  </a:lnTo>
                  <a:lnTo>
                    <a:pt x="151" y="20"/>
                  </a:lnTo>
                  <a:lnTo>
                    <a:pt x="155" y="20"/>
                  </a:lnTo>
                  <a:lnTo>
                    <a:pt x="155" y="24"/>
                  </a:lnTo>
                  <a:lnTo>
                    <a:pt x="151" y="24"/>
                  </a:lnTo>
                  <a:lnTo>
                    <a:pt x="151" y="28"/>
                  </a:lnTo>
                  <a:lnTo>
                    <a:pt x="155" y="24"/>
                  </a:lnTo>
                  <a:lnTo>
                    <a:pt x="159" y="24"/>
                  </a:lnTo>
                  <a:lnTo>
                    <a:pt x="163" y="28"/>
                  </a:lnTo>
                  <a:lnTo>
                    <a:pt x="163" y="32"/>
                  </a:lnTo>
                  <a:lnTo>
                    <a:pt x="167" y="32"/>
                  </a:lnTo>
                  <a:lnTo>
                    <a:pt x="163" y="36"/>
                  </a:lnTo>
                  <a:lnTo>
                    <a:pt x="159" y="36"/>
                  </a:lnTo>
                  <a:lnTo>
                    <a:pt x="163" y="36"/>
                  </a:lnTo>
                  <a:lnTo>
                    <a:pt x="167" y="36"/>
                  </a:lnTo>
                  <a:lnTo>
                    <a:pt x="167" y="40"/>
                  </a:lnTo>
                  <a:lnTo>
                    <a:pt x="163" y="40"/>
                  </a:lnTo>
                  <a:lnTo>
                    <a:pt x="159" y="40"/>
                  </a:lnTo>
                  <a:lnTo>
                    <a:pt x="163" y="40"/>
                  </a:lnTo>
                  <a:lnTo>
                    <a:pt x="163" y="44"/>
                  </a:lnTo>
                  <a:lnTo>
                    <a:pt x="159" y="44"/>
                  </a:lnTo>
                  <a:lnTo>
                    <a:pt x="163" y="44"/>
                  </a:lnTo>
                  <a:lnTo>
                    <a:pt x="159" y="44"/>
                  </a:lnTo>
                  <a:lnTo>
                    <a:pt x="159" y="48"/>
                  </a:lnTo>
                  <a:lnTo>
                    <a:pt x="155" y="48"/>
                  </a:lnTo>
                  <a:lnTo>
                    <a:pt x="151" y="48"/>
                  </a:lnTo>
                  <a:lnTo>
                    <a:pt x="151" y="44"/>
                  </a:lnTo>
                  <a:lnTo>
                    <a:pt x="151" y="48"/>
                  </a:lnTo>
                  <a:lnTo>
                    <a:pt x="151" y="52"/>
                  </a:lnTo>
                  <a:lnTo>
                    <a:pt x="151" y="56"/>
                  </a:lnTo>
                  <a:lnTo>
                    <a:pt x="147" y="56"/>
                  </a:lnTo>
                  <a:lnTo>
                    <a:pt x="143" y="60"/>
                  </a:lnTo>
                  <a:lnTo>
                    <a:pt x="147" y="60"/>
                  </a:lnTo>
                  <a:lnTo>
                    <a:pt x="143" y="60"/>
                  </a:lnTo>
                  <a:lnTo>
                    <a:pt x="139" y="60"/>
                  </a:lnTo>
                  <a:lnTo>
                    <a:pt x="139" y="56"/>
                  </a:lnTo>
                  <a:lnTo>
                    <a:pt x="139" y="60"/>
                  </a:lnTo>
                  <a:lnTo>
                    <a:pt x="135" y="60"/>
                  </a:lnTo>
                  <a:lnTo>
                    <a:pt x="131" y="60"/>
                  </a:lnTo>
                  <a:lnTo>
                    <a:pt x="127" y="64"/>
                  </a:lnTo>
                  <a:lnTo>
                    <a:pt x="123" y="64"/>
                  </a:lnTo>
                  <a:lnTo>
                    <a:pt x="123" y="68"/>
                  </a:lnTo>
                  <a:lnTo>
                    <a:pt x="119" y="68"/>
                  </a:lnTo>
                  <a:lnTo>
                    <a:pt x="115" y="72"/>
                  </a:lnTo>
                  <a:lnTo>
                    <a:pt x="115" y="68"/>
                  </a:lnTo>
                  <a:lnTo>
                    <a:pt x="111" y="68"/>
                  </a:lnTo>
                  <a:lnTo>
                    <a:pt x="111" y="72"/>
                  </a:lnTo>
                  <a:lnTo>
                    <a:pt x="107" y="72"/>
                  </a:lnTo>
                  <a:lnTo>
                    <a:pt x="103" y="72"/>
                  </a:lnTo>
                  <a:lnTo>
                    <a:pt x="99" y="72"/>
                  </a:lnTo>
                  <a:lnTo>
                    <a:pt x="99" y="76"/>
                  </a:lnTo>
                  <a:lnTo>
                    <a:pt x="99" y="80"/>
                  </a:lnTo>
                  <a:lnTo>
                    <a:pt x="95" y="80"/>
                  </a:lnTo>
                  <a:lnTo>
                    <a:pt x="91" y="80"/>
                  </a:lnTo>
                  <a:lnTo>
                    <a:pt x="88" y="80"/>
                  </a:lnTo>
                  <a:lnTo>
                    <a:pt x="84" y="80"/>
                  </a:lnTo>
                  <a:lnTo>
                    <a:pt x="80" y="80"/>
                  </a:lnTo>
                  <a:lnTo>
                    <a:pt x="76" y="80"/>
                  </a:lnTo>
                  <a:lnTo>
                    <a:pt x="72" y="76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56" y="72"/>
                  </a:lnTo>
                  <a:lnTo>
                    <a:pt x="52" y="72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0" y="72"/>
                  </a:lnTo>
                  <a:lnTo>
                    <a:pt x="36" y="72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28" y="72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6" y="64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44" y="56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99" name="Freeform 96"/>
            <p:cNvSpPr>
              <a:spLocks noEditPoints="1"/>
            </p:cNvSpPr>
            <p:nvPr>
              <p:custDataLst>
                <p:tags r:id="rId292"/>
              </p:custDataLst>
            </p:nvPr>
          </p:nvSpPr>
          <p:spPr bwMode="gray">
            <a:xfrm>
              <a:off x="4138771" y="2964584"/>
              <a:ext cx="100848" cy="136442"/>
            </a:xfrm>
            <a:custGeom>
              <a:avLst/>
              <a:gdLst/>
              <a:ahLst/>
              <a:cxnLst>
                <a:cxn ang="0">
                  <a:pos x="20" y="48"/>
                </a:cxn>
                <a:cxn ang="0">
                  <a:pos x="16" y="48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12" y="36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20" y="24"/>
                </a:cxn>
                <a:cxn ang="0">
                  <a:pos x="28" y="28"/>
                </a:cxn>
                <a:cxn ang="0">
                  <a:pos x="32" y="20"/>
                </a:cxn>
                <a:cxn ang="0">
                  <a:pos x="32" y="16"/>
                </a:cxn>
                <a:cxn ang="0">
                  <a:pos x="32" y="12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48" y="4"/>
                </a:cxn>
                <a:cxn ang="0">
                  <a:pos x="52" y="4"/>
                </a:cxn>
                <a:cxn ang="0">
                  <a:pos x="52" y="8"/>
                </a:cxn>
                <a:cxn ang="0">
                  <a:pos x="44" y="16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48" y="28"/>
                </a:cxn>
                <a:cxn ang="0">
                  <a:pos x="56" y="24"/>
                </a:cxn>
                <a:cxn ang="0">
                  <a:pos x="64" y="32"/>
                </a:cxn>
                <a:cxn ang="0">
                  <a:pos x="68" y="32"/>
                </a:cxn>
                <a:cxn ang="0">
                  <a:pos x="64" y="40"/>
                </a:cxn>
                <a:cxn ang="0">
                  <a:pos x="68" y="48"/>
                </a:cxn>
                <a:cxn ang="0">
                  <a:pos x="68" y="52"/>
                </a:cxn>
                <a:cxn ang="0">
                  <a:pos x="64" y="64"/>
                </a:cxn>
                <a:cxn ang="0">
                  <a:pos x="64" y="72"/>
                </a:cxn>
                <a:cxn ang="0">
                  <a:pos x="56" y="76"/>
                </a:cxn>
                <a:cxn ang="0">
                  <a:pos x="56" y="72"/>
                </a:cxn>
                <a:cxn ang="0">
                  <a:pos x="48" y="76"/>
                </a:cxn>
                <a:cxn ang="0">
                  <a:pos x="40" y="80"/>
                </a:cxn>
                <a:cxn ang="0">
                  <a:pos x="32" y="80"/>
                </a:cxn>
                <a:cxn ang="0">
                  <a:pos x="32" y="88"/>
                </a:cxn>
                <a:cxn ang="0">
                  <a:pos x="20" y="88"/>
                </a:cxn>
                <a:cxn ang="0">
                  <a:pos x="12" y="92"/>
                </a:cxn>
                <a:cxn ang="0">
                  <a:pos x="12" y="88"/>
                </a:cxn>
                <a:cxn ang="0">
                  <a:pos x="8" y="88"/>
                </a:cxn>
                <a:cxn ang="0">
                  <a:pos x="16" y="80"/>
                </a:cxn>
                <a:cxn ang="0">
                  <a:pos x="4" y="84"/>
                </a:cxn>
                <a:cxn ang="0">
                  <a:pos x="4" y="80"/>
                </a:cxn>
                <a:cxn ang="0">
                  <a:pos x="8" y="76"/>
                </a:cxn>
                <a:cxn ang="0">
                  <a:pos x="0" y="72"/>
                </a:cxn>
                <a:cxn ang="0">
                  <a:pos x="12" y="72"/>
                </a:cxn>
                <a:cxn ang="0">
                  <a:pos x="16" y="64"/>
                </a:cxn>
                <a:cxn ang="0">
                  <a:pos x="28" y="64"/>
                </a:cxn>
                <a:cxn ang="0">
                  <a:pos x="24" y="64"/>
                </a:cxn>
                <a:cxn ang="0">
                  <a:pos x="12" y="64"/>
                </a:cxn>
                <a:cxn ang="0">
                  <a:pos x="16" y="60"/>
                </a:cxn>
                <a:cxn ang="0">
                  <a:pos x="24" y="52"/>
                </a:cxn>
                <a:cxn ang="0">
                  <a:pos x="8" y="32"/>
                </a:cxn>
              </a:cxnLst>
              <a:rect l="0" t="0" r="r" b="b"/>
              <a:pathLst>
                <a:path w="68" h="92">
                  <a:moveTo>
                    <a:pt x="24" y="52"/>
                  </a:moveTo>
                  <a:lnTo>
                    <a:pt x="24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8"/>
                  </a:lnTo>
                  <a:lnTo>
                    <a:pt x="4" y="44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8"/>
                  </a:lnTo>
                  <a:lnTo>
                    <a:pt x="24" y="24"/>
                  </a:lnTo>
                  <a:lnTo>
                    <a:pt x="28" y="28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8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8" y="40"/>
                  </a:lnTo>
                  <a:lnTo>
                    <a:pt x="68" y="44"/>
                  </a:lnTo>
                  <a:lnTo>
                    <a:pt x="68" y="48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8" y="56"/>
                  </a:lnTo>
                  <a:lnTo>
                    <a:pt x="68" y="60"/>
                  </a:lnTo>
                  <a:lnTo>
                    <a:pt x="64" y="64"/>
                  </a:lnTo>
                  <a:lnTo>
                    <a:pt x="64" y="68"/>
                  </a:lnTo>
                  <a:lnTo>
                    <a:pt x="60" y="68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80"/>
                  </a:lnTo>
                  <a:lnTo>
                    <a:pt x="40" y="80"/>
                  </a:lnTo>
                  <a:lnTo>
                    <a:pt x="36" y="84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6" y="84"/>
                  </a:lnTo>
                  <a:lnTo>
                    <a:pt x="32" y="84"/>
                  </a:lnTo>
                  <a:lnTo>
                    <a:pt x="32" y="88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12" y="84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8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4" y="76"/>
                  </a:lnTo>
                  <a:lnTo>
                    <a:pt x="0" y="76"/>
                  </a:lnTo>
                  <a:lnTo>
                    <a:pt x="0" y="72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64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20" y="52"/>
                  </a:lnTo>
                  <a:lnTo>
                    <a:pt x="24" y="52"/>
                  </a:lnTo>
                  <a:close/>
                  <a:moveTo>
                    <a:pt x="8" y="32"/>
                  </a:moveTo>
                  <a:lnTo>
                    <a:pt x="8" y="36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8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0" name="Freeform 97"/>
            <p:cNvSpPr>
              <a:spLocks/>
            </p:cNvSpPr>
            <p:nvPr>
              <p:custDataLst>
                <p:tags r:id="rId293"/>
              </p:custDataLst>
            </p:nvPr>
          </p:nvSpPr>
          <p:spPr bwMode="gray">
            <a:xfrm>
              <a:off x="4269280" y="3000178"/>
              <a:ext cx="11865" cy="11865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</a:cxnLst>
              <a:rect l="0" t="0" r="r" b="b"/>
              <a:pathLst>
                <a:path w="8" h="8">
                  <a:moveTo>
                    <a:pt x="0" y="8"/>
                  </a:move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1" name="Freeform 98"/>
            <p:cNvSpPr>
              <a:spLocks noEditPoints="1"/>
            </p:cNvSpPr>
            <p:nvPr>
              <p:custDataLst>
                <p:tags r:id="rId294"/>
              </p:custDataLst>
            </p:nvPr>
          </p:nvSpPr>
          <p:spPr bwMode="gray">
            <a:xfrm>
              <a:off x="4522885" y="3243400"/>
              <a:ext cx="266951" cy="324791"/>
            </a:xfrm>
            <a:custGeom>
              <a:avLst/>
              <a:gdLst/>
              <a:ahLst/>
              <a:cxnLst>
                <a:cxn ang="0">
                  <a:pos x="104" y="76"/>
                </a:cxn>
                <a:cxn ang="0">
                  <a:pos x="112" y="96"/>
                </a:cxn>
                <a:cxn ang="0">
                  <a:pos x="132" y="107"/>
                </a:cxn>
                <a:cxn ang="0">
                  <a:pos x="144" y="115"/>
                </a:cxn>
                <a:cxn ang="0">
                  <a:pos x="160" y="127"/>
                </a:cxn>
                <a:cxn ang="0">
                  <a:pos x="176" y="139"/>
                </a:cxn>
                <a:cxn ang="0">
                  <a:pos x="176" y="151"/>
                </a:cxn>
                <a:cxn ang="0">
                  <a:pos x="160" y="139"/>
                </a:cxn>
                <a:cxn ang="0">
                  <a:pos x="152" y="151"/>
                </a:cxn>
                <a:cxn ang="0">
                  <a:pos x="160" y="167"/>
                </a:cxn>
                <a:cxn ang="0">
                  <a:pos x="152" y="183"/>
                </a:cxn>
                <a:cxn ang="0">
                  <a:pos x="136" y="187"/>
                </a:cxn>
                <a:cxn ang="0">
                  <a:pos x="148" y="171"/>
                </a:cxn>
                <a:cxn ang="0">
                  <a:pos x="140" y="155"/>
                </a:cxn>
                <a:cxn ang="0">
                  <a:pos x="128" y="139"/>
                </a:cxn>
                <a:cxn ang="0">
                  <a:pos x="112" y="123"/>
                </a:cxn>
                <a:cxn ang="0">
                  <a:pos x="92" y="119"/>
                </a:cxn>
                <a:cxn ang="0">
                  <a:pos x="80" y="103"/>
                </a:cxn>
                <a:cxn ang="0">
                  <a:pos x="68" y="92"/>
                </a:cxn>
                <a:cxn ang="0">
                  <a:pos x="56" y="76"/>
                </a:cxn>
                <a:cxn ang="0">
                  <a:pos x="40" y="60"/>
                </a:cxn>
                <a:cxn ang="0">
                  <a:pos x="20" y="68"/>
                </a:cxn>
                <a:cxn ang="0">
                  <a:pos x="16" y="64"/>
                </a:cxn>
                <a:cxn ang="0">
                  <a:pos x="4" y="56"/>
                </a:cxn>
                <a:cxn ang="0">
                  <a:pos x="4" y="40"/>
                </a:cxn>
                <a:cxn ang="0">
                  <a:pos x="4" y="24"/>
                </a:cxn>
                <a:cxn ang="0">
                  <a:pos x="24" y="16"/>
                </a:cxn>
                <a:cxn ang="0">
                  <a:pos x="36" y="24"/>
                </a:cxn>
                <a:cxn ang="0">
                  <a:pos x="40" y="12"/>
                </a:cxn>
                <a:cxn ang="0">
                  <a:pos x="52" y="12"/>
                </a:cxn>
                <a:cxn ang="0">
                  <a:pos x="60" y="4"/>
                </a:cxn>
                <a:cxn ang="0">
                  <a:pos x="80" y="0"/>
                </a:cxn>
                <a:cxn ang="0">
                  <a:pos x="96" y="8"/>
                </a:cxn>
                <a:cxn ang="0">
                  <a:pos x="104" y="16"/>
                </a:cxn>
                <a:cxn ang="0">
                  <a:pos x="108" y="28"/>
                </a:cxn>
                <a:cxn ang="0">
                  <a:pos x="100" y="28"/>
                </a:cxn>
                <a:cxn ang="0">
                  <a:pos x="92" y="32"/>
                </a:cxn>
                <a:cxn ang="0">
                  <a:pos x="92" y="44"/>
                </a:cxn>
                <a:cxn ang="0">
                  <a:pos x="92" y="64"/>
                </a:cxn>
                <a:cxn ang="0">
                  <a:pos x="88" y="64"/>
                </a:cxn>
                <a:cxn ang="0">
                  <a:pos x="56" y="88"/>
                </a:cxn>
                <a:cxn ang="0">
                  <a:pos x="28" y="151"/>
                </a:cxn>
                <a:cxn ang="0">
                  <a:pos x="24" y="131"/>
                </a:cxn>
                <a:cxn ang="0">
                  <a:pos x="44" y="127"/>
                </a:cxn>
                <a:cxn ang="0">
                  <a:pos x="48" y="143"/>
                </a:cxn>
                <a:cxn ang="0">
                  <a:pos x="44" y="167"/>
                </a:cxn>
                <a:cxn ang="0">
                  <a:pos x="28" y="167"/>
                </a:cxn>
                <a:cxn ang="0">
                  <a:pos x="124" y="215"/>
                </a:cxn>
                <a:cxn ang="0">
                  <a:pos x="108" y="207"/>
                </a:cxn>
                <a:cxn ang="0">
                  <a:pos x="88" y="199"/>
                </a:cxn>
                <a:cxn ang="0">
                  <a:pos x="96" y="187"/>
                </a:cxn>
                <a:cxn ang="0">
                  <a:pos x="120" y="191"/>
                </a:cxn>
                <a:cxn ang="0">
                  <a:pos x="136" y="191"/>
                </a:cxn>
                <a:cxn ang="0">
                  <a:pos x="132" y="207"/>
                </a:cxn>
              </a:cxnLst>
              <a:rect l="0" t="0" r="r" b="b"/>
              <a:pathLst>
                <a:path w="180" h="219">
                  <a:moveTo>
                    <a:pt x="92" y="68"/>
                  </a:moveTo>
                  <a:lnTo>
                    <a:pt x="96" y="68"/>
                  </a:lnTo>
                  <a:lnTo>
                    <a:pt x="100" y="68"/>
                  </a:lnTo>
                  <a:lnTo>
                    <a:pt x="100" y="72"/>
                  </a:lnTo>
                  <a:lnTo>
                    <a:pt x="104" y="72"/>
                  </a:lnTo>
                  <a:lnTo>
                    <a:pt x="104" y="76"/>
                  </a:lnTo>
                  <a:lnTo>
                    <a:pt x="108" y="76"/>
                  </a:lnTo>
                  <a:lnTo>
                    <a:pt x="108" y="80"/>
                  </a:lnTo>
                  <a:lnTo>
                    <a:pt x="112" y="84"/>
                  </a:lnTo>
                  <a:lnTo>
                    <a:pt x="112" y="88"/>
                  </a:lnTo>
                  <a:lnTo>
                    <a:pt x="112" y="92"/>
                  </a:lnTo>
                  <a:lnTo>
                    <a:pt x="112" y="96"/>
                  </a:lnTo>
                  <a:lnTo>
                    <a:pt x="116" y="96"/>
                  </a:lnTo>
                  <a:lnTo>
                    <a:pt x="120" y="103"/>
                  </a:lnTo>
                  <a:lnTo>
                    <a:pt x="124" y="103"/>
                  </a:lnTo>
                  <a:lnTo>
                    <a:pt x="124" y="107"/>
                  </a:lnTo>
                  <a:lnTo>
                    <a:pt x="128" y="107"/>
                  </a:lnTo>
                  <a:lnTo>
                    <a:pt x="132" y="107"/>
                  </a:lnTo>
                  <a:lnTo>
                    <a:pt x="132" y="111"/>
                  </a:lnTo>
                  <a:lnTo>
                    <a:pt x="136" y="107"/>
                  </a:lnTo>
                  <a:lnTo>
                    <a:pt x="140" y="107"/>
                  </a:lnTo>
                  <a:lnTo>
                    <a:pt x="144" y="107"/>
                  </a:lnTo>
                  <a:lnTo>
                    <a:pt x="144" y="111"/>
                  </a:lnTo>
                  <a:lnTo>
                    <a:pt x="144" y="115"/>
                  </a:lnTo>
                  <a:lnTo>
                    <a:pt x="140" y="115"/>
                  </a:lnTo>
                  <a:lnTo>
                    <a:pt x="140" y="119"/>
                  </a:lnTo>
                  <a:lnTo>
                    <a:pt x="144" y="119"/>
                  </a:lnTo>
                  <a:lnTo>
                    <a:pt x="152" y="123"/>
                  </a:lnTo>
                  <a:lnTo>
                    <a:pt x="156" y="123"/>
                  </a:lnTo>
                  <a:lnTo>
                    <a:pt x="160" y="127"/>
                  </a:lnTo>
                  <a:lnTo>
                    <a:pt x="164" y="127"/>
                  </a:lnTo>
                  <a:lnTo>
                    <a:pt x="164" y="131"/>
                  </a:lnTo>
                  <a:lnTo>
                    <a:pt x="168" y="135"/>
                  </a:lnTo>
                  <a:lnTo>
                    <a:pt x="172" y="135"/>
                  </a:lnTo>
                  <a:lnTo>
                    <a:pt x="172" y="139"/>
                  </a:lnTo>
                  <a:lnTo>
                    <a:pt x="176" y="139"/>
                  </a:lnTo>
                  <a:lnTo>
                    <a:pt x="180" y="143"/>
                  </a:lnTo>
                  <a:lnTo>
                    <a:pt x="180" y="147"/>
                  </a:lnTo>
                  <a:lnTo>
                    <a:pt x="180" y="151"/>
                  </a:lnTo>
                  <a:lnTo>
                    <a:pt x="180" y="155"/>
                  </a:lnTo>
                  <a:lnTo>
                    <a:pt x="180" y="151"/>
                  </a:lnTo>
                  <a:lnTo>
                    <a:pt x="176" y="151"/>
                  </a:lnTo>
                  <a:lnTo>
                    <a:pt x="172" y="151"/>
                  </a:lnTo>
                  <a:lnTo>
                    <a:pt x="172" y="147"/>
                  </a:lnTo>
                  <a:lnTo>
                    <a:pt x="172" y="143"/>
                  </a:lnTo>
                  <a:lnTo>
                    <a:pt x="168" y="143"/>
                  </a:lnTo>
                  <a:lnTo>
                    <a:pt x="164" y="143"/>
                  </a:lnTo>
                  <a:lnTo>
                    <a:pt x="160" y="139"/>
                  </a:lnTo>
                  <a:lnTo>
                    <a:pt x="164" y="139"/>
                  </a:lnTo>
                  <a:lnTo>
                    <a:pt x="160" y="139"/>
                  </a:lnTo>
                  <a:lnTo>
                    <a:pt x="156" y="139"/>
                  </a:lnTo>
                  <a:lnTo>
                    <a:pt x="156" y="143"/>
                  </a:lnTo>
                  <a:lnTo>
                    <a:pt x="152" y="147"/>
                  </a:lnTo>
                  <a:lnTo>
                    <a:pt x="152" y="151"/>
                  </a:lnTo>
                  <a:lnTo>
                    <a:pt x="152" y="155"/>
                  </a:lnTo>
                  <a:lnTo>
                    <a:pt x="156" y="155"/>
                  </a:lnTo>
                  <a:lnTo>
                    <a:pt x="156" y="159"/>
                  </a:lnTo>
                  <a:lnTo>
                    <a:pt x="160" y="159"/>
                  </a:lnTo>
                  <a:lnTo>
                    <a:pt x="160" y="163"/>
                  </a:lnTo>
                  <a:lnTo>
                    <a:pt x="160" y="167"/>
                  </a:lnTo>
                  <a:lnTo>
                    <a:pt x="160" y="171"/>
                  </a:lnTo>
                  <a:lnTo>
                    <a:pt x="156" y="171"/>
                  </a:lnTo>
                  <a:lnTo>
                    <a:pt x="152" y="171"/>
                  </a:lnTo>
                  <a:lnTo>
                    <a:pt x="152" y="175"/>
                  </a:lnTo>
                  <a:lnTo>
                    <a:pt x="152" y="179"/>
                  </a:lnTo>
                  <a:lnTo>
                    <a:pt x="152" y="183"/>
                  </a:lnTo>
                  <a:lnTo>
                    <a:pt x="148" y="183"/>
                  </a:lnTo>
                  <a:lnTo>
                    <a:pt x="144" y="187"/>
                  </a:lnTo>
                  <a:lnTo>
                    <a:pt x="144" y="191"/>
                  </a:lnTo>
                  <a:lnTo>
                    <a:pt x="140" y="191"/>
                  </a:lnTo>
                  <a:lnTo>
                    <a:pt x="136" y="191"/>
                  </a:lnTo>
                  <a:lnTo>
                    <a:pt x="136" y="187"/>
                  </a:lnTo>
                  <a:lnTo>
                    <a:pt x="140" y="183"/>
                  </a:lnTo>
                  <a:lnTo>
                    <a:pt x="140" y="179"/>
                  </a:lnTo>
                  <a:lnTo>
                    <a:pt x="140" y="175"/>
                  </a:lnTo>
                  <a:lnTo>
                    <a:pt x="144" y="175"/>
                  </a:lnTo>
                  <a:lnTo>
                    <a:pt x="148" y="175"/>
                  </a:lnTo>
                  <a:lnTo>
                    <a:pt x="148" y="171"/>
                  </a:lnTo>
                  <a:lnTo>
                    <a:pt x="144" y="171"/>
                  </a:lnTo>
                  <a:lnTo>
                    <a:pt x="144" y="167"/>
                  </a:lnTo>
                  <a:lnTo>
                    <a:pt x="144" y="163"/>
                  </a:lnTo>
                  <a:lnTo>
                    <a:pt x="144" y="159"/>
                  </a:lnTo>
                  <a:lnTo>
                    <a:pt x="140" y="159"/>
                  </a:lnTo>
                  <a:lnTo>
                    <a:pt x="140" y="155"/>
                  </a:lnTo>
                  <a:lnTo>
                    <a:pt x="140" y="151"/>
                  </a:lnTo>
                  <a:lnTo>
                    <a:pt x="136" y="147"/>
                  </a:lnTo>
                  <a:lnTo>
                    <a:pt x="132" y="147"/>
                  </a:lnTo>
                  <a:lnTo>
                    <a:pt x="128" y="147"/>
                  </a:lnTo>
                  <a:lnTo>
                    <a:pt x="128" y="143"/>
                  </a:lnTo>
                  <a:lnTo>
                    <a:pt x="128" y="139"/>
                  </a:lnTo>
                  <a:lnTo>
                    <a:pt x="124" y="135"/>
                  </a:lnTo>
                  <a:lnTo>
                    <a:pt x="120" y="135"/>
                  </a:lnTo>
                  <a:lnTo>
                    <a:pt x="116" y="131"/>
                  </a:lnTo>
                  <a:lnTo>
                    <a:pt x="112" y="131"/>
                  </a:lnTo>
                  <a:lnTo>
                    <a:pt x="112" y="127"/>
                  </a:lnTo>
                  <a:lnTo>
                    <a:pt x="112" y="123"/>
                  </a:lnTo>
                  <a:lnTo>
                    <a:pt x="108" y="123"/>
                  </a:lnTo>
                  <a:lnTo>
                    <a:pt x="104" y="123"/>
                  </a:lnTo>
                  <a:lnTo>
                    <a:pt x="100" y="123"/>
                  </a:lnTo>
                  <a:lnTo>
                    <a:pt x="96" y="123"/>
                  </a:lnTo>
                  <a:lnTo>
                    <a:pt x="96" y="119"/>
                  </a:lnTo>
                  <a:lnTo>
                    <a:pt x="92" y="119"/>
                  </a:lnTo>
                  <a:lnTo>
                    <a:pt x="92" y="115"/>
                  </a:lnTo>
                  <a:lnTo>
                    <a:pt x="88" y="115"/>
                  </a:lnTo>
                  <a:lnTo>
                    <a:pt x="84" y="111"/>
                  </a:lnTo>
                  <a:lnTo>
                    <a:pt x="84" y="107"/>
                  </a:lnTo>
                  <a:lnTo>
                    <a:pt x="80" y="107"/>
                  </a:lnTo>
                  <a:lnTo>
                    <a:pt x="80" y="103"/>
                  </a:lnTo>
                  <a:lnTo>
                    <a:pt x="76" y="103"/>
                  </a:lnTo>
                  <a:lnTo>
                    <a:pt x="76" y="99"/>
                  </a:lnTo>
                  <a:lnTo>
                    <a:pt x="72" y="99"/>
                  </a:lnTo>
                  <a:lnTo>
                    <a:pt x="68" y="99"/>
                  </a:lnTo>
                  <a:lnTo>
                    <a:pt x="68" y="96"/>
                  </a:lnTo>
                  <a:lnTo>
                    <a:pt x="68" y="92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0" y="88"/>
                  </a:lnTo>
                  <a:lnTo>
                    <a:pt x="60" y="84"/>
                  </a:lnTo>
                  <a:lnTo>
                    <a:pt x="60" y="80"/>
                  </a:lnTo>
                  <a:lnTo>
                    <a:pt x="56" y="76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2" y="64"/>
                  </a:lnTo>
                  <a:lnTo>
                    <a:pt x="48" y="64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32" y="56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2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04" y="16"/>
                  </a:lnTo>
                  <a:lnTo>
                    <a:pt x="104" y="20"/>
                  </a:lnTo>
                  <a:lnTo>
                    <a:pt x="104" y="16"/>
                  </a:lnTo>
                  <a:lnTo>
                    <a:pt x="104" y="20"/>
                  </a:lnTo>
                  <a:lnTo>
                    <a:pt x="108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08" y="28"/>
                  </a:lnTo>
                  <a:lnTo>
                    <a:pt x="112" y="28"/>
                  </a:lnTo>
                  <a:lnTo>
                    <a:pt x="112" y="32"/>
                  </a:lnTo>
                  <a:lnTo>
                    <a:pt x="108" y="32"/>
                  </a:lnTo>
                  <a:lnTo>
                    <a:pt x="108" y="28"/>
                  </a:lnTo>
                  <a:lnTo>
                    <a:pt x="104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96" y="32"/>
                  </a:lnTo>
                  <a:lnTo>
                    <a:pt x="92" y="32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88" y="32"/>
                  </a:lnTo>
                  <a:lnTo>
                    <a:pt x="88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8" y="44"/>
                  </a:lnTo>
                  <a:lnTo>
                    <a:pt x="92" y="44"/>
                  </a:lnTo>
                  <a:lnTo>
                    <a:pt x="88" y="48"/>
                  </a:lnTo>
                  <a:lnTo>
                    <a:pt x="84" y="52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92" y="64"/>
                  </a:lnTo>
                  <a:lnTo>
                    <a:pt x="92" y="68"/>
                  </a:lnTo>
                  <a:close/>
                  <a:moveTo>
                    <a:pt x="88" y="107"/>
                  </a:moveTo>
                  <a:lnTo>
                    <a:pt x="88" y="111"/>
                  </a:lnTo>
                  <a:lnTo>
                    <a:pt x="88" y="107"/>
                  </a:lnTo>
                  <a:close/>
                  <a:moveTo>
                    <a:pt x="88" y="68"/>
                  </a:moveTo>
                  <a:lnTo>
                    <a:pt x="88" y="64"/>
                  </a:lnTo>
                  <a:lnTo>
                    <a:pt x="88" y="68"/>
                  </a:lnTo>
                  <a:close/>
                  <a:moveTo>
                    <a:pt x="60" y="92"/>
                  </a:moveTo>
                  <a:lnTo>
                    <a:pt x="56" y="92"/>
                  </a:lnTo>
                  <a:lnTo>
                    <a:pt x="52" y="92"/>
                  </a:lnTo>
                  <a:lnTo>
                    <a:pt x="56" y="92"/>
                  </a:lnTo>
                  <a:lnTo>
                    <a:pt x="56" y="88"/>
                  </a:lnTo>
                  <a:lnTo>
                    <a:pt x="60" y="88"/>
                  </a:lnTo>
                  <a:lnTo>
                    <a:pt x="60" y="92"/>
                  </a:lnTo>
                  <a:close/>
                  <a:moveTo>
                    <a:pt x="28" y="163"/>
                  </a:moveTo>
                  <a:lnTo>
                    <a:pt x="28" y="159"/>
                  </a:lnTo>
                  <a:lnTo>
                    <a:pt x="28" y="155"/>
                  </a:lnTo>
                  <a:lnTo>
                    <a:pt x="28" y="151"/>
                  </a:lnTo>
                  <a:lnTo>
                    <a:pt x="28" y="147"/>
                  </a:lnTo>
                  <a:lnTo>
                    <a:pt x="28" y="143"/>
                  </a:lnTo>
                  <a:lnTo>
                    <a:pt x="28" y="139"/>
                  </a:lnTo>
                  <a:lnTo>
                    <a:pt x="28" y="135"/>
                  </a:lnTo>
                  <a:lnTo>
                    <a:pt x="24" y="135"/>
                  </a:lnTo>
                  <a:lnTo>
                    <a:pt x="24" y="131"/>
                  </a:lnTo>
                  <a:lnTo>
                    <a:pt x="28" y="131"/>
                  </a:lnTo>
                  <a:lnTo>
                    <a:pt x="32" y="131"/>
                  </a:lnTo>
                  <a:lnTo>
                    <a:pt x="36" y="127"/>
                  </a:lnTo>
                  <a:lnTo>
                    <a:pt x="40" y="123"/>
                  </a:lnTo>
                  <a:lnTo>
                    <a:pt x="44" y="123"/>
                  </a:lnTo>
                  <a:lnTo>
                    <a:pt x="44" y="127"/>
                  </a:lnTo>
                  <a:lnTo>
                    <a:pt x="48" y="127"/>
                  </a:lnTo>
                  <a:lnTo>
                    <a:pt x="44" y="131"/>
                  </a:lnTo>
                  <a:lnTo>
                    <a:pt x="48" y="131"/>
                  </a:lnTo>
                  <a:lnTo>
                    <a:pt x="48" y="135"/>
                  </a:lnTo>
                  <a:lnTo>
                    <a:pt x="48" y="139"/>
                  </a:lnTo>
                  <a:lnTo>
                    <a:pt x="48" y="143"/>
                  </a:lnTo>
                  <a:lnTo>
                    <a:pt x="48" y="147"/>
                  </a:lnTo>
                  <a:lnTo>
                    <a:pt x="48" y="151"/>
                  </a:lnTo>
                  <a:lnTo>
                    <a:pt x="48" y="155"/>
                  </a:lnTo>
                  <a:lnTo>
                    <a:pt x="48" y="159"/>
                  </a:lnTo>
                  <a:lnTo>
                    <a:pt x="44" y="163"/>
                  </a:lnTo>
                  <a:lnTo>
                    <a:pt x="44" y="167"/>
                  </a:lnTo>
                  <a:lnTo>
                    <a:pt x="40" y="167"/>
                  </a:lnTo>
                  <a:lnTo>
                    <a:pt x="36" y="163"/>
                  </a:lnTo>
                  <a:lnTo>
                    <a:pt x="36" y="167"/>
                  </a:lnTo>
                  <a:lnTo>
                    <a:pt x="36" y="171"/>
                  </a:lnTo>
                  <a:lnTo>
                    <a:pt x="32" y="171"/>
                  </a:lnTo>
                  <a:lnTo>
                    <a:pt x="28" y="167"/>
                  </a:lnTo>
                  <a:lnTo>
                    <a:pt x="28" y="171"/>
                  </a:lnTo>
                  <a:lnTo>
                    <a:pt x="28" y="167"/>
                  </a:lnTo>
                  <a:lnTo>
                    <a:pt x="28" y="163"/>
                  </a:lnTo>
                  <a:close/>
                  <a:moveTo>
                    <a:pt x="128" y="219"/>
                  </a:moveTo>
                  <a:lnTo>
                    <a:pt x="128" y="215"/>
                  </a:lnTo>
                  <a:lnTo>
                    <a:pt x="124" y="215"/>
                  </a:lnTo>
                  <a:lnTo>
                    <a:pt x="120" y="215"/>
                  </a:lnTo>
                  <a:lnTo>
                    <a:pt x="120" y="211"/>
                  </a:lnTo>
                  <a:lnTo>
                    <a:pt x="116" y="211"/>
                  </a:lnTo>
                  <a:lnTo>
                    <a:pt x="116" y="207"/>
                  </a:lnTo>
                  <a:lnTo>
                    <a:pt x="112" y="207"/>
                  </a:lnTo>
                  <a:lnTo>
                    <a:pt x="108" y="207"/>
                  </a:lnTo>
                  <a:lnTo>
                    <a:pt x="104" y="203"/>
                  </a:lnTo>
                  <a:lnTo>
                    <a:pt x="100" y="203"/>
                  </a:lnTo>
                  <a:lnTo>
                    <a:pt x="100" y="199"/>
                  </a:lnTo>
                  <a:lnTo>
                    <a:pt x="96" y="199"/>
                  </a:lnTo>
                  <a:lnTo>
                    <a:pt x="92" y="199"/>
                  </a:lnTo>
                  <a:lnTo>
                    <a:pt x="88" y="199"/>
                  </a:lnTo>
                  <a:lnTo>
                    <a:pt x="88" y="195"/>
                  </a:lnTo>
                  <a:lnTo>
                    <a:pt x="88" y="191"/>
                  </a:lnTo>
                  <a:lnTo>
                    <a:pt x="92" y="187"/>
                  </a:lnTo>
                  <a:lnTo>
                    <a:pt x="96" y="187"/>
                  </a:lnTo>
                  <a:lnTo>
                    <a:pt x="96" y="191"/>
                  </a:lnTo>
                  <a:lnTo>
                    <a:pt x="96" y="187"/>
                  </a:lnTo>
                  <a:lnTo>
                    <a:pt x="100" y="187"/>
                  </a:lnTo>
                  <a:lnTo>
                    <a:pt x="104" y="187"/>
                  </a:lnTo>
                  <a:lnTo>
                    <a:pt x="108" y="191"/>
                  </a:lnTo>
                  <a:lnTo>
                    <a:pt x="112" y="191"/>
                  </a:lnTo>
                  <a:lnTo>
                    <a:pt x="116" y="191"/>
                  </a:lnTo>
                  <a:lnTo>
                    <a:pt x="120" y="191"/>
                  </a:lnTo>
                  <a:lnTo>
                    <a:pt x="124" y="187"/>
                  </a:lnTo>
                  <a:lnTo>
                    <a:pt x="128" y="187"/>
                  </a:lnTo>
                  <a:lnTo>
                    <a:pt x="132" y="187"/>
                  </a:lnTo>
                  <a:lnTo>
                    <a:pt x="136" y="183"/>
                  </a:lnTo>
                  <a:lnTo>
                    <a:pt x="136" y="187"/>
                  </a:lnTo>
                  <a:lnTo>
                    <a:pt x="136" y="191"/>
                  </a:lnTo>
                  <a:lnTo>
                    <a:pt x="132" y="191"/>
                  </a:lnTo>
                  <a:lnTo>
                    <a:pt x="132" y="195"/>
                  </a:lnTo>
                  <a:lnTo>
                    <a:pt x="132" y="199"/>
                  </a:lnTo>
                  <a:lnTo>
                    <a:pt x="128" y="199"/>
                  </a:lnTo>
                  <a:lnTo>
                    <a:pt x="128" y="203"/>
                  </a:lnTo>
                  <a:lnTo>
                    <a:pt x="132" y="207"/>
                  </a:lnTo>
                  <a:lnTo>
                    <a:pt x="132" y="211"/>
                  </a:lnTo>
                  <a:lnTo>
                    <a:pt x="128" y="211"/>
                  </a:lnTo>
                  <a:lnTo>
                    <a:pt x="128" y="215"/>
                  </a:lnTo>
                  <a:lnTo>
                    <a:pt x="128" y="2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2" name="Freeform 99"/>
            <p:cNvSpPr>
              <a:spLocks/>
            </p:cNvSpPr>
            <p:nvPr>
              <p:custDataLst>
                <p:tags r:id="rId295"/>
              </p:custDataLst>
            </p:nvPr>
          </p:nvSpPr>
          <p:spPr bwMode="gray">
            <a:xfrm>
              <a:off x="4168432" y="2372841"/>
              <a:ext cx="29661" cy="11865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</a:cxnLst>
              <a:rect l="0" t="0" r="r" b="b"/>
              <a:pathLst>
                <a:path w="20" h="8"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3" name="Freeform 100"/>
            <p:cNvSpPr>
              <a:spLocks/>
            </p:cNvSpPr>
            <p:nvPr>
              <p:custDataLst>
                <p:tags r:id="rId296"/>
              </p:custDataLst>
            </p:nvPr>
          </p:nvSpPr>
          <p:spPr bwMode="gray">
            <a:xfrm>
              <a:off x="4849159" y="2869668"/>
              <a:ext cx="158687" cy="83052"/>
            </a:xfrm>
            <a:custGeom>
              <a:avLst/>
              <a:gdLst/>
              <a:ahLst/>
              <a:cxnLst>
                <a:cxn ang="0">
                  <a:pos x="52" y="4"/>
                </a:cxn>
                <a:cxn ang="0">
                  <a:pos x="60" y="0"/>
                </a:cxn>
                <a:cxn ang="0">
                  <a:pos x="64" y="0"/>
                </a:cxn>
                <a:cxn ang="0">
                  <a:pos x="64" y="0"/>
                </a:cxn>
                <a:cxn ang="0">
                  <a:pos x="68" y="4"/>
                </a:cxn>
                <a:cxn ang="0">
                  <a:pos x="72" y="4"/>
                </a:cxn>
                <a:cxn ang="0">
                  <a:pos x="84" y="12"/>
                </a:cxn>
                <a:cxn ang="0">
                  <a:pos x="88" y="12"/>
                </a:cxn>
                <a:cxn ang="0">
                  <a:pos x="92" y="12"/>
                </a:cxn>
                <a:cxn ang="0">
                  <a:pos x="96" y="12"/>
                </a:cxn>
                <a:cxn ang="0">
                  <a:pos x="100" y="16"/>
                </a:cxn>
                <a:cxn ang="0">
                  <a:pos x="104" y="20"/>
                </a:cxn>
                <a:cxn ang="0">
                  <a:pos x="100" y="28"/>
                </a:cxn>
                <a:cxn ang="0">
                  <a:pos x="104" y="32"/>
                </a:cxn>
                <a:cxn ang="0">
                  <a:pos x="107" y="40"/>
                </a:cxn>
                <a:cxn ang="0">
                  <a:pos x="107" y="44"/>
                </a:cxn>
                <a:cxn ang="0">
                  <a:pos x="100" y="52"/>
                </a:cxn>
                <a:cxn ang="0">
                  <a:pos x="100" y="56"/>
                </a:cxn>
                <a:cxn ang="0">
                  <a:pos x="88" y="52"/>
                </a:cxn>
                <a:cxn ang="0">
                  <a:pos x="84" y="56"/>
                </a:cxn>
                <a:cxn ang="0">
                  <a:pos x="84" y="56"/>
                </a:cxn>
                <a:cxn ang="0">
                  <a:pos x="80" y="56"/>
                </a:cxn>
                <a:cxn ang="0">
                  <a:pos x="76" y="52"/>
                </a:cxn>
                <a:cxn ang="0">
                  <a:pos x="72" y="48"/>
                </a:cxn>
                <a:cxn ang="0">
                  <a:pos x="64" y="44"/>
                </a:cxn>
                <a:cxn ang="0">
                  <a:pos x="60" y="44"/>
                </a:cxn>
                <a:cxn ang="0">
                  <a:pos x="60" y="40"/>
                </a:cxn>
                <a:cxn ang="0">
                  <a:pos x="52" y="44"/>
                </a:cxn>
                <a:cxn ang="0">
                  <a:pos x="48" y="44"/>
                </a:cxn>
                <a:cxn ang="0">
                  <a:pos x="44" y="44"/>
                </a:cxn>
                <a:cxn ang="0">
                  <a:pos x="36" y="40"/>
                </a:cxn>
                <a:cxn ang="0">
                  <a:pos x="36" y="40"/>
                </a:cxn>
                <a:cxn ang="0">
                  <a:pos x="32" y="44"/>
                </a:cxn>
                <a:cxn ang="0">
                  <a:pos x="28" y="40"/>
                </a:cxn>
                <a:cxn ang="0">
                  <a:pos x="24" y="40"/>
                </a:cxn>
                <a:cxn ang="0">
                  <a:pos x="24" y="40"/>
                </a:cxn>
                <a:cxn ang="0">
                  <a:pos x="16" y="40"/>
                </a:cxn>
                <a:cxn ang="0">
                  <a:pos x="4" y="44"/>
                </a:cxn>
                <a:cxn ang="0">
                  <a:pos x="4" y="44"/>
                </a:cxn>
                <a:cxn ang="0">
                  <a:pos x="0" y="48"/>
                </a:cxn>
                <a:cxn ang="0">
                  <a:pos x="0" y="44"/>
                </a:cxn>
                <a:cxn ang="0">
                  <a:pos x="0" y="36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4" y="8"/>
                </a:cxn>
                <a:cxn ang="0">
                  <a:pos x="28" y="16"/>
                </a:cxn>
                <a:cxn ang="0">
                  <a:pos x="32" y="16"/>
                </a:cxn>
                <a:cxn ang="0">
                  <a:pos x="32" y="24"/>
                </a:cxn>
                <a:cxn ang="0">
                  <a:pos x="40" y="28"/>
                </a:cxn>
                <a:cxn ang="0">
                  <a:pos x="44" y="24"/>
                </a:cxn>
                <a:cxn ang="0">
                  <a:pos x="52" y="20"/>
                </a:cxn>
                <a:cxn ang="0">
                  <a:pos x="48" y="8"/>
                </a:cxn>
              </a:cxnLst>
              <a:rect l="0" t="0" r="r" b="b"/>
              <a:pathLst>
                <a:path w="107" h="56">
                  <a:moveTo>
                    <a:pt x="48" y="4"/>
                  </a:move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100" y="12"/>
                  </a:lnTo>
                  <a:lnTo>
                    <a:pt x="100" y="16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0" y="16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6"/>
                  </a:lnTo>
                  <a:lnTo>
                    <a:pt x="107" y="36"/>
                  </a:lnTo>
                  <a:lnTo>
                    <a:pt x="107" y="40"/>
                  </a:lnTo>
                  <a:lnTo>
                    <a:pt x="107" y="40"/>
                  </a:lnTo>
                  <a:lnTo>
                    <a:pt x="107" y="44"/>
                  </a:lnTo>
                  <a:lnTo>
                    <a:pt x="107" y="44"/>
                  </a:lnTo>
                  <a:lnTo>
                    <a:pt x="107" y="44"/>
                  </a:lnTo>
                  <a:lnTo>
                    <a:pt x="107" y="48"/>
                  </a:lnTo>
                  <a:lnTo>
                    <a:pt x="107" y="44"/>
                  </a:lnTo>
                  <a:lnTo>
                    <a:pt x="107" y="44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0" y="48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2" y="52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2" y="40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4" name="Freeform 101"/>
            <p:cNvSpPr>
              <a:spLocks noEditPoints="1"/>
            </p:cNvSpPr>
            <p:nvPr>
              <p:custDataLst>
                <p:tags r:id="rId297"/>
              </p:custDataLst>
            </p:nvPr>
          </p:nvSpPr>
          <p:spPr bwMode="gray">
            <a:xfrm>
              <a:off x="4843226" y="2928991"/>
              <a:ext cx="136442" cy="88984"/>
            </a:xfrm>
            <a:custGeom>
              <a:avLst/>
              <a:gdLst/>
              <a:ahLst/>
              <a:cxnLst>
                <a:cxn ang="0">
                  <a:pos x="40" y="52"/>
                </a:cxn>
                <a:cxn ang="0">
                  <a:pos x="36" y="48"/>
                </a:cxn>
                <a:cxn ang="0">
                  <a:pos x="28" y="48"/>
                </a:cxn>
                <a:cxn ang="0">
                  <a:pos x="28" y="44"/>
                </a:cxn>
                <a:cxn ang="0">
                  <a:pos x="32" y="40"/>
                </a:cxn>
                <a:cxn ang="0">
                  <a:pos x="28" y="32"/>
                </a:cxn>
                <a:cxn ang="0">
                  <a:pos x="24" y="32"/>
                </a:cxn>
                <a:cxn ang="0">
                  <a:pos x="20" y="32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6" y="0"/>
                </a:cxn>
                <a:cxn ang="0">
                  <a:pos x="40" y="0"/>
                </a:cxn>
                <a:cxn ang="0">
                  <a:pos x="48" y="0"/>
                </a:cxn>
                <a:cxn ang="0">
                  <a:pos x="52" y="4"/>
                </a:cxn>
                <a:cxn ang="0">
                  <a:pos x="56" y="4"/>
                </a:cxn>
                <a:cxn ang="0">
                  <a:pos x="60" y="0"/>
                </a:cxn>
                <a:cxn ang="0">
                  <a:pos x="64" y="0"/>
                </a:cxn>
                <a:cxn ang="0">
                  <a:pos x="64" y="4"/>
                </a:cxn>
                <a:cxn ang="0">
                  <a:pos x="72" y="8"/>
                </a:cxn>
                <a:cxn ang="0">
                  <a:pos x="80" y="12"/>
                </a:cxn>
                <a:cxn ang="0">
                  <a:pos x="84" y="16"/>
                </a:cxn>
                <a:cxn ang="0">
                  <a:pos x="88" y="16"/>
                </a:cxn>
                <a:cxn ang="0">
                  <a:pos x="84" y="24"/>
                </a:cxn>
                <a:cxn ang="0">
                  <a:pos x="88" y="24"/>
                </a:cxn>
                <a:cxn ang="0">
                  <a:pos x="88" y="28"/>
                </a:cxn>
                <a:cxn ang="0">
                  <a:pos x="84" y="32"/>
                </a:cxn>
                <a:cxn ang="0">
                  <a:pos x="76" y="36"/>
                </a:cxn>
                <a:cxn ang="0">
                  <a:pos x="76" y="40"/>
                </a:cxn>
                <a:cxn ang="0">
                  <a:pos x="72" y="44"/>
                </a:cxn>
                <a:cxn ang="0">
                  <a:pos x="72" y="48"/>
                </a:cxn>
                <a:cxn ang="0">
                  <a:pos x="76" y="52"/>
                </a:cxn>
                <a:cxn ang="0">
                  <a:pos x="72" y="52"/>
                </a:cxn>
                <a:cxn ang="0">
                  <a:pos x="68" y="52"/>
                </a:cxn>
                <a:cxn ang="0">
                  <a:pos x="64" y="52"/>
                </a:cxn>
                <a:cxn ang="0">
                  <a:pos x="64" y="52"/>
                </a:cxn>
                <a:cxn ang="0">
                  <a:pos x="60" y="56"/>
                </a:cxn>
                <a:cxn ang="0">
                  <a:pos x="56" y="56"/>
                </a:cxn>
                <a:cxn ang="0">
                  <a:pos x="52" y="56"/>
                </a:cxn>
                <a:cxn ang="0">
                  <a:pos x="48" y="56"/>
                </a:cxn>
                <a:cxn ang="0">
                  <a:pos x="44" y="56"/>
                </a:cxn>
                <a:cxn ang="0">
                  <a:pos x="40" y="56"/>
                </a:cxn>
                <a:cxn ang="0">
                  <a:pos x="4" y="24"/>
                </a:cxn>
                <a:cxn ang="0">
                  <a:pos x="4" y="16"/>
                </a:cxn>
                <a:cxn ang="0">
                  <a:pos x="4" y="20"/>
                </a:cxn>
              </a:cxnLst>
              <a:rect l="0" t="0" r="r" b="b"/>
              <a:pathLst>
                <a:path w="92" h="60">
                  <a:moveTo>
                    <a:pt x="40" y="56"/>
                  </a:moveTo>
                  <a:lnTo>
                    <a:pt x="40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2" y="44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6" y="48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8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close/>
                  <a:moveTo>
                    <a:pt x="4" y="28"/>
                  </a:move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5" name="Freeform 102"/>
            <p:cNvSpPr>
              <a:spLocks/>
            </p:cNvSpPr>
            <p:nvPr>
              <p:custDataLst>
                <p:tags r:id="rId298"/>
              </p:custDataLst>
            </p:nvPr>
          </p:nvSpPr>
          <p:spPr bwMode="gray">
            <a:xfrm>
              <a:off x="4505088" y="3142552"/>
              <a:ext cx="17797" cy="23729"/>
            </a:xfrm>
            <a:custGeom>
              <a:avLst/>
              <a:gdLst/>
              <a:ahLst/>
              <a:cxnLst>
                <a:cxn ang="0">
                  <a:pos x="8" y="12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4" y="12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6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12"/>
                </a:cxn>
                <a:cxn ang="0">
                  <a:pos x="8" y="12"/>
                </a:cxn>
              </a:cxnLst>
              <a:rect l="0" t="0" r="r" b="b"/>
              <a:pathLst>
                <a:path w="12" h="16">
                  <a:moveTo>
                    <a:pt x="8" y="12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4" y="12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12"/>
                  </a:lnTo>
                  <a:lnTo>
                    <a:pt x="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6" name="Freeform 103"/>
            <p:cNvSpPr>
              <a:spLocks/>
            </p:cNvSpPr>
            <p:nvPr>
              <p:custDataLst>
                <p:tags r:id="rId299"/>
              </p:custDataLst>
            </p:nvPr>
          </p:nvSpPr>
          <p:spPr bwMode="gray">
            <a:xfrm>
              <a:off x="4837294" y="3390223"/>
              <a:ext cx="53390" cy="47458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36" y="20"/>
                </a:cxn>
                <a:cxn ang="0">
                  <a:pos x="36" y="20"/>
                </a:cxn>
                <a:cxn ang="0">
                  <a:pos x="36" y="20"/>
                </a:cxn>
                <a:cxn ang="0">
                  <a:pos x="32" y="24"/>
                </a:cxn>
                <a:cxn ang="0">
                  <a:pos x="32" y="24"/>
                </a:cxn>
                <a:cxn ang="0">
                  <a:pos x="32" y="28"/>
                </a:cxn>
                <a:cxn ang="0">
                  <a:pos x="28" y="28"/>
                </a:cxn>
                <a:cxn ang="0">
                  <a:pos x="28" y="24"/>
                </a:cxn>
                <a:cxn ang="0">
                  <a:pos x="24" y="24"/>
                </a:cxn>
                <a:cxn ang="0">
                  <a:pos x="20" y="28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0" y="12"/>
                </a:cxn>
              </a:cxnLst>
              <a:rect l="0" t="0" r="r" b="b"/>
              <a:pathLst>
                <a:path w="36" h="32">
                  <a:moveTo>
                    <a:pt x="0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7" name="Freeform 104"/>
            <p:cNvSpPr>
              <a:spLocks/>
            </p:cNvSpPr>
            <p:nvPr>
              <p:custDataLst>
                <p:tags r:id="rId300"/>
              </p:custDataLst>
            </p:nvPr>
          </p:nvSpPr>
          <p:spPr bwMode="gray">
            <a:xfrm>
              <a:off x="4973736" y="3195942"/>
              <a:ext cx="75636" cy="100848"/>
            </a:xfrm>
            <a:custGeom>
              <a:avLst/>
              <a:gdLst/>
              <a:ahLst/>
              <a:cxnLst>
                <a:cxn ang="0">
                  <a:pos x="23" y="48"/>
                </a:cxn>
                <a:cxn ang="0">
                  <a:pos x="23" y="40"/>
                </a:cxn>
                <a:cxn ang="0">
                  <a:pos x="23" y="36"/>
                </a:cxn>
                <a:cxn ang="0">
                  <a:pos x="23" y="36"/>
                </a:cxn>
                <a:cxn ang="0">
                  <a:pos x="20" y="32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16" y="24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4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8" y="4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3" y="4"/>
                </a:cxn>
                <a:cxn ang="0">
                  <a:pos x="23" y="8"/>
                </a:cxn>
                <a:cxn ang="0">
                  <a:pos x="23" y="4"/>
                </a:cxn>
                <a:cxn ang="0">
                  <a:pos x="27" y="8"/>
                </a:cxn>
                <a:cxn ang="0">
                  <a:pos x="27" y="8"/>
                </a:cxn>
                <a:cxn ang="0">
                  <a:pos x="31" y="8"/>
                </a:cxn>
                <a:cxn ang="0">
                  <a:pos x="35" y="12"/>
                </a:cxn>
                <a:cxn ang="0">
                  <a:pos x="35" y="12"/>
                </a:cxn>
                <a:cxn ang="0">
                  <a:pos x="35" y="12"/>
                </a:cxn>
                <a:cxn ang="0">
                  <a:pos x="35" y="12"/>
                </a:cxn>
                <a:cxn ang="0">
                  <a:pos x="39" y="16"/>
                </a:cxn>
                <a:cxn ang="0">
                  <a:pos x="39" y="20"/>
                </a:cxn>
                <a:cxn ang="0">
                  <a:pos x="39" y="24"/>
                </a:cxn>
                <a:cxn ang="0">
                  <a:pos x="39" y="24"/>
                </a:cxn>
                <a:cxn ang="0">
                  <a:pos x="43" y="28"/>
                </a:cxn>
                <a:cxn ang="0">
                  <a:pos x="43" y="24"/>
                </a:cxn>
                <a:cxn ang="0">
                  <a:pos x="43" y="28"/>
                </a:cxn>
                <a:cxn ang="0">
                  <a:pos x="43" y="36"/>
                </a:cxn>
                <a:cxn ang="0">
                  <a:pos x="51" y="36"/>
                </a:cxn>
                <a:cxn ang="0">
                  <a:pos x="51" y="44"/>
                </a:cxn>
                <a:cxn ang="0">
                  <a:pos x="51" y="44"/>
                </a:cxn>
                <a:cxn ang="0">
                  <a:pos x="51" y="44"/>
                </a:cxn>
                <a:cxn ang="0">
                  <a:pos x="51" y="48"/>
                </a:cxn>
                <a:cxn ang="0">
                  <a:pos x="51" y="48"/>
                </a:cxn>
                <a:cxn ang="0">
                  <a:pos x="47" y="48"/>
                </a:cxn>
                <a:cxn ang="0">
                  <a:pos x="43" y="48"/>
                </a:cxn>
                <a:cxn ang="0">
                  <a:pos x="43" y="44"/>
                </a:cxn>
                <a:cxn ang="0">
                  <a:pos x="39" y="44"/>
                </a:cxn>
                <a:cxn ang="0">
                  <a:pos x="39" y="48"/>
                </a:cxn>
                <a:cxn ang="0">
                  <a:pos x="39" y="44"/>
                </a:cxn>
                <a:cxn ang="0">
                  <a:pos x="35" y="44"/>
                </a:cxn>
                <a:cxn ang="0">
                  <a:pos x="35" y="44"/>
                </a:cxn>
                <a:cxn ang="0">
                  <a:pos x="35" y="52"/>
                </a:cxn>
                <a:cxn ang="0">
                  <a:pos x="31" y="56"/>
                </a:cxn>
                <a:cxn ang="0">
                  <a:pos x="31" y="56"/>
                </a:cxn>
                <a:cxn ang="0">
                  <a:pos x="31" y="60"/>
                </a:cxn>
                <a:cxn ang="0">
                  <a:pos x="27" y="64"/>
                </a:cxn>
                <a:cxn ang="0">
                  <a:pos x="27" y="64"/>
                </a:cxn>
                <a:cxn ang="0">
                  <a:pos x="27" y="64"/>
                </a:cxn>
                <a:cxn ang="0">
                  <a:pos x="23" y="64"/>
                </a:cxn>
                <a:cxn ang="0">
                  <a:pos x="23" y="68"/>
                </a:cxn>
                <a:cxn ang="0">
                  <a:pos x="23" y="68"/>
                </a:cxn>
                <a:cxn ang="0">
                  <a:pos x="23" y="64"/>
                </a:cxn>
                <a:cxn ang="0">
                  <a:pos x="23" y="56"/>
                </a:cxn>
                <a:cxn ang="0">
                  <a:pos x="23" y="52"/>
                </a:cxn>
              </a:cxnLst>
              <a:rect l="0" t="0" r="r" b="b"/>
              <a:pathLst>
                <a:path w="51" h="68">
                  <a:moveTo>
                    <a:pt x="23" y="52"/>
                  </a:moveTo>
                  <a:lnTo>
                    <a:pt x="23" y="52"/>
                  </a:lnTo>
                  <a:lnTo>
                    <a:pt x="23" y="48"/>
                  </a:lnTo>
                  <a:lnTo>
                    <a:pt x="23" y="44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4"/>
                  </a:lnTo>
                  <a:lnTo>
                    <a:pt x="27" y="4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39" y="16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43" y="24"/>
                  </a:lnTo>
                  <a:lnTo>
                    <a:pt x="39" y="24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3" y="32"/>
                  </a:lnTo>
                  <a:lnTo>
                    <a:pt x="43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51" y="36"/>
                  </a:lnTo>
                  <a:lnTo>
                    <a:pt x="51" y="40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47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4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47" y="48"/>
                  </a:lnTo>
                  <a:lnTo>
                    <a:pt x="47" y="48"/>
                  </a:lnTo>
                  <a:lnTo>
                    <a:pt x="47" y="44"/>
                  </a:lnTo>
                  <a:lnTo>
                    <a:pt x="47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5" y="44"/>
                  </a:lnTo>
                  <a:lnTo>
                    <a:pt x="35" y="48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56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27" y="60"/>
                  </a:lnTo>
                  <a:lnTo>
                    <a:pt x="27" y="60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7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3" y="60"/>
                  </a:lnTo>
                  <a:lnTo>
                    <a:pt x="23" y="60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3" y="52"/>
                  </a:lnTo>
                  <a:lnTo>
                    <a:pt x="23" y="5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8" name="Freeform 105"/>
            <p:cNvSpPr>
              <a:spLocks noEditPoints="1"/>
            </p:cNvSpPr>
            <p:nvPr>
              <p:custDataLst>
                <p:tags r:id="rId301"/>
              </p:custDataLst>
            </p:nvPr>
          </p:nvSpPr>
          <p:spPr bwMode="gray">
            <a:xfrm>
              <a:off x="4453180" y="3029839"/>
              <a:ext cx="81568" cy="94916"/>
            </a:xfrm>
            <a:custGeom>
              <a:avLst/>
              <a:gdLst/>
              <a:ahLst/>
              <a:cxnLst>
                <a:cxn ang="0">
                  <a:pos x="31" y="28"/>
                </a:cxn>
                <a:cxn ang="0">
                  <a:pos x="35" y="24"/>
                </a:cxn>
                <a:cxn ang="0">
                  <a:pos x="31" y="16"/>
                </a:cxn>
                <a:cxn ang="0">
                  <a:pos x="27" y="12"/>
                </a:cxn>
                <a:cxn ang="0">
                  <a:pos x="27" y="12"/>
                </a:cxn>
                <a:cxn ang="0">
                  <a:pos x="27" y="20"/>
                </a:cxn>
                <a:cxn ang="0">
                  <a:pos x="23" y="20"/>
                </a:cxn>
                <a:cxn ang="0">
                  <a:pos x="23" y="24"/>
                </a:cxn>
                <a:cxn ang="0">
                  <a:pos x="20" y="20"/>
                </a:cxn>
                <a:cxn ang="0">
                  <a:pos x="23" y="12"/>
                </a:cxn>
                <a:cxn ang="0">
                  <a:pos x="27" y="8"/>
                </a:cxn>
                <a:cxn ang="0">
                  <a:pos x="31" y="4"/>
                </a:cxn>
                <a:cxn ang="0">
                  <a:pos x="43" y="0"/>
                </a:cxn>
                <a:cxn ang="0">
                  <a:pos x="51" y="4"/>
                </a:cxn>
                <a:cxn ang="0">
                  <a:pos x="55" y="12"/>
                </a:cxn>
                <a:cxn ang="0">
                  <a:pos x="51" y="20"/>
                </a:cxn>
                <a:cxn ang="0">
                  <a:pos x="47" y="24"/>
                </a:cxn>
                <a:cxn ang="0">
                  <a:pos x="55" y="28"/>
                </a:cxn>
                <a:cxn ang="0">
                  <a:pos x="51" y="32"/>
                </a:cxn>
                <a:cxn ang="0">
                  <a:pos x="47" y="36"/>
                </a:cxn>
                <a:cxn ang="0">
                  <a:pos x="39" y="40"/>
                </a:cxn>
                <a:cxn ang="0">
                  <a:pos x="43" y="48"/>
                </a:cxn>
                <a:cxn ang="0">
                  <a:pos x="35" y="56"/>
                </a:cxn>
                <a:cxn ang="0">
                  <a:pos x="39" y="60"/>
                </a:cxn>
                <a:cxn ang="0">
                  <a:pos x="35" y="60"/>
                </a:cxn>
                <a:cxn ang="0">
                  <a:pos x="31" y="60"/>
                </a:cxn>
                <a:cxn ang="0">
                  <a:pos x="31" y="52"/>
                </a:cxn>
                <a:cxn ang="0">
                  <a:pos x="27" y="48"/>
                </a:cxn>
                <a:cxn ang="0">
                  <a:pos x="23" y="48"/>
                </a:cxn>
                <a:cxn ang="0">
                  <a:pos x="20" y="44"/>
                </a:cxn>
                <a:cxn ang="0">
                  <a:pos x="16" y="48"/>
                </a:cxn>
                <a:cxn ang="0">
                  <a:pos x="12" y="48"/>
                </a:cxn>
                <a:cxn ang="0">
                  <a:pos x="0" y="44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16" y="28"/>
                </a:cxn>
                <a:cxn ang="0">
                  <a:pos x="20" y="24"/>
                </a:cxn>
                <a:cxn ang="0">
                  <a:pos x="27" y="28"/>
                </a:cxn>
                <a:cxn ang="0">
                  <a:pos x="23" y="20"/>
                </a:cxn>
                <a:cxn ang="0">
                  <a:pos x="27" y="20"/>
                </a:cxn>
                <a:cxn ang="0">
                  <a:pos x="27" y="24"/>
                </a:cxn>
                <a:cxn ang="0">
                  <a:pos x="23" y="24"/>
                </a:cxn>
                <a:cxn ang="0">
                  <a:pos x="31" y="28"/>
                </a:cxn>
                <a:cxn ang="0">
                  <a:pos x="27" y="28"/>
                </a:cxn>
                <a:cxn ang="0">
                  <a:pos x="31" y="24"/>
                </a:cxn>
                <a:cxn ang="0">
                  <a:pos x="35" y="24"/>
                </a:cxn>
                <a:cxn ang="0">
                  <a:pos x="8" y="40"/>
                </a:cxn>
                <a:cxn ang="0">
                  <a:pos x="8" y="44"/>
                </a:cxn>
                <a:cxn ang="0">
                  <a:pos x="4" y="40"/>
                </a:cxn>
                <a:cxn ang="0">
                  <a:pos x="4" y="48"/>
                </a:cxn>
                <a:cxn ang="0">
                  <a:pos x="12" y="52"/>
                </a:cxn>
                <a:cxn ang="0">
                  <a:pos x="0" y="52"/>
                </a:cxn>
                <a:cxn ang="0">
                  <a:pos x="27" y="4"/>
                </a:cxn>
                <a:cxn ang="0">
                  <a:pos x="31" y="0"/>
                </a:cxn>
                <a:cxn ang="0">
                  <a:pos x="20" y="12"/>
                </a:cxn>
                <a:cxn ang="0">
                  <a:pos x="20" y="8"/>
                </a:cxn>
                <a:cxn ang="0">
                  <a:pos x="20" y="12"/>
                </a:cxn>
              </a:cxnLst>
              <a:rect l="0" t="0" r="r" b="b"/>
              <a:pathLst>
                <a:path w="55" h="64">
                  <a:moveTo>
                    <a:pt x="27" y="28"/>
                  </a:moveTo>
                  <a:lnTo>
                    <a:pt x="27" y="28"/>
                  </a:lnTo>
                  <a:lnTo>
                    <a:pt x="27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1" y="20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27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5" y="4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5" y="8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20"/>
                  </a:lnTo>
                  <a:lnTo>
                    <a:pt x="55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47" y="20"/>
                  </a:lnTo>
                  <a:lnTo>
                    <a:pt x="47" y="24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4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5" y="28"/>
                  </a:lnTo>
                  <a:lnTo>
                    <a:pt x="51" y="28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51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3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40"/>
                  </a:lnTo>
                  <a:lnTo>
                    <a:pt x="39" y="40"/>
                  </a:lnTo>
                  <a:lnTo>
                    <a:pt x="39" y="40"/>
                  </a:lnTo>
                  <a:lnTo>
                    <a:pt x="39" y="40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39" y="44"/>
                  </a:lnTo>
                  <a:lnTo>
                    <a:pt x="43" y="44"/>
                  </a:lnTo>
                  <a:lnTo>
                    <a:pt x="43" y="44"/>
                  </a:lnTo>
                  <a:lnTo>
                    <a:pt x="43" y="48"/>
                  </a:lnTo>
                  <a:lnTo>
                    <a:pt x="39" y="48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9" y="56"/>
                  </a:lnTo>
                  <a:lnTo>
                    <a:pt x="39" y="56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9" y="60"/>
                  </a:lnTo>
                  <a:lnTo>
                    <a:pt x="35" y="60"/>
                  </a:lnTo>
                  <a:lnTo>
                    <a:pt x="35" y="64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5" y="60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31" y="60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48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3" y="44"/>
                  </a:lnTo>
                  <a:lnTo>
                    <a:pt x="23" y="44"/>
                  </a:lnTo>
                  <a:lnTo>
                    <a:pt x="23" y="44"/>
                  </a:lnTo>
                  <a:lnTo>
                    <a:pt x="23" y="48"/>
                  </a:lnTo>
                  <a:lnTo>
                    <a:pt x="23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close/>
                  <a:moveTo>
                    <a:pt x="23" y="24"/>
                  </a:moveTo>
                  <a:lnTo>
                    <a:pt x="23" y="24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close/>
                  <a:moveTo>
                    <a:pt x="31" y="24"/>
                  </a:moveTo>
                  <a:lnTo>
                    <a:pt x="31" y="24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3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1" y="24"/>
                  </a:lnTo>
                  <a:lnTo>
                    <a:pt x="31" y="24"/>
                  </a:lnTo>
                  <a:close/>
                  <a:moveTo>
                    <a:pt x="8" y="40"/>
                  </a:move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40"/>
                  </a:lnTo>
                  <a:close/>
                  <a:moveTo>
                    <a:pt x="0" y="48"/>
                  </a:move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8"/>
                  </a:lnTo>
                  <a:close/>
                  <a:moveTo>
                    <a:pt x="27" y="4"/>
                  </a:move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close/>
                  <a:moveTo>
                    <a:pt x="20" y="12"/>
                  </a:move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09" name="Freeform 106"/>
            <p:cNvSpPr>
              <a:spLocks noEditPoints="1"/>
            </p:cNvSpPr>
            <p:nvPr>
              <p:custDataLst>
                <p:tags r:id="rId302"/>
              </p:custDataLst>
            </p:nvPr>
          </p:nvSpPr>
          <p:spPr bwMode="gray">
            <a:xfrm>
              <a:off x="4482841" y="2372841"/>
              <a:ext cx="590259" cy="502758"/>
            </a:xfrm>
            <a:custGeom>
              <a:avLst/>
              <a:gdLst/>
              <a:ahLst/>
              <a:cxnLst>
                <a:cxn ang="0">
                  <a:pos x="103" y="164"/>
                </a:cxn>
                <a:cxn ang="0">
                  <a:pos x="119" y="140"/>
                </a:cxn>
                <a:cxn ang="0">
                  <a:pos x="131" y="132"/>
                </a:cxn>
                <a:cxn ang="0">
                  <a:pos x="131" y="116"/>
                </a:cxn>
                <a:cxn ang="0">
                  <a:pos x="151" y="108"/>
                </a:cxn>
                <a:cxn ang="0">
                  <a:pos x="159" y="92"/>
                </a:cxn>
                <a:cxn ang="0">
                  <a:pos x="163" y="80"/>
                </a:cxn>
                <a:cxn ang="0">
                  <a:pos x="171" y="80"/>
                </a:cxn>
                <a:cxn ang="0">
                  <a:pos x="179" y="72"/>
                </a:cxn>
                <a:cxn ang="0">
                  <a:pos x="203" y="44"/>
                </a:cxn>
                <a:cxn ang="0">
                  <a:pos x="227" y="40"/>
                </a:cxn>
                <a:cxn ang="0">
                  <a:pos x="247" y="36"/>
                </a:cxn>
                <a:cxn ang="0">
                  <a:pos x="275" y="28"/>
                </a:cxn>
                <a:cxn ang="0">
                  <a:pos x="295" y="12"/>
                </a:cxn>
                <a:cxn ang="0">
                  <a:pos x="307" y="32"/>
                </a:cxn>
                <a:cxn ang="0">
                  <a:pos x="339" y="12"/>
                </a:cxn>
                <a:cxn ang="0">
                  <a:pos x="351" y="20"/>
                </a:cxn>
                <a:cxn ang="0">
                  <a:pos x="382" y="12"/>
                </a:cxn>
                <a:cxn ang="0">
                  <a:pos x="374" y="32"/>
                </a:cxn>
                <a:cxn ang="0">
                  <a:pos x="378" y="48"/>
                </a:cxn>
                <a:cxn ang="0">
                  <a:pos x="335" y="32"/>
                </a:cxn>
                <a:cxn ang="0">
                  <a:pos x="291" y="64"/>
                </a:cxn>
                <a:cxn ang="0">
                  <a:pos x="235" y="72"/>
                </a:cxn>
                <a:cxn ang="0">
                  <a:pos x="175" y="112"/>
                </a:cxn>
                <a:cxn ang="0">
                  <a:pos x="143" y="180"/>
                </a:cxn>
                <a:cxn ang="0">
                  <a:pos x="123" y="255"/>
                </a:cxn>
                <a:cxn ang="0">
                  <a:pos x="95" y="311"/>
                </a:cxn>
                <a:cxn ang="0">
                  <a:pos x="71" y="311"/>
                </a:cxn>
                <a:cxn ang="0">
                  <a:pos x="15" y="327"/>
                </a:cxn>
                <a:cxn ang="0">
                  <a:pos x="23" y="299"/>
                </a:cxn>
                <a:cxn ang="0">
                  <a:pos x="19" y="283"/>
                </a:cxn>
                <a:cxn ang="0">
                  <a:pos x="11" y="279"/>
                </a:cxn>
                <a:cxn ang="0">
                  <a:pos x="7" y="267"/>
                </a:cxn>
                <a:cxn ang="0">
                  <a:pos x="27" y="259"/>
                </a:cxn>
                <a:cxn ang="0">
                  <a:pos x="7" y="251"/>
                </a:cxn>
                <a:cxn ang="0">
                  <a:pos x="11" y="236"/>
                </a:cxn>
                <a:cxn ang="0">
                  <a:pos x="39" y="236"/>
                </a:cxn>
                <a:cxn ang="0">
                  <a:pos x="43" y="224"/>
                </a:cxn>
                <a:cxn ang="0">
                  <a:pos x="47" y="216"/>
                </a:cxn>
                <a:cxn ang="0">
                  <a:pos x="67" y="200"/>
                </a:cxn>
                <a:cxn ang="0">
                  <a:pos x="87" y="196"/>
                </a:cxn>
                <a:cxn ang="0">
                  <a:pos x="287" y="16"/>
                </a:cxn>
                <a:cxn ang="0">
                  <a:pos x="211" y="32"/>
                </a:cxn>
                <a:cxn ang="0">
                  <a:pos x="179" y="60"/>
                </a:cxn>
                <a:cxn ang="0">
                  <a:pos x="131" y="80"/>
                </a:cxn>
                <a:cxn ang="0">
                  <a:pos x="107" y="148"/>
                </a:cxn>
                <a:cxn ang="0">
                  <a:pos x="95" y="176"/>
                </a:cxn>
                <a:cxn ang="0">
                  <a:pos x="43" y="212"/>
                </a:cxn>
                <a:cxn ang="0">
                  <a:pos x="0" y="244"/>
                </a:cxn>
                <a:cxn ang="0">
                  <a:pos x="319" y="4"/>
                </a:cxn>
                <a:cxn ang="0">
                  <a:pos x="279" y="8"/>
                </a:cxn>
                <a:cxn ang="0">
                  <a:pos x="227" y="28"/>
                </a:cxn>
                <a:cxn ang="0">
                  <a:pos x="223" y="32"/>
                </a:cxn>
                <a:cxn ang="0">
                  <a:pos x="187" y="52"/>
                </a:cxn>
                <a:cxn ang="0">
                  <a:pos x="187" y="60"/>
                </a:cxn>
                <a:cxn ang="0">
                  <a:pos x="159" y="60"/>
                </a:cxn>
                <a:cxn ang="0">
                  <a:pos x="159" y="72"/>
                </a:cxn>
                <a:cxn ang="0">
                  <a:pos x="155" y="76"/>
                </a:cxn>
                <a:cxn ang="0">
                  <a:pos x="119" y="136"/>
                </a:cxn>
                <a:cxn ang="0">
                  <a:pos x="47" y="208"/>
                </a:cxn>
                <a:cxn ang="0">
                  <a:pos x="11" y="287"/>
                </a:cxn>
              </a:cxnLst>
              <a:rect l="0" t="0" r="r" b="b"/>
              <a:pathLst>
                <a:path w="398" h="339">
                  <a:moveTo>
                    <a:pt x="87" y="180"/>
                  </a:moveTo>
                  <a:lnTo>
                    <a:pt x="91" y="180"/>
                  </a:lnTo>
                  <a:lnTo>
                    <a:pt x="87" y="180"/>
                  </a:lnTo>
                  <a:lnTo>
                    <a:pt x="91" y="176"/>
                  </a:lnTo>
                  <a:lnTo>
                    <a:pt x="95" y="176"/>
                  </a:lnTo>
                  <a:lnTo>
                    <a:pt x="99" y="180"/>
                  </a:lnTo>
                  <a:lnTo>
                    <a:pt x="99" y="176"/>
                  </a:lnTo>
                  <a:lnTo>
                    <a:pt x="103" y="176"/>
                  </a:lnTo>
                  <a:lnTo>
                    <a:pt x="107" y="176"/>
                  </a:lnTo>
                  <a:lnTo>
                    <a:pt x="103" y="176"/>
                  </a:lnTo>
                  <a:lnTo>
                    <a:pt x="99" y="176"/>
                  </a:lnTo>
                  <a:lnTo>
                    <a:pt x="99" y="172"/>
                  </a:lnTo>
                  <a:lnTo>
                    <a:pt x="103" y="172"/>
                  </a:lnTo>
                  <a:lnTo>
                    <a:pt x="107" y="172"/>
                  </a:lnTo>
                  <a:lnTo>
                    <a:pt x="107" y="168"/>
                  </a:lnTo>
                  <a:lnTo>
                    <a:pt x="103" y="168"/>
                  </a:lnTo>
                  <a:lnTo>
                    <a:pt x="107" y="168"/>
                  </a:lnTo>
                  <a:lnTo>
                    <a:pt x="111" y="164"/>
                  </a:lnTo>
                  <a:lnTo>
                    <a:pt x="107" y="164"/>
                  </a:lnTo>
                  <a:lnTo>
                    <a:pt x="107" y="168"/>
                  </a:lnTo>
                  <a:lnTo>
                    <a:pt x="99" y="172"/>
                  </a:lnTo>
                  <a:lnTo>
                    <a:pt x="99" y="168"/>
                  </a:lnTo>
                  <a:lnTo>
                    <a:pt x="103" y="168"/>
                  </a:lnTo>
                  <a:lnTo>
                    <a:pt x="99" y="168"/>
                  </a:lnTo>
                  <a:lnTo>
                    <a:pt x="103" y="164"/>
                  </a:lnTo>
                  <a:lnTo>
                    <a:pt x="107" y="164"/>
                  </a:lnTo>
                  <a:lnTo>
                    <a:pt x="111" y="164"/>
                  </a:lnTo>
                  <a:lnTo>
                    <a:pt x="115" y="164"/>
                  </a:lnTo>
                  <a:lnTo>
                    <a:pt x="119" y="160"/>
                  </a:lnTo>
                  <a:lnTo>
                    <a:pt x="123" y="156"/>
                  </a:lnTo>
                  <a:lnTo>
                    <a:pt x="119" y="160"/>
                  </a:lnTo>
                  <a:lnTo>
                    <a:pt x="115" y="160"/>
                  </a:lnTo>
                  <a:lnTo>
                    <a:pt x="119" y="160"/>
                  </a:lnTo>
                  <a:lnTo>
                    <a:pt x="119" y="156"/>
                  </a:lnTo>
                  <a:lnTo>
                    <a:pt x="115" y="156"/>
                  </a:lnTo>
                  <a:lnTo>
                    <a:pt x="115" y="160"/>
                  </a:lnTo>
                  <a:lnTo>
                    <a:pt x="111" y="160"/>
                  </a:lnTo>
                  <a:lnTo>
                    <a:pt x="115" y="156"/>
                  </a:lnTo>
                  <a:lnTo>
                    <a:pt x="119" y="156"/>
                  </a:lnTo>
                  <a:lnTo>
                    <a:pt x="115" y="152"/>
                  </a:lnTo>
                  <a:lnTo>
                    <a:pt x="119" y="152"/>
                  </a:lnTo>
                  <a:lnTo>
                    <a:pt x="115" y="152"/>
                  </a:lnTo>
                  <a:lnTo>
                    <a:pt x="115" y="148"/>
                  </a:lnTo>
                  <a:lnTo>
                    <a:pt x="115" y="144"/>
                  </a:lnTo>
                  <a:lnTo>
                    <a:pt x="119" y="144"/>
                  </a:lnTo>
                  <a:lnTo>
                    <a:pt x="119" y="148"/>
                  </a:lnTo>
                  <a:lnTo>
                    <a:pt x="123" y="148"/>
                  </a:lnTo>
                  <a:lnTo>
                    <a:pt x="119" y="148"/>
                  </a:lnTo>
                  <a:lnTo>
                    <a:pt x="119" y="144"/>
                  </a:lnTo>
                  <a:lnTo>
                    <a:pt x="119" y="140"/>
                  </a:lnTo>
                  <a:lnTo>
                    <a:pt x="123" y="140"/>
                  </a:lnTo>
                  <a:lnTo>
                    <a:pt x="127" y="140"/>
                  </a:lnTo>
                  <a:lnTo>
                    <a:pt x="127" y="144"/>
                  </a:lnTo>
                  <a:lnTo>
                    <a:pt x="127" y="140"/>
                  </a:lnTo>
                  <a:lnTo>
                    <a:pt x="123" y="140"/>
                  </a:lnTo>
                  <a:lnTo>
                    <a:pt x="123" y="136"/>
                  </a:lnTo>
                  <a:lnTo>
                    <a:pt x="119" y="136"/>
                  </a:lnTo>
                  <a:lnTo>
                    <a:pt x="123" y="136"/>
                  </a:lnTo>
                  <a:lnTo>
                    <a:pt x="127" y="136"/>
                  </a:lnTo>
                  <a:lnTo>
                    <a:pt x="127" y="132"/>
                  </a:lnTo>
                  <a:lnTo>
                    <a:pt x="131" y="132"/>
                  </a:lnTo>
                  <a:lnTo>
                    <a:pt x="135" y="132"/>
                  </a:lnTo>
                  <a:lnTo>
                    <a:pt x="131" y="132"/>
                  </a:lnTo>
                  <a:lnTo>
                    <a:pt x="131" y="136"/>
                  </a:lnTo>
                  <a:lnTo>
                    <a:pt x="135" y="132"/>
                  </a:lnTo>
                  <a:lnTo>
                    <a:pt x="139" y="132"/>
                  </a:lnTo>
                  <a:lnTo>
                    <a:pt x="143" y="132"/>
                  </a:lnTo>
                  <a:lnTo>
                    <a:pt x="143" y="128"/>
                  </a:lnTo>
                  <a:lnTo>
                    <a:pt x="139" y="132"/>
                  </a:lnTo>
                  <a:lnTo>
                    <a:pt x="135" y="132"/>
                  </a:lnTo>
                  <a:lnTo>
                    <a:pt x="131" y="132"/>
                  </a:lnTo>
                  <a:lnTo>
                    <a:pt x="127" y="132"/>
                  </a:lnTo>
                  <a:lnTo>
                    <a:pt x="123" y="132"/>
                  </a:lnTo>
                  <a:lnTo>
                    <a:pt x="127" y="132"/>
                  </a:lnTo>
                  <a:lnTo>
                    <a:pt x="131" y="132"/>
                  </a:lnTo>
                  <a:lnTo>
                    <a:pt x="127" y="132"/>
                  </a:lnTo>
                  <a:lnTo>
                    <a:pt x="123" y="128"/>
                  </a:lnTo>
                  <a:lnTo>
                    <a:pt x="127" y="128"/>
                  </a:lnTo>
                  <a:lnTo>
                    <a:pt x="127" y="124"/>
                  </a:lnTo>
                  <a:lnTo>
                    <a:pt x="123" y="124"/>
                  </a:lnTo>
                  <a:lnTo>
                    <a:pt x="127" y="124"/>
                  </a:lnTo>
                  <a:lnTo>
                    <a:pt x="131" y="124"/>
                  </a:lnTo>
                  <a:lnTo>
                    <a:pt x="135" y="124"/>
                  </a:lnTo>
                  <a:lnTo>
                    <a:pt x="131" y="124"/>
                  </a:lnTo>
                  <a:lnTo>
                    <a:pt x="127" y="124"/>
                  </a:lnTo>
                  <a:lnTo>
                    <a:pt x="127" y="120"/>
                  </a:lnTo>
                  <a:lnTo>
                    <a:pt x="131" y="120"/>
                  </a:lnTo>
                  <a:lnTo>
                    <a:pt x="127" y="120"/>
                  </a:lnTo>
                  <a:lnTo>
                    <a:pt x="131" y="120"/>
                  </a:lnTo>
                  <a:lnTo>
                    <a:pt x="135" y="120"/>
                  </a:lnTo>
                  <a:lnTo>
                    <a:pt x="139" y="120"/>
                  </a:lnTo>
                  <a:lnTo>
                    <a:pt x="135" y="120"/>
                  </a:lnTo>
                  <a:lnTo>
                    <a:pt x="131" y="120"/>
                  </a:lnTo>
                  <a:lnTo>
                    <a:pt x="135" y="120"/>
                  </a:lnTo>
                  <a:lnTo>
                    <a:pt x="131" y="120"/>
                  </a:lnTo>
                  <a:lnTo>
                    <a:pt x="131" y="116"/>
                  </a:lnTo>
                  <a:lnTo>
                    <a:pt x="135" y="116"/>
                  </a:lnTo>
                  <a:lnTo>
                    <a:pt x="139" y="116"/>
                  </a:lnTo>
                  <a:lnTo>
                    <a:pt x="135" y="116"/>
                  </a:lnTo>
                  <a:lnTo>
                    <a:pt x="131" y="116"/>
                  </a:lnTo>
                  <a:lnTo>
                    <a:pt x="135" y="112"/>
                  </a:lnTo>
                  <a:lnTo>
                    <a:pt x="139" y="116"/>
                  </a:lnTo>
                  <a:lnTo>
                    <a:pt x="143" y="112"/>
                  </a:lnTo>
                  <a:lnTo>
                    <a:pt x="147" y="112"/>
                  </a:lnTo>
                  <a:lnTo>
                    <a:pt x="143" y="112"/>
                  </a:lnTo>
                  <a:lnTo>
                    <a:pt x="143" y="108"/>
                  </a:lnTo>
                  <a:lnTo>
                    <a:pt x="147" y="108"/>
                  </a:lnTo>
                  <a:lnTo>
                    <a:pt x="151" y="108"/>
                  </a:lnTo>
                  <a:lnTo>
                    <a:pt x="147" y="108"/>
                  </a:lnTo>
                  <a:lnTo>
                    <a:pt x="151" y="108"/>
                  </a:lnTo>
                  <a:lnTo>
                    <a:pt x="155" y="108"/>
                  </a:lnTo>
                  <a:lnTo>
                    <a:pt x="159" y="108"/>
                  </a:lnTo>
                  <a:lnTo>
                    <a:pt x="163" y="112"/>
                  </a:lnTo>
                  <a:lnTo>
                    <a:pt x="163" y="108"/>
                  </a:lnTo>
                  <a:lnTo>
                    <a:pt x="159" y="108"/>
                  </a:lnTo>
                  <a:lnTo>
                    <a:pt x="163" y="108"/>
                  </a:lnTo>
                  <a:lnTo>
                    <a:pt x="167" y="108"/>
                  </a:lnTo>
                  <a:lnTo>
                    <a:pt x="159" y="108"/>
                  </a:lnTo>
                  <a:lnTo>
                    <a:pt x="159" y="104"/>
                  </a:lnTo>
                  <a:lnTo>
                    <a:pt x="159" y="108"/>
                  </a:lnTo>
                  <a:lnTo>
                    <a:pt x="155" y="104"/>
                  </a:lnTo>
                  <a:lnTo>
                    <a:pt x="159" y="104"/>
                  </a:lnTo>
                  <a:lnTo>
                    <a:pt x="155" y="104"/>
                  </a:lnTo>
                  <a:lnTo>
                    <a:pt x="151" y="104"/>
                  </a:lnTo>
                  <a:lnTo>
                    <a:pt x="151" y="108"/>
                  </a:lnTo>
                  <a:lnTo>
                    <a:pt x="147" y="104"/>
                  </a:lnTo>
                  <a:lnTo>
                    <a:pt x="143" y="104"/>
                  </a:lnTo>
                  <a:lnTo>
                    <a:pt x="147" y="104"/>
                  </a:lnTo>
                  <a:lnTo>
                    <a:pt x="147" y="100"/>
                  </a:lnTo>
                  <a:lnTo>
                    <a:pt x="151" y="100"/>
                  </a:lnTo>
                  <a:lnTo>
                    <a:pt x="155" y="100"/>
                  </a:lnTo>
                  <a:lnTo>
                    <a:pt x="151" y="100"/>
                  </a:lnTo>
                  <a:lnTo>
                    <a:pt x="155" y="96"/>
                  </a:lnTo>
                  <a:lnTo>
                    <a:pt x="155" y="100"/>
                  </a:lnTo>
                  <a:lnTo>
                    <a:pt x="159" y="100"/>
                  </a:lnTo>
                  <a:lnTo>
                    <a:pt x="163" y="100"/>
                  </a:lnTo>
                  <a:lnTo>
                    <a:pt x="163" y="104"/>
                  </a:lnTo>
                  <a:lnTo>
                    <a:pt x="167" y="104"/>
                  </a:lnTo>
                  <a:lnTo>
                    <a:pt x="163" y="104"/>
                  </a:lnTo>
                  <a:lnTo>
                    <a:pt x="163" y="100"/>
                  </a:lnTo>
                  <a:lnTo>
                    <a:pt x="167" y="100"/>
                  </a:lnTo>
                  <a:lnTo>
                    <a:pt x="167" y="96"/>
                  </a:lnTo>
                  <a:lnTo>
                    <a:pt x="163" y="96"/>
                  </a:lnTo>
                  <a:lnTo>
                    <a:pt x="163" y="100"/>
                  </a:lnTo>
                  <a:lnTo>
                    <a:pt x="159" y="100"/>
                  </a:lnTo>
                  <a:lnTo>
                    <a:pt x="159" y="96"/>
                  </a:lnTo>
                  <a:lnTo>
                    <a:pt x="159" y="92"/>
                  </a:lnTo>
                  <a:lnTo>
                    <a:pt x="163" y="96"/>
                  </a:lnTo>
                  <a:lnTo>
                    <a:pt x="163" y="92"/>
                  </a:lnTo>
                  <a:lnTo>
                    <a:pt x="159" y="92"/>
                  </a:lnTo>
                  <a:lnTo>
                    <a:pt x="163" y="92"/>
                  </a:lnTo>
                  <a:lnTo>
                    <a:pt x="167" y="96"/>
                  </a:lnTo>
                  <a:lnTo>
                    <a:pt x="167" y="92"/>
                  </a:lnTo>
                  <a:lnTo>
                    <a:pt x="163" y="92"/>
                  </a:lnTo>
                  <a:lnTo>
                    <a:pt x="159" y="92"/>
                  </a:lnTo>
                  <a:lnTo>
                    <a:pt x="155" y="96"/>
                  </a:lnTo>
                  <a:lnTo>
                    <a:pt x="151" y="96"/>
                  </a:lnTo>
                  <a:lnTo>
                    <a:pt x="151" y="92"/>
                  </a:lnTo>
                  <a:lnTo>
                    <a:pt x="155" y="92"/>
                  </a:lnTo>
                  <a:lnTo>
                    <a:pt x="151" y="92"/>
                  </a:lnTo>
                  <a:lnTo>
                    <a:pt x="155" y="92"/>
                  </a:lnTo>
                  <a:lnTo>
                    <a:pt x="155" y="88"/>
                  </a:lnTo>
                  <a:lnTo>
                    <a:pt x="151" y="92"/>
                  </a:lnTo>
                  <a:lnTo>
                    <a:pt x="151" y="88"/>
                  </a:lnTo>
                  <a:lnTo>
                    <a:pt x="155" y="88"/>
                  </a:lnTo>
                  <a:lnTo>
                    <a:pt x="159" y="88"/>
                  </a:lnTo>
                  <a:lnTo>
                    <a:pt x="163" y="88"/>
                  </a:lnTo>
                  <a:lnTo>
                    <a:pt x="167" y="88"/>
                  </a:lnTo>
                  <a:lnTo>
                    <a:pt x="171" y="84"/>
                  </a:lnTo>
                  <a:lnTo>
                    <a:pt x="167" y="84"/>
                  </a:lnTo>
                  <a:lnTo>
                    <a:pt x="163" y="84"/>
                  </a:lnTo>
                  <a:lnTo>
                    <a:pt x="159" y="88"/>
                  </a:lnTo>
                  <a:lnTo>
                    <a:pt x="159" y="84"/>
                  </a:lnTo>
                  <a:lnTo>
                    <a:pt x="163" y="84"/>
                  </a:lnTo>
                  <a:lnTo>
                    <a:pt x="163" y="80"/>
                  </a:lnTo>
                  <a:lnTo>
                    <a:pt x="167" y="80"/>
                  </a:lnTo>
                  <a:lnTo>
                    <a:pt x="167" y="84"/>
                  </a:lnTo>
                  <a:lnTo>
                    <a:pt x="163" y="84"/>
                  </a:lnTo>
                  <a:lnTo>
                    <a:pt x="167" y="84"/>
                  </a:lnTo>
                  <a:lnTo>
                    <a:pt x="167" y="80"/>
                  </a:lnTo>
                  <a:lnTo>
                    <a:pt x="171" y="80"/>
                  </a:lnTo>
                  <a:lnTo>
                    <a:pt x="171" y="84"/>
                  </a:lnTo>
                  <a:lnTo>
                    <a:pt x="171" y="88"/>
                  </a:lnTo>
                  <a:lnTo>
                    <a:pt x="175" y="88"/>
                  </a:lnTo>
                  <a:lnTo>
                    <a:pt x="175" y="92"/>
                  </a:lnTo>
                  <a:lnTo>
                    <a:pt x="179" y="92"/>
                  </a:lnTo>
                  <a:lnTo>
                    <a:pt x="175" y="88"/>
                  </a:lnTo>
                  <a:lnTo>
                    <a:pt x="175" y="84"/>
                  </a:lnTo>
                  <a:lnTo>
                    <a:pt x="175" y="88"/>
                  </a:lnTo>
                  <a:lnTo>
                    <a:pt x="179" y="88"/>
                  </a:lnTo>
                  <a:lnTo>
                    <a:pt x="179" y="84"/>
                  </a:lnTo>
                  <a:lnTo>
                    <a:pt x="175" y="84"/>
                  </a:lnTo>
                  <a:lnTo>
                    <a:pt x="179" y="84"/>
                  </a:lnTo>
                  <a:lnTo>
                    <a:pt x="175" y="84"/>
                  </a:lnTo>
                  <a:lnTo>
                    <a:pt x="175" y="80"/>
                  </a:lnTo>
                  <a:lnTo>
                    <a:pt x="179" y="80"/>
                  </a:lnTo>
                  <a:lnTo>
                    <a:pt x="175" y="80"/>
                  </a:lnTo>
                  <a:lnTo>
                    <a:pt x="171" y="80"/>
                  </a:lnTo>
                  <a:lnTo>
                    <a:pt x="175" y="80"/>
                  </a:lnTo>
                  <a:lnTo>
                    <a:pt x="171" y="80"/>
                  </a:lnTo>
                  <a:lnTo>
                    <a:pt x="171" y="76"/>
                  </a:lnTo>
                  <a:lnTo>
                    <a:pt x="179" y="80"/>
                  </a:lnTo>
                  <a:lnTo>
                    <a:pt x="183" y="84"/>
                  </a:lnTo>
                  <a:lnTo>
                    <a:pt x="183" y="80"/>
                  </a:lnTo>
                  <a:lnTo>
                    <a:pt x="179" y="80"/>
                  </a:lnTo>
                  <a:lnTo>
                    <a:pt x="175" y="76"/>
                  </a:lnTo>
                  <a:lnTo>
                    <a:pt x="179" y="76"/>
                  </a:lnTo>
                  <a:lnTo>
                    <a:pt x="183" y="76"/>
                  </a:lnTo>
                  <a:lnTo>
                    <a:pt x="187" y="76"/>
                  </a:lnTo>
                  <a:lnTo>
                    <a:pt x="191" y="80"/>
                  </a:lnTo>
                  <a:lnTo>
                    <a:pt x="191" y="76"/>
                  </a:lnTo>
                  <a:lnTo>
                    <a:pt x="187" y="76"/>
                  </a:lnTo>
                  <a:lnTo>
                    <a:pt x="191" y="76"/>
                  </a:lnTo>
                  <a:lnTo>
                    <a:pt x="195" y="76"/>
                  </a:lnTo>
                  <a:lnTo>
                    <a:pt x="191" y="76"/>
                  </a:lnTo>
                  <a:lnTo>
                    <a:pt x="195" y="76"/>
                  </a:lnTo>
                  <a:lnTo>
                    <a:pt x="195" y="72"/>
                  </a:lnTo>
                  <a:lnTo>
                    <a:pt x="191" y="72"/>
                  </a:lnTo>
                  <a:lnTo>
                    <a:pt x="187" y="72"/>
                  </a:lnTo>
                  <a:lnTo>
                    <a:pt x="187" y="76"/>
                  </a:lnTo>
                  <a:lnTo>
                    <a:pt x="187" y="72"/>
                  </a:lnTo>
                  <a:lnTo>
                    <a:pt x="183" y="72"/>
                  </a:lnTo>
                  <a:lnTo>
                    <a:pt x="179" y="76"/>
                  </a:lnTo>
                  <a:lnTo>
                    <a:pt x="175" y="72"/>
                  </a:lnTo>
                  <a:lnTo>
                    <a:pt x="179" y="72"/>
                  </a:lnTo>
                  <a:lnTo>
                    <a:pt x="179" y="68"/>
                  </a:lnTo>
                  <a:lnTo>
                    <a:pt x="183" y="68"/>
                  </a:lnTo>
                  <a:lnTo>
                    <a:pt x="187" y="68"/>
                  </a:lnTo>
                  <a:lnTo>
                    <a:pt x="191" y="68"/>
                  </a:lnTo>
                  <a:lnTo>
                    <a:pt x="195" y="68"/>
                  </a:lnTo>
                  <a:lnTo>
                    <a:pt x="191" y="68"/>
                  </a:lnTo>
                  <a:lnTo>
                    <a:pt x="187" y="64"/>
                  </a:lnTo>
                  <a:lnTo>
                    <a:pt x="191" y="64"/>
                  </a:lnTo>
                  <a:lnTo>
                    <a:pt x="195" y="64"/>
                  </a:lnTo>
                  <a:lnTo>
                    <a:pt x="199" y="64"/>
                  </a:lnTo>
                  <a:lnTo>
                    <a:pt x="195" y="64"/>
                  </a:lnTo>
                  <a:lnTo>
                    <a:pt x="191" y="64"/>
                  </a:lnTo>
                  <a:lnTo>
                    <a:pt x="195" y="64"/>
                  </a:lnTo>
                  <a:lnTo>
                    <a:pt x="195" y="60"/>
                  </a:lnTo>
                  <a:lnTo>
                    <a:pt x="195" y="64"/>
                  </a:lnTo>
                  <a:lnTo>
                    <a:pt x="199" y="64"/>
                  </a:lnTo>
                  <a:lnTo>
                    <a:pt x="195" y="60"/>
                  </a:lnTo>
                  <a:lnTo>
                    <a:pt x="191" y="60"/>
                  </a:lnTo>
                  <a:lnTo>
                    <a:pt x="195" y="56"/>
                  </a:lnTo>
                  <a:lnTo>
                    <a:pt x="199" y="56"/>
                  </a:lnTo>
                  <a:lnTo>
                    <a:pt x="203" y="56"/>
                  </a:lnTo>
                  <a:lnTo>
                    <a:pt x="199" y="52"/>
                  </a:lnTo>
                  <a:lnTo>
                    <a:pt x="203" y="52"/>
                  </a:lnTo>
                  <a:lnTo>
                    <a:pt x="203" y="48"/>
                  </a:lnTo>
                  <a:lnTo>
                    <a:pt x="203" y="44"/>
                  </a:lnTo>
                  <a:lnTo>
                    <a:pt x="207" y="48"/>
                  </a:lnTo>
                  <a:lnTo>
                    <a:pt x="207" y="52"/>
                  </a:lnTo>
                  <a:lnTo>
                    <a:pt x="211" y="52"/>
                  </a:lnTo>
                  <a:lnTo>
                    <a:pt x="215" y="52"/>
                  </a:lnTo>
                  <a:lnTo>
                    <a:pt x="211" y="48"/>
                  </a:lnTo>
                  <a:lnTo>
                    <a:pt x="207" y="48"/>
                  </a:lnTo>
                  <a:lnTo>
                    <a:pt x="207" y="44"/>
                  </a:lnTo>
                  <a:lnTo>
                    <a:pt x="211" y="44"/>
                  </a:lnTo>
                  <a:lnTo>
                    <a:pt x="215" y="44"/>
                  </a:lnTo>
                  <a:lnTo>
                    <a:pt x="215" y="48"/>
                  </a:lnTo>
                  <a:lnTo>
                    <a:pt x="219" y="48"/>
                  </a:lnTo>
                  <a:lnTo>
                    <a:pt x="223" y="52"/>
                  </a:lnTo>
                  <a:lnTo>
                    <a:pt x="219" y="52"/>
                  </a:lnTo>
                  <a:lnTo>
                    <a:pt x="223" y="52"/>
                  </a:lnTo>
                  <a:lnTo>
                    <a:pt x="223" y="48"/>
                  </a:lnTo>
                  <a:lnTo>
                    <a:pt x="219" y="48"/>
                  </a:lnTo>
                  <a:lnTo>
                    <a:pt x="215" y="48"/>
                  </a:lnTo>
                  <a:lnTo>
                    <a:pt x="215" y="44"/>
                  </a:lnTo>
                  <a:lnTo>
                    <a:pt x="219" y="44"/>
                  </a:lnTo>
                  <a:lnTo>
                    <a:pt x="215" y="44"/>
                  </a:lnTo>
                  <a:lnTo>
                    <a:pt x="215" y="40"/>
                  </a:lnTo>
                  <a:lnTo>
                    <a:pt x="219" y="40"/>
                  </a:lnTo>
                  <a:lnTo>
                    <a:pt x="219" y="36"/>
                  </a:lnTo>
                  <a:lnTo>
                    <a:pt x="227" y="36"/>
                  </a:lnTo>
                  <a:lnTo>
                    <a:pt x="227" y="40"/>
                  </a:lnTo>
                  <a:lnTo>
                    <a:pt x="227" y="44"/>
                  </a:lnTo>
                  <a:lnTo>
                    <a:pt x="223" y="44"/>
                  </a:lnTo>
                  <a:lnTo>
                    <a:pt x="223" y="48"/>
                  </a:lnTo>
                  <a:lnTo>
                    <a:pt x="227" y="48"/>
                  </a:lnTo>
                  <a:lnTo>
                    <a:pt x="227" y="44"/>
                  </a:lnTo>
                  <a:lnTo>
                    <a:pt x="227" y="40"/>
                  </a:lnTo>
                  <a:lnTo>
                    <a:pt x="231" y="36"/>
                  </a:lnTo>
                  <a:lnTo>
                    <a:pt x="231" y="32"/>
                  </a:lnTo>
                  <a:lnTo>
                    <a:pt x="235" y="32"/>
                  </a:lnTo>
                  <a:lnTo>
                    <a:pt x="235" y="36"/>
                  </a:lnTo>
                  <a:lnTo>
                    <a:pt x="235" y="40"/>
                  </a:lnTo>
                  <a:lnTo>
                    <a:pt x="235" y="44"/>
                  </a:lnTo>
                  <a:lnTo>
                    <a:pt x="235" y="48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35" y="48"/>
                  </a:lnTo>
                  <a:lnTo>
                    <a:pt x="239" y="44"/>
                  </a:lnTo>
                  <a:lnTo>
                    <a:pt x="243" y="44"/>
                  </a:lnTo>
                  <a:lnTo>
                    <a:pt x="239" y="44"/>
                  </a:lnTo>
                  <a:lnTo>
                    <a:pt x="239" y="40"/>
                  </a:lnTo>
                  <a:lnTo>
                    <a:pt x="243" y="36"/>
                  </a:lnTo>
                  <a:lnTo>
                    <a:pt x="247" y="32"/>
                  </a:lnTo>
                  <a:lnTo>
                    <a:pt x="247" y="36"/>
                  </a:lnTo>
                  <a:lnTo>
                    <a:pt x="243" y="36"/>
                  </a:lnTo>
                  <a:lnTo>
                    <a:pt x="247" y="36"/>
                  </a:lnTo>
                  <a:lnTo>
                    <a:pt x="251" y="32"/>
                  </a:lnTo>
                  <a:lnTo>
                    <a:pt x="255" y="32"/>
                  </a:lnTo>
                  <a:lnTo>
                    <a:pt x="255" y="36"/>
                  </a:lnTo>
                  <a:lnTo>
                    <a:pt x="259" y="36"/>
                  </a:lnTo>
                  <a:lnTo>
                    <a:pt x="259" y="40"/>
                  </a:lnTo>
                  <a:lnTo>
                    <a:pt x="263" y="40"/>
                  </a:lnTo>
                  <a:lnTo>
                    <a:pt x="263" y="36"/>
                  </a:lnTo>
                  <a:lnTo>
                    <a:pt x="259" y="32"/>
                  </a:lnTo>
                  <a:lnTo>
                    <a:pt x="263" y="32"/>
                  </a:lnTo>
                  <a:lnTo>
                    <a:pt x="263" y="28"/>
                  </a:lnTo>
                  <a:lnTo>
                    <a:pt x="259" y="28"/>
                  </a:lnTo>
                  <a:lnTo>
                    <a:pt x="259" y="32"/>
                  </a:lnTo>
                  <a:lnTo>
                    <a:pt x="255" y="32"/>
                  </a:lnTo>
                  <a:lnTo>
                    <a:pt x="251" y="28"/>
                  </a:lnTo>
                  <a:lnTo>
                    <a:pt x="251" y="24"/>
                  </a:lnTo>
                  <a:lnTo>
                    <a:pt x="255" y="24"/>
                  </a:lnTo>
                  <a:lnTo>
                    <a:pt x="259" y="24"/>
                  </a:lnTo>
                  <a:lnTo>
                    <a:pt x="263" y="24"/>
                  </a:lnTo>
                  <a:lnTo>
                    <a:pt x="267" y="24"/>
                  </a:lnTo>
                  <a:lnTo>
                    <a:pt x="267" y="28"/>
                  </a:lnTo>
                  <a:lnTo>
                    <a:pt x="271" y="28"/>
                  </a:lnTo>
                  <a:lnTo>
                    <a:pt x="267" y="28"/>
                  </a:lnTo>
                  <a:lnTo>
                    <a:pt x="267" y="24"/>
                  </a:lnTo>
                  <a:lnTo>
                    <a:pt x="271" y="24"/>
                  </a:lnTo>
                  <a:lnTo>
                    <a:pt x="275" y="28"/>
                  </a:lnTo>
                  <a:lnTo>
                    <a:pt x="271" y="28"/>
                  </a:lnTo>
                  <a:lnTo>
                    <a:pt x="267" y="28"/>
                  </a:lnTo>
                  <a:lnTo>
                    <a:pt x="267" y="32"/>
                  </a:lnTo>
                  <a:lnTo>
                    <a:pt x="267" y="28"/>
                  </a:lnTo>
                  <a:lnTo>
                    <a:pt x="271" y="28"/>
                  </a:lnTo>
                  <a:lnTo>
                    <a:pt x="275" y="28"/>
                  </a:lnTo>
                  <a:lnTo>
                    <a:pt x="275" y="32"/>
                  </a:lnTo>
                  <a:lnTo>
                    <a:pt x="279" y="32"/>
                  </a:lnTo>
                  <a:lnTo>
                    <a:pt x="283" y="32"/>
                  </a:lnTo>
                  <a:lnTo>
                    <a:pt x="279" y="32"/>
                  </a:lnTo>
                  <a:lnTo>
                    <a:pt x="279" y="28"/>
                  </a:lnTo>
                  <a:lnTo>
                    <a:pt x="283" y="28"/>
                  </a:lnTo>
                  <a:lnTo>
                    <a:pt x="283" y="24"/>
                  </a:lnTo>
                  <a:lnTo>
                    <a:pt x="287" y="20"/>
                  </a:lnTo>
                  <a:lnTo>
                    <a:pt x="291" y="20"/>
                  </a:lnTo>
                  <a:lnTo>
                    <a:pt x="291" y="16"/>
                  </a:lnTo>
                  <a:lnTo>
                    <a:pt x="295" y="20"/>
                  </a:lnTo>
                  <a:lnTo>
                    <a:pt x="295" y="16"/>
                  </a:lnTo>
                  <a:lnTo>
                    <a:pt x="295" y="12"/>
                  </a:lnTo>
                  <a:lnTo>
                    <a:pt x="299" y="12"/>
                  </a:lnTo>
                  <a:lnTo>
                    <a:pt x="299" y="16"/>
                  </a:lnTo>
                  <a:lnTo>
                    <a:pt x="303" y="16"/>
                  </a:lnTo>
                  <a:lnTo>
                    <a:pt x="303" y="12"/>
                  </a:lnTo>
                  <a:lnTo>
                    <a:pt x="299" y="12"/>
                  </a:lnTo>
                  <a:lnTo>
                    <a:pt x="295" y="12"/>
                  </a:lnTo>
                  <a:lnTo>
                    <a:pt x="295" y="8"/>
                  </a:lnTo>
                  <a:lnTo>
                    <a:pt x="299" y="8"/>
                  </a:lnTo>
                  <a:lnTo>
                    <a:pt x="299" y="12"/>
                  </a:lnTo>
                  <a:lnTo>
                    <a:pt x="303" y="8"/>
                  </a:lnTo>
                  <a:lnTo>
                    <a:pt x="299" y="8"/>
                  </a:lnTo>
                  <a:lnTo>
                    <a:pt x="299" y="4"/>
                  </a:lnTo>
                  <a:lnTo>
                    <a:pt x="303" y="4"/>
                  </a:lnTo>
                  <a:lnTo>
                    <a:pt x="303" y="8"/>
                  </a:lnTo>
                  <a:lnTo>
                    <a:pt x="307" y="8"/>
                  </a:lnTo>
                  <a:lnTo>
                    <a:pt x="307" y="4"/>
                  </a:lnTo>
                  <a:lnTo>
                    <a:pt x="307" y="8"/>
                  </a:lnTo>
                  <a:lnTo>
                    <a:pt x="311" y="8"/>
                  </a:lnTo>
                  <a:lnTo>
                    <a:pt x="311" y="4"/>
                  </a:lnTo>
                  <a:lnTo>
                    <a:pt x="315" y="4"/>
                  </a:lnTo>
                  <a:lnTo>
                    <a:pt x="315" y="8"/>
                  </a:lnTo>
                  <a:lnTo>
                    <a:pt x="319" y="8"/>
                  </a:lnTo>
                  <a:lnTo>
                    <a:pt x="315" y="12"/>
                  </a:lnTo>
                  <a:lnTo>
                    <a:pt x="311" y="16"/>
                  </a:lnTo>
                  <a:lnTo>
                    <a:pt x="307" y="16"/>
                  </a:lnTo>
                  <a:lnTo>
                    <a:pt x="311" y="16"/>
                  </a:lnTo>
                  <a:lnTo>
                    <a:pt x="311" y="20"/>
                  </a:lnTo>
                  <a:lnTo>
                    <a:pt x="307" y="20"/>
                  </a:lnTo>
                  <a:lnTo>
                    <a:pt x="307" y="24"/>
                  </a:lnTo>
                  <a:lnTo>
                    <a:pt x="307" y="28"/>
                  </a:lnTo>
                  <a:lnTo>
                    <a:pt x="307" y="32"/>
                  </a:lnTo>
                  <a:lnTo>
                    <a:pt x="307" y="28"/>
                  </a:lnTo>
                  <a:lnTo>
                    <a:pt x="311" y="28"/>
                  </a:lnTo>
                  <a:lnTo>
                    <a:pt x="315" y="24"/>
                  </a:lnTo>
                  <a:lnTo>
                    <a:pt x="315" y="20"/>
                  </a:lnTo>
                  <a:lnTo>
                    <a:pt x="319" y="16"/>
                  </a:lnTo>
                  <a:lnTo>
                    <a:pt x="323" y="16"/>
                  </a:lnTo>
                  <a:lnTo>
                    <a:pt x="327" y="12"/>
                  </a:lnTo>
                  <a:lnTo>
                    <a:pt x="327" y="8"/>
                  </a:lnTo>
                  <a:lnTo>
                    <a:pt x="331" y="8"/>
                  </a:lnTo>
                  <a:lnTo>
                    <a:pt x="331" y="4"/>
                  </a:lnTo>
                  <a:lnTo>
                    <a:pt x="331" y="8"/>
                  </a:lnTo>
                  <a:lnTo>
                    <a:pt x="331" y="12"/>
                  </a:lnTo>
                  <a:lnTo>
                    <a:pt x="327" y="12"/>
                  </a:lnTo>
                  <a:lnTo>
                    <a:pt x="327" y="16"/>
                  </a:lnTo>
                  <a:lnTo>
                    <a:pt x="327" y="12"/>
                  </a:lnTo>
                  <a:lnTo>
                    <a:pt x="331" y="12"/>
                  </a:lnTo>
                  <a:lnTo>
                    <a:pt x="331" y="16"/>
                  </a:lnTo>
                  <a:lnTo>
                    <a:pt x="331" y="20"/>
                  </a:lnTo>
                  <a:lnTo>
                    <a:pt x="331" y="24"/>
                  </a:lnTo>
                  <a:lnTo>
                    <a:pt x="331" y="20"/>
                  </a:lnTo>
                  <a:lnTo>
                    <a:pt x="335" y="20"/>
                  </a:lnTo>
                  <a:lnTo>
                    <a:pt x="339" y="20"/>
                  </a:lnTo>
                  <a:lnTo>
                    <a:pt x="335" y="16"/>
                  </a:lnTo>
                  <a:lnTo>
                    <a:pt x="339" y="16"/>
                  </a:lnTo>
                  <a:lnTo>
                    <a:pt x="339" y="12"/>
                  </a:lnTo>
                  <a:lnTo>
                    <a:pt x="343" y="12"/>
                  </a:lnTo>
                  <a:lnTo>
                    <a:pt x="343" y="8"/>
                  </a:lnTo>
                  <a:lnTo>
                    <a:pt x="347" y="8"/>
                  </a:lnTo>
                  <a:lnTo>
                    <a:pt x="343" y="8"/>
                  </a:lnTo>
                  <a:lnTo>
                    <a:pt x="339" y="8"/>
                  </a:lnTo>
                  <a:lnTo>
                    <a:pt x="339" y="4"/>
                  </a:lnTo>
                  <a:lnTo>
                    <a:pt x="343" y="4"/>
                  </a:lnTo>
                  <a:lnTo>
                    <a:pt x="347" y="0"/>
                  </a:lnTo>
                  <a:lnTo>
                    <a:pt x="347" y="4"/>
                  </a:lnTo>
                  <a:lnTo>
                    <a:pt x="351" y="4"/>
                  </a:lnTo>
                  <a:lnTo>
                    <a:pt x="354" y="4"/>
                  </a:lnTo>
                  <a:lnTo>
                    <a:pt x="358" y="4"/>
                  </a:lnTo>
                  <a:lnTo>
                    <a:pt x="358" y="8"/>
                  </a:lnTo>
                  <a:lnTo>
                    <a:pt x="354" y="12"/>
                  </a:lnTo>
                  <a:lnTo>
                    <a:pt x="351" y="12"/>
                  </a:lnTo>
                  <a:lnTo>
                    <a:pt x="347" y="12"/>
                  </a:lnTo>
                  <a:lnTo>
                    <a:pt x="351" y="12"/>
                  </a:lnTo>
                  <a:lnTo>
                    <a:pt x="354" y="12"/>
                  </a:lnTo>
                  <a:lnTo>
                    <a:pt x="351" y="12"/>
                  </a:lnTo>
                  <a:lnTo>
                    <a:pt x="347" y="16"/>
                  </a:lnTo>
                  <a:lnTo>
                    <a:pt x="351" y="16"/>
                  </a:lnTo>
                  <a:lnTo>
                    <a:pt x="354" y="12"/>
                  </a:lnTo>
                  <a:lnTo>
                    <a:pt x="354" y="16"/>
                  </a:lnTo>
                  <a:lnTo>
                    <a:pt x="351" y="16"/>
                  </a:lnTo>
                  <a:lnTo>
                    <a:pt x="351" y="20"/>
                  </a:lnTo>
                  <a:lnTo>
                    <a:pt x="354" y="20"/>
                  </a:lnTo>
                  <a:lnTo>
                    <a:pt x="351" y="20"/>
                  </a:lnTo>
                  <a:lnTo>
                    <a:pt x="354" y="20"/>
                  </a:lnTo>
                  <a:lnTo>
                    <a:pt x="354" y="16"/>
                  </a:lnTo>
                  <a:lnTo>
                    <a:pt x="358" y="20"/>
                  </a:lnTo>
                  <a:lnTo>
                    <a:pt x="354" y="20"/>
                  </a:lnTo>
                  <a:lnTo>
                    <a:pt x="354" y="24"/>
                  </a:lnTo>
                  <a:lnTo>
                    <a:pt x="354" y="28"/>
                  </a:lnTo>
                  <a:lnTo>
                    <a:pt x="351" y="32"/>
                  </a:lnTo>
                  <a:lnTo>
                    <a:pt x="354" y="32"/>
                  </a:lnTo>
                  <a:lnTo>
                    <a:pt x="354" y="28"/>
                  </a:lnTo>
                  <a:lnTo>
                    <a:pt x="354" y="24"/>
                  </a:lnTo>
                  <a:lnTo>
                    <a:pt x="354" y="20"/>
                  </a:lnTo>
                  <a:lnTo>
                    <a:pt x="358" y="20"/>
                  </a:lnTo>
                  <a:lnTo>
                    <a:pt x="358" y="16"/>
                  </a:lnTo>
                  <a:lnTo>
                    <a:pt x="358" y="12"/>
                  </a:lnTo>
                  <a:lnTo>
                    <a:pt x="362" y="8"/>
                  </a:lnTo>
                  <a:lnTo>
                    <a:pt x="366" y="8"/>
                  </a:lnTo>
                  <a:lnTo>
                    <a:pt x="370" y="8"/>
                  </a:lnTo>
                  <a:lnTo>
                    <a:pt x="370" y="12"/>
                  </a:lnTo>
                  <a:lnTo>
                    <a:pt x="374" y="12"/>
                  </a:lnTo>
                  <a:lnTo>
                    <a:pt x="378" y="12"/>
                  </a:lnTo>
                  <a:lnTo>
                    <a:pt x="378" y="16"/>
                  </a:lnTo>
                  <a:lnTo>
                    <a:pt x="378" y="12"/>
                  </a:lnTo>
                  <a:lnTo>
                    <a:pt x="382" y="12"/>
                  </a:lnTo>
                  <a:lnTo>
                    <a:pt x="386" y="12"/>
                  </a:lnTo>
                  <a:lnTo>
                    <a:pt x="386" y="16"/>
                  </a:lnTo>
                  <a:lnTo>
                    <a:pt x="382" y="16"/>
                  </a:lnTo>
                  <a:lnTo>
                    <a:pt x="386" y="16"/>
                  </a:lnTo>
                  <a:lnTo>
                    <a:pt x="390" y="16"/>
                  </a:lnTo>
                  <a:lnTo>
                    <a:pt x="390" y="20"/>
                  </a:lnTo>
                  <a:lnTo>
                    <a:pt x="394" y="20"/>
                  </a:lnTo>
                  <a:lnTo>
                    <a:pt x="398" y="20"/>
                  </a:lnTo>
                  <a:lnTo>
                    <a:pt x="398" y="24"/>
                  </a:lnTo>
                  <a:lnTo>
                    <a:pt x="394" y="24"/>
                  </a:lnTo>
                  <a:lnTo>
                    <a:pt x="390" y="24"/>
                  </a:lnTo>
                  <a:lnTo>
                    <a:pt x="386" y="28"/>
                  </a:lnTo>
                  <a:lnTo>
                    <a:pt x="382" y="28"/>
                  </a:lnTo>
                  <a:lnTo>
                    <a:pt x="382" y="32"/>
                  </a:lnTo>
                  <a:lnTo>
                    <a:pt x="378" y="32"/>
                  </a:lnTo>
                  <a:lnTo>
                    <a:pt x="378" y="28"/>
                  </a:lnTo>
                  <a:lnTo>
                    <a:pt x="374" y="28"/>
                  </a:lnTo>
                  <a:lnTo>
                    <a:pt x="370" y="28"/>
                  </a:lnTo>
                  <a:lnTo>
                    <a:pt x="366" y="28"/>
                  </a:lnTo>
                  <a:lnTo>
                    <a:pt x="362" y="28"/>
                  </a:lnTo>
                  <a:lnTo>
                    <a:pt x="366" y="32"/>
                  </a:lnTo>
                  <a:lnTo>
                    <a:pt x="370" y="32"/>
                  </a:lnTo>
                  <a:lnTo>
                    <a:pt x="374" y="32"/>
                  </a:lnTo>
                  <a:lnTo>
                    <a:pt x="378" y="32"/>
                  </a:lnTo>
                  <a:lnTo>
                    <a:pt x="374" y="32"/>
                  </a:lnTo>
                  <a:lnTo>
                    <a:pt x="374" y="36"/>
                  </a:lnTo>
                  <a:lnTo>
                    <a:pt x="370" y="36"/>
                  </a:lnTo>
                  <a:lnTo>
                    <a:pt x="374" y="36"/>
                  </a:lnTo>
                  <a:lnTo>
                    <a:pt x="378" y="36"/>
                  </a:lnTo>
                  <a:lnTo>
                    <a:pt x="374" y="40"/>
                  </a:lnTo>
                  <a:lnTo>
                    <a:pt x="378" y="40"/>
                  </a:lnTo>
                  <a:lnTo>
                    <a:pt x="382" y="40"/>
                  </a:lnTo>
                  <a:lnTo>
                    <a:pt x="386" y="40"/>
                  </a:lnTo>
                  <a:lnTo>
                    <a:pt x="382" y="40"/>
                  </a:lnTo>
                  <a:lnTo>
                    <a:pt x="386" y="40"/>
                  </a:lnTo>
                  <a:lnTo>
                    <a:pt x="382" y="36"/>
                  </a:lnTo>
                  <a:lnTo>
                    <a:pt x="386" y="36"/>
                  </a:lnTo>
                  <a:lnTo>
                    <a:pt x="386" y="40"/>
                  </a:lnTo>
                  <a:lnTo>
                    <a:pt x="390" y="40"/>
                  </a:lnTo>
                  <a:lnTo>
                    <a:pt x="390" y="36"/>
                  </a:lnTo>
                  <a:lnTo>
                    <a:pt x="394" y="36"/>
                  </a:lnTo>
                  <a:lnTo>
                    <a:pt x="394" y="40"/>
                  </a:lnTo>
                  <a:lnTo>
                    <a:pt x="394" y="44"/>
                  </a:lnTo>
                  <a:lnTo>
                    <a:pt x="390" y="44"/>
                  </a:lnTo>
                  <a:lnTo>
                    <a:pt x="386" y="44"/>
                  </a:lnTo>
                  <a:lnTo>
                    <a:pt x="386" y="40"/>
                  </a:lnTo>
                  <a:lnTo>
                    <a:pt x="382" y="40"/>
                  </a:lnTo>
                  <a:lnTo>
                    <a:pt x="386" y="44"/>
                  </a:lnTo>
                  <a:lnTo>
                    <a:pt x="382" y="44"/>
                  </a:lnTo>
                  <a:lnTo>
                    <a:pt x="378" y="48"/>
                  </a:lnTo>
                  <a:lnTo>
                    <a:pt x="374" y="48"/>
                  </a:lnTo>
                  <a:lnTo>
                    <a:pt x="370" y="52"/>
                  </a:lnTo>
                  <a:lnTo>
                    <a:pt x="370" y="56"/>
                  </a:lnTo>
                  <a:lnTo>
                    <a:pt x="366" y="56"/>
                  </a:lnTo>
                  <a:lnTo>
                    <a:pt x="366" y="60"/>
                  </a:lnTo>
                  <a:lnTo>
                    <a:pt x="366" y="56"/>
                  </a:lnTo>
                  <a:lnTo>
                    <a:pt x="362" y="56"/>
                  </a:lnTo>
                  <a:lnTo>
                    <a:pt x="362" y="52"/>
                  </a:lnTo>
                  <a:lnTo>
                    <a:pt x="366" y="52"/>
                  </a:lnTo>
                  <a:lnTo>
                    <a:pt x="366" y="48"/>
                  </a:lnTo>
                  <a:lnTo>
                    <a:pt x="370" y="48"/>
                  </a:lnTo>
                  <a:lnTo>
                    <a:pt x="370" y="44"/>
                  </a:lnTo>
                  <a:lnTo>
                    <a:pt x="370" y="40"/>
                  </a:lnTo>
                  <a:lnTo>
                    <a:pt x="366" y="40"/>
                  </a:lnTo>
                  <a:lnTo>
                    <a:pt x="362" y="40"/>
                  </a:lnTo>
                  <a:lnTo>
                    <a:pt x="358" y="36"/>
                  </a:lnTo>
                  <a:lnTo>
                    <a:pt x="354" y="36"/>
                  </a:lnTo>
                  <a:lnTo>
                    <a:pt x="354" y="32"/>
                  </a:lnTo>
                  <a:lnTo>
                    <a:pt x="351" y="32"/>
                  </a:lnTo>
                  <a:lnTo>
                    <a:pt x="351" y="28"/>
                  </a:lnTo>
                  <a:lnTo>
                    <a:pt x="347" y="28"/>
                  </a:lnTo>
                  <a:lnTo>
                    <a:pt x="343" y="32"/>
                  </a:lnTo>
                  <a:lnTo>
                    <a:pt x="339" y="32"/>
                  </a:lnTo>
                  <a:lnTo>
                    <a:pt x="339" y="36"/>
                  </a:lnTo>
                  <a:lnTo>
                    <a:pt x="335" y="32"/>
                  </a:lnTo>
                  <a:lnTo>
                    <a:pt x="331" y="32"/>
                  </a:lnTo>
                  <a:lnTo>
                    <a:pt x="327" y="32"/>
                  </a:lnTo>
                  <a:lnTo>
                    <a:pt x="327" y="36"/>
                  </a:lnTo>
                  <a:lnTo>
                    <a:pt x="323" y="40"/>
                  </a:lnTo>
                  <a:lnTo>
                    <a:pt x="319" y="40"/>
                  </a:lnTo>
                  <a:lnTo>
                    <a:pt x="323" y="40"/>
                  </a:lnTo>
                  <a:lnTo>
                    <a:pt x="323" y="44"/>
                  </a:lnTo>
                  <a:lnTo>
                    <a:pt x="319" y="44"/>
                  </a:lnTo>
                  <a:lnTo>
                    <a:pt x="319" y="48"/>
                  </a:lnTo>
                  <a:lnTo>
                    <a:pt x="319" y="52"/>
                  </a:lnTo>
                  <a:lnTo>
                    <a:pt x="319" y="56"/>
                  </a:lnTo>
                  <a:lnTo>
                    <a:pt x="319" y="60"/>
                  </a:lnTo>
                  <a:lnTo>
                    <a:pt x="315" y="60"/>
                  </a:lnTo>
                  <a:lnTo>
                    <a:pt x="315" y="64"/>
                  </a:lnTo>
                  <a:lnTo>
                    <a:pt x="315" y="60"/>
                  </a:lnTo>
                  <a:lnTo>
                    <a:pt x="311" y="60"/>
                  </a:lnTo>
                  <a:lnTo>
                    <a:pt x="311" y="64"/>
                  </a:lnTo>
                  <a:lnTo>
                    <a:pt x="307" y="64"/>
                  </a:lnTo>
                  <a:lnTo>
                    <a:pt x="307" y="68"/>
                  </a:lnTo>
                  <a:lnTo>
                    <a:pt x="307" y="72"/>
                  </a:lnTo>
                  <a:lnTo>
                    <a:pt x="303" y="68"/>
                  </a:lnTo>
                  <a:lnTo>
                    <a:pt x="299" y="68"/>
                  </a:lnTo>
                  <a:lnTo>
                    <a:pt x="295" y="68"/>
                  </a:lnTo>
                  <a:lnTo>
                    <a:pt x="295" y="64"/>
                  </a:lnTo>
                  <a:lnTo>
                    <a:pt x="291" y="64"/>
                  </a:lnTo>
                  <a:lnTo>
                    <a:pt x="287" y="64"/>
                  </a:lnTo>
                  <a:lnTo>
                    <a:pt x="287" y="68"/>
                  </a:lnTo>
                  <a:lnTo>
                    <a:pt x="283" y="68"/>
                  </a:lnTo>
                  <a:lnTo>
                    <a:pt x="279" y="68"/>
                  </a:lnTo>
                  <a:lnTo>
                    <a:pt x="275" y="68"/>
                  </a:lnTo>
                  <a:lnTo>
                    <a:pt x="271" y="64"/>
                  </a:lnTo>
                  <a:lnTo>
                    <a:pt x="267" y="68"/>
                  </a:lnTo>
                  <a:lnTo>
                    <a:pt x="267" y="64"/>
                  </a:lnTo>
                  <a:lnTo>
                    <a:pt x="263" y="60"/>
                  </a:lnTo>
                  <a:lnTo>
                    <a:pt x="263" y="56"/>
                  </a:lnTo>
                  <a:lnTo>
                    <a:pt x="259" y="56"/>
                  </a:lnTo>
                  <a:lnTo>
                    <a:pt x="255" y="52"/>
                  </a:lnTo>
                  <a:lnTo>
                    <a:pt x="251" y="52"/>
                  </a:lnTo>
                  <a:lnTo>
                    <a:pt x="247" y="52"/>
                  </a:lnTo>
                  <a:lnTo>
                    <a:pt x="247" y="56"/>
                  </a:lnTo>
                  <a:lnTo>
                    <a:pt x="247" y="60"/>
                  </a:lnTo>
                  <a:lnTo>
                    <a:pt x="247" y="56"/>
                  </a:lnTo>
                  <a:lnTo>
                    <a:pt x="243" y="56"/>
                  </a:lnTo>
                  <a:lnTo>
                    <a:pt x="239" y="56"/>
                  </a:lnTo>
                  <a:lnTo>
                    <a:pt x="231" y="56"/>
                  </a:lnTo>
                  <a:lnTo>
                    <a:pt x="235" y="60"/>
                  </a:lnTo>
                  <a:lnTo>
                    <a:pt x="235" y="64"/>
                  </a:lnTo>
                  <a:lnTo>
                    <a:pt x="235" y="68"/>
                  </a:lnTo>
                  <a:lnTo>
                    <a:pt x="231" y="72"/>
                  </a:lnTo>
                  <a:lnTo>
                    <a:pt x="235" y="72"/>
                  </a:lnTo>
                  <a:lnTo>
                    <a:pt x="231" y="76"/>
                  </a:lnTo>
                  <a:lnTo>
                    <a:pt x="227" y="76"/>
                  </a:lnTo>
                  <a:lnTo>
                    <a:pt x="223" y="76"/>
                  </a:lnTo>
                  <a:lnTo>
                    <a:pt x="215" y="72"/>
                  </a:lnTo>
                  <a:lnTo>
                    <a:pt x="211" y="72"/>
                  </a:lnTo>
                  <a:lnTo>
                    <a:pt x="207" y="72"/>
                  </a:lnTo>
                  <a:lnTo>
                    <a:pt x="203" y="72"/>
                  </a:lnTo>
                  <a:lnTo>
                    <a:pt x="199" y="76"/>
                  </a:lnTo>
                  <a:lnTo>
                    <a:pt x="203" y="76"/>
                  </a:lnTo>
                  <a:lnTo>
                    <a:pt x="203" y="80"/>
                  </a:lnTo>
                  <a:lnTo>
                    <a:pt x="199" y="84"/>
                  </a:lnTo>
                  <a:lnTo>
                    <a:pt x="199" y="88"/>
                  </a:lnTo>
                  <a:lnTo>
                    <a:pt x="195" y="88"/>
                  </a:lnTo>
                  <a:lnTo>
                    <a:pt x="195" y="84"/>
                  </a:lnTo>
                  <a:lnTo>
                    <a:pt x="191" y="84"/>
                  </a:lnTo>
                  <a:lnTo>
                    <a:pt x="187" y="84"/>
                  </a:lnTo>
                  <a:lnTo>
                    <a:pt x="179" y="88"/>
                  </a:lnTo>
                  <a:lnTo>
                    <a:pt x="179" y="92"/>
                  </a:lnTo>
                  <a:lnTo>
                    <a:pt x="179" y="96"/>
                  </a:lnTo>
                  <a:lnTo>
                    <a:pt x="175" y="100"/>
                  </a:lnTo>
                  <a:lnTo>
                    <a:pt x="171" y="100"/>
                  </a:lnTo>
                  <a:lnTo>
                    <a:pt x="171" y="104"/>
                  </a:lnTo>
                  <a:lnTo>
                    <a:pt x="175" y="104"/>
                  </a:lnTo>
                  <a:lnTo>
                    <a:pt x="175" y="108"/>
                  </a:lnTo>
                  <a:lnTo>
                    <a:pt x="175" y="112"/>
                  </a:lnTo>
                  <a:lnTo>
                    <a:pt x="171" y="116"/>
                  </a:lnTo>
                  <a:lnTo>
                    <a:pt x="167" y="120"/>
                  </a:lnTo>
                  <a:lnTo>
                    <a:pt x="163" y="124"/>
                  </a:lnTo>
                  <a:lnTo>
                    <a:pt x="159" y="124"/>
                  </a:lnTo>
                  <a:lnTo>
                    <a:pt x="159" y="128"/>
                  </a:lnTo>
                  <a:lnTo>
                    <a:pt x="163" y="132"/>
                  </a:lnTo>
                  <a:lnTo>
                    <a:pt x="155" y="136"/>
                  </a:lnTo>
                  <a:lnTo>
                    <a:pt x="151" y="136"/>
                  </a:lnTo>
                  <a:lnTo>
                    <a:pt x="147" y="136"/>
                  </a:lnTo>
                  <a:lnTo>
                    <a:pt x="147" y="140"/>
                  </a:lnTo>
                  <a:lnTo>
                    <a:pt x="151" y="144"/>
                  </a:lnTo>
                  <a:lnTo>
                    <a:pt x="147" y="144"/>
                  </a:lnTo>
                  <a:lnTo>
                    <a:pt x="147" y="148"/>
                  </a:lnTo>
                  <a:lnTo>
                    <a:pt x="147" y="152"/>
                  </a:lnTo>
                  <a:lnTo>
                    <a:pt x="147" y="156"/>
                  </a:lnTo>
                  <a:lnTo>
                    <a:pt x="143" y="160"/>
                  </a:lnTo>
                  <a:lnTo>
                    <a:pt x="143" y="164"/>
                  </a:lnTo>
                  <a:lnTo>
                    <a:pt x="139" y="164"/>
                  </a:lnTo>
                  <a:lnTo>
                    <a:pt x="139" y="168"/>
                  </a:lnTo>
                  <a:lnTo>
                    <a:pt x="139" y="172"/>
                  </a:lnTo>
                  <a:lnTo>
                    <a:pt x="135" y="172"/>
                  </a:lnTo>
                  <a:lnTo>
                    <a:pt x="135" y="176"/>
                  </a:lnTo>
                  <a:lnTo>
                    <a:pt x="139" y="176"/>
                  </a:lnTo>
                  <a:lnTo>
                    <a:pt x="143" y="176"/>
                  </a:lnTo>
                  <a:lnTo>
                    <a:pt x="143" y="180"/>
                  </a:lnTo>
                  <a:lnTo>
                    <a:pt x="143" y="184"/>
                  </a:lnTo>
                  <a:lnTo>
                    <a:pt x="139" y="188"/>
                  </a:lnTo>
                  <a:lnTo>
                    <a:pt x="127" y="188"/>
                  </a:lnTo>
                  <a:lnTo>
                    <a:pt x="123" y="188"/>
                  </a:lnTo>
                  <a:lnTo>
                    <a:pt x="119" y="192"/>
                  </a:lnTo>
                  <a:lnTo>
                    <a:pt x="115" y="196"/>
                  </a:lnTo>
                  <a:lnTo>
                    <a:pt x="111" y="200"/>
                  </a:lnTo>
                  <a:lnTo>
                    <a:pt x="111" y="204"/>
                  </a:lnTo>
                  <a:lnTo>
                    <a:pt x="111" y="208"/>
                  </a:lnTo>
                  <a:lnTo>
                    <a:pt x="107" y="208"/>
                  </a:lnTo>
                  <a:lnTo>
                    <a:pt x="111" y="212"/>
                  </a:lnTo>
                  <a:lnTo>
                    <a:pt x="111" y="216"/>
                  </a:lnTo>
                  <a:lnTo>
                    <a:pt x="111" y="220"/>
                  </a:lnTo>
                  <a:lnTo>
                    <a:pt x="111" y="224"/>
                  </a:lnTo>
                  <a:lnTo>
                    <a:pt x="111" y="228"/>
                  </a:lnTo>
                  <a:lnTo>
                    <a:pt x="111" y="232"/>
                  </a:lnTo>
                  <a:lnTo>
                    <a:pt x="115" y="232"/>
                  </a:lnTo>
                  <a:lnTo>
                    <a:pt x="115" y="236"/>
                  </a:lnTo>
                  <a:lnTo>
                    <a:pt x="111" y="240"/>
                  </a:lnTo>
                  <a:lnTo>
                    <a:pt x="111" y="244"/>
                  </a:lnTo>
                  <a:lnTo>
                    <a:pt x="111" y="247"/>
                  </a:lnTo>
                  <a:lnTo>
                    <a:pt x="115" y="251"/>
                  </a:lnTo>
                  <a:lnTo>
                    <a:pt x="119" y="251"/>
                  </a:lnTo>
                  <a:lnTo>
                    <a:pt x="119" y="255"/>
                  </a:lnTo>
                  <a:lnTo>
                    <a:pt x="123" y="255"/>
                  </a:lnTo>
                  <a:lnTo>
                    <a:pt x="123" y="259"/>
                  </a:lnTo>
                  <a:lnTo>
                    <a:pt x="119" y="259"/>
                  </a:lnTo>
                  <a:lnTo>
                    <a:pt x="119" y="263"/>
                  </a:lnTo>
                  <a:lnTo>
                    <a:pt x="115" y="263"/>
                  </a:lnTo>
                  <a:lnTo>
                    <a:pt x="111" y="263"/>
                  </a:lnTo>
                  <a:lnTo>
                    <a:pt x="115" y="267"/>
                  </a:lnTo>
                  <a:lnTo>
                    <a:pt x="115" y="271"/>
                  </a:lnTo>
                  <a:lnTo>
                    <a:pt x="115" y="275"/>
                  </a:lnTo>
                  <a:lnTo>
                    <a:pt x="119" y="275"/>
                  </a:lnTo>
                  <a:lnTo>
                    <a:pt x="119" y="279"/>
                  </a:lnTo>
                  <a:lnTo>
                    <a:pt x="115" y="283"/>
                  </a:lnTo>
                  <a:lnTo>
                    <a:pt x="115" y="287"/>
                  </a:lnTo>
                  <a:lnTo>
                    <a:pt x="115" y="291"/>
                  </a:lnTo>
                  <a:lnTo>
                    <a:pt x="111" y="291"/>
                  </a:lnTo>
                  <a:lnTo>
                    <a:pt x="107" y="291"/>
                  </a:lnTo>
                  <a:lnTo>
                    <a:pt x="107" y="295"/>
                  </a:lnTo>
                  <a:lnTo>
                    <a:pt x="107" y="299"/>
                  </a:lnTo>
                  <a:lnTo>
                    <a:pt x="103" y="299"/>
                  </a:lnTo>
                  <a:lnTo>
                    <a:pt x="107" y="303"/>
                  </a:lnTo>
                  <a:lnTo>
                    <a:pt x="107" y="307"/>
                  </a:lnTo>
                  <a:lnTo>
                    <a:pt x="107" y="311"/>
                  </a:lnTo>
                  <a:lnTo>
                    <a:pt x="103" y="315"/>
                  </a:lnTo>
                  <a:lnTo>
                    <a:pt x="99" y="315"/>
                  </a:lnTo>
                  <a:lnTo>
                    <a:pt x="99" y="311"/>
                  </a:lnTo>
                  <a:lnTo>
                    <a:pt x="95" y="311"/>
                  </a:lnTo>
                  <a:lnTo>
                    <a:pt x="91" y="311"/>
                  </a:lnTo>
                  <a:lnTo>
                    <a:pt x="91" y="307"/>
                  </a:lnTo>
                  <a:lnTo>
                    <a:pt x="87" y="303"/>
                  </a:lnTo>
                  <a:lnTo>
                    <a:pt x="91" y="303"/>
                  </a:lnTo>
                  <a:lnTo>
                    <a:pt x="87" y="299"/>
                  </a:lnTo>
                  <a:lnTo>
                    <a:pt x="87" y="295"/>
                  </a:lnTo>
                  <a:lnTo>
                    <a:pt x="87" y="291"/>
                  </a:lnTo>
                  <a:lnTo>
                    <a:pt x="91" y="295"/>
                  </a:lnTo>
                  <a:lnTo>
                    <a:pt x="91" y="291"/>
                  </a:lnTo>
                  <a:lnTo>
                    <a:pt x="87" y="291"/>
                  </a:lnTo>
                  <a:lnTo>
                    <a:pt x="87" y="295"/>
                  </a:lnTo>
                  <a:lnTo>
                    <a:pt x="87" y="299"/>
                  </a:lnTo>
                  <a:lnTo>
                    <a:pt x="87" y="295"/>
                  </a:lnTo>
                  <a:lnTo>
                    <a:pt x="83" y="295"/>
                  </a:lnTo>
                  <a:lnTo>
                    <a:pt x="83" y="299"/>
                  </a:lnTo>
                  <a:lnTo>
                    <a:pt x="83" y="303"/>
                  </a:lnTo>
                  <a:lnTo>
                    <a:pt x="87" y="303"/>
                  </a:lnTo>
                  <a:lnTo>
                    <a:pt x="87" y="307"/>
                  </a:lnTo>
                  <a:lnTo>
                    <a:pt x="83" y="307"/>
                  </a:lnTo>
                  <a:lnTo>
                    <a:pt x="83" y="311"/>
                  </a:lnTo>
                  <a:lnTo>
                    <a:pt x="79" y="311"/>
                  </a:lnTo>
                  <a:lnTo>
                    <a:pt x="79" y="315"/>
                  </a:lnTo>
                  <a:lnTo>
                    <a:pt x="75" y="315"/>
                  </a:lnTo>
                  <a:lnTo>
                    <a:pt x="75" y="311"/>
                  </a:lnTo>
                  <a:lnTo>
                    <a:pt x="71" y="311"/>
                  </a:lnTo>
                  <a:lnTo>
                    <a:pt x="75" y="311"/>
                  </a:lnTo>
                  <a:lnTo>
                    <a:pt x="75" y="315"/>
                  </a:lnTo>
                  <a:lnTo>
                    <a:pt x="71" y="315"/>
                  </a:lnTo>
                  <a:lnTo>
                    <a:pt x="67" y="319"/>
                  </a:lnTo>
                  <a:lnTo>
                    <a:pt x="67" y="323"/>
                  </a:lnTo>
                  <a:lnTo>
                    <a:pt x="63" y="323"/>
                  </a:lnTo>
                  <a:lnTo>
                    <a:pt x="63" y="327"/>
                  </a:lnTo>
                  <a:lnTo>
                    <a:pt x="59" y="327"/>
                  </a:lnTo>
                  <a:lnTo>
                    <a:pt x="55" y="331"/>
                  </a:lnTo>
                  <a:lnTo>
                    <a:pt x="51" y="331"/>
                  </a:lnTo>
                  <a:lnTo>
                    <a:pt x="51" y="335"/>
                  </a:lnTo>
                  <a:lnTo>
                    <a:pt x="47" y="335"/>
                  </a:lnTo>
                  <a:lnTo>
                    <a:pt x="43" y="335"/>
                  </a:lnTo>
                  <a:lnTo>
                    <a:pt x="39" y="335"/>
                  </a:lnTo>
                  <a:lnTo>
                    <a:pt x="35" y="335"/>
                  </a:lnTo>
                  <a:lnTo>
                    <a:pt x="35" y="339"/>
                  </a:lnTo>
                  <a:lnTo>
                    <a:pt x="31" y="335"/>
                  </a:lnTo>
                  <a:lnTo>
                    <a:pt x="27" y="335"/>
                  </a:lnTo>
                  <a:lnTo>
                    <a:pt x="27" y="331"/>
                  </a:lnTo>
                  <a:lnTo>
                    <a:pt x="31" y="331"/>
                  </a:lnTo>
                  <a:lnTo>
                    <a:pt x="27" y="331"/>
                  </a:lnTo>
                  <a:lnTo>
                    <a:pt x="23" y="331"/>
                  </a:lnTo>
                  <a:lnTo>
                    <a:pt x="19" y="331"/>
                  </a:lnTo>
                  <a:lnTo>
                    <a:pt x="19" y="327"/>
                  </a:lnTo>
                  <a:lnTo>
                    <a:pt x="15" y="327"/>
                  </a:lnTo>
                  <a:lnTo>
                    <a:pt x="11" y="323"/>
                  </a:lnTo>
                  <a:lnTo>
                    <a:pt x="11" y="319"/>
                  </a:lnTo>
                  <a:lnTo>
                    <a:pt x="11" y="315"/>
                  </a:lnTo>
                  <a:lnTo>
                    <a:pt x="11" y="311"/>
                  </a:lnTo>
                  <a:lnTo>
                    <a:pt x="15" y="315"/>
                  </a:lnTo>
                  <a:lnTo>
                    <a:pt x="19" y="315"/>
                  </a:lnTo>
                  <a:lnTo>
                    <a:pt x="19" y="319"/>
                  </a:lnTo>
                  <a:lnTo>
                    <a:pt x="23" y="315"/>
                  </a:lnTo>
                  <a:lnTo>
                    <a:pt x="19" y="315"/>
                  </a:lnTo>
                  <a:lnTo>
                    <a:pt x="23" y="315"/>
                  </a:lnTo>
                  <a:lnTo>
                    <a:pt x="23" y="311"/>
                  </a:lnTo>
                  <a:lnTo>
                    <a:pt x="27" y="311"/>
                  </a:lnTo>
                  <a:lnTo>
                    <a:pt x="23" y="311"/>
                  </a:lnTo>
                  <a:lnTo>
                    <a:pt x="19" y="315"/>
                  </a:lnTo>
                  <a:lnTo>
                    <a:pt x="19" y="311"/>
                  </a:lnTo>
                  <a:lnTo>
                    <a:pt x="15" y="311"/>
                  </a:lnTo>
                  <a:lnTo>
                    <a:pt x="19" y="311"/>
                  </a:lnTo>
                  <a:lnTo>
                    <a:pt x="19" y="307"/>
                  </a:lnTo>
                  <a:lnTo>
                    <a:pt x="23" y="307"/>
                  </a:lnTo>
                  <a:lnTo>
                    <a:pt x="27" y="307"/>
                  </a:lnTo>
                  <a:lnTo>
                    <a:pt x="23" y="307"/>
                  </a:lnTo>
                  <a:lnTo>
                    <a:pt x="19" y="307"/>
                  </a:lnTo>
                  <a:lnTo>
                    <a:pt x="19" y="303"/>
                  </a:lnTo>
                  <a:lnTo>
                    <a:pt x="23" y="303"/>
                  </a:lnTo>
                  <a:lnTo>
                    <a:pt x="23" y="299"/>
                  </a:lnTo>
                  <a:lnTo>
                    <a:pt x="27" y="299"/>
                  </a:lnTo>
                  <a:lnTo>
                    <a:pt x="23" y="299"/>
                  </a:lnTo>
                  <a:lnTo>
                    <a:pt x="19" y="303"/>
                  </a:lnTo>
                  <a:lnTo>
                    <a:pt x="15" y="303"/>
                  </a:lnTo>
                  <a:lnTo>
                    <a:pt x="19" y="303"/>
                  </a:lnTo>
                  <a:lnTo>
                    <a:pt x="15" y="303"/>
                  </a:lnTo>
                  <a:lnTo>
                    <a:pt x="15" y="307"/>
                  </a:lnTo>
                  <a:lnTo>
                    <a:pt x="11" y="307"/>
                  </a:lnTo>
                  <a:lnTo>
                    <a:pt x="11" y="303"/>
                  </a:lnTo>
                  <a:lnTo>
                    <a:pt x="11" y="307"/>
                  </a:lnTo>
                  <a:lnTo>
                    <a:pt x="7" y="307"/>
                  </a:lnTo>
                  <a:lnTo>
                    <a:pt x="7" y="303"/>
                  </a:lnTo>
                  <a:lnTo>
                    <a:pt x="7" y="299"/>
                  </a:lnTo>
                  <a:lnTo>
                    <a:pt x="11" y="295"/>
                  </a:lnTo>
                  <a:lnTo>
                    <a:pt x="11" y="299"/>
                  </a:lnTo>
                  <a:lnTo>
                    <a:pt x="11" y="295"/>
                  </a:lnTo>
                  <a:lnTo>
                    <a:pt x="15" y="295"/>
                  </a:lnTo>
                  <a:lnTo>
                    <a:pt x="19" y="295"/>
                  </a:lnTo>
                  <a:lnTo>
                    <a:pt x="23" y="291"/>
                  </a:lnTo>
                  <a:lnTo>
                    <a:pt x="19" y="295"/>
                  </a:lnTo>
                  <a:lnTo>
                    <a:pt x="15" y="295"/>
                  </a:lnTo>
                  <a:lnTo>
                    <a:pt x="15" y="291"/>
                  </a:lnTo>
                  <a:lnTo>
                    <a:pt x="19" y="291"/>
                  </a:lnTo>
                  <a:lnTo>
                    <a:pt x="19" y="287"/>
                  </a:lnTo>
                  <a:lnTo>
                    <a:pt x="19" y="283"/>
                  </a:lnTo>
                  <a:lnTo>
                    <a:pt x="23" y="283"/>
                  </a:lnTo>
                  <a:lnTo>
                    <a:pt x="23" y="279"/>
                  </a:lnTo>
                  <a:lnTo>
                    <a:pt x="27" y="279"/>
                  </a:lnTo>
                  <a:lnTo>
                    <a:pt x="27" y="283"/>
                  </a:lnTo>
                  <a:lnTo>
                    <a:pt x="27" y="287"/>
                  </a:lnTo>
                  <a:lnTo>
                    <a:pt x="27" y="283"/>
                  </a:lnTo>
                  <a:lnTo>
                    <a:pt x="27" y="279"/>
                  </a:lnTo>
                  <a:lnTo>
                    <a:pt x="31" y="279"/>
                  </a:lnTo>
                  <a:lnTo>
                    <a:pt x="31" y="275"/>
                  </a:lnTo>
                  <a:lnTo>
                    <a:pt x="35" y="279"/>
                  </a:lnTo>
                  <a:lnTo>
                    <a:pt x="35" y="275"/>
                  </a:lnTo>
                  <a:lnTo>
                    <a:pt x="31" y="275"/>
                  </a:lnTo>
                  <a:lnTo>
                    <a:pt x="35" y="275"/>
                  </a:lnTo>
                  <a:lnTo>
                    <a:pt x="31" y="275"/>
                  </a:lnTo>
                  <a:lnTo>
                    <a:pt x="27" y="279"/>
                  </a:lnTo>
                  <a:lnTo>
                    <a:pt x="23" y="279"/>
                  </a:lnTo>
                  <a:lnTo>
                    <a:pt x="19" y="279"/>
                  </a:lnTo>
                  <a:lnTo>
                    <a:pt x="19" y="283"/>
                  </a:lnTo>
                  <a:lnTo>
                    <a:pt x="15" y="287"/>
                  </a:lnTo>
                  <a:lnTo>
                    <a:pt x="15" y="291"/>
                  </a:lnTo>
                  <a:lnTo>
                    <a:pt x="15" y="287"/>
                  </a:lnTo>
                  <a:lnTo>
                    <a:pt x="11" y="287"/>
                  </a:lnTo>
                  <a:lnTo>
                    <a:pt x="11" y="283"/>
                  </a:lnTo>
                  <a:lnTo>
                    <a:pt x="15" y="279"/>
                  </a:lnTo>
                  <a:lnTo>
                    <a:pt x="11" y="279"/>
                  </a:lnTo>
                  <a:lnTo>
                    <a:pt x="11" y="283"/>
                  </a:lnTo>
                  <a:lnTo>
                    <a:pt x="11" y="287"/>
                  </a:lnTo>
                  <a:lnTo>
                    <a:pt x="7" y="287"/>
                  </a:lnTo>
                  <a:lnTo>
                    <a:pt x="7" y="283"/>
                  </a:lnTo>
                  <a:lnTo>
                    <a:pt x="7" y="279"/>
                  </a:lnTo>
                  <a:lnTo>
                    <a:pt x="7" y="275"/>
                  </a:lnTo>
                  <a:lnTo>
                    <a:pt x="7" y="279"/>
                  </a:lnTo>
                  <a:lnTo>
                    <a:pt x="11" y="279"/>
                  </a:lnTo>
                  <a:lnTo>
                    <a:pt x="15" y="279"/>
                  </a:lnTo>
                  <a:lnTo>
                    <a:pt x="15" y="275"/>
                  </a:lnTo>
                  <a:lnTo>
                    <a:pt x="15" y="271"/>
                  </a:lnTo>
                  <a:lnTo>
                    <a:pt x="11" y="271"/>
                  </a:lnTo>
                  <a:lnTo>
                    <a:pt x="11" y="275"/>
                  </a:lnTo>
                  <a:lnTo>
                    <a:pt x="7" y="275"/>
                  </a:lnTo>
                  <a:lnTo>
                    <a:pt x="3" y="271"/>
                  </a:lnTo>
                  <a:lnTo>
                    <a:pt x="7" y="275"/>
                  </a:lnTo>
                  <a:lnTo>
                    <a:pt x="3" y="271"/>
                  </a:lnTo>
                  <a:lnTo>
                    <a:pt x="7" y="271"/>
                  </a:lnTo>
                  <a:lnTo>
                    <a:pt x="7" y="275"/>
                  </a:lnTo>
                  <a:lnTo>
                    <a:pt x="11" y="275"/>
                  </a:lnTo>
                  <a:lnTo>
                    <a:pt x="11" y="271"/>
                  </a:lnTo>
                  <a:lnTo>
                    <a:pt x="7" y="271"/>
                  </a:lnTo>
                  <a:lnTo>
                    <a:pt x="7" y="267"/>
                  </a:lnTo>
                  <a:lnTo>
                    <a:pt x="11" y="267"/>
                  </a:lnTo>
                  <a:lnTo>
                    <a:pt x="7" y="267"/>
                  </a:lnTo>
                  <a:lnTo>
                    <a:pt x="3" y="267"/>
                  </a:lnTo>
                  <a:lnTo>
                    <a:pt x="3" y="263"/>
                  </a:lnTo>
                  <a:lnTo>
                    <a:pt x="7" y="263"/>
                  </a:lnTo>
                  <a:lnTo>
                    <a:pt x="11" y="263"/>
                  </a:lnTo>
                  <a:lnTo>
                    <a:pt x="15" y="263"/>
                  </a:lnTo>
                  <a:lnTo>
                    <a:pt x="19" y="263"/>
                  </a:lnTo>
                  <a:lnTo>
                    <a:pt x="23" y="263"/>
                  </a:lnTo>
                  <a:lnTo>
                    <a:pt x="27" y="263"/>
                  </a:lnTo>
                  <a:lnTo>
                    <a:pt x="27" y="259"/>
                  </a:lnTo>
                  <a:lnTo>
                    <a:pt x="31" y="259"/>
                  </a:lnTo>
                  <a:lnTo>
                    <a:pt x="31" y="263"/>
                  </a:lnTo>
                  <a:lnTo>
                    <a:pt x="35" y="263"/>
                  </a:lnTo>
                  <a:lnTo>
                    <a:pt x="35" y="267"/>
                  </a:lnTo>
                  <a:lnTo>
                    <a:pt x="35" y="263"/>
                  </a:lnTo>
                  <a:lnTo>
                    <a:pt x="39" y="263"/>
                  </a:lnTo>
                  <a:lnTo>
                    <a:pt x="39" y="259"/>
                  </a:lnTo>
                  <a:lnTo>
                    <a:pt x="39" y="255"/>
                  </a:lnTo>
                  <a:lnTo>
                    <a:pt x="43" y="255"/>
                  </a:lnTo>
                  <a:lnTo>
                    <a:pt x="43" y="251"/>
                  </a:lnTo>
                  <a:lnTo>
                    <a:pt x="39" y="255"/>
                  </a:lnTo>
                  <a:lnTo>
                    <a:pt x="39" y="259"/>
                  </a:lnTo>
                  <a:lnTo>
                    <a:pt x="35" y="259"/>
                  </a:lnTo>
                  <a:lnTo>
                    <a:pt x="31" y="263"/>
                  </a:lnTo>
                  <a:lnTo>
                    <a:pt x="31" y="259"/>
                  </a:lnTo>
                  <a:lnTo>
                    <a:pt x="27" y="259"/>
                  </a:lnTo>
                  <a:lnTo>
                    <a:pt x="27" y="255"/>
                  </a:lnTo>
                  <a:lnTo>
                    <a:pt x="27" y="259"/>
                  </a:lnTo>
                  <a:lnTo>
                    <a:pt x="23" y="263"/>
                  </a:lnTo>
                  <a:lnTo>
                    <a:pt x="23" y="259"/>
                  </a:lnTo>
                  <a:lnTo>
                    <a:pt x="19" y="259"/>
                  </a:lnTo>
                  <a:lnTo>
                    <a:pt x="15" y="259"/>
                  </a:lnTo>
                  <a:lnTo>
                    <a:pt x="11" y="259"/>
                  </a:lnTo>
                  <a:lnTo>
                    <a:pt x="11" y="263"/>
                  </a:lnTo>
                  <a:lnTo>
                    <a:pt x="7" y="263"/>
                  </a:lnTo>
                  <a:lnTo>
                    <a:pt x="7" y="259"/>
                  </a:lnTo>
                  <a:lnTo>
                    <a:pt x="3" y="259"/>
                  </a:lnTo>
                  <a:lnTo>
                    <a:pt x="7" y="259"/>
                  </a:lnTo>
                  <a:lnTo>
                    <a:pt x="3" y="259"/>
                  </a:lnTo>
                  <a:lnTo>
                    <a:pt x="7" y="255"/>
                  </a:lnTo>
                  <a:lnTo>
                    <a:pt x="11" y="255"/>
                  </a:lnTo>
                  <a:lnTo>
                    <a:pt x="7" y="255"/>
                  </a:lnTo>
                  <a:lnTo>
                    <a:pt x="3" y="255"/>
                  </a:lnTo>
                  <a:lnTo>
                    <a:pt x="7" y="251"/>
                  </a:lnTo>
                  <a:lnTo>
                    <a:pt x="7" y="255"/>
                  </a:lnTo>
                  <a:lnTo>
                    <a:pt x="11" y="255"/>
                  </a:lnTo>
                  <a:lnTo>
                    <a:pt x="15" y="255"/>
                  </a:lnTo>
                  <a:lnTo>
                    <a:pt x="15" y="251"/>
                  </a:lnTo>
                  <a:lnTo>
                    <a:pt x="11" y="251"/>
                  </a:lnTo>
                  <a:lnTo>
                    <a:pt x="11" y="255"/>
                  </a:lnTo>
                  <a:lnTo>
                    <a:pt x="7" y="251"/>
                  </a:lnTo>
                  <a:lnTo>
                    <a:pt x="3" y="251"/>
                  </a:lnTo>
                  <a:lnTo>
                    <a:pt x="7" y="247"/>
                  </a:lnTo>
                  <a:lnTo>
                    <a:pt x="3" y="247"/>
                  </a:lnTo>
                  <a:lnTo>
                    <a:pt x="7" y="244"/>
                  </a:lnTo>
                  <a:lnTo>
                    <a:pt x="11" y="244"/>
                  </a:lnTo>
                  <a:lnTo>
                    <a:pt x="15" y="244"/>
                  </a:lnTo>
                  <a:lnTo>
                    <a:pt x="19" y="244"/>
                  </a:lnTo>
                  <a:lnTo>
                    <a:pt x="23" y="244"/>
                  </a:lnTo>
                  <a:lnTo>
                    <a:pt x="27" y="244"/>
                  </a:lnTo>
                  <a:lnTo>
                    <a:pt x="31" y="244"/>
                  </a:lnTo>
                  <a:lnTo>
                    <a:pt x="27" y="244"/>
                  </a:lnTo>
                  <a:lnTo>
                    <a:pt x="23" y="244"/>
                  </a:lnTo>
                  <a:lnTo>
                    <a:pt x="19" y="244"/>
                  </a:lnTo>
                  <a:lnTo>
                    <a:pt x="15" y="244"/>
                  </a:lnTo>
                  <a:lnTo>
                    <a:pt x="11" y="244"/>
                  </a:lnTo>
                  <a:lnTo>
                    <a:pt x="7" y="244"/>
                  </a:lnTo>
                  <a:lnTo>
                    <a:pt x="3" y="244"/>
                  </a:lnTo>
                  <a:lnTo>
                    <a:pt x="7" y="240"/>
                  </a:lnTo>
                  <a:lnTo>
                    <a:pt x="7" y="236"/>
                  </a:lnTo>
                  <a:lnTo>
                    <a:pt x="3" y="236"/>
                  </a:lnTo>
                  <a:lnTo>
                    <a:pt x="7" y="236"/>
                  </a:lnTo>
                  <a:lnTo>
                    <a:pt x="11" y="240"/>
                  </a:lnTo>
                  <a:lnTo>
                    <a:pt x="11" y="236"/>
                  </a:lnTo>
                  <a:lnTo>
                    <a:pt x="7" y="236"/>
                  </a:lnTo>
                  <a:lnTo>
                    <a:pt x="11" y="236"/>
                  </a:lnTo>
                  <a:lnTo>
                    <a:pt x="15" y="236"/>
                  </a:lnTo>
                  <a:lnTo>
                    <a:pt x="19" y="236"/>
                  </a:lnTo>
                  <a:lnTo>
                    <a:pt x="23" y="240"/>
                  </a:lnTo>
                  <a:lnTo>
                    <a:pt x="19" y="240"/>
                  </a:lnTo>
                  <a:lnTo>
                    <a:pt x="19" y="236"/>
                  </a:lnTo>
                  <a:lnTo>
                    <a:pt x="15" y="236"/>
                  </a:lnTo>
                  <a:lnTo>
                    <a:pt x="19" y="236"/>
                  </a:lnTo>
                  <a:lnTo>
                    <a:pt x="19" y="232"/>
                  </a:lnTo>
                  <a:lnTo>
                    <a:pt x="23" y="232"/>
                  </a:lnTo>
                  <a:lnTo>
                    <a:pt x="27" y="236"/>
                  </a:lnTo>
                  <a:lnTo>
                    <a:pt x="27" y="232"/>
                  </a:lnTo>
                  <a:lnTo>
                    <a:pt x="23" y="232"/>
                  </a:lnTo>
                  <a:lnTo>
                    <a:pt x="27" y="228"/>
                  </a:lnTo>
                  <a:lnTo>
                    <a:pt x="31" y="232"/>
                  </a:lnTo>
                  <a:lnTo>
                    <a:pt x="35" y="232"/>
                  </a:lnTo>
                  <a:lnTo>
                    <a:pt x="35" y="236"/>
                  </a:lnTo>
                  <a:lnTo>
                    <a:pt x="31" y="236"/>
                  </a:lnTo>
                  <a:lnTo>
                    <a:pt x="31" y="240"/>
                  </a:lnTo>
                  <a:lnTo>
                    <a:pt x="35" y="240"/>
                  </a:lnTo>
                  <a:lnTo>
                    <a:pt x="35" y="236"/>
                  </a:lnTo>
                  <a:lnTo>
                    <a:pt x="31" y="236"/>
                  </a:lnTo>
                  <a:lnTo>
                    <a:pt x="35" y="236"/>
                  </a:lnTo>
                  <a:lnTo>
                    <a:pt x="35" y="232"/>
                  </a:lnTo>
                  <a:lnTo>
                    <a:pt x="39" y="232"/>
                  </a:lnTo>
                  <a:lnTo>
                    <a:pt x="39" y="236"/>
                  </a:lnTo>
                  <a:lnTo>
                    <a:pt x="39" y="232"/>
                  </a:lnTo>
                  <a:lnTo>
                    <a:pt x="35" y="232"/>
                  </a:lnTo>
                  <a:lnTo>
                    <a:pt x="31" y="232"/>
                  </a:lnTo>
                  <a:lnTo>
                    <a:pt x="31" y="228"/>
                  </a:lnTo>
                  <a:lnTo>
                    <a:pt x="27" y="228"/>
                  </a:lnTo>
                  <a:lnTo>
                    <a:pt x="23" y="228"/>
                  </a:lnTo>
                  <a:lnTo>
                    <a:pt x="27" y="228"/>
                  </a:lnTo>
                  <a:lnTo>
                    <a:pt x="23" y="228"/>
                  </a:lnTo>
                  <a:lnTo>
                    <a:pt x="23" y="224"/>
                  </a:lnTo>
                  <a:lnTo>
                    <a:pt x="27" y="224"/>
                  </a:lnTo>
                  <a:lnTo>
                    <a:pt x="31" y="224"/>
                  </a:lnTo>
                  <a:lnTo>
                    <a:pt x="35" y="224"/>
                  </a:lnTo>
                  <a:lnTo>
                    <a:pt x="39" y="224"/>
                  </a:lnTo>
                  <a:lnTo>
                    <a:pt x="43" y="228"/>
                  </a:lnTo>
                  <a:lnTo>
                    <a:pt x="43" y="224"/>
                  </a:lnTo>
                  <a:lnTo>
                    <a:pt x="43" y="228"/>
                  </a:lnTo>
                  <a:lnTo>
                    <a:pt x="39" y="228"/>
                  </a:lnTo>
                  <a:lnTo>
                    <a:pt x="39" y="224"/>
                  </a:lnTo>
                  <a:lnTo>
                    <a:pt x="43" y="224"/>
                  </a:lnTo>
                  <a:lnTo>
                    <a:pt x="47" y="224"/>
                  </a:lnTo>
                  <a:lnTo>
                    <a:pt x="47" y="220"/>
                  </a:lnTo>
                  <a:lnTo>
                    <a:pt x="51" y="224"/>
                  </a:lnTo>
                  <a:lnTo>
                    <a:pt x="51" y="220"/>
                  </a:lnTo>
                  <a:lnTo>
                    <a:pt x="47" y="220"/>
                  </a:lnTo>
                  <a:lnTo>
                    <a:pt x="43" y="224"/>
                  </a:lnTo>
                  <a:lnTo>
                    <a:pt x="39" y="224"/>
                  </a:lnTo>
                  <a:lnTo>
                    <a:pt x="39" y="220"/>
                  </a:lnTo>
                  <a:lnTo>
                    <a:pt x="43" y="220"/>
                  </a:lnTo>
                  <a:lnTo>
                    <a:pt x="39" y="220"/>
                  </a:lnTo>
                  <a:lnTo>
                    <a:pt x="35" y="220"/>
                  </a:lnTo>
                  <a:lnTo>
                    <a:pt x="31" y="224"/>
                  </a:lnTo>
                  <a:lnTo>
                    <a:pt x="31" y="220"/>
                  </a:lnTo>
                  <a:lnTo>
                    <a:pt x="35" y="220"/>
                  </a:lnTo>
                  <a:lnTo>
                    <a:pt x="31" y="216"/>
                  </a:lnTo>
                  <a:lnTo>
                    <a:pt x="35" y="216"/>
                  </a:lnTo>
                  <a:lnTo>
                    <a:pt x="39" y="216"/>
                  </a:lnTo>
                  <a:lnTo>
                    <a:pt x="43" y="216"/>
                  </a:lnTo>
                  <a:lnTo>
                    <a:pt x="47" y="216"/>
                  </a:lnTo>
                  <a:lnTo>
                    <a:pt x="43" y="216"/>
                  </a:lnTo>
                  <a:lnTo>
                    <a:pt x="47" y="216"/>
                  </a:lnTo>
                  <a:lnTo>
                    <a:pt x="51" y="216"/>
                  </a:lnTo>
                  <a:lnTo>
                    <a:pt x="51" y="220"/>
                  </a:lnTo>
                  <a:lnTo>
                    <a:pt x="55" y="220"/>
                  </a:lnTo>
                  <a:lnTo>
                    <a:pt x="55" y="224"/>
                  </a:lnTo>
                  <a:lnTo>
                    <a:pt x="59" y="224"/>
                  </a:lnTo>
                  <a:lnTo>
                    <a:pt x="55" y="224"/>
                  </a:lnTo>
                  <a:lnTo>
                    <a:pt x="55" y="220"/>
                  </a:lnTo>
                  <a:lnTo>
                    <a:pt x="51" y="220"/>
                  </a:lnTo>
                  <a:lnTo>
                    <a:pt x="51" y="216"/>
                  </a:lnTo>
                  <a:lnTo>
                    <a:pt x="47" y="216"/>
                  </a:lnTo>
                  <a:lnTo>
                    <a:pt x="47" y="212"/>
                  </a:lnTo>
                  <a:lnTo>
                    <a:pt x="51" y="212"/>
                  </a:lnTo>
                  <a:lnTo>
                    <a:pt x="51" y="216"/>
                  </a:lnTo>
                  <a:lnTo>
                    <a:pt x="55" y="216"/>
                  </a:lnTo>
                  <a:lnTo>
                    <a:pt x="55" y="220"/>
                  </a:lnTo>
                  <a:lnTo>
                    <a:pt x="55" y="216"/>
                  </a:lnTo>
                  <a:lnTo>
                    <a:pt x="59" y="216"/>
                  </a:lnTo>
                  <a:lnTo>
                    <a:pt x="55" y="216"/>
                  </a:lnTo>
                  <a:lnTo>
                    <a:pt x="51" y="216"/>
                  </a:lnTo>
                  <a:lnTo>
                    <a:pt x="51" y="212"/>
                  </a:lnTo>
                  <a:lnTo>
                    <a:pt x="55" y="212"/>
                  </a:lnTo>
                  <a:lnTo>
                    <a:pt x="59" y="212"/>
                  </a:lnTo>
                  <a:lnTo>
                    <a:pt x="63" y="212"/>
                  </a:lnTo>
                  <a:lnTo>
                    <a:pt x="59" y="212"/>
                  </a:lnTo>
                  <a:lnTo>
                    <a:pt x="55" y="208"/>
                  </a:lnTo>
                  <a:lnTo>
                    <a:pt x="59" y="208"/>
                  </a:lnTo>
                  <a:lnTo>
                    <a:pt x="59" y="204"/>
                  </a:lnTo>
                  <a:lnTo>
                    <a:pt x="63" y="204"/>
                  </a:lnTo>
                  <a:lnTo>
                    <a:pt x="67" y="204"/>
                  </a:lnTo>
                  <a:lnTo>
                    <a:pt x="67" y="208"/>
                  </a:lnTo>
                  <a:lnTo>
                    <a:pt x="71" y="208"/>
                  </a:lnTo>
                  <a:lnTo>
                    <a:pt x="71" y="204"/>
                  </a:lnTo>
                  <a:lnTo>
                    <a:pt x="67" y="208"/>
                  </a:lnTo>
                  <a:lnTo>
                    <a:pt x="67" y="204"/>
                  </a:lnTo>
                  <a:lnTo>
                    <a:pt x="67" y="200"/>
                  </a:lnTo>
                  <a:lnTo>
                    <a:pt x="71" y="200"/>
                  </a:lnTo>
                  <a:lnTo>
                    <a:pt x="75" y="200"/>
                  </a:lnTo>
                  <a:lnTo>
                    <a:pt x="79" y="204"/>
                  </a:lnTo>
                  <a:lnTo>
                    <a:pt x="79" y="208"/>
                  </a:lnTo>
                  <a:lnTo>
                    <a:pt x="83" y="208"/>
                  </a:lnTo>
                  <a:lnTo>
                    <a:pt x="79" y="208"/>
                  </a:lnTo>
                  <a:lnTo>
                    <a:pt x="79" y="204"/>
                  </a:lnTo>
                  <a:lnTo>
                    <a:pt x="83" y="204"/>
                  </a:lnTo>
                  <a:lnTo>
                    <a:pt x="87" y="204"/>
                  </a:lnTo>
                  <a:lnTo>
                    <a:pt x="91" y="204"/>
                  </a:lnTo>
                  <a:lnTo>
                    <a:pt x="91" y="200"/>
                  </a:lnTo>
                  <a:lnTo>
                    <a:pt x="87" y="200"/>
                  </a:lnTo>
                  <a:lnTo>
                    <a:pt x="91" y="200"/>
                  </a:lnTo>
                  <a:lnTo>
                    <a:pt x="91" y="196"/>
                  </a:lnTo>
                  <a:lnTo>
                    <a:pt x="95" y="196"/>
                  </a:lnTo>
                  <a:lnTo>
                    <a:pt x="99" y="196"/>
                  </a:lnTo>
                  <a:lnTo>
                    <a:pt x="99" y="192"/>
                  </a:lnTo>
                  <a:lnTo>
                    <a:pt x="95" y="192"/>
                  </a:lnTo>
                  <a:lnTo>
                    <a:pt x="99" y="192"/>
                  </a:lnTo>
                  <a:lnTo>
                    <a:pt x="103" y="188"/>
                  </a:lnTo>
                  <a:lnTo>
                    <a:pt x="99" y="188"/>
                  </a:lnTo>
                  <a:lnTo>
                    <a:pt x="95" y="188"/>
                  </a:lnTo>
                  <a:lnTo>
                    <a:pt x="95" y="192"/>
                  </a:lnTo>
                  <a:lnTo>
                    <a:pt x="91" y="192"/>
                  </a:lnTo>
                  <a:lnTo>
                    <a:pt x="87" y="196"/>
                  </a:lnTo>
                  <a:lnTo>
                    <a:pt x="91" y="192"/>
                  </a:lnTo>
                  <a:lnTo>
                    <a:pt x="95" y="192"/>
                  </a:lnTo>
                  <a:lnTo>
                    <a:pt x="95" y="196"/>
                  </a:lnTo>
                  <a:lnTo>
                    <a:pt x="91" y="196"/>
                  </a:lnTo>
                  <a:lnTo>
                    <a:pt x="87" y="200"/>
                  </a:lnTo>
                  <a:lnTo>
                    <a:pt x="83" y="200"/>
                  </a:lnTo>
                  <a:lnTo>
                    <a:pt x="79" y="204"/>
                  </a:lnTo>
                  <a:lnTo>
                    <a:pt x="75" y="200"/>
                  </a:lnTo>
                  <a:lnTo>
                    <a:pt x="75" y="196"/>
                  </a:lnTo>
                  <a:lnTo>
                    <a:pt x="79" y="196"/>
                  </a:lnTo>
                  <a:lnTo>
                    <a:pt x="75" y="196"/>
                  </a:lnTo>
                  <a:lnTo>
                    <a:pt x="71" y="200"/>
                  </a:lnTo>
                  <a:lnTo>
                    <a:pt x="71" y="196"/>
                  </a:lnTo>
                  <a:lnTo>
                    <a:pt x="75" y="196"/>
                  </a:lnTo>
                  <a:lnTo>
                    <a:pt x="75" y="192"/>
                  </a:lnTo>
                  <a:lnTo>
                    <a:pt x="79" y="192"/>
                  </a:lnTo>
                  <a:lnTo>
                    <a:pt x="83" y="192"/>
                  </a:lnTo>
                  <a:lnTo>
                    <a:pt x="79" y="192"/>
                  </a:lnTo>
                  <a:lnTo>
                    <a:pt x="79" y="188"/>
                  </a:lnTo>
                  <a:lnTo>
                    <a:pt x="83" y="184"/>
                  </a:lnTo>
                  <a:lnTo>
                    <a:pt x="87" y="180"/>
                  </a:lnTo>
                  <a:close/>
                  <a:moveTo>
                    <a:pt x="303" y="4"/>
                  </a:moveTo>
                  <a:lnTo>
                    <a:pt x="303" y="0"/>
                  </a:lnTo>
                  <a:lnTo>
                    <a:pt x="303" y="4"/>
                  </a:lnTo>
                  <a:close/>
                  <a:moveTo>
                    <a:pt x="287" y="16"/>
                  </a:moveTo>
                  <a:lnTo>
                    <a:pt x="287" y="12"/>
                  </a:lnTo>
                  <a:lnTo>
                    <a:pt x="291" y="12"/>
                  </a:lnTo>
                  <a:lnTo>
                    <a:pt x="295" y="16"/>
                  </a:lnTo>
                  <a:lnTo>
                    <a:pt x="291" y="16"/>
                  </a:lnTo>
                  <a:lnTo>
                    <a:pt x="287" y="16"/>
                  </a:lnTo>
                  <a:close/>
                  <a:moveTo>
                    <a:pt x="275" y="24"/>
                  </a:moveTo>
                  <a:lnTo>
                    <a:pt x="271" y="24"/>
                  </a:lnTo>
                  <a:lnTo>
                    <a:pt x="267" y="24"/>
                  </a:lnTo>
                  <a:lnTo>
                    <a:pt x="267" y="20"/>
                  </a:lnTo>
                  <a:lnTo>
                    <a:pt x="271" y="20"/>
                  </a:lnTo>
                  <a:lnTo>
                    <a:pt x="275" y="24"/>
                  </a:lnTo>
                  <a:close/>
                  <a:moveTo>
                    <a:pt x="259" y="24"/>
                  </a:moveTo>
                  <a:lnTo>
                    <a:pt x="255" y="24"/>
                  </a:lnTo>
                  <a:lnTo>
                    <a:pt x="255" y="20"/>
                  </a:lnTo>
                  <a:lnTo>
                    <a:pt x="259" y="20"/>
                  </a:lnTo>
                  <a:lnTo>
                    <a:pt x="259" y="24"/>
                  </a:lnTo>
                  <a:close/>
                  <a:moveTo>
                    <a:pt x="219" y="28"/>
                  </a:moveTo>
                  <a:lnTo>
                    <a:pt x="215" y="28"/>
                  </a:lnTo>
                  <a:lnTo>
                    <a:pt x="219" y="24"/>
                  </a:lnTo>
                  <a:lnTo>
                    <a:pt x="219" y="28"/>
                  </a:lnTo>
                  <a:close/>
                  <a:moveTo>
                    <a:pt x="211" y="32"/>
                  </a:moveTo>
                  <a:lnTo>
                    <a:pt x="211" y="28"/>
                  </a:lnTo>
                  <a:lnTo>
                    <a:pt x="215" y="28"/>
                  </a:lnTo>
                  <a:lnTo>
                    <a:pt x="215" y="32"/>
                  </a:lnTo>
                  <a:lnTo>
                    <a:pt x="211" y="32"/>
                  </a:lnTo>
                  <a:close/>
                  <a:moveTo>
                    <a:pt x="243" y="32"/>
                  </a:moveTo>
                  <a:lnTo>
                    <a:pt x="247" y="32"/>
                  </a:lnTo>
                  <a:lnTo>
                    <a:pt x="243" y="32"/>
                  </a:lnTo>
                  <a:close/>
                  <a:moveTo>
                    <a:pt x="223" y="36"/>
                  </a:moveTo>
                  <a:lnTo>
                    <a:pt x="227" y="32"/>
                  </a:lnTo>
                  <a:lnTo>
                    <a:pt x="231" y="32"/>
                  </a:lnTo>
                  <a:lnTo>
                    <a:pt x="227" y="36"/>
                  </a:lnTo>
                  <a:lnTo>
                    <a:pt x="223" y="36"/>
                  </a:lnTo>
                  <a:close/>
                  <a:moveTo>
                    <a:pt x="378" y="40"/>
                  </a:moveTo>
                  <a:lnTo>
                    <a:pt x="378" y="36"/>
                  </a:lnTo>
                  <a:lnTo>
                    <a:pt x="382" y="36"/>
                  </a:lnTo>
                  <a:lnTo>
                    <a:pt x="378" y="40"/>
                  </a:lnTo>
                  <a:close/>
                  <a:moveTo>
                    <a:pt x="239" y="36"/>
                  </a:moveTo>
                  <a:lnTo>
                    <a:pt x="243" y="36"/>
                  </a:lnTo>
                  <a:lnTo>
                    <a:pt x="239" y="36"/>
                  </a:lnTo>
                  <a:close/>
                  <a:moveTo>
                    <a:pt x="215" y="44"/>
                  </a:moveTo>
                  <a:lnTo>
                    <a:pt x="215" y="40"/>
                  </a:lnTo>
                  <a:lnTo>
                    <a:pt x="215" y="44"/>
                  </a:lnTo>
                  <a:close/>
                  <a:moveTo>
                    <a:pt x="191" y="60"/>
                  </a:moveTo>
                  <a:lnTo>
                    <a:pt x="191" y="56"/>
                  </a:lnTo>
                  <a:lnTo>
                    <a:pt x="195" y="56"/>
                  </a:lnTo>
                  <a:lnTo>
                    <a:pt x="191" y="60"/>
                  </a:lnTo>
                  <a:close/>
                  <a:moveTo>
                    <a:pt x="179" y="64"/>
                  </a:moveTo>
                  <a:lnTo>
                    <a:pt x="175" y="60"/>
                  </a:lnTo>
                  <a:lnTo>
                    <a:pt x="179" y="60"/>
                  </a:lnTo>
                  <a:lnTo>
                    <a:pt x="179" y="64"/>
                  </a:lnTo>
                  <a:close/>
                  <a:moveTo>
                    <a:pt x="187" y="64"/>
                  </a:moveTo>
                  <a:lnTo>
                    <a:pt x="187" y="60"/>
                  </a:lnTo>
                  <a:lnTo>
                    <a:pt x="191" y="60"/>
                  </a:lnTo>
                  <a:lnTo>
                    <a:pt x="191" y="64"/>
                  </a:lnTo>
                  <a:lnTo>
                    <a:pt x="187" y="64"/>
                  </a:lnTo>
                  <a:close/>
                  <a:moveTo>
                    <a:pt x="183" y="68"/>
                  </a:moveTo>
                  <a:lnTo>
                    <a:pt x="183" y="64"/>
                  </a:lnTo>
                  <a:lnTo>
                    <a:pt x="187" y="64"/>
                  </a:lnTo>
                  <a:lnTo>
                    <a:pt x="183" y="64"/>
                  </a:lnTo>
                  <a:lnTo>
                    <a:pt x="183" y="68"/>
                  </a:lnTo>
                  <a:close/>
                  <a:moveTo>
                    <a:pt x="171" y="76"/>
                  </a:moveTo>
                  <a:lnTo>
                    <a:pt x="171" y="72"/>
                  </a:lnTo>
                  <a:lnTo>
                    <a:pt x="175" y="72"/>
                  </a:lnTo>
                  <a:lnTo>
                    <a:pt x="175" y="76"/>
                  </a:lnTo>
                  <a:lnTo>
                    <a:pt x="171" y="76"/>
                  </a:lnTo>
                  <a:close/>
                  <a:moveTo>
                    <a:pt x="143" y="80"/>
                  </a:moveTo>
                  <a:lnTo>
                    <a:pt x="139" y="80"/>
                  </a:lnTo>
                  <a:lnTo>
                    <a:pt x="139" y="76"/>
                  </a:lnTo>
                  <a:lnTo>
                    <a:pt x="143" y="76"/>
                  </a:lnTo>
                  <a:lnTo>
                    <a:pt x="143" y="80"/>
                  </a:lnTo>
                  <a:close/>
                  <a:moveTo>
                    <a:pt x="127" y="88"/>
                  </a:moveTo>
                  <a:lnTo>
                    <a:pt x="127" y="84"/>
                  </a:lnTo>
                  <a:lnTo>
                    <a:pt x="127" y="80"/>
                  </a:lnTo>
                  <a:lnTo>
                    <a:pt x="131" y="80"/>
                  </a:lnTo>
                  <a:lnTo>
                    <a:pt x="131" y="84"/>
                  </a:lnTo>
                  <a:lnTo>
                    <a:pt x="127" y="88"/>
                  </a:lnTo>
                  <a:close/>
                  <a:moveTo>
                    <a:pt x="123" y="92"/>
                  </a:moveTo>
                  <a:lnTo>
                    <a:pt x="123" y="88"/>
                  </a:lnTo>
                  <a:lnTo>
                    <a:pt x="123" y="84"/>
                  </a:lnTo>
                  <a:lnTo>
                    <a:pt x="127" y="84"/>
                  </a:lnTo>
                  <a:lnTo>
                    <a:pt x="127" y="88"/>
                  </a:lnTo>
                  <a:lnTo>
                    <a:pt x="123" y="88"/>
                  </a:lnTo>
                  <a:lnTo>
                    <a:pt x="123" y="92"/>
                  </a:lnTo>
                  <a:close/>
                  <a:moveTo>
                    <a:pt x="163" y="88"/>
                  </a:moveTo>
                  <a:lnTo>
                    <a:pt x="163" y="84"/>
                  </a:lnTo>
                  <a:lnTo>
                    <a:pt x="167" y="84"/>
                  </a:lnTo>
                  <a:lnTo>
                    <a:pt x="167" y="88"/>
                  </a:lnTo>
                  <a:lnTo>
                    <a:pt x="163" y="88"/>
                  </a:lnTo>
                  <a:close/>
                  <a:moveTo>
                    <a:pt x="155" y="88"/>
                  </a:moveTo>
                  <a:lnTo>
                    <a:pt x="159" y="88"/>
                  </a:lnTo>
                  <a:lnTo>
                    <a:pt x="155" y="88"/>
                  </a:lnTo>
                  <a:close/>
                  <a:moveTo>
                    <a:pt x="143" y="112"/>
                  </a:moveTo>
                  <a:lnTo>
                    <a:pt x="139" y="112"/>
                  </a:lnTo>
                  <a:lnTo>
                    <a:pt x="139" y="108"/>
                  </a:lnTo>
                  <a:lnTo>
                    <a:pt x="143" y="108"/>
                  </a:lnTo>
                  <a:lnTo>
                    <a:pt x="143" y="112"/>
                  </a:lnTo>
                  <a:close/>
                  <a:moveTo>
                    <a:pt x="107" y="148"/>
                  </a:moveTo>
                  <a:lnTo>
                    <a:pt x="111" y="148"/>
                  </a:lnTo>
                  <a:lnTo>
                    <a:pt x="107" y="148"/>
                  </a:lnTo>
                  <a:close/>
                  <a:moveTo>
                    <a:pt x="111" y="160"/>
                  </a:moveTo>
                  <a:lnTo>
                    <a:pt x="111" y="156"/>
                  </a:lnTo>
                  <a:lnTo>
                    <a:pt x="111" y="152"/>
                  </a:lnTo>
                  <a:lnTo>
                    <a:pt x="111" y="148"/>
                  </a:lnTo>
                  <a:lnTo>
                    <a:pt x="115" y="148"/>
                  </a:lnTo>
                  <a:lnTo>
                    <a:pt x="115" y="152"/>
                  </a:lnTo>
                  <a:lnTo>
                    <a:pt x="115" y="156"/>
                  </a:lnTo>
                  <a:lnTo>
                    <a:pt x="111" y="156"/>
                  </a:lnTo>
                  <a:lnTo>
                    <a:pt x="111" y="160"/>
                  </a:lnTo>
                  <a:close/>
                  <a:moveTo>
                    <a:pt x="111" y="164"/>
                  </a:moveTo>
                  <a:lnTo>
                    <a:pt x="107" y="164"/>
                  </a:lnTo>
                  <a:lnTo>
                    <a:pt x="111" y="160"/>
                  </a:lnTo>
                  <a:lnTo>
                    <a:pt x="115" y="160"/>
                  </a:lnTo>
                  <a:lnTo>
                    <a:pt x="115" y="164"/>
                  </a:lnTo>
                  <a:lnTo>
                    <a:pt x="111" y="164"/>
                  </a:lnTo>
                  <a:close/>
                  <a:moveTo>
                    <a:pt x="91" y="168"/>
                  </a:moveTo>
                  <a:lnTo>
                    <a:pt x="95" y="164"/>
                  </a:lnTo>
                  <a:lnTo>
                    <a:pt x="91" y="168"/>
                  </a:lnTo>
                  <a:close/>
                  <a:moveTo>
                    <a:pt x="95" y="168"/>
                  </a:moveTo>
                  <a:lnTo>
                    <a:pt x="91" y="168"/>
                  </a:lnTo>
                  <a:lnTo>
                    <a:pt x="95" y="164"/>
                  </a:lnTo>
                  <a:lnTo>
                    <a:pt x="99" y="168"/>
                  </a:lnTo>
                  <a:lnTo>
                    <a:pt x="95" y="168"/>
                  </a:lnTo>
                  <a:close/>
                  <a:moveTo>
                    <a:pt x="99" y="176"/>
                  </a:moveTo>
                  <a:lnTo>
                    <a:pt x="95" y="176"/>
                  </a:lnTo>
                  <a:lnTo>
                    <a:pt x="95" y="172"/>
                  </a:lnTo>
                  <a:lnTo>
                    <a:pt x="99" y="176"/>
                  </a:lnTo>
                  <a:close/>
                  <a:moveTo>
                    <a:pt x="55" y="208"/>
                  </a:moveTo>
                  <a:lnTo>
                    <a:pt x="55" y="204"/>
                  </a:lnTo>
                  <a:lnTo>
                    <a:pt x="59" y="204"/>
                  </a:lnTo>
                  <a:lnTo>
                    <a:pt x="59" y="208"/>
                  </a:lnTo>
                  <a:lnTo>
                    <a:pt x="55" y="208"/>
                  </a:lnTo>
                  <a:close/>
                  <a:moveTo>
                    <a:pt x="55" y="212"/>
                  </a:moveTo>
                  <a:lnTo>
                    <a:pt x="51" y="208"/>
                  </a:lnTo>
                  <a:lnTo>
                    <a:pt x="55" y="208"/>
                  </a:lnTo>
                  <a:lnTo>
                    <a:pt x="59" y="212"/>
                  </a:lnTo>
                  <a:lnTo>
                    <a:pt x="55" y="212"/>
                  </a:lnTo>
                  <a:close/>
                  <a:moveTo>
                    <a:pt x="47" y="212"/>
                  </a:moveTo>
                  <a:lnTo>
                    <a:pt x="51" y="208"/>
                  </a:lnTo>
                  <a:lnTo>
                    <a:pt x="51" y="212"/>
                  </a:lnTo>
                  <a:lnTo>
                    <a:pt x="47" y="212"/>
                  </a:lnTo>
                  <a:close/>
                  <a:moveTo>
                    <a:pt x="47" y="216"/>
                  </a:moveTo>
                  <a:lnTo>
                    <a:pt x="43" y="216"/>
                  </a:lnTo>
                  <a:lnTo>
                    <a:pt x="43" y="212"/>
                  </a:lnTo>
                  <a:lnTo>
                    <a:pt x="47" y="212"/>
                  </a:lnTo>
                  <a:lnTo>
                    <a:pt x="47" y="216"/>
                  </a:lnTo>
                  <a:close/>
                  <a:moveTo>
                    <a:pt x="43" y="216"/>
                  </a:moveTo>
                  <a:lnTo>
                    <a:pt x="39" y="216"/>
                  </a:lnTo>
                  <a:lnTo>
                    <a:pt x="39" y="212"/>
                  </a:lnTo>
                  <a:lnTo>
                    <a:pt x="43" y="212"/>
                  </a:lnTo>
                  <a:lnTo>
                    <a:pt x="43" y="216"/>
                  </a:lnTo>
                  <a:close/>
                  <a:moveTo>
                    <a:pt x="27" y="224"/>
                  </a:moveTo>
                  <a:lnTo>
                    <a:pt x="31" y="220"/>
                  </a:lnTo>
                  <a:lnTo>
                    <a:pt x="31" y="224"/>
                  </a:lnTo>
                  <a:lnTo>
                    <a:pt x="27" y="224"/>
                  </a:lnTo>
                  <a:close/>
                  <a:moveTo>
                    <a:pt x="23" y="232"/>
                  </a:moveTo>
                  <a:lnTo>
                    <a:pt x="19" y="232"/>
                  </a:lnTo>
                  <a:lnTo>
                    <a:pt x="19" y="228"/>
                  </a:lnTo>
                  <a:lnTo>
                    <a:pt x="23" y="228"/>
                  </a:lnTo>
                  <a:lnTo>
                    <a:pt x="23" y="232"/>
                  </a:lnTo>
                  <a:close/>
                  <a:moveTo>
                    <a:pt x="15" y="236"/>
                  </a:moveTo>
                  <a:lnTo>
                    <a:pt x="15" y="232"/>
                  </a:lnTo>
                  <a:lnTo>
                    <a:pt x="15" y="228"/>
                  </a:lnTo>
                  <a:lnTo>
                    <a:pt x="19" y="228"/>
                  </a:lnTo>
                  <a:lnTo>
                    <a:pt x="19" y="232"/>
                  </a:lnTo>
                  <a:lnTo>
                    <a:pt x="15" y="232"/>
                  </a:lnTo>
                  <a:lnTo>
                    <a:pt x="15" y="236"/>
                  </a:lnTo>
                  <a:close/>
                  <a:moveTo>
                    <a:pt x="11" y="236"/>
                  </a:moveTo>
                  <a:lnTo>
                    <a:pt x="11" y="232"/>
                  </a:lnTo>
                  <a:lnTo>
                    <a:pt x="15" y="232"/>
                  </a:lnTo>
                  <a:lnTo>
                    <a:pt x="15" y="236"/>
                  </a:lnTo>
                  <a:lnTo>
                    <a:pt x="11" y="236"/>
                  </a:lnTo>
                  <a:close/>
                  <a:moveTo>
                    <a:pt x="3" y="247"/>
                  </a:moveTo>
                  <a:lnTo>
                    <a:pt x="3" y="244"/>
                  </a:lnTo>
                  <a:lnTo>
                    <a:pt x="0" y="244"/>
                  </a:lnTo>
                  <a:lnTo>
                    <a:pt x="3" y="244"/>
                  </a:lnTo>
                  <a:lnTo>
                    <a:pt x="7" y="244"/>
                  </a:lnTo>
                  <a:lnTo>
                    <a:pt x="3" y="244"/>
                  </a:lnTo>
                  <a:lnTo>
                    <a:pt x="3" y="247"/>
                  </a:lnTo>
                  <a:close/>
                  <a:moveTo>
                    <a:pt x="0" y="263"/>
                  </a:moveTo>
                  <a:lnTo>
                    <a:pt x="0" y="259"/>
                  </a:lnTo>
                  <a:lnTo>
                    <a:pt x="3" y="259"/>
                  </a:lnTo>
                  <a:lnTo>
                    <a:pt x="3" y="263"/>
                  </a:lnTo>
                  <a:lnTo>
                    <a:pt x="0" y="263"/>
                  </a:lnTo>
                  <a:close/>
                  <a:moveTo>
                    <a:pt x="11" y="279"/>
                  </a:moveTo>
                  <a:lnTo>
                    <a:pt x="7" y="275"/>
                  </a:lnTo>
                  <a:lnTo>
                    <a:pt x="11" y="275"/>
                  </a:lnTo>
                  <a:lnTo>
                    <a:pt x="11" y="271"/>
                  </a:lnTo>
                  <a:lnTo>
                    <a:pt x="15" y="271"/>
                  </a:lnTo>
                  <a:lnTo>
                    <a:pt x="15" y="279"/>
                  </a:lnTo>
                  <a:lnTo>
                    <a:pt x="11" y="279"/>
                  </a:lnTo>
                  <a:close/>
                  <a:moveTo>
                    <a:pt x="315" y="8"/>
                  </a:moveTo>
                  <a:lnTo>
                    <a:pt x="311" y="4"/>
                  </a:lnTo>
                  <a:lnTo>
                    <a:pt x="315" y="4"/>
                  </a:lnTo>
                  <a:lnTo>
                    <a:pt x="311" y="4"/>
                  </a:lnTo>
                  <a:lnTo>
                    <a:pt x="315" y="0"/>
                  </a:lnTo>
                  <a:lnTo>
                    <a:pt x="319" y="0"/>
                  </a:lnTo>
                  <a:lnTo>
                    <a:pt x="323" y="0"/>
                  </a:lnTo>
                  <a:lnTo>
                    <a:pt x="323" y="4"/>
                  </a:lnTo>
                  <a:lnTo>
                    <a:pt x="319" y="4"/>
                  </a:lnTo>
                  <a:lnTo>
                    <a:pt x="323" y="4"/>
                  </a:lnTo>
                  <a:lnTo>
                    <a:pt x="319" y="4"/>
                  </a:lnTo>
                  <a:lnTo>
                    <a:pt x="315" y="8"/>
                  </a:lnTo>
                  <a:close/>
                  <a:moveTo>
                    <a:pt x="291" y="8"/>
                  </a:moveTo>
                  <a:lnTo>
                    <a:pt x="291" y="4"/>
                  </a:lnTo>
                  <a:lnTo>
                    <a:pt x="295" y="4"/>
                  </a:lnTo>
                  <a:lnTo>
                    <a:pt x="295" y="8"/>
                  </a:lnTo>
                  <a:lnTo>
                    <a:pt x="291" y="8"/>
                  </a:lnTo>
                  <a:close/>
                  <a:moveTo>
                    <a:pt x="263" y="20"/>
                  </a:moveTo>
                  <a:lnTo>
                    <a:pt x="263" y="16"/>
                  </a:lnTo>
                  <a:lnTo>
                    <a:pt x="259" y="16"/>
                  </a:lnTo>
                  <a:lnTo>
                    <a:pt x="259" y="12"/>
                  </a:lnTo>
                  <a:lnTo>
                    <a:pt x="263" y="12"/>
                  </a:lnTo>
                  <a:lnTo>
                    <a:pt x="263" y="16"/>
                  </a:lnTo>
                  <a:lnTo>
                    <a:pt x="267" y="12"/>
                  </a:lnTo>
                  <a:lnTo>
                    <a:pt x="271" y="12"/>
                  </a:lnTo>
                  <a:lnTo>
                    <a:pt x="271" y="16"/>
                  </a:lnTo>
                  <a:lnTo>
                    <a:pt x="275" y="16"/>
                  </a:lnTo>
                  <a:lnTo>
                    <a:pt x="275" y="12"/>
                  </a:lnTo>
                  <a:lnTo>
                    <a:pt x="271" y="12"/>
                  </a:lnTo>
                  <a:lnTo>
                    <a:pt x="275" y="12"/>
                  </a:lnTo>
                  <a:lnTo>
                    <a:pt x="279" y="12"/>
                  </a:lnTo>
                  <a:lnTo>
                    <a:pt x="283" y="12"/>
                  </a:lnTo>
                  <a:lnTo>
                    <a:pt x="283" y="8"/>
                  </a:lnTo>
                  <a:lnTo>
                    <a:pt x="279" y="8"/>
                  </a:lnTo>
                  <a:lnTo>
                    <a:pt x="283" y="8"/>
                  </a:lnTo>
                  <a:lnTo>
                    <a:pt x="283" y="12"/>
                  </a:lnTo>
                  <a:lnTo>
                    <a:pt x="279" y="12"/>
                  </a:lnTo>
                  <a:lnTo>
                    <a:pt x="279" y="16"/>
                  </a:lnTo>
                  <a:lnTo>
                    <a:pt x="275" y="16"/>
                  </a:lnTo>
                  <a:lnTo>
                    <a:pt x="271" y="16"/>
                  </a:lnTo>
                  <a:lnTo>
                    <a:pt x="267" y="20"/>
                  </a:lnTo>
                  <a:lnTo>
                    <a:pt x="263" y="16"/>
                  </a:lnTo>
                  <a:lnTo>
                    <a:pt x="263" y="20"/>
                  </a:lnTo>
                  <a:close/>
                  <a:moveTo>
                    <a:pt x="279" y="24"/>
                  </a:moveTo>
                  <a:lnTo>
                    <a:pt x="275" y="20"/>
                  </a:lnTo>
                  <a:lnTo>
                    <a:pt x="279" y="16"/>
                  </a:lnTo>
                  <a:lnTo>
                    <a:pt x="283" y="16"/>
                  </a:lnTo>
                  <a:lnTo>
                    <a:pt x="287" y="16"/>
                  </a:lnTo>
                  <a:lnTo>
                    <a:pt x="287" y="20"/>
                  </a:lnTo>
                  <a:lnTo>
                    <a:pt x="283" y="20"/>
                  </a:lnTo>
                  <a:lnTo>
                    <a:pt x="283" y="24"/>
                  </a:lnTo>
                  <a:lnTo>
                    <a:pt x="279" y="24"/>
                  </a:lnTo>
                  <a:close/>
                  <a:moveTo>
                    <a:pt x="231" y="32"/>
                  </a:moveTo>
                  <a:lnTo>
                    <a:pt x="227" y="32"/>
                  </a:lnTo>
                  <a:lnTo>
                    <a:pt x="227" y="28"/>
                  </a:lnTo>
                  <a:lnTo>
                    <a:pt x="227" y="24"/>
                  </a:lnTo>
                  <a:lnTo>
                    <a:pt x="223" y="24"/>
                  </a:lnTo>
                  <a:lnTo>
                    <a:pt x="227" y="24"/>
                  </a:lnTo>
                  <a:lnTo>
                    <a:pt x="227" y="28"/>
                  </a:lnTo>
                  <a:lnTo>
                    <a:pt x="231" y="28"/>
                  </a:lnTo>
                  <a:lnTo>
                    <a:pt x="231" y="32"/>
                  </a:lnTo>
                  <a:close/>
                  <a:moveTo>
                    <a:pt x="239" y="32"/>
                  </a:moveTo>
                  <a:lnTo>
                    <a:pt x="239" y="28"/>
                  </a:lnTo>
                  <a:lnTo>
                    <a:pt x="239" y="32"/>
                  </a:lnTo>
                  <a:lnTo>
                    <a:pt x="239" y="28"/>
                  </a:lnTo>
                  <a:lnTo>
                    <a:pt x="235" y="28"/>
                  </a:lnTo>
                  <a:lnTo>
                    <a:pt x="239" y="28"/>
                  </a:lnTo>
                  <a:lnTo>
                    <a:pt x="239" y="24"/>
                  </a:lnTo>
                  <a:lnTo>
                    <a:pt x="243" y="24"/>
                  </a:lnTo>
                  <a:lnTo>
                    <a:pt x="243" y="28"/>
                  </a:lnTo>
                  <a:lnTo>
                    <a:pt x="243" y="32"/>
                  </a:lnTo>
                  <a:lnTo>
                    <a:pt x="239" y="32"/>
                  </a:lnTo>
                  <a:close/>
                  <a:moveTo>
                    <a:pt x="223" y="28"/>
                  </a:moveTo>
                  <a:lnTo>
                    <a:pt x="219" y="28"/>
                  </a:lnTo>
                  <a:lnTo>
                    <a:pt x="223" y="28"/>
                  </a:lnTo>
                  <a:close/>
                  <a:moveTo>
                    <a:pt x="219" y="36"/>
                  </a:moveTo>
                  <a:lnTo>
                    <a:pt x="215" y="36"/>
                  </a:lnTo>
                  <a:lnTo>
                    <a:pt x="211" y="36"/>
                  </a:lnTo>
                  <a:lnTo>
                    <a:pt x="211" y="32"/>
                  </a:lnTo>
                  <a:lnTo>
                    <a:pt x="215" y="32"/>
                  </a:lnTo>
                  <a:lnTo>
                    <a:pt x="219" y="32"/>
                  </a:lnTo>
                  <a:lnTo>
                    <a:pt x="219" y="28"/>
                  </a:lnTo>
                  <a:lnTo>
                    <a:pt x="219" y="32"/>
                  </a:lnTo>
                  <a:lnTo>
                    <a:pt x="223" y="32"/>
                  </a:lnTo>
                  <a:lnTo>
                    <a:pt x="227" y="32"/>
                  </a:lnTo>
                  <a:lnTo>
                    <a:pt x="223" y="36"/>
                  </a:lnTo>
                  <a:lnTo>
                    <a:pt x="219" y="36"/>
                  </a:lnTo>
                  <a:close/>
                  <a:moveTo>
                    <a:pt x="207" y="40"/>
                  </a:moveTo>
                  <a:lnTo>
                    <a:pt x="211" y="40"/>
                  </a:lnTo>
                  <a:lnTo>
                    <a:pt x="207" y="40"/>
                  </a:lnTo>
                  <a:lnTo>
                    <a:pt x="207" y="36"/>
                  </a:lnTo>
                  <a:lnTo>
                    <a:pt x="207" y="40"/>
                  </a:lnTo>
                  <a:lnTo>
                    <a:pt x="211" y="40"/>
                  </a:lnTo>
                  <a:lnTo>
                    <a:pt x="211" y="36"/>
                  </a:lnTo>
                  <a:lnTo>
                    <a:pt x="215" y="36"/>
                  </a:lnTo>
                  <a:lnTo>
                    <a:pt x="215" y="40"/>
                  </a:lnTo>
                  <a:lnTo>
                    <a:pt x="211" y="40"/>
                  </a:lnTo>
                  <a:lnTo>
                    <a:pt x="211" y="44"/>
                  </a:lnTo>
                  <a:lnTo>
                    <a:pt x="215" y="44"/>
                  </a:lnTo>
                  <a:lnTo>
                    <a:pt x="211" y="44"/>
                  </a:lnTo>
                  <a:lnTo>
                    <a:pt x="207" y="44"/>
                  </a:lnTo>
                  <a:lnTo>
                    <a:pt x="203" y="44"/>
                  </a:lnTo>
                  <a:lnTo>
                    <a:pt x="199" y="44"/>
                  </a:lnTo>
                  <a:lnTo>
                    <a:pt x="203" y="40"/>
                  </a:lnTo>
                  <a:lnTo>
                    <a:pt x="203" y="44"/>
                  </a:lnTo>
                  <a:lnTo>
                    <a:pt x="203" y="40"/>
                  </a:lnTo>
                  <a:lnTo>
                    <a:pt x="207" y="40"/>
                  </a:lnTo>
                  <a:close/>
                  <a:moveTo>
                    <a:pt x="183" y="52"/>
                  </a:moveTo>
                  <a:lnTo>
                    <a:pt x="187" y="52"/>
                  </a:lnTo>
                  <a:lnTo>
                    <a:pt x="183" y="52"/>
                  </a:lnTo>
                  <a:lnTo>
                    <a:pt x="187" y="52"/>
                  </a:lnTo>
                  <a:lnTo>
                    <a:pt x="187" y="48"/>
                  </a:lnTo>
                  <a:lnTo>
                    <a:pt x="183" y="48"/>
                  </a:lnTo>
                  <a:lnTo>
                    <a:pt x="187" y="48"/>
                  </a:lnTo>
                  <a:lnTo>
                    <a:pt x="191" y="48"/>
                  </a:lnTo>
                  <a:lnTo>
                    <a:pt x="187" y="48"/>
                  </a:lnTo>
                  <a:lnTo>
                    <a:pt x="187" y="44"/>
                  </a:lnTo>
                  <a:lnTo>
                    <a:pt x="191" y="48"/>
                  </a:lnTo>
                  <a:lnTo>
                    <a:pt x="191" y="44"/>
                  </a:lnTo>
                  <a:lnTo>
                    <a:pt x="195" y="44"/>
                  </a:lnTo>
                  <a:lnTo>
                    <a:pt x="195" y="48"/>
                  </a:lnTo>
                  <a:lnTo>
                    <a:pt x="195" y="44"/>
                  </a:lnTo>
                  <a:lnTo>
                    <a:pt x="191" y="44"/>
                  </a:lnTo>
                  <a:lnTo>
                    <a:pt x="195" y="44"/>
                  </a:lnTo>
                  <a:lnTo>
                    <a:pt x="199" y="44"/>
                  </a:lnTo>
                  <a:lnTo>
                    <a:pt x="203" y="48"/>
                  </a:lnTo>
                  <a:lnTo>
                    <a:pt x="199" y="48"/>
                  </a:lnTo>
                  <a:lnTo>
                    <a:pt x="199" y="52"/>
                  </a:lnTo>
                  <a:lnTo>
                    <a:pt x="199" y="56"/>
                  </a:lnTo>
                  <a:lnTo>
                    <a:pt x="195" y="56"/>
                  </a:lnTo>
                  <a:lnTo>
                    <a:pt x="191" y="52"/>
                  </a:lnTo>
                  <a:lnTo>
                    <a:pt x="191" y="56"/>
                  </a:lnTo>
                  <a:lnTo>
                    <a:pt x="187" y="56"/>
                  </a:lnTo>
                  <a:lnTo>
                    <a:pt x="187" y="60"/>
                  </a:lnTo>
                  <a:lnTo>
                    <a:pt x="187" y="56"/>
                  </a:lnTo>
                  <a:lnTo>
                    <a:pt x="183" y="56"/>
                  </a:lnTo>
                  <a:lnTo>
                    <a:pt x="187" y="56"/>
                  </a:lnTo>
                  <a:lnTo>
                    <a:pt x="187" y="52"/>
                  </a:lnTo>
                  <a:lnTo>
                    <a:pt x="187" y="56"/>
                  </a:lnTo>
                  <a:lnTo>
                    <a:pt x="183" y="52"/>
                  </a:lnTo>
                  <a:close/>
                  <a:moveTo>
                    <a:pt x="163" y="64"/>
                  </a:moveTo>
                  <a:lnTo>
                    <a:pt x="163" y="60"/>
                  </a:lnTo>
                  <a:lnTo>
                    <a:pt x="163" y="56"/>
                  </a:lnTo>
                  <a:lnTo>
                    <a:pt x="167" y="56"/>
                  </a:lnTo>
                  <a:lnTo>
                    <a:pt x="167" y="52"/>
                  </a:lnTo>
                  <a:lnTo>
                    <a:pt x="171" y="52"/>
                  </a:lnTo>
                  <a:lnTo>
                    <a:pt x="171" y="56"/>
                  </a:lnTo>
                  <a:lnTo>
                    <a:pt x="167" y="56"/>
                  </a:lnTo>
                  <a:lnTo>
                    <a:pt x="167" y="60"/>
                  </a:lnTo>
                  <a:lnTo>
                    <a:pt x="163" y="60"/>
                  </a:lnTo>
                  <a:lnTo>
                    <a:pt x="163" y="64"/>
                  </a:lnTo>
                  <a:close/>
                  <a:moveTo>
                    <a:pt x="147" y="68"/>
                  </a:moveTo>
                  <a:lnTo>
                    <a:pt x="147" y="64"/>
                  </a:lnTo>
                  <a:lnTo>
                    <a:pt x="151" y="64"/>
                  </a:lnTo>
                  <a:lnTo>
                    <a:pt x="155" y="64"/>
                  </a:lnTo>
                  <a:lnTo>
                    <a:pt x="159" y="64"/>
                  </a:lnTo>
                  <a:lnTo>
                    <a:pt x="155" y="64"/>
                  </a:lnTo>
                  <a:lnTo>
                    <a:pt x="155" y="60"/>
                  </a:lnTo>
                  <a:lnTo>
                    <a:pt x="159" y="60"/>
                  </a:lnTo>
                  <a:lnTo>
                    <a:pt x="159" y="64"/>
                  </a:lnTo>
                  <a:lnTo>
                    <a:pt x="159" y="68"/>
                  </a:lnTo>
                  <a:lnTo>
                    <a:pt x="155" y="72"/>
                  </a:lnTo>
                  <a:lnTo>
                    <a:pt x="151" y="72"/>
                  </a:lnTo>
                  <a:lnTo>
                    <a:pt x="151" y="68"/>
                  </a:lnTo>
                  <a:lnTo>
                    <a:pt x="155" y="68"/>
                  </a:lnTo>
                  <a:lnTo>
                    <a:pt x="159" y="68"/>
                  </a:lnTo>
                  <a:lnTo>
                    <a:pt x="155" y="64"/>
                  </a:lnTo>
                  <a:lnTo>
                    <a:pt x="155" y="68"/>
                  </a:lnTo>
                  <a:lnTo>
                    <a:pt x="151" y="68"/>
                  </a:lnTo>
                  <a:lnTo>
                    <a:pt x="147" y="68"/>
                  </a:lnTo>
                  <a:close/>
                  <a:moveTo>
                    <a:pt x="179" y="72"/>
                  </a:moveTo>
                  <a:lnTo>
                    <a:pt x="175" y="72"/>
                  </a:lnTo>
                  <a:lnTo>
                    <a:pt x="171" y="72"/>
                  </a:lnTo>
                  <a:lnTo>
                    <a:pt x="171" y="76"/>
                  </a:lnTo>
                  <a:lnTo>
                    <a:pt x="167" y="76"/>
                  </a:lnTo>
                  <a:lnTo>
                    <a:pt x="163" y="76"/>
                  </a:lnTo>
                  <a:lnTo>
                    <a:pt x="159" y="76"/>
                  </a:lnTo>
                  <a:lnTo>
                    <a:pt x="163" y="76"/>
                  </a:lnTo>
                  <a:lnTo>
                    <a:pt x="163" y="72"/>
                  </a:lnTo>
                  <a:lnTo>
                    <a:pt x="163" y="76"/>
                  </a:lnTo>
                  <a:lnTo>
                    <a:pt x="159" y="76"/>
                  </a:lnTo>
                  <a:lnTo>
                    <a:pt x="155" y="80"/>
                  </a:lnTo>
                  <a:lnTo>
                    <a:pt x="155" y="76"/>
                  </a:lnTo>
                  <a:lnTo>
                    <a:pt x="159" y="72"/>
                  </a:lnTo>
                  <a:lnTo>
                    <a:pt x="163" y="68"/>
                  </a:lnTo>
                  <a:lnTo>
                    <a:pt x="167" y="68"/>
                  </a:lnTo>
                  <a:lnTo>
                    <a:pt x="163" y="68"/>
                  </a:lnTo>
                  <a:lnTo>
                    <a:pt x="163" y="64"/>
                  </a:lnTo>
                  <a:lnTo>
                    <a:pt x="163" y="68"/>
                  </a:lnTo>
                  <a:lnTo>
                    <a:pt x="163" y="64"/>
                  </a:lnTo>
                  <a:lnTo>
                    <a:pt x="163" y="60"/>
                  </a:lnTo>
                  <a:lnTo>
                    <a:pt x="167" y="60"/>
                  </a:lnTo>
                  <a:lnTo>
                    <a:pt x="167" y="64"/>
                  </a:lnTo>
                  <a:lnTo>
                    <a:pt x="171" y="64"/>
                  </a:lnTo>
                  <a:lnTo>
                    <a:pt x="171" y="68"/>
                  </a:lnTo>
                  <a:lnTo>
                    <a:pt x="167" y="68"/>
                  </a:lnTo>
                  <a:lnTo>
                    <a:pt x="167" y="72"/>
                  </a:lnTo>
                  <a:lnTo>
                    <a:pt x="167" y="68"/>
                  </a:lnTo>
                  <a:lnTo>
                    <a:pt x="171" y="68"/>
                  </a:lnTo>
                  <a:lnTo>
                    <a:pt x="171" y="64"/>
                  </a:lnTo>
                  <a:lnTo>
                    <a:pt x="175" y="64"/>
                  </a:lnTo>
                  <a:lnTo>
                    <a:pt x="179" y="64"/>
                  </a:lnTo>
                  <a:lnTo>
                    <a:pt x="179" y="68"/>
                  </a:lnTo>
                  <a:lnTo>
                    <a:pt x="179" y="72"/>
                  </a:lnTo>
                  <a:close/>
                  <a:moveTo>
                    <a:pt x="143" y="80"/>
                  </a:moveTo>
                  <a:lnTo>
                    <a:pt x="143" y="76"/>
                  </a:lnTo>
                  <a:lnTo>
                    <a:pt x="147" y="76"/>
                  </a:lnTo>
                  <a:lnTo>
                    <a:pt x="151" y="76"/>
                  </a:lnTo>
                  <a:lnTo>
                    <a:pt x="155" y="76"/>
                  </a:lnTo>
                  <a:lnTo>
                    <a:pt x="155" y="72"/>
                  </a:lnTo>
                  <a:lnTo>
                    <a:pt x="159" y="72"/>
                  </a:lnTo>
                  <a:lnTo>
                    <a:pt x="155" y="76"/>
                  </a:lnTo>
                  <a:lnTo>
                    <a:pt x="151" y="80"/>
                  </a:lnTo>
                  <a:lnTo>
                    <a:pt x="147" y="80"/>
                  </a:lnTo>
                  <a:lnTo>
                    <a:pt x="143" y="80"/>
                  </a:lnTo>
                  <a:close/>
                  <a:moveTo>
                    <a:pt x="131" y="84"/>
                  </a:moveTo>
                  <a:lnTo>
                    <a:pt x="131" y="80"/>
                  </a:lnTo>
                  <a:lnTo>
                    <a:pt x="135" y="80"/>
                  </a:lnTo>
                  <a:lnTo>
                    <a:pt x="139" y="80"/>
                  </a:lnTo>
                  <a:lnTo>
                    <a:pt x="143" y="80"/>
                  </a:lnTo>
                  <a:lnTo>
                    <a:pt x="139" y="80"/>
                  </a:lnTo>
                  <a:lnTo>
                    <a:pt x="139" y="84"/>
                  </a:lnTo>
                  <a:lnTo>
                    <a:pt x="135" y="84"/>
                  </a:lnTo>
                  <a:lnTo>
                    <a:pt x="131" y="84"/>
                  </a:lnTo>
                  <a:close/>
                  <a:moveTo>
                    <a:pt x="115" y="140"/>
                  </a:moveTo>
                  <a:lnTo>
                    <a:pt x="115" y="136"/>
                  </a:lnTo>
                  <a:lnTo>
                    <a:pt x="115" y="132"/>
                  </a:lnTo>
                  <a:lnTo>
                    <a:pt x="119" y="132"/>
                  </a:lnTo>
                  <a:lnTo>
                    <a:pt x="119" y="136"/>
                  </a:lnTo>
                  <a:lnTo>
                    <a:pt x="115" y="136"/>
                  </a:lnTo>
                  <a:lnTo>
                    <a:pt x="115" y="140"/>
                  </a:lnTo>
                  <a:close/>
                  <a:moveTo>
                    <a:pt x="115" y="140"/>
                  </a:moveTo>
                  <a:lnTo>
                    <a:pt x="119" y="140"/>
                  </a:lnTo>
                  <a:lnTo>
                    <a:pt x="119" y="136"/>
                  </a:lnTo>
                  <a:lnTo>
                    <a:pt x="123" y="136"/>
                  </a:lnTo>
                  <a:lnTo>
                    <a:pt x="123" y="140"/>
                  </a:lnTo>
                  <a:lnTo>
                    <a:pt x="119" y="140"/>
                  </a:lnTo>
                  <a:lnTo>
                    <a:pt x="115" y="140"/>
                  </a:lnTo>
                  <a:close/>
                  <a:moveTo>
                    <a:pt x="55" y="200"/>
                  </a:moveTo>
                  <a:lnTo>
                    <a:pt x="51" y="200"/>
                  </a:lnTo>
                  <a:lnTo>
                    <a:pt x="51" y="196"/>
                  </a:lnTo>
                  <a:lnTo>
                    <a:pt x="55" y="196"/>
                  </a:lnTo>
                  <a:lnTo>
                    <a:pt x="59" y="196"/>
                  </a:lnTo>
                  <a:lnTo>
                    <a:pt x="63" y="196"/>
                  </a:lnTo>
                  <a:lnTo>
                    <a:pt x="59" y="196"/>
                  </a:lnTo>
                  <a:lnTo>
                    <a:pt x="59" y="200"/>
                  </a:lnTo>
                  <a:lnTo>
                    <a:pt x="55" y="200"/>
                  </a:lnTo>
                  <a:close/>
                  <a:moveTo>
                    <a:pt x="55" y="204"/>
                  </a:moveTo>
                  <a:lnTo>
                    <a:pt x="51" y="204"/>
                  </a:lnTo>
                  <a:lnTo>
                    <a:pt x="55" y="204"/>
                  </a:lnTo>
                  <a:lnTo>
                    <a:pt x="55" y="200"/>
                  </a:lnTo>
                  <a:lnTo>
                    <a:pt x="59" y="200"/>
                  </a:lnTo>
                  <a:lnTo>
                    <a:pt x="63" y="200"/>
                  </a:lnTo>
                  <a:lnTo>
                    <a:pt x="67" y="200"/>
                  </a:lnTo>
                  <a:lnTo>
                    <a:pt x="63" y="200"/>
                  </a:lnTo>
                  <a:lnTo>
                    <a:pt x="63" y="204"/>
                  </a:lnTo>
                  <a:lnTo>
                    <a:pt x="59" y="204"/>
                  </a:lnTo>
                  <a:lnTo>
                    <a:pt x="55" y="204"/>
                  </a:lnTo>
                  <a:close/>
                  <a:moveTo>
                    <a:pt x="47" y="208"/>
                  </a:moveTo>
                  <a:lnTo>
                    <a:pt x="47" y="204"/>
                  </a:lnTo>
                  <a:lnTo>
                    <a:pt x="51" y="204"/>
                  </a:lnTo>
                  <a:lnTo>
                    <a:pt x="51" y="208"/>
                  </a:lnTo>
                  <a:lnTo>
                    <a:pt x="47" y="208"/>
                  </a:lnTo>
                  <a:close/>
                  <a:moveTo>
                    <a:pt x="7" y="275"/>
                  </a:moveTo>
                  <a:lnTo>
                    <a:pt x="3" y="275"/>
                  </a:lnTo>
                  <a:lnTo>
                    <a:pt x="3" y="271"/>
                  </a:lnTo>
                  <a:lnTo>
                    <a:pt x="0" y="271"/>
                  </a:lnTo>
                  <a:lnTo>
                    <a:pt x="3" y="271"/>
                  </a:lnTo>
                  <a:lnTo>
                    <a:pt x="3" y="275"/>
                  </a:lnTo>
                  <a:lnTo>
                    <a:pt x="7" y="275"/>
                  </a:lnTo>
                  <a:close/>
                  <a:moveTo>
                    <a:pt x="7" y="275"/>
                  </a:moveTo>
                  <a:lnTo>
                    <a:pt x="3" y="275"/>
                  </a:lnTo>
                  <a:lnTo>
                    <a:pt x="7" y="275"/>
                  </a:lnTo>
                  <a:close/>
                  <a:moveTo>
                    <a:pt x="7" y="279"/>
                  </a:moveTo>
                  <a:lnTo>
                    <a:pt x="3" y="279"/>
                  </a:lnTo>
                  <a:lnTo>
                    <a:pt x="3" y="275"/>
                  </a:lnTo>
                  <a:lnTo>
                    <a:pt x="7" y="275"/>
                  </a:lnTo>
                  <a:lnTo>
                    <a:pt x="7" y="279"/>
                  </a:lnTo>
                  <a:close/>
                  <a:moveTo>
                    <a:pt x="3" y="283"/>
                  </a:moveTo>
                  <a:lnTo>
                    <a:pt x="3" y="279"/>
                  </a:lnTo>
                  <a:lnTo>
                    <a:pt x="3" y="283"/>
                  </a:lnTo>
                  <a:close/>
                  <a:moveTo>
                    <a:pt x="11" y="291"/>
                  </a:moveTo>
                  <a:lnTo>
                    <a:pt x="7" y="291"/>
                  </a:lnTo>
                  <a:lnTo>
                    <a:pt x="11" y="287"/>
                  </a:lnTo>
                  <a:lnTo>
                    <a:pt x="11" y="291"/>
                  </a:lnTo>
                  <a:close/>
                  <a:moveTo>
                    <a:pt x="7" y="295"/>
                  </a:moveTo>
                  <a:lnTo>
                    <a:pt x="7" y="291"/>
                  </a:lnTo>
                  <a:lnTo>
                    <a:pt x="11" y="291"/>
                  </a:lnTo>
                  <a:lnTo>
                    <a:pt x="11" y="295"/>
                  </a:lnTo>
                  <a:lnTo>
                    <a:pt x="7" y="295"/>
                  </a:lnTo>
                  <a:close/>
                  <a:moveTo>
                    <a:pt x="7" y="299"/>
                  </a:moveTo>
                  <a:lnTo>
                    <a:pt x="3" y="299"/>
                  </a:lnTo>
                  <a:lnTo>
                    <a:pt x="3" y="295"/>
                  </a:lnTo>
                  <a:lnTo>
                    <a:pt x="3" y="291"/>
                  </a:lnTo>
                  <a:lnTo>
                    <a:pt x="7" y="291"/>
                  </a:lnTo>
                  <a:lnTo>
                    <a:pt x="7" y="295"/>
                  </a:lnTo>
                  <a:lnTo>
                    <a:pt x="7" y="299"/>
                  </a:lnTo>
                  <a:close/>
                  <a:moveTo>
                    <a:pt x="7" y="311"/>
                  </a:moveTo>
                  <a:lnTo>
                    <a:pt x="3" y="307"/>
                  </a:lnTo>
                  <a:lnTo>
                    <a:pt x="7" y="307"/>
                  </a:lnTo>
                  <a:lnTo>
                    <a:pt x="7" y="303"/>
                  </a:lnTo>
                  <a:lnTo>
                    <a:pt x="7" y="307"/>
                  </a:lnTo>
                  <a:lnTo>
                    <a:pt x="7" y="31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0" name="Freeform 107"/>
            <p:cNvSpPr>
              <a:spLocks/>
            </p:cNvSpPr>
            <p:nvPr>
              <p:custDataLst>
                <p:tags r:id="rId303"/>
              </p:custDataLst>
            </p:nvPr>
          </p:nvSpPr>
          <p:spPr bwMode="gray">
            <a:xfrm>
              <a:off x="4694920" y="2982381"/>
              <a:ext cx="225426" cy="195764"/>
            </a:xfrm>
            <a:custGeom>
              <a:avLst/>
              <a:gdLst/>
              <a:ahLst/>
              <a:cxnLst>
                <a:cxn ang="0">
                  <a:pos x="128" y="128"/>
                </a:cxn>
                <a:cxn ang="0">
                  <a:pos x="124" y="132"/>
                </a:cxn>
                <a:cxn ang="0">
                  <a:pos x="112" y="124"/>
                </a:cxn>
                <a:cxn ang="0">
                  <a:pos x="104" y="128"/>
                </a:cxn>
                <a:cxn ang="0">
                  <a:pos x="96" y="124"/>
                </a:cxn>
                <a:cxn ang="0">
                  <a:pos x="84" y="128"/>
                </a:cxn>
                <a:cxn ang="0">
                  <a:pos x="80" y="120"/>
                </a:cxn>
                <a:cxn ang="0">
                  <a:pos x="72" y="124"/>
                </a:cxn>
                <a:cxn ang="0">
                  <a:pos x="68" y="116"/>
                </a:cxn>
                <a:cxn ang="0">
                  <a:pos x="60" y="112"/>
                </a:cxn>
                <a:cxn ang="0">
                  <a:pos x="52" y="108"/>
                </a:cxn>
                <a:cxn ang="0">
                  <a:pos x="44" y="104"/>
                </a:cxn>
                <a:cxn ang="0">
                  <a:pos x="40" y="104"/>
                </a:cxn>
                <a:cxn ang="0">
                  <a:pos x="40" y="108"/>
                </a:cxn>
                <a:cxn ang="0">
                  <a:pos x="32" y="104"/>
                </a:cxn>
                <a:cxn ang="0">
                  <a:pos x="28" y="96"/>
                </a:cxn>
                <a:cxn ang="0">
                  <a:pos x="16" y="92"/>
                </a:cxn>
                <a:cxn ang="0">
                  <a:pos x="12" y="92"/>
                </a:cxn>
                <a:cxn ang="0">
                  <a:pos x="12" y="84"/>
                </a:cxn>
                <a:cxn ang="0">
                  <a:pos x="8" y="76"/>
                </a:cxn>
                <a:cxn ang="0">
                  <a:pos x="8" y="68"/>
                </a:cxn>
                <a:cxn ang="0">
                  <a:pos x="4" y="60"/>
                </a:cxn>
                <a:cxn ang="0">
                  <a:pos x="8" y="52"/>
                </a:cxn>
                <a:cxn ang="0">
                  <a:pos x="0" y="48"/>
                </a:cxn>
                <a:cxn ang="0">
                  <a:pos x="4" y="36"/>
                </a:cxn>
                <a:cxn ang="0">
                  <a:pos x="4" y="28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16" y="16"/>
                </a:cxn>
                <a:cxn ang="0">
                  <a:pos x="28" y="16"/>
                </a:cxn>
                <a:cxn ang="0">
                  <a:pos x="36" y="8"/>
                </a:cxn>
                <a:cxn ang="0">
                  <a:pos x="48" y="4"/>
                </a:cxn>
                <a:cxn ang="0">
                  <a:pos x="56" y="0"/>
                </a:cxn>
                <a:cxn ang="0">
                  <a:pos x="68" y="4"/>
                </a:cxn>
                <a:cxn ang="0">
                  <a:pos x="64" y="4"/>
                </a:cxn>
                <a:cxn ang="0">
                  <a:pos x="72" y="12"/>
                </a:cxn>
                <a:cxn ang="0">
                  <a:pos x="80" y="8"/>
                </a:cxn>
                <a:cxn ang="0">
                  <a:pos x="80" y="12"/>
                </a:cxn>
                <a:cxn ang="0">
                  <a:pos x="84" y="12"/>
                </a:cxn>
                <a:cxn ang="0">
                  <a:pos x="96" y="12"/>
                </a:cxn>
                <a:cxn ang="0">
                  <a:pos x="108" y="12"/>
                </a:cxn>
                <a:cxn ang="0">
                  <a:pos x="120" y="12"/>
                </a:cxn>
                <a:cxn ang="0">
                  <a:pos x="132" y="12"/>
                </a:cxn>
                <a:cxn ang="0">
                  <a:pos x="140" y="20"/>
                </a:cxn>
                <a:cxn ang="0">
                  <a:pos x="144" y="28"/>
                </a:cxn>
                <a:cxn ang="0">
                  <a:pos x="148" y="40"/>
                </a:cxn>
                <a:cxn ang="0">
                  <a:pos x="148" y="52"/>
                </a:cxn>
                <a:cxn ang="0">
                  <a:pos x="140" y="56"/>
                </a:cxn>
                <a:cxn ang="0">
                  <a:pos x="140" y="60"/>
                </a:cxn>
                <a:cxn ang="0">
                  <a:pos x="140" y="72"/>
                </a:cxn>
                <a:cxn ang="0">
                  <a:pos x="144" y="80"/>
                </a:cxn>
                <a:cxn ang="0">
                  <a:pos x="148" y="92"/>
                </a:cxn>
                <a:cxn ang="0">
                  <a:pos x="148" y="96"/>
                </a:cxn>
                <a:cxn ang="0">
                  <a:pos x="144" y="100"/>
                </a:cxn>
                <a:cxn ang="0">
                  <a:pos x="140" y="108"/>
                </a:cxn>
                <a:cxn ang="0">
                  <a:pos x="128" y="120"/>
                </a:cxn>
              </a:cxnLst>
              <a:rect l="0" t="0" r="r" b="b"/>
              <a:pathLst>
                <a:path w="152" h="132">
                  <a:moveTo>
                    <a:pt x="128" y="120"/>
                  </a:moveTo>
                  <a:lnTo>
                    <a:pt x="128" y="124"/>
                  </a:lnTo>
                  <a:lnTo>
                    <a:pt x="128" y="128"/>
                  </a:lnTo>
                  <a:lnTo>
                    <a:pt x="132" y="132"/>
                  </a:lnTo>
                  <a:lnTo>
                    <a:pt x="128" y="132"/>
                  </a:lnTo>
                  <a:lnTo>
                    <a:pt x="124" y="132"/>
                  </a:lnTo>
                  <a:lnTo>
                    <a:pt x="120" y="128"/>
                  </a:lnTo>
                  <a:lnTo>
                    <a:pt x="116" y="124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4" y="124"/>
                  </a:lnTo>
                  <a:lnTo>
                    <a:pt x="104" y="128"/>
                  </a:lnTo>
                  <a:lnTo>
                    <a:pt x="100" y="128"/>
                  </a:lnTo>
                  <a:lnTo>
                    <a:pt x="100" y="124"/>
                  </a:lnTo>
                  <a:lnTo>
                    <a:pt x="96" y="124"/>
                  </a:lnTo>
                  <a:lnTo>
                    <a:pt x="92" y="124"/>
                  </a:lnTo>
                  <a:lnTo>
                    <a:pt x="88" y="128"/>
                  </a:lnTo>
                  <a:lnTo>
                    <a:pt x="84" y="128"/>
                  </a:lnTo>
                  <a:lnTo>
                    <a:pt x="84" y="124"/>
                  </a:lnTo>
                  <a:lnTo>
                    <a:pt x="80" y="124"/>
                  </a:lnTo>
                  <a:lnTo>
                    <a:pt x="80" y="120"/>
                  </a:lnTo>
                  <a:lnTo>
                    <a:pt x="76" y="120"/>
                  </a:lnTo>
                  <a:lnTo>
                    <a:pt x="76" y="124"/>
                  </a:lnTo>
                  <a:lnTo>
                    <a:pt x="72" y="124"/>
                  </a:lnTo>
                  <a:lnTo>
                    <a:pt x="72" y="120"/>
                  </a:lnTo>
                  <a:lnTo>
                    <a:pt x="68" y="120"/>
                  </a:lnTo>
                  <a:lnTo>
                    <a:pt x="68" y="116"/>
                  </a:lnTo>
                  <a:lnTo>
                    <a:pt x="68" y="112"/>
                  </a:lnTo>
                  <a:lnTo>
                    <a:pt x="64" y="112"/>
                  </a:lnTo>
                  <a:lnTo>
                    <a:pt x="60" y="112"/>
                  </a:lnTo>
                  <a:lnTo>
                    <a:pt x="60" y="108"/>
                  </a:lnTo>
                  <a:lnTo>
                    <a:pt x="56" y="112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4" y="100"/>
                  </a:lnTo>
                  <a:lnTo>
                    <a:pt x="40" y="100"/>
                  </a:lnTo>
                  <a:lnTo>
                    <a:pt x="40" y="104"/>
                  </a:lnTo>
                  <a:lnTo>
                    <a:pt x="44" y="108"/>
                  </a:lnTo>
                  <a:lnTo>
                    <a:pt x="40" y="104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4"/>
                  </a:lnTo>
                  <a:lnTo>
                    <a:pt x="32" y="104"/>
                  </a:lnTo>
                  <a:lnTo>
                    <a:pt x="32" y="100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92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92"/>
                  </a:lnTo>
                  <a:lnTo>
                    <a:pt x="8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4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4" y="12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2"/>
                  </a:lnTo>
                  <a:lnTo>
                    <a:pt x="140" y="16"/>
                  </a:lnTo>
                  <a:lnTo>
                    <a:pt x="140" y="20"/>
                  </a:lnTo>
                  <a:lnTo>
                    <a:pt x="140" y="24"/>
                  </a:lnTo>
                  <a:lnTo>
                    <a:pt x="140" y="28"/>
                  </a:lnTo>
                  <a:lnTo>
                    <a:pt x="144" y="28"/>
                  </a:lnTo>
                  <a:lnTo>
                    <a:pt x="144" y="32"/>
                  </a:lnTo>
                  <a:lnTo>
                    <a:pt x="144" y="36"/>
                  </a:lnTo>
                  <a:lnTo>
                    <a:pt x="148" y="40"/>
                  </a:lnTo>
                  <a:lnTo>
                    <a:pt x="148" y="44"/>
                  </a:lnTo>
                  <a:lnTo>
                    <a:pt x="148" y="48"/>
                  </a:lnTo>
                  <a:lnTo>
                    <a:pt x="148" y="52"/>
                  </a:lnTo>
                  <a:lnTo>
                    <a:pt x="144" y="52"/>
                  </a:lnTo>
                  <a:lnTo>
                    <a:pt x="140" y="52"/>
                  </a:lnTo>
                  <a:lnTo>
                    <a:pt x="140" y="56"/>
                  </a:lnTo>
                  <a:lnTo>
                    <a:pt x="136" y="56"/>
                  </a:lnTo>
                  <a:lnTo>
                    <a:pt x="136" y="60"/>
                  </a:lnTo>
                  <a:lnTo>
                    <a:pt x="140" y="60"/>
                  </a:lnTo>
                  <a:lnTo>
                    <a:pt x="144" y="64"/>
                  </a:lnTo>
                  <a:lnTo>
                    <a:pt x="144" y="68"/>
                  </a:lnTo>
                  <a:lnTo>
                    <a:pt x="140" y="72"/>
                  </a:lnTo>
                  <a:lnTo>
                    <a:pt x="140" y="76"/>
                  </a:lnTo>
                  <a:lnTo>
                    <a:pt x="144" y="76"/>
                  </a:lnTo>
                  <a:lnTo>
                    <a:pt x="144" y="80"/>
                  </a:lnTo>
                  <a:lnTo>
                    <a:pt x="144" y="84"/>
                  </a:lnTo>
                  <a:lnTo>
                    <a:pt x="148" y="88"/>
                  </a:lnTo>
                  <a:lnTo>
                    <a:pt x="148" y="92"/>
                  </a:lnTo>
                  <a:lnTo>
                    <a:pt x="152" y="92"/>
                  </a:lnTo>
                  <a:lnTo>
                    <a:pt x="148" y="92"/>
                  </a:lnTo>
                  <a:lnTo>
                    <a:pt x="148" y="96"/>
                  </a:lnTo>
                  <a:lnTo>
                    <a:pt x="152" y="100"/>
                  </a:lnTo>
                  <a:lnTo>
                    <a:pt x="148" y="100"/>
                  </a:lnTo>
                  <a:lnTo>
                    <a:pt x="144" y="100"/>
                  </a:lnTo>
                  <a:lnTo>
                    <a:pt x="144" y="104"/>
                  </a:lnTo>
                  <a:lnTo>
                    <a:pt x="140" y="104"/>
                  </a:lnTo>
                  <a:lnTo>
                    <a:pt x="140" y="108"/>
                  </a:lnTo>
                  <a:lnTo>
                    <a:pt x="136" y="108"/>
                  </a:lnTo>
                  <a:lnTo>
                    <a:pt x="136" y="112"/>
                  </a:lnTo>
                  <a:lnTo>
                    <a:pt x="128" y="1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1" name="Freeform 108"/>
            <p:cNvSpPr>
              <a:spLocks/>
            </p:cNvSpPr>
            <p:nvPr>
              <p:custDataLst>
                <p:tags r:id="rId304"/>
              </p:custDataLst>
            </p:nvPr>
          </p:nvSpPr>
          <p:spPr bwMode="gray">
            <a:xfrm>
              <a:off x="4831362" y="3201875"/>
              <a:ext cx="212078" cy="148306"/>
            </a:xfrm>
            <a:custGeom>
              <a:avLst/>
              <a:gdLst/>
              <a:ahLst/>
              <a:cxnLst>
                <a:cxn ang="0">
                  <a:pos x="60" y="100"/>
                </a:cxn>
                <a:cxn ang="0">
                  <a:pos x="48" y="96"/>
                </a:cxn>
                <a:cxn ang="0">
                  <a:pos x="44" y="96"/>
                </a:cxn>
                <a:cxn ang="0">
                  <a:pos x="40" y="92"/>
                </a:cxn>
                <a:cxn ang="0">
                  <a:pos x="40" y="92"/>
                </a:cxn>
                <a:cxn ang="0">
                  <a:pos x="36" y="88"/>
                </a:cxn>
                <a:cxn ang="0">
                  <a:pos x="36" y="84"/>
                </a:cxn>
                <a:cxn ang="0">
                  <a:pos x="36" y="80"/>
                </a:cxn>
                <a:cxn ang="0">
                  <a:pos x="28" y="80"/>
                </a:cxn>
                <a:cxn ang="0">
                  <a:pos x="24" y="80"/>
                </a:cxn>
                <a:cxn ang="0">
                  <a:pos x="20" y="76"/>
                </a:cxn>
                <a:cxn ang="0">
                  <a:pos x="20" y="76"/>
                </a:cxn>
                <a:cxn ang="0">
                  <a:pos x="16" y="72"/>
                </a:cxn>
                <a:cxn ang="0">
                  <a:pos x="16" y="68"/>
                </a:cxn>
                <a:cxn ang="0">
                  <a:pos x="8" y="56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16" y="36"/>
                </a:cxn>
                <a:cxn ang="0">
                  <a:pos x="20" y="32"/>
                </a:cxn>
                <a:cxn ang="0">
                  <a:pos x="24" y="24"/>
                </a:cxn>
                <a:cxn ang="0">
                  <a:pos x="28" y="20"/>
                </a:cxn>
                <a:cxn ang="0">
                  <a:pos x="28" y="16"/>
                </a:cxn>
                <a:cxn ang="0">
                  <a:pos x="36" y="12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56" y="8"/>
                </a:cxn>
                <a:cxn ang="0">
                  <a:pos x="64" y="8"/>
                </a:cxn>
                <a:cxn ang="0">
                  <a:pos x="68" y="12"/>
                </a:cxn>
                <a:cxn ang="0">
                  <a:pos x="72" y="12"/>
                </a:cxn>
                <a:cxn ang="0">
                  <a:pos x="76" y="8"/>
                </a:cxn>
                <a:cxn ang="0">
                  <a:pos x="84" y="8"/>
                </a:cxn>
                <a:cxn ang="0">
                  <a:pos x="92" y="4"/>
                </a:cxn>
                <a:cxn ang="0">
                  <a:pos x="100" y="4"/>
                </a:cxn>
                <a:cxn ang="0">
                  <a:pos x="108" y="16"/>
                </a:cxn>
                <a:cxn ang="0">
                  <a:pos x="112" y="24"/>
                </a:cxn>
                <a:cxn ang="0">
                  <a:pos x="119" y="32"/>
                </a:cxn>
                <a:cxn ang="0">
                  <a:pos x="119" y="40"/>
                </a:cxn>
                <a:cxn ang="0">
                  <a:pos x="119" y="56"/>
                </a:cxn>
                <a:cxn ang="0">
                  <a:pos x="119" y="64"/>
                </a:cxn>
                <a:cxn ang="0">
                  <a:pos x="127" y="68"/>
                </a:cxn>
                <a:cxn ang="0">
                  <a:pos x="139" y="64"/>
                </a:cxn>
                <a:cxn ang="0">
                  <a:pos x="139" y="68"/>
                </a:cxn>
                <a:cxn ang="0">
                  <a:pos x="135" y="76"/>
                </a:cxn>
                <a:cxn ang="0">
                  <a:pos x="131" y="72"/>
                </a:cxn>
                <a:cxn ang="0">
                  <a:pos x="131" y="76"/>
                </a:cxn>
                <a:cxn ang="0">
                  <a:pos x="131" y="80"/>
                </a:cxn>
                <a:cxn ang="0">
                  <a:pos x="131" y="80"/>
                </a:cxn>
                <a:cxn ang="0">
                  <a:pos x="131" y="84"/>
                </a:cxn>
                <a:cxn ang="0">
                  <a:pos x="127" y="92"/>
                </a:cxn>
                <a:cxn ang="0">
                  <a:pos x="123" y="100"/>
                </a:cxn>
                <a:cxn ang="0">
                  <a:pos x="116" y="96"/>
                </a:cxn>
                <a:cxn ang="0">
                  <a:pos x="112" y="92"/>
                </a:cxn>
                <a:cxn ang="0">
                  <a:pos x="104" y="92"/>
                </a:cxn>
                <a:cxn ang="0">
                  <a:pos x="100" y="92"/>
                </a:cxn>
                <a:cxn ang="0">
                  <a:pos x="92" y="92"/>
                </a:cxn>
                <a:cxn ang="0">
                  <a:pos x="84" y="100"/>
                </a:cxn>
                <a:cxn ang="0">
                  <a:pos x="76" y="100"/>
                </a:cxn>
                <a:cxn ang="0">
                  <a:pos x="64" y="100"/>
                </a:cxn>
                <a:cxn ang="0">
                  <a:pos x="60" y="100"/>
                </a:cxn>
              </a:cxnLst>
              <a:rect l="0" t="0" r="r" b="b"/>
              <a:pathLst>
                <a:path w="143" h="100">
                  <a:moveTo>
                    <a:pt x="60" y="100"/>
                  </a:move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4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6" y="12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8" y="20"/>
                  </a:lnTo>
                  <a:lnTo>
                    <a:pt x="112" y="20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9" y="28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36"/>
                  </a:lnTo>
                  <a:lnTo>
                    <a:pt x="119" y="40"/>
                  </a:lnTo>
                  <a:lnTo>
                    <a:pt x="119" y="44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9" y="48"/>
                  </a:lnTo>
                  <a:lnTo>
                    <a:pt x="119" y="52"/>
                  </a:lnTo>
                  <a:lnTo>
                    <a:pt x="119" y="52"/>
                  </a:lnTo>
                  <a:lnTo>
                    <a:pt x="119" y="52"/>
                  </a:lnTo>
                  <a:lnTo>
                    <a:pt x="119" y="56"/>
                  </a:lnTo>
                  <a:lnTo>
                    <a:pt x="119" y="56"/>
                  </a:lnTo>
                  <a:lnTo>
                    <a:pt x="119" y="60"/>
                  </a:lnTo>
                  <a:lnTo>
                    <a:pt x="119" y="60"/>
                  </a:lnTo>
                  <a:lnTo>
                    <a:pt x="119" y="60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19" y="64"/>
                  </a:lnTo>
                  <a:lnTo>
                    <a:pt x="123" y="64"/>
                  </a:lnTo>
                  <a:lnTo>
                    <a:pt x="123" y="64"/>
                  </a:lnTo>
                  <a:lnTo>
                    <a:pt x="123" y="68"/>
                  </a:lnTo>
                  <a:lnTo>
                    <a:pt x="127" y="68"/>
                  </a:lnTo>
                  <a:lnTo>
                    <a:pt x="127" y="68"/>
                  </a:lnTo>
                  <a:lnTo>
                    <a:pt x="127" y="64"/>
                  </a:lnTo>
                  <a:lnTo>
                    <a:pt x="131" y="64"/>
                  </a:lnTo>
                  <a:lnTo>
                    <a:pt x="135" y="64"/>
                  </a:lnTo>
                  <a:lnTo>
                    <a:pt x="135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39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43" y="68"/>
                  </a:lnTo>
                  <a:lnTo>
                    <a:pt x="143" y="68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43" y="68"/>
                  </a:lnTo>
                  <a:lnTo>
                    <a:pt x="139" y="72"/>
                  </a:lnTo>
                  <a:lnTo>
                    <a:pt x="139" y="76"/>
                  </a:lnTo>
                  <a:lnTo>
                    <a:pt x="139" y="76"/>
                  </a:lnTo>
                  <a:lnTo>
                    <a:pt x="139" y="76"/>
                  </a:lnTo>
                  <a:lnTo>
                    <a:pt x="139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2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31" y="76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0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31" y="80"/>
                  </a:lnTo>
                  <a:lnTo>
                    <a:pt x="131" y="80"/>
                  </a:lnTo>
                  <a:lnTo>
                    <a:pt x="131" y="84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7" y="84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7" y="92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7" y="96"/>
                  </a:lnTo>
                  <a:lnTo>
                    <a:pt x="123" y="96"/>
                  </a:lnTo>
                  <a:lnTo>
                    <a:pt x="123" y="100"/>
                  </a:lnTo>
                  <a:lnTo>
                    <a:pt x="123" y="100"/>
                  </a:lnTo>
                  <a:lnTo>
                    <a:pt x="123" y="100"/>
                  </a:lnTo>
                  <a:lnTo>
                    <a:pt x="123" y="100"/>
                  </a:lnTo>
                  <a:lnTo>
                    <a:pt x="119" y="100"/>
                  </a:lnTo>
                  <a:lnTo>
                    <a:pt x="119" y="100"/>
                  </a:lnTo>
                  <a:lnTo>
                    <a:pt x="119" y="100"/>
                  </a:lnTo>
                  <a:lnTo>
                    <a:pt x="119" y="96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6" y="92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6" y="96"/>
                  </a:lnTo>
                  <a:lnTo>
                    <a:pt x="112" y="96"/>
                  </a:lnTo>
                  <a:lnTo>
                    <a:pt x="112" y="96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08" y="92"/>
                  </a:lnTo>
                  <a:lnTo>
                    <a:pt x="108" y="92"/>
                  </a:lnTo>
                  <a:lnTo>
                    <a:pt x="108" y="92"/>
                  </a:lnTo>
                  <a:lnTo>
                    <a:pt x="108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96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80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2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1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2" name="Freeform 109"/>
            <p:cNvSpPr>
              <a:spLocks/>
            </p:cNvSpPr>
            <p:nvPr>
              <p:custDataLst>
                <p:tags r:id="rId305"/>
              </p:custDataLst>
            </p:nvPr>
          </p:nvSpPr>
          <p:spPr bwMode="gray">
            <a:xfrm>
              <a:off x="4789836" y="3273062"/>
              <a:ext cx="100848" cy="134958"/>
            </a:xfrm>
            <a:custGeom>
              <a:avLst/>
              <a:gdLst/>
              <a:ahLst/>
              <a:cxnLst>
                <a:cxn ang="0">
                  <a:pos x="0" y="72"/>
                </a:cxn>
                <a:cxn ang="0">
                  <a:pos x="0" y="68"/>
                </a:cxn>
                <a:cxn ang="0">
                  <a:pos x="4" y="64"/>
                </a:cxn>
                <a:cxn ang="0">
                  <a:pos x="8" y="60"/>
                </a:cxn>
                <a:cxn ang="0">
                  <a:pos x="8" y="56"/>
                </a:cxn>
                <a:cxn ang="0">
                  <a:pos x="12" y="56"/>
                </a:cxn>
                <a:cxn ang="0">
                  <a:pos x="16" y="52"/>
                </a:cxn>
                <a:cxn ang="0">
                  <a:pos x="12" y="48"/>
                </a:cxn>
                <a:cxn ang="0">
                  <a:pos x="16" y="48"/>
                </a:cxn>
                <a:cxn ang="0">
                  <a:pos x="12" y="40"/>
                </a:cxn>
                <a:cxn ang="0">
                  <a:pos x="12" y="32"/>
                </a:cxn>
                <a:cxn ang="0">
                  <a:pos x="12" y="28"/>
                </a:cxn>
                <a:cxn ang="0">
                  <a:pos x="8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4" y="4"/>
                </a:cxn>
                <a:cxn ang="0">
                  <a:pos x="12" y="4"/>
                </a:cxn>
                <a:cxn ang="0">
                  <a:pos x="16" y="0"/>
                </a:cxn>
                <a:cxn ang="0">
                  <a:pos x="24" y="0"/>
                </a:cxn>
                <a:cxn ang="0">
                  <a:pos x="28" y="4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44" y="20"/>
                </a:cxn>
                <a:cxn ang="0">
                  <a:pos x="44" y="24"/>
                </a:cxn>
                <a:cxn ang="0">
                  <a:pos x="48" y="28"/>
                </a:cxn>
                <a:cxn ang="0">
                  <a:pos x="44" y="28"/>
                </a:cxn>
                <a:cxn ang="0">
                  <a:pos x="48" y="28"/>
                </a:cxn>
                <a:cxn ang="0">
                  <a:pos x="52" y="32"/>
                </a:cxn>
                <a:cxn ang="0">
                  <a:pos x="56" y="36"/>
                </a:cxn>
                <a:cxn ang="0">
                  <a:pos x="60" y="32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60" y="36"/>
                </a:cxn>
                <a:cxn ang="0">
                  <a:pos x="64" y="40"/>
                </a:cxn>
                <a:cxn ang="0">
                  <a:pos x="64" y="44"/>
                </a:cxn>
                <a:cxn ang="0">
                  <a:pos x="64" y="56"/>
                </a:cxn>
                <a:cxn ang="0">
                  <a:pos x="68" y="60"/>
                </a:cxn>
                <a:cxn ang="0">
                  <a:pos x="64" y="68"/>
                </a:cxn>
                <a:cxn ang="0">
                  <a:pos x="60" y="76"/>
                </a:cxn>
                <a:cxn ang="0">
                  <a:pos x="60" y="79"/>
                </a:cxn>
                <a:cxn ang="0">
                  <a:pos x="56" y="79"/>
                </a:cxn>
                <a:cxn ang="0">
                  <a:pos x="48" y="83"/>
                </a:cxn>
                <a:cxn ang="0">
                  <a:pos x="44" y="83"/>
                </a:cxn>
                <a:cxn ang="0">
                  <a:pos x="36" y="87"/>
                </a:cxn>
                <a:cxn ang="0">
                  <a:pos x="32" y="91"/>
                </a:cxn>
                <a:cxn ang="0">
                  <a:pos x="32" y="83"/>
                </a:cxn>
                <a:cxn ang="0">
                  <a:pos x="28" y="79"/>
                </a:cxn>
                <a:cxn ang="0">
                  <a:pos x="20" y="79"/>
                </a:cxn>
                <a:cxn ang="0">
                  <a:pos x="20" y="76"/>
                </a:cxn>
                <a:cxn ang="0">
                  <a:pos x="12" y="83"/>
                </a:cxn>
                <a:cxn ang="0">
                  <a:pos x="12" y="87"/>
                </a:cxn>
                <a:cxn ang="0">
                  <a:pos x="12" y="87"/>
                </a:cxn>
                <a:cxn ang="0">
                  <a:pos x="8" y="83"/>
                </a:cxn>
                <a:cxn ang="0">
                  <a:pos x="4" y="79"/>
                </a:cxn>
                <a:cxn ang="0">
                  <a:pos x="4" y="79"/>
                </a:cxn>
                <a:cxn ang="0">
                  <a:pos x="0" y="76"/>
                </a:cxn>
              </a:cxnLst>
              <a:rect l="0" t="0" r="r" b="b"/>
              <a:pathLst>
                <a:path w="68" h="91">
                  <a:moveTo>
                    <a:pt x="0" y="76"/>
                  </a:move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60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6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83"/>
                  </a:lnTo>
                  <a:lnTo>
                    <a:pt x="48" y="83"/>
                  </a:lnTo>
                  <a:lnTo>
                    <a:pt x="48" y="83"/>
                  </a:lnTo>
                  <a:lnTo>
                    <a:pt x="48" y="83"/>
                  </a:lnTo>
                  <a:lnTo>
                    <a:pt x="48" y="83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4" y="83"/>
                  </a:lnTo>
                  <a:lnTo>
                    <a:pt x="40" y="83"/>
                  </a:lnTo>
                  <a:lnTo>
                    <a:pt x="40" y="83"/>
                  </a:lnTo>
                  <a:lnTo>
                    <a:pt x="36" y="83"/>
                  </a:lnTo>
                  <a:lnTo>
                    <a:pt x="36" y="87"/>
                  </a:lnTo>
                  <a:lnTo>
                    <a:pt x="36" y="87"/>
                  </a:lnTo>
                  <a:lnTo>
                    <a:pt x="36" y="87"/>
                  </a:lnTo>
                  <a:lnTo>
                    <a:pt x="36" y="87"/>
                  </a:lnTo>
                  <a:lnTo>
                    <a:pt x="36" y="91"/>
                  </a:lnTo>
                  <a:lnTo>
                    <a:pt x="36" y="91"/>
                  </a:lnTo>
                  <a:lnTo>
                    <a:pt x="32" y="91"/>
                  </a:lnTo>
                  <a:lnTo>
                    <a:pt x="32" y="91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0" y="79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9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6" y="91"/>
                  </a:lnTo>
                  <a:lnTo>
                    <a:pt x="12" y="91"/>
                  </a:lnTo>
                  <a:lnTo>
                    <a:pt x="12" y="91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12" y="87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79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0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3" name="Freeform 110"/>
            <p:cNvSpPr>
              <a:spLocks/>
            </p:cNvSpPr>
            <p:nvPr>
              <p:custDataLst>
                <p:tags r:id="rId306"/>
              </p:custDataLst>
            </p:nvPr>
          </p:nvSpPr>
          <p:spPr bwMode="gray">
            <a:xfrm>
              <a:off x="4754242" y="3160349"/>
              <a:ext cx="130510" cy="59323"/>
            </a:xfrm>
            <a:custGeom>
              <a:avLst/>
              <a:gdLst/>
              <a:ahLst/>
              <a:cxnLst>
                <a:cxn ang="0">
                  <a:pos x="32" y="32"/>
                </a:cxn>
                <a:cxn ang="0">
                  <a:pos x="28" y="36"/>
                </a:cxn>
                <a:cxn ang="0">
                  <a:pos x="32" y="40"/>
                </a:cxn>
                <a:cxn ang="0">
                  <a:pos x="28" y="40"/>
                </a:cxn>
                <a:cxn ang="0">
                  <a:pos x="24" y="40"/>
                </a:cxn>
                <a:cxn ang="0">
                  <a:pos x="24" y="40"/>
                </a:cxn>
                <a:cxn ang="0">
                  <a:pos x="20" y="40"/>
                </a:cxn>
                <a:cxn ang="0">
                  <a:pos x="16" y="40"/>
                </a:cxn>
                <a:cxn ang="0">
                  <a:pos x="8" y="36"/>
                </a:cxn>
                <a:cxn ang="0">
                  <a:pos x="8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4" y="16"/>
                </a:cxn>
                <a:cxn ang="0">
                  <a:pos x="8" y="16"/>
                </a:cxn>
                <a:cxn ang="0">
                  <a:pos x="12" y="16"/>
                </a:cxn>
                <a:cxn ang="0">
                  <a:pos x="16" y="12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32" y="0"/>
                </a:cxn>
                <a:cxn ang="0">
                  <a:pos x="32" y="4"/>
                </a:cxn>
                <a:cxn ang="0">
                  <a:pos x="36" y="0"/>
                </a:cxn>
                <a:cxn ang="0">
                  <a:pos x="40" y="0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48" y="8"/>
                </a:cxn>
                <a:cxn ang="0">
                  <a:pos x="52" y="4"/>
                </a:cxn>
                <a:cxn ang="0">
                  <a:pos x="60" y="4"/>
                </a:cxn>
                <a:cxn ang="0">
                  <a:pos x="64" y="8"/>
                </a:cxn>
                <a:cxn ang="0">
                  <a:pos x="68" y="4"/>
                </a:cxn>
                <a:cxn ang="0">
                  <a:pos x="72" y="4"/>
                </a:cxn>
                <a:cxn ang="0">
                  <a:pos x="76" y="4"/>
                </a:cxn>
                <a:cxn ang="0">
                  <a:pos x="80" y="8"/>
                </a:cxn>
                <a:cxn ang="0">
                  <a:pos x="88" y="12"/>
                </a:cxn>
                <a:cxn ang="0">
                  <a:pos x="84" y="16"/>
                </a:cxn>
                <a:cxn ang="0">
                  <a:pos x="80" y="24"/>
                </a:cxn>
                <a:cxn ang="0">
                  <a:pos x="80" y="28"/>
                </a:cxn>
                <a:cxn ang="0">
                  <a:pos x="76" y="28"/>
                </a:cxn>
                <a:cxn ang="0">
                  <a:pos x="72" y="28"/>
                </a:cxn>
                <a:cxn ang="0">
                  <a:pos x="68" y="24"/>
                </a:cxn>
                <a:cxn ang="0">
                  <a:pos x="64" y="24"/>
                </a:cxn>
                <a:cxn ang="0">
                  <a:pos x="60" y="24"/>
                </a:cxn>
                <a:cxn ang="0">
                  <a:pos x="56" y="24"/>
                </a:cxn>
                <a:cxn ang="0">
                  <a:pos x="52" y="28"/>
                </a:cxn>
                <a:cxn ang="0">
                  <a:pos x="52" y="28"/>
                </a:cxn>
                <a:cxn ang="0">
                  <a:pos x="48" y="32"/>
                </a:cxn>
                <a:cxn ang="0">
                  <a:pos x="48" y="32"/>
                </a:cxn>
                <a:cxn ang="0">
                  <a:pos x="44" y="32"/>
                </a:cxn>
                <a:cxn ang="0">
                  <a:pos x="40" y="32"/>
                </a:cxn>
                <a:cxn ang="0">
                  <a:pos x="32" y="32"/>
                </a:cxn>
              </a:cxnLst>
              <a:rect l="0" t="0" r="r" b="b"/>
              <a:pathLst>
                <a:path w="88" h="40">
                  <a:moveTo>
                    <a:pt x="32" y="32"/>
                  </a:move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2" y="32"/>
                  </a:lnTo>
                  <a:lnTo>
                    <a:pt x="32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4" name="Freeform 111"/>
            <p:cNvSpPr>
              <a:spLocks/>
            </p:cNvSpPr>
            <p:nvPr>
              <p:custDataLst>
                <p:tags r:id="rId307"/>
              </p:custDataLst>
            </p:nvPr>
          </p:nvSpPr>
          <p:spPr bwMode="gray">
            <a:xfrm>
              <a:off x="4677123" y="3249333"/>
              <a:ext cx="71187" cy="47458"/>
            </a:xfrm>
            <a:custGeom>
              <a:avLst/>
              <a:gdLst/>
              <a:ahLst/>
              <a:cxnLst>
                <a:cxn ang="0">
                  <a:pos x="28" y="28"/>
                </a:cxn>
                <a:cxn ang="0">
                  <a:pos x="28" y="32"/>
                </a:cxn>
                <a:cxn ang="0">
                  <a:pos x="24" y="28"/>
                </a:cxn>
                <a:cxn ang="0">
                  <a:pos x="20" y="28"/>
                </a:cxn>
                <a:cxn ang="0">
                  <a:pos x="16" y="24"/>
                </a:cxn>
                <a:cxn ang="0">
                  <a:pos x="16" y="28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8" y="28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6" y="4"/>
                </a:cxn>
                <a:cxn ang="0">
                  <a:pos x="40" y="0"/>
                </a:cxn>
                <a:cxn ang="0">
                  <a:pos x="40" y="0"/>
                </a:cxn>
                <a:cxn ang="0">
                  <a:pos x="44" y="0"/>
                </a:cxn>
                <a:cxn ang="0">
                  <a:pos x="44" y="0"/>
                </a:cxn>
                <a:cxn ang="0">
                  <a:pos x="44" y="4"/>
                </a:cxn>
                <a:cxn ang="0">
                  <a:pos x="44" y="4"/>
                </a:cxn>
                <a:cxn ang="0">
                  <a:pos x="48" y="8"/>
                </a:cxn>
                <a:cxn ang="0">
                  <a:pos x="48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32" y="12"/>
                </a:cxn>
                <a:cxn ang="0">
                  <a:pos x="32" y="16"/>
                </a:cxn>
                <a:cxn ang="0">
                  <a:pos x="36" y="16"/>
                </a:cxn>
                <a:cxn ang="0">
                  <a:pos x="32" y="24"/>
                </a:cxn>
                <a:cxn ang="0">
                  <a:pos x="32" y="24"/>
                </a:cxn>
                <a:cxn ang="0">
                  <a:pos x="28" y="24"/>
                </a:cxn>
                <a:cxn ang="0">
                  <a:pos x="28" y="28"/>
                </a:cxn>
              </a:cxnLst>
              <a:rect l="0" t="0" r="r" b="b"/>
              <a:pathLst>
                <a:path w="48" h="32">
                  <a:moveTo>
                    <a:pt x="28" y="28"/>
                  </a:move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2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5" name="Freeform 112"/>
            <p:cNvSpPr>
              <a:spLocks noEditPoints="1"/>
            </p:cNvSpPr>
            <p:nvPr>
              <p:custDataLst>
                <p:tags r:id="rId308"/>
              </p:custDataLst>
            </p:nvPr>
          </p:nvSpPr>
          <p:spPr bwMode="gray">
            <a:xfrm>
              <a:off x="4611868" y="1953135"/>
              <a:ext cx="520555" cy="283265"/>
            </a:xfrm>
            <a:custGeom>
              <a:avLst/>
              <a:gdLst/>
              <a:ahLst/>
              <a:cxnLst>
                <a:cxn ang="0">
                  <a:pos x="144" y="8"/>
                </a:cxn>
                <a:cxn ang="0">
                  <a:pos x="124" y="12"/>
                </a:cxn>
                <a:cxn ang="0">
                  <a:pos x="343" y="16"/>
                </a:cxn>
                <a:cxn ang="0">
                  <a:pos x="267" y="20"/>
                </a:cxn>
                <a:cxn ang="0">
                  <a:pos x="8" y="36"/>
                </a:cxn>
                <a:cxn ang="0">
                  <a:pos x="148" y="52"/>
                </a:cxn>
                <a:cxn ang="0">
                  <a:pos x="279" y="60"/>
                </a:cxn>
                <a:cxn ang="0">
                  <a:pos x="244" y="68"/>
                </a:cxn>
                <a:cxn ang="0">
                  <a:pos x="220" y="127"/>
                </a:cxn>
                <a:cxn ang="0">
                  <a:pos x="252" y="24"/>
                </a:cxn>
                <a:cxn ang="0">
                  <a:pos x="228" y="44"/>
                </a:cxn>
                <a:cxn ang="0">
                  <a:pos x="184" y="48"/>
                </a:cxn>
                <a:cxn ang="0">
                  <a:pos x="152" y="40"/>
                </a:cxn>
                <a:cxn ang="0">
                  <a:pos x="160" y="32"/>
                </a:cxn>
                <a:cxn ang="0">
                  <a:pos x="164" y="28"/>
                </a:cxn>
                <a:cxn ang="0">
                  <a:pos x="124" y="24"/>
                </a:cxn>
                <a:cxn ang="0">
                  <a:pos x="132" y="20"/>
                </a:cxn>
                <a:cxn ang="0">
                  <a:pos x="136" y="12"/>
                </a:cxn>
                <a:cxn ang="0">
                  <a:pos x="172" y="16"/>
                </a:cxn>
                <a:cxn ang="0">
                  <a:pos x="184" y="12"/>
                </a:cxn>
                <a:cxn ang="0">
                  <a:pos x="192" y="20"/>
                </a:cxn>
                <a:cxn ang="0">
                  <a:pos x="216" y="12"/>
                </a:cxn>
                <a:cxn ang="0">
                  <a:pos x="252" y="24"/>
                </a:cxn>
                <a:cxn ang="0">
                  <a:pos x="80" y="99"/>
                </a:cxn>
                <a:cxn ang="0">
                  <a:pos x="72" y="95"/>
                </a:cxn>
                <a:cxn ang="0">
                  <a:pos x="88" y="92"/>
                </a:cxn>
                <a:cxn ang="0">
                  <a:pos x="48" y="92"/>
                </a:cxn>
                <a:cxn ang="0">
                  <a:pos x="72" y="80"/>
                </a:cxn>
                <a:cxn ang="0">
                  <a:pos x="96" y="72"/>
                </a:cxn>
                <a:cxn ang="0">
                  <a:pos x="84" y="68"/>
                </a:cxn>
                <a:cxn ang="0">
                  <a:pos x="64" y="68"/>
                </a:cxn>
                <a:cxn ang="0">
                  <a:pos x="48" y="80"/>
                </a:cxn>
                <a:cxn ang="0">
                  <a:pos x="40" y="72"/>
                </a:cxn>
                <a:cxn ang="0">
                  <a:pos x="16" y="56"/>
                </a:cxn>
                <a:cxn ang="0">
                  <a:pos x="16" y="48"/>
                </a:cxn>
                <a:cxn ang="0">
                  <a:pos x="8" y="36"/>
                </a:cxn>
                <a:cxn ang="0">
                  <a:pos x="24" y="36"/>
                </a:cxn>
                <a:cxn ang="0">
                  <a:pos x="52" y="28"/>
                </a:cxn>
                <a:cxn ang="0">
                  <a:pos x="40" y="36"/>
                </a:cxn>
                <a:cxn ang="0">
                  <a:pos x="56" y="36"/>
                </a:cxn>
                <a:cxn ang="0">
                  <a:pos x="84" y="56"/>
                </a:cxn>
                <a:cxn ang="0">
                  <a:pos x="80" y="32"/>
                </a:cxn>
                <a:cxn ang="0">
                  <a:pos x="100" y="28"/>
                </a:cxn>
                <a:cxn ang="0">
                  <a:pos x="120" y="36"/>
                </a:cxn>
                <a:cxn ang="0">
                  <a:pos x="152" y="56"/>
                </a:cxn>
                <a:cxn ang="0">
                  <a:pos x="152" y="68"/>
                </a:cxn>
                <a:cxn ang="0">
                  <a:pos x="128" y="84"/>
                </a:cxn>
                <a:cxn ang="0">
                  <a:pos x="104" y="115"/>
                </a:cxn>
                <a:cxn ang="0">
                  <a:pos x="84" y="123"/>
                </a:cxn>
                <a:cxn ang="0">
                  <a:pos x="80" y="115"/>
                </a:cxn>
                <a:cxn ang="0">
                  <a:pos x="12" y="72"/>
                </a:cxn>
                <a:cxn ang="0">
                  <a:pos x="16" y="72"/>
                </a:cxn>
                <a:cxn ang="0">
                  <a:pos x="176" y="68"/>
                </a:cxn>
                <a:cxn ang="0">
                  <a:pos x="156" y="80"/>
                </a:cxn>
                <a:cxn ang="0">
                  <a:pos x="172" y="99"/>
                </a:cxn>
                <a:cxn ang="0">
                  <a:pos x="164" y="88"/>
                </a:cxn>
                <a:cxn ang="0">
                  <a:pos x="196" y="80"/>
                </a:cxn>
                <a:cxn ang="0">
                  <a:pos x="212" y="92"/>
                </a:cxn>
                <a:cxn ang="0">
                  <a:pos x="188" y="107"/>
                </a:cxn>
              </a:cxnLst>
              <a:rect l="0" t="0" r="r" b="b"/>
              <a:pathLst>
                <a:path w="351" h="191">
                  <a:moveTo>
                    <a:pt x="156" y="4"/>
                  </a:moveTo>
                  <a:lnTo>
                    <a:pt x="156" y="0"/>
                  </a:lnTo>
                  <a:lnTo>
                    <a:pt x="152" y="0"/>
                  </a:lnTo>
                  <a:lnTo>
                    <a:pt x="156" y="0"/>
                  </a:lnTo>
                  <a:lnTo>
                    <a:pt x="160" y="0"/>
                  </a:lnTo>
                  <a:lnTo>
                    <a:pt x="160" y="4"/>
                  </a:lnTo>
                  <a:lnTo>
                    <a:pt x="156" y="4"/>
                  </a:lnTo>
                  <a:close/>
                  <a:moveTo>
                    <a:pt x="160" y="4"/>
                  </a:moveTo>
                  <a:lnTo>
                    <a:pt x="164" y="0"/>
                  </a:lnTo>
                  <a:lnTo>
                    <a:pt x="164" y="4"/>
                  </a:lnTo>
                  <a:lnTo>
                    <a:pt x="160" y="4"/>
                  </a:lnTo>
                  <a:close/>
                  <a:moveTo>
                    <a:pt x="144" y="8"/>
                  </a:moveTo>
                  <a:lnTo>
                    <a:pt x="140" y="8"/>
                  </a:lnTo>
                  <a:lnTo>
                    <a:pt x="144" y="8"/>
                  </a:lnTo>
                  <a:close/>
                  <a:moveTo>
                    <a:pt x="208" y="12"/>
                  </a:moveTo>
                  <a:lnTo>
                    <a:pt x="208" y="8"/>
                  </a:lnTo>
                  <a:lnTo>
                    <a:pt x="208" y="12"/>
                  </a:lnTo>
                  <a:lnTo>
                    <a:pt x="212" y="12"/>
                  </a:lnTo>
                  <a:lnTo>
                    <a:pt x="208" y="12"/>
                  </a:lnTo>
                  <a:close/>
                  <a:moveTo>
                    <a:pt x="120" y="16"/>
                  </a:moveTo>
                  <a:lnTo>
                    <a:pt x="116" y="16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4" y="12"/>
                  </a:lnTo>
                  <a:lnTo>
                    <a:pt x="124" y="16"/>
                  </a:lnTo>
                  <a:lnTo>
                    <a:pt x="120" y="16"/>
                  </a:lnTo>
                  <a:close/>
                  <a:moveTo>
                    <a:pt x="319" y="20"/>
                  </a:moveTo>
                  <a:lnTo>
                    <a:pt x="315" y="20"/>
                  </a:lnTo>
                  <a:lnTo>
                    <a:pt x="319" y="20"/>
                  </a:lnTo>
                  <a:lnTo>
                    <a:pt x="323" y="20"/>
                  </a:lnTo>
                  <a:lnTo>
                    <a:pt x="327" y="20"/>
                  </a:lnTo>
                  <a:lnTo>
                    <a:pt x="331" y="20"/>
                  </a:lnTo>
                  <a:lnTo>
                    <a:pt x="335" y="20"/>
                  </a:lnTo>
                  <a:lnTo>
                    <a:pt x="339" y="20"/>
                  </a:lnTo>
                  <a:lnTo>
                    <a:pt x="339" y="16"/>
                  </a:lnTo>
                  <a:lnTo>
                    <a:pt x="343" y="16"/>
                  </a:lnTo>
                  <a:lnTo>
                    <a:pt x="347" y="16"/>
                  </a:lnTo>
                  <a:lnTo>
                    <a:pt x="351" y="16"/>
                  </a:lnTo>
                  <a:lnTo>
                    <a:pt x="347" y="16"/>
                  </a:lnTo>
                  <a:lnTo>
                    <a:pt x="347" y="20"/>
                  </a:lnTo>
                  <a:lnTo>
                    <a:pt x="343" y="20"/>
                  </a:lnTo>
                  <a:lnTo>
                    <a:pt x="339" y="20"/>
                  </a:lnTo>
                  <a:lnTo>
                    <a:pt x="335" y="20"/>
                  </a:lnTo>
                  <a:lnTo>
                    <a:pt x="331" y="20"/>
                  </a:lnTo>
                  <a:lnTo>
                    <a:pt x="327" y="20"/>
                  </a:lnTo>
                  <a:lnTo>
                    <a:pt x="319" y="20"/>
                  </a:lnTo>
                  <a:close/>
                  <a:moveTo>
                    <a:pt x="264" y="20"/>
                  </a:moveTo>
                  <a:lnTo>
                    <a:pt x="267" y="20"/>
                  </a:lnTo>
                  <a:lnTo>
                    <a:pt x="264" y="20"/>
                  </a:lnTo>
                  <a:lnTo>
                    <a:pt x="260" y="20"/>
                  </a:lnTo>
                  <a:lnTo>
                    <a:pt x="264" y="20"/>
                  </a:lnTo>
                  <a:close/>
                  <a:moveTo>
                    <a:pt x="8" y="32"/>
                  </a:moveTo>
                  <a:lnTo>
                    <a:pt x="4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8" y="32"/>
                  </a:lnTo>
                  <a:close/>
                  <a:moveTo>
                    <a:pt x="4" y="36"/>
                  </a:moveTo>
                  <a:lnTo>
                    <a:pt x="4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4" y="36"/>
                  </a:lnTo>
                  <a:close/>
                  <a:moveTo>
                    <a:pt x="144" y="44"/>
                  </a:moveTo>
                  <a:lnTo>
                    <a:pt x="140" y="44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4" y="44"/>
                  </a:lnTo>
                  <a:lnTo>
                    <a:pt x="148" y="44"/>
                  </a:lnTo>
                  <a:lnTo>
                    <a:pt x="144" y="44"/>
                  </a:lnTo>
                  <a:close/>
                  <a:moveTo>
                    <a:pt x="148" y="56"/>
                  </a:moveTo>
                  <a:lnTo>
                    <a:pt x="144" y="56"/>
                  </a:lnTo>
                  <a:lnTo>
                    <a:pt x="144" y="52"/>
                  </a:lnTo>
                  <a:lnTo>
                    <a:pt x="148" y="52"/>
                  </a:lnTo>
                  <a:lnTo>
                    <a:pt x="152" y="52"/>
                  </a:lnTo>
                  <a:lnTo>
                    <a:pt x="156" y="52"/>
                  </a:lnTo>
                  <a:lnTo>
                    <a:pt x="156" y="56"/>
                  </a:lnTo>
                  <a:lnTo>
                    <a:pt x="152" y="56"/>
                  </a:lnTo>
                  <a:lnTo>
                    <a:pt x="148" y="56"/>
                  </a:lnTo>
                  <a:close/>
                  <a:moveTo>
                    <a:pt x="267" y="60"/>
                  </a:moveTo>
                  <a:lnTo>
                    <a:pt x="264" y="60"/>
                  </a:lnTo>
                  <a:lnTo>
                    <a:pt x="267" y="56"/>
                  </a:lnTo>
                  <a:lnTo>
                    <a:pt x="271" y="56"/>
                  </a:lnTo>
                  <a:lnTo>
                    <a:pt x="275" y="56"/>
                  </a:lnTo>
                  <a:lnTo>
                    <a:pt x="279" y="56"/>
                  </a:lnTo>
                  <a:lnTo>
                    <a:pt x="279" y="60"/>
                  </a:lnTo>
                  <a:lnTo>
                    <a:pt x="283" y="60"/>
                  </a:lnTo>
                  <a:lnTo>
                    <a:pt x="287" y="60"/>
                  </a:lnTo>
                  <a:lnTo>
                    <a:pt x="287" y="56"/>
                  </a:lnTo>
                  <a:lnTo>
                    <a:pt x="291" y="56"/>
                  </a:lnTo>
                  <a:lnTo>
                    <a:pt x="291" y="60"/>
                  </a:lnTo>
                  <a:lnTo>
                    <a:pt x="287" y="60"/>
                  </a:lnTo>
                  <a:lnTo>
                    <a:pt x="283" y="60"/>
                  </a:lnTo>
                  <a:lnTo>
                    <a:pt x="279" y="60"/>
                  </a:lnTo>
                  <a:lnTo>
                    <a:pt x="275" y="60"/>
                  </a:lnTo>
                  <a:lnTo>
                    <a:pt x="271" y="60"/>
                  </a:lnTo>
                  <a:lnTo>
                    <a:pt x="267" y="60"/>
                  </a:lnTo>
                  <a:close/>
                  <a:moveTo>
                    <a:pt x="244" y="68"/>
                  </a:moveTo>
                  <a:lnTo>
                    <a:pt x="244" y="64"/>
                  </a:lnTo>
                  <a:lnTo>
                    <a:pt x="240" y="64"/>
                  </a:lnTo>
                  <a:lnTo>
                    <a:pt x="240" y="60"/>
                  </a:lnTo>
                  <a:lnTo>
                    <a:pt x="244" y="60"/>
                  </a:lnTo>
                  <a:lnTo>
                    <a:pt x="244" y="64"/>
                  </a:lnTo>
                  <a:lnTo>
                    <a:pt x="248" y="64"/>
                  </a:lnTo>
                  <a:lnTo>
                    <a:pt x="252" y="64"/>
                  </a:lnTo>
                  <a:lnTo>
                    <a:pt x="248" y="64"/>
                  </a:lnTo>
                  <a:lnTo>
                    <a:pt x="248" y="68"/>
                  </a:lnTo>
                  <a:lnTo>
                    <a:pt x="244" y="68"/>
                  </a:lnTo>
                  <a:close/>
                  <a:moveTo>
                    <a:pt x="220" y="131"/>
                  </a:moveTo>
                  <a:lnTo>
                    <a:pt x="220" y="127"/>
                  </a:lnTo>
                  <a:lnTo>
                    <a:pt x="224" y="127"/>
                  </a:lnTo>
                  <a:lnTo>
                    <a:pt x="224" y="123"/>
                  </a:lnTo>
                  <a:lnTo>
                    <a:pt x="228" y="123"/>
                  </a:lnTo>
                  <a:lnTo>
                    <a:pt x="224" y="127"/>
                  </a:lnTo>
                  <a:lnTo>
                    <a:pt x="220" y="131"/>
                  </a:lnTo>
                  <a:close/>
                  <a:moveTo>
                    <a:pt x="128" y="191"/>
                  </a:moveTo>
                  <a:lnTo>
                    <a:pt x="124" y="187"/>
                  </a:lnTo>
                  <a:lnTo>
                    <a:pt x="128" y="187"/>
                  </a:lnTo>
                  <a:lnTo>
                    <a:pt x="132" y="187"/>
                  </a:lnTo>
                  <a:lnTo>
                    <a:pt x="132" y="191"/>
                  </a:lnTo>
                  <a:lnTo>
                    <a:pt x="128" y="191"/>
                  </a:lnTo>
                  <a:close/>
                  <a:moveTo>
                    <a:pt x="252" y="24"/>
                  </a:moveTo>
                  <a:lnTo>
                    <a:pt x="252" y="28"/>
                  </a:lnTo>
                  <a:lnTo>
                    <a:pt x="248" y="28"/>
                  </a:lnTo>
                  <a:lnTo>
                    <a:pt x="248" y="32"/>
                  </a:lnTo>
                  <a:lnTo>
                    <a:pt x="244" y="32"/>
                  </a:lnTo>
                  <a:lnTo>
                    <a:pt x="240" y="32"/>
                  </a:lnTo>
                  <a:lnTo>
                    <a:pt x="236" y="36"/>
                  </a:lnTo>
                  <a:lnTo>
                    <a:pt x="232" y="36"/>
                  </a:lnTo>
                  <a:lnTo>
                    <a:pt x="232" y="40"/>
                  </a:lnTo>
                  <a:lnTo>
                    <a:pt x="236" y="40"/>
                  </a:lnTo>
                  <a:lnTo>
                    <a:pt x="232" y="40"/>
                  </a:lnTo>
                  <a:lnTo>
                    <a:pt x="232" y="44"/>
                  </a:lnTo>
                  <a:lnTo>
                    <a:pt x="228" y="44"/>
                  </a:lnTo>
                  <a:lnTo>
                    <a:pt x="224" y="44"/>
                  </a:lnTo>
                  <a:lnTo>
                    <a:pt x="220" y="44"/>
                  </a:lnTo>
                  <a:lnTo>
                    <a:pt x="216" y="44"/>
                  </a:lnTo>
                  <a:lnTo>
                    <a:pt x="212" y="44"/>
                  </a:lnTo>
                  <a:lnTo>
                    <a:pt x="208" y="44"/>
                  </a:lnTo>
                  <a:lnTo>
                    <a:pt x="208" y="48"/>
                  </a:lnTo>
                  <a:lnTo>
                    <a:pt x="204" y="48"/>
                  </a:lnTo>
                  <a:lnTo>
                    <a:pt x="200" y="48"/>
                  </a:lnTo>
                  <a:lnTo>
                    <a:pt x="196" y="48"/>
                  </a:lnTo>
                  <a:lnTo>
                    <a:pt x="192" y="48"/>
                  </a:lnTo>
                  <a:lnTo>
                    <a:pt x="188" y="48"/>
                  </a:lnTo>
                  <a:lnTo>
                    <a:pt x="184" y="48"/>
                  </a:lnTo>
                  <a:lnTo>
                    <a:pt x="184" y="44"/>
                  </a:lnTo>
                  <a:lnTo>
                    <a:pt x="188" y="44"/>
                  </a:lnTo>
                  <a:lnTo>
                    <a:pt x="184" y="44"/>
                  </a:lnTo>
                  <a:lnTo>
                    <a:pt x="180" y="44"/>
                  </a:lnTo>
                  <a:lnTo>
                    <a:pt x="176" y="44"/>
                  </a:lnTo>
                  <a:lnTo>
                    <a:pt x="172" y="44"/>
                  </a:lnTo>
                  <a:lnTo>
                    <a:pt x="168" y="44"/>
                  </a:lnTo>
                  <a:lnTo>
                    <a:pt x="164" y="44"/>
                  </a:lnTo>
                  <a:lnTo>
                    <a:pt x="160" y="44"/>
                  </a:lnTo>
                  <a:lnTo>
                    <a:pt x="156" y="44"/>
                  </a:lnTo>
                  <a:lnTo>
                    <a:pt x="156" y="40"/>
                  </a:lnTo>
                  <a:lnTo>
                    <a:pt x="152" y="40"/>
                  </a:lnTo>
                  <a:lnTo>
                    <a:pt x="148" y="40"/>
                  </a:lnTo>
                  <a:lnTo>
                    <a:pt x="144" y="40"/>
                  </a:lnTo>
                  <a:lnTo>
                    <a:pt x="140" y="40"/>
                  </a:lnTo>
                  <a:lnTo>
                    <a:pt x="140" y="36"/>
                  </a:lnTo>
                  <a:lnTo>
                    <a:pt x="144" y="36"/>
                  </a:lnTo>
                  <a:lnTo>
                    <a:pt x="148" y="36"/>
                  </a:lnTo>
                  <a:lnTo>
                    <a:pt x="152" y="36"/>
                  </a:lnTo>
                  <a:lnTo>
                    <a:pt x="156" y="36"/>
                  </a:lnTo>
                  <a:lnTo>
                    <a:pt x="160" y="36"/>
                  </a:lnTo>
                  <a:lnTo>
                    <a:pt x="156" y="36"/>
                  </a:lnTo>
                  <a:lnTo>
                    <a:pt x="152" y="36"/>
                  </a:lnTo>
                  <a:lnTo>
                    <a:pt x="160" y="32"/>
                  </a:lnTo>
                  <a:lnTo>
                    <a:pt x="164" y="32"/>
                  </a:lnTo>
                  <a:lnTo>
                    <a:pt x="168" y="32"/>
                  </a:lnTo>
                  <a:lnTo>
                    <a:pt x="172" y="32"/>
                  </a:lnTo>
                  <a:lnTo>
                    <a:pt x="176" y="32"/>
                  </a:lnTo>
                  <a:lnTo>
                    <a:pt x="180" y="32"/>
                  </a:lnTo>
                  <a:lnTo>
                    <a:pt x="176" y="32"/>
                  </a:lnTo>
                  <a:lnTo>
                    <a:pt x="172" y="32"/>
                  </a:lnTo>
                  <a:lnTo>
                    <a:pt x="168" y="32"/>
                  </a:lnTo>
                  <a:lnTo>
                    <a:pt x="172" y="32"/>
                  </a:lnTo>
                  <a:lnTo>
                    <a:pt x="172" y="28"/>
                  </a:lnTo>
                  <a:lnTo>
                    <a:pt x="168" y="28"/>
                  </a:lnTo>
                  <a:lnTo>
                    <a:pt x="164" y="28"/>
                  </a:lnTo>
                  <a:lnTo>
                    <a:pt x="160" y="28"/>
                  </a:lnTo>
                  <a:lnTo>
                    <a:pt x="156" y="32"/>
                  </a:lnTo>
                  <a:lnTo>
                    <a:pt x="152" y="32"/>
                  </a:lnTo>
                  <a:lnTo>
                    <a:pt x="148" y="32"/>
                  </a:lnTo>
                  <a:lnTo>
                    <a:pt x="144" y="32"/>
                  </a:lnTo>
                  <a:lnTo>
                    <a:pt x="136" y="32"/>
                  </a:lnTo>
                  <a:lnTo>
                    <a:pt x="128" y="32"/>
                  </a:lnTo>
                  <a:lnTo>
                    <a:pt x="124" y="32"/>
                  </a:lnTo>
                  <a:lnTo>
                    <a:pt x="120" y="32"/>
                  </a:lnTo>
                  <a:lnTo>
                    <a:pt x="116" y="28"/>
                  </a:lnTo>
                  <a:lnTo>
                    <a:pt x="120" y="24"/>
                  </a:lnTo>
                  <a:lnTo>
                    <a:pt x="124" y="24"/>
                  </a:lnTo>
                  <a:lnTo>
                    <a:pt x="120" y="24"/>
                  </a:lnTo>
                  <a:lnTo>
                    <a:pt x="116" y="24"/>
                  </a:lnTo>
                  <a:lnTo>
                    <a:pt x="116" y="20"/>
                  </a:lnTo>
                  <a:lnTo>
                    <a:pt x="116" y="24"/>
                  </a:lnTo>
                  <a:lnTo>
                    <a:pt x="120" y="20"/>
                  </a:lnTo>
                  <a:lnTo>
                    <a:pt x="116" y="20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20" y="20"/>
                  </a:lnTo>
                  <a:lnTo>
                    <a:pt x="124" y="20"/>
                  </a:lnTo>
                  <a:lnTo>
                    <a:pt x="128" y="20"/>
                  </a:lnTo>
                  <a:lnTo>
                    <a:pt x="132" y="20"/>
                  </a:lnTo>
                  <a:lnTo>
                    <a:pt x="136" y="20"/>
                  </a:lnTo>
                  <a:lnTo>
                    <a:pt x="132" y="20"/>
                  </a:lnTo>
                  <a:lnTo>
                    <a:pt x="132" y="16"/>
                  </a:lnTo>
                  <a:lnTo>
                    <a:pt x="128" y="16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6"/>
                  </a:lnTo>
                  <a:lnTo>
                    <a:pt x="140" y="16"/>
                  </a:lnTo>
                  <a:lnTo>
                    <a:pt x="140" y="12"/>
                  </a:lnTo>
                  <a:lnTo>
                    <a:pt x="144" y="12"/>
                  </a:lnTo>
                  <a:lnTo>
                    <a:pt x="140" y="12"/>
                  </a:lnTo>
                  <a:lnTo>
                    <a:pt x="136" y="12"/>
                  </a:lnTo>
                  <a:lnTo>
                    <a:pt x="136" y="8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4" y="12"/>
                  </a:lnTo>
                  <a:lnTo>
                    <a:pt x="148" y="12"/>
                  </a:lnTo>
                  <a:lnTo>
                    <a:pt x="152" y="12"/>
                  </a:lnTo>
                  <a:lnTo>
                    <a:pt x="152" y="16"/>
                  </a:lnTo>
                  <a:lnTo>
                    <a:pt x="156" y="16"/>
                  </a:lnTo>
                  <a:lnTo>
                    <a:pt x="160" y="16"/>
                  </a:lnTo>
                  <a:lnTo>
                    <a:pt x="164" y="16"/>
                  </a:lnTo>
                  <a:lnTo>
                    <a:pt x="168" y="16"/>
                  </a:lnTo>
                  <a:lnTo>
                    <a:pt x="172" y="16"/>
                  </a:lnTo>
                  <a:lnTo>
                    <a:pt x="172" y="20"/>
                  </a:lnTo>
                  <a:lnTo>
                    <a:pt x="168" y="20"/>
                  </a:lnTo>
                  <a:lnTo>
                    <a:pt x="172" y="20"/>
                  </a:lnTo>
                  <a:lnTo>
                    <a:pt x="176" y="20"/>
                  </a:lnTo>
                  <a:lnTo>
                    <a:pt x="176" y="24"/>
                  </a:lnTo>
                  <a:lnTo>
                    <a:pt x="180" y="24"/>
                  </a:lnTo>
                  <a:lnTo>
                    <a:pt x="180" y="20"/>
                  </a:lnTo>
                  <a:lnTo>
                    <a:pt x="180" y="16"/>
                  </a:lnTo>
                  <a:lnTo>
                    <a:pt x="184" y="16"/>
                  </a:lnTo>
                  <a:lnTo>
                    <a:pt x="180" y="16"/>
                  </a:lnTo>
                  <a:lnTo>
                    <a:pt x="180" y="12"/>
                  </a:lnTo>
                  <a:lnTo>
                    <a:pt x="184" y="12"/>
                  </a:lnTo>
                  <a:lnTo>
                    <a:pt x="184" y="16"/>
                  </a:lnTo>
                  <a:lnTo>
                    <a:pt x="188" y="12"/>
                  </a:lnTo>
                  <a:lnTo>
                    <a:pt x="188" y="8"/>
                  </a:lnTo>
                  <a:lnTo>
                    <a:pt x="192" y="8"/>
                  </a:lnTo>
                  <a:lnTo>
                    <a:pt x="192" y="12"/>
                  </a:lnTo>
                  <a:lnTo>
                    <a:pt x="196" y="12"/>
                  </a:lnTo>
                  <a:lnTo>
                    <a:pt x="192" y="12"/>
                  </a:lnTo>
                  <a:lnTo>
                    <a:pt x="196" y="12"/>
                  </a:lnTo>
                  <a:lnTo>
                    <a:pt x="192" y="16"/>
                  </a:lnTo>
                  <a:lnTo>
                    <a:pt x="188" y="16"/>
                  </a:lnTo>
                  <a:lnTo>
                    <a:pt x="188" y="20"/>
                  </a:lnTo>
                  <a:lnTo>
                    <a:pt x="192" y="20"/>
                  </a:lnTo>
                  <a:lnTo>
                    <a:pt x="196" y="16"/>
                  </a:lnTo>
                  <a:lnTo>
                    <a:pt x="196" y="20"/>
                  </a:lnTo>
                  <a:lnTo>
                    <a:pt x="200" y="20"/>
                  </a:lnTo>
                  <a:lnTo>
                    <a:pt x="200" y="16"/>
                  </a:lnTo>
                  <a:lnTo>
                    <a:pt x="204" y="16"/>
                  </a:lnTo>
                  <a:lnTo>
                    <a:pt x="208" y="16"/>
                  </a:lnTo>
                  <a:lnTo>
                    <a:pt x="212" y="16"/>
                  </a:lnTo>
                  <a:lnTo>
                    <a:pt x="208" y="12"/>
                  </a:lnTo>
                  <a:lnTo>
                    <a:pt x="212" y="12"/>
                  </a:lnTo>
                  <a:lnTo>
                    <a:pt x="212" y="16"/>
                  </a:lnTo>
                  <a:lnTo>
                    <a:pt x="216" y="16"/>
                  </a:lnTo>
                  <a:lnTo>
                    <a:pt x="216" y="12"/>
                  </a:lnTo>
                  <a:lnTo>
                    <a:pt x="216" y="16"/>
                  </a:lnTo>
                  <a:lnTo>
                    <a:pt x="220" y="16"/>
                  </a:lnTo>
                  <a:lnTo>
                    <a:pt x="224" y="16"/>
                  </a:lnTo>
                  <a:lnTo>
                    <a:pt x="228" y="16"/>
                  </a:lnTo>
                  <a:lnTo>
                    <a:pt x="232" y="16"/>
                  </a:lnTo>
                  <a:lnTo>
                    <a:pt x="232" y="20"/>
                  </a:lnTo>
                  <a:lnTo>
                    <a:pt x="236" y="20"/>
                  </a:lnTo>
                  <a:lnTo>
                    <a:pt x="240" y="20"/>
                  </a:lnTo>
                  <a:lnTo>
                    <a:pt x="244" y="20"/>
                  </a:lnTo>
                  <a:lnTo>
                    <a:pt x="248" y="20"/>
                  </a:lnTo>
                  <a:lnTo>
                    <a:pt x="252" y="20"/>
                  </a:lnTo>
                  <a:lnTo>
                    <a:pt x="252" y="24"/>
                  </a:lnTo>
                  <a:close/>
                  <a:moveTo>
                    <a:pt x="60" y="111"/>
                  </a:moveTo>
                  <a:lnTo>
                    <a:pt x="56" y="107"/>
                  </a:lnTo>
                  <a:lnTo>
                    <a:pt x="56" y="103"/>
                  </a:lnTo>
                  <a:lnTo>
                    <a:pt x="52" y="103"/>
                  </a:lnTo>
                  <a:lnTo>
                    <a:pt x="52" y="99"/>
                  </a:lnTo>
                  <a:lnTo>
                    <a:pt x="56" y="99"/>
                  </a:lnTo>
                  <a:lnTo>
                    <a:pt x="60" y="99"/>
                  </a:lnTo>
                  <a:lnTo>
                    <a:pt x="64" y="99"/>
                  </a:lnTo>
                  <a:lnTo>
                    <a:pt x="68" y="99"/>
                  </a:lnTo>
                  <a:lnTo>
                    <a:pt x="72" y="99"/>
                  </a:lnTo>
                  <a:lnTo>
                    <a:pt x="76" y="99"/>
                  </a:lnTo>
                  <a:lnTo>
                    <a:pt x="80" y="99"/>
                  </a:lnTo>
                  <a:lnTo>
                    <a:pt x="84" y="99"/>
                  </a:lnTo>
                  <a:lnTo>
                    <a:pt x="84" y="103"/>
                  </a:lnTo>
                  <a:lnTo>
                    <a:pt x="88" y="103"/>
                  </a:lnTo>
                  <a:lnTo>
                    <a:pt x="88" y="99"/>
                  </a:lnTo>
                  <a:lnTo>
                    <a:pt x="84" y="99"/>
                  </a:lnTo>
                  <a:lnTo>
                    <a:pt x="80" y="99"/>
                  </a:lnTo>
                  <a:lnTo>
                    <a:pt x="76" y="99"/>
                  </a:lnTo>
                  <a:lnTo>
                    <a:pt x="72" y="95"/>
                  </a:lnTo>
                  <a:lnTo>
                    <a:pt x="68" y="95"/>
                  </a:lnTo>
                  <a:lnTo>
                    <a:pt x="64" y="95"/>
                  </a:lnTo>
                  <a:lnTo>
                    <a:pt x="68" y="95"/>
                  </a:lnTo>
                  <a:lnTo>
                    <a:pt x="72" y="95"/>
                  </a:lnTo>
                  <a:lnTo>
                    <a:pt x="76" y="92"/>
                  </a:lnTo>
                  <a:lnTo>
                    <a:pt x="80" y="92"/>
                  </a:lnTo>
                  <a:lnTo>
                    <a:pt x="84" y="92"/>
                  </a:lnTo>
                  <a:lnTo>
                    <a:pt x="88" y="92"/>
                  </a:lnTo>
                  <a:lnTo>
                    <a:pt x="92" y="92"/>
                  </a:lnTo>
                  <a:lnTo>
                    <a:pt x="96" y="92"/>
                  </a:lnTo>
                  <a:lnTo>
                    <a:pt x="96" y="88"/>
                  </a:lnTo>
                  <a:lnTo>
                    <a:pt x="100" y="88"/>
                  </a:lnTo>
                  <a:lnTo>
                    <a:pt x="96" y="88"/>
                  </a:lnTo>
                  <a:lnTo>
                    <a:pt x="92" y="88"/>
                  </a:lnTo>
                  <a:lnTo>
                    <a:pt x="92" y="92"/>
                  </a:lnTo>
                  <a:lnTo>
                    <a:pt x="88" y="92"/>
                  </a:lnTo>
                  <a:lnTo>
                    <a:pt x="84" y="92"/>
                  </a:lnTo>
                  <a:lnTo>
                    <a:pt x="80" y="92"/>
                  </a:lnTo>
                  <a:lnTo>
                    <a:pt x="76" y="88"/>
                  </a:lnTo>
                  <a:lnTo>
                    <a:pt x="72" y="88"/>
                  </a:lnTo>
                  <a:lnTo>
                    <a:pt x="72" y="92"/>
                  </a:lnTo>
                  <a:lnTo>
                    <a:pt x="68" y="92"/>
                  </a:lnTo>
                  <a:lnTo>
                    <a:pt x="64" y="92"/>
                  </a:lnTo>
                  <a:lnTo>
                    <a:pt x="60" y="92"/>
                  </a:lnTo>
                  <a:lnTo>
                    <a:pt x="56" y="92"/>
                  </a:lnTo>
                  <a:lnTo>
                    <a:pt x="52" y="92"/>
                  </a:lnTo>
                  <a:lnTo>
                    <a:pt x="52" y="95"/>
                  </a:lnTo>
                  <a:lnTo>
                    <a:pt x="48" y="92"/>
                  </a:lnTo>
                  <a:lnTo>
                    <a:pt x="48" y="88"/>
                  </a:lnTo>
                  <a:lnTo>
                    <a:pt x="48" y="84"/>
                  </a:lnTo>
                  <a:lnTo>
                    <a:pt x="52" y="84"/>
                  </a:lnTo>
                  <a:lnTo>
                    <a:pt x="56" y="84"/>
                  </a:lnTo>
                  <a:lnTo>
                    <a:pt x="56" y="88"/>
                  </a:lnTo>
                  <a:lnTo>
                    <a:pt x="60" y="88"/>
                  </a:lnTo>
                  <a:lnTo>
                    <a:pt x="56" y="84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8" y="84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76" y="76"/>
                  </a:lnTo>
                  <a:lnTo>
                    <a:pt x="80" y="76"/>
                  </a:lnTo>
                  <a:lnTo>
                    <a:pt x="84" y="76"/>
                  </a:lnTo>
                  <a:lnTo>
                    <a:pt x="88" y="76"/>
                  </a:lnTo>
                  <a:lnTo>
                    <a:pt x="92" y="76"/>
                  </a:lnTo>
                  <a:lnTo>
                    <a:pt x="96" y="76"/>
                  </a:lnTo>
                  <a:lnTo>
                    <a:pt x="100" y="76"/>
                  </a:lnTo>
                  <a:lnTo>
                    <a:pt x="104" y="72"/>
                  </a:lnTo>
                  <a:lnTo>
                    <a:pt x="100" y="72"/>
                  </a:lnTo>
                  <a:lnTo>
                    <a:pt x="96" y="72"/>
                  </a:lnTo>
                  <a:lnTo>
                    <a:pt x="96" y="76"/>
                  </a:lnTo>
                  <a:lnTo>
                    <a:pt x="96" y="72"/>
                  </a:lnTo>
                  <a:lnTo>
                    <a:pt x="92" y="72"/>
                  </a:lnTo>
                  <a:lnTo>
                    <a:pt x="88" y="72"/>
                  </a:lnTo>
                  <a:lnTo>
                    <a:pt x="88" y="68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64"/>
                  </a:lnTo>
                  <a:lnTo>
                    <a:pt x="92" y="64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76" y="72"/>
                  </a:lnTo>
                  <a:lnTo>
                    <a:pt x="72" y="72"/>
                  </a:lnTo>
                  <a:lnTo>
                    <a:pt x="72" y="68"/>
                  </a:lnTo>
                  <a:lnTo>
                    <a:pt x="76" y="68"/>
                  </a:lnTo>
                  <a:lnTo>
                    <a:pt x="76" y="64"/>
                  </a:lnTo>
                  <a:lnTo>
                    <a:pt x="76" y="60"/>
                  </a:lnTo>
                  <a:lnTo>
                    <a:pt x="72" y="60"/>
                  </a:lnTo>
                  <a:lnTo>
                    <a:pt x="72" y="64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80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4" y="80"/>
                  </a:lnTo>
                  <a:lnTo>
                    <a:pt x="40" y="80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28" y="72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16" y="60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20" y="56"/>
                  </a:lnTo>
                  <a:lnTo>
                    <a:pt x="24" y="60"/>
                  </a:lnTo>
                  <a:lnTo>
                    <a:pt x="28" y="60"/>
                  </a:lnTo>
                  <a:lnTo>
                    <a:pt x="28" y="56"/>
                  </a:lnTo>
                  <a:lnTo>
                    <a:pt x="24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48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52" y="44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2" y="40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80" y="48"/>
                  </a:lnTo>
                  <a:lnTo>
                    <a:pt x="80" y="52"/>
                  </a:lnTo>
                  <a:lnTo>
                    <a:pt x="84" y="52"/>
                  </a:lnTo>
                  <a:lnTo>
                    <a:pt x="84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92" y="56"/>
                  </a:lnTo>
                  <a:lnTo>
                    <a:pt x="88" y="56"/>
                  </a:lnTo>
                  <a:lnTo>
                    <a:pt x="88" y="52"/>
                  </a:lnTo>
                  <a:lnTo>
                    <a:pt x="84" y="52"/>
                  </a:lnTo>
                  <a:lnTo>
                    <a:pt x="84" y="48"/>
                  </a:lnTo>
                  <a:lnTo>
                    <a:pt x="84" y="44"/>
                  </a:lnTo>
                  <a:lnTo>
                    <a:pt x="80" y="44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0" y="32"/>
                  </a:lnTo>
                  <a:lnTo>
                    <a:pt x="76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4" y="28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8" y="28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12" y="32"/>
                  </a:lnTo>
                  <a:lnTo>
                    <a:pt x="112" y="36"/>
                  </a:lnTo>
                  <a:lnTo>
                    <a:pt x="108" y="40"/>
                  </a:lnTo>
                  <a:lnTo>
                    <a:pt x="108" y="44"/>
                  </a:lnTo>
                  <a:lnTo>
                    <a:pt x="112" y="44"/>
                  </a:lnTo>
                  <a:lnTo>
                    <a:pt x="112" y="40"/>
                  </a:lnTo>
                  <a:lnTo>
                    <a:pt x="116" y="36"/>
                  </a:lnTo>
                  <a:lnTo>
                    <a:pt x="120" y="36"/>
                  </a:lnTo>
                  <a:lnTo>
                    <a:pt x="124" y="36"/>
                  </a:lnTo>
                  <a:lnTo>
                    <a:pt x="124" y="40"/>
                  </a:lnTo>
                  <a:lnTo>
                    <a:pt x="128" y="40"/>
                  </a:lnTo>
                  <a:lnTo>
                    <a:pt x="128" y="44"/>
                  </a:lnTo>
                  <a:lnTo>
                    <a:pt x="128" y="48"/>
                  </a:lnTo>
                  <a:lnTo>
                    <a:pt x="128" y="52"/>
                  </a:lnTo>
                  <a:lnTo>
                    <a:pt x="132" y="52"/>
                  </a:lnTo>
                  <a:lnTo>
                    <a:pt x="132" y="48"/>
                  </a:lnTo>
                  <a:lnTo>
                    <a:pt x="140" y="52"/>
                  </a:lnTo>
                  <a:lnTo>
                    <a:pt x="144" y="56"/>
                  </a:lnTo>
                  <a:lnTo>
                    <a:pt x="148" y="56"/>
                  </a:lnTo>
                  <a:lnTo>
                    <a:pt x="152" y="56"/>
                  </a:lnTo>
                  <a:lnTo>
                    <a:pt x="156" y="56"/>
                  </a:lnTo>
                  <a:lnTo>
                    <a:pt x="160" y="56"/>
                  </a:lnTo>
                  <a:lnTo>
                    <a:pt x="160" y="60"/>
                  </a:lnTo>
                  <a:lnTo>
                    <a:pt x="164" y="60"/>
                  </a:lnTo>
                  <a:lnTo>
                    <a:pt x="168" y="60"/>
                  </a:lnTo>
                  <a:lnTo>
                    <a:pt x="168" y="64"/>
                  </a:lnTo>
                  <a:lnTo>
                    <a:pt x="164" y="64"/>
                  </a:lnTo>
                  <a:lnTo>
                    <a:pt x="160" y="64"/>
                  </a:lnTo>
                  <a:lnTo>
                    <a:pt x="160" y="68"/>
                  </a:lnTo>
                  <a:lnTo>
                    <a:pt x="156" y="64"/>
                  </a:lnTo>
                  <a:lnTo>
                    <a:pt x="152" y="64"/>
                  </a:lnTo>
                  <a:lnTo>
                    <a:pt x="152" y="68"/>
                  </a:lnTo>
                  <a:lnTo>
                    <a:pt x="148" y="68"/>
                  </a:lnTo>
                  <a:lnTo>
                    <a:pt x="144" y="68"/>
                  </a:lnTo>
                  <a:lnTo>
                    <a:pt x="140" y="68"/>
                  </a:lnTo>
                  <a:lnTo>
                    <a:pt x="136" y="68"/>
                  </a:lnTo>
                  <a:lnTo>
                    <a:pt x="140" y="68"/>
                  </a:lnTo>
                  <a:lnTo>
                    <a:pt x="140" y="72"/>
                  </a:lnTo>
                  <a:lnTo>
                    <a:pt x="136" y="72"/>
                  </a:lnTo>
                  <a:lnTo>
                    <a:pt x="132" y="72"/>
                  </a:lnTo>
                  <a:lnTo>
                    <a:pt x="128" y="72"/>
                  </a:lnTo>
                  <a:lnTo>
                    <a:pt x="128" y="76"/>
                  </a:lnTo>
                  <a:lnTo>
                    <a:pt x="128" y="80"/>
                  </a:lnTo>
                  <a:lnTo>
                    <a:pt x="128" y="84"/>
                  </a:lnTo>
                  <a:lnTo>
                    <a:pt x="124" y="84"/>
                  </a:lnTo>
                  <a:lnTo>
                    <a:pt x="120" y="84"/>
                  </a:lnTo>
                  <a:lnTo>
                    <a:pt x="120" y="88"/>
                  </a:lnTo>
                  <a:lnTo>
                    <a:pt x="120" y="92"/>
                  </a:lnTo>
                  <a:lnTo>
                    <a:pt x="120" y="95"/>
                  </a:lnTo>
                  <a:lnTo>
                    <a:pt x="116" y="99"/>
                  </a:lnTo>
                  <a:lnTo>
                    <a:pt x="112" y="99"/>
                  </a:lnTo>
                  <a:lnTo>
                    <a:pt x="108" y="99"/>
                  </a:lnTo>
                  <a:lnTo>
                    <a:pt x="108" y="103"/>
                  </a:lnTo>
                  <a:lnTo>
                    <a:pt x="104" y="107"/>
                  </a:lnTo>
                  <a:lnTo>
                    <a:pt x="104" y="111"/>
                  </a:lnTo>
                  <a:lnTo>
                    <a:pt x="104" y="115"/>
                  </a:lnTo>
                  <a:lnTo>
                    <a:pt x="100" y="115"/>
                  </a:lnTo>
                  <a:lnTo>
                    <a:pt x="104" y="115"/>
                  </a:lnTo>
                  <a:lnTo>
                    <a:pt x="100" y="119"/>
                  </a:lnTo>
                  <a:lnTo>
                    <a:pt x="96" y="119"/>
                  </a:lnTo>
                  <a:lnTo>
                    <a:pt x="96" y="123"/>
                  </a:lnTo>
                  <a:lnTo>
                    <a:pt x="100" y="123"/>
                  </a:lnTo>
                  <a:lnTo>
                    <a:pt x="100" y="127"/>
                  </a:lnTo>
                  <a:lnTo>
                    <a:pt x="96" y="127"/>
                  </a:lnTo>
                  <a:lnTo>
                    <a:pt x="92" y="127"/>
                  </a:lnTo>
                  <a:lnTo>
                    <a:pt x="88" y="127"/>
                  </a:lnTo>
                  <a:lnTo>
                    <a:pt x="88" y="123"/>
                  </a:lnTo>
                  <a:lnTo>
                    <a:pt x="84" y="123"/>
                  </a:lnTo>
                  <a:lnTo>
                    <a:pt x="80" y="123"/>
                  </a:lnTo>
                  <a:lnTo>
                    <a:pt x="80" y="119"/>
                  </a:lnTo>
                  <a:lnTo>
                    <a:pt x="76" y="119"/>
                  </a:lnTo>
                  <a:lnTo>
                    <a:pt x="80" y="119"/>
                  </a:lnTo>
                  <a:lnTo>
                    <a:pt x="80" y="115"/>
                  </a:lnTo>
                  <a:lnTo>
                    <a:pt x="84" y="115"/>
                  </a:lnTo>
                  <a:lnTo>
                    <a:pt x="88" y="115"/>
                  </a:lnTo>
                  <a:lnTo>
                    <a:pt x="92" y="115"/>
                  </a:lnTo>
                  <a:lnTo>
                    <a:pt x="88" y="115"/>
                  </a:lnTo>
                  <a:lnTo>
                    <a:pt x="84" y="115"/>
                  </a:lnTo>
                  <a:lnTo>
                    <a:pt x="84" y="111"/>
                  </a:lnTo>
                  <a:lnTo>
                    <a:pt x="80" y="115"/>
                  </a:lnTo>
                  <a:lnTo>
                    <a:pt x="76" y="115"/>
                  </a:lnTo>
                  <a:lnTo>
                    <a:pt x="72" y="115"/>
                  </a:lnTo>
                  <a:lnTo>
                    <a:pt x="68" y="115"/>
                  </a:lnTo>
                  <a:lnTo>
                    <a:pt x="68" y="111"/>
                  </a:lnTo>
                  <a:lnTo>
                    <a:pt x="64" y="111"/>
                  </a:lnTo>
                  <a:lnTo>
                    <a:pt x="60" y="111"/>
                  </a:lnTo>
                  <a:close/>
                  <a:moveTo>
                    <a:pt x="24" y="80"/>
                  </a:moveTo>
                  <a:lnTo>
                    <a:pt x="20" y="80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64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72"/>
                  </a:lnTo>
                  <a:lnTo>
                    <a:pt x="20" y="72"/>
                  </a:lnTo>
                  <a:lnTo>
                    <a:pt x="24" y="76"/>
                  </a:lnTo>
                  <a:lnTo>
                    <a:pt x="24" y="80"/>
                  </a:lnTo>
                  <a:close/>
                  <a:moveTo>
                    <a:pt x="144" y="72"/>
                  </a:moveTo>
                  <a:lnTo>
                    <a:pt x="148" y="72"/>
                  </a:lnTo>
                  <a:lnTo>
                    <a:pt x="152" y="68"/>
                  </a:lnTo>
                  <a:lnTo>
                    <a:pt x="156" y="68"/>
                  </a:lnTo>
                  <a:lnTo>
                    <a:pt x="160" y="68"/>
                  </a:lnTo>
                  <a:lnTo>
                    <a:pt x="164" y="68"/>
                  </a:lnTo>
                  <a:lnTo>
                    <a:pt x="168" y="68"/>
                  </a:lnTo>
                  <a:lnTo>
                    <a:pt x="172" y="68"/>
                  </a:lnTo>
                  <a:lnTo>
                    <a:pt x="176" y="68"/>
                  </a:lnTo>
                  <a:lnTo>
                    <a:pt x="176" y="72"/>
                  </a:lnTo>
                  <a:lnTo>
                    <a:pt x="176" y="76"/>
                  </a:lnTo>
                  <a:lnTo>
                    <a:pt x="180" y="76"/>
                  </a:lnTo>
                  <a:lnTo>
                    <a:pt x="176" y="80"/>
                  </a:lnTo>
                  <a:lnTo>
                    <a:pt x="172" y="80"/>
                  </a:lnTo>
                  <a:lnTo>
                    <a:pt x="172" y="76"/>
                  </a:lnTo>
                  <a:lnTo>
                    <a:pt x="168" y="80"/>
                  </a:lnTo>
                  <a:lnTo>
                    <a:pt x="164" y="80"/>
                  </a:lnTo>
                  <a:lnTo>
                    <a:pt x="160" y="80"/>
                  </a:lnTo>
                  <a:lnTo>
                    <a:pt x="156" y="80"/>
                  </a:lnTo>
                  <a:lnTo>
                    <a:pt x="152" y="80"/>
                  </a:lnTo>
                  <a:lnTo>
                    <a:pt x="156" y="80"/>
                  </a:lnTo>
                  <a:lnTo>
                    <a:pt x="156" y="76"/>
                  </a:lnTo>
                  <a:lnTo>
                    <a:pt x="152" y="76"/>
                  </a:lnTo>
                  <a:lnTo>
                    <a:pt x="152" y="72"/>
                  </a:lnTo>
                  <a:lnTo>
                    <a:pt x="148" y="72"/>
                  </a:lnTo>
                  <a:lnTo>
                    <a:pt x="144" y="72"/>
                  </a:lnTo>
                  <a:close/>
                  <a:moveTo>
                    <a:pt x="184" y="107"/>
                  </a:moveTo>
                  <a:lnTo>
                    <a:pt x="180" y="107"/>
                  </a:lnTo>
                  <a:lnTo>
                    <a:pt x="180" y="103"/>
                  </a:lnTo>
                  <a:lnTo>
                    <a:pt x="184" y="99"/>
                  </a:lnTo>
                  <a:lnTo>
                    <a:pt x="180" y="99"/>
                  </a:lnTo>
                  <a:lnTo>
                    <a:pt x="176" y="99"/>
                  </a:lnTo>
                  <a:lnTo>
                    <a:pt x="172" y="99"/>
                  </a:lnTo>
                  <a:lnTo>
                    <a:pt x="168" y="99"/>
                  </a:lnTo>
                  <a:lnTo>
                    <a:pt x="164" y="99"/>
                  </a:lnTo>
                  <a:lnTo>
                    <a:pt x="164" y="103"/>
                  </a:lnTo>
                  <a:lnTo>
                    <a:pt x="160" y="103"/>
                  </a:lnTo>
                  <a:lnTo>
                    <a:pt x="156" y="103"/>
                  </a:lnTo>
                  <a:lnTo>
                    <a:pt x="156" y="99"/>
                  </a:lnTo>
                  <a:lnTo>
                    <a:pt x="160" y="99"/>
                  </a:lnTo>
                  <a:lnTo>
                    <a:pt x="160" y="95"/>
                  </a:lnTo>
                  <a:lnTo>
                    <a:pt x="164" y="95"/>
                  </a:lnTo>
                  <a:lnTo>
                    <a:pt x="164" y="92"/>
                  </a:lnTo>
                  <a:lnTo>
                    <a:pt x="168" y="88"/>
                  </a:lnTo>
                  <a:lnTo>
                    <a:pt x="164" y="88"/>
                  </a:lnTo>
                  <a:lnTo>
                    <a:pt x="160" y="84"/>
                  </a:lnTo>
                  <a:lnTo>
                    <a:pt x="156" y="84"/>
                  </a:lnTo>
                  <a:lnTo>
                    <a:pt x="156" y="80"/>
                  </a:lnTo>
                  <a:lnTo>
                    <a:pt x="160" y="80"/>
                  </a:lnTo>
                  <a:lnTo>
                    <a:pt x="164" y="80"/>
                  </a:lnTo>
                  <a:lnTo>
                    <a:pt x="168" y="80"/>
                  </a:lnTo>
                  <a:lnTo>
                    <a:pt x="172" y="80"/>
                  </a:lnTo>
                  <a:lnTo>
                    <a:pt x="176" y="80"/>
                  </a:lnTo>
                  <a:lnTo>
                    <a:pt x="180" y="80"/>
                  </a:lnTo>
                  <a:lnTo>
                    <a:pt x="188" y="80"/>
                  </a:lnTo>
                  <a:lnTo>
                    <a:pt x="192" y="80"/>
                  </a:lnTo>
                  <a:lnTo>
                    <a:pt x="196" y="80"/>
                  </a:lnTo>
                  <a:lnTo>
                    <a:pt x="196" y="84"/>
                  </a:lnTo>
                  <a:lnTo>
                    <a:pt x="192" y="84"/>
                  </a:lnTo>
                  <a:lnTo>
                    <a:pt x="188" y="84"/>
                  </a:lnTo>
                  <a:lnTo>
                    <a:pt x="192" y="84"/>
                  </a:lnTo>
                  <a:lnTo>
                    <a:pt x="192" y="88"/>
                  </a:lnTo>
                  <a:lnTo>
                    <a:pt x="196" y="88"/>
                  </a:lnTo>
                  <a:lnTo>
                    <a:pt x="200" y="88"/>
                  </a:lnTo>
                  <a:lnTo>
                    <a:pt x="200" y="92"/>
                  </a:lnTo>
                  <a:lnTo>
                    <a:pt x="204" y="92"/>
                  </a:lnTo>
                  <a:lnTo>
                    <a:pt x="204" y="88"/>
                  </a:lnTo>
                  <a:lnTo>
                    <a:pt x="208" y="88"/>
                  </a:lnTo>
                  <a:lnTo>
                    <a:pt x="212" y="92"/>
                  </a:lnTo>
                  <a:lnTo>
                    <a:pt x="216" y="92"/>
                  </a:lnTo>
                  <a:lnTo>
                    <a:pt x="220" y="92"/>
                  </a:lnTo>
                  <a:lnTo>
                    <a:pt x="216" y="92"/>
                  </a:lnTo>
                  <a:lnTo>
                    <a:pt x="212" y="95"/>
                  </a:lnTo>
                  <a:lnTo>
                    <a:pt x="208" y="95"/>
                  </a:lnTo>
                  <a:lnTo>
                    <a:pt x="204" y="95"/>
                  </a:lnTo>
                  <a:lnTo>
                    <a:pt x="204" y="99"/>
                  </a:lnTo>
                  <a:lnTo>
                    <a:pt x="200" y="103"/>
                  </a:lnTo>
                  <a:lnTo>
                    <a:pt x="196" y="103"/>
                  </a:lnTo>
                  <a:lnTo>
                    <a:pt x="192" y="103"/>
                  </a:lnTo>
                  <a:lnTo>
                    <a:pt x="188" y="103"/>
                  </a:lnTo>
                  <a:lnTo>
                    <a:pt x="188" y="107"/>
                  </a:lnTo>
                  <a:lnTo>
                    <a:pt x="184" y="10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6" name="Freeform 113"/>
            <p:cNvSpPr>
              <a:spLocks noEditPoints="1"/>
            </p:cNvSpPr>
            <p:nvPr>
              <p:custDataLst>
                <p:tags r:id="rId309"/>
              </p:custDataLst>
            </p:nvPr>
          </p:nvSpPr>
          <p:spPr bwMode="gray">
            <a:xfrm>
              <a:off x="4623733" y="2455893"/>
              <a:ext cx="296613" cy="508690"/>
            </a:xfrm>
            <a:custGeom>
              <a:avLst/>
              <a:gdLst/>
              <a:ahLst/>
              <a:cxnLst>
                <a:cxn ang="0">
                  <a:pos x="112" y="247"/>
                </a:cxn>
                <a:cxn ang="0">
                  <a:pos x="104" y="255"/>
                </a:cxn>
                <a:cxn ang="0">
                  <a:pos x="84" y="267"/>
                </a:cxn>
                <a:cxn ang="0">
                  <a:pos x="80" y="271"/>
                </a:cxn>
                <a:cxn ang="0">
                  <a:pos x="88" y="283"/>
                </a:cxn>
                <a:cxn ang="0">
                  <a:pos x="80" y="299"/>
                </a:cxn>
                <a:cxn ang="0">
                  <a:pos x="68" y="323"/>
                </a:cxn>
                <a:cxn ang="0">
                  <a:pos x="48" y="335"/>
                </a:cxn>
                <a:cxn ang="0">
                  <a:pos x="32" y="343"/>
                </a:cxn>
                <a:cxn ang="0">
                  <a:pos x="28" y="323"/>
                </a:cxn>
                <a:cxn ang="0">
                  <a:pos x="20" y="303"/>
                </a:cxn>
                <a:cxn ang="0">
                  <a:pos x="8" y="283"/>
                </a:cxn>
                <a:cxn ang="0">
                  <a:pos x="4" y="263"/>
                </a:cxn>
                <a:cxn ang="0">
                  <a:pos x="8" y="259"/>
                </a:cxn>
                <a:cxn ang="0">
                  <a:pos x="16" y="235"/>
                </a:cxn>
                <a:cxn ang="0">
                  <a:pos x="20" y="211"/>
                </a:cxn>
                <a:cxn ang="0">
                  <a:pos x="24" y="195"/>
                </a:cxn>
                <a:cxn ang="0">
                  <a:pos x="16" y="172"/>
                </a:cxn>
                <a:cxn ang="0">
                  <a:pos x="16" y="144"/>
                </a:cxn>
                <a:cxn ang="0">
                  <a:pos x="48" y="120"/>
                </a:cxn>
                <a:cxn ang="0">
                  <a:pos x="48" y="104"/>
                </a:cxn>
                <a:cxn ang="0">
                  <a:pos x="56" y="80"/>
                </a:cxn>
                <a:cxn ang="0">
                  <a:pos x="80" y="56"/>
                </a:cxn>
                <a:cxn ang="0">
                  <a:pos x="84" y="32"/>
                </a:cxn>
                <a:cxn ang="0">
                  <a:pos x="108" y="20"/>
                </a:cxn>
                <a:cxn ang="0">
                  <a:pos x="136" y="20"/>
                </a:cxn>
                <a:cxn ang="0">
                  <a:pos x="148" y="4"/>
                </a:cxn>
                <a:cxn ang="0">
                  <a:pos x="172" y="16"/>
                </a:cxn>
                <a:cxn ang="0">
                  <a:pos x="188" y="44"/>
                </a:cxn>
                <a:cxn ang="0">
                  <a:pos x="192" y="68"/>
                </a:cxn>
                <a:cxn ang="0">
                  <a:pos x="188" y="88"/>
                </a:cxn>
                <a:cxn ang="0">
                  <a:pos x="168" y="92"/>
                </a:cxn>
                <a:cxn ang="0">
                  <a:pos x="168" y="96"/>
                </a:cxn>
                <a:cxn ang="0">
                  <a:pos x="160" y="104"/>
                </a:cxn>
                <a:cxn ang="0">
                  <a:pos x="152" y="116"/>
                </a:cxn>
                <a:cxn ang="0">
                  <a:pos x="156" y="128"/>
                </a:cxn>
                <a:cxn ang="0">
                  <a:pos x="132" y="144"/>
                </a:cxn>
                <a:cxn ang="0">
                  <a:pos x="124" y="152"/>
                </a:cxn>
                <a:cxn ang="0">
                  <a:pos x="112" y="160"/>
                </a:cxn>
                <a:cxn ang="0">
                  <a:pos x="104" y="160"/>
                </a:cxn>
                <a:cxn ang="0">
                  <a:pos x="96" y="180"/>
                </a:cxn>
                <a:cxn ang="0">
                  <a:pos x="92" y="191"/>
                </a:cxn>
                <a:cxn ang="0">
                  <a:pos x="96" y="219"/>
                </a:cxn>
                <a:cxn ang="0">
                  <a:pos x="116" y="227"/>
                </a:cxn>
                <a:cxn ang="0">
                  <a:pos x="112" y="247"/>
                </a:cxn>
                <a:cxn ang="0">
                  <a:pos x="100" y="239"/>
                </a:cxn>
                <a:cxn ang="0">
                  <a:pos x="100" y="243"/>
                </a:cxn>
                <a:cxn ang="0">
                  <a:pos x="84" y="243"/>
                </a:cxn>
                <a:cxn ang="0">
                  <a:pos x="92" y="247"/>
                </a:cxn>
                <a:cxn ang="0">
                  <a:pos x="100" y="176"/>
                </a:cxn>
                <a:cxn ang="0">
                  <a:pos x="100" y="251"/>
                </a:cxn>
                <a:cxn ang="0">
                  <a:pos x="112" y="227"/>
                </a:cxn>
                <a:cxn ang="0">
                  <a:pos x="8" y="279"/>
                </a:cxn>
                <a:cxn ang="0">
                  <a:pos x="116" y="295"/>
                </a:cxn>
                <a:cxn ang="0">
                  <a:pos x="108" y="291"/>
                </a:cxn>
                <a:cxn ang="0">
                  <a:pos x="84" y="307"/>
                </a:cxn>
                <a:cxn ang="0">
                  <a:pos x="88" y="307"/>
                </a:cxn>
              </a:cxnLst>
              <a:rect l="0" t="0" r="r" b="b"/>
              <a:pathLst>
                <a:path w="200" h="343">
                  <a:moveTo>
                    <a:pt x="96" y="251"/>
                  </a:moveTo>
                  <a:lnTo>
                    <a:pt x="100" y="251"/>
                  </a:lnTo>
                  <a:lnTo>
                    <a:pt x="104" y="251"/>
                  </a:lnTo>
                  <a:lnTo>
                    <a:pt x="104" y="247"/>
                  </a:lnTo>
                  <a:lnTo>
                    <a:pt x="104" y="251"/>
                  </a:lnTo>
                  <a:lnTo>
                    <a:pt x="108" y="251"/>
                  </a:lnTo>
                  <a:lnTo>
                    <a:pt x="108" y="247"/>
                  </a:lnTo>
                  <a:lnTo>
                    <a:pt x="112" y="247"/>
                  </a:lnTo>
                  <a:lnTo>
                    <a:pt x="112" y="251"/>
                  </a:lnTo>
                  <a:lnTo>
                    <a:pt x="112" y="247"/>
                  </a:lnTo>
                  <a:lnTo>
                    <a:pt x="116" y="247"/>
                  </a:lnTo>
                  <a:lnTo>
                    <a:pt x="116" y="251"/>
                  </a:lnTo>
                  <a:lnTo>
                    <a:pt x="112" y="251"/>
                  </a:lnTo>
                  <a:lnTo>
                    <a:pt x="108" y="251"/>
                  </a:lnTo>
                  <a:lnTo>
                    <a:pt x="108" y="255"/>
                  </a:lnTo>
                  <a:lnTo>
                    <a:pt x="104" y="255"/>
                  </a:lnTo>
                  <a:lnTo>
                    <a:pt x="104" y="259"/>
                  </a:lnTo>
                  <a:lnTo>
                    <a:pt x="100" y="255"/>
                  </a:lnTo>
                  <a:lnTo>
                    <a:pt x="100" y="259"/>
                  </a:lnTo>
                  <a:lnTo>
                    <a:pt x="96" y="263"/>
                  </a:lnTo>
                  <a:lnTo>
                    <a:pt x="92" y="263"/>
                  </a:lnTo>
                  <a:lnTo>
                    <a:pt x="92" y="267"/>
                  </a:lnTo>
                  <a:lnTo>
                    <a:pt x="88" y="267"/>
                  </a:lnTo>
                  <a:lnTo>
                    <a:pt x="84" y="267"/>
                  </a:lnTo>
                  <a:lnTo>
                    <a:pt x="80" y="267"/>
                  </a:lnTo>
                  <a:lnTo>
                    <a:pt x="76" y="267"/>
                  </a:lnTo>
                  <a:lnTo>
                    <a:pt x="80" y="267"/>
                  </a:lnTo>
                  <a:lnTo>
                    <a:pt x="84" y="267"/>
                  </a:lnTo>
                  <a:lnTo>
                    <a:pt x="88" y="267"/>
                  </a:lnTo>
                  <a:lnTo>
                    <a:pt x="88" y="271"/>
                  </a:lnTo>
                  <a:lnTo>
                    <a:pt x="84" y="271"/>
                  </a:lnTo>
                  <a:lnTo>
                    <a:pt x="80" y="271"/>
                  </a:lnTo>
                  <a:lnTo>
                    <a:pt x="84" y="271"/>
                  </a:lnTo>
                  <a:lnTo>
                    <a:pt x="88" y="271"/>
                  </a:lnTo>
                  <a:lnTo>
                    <a:pt x="88" y="275"/>
                  </a:lnTo>
                  <a:lnTo>
                    <a:pt x="88" y="279"/>
                  </a:lnTo>
                  <a:lnTo>
                    <a:pt x="84" y="279"/>
                  </a:lnTo>
                  <a:lnTo>
                    <a:pt x="88" y="279"/>
                  </a:lnTo>
                  <a:lnTo>
                    <a:pt x="84" y="283"/>
                  </a:lnTo>
                  <a:lnTo>
                    <a:pt x="88" y="283"/>
                  </a:lnTo>
                  <a:lnTo>
                    <a:pt x="84" y="283"/>
                  </a:lnTo>
                  <a:lnTo>
                    <a:pt x="84" y="287"/>
                  </a:lnTo>
                  <a:lnTo>
                    <a:pt x="80" y="283"/>
                  </a:lnTo>
                  <a:lnTo>
                    <a:pt x="84" y="287"/>
                  </a:lnTo>
                  <a:lnTo>
                    <a:pt x="84" y="291"/>
                  </a:lnTo>
                  <a:lnTo>
                    <a:pt x="84" y="295"/>
                  </a:lnTo>
                  <a:lnTo>
                    <a:pt x="84" y="299"/>
                  </a:lnTo>
                  <a:lnTo>
                    <a:pt x="80" y="299"/>
                  </a:lnTo>
                  <a:lnTo>
                    <a:pt x="84" y="303"/>
                  </a:lnTo>
                  <a:lnTo>
                    <a:pt x="80" y="307"/>
                  </a:lnTo>
                  <a:lnTo>
                    <a:pt x="80" y="311"/>
                  </a:lnTo>
                  <a:lnTo>
                    <a:pt x="80" y="315"/>
                  </a:lnTo>
                  <a:lnTo>
                    <a:pt x="76" y="319"/>
                  </a:lnTo>
                  <a:lnTo>
                    <a:pt x="76" y="323"/>
                  </a:lnTo>
                  <a:lnTo>
                    <a:pt x="72" y="327"/>
                  </a:lnTo>
                  <a:lnTo>
                    <a:pt x="68" y="323"/>
                  </a:lnTo>
                  <a:lnTo>
                    <a:pt x="64" y="327"/>
                  </a:lnTo>
                  <a:lnTo>
                    <a:pt x="60" y="323"/>
                  </a:lnTo>
                  <a:lnTo>
                    <a:pt x="56" y="323"/>
                  </a:lnTo>
                  <a:lnTo>
                    <a:pt x="56" y="327"/>
                  </a:lnTo>
                  <a:lnTo>
                    <a:pt x="52" y="327"/>
                  </a:lnTo>
                  <a:lnTo>
                    <a:pt x="52" y="331"/>
                  </a:lnTo>
                  <a:lnTo>
                    <a:pt x="48" y="331"/>
                  </a:lnTo>
                  <a:lnTo>
                    <a:pt x="48" y="335"/>
                  </a:lnTo>
                  <a:lnTo>
                    <a:pt x="48" y="339"/>
                  </a:lnTo>
                  <a:lnTo>
                    <a:pt x="52" y="339"/>
                  </a:lnTo>
                  <a:lnTo>
                    <a:pt x="48" y="339"/>
                  </a:lnTo>
                  <a:lnTo>
                    <a:pt x="48" y="343"/>
                  </a:lnTo>
                  <a:lnTo>
                    <a:pt x="44" y="343"/>
                  </a:lnTo>
                  <a:lnTo>
                    <a:pt x="40" y="343"/>
                  </a:lnTo>
                  <a:lnTo>
                    <a:pt x="36" y="343"/>
                  </a:lnTo>
                  <a:lnTo>
                    <a:pt x="32" y="343"/>
                  </a:lnTo>
                  <a:lnTo>
                    <a:pt x="28" y="343"/>
                  </a:lnTo>
                  <a:lnTo>
                    <a:pt x="28" y="339"/>
                  </a:lnTo>
                  <a:lnTo>
                    <a:pt x="32" y="335"/>
                  </a:lnTo>
                  <a:lnTo>
                    <a:pt x="28" y="331"/>
                  </a:lnTo>
                  <a:lnTo>
                    <a:pt x="24" y="327"/>
                  </a:lnTo>
                  <a:lnTo>
                    <a:pt x="20" y="323"/>
                  </a:lnTo>
                  <a:lnTo>
                    <a:pt x="24" y="323"/>
                  </a:lnTo>
                  <a:lnTo>
                    <a:pt x="28" y="323"/>
                  </a:lnTo>
                  <a:lnTo>
                    <a:pt x="24" y="319"/>
                  </a:lnTo>
                  <a:lnTo>
                    <a:pt x="28" y="319"/>
                  </a:lnTo>
                  <a:lnTo>
                    <a:pt x="28" y="315"/>
                  </a:lnTo>
                  <a:lnTo>
                    <a:pt x="24" y="315"/>
                  </a:lnTo>
                  <a:lnTo>
                    <a:pt x="24" y="311"/>
                  </a:lnTo>
                  <a:lnTo>
                    <a:pt x="24" y="307"/>
                  </a:lnTo>
                  <a:lnTo>
                    <a:pt x="20" y="307"/>
                  </a:lnTo>
                  <a:lnTo>
                    <a:pt x="20" y="303"/>
                  </a:lnTo>
                  <a:lnTo>
                    <a:pt x="16" y="303"/>
                  </a:lnTo>
                  <a:lnTo>
                    <a:pt x="16" y="299"/>
                  </a:lnTo>
                  <a:lnTo>
                    <a:pt x="16" y="295"/>
                  </a:lnTo>
                  <a:lnTo>
                    <a:pt x="12" y="295"/>
                  </a:lnTo>
                  <a:lnTo>
                    <a:pt x="12" y="291"/>
                  </a:lnTo>
                  <a:lnTo>
                    <a:pt x="12" y="287"/>
                  </a:lnTo>
                  <a:lnTo>
                    <a:pt x="8" y="287"/>
                  </a:lnTo>
                  <a:lnTo>
                    <a:pt x="8" y="283"/>
                  </a:lnTo>
                  <a:lnTo>
                    <a:pt x="12" y="283"/>
                  </a:lnTo>
                  <a:lnTo>
                    <a:pt x="12" y="279"/>
                  </a:lnTo>
                  <a:lnTo>
                    <a:pt x="12" y="275"/>
                  </a:lnTo>
                  <a:lnTo>
                    <a:pt x="8" y="275"/>
                  </a:lnTo>
                  <a:lnTo>
                    <a:pt x="4" y="275"/>
                  </a:lnTo>
                  <a:lnTo>
                    <a:pt x="4" y="271"/>
                  </a:lnTo>
                  <a:lnTo>
                    <a:pt x="4" y="267"/>
                  </a:lnTo>
                  <a:lnTo>
                    <a:pt x="4" y="263"/>
                  </a:lnTo>
                  <a:lnTo>
                    <a:pt x="0" y="263"/>
                  </a:lnTo>
                  <a:lnTo>
                    <a:pt x="4" y="263"/>
                  </a:lnTo>
                  <a:lnTo>
                    <a:pt x="4" y="259"/>
                  </a:lnTo>
                  <a:lnTo>
                    <a:pt x="0" y="259"/>
                  </a:lnTo>
                  <a:lnTo>
                    <a:pt x="0" y="255"/>
                  </a:lnTo>
                  <a:lnTo>
                    <a:pt x="4" y="255"/>
                  </a:lnTo>
                  <a:lnTo>
                    <a:pt x="4" y="259"/>
                  </a:lnTo>
                  <a:lnTo>
                    <a:pt x="8" y="259"/>
                  </a:lnTo>
                  <a:lnTo>
                    <a:pt x="12" y="255"/>
                  </a:lnTo>
                  <a:lnTo>
                    <a:pt x="12" y="251"/>
                  </a:lnTo>
                  <a:lnTo>
                    <a:pt x="12" y="247"/>
                  </a:lnTo>
                  <a:lnTo>
                    <a:pt x="8" y="243"/>
                  </a:lnTo>
                  <a:lnTo>
                    <a:pt x="12" y="243"/>
                  </a:lnTo>
                  <a:lnTo>
                    <a:pt x="12" y="239"/>
                  </a:lnTo>
                  <a:lnTo>
                    <a:pt x="12" y="235"/>
                  </a:lnTo>
                  <a:lnTo>
                    <a:pt x="16" y="235"/>
                  </a:lnTo>
                  <a:lnTo>
                    <a:pt x="20" y="235"/>
                  </a:lnTo>
                  <a:lnTo>
                    <a:pt x="20" y="231"/>
                  </a:lnTo>
                  <a:lnTo>
                    <a:pt x="20" y="227"/>
                  </a:lnTo>
                  <a:lnTo>
                    <a:pt x="24" y="223"/>
                  </a:lnTo>
                  <a:lnTo>
                    <a:pt x="24" y="219"/>
                  </a:lnTo>
                  <a:lnTo>
                    <a:pt x="20" y="219"/>
                  </a:lnTo>
                  <a:lnTo>
                    <a:pt x="20" y="215"/>
                  </a:lnTo>
                  <a:lnTo>
                    <a:pt x="20" y="211"/>
                  </a:lnTo>
                  <a:lnTo>
                    <a:pt x="16" y="207"/>
                  </a:lnTo>
                  <a:lnTo>
                    <a:pt x="20" y="207"/>
                  </a:lnTo>
                  <a:lnTo>
                    <a:pt x="24" y="207"/>
                  </a:lnTo>
                  <a:lnTo>
                    <a:pt x="24" y="203"/>
                  </a:lnTo>
                  <a:lnTo>
                    <a:pt x="28" y="203"/>
                  </a:lnTo>
                  <a:lnTo>
                    <a:pt x="28" y="199"/>
                  </a:lnTo>
                  <a:lnTo>
                    <a:pt x="24" y="199"/>
                  </a:lnTo>
                  <a:lnTo>
                    <a:pt x="24" y="195"/>
                  </a:lnTo>
                  <a:lnTo>
                    <a:pt x="20" y="195"/>
                  </a:lnTo>
                  <a:lnTo>
                    <a:pt x="16" y="191"/>
                  </a:lnTo>
                  <a:lnTo>
                    <a:pt x="16" y="188"/>
                  </a:lnTo>
                  <a:lnTo>
                    <a:pt x="16" y="184"/>
                  </a:lnTo>
                  <a:lnTo>
                    <a:pt x="20" y="180"/>
                  </a:lnTo>
                  <a:lnTo>
                    <a:pt x="20" y="176"/>
                  </a:lnTo>
                  <a:lnTo>
                    <a:pt x="16" y="176"/>
                  </a:lnTo>
                  <a:lnTo>
                    <a:pt x="16" y="172"/>
                  </a:lnTo>
                  <a:lnTo>
                    <a:pt x="16" y="168"/>
                  </a:lnTo>
                  <a:lnTo>
                    <a:pt x="16" y="164"/>
                  </a:lnTo>
                  <a:lnTo>
                    <a:pt x="16" y="160"/>
                  </a:lnTo>
                  <a:lnTo>
                    <a:pt x="16" y="156"/>
                  </a:lnTo>
                  <a:lnTo>
                    <a:pt x="12" y="152"/>
                  </a:lnTo>
                  <a:lnTo>
                    <a:pt x="16" y="152"/>
                  </a:lnTo>
                  <a:lnTo>
                    <a:pt x="16" y="148"/>
                  </a:lnTo>
                  <a:lnTo>
                    <a:pt x="16" y="144"/>
                  </a:lnTo>
                  <a:lnTo>
                    <a:pt x="20" y="140"/>
                  </a:lnTo>
                  <a:lnTo>
                    <a:pt x="24" y="136"/>
                  </a:lnTo>
                  <a:lnTo>
                    <a:pt x="28" y="132"/>
                  </a:lnTo>
                  <a:lnTo>
                    <a:pt x="32" y="132"/>
                  </a:lnTo>
                  <a:lnTo>
                    <a:pt x="44" y="132"/>
                  </a:lnTo>
                  <a:lnTo>
                    <a:pt x="48" y="128"/>
                  </a:lnTo>
                  <a:lnTo>
                    <a:pt x="48" y="124"/>
                  </a:lnTo>
                  <a:lnTo>
                    <a:pt x="48" y="120"/>
                  </a:lnTo>
                  <a:lnTo>
                    <a:pt x="44" y="120"/>
                  </a:lnTo>
                  <a:lnTo>
                    <a:pt x="40" y="120"/>
                  </a:lnTo>
                  <a:lnTo>
                    <a:pt x="40" y="116"/>
                  </a:lnTo>
                  <a:lnTo>
                    <a:pt x="44" y="116"/>
                  </a:lnTo>
                  <a:lnTo>
                    <a:pt x="44" y="112"/>
                  </a:lnTo>
                  <a:lnTo>
                    <a:pt x="44" y="108"/>
                  </a:lnTo>
                  <a:lnTo>
                    <a:pt x="48" y="108"/>
                  </a:lnTo>
                  <a:lnTo>
                    <a:pt x="48" y="104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88"/>
                  </a:lnTo>
                  <a:lnTo>
                    <a:pt x="56" y="88"/>
                  </a:lnTo>
                  <a:lnTo>
                    <a:pt x="52" y="84"/>
                  </a:lnTo>
                  <a:lnTo>
                    <a:pt x="52" y="80"/>
                  </a:lnTo>
                  <a:lnTo>
                    <a:pt x="56" y="80"/>
                  </a:lnTo>
                  <a:lnTo>
                    <a:pt x="60" y="80"/>
                  </a:lnTo>
                  <a:lnTo>
                    <a:pt x="68" y="76"/>
                  </a:lnTo>
                  <a:lnTo>
                    <a:pt x="64" y="72"/>
                  </a:lnTo>
                  <a:lnTo>
                    <a:pt x="64" y="68"/>
                  </a:lnTo>
                  <a:lnTo>
                    <a:pt x="68" y="68"/>
                  </a:lnTo>
                  <a:lnTo>
                    <a:pt x="72" y="64"/>
                  </a:lnTo>
                  <a:lnTo>
                    <a:pt x="76" y="60"/>
                  </a:lnTo>
                  <a:lnTo>
                    <a:pt x="80" y="56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76" y="48"/>
                  </a:lnTo>
                  <a:lnTo>
                    <a:pt x="76" y="44"/>
                  </a:lnTo>
                  <a:lnTo>
                    <a:pt x="80" y="44"/>
                  </a:lnTo>
                  <a:lnTo>
                    <a:pt x="84" y="40"/>
                  </a:lnTo>
                  <a:lnTo>
                    <a:pt x="84" y="36"/>
                  </a:lnTo>
                  <a:lnTo>
                    <a:pt x="84" y="32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28"/>
                  </a:lnTo>
                  <a:lnTo>
                    <a:pt x="108" y="24"/>
                  </a:lnTo>
                  <a:lnTo>
                    <a:pt x="108" y="20"/>
                  </a:lnTo>
                  <a:lnTo>
                    <a:pt x="104" y="20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6" y="16"/>
                  </a:lnTo>
                  <a:lnTo>
                    <a:pt x="120" y="16"/>
                  </a:lnTo>
                  <a:lnTo>
                    <a:pt x="128" y="20"/>
                  </a:lnTo>
                  <a:lnTo>
                    <a:pt x="132" y="20"/>
                  </a:lnTo>
                  <a:lnTo>
                    <a:pt x="136" y="20"/>
                  </a:lnTo>
                  <a:lnTo>
                    <a:pt x="140" y="16"/>
                  </a:lnTo>
                  <a:lnTo>
                    <a:pt x="136" y="16"/>
                  </a:lnTo>
                  <a:lnTo>
                    <a:pt x="140" y="12"/>
                  </a:lnTo>
                  <a:lnTo>
                    <a:pt x="140" y="8"/>
                  </a:lnTo>
                  <a:lnTo>
                    <a:pt x="140" y="4"/>
                  </a:lnTo>
                  <a:lnTo>
                    <a:pt x="136" y="0"/>
                  </a:lnTo>
                  <a:lnTo>
                    <a:pt x="144" y="0"/>
                  </a:lnTo>
                  <a:lnTo>
                    <a:pt x="148" y="4"/>
                  </a:lnTo>
                  <a:lnTo>
                    <a:pt x="152" y="8"/>
                  </a:lnTo>
                  <a:lnTo>
                    <a:pt x="156" y="8"/>
                  </a:lnTo>
                  <a:lnTo>
                    <a:pt x="156" y="12"/>
                  </a:lnTo>
                  <a:lnTo>
                    <a:pt x="160" y="12"/>
                  </a:lnTo>
                  <a:lnTo>
                    <a:pt x="160" y="16"/>
                  </a:lnTo>
                  <a:lnTo>
                    <a:pt x="164" y="16"/>
                  </a:lnTo>
                  <a:lnTo>
                    <a:pt x="168" y="16"/>
                  </a:lnTo>
                  <a:lnTo>
                    <a:pt x="172" y="16"/>
                  </a:lnTo>
                  <a:lnTo>
                    <a:pt x="176" y="20"/>
                  </a:lnTo>
                  <a:lnTo>
                    <a:pt x="180" y="20"/>
                  </a:lnTo>
                  <a:lnTo>
                    <a:pt x="188" y="28"/>
                  </a:lnTo>
                  <a:lnTo>
                    <a:pt x="192" y="32"/>
                  </a:lnTo>
                  <a:lnTo>
                    <a:pt x="188" y="32"/>
                  </a:lnTo>
                  <a:lnTo>
                    <a:pt x="188" y="36"/>
                  </a:lnTo>
                  <a:lnTo>
                    <a:pt x="188" y="40"/>
                  </a:lnTo>
                  <a:lnTo>
                    <a:pt x="188" y="44"/>
                  </a:lnTo>
                  <a:lnTo>
                    <a:pt x="192" y="44"/>
                  </a:lnTo>
                  <a:lnTo>
                    <a:pt x="192" y="48"/>
                  </a:lnTo>
                  <a:lnTo>
                    <a:pt x="188" y="52"/>
                  </a:lnTo>
                  <a:lnTo>
                    <a:pt x="192" y="56"/>
                  </a:lnTo>
                  <a:lnTo>
                    <a:pt x="196" y="60"/>
                  </a:lnTo>
                  <a:lnTo>
                    <a:pt x="196" y="64"/>
                  </a:lnTo>
                  <a:lnTo>
                    <a:pt x="196" y="68"/>
                  </a:lnTo>
                  <a:lnTo>
                    <a:pt x="192" y="68"/>
                  </a:lnTo>
                  <a:lnTo>
                    <a:pt x="192" y="72"/>
                  </a:lnTo>
                  <a:lnTo>
                    <a:pt x="192" y="76"/>
                  </a:lnTo>
                  <a:lnTo>
                    <a:pt x="192" y="80"/>
                  </a:lnTo>
                  <a:lnTo>
                    <a:pt x="196" y="80"/>
                  </a:lnTo>
                  <a:lnTo>
                    <a:pt x="200" y="88"/>
                  </a:lnTo>
                  <a:lnTo>
                    <a:pt x="196" y="88"/>
                  </a:lnTo>
                  <a:lnTo>
                    <a:pt x="192" y="88"/>
                  </a:lnTo>
                  <a:lnTo>
                    <a:pt x="188" y="88"/>
                  </a:lnTo>
                  <a:lnTo>
                    <a:pt x="184" y="88"/>
                  </a:lnTo>
                  <a:lnTo>
                    <a:pt x="184" y="92"/>
                  </a:lnTo>
                  <a:lnTo>
                    <a:pt x="180" y="88"/>
                  </a:lnTo>
                  <a:lnTo>
                    <a:pt x="176" y="88"/>
                  </a:lnTo>
                  <a:lnTo>
                    <a:pt x="176" y="84"/>
                  </a:lnTo>
                  <a:lnTo>
                    <a:pt x="176" y="88"/>
                  </a:lnTo>
                  <a:lnTo>
                    <a:pt x="172" y="88"/>
                  </a:lnTo>
                  <a:lnTo>
                    <a:pt x="168" y="92"/>
                  </a:lnTo>
                  <a:lnTo>
                    <a:pt x="172" y="92"/>
                  </a:lnTo>
                  <a:lnTo>
                    <a:pt x="172" y="96"/>
                  </a:lnTo>
                  <a:lnTo>
                    <a:pt x="168" y="92"/>
                  </a:lnTo>
                  <a:lnTo>
                    <a:pt x="164" y="92"/>
                  </a:lnTo>
                  <a:lnTo>
                    <a:pt x="164" y="88"/>
                  </a:lnTo>
                  <a:lnTo>
                    <a:pt x="164" y="92"/>
                  </a:lnTo>
                  <a:lnTo>
                    <a:pt x="168" y="92"/>
                  </a:lnTo>
                  <a:lnTo>
                    <a:pt x="168" y="96"/>
                  </a:lnTo>
                  <a:lnTo>
                    <a:pt x="164" y="96"/>
                  </a:lnTo>
                  <a:lnTo>
                    <a:pt x="168" y="96"/>
                  </a:lnTo>
                  <a:lnTo>
                    <a:pt x="164" y="100"/>
                  </a:lnTo>
                  <a:lnTo>
                    <a:pt x="160" y="100"/>
                  </a:lnTo>
                  <a:lnTo>
                    <a:pt x="160" y="96"/>
                  </a:lnTo>
                  <a:lnTo>
                    <a:pt x="156" y="100"/>
                  </a:lnTo>
                  <a:lnTo>
                    <a:pt x="160" y="100"/>
                  </a:lnTo>
                  <a:lnTo>
                    <a:pt x="160" y="104"/>
                  </a:lnTo>
                  <a:lnTo>
                    <a:pt x="160" y="100"/>
                  </a:lnTo>
                  <a:lnTo>
                    <a:pt x="156" y="100"/>
                  </a:lnTo>
                  <a:lnTo>
                    <a:pt x="160" y="100"/>
                  </a:lnTo>
                  <a:lnTo>
                    <a:pt x="160" y="104"/>
                  </a:lnTo>
                  <a:lnTo>
                    <a:pt x="160" y="108"/>
                  </a:lnTo>
                  <a:lnTo>
                    <a:pt x="156" y="108"/>
                  </a:lnTo>
                  <a:lnTo>
                    <a:pt x="152" y="112"/>
                  </a:lnTo>
                  <a:lnTo>
                    <a:pt x="152" y="116"/>
                  </a:lnTo>
                  <a:lnTo>
                    <a:pt x="156" y="112"/>
                  </a:lnTo>
                  <a:lnTo>
                    <a:pt x="156" y="116"/>
                  </a:lnTo>
                  <a:lnTo>
                    <a:pt x="152" y="116"/>
                  </a:lnTo>
                  <a:lnTo>
                    <a:pt x="156" y="120"/>
                  </a:lnTo>
                  <a:lnTo>
                    <a:pt x="160" y="120"/>
                  </a:lnTo>
                  <a:lnTo>
                    <a:pt x="160" y="124"/>
                  </a:lnTo>
                  <a:lnTo>
                    <a:pt x="156" y="124"/>
                  </a:lnTo>
                  <a:lnTo>
                    <a:pt x="156" y="128"/>
                  </a:lnTo>
                  <a:lnTo>
                    <a:pt x="152" y="132"/>
                  </a:lnTo>
                  <a:lnTo>
                    <a:pt x="148" y="132"/>
                  </a:lnTo>
                  <a:lnTo>
                    <a:pt x="148" y="136"/>
                  </a:lnTo>
                  <a:lnTo>
                    <a:pt x="144" y="140"/>
                  </a:lnTo>
                  <a:lnTo>
                    <a:pt x="140" y="140"/>
                  </a:lnTo>
                  <a:lnTo>
                    <a:pt x="140" y="144"/>
                  </a:lnTo>
                  <a:lnTo>
                    <a:pt x="136" y="144"/>
                  </a:lnTo>
                  <a:lnTo>
                    <a:pt x="132" y="144"/>
                  </a:lnTo>
                  <a:lnTo>
                    <a:pt x="132" y="148"/>
                  </a:lnTo>
                  <a:lnTo>
                    <a:pt x="128" y="148"/>
                  </a:lnTo>
                  <a:lnTo>
                    <a:pt x="128" y="144"/>
                  </a:lnTo>
                  <a:lnTo>
                    <a:pt x="128" y="148"/>
                  </a:lnTo>
                  <a:lnTo>
                    <a:pt x="124" y="148"/>
                  </a:lnTo>
                  <a:lnTo>
                    <a:pt x="124" y="152"/>
                  </a:lnTo>
                  <a:lnTo>
                    <a:pt x="120" y="152"/>
                  </a:lnTo>
                  <a:lnTo>
                    <a:pt x="124" y="152"/>
                  </a:lnTo>
                  <a:lnTo>
                    <a:pt x="120" y="156"/>
                  </a:lnTo>
                  <a:lnTo>
                    <a:pt x="120" y="152"/>
                  </a:lnTo>
                  <a:lnTo>
                    <a:pt x="116" y="152"/>
                  </a:lnTo>
                  <a:lnTo>
                    <a:pt x="120" y="152"/>
                  </a:lnTo>
                  <a:lnTo>
                    <a:pt x="120" y="156"/>
                  </a:lnTo>
                  <a:lnTo>
                    <a:pt x="116" y="156"/>
                  </a:lnTo>
                  <a:lnTo>
                    <a:pt x="112" y="156"/>
                  </a:lnTo>
                  <a:lnTo>
                    <a:pt x="112" y="160"/>
                  </a:lnTo>
                  <a:lnTo>
                    <a:pt x="108" y="160"/>
                  </a:lnTo>
                  <a:lnTo>
                    <a:pt x="112" y="160"/>
                  </a:lnTo>
                  <a:lnTo>
                    <a:pt x="112" y="164"/>
                  </a:lnTo>
                  <a:lnTo>
                    <a:pt x="108" y="164"/>
                  </a:lnTo>
                  <a:lnTo>
                    <a:pt x="104" y="164"/>
                  </a:lnTo>
                  <a:lnTo>
                    <a:pt x="104" y="160"/>
                  </a:lnTo>
                  <a:lnTo>
                    <a:pt x="100" y="160"/>
                  </a:lnTo>
                  <a:lnTo>
                    <a:pt x="104" y="160"/>
                  </a:lnTo>
                  <a:lnTo>
                    <a:pt x="104" y="164"/>
                  </a:lnTo>
                  <a:lnTo>
                    <a:pt x="104" y="168"/>
                  </a:lnTo>
                  <a:lnTo>
                    <a:pt x="104" y="172"/>
                  </a:lnTo>
                  <a:lnTo>
                    <a:pt x="100" y="172"/>
                  </a:lnTo>
                  <a:lnTo>
                    <a:pt x="96" y="172"/>
                  </a:lnTo>
                  <a:lnTo>
                    <a:pt x="96" y="176"/>
                  </a:lnTo>
                  <a:lnTo>
                    <a:pt x="100" y="180"/>
                  </a:lnTo>
                  <a:lnTo>
                    <a:pt x="96" y="180"/>
                  </a:lnTo>
                  <a:lnTo>
                    <a:pt x="96" y="184"/>
                  </a:lnTo>
                  <a:lnTo>
                    <a:pt x="96" y="188"/>
                  </a:lnTo>
                  <a:lnTo>
                    <a:pt x="96" y="191"/>
                  </a:lnTo>
                  <a:lnTo>
                    <a:pt x="100" y="191"/>
                  </a:lnTo>
                  <a:lnTo>
                    <a:pt x="96" y="191"/>
                  </a:lnTo>
                  <a:lnTo>
                    <a:pt x="92" y="191"/>
                  </a:lnTo>
                  <a:lnTo>
                    <a:pt x="96" y="191"/>
                  </a:lnTo>
                  <a:lnTo>
                    <a:pt x="92" y="191"/>
                  </a:lnTo>
                  <a:lnTo>
                    <a:pt x="92" y="195"/>
                  </a:lnTo>
                  <a:lnTo>
                    <a:pt x="92" y="199"/>
                  </a:lnTo>
                  <a:lnTo>
                    <a:pt x="92" y="203"/>
                  </a:lnTo>
                  <a:lnTo>
                    <a:pt x="92" y="207"/>
                  </a:lnTo>
                  <a:lnTo>
                    <a:pt x="92" y="211"/>
                  </a:lnTo>
                  <a:lnTo>
                    <a:pt x="96" y="211"/>
                  </a:lnTo>
                  <a:lnTo>
                    <a:pt x="96" y="215"/>
                  </a:lnTo>
                  <a:lnTo>
                    <a:pt x="96" y="219"/>
                  </a:lnTo>
                  <a:lnTo>
                    <a:pt x="96" y="215"/>
                  </a:lnTo>
                  <a:lnTo>
                    <a:pt x="100" y="215"/>
                  </a:lnTo>
                  <a:lnTo>
                    <a:pt x="100" y="219"/>
                  </a:lnTo>
                  <a:lnTo>
                    <a:pt x="104" y="219"/>
                  </a:lnTo>
                  <a:lnTo>
                    <a:pt x="108" y="223"/>
                  </a:lnTo>
                  <a:lnTo>
                    <a:pt x="112" y="223"/>
                  </a:lnTo>
                  <a:lnTo>
                    <a:pt x="112" y="227"/>
                  </a:lnTo>
                  <a:lnTo>
                    <a:pt x="116" y="227"/>
                  </a:lnTo>
                  <a:lnTo>
                    <a:pt x="112" y="227"/>
                  </a:lnTo>
                  <a:lnTo>
                    <a:pt x="112" y="231"/>
                  </a:lnTo>
                  <a:lnTo>
                    <a:pt x="116" y="231"/>
                  </a:lnTo>
                  <a:lnTo>
                    <a:pt x="120" y="235"/>
                  </a:lnTo>
                  <a:lnTo>
                    <a:pt x="120" y="239"/>
                  </a:lnTo>
                  <a:lnTo>
                    <a:pt x="116" y="239"/>
                  </a:lnTo>
                  <a:lnTo>
                    <a:pt x="116" y="243"/>
                  </a:lnTo>
                  <a:lnTo>
                    <a:pt x="112" y="247"/>
                  </a:lnTo>
                  <a:lnTo>
                    <a:pt x="108" y="247"/>
                  </a:lnTo>
                  <a:lnTo>
                    <a:pt x="112" y="247"/>
                  </a:lnTo>
                  <a:lnTo>
                    <a:pt x="108" y="247"/>
                  </a:lnTo>
                  <a:lnTo>
                    <a:pt x="104" y="247"/>
                  </a:lnTo>
                  <a:lnTo>
                    <a:pt x="100" y="247"/>
                  </a:lnTo>
                  <a:lnTo>
                    <a:pt x="104" y="243"/>
                  </a:lnTo>
                  <a:lnTo>
                    <a:pt x="100" y="243"/>
                  </a:lnTo>
                  <a:lnTo>
                    <a:pt x="100" y="239"/>
                  </a:lnTo>
                  <a:lnTo>
                    <a:pt x="100" y="243"/>
                  </a:lnTo>
                  <a:lnTo>
                    <a:pt x="100" y="239"/>
                  </a:lnTo>
                  <a:lnTo>
                    <a:pt x="96" y="239"/>
                  </a:lnTo>
                  <a:lnTo>
                    <a:pt x="100" y="243"/>
                  </a:lnTo>
                  <a:lnTo>
                    <a:pt x="96" y="243"/>
                  </a:lnTo>
                  <a:lnTo>
                    <a:pt x="96" y="239"/>
                  </a:lnTo>
                  <a:lnTo>
                    <a:pt x="100" y="239"/>
                  </a:lnTo>
                  <a:lnTo>
                    <a:pt x="100" y="243"/>
                  </a:lnTo>
                  <a:lnTo>
                    <a:pt x="100" y="247"/>
                  </a:lnTo>
                  <a:lnTo>
                    <a:pt x="96" y="243"/>
                  </a:lnTo>
                  <a:lnTo>
                    <a:pt x="100" y="243"/>
                  </a:lnTo>
                  <a:lnTo>
                    <a:pt x="96" y="243"/>
                  </a:lnTo>
                  <a:lnTo>
                    <a:pt x="96" y="247"/>
                  </a:lnTo>
                  <a:lnTo>
                    <a:pt x="92" y="243"/>
                  </a:lnTo>
                  <a:lnTo>
                    <a:pt x="88" y="243"/>
                  </a:lnTo>
                  <a:lnTo>
                    <a:pt x="84" y="243"/>
                  </a:lnTo>
                  <a:lnTo>
                    <a:pt x="80" y="247"/>
                  </a:lnTo>
                  <a:lnTo>
                    <a:pt x="76" y="247"/>
                  </a:lnTo>
                  <a:lnTo>
                    <a:pt x="80" y="247"/>
                  </a:lnTo>
                  <a:lnTo>
                    <a:pt x="84" y="247"/>
                  </a:lnTo>
                  <a:lnTo>
                    <a:pt x="88" y="247"/>
                  </a:lnTo>
                  <a:lnTo>
                    <a:pt x="84" y="247"/>
                  </a:lnTo>
                  <a:lnTo>
                    <a:pt x="88" y="247"/>
                  </a:lnTo>
                  <a:lnTo>
                    <a:pt x="92" y="247"/>
                  </a:lnTo>
                  <a:lnTo>
                    <a:pt x="96" y="247"/>
                  </a:lnTo>
                  <a:lnTo>
                    <a:pt x="96" y="251"/>
                  </a:lnTo>
                  <a:lnTo>
                    <a:pt x="92" y="251"/>
                  </a:lnTo>
                  <a:lnTo>
                    <a:pt x="96" y="251"/>
                  </a:lnTo>
                  <a:close/>
                  <a:moveTo>
                    <a:pt x="96" y="176"/>
                  </a:moveTo>
                  <a:lnTo>
                    <a:pt x="96" y="172"/>
                  </a:lnTo>
                  <a:lnTo>
                    <a:pt x="96" y="176"/>
                  </a:lnTo>
                  <a:lnTo>
                    <a:pt x="100" y="176"/>
                  </a:lnTo>
                  <a:lnTo>
                    <a:pt x="96" y="176"/>
                  </a:lnTo>
                  <a:close/>
                  <a:moveTo>
                    <a:pt x="92" y="247"/>
                  </a:moveTo>
                  <a:lnTo>
                    <a:pt x="96" y="247"/>
                  </a:lnTo>
                  <a:lnTo>
                    <a:pt x="92" y="247"/>
                  </a:lnTo>
                  <a:close/>
                  <a:moveTo>
                    <a:pt x="100" y="251"/>
                  </a:moveTo>
                  <a:lnTo>
                    <a:pt x="100" y="247"/>
                  </a:lnTo>
                  <a:lnTo>
                    <a:pt x="104" y="251"/>
                  </a:lnTo>
                  <a:lnTo>
                    <a:pt x="100" y="251"/>
                  </a:lnTo>
                  <a:close/>
                  <a:moveTo>
                    <a:pt x="124" y="283"/>
                  </a:moveTo>
                  <a:lnTo>
                    <a:pt x="120" y="283"/>
                  </a:lnTo>
                  <a:lnTo>
                    <a:pt x="124" y="283"/>
                  </a:lnTo>
                  <a:close/>
                  <a:moveTo>
                    <a:pt x="112" y="227"/>
                  </a:moveTo>
                  <a:lnTo>
                    <a:pt x="112" y="223"/>
                  </a:lnTo>
                  <a:lnTo>
                    <a:pt x="112" y="219"/>
                  </a:lnTo>
                  <a:lnTo>
                    <a:pt x="112" y="223"/>
                  </a:lnTo>
                  <a:lnTo>
                    <a:pt x="112" y="227"/>
                  </a:lnTo>
                  <a:close/>
                  <a:moveTo>
                    <a:pt x="8" y="279"/>
                  </a:moveTo>
                  <a:lnTo>
                    <a:pt x="4" y="279"/>
                  </a:lnTo>
                  <a:lnTo>
                    <a:pt x="8" y="275"/>
                  </a:lnTo>
                  <a:lnTo>
                    <a:pt x="12" y="275"/>
                  </a:lnTo>
                  <a:lnTo>
                    <a:pt x="12" y="279"/>
                  </a:lnTo>
                  <a:lnTo>
                    <a:pt x="8" y="279"/>
                  </a:lnTo>
                  <a:close/>
                  <a:moveTo>
                    <a:pt x="8" y="283"/>
                  </a:moveTo>
                  <a:lnTo>
                    <a:pt x="8" y="279"/>
                  </a:lnTo>
                  <a:lnTo>
                    <a:pt x="12" y="279"/>
                  </a:lnTo>
                  <a:lnTo>
                    <a:pt x="12" y="283"/>
                  </a:lnTo>
                  <a:lnTo>
                    <a:pt x="8" y="283"/>
                  </a:lnTo>
                  <a:close/>
                  <a:moveTo>
                    <a:pt x="120" y="283"/>
                  </a:moveTo>
                  <a:lnTo>
                    <a:pt x="120" y="287"/>
                  </a:lnTo>
                  <a:lnTo>
                    <a:pt x="116" y="287"/>
                  </a:lnTo>
                  <a:lnTo>
                    <a:pt x="116" y="291"/>
                  </a:lnTo>
                  <a:lnTo>
                    <a:pt x="116" y="295"/>
                  </a:lnTo>
                  <a:lnTo>
                    <a:pt x="116" y="299"/>
                  </a:lnTo>
                  <a:lnTo>
                    <a:pt x="112" y="299"/>
                  </a:lnTo>
                  <a:lnTo>
                    <a:pt x="112" y="303"/>
                  </a:lnTo>
                  <a:lnTo>
                    <a:pt x="108" y="307"/>
                  </a:lnTo>
                  <a:lnTo>
                    <a:pt x="108" y="303"/>
                  </a:lnTo>
                  <a:lnTo>
                    <a:pt x="108" y="299"/>
                  </a:lnTo>
                  <a:lnTo>
                    <a:pt x="108" y="295"/>
                  </a:lnTo>
                  <a:lnTo>
                    <a:pt x="108" y="291"/>
                  </a:lnTo>
                  <a:lnTo>
                    <a:pt x="112" y="287"/>
                  </a:lnTo>
                  <a:lnTo>
                    <a:pt x="116" y="283"/>
                  </a:lnTo>
                  <a:lnTo>
                    <a:pt x="120" y="283"/>
                  </a:lnTo>
                  <a:close/>
                  <a:moveTo>
                    <a:pt x="80" y="323"/>
                  </a:moveTo>
                  <a:lnTo>
                    <a:pt x="80" y="319"/>
                  </a:lnTo>
                  <a:lnTo>
                    <a:pt x="80" y="315"/>
                  </a:lnTo>
                  <a:lnTo>
                    <a:pt x="84" y="311"/>
                  </a:lnTo>
                  <a:lnTo>
                    <a:pt x="84" y="307"/>
                  </a:lnTo>
                  <a:lnTo>
                    <a:pt x="88" y="307"/>
                  </a:lnTo>
                  <a:lnTo>
                    <a:pt x="88" y="303"/>
                  </a:lnTo>
                  <a:lnTo>
                    <a:pt x="88" y="299"/>
                  </a:lnTo>
                  <a:lnTo>
                    <a:pt x="92" y="295"/>
                  </a:lnTo>
                  <a:lnTo>
                    <a:pt x="92" y="299"/>
                  </a:lnTo>
                  <a:lnTo>
                    <a:pt x="92" y="303"/>
                  </a:lnTo>
                  <a:lnTo>
                    <a:pt x="88" y="303"/>
                  </a:lnTo>
                  <a:lnTo>
                    <a:pt x="88" y="307"/>
                  </a:lnTo>
                  <a:lnTo>
                    <a:pt x="88" y="311"/>
                  </a:lnTo>
                  <a:lnTo>
                    <a:pt x="84" y="311"/>
                  </a:lnTo>
                  <a:lnTo>
                    <a:pt x="84" y="315"/>
                  </a:lnTo>
                  <a:lnTo>
                    <a:pt x="84" y="319"/>
                  </a:lnTo>
                  <a:lnTo>
                    <a:pt x="84" y="323"/>
                  </a:lnTo>
                  <a:lnTo>
                    <a:pt x="80" y="32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7" name="Freeform 114"/>
            <p:cNvSpPr>
              <a:spLocks noEditPoints="1"/>
            </p:cNvSpPr>
            <p:nvPr>
              <p:custDataLst>
                <p:tags r:id="rId310"/>
              </p:custDataLst>
            </p:nvPr>
          </p:nvSpPr>
          <p:spPr bwMode="gray">
            <a:xfrm>
              <a:off x="4511020" y="3219671"/>
              <a:ext cx="100848" cy="65255"/>
            </a:xfrm>
            <a:custGeom>
              <a:avLst/>
              <a:gdLst/>
              <a:ahLst/>
              <a:cxnLst>
                <a:cxn ang="0">
                  <a:pos x="8" y="16"/>
                </a:cxn>
                <a:cxn ang="0">
                  <a:pos x="12" y="12"/>
                </a:cxn>
                <a:cxn ang="0">
                  <a:pos x="12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40" y="4"/>
                </a:cxn>
                <a:cxn ang="0">
                  <a:pos x="36" y="4"/>
                </a:cxn>
                <a:cxn ang="0">
                  <a:pos x="40" y="0"/>
                </a:cxn>
                <a:cxn ang="0">
                  <a:pos x="40" y="0"/>
                </a:cxn>
                <a:cxn ang="0">
                  <a:pos x="44" y="0"/>
                </a:cxn>
                <a:cxn ang="0">
                  <a:pos x="44" y="4"/>
                </a:cxn>
                <a:cxn ang="0">
                  <a:pos x="52" y="4"/>
                </a:cxn>
                <a:cxn ang="0">
                  <a:pos x="56" y="8"/>
                </a:cxn>
                <a:cxn ang="0">
                  <a:pos x="52" y="12"/>
                </a:cxn>
                <a:cxn ang="0">
                  <a:pos x="52" y="16"/>
                </a:cxn>
                <a:cxn ang="0">
                  <a:pos x="56" y="16"/>
                </a:cxn>
                <a:cxn ang="0">
                  <a:pos x="56" y="20"/>
                </a:cxn>
                <a:cxn ang="0">
                  <a:pos x="60" y="20"/>
                </a:cxn>
                <a:cxn ang="0">
                  <a:pos x="64" y="16"/>
                </a:cxn>
                <a:cxn ang="0">
                  <a:pos x="68" y="24"/>
                </a:cxn>
                <a:cxn ang="0">
                  <a:pos x="68" y="28"/>
                </a:cxn>
                <a:cxn ang="0">
                  <a:pos x="64" y="24"/>
                </a:cxn>
                <a:cxn ang="0">
                  <a:pos x="60" y="28"/>
                </a:cxn>
                <a:cxn ang="0">
                  <a:pos x="60" y="32"/>
                </a:cxn>
                <a:cxn ang="0">
                  <a:pos x="60" y="32"/>
                </a:cxn>
                <a:cxn ang="0">
                  <a:pos x="56" y="32"/>
                </a:cxn>
                <a:cxn ang="0">
                  <a:pos x="52" y="32"/>
                </a:cxn>
                <a:cxn ang="0">
                  <a:pos x="48" y="28"/>
                </a:cxn>
                <a:cxn ang="0">
                  <a:pos x="48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4" y="36"/>
                </a:cxn>
                <a:cxn ang="0">
                  <a:pos x="40" y="36"/>
                </a:cxn>
                <a:cxn ang="0">
                  <a:pos x="36" y="32"/>
                </a:cxn>
                <a:cxn ang="0">
                  <a:pos x="36" y="28"/>
                </a:cxn>
                <a:cxn ang="0">
                  <a:pos x="28" y="40"/>
                </a:cxn>
                <a:cxn ang="0">
                  <a:pos x="28" y="40"/>
                </a:cxn>
                <a:cxn ang="0">
                  <a:pos x="24" y="40"/>
                </a:cxn>
                <a:cxn ang="0">
                  <a:pos x="20" y="40"/>
                </a:cxn>
                <a:cxn ang="0">
                  <a:pos x="16" y="40"/>
                </a:cxn>
                <a:cxn ang="0">
                  <a:pos x="12" y="36"/>
                </a:cxn>
                <a:cxn ang="0">
                  <a:pos x="12" y="28"/>
                </a:cxn>
                <a:cxn ang="0">
                  <a:pos x="4" y="28"/>
                </a:cxn>
                <a:cxn ang="0">
                  <a:pos x="4" y="32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0" y="0"/>
                </a:cxn>
              </a:cxnLst>
              <a:rect l="0" t="0" r="r" b="b"/>
              <a:pathLst>
                <a:path w="68" h="44">
                  <a:moveTo>
                    <a:pt x="4" y="20"/>
                  </a:move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56" y="16"/>
                  </a:lnTo>
                  <a:lnTo>
                    <a:pt x="56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0"/>
                  </a:lnTo>
                  <a:lnTo>
                    <a:pt x="4" y="20"/>
                  </a:lnTo>
                  <a:close/>
                  <a:moveTo>
                    <a:pt x="40" y="0"/>
                  </a:move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8" name="Freeform 115"/>
            <p:cNvSpPr>
              <a:spLocks/>
            </p:cNvSpPr>
            <p:nvPr>
              <p:custDataLst>
                <p:tags r:id="rId311"/>
              </p:custDataLst>
            </p:nvPr>
          </p:nvSpPr>
          <p:spPr bwMode="gray">
            <a:xfrm>
              <a:off x="4872888" y="3065433"/>
              <a:ext cx="401910" cy="261019"/>
            </a:xfrm>
            <a:custGeom>
              <a:avLst/>
              <a:gdLst/>
              <a:ahLst/>
              <a:cxnLst>
                <a:cxn ang="0">
                  <a:pos x="103" y="144"/>
                </a:cxn>
                <a:cxn ang="0">
                  <a:pos x="111" y="132"/>
                </a:cxn>
                <a:cxn ang="0">
                  <a:pos x="115" y="132"/>
                </a:cxn>
                <a:cxn ang="0">
                  <a:pos x="111" y="116"/>
                </a:cxn>
                <a:cxn ang="0">
                  <a:pos x="107" y="104"/>
                </a:cxn>
                <a:cxn ang="0">
                  <a:pos x="91" y="96"/>
                </a:cxn>
                <a:cxn ang="0">
                  <a:pos x="68" y="92"/>
                </a:cxn>
                <a:cxn ang="0">
                  <a:pos x="48" y="104"/>
                </a:cxn>
                <a:cxn ang="0">
                  <a:pos x="24" y="100"/>
                </a:cxn>
                <a:cxn ang="0">
                  <a:pos x="8" y="96"/>
                </a:cxn>
                <a:cxn ang="0">
                  <a:pos x="4" y="80"/>
                </a:cxn>
                <a:cxn ang="0">
                  <a:pos x="16" y="52"/>
                </a:cxn>
                <a:cxn ang="0">
                  <a:pos x="28" y="40"/>
                </a:cxn>
                <a:cxn ang="0">
                  <a:pos x="24" y="20"/>
                </a:cxn>
                <a:cxn ang="0">
                  <a:pos x="44" y="12"/>
                </a:cxn>
                <a:cxn ang="0">
                  <a:pos x="68" y="16"/>
                </a:cxn>
                <a:cxn ang="0">
                  <a:pos x="88" y="20"/>
                </a:cxn>
                <a:cxn ang="0">
                  <a:pos x="99" y="20"/>
                </a:cxn>
                <a:cxn ang="0">
                  <a:pos x="115" y="24"/>
                </a:cxn>
                <a:cxn ang="0">
                  <a:pos x="127" y="20"/>
                </a:cxn>
                <a:cxn ang="0">
                  <a:pos x="143" y="8"/>
                </a:cxn>
                <a:cxn ang="0">
                  <a:pos x="167" y="0"/>
                </a:cxn>
                <a:cxn ang="0">
                  <a:pos x="183" y="12"/>
                </a:cxn>
                <a:cxn ang="0">
                  <a:pos x="187" y="28"/>
                </a:cxn>
                <a:cxn ang="0">
                  <a:pos x="203" y="40"/>
                </a:cxn>
                <a:cxn ang="0">
                  <a:pos x="211" y="44"/>
                </a:cxn>
                <a:cxn ang="0">
                  <a:pos x="227" y="48"/>
                </a:cxn>
                <a:cxn ang="0">
                  <a:pos x="247" y="52"/>
                </a:cxn>
                <a:cxn ang="0">
                  <a:pos x="263" y="60"/>
                </a:cxn>
                <a:cxn ang="0">
                  <a:pos x="267" y="76"/>
                </a:cxn>
                <a:cxn ang="0">
                  <a:pos x="271" y="96"/>
                </a:cxn>
                <a:cxn ang="0">
                  <a:pos x="251" y="104"/>
                </a:cxn>
                <a:cxn ang="0">
                  <a:pos x="239" y="120"/>
                </a:cxn>
                <a:cxn ang="0">
                  <a:pos x="219" y="128"/>
                </a:cxn>
                <a:cxn ang="0">
                  <a:pos x="203" y="132"/>
                </a:cxn>
                <a:cxn ang="0">
                  <a:pos x="199" y="136"/>
                </a:cxn>
                <a:cxn ang="0">
                  <a:pos x="183" y="136"/>
                </a:cxn>
                <a:cxn ang="0">
                  <a:pos x="179" y="140"/>
                </a:cxn>
                <a:cxn ang="0">
                  <a:pos x="187" y="144"/>
                </a:cxn>
                <a:cxn ang="0">
                  <a:pos x="199" y="156"/>
                </a:cxn>
                <a:cxn ang="0">
                  <a:pos x="195" y="148"/>
                </a:cxn>
                <a:cxn ang="0">
                  <a:pos x="211" y="156"/>
                </a:cxn>
                <a:cxn ang="0">
                  <a:pos x="207" y="164"/>
                </a:cxn>
                <a:cxn ang="0">
                  <a:pos x="187" y="172"/>
                </a:cxn>
                <a:cxn ang="0">
                  <a:pos x="171" y="168"/>
                </a:cxn>
                <a:cxn ang="0">
                  <a:pos x="159" y="156"/>
                </a:cxn>
                <a:cxn ang="0">
                  <a:pos x="171" y="144"/>
                </a:cxn>
                <a:cxn ang="0">
                  <a:pos x="155" y="140"/>
                </a:cxn>
                <a:cxn ang="0">
                  <a:pos x="147" y="132"/>
                </a:cxn>
                <a:cxn ang="0">
                  <a:pos x="151" y="132"/>
                </a:cxn>
                <a:cxn ang="0">
                  <a:pos x="147" y="120"/>
                </a:cxn>
                <a:cxn ang="0">
                  <a:pos x="143" y="128"/>
                </a:cxn>
                <a:cxn ang="0">
                  <a:pos x="123" y="144"/>
                </a:cxn>
                <a:cxn ang="0">
                  <a:pos x="115" y="156"/>
                </a:cxn>
                <a:cxn ang="0">
                  <a:pos x="99" y="160"/>
                </a:cxn>
              </a:cxnLst>
              <a:rect l="0" t="0" r="r" b="b"/>
              <a:pathLst>
                <a:path w="271" h="176">
                  <a:moveTo>
                    <a:pt x="91" y="156"/>
                  </a:moveTo>
                  <a:lnTo>
                    <a:pt x="91" y="152"/>
                  </a:lnTo>
                  <a:lnTo>
                    <a:pt x="95" y="152"/>
                  </a:lnTo>
                  <a:lnTo>
                    <a:pt x="95" y="148"/>
                  </a:lnTo>
                  <a:lnTo>
                    <a:pt x="99" y="148"/>
                  </a:lnTo>
                  <a:lnTo>
                    <a:pt x="99" y="144"/>
                  </a:lnTo>
                  <a:lnTo>
                    <a:pt x="103" y="144"/>
                  </a:lnTo>
                  <a:lnTo>
                    <a:pt x="103" y="140"/>
                  </a:lnTo>
                  <a:lnTo>
                    <a:pt x="103" y="136"/>
                  </a:lnTo>
                  <a:lnTo>
                    <a:pt x="103" y="132"/>
                  </a:lnTo>
                  <a:lnTo>
                    <a:pt x="107" y="132"/>
                  </a:lnTo>
                  <a:lnTo>
                    <a:pt x="107" y="136"/>
                  </a:lnTo>
                  <a:lnTo>
                    <a:pt x="107" y="132"/>
                  </a:lnTo>
                  <a:lnTo>
                    <a:pt x="111" y="132"/>
                  </a:lnTo>
                  <a:lnTo>
                    <a:pt x="111" y="136"/>
                  </a:lnTo>
                  <a:lnTo>
                    <a:pt x="115" y="136"/>
                  </a:lnTo>
                  <a:lnTo>
                    <a:pt x="115" y="132"/>
                  </a:lnTo>
                  <a:lnTo>
                    <a:pt x="115" y="136"/>
                  </a:lnTo>
                  <a:lnTo>
                    <a:pt x="119" y="136"/>
                  </a:lnTo>
                  <a:lnTo>
                    <a:pt x="119" y="132"/>
                  </a:lnTo>
                  <a:lnTo>
                    <a:pt x="115" y="132"/>
                  </a:lnTo>
                  <a:lnTo>
                    <a:pt x="119" y="132"/>
                  </a:lnTo>
                  <a:lnTo>
                    <a:pt x="119" y="128"/>
                  </a:lnTo>
                  <a:lnTo>
                    <a:pt x="119" y="124"/>
                  </a:lnTo>
                  <a:lnTo>
                    <a:pt x="115" y="124"/>
                  </a:lnTo>
                  <a:lnTo>
                    <a:pt x="111" y="124"/>
                  </a:lnTo>
                  <a:lnTo>
                    <a:pt x="111" y="120"/>
                  </a:lnTo>
                  <a:lnTo>
                    <a:pt x="111" y="116"/>
                  </a:lnTo>
                  <a:lnTo>
                    <a:pt x="111" y="112"/>
                  </a:lnTo>
                  <a:lnTo>
                    <a:pt x="111" y="116"/>
                  </a:lnTo>
                  <a:lnTo>
                    <a:pt x="107" y="112"/>
                  </a:lnTo>
                  <a:lnTo>
                    <a:pt x="111" y="112"/>
                  </a:lnTo>
                  <a:lnTo>
                    <a:pt x="107" y="112"/>
                  </a:lnTo>
                  <a:lnTo>
                    <a:pt x="107" y="108"/>
                  </a:lnTo>
                  <a:lnTo>
                    <a:pt x="107" y="104"/>
                  </a:lnTo>
                  <a:lnTo>
                    <a:pt x="107" y="100"/>
                  </a:lnTo>
                  <a:lnTo>
                    <a:pt x="103" y="100"/>
                  </a:lnTo>
                  <a:lnTo>
                    <a:pt x="99" y="96"/>
                  </a:lnTo>
                  <a:lnTo>
                    <a:pt x="95" y="96"/>
                  </a:lnTo>
                  <a:lnTo>
                    <a:pt x="95" y="92"/>
                  </a:lnTo>
                  <a:lnTo>
                    <a:pt x="91" y="92"/>
                  </a:lnTo>
                  <a:lnTo>
                    <a:pt x="91" y="96"/>
                  </a:lnTo>
                  <a:lnTo>
                    <a:pt x="91" y="92"/>
                  </a:lnTo>
                  <a:lnTo>
                    <a:pt x="88" y="92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76" y="92"/>
                  </a:lnTo>
                  <a:lnTo>
                    <a:pt x="72" y="92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4" y="96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48" y="100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0" y="104"/>
                  </a:lnTo>
                  <a:lnTo>
                    <a:pt x="40" y="100"/>
                  </a:lnTo>
                  <a:lnTo>
                    <a:pt x="36" y="100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24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96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8" y="96"/>
                  </a:lnTo>
                  <a:lnTo>
                    <a:pt x="4" y="92"/>
                  </a:lnTo>
                  <a:lnTo>
                    <a:pt x="0" y="88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8" y="44"/>
                  </a:lnTo>
                  <a:lnTo>
                    <a:pt x="32" y="44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8" y="20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80" y="20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91" y="20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5" y="20"/>
                  </a:lnTo>
                  <a:lnTo>
                    <a:pt x="99" y="20"/>
                  </a:lnTo>
                  <a:lnTo>
                    <a:pt x="99" y="24"/>
                  </a:lnTo>
                  <a:lnTo>
                    <a:pt x="99" y="20"/>
                  </a:lnTo>
                  <a:lnTo>
                    <a:pt x="103" y="20"/>
                  </a:lnTo>
                  <a:lnTo>
                    <a:pt x="107" y="20"/>
                  </a:lnTo>
                  <a:lnTo>
                    <a:pt x="107" y="24"/>
                  </a:lnTo>
                  <a:lnTo>
                    <a:pt x="111" y="24"/>
                  </a:lnTo>
                  <a:lnTo>
                    <a:pt x="111" y="20"/>
                  </a:lnTo>
                  <a:lnTo>
                    <a:pt x="115" y="20"/>
                  </a:lnTo>
                  <a:lnTo>
                    <a:pt x="115" y="24"/>
                  </a:lnTo>
                  <a:lnTo>
                    <a:pt x="119" y="20"/>
                  </a:lnTo>
                  <a:lnTo>
                    <a:pt x="123" y="20"/>
                  </a:lnTo>
                  <a:lnTo>
                    <a:pt x="123" y="24"/>
                  </a:lnTo>
                  <a:lnTo>
                    <a:pt x="127" y="24"/>
                  </a:lnTo>
                  <a:lnTo>
                    <a:pt x="127" y="28"/>
                  </a:lnTo>
                  <a:lnTo>
                    <a:pt x="127" y="24"/>
                  </a:lnTo>
                  <a:lnTo>
                    <a:pt x="127" y="20"/>
                  </a:lnTo>
                  <a:lnTo>
                    <a:pt x="127" y="16"/>
                  </a:lnTo>
                  <a:lnTo>
                    <a:pt x="127" y="12"/>
                  </a:lnTo>
                  <a:lnTo>
                    <a:pt x="131" y="12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51" y="8"/>
                  </a:lnTo>
                  <a:lnTo>
                    <a:pt x="155" y="8"/>
                  </a:lnTo>
                  <a:lnTo>
                    <a:pt x="155" y="4"/>
                  </a:lnTo>
                  <a:lnTo>
                    <a:pt x="159" y="4"/>
                  </a:lnTo>
                  <a:lnTo>
                    <a:pt x="163" y="4"/>
                  </a:lnTo>
                  <a:lnTo>
                    <a:pt x="167" y="0"/>
                  </a:lnTo>
                  <a:lnTo>
                    <a:pt x="171" y="0"/>
                  </a:lnTo>
                  <a:lnTo>
                    <a:pt x="171" y="4"/>
                  </a:lnTo>
                  <a:lnTo>
                    <a:pt x="175" y="4"/>
                  </a:lnTo>
                  <a:lnTo>
                    <a:pt x="175" y="0"/>
                  </a:lnTo>
                  <a:lnTo>
                    <a:pt x="179" y="4"/>
                  </a:lnTo>
                  <a:lnTo>
                    <a:pt x="179" y="8"/>
                  </a:lnTo>
                  <a:lnTo>
                    <a:pt x="183" y="12"/>
                  </a:lnTo>
                  <a:lnTo>
                    <a:pt x="187" y="16"/>
                  </a:lnTo>
                  <a:lnTo>
                    <a:pt x="183" y="16"/>
                  </a:lnTo>
                  <a:lnTo>
                    <a:pt x="179" y="16"/>
                  </a:lnTo>
                  <a:lnTo>
                    <a:pt x="183" y="20"/>
                  </a:lnTo>
                  <a:lnTo>
                    <a:pt x="183" y="24"/>
                  </a:lnTo>
                  <a:lnTo>
                    <a:pt x="183" y="28"/>
                  </a:lnTo>
                  <a:lnTo>
                    <a:pt x="187" y="28"/>
                  </a:lnTo>
                  <a:lnTo>
                    <a:pt x="191" y="28"/>
                  </a:lnTo>
                  <a:lnTo>
                    <a:pt x="195" y="28"/>
                  </a:lnTo>
                  <a:lnTo>
                    <a:pt x="195" y="32"/>
                  </a:lnTo>
                  <a:lnTo>
                    <a:pt x="199" y="32"/>
                  </a:lnTo>
                  <a:lnTo>
                    <a:pt x="199" y="36"/>
                  </a:lnTo>
                  <a:lnTo>
                    <a:pt x="203" y="36"/>
                  </a:lnTo>
                  <a:lnTo>
                    <a:pt x="203" y="40"/>
                  </a:lnTo>
                  <a:lnTo>
                    <a:pt x="199" y="40"/>
                  </a:lnTo>
                  <a:lnTo>
                    <a:pt x="199" y="44"/>
                  </a:lnTo>
                  <a:lnTo>
                    <a:pt x="203" y="44"/>
                  </a:lnTo>
                  <a:lnTo>
                    <a:pt x="203" y="48"/>
                  </a:lnTo>
                  <a:lnTo>
                    <a:pt x="207" y="48"/>
                  </a:lnTo>
                  <a:lnTo>
                    <a:pt x="207" y="44"/>
                  </a:lnTo>
                  <a:lnTo>
                    <a:pt x="211" y="44"/>
                  </a:lnTo>
                  <a:lnTo>
                    <a:pt x="211" y="48"/>
                  </a:lnTo>
                  <a:lnTo>
                    <a:pt x="215" y="48"/>
                  </a:lnTo>
                  <a:lnTo>
                    <a:pt x="219" y="48"/>
                  </a:lnTo>
                  <a:lnTo>
                    <a:pt x="219" y="52"/>
                  </a:lnTo>
                  <a:lnTo>
                    <a:pt x="219" y="48"/>
                  </a:lnTo>
                  <a:lnTo>
                    <a:pt x="223" y="48"/>
                  </a:lnTo>
                  <a:lnTo>
                    <a:pt x="227" y="48"/>
                  </a:lnTo>
                  <a:lnTo>
                    <a:pt x="231" y="44"/>
                  </a:lnTo>
                  <a:lnTo>
                    <a:pt x="235" y="52"/>
                  </a:lnTo>
                  <a:lnTo>
                    <a:pt x="239" y="52"/>
                  </a:lnTo>
                  <a:lnTo>
                    <a:pt x="239" y="56"/>
                  </a:lnTo>
                  <a:lnTo>
                    <a:pt x="243" y="56"/>
                  </a:lnTo>
                  <a:lnTo>
                    <a:pt x="243" y="52"/>
                  </a:lnTo>
                  <a:lnTo>
                    <a:pt x="247" y="52"/>
                  </a:lnTo>
                  <a:lnTo>
                    <a:pt x="247" y="56"/>
                  </a:lnTo>
                  <a:lnTo>
                    <a:pt x="251" y="56"/>
                  </a:lnTo>
                  <a:lnTo>
                    <a:pt x="255" y="56"/>
                  </a:lnTo>
                  <a:lnTo>
                    <a:pt x="255" y="60"/>
                  </a:lnTo>
                  <a:lnTo>
                    <a:pt x="259" y="56"/>
                  </a:lnTo>
                  <a:lnTo>
                    <a:pt x="259" y="60"/>
                  </a:lnTo>
                  <a:lnTo>
                    <a:pt x="263" y="60"/>
                  </a:lnTo>
                  <a:lnTo>
                    <a:pt x="263" y="64"/>
                  </a:lnTo>
                  <a:lnTo>
                    <a:pt x="267" y="64"/>
                  </a:lnTo>
                  <a:lnTo>
                    <a:pt x="271" y="64"/>
                  </a:lnTo>
                  <a:lnTo>
                    <a:pt x="271" y="68"/>
                  </a:lnTo>
                  <a:lnTo>
                    <a:pt x="271" y="72"/>
                  </a:lnTo>
                  <a:lnTo>
                    <a:pt x="271" y="76"/>
                  </a:lnTo>
                  <a:lnTo>
                    <a:pt x="267" y="76"/>
                  </a:lnTo>
                  <a:lnTo>
                    <a:pt x="267" y="80"/>
                  </a:lnTo>
                  <a:lnTo>
                    <a:pt x="271" y="80"/>
                  </a:lnTo>
                  <a:lnTo>
                    <a:pt x="267" y="80"/>
                  </a:lnTo>
                  <a:lnTo>
                    <a:pt x="267" y="84"/>
                  </a:lnTo>
                  <a:lnTo>
                    <a:pt x="267" y="88"/>
                  </a:lnTo>
                  <a:lnTo>
                    <a:pt x="271" y="92"/>
                  </a:lnTo>
                  <a:lnTo>
                    <a:pt x="271" y="96"/>
                  </a:lnTo>
                  <a:lnTo>
                    <a:pt x="267" y="96"/>
                  </a:lnTo>
                  <a:lnTo>
                    <a:pt x="267" y="100"/>
                  </a:lnTo>
                  <a:lnTo>
                    <a:pt x="267" y="104"/>
                  </a:lnTo>
                  <a:lnTo>
                    <a:pt x="263" y="104"/>
                  </a:lnTo>
                  <a:lnTo>
                    <a:pt x="259" y="104"/>
                  </a:lnTo>
                  <a:lnTo>
                    <a:pt x="255" y="104"/>
                  </a:lnTo>
                  <a:lnTo>
                    <a:pt x="251" y="104"/>
                  </a:lnTo>
                  <a:lnTo>
                    <a:pt x="251" y="108"/>
                  </a:lnTo>
                  <a:lnTo>
                    <a:pt x="247" y="108"/>
                  </a:lnTo>
                  <a:lnTo>
                    <a:pt x="243" y="108"/>
                  </a:lnTo>
                  <a:lnTo>
                    <a:pt x="243" y="112"/>
                  </a:lnTo>
                  <a:lnTo>
                    <a:pt x="243" y="116"/>
                  </a:lnTo>
                  <a:lnTo>
                    <a:pt x="243" y="120"/>
                  </a:lnTo>
                  <a:lnTo>
                    <a:pt x="239" y="120"/>
                  </a:lnTo>
                  <a:lnTo>
                    <a:pt x="235" y="120"/>
                  </a:lnTo>
                  <a:lnTo>
                    <a:pt x="231" y="120"/>
                  </a:lnTo>
                  <a:lnTo>
                    <a:pt x="231" y="124"/>
                  </a:lnTo>
                  <a:lnTo>
                    <a:pt x="227" y="124"/>
                  </a:lnTo>
                  <a:lnTo>
                    <a:pt x="223" y="124"/>
                  </a:lnTo>
                  <a:lnTo>
                    <a:pt x="223" y="128"/>
                  </a:lnTo>
                  <a:lnTo>
                    <a:pt x="219" y="128"/>
                  </a:lnTo>
                  <a:lnTo>
                    <a:pt x="219" y="124"/>
                  </a:lnTo>
                  <a:lnTo>
                    <a:pt x="219" y="128"/>
                  </a:lnTo>
                  <a:lnTo>
                    <a:pt x="215" y="128"/>
                  </a:lnTo>
                  <a:lnTo>
                    <a:pt x="211" y="128"/>
                  </a:lnTo>
                  <a:lnTo>
                    <a:pt x="207" y="128"/>
                  </a:lnTo>
                  <a:lnTo>
                    <a:pt x="207" y="132"/>
                  </a:lnTo>
                  <a:lnTo>
                    <a:pt x="203" y="132"/>
                  </a:lnTo>
                  <a:lnTo>
                    <a:pt x="199" y="136"/>
                  </a:lnTo>
                  <a:lnTo>
                    <a:pt x="199" y="140"/>
                  </a:lnTo>
                  <a:lnTo>
                    <a:pt x="195" y="140"/>
                  </a:lnTo>
                  <a:lnTo>
                    <a:pt x="199" y="140"/>
                  </a:lnTo>
                  <a:lnTo>
                    <a:pt x="199" y="136"/>
                  </a:lnTo>
                  <a:lnTo>
                    <a:pt x="199" y="132"/>
                  </a:lnTo>
                  <a:lnTo>
                    <a:pt x="199" y="136"/>
                  </a:lnTo>
                  <a:lnTo>
                    <a:pt x="195" y="136"/>
                  </a:lnTo>
                  <a:lnTo>
                    <a:pt x="191" y="140"/>
                  </a:lnTo>
                  <a:lnTo>
                    <a:pt x="187" y="140"/>
                  </a:lnTo>
                  <a:lnTo>
                    <a:pt x="187" y="144"/>
                  </a:lnTo>
                  <a:lnTo>
                    <a:pt x="187" y="140"/>
                  </a:lnTo>
                  <a:lnTo>
                    <a:pt x="183" y="140"/>
                  </a:lnTo>
                  <a:lnTo>
                    <a:pt x="183" y="136"/>
                  </a:lnTo>
                  <a:lnTo>
                    <a:pt x="183" y="140"/>
                  </a:lnTo>
                  <a:lnTo>
                    <a:pt x="179" y="140"/>
                  </a:lnTo>
                  <a:lnTo>
                    <a:pt x="183" y="140"/>
                  </a:lnTo>
                  <a:lnTo>
                    <a:pt x="179" y="140"/>
                  </a:lnTo>
                  <a:lnTo>
                    <a:pt x="175" y="136"/>
                  </a:lnTo>
                  <a:lnTo>
                    <a:pt x="175" y="140"/>
                  </a:lnTo>
                  <a:lnTo>
                    <a:pt x="179" y="140"/>
                  </a:lnTo>
                  <a:lnTo>
                    <a:pt x="179" y="144"/>
                  </a:lnTo>
                  <a:lnTo>
                    <a:pt x="179" y="140"/>
                  </a:lnTo>
                  <a:lnTo>
                    <a:pt x="179" y="144"/>
                  </a:lnTo>
                  <a:lnTo>
                    <a:pt x="183" y="144"/>
                  </a:lnTo>
                  <a:lnTo>
                    <a:pt x="187" y="144"/>
                  </a:lnTo>
                  <a:lnTo>
                    <a:pt x="183" y="144"/>
                  </a:lnTo>
                  <a:lnTo>
                    <a:pt x="187" y="144"/>
                  </a:lnTo>
                  <a:lnTo>
                    <a:pt x="187" y="148"/>
                  </a:lnTo>
                  <a:lnTo>
                    <a:pt x="191" y="148"/>
                  </a:lnTo>
                  <a:lnTo>
                    <a:pt x="191" y="152"/>
                  </a:lnTo>
                  <a:lnTo>
                    <a:pt x="195" y="152"/>
                  </a:lnTo>
                  <a:lnTo>
                    <a:pt x="195" y="156"/>
                  </a:lnTo>
                  <a:lnTo>
                    <a:pt x="199" y="160"/>
                  </a:lnTo>
                  <a:lnTo>
                    <a:pt x="199" y="156"/>
                  </a:lnTo>
                  <a:lnTo>
                    <a:pt x="195" y="152"/>
                  </a:lnTo>
                  <a:lnTo>
                    <a:pt x="195" y="148"/>
                  </a:lnTo>
                  <a:lnTo>
                    <a:pt x="191" y="148"/>
                  </a:lnTo>
                  <a:lnTo>
                    <a:pt x="191" y="144"/>
                  </a:lnTo>
                  <a:lnTo>
                    <a:pt x="191" y="140"/>
                  </a:lnTo>
                  <a:lnTo>
                    <a:pt x="191" y="144"/>
                  </a:lnTo>
                  <a:lnTo>
                    <a:pt x="195" y="148"/>
                  </a:lnTo>
                  <a:lnTo>
                    <a:pt x="195" y="152"/>
                  </a:lnTo>
                  <a:lnTo>
                    <a:pt x="199" y="156"/>
                  </a:lnTo>
                  <a:lnTo>
                    <a:pt x="203" y="156"/>
                  </a:lnTo>
                  <a:lnTo>
                    <a:pt x="203" y="160"/>
                  </a:lnTo>
                  <a:lnTo>
                    <a:pt x="203" y="156"/>
                  </a:lnTo>
                  <a:lnTo>
                    <a:pt x="207" y="156"/>
                  </a:lnTo>
                  <a:lnTo>
                    <a:pt x="211" y="156"/>
                  </a:lnTo>
                  <a:lnTo>
                    <a:pt x="215" y="156"/>
                  </a:lnTo>
                  <a:lnTo>
                    <a:pt x="219" y="156"/>
                  </a:lnTo>
                  <a:lnTo>
                    <a:pt x="215" y="156"/>
                  </a:lnTo>
                  <a:lnTo>
                    <a:pt x="215" y="160"/>
                  </a:lnTo>
                  <a:lnTo>
                    <a:pt x="215" y="164"/>
                  </a:lnTo>
                  <a:lnTo>
                    <a:pt x="211" y="164"/>
                  </a:lnTo>
                  <a:lnTo>
                    <a:pt x="207" y="164"/>
                  </a:lnTo>
                  <a:lnTo>
                    <a:pt x="203" y="164"/>
                  </a:lnTo>
                  <a:lnTo>
                    <a:pt x="203" y="160"/>
                  </a:lnTo>
                  <a:lnTo>
                    <a:pt x="199" y="164"/>
                  </a:lnTo>
                  <a:lnTo>
                    <a:pt x="195" y="168"/>
                  </a:lnTo>
                  <a:lnTo>
                    <a:pt x="191" y="168"/>
                  </a:lnTo>
                  <a:lnTo>
                    <a:pt x="187" y="168"/>
                  </a:lnTo>
                  <a:lnTo>
                    <a:pt x="187" y="172"/>
                  </a:lnTo>
                  <a:lnTo>
                    <a:pt x="183" y="172"/>
                  </a:lnTo>
                  <a:lnTo>
                    <a:pt x="183" y="176"/>
                  </a:lnTo>
                  <a:lnTo>
                    <a:pt x="179" y="176"/>
                  </a:lnTo>
                  <a:lnTo>
                    <a:pt x="175" y="176"/>
                  </a:lnTo>
                  <a:lnTo>
                    <a:pt x="171" y="176"/>
                  </a:lnTo>
                  <a:lnTo>
                    <a:pt x="171" y="172"/>
                  </a:lnTo>
                  <a:lnTo>
                    <a:pt x="171" y="168"/>
                  </a:lnTo>
                  <a:lnTo>
                    <a:pt x="175" y="168"/>
                  </a:lnTo>
                  <a:lnTo>
                    <a:pt x="175" y="164"/>
                  </a:lnTo>
                  <a:lnTo>
                    <a:pt x="171" y="164"/>
                  </a:lnTo>
                  <a:lnTo>
                    <a:pt x="171" y="160"/>
                  </a:lnTo>
                  <a:lnTo>
                    <a:pt x="167" y="160"/>
                  </a:lnTo>
                  <a:lnTo>
                    <a:pt x="163" y="156"/>
                  </a:lnTo>
                  <a:lnTo>
                    <a:pt x="159" y="156"/>
                  </a:lnTo>
                  <a:lnTo>
                    <a:pt x="155" y="156"/>
                  </a:lnTo>
                  <a:lnTo>
                    <a:pt x="159" y="152"/>
                  </a:lnTo>
                  <a:lnTo>
                    <a:pt x="163" y="152"/>
                  </a:lnTo>
                  <a:lnTo>
                    <a:pt x="163" y="148"/>
                  </a:lnTo>
                  <a:lnTo>
                    <a:pt x="167" y="148"/>
                  </a:lnTo>
                  <a:lnTo>
                    <a:pt x="171" y="148"/>
                  </a:lnTo>
                  <a:lnTo>
                    <a:pt x="171" y="144"/>
                  </a:lnTo>
                  <a:lnTo>
                    <a:pt x="175" y="144"/>
                  </a:lnTo>
                  <a:lnTo>
                    <a:pt x="175" y="140"/>
                  </a:lnTo>
                  <a:lnTo>
                    <a:pt x="171" y="140"/>
                  </a:lnTo>
                  <a:lnTo>
                    <a:pt x="167" y="140"/>
                  </a:lnTo>
                  <a:lnTo>
                    <a:pt x="163" y="140"/>
                  </a:lnTo>
                  <a:lnTo>
                    <a:pt x="159" y="140"/>
                  </a:lnTo>
                  <a:lnTo>
                    <a:pt x="155" y="140"/>
                  </a:lnTo>
                  <a:lnTo>
                    <a:pt x="151" y="140"/>
                  </a:lnTo>
                  <a:lnTo>
                    <a:pt x="151" y="136"/>
                  </a:lnTo>
                  <a:lnTo>
                    <a:pt x="147" y="136"/>
                  </a:lnTo>
                  <a:lnTo>
                    <a:pt x="151" y="136"/>
                  </a:lnTo>
                  <a:lnTo>
                    <a:pt x="147" y="132"/>
                  </a:lnTo>
                  <a:lnTo>
                    <a:pt x="143" y="132"/>
                  </a:lnTo>
                  <a:lnTo>
                    <a:pt x="147" y="132"/>
                  </a:lnTo>
                  <a:lnTo>
                    <a:pt x="151" y="132"/>
                  </a:lnTo>
                  <a:lnTo>
                    <a:pt x="155" y="132"/>
                  </a:lnTo>
                  <a:lnTo>
                    <a:pt x="159" y="128"/>
                  </a:lnTo>
                  <a:lnTo>
                    <a:pt x="155" y="128"/>
                  </a:lnTo>
                  <a:lnTo>
                    <a:pt x="155" y="132"/>
                  </a:lnTo>
                  <a:lnTo>
                    <a:pt x="151" y="128"/>
                  </a:lnTo>
                  <a:lnTo>
                    <a:pt x="151" y="132"/>
                  </a:lnTo>
                  <a:lnTo>
                    <a:pt x="147" y="128"/>
                  </a:lnTo>
                  <a:lnTo>
                    <a:pt x="147" y="124"/>
                  </a:lnTo>
                  <a:lnTo>
                    <a:pt x="147" y="120"/>
                  </a:lnTo>
                  <a:lnTo>
                    <a:pt x="147" y="116"/>
                  </a:lnTo>
                  <a:lnTo>
                    <a:pt x="143" y="116"/>
                  </a:lnTo>
                  <a:lnTo>
                    <a:pt x="147" y="116"/>
                  </a:lnTo>
                  <a:lnTo>
                    <a:pt x="147" y="120"/>
                  </a:lnTo>
                  <a:lnTo>
                    <a:pt x="147" y="124"/>
                  </a:lnTo>
                  <a:lnTo>
                    <a:pt x="147" y="128"/>
                  </a:lnTo>
                  <a:lnTo>
                    <a:pt x="143" y="128"/>
                  </a:lnTo>
                  <a:lnTo>
                    <a:pt x="139" y="128"/>
                  </a:lnTo>
                  <a:lnTo>
                    <a:pt x="143" y="128"/>
                  </a:lnTo>
                  <a:lnTo>
                    <a:pt x="143" y="124"/>
                  </a:lnTo>
                  <a:lnTo>
                    <a:pt x="143" y="128"/>
                  </a:lnTo>
                  <a:lnTo>
                    <a:pt x="139" y="128"/>
                  </a:lnTo>
                  <a:lnTo>
                    <a:pt x="135" y="128"/>
                  </a:lnTo>
                  <a:lnTo>
                    <a:pt x="131" y="132"/>
                  </a:lnTo>
                  <a:lnTo>
                    <a:pt x="131" y="136"/>
                  </a:lnTo>
                  <a:lnTo>
                    <a:pt x="127" y="136"/>
                  </a:lnTo>
                  <a:lnTo>
                    <a:pt x="127" y="140"/>
                  </a:lnTo>
                  <a:lnTo>
                    <a:pt x="123" y="144"/>
                  </a:lnTo>
                  <a:lnTo>
                    <a:pt x="119" y="148"/>
                  </a:lnTo>
                  <a:lnTo>
                    <a:pt x="115" y="148"/>
                  </a:lnTo>
                  <a:lnTo>
                    <a:pt x="115" y="152"/>
                  </a:lnTo>
                  <a:lnTo>
                    <a:pt x="115" y="148"/>
                  </a:lnTo>
                  <a:lnTo>
                    <a:pt x="111" y="148"/>
                  </a:lnTo>
                  <a:lnTo>
                    <a:pt x="111" y="152"/>
                  </a:lnTo>
                  <a:lnTo>
                    <a:pt x="115" y="156"/>
                  </a:lnTo>
                  <a:lnTo>
                    <a:pt x="115" y="160"/>
                  </a:lnTo>
                  <a:lnTo>
                    <a:pt x="115" y="156"/>
                  </a:lnTo>
                  <a:lnTo>
                    <a:pt x="111" y="156"/>
                  </a:lnTo>
                  <a:lnTo>
                    <a:pt x="107" y="156"/>
                  </a:lnTo>
                  <a:lnTo>
                    <a:pt x="103" y="156"/>
                  </a:lnTo>
                  <a:lnTo>
                    <a:pt x="99" y="156"/>
                  </a:lnTo>
                  <a:lnTo>
                    <a:pt x="99" y="160"/>
                  </a:lnTo>
                  <a:lnTo>
                    <a:pt x="95" y="160"/>
                  </a:lnTo>
                  <a:lnTo>
                    <a:pt x="95" y="156"/>
                  </a:lnTo>
                  <a:lnTo>
                    <a:pt x="91" y="1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19" name="Freeform 116"/>
            <p:cNvSpPr>
              <a:spLocks noEditPoints="1"/>
            </p:cNvSpPr>
            <p:nvPr>
              <p:custDataLst>
                <p:tags r:id="rId312"/>
              </p:custDataLst>
            </p:nvPr>
          </p:nvSpPr>
          <p:spPr bwMode="gray">
            <a:xfrm>
              <a:off x="4192161" y="2768820"/>
              <a:ext cx="225426" cy="379664"/>
            </a:xfrm>
            <a:custGeom>
              <a:avLst/>
              <a:gdLst/>
              <a:ahLst/>
              <a:cxnLst>
                <a:cxn ang="0">
                  <a:pos x="108" y="8"/>
                </a:cxn>
                <a:cxn ang="0">
                  <a:pos x="108" y="16"/>
                </a:cxn>
                <a:cxn ang="0">
                  <a:pos x="72" y="48"/>
                </a:cxn>
                <a:cxn ang="0">
                  <a:pos x="76" y="48"/>
                </a:cxn>
                <a:cxn ang="0">
                  <a:pos x="44" y="144"/>
                </a:cxn>
                <a:cxn ang="0">
                  <a:pos x="52" y="120"/>
                </a:cxn>
                <a:cxn ang="0">
                  <a:pos x="40" y="116"/>
                </a:cxn>
                <a:cxn ang="0">
                  <a:pos x="36" y="124"/>
                </a:cxn>
                <a:cxn ang="0">
                  <a:pos x="48" y="108"/>
                </a:cxn>
                <a:cxn ang="0">
                  <a:pos x="36" y="104"/>
                </a:cxn>
                <a:cxn ang="0">
                  <a:pos x="36" y="96"/>
                </a:cxn>
                <a:cxn ang="0">
                  <a:pos x="40" y="80"/>
                </a:cxn>
                <a:cxn ang="0">
                  <a:pos x="40" y="68"/>
                </a:cxn>
                <a:cxn ang="0">
                  <a:pos x="60" y="56"/>
                </a:cxn>
                <a:cxn ang="0">
                  <a:pos x="68" y="68"/>
                </a:cxn>
                <a:cxn ang="0">
                  <a:pos x="68" y="76"/>
                </a:cxn>
                <a:cxn ang="0">
                  <a:pos x="68" y="80"/>
                </a:cxn>
                <a:cxn ang="0">
                  <a:pos x="92" y="76"/>
                </a:cxn>
                <a:cxn ang="0">
                  <a:pos x="84" y="104"/>
                </a:cxn>
                <a:cxn ang="0">
                  <a:pos x="68" y="116"/>
                </a:cxn>
                <a:cxn ang="0">
                  <a:pos x="96" y="124"/>
                </a:cxn>
                <a:cxn ang="0">
                  <a:pos x="112" y="152"/>
                </a:cxn>
                <a:cxn ang="0">
                  <a:pos x="124" y="172"/>
                </a:cxn>
                <a:cxn ang="0">
                  <a:pos x="120" y="172"/>
                </a:cxn>
                <a:cxn ang="0">
                  <a:pos x="132" y="188"/>
                </a:cxn>
                <a:cxn ang="0">
                  <a:pos x="140" y="208"/>
                </a:cxn>
                <a:cxn ang="0">
                  <a:pos x="132" y="220"/>
                </a:cxn>
                <a:cxn ang="0">
                  <a:pos x="144" y="228"/>
                </a:cxn>
                <a:cxn ang="0">
                  <a:pos x="124" y="236"/>
                </a:cxn>
                <a:cxn ang="0">
                  <a:pos x="92" y="240"/>
                </a:cxn>
                <a:cxn ang="0">
                  <a:pos x="72" y="244"/>
                </a:cxn>
                <a:cxn ang="0">
                  <a:pos x="44" y="252"/>
                </a:cxn>
                <a:cxn ang="0">
                  <a:pos x="56" y="236"/>
                </a:cxn>
                <a:cxn ang="0">
                  <a:pos x="84" y="220"/>
                </a:cxn>
                <a:cxn ang="0">
                  <a:pos x="68" y="220"/>
                </a:cxn>
                <a:cxn ang="0">
                  <a:pos x="48" y="220"/>
                </a:cxn>
                <a:cxn ang="0">
                  <a:pos x="56" y="208"/>
                </a:cxn>
                <a:cxn ang="0">
                  <a:pos x="56" y="192"/>
                </a:cxn>
                <a:cxn ang="0">
                  <a:pos x="76" y="176"/>
                </a:cxn>
                <a:cxn ang="0">
                  <a:pos x="80" y="160"/>
                </a:cxn>
                <a:cxn ang="0">
                  <a:pos x="80" y="144"/>
                </a:cxn>
                <a:cxn ang="0">
                  <a:pos x="56" y="148"/>
                </a:cxn>
                <a:cxn ang="0">
                  <a:pos x="24" y="72"/>
                </a:cxn>
                <a:cxn ang="0">
                  <a:pos x="24" y="60"/>
                </a:cxn>
                <a:cxn ang="0">
                  <a:pos x="24" y="68"/>
                </a:cxn>
                <a:cxn ang="0">
                  <a:pos x="32" y="92"/>
                </a:cxn>
                <a:cxn ang="0">
                  <a:pos x="24" y="84"/>
                </a:cxn>
                <a:cxn ang="0">
                  <a:pos x="36" y="92"/>
                </a:cxn>
                <a:cxn ang="0">
                  <a:pos x="12" y="92"/>
                </a:cxn>
                <a:cxn ang="0">
                  <a:pos x="12" y="96"/>
                </a:cxn>
                <a:cxn ang="0">
                  <a:pos x="24" y="104"/>
                </a:cxn>
                <a:cxn ang="0">
                  <a:pos x="28" y="108"/>
                </a:cxn>
                <a:cxn ang="0">
                  <a:pos x="16" y="104"/>
                </a:cxn>
                <a:cxn ang="0">
                  <a:pos x="28" y="128"/>
                </a:cxn>
                <a:cxn ang="0">
                  <a:pos x="48" y="124"/>
                </a:cxn>
                <a:cxn ang="0">
                  <a:pos x="16" y="156"/>
                </a:cxn>
                <a:cxn ang="0">
                  <a:pos x="4" y="148"/>
                </a:cxn>
                <a:cxn ang="0">
                  <a:pos x="36" y="144"/>
                </a:cxn>
                <a:cxn ang="0">
                  <a:pos x="40" y="156"/>
                </a:cxn>
                <a:cxn ang="0">
                  <a:pos x="56" y="176"/>
                </a:cxn>
                <a:cxn ang="0">
                  <a:pos x="104" y="240"/>
                </a:cxn>
              </a:cxnLst>
              <a:rect l="0" t="0" r="r" b="b"/>
              <a:pathLst>
                <a:path w="152" h="256">
                  <a:moveTo>
                    <a:pt x="84" y="40"/>
                  </a:moveTo>
                  <a:lnTo>
                    <a:pt x="88" y="40"/>
                  </a:lnTo>
                  <a:lnTo>
                    <a:pt x="84" y="40"/>
                  </a:lnTo>
                  <a:close/>
                  <a:moveTo>
                    <a:pt x="112" y="4"/>
                  </a:moveTo>
                  <a:lnTo>
                    <a:pt x="108" y="4"/>
                  </a:lnTo>
                  <a:lnTo>
                    <a:pt x="112" y="0"/>
                  </a:lnTo>
                  <a:lnTo>
                    <a:pt x="112" y="4"/>
                  </a:lnTo>
                  <a:close/>
                  <a:moveTo>
                    <a:pt x="108" y="8"/>
                  </a:moveTo>
                  <a:lnTo>
                    <a:pt x="108" y="4"/>
                  </a:lnTo>
                  <a:lnTo>
                    <a:pt x="108" y="8"/>
                  </a:lnTo>
                  <a:close/>
                  <a:moveTo>
                    <a:pt x="100" y="16"/>
                  </a:moveTo>
                  <a:lnTo>
                    <a:pt x="104" y="12"/>
                  </a:lnTo>
                  <a:lnTo>
                    <a:pt x="100" y="12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08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4" y="20"/>
                  </a:lnTo>
                  <a:lnTo>
                    <a:pt x="104" y="16"/>
                  </a:lnTo>
                  <a:lnTo>
                    <a:pt x="100" y="20"/>
                  </a:lnTo>
                  <a:lnTo>
                    <a:pt x="100" y="16"/>
                  </a:lnTo>
                  <a:close/>
                  <a:moveTo>
                    <a:pt x="80" y="48"/>
                  </a:moveTo>
                  <a:lnTo>
                    <a:pt x="76" y="48"/>
                  </a:lnTo>
                  <a:lnTo>
                    <a:pt x="72" y="48"/>
                  </a:lnTo>
                  <a:lnTo>
                    <a:pt x="72" y="44"/>
                  </a:lnTo>
                  <a:lnTo>
                    <a:pt x="76" y="44"/>
                  </a:lnTo>
                  <a:lnTo>
                    <a:pt x="80" y="44"/>
                  </a:lnTo>
                  <a:lnTo>
                    <a:pt x="80" y="48"/>
                  </a:lnTo>
                  <a:lnTo>
                    <a:pt x="84" y="48"/>
                  </a:lnTo>
                  <a:lnTo>
                    <a:pt x="80" y="48"/>
                  </a:lnTo>
                  <a:close/>
                  <a:moveTo>
                    <a:pt x="76" y="52"/>
                  </a:moveTo>
                  <a:lnTo>
                    <a:pt x="72" y="52"/>
                  </a:lnTo>
                  <a:lnTo>
                    <a:pt x="72" y="48"/>
                  </a:lnTo>
                  <a:lnTo>
                    <a:pt x="76" y="48"/>
                  </a:lnTo>
                  <a:lnTo>
                    <a:pt x="76" y="52"/>
                  </a:lnTo>
                  <a:close/>
                  <a:moveTo>
                    <a:pt x="80" y="52"/>
                  </a:moveTo>
                  <a:lnTo>
                    <a:pt x="76" y="52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80" y="52"/>
                  </a:lnTo>
                  <a:close/>
                  <a:moveTo>
                    <a:pt x="52" y="148"/>
                  </a:moveTo>
                  <a:lnTo>
                    <a:pt x="48" y="148"/>
                  </a:lnTo>
                  <a:lnTo>
                    <a:pt x="48" y="144"/>
                  </a:lnTo>
                  <a:lnTo>
                    <a:pt x="44" y="144"/>
                  </a:lnTo>
                  <a:lnTo>
                    <a:pt x="44" y="140"/>
                  </a:lnTo>
                  <a:lnTo>
                    <a:pt x="48" y="140"/>
                  </a:lnTo>
                  <a:lnTo>
                    <a:pt x="48" y="136"/>
                  </a:lnTo>
                  <a:lnTo>
                    <a:pt x="52" y="136"/>
                  </a:lnTo>
                  <a:lnTo>
                    <a:pt x="52" y="132"/>
                  </a:lnTo>
                  <a:lnTo>
                    <a:pt x="52" y="128"/>
                  </a:lnTo>
                  <a:lnTo>
                    <a:pt x="52" y="124"/>
                  </a:lnTo>
                  <a:lnTo>
                    <a:pt x="48" y="124"/>
                  </a:lnTo>
                  <a:lnTo>
                    <a:pt x="48" y="120"/>
                  </a:lnTo>
                  <a:lnTo>
                    <a:pt x="52" y="120"/>
                  </a:lnTo>
                  <a:lnTo>
                    <a:pt x="56" y="120"/>
                  </a:lnTo>
                  <a:lnTo>
                    <a:pt x="52" y="120"/>
                  </a:lnTo>
                  <a:lnTo>
                    <a:pt x="52" y="116"/>
                  </a:lnTo>
                  <a:lnTo>
                    <a:pt x="48" y="116"/>
                  </a:lnTo>
                  <a:lnTo>
                    <a:pt x="48" y="120"/>
                  </a:lnTo>
                  <a:lnTo>
                    <a:pt x="44" y="120"/>
                  </a:lnTo>
                  <a:lnTo>
                    <a:pt x="44" y="116"/>
                  </a:lnTo>
                  <a:lnTo>
                    <a:pt x="48" y="112"/>
                  </a:lnTo>
                  <a:lnTo>
                    <a:pt x="44" y="116"/>
                  </a:lnTo>
                  <a:lnTo>
                    <a:pt x="40" y="116"/>
                  </a:lnTo>
                  <a:lnTo>
                    <a:pt x="40" y="120"/>
                  </a:lnTo>
                  <a:lnTo>
                    <a:pt x="44" y="124"/>
                  </a:lnTo>
                  <a:lnTo>
                    <a:pt x="40" y="124"/>
                  </a:lnTo>
                  <a:lnTo>
                    <a:pt x="40" y="132"/>
                  </a:lnTo>
                  <a:lnTo>
                    <a:pt x="36" y="136"/>
                  </a:lnTo>
                  <a:lnTo>
                    <a:pt x="36" y="132"/>
                  </a:lnTo>
                  <a:lnTo>
                    <a:pt x="36" y="128"/>
                  </a:lnTo>
                  <a:lnTo>
                    <a:pt x="36" y="124"/>
                  </a:lnTo>
                  <a:lnTo>
                    <a:pt x="40" y="124"/>
                  </a:lnTo>
                  <a:lnTo>
                    <a:pt x="36" y="124"/>
                  </a:lnTo>
                  <a:lnTo>
                    <a:pt x="36" y="120"/>
                  </a:lnTo>
                  <a:lnTo>
                    <a:pt x="40" y="120"/>
                  </a:lnTo>
                  <a:lnTo>
                    <a:pt x="40" y="116"/>
                  </a:lnTo>
                  <a:lnTo>
                    <a:pt x="36" y="120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4" y="108"/>
                  </a:lnTo>
                  <a:lnTo>
                    <a:pt x="48" y="108"/>
                  </a:lnTo>
                  <a:lnTo>
                    <a:pt x="48" y="104"/>
                  </a:lnTo>
                  <a:lnTo>
                    <a:pt x="44" y="108"/>
                  </a:lnTo>
                  <a:lnTo>
                    <a:pt x="44" y="104"/>
                  </a:lnTo>
                  <a:lnTo>
                    <a:pt x="44" y="100"/>
                  </a:lnTo>
                  <a:lnTo>
                    <a:pt x="48" y="100"/>
                  </a:lnTo>
                  <a:lnTo>
                    <a:pt x="44" y="100"/>
                  </a:lnTo>
                  <a:lnTo>
                    <a:pt x="40" y="104"/>
                  </a:lnTo>
                  <a:lnTo>
                    <a:pt x="36" y="104"/>
                  </a:lnTo>
                  <a:lnTo>
                    <a:pt x="32" y="104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40" y="100"/>
                  </a:lnTo>
                  <a:lnTo>
                    <a:pt x="36" y="100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32" y="100"/>
                  </a:lnTo>
                  <a:lnTo>
                    <a:pt x="36" y="100"/>
                  </a:lnTo>
                  <a:lnTo>
                    <a:pt x="36" y="96"/>
                  </a:lnTo>
                  <a:lnTo>
                    <a:pt x="40" y="96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6" y="96"/>
                  </a:lnTo>
                  <a:lnTo>
                    <a:pt x="40" y="96"/>
                  </a:lnTo>
                  <a:lnTo>
                    <a:pt x="36" y="92"/>
                  </a:lnTo>
                  <a:lnTo>
                    <a:pt x="40" y="92"/>
                  </a:lnTo>
                  <a:lnTo>
                    <a:pt x="40" y="88"/>
                  </a:lnTo>
                  <a:lnTo>
                    <a:pt x="40" y="84"/>
                  </a:lnTo>
                  <a:lnTo>
                    <a:pt x="36" y="84"/>
                  </a:lnTo>
                  <a:lnTo>
                    <a:pt x="36" y="80"/>
                  </a:lnTo>
                  <a:lnTo>
                    <a:pt x="40" y="80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76"/>
                  </a:lnTo>
                  <a:lnTo>
                    <a:pt x="40" y="72"/>
                  </a:lnTo>
                  <a:lnTo>
                    <a:pt x="44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60"/>
                  </a:lnTo>
                  <a:lnTo>
                    <a:pt x="56" y="56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8" y="56"/>
                  </a:lnTo>
                  <a:lnTo>
                    <a:pt x="72" y="56"/>
                  </a:lnTo>
                  <a:lnTo>
                    <a:pt x="76" y="56"/>
                  </a:lnTo>
                  <a:lnTo>
                    <a:pt x="80" y="56"/>
                  </a:lnTo>
                  <a:lnTo>
                    <a:pt x="76" y="60"/>
                  </a:lnTo>
                  <a:lnTo>
                    <a:pt x="76" y="64"/>
                  </a:lnTo>
                  <a:lnTo>
                    <a:pt x="72" y="64"/>
                  </a:lnTo>
                  <a:lnTo>
                    <a:pt x="72" y="68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4" y="76"/>
                  </a:lnTo>
                  <a:lnTo>
                    <a:pt x="64" y="72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56" y="80"/>
                  </a:lnTo>
                  <a:lnTo>
                    <a:pt x="60" y="80"/>
                  </a:lnTo>
                  <a:lnTo>
                    <a:pt x="60" y="76"/>
                  </a:lnTo>
                  <a:lnTo>
                    <a:pt x="64" y="80"/>
                  </a:lnTo>
                  <a:lnTo>
                    <a:pt x="60" y="80"/>
                  </a:lnTo>
                  <a:lnTo>
                    <a:pt x="60" y="84"/>
                  </a:lnTo>
                  <a:lnTo>
                    <a:pt x="64" y="80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72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76"/>
                  </a:lnTo>
                  <a:lnTo>
                    <a:pt x="84" y="76"/>
                  </a:lnTo>
                  <a:lnTo>
                    <a:pt x="88" y="80"/>
                  </a:lnTo>
                  <a:lnTo>
                    <a:pt x="92" y="80"/>
                  </a:lnTo>
                  <a:lnTo>
                    <a:pt x="92" y="76"/>
                  </a:lnTo>
                  <a:lnTo>
                    <a:pt x="96" y="76"/>
                  </a:lnTo>
                  <a:lnTo>
                    <a:pt x="96" y="80"/>
                  </a:lnTo>
                  <a:lnTo>
                    <a:pt x="96" y="84"/>
                  </a:lnTo>
                  <a:lnTo>
                    <a:pt x="96" y="88"/>
                  </a:lnTo>
                  <a:lnTo>
                    <a:pt x="92" y="88"/>
                  </a:lnTo>
                  <a:lnTo>
                    <a:pt x="92" y="92"/>
                  </a:lnTo>
                  <a:lnTo>
                    <a:pt x="92" y="96"/>
                  </a:lnTo>
                  <a:lnTo>
                    <a:pt x="88" y="100"/>
                  </a:lnTo>
                  <a:lnTo>
                    <a:pt x="88" y="104"/>
                  </a:lnTo>
                  <a:lnTo>
                    <a:pt x="84" y="104"/>
                  </a:lnTo>
                  <a:lnTo>
                    <a:pt x="84" y="108"/>
                  </a:lnTo>
                  <a:lnTo>
                    <a:pt x="80" y="108"/>
                  </a:lnTo>
                  <a:lnTo>
                    <a:pt x="76" y="108"/>
                  </a:lnTo>
                  <a:lnTo>
                    <a:pt x="80" y="108"/>
                  </a:lnTo>
                  <a:lnTo>
                    <a:pt x="84" y="108"/>
                  </a:lnTo>
                  <a:lnTo>
                    <a:pt x="84" y="112"/>
                  </a:lnTo>
                  <a:lnTo>
                    <a:pt x="80" y="112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68" y="116"/>
                  </a:lnTo>
                  <a:lnTo>
                    <a:pt x="72" y="116"/>
                  </a:lnTo>
                  <a:lnTo>
                    <a:pt x="76" y="120"/>
                  </a:lnTo>
                  <a:lnTo>
                    <a:pt x="80" y="120"/>
                  </a:lnTo>
                  <a:lnTo>
                    <a:pt x="80" y="116"/>
                  </a:lnTo>
                  <a:lnTo>
                    <a:pt x="84" y="116"/>
                  </a:lnTo>
                  <a:lnTo>
                    <a:pt x="88" y="116"/>
                  </a:lnTo>
                  <a:lnTo>
                    <a:pt x="88" y="120"/>
                  </a:lnTo>
                  <a:lnTo>
                    <a:pt x="92" y="120"/>
                  </a:lnTo>
                  <a:lnTo>
                    <a:pt x="92" y="124"/>
                  </a:lnTo>
                  <a:lnTo>
                    <a:pt x="96" y="124"/>
                  </a:lnTo>
                  <a:lnTo>
                    <a:pt x="96" y="128"/>
                  </a:lnTo>
                  <a:lnTo>
                    <a:pt x="100" y="128"/>
                  </a:lnTo>
                  <a:lnTo>
                    <a:pt x="100" y="132"/>
                  </a:lnTo>
                  <a:lnTo>
                    <a:pt x="100" y="136"/>
                  </a:lnTo>
                  <a:lnTo>
                    <a:pt x="100" y="140"/>
                  </a:lnTo>
                  <a:lnTo>
                    <a:pt x="104" y="140"/>
                  </a:lnTo>
                  <a:lnTo>
                    <a:pt x="104" y="144"/>
                  </a:lnTo>
                  <a:lnTo>
                    <a:pt x="104" y="148"/>
                  </a:lnTo>
                  <a:lnTo>
                    <a:pt x="108" y="148"/>
                  </a:lnTo>
                  <a:lnTo>
                    <a:pt x="112" y="152"/>
                  </a:lnTo>
                  <a:lnTo>
                    <a:pt x="116" y="152"/>
                  </a:lnTo>
                  <a:lnTo>
                    <a:pt x="116" y="156"/>
                  </a:lnTo>
                  <a:lnTo>
                    <a:pt x="120" y="156"/>
                  </a:lnTo>
                  <a:lnTo>
                    <a:pt x="120" y="160"/>
                  </a:lnTo>
                  <a:lnTo>
                    <a:pt x="124" y="160"/>
                  </a:lnTo>
                  <a:lnTo>
                    <a:pt x="120" y="160"/>
                  </a:lnTo>
                  <a:lnTo>
                    <a:pt x="120" y="164"/>
                  </a:lnTo>
                  <a:lnTo>
                    <a:pt x="120" y="168"/>
                  </a:lnTo>
                  <a:lnTo>
                    <a:pt x="124" y="168"/>
                  </a:lnTo>
                  <a:lnTo>
                    <a:pt x="124" y="172"/>
                  </a:lnTo>
                  <a:lnTo>
                    <a:pt x="128" y="172"/>
                  </a:lnTo>
                  <a:lnTo>
                    <a:pt x="124" y="176"/>
                  </a:lnTo>
                  <a:lnTo>
                    <a:pt x="124" y="172"/>
                  </a:lnTo>
                  <a:lnTo>
                    <a:pt x="128" y="172"/>
                  </a:lnTo>
                  <a:lnTo>
                    <a:pt x="124" y="172"/>
                  </a:lnTo>
                  <a:lnTo>
                    <a:pt x="120" y="172"/>
                  </a:lnTo>
                  <a:lnTo>
                    <a:pt x="116" y="172"/>
                  </a:lnTo>
                  <a:lnTo>
                    <a:pt x="112" y="172"/>
                  </a:lnTo>
                  <a:lnTo>
                    <a:pt x="116" y="172"/>
                  </a:lnTo>
                  <a:lnTo>
                    <a:pt x="120" y="172"/>
                  </a:lnTo>
                  <a:lnTo>
                    <a:pt x="124" y="172"/>
                  </a:lnTo>
                  <a:lnTo>
                    <a:pt x="124" y="176"/>
                  </a:lnTo>
                  <a:lnTo>
                    <a:pt x="128" y="176"/>
                  </a:lnTo>
                  <a:lnTo>
                    <a:pt x="128" y="180"/>
                  </a:lnTo>
                  <a:lnTo>
                    <a:pt x="128" y="184"/>
                  </a:lnTo>
                  <a:lnTo>
                    <a:pt x="128" y="188"/>
                  </a:lnTo>
                  <a:lnTo>
                    <a:pt x="124" y="188"/>
                  </a:lnTo>
                  <a:lnTo>
                    <a:pt x="128" y="192"/>
                  </a:lnTo>
                  <a:lnTo>
                    <a:pt x="132" y="192"/>
                  </a:lnTo>
                  <a:lnTo>
                    <a:pt x="132" y="188"/>
                  </a:lnTo>
                  <a:lnTo>
                    <a:pt x="136" y="188"/>
                  </a:lnTo>
                  <a:lnTo>
                    <a:pt x="140" y="188"/>
                  </a:lnTo>
                  <a:lnTo>
                    <a:pt x="144" y="188"/>
                  </a:lnTo>
                  <a:lnTo>
                    <a:pt x="148" y="192"/>
                  </a:lnTo>
                  <a:lnTo>
                    <a:pt x="152" y="196"/>
                  </a:lnTo>
                  <a:lnTo>
                    <a:pt x="152" y="200"/>
                  </a:lnTo>
                  <a:lnTo>
                    <a:pt x="148" y="204"/>
                  </a:lnTo>
                  <a:lnTo>
                    <a:pt x="148" y="208"/>
                  </a:lnTo>
                  <a:lnTo>
                    <a:pt x="144" y="212"/>
                  </a:lnTo>
                  <a:lnTo>
                    <a:pt x="140" y="208"/>
                  </a:lnTo>
                  <a:lnTo>
                    <a:pt x="144" y="212"/>
                  </a:lnTo>
                  <a:lnTo>
                    <a:pt x="144" y="216"/>
                  </a:lnTo>
                  <a:lnTo>
                    <a:pt x="140" y="216"/>
                  </a:lnTo>
                  <a:lnTo>
                    <a:pt x="140" y="212"/>
                  </a:lnTo>
                  <a:lnTo>
                    <a:pt x="140" y="216"/>
                  </a:lnTo>
                  <a:lnTo>
                    <a:pt x="136" y="216"/>
                  </a:lnTo>
                  <a:lnTo>
                    <a:pt x="140" y="216"/>
                  </a:lnTo>
                  <a:lnTo>
                    <a:pt x="140" y="220"/>
                  </a:lnTo>
                  <a:lnTo>
                    <a:pt x="136" y="220"/>
                  </a:lnTo>
                  <a:lnTo>
                    <a:pt x="132" y="220"/>
                  </a:lnTo>
                  <a:lnTo>
                    <a:pt x="128" y="224"/>
                  </a:lnTo>
                  <a:lnTo>
                    <a:pt x="132" y="224"/>
                  </a:lnTo>
                  <a:lnTo>
                    <a:pt x="132" y="220"/>
                  </a:lnTo>
                  <a:lnTo>
                    <a:pt x="136" y="220"/>
                  </a:lnTo>
                  <a:lnTo>
                    <a:pt x="136" y="224"/>
                  </a:lnTo>
                  <a:lnTo>
                    <a:pt x="132" y="224"/>
                  </a:lnTo>
                  <a:lnTo>
                    <a:pt x="136" y="224"/>
                  </a:lnTo>
                  <a:lnTo>
                    <a:pt x="140" y="224"/>
                  </a:lnTo>
                  <a:lnTo>
                    <a:pt x="144" y="224"/>
                  </a:lnTo>
                  <a:lnTo>
                    <a:pt x="144" y="228"/>
                  </a:lnTo>
                  <a:lnTo>
                    <a:pt x="144" y="232"/>
                  </a:lnTo>
                  <a:lnTo>
                    <a:pt x="140" y="232"/>
                  </a:lnTo>
                  <a:lnTo>
                    <a:pt x="140" y="236"/>
                  </a:lnTo>
                  <a:lnTo>
                    <a:pt x="136" y="236"/>
                  </a:lnTo>
                  <a:lnTo>
                    <a:pt x="136" y="232"/>
                  </a:lnTo>
                  <a:lnTo>
                    <a:pt x="136" y="236"/>
                  </a:lnTo>
                  <a:lnTo>
                    <a:pt x="132" y="236"/>
                  </a:lnTo>
                  <a:lnTo>
                    <a:pt x="128" y="236"/>
                  </a:lnTo>
                  <a:lnTo>
                    <a:pt x="128" y="240"/>
                  </a:lnTo>
                  <a:lnTo>
                    <a:pt x="124" y="236"/>
                  </a:lnTo>
                  <a:lnTo>
                    <a:pt x="120" y="236"/>
                  </a:lnTo>
                  <a:lnTo>
                    <a:pt x="116" y="236"/>
                  </a:lnTo>
                  <a:lnTo>
                    <a:pt x="112" y="236"/>
                  </a:lnTo>
                  <a:lnTo>
                    <a:pt x="112" y="240"/>
                  </a:lnTo>
                  <a:lnTo>
                    <a:pt x="112" y="236"/>
                  </a:lnTo>
                  <a:lnTo>
                    <a:pt x="108" y="236"/>
                  </a:lnTo>
                  <a:lnTo>
                    <a:pt x="104" y="236"/>
                  </a:lnTo>
                  <a:lnTo>
                    <a:pt x="100" y="240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88" y="240"/>
                  </a:lnTo>
                  <a:lnTo>
                    <a:pt x="88" y="244"/>
                  </a:lnTo>
                  <a:lnTo>
                    <a:pt x="88" y="240"/>
                  </a:lnTo>
                  <a:lnTo>
                    <a:pt x="84" y="240"/>
                  </a:lnTo>
                  <a:lnTo>
                    <a:pt x="80" y="240"/>
                  </a:lnTo>
                  <a:lnTo>
                    <a:pt x="76" y="240"/>
                  </a:lnTo>
                  <a:lnTo>
                    <a:pt x="72" y="240"/>
                  </a:lnTo>
                  <a:lnTo>
                    <a:pt x="72" y="244"/>
                  </a:lnTo>
                  <a:lnTo>
                    <a:pt x="68" y="248"/>
                  </a:lnTo>
                  <a:lnTo>
                    <a:pt x="68" y="252"/>
                  </a:lnTo>
                  <a:lnTo>
                    <a:pt x="64" y="248"/>
                  </a:lnTo>
                  <a:lnTo>
                    <a:pt x="60" y="248"/>
                  </a:lnTo>
                  <a:lnTo>
                    <a:pt x="56" y="248"/>
                  </a:lnTo>
                  <a:lnTo>
                    <a:pt x="52" y="248"/>
                  </a:lnTo>
                  <a:lnTo>
                    <a:pt x="48" y="252"/>
                  </a:lnTo>
                  <a:lnTo>
                    <a:pt x="48" y="256"/>
                  </a:lnTo>
                  <a:lnTo>
                    <a:pt x="44" y="256"/>
                  </a:lnTo>
                  <a:lnTo>
                    <a:pt x="44" y="252"/>
                  </a:lnTo>
                  <a:lnTo>
                    <a:pt x="40" y="252"/>
                  </a:lnTo>
                  <a:lnTo>
                    <a:pt x="40" y="256"/>
                  </a:lnTo>
                  <a:lnTo>
                    <a:pt x="36" y="256"/>
                  </a:lnTo>
                  <a:lnTo>
                    <a:pt x="36" y="252"/>
                  </a:lnTo>
                  <a:lnTo>
                    <a:pt x="40" y="252"/>
                  </a:lnTo>
                  <a:lnTo>
                    <a:pt x="44" y="248"/>
                  </a:lnTo>
                  <a:lnTo>
                    <a:pt x="48" y="244"/>
                  </a:lnTo>
                  <a:lnTo>
                    <a:pt x="48" y="240"/>
                  </a:lnTo>
                  <a:lnTo>
                    <a:pt x="52" y="240"/>
                  </a:lnTo>
                  <a:lnTo>
                    <a:pt x="56" y="236"/>
                  </a:lnTo>
                  <a:lnTo>
                    <a:pt x="56" y="232"/>
                  </a:lnTo>
                  <a:lnTo>
                    <a:pt x="60" y="232"/>
                  </a:lnTo>
                  <a:lnTo>
                    <a:pt x="60" y="228"/>
                  </a:lnTo>
                  <a:lnTo>
                    <a:pt x="64" y="228"/>
                  </a:lnTo>
                  <a:lnTo>
                    <a:pt x="68" y="228"/>
                  </a:lnTo>
                  <a:lnTo>
                    <a:pt x="72" y="228"/>
                  </a:lnTo>
                  <a:lnTo>
                    <a:pt x="80" y="228"/>
                  </a:lnTo>
                  <a:lnTo>
                    <a:pt x="80" y="224"/>
                  </a:lnTo>
                  <a:lnTo>
                    <a:pt x="80" y="220"/>
                  </a:lnTo>
                  <a:lnTo>
                    <a:pt x="84" y="220"/>
                  </a:lnTo>
                  <a:lnTo>
                    <a:pt x="84" y="216"/>
                  </a:lnTo>
                  <a:lnTo>
                    <a:pt x="88" y="216"/>
                  </a:lnTo>
                  <a:lnTo>
                    <a:pt x="84" y="216"/>
                  </a:lnTo>
                  <a:lnTo>
                    <a:pt x="84" y="220"/>
                  </a:lnTo>
                  <a:lnTo>
                    <a:pt x="80" y="220"/>
                  </a:lnTo>
                  <a:lnTo>
                    <a:pt x="76" y="220"/>
                  </a:lnTo>
                  <a:lnTo>
                    <a:pt x="76" y="224"/>
                  </a:lnTo>
                  <a:lnTo>
                    <a:pt x="72" y="224"/>
                  </a:lnTo>
                  <a:lnTo>
                    <a:pt x="68" y="224"/>
                  </a:lnTo>
                  <a:lnTo>
                    <a:pt x="68" y="220"/>
                  </a:lnTo>
                  <a:lnTo>
                    <a:pt x="64" y="220"/>
                  </a:lnTo>
                  <a:lnTo>
                    <a:pt x="60" y="220"/>
                  </a:lnTo>
                  <a:lnTo>
                    <a:pt x="64" y="216"/>
                  </a:lnTo>
                  <a:lnTo>
                    <a:pt x="60" y="216"/>
                  </a:lnTo>
                  <a:lnTo>
                    <a:pt x="56" y="216"/>
                  </a:lnTo>
                  <a:lnTo>
                    <a:pt x="52" y="216"/>
                  </a:lnTo>
                  <a:lnTo>
                    <a:pt x="52" y="220"/>
                  </a:lnTo>
                  <a:lnTo>
                    <a:pt x="52" y="216"/>
                  </a:lnTo>
                  <a:lnTo>
                    <a:pt x="52" y="220"/>
                  </a:lnTo>
                  <a:lnTo>
                    <a:pt x="48" y="220"/>
                  </a:lnTo>
                  <a:lnTo>
                    <a:pt x="48" y="216"/>
                  </a:lnTo>
                  <a:lnTo>
                    <a:pt x="52" y="216"/>
                  </a:lnTo>
                  <a:lnTo>
                    <a:pt x="48" y="216"/>
                  </a:lnTo>
                  <a:lnTo>
                    <a:pt x="44" y="216"/>
                  </a:lnTo>
                  <a:lnTo>
                    <a:pt x="48" y="216"/>
                  </a:lnTo>
                  <a:lnTo>
                    <a:pt x="48" y="212"/>
                  </a:lnTo>
                  <a:lnTo>
                    <a:pt x="44" y="212"/>
                  </a:lnTo>
                  <a:lnTo>
                    <a:pt x="48" y="212"/>
                  </a:lnTo>
                  <a:lnTo>
                    <a:pt x="52" y="208"/>
                  </a:lnTo>
                  <a:lnTo>
                    <a:pt x="56" y="208"/>
                  </a:lnTo>
                  <a:lnTo>
                    <a:pt x="60" y="204"/>
                  </a:lnTo>
                  <a:lnTo>
                    <a:pt x="60" y="200"/>
                  </a:lnTo>
                  <a:lnTo>
                    <a:pt x="64" y="200"/>
                  </a:lnTo>
                  <a:lnTo>
                    <a:pt x="64" y="196"/>
                  </a:lnTo>
                  <a:lnTo>
                    <a:pt x="60" y="196"/>
                  </a:lnTo>
                  <a:lnTo>
                    <a:pt x="64" y="192"/>
                  </a:lnTo>
                  <a:lnTo>
                    <a:pt x="60" y="192"/>
                  </a:lnTo>
                  <a:lnTo>
                    <a:pt x="60" y="188"/>
                  </a:lnTo>
                  <a:lnTo>
                    <a:pt x="56" y="188"/>
                  </a:lnTo>
                  <a:lnTo>
                    <a:pt x="56" y="192"/>
                  </a:lnTo>
                  <a:lnTo>
                    <a:pt x="52" y="192"/>
                  </a:lnTo>
                  <a:lnTo>
                    <a:pt x="52" y="188"/>
                  </a:lnTo>
                  <a:lnTo>
                    <a:pt x="56" y="188"/>
                  </a:lnTo>
                  <a:lnTo>
                    <a:pt x="60" y="184"/>
                  </a:lnTo>
                  <a:lnTo>
                    <a:pt x="60" y="180"/>
                  </a:lnTo>
                  <a:lnTo>
                    <a:pt x="64" y="180"/>
                  </a:lnTo>
                  <a:lnTo>
                    <a:pt x="68" y="180"/>
                  </a:lnTo>
                  <a:lnTo>
                    <a:pt x="72" y="180"/>
                  </a:lnTo>
                  <a:lnTo>
                    <a:pt x="76" y="180"/>
                  </a:lnTo>
                  <a:lnTo>
                    <a:pt x="76" y="176"/>
                  </a:lnTo>
                  <a:lnTo>
                    <a:pt x="80" y="180"/>
                  </a:lnTo>
                  <a:lnTo>
                    <a:pt x="84" y="180"/>
                  </a:lnTo>
                  <a:lnTo>
                    <a:pt x="80" y="180"/>
                  </a:lnTo>
                  <a:lnTo>
                    <a:pt x="80" y="176"/>
                  </a:lnTo>
                  <a:lnTo>
                    <a:pt x="76" y="176"/>
                  </a:lnTo>
                  <a:lnTo>
                    <a:pt x="76" y="172"/>
                  </a:lnTo>
                  <a:lnTo>
                    <a:pt x="80" y="172"/>
                  </a:lnTo>
                  <a:lnTo>
                    <a:pt x="76" y="168"/>
                  </a:lnTo>
                  <a:lnTo>
                    <a:pt x="80" y="164"/>
                  </a:lnTo>
                  <a:lnTo>
                    <a:pt x="80" y="160"/>
                  </a:lnTo>
                  <a:lnTo>
                    <a:pt x="76" y="164"/>
                  </a:lnTo>
                  <a:lnTo>
                    <a:pt x="76" y="160"/>
                  </a:lnTo>
                  <a:lnTo>
                    <a:pt x="72" y="160"/>
                  </a:lnTo>
                  <a:lnTo>
                    <a:pt x="72" y="156"/>
                  </a:lnTo>
                  <a:lnTo>
                    <a:pt x="72" y="152"/>
                  </a:lnTo>
                  <a:lnTo>
                    <a:pt x="68" y="152"/>
                  </a:lnTo>
                  <a:lnTo>
                    <a:pt x="68" y="148"/>
                  </a:lnTo>
                  <a:lnTo>
                    <a:pt x="72" y="144"/>
                  </a:lnTo>
                  <a:lnTo>
                    <a:pt x="76" y="144"/>
                  </a:lnTo>
                  <a:lnTo>
                    <a:pt x="80" y="144"/>
                  </a:lnTo>
                  <a:lnTo>
                    <a:pt x="80" y="140"/>
                  </a:lnTo>
                  <a:lnTo>
                    <a:pt x="76" y="140"/>
                  </a:lnTo>
                  <a:lnTo>
                    <a:pt x="72" y="140"/>
                  </a:lnTo>
                  <a:lnTo>
                    <a:pt x="68" y="140"/>
                  </a:lnTo>
                  <a:lnTo>
                    <a:pt x="68" y="144"/>
                  </a:lnTo>
                  <a:lnTo>
                    <a:pt x="64" y="144"/>
                  </a:lnTo>
                  <a:lnTo>
                    <a:pt x="64" y="148"/>
                  </a:lnTo>
                  <a:lnTo>
                    <a:pt x="60" y="148"/>
                  </a:lnTo>
                  <a:lnTo>
                    <a:pt x="56" y="144"/>
                  </a:lnTo>
                  <a:lnTo>
                    <a:pt x="56" y="148"/>
                  </a:lnTo>
                  <a:lnTo>
                    <a:pt x="60" y="148"/>
                  </a:lnTo>
                  <a:lnTo>
                    <a:pt x="56" y="148"/>
                  </a:lnTo>
                  <a:lnTo>
                    <a:pt x="52" y="144"/>
                  </a:lnTo>
                  <a:lnTo>
                    <a:pt x="48" y="144"/>
                  </a:lnTo>
                  <a:lnTo>
                    <a:pt x="48" y="148"/>
                  </a:lnTo>
                  <a:lnTo>
                    <a:pt x="52" y="148"/>
                  </a:lnTo>
                  <a:close/>
                  <a:moveTo>
                    <a:pt x="24" y="72"/>
                  </a:moveTo>
                  <a:lnTo>
                    <a:pt x="24" y="68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4" y="60"/>
                  </a:lnTo>
                  <a:lnTo>
                    <a:pt x="28" y="60"/>
                  </a:lnTo>
                  <a:lnTo>
                    <a:pt x="28" y="56"/>
                  </a:lnTo>
                  <a:lnTo>
                    <a:pt x="28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32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4" y="72"/>
                  </a:lnTo>
                  <a:close/>
                  <a:moveTo>
                    <a:pt x="16" y="80"/>
                  </a:moveTo>
                  <a:lnTo>
                    <a:pt x="12" y="80"/>
                  </a:lnTo>
                  <a:lnTo>
                    <a:pt x="8" y="80"/>
                  </a:lnTo>
                  <a:lnTo>
                    <a:pt x="12" y="80"/>
                  </a:lnTo>
                  <a:lnTo>
                    <a:pt x="16" y="76"/>
                  </a:lnTo>
                  <a:lnTo>
                    <a:pt x="16" y="80"/>
                  </a:lnTo>
                  <a:close/>
                  <a:moveTo>
                    <a:pt x="36" y="92"/>
                  </a:moveTo>
                  <a:lnTo>
                    <a:pt x="32" y="92"/>
                  </a:lnTo>
                  <a:lnTo>
                    <a:pt x="32" y="88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28" y="92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24" y="84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32" y="80"/>
                  </a:lnTo>
                  <a:lnTo>
                    <a:pt x="32" y="84"/>
                  </a:lnTo>
                  <a:lnTo>
                    <a:pt x="32" y="88"/>
                  </a:lnTo>
                  <a:lnTo>
                    <a:pt x="36" y="88"/>
                  </a:lnTo>
                  <a:lnTo>
                    <a:pt x="40" y="88"/>
                  </a:lnTo>
                  <a:lnTo>
                    <a:pt x="36" y="92"/>
                  </a:lnTo>
                  <a:close/>
                  <a:moveTo>
                    <a:pt x="32" y="88"/>
                  </a:moveTo>
                  <a:lnTo>
                    <a:pt x="32" y="84"/>
                  </a:lnTo>
                  <a:lnTo>
                    <a:pt x="32" y="80"/>
                  </a:lnTo>
                  <a:lnTo>
                    <a:pt x="32" y="84"/>
                  </a:lnTo>
                  <a:lnTo>
                    <a:pt x="32" y="88"/>
                  </a:lnTo>
                  <a:close/>
                  <a:moveTo>
                    <a:pt x="12" y="84"/>
                  </a:moveTo>
                  <a:lnTo>
                    <a:pt x="16" y="84"/>
                  </a:lnTo>
                  <a:lnTo>
                    <a:pt x="12" y="84"/>
                  </a:lnTo>
                  <a:close/>
                  <a:moveTo>
                    <a:pt x="16" y="92"/>
                  </a:move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6" y="84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8"/>
                  </a:lnTo>
                  <a:lnTo>
                    <a:pt x="12" y="92"/>
                  </a:lnTo>
                  <a:lnTo>
                    <a:pt x="16" y="92"/>
                  </a:lnTo>
                  <a:close/>
                  <a:moveTo>
                    <a:pt x="12" y="96"/>
                  </a:moveTo>
                  <a:lnTo>
                    <a:pt x="8" y="96"/>
                  </a:lnTo>
                  <a:lnTo>
                    <a:pt x="12" y="92"/>
                  </a:lnTo>
                  <a:lnTo>
                    <a:pt x="12" y="96"/>
                  </a:lnTo>
                  <a:close/>
                  <a:moveTo>
                    <a:pt x="28" y="96"/>
                  </a:moveTo>
                  <a:lnTo>
                    <a:pt x="28" y="92"/>
                  </a:lnTo>
                  <a:lnTo>
                    <a:pt x="28" y="96"/>
                  </a:lnTo>
                  <a:close/>
                  <a:moveTo>
                    <a:pt x="24" y="104"/>
                  </a:moveTo>
                  <a:lnTo>
                    <a:pt x="24" y="100"/>
                  </a:lnTo>
                  <a:lnTo>
                    <a:pt x="28" y="100"/>
                  </a:lnTo>
                  <a:lnTo>
                    <a:pt x="24" y="104"/>
                  </a:lnTo>
                  <a:close/>
                  <a:moveTo>
                    <a:pt x="32" y="104"/>
                  </a:moveTo>
                  <a:lnTo>
                    <a:pt x="36" y="104"/>
                  </a:lnTo>
                  <a:lnTo>
                    <a:pt x="36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12"/>
                  </a:lnTo>
                  <a:lnTo>
                    <a:pt x="36" y="108"/>
                  </a:lnTo>
                  <a:lnTo>
                    <a:pt x="32" y="112"/>
                  </a:lnTo>
                  <a:lnTo>
                    <a:pt x="28" y="112"/>
                  </a:lnTo>
                  <a:lnTo>
                    <a:pt x="28" y="108"/>
                  </a:lnTo>
                  <a:lnTo>
                    <a:pt x="28" y="112"/>
                  </a:lnTo>
                  <a:lnTo>
                    <a:pt x="32" y="108"/>
                  </a:lnTo>
                  <a:lnTo>
                    <a:pt x="28" y="108"/>
                  </a:lnTo>
                  <a:lnTo>
                    <a:pt x="32" y="108"/>
                  </a:lnTo>
                  <a:lnTo>
                    <a:pt x="32" y="104"/>
                  </a:lnTo>
                  <a:lnTo>
                    <a:pt x="32" y="108"/>
                  </a:lnTo>
                  <a:lnTo>
                    <a:pt x="28" y="104"/>
                  </a:lnTo>
                  <a:lnTo>
                    <a:pt x="32" y="104"/>
                  </a:lnTo>
                  <a:close/>
                  <a:moveTo>
                    <a:pt x="20" y="108"/>
                  </a:moveTo>
                  <a:lnTo>
                    <a:pt x="16" y="104"/>
                  </a:lnTo>
                  <a:lnTo>
                    <a:pt x="20" y="104"/>
                  </a:lnTo>
                  <a:lnTo>
                    <a:pt x="20" y="108"/>
                  </a:lnTo>
                  <a:close/>
                  <a:moveTo>
                    <a:pt x="32" y="124"/>
                  </a:moveTo>
                  <a:lnTo>
                    <a:pt x="32" y="120"/>
                  </a:lnTo>
                  <a:lnTo>
                    <a:pt x="32" y="116"/>
                  </a:lnTo>
                  <a:lnTo>
                    <a:pt x="36" y="116"/>
                  </a:lnTo>
                  <a:lnTo>
                    <a:pt x="36" y="120"/>
                  </a:lnTo>
                  <a:lnTo>
                    <a:pt x="32" y="120"/>
                  </a:lnTo>
                  <a:lnTo>
                    <a:pt x="32" y="124"/>
                  </a:lnTo>
                  <a:close/>
                  <a:moveTo>
                    <a:pt x="28" y="128"/>
                  </a:moveTo>
                  <a:lnTo>
                    <a:pt x="28" y="124"/>
                  </a:lnTo>
                  <a:lnTo>
                    <a:pt x="24" y="124"/>
                  </a:lnTo>
                  <a:lnTo>
                    <a:pt x="28" y="120"/>
                  </a:lnTo>
                  <a:lnTo>
                    <a:pt x="32" y="120"/>
                  </a:lnTo>
                  <a:lnTo>
                    <a:pt x="32" y="124"/>
                  </a:lnTo>
                  <a:lnTo>
                    <a:pt x="28" y="128"/>
                  </a:lnTo>
                  <a:close/>
                  <a:moveTo>
                    <a:pt x="48" y="124"/>
                  </a:moveTo>
                  <a:lnTo>
                    <a:pt x="44" y="120"/>
                  </a:lnTo>
                  <a:lnTo>
                    <a:pt x="48" y="120"/>
                  </a:lnTo>
                  <a:lnTo>
                    <a:pt x="48" y="124"/>
                  </a:lnTo>
                  <a:close/>
                  <a:moveTo>
                    <a:pt x="44" y="132"/>
                  </a:moveTo>
                  <a:lnTo>
                    <a:pt x="44" y="128"/>
                  </a:lnTo>
                  <a:lnTo>
                    <a:pt x="44" y="124"/>
                  </a:lnTo>
                  <a:lnTo>
                    <a:pt x="48" y="128"/>
                  </a:lnTo>
                  <a:lnTo>
                    <a:pt x="48" y="132"/>
                  </a:lnTo>
                  <a:lnTo>
                    <a:pt x="44" y="132"/>
                  </a:lnTo>
                  <a:close/>
                  <a:moveTo>
                    <a:pt x="24" y="164"/>
                  </a:moveTo>
                  <a:lnTo>
                    <a:pt x="20" y="160"/>
                  </a:lnTo>
                  <a:lnTo>
                    <a:pt x="20" y="156"/>
                  </a:lnTo>
                  <a:lnTo>
                    <a:pt x="16" y="156"/>
                  </a:lnTo>
                  <a:lnTo>
                    <a:pt x="16" y="160"/>
                  </a:lnTo>
                  <a:lnTo>
                    <a:pt x="12" y="160"/>
                  </a:lnTo>
                  <a:lnTo>
                    <a:pt x="8" y="160"/>
                  </a:lnTo>
                  <a:lnTo>
                    <a:pt x="4" y="160"/>
                  </a:lnTo>
                  <a:lnTo>
                    <a:pt x="4" y="156"/>
                  </a:lnTo>
                  <a:lnTo>
                    <a:pt x="0" y="156"/>
                  </a:lnTo>
                  <a:lnTo>
                    <a:pt x="0" y="152"/>
                  </a:lnTo>
                  <a:lnTo>
                    <a:pt x="4" y="152"/>
                  </a:lnTo>
                  <a:lnTo>
                    <a:pt x="8" y="152"/>
                  </a:lnTo>
                  <a:lnTo>
                    <a:pt x="4" y="148"/>
                  </a:lnTo>
                  <a:lnTo>
                    <a:pt x="8" y="148"/>
                  </a:lnTo>
                  <a:lnTo>
                    <a:pt x="12" y="144"/>
                  </a:lnTo>
                  <a:lnTo>
                    <a:pt x="12" y="140"/>
                  </a:lnTo>
                  <a:lnTo>
                    <a:pt x="16" y="140"/>
                  </a:lnTo>
                  <a:lnTo>
                    <a:pt x="20" y="136"/>
                  </a:lnTo>
                  <a:lnTo>
                    <a:pt x="24" y="136"/>
                  </a:lnTo>
                  <a:lnTo>
                    <a:pt x="28" y="136"/>
                  </a:lnTo>
                  <a:lnTo>
                    <a:pt x="32" y="136"/>
                  </a:lnTo>
                  <a:lnTo>
                    <a:pt x="32" y="140"/>
                  </a:lnTo>
                  <a:lnTo>
                    <a:pt x="36" y="144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36" y="148"/>
                  </a:lnTo>
                  <a:lnTo>
                    <a:pt x="40" y="148"/>
                  </a:lnTo>
                  <a:lnTo>
                    <a:pt x="40" y="152"/>
                  </a:lnTo>
                  <a:lnTo>
                    <a:pt x="40" y="156"/>
                  </a:lnTo>
                  <a:lnTo>
                    <a:pt x="40" y="152"/>
                  </a:lnTo>
                  <a:lnTo>
                    <a:pt x="36" y="152"/>
                  </a:lnTo>
                  <a:lnTo>
                    <a:pt x="40" y="152"/>
                  </a:lnTo>
                  <a:lnTo>
                    <a:pt x="40" y="156"/>
                  </a:lnTo>
                  <a:lnTo>
                    <a:pt x="40" y="160"/>
                  </a:lnTo>
                  <a:lnTo>
                    <a:pt x="36" y="160"/>
                  </a:lnTo>
                  <a:lnTo>
                    <a:pt x="36" y="164"/>
                  </a:lnTo>
                  <a:lnTo>
                    <a:pt x="32" y="164"/>
                  </a:lnTo>
                  <a:lnTo>
                    <a:pt x="28" y="160"/>
                  </a:lnTo>
                  <a:lnTo>
                    <a:pt x="28" y="164"/>
                  </a:lnTo>
                  <a:lnTo>
                    <a:pt x="24" y="164"/>
                  </a:lnTo>
                  <a:close/>
                  <a:moveTo>
                    <a:pt x="56" y="184"/>
                  </a:moveTo>
                  <a:lnTo>
                    <a:pt x="56" y="180"/>
                  </a:lnTo>
                  <a:lnTo>
                    <a:pt x="56" y="176"/>
                  </a:lnTo>
                  <a:lnTo>
                    <a:pt x="60" y="176"/>
                  </a:lnTo>
                  <a:lnTo>
                    <a:pt x="60" y="180"/>
                  </a:lnTo>
                  <a:lnTo>
                    <a:pt x="64" y="180"/>
                  </a:lnTo>
                  <a:lnTo>
                    <a:pt x="60" y="180"/>
                  </a:lnTo>
                  <a:lnTo>
                    <a:pt x="60" y="184"/>
                  </a:lnTo>
                  <a:lnTo>
                    <a:pt x="56" y="184"/>
                  </a:lnTo>
                  <a:close/>
                  <a:moveTo>
                    <a:pt x="136" y="224"/>
                  </a:moveTo>
                  <a:lnTo>
                    <a:pt x="140" y="224"/>
                  </a:lnTo>
                  <a:lnTo>
                    <a:pt x="136" y="224"/>
                  </a:lnTo>
                  <a:close/>
                  <a:moveTo>
                    <a:pt x="104" y="240"/>
                  </a:moveTo>
                  <a:lnTo>
                    <a:pt x="100" y="240"/>
                  </a:lnTo>
                  <a:lnTo>
                    <a:pt x="104" y="236"/>
                  </a:lnTo>
                  <a:lnTo>
                    <a:pt x="108" y="240"/>
                  </a:lnTo>
                  <a:lnTo>
                    <a:pt x="104" y="2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0" name="Freeform 117"/>
            <p:cNvSpPr>
              <a:spLocks/>
            </p:cNvSpPr>
            <p:nvPr>
              <p:custDataLst>
                <p:tags r:id="rId313"/>
              </p:custDataLst>
            </p:nvPr>
          </p:nvSpPr>
          <p:spPr bwMode="gray">
            <a:xfrm>
              <a:off x="4180296" y="3550394"/>
              <a:ext cx="461232" cy="526487"/>
            </a:xfrm>
            <a:custGeom>
              <a:avLst/>
              <a:gdLst/>
              <a:ahLst/>
              <a:cxnLst>
                <a:cxn ang="0">
                  <a:pos x="215" y="12"/>
                </a:cxn>
                <a:cxn ang="0">
                  <a:pos x="227" y="4"/>
                </a:cxn>
                <a:cxn ang="0">
                  <a:pos x="239" y="4"/>
                </a:cxn>
                <a:cxn ang="0">
                  <a:pos x="243" y="4"/>
                </a:cxn>
                <a:cxn ang="0">
                  <a:pos x="251" y="8"/>
                </a:cxn>
                <a:cxn ang="0">
                  <a:pos x="263" y="8"/>
                </a:cxn>
                <a:cxn ang="0">
                  <a:pos x="255" y="12"/>
                </a:cxn>
                <a:cxn ang="0">
                  <a:pos x="259" y="28"/>
                </a:cxn>
                <a:cxn ang="0">
                  <a:pos x="255" y="48"/>
                </a:cxn>
                <a:cxn ang="0">
                  <a:pos x="247" y="60"/>
                </a:cxn>
                <a:cxn ang="0">
                  <a:pos x="247" y="72"/>
                </a:cxn>
                <a:cxn ang="0">
                  <a:pos x="255" y="84"/>
                </a:cxn>
                <a:cxn ang="0">
                  <a:pos x="263" y="96"/>
                </a:cxn>
                <a:cxn ang="0">
                  <a:pos x="271" y="120"/>
                </a:cxn>
                <a:cxn ang="0">
                  <a:pos x="275" y="140"/>
                </a:cxn>
                <a:cxn ang="0">
                  <a:pos x="279" y="152"/>
                </a:cxn>
                <a:cxn ang="0">
                  <a:pos x="279" y="172"/>
                </a:cxn>
                <a:cxn ang="0">
                  <a:pos x="279" y="192"/>
                </a:cxn>
                <a:cxn ang="0">
                  <a:pos x="283" y="208"/>
                </a:cxn>
                <a:cxn ang="0">
                  <a:pos x="283" y="232"/>
                </a:cxn>
                <a:cxn ang="0">
                  <a:pos x="287" y="248"/>
                </a:cxn>
                <a:cxn ang="0">
                  <a:pos x="303" y="252"/>
                </a:cxn>
                <a:cxn ang="0">
                  <a:pos x="307" y="272"/>
                </a:cxn>
                <a:cxn ang="0">
                  <a:pos x="287" y="288"/>
                </a:cxn>
                <a:cxn ang="0">
                  <a:pos x="263" y="304"/>
                </a:cxn>
                <a:cxn ang="0">
                  <a:pos x="243" y="320"/>
                </a:cxn>
                <a:cxn ang="0">
                  <a:pos x="223" y="343"/>
                </a:cxn>
                <a:cxn ang="0">
                  <a:pos x="200" y="351"/>
                </a:cxn>
                <a:cxn ang="0">
                  <a:pos x="180" y="351"/>
                </a:cxn>
                <a:cxn ang="0">
                  <a:pos x="172" y="335"/>
                </a:cxn>
                <a:cxn ang="0">
                  <a:pos x="160" y="327"/>
                </a:cxn>
                <a:cxn ang="0">
                  <a:pos x="152" y="320"/>
                </a:cxn>
                <a:cxn ang="0">
                  <a:pos x="136" y="304"/>
                </a:cxn>
                <a:cxn ang="0">
                  <a:pos x="112" y="284"/>
                </a:cxn>
                <a:cxn ang="0">
                  <a:pos x="84" y="260"/>
                </a:cxn>
                <a:cxn ang="0">
                  <a:pos x="60" y="240"/>
                </a:cxn>
                <a:cxn ang="0">
                  <a:pos x="36" y="224"/>
                </a:cxn>
                <a:cxn ang="0">
                  <a:pos x="20" y="212"/>
                </a:cxn>
                <a:cxn ang="0">
                  <a:pos x="0" y="192"/>
                </a:cxn>
                <a:cxn ang="0">
                  <a:pos x="4" y="164"/>
                </a:cxn>
                <a:cxn ang="0">
                  <a:pos x="16" y="156"/>
                </a:cxn>
                <a:cxn ang="0">
                  <a:pos x="32" y="152"/>
                </a:cxn>
                <a:cxn ang="0">
                  <a:pos x="44" y="144"/>
                </a:cxn>
                <a:cxn ang="0">
                  <a:pos x="56" y="136"/>
                </a:cxn>
                <a:cxn ang="0">
                  <a:pos x="72" y="124"/>
                </a:cxn>
                <a:cxn ang="0">
                  <a:pos x="72" y="116"/>
                </a:cxn>
                <a:cxn ang="0">
                  <a:pos x="80" y="108"/>
                </a:cxn>
                <a:cxn ang="0">
                  <a:pos x="100" y="100"/>
                </a:cxn>
                <a:cxn ang="0">
                  <a:pos x="116" y="100"/>
                </a:cxn>
                <a:cxn ang="0">
                  <a:pos x="112" y="92"/>
                </a:cxn>
                <a:cxn ang="0">
                  <a:pos x="108" y="72"/>
                </a:cxn>
                <a:cxn ang="0">
                  <a:pos x="104" y="56"/>
                </a:cxn>
                <a:cxn ang="0">
                  <a:pos x="100" y="44"/>
                </a:cxn>
                <a:cxn ang="0">
                  <a:pos x="112" y="36"/>
                </a:cxn>
                <a:cxn ang="0">
                  <a:pos x="128" y="24"/>
                </a:cxn>
                <a:cxn ang="0">
                  <a:pos x="140" y="20"/>
                </a:cxn>
                <a:cxn ang="0">
                  <a:pos x="152" y="12"/>
                </a:cxn>
                <a:cxn ang="0">
                  <a:pos x="172" y="12"/>
                </a:cxn>
                <a:cxn ang="0">
                  <a:pos x="188" y="8"/>
                </a:cxn>
              </a:cxnLst>
              <a:rect l="0" t="0" r="r" b="b"/>
              <a:pathLst>
                <a:path w="311" h="355">
                  <a:moveTo>
                    <a:pt x="200" y="4"/>
                  </a:moveTo>
                  <a:lnTo>
                    <a:pt x="204" y="4"/>
                  </a:lnTo>
                  <a:lnTo>
                    <a:pt x="207" y="8"/>
                  </a:lnTo>
                  <a:lnTo>
                    <a:pt x="211" y="12"/>
                  </a:lnTo>
                  <a:lnTo>
                    <a:pt x="215" y="12"/>
                  </a:lnTo>
                  <a:lnTo>
                    <a:pt x="215" y="8"/>
                  </a:lnTo>
                  <a:lnTo>
                    <a:pt x="219" y="8"/>
                  </a:lnTo>
                  <a:lnTo>
                    <a:pt x="223" y="8"/>
                  </a:lnTo>
                  <a:lnTo>
                    <a:pt x="223" y="4"/>
                  </a:lnTo>
                  <a:lnTo>
                    <a:pt x="227" y="4"/>
                  </a:lnTo>
                  <a:lnTo>
                    <a:pt x="227" y="0"/>
                  </a:lnTo>
                  <a:lnTo>
                    <a:pt x="231" y="0"/>
                  </a:lnTo>
                  <a:lnTo>
                    <a:pt x="231" y="4"/>
                  </a:lnTo>
                  <a:lnTo>
                    <a:pt x="235" y="4"/>
                  </a:lnTo>
                  <a:lnTo>
                    <a:pt x="239" y="4"/>
                  </a:lnTo>
                  <a:lnTo>
                    <a:pt x="243" y="4"/>
                  </a:lnTo>
                  <a:lnTo>
                    <a:pt x="239" y="4"/>
                  </a:lnTo>
                  <a:lnTo>
                    <a:pt x="239" y="0"/>
                  </a:lnTo>
                  <a:lnTo>
                    <a:pt x="243" y="0"/>
                  </a:lnTo>
                  <a:lnTo>
                    <a:pt x="243" y="4"/>
                  </a:lnTo>
                  <a:lnTo>
                    <a:pt x="243" y="0"/>
                  </a:lnTo>
                  <a:lnTo>
                    <a:pt x="243" y="4"/>
                  </a:lnTo>
                  <a:lnTo>
                    <a:pt x="247" y="4"/>
                  </a:lnTo>
                  <a:lnTo>
                    <a:pt x="251" y="4"/>
                  </a:lnTo>
                  <a:lnTo>
                    <a:pt x="251" y="8"/>
                  </a:lnTo>
                  <a:lnTo>
                    <a:pt x="255" y="8"/>
                  </a:lnTo>
                  <a:lnTo>
                    <a:pt x="255" y="4"/>
                  </a:lnTo>
                  <a:lnTo>
                    <a:pt x="259" y="4"/>
                  </a:lnTo>
                  <a:lnTo>
                    <a:pt x="263" y="4"/>
                  </a:lnTo>
                  <a:lnTo>
                    <a:pt x="263" y="8"/>
                  </a:lnTo>
                  <a:lnTo>
                    <a:pt x="259" y="8"/>
                  </a:lnTo>
                  <a:lnTo>
                    <a:pt x="259" y="12"/>
                  </a:lnTo>
                  <a:lnTo>
                    <a:pt x="255" y="12"/>
                  </a:lnTo>
                  <a:lnTo>
                    <a:pt x="255" y="16"/>
                  </a:lnTo>
                  <a:lnTo>
                    <a:pt x="255" y="12"/>
                  </a:lnTo>
                  <a:lnTo>
                    <a:pt x="259" y="16"/>
                  </a:lnTo>
                  <a:lnTo>
                    <a:pt x="259" y="20"/>
                  </a:lnTo>
                  <a:lnTo>
                    <a:pt x="255" y="24"/>
                  </a:lnTo>
                  <a:lnTo>
                    <a:pt x="255" y="28"/>
                  </a:lnTo>
                  <a:lnTo>
                    <a:pt x="259" y="28"/>
                  </a:lnTo>
                  <a:lnTo>
                    <a:pt x="259" y="32"/>
                  </a:lnTo>
                  <a:lnTo>
                    <a:pt x="259" y="36"/>
                  </a:lnTo>
                  <a:lnTo>
                    <a:pt x="259" y="40"/>
                  </a:lnTo>
                  <a:lnTo>
                    <a:pt x="255" y="44"/>
                  </a:lnTo>
                  <a:lnTo>
                    <a:pt x="255" y="48"/>
                  </a:lnTo>
                  <a:lnTo>
                    <a:pt x="255" y="52"/>
                  </a:lnTo>
                  <a:lnTo>
                    <a:pt x="251" y="52"/>
                  </a:lnTo>
                  <a:lnTo>
                    <a:pt x="251" y="56"/>
                  </a:lnTo>
                  <a:lnTo>
                    <a:pt x="251" y="60"/>
                  </a:lnTo>
                  <a:lnTo>
                    <a:pt x="247" y="60"/>
                  </a:lnTo>
                  <a:lnTo>
                    <a:pt x="247" y="64"/>
                  </a:lnTo>
                  <a:lnTo>
                    <a:pt x="243" y="64"/>
                  </a:lnTo>
                  <a:lnTo>
                    <a:pt x="243" y="68"/>
                  </a:lnTo>
                  <a:lnTo>
                    <a:pt x="247" y="68"/>
                  </a:lnTo>
                  <a:lnTo>
                    <a:pt x="247" y="72"/>
                  </a:lnTo>
                  <a:lnTo>
                    <a:pt x="247" y="76"/>
                  </a:lnTo>
                  <a:lnTo>
                    <a:pt x="247" y="80"/>
                  </a:lnTo>
                  <a:lnTo>
                    <a:pt x="251" y="80"/>
                  </a:lnTo>
                  <a:lnTo>
                    <a:pt x="255" y="80"/>
                  </a:lnTo>
                  <a:lnTo>
                    <a:pt x="255" y="84"/>
                  </a:lnTo>
                  <a:lnTo>
                    <a:pt x="255" y="88"/>
                  </a:lnTo>
                  <a:lnTo>
                    <a:pt x="259" y="88"/>
                  </a:lnTo>
                  <a:lnTo>
                    <a:pt x="259" y="92"/>
                  </a:lnTo>
                  <a:lnTo>
                    <a:pt x="259" y="96"/>
                  </a:lnTo>
                  <a:lnTo>
                    <a:pt x="263" y="96"/>
                  </a:lnTo>
                  <a:lnTo>
                    <a:pt x="267" y="100"/>
                  </a:lnTo>
                  <a:lnTo>
                    <a:pt x="267" y="104"/>
                  </a:lnTo>
                  <a:lnTo>
                    <a:pt x="271" y="104"/>
                  </a:lnTo>
                  <a:lnTo>
                    <a:pt x="271" y="112"/>
                  </a:lnTo>
                  <a:lnTo>
                    <a:pt x="271" y="120"/>
                  </a:lnTo>
                  <a:lnTo>
                    <a:pt x="271" y="124"/>
                  </a:lnTo>
                  <a:lnTo>
                    <a:pt x="275" y="128"/>
                  </a:lnTo>
                  <a:lnTo>
                    <a:pt x="275" y="132"/>
                  </a:lnTo>
                  <a:lnTo>
                    <a:pt x="275" y="136"/>
                  </a:lnTo>
                  <a:lnTo>
                    <a:pt x="275" y="140"/>
                  </a:lnTo>
                  <a:lnTo>
                    <a:pt x="271" y="140"/>
                  </a:lnTo>
                  <a:lnTo>
                    <a:pt x="275" y="144"/>
                  </a:lnTo>
                  <a:lnTo>
                    <a:pt x="275" y="148"/>
                  </a:lnTo>
                  <a:lnTo>
                    <a:pt x="279" y="148"/>
                  </a:lnTo>
                  <a:lnTo>
                    <a:pt x="279" y="152"/>
                  </a:lnTo>
                  <a:lnTo>
                    <a:pt x="279" y="156"/>
                  </a:lnTo>
                  <a:lnTo>
                    <a:pt x="279" y="160"/>
                  </a:lnTo>
                  <a:lnTo>
                    <a:pt x="279" y="164"/>
                  </a:lnTo>
                  <a:lnTo>
                    <a:pt x="279" y="168"/>
                  </a:lnTo>
                  <a:lnTo>
                    <a:pt x="279" y="172"/>
                  </a:lnTo>
                  <a:lnTo>
                    <a:pt x="279" y="176"/>
                  </a:lnTo>
                  <a:lnTo>
                    <a:pt x="279" y="180"/>
                  </a:lnTo>
                  <a:lnTo>
                    <a:pt x="283" y="184"/>
                  </a:lnTo>
                  <a:lnTo>
                    <a:pt x="283" y="188"/>
                  </a:lnTo>
                  <a:lnTo>
                    <a:pt x="279" y="192"/>
                  </a:lnTo>
                  <a:lnTo>
                    <a:pt x="279" y="196"/>
                  </a:lnTo>
                  <a:lnTo>
                    <a:pt x="279" y="200"/>
                  </a:lnTo>
                  <a:lnTo>
                    <a:pt x="279" y="204"/>
                  </a:lnTo>
                  <a:lnTo>
                    <a:pt x="283" y="204"/>
                  </a:lnTo>
                  <a:lnTo>
                    <a:pt x="283" y="208"/>
                  </a:lnTo>
                  <a:lnTo>
                    <a:pt x="279" y="212"/>
                  </a:lnTo>
                  <a:lnTo>
                    <a:pt x="275" y="216"/>
                  </a:lnTo>
                  <a:lnTo>
                    <a:pt x="275" y="220"/>
                  </a:lnTo>
                  <a:lnTo>
                    <a:pt x="279" y="228"/>
                  </a:lnTo>
                  <a:lnTo>
                    <a:pt x="283" y="232"/>
                  </a:lnTo>
                  <a:lnTo>
                    <a:pt x="283" y="236"/>
                  </a:lnTo>
                  <a:lnTo>
                    <a:pt x="283" y="240"/>
                  </a:lnTo>
                  <a:lnTo>
                    <a:pt x="283" y="244"/>
                  </a:lnTo>
                  <a:lnTo>
                    <a:pt x="287" y="244"/>
                  </a:lnTo>
                  <a:lnTo>
                    <a:pt x="287" y="248"/>
                  </a:lnTo>
                  <a:lnTo>
                    <a:pt x="291" y="252"/>
                  </a:lnTo>
                  <a:lnTo>
                    <a:pt x="291" y="248"/>
                  </a:lnTo>
                  <a:lnTo>
                    <a:pt x="295" y="248"/>
                  </a:lnTo>
                  <a:lnTo>
                    <a:pt x="299" y="252"/>
                  </a:lnTo>
                  <a:lnTo>
                    <a:pt x="303" y="252"/>
                  </a:lnTo>
                  <a:lnTo>
                    <a:pt x="307" y="252"/>
                  </a:lnTo>
                  <a:lnTo>
                    <a:pt x="311" y="260"/>
                  </a:lnTo>
                  <a:lnTo>
                    <a:pt x="311" y="268"/>
                  </a:lnTo>
                  <a:lnTo>
                    <a:pt x="311" y="272"/>
                  </a:lnTo>
                  <a:lnTo>
                    <a:pt x="307" y="272"/>
                  </a:lnTo>
                  <a:lnTo>
                    <a:pt x="299" y="280"/>
                  </a:lnTo>
                  <a:lnTo>
                    <a:pt x="295" y="280"/>
                  </a:lnTo>
                  <a:lnTo>
                    <a:pt x="295" y="284"/>
                  </a:lnTo>
                  <a:lnTo>
                    <a:pt x="291" y="284"/>
                  </a:lnTo>
                  <a:lnTo>
                    <a:pt x="287" y="288"/>
                  </a:lnTo>
                  <a:lnTo>
                    <a:pt x="283" y="288"/>
                  </a:lnTo>
                  <a:lnTo>
                    <a:pt x="279" y="292"/>
                  </a:lnTo>
                  <a:lnTo>
                    <a:pt x="275" y="296"/>
                  </a:lnTo>
                  <a:lnTo>
                    <a:pt x="267" y="300"/>
                  </a:lnTo>
                  <a:lnTo>
                    <a:pt x="263" y="304"/>
                  </a:lnTo>
                  <a:lnTo>
                    <a:pt x="263" y="308"/>
                  </a:lnTo>
                  <a:lnTo>
                    <a:pt x="255" y="312"/>
                  </a:lnTo>
                  <a:lnTo>
                    <a:pt x="251" y="316"/>
                  </a:lnTo>
                  <a:lnTo>
                    <a:pt x="247" y="316"/>
                  </a:lnTo>
                  <a:lnTo>
                    <a:pt x="243" y="320"/>
                  </a:lnTo>
                  <a:lnTo>
                    <a:pt x="235" y="327"/>
                  </a:lnTo>
                  <a:lnTo>
                    <a:pt x="231" y="331"/>
                  </a:lnTo>
                  <a:lnTo>
                    <a:pt x="231" y="335"/>
                  </a:lnTo>
                  <a:lnTo>
                    <a:pt x="227" y="339"/>
                  </a:lnTo>
                  <a:lnTo>
                    <a:pt x="223" y="343"/>
                  </a:lnTo>
                  <a:lnTo>
                    <a:pt x="219" y="347"/>
                  </a:lnTo>
                  <a:lnTo>
                    <a:pt x="215" y="347"/>
                  </a:lnTo>
                  <a:lnTo>
                    <a:pt x="211" y="347"/>
                  </a:lnTo>
                  <a:lnTo>
                    <a:pt x="207" y="347"/>
                  </a:lnTo>
                  <a:lnTo>
                    <a:pt x="200" y="351"/>
                  </a:lnTo>
                  <a:lnTo>
                    <a:pt x="196" y="351"/>
                  </a:lnTo>
                  <a:lnTo>
                    <a:pt x="192" y="351"/>
                  </a:lnTo>
                  <a:lnTo>
                    <a:pt x="188" y="351"/>
                  </a:lnTo>
                  <a:lnTo>
                    <a:pt x="184" y="355"/>
                  </a:lnTo>
                  <a:lnTo>
                    <a:pt x="180" y="351"/>
                  </a:lnTo>
                  <a:lnTo>
                    <a:pt x="180" y="347"/>
                  </a:lnTo>
                  <a:lnTo>
                    <a:pt x="180" y="343"/>
                  </a:lnTo>
                  <a:lnTo>
                    <a:pt x="180" y="339"/>
                  </a:lnTo>
                  <a:lnTo>
                    <a:pt x="176" y="335"/>
                  </a:lnTo>
                  <a:lnTo>
                    <a:pt x="172" y="335"/>
                  </a:lnTo>
                  <a:lnTo>
                    <a:pt x="168" y="335"/>
                  </a:lnTo>
                  <a:lnTo>
                    <a:pt x="168" y="331"/>
                  </a:lnTo>
                  <a:lnTo>
                    <a:pt x="164" y="331"/>
                  </a:lnTo>
                  <a:lnTo>
                    <a:pt x="160" y="331"/>
                  </a:lnTo>
                  <a:lnTo>
                    <a:pt x="160" y="327"/>
                  </a:lnTo>
                  <a:lnTo>
                    <a:pt x="156" y="327"/>
                  </a:lnTo>
                  <a:lnTo>
                    <a:pt x="156" y="324"/>
                  </a:lnTo>
                  <a:lnTo>
                    <a:pt x="152" y="324"/>
                  </a:lnTo>
                  <a:lnTo>
                    <a:pt x="148" y="320"/>
                  </a:lnTo>
                  <a:lnTo>
                    <a:pt x="152" y="320"/>
                  </a:lnTo>
                  <a:lnTo>
                    <a:pt x="152" y="316"/>
                  </a:lnTo>
                  <a:lnTo>
                    <a:pt x="148" y="316"/>
                  </a:lnTo>
                  <a:lnTo>
                    <a:pt x="144" y="312"/>
                  </a:lnTo>
                  <a:lnTo>
                    <a:pt x="140" y="304"/>
                  </a:lnTo>
                  <a:lnTo>
                    <a:pt x="136" y="304"/>
                  </a:lnTo>
                  <a:lnTo>
                    <a:pt x="132" y="300"/>
                  </a:lnTo>
                  <a:lnTo>
                    <a:pt x="124" y="296"/>
                  </a:lnTo>
                  <a:lnTo>
                    <a:pt x="120" y="292"/>
                  </a:lnTo>
                  <a:lnTo>
                    <a:pt x="116" y="288"/>
                  </a:lnTo>
                  <a:lnTo>
                    <a:pt x="112" y="284"/>
                  </a:lnTo>
                  <a:lnTo>
                    <a:pt x="104" y="280"/>
                  </a:lnTo>
                  <a:lnTo>
                    <a:pt x="100" y="276"/>
                  </a:lnTo>
                  <a:lnTo>
                    <a:pt x="96" y="268"/>
                  </a:lnTo>
                  <a:lnTo>
                    <a:pt x="88" y="264"/>
                  </a:lnTo>
                  <a:lnTo>
                    <a:pt x="84" y="260"/>
                  </a:lnTo>
                  <a:lnTo>
                    <a:pt x="80" y="256"/>
                  </a:lnTo>
                  <a:lnTo>
                    <a:pt x="76" y="252"/>
                  </a:lnTo>
                  <a:lnTo>
                    <a:pt x="68" y="248"/>
                  </a:lnTo>
                  <a:lnTo>
                    <a:pt x="64" y="244"/>
                  </a:lnTo>
                  <a:lnTo>
                    <a:pt x="60" y="240"/>
                  </a:lnTo>
                  <a:lnTo>
                    <a:pt x="56" y="240"/>
                  </a:lnTo>
                  <a:lnTo>
                    <a:pt x="52" y="236"/>
                  </a:lnTo>
                  <a:lnTo>
                    <a:pt x="48" y="232"/>
                  </a:lnTo>
                  <a:lnTo>
                    <a:pt x="44" y="228"/>
                  </a:lnTo>
                  <a:lnTo>
                    <a:pt x="36" y="224"/>
                  </a:lnTo>
                  <a:lnTo>
                    <a:pt x="32" y="220"/>
                  </a:lnTo>
                  <a:lnTo>
                    <a:pt x="28" y="216"/>
                  </a:lnTo>
                  <a:lnTo>
                    <a:pt x="24" y="216"/>
                  </a:lnTo>
                  <a:lnTo>
                    <a:pt x="24" y="212"/>
                  </a:lnTo>
                  <a:lnTo>
                    <a:pt x="20" y="212"/>
                  </a:lnTo>
                  <a:lnTo>
                    <a:pt x="16" y="208"/>
                  </a:lnTo>
                  <a:lnTo>
                    <a:pt x="8" y="204"/>
                  </a:lnTo>
                  <a:lnTo>
                    <a:pt x="8" y="200"/>
                  </a:lnTo>
                  <a:lnTo>
                    <a:pt x="0" y="196"/>
                  </a:lnTo>
                  <a:lnTo>
                    <a:pt x="0" y="192"/>
                  </a:lnTo>
                  <a:lnTo>
                    <a:pt x="0" y="188"/>
                  </a:lnTo>
                  <a:lnTo>
                    <a:pt x="0" y="184"/>
                  </a:lnTo>
                  <a:lnTo>
                    <a:pt x="0" y="168"/>
                  </a:lnTo>
                  <a:lnTo>
                    <a:pt x="4" y="168"/>
                  </a:lnTo>
                  <a:lnTo>
                    <a:pt x="4" y="164"/>
                  </a:lnTo>
                  <a:lnTo>
                    <a:pt x="8" y="164"/>
                  </a:lnTo>
                  <a:lnTo>
                    <a:pt x="8" y="160"/>
                  </a:lnTo>
                  <a:lnTo>
                    <a:pt x="12" y="160"/>
                  </a:lnTo>
                  <a:lnTo>
                    <a:pt x="12" y="156"/>
                  </a:lnTo>
                  <a:lnTo>
                    <a:pt x="16" y="156"/>
                  </a:lnTo>
                  <a:lnTo>
                    <a:pt x="20" y="156"/>
                  </a:lnTo>
                  <a:lnTo>
                    <a:pt x="20" y="152"/>
                  </a:lnTo>
                  <a:lnTo>
                    <a:pt x="24" y="152"/>
                  </a:lnTo>
                  <a:lnTo>
                    <a:pt x="28" y="152"/>
                  </a:lnTo>
                  <a:lnTo>
                    <a:pt x="32" y="152"/>
                  </a:lnTo>
                  <a:lnTo>
                    <a:pt x="32" y="148"/>
                  </a:lnTo>
                  <a:lnTo>
                    <a:pt x="36" y="148"/>
                  </a:lnTo>
                  <a:lnTo>
                    <a:pt x="40" y="148"/>
                  </a:lnTo>
                  <a:lnTo>
                    <a:pt x="44" y="148"/>
                  </a:lnTo>
                  <a:lnTo>
                    <a:pt x="44" y="144"/>
                  </a:lnTo>
                  <a:lnTo>
                    <a:pt x="48" y="144"/>
                  </a:lnTo>
                  <a:lnTo>
                    <a:pt x="52" y="144"/>
                  </a:lnTo>
                  <a:lnTo>
                    <a:pt x="52" y="140"/>
                  </a:lnTo>
                  <a:lnTo>
                    <a:pt x="56" y="140"/>
                  </a:lnTo>
                  <a:lnTo>
                    <a:pt x="56" y="136"/>
                  </a:lnTo>
                  <a:lnTo>
                    <a:pt x="56" y="132"/>
                  </a:lnTo>
                  <a:lnTo>
                    <a:pt x="60" y="132"/>
                  </a:lnTo>
                  <a:lnTo>
                    <a:pt x="64" y="132"/>
                  </a:lnTo>
                  <a:lnTo>
                    <a:pt x="68" y="128"/>
                  </a:lnTo>
                  <a:lnTo>
                    <a:pt x="72" y="124"/>
                  </a:lnTo>
                  <a:lnTo>
                    <a:pt x="76" y="124"/>
                  </a:lnTo>
                  <a:lnTo>
                    <a:pt x="76" y="120"/>
                  </a:lnTo>
                  <a:lnTo>
                    <a:pt x="72" y="120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72" y="112"/>
                  </a:lnTo>
                  <a:lnTo>
                    <a:pt x="76" y="108"/>
                  </a:lnTo>
                  <a:lnTo>
                    <a:pt x="76" y="112"/>
                  </a:lnTo>
                  <a:lnTo>
                    <a:pt x="80" y="112"/>
                  </a:lnTo>
                  <a:lnTo>
                    <a:pt x="80" y="108"/>
                  </a:lnTo>
                  <a:lnTo>
                    <a:pt x="84" y="108"/>
                  </a:lnTo>
                  <a:lnTo>
                    <a:pt x="88" y="108"/>
                  </a:lnTo>
                  <a:lnTo>
                    <a:pt x="88" y="104"/>
                  </a:lnTo>
                  <a:lnTo>
                    <a:pt x="96" y="100"/>
                  </a:lnTo>
                  <a:lnTo>
                    <a:pt x="100" y="100"/>
                  </a:lnTo>
                  <a:lnTo>
                    <a:pt x="104" y="100"/>
                  </a:lnTo>
                  <a:lnTo>
                    <a:pt x="108" y="100"/>
                  </a:lnTo>
                  <a:lnTo>
                    <a:pt x="112" y="100"/>
                  </a:lnTo>
                  <a:lnTo>
                    <a:pt x="112" y="104"/>
                  </a:lnTo>
                  <a:lnTo>
                    <a:pt x="116" y="100"/>
                  </a:lnTo>
                  <a:lnTo>
                    <a:pt x="112" y="100"/>
                  </a:lnTo>
                  <a:lnTo>
                    <a:pt x="112" y="96"/>
                  </a:lnTo>
                  <a:lnTo>
                    <a:pt x="116" y="96"/>
                  </a:lnTo>
                  <a:lnTo>
                    <a:pt x="116" y="92"/>
                  </a:lnTo>
                  <a:lnTo>
                    <a:pt x="112" y="92"/>
                  </a:lnTo>
                  <a:lnTo>
                    <a:pt x="112" y="88"/>
                  </a:lnTo>
                  <a:lnTo>
                    <a:pt x="108" y="84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8" y="72"/>
                  </a:lnTo>
                  <a:lnTo>
                    <a:pt x="104" y="68"/>
                  </a:lnTo>
                  <a:lnTo>
                    <a:pt x="108" y="68"/>
                  </a:lnTo>
                  <a:lnTo>
                    <a:pt x="108" y="64"/>
                  </a:lnTo>
                  <a:lnTo>
                    <a:pt x="104" y="60"/>
                  </a:lnTo>
                  <a:lnTo>
                    <a:pt x="104" y="56"/>
                  </a:lnTo>
                  <a:lnTo>
                    <a:pt x="108" y="56"/>
                  </a:lnTo>
                  <a:lnTo>
                    <a:pt x="104" y="56"/>
                  </a:lnTo>
                  <a:lnTo>
                    <a:pt x="104" y="52"/>
                  </a:lnTo>
                  <a:lnTo>
                    <a:pt x="104" y="48"/>
                  </a:lnTo>
                  <a:lnTo>
                    <a:pt x="100" y="44"/>
                  </a:lnTo>
                  <a:lnTo>
                    <a:pt x="104" y="44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08" y="36"/>
                  </a:lnTo>
                  <a:lnTo>
                    <a:pt x="112" y="36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20" y="28"/>
                  </a:lnTo>
                  <a:lnTo>
                    <a:pt x="124" y="28"/>
                  </a:lnTo>
                  <a:lnTo>
                    <a:pt x="128" y="24"/>
                  </a:lnTo>
                  <a:lnTo>
                    <a:pt x="128" y="28"/>
                  </a:lnTo>
                  <a:lnTo>
                    <a:pt x="132" y="28"/>
                  </a:lnTo>
                  <a:lnTo>
                    <a:pt x="132" y="24"/>
                  </a:lnTo>
                  <a:lnTo>
                    <a:pt x="136" y="20"/>
                  </a:lnTo>
                  <a:lnTo>
                    <a:pt x="140" y="20"/>
                  </a:lnTo>
                  <a:lnTo>
                    <a:pt x="140" y="16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48" y="12"/>
                  </a:lnTo>
                  <a:lnTo>
                    <a:pt x="152" y="12"/>
                  </a:lnTo>
                  <a:lnTo>
                    <a:pt x="156" y="12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8" y="12"/>
                  </a:lnTo>
                  <a:lnTo>
                    <a:pt x="172" y="12"/>
                  </a:lnTo>
                  <a:lnTo>
                    <a:pt x="176" y="12"/>
                  </a:lnTo>
                  <a:lnTo>
                    <a:pt x="176" y="8"/>
                  </a:lnTo>
                  <a:lnTo>
                    <a:pt x="180" y="8"/>
                  </a:lnTo>
                  <a:lnTo>
                    <a:pt x="184" y="8"/>
                  </a:lnTo>
                  <a:lnTo>
                    <a:pt x="188" y="8"/>
                  </a:lnTo>
                  <a:lnTo>
                    <a:pt x="188" y="4"/>
                  </a:lnTo>
                  <a:lnTo>
                    <a:pt x="192" y="4"/>
                  </a:lnTo>
                  <a:lnTo>
                    <a:pt x="196" y="4"/>
                  </a:lnTo>
                  <a:lnTo>
                    <a:pt x="200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1" name="Freeform 118"/>
            <p:cNvSpPr>
              <a:spLocks noEditPoints="1"/>
            </p:cNvSpPr>
            <p:nvPr>
              <p:custDataLst>
                <p:tags r:id="rId314"/>
              </p:custDataLst>
            </p:nvPr>
          </p:nvSpPr>
          <p:spPr bwMode="gray">
            <a:xfrm>
              <a:off x="4641530" y="4716082"/>
              <a:ext cx="272884" cy="373732"/>
            </a:xfrm>
            <a:custGeom>
              <a:avLst/>
              <a:gdLst/>
              <a:ahLst/>
              <a:cxnLst>
                <a:cxn ang="0">
                  <a:pos x="12" y="12"/>
                </a:cxn>
                <a:cxn ang="0">
                  <a:pos x="4" y="24"/>
                </a:cxn>
                <a:cxn ang="0">
                  <a:pos x="4" y="8"/>
                </a:cxn>
                <a:cxn ang="0">
                  <a:pos x="16" y="0"/>
                </a:cxn>
                <a:cxn ang="0">
                  <a:pos x="172" y="244"/>
                </a:cxn>
                <a:cxn ang="0">
                  <a:pos x="152" y="248"/>
                </a:cxn>
                <a:cxn ang="0">
                  <a:pos x="136" y="252"/>
                </a:cxn>
                <a:cxn ang="0">
                  <a:pos x="124" y="248"/>
                </a:cxn>
                <a:cxn ang="0">
                  <a:pos x="108" y="248"/>
                </a:cxn>
                <a:cxn ang="0">
                  <a:pos x="96" y="240"/>
                </a:cxn>
                <a:cxn ang="0">
                  <a:pos x="72" y="240"/>
                </a:cxn>
                <a:cxn ang="0">
                  <a:pos x="44" y="240"/>
                </a:cxn>
                <a:cxn ang="0">
                  <a:pos x="32" y="236"/>
                </a:cxn>
                <a:cxn ang="0">
                  <a:pos x="16" y="232"/>
                </a:cxn>
                <a:cxn ang="0">
                  <a:pos x="0" y="236"/>
                </a:cxn>
                <a:cxn ang="0">
                  <a:pos x="0" y="220"/>
                </a:cxn>
                <a:cxn ang="0">
                  <a:pos x="4" y="204"/>
                </a:cxn>
                <a:cxn ang="0">
                  <a:pos x="8" y="188"/>
                </a:cxn>
                <a:cxn ang="0">
                  <a:pos x="8" y="172"/>
                </a:cxn>
                <a:cxn ang="0">
                  <a:pos x="12" y="160"/>
                </a:cxn>
                <a:cxn ang="0">
                  <a:pos x="20" y="152"/>
                </a:cxn>
                <a:cxn ang="0">
                  <a:pos x="24" y="144"/>
                </a:cxn>
                <a:cxn ang="0">
                  <a:pos x="28" y="132"/>
                </a:cxn>
                <a:cxn ang="0">
                  <a:pos x="28" y="116"/>
                </a:cxn>
                <a:cxn ang="0">
                  <a:pos x="24" y="100"/>
                </a:cxn>
                <a:cxn ang="0">
                  <a:pos x="20" y="88"/>
                </a:cxn>
                <a:cxn ang="0">
                  <a:pos x="16" y="84"/>
                </a:cxn>
                <a:cxn ang="0">
                  <a:pos x="24" y="76"/>
                </a:cxn>
                <a:cxn ang="0">
                  <a:pos x="20" y="64"/>
                </a:cxn>
                <a:cxn ang="0">
                  <a:pos x="16" y="48"/>
                </a:cxn>
                <a:cxn ang="0">
                  <a:pos x="8" y="36"/>
                </a:cxn>
                <a:cxn ang="0">
                  <a:pos x="12" y="28"/>
                </a:cxn>
                <a:cxn ang="0">
                  <a:pos x="20" y="28"/>
                </a:cxn>
                <a:cxn ang="0">
                  <a:pos x="32" y="24"/>
                </a:cxn>
                <a:cxn ang="0">
                  <a:pos x="44" y="24"/>
                </a:cxn>
                <a:cxn ang="0">
                  <a:pos x="68" y="24"/>
                </a:cxn>
                <a:cxn ang="0">
                  <a:pos x="72" y="36"/>
                </a:cxn>
                <a:cxn ang="0">
                  <a:pos x="76" y="52"/>
                </a:cxn>
                <a:cxn ang="0">
                  <a:pos x="84" y="64"/>
                </a:cxn>
                <a:cxn ang="0">
                  <a:pos x="92" y="68"/>
                </a:cxn>
                <a:cxn ang="0">
                  <a:pos x="104" y="64"/>
                </a:cxn>
                <a:cxn ang="0">
                  <a:pos x="112" y="60"/>
                </a:cxn>
                <a:cxn ang="0">
                  <a:pos x="116" y="48"/>
                </a:cxn>
                <a:cxn ang="0">
                  <a:pos x="132" y="44"/>
                </a:cxn>
                <a:cxn ang="0">
                  <a:pos x="148" y="52"/>
                </a:cxn>
                <a:cxn ang="0">
                  <a:pos x="152" y="64"/>
                </a:cxn>
                <a:cxn ang="0">
                  <a:pos x="152" y="80"/>
                </a:cxn>
                <a:cxn ang="0">
                  <a:pos x="152" y="96"/>
                </a:cxn>
                <a:cxn ang="0">
                  <a:pos x="160" y="112"/>
                </a:cxn>
                <a:cxn ang="0">
                  <a:pos x="156" y="124"/>
                </a:cxn>
                <a:cxn ang="0">
                  <a:pos x="168" y="120"/>
                </a:cxn>
                <a:cxn ang="0">
                  <a:pos x="184" y="120"/>
                </a:cxn>
                <a:cxn ang="0">
                  <a:pos x="184" y="128"/>
                </a:cxn>
                <a:cxn ang="0">
                  <a:pos x="184" y="148"/>
                </a:cxn>
                <a:cxn ang="0">
                  <a:pos x="176" y="156"/>
                </a:cxn>
                <a:cxn ang="0">
                  <a:pos x="152" y="156"/>
                </a:cxn>
                <a:cxn ang="0">
                  <a:pos x="152" y="184"/>
                </a:cxn>
                <a:cxn ang="0">
                  <a:pos x="152" y="212"/>
                </a:cxn>
                <a:cxn ang="0">
                  <a:pos x="156" y="224"/>
                </a:cxn>
                <a:cxn ang="0">
                  <a:pos x="172" y="240"/>
                </a:cxn>
              </a:cxnLst>
              <a:rect l="0" t="0" r="r" b="b"/>
              <a:pathLst>
                <a:path w="184" h="252">
                  <a:moveTo>
                    <a:pt x="20" y="4"/>
                  </a:moveTo>
                  <a:lnTo>
                    <a:pt x="16" y="4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20" y="4"/>
                  </a:lnTo>
                  <a:close/>
                  <a:moveTo>
                    <a:pt x="176" y="244"/>
                  </a:moveTo>
                  <a:lnTo>
                    <a:pt x="172" y="244"/>
                  </a:lnTo>
                  <a:lnTo>
                    <a:pt x="168" y="244"/>
                  </a:lnTo>
                  <a:lnTo>
                    <a:pt x="164" y="248"/>
                  </a:lnTo>
                  <a:lnTo>
                    <a:pt x="160" y="248"/>
                  </a:lnTo>
                  <a:lnTo>
                    <a:pt x="152" y="248"/>
                  </a:lnTo>
                  <a:lnTo>
                    <a:pt x="144" y="252"/>
                  </a:lnTo>
                  <a:lnTo>
                    <a:pt x="144" y="248"/>
                  </a:lnTo>
                  <a:lnTo>
                    <a:pt x="140" y="248"/>
                  </a:lnTo>
                  <a:lnTo>
                    <a:pt x="136" y="252"/>
                  </a:lnTo>
                  <a:lnTo>
                    <a:pt x="132" y="252"/>
                  </a:lnTo>
                  <a:lnTo>
                    <a:pt x="132" y="248"/>
                  </a:lnTo>
                  <a:lnTo>
                    <a:pt x="128" y="248"/>
                  </a:lnTo>
                  <a:lnTo>
                    <a:pt x="124" y="248"/>
                  </a:lnTo>
                  <a:lnTo>
                    <a:pt x="120" y="248"/>
                  </a:lnTo>
                  <a:lnTo>
                    <a:pt x="116" y="248"/>
                  </a:lnTo>
                  <a:lnTo>
                    <a:pt x="112" y="248"/>
                  </a:lnTo>
                  <a:lnTo>
                    <a:pt x="108" y="248"/>
                  </a:lnTo>
                  <a:lnTo>
                    <a:pt x="104" y="248"/>
                  </a:lnTo>
                  <a:lnTo>
                    <a:pt x="104" y="244"/>
                  </a:lnTo>
                  <a:lnTo>
                    <a:pt x="100" y="240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88" y="240"/>
                  </a:lnTo>
                  <a:lnTo>
                    <a:pt x="84" y="240"/>
                  </a:lnTo>
                  <a:lnTo>
                    <a:pt x="72" y="240"/>
                  </a:lnTo>
                  <a:lnTo>
                    <a:pt x="64" y="240"/>
                  </a:lnTo>
                  <a:lnTo>
                    <a:pt x="56" y="240"/>
                  </a:lnTo>
                  <a:lnTo>
                    <a:pt x="48" y="240"/>
                  </a:lnTo>
                  <a:lnTo>
                    <a:pt x="44" y="240"/>
                  </a:lnTo>
                  <a:lnTo>
                    <a:pt x="40" y="240"/>
                  </a:lnTo>
                  <a:lnTo>
                    <a:pt x="36" y="240"/>
                  </a:lnTo>
                  <a:lnTo>
                    <a:pt x="32" y="240"/>
                  </a:lnTo>
                  <a:lnTo>
                    <a:pt x="32" y="236"/>
                  </a:lnTo>
                  <a:lnTo>
                    <a:pt x="28" y="236"/>
                  </a:lnTo>
                  <a:lnTo>
                    <a:pt x="24" y="232"/>
                  </a:lnTo>
                  <a:lnTo>
                    <a:pt x="20" y="232"/>
                  </a:lnTo>
                  <a:lnTo>
                    <a:pt x="16" y="232"/>
                  </a:lnTo>
                  <a:lnTo>
                    <a:pt x="12" y="236"/>
                  </a:lnTo>
                  <a:lnTo>
                    <a:pt x="8" y="236"/>
                  </a:lnTo>
                  <a:lnTo>
                    <a:pt x="4" y="236"/>
                  </a:lnTo>
                  <a:lnTo>
                    <a:pt x="0" y="236"/>
                  </a:lnTo>
                  <a:lnTo>
                    <a:pt x="0" y="232"/>
                  </a:lnTo>
                  <a:lnTo>
                    <a:pt x="0" y="228"/>
                  </a:lnTo>
                  <a:lnTo>
                    <a:pt x="0" y="224"/>
                  </a:lnTo>
                  <a:lnTo>
                    <a:pt x="0" y="220"/>
                  </a:lnTo>
                  <a:lnTo>
                    <a:pt x="0" y="216"/>
                  </a:lnTo>
                  <a:lnTo>
                    <a:pt x="0" y="212"/>
                  </a:lnTo>
                  <a:lnTo>
                    <a:pt x="0" y="208"/>
                  </a:lnTo>
                  <a:lnTo>
                    <a:pt x="4" y="204"/>
                  </a:lnTo>
                  <a:lnTo>
                    <a:pt x="4" y="200"/>
                  </a:lnTo>
                  <a:lnTo>
                    <a:pt x="4" y="196"/>
                  </a:lnTo>
                  <a:lnTo>
                    <a:pt x="4" y="192"/>
                  </a:lnTo>
                  <a:lnTo>
                    <a:pt x="8" y="188"/>
                  </a:lnTo>
                  <a:lnTo>
                    <a:pt x="8" y="184"/>
                  </a:lnTo>
                  <a:lnTo>
                    <a:pt x="8" y="180"/>
                  </a:lnTo>
                  <a:lnTo>
                    <a:pt x="8" y="176"/>
                  </a:lnTo>
                  <a:lnTo>
                    <a:pt x="8" y="172"/>
                  </a:lnTo>
                  <a:lnTo>
                    <a:pt x="12" y="168"/>
                  </a:lnTo>
                  <a:lnTo>
                    <a:pt x="8" y="164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16" y="160"/>
                  </a:lnTo>
                  <a:lnTo>
                    <a:pt x="16" y="156"/>
                  </a:lnTo>
                  <a:lnTo>
                    <a:pt x="16" y="152"/>
                  </a:lnTo>
                  <a:lnTo>
                    <a:pt x="20" y="152"/>
                  </a:lnTo>
                  <a:lnTo>
                    <a:pt x="20" y="148"/>
                  </a:lnTo>
                  <a:lnTo>
                    <a:pt x="20" y="152"/>
                  </a:lnTo>
                  <a:lnTo>
                    <a:pt x="24" y="148"/>
                  </a:lnTo>
                  <a:lnTo>
                    <a:pt x="24" y="144"/>
                  </a:lnTo>
                  <a:lnTo>
                    <a:pt x="28" y="144"/>
                  </a:lnTo>
                  <a:lnTo>
                    <a:pt x="28" y="140"/>
                  </a:lnTo>
                  <a:lnTo>
                    <a:pt x="28" y="136"/>
                  </a:lnTo>
                  <a:lnTo>
                    <a:pt x="28" y="132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32" y="120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4" y="100"/>
                  </a:lnTo>
                  <a:lnTo>
                    <a:pt x="20" y="100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16" y="84"/>
                  </a:lnTo>
                  <a:lnTo>
                    <a:pt x="20" y="80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76" y="40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76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84" y="60"/>
                  </a:lnTo>
                  <a:lnTo>
                    <a:pt x="84" y="64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92" y="64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64"/>
                  </a:lnTo>
                  <a:lnTo>
                    <a:pt x="100" y="64"/>
                  </a:lnTo>
                  <a:lnTo>
                    <a:pt x="104" y="64"/>
                  </a:lnTo>
                  <a:lnTo>
                    <a:pt x="108" y="64"/>
                  </a:lnTo>
                  <a:lnTo>
                    <a:pt x="116" y="64"/>
                  </a:lnTo>
                  <a:lnTo>
                    <a:pt x="112" y="64"/>
                  </a:lnTo>
                  <a:lnTo>
                    <a:pt x="112" y="60"/>
                  </a:lnTo>
                  <a:lnTo>
                    <a:pt x="116" y="60"/>
                  </a:lnTo>
                  <a:lnTo>
                    <a:pt x="116" y="56"/>
                  </a:lnTo>
                  <a:lnTo>
                    <a:pt x="116" y="52"/>
                  </a:lnTo>
                  <a:lnTo>
                    <a:pt x="116" y="48"/>
                  </a:lnTo>
                  <a:lnTo>
                    <a:pt x="124" y="48"/>
                  </a:lnTo>
                  <a:lnTo>
                    <a:pt x="128" y="48"/>
                  </a:lnTo>
                  <a:lnTo>
                    <a:pt x="128" y="44"/>
                  </a:lnTo>
                  <a:lnTo>
                    <a:pt x="132" y="44"/>
                  </a:lnTo>
                  <a:lnTo>
                    <a:pt x="132" y="48"/>
                  </a:lnTo>
                  <a:lnTo>
                    <a:pt x="132" y="52"/>
                  </a:lnTo>
                  <a:lnTo>
                    <a:pt x="140" y="52"/>
                  </a:lnTo>
                  <a:lnTo>
                    <a:pt x="148" y="52"/>
                  </a:lnTo>
                  <a:lnTo>
                    <a:pt x="152" y="52"/>
                  </a:lnTo>
                  <a:lnTo>
                    <a:pt x="152" y="56"/>
                  </a:lnTo>
                  <a:lnTo>
                    <a:pt x="152" y="60"/>
                  </a:lnTo>
                  <a:lnTo>
                    <a:pt x="152" y="64"/>
                  </a:lnTo>
                  <a:lnTo>
                    <a:pt x="152" y="68"/>
                  </a:lnTo>
                  <a:lnTo>
                    <a:pt x="152" y="72"/>
                  </a:lnTo>
                  <a:lnTo>
                    <a:pt x="152" y="76"/>
                  </a:lnTo>
                  <a:lnTo>
                    <a:pt x="152" y="80"/>
                  </a:lnTo>
                  <a:lnTo>
                    <a:pt x="152" y="84"/>
                  </a:lnTo>
                  <a:lnTo>
                    <a:pt x="152" y="88"/>
                  </a:lnTo>
                  <a:lnTo>
                    <a:pt x="152" y="92"/>
                  </a:lnTo>
                  <a:lnTo>
                    <a:pt x="152" y="96"/>
                  </a:lnTo>
                  <a:lnTo>
                    <a:pt x="156" y="100"/>
                  </a:lnTo>
                  <a:lnTo>
                    <a:pt x="156" y="104"/>
                  </a:lnTo>
                  <a:lnTo>
                    <a:pt x="160" y="108"/>
                  </a:lnTo>
                  <a:lnTo>
                    <a:pt x="160" y="112"/>
                  </a:lnTo>
                  <a:lnTo>
                    <a:pt x="160" y="116"/>
                  </a:lnTo>
                  <a:lnTo>
                    <a:pt x="156" y="116"/>
                  </a:lnTo>
                  <a:lnTo>
                    <a:pt x="156" y="120"/>
                  </a:lnTo>
                  <a:lnTo>
                    <a:pt x="156" y="124"/>
                  </a:lnTo>
                  <a:lnTo>
                    <a:pt x="160" y="124"/>
                  </a:lnTo>
                  <a:lnTo>
                    <a:pt x="160" y="120"/>
                  </a:lnTo>
                  <a:lnTo>
                    <a:pt x="164" y="120"/>
                  </a:lnTo>
                  <a:lnTo>
                    <a:pt x="168" y="120"/>
                  </a:lnTo>
                  <a:lnTo>
                    <a:pt x="172" y="120"/>
                  </a:lnTo>
                  <a:lnTo>
                    <a:pt x="176" y="120"/>
                  </a:lnTo>
                  <a:lnTo>
                    <a:pt x="180" y="120"/>
                  </a:lnTo>
                  <a:lnTo>
                    <a:pt x="184" y="120"/>
                  </a:lnTo>
                  <a:lnTo>
                    <a:pt x="184" y="116"/>
                  </a:lnTo>
                  <a:lnTo>
                    <a:pt x="184" y="120"/>
                  </a:lnTo>
                  <a:lnTo>
                    <a:pt x="184" y="124"/>
                  </a:lnTo>
                  <a:lnTo>
                    <a:pt x="184" y="128"/>
                  </a:lnTo>
                  <a:lnTo>
                    <a:pt x="184" y="132"/>
                  </a:lnTo>
                  <a:lnTo>
                    <a:pt x="184" y="136"/>
                  </a:lnTo>
                  <a:lnTo>
                    <a:pt x="184" y="144"/>
                  </a:lnTo>
                  <a:lnTo>
                    <a:pt x="184" y="148"/>
                  </a:lnTo>
                  <a:lnTo>
                    <a:pt x="184" y="152"/>
                  </a:lnTo>
                  <a:lnTo>
                    <a:pt x="184" y="156"/>
                  </a:lnTo>
                  <a:lnTo>
                    <a:pt x="180" y="156"/>
                  </a:lnTo>
                  <a:lnTo>
                    <a:pt x="176" y="156"/>
                  </a:lnTo>
                  <a:lnTo>
                    <a:pt x="172" y="156"/>
                  </a:lnTo>
                  <a:lnTo>
                    <a:pt x="168" y="156"/>
                  </a:lnTo>
                  <a:lnTo>
                    <a:pt x="160" y="156"/>
                  </a:lnTo>
                  <a:lnTo>
                    <a:pt x="152" y="156"/>
                  </a:lnTo>
                  <a:lnTo>
                    <a:pt x="152" y="164"/>
                  </a:lnTo>
                  <a:lnTo>
                    <a:pt x="152" y="172"/>
                  </a:lnTo>
                  <a:lnTo>
                    <a:pt x="152" y="176"/>
                  </a:lnTo>
                  <a:lnTo>
                    <a:pt x="152" y="184"/>
                  </a:lnTo>
                  <a:lnTo>
                    <a:pt x="152" y="188"/>
                  </a:lnTo>
                  <a:lnTo>
                    <a:pt x="152" y="192"/>
                  </a:lnTo>
                  <a:lnTo>
                    <a:pt x="152" y="204"/>
                  </a:lnTo>
                  <a:lnTo>
                    <a:pt x="152" y="212"/>
                  </a:lnTo>
                  <a:lnTo>
                    <a:pt x="152" y="216"/>
                  </a:lnTo>
                  <a:lnTo>
                    <a:pt x="156" y="216"/>
                  </a:lnTo>
                  <a:lnTo>
                    <a:pt x="156" y="220"/>
                  </a:lnTo>
                  <a:lnTo>
                    <a:pt x="156" y="224"/>
                  </a:lnTo>
                  <a:lnTo>
                    <a:pt x="160" y="224"/>
                  </a:lnTo>
                  <a:lnTo>
                    <a:pt x="160" y="228"/>
                  </a:lnTo>
                  <a:lnTo>
                    <a:pt x="164" y="232"/>
                  </a:lnTo>
                  <a:lnTo>
                    <a:pt x="172" y="240"/>
                  </a:lnTo>
                  <a:lnTo>
                    <a:pt x="176" y="2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2" name="Freeform 119"/>
            <p:cNvSpPr>
              <a:spLocks/>
            </p:cNvSpPr>
            <p:nvPr>
              <p:custDataLst>
                <p:tags r:id="rId315"/>
              </p:custDataLst>
            </p:nvPr>
          </p:nvSpPr>
          <p:spPr bwMode="gray">
            <a:xfrm>
              <a:off x="4393857" y="4254850"/>
              <a:ext cx="71187" cy="172035"/>
            </a:xfrm>
            <a:custGeom>
              <a:avLst/>
              <a:gdLst/>
              <a:ahLst/>
              <a:cxnLst>
                <a:cxn ang="0">
                  <a:pos x="32" y="96"/>
                </a:cxn>
                <a:cxn ang="0">
                  <a:pos x="28" y="104"/>
                </a:cxn>
                <a:cxn ang="0">
                  <a:pos x="28" y="112"/>
                </a:cxn>
                <a:cxn ang="0">
                  <a:pos x="28" y="112"/>
                </a:cxn>
                <a:cxn ang="0">
                  <a:pos x="24" y="112"/>
                </a:cxn>
                <a:cxn ang="0">
                  <a:pos x="20" y="116"/>
                </a:cxn>
                <a:cxn ang="0">
                  <a:pos x="12" y="116"/>
                </a:cxn>
                <a:cxn ang="0">
                  <a:pos x="12" y="116"/>
                </a:cxn>
                <a:cxn ang="0">
                  <a:pos x="16" y="116"/>
                </a:cxn>
                <a:cxn ang="0">
                  <a:pos x="12" y="108"/>
                </a:cxn>
                <a:cxn ang="0">
                  <a:pos x="12" y="108"/>
                </a:cxn>
                <a:cxn ang="0">
                  <a:pos x="12" y="104"/>
                </a:cxn>
                <a:cxn ang="0">
                  <a:pos x="12" y="96"/>
                </a:cxn>
                <a:cxn ang="0">
                  <a:pos x="12" y="92"/>
                </a:cxn>
                <a:cxn ang="0">
                  <a:pos x="12" y="84"/>
                </a:cxn>
                <a:cxn ang="0">
                  <a:pos x="12" y="72"/>
                </a:cxn>
                <a:cxn ang="0">
                  <a:pos x="12" y="64"/>
                </a:cxn>
                <a:cxn ang="0">
                  <a:pos x="12" y="60"/>
                </a:cxn>
                <a:cxn ang="0">
                  <a:pos x="8" y="60"/>
                </a:cxn>
                <a:cxn ang="0">
                  <a:pos x="8" y="56"/>
                </a:cxn>
                <a:cxn ang="0">
                  <a:pos x="8" y="52"/>
                </a:cxn>
                <a:cxn ang="0">
                  <a:pos x="8" y="44"/>
                </a:cxn>
                <a:cxn ang="0">
                  <a:pos x="0" y="40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12" y="20"/>
                </a:cxn>
                <a:cxn ang="0">
                  <a:pos x="16" y="20"/>
                </a:cxn>
                <a:cxn ang="0">
                  <a:pos x="20" y="20"/>
                </a:cxn>
                <a:cxn ang="0">
                  <a:pos x="20" y="16"/>
                </a:cxn>
                <a:cxn ang="0">
                  <a:pos x="24" y="12"/>
                </a:cxn>
                <a:cxn ang="0">
                  <a:pos x="24" y="8"/>
                </a:cxn>
                <a:cxn ang="0">
                  <a:pos x="28" y="4"/>
                </a:cxn>
                <a:cxn ang="0">
                  <a:pos x="32" y="0"/>
                </a:cxn>
                <a:cxn ang="0">
                  <a:pos x="36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4" y="16"/>
                </a:cxn>
                <a:cxn ang="0">
                  <a:pos x="44" y="24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8" y="32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4" y="44"/>
                </a:cxn>
                <a:cxn ang="0">
                  <a:pos x="40" y="48"/>
                </a:cxn>
                <a:cxn ang="0">
                  <a:pos x="40" y="52"/>
                </a:cxn>
                <a:cxn ang="0">
                  <a:pos x="36" y="56"/>
                </a:cxn>
                <a:cxn ang="0">
                  <a:pos x="36" y="60"/>
                </a:cxn>
                <a:cxn ang="0">
                  <a:pos x="32" y="64"/>
                </a:cxn>
                <a:cxn ang="0">
                  <a:pos x="32" y="64"/>
                </a:cxn>
                <a:cxn ang="0">
                  <a:pos x="28" y="72"/>
                </a:cxn>
                <a:cxn ang="0">
                  <a:pos x="28" y="76"/>
                </a:cxn>
                <a:cxn ang="0">
                  <a:pos x="28" y="80"/>
                </a:cxn>
                <a:cxn ang="0">
                  <a:pos x="28" y="84"/>
                </a:cxn>
                <a:cxn ang="0">
                  <a:pos x="28" y="88"/>
                </a:cxn>
              </a:cxnLst>
              <a:rect l="0" t="0" r="r" b="b"/>
              <a:pathLst>
                <a:path w="48" h="116">
                  <a:moveTo>
                    <a:pt x="28" y="88"/>
                  </a:moveTo>
                  <a:lnTo>
                    <a:pt x="28" y="88"/>
                  </a:lnTo>
                  <a:lnTo>
                    <a:pt x="28" y="92"/>
                  </a:lnTo>
                  <a:lnTo>
                    <a:pt x="32" y="96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3" name="Freeform 120"/>
            <p:cNvSpPr>
              <a:spLocks/>
            </p:cNvSpPr>
            <p:nvPr>
              <p:custDataLst>
                <p:tags r:id="rId316"/>
              </p:custDataLst>
            </p:nvPr>
          </p:nvSpPr>
          <p:spPr bwMode="gray">
            <a:xfrm>
              <a:off x="4825430" y="5083882"/>
              <a:ext cx="206145" cy="253603"/>
            </a:xfrm>
            <a:custGeom>
              <a:avLst/>
              <a:gdLst/>
              <a:ahLst/>
              <a:cxnLst>
                <a:cxn ang="0">
                  <a:pos x="88" y="132"/>
                </a:cxn>
                <a:cxn ang="0">
                  <a:pos x="84" y="144"/>
                </a:cxn>
                <a:cxn ang="0">
                  <a:pos x="80" y="152"/>
                </a:cxn>
                <a:cxn ang="0">
                  <a:pos x="72" y="152"/>
                </a:cxn>
                <a:cxn ang="0">
                  <a:pos x="68" y="148"/>
                </a:cxn>
                <a:cxn ang="0">
                  <a:pos x="64" y="148"/>
                </a:cxn>
                <a:cxn ang="0">
                  <a:pos x="56" y="144"/>
                </a:cxn>
                <a:cxn ang="0">
                  <a:pos x="48" y="140"/>
                </a:cxn>
                <a:cxn ang="0">
                  <a:pos x="44" y="148"/>
                </a:cxn>
                <a:cxn ang="0">
                  <a:pos x="40" y="156"/>
                </a:cxn>
                <a:cxn ang="0">
                  <a:pos x="32" y="163"/>
                </a:cxn>
                <a:cxn ang="0">
                  <a:pos x="28" y="167"/>
                </a:cxn>
                <a:cxn ang="0">
                  <a:pos x="28" y="171"/>
                </a:cxn>
                <a:cxn ang="0">
                  <a:pos x="20" y="171"/>
                </a:cxn>
                <a:cxn ang="0">
                  <a:pos x="16" y="171"/>
                </a:cxn>
                <a:cxn ang="0">
                  <a:pos x="12" y="171"/>
                </a:cxn>
                <a:cxn ang="0">
                  <a:pos x="8" y="163"/>
                </a:cxn>
                <a:cxn ang="0">
                  <a:pos x="12" y="160"/>
                </a:cxn>
                <a:cxn ang="0">
                  <a:pos x="8" y="148"/>
                </a:cxn>
                <a:cxn ang="0">
                  <a:pos x="4" y="136"/>
                </a:cxn>
                <a:cxn ang="0">
                  <a:pos x="0" y="132"/>
                </a:cxn>
                <a:cxn ang="0">
                  <a:pos x="0" y="112"/>
                </a:cxn>
                <a:cxn ang="0">
                  <a:pos x="0" y="96"/>
                </a:cxn>
                <a:cxn ang="0">
                  <a:pos x="0" y="80"/>
                </a:cxn>
                <a:cxn ang="0">
                  <a:pos x="16" y="72"/>
                </a:cxn>
                <a:cxn ang="0">
                  <a:pos x="16" y="24"/>
                </a:cxn>
                <a:cxn ang="0">
                  <a:pos x="28" y="8"/>
                </a:cxn>
                <a:cxn ang="0">
                  <a:pos x="48" y="4"/>
                </a:cxn>
                <a:cxn ang="0">
                  <a:pos x="52" y="8"/>
                </a:cxn>
                <a:cxn ang="0">
                  <a:pos x="56" y="12"/>
                </a:cxn>
                <a:cxn ang="0">
                  <a:pos x="60" y="8"/>
                </a:cxn>
                <a:cxn ang="0">
                  <a:pos x="68" y="4"/>
                </a:cxn>
                <a:cxn ang="0">
                  <a:pos x="72" y="0"/>
                </a:cxn>
                <a:cxn ang="0">
                  <a:pos x="80" y="0"/>
                </a:cxn>
                <a:cxn ang="0">
                  <a:pos x="80" y="4"/>
                </a:cxn>
                <a:cxn ang="0">
                  <a:pos x="84" y="8"/>
                </a:cxn>
                <a:cxn ang="0">
                  <a:pos x="88" y="20"/>
                </a:cxn>
                <a:cxn ang="0">
                  <a:pos x="92" y="24"/>
                </a:cxn>
                <a:cxn ang="0">
                  <a:pos x="96" y="32"/>
                </a:cxn>
                <a:cxn ang="0">
                  <a:pos x="100" y="36"/>
                </a:cxn>
                <a:cxn ang="0">
                  <a:pos x="108" y="40"/>
                </a:cxn>
                <a:cxn ang="0">
                  <a:pos x="112" y="48"/>
                </a:cxn>
                <a:cxn ang="0">
                  <a:pos x="116" y="48"/>
                </a:cxn>
                <a:cxn ang="0">
                  <a:pos x="116" y="56"/>
                </a:cxn>
                <a:cxn ang="0">
                  <a:pos x="120" y="68"/>
                </a:cxn>
                <a:cxn ang="0">
                  <a:pos x="123" y="72"/>
                </a:cxn>
                <a:cxn ang="0">
                  <a:pos x="127" y="72"/>
                </a:cxn>
                <a:cxn ang="0">
                  <a:pos x="135" y="72"/>
                </a:cxn>
                <a:cxn ang="0">
                  <a:pos x="135" y="80"/>
                </a:cxn>
                <a:cxn ang="0">
                  <a:pos x="139" y="80"/>
                </a:cxn>
                <a:cxn ang="0">
                  <a:pos x="135" y="84"/>
                </a:cxn>
                <a:cxn ang="0">
                  <a:pos x="135" y="88"/>
                </a:cxn>
                <a:cxn ang="0">
                  <a:pos x="123" y="92"/>
                </a:cxn>
                <a:cxn ang="0">
                  <a:pos x="120" y="96"/>
                </a:cxn>
                <a:cxn ang="0">
                  <a:pos x="116" y="104"/>
                </a:cxn>
                <a:cxn ang="0">
                  <a:pos x="108" y="108"/>
                </a:cxn>
                <a:cxn ang="0">
                  <a:pos x="104" y="116"/>
                </a:cxn>
                <a:cxn ang="0">
                  <a:pos x="100" y="124"/>
                </a:cxn>
                <a:cxn ang="0">
                  <a:pos x="96" y="128"/>
                </a:cxn>
              </a:cxnLst>
              <a:rect l="0" t="0" r="r" b="b"/>
              <a:pathLst>
                <a:path w="139" h="171">
                  <a:moveTo>
                    <a:pt x="96" y="128"/>
                  </a:move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6"/>
                  </a:lnTo>
                  <a:lnTo>
                    <a:pt x="88" y="140"/>
                  </a:lnTo>
                  <a:lnTo>
                    <a:pt x="84" y="144"/>
                  </a:lnTo>
                  <a:lnTo>
                    <a:pt x="84" y="144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0" y="148"/>
                  </a:lnTo>
                  <a:lnTo>
                    <a:pt x="80" y="152"/>
                  </a:lnTo>
                  <a:lnTo>
                    <a:pt x="80" y="152"/>
                  </a:lnTo>
                  <a:lnTo>
                    <a:pt x="76" y="152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68" y="152"/>
                  </a:lnTo>
                  <a:lnTo>
                    <a:pt x="68" y="152"/>
                  </a:lnTo>
                  <a:lnTo>
                    <a:pt x="68" y="152"/>
                  </a:lnTo>
                  <a:lnTo>
                    <a:pt x="68" y="148"/>
                  </a:lnTo>
                  <a:lnTo>
                    <a:pt x="68" y="148"/>
                  </a:lnTo>
                  <a:lnTo>
                    <a:pt x="68" y="152"/>
                  </a:lnTo>
                  <a:lnTo>
                    <a:pt x="64" y="152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4" y="140"/>
                  </a:lnTo>
                  <a:lnTo>
                    <a:pt x="44" y="140"/>
                  </a:lnTo>
                  <a:lnTo>
                    <a:pt x="44" y="144"/>
                  </a:lnTo>
                  <a:lnTo>
                    <a:pt x="44" y="144"/>
                  </a:lnTo>
                  <a:lnTo>
                    <a:pt x="44" y="148"/>
                  </a:lnTo>
                  <a:lnTo>
                    <a:pt x="44" y="148"/>
                  </a:lnTo>
                  <a:lnTo>
                    <a:pt x="44" y="148"/>
                  </a:lnTo>
                  <a:lnTo>
                    <a:pt x="40" y="148"/>
                  </a:lnTo>
                  <a:lnTo>
                    <a:pt x="40" y="148"/>
                  </a:lnTo>
                  <a:lnTo>
                    <a:pt x="40" y="152"/>
                  </a:lnTo>
                  <a:lnTo>
                    <a:pt x="40" y="152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36" y="160"/>
                  </a:lnTo>
                  <a:lnTo>
                    <a:pt x="36" y="160"/>
                  </a:lnTo>
                  <a:lnTo>
                    <a:pt x="32" y="160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7"/>
                  </a:lnTo>
                  <a:lnTo>
                    <a:pt x="32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71"/>
                  </a:lnTo>
                  <a:lnTo>
                    <a:pt x="28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8" y="171"/>
                  </a:lnTo>
                  <a:lnTo>
                    <a:pt x="8" y="167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12" y="163"/>
                  </a:lnTo>
                  <a:lnTo>
                    <a:pt x="12" y="160"/>
                  </a:lnTo>
                  <a:lnTo>
                    <a:pt x="12" y="160"/>
                  </a:lnTo>
                  <a:lnTo>
                    <a:pt x="12" y="160"/>
                  </a:lnTo>
                  <a:lnTo>
                    <a:pt x="12" y="156"/>
                  </a:lnTo>
                  <a:lnTo>
                    <a:pt x="12" y="152"/>
                  </a:lnTo>
                  <a:lnTo>
                    <a:pt x="12" y="152"/>
                  </a:lnTo>
                  <a:lnTo>
                    <a:pt x="12" y="152"/>
                  </a:lnTo>
                  <a:lnTo>
                    <a:pt x="8" y="148"/>
                  </a:lnTo>
                  <a:lnTo>
                    <a:pt x="8" y="148"/>
                  </a:lnTo>
                  <a:lnTo>
                    <a:pt x="12" y="148"/>
                  </a:lnTo>
                  <a:lnTo>
                    <a:pt x="8" y="144"/>
                  </a:lnTo>
                  <a:lnTo>
                    <a:pt x="8" y="144"/>
                  </a:lnTo>
                  <a:lnTo>
                    <a:pt x="8" y="144"/>
                  </a:lnTo>
                  <a:lnTo>
                    <a:pt x="8" y="140"/>
                  </a:lnTo>
                  <a:lnTo>
                    <a:pt x="8" y="140"/>
                  </a:lnTo>
                  <a:lnTo>
                    <a:pt x="4" y="136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4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80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24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8" y="8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08" y="40"/>
                  </a:lnTo>
                  <a:lnTo>
                    <a:pt x="108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52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60"/>
                  </a:lnTo>
                  <a:lnTo>
                    <a:pt x="116" y="60"/>
                  </a:lnTo>
                  <a:lnTo>
                    <a:pt x="116" y="64"/>
                  </a:lnTo>
                  <a:lnTo>
                    <a:pt x="116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31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8"/>
                  </a:lnTo>
                  <a:lnTo>
                    <a:pt x="135" y="88"/>
                  </a:lnTo>
                  <a:lnTo>
                    <a:pt x="131" y="88"/>
                  </a:lnTo>
                  <a:lnTo>
                    <a:pt x="131" y="88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3" y="88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16" y="100"/>
                  </a:lnTo>
                  <a:lnTo>
                    <a:pt x="116" y="100"/>
                  </a:lnTo>
                  <a:lnTo>
                    <a:pt x="116" y="100"/>
                  </a:lnTo>
                  <a:lnTo>
                    <a:pt x="116" y="104"/>
                  </a:lnTo>
                  <a:lnTo>
                    <a:pt x="116" y="104"/>
                  </a:lnTo>
                  <a:lnTo>
                    <a:pt x="116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4" y="108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6"/>
                  </a:lnTo>
                  <a:lnTo>
                    <a:pt x="104" y="116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4" y="124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4" name="Freeform 121"/>
            <p:cNvSpPr>
              <a:spLocks/>
            </p:cNvSpPr>
            <p:nvPr>
              <p:custDataLst>
                <p:tags r:id="rId317"/>
              </p:custDataLst>
            </p:nvPr>
          </p:nvSpPr>
          <p:spPr bwMode="gray">
            <a:xfrm>
              <a:off x="4251483" y="4183663"/>
              <a:ext cx="177968" cy="154239"/>
            </a:xfrm>
            <a:custGeom>
              <a:avLst/>
              <a:gdLst/>
              <a:ahLst/>
              <a:cxnLst>
                <a:cxn ang="0">
                  <a:pos x="92" y="76"/>
                </a:cxn>
                <a:cxn ang="0">
                  <a:pos x="88" y="76"/>
                </a:cxn>
                <a:cxn ang="0">
                  <a:pos x="80" y="72"/>
                </a:cxn>
                <a:cxn ang="0">
                  <a:pos x="72" y="76"/>
                </a:cxn>
                <a:cxn ang="0">
                  <a:pos x="68" y="76"/>
                </a:cxn>
                <a:cxn ang="0">
                  <a:pos x="60" y="76"/>
                </a:cxn>
                <a:cxn ang="0">
                  <a:pos x="40" y="76"/>
                </a:cxn>
                <a:cxn ang="0">
                  <a:pos x="40" y="84"/>
                </a:cxn>
                <a:cxn ang="0">
                  <a:pos x="40" y="92"/>
                </a:cxn>
                <a:cxn ang="0">
                  <a:pos x="40" y="100"/>
                </a:cxn>
                <a:cxn ang="0">
                  <a:pos x="40" y="100"/>
                </a:cxn>
                <a:cxn ang="0">
                  <a:pos x="44" y="104"/>
                </a:cxn>
                <a:cxn ang="0">
                  <a:pos x="40" y="104"/>
                </a:cxn>
                <a:cxn ang="0">
                  <a:pos x="36" y="96"/>
                </a:cxn>
                <a:cxn ang="0">
                  <a:pos x="28" y="96"/>
                </a:cxn>
                <a:cxn ang="0">
                  <a:pos x="24" y="96"/>
                </a:cxn>
                <a:cxn ang="0">
                  <a:pos x="20" y="100"/>
                </a:cxn>
                <a:cxn ang="0">
                  <a:pos x="16" y="100"/>
                </a:cxn>
                <a:cxn ang="0">
                  <a:pos x="12" y="100"/>
                </a:cxn>
                <a:cxn ang="0">
                  <a:pos x="8" y="88"/>
                </a:cxn>
                <a:cxn ang="0">
                  <a:pos x="4" y="88"/>
                </a:cxn>
                <a:cxn ang="0">
                  <a:pos x="0" y="84"/>
                </a:cxn>
                <a:cxn ang="0">
                  <a:pos x="0" y="80"/>
                </a:cxn>
                <a:cxn ang="0">
                  <a:pos x="0" y="76"/>
                </a:cxn>
                <a:cxn ang="0">
                  <a:pos x="4" y="72"/>
                </a:cxn>
                <a:cxn ang="0">
                  <a:pos x="4" y="64"/>
                </a:cxn>
                <a:cxn ang="0">
                  <a:pos x="8" y="56"/>
                </a:cxn>
                <a:cxn ang="0">
                  <a:pos x="12" y="56"/>
                </a:cxn>
                <a:cxn ang="0">
                  <a:pos x="16" y="48"/>
                </a:cxn>
                <a:cxn ang="0">
                  <a:pos x="16" y="44"/>
                </a:cxn>
                <a:cxn ang="0">
                  <a:pos x="20" y="44"/>
                </a:cxn>
                <a:cxn ang="0">
                  <a:pos x="20" y="40"/>
                </a:cxn>
                <a:cxn ang="0">
                  <a:pos x="20" y="36"/>
                </a:cxn>
                <a:cxn ang="0">
                  <a:pos x="24" y="28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32" y="32"/>
                </a:cxn>
                <a:cxn ang="0">
                  <a:pos x="36" y="28"/>
                </a:cxn>
                <a:cxn ang="0">
                  <a:pos x="40" y="28"/>
                </a:cxn>
                <a:cxn ang="0">
                  <a:pos x="40" y="20"/>
                </a:cxn>
                <a:cxn ang="0">
                  <a:pos x="48" y="16"/>
                </a:cxn>
                <a:cxn ang="0">
                  <a:pos x="52" y="16"/>
                </a:cxn>
                <a:cxn ang="0">
                  <a:pos x="56" y="12"/>
                </a:cxn>
                <a:cxn ang="0">
                  <a:pos x="68" y="4"/>
                </a:cxn>
                <a:cxn ang="0">
                  <a:pos x="76" y="0"/>
                </a:cxn>
                <a:cxn ang="0">
                  <a:pos x="88" y="4"/>
                </a:cxn>
                <a:cxn ang="0">
                  <a:pos x="88" y="12"/>
                </a:cxn>
                <a:cxn ang="0">
                  <a:pos x="88" y="16"/>
                </a:cxn>
                <a:cxn ang="0">
                  <a:pos x="92" y="24"/>
                </a:cxn>
                <a:cxn ang="0">
                  <a:pos x="100" y="28"/>
                </a:cxn>
                <a:cxn ang="0">
                  <a:pos x="104" y="32"/>
                </a:cxn>
                <a:cxn ang="0">
                  <a:pos x="100" y="32"/>
                </a:cxn>
                <a:cxn ang="0">
                  <a:pos x="100" y="36"/>
                </a:cxn>
                <a:cxn ang="0">
                  <a:pos x="108" y="44"/>
                </a:cxn>
                <a:cxn ang="0">
                  <a:pos x="116" y="44"/>
                </a:cxn>
                <a:cxn ang="0">
                  <a:pos x="116" y="48"/>
                </a:cxn>
                <a:cxn ang="0">
                  <a:pos x="120" y="60"/>
                </a:cxn>
                <a:cxn ang="0">
                  <a:pos x="116" y="64"/>
                </a:cxn>
                <a:cxn ang="0">
                  <a:pos x="116" y="68"/>
                </a:cxn>
                <a:cxn ang="0">
                  <a:pos x="108" y="68"/>
                </a:cxn>
                <a:cxn ang="0">
                  <a:pos x="104" y="68"/>
                </a:cxn>
                <a:cxn ang="0">
                  <a:pos x="104" y="68"/>
                </a:cxn>
                <a:cxn ang="0">
                  <a:pos x="100" y="76"/>
                </a:cxn>
              </a:cxnLst>
              <a:rect l="0" t="0" r="r" b="b"/>
              <a:pathLst>
                <a:path w="120" h="104">
                  <a:moveTo>
                    <a:pt x="96" y="76"/>
                  </a:moveTo>
                  <a:lnTo>
                    <a:pt x="96" y="76"/>
                  </a:lnTo>
                  <a:lnTo>
                    <a:pt x="96" y="76"/>
                  </a:lnTo>
                  <a:lnTo>
                    <a:pt x="96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6"/>
                  </a:lnTo>
                  <a:lnTo>
                    <a:pt x="76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6"/>
                  </a:lnTo>
                  <a:lnTo>
                    <a:pt x="44" y="96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0" y="100"/>
                  </a:lnTo>
                  <a:lnTo>
                    <a:pt x="40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36" y="96"/>
                  </a:lnTo>
                  <a:lnTo>
                    <a:pt x="36" y="96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8" y="96"/>
                  </a:lnTo>
                  <a:lnTo>
                    <a:pt x="8" y="92"/>
                  </a:lnTo>
                  <a:lnTo>
                    <a:pt x="8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6"/>
                  </a:lnTo>
                  <a:lnTo>
                    <a:pt x="92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0" y="40"/>
                  </a:lnTo>
                  <a:lnTo>
                    <a:pt x="104" y="40"/>
                  </a:lnTo>
                  <a:lnTo>
                    <a:pt x="108" y="44"/>
                  </a:lnTo>
                  <a:lnTo>
                    <a:pt x="112" y="48"/>
                  </a:lnTo>
                  <a:lnTo>
                    <a:pt x="112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8"/>
                  </a:lnTo>
                  <a:lnTo>
                    <a:pt x="120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52"/>
                  </a:lnTo>
                  <a:lnTo>
                    <a:pt x="116" y="52"/>
                  </a:lnTo>
                  <a:lnTo>
                    <a:pt x="120" y="56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16" y="64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0" y="72"/>
                  </a:lnTo>
                  <a:lnTo>
                    <a:pt x="100" y="72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96" y="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5" name="Freeform 122"/>
            <p:cNvSpPr>
              <a:spLocks/>
            </p:cNvSpPr>
            <p:nvPr>
              <p:custDataLst>
                <p:tags r:id="rId318"/>
              </p:custDataLst>
            </p:nvPr>
          </p:nvSpPr>
          <p:spPr bwMode="gray">
            <a:xfrm>
              <a:off x="5025643" y="4658243"/>
              <a:ext cx="41526" cy="57839"/>
            </a:xfrm>
            <a:custGeom>
              <a:avLst/>
              <a:gdLst/>
              <a:ahLst/>
              <a:cxnLst>
                <a:cxn ang="0">
                  <a:pos x="28" y="15"/>
                </a:cxn>
                <a:cxn ang="0">
                  <a:pos x="28" y="19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20" y="23"/>
                </a:cxn>
                <a:cxn ang="0">
                  <a:pos x="20" y="27"/>
                </a:cxn>
                <a:cxn ang="0">
                  <a:pos x="20" y="27"/>
                </a:cxn>
                <a:cxn ang="0">
                  <a:pos x="20" y="31"/>
                </a:cxn>
                <a:cxn ang="0">
                  <a:pos x="12" y="39"/>
                </a:cxn>
                <a:cxn ang="0">
                  <a:pos x="8" y="39"/>
                </a:cxn>
                <a:cxn ang="0">
                  <a:pos x="8" y="35"/>
                </a:cxn>
                <a:cxn ang="0">
                  <a:pos x="4" y="31"/>
                </a:cxn>
                <a:cxn ang="0">
                  <a:pos x="4" y="31"/>
                </a:cxn>
                <a:cxn ang="0">
                  <a:pos x="4" y="31"/>
                </a:cxn>
                <a:cxn ang="0">
                  <a:pos x="4" y="27"/>
                </a:cxn>
                <a:cxn ang="0">
                  <a:pos x="4" y="27"/>
                </a:cxn>
                <a:cxn ang="0">
                  <a:pos x="4" y="23"/>
                </a:cxn>
                <a:cxn ang="0">
                  <a:pos x="4" y="19"/>
                </a:cxn>
                <a:cxn ang="0">
                  <a:pos x="4" y="19"/>
                </a:cxn>
                <a:cxn ang="0">
                  <a:pos x="4" y="15"/>
                </a:cxn>
                <a:cxn ang="0">
                  <a:pos x="4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0" y="12"/>
                </a:cxn>
                <a:cxn ang="0">
                  <a:pos x="24" y="12"/>
                </a:cxn>
                <a:cxn ang="0">
                  <a:pos x="24" y="12"/>
                </a:cxn>
              </a:cxnLst>
              <a:rect l="0" t="0" r="r" b="b"/>
              <a:pathLst>
                <a:path w="28" h="39">
                  <a:moveTo>
                    <a:pt x="28" y="12"/>
                  </a:moveTo>
                  <a:lnTo>
                    <a:pt x="28" y="12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0" y="23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6" name="Freeform 123"/>
            <p:cNvSpPr>
              <a:spLocks/>
            </p:cNvSpPr>
            <p:nvPr>
              <p:custDataLst>
                <p:tags r:id="rId319"/>
              </p:custDataLst>
            </p:nvPr>
          </p:nvSpPr>
          <p:spPr bwMode="gray">
            <a:xfrm>
              <a:off x="4564410" y="4237053"/>
              <a:ext cx="177968" cy="314410"/>
            </a:xfrm>
            <a:custGeom>
              <a:avLst/>
              <a:gdLst/>
              <a:ahLst/>
              <a:cxnLst>
                <a:cxn ang="0">
                  <a:pos x="24" y="200"/>
                </a:cxn>
                <a:cxn ang="0">
                  <a:pos x="20" y="188"/>
                </a:cxn>
                <a:cxn ang="0">
                  <a:pos x="20" y="180"/>
                </a:cxn>
                <a:cxn ang="0">
                  <a:pos x="20" y="172"/>
                </a:cxn>
                <a:cxn ang="0">
                  <a:pos x="12" y="172"/>
                </a:cxn>
                <a:cxn ang="0">
                  <a:pos x="8" y="164"/>
                </a:cxn>
                <a:cxn ang="0">
                  <a:pos x="8" y="160"/>
                </a:cxn>
                <a:cxn ang="0">
                  <a:pos x="4" y="160"/>
                </a:cxn>
                <a:cxn ang="0">
                  <a:pos x="4" y="152"/>
                </a:cxn>
                <a:cxn ang="0">
                  <a:pos x="8" y="140"/>
                </a:cxn>
                <a:cxn ang="0">
                  <a:pos x="12" y="128"/>
                </a:cxn>
                <a:cxn ang="0">
                  <a:pos x="20" y="120"/>
                </a:cxn>
                <a:cxn ang="0">
                  <a:pos x="28" y="112"/>
                </a:cxn>
                <a:cxn ang="0">
                  <a:pos x="32" y="112"/>
                </a:cxn>
                <a:cxn ang="0">
                  <a:pos x="40" y="116"/>
                </a:cxn>
                <a:cxn ang="0">
                  <a:pos x="44" y="124"/>
                </a:cxn>
                <a:cxn ang="0">
                  <a:pos x="48" y="116"/>
                </a:cxn>
                <a:cxn ang="0">
                  <a:pos x="52" y="104"/>
                </a:cxn>
                <a:cxn ang="0">
                  <a:pos x="56" y="96"/>
                </a:cxn>
                <a:cxn ang="0">
                  <a:pos x="56" y="92"/>
                </a:cxn>
                <a:cxn ang="0">
                  <a:pos x="60" y="84"/>
                </a:cxn>
                <a:cxn ang="0">
                  <a:pos x="68" y="76"/>
                </a:cxn>
                <a:cxn ang="0">
                  <a:pos x="72" y="68"/>
                </a:cxn>
                <a:cxn ang="0">
                  <a:pos x="72" y="56"/>
                </a:cxn>
                <a:cxn ang="0">
                  <a:pos x="76" y="48"/>
                </a:cxn>
                <a:cxn ang="0">
                  <a:pos x="84" y="36"/>
                </a:cxn>
                <a:cxn ang="0">
                  <a:pos x="92" y="32"/>
                </a:cxn>
                <a:cxn ang="0">
                  <a:pos x="92" y="24"/>
                </a:cxn>
                <a:cxn ang="0">
                  <a:pos x="92" y="20"/>
                </a:cxn>
                <a:cxn ang="0">
                  <a:pos x="92" y="16"/>
                </a:cxn>
                <a:cxn ang="0">
                  <a:pos x="88" y="8"/>
                </a:cxn>
                <a:cxn ang="0">
                  <a:pos x="88" y="0"/>
                </a:cxn>
                <a:cxn ang="0">
                  <a:pos x="92" y="8"/>
                </a:cxn>
                <a:cxn ang="0">
                  <a:pos x="100" y="20"/>
                </a:cxn>
                <a:cxn ang="0">
                  <a:pos x="100" y="32"/>
                </a:cxn>
                <a:cxn ang="0">
                  <a:pos x="100" y="44"/>
                </a:cxn>
                <a:cxn ang="0">
                  <a:pos x="104" y="52"/>
                </a:cxn>
                <a:cxn ang="0">
                  <a:pos x="104" y="60"/>
                </a:cxn>
                <a:cxn ang="0">
                  <a:pos x="92" y="60"/>
                </a:cxn>
                <a:cxn ang="0">
                  <a:pos x="88" y="72"/>
                </a:cxn>
                <a:cxn ang="0">
                  <a:pos x="100" y="80"/>
                </a:cxn>
                <a:cxn ang="0">
                  <a:pos x="104" y="92"/>
                </a:cxn>
                <a:cxn ang="0">
                  <a:pos x="108" y="100"/>
                </a:cxn>
                <a:cxn ang="0">
                  <a:pos x="104" y="108"/>
                </a:cxn>
                <a:cxn ang="0">
                  <a:pos x="100" y="116"/>
                </a:cxn>
                <a:cxn ang="0">
                  <a:pos x="96" y="128"/>
                </a:cxn>
                <a:cxn ang="0">
                  <a:pos x="92" y="136"/>
                </a:cxn>
                <a:cxn ang="0">
                  <a:pos x="92" y="144"/>
                </a:cxn>
                <a:cxn ang="0">
                  <a:pos x="96" y="156"/>
                </a:cxn>
                <a:cxn ang="0">
                  <a:pos x="100" y="164"/>
                </a:cxn>
                <a:cxn ang="0">
                  <a:pos x="104" y="172"/>
                </a:cxn>
                <a:cxn ang="0">
                  <a:pos x="112" y="184"/>
                </a:cxn>
                <a:cxn ang="0">
                  <a:pos x="116" y="196"/>
                </a:cxn>
                <a:cxn ang="0">
                  <a:pos x="116" y="200"/>
                </a:cxn>
                <a:cxn ang="0">
                  <a:pos x="116" y="212"/>
                </a:cxn>
                <a:cxn ang="0">
                  <a:pos x="108" y="208"/>
                </a:cxn>
                <a:cxn ang="0">
                  <a:pos x="100" y="204"/>
                </a:cxn>
                <a:cxn ang="0">
                  <a:pos x="88" y="204"/>
                </a:cxn>
                <a:cxn ang="0">
                  <a:pos x="72" y="200"/>
                </a:cxn>
                <a:cxn ang="0">
                  <a:pos x="60" y="200"/>
                </a:cxn>
                <a:cxn ang="0">
                  <a:pos x="48" y="200"/>
                </a:cxn>
                <a:cxn ang="0">
                  <a:pos x="40" y="204"/>
                </a:cxn>
              </a:cxnLst>
              <a:rect l="0" t="0" r="r" b="b"/>
              <a:pathLst>
                <a:path w="120" h="212">
                  <a:moveTo>
                    <a:pt x="28" y="204"/>
                  </a:moveTo>
                  <a:lnTo>
                    <a:pt x="24" y="204"/>
                  </a:lnTo>
                  <a:lnTo>
                    <a:pt x="24" y="200"/>
                  </a:lnTo>
                  <a:lnTo>
                    <a:pt x="20" y="200"/>
                  </a:lnTo>
                  <a:lnTo>
                    <a:pt x="20" y="196"/>
                  </a:lnTo>
                  <a:lnTo>
                    <a:pt x="20" y="188"/>
                  </a:lnTo>
                  <a:lnTo>
                    <a:pt x="24" y="188"/>
                  </a:lnTo>
                  <a:lnTo>
                    <a:pt x="24" y="184"/>
                  </a:lnTo>
                  <a:lnTo>
                    <a:pt x="20" y="180"/>
                  </a:lnTo>
                  <a:lnTo>
                    <a:pt x="20" y="176"/>
                  </a:lnTo>
                  <a:lnTo>
                    <a:pt x="16" y="172"/>
                  </a:lnTo>
                  <a:lnTo>
                    <a:pt x="20" y="172"/>
                  </a:lnTo>
                  <a:lnTo>
                    <a:pt x="16" y="168"/>
                  </a:lnTo>
                  <a:lnTo>
                    <a:pt x="16" y="172"/>
                  </a:lnTo>
                  <a:lnTo>
                    <a:pt x="12" y="172"/>
                  </a:lnTo>
                  <a:lnTo>
                    <a:pt x="12" y="168"/>
                  </a:lnTo>
                  <a:lnTo>
                    <a:pt x="8" y="168"/>
                  </a:lnTo>
                  <a:lnTo>
                    <a:pt x="8" y="164"/>
                  </a:lnTo>
                  <a:lnTo>
                    <a:pt x="8" y="160"/>
                  </a:lnTo>
                  <a:lnTo>
                    <a:pt x="8" y="156"/>
                  </a:lnTo>
                  <a:lnTo>
                    <a:pt x="8" y="160"/>
                  </a:lnTo>
                  <a:lnTo>
                    <a:pt x="4" y="160"/>
                  </a:lnTo>
                  <a:lnTo>
                    <a:pt x="4" y="156"/>
                  </a:lnTo>
                  <a:lnTo>
                    <a:pt x="4" y="160"/>
                  </a:lnTo>
                  <a:lnTo>
                    <a:pt x="0" y="160"/>
                  </a:lnTo>
                  <a:lnTo>
                    <a:pt x="0" y="156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8" y="144"/>
                  </a:lnTo>
                  <a:lnTo>
                    <a:pt x="8" y="140"/>
                  </a:lnTo>
                  <a:lnTo>
                    <a:pt x="8" y="136"/>
                  </a:lnTo>
                  <a:lnTo>
                    <a:pt x="8" y="132"/>
                  </a:lnTo>
                  <a:lnTo>
                    <a:pt x="12" y="128"/>
                  </a:lnTo>
                  <a:lnTo>
                    <a:pt x="16" y="124"/>
                  </a:lnTo>
                  <a:lnTo>
                    <a:pt x="20" y="124"/>
                  </a:lnTo>
                  <a:lnTo>
                    <a:pt x="20" y="120"/>
                  </a:lnTo>
                  <a:lnTo>
                    <a:pt x="20" y="116"/>
                  </a:lnTo>
                  <a:lnTo>
                    <a:pt x="24" y="116"/>
                  </a:lnTo>
                  <a:lnTo>
                    <a:pt x="28" y="112"/>
                  </a:lnTo>
                  <a:lnTo>
                    <a:pt x="28" y="116"/>
                  </a:lnTo>
                  <a:lnTo>
                    <a:pt x="32" y="116"/>
                  </a:lnTo>
                  <a:lnTo>
                    <a:pt x="32" y="112"/>
                  </a:lnTo>
                  <a:lnTo>
                    <a:pt x="36" y="112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0" y="120"/>
                  </a:lnTo>
                  <a:lnTo>
                    <a:pt x="40" y="124"/>
                  </a:lnTo>
                  <a:lnTo>
                    <a:pt x="44" y="124"/>
                  </a:lnTo>
                  <a:lnTo>
                    <a:pt x="44" y="120"/>
                  </a:lnTo>
                  <a:lnTo>
                    <a:pt x="48" y="120"/>
                  </a:lnTo>
                  <a:lnTo>
                    <a:pt x="48" y="116"/>
                  </a:lnTo>
                  <a:lnTo>
                    <a:pt x="52" y="112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56" y="104"/>
                  </a:lnTo>
                  <a:lnTo>
                    <a:pt x="56" y="100"/>
                  </a:lnTo>
                  <a:lnTo>
                    <a:pt x="56" y="96"/>
                  </a:lnTo>
                  <a:lnTo>
                    <a:pt x="56" y="92"/>
                  </a:lnTo>
                  <a:lnTo>
                    <a:pt x="60" y="92"/>
                  </a:lnTo>
                  <a:lnTo>
                    <a:pt x="56" y="92"/>
                  </a:lnTo>
                  <a:lnTo>
                    <a:pt x="56" y="88"/>
                  </a:lnTo>
                  <a:lnTo>
                    <a:pt x="60" y="88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8" y="80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8" y="68"/>
                  </a:lnTo>
                  <a:lnTo>
                    <a:pt x="72" y="68"/>
                  </a:lnTo>
                  <a:lnTo>
                    <a:pt x="72" y="64"/>
                  </a:lnTo>
                  <a:lnTo>
                    <a:pt x="72" y="60"/>
                  </a:lnTo>
                  <a:lnTo>
                    <a:pt x="72" y="56"/>
                  </a:lnTo>
                  <a:lnTo>
                    <a:pt x="76" y="56"/>
                  </a:lnTo>
                  <a:lnTo>
                    <a:pt x="76" y="52"/>
                  </a:lnTo>
                  <a:lnTo>
                    <a:pt x="76" y="48"/>
                  </a:lnTo>
                  <a:lnTo>
                    <a:pt x="80" y="44"/>
                  </a:lnTo>
                  <a:lnTo>
                    <a:pt x="80" y="40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28"/>
                  </a:lnTo>
                  <a:lnTo>
                    <a:pt x="92" y="28"/>
                  </a:lnTo>
                  <a:lnTo>
                    <a:pt x="92" y="24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96" y="16"/>
                  </a:lnTo>
                  <a:lnTo>
                    <a:pt x="92" y="16"/>
                  </a:lnTo>
                  <a:lnTo>
                    <a:pt x="88" y="16"/>
                  </a:lnTo>
                  <a:lnTo>
                    <a:pt x="88" y="12"/>
                  </a:lnTo>
                  <a:lnTo>
                    <a:pt x="88" y="8"/>
                  </a:lnTo>
                  <a:lnTo>
                    <a:pt x="88" y="4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0" y="44"/>
                  </a:lnTo>
                  <a:lnTo>
                    <a:pt x="100" y="48"/>
                  </a:lnTo>
                  <a:lnTo>
                    <a:pt x="104" y="48"/>
                  </a:lnTo>
                  <a:lnTo>
                    <a:pt x="104" y="52"/>
                  </a:lnTo>
                  <a:lnTo>
                    <a:pt x="108" y="56"/>
                  </a:lnTo>
                  <a:lnTo>
                    <a:pt x="108" y="60"/>
                  </a:lnTo>
                  <a:lnTo>
                    <a:pt x="104" y="60"/>
                  </a:lnTo>
                  <a:lnTo>
                    <a:pt x="100" y="60"/>
                  </a:lnTo>
                  <a:lnTo>
                    <a:pt x="96" y="60"/>
                  </a:lnTo>
                  <a:lnTo>
                    <a:pt x="92" y="60"/>
                  </a:lnTo>
                  <a:lnTo>
                    <a:pt x="88" y="60"/>
                  </a:lnTo>
                  <a:lnTo>
                    <a:pt x="84" y="64"/>
                  </a:lnTo>
                  <a:lnTo>
                    <a:pt x="88" y="72"/>
                  </a:lnTo>
                  <a:lnTo>
                    <a:pt x="92" y="76"/>
                  </a:lnTo>
                  <a:lnTo>
                    <a:pt x="96" y="80"/>
                  </a:lnTo>
                  <a:lnTo>
                    <a:pt x="100" y="80"/>
                  </a:lnTo>
                  <a:lnTo>
                    <a:pt x="100" y="84"/>
                  </a:lnTo>
                  <a:lnTo>
                    <a:pt x="104" y="88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8" y="96"/>
                  </a:lnTo>
                  <a:lnTo>
                    <a:pt x="108" y="100"/>
                  </a:lnTo>
                  <a:lnTo>
                    <a:pt x="108" y="104"/>
                  </a:lnTo>
                  <a:lnTo>
                    <a:pt x="108" y="108"/>
                  </a:lnTo>
                  <a:lnTo>
                    <a:pt x="104" y="108"/>
                  </a:lnTo>
                  <a:lnTo>
                    <a:pt x="104" y="112"/>
                  </a:lnTo>
                  <a:lnTo>
                    <a:pt x="100" y="112"/>
                  </a:lnTo>
                  <a:lnTo>
                    <a:pt x="100" y="116"/>
                  </a:lnTo>
                  <a:lnTo>
                    <a:pt x="100" y="120"/>
                  </a:lnTo>
                  <a:lnTo>
                    <a:pt x="96" y="124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2" y="132"/>
                  </a:lnTo>
                  <a:lnTo>
                    <a:pt x="92" y="136"/>
                  </a:lnTo>
                  <a:lnTo>
                    <a:pt x="96" y="136"/>
                  </a:lnTo>
                  <a:lnTo>
                    <a:pt x="92" y="140"/>
                  </a:lnTo>
                  <a:lnTo>
                    <a:pt x="92" y="144"/>
                  </a:lnTo>
                  <a:lnTo>
                    <a:pt x="96" y="148"/>
                  </a:lnTo>
                  <a:lnTo>
                    <a:pt x="96" y="152"/>
                  </a:lnTo>
                  <a:lnTo>
                    <a:pt x="96" y="156"/>
                  </a:lnTo>
                  <a:lnTo>
                    <a:pt x="96" y="160"/>
                  </a:lnTo>
                  <a:lnTo>
                    <a:pt x="100" y="160"/>
                  </a:lnTo>
                  <a:lnTo>
                    <a:pt x="100" y="164"/>
                  </a:lnTo>
                  <a:lnTo>
                    <a:pt x="100" y="168"/>
                  </a:lnTo>
                  <a:lnTo>
                    <a:pt x="100" y="172"/>
                  </a:lnTo>
                  <a:lnTo>
                    <a:pt x="104" y="172"/>
                  </a:lnTo>
                  <a:lnTo>
                    <a:pt x="104" y="176"/>
                  </a:lnTo>
                  <a:lnTo>
                    <a:pt x="108" y="180"/>
                  </a:lnTo>
                  <a:lnTo>
                    <a:pt x="112" y="184"/>
                  </a:lnTo>
                  <a:lnTo>
                    <a:pt x="116" y="188"/>
                  </a:lnTo>
                  <a:lnTo>
                    <a:pt x="116" y="192"/>
                  </a:lnTo>
                  <a:lnTo>
                    <a:pt x="116" y="196"/>
                  </a:lnTo>
                  <a:lnTo>
                    <a:pt x="116" y="200"/>
                  </a:lnTo>
                  <a:lnTo>
                    <a:pt x="120" y="200"/>
                  </a:lnTo>
                  <a:lnTo>
                    <a:pt x="116" y="200"/>
                  </a:lnTo>
                  <a:lnTo>
                    <a:pt x="116" y="204"/>
                  </a:lnTo>
                  <a:lnTo>
                    <a:pt x="116" y="208"/>
                  </a:lnTo>
                  <a:lnTo>
                    <a:pt x="116" y="212"/>
                  </a:lnTo>
                  <a:lnTo>
                    <a:pt x="116" y="208"/>
                  </a:lnTo>
                  <a:lnTo>
                    <a:pt x="112" y="208"/>
                  </a:lnTo>
                  <a:lnTo>
                    <a:pt x="108" y="208"/>
                  </a:lnTo>
                  <a:lnTo>
                    <a:pt x="108" y="204"/>
                  </a:lnTo>
                  <a:lnTo>
                    <a:pt x="104" y="204"/>
                  </a:lnTo>
                  <a:lnTo>
                    <a:pt x="100" y="204"/>
                  </a:lnTo>
                  <a:lnTo>
                    <a:pt x="96" y="204"/>
                  </a:lnTo>
                  <a:lnTo>
                    <a:pt x="92" y="204"/>
                  </a:lnTo>
                  <a:lnTo>
                    <a:pt x="88" y="204"/>
                  </a:lnTo>
                  <a:lnTo>
                    <a:pt x="80" y="204"/>
                  </a:lnTo>
                  <a:lnTo>
                    <a:pt x="72" y="204"/>
                  </a:lnTo>
                  <a:lnTo>
                    <a:pt x="72" y="200"/>
                  </a:lnTo>
                  <a:lnTo>
                    <a:pt x="68" y="200"/>
                  </a:lnTo>
                  <a:lnTo>
                    <a:pt x="64" y="200"/>
                  </a:lnTo>
                  <a:lnTo>
                    <a:pt x="60" y="200"/>
                  </a:lnTo>
                  <a:lnTo>
                    <a:pt x="56" y="200"/>
                  </a:lnTo>
                  <a:lnTo>
                    <a:pt x="52" y="200"/>
                  </a:lnTo>
                  <a:lnTo>
                    <a:pt x="48" y="200"/>
                  </a:lnTo>
                  <a:lnTo>
                    <a:pt x="44" y="200"/>
                  </a:lnTo>
                  <a:lnTo>
                    <a:pt x="44" y="204"/>
                  </a:lnTo>
                  <a:lnTo>
                    <a:pt x="40" y="204"/>
                  </a:lnTo>
                  <a:lnTo>
                    <a:pt x="32" y="204"/>
                  </a:lnTo>
                  <a:lnTo>
                    <a:pt x="28" y="20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7" name="Freeform 124"/>
            <p:cNvSpPr>
              <a:spLocks noEditPoints="1"/>
            </p:cNvSpPr>
            <p:nvPr>
              <p:custDataLst>
                <p:tags r:id="rId320"/>
              </p:custDataLst>
            </p:nvPr>
          </p:nvSpPr>
          <p:spPr bwMode="gray">
            <a:xfrm>
              <a:off x="3808048" y="4124340"/>
              <a:ext cx="59323" cy="65255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8" y="8"/>
                </a:cxn>
                <a:cxn ang="0">
                  <a:pos x="4" y="8"/>
                </a:cxn>
                <a:cxn ang="0">
                  <a:pos x="36" y="12"/>
                </a:cxn>
                <a:cxn ang="0">
                  <a:pos x="36" y="8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36" y="24"/>
                </a:cxn>
                <a:cxn ang="0">
                  <a:pos x="36" y="20"/>
                </a:cxn>
                <a:cxn ang="0">
                  <a:pos x="40" y="20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32" y="40"/>
                </a:cxn>
                <a:cxn ang="0">
                  <a:pos x="32" y="40"/>
                </a:cxn>
                <a:cxn ang="0">
                  <a:pos x="32" y="36"/>
                </a:cxn>
                <a:cxn ang="0">
                  <a:pos x="32" y="40"/>
                </a:cxn>
                <a:cxn ang="0">
                  <a:pos x="32" y="40"/>
                </a:cxn>
                <a:cxn ang="0">
                  <a:pos x="24" y="44"/>
                </a:cxn>
                <a:cxn ang="0">
                  <a:pos x="24" y="40"/>
                </a:cxn>
                <a:cxn ang="0">
                  <a:pos x="24" y="40"/>
                </a:cxn>
                <a:cxn ang="0">
                  <a:pos x="24" y="36"/>
                </a:cxn>
                <a:cxn ang="0">
                  <a:pos x="28" y="40"/>
                </a:cxn>
                <a:cxn ang="0">
                  <a:pos x="28" y="40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16" y="40"/>
                </a:cxn>
                <a:cxn ang="0">
                  <a:pos x="16" y="44"/>
                </a:cxn>
                <a:cxn ang="0">
                  <a:pos x="16" y="44"/>
                </a:cxn>
                <a:cxn ang="0">
                  <a:pos x="16" y="44"/>
                </a:cxn>
              </a:cxnLst>
              <a:rect l="0" t="0" r="r" b="b"/>
              <a:pathLst>
                <a:path w="40" h="44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close/>
                  <a:moveTo>
                    <a:pt x="36" y="12"/>
                  </a:moveTo>
                  <a:lnTo>
                    <a:pt x="36" y="12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close/>
                  <a:moveTo>
                    <a:pt x="16" y="12"/>
                  </a:move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close/>
                  <a:moveTo>
                    <a:pt x="36" y="24"/>
                  </a:move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36" y="24"/>
                  </a:lnTo>
                  <a:close/>
                  <a:moveTo>
                    <a:pt x="32" y="40"/>
                  </a:move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close/>
                  <a:moveTo>
                    <a:pt x="28" y="44"/>
                  </a:move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4"/>
                  </a:lnTo>
                  <a:close/>
                  <a:moveTo>
                    <a:pt x="12" y="44"/>
                  </a:move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8" name="Freeform 125"/>
            <p:cNvSpPr>
              <a:spLocks/>
            </p:cNvSpPr>
            <p:nvPr>
              <p:custDataLst>
                <p:tags r:id="rId321"/>
              </p:custDataLst>
            </p:nvPr>
          </p:nvSpPr>
          <p:spPr bwMode="gray">
            <a:xfrm>
              <a:off x="4700852" y="4296376"/>
              <a:ext cx="290681" cy="237290"/>
            </a:xfrm>
            <a:custGeom>
              <a:avLst/>
              <a:gdLst/>
              <a:ahLst/>
              <a:cxnLst>
                <a:cxn ang="0">
                  <a:pos x="88" y="112"/>
                </a:cxn>
                <a:cxn ang="0">
                  <a:pos x="76" y="108"/>
                </a:cxn>
                <a:cxn ang="0">
                  <a:pos x="64" y="120"/>
                </a:cxn>
                <a:cxn ang="0">
                  <a:pos x="64" y="124"/>
                </a:cxn>
                <a:cxn ang="0">
                  <a:pos x="64" y="140"/>
                </a:cxn>
                <a:cxn ang="0">
                  <a:pos x="56" y="140"/>
                </a:cxn>
                <a:cxn ang="0">
                  <a:pos x="44" y="136"/>
                </a:cxn>
                <a:cxn ang="0">
                  <a:pos x="36" y="136"/>
                </a:cxn>
                <a:cxn ang="0">
                  <a:pos x="28" y="148"/>
                </a:cxn>
                <a:cxn ang="0">
                  <a:pos x="28" y="156"/>
                </a:cxn>
                <a:cxn ang="0">
                  <a:pos x="24" y="152"/>
                </a:cxn>
                <a:cxn ang="0">
                  <a:pos x="12" y="136"/>
                </a:cxn>
                <a:cxn ang="0">
                  <a:pos x="8" y="124"/>
                </a:cxn>
                <a:cxn ang="0">
                  <a:pos x="4" y="112"/>
                </a:cxn>
                <a:cxn ang="0">
                  <a:pos x="4" y="96"/>
                </a:cxn>
                <a:cxn ang="0">
                  <a:pos x="4" y="88"/>
                </a:cxn>
                <a:cxn ang="0">
                  <a:pos x="8" y="72"/>
                </a:cxn>
                <a:cxn ang="0">
                  <a:pos x="16" y="64"/>
                </a:cxn>
                <a:cxn ang="0">
                  <a:pos x="28" y="60"/>
                </a:cxn>
                <a:cxn ang="0">
                  <a:pos x="36" y="60"/>
                </a:cxn>
                <a:cxn ang="0">
                  <a:pos x="52" y="56"/>
                </a:cxn>
                <a:cxn ang="0">
                  <a:pos x="64" y="52"/>
                </a:cxn>
                <a:cxn ang="0">
                  <a:pos x="72" y="44"/>
                </a:cxn>
                <a:cxn ang="0">
                  <a:pos x="76" y="36"/>
                </a:cxn>
                <a:cxn ang="0">
                  <a:pos x="92" y="36"/>
                </a:cxn>
                <a:cxn ang="0">
                  <a:pos x="104" y="20"/>
                </a:cxn>
                <a:cxn ang="0">
                  <a:pos x="112" y="12"/>
                </a:cxn>
                <a:cxn ang="0">
                  <a:pos x="116" y="4"/>
                </a:cxn>
                <a:cxn ang="0">
                  <a:pos x="128" y="0"/>
                </a:cxn>
                <a:cxn ang="0">
                  <a:pos x="136" y="16"/>
                </a:cxn>
                <a:cxn ang="0">
                  <a:pos x="140" y="32"/>
                </a:cxn>
                <a:cxn ang="0">
                  <a:pos x="136" y="44"/>
                </a:cxn>
                <a:cxn ang="0">
                  <a:pos x="144" y="44"/>
                </a:cxn>
                <a:cxn ang="0">
                  <a:pos x="152" y="52"/>
                </a:cxn>
                <a:cxn ang="0">
                  <a:pos x="164" y="56"/>
                </a:cxn>
                <a:cxn ang="0">
                  <a:pos x="168" y="68"/>
                </a:cxn>
                <a:cxn ang="0">
                  <a:pos x="180" y="80"/>
                </a:cxn>
                <a:cxn ang="0">
                  <a:pos x="180" y="88"/>
                </a:cxn>
                <a:cxn ang="0">
                  <a:pos x="188" y="96"/>
                </a:cxn>
                <a:cxn ang="0">
                  <a:pos x="192" y="100"/>
                </a:cxn>
                <a:cxn ang="0">
                  <a:pos x="196" y="112"/>
                </a:cxn>
                <a:cxn ang="0">
                  <a:pos x="184" y="108"/>
                </a:cxn>
                <a:cxn ang="0">
                  <a:pos x="176" y="108"/>
                </a:cxn>
                <a:cxn ang="0">
                  <a:pos x="164" y="104"/>
                </a:cxn>
                <a:cxn ang="0">
                  <a:pos x="156" y="112"/>
                </a:cxn>
                <a:cxn ang="0">
                  <a:pos x="148" y="112"/>
                </a:cxn>
                <a:cxn ang="0">
                  <a:pos x="132" y="116"/>
                </a:cxn>
                <a:cxn ang="0">
                  <a:pos x="124" y="116"/>
                </a:cxn>
                <a:cxn ang="0">
                  <a:pos x="120" y="128"/>
                </a:cxn>
                <a:cxn ang="0">
                  <a:pos x="108" y="124"/>
                </a:cxn>
                <a:cxn ang="0">
                  <a:pos x="92" y="120"/>
                </a:cxn>
              </a:cxnLst>
              <a:rect l="0" t="0" r="r" b="b"/>
              <a:pathLst>
                <a:path w="196" h="160">
                  <a:moveTo>
                    <a:pt x="92" y="120"/>
                  </a:moveTo>
                  <a:lnTo>
                    <a:pt x="92" y="116"/>
                  </a:lnTo>
                  <a:lnTo>
                    <a:pt x="88" y="116"/>
                  </a:lnTo>
                  <a:lnTo>
                    <a:pt x="88" y="112"/>
                  </a:lnTo>
                  <a:lnTo>
                    <a:pt x="84" y="112"/>
                  </a:lnTo>
                  <a:lnTo>
                    <a:pt x="80" y="112"/>
                  </a:lnTo>
                  <a:lnTo>
                    <a:pt x="80" y="108"/>
                  </a:lnTo>
                  <a:lnTo>
                    <a:pt x="76" y="108"/>
                  </a:lnTo>
                  <a:lnTo>
                    <a:pt x="72" y="112"/>
                  </a:lnTo>
                  <a:lnTo>
                    <a:pt x="68" y="112"/>
                  </a:lnTo>
                  <a:lnTo>
                    <a:pt x="68" y="116"/>
                  </a:lnTo>
                  <a:lnTo>
                    <a:pt x="64" y="120"/>
                  </a:lnTo>
                  <a:lnTo>
                    <a:pt x="64" y="124"/>
                  </a:lnTo>
                  <a:lnTo>
                    <a:pt x="64" y="120"/>
                  </a:lnTo>
                  <a:lnTo>
                    <a:pt x="60" y="124"/>
                  </a:lnTo>
                  <a:lnTo>
                    <a:pt x="64" y="124"/>
                  </a:lnTo>
                  <a:lnTo>
                    <a:pt x="64" y="128"/>
                  </a:lnTo>
                  <a:lnTo>
                    <a:pt x="64" y="132"/>
                  </a:lnTo>
                  <a:lnTo>
                    <a:pt x="64" y="136"/>
                  </a:lnTo>
                  <a:lnTo>
                    <a:pt x="64" y="140"/>
                  </a:lnTo>
                  <a:lnTo>
                    <a:pt x="64" y="136"/>
                  </a:lnTo>
                  <a:lnTo>
                    <a:pt x="60" y="136"/>
                  </a:lnTo>
                  <a:lnTo>
                    <a:pt x="56" y="136"/>
                  </a:lnTo>
                  <a:lnTo>
                    <a:pt x="56" y="140"/>
                  </a:lnTo>
                  <a:lnTo>
                    <a:pt x="56" y="136"/>
                  </a:lnTo>
                  <a:lnTo>
                    <a:pt x="52" y="136"/>
                  </a:lnTo>
                  <a:lnTo>
                    <a:pt x="48" y="136"/>
                  </a:lnTo>
                  <a:lnTo>
                    <a:pt x="44" y="136"/>
                  </a:lnTo>
                  <a:lnTo>
                    <a:pt x="44" y="132"/>
                  </a:lnTo>
                  <a:lnTo>
                    <a:pt x="44" y="136"/>
                  </a:lnTo>
                  <a:lnTo>
                    <a:pt x="40" y="136"/>
                  </a:lnTo>
                  <a:lnTo>
                    <a:pt x="36" y="136"/>
                  </a:lnTo>
                  <a:lnTo>
                    <a:pt x="32" y="136"/>
                  </a:lnTo>
                  <a:lnTo>
                    <a:pt x="32" y="140"/>
                  </a:lnTo>
                  <a:lnTo>
                    <a:pt x="32" y="144"/>
                  </a:lnTo>
                  <a:lnTo>
                    <a:pt x="28" y="148"/>
                  </a:lnTo>
                  <a:lnTo>
                    <a:pt x="32" y="148"/>
                  </a:lnTo>
                  <a:lnTo>
                    <a:pt x="32" y="152"/>
                  </a:lnTo>
                  <a:lnTo>
                    <a:pt x="28" y="152"/>
                  </a:lnTo>
                  <a:lnTo>
                    <a:pt x="28" y="156"/>
                  </a:lnTo>
                  <a:lnTo>
                    <a:pt x="28" y="160"/>
                  </a:lnTo>
                  <a:lnTo>
                    <a:pt x="24" y="160"/>
                  </a:lnTo>
                  <a:lnTo>
                    <a:pt x="24" y="156"/>
                  </a:lnTo>
                  <a:lnTo>
                    <a:pt x="24" y="152"/>
                  </a:lnTo>
                  <a:lnTo>
                    <a:pt x="24" y="148"/>
                  </a:lnTo>
                  <a:lnTo>
                    <a:pt x="20" y="144"/>
                  </a:lnTo>
                  <a:lnTo>
                    <a:pt x="16" y="140"/>
                  </a:lnTo>
                  <a:lnTo>
                    <a:pt x="12" y="136"/>
                  </a:lnTo>
                  <a:lnTo>
                    <a:pt x="12" y="132"/>
                  </a:lnTo>
                  <a:lnTo>
                    <a:pt x="8" y="132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8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4" y="96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8" y="64"/>
                  </a:lnTo>
                  <a:lnTo>
                    <a:pt x="28" y="60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4" y="56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6" y="56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52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72" y="44"/>
                  </a:lnTo>
                  <a:lnTo>
                    <a:pt x="68" y="40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96" y="28"/>
                  </a:lnTo>
                  <a:lnTo>
                    <a:pt x="100" y="24"/>
                  </a:lnTo>
                  <a:lnTo>
                    <a:pt x="104" y="20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08" y="12"/>
                  </a:lnTo>
                  <a:lnTo>
                    <a:pt x="108" y="8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0"/>
                  </a:lnTo>
                  <a:lnTo>
                    <a:pt x="120" y="0"/>
                  </a:lnTo>
                  <a:lnTo>
                    <a:pt x="124" y="0"/>
                  </a:lnTo>
                  <a:lnTo>
                    <a:pt x="128" y="0"/>
                  </a:lnTo>
                  <a:lnTo>
                    <a:pt x="128" y="4"/>
                  </a:lnTo>
                  <a:lnTo>
                    <a:pt x="132" y="8"/>
                  </a:lnTo>
                  <a:lnTo>
                    <a:pt x="136" y="12"/>
                  </a:lnTo>
                  <a:lnTo>
                    <a:pt x="136" y="16"/>
                  </a:lnTo>
                  <a:lnTo>
                    <a:pt x="140" y="20"/>
                  </a:lnTo>
                  <a:lnTo>
                    <a:pt x="140" y="24"/>
                  </a:lnTo>
                  <a:lnTo>
                    <a:pt x="140" y="28"/>
                  </a:lnTo>
                  <a:lnTo>
                    <a:pt x="140" y="32"/>
                  </a:lnTo>
                  <a:lnTo>
                    <a:pt x="136" y="32"/>
                  </a:lnTo>
                  <a:lnTo>
                    <a:pt x="136" y="36"/>
                  </a:lnTo>
                  <a:lnTo>
                    <a:pt x="136" y="40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0" y="40"/>
                  </a:lnTo>
                  <a:lnTo>
                    <a:pt x="144" y="40"/>
                  </a:lnTo>
                  <a:lnTo>
                    <a:pt x="144" y="44"/>
                  </a:lnTo>
                  <a:lnTo>
                    <a:pt x="148" y="44"/>
                  </a:lnTo>
                  <a:lnTo>
                    <a:pt x="148" y="48"/>
                  </a:lnTo>
                  <a:lnTo>
                    <a:pt x="148" y="52"/>
                  </a:lnTo>
                  <a:lnTo>
                    <a:pt x="152" y="52"/>
                  </a:lnTo>
                  <a:lnTo>
                    <a:pt x="156" y="52"/>
                  </a:lnTo>
                  <a:lnTo>
                    <a:pt x="160" y="52"/>
                  </a:lnTo>
                  <a:lnTo>
                    <a:pt x="160" y="56"/>
                  </a:lnTo>
                  <a:lnTo>
                    <a:pt x="164" y="56"/>
                  </a:lnTo>
                  <a:lnTo>
                    <a:pt x="164" y="60"/>
                  </a:lnTo>
                  <a:lnTo>
                    <a:pt x="164" y="64"/>
                  </a:lnTo>
                  <a:lnTo>
                    <a:pt x="164" y="68"/>
                  </a:lnTo>
                  <a:lnTo>
                    <a:pt x="168" y="68"/>
                  </a:lnTo>
                  <a:lnTo>
                    <a:pt x="172" y="72"/>
                  </a:lnTo>
                  <a:lnTo>
                    <a:pt x="176" y="72"/>
                  </a:lnTo>
                  <a:lnTo>
                    <a:pt x="176" y="76"/>
                  </a:lnTo>
                  <a:lnTo>
                    <a:pt x="180" y="80"/>
                  </a:lnTo>
                  <a:lnTo>
                    <a:pt x="180" y="84"/>
                  </a:lnTo>
                  <a:lnTo>
                    <a:pt x="180" y="88"/>
                  </a:lnTo>
                  <a:lnTo>
                    <a:pt x="184" y="88"/>
                  </a:lnTo>
                  <a:lnTo>
                    <a:pt x="180" y="88"/>
                  </a:lnTo>
                  <a:lnTo>
                    <a:pt x="180" y="92"/>
                  </a:lnTo>
                  <a:lnTo>
                    <a:pt x="184" y="92"/>
                  </a:lnTo>
                  <a:lnTo>
                    <a:pt x="188" y="92"/>
                  </a:lnTo>
                  <a:lnTo>
                    <a:pt x="188" y="96"/>
                  </a:lnTo>
                  <a:lnTo>
                    <a:pt x="192" y="96"/>
                  </a:lnTo>
                  <a:lnTo>
                    <a:pt x="192" y="100"/>
                  </a:lnTo>
                  <a:lnTo>
                    <a:pt x="196" y="100"/>
                  </a:lnTo>
                  <a:lnTo>
                    <a:pt x="192" y="100"/>
                  </a:lnTo>
                  <a:lnTo>
                    <a:pt x="192" y="104"/>
                  </a:lnTo>
                  <a:lnTo>
                    <a:pt x="196" y="104"/>
                  </a:lnTo>
                  <a:lnTo>
                    <a:pt x="196" y="108"/>
                  </a:lnTo>
                  <a:lnTo>
                    <a:pt x="196" y="112"/>
                  </a:lnTo>
                  <a:lnTo>
                    <a:pt x="196" y="108"/>
                  </a:lnTo>
                  <a:lnTo>
                    <a:pt x="192" y="108"/>
                  </a:lnTo>
                  <a:lnTo>
                    <a:pt x="188" y="108"/>
                  </a:lnTo>
                  <a:lnTo>
                    <a:pt x="184" y="108"/>
                  </a:lnTo>
                  <a:lnTo>
                    <a:pt x="180" y="108"/>
                  </a:lnTo>
                  <a:lnTo>
                    <a:pt x="176" y="108"/>
                  </a:lnTo>
                  <a:lnTo>
                    <a:pt x="176" y="104"/>
                  </a:lnTo>
                  <a:lnTo>
                    <a:pt x="176" y="108"/>
                  </a:lnTo>
                  <a:lnTo>
                    <a:pt x="172" y="108"/>
                  </a:lnTo>
                  <a:lnTo>
                    <a:pt x="172" y="104"/>
                  </a:lnTo>
                  <a:lnTo>
                    <a:pt x="168" y="104"/>
                  </a:lnTo>
                  <a:lnTo>
                    <a:pt x="164" y="104"/>
                  </a:lnTo>
                  <a:lnTo>
                    <a:pt x="164" y="108"/>
                  </a:lnTo>
                  <a:lnTo>
                    <a:pt x="164" y="112"/>
                  </a:lnTo>
                  <a:lnTo>
                    <a:pt x="160" y="112"/>
                  </a:lnTo>
                  <a:lnTo>
                    <a:pt x="156" y="112"/>
                  </a:lnTo>
                  <a:lnTo>
                    <a:pt x="152" y="108"/>
                  </a:lnTo>
                  <a:lnTo>
                    <a:pt x="148" y="108"/>
                  </a:lnTo>
                  <a:lnTo>
                    <a:pt x="152" y="108"/>
                  </a:lnTo>
                  <a:lnTo>
                    <a:pt x="148" y="112"/>
                  </a:lnTo>
                  <a:lnTo>
                    <a:pt x="144" y="112"/>
                  </a:lnTo>
                  <a:lnTo>
                    <a:pt x="140" y="112"/>
                  </a:lnTo>
                  <a:lnTo>
                    <a:pt x="136" y="116"/>
                  </a:lnTo>
                  <a:lnTo>
                    <a:pt x="132" y="116"/>
                  </a:lnTo>
                  <a:lnTo>
                    <a:pt x="128" y="116"/>
                  </a:lnTo>
                  <a:lnTo>
                    <a:pt x="128" y="112"/>
                  </a:lnTo>
                  <a:lnTo>
                    <a:pt x="128" y="116"/>
                  </a:lnTo>
                  <a:lnTo>
                    <a:pt x="124" y="116"/>
                  </a:lnTo>
                  <a:lnTo>
                    <a:pt x="124" y="120"/>
                  </a:lnTo>
                  <a:lnTo>
                    <a:pt x="124" y="124"/>
                  </a:lnTo>
                  <a:lnTo>
                    <a:pt x="120" y="124"/>
                  </a:lnTo>
                  <a:lnTo>
                    <a:pt x="120" y="128"/>
                  </a:lnTo>
                  <a:lnTo>
                    <a:pt x="116" y="128"/>
                  </a:lnTo>
                  <a:lnTo>
                    <a:pt x="116" y="124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0" y="124"/>
                  </a:lnTo>
                  <a:lnTo>
                    <a:pt x="100" y="120"/>
                  </a:lnTo>
                  <a:lnTo>
                    <a:pt x="96" y="120"/>
                  </a:lnTo>
                  <a:lnTo>
                    <a:pt x="92" y="1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29" name="Freeform 126"/>
            <p:cNvSpPr>
              <a:spLocks/>
            </p:cNvSpPr>
            <p:nvPr>
              <p:custDataLst>
                <p:tags r:id="rId322"/>
              </p:custDataLst>
            </p:nvPr>
          </p:nvSpPr>
          <p:spPr bwMode="gray">
            <a:xfrm>
              <a:off x="4677123" y="3953787"/>
              <a:ext cx="237290" cy="437503"/>
            </a:xfrm>
            <a:custGeom>
              <a:avLst/>
              <a:gdLst/>
              <a:ahLst/>
              <a:cxnLst>
                <a:cxn ang="0">
                  <a:pos x="24" y="251"/>
                </a:cxn>
                <a:cxn ang="0">
                  <a:pos x="32" y="251"/>
                </a:cxn>
                <a:cxn ang="0">
                  <a:pos x="28" y="243"/>
                </a:cxn>
                <a:cxn ang="0">
                  <a:pos x="24" y="235"/>
                </a:cxn>
                <a:cxn ang="0">
                  <a:pos x="24" y="223"/>
                </a:cxn>
                <a:cxn ang="0">
                  <a:pos x="24" y="211"/>
                </a:cxn>
                <a:cxn ang="0">
                  <a:pos x="16" y="199"/>
                </a:cxn>
                <a:cxn ang="0">
                  <a:pos x="16" y="191"/>
                </a:cxn>
                <a:cxn ang="0">
                  <a:pos x="0" y="175"/>
                </a:cxn>
                <a:cxn ang="0">
                  <a:pos x="4" y="167"/>
                </a:cxn>
                <a:cxn ang="0">
                  <a:pos x="4" y="159"/>
                </a:cxn>
                <a:cxn ang="0">
                  <a:pos x="16" y="139"/>
                </a:cxn>
                <a:cxn ang="0">
                  <a:pos x="32" y="119"/>
                </a:cxn>
                <a:cxn ang="0">
                  <a:pos x="36" y="71"/>
                </a:cxn>
                <a:cxn ang="0">
                  <a:pos x="32" y="52"/>
                </a:cxn>
                <a:cxn ang="0">
                  <a:pos x="32" y="44"/>
                </a:cxn>
                <a:cxn ang="0">
                  <a:pos x="28" y="28"/>
                </a:cxn>
                <a:cxn ang="0">
                  <a:pos x="40" y="0"/>
                </a:cxn>
                <a:cxn ang="0">
                  <a:pos x="84" y="24"/>
                </a:cxn>
                <a:cxn ang="0">
                  <a:pos x="144" y="63"/>
                </a:cxn>
                <a:cxn ang="0">
                  <a:pos x="160" y="95"/>
                </a:cxn>
                <a:cxn ang="0">
                  <a:pos x="156" y="143"/>
                </a:cxn>
                <a:cxn ang="0">
                  <a:pos x="152" y="143"/>
                </a:cxn>
                <a:cxn ang="0">
                  <a:pos x="148" y="143"/>
                </a:cxn>
                <a:cxn ang="0">
                  <a:pos x="144" y="151"/>
                </a:cxn>
                <a:cxn ang="0">
                  <a:pos x="144" y="155"/>
                </a:cxn>
                <a:cxn ang="0">
                  <a:pos x="136" y="163"/>
                </a:cxn>
                <a:cxn ang="0">
                  <a:pos x="136" y="171"/>
                </a:cxn>
                <a:cxn ang="0">
                  <a:pos x="132" y="175"/>
                </a:cxn>
                <a:cxn ang="0">
                  <a:pos x="132" y="191"/>
                </a:cxn>
                <a:cxn ang="0">
                  <a:pos x="128" y="199"/>
                </a:cxn>
                <a:cxn ang="0">
                  <a:pos x="132" y="199"/>
                </a:cxn>
                <a:cxn ang="0">
                  <a:pos x="140" y="211"/>
                </a:cxn>
                <a:cxn ang="0">
                  <a:pos x="140" y="219"/>
                </a:cxn>
                <a:cxn ang="0">
                  <a:pos x="144" y="231"/>
                </a:cxn>
                <a:cxn ang="0">
                  <a:pos x="132" y="235"/>
                </a:cxn>
                <a:cxn ang="0">
                  <a:pos x="124" y="239"/>
                </a:cxn>
                <a:cxn ang="0">
                  <a:pos x="124" y="247"/>
                </a:cxn>
                <a:cxn ang="0">
                  <a:pos x="120" y="251"/>
                </a:cxn>
                <a:cxn ang="0">
                  <a:pos x="112" y="259"/>
                </a:cxn>
                <a:cxn ang="0">
                  <a:pos x="108" y="263"/>
                </a:cxn>
                <a:cxn ang="0">
                  <a:pos x="100" y="267"/>
                </a:cxn>
                <a:cxn ang="0">
                  <a:pos x="84" y="267"/>
                </a:cxn>
                <a:cxn ang="0">
                  <a:pos x="84" y="271"/>
                </a:cxn>
                <a:cxn ang="0">
                  <a:pos x="84" y="279"/>
                </a:cxn>
                <a:cxn ang="0">
                  <a:pos x="80" y="283"/>
                </a:cxn>
                <a:cxn ang="0">
                  <a:pos x="68" y="287"/>
                </a:cxn>
                <a:cxn ang="0">
                  <a:pos x="60" y="287"/>
                </a:cxn>
                <a:cxn ang="0">
                  <a:pos x="52" y="295"/>
                </a:cxn>
                <a:cxn ang="0">
                  <a:pos x="48" y="287"/>
                </a:cxn>
                <a:cxn ang="0">
                  <a:pos x="40" y="295"/>
                </a:cxn>
                <a:cxn ang="0">
                  <a:pos x="36" y="295"/>
                </a:cxn>
                <a:cxn ang="0">
                  <a:pos x="32" y="295"/>
                </a:cxn>
                <a:cxn ang="0">
                  <a:pos x="32" y="291"/>
                </a:cxn>
                <a:cxn ang="0">
                  <a:pos x="28" y="283"/>
                </a:cxn>
                <a:cxn ang="0">
                  <a:pos x="20" y="271"/>
                </a:cxn>
                <a:cxn ang="0">
                  <a:pos x="8" y="255"/>
                </a:cxn>
                <a:cxn ang="0">
                  <a:pos x="12" y="251"/>
                </a:cxn>
              </a:cxnLst>
              <a:rect l="0" t="0" r="r" b="b"/>
              <a:pathLst>
                <a:path w="160" h="295">
                  <a:moveTo>
                    <a:pt x="12" y="251"/>
                  </a:moveTo>
                  <a:lnTo>
                    <a:pt x="16" y="251"/>
                  </a:lnTo>
                  <a:lnTo>
                    <a:pt x="16" y="251"/>
                  </a:lnTo>
                  <a:lnTo>
                    <a:pt x="20" y="251"/>
                  </a:lnTo>
                  <a:lnTo>
                    <a:pt x="20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8" y="251"/>
                  </a:lnTo>
                  <a:lnTo>
                    <a:pt x="28" y="251"/>
                  </a:lnTo>
                  <a:lnTo>
                    <a:pt x="28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28" y="243"/>
                  </a:lnTo>
                  <a:lnTo>
                    <a:pt x="28" y="243"/>
                  </a:lnTo>
                  <a:lnTo>
                    <a:pt x="28" y="239"/>
                  </a:lnTo>
                  <a:lnTo>
                    <a:pt x="24" y="239"/>
                  </a:lnTo>
                  <a:lnTo>
                    <a:pt x="24" y="239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1"/>
                  </a:lnTo>
                  <a:lnTo>
                    <a:pt x="24" y="231"/>
                  </a:lnTo>
                  <a:lnTo>
                    <a:pt x="24" y="227"/>
                  </a:lnTo>
                  <a:lnTo>
                    <a:pt x="24" y="227"/>
                  </a:lnTo>
                  <a:lnTo>
                    <a:pt x="24" y="223"/>
                  </a:lnTo>
                  <a:lnTo>
                    <a:pt x="24" y="223"/>
                  </a:lnTo>
                  <a:lnTo>
                    <a:pt x="24" y="223"/>
                  </a:lnTo>
                  <a:lnTo>
                    <a:pt x="24" y="219"/>
                  </a:lnTo>
                  <a:lnTo>
                    <a:pt x="24" y="219"/>
                  </a:lnTo>
                  <a:lnTo>
                    <a:pt x="24" y="215"/>
                  </a:lnTo>
                  <a:lnTo>
                    <a:pt x="24" y="211"/>
                  </a:lnTo>
                  <a:lnTo>
                    <a:pt x="24" y="211"/>
                  </a:lnTo>
                  <a:lnTo>
                    <a:pt x="24" y="211"/>
                  </a:lnTo>
                  <a:lnTo>
                    <a:pt x="24" y="211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0" y="199"/>
                  </a:lnTo>
                  <a:lnTo>
                    <a:pt x="20" y="199"/>
                  </a:lnTo>
                  <a:lnTo>
                    <a:pt x="20" y="199"/>
                  </a:lnTo>
                  <a:lnTo>
                    <a:pt x="16" y="199"/>
                  </a:lnTo>
                  <a:lnTo>
                    <a:pt x="16" y="199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2" y="191"/>
                  </a:lnTo>
                  <a:lnTo>
                    <a:pt x="8" y="191"/>
                  </a:lnTo>
                  <a:lnTo>
                    <a:pt x="8" y="187"/>
                  </a:lnTo>
                  <a:lnTo>
                    <a:pt x="4" y="183"/>
                  </a:lnTo>
                  <a:lnTo>
                    <a:pt x="4" y="179"/>
                  </a:lnTo>
                  <a:lnTo>
                    <a:pt x="4" y="179"/>
                  </a:lnTo>
                  <a:lnTo>
                    <a:pt x="4" y="179"/>
                  </a:lnTo>
                  <a:lnTo>
                    <a:pt x="0" y="175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4" y="167"/>
                  </a:lnTo>
                  <a:lnTo>
                    <a:pt x="4" y="167"/>
                  </a:lnTo>
                  <a:lnTo>
                    <a:pt x="4" y="167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8" y="155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6" y="143"/>
                  </a:lnTo>
                  <a:lnTo>
                    <a:pt x="16" y="139"/>
                  </a:lnTo>
                  <a:lnTo>
                    <a:pt x="24" y="131"/>
                  </a:lnTo>
                  <a:lnTo>
                    <a:pt x="24" y="127"/>
                  </a:lnTo>
                  <a:lnTo>
                    <a:pt x="28" y="127"/>
                  </a:lnTo>
                  <a:lnTo>
                    <a:pt x="28" y="123"/>
                  </a:lnTo>
                  <a:lnTo>
                    <a:pt x="32" y="123"/>
                  </a:lnTo>
                  <a:lnTo>
                    <a:pt x="32" y="123"/>
                  </a:lnTo>
                  <a:lnTo>
                    <a:pt x="32" y="123"/>
                  </a:lnTo>
                  <a:lnTo>
                    <a:pt x="32" y="119"/>
                  </a:lnTo>
                  <a:lnTo>
                    <a:pt x="32" y="111"/>
                  </a:lnTo>
                  <a:lnTo>
                    <a:pt x="32" y="99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32" y="87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6" y="71"/>
                  </a:lnTo>
                  <a:lnTo>
                    <a:pt x="36" y="67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59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52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8" y="16"/>
                  </a:lnTo>
                  <a:lnTo>
                    <a:pt x="76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8"/>
                  </a:lnTo>
                  <a:lnTo>
                    <a:pt x="96" y="32"/>
                  </a:lnTo>
                  <a:lnTo>
                    <a:pt x="104" y="40"/>
                  </a:lnTo>
                  <a:lnTo>
                    <a:pt x="116" y="44"/>
                  </a:lnTo>
                  <a:lnTo>
                    <a:pt x="120" y="48"/>
                  </a:lnTo>
                  <a:lnTo>
                    <a:pt x="128" y="52"/>
                  </a:lnTo>
                  <a:lnTo>
                    <a:pt x="136" y="55"/>
                  </a:lnTo>
                  <a:lnTo>
                    <a:pt x="144" y="63"/>
                  </a:lnTo>
                  <a:lnTo>
                    <a:pt x="152" y="67"/>
                  </a:lnTo>
                  <a:lnTo>
                    <a:pt x="160" y="71"/>
                  </a:lnTo>
                  <a:lnTo>
                    <a:pt x="160" y="71"/>
                  </a:lnTo>
                  <a:lnTo>
                    <a:pt x="160" y="75"/>
                  </a:lnTo>
                  <a:lnTo>
                    <a:pt x="160" y="83"/>
                  </a:lnTo>
                  <a:lnTo>
                    <a:pt x="160" y="87"/>
                  </a:lnTo>
                  <a:lnTo>
                    <a:pt x="160" y="91"/>
                  </a:lnTo>
                  <a:lnTo>
                    <a:pt x="160" y="95"/>
                  </a:lnTo>
                  <a:lnTo>
                    <a:pt x="160" y="131"/>
                  </a:lnTo>
                  <a:lnTo>
                    <a:pt x="160" y="135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56" y="143"/>
                  </a:lnTo>
                  <a:lnTo>
                    <a:pt x="156" y="143"/>
                  </a:lnTo>
                  <a:lnTo>
                    <a:pt x="156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0" y="155"/>
                  </a:lnTo>
                  <a:lnTo>
                    <a:pt x="140" y="159"/>
                  </a:lnTo>
                  <a:lnTo>
                    <a:pt x="140" y="159"/>
                  </a:lnTo>
                  <a:lnTo>
                    <a:pt x="140" y="159"/>
                  </a:lnTo>
                  <a:lnTo>
                    <a:pt x="140" y="163"/>
                  </a:lnTo>
                  <a:lnTo>
                    <a:pt x="140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36" y="171"/>
                  </a:lnTo>
                  <a:lnTo>
                    <a:pt x="136" y="171"/>
                  </a:lnTo>
                  <a:lnTo>
                    <a:pt x="140" y="171"/>
                  </a:lnTo>
                  <a:lnTo>
                    <a:pt x="140" y="171"/>
                  </a:lnTo>
                  <a:lnTo>
                    <a:pt x="140" y="171"/>
                  </a:lnTo>
                  <a:lnTo>
                    <a:pt x="136" y="175"/>
                  </a:lnTo>
                  <a:lnTo>
                    <a:pt x="136" y="175"/>
                  </a:lnTo>
                  <a:lnTo>
                    <a:pt x="136" y="175"/>
                  </a:lnTo>
                  <a:lnTo>
                    <a:pt x="132" y="175"/>
                  </a:lnTo>
                  <a:lnTo>
                    <a:pt x="132" y="175"/>
                  </a:lnTo>
                  <a:lnTo>
                    <a:pt x="132" y="179"/>
                  </a:lnTo>
                  <a:lnTo>
                    <a:pt x="132" y="183"/>
                  </a:lnTo>
                  <a:lnTo>
                    <a:pt x="132" y="183"/>
                  </a:lnTo>
                  <a:lnTo>
                    <a:pt x="136" y="187"/>
                  </a:lnTo>
                  <a:lnTo>
                    <a:pt x="136" y="187"/>
                  </a:lnTo>
                  <a:lnTo>
                    <a:pt x="136" y="187"/>
                  </a:lnTo>
                  <a:lnTo>
                    <a:pt x="132" y="191"/>
                  </a:lnTo>
                  <a:lnTo>
                    <a:pt x="132" y="191"/>
                  </a:lnTo>
                  <a:lnTo>
                    <a:pt x="132" y="191"/>
                  </a:lnTo>
                  <a:lnTo>
                    <a:pt x="128" y="191"/>
                  </a:lnTo>
                  <a:lnTo>
                    <a:pt x="128" y="195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6" y="199"/>
                  </a:lnTo>
                  <a:lnTo>
                    <a:pt x="136" y="199"/>
                  </a:lnTo>
                  <a:lnTo>
                    <a:pt x="136" y="203"/>
                  </a:lnTo>
                  <a:lnTo>
                    <a:pt x="136" y="207"/>
                  </a:lnTo>
                  <a:lnTo>
                    <a:pt x="136" y="211"/>
                  </a:lnTo>
                  <a:lnTo>
                    <a:pt x="140" y="211"/>
                  </a:lnTo>
                  <a:lnTo>
                    <a:pt x="140" y="211"/>
                  </a:lnTo>
                  <a:lnTo>
                    <a:pt x="140" y="215"/>
                  </a:lnTo>
                  <a:lnTo>
                    <a:pt x="140" y="215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23"/>
                  </a:lnTo>
                  <a:lnTo>
                    <a:pt x="140" y="223"/>
                  </a:lnTo>
                  <a:lnTo>
                    <a:pt x="144" y="223"/>
                  </a:lnTo>
                  <a:lnTo>
                    <a:pt x="144" y="227"/>
                  </a:lnTo>
                  <a:lnTo>
                    <a:pt x="144" y="227"/>
                  </a:lnTo>
                  <a:lnTo>
                    <a:pt x="144" y="231"/>
                  </a:lnTo>
                  <a:lnTo>
                    <a:pt x="144" y="231"/>
                  </a:lnTo>
                  <a:lnTo>
                    <a:pt x="144" y="231"/>
                  </a:lnTo>
                  <a:lnTo>
                    <a:pt x="140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2" y="231"/>
                  </a:lnTo>
                  <a:lnTo>
                    <a:pt x="132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43"/>
                  </a:lnTo>
                  <a:lnTo>
                    <a:pt x="128" y="243"/>
                  </a:lnTo>
                  <a:lnTo>
                    <a:pt x="124" y="243"/>
                  </a:lnTo>
                  <a:lnTo>
                    <a:pt x="124" y="243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0" y="247"/>
                  </a:lnTo>
                  <a:lnTo>
                    <a:pt x="120" y="247"/>
                  </a:lnTo>
                  <a:lnTo>
                    <a:pt x="120" y="247"/>
                  </a:lnTo>
                  <a:lnTo>
                    <a:pt x="120" y="247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16" y="255"/>
                  </a:lnTo>
                  <a:lnTo>
                    <a:pt x="116" y="255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0" y="267"/>
                  </a:lnTo>
                  <a:lnTo>
                    <a:pt x="100" y="267"/>
                  </a:lnTo>
                  <a:lnTo>
                    <a:pt x="100" y="267"/>
                  </a:lnTo>
                  <a:lnTo>
                    <a:pt x="100" y="267"/>
                  </a:lnTo>
                  <a:lnTo>
                    <a:pt x="96" y="267"/>
                  </a:lnTo>
                  <a:lnTo>
                    <a:pt x="92" y="267"/>
                  </a:lnTo>
                  <a:lnTo>
                    <a:pt x="92" y="267"/>
                  </a:lnTo>
                  <a:lnTo>
                    <a:pt x="88" y="267"/>
                  </a:lnTo>
                  <a:lnTo>
                    <a:pt x="88" y="267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8" y="275"/>
                  </a:lnTo>
                  <a:lnTo>
                    <a:pt x="88" y="275"/>
                  </a:lnTo>
                  <a:lnTo>
                    <a:pt x="84" y="275"/>
                  </a:lnTo>
                  <a:lnTo>
                    <a:pt x="84" y="275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0" y="279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7"/>
                  </a:lnTo>
                  <a:lnTo>
                    <a:pt x="80" y="287"/>
                  </a:lnTo>
                  <a:lnTo>
                    <a:pt x="76" y="287"/>
                  </a:lnTo>
                  <a:lnTo>
                    <a:pt x="76" y="287"/>
                  </a:lnTo>
                  <a:lnTo>
                    <a:pt x="72" y="287"/>
                  </a:lnTo>
                  <a:lnTo>
                    <a:pt x="68" y="287"/>
                  </a:lnTo>
                  <a:lnTo>
                    <a:pt x="68" y="287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0" y="287"/>
                  </a:lnTo>
                  <a:lnTo>
                    <a:pt x="60" y="287"/>
                  </a:lnTo>
                  <a:lnTo>
                    <a:pt x="60" y="287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2" y="291"/>
                  </a:lnTo>
                  <a:lnTo>
                    <a:pt x="52" y="291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48" y="291"/>
                  </a:lnTo>
                  <a:lnTo>
                    <a:pt x="48" y="291"/>
                  </a:lnTo>
                  <a:lnTo>
                    <a:pt x="48" y="287"/>
                  </a:lnTo>
                  <a:lnTo>
                    <a:pt x="48" y="287"/>
                  </a:lnTo>
                  <a:lnTo>
                    <a:pt x="48" y="287"/>
                  </a:lnTo>
                  <a:lnTo>
                    <a:pt x="44" y="291"/>
                  </a:lnTo>
                  <a:lnTo>
                    <a:pt x="44" y="291"/>
                  </a:lnTo>
                  <a:lnTo>
                    <a:pt x="44" y="291"/>
                  </a:lnTo>
                  <a:lnTo>
                    <a:pt x="44" y="291"/>
                  </a:lnTo>
                  <a:lnTo>
                    <a:pt x="44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87"/>
                  </a:lnTo>
                  <a:lnTo>
                    <a:pt x="32" y="287"/>
                  </a:lnTo>
                  <a:lnTo>
                    <a:pt x="28" y="287"/>
                  </a:lnTo>
                  <a:lnTo>
                    <a:pt x="28" y="283"/>
                  </a:lnTo>
                  <a:lnTo>
                    <a:pt x="28" y="283"/>
                  </a:lnTo>
                  <a:lnTo>
                    <a:pt x="28" y="283"/>
                  </a:lnTo>
                  <a:lnTo>
                    <a:pt x="28" y="283"/>
                  </a:lnTo>
                  <a:lnTo>
                    <a:pt x="28" y="279"/>
                  </a:lnTo>
                  <a:lnTo>
                    <a:pt x="28" y="279"/>
                  </a:lnTo>
                  <a:lnTo>
                    <a:pt x="28" y="279"/>
                  </a:lnTo>
                  <a:lnTo>
                    <a:pt x="24" y="275"/>
                  </a:lnTo>
                  <a:lnTo>
                    <a:pt x="24" y="271"/>
                  </a:lnTo>
                  <a:lnTo>
                    <a:pt x="20" y="271"/>
                  </a:lnTo>
                  <a:lnTo>
                    <a:pt x="20" y="271"/>
                  </a:lnTo>
                  <a:lnTo>
                    <a:pt x="20" y="271"/>
                  </a:lnTo>
                  <a:lnTo>
                    <a:pt x="16" y="267"/>
                  </a:lnTo>
                  <a:lnTo>
                    <a:pt x="16" y="267"/>
                  </a:lnTo>
                  <a:lnTo>
                    <a:pt x="12" y="263"/>
                  </a:lnTo>
                  <a:lnTo>
                    <a:pt x="12" y="263"/>
                  </a:lnTo>
                  <a:lnTo>
                    <a:pt x="12" y="263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2" y="25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0" name="Freeform 127"/>
            <p:cNvSpPr>
              <a:spLocks noEditPoints="1"/>
            </p:cNvSpPr>
            <p:nvPr>
              <p:custDataLst>
                <p:tags r:id="rId323"/>
              </p:custDataLst>
            </p:nvPr>
          </p:nvSpPr>
          <p:spPr bwMode="gray">
            <a:xfrm>
              <a:off x="5345984" y="4905914"/>
              <a:ext cx="29661" cy="23729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</a:cxnLst>
              <a:rect l="0" t="0" r="r" b="b"/>
              <a:pathLst>
                <a:path w="20" h="16">
                  <a:moveTo>
                    <a:pt x="4" y="8"/>
                  </a:moveTo>
                  <a:lnTo>
                    <a:pt x="4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close/>
                  <a:moveTo>
                    <a:pt x="20" y="16"/>
                  </a:move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close/>
                  <a:moveTo>
                    <a:pt x="8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1" name="Freeform 128"/>
            <p:cNvSpPr>
              <a:spLocks/>
            </p:cNvSpPr>
            <p:nvPr>
              <p:custDataLst>
                <p:tags r:id="rId324"/>
              </p:custDataLst>
            </p:nvPr>
          </p:nvSpPr>
          <p:spPr bwMode="gray">
            <a:xfrm>
              <a:off x="4623733" y="4492140"/>
              <a:ext cx="172035" cy="235807"/>
            </a:xfrm>
            <a:custGeom>
              <a:avLst/>
              <a:gdLst/>
              <a:ahLst/>
              <a:cxnLst>
                <a:cxn ang="0">
                  <a:pos x="68" y="147"/>
                </a:cxn>
                <a:cxn ang="0">
                  <a:pos x="60" y="155"/>
                </a:cxn>
                <a:cxn ang="0">
                  <a:pos x="52" y="159"/>
                </a:cxn>
                <a:cxn ang="0">
                  <a:pos x="52" y="147"/>
                </a:cxn>
                <a:cxn ang="0">
                  <a:pos x="40" y="151"/>
                </a:cxn>
                <a:cxn ang="0">
                  <a:pos x="36" y="159"/>
                </a:cxn>
                <a:cxn ang="0">
                  <a:pos x="32" y="155"/>
                </a:cxn>
                <a:cxn ang="0">
                  <a:pos x="24" y="151"/>
                </a:cxn>
                <a:cxn ang="0">
                  <a:pos x="16" y="159"/>
                </a:cxn>
                <a:cxn ang="0">
                  <a:pos x="12" y="151"/>
                </a:cxn>
                <a:cxn ang="0">
                  <a:pos x="4" y="147"/>
                </a:cxn>
                <a:cxn ang="0">
                  <a:pos x="0" y="139"/>
                </a:cxn>
                <a:cxn ang="0">
                  <a:pos x="12" y="135"/>
                </a:cxn>
                <a:cxn ang="0">
                  <a:pos x="8" y="127"/>
                </a:cxn>
                <a:cxn ang="0">
                  <a:pos x="8" y="124"/>
                </a:cxn>
                <a:cxn ang="0">
                  <a:pos x="8" y="112"/>
                </a:cxn>
                <a:cxn ang="0">
                  <a:pos x="16" y="112"/>
                </a:cxn>
                <a:cxn ang="0">
                  <a:pos x="20" y="108"/>
                </a:cxn>
                <a:cxn ang="0">
                  <a:pos x="28" y="104"/>
                </a:cxn>
                <a:cxn ang="0">
                  <a:pos x="32" y="112"/>
                </a:cxn>
                <a:cxn ang="0">
                  <a:pos x="40" y="112"/>
                </a:cxn>
                <a:cxn ang="0">
                  <a:pos x="44" y="116"/>
                </a:cxn>
                <a:cxn ang="0">
                  <a:pos x="48" y="108"/>
                </a:cxn>
                <a:cxn ang="0">
                  <a:pos x="52" y="100"/>
                </a:cxn>
                <a:cxn ang="0">
                  <a:pos x="52" y="88"/>
                </a:cxn>
                <a:cxn ang="0">
                  <a:pos x="48" y="80"/>
                </a:cxn>
                <a:cxn ang="0">
                  <a:pos x="44" y="72"/>
                </a:cxn>
                <a:cxn ang="0">
                  <a:pos x="44" y="60"/>
                </a:cxn>
                <a:cxn ang="0">
                  <a:pos x="52" y="52"/>
                </a:cxn>
                <a:cxn ang="0">
                  <a:pos x="44" y="44"/>
                </a:cxn>
                <a:cxn ang="0">
                  <a:pos x="36" y="48"/>
                </a:cxn>
                <a:cxn ang="0">
                  <a:pos x="32" y="40"/>
                </a:cxn>
                <a:cxn ang="0">
                  <a:pos x="40" y="32"/>
                </a:cxn>
                <a:cxn ang="0">
                  <a:pos x="56" y="32"/>
                </a:cxn>
                <a:cxn ang="0">
                  <a:pos x="68" y="32"/>
                </a:cxn>
                <a:cxn ang="0">
                  <a:pos x="76" y="36"/>
                </a:cxn>
                <a:cxn ang="0">
                  <a:pos x="76" y="32"/>
                </a:cxn>
                <a:cxn ang="0">
                  <a:pos x="80" y="24"/>
                </a:cxn>
                <a:cxn ang="0">
                  <a:pos x="84" y="16"/>
                </a:cxn>
                <a:cxn ang="0">
                  <a:pos x="84" y="8"/>
                </a:cxn>
                <a:cxn ang="0">
                  <a:pos x="92" y="4"/>
                </a:cxn>
                <a:cxn ang="0">
                  <a:pos x="96" y="4"/>
                </a:cxn>
                <a:cxn ang="0">
                  <a:pos x="108" y="4"/>
                </a:cxn>
                <a:cxn ang="0">
                  <a:pos x="112" y="4"/>
                </a:cxn>
                <a:cxn ang="0">
                  <a:pos x="116" y="12"/>
                </a:cxn>
                <a:cxn ang="0">
                  <a:pos x="112" y="20"/>
                </a:cxn>
                <a:cxn ang="0">
                  <a:pos x="108" y="28"/>
                </a:cxn>
                <a:cxn ang="0">
                  <a:pos x="108" y="40"/>
                </a:cxn>
                <a:cxn ang="0">
                  <a:pos x="104" y="56"/>
                </a:cxn>
                <a:cxn ang="0">
                  <a:pos x="104" y="68"/>
                </a:cxn>
                <a:cxn ang="0">
                  <a:pos x="100" y="76"/>
                </a:cxn>
                <a:cxn ang="0">
                  <a:pos x="96" y="88"/>
                </a:cxn>
                <a:cxn ang="0">
                  <a:pos x="88" y="96"/>
                </a:cxn>
                <a:cxn ang="0">
                  <a:pos x="84" y="104"/>
                </a:cxn>
                <a:cxn ang="0">
                  <a:pos x="76" y="108"/>
                </a:cxn>
                <a:cxn ang="0">
                  <a:pos x="80" y="120"/>
                </a:cxn>
                <a:cxn ang="0">
                  <a:pos x="76" y="127"/>
                </a:cxn>
                <a:cxn ang="0">
                  <a:pos x="76" y="135"/>
                </a:cxn>
                <a:cxn ang="0">
                  <a:pos x="72" y="143"/>
                </a:cxn>
              </a:cxnLst>
              <a:rect l="0" t="0" r="r" b="b"/>
              <a:pathLst>
                <a:path w="116" h="159">
                  <a:moveTo>
                    <a:pt x="72" y="143"/>
                  </a:moveTo>
                  <a:lnTo>
                    <a:pt x="68" y="143"/>
                  </a:lnTo>
                  <a:lnTo>
                    <a:pt x="68" y="147"/>
                  </a:lnTo>
                  <a:lnTo>
                    <a:pt x="64" y="147"/>
                  </a:lnTo>
                  <a:lnTo>
                    <a:pt x="60" y="151"/>
                  </a:lnTo>
                  <a:lnTo>
                    <a:pt x="60" y="155"/>
                  </a:lnTo>
                  <a:lnTo>
                    <a:pt x="56" y="155"/>
                  </a:lnTo>
                  <a:lnTo>
                    <a:pt x="56" y="159"/>
                  </a:lnTo>
                  <a:lnTo>
                    <a:pt x="52" y="159"/>
                  </a:lnTo>
                  <a:lnTo>
                    <a:pt x="52" y="155"/>
                  </a:lnTo>
                  <a:lnTo>
                    <a:pt x="52" y="151"/>
                  </a:lnTo>
                  <a:lnTo>
                    <a:pt x="52" y="147"/>
                  </a:lnTo>
                  <a:lnTo>
                    <a:pt x="48" y="147"/>
                  </a:lnTo>
                  <a:lnTo>
                    <a:pt x="44" y="151"/>
                  </a:lnTo>
                  <a:lnTo>
                    <a:pt x="40" y="151"/>
                  </a:lnTo>
                  <a:lnTo>
                    <a:pt x="40" y="155"/>
                  </a:lnTo>
                  <a:lnTo>
                    <a:pt x="36" y="155"/>
                  </a:lnTo>
                  <a:lnTo>
                    <a:pt x="36" y="159"/>
                  </a:lnTo>
                  <a:lnTo>
                    <a:pt x="32" y="155"/>
                  </a:lnTo>
                  <a:lnTo>
                    <a:pt x="32" y="151"/>
                  </a:lnTo>
                  <a:lnTo>
                    <a:pt x="32" y="155"/>
                  </a:lnTo>
                  <a:lnTo>
                    <a:pt x="28" y="155"/>
                  </a:lnTo>
                  <a:lnTo>
                    <a:pt x="28" y="151"/>
                  </a:lnTo>
                  <a:lnTo>
                    <a:pt x="24" y="151"/>
                  </a:lnTo>
                  <a:lnTo>
                    <a:pt x="20" y="155"/>
                  </a:lnTo>
                  <a:lnTo>
                    <a:pt x="16" y="155"/>
                  </a:lnTo>
                  <a:lnTo>
                    <a:pt x="16" y="159"/>
                  </a:lnTo>
                  <a:lnTo>
                    <a:pt x="12" y="159"/>
                  </a:lnTo>
                  <a:lnTo>
                    <a:pt x="12" y="155"/>
                  </a:lnTo>
                  <a:lnTo>
                    <a:pt x="12" y="151"/>
                  </a:lnTo>
                  <a:lnTo>
                    <a:pt x="8" y="151"/>
                  </a:lnTo>
                  <a:lnTo>
                    <a:pt x="8" y="147"/>
                  </a:lnTo>
                  <a:lnTo>
                    <a:pt x="4" y="147"/>
                  </a:lnTo>
                  <a:lnTo>
                    <a:pt x="4" y="143"/>
                  </a:lnTo>
                  <a:lnTo>
                    <a:pt x="0" y="143"/>
                  </a:lnTo>
                  <a:lnTo>
                    <a:pt x="0" y="139"/>
                  </a:lnTo>
                  <a:lnTo>
                    <a:pt x="4" y="135"/>
                  </a:lnTo>
                  <a:lnTo>
                    <a:pt x="8" y="135"/>
                  </a:lnTo>
                  <a:lnTo>
                    <a:pt x="12" y="135"/>
                  </a:lnTo>
                  <a:lnTo>
                    <a:pt x="12" y="131"/>
                  </a:lnTo>
                  <a:lnTo>
                    <a:pt x="12" y="127"/>
                  </a:lnTo>
                  <a:lnTo>
                    <a:pt x="8" y="127"/>
                  </a:lnTo>
                  <a:lnTo>
                    <a:pt x="12" y="124"/>
                  </a:lnTo>
                  <a:lnTo>
                    <a:pt x="8" y="120"/>
                  </a:lnTo>
                  <a:lnTo>
                    <a:pt x="8" y="124"/>
                  </a:lnTo>
                  <a:lnTo>
                    <a:pt x="8" y="120"/>
                  </a:lnTo>
                  <a:lnTo>
                    <a:pt x="8" y="116"/>
                  </a:lnTo>
                  <a:lnTo>
                    <a:pt x="8" y="112"/>
                  </a:lnTo>
                  <a:lnTo>
                    <a:pt x="12" y="116"/>
                  </a:lnTo>
                  <a:lnTo>
                    <a:pt x="12" y="112"/>
                  </a:lnTo>
                  <a:lnTo>
                    <a:pt x="16" y="112"/>
                  </a:lnTo>
                  <a:lnTo>
                    <a:pt x="16" y="116"/>
                  </a:lnTo>
                  <a:lnTo>
                    <a:pt x="20" y="112"/>
                  </a:lnTo>
                  <a:lnTo>
                    <a:pt x="20" y="108"/>
                  </a:lnTo>
                  <a:lnTo>
                    <a:pt x="20" y="104"/>
                  </a:lnTo>
                  <a:lnTo>
                    <a:pt x="24" y="104"/>
                  </a:lnTo>
                  <a:lnTo>
                    <a:pt x="28" y="104"/>
                  </a:lnTo>
                  <a:lnTo>
                    <a:pt x="28" y="108"/>
                  </a:lnTo>
                  <a:lnTo>
                    <a:pt x="28" y="112"/>
                  </a:lnTo>
                  <a:lnTo>
                    <a:pt x="32" y="112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4" y="112"/>
                  </a:lnTo>
                  <a:lnTo>
                    <a:pt x="44" y="116"/>
                  </a:lnTo>
                  <a:lnTo>
                    <a:pt x="48" y="116"/>
                  </a:lnTo>
                  <a:lnTo>
                    <a:pt x="48" y="112"/>
                  </a:lnTo>
                  <a:lnTo>
                    <a:pt x="48" y="108"/>
                  </a:lnTo>
                  <a:lnTo>
                    <a:pt x="48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88"/>
                  </a:lnTo>
                  <a:lnTo>
                    <a:pt x="52" y="84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60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48" y="48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0" y="44"/>
                  </a:lnTo>
                  <a:lnTo>
                    <a:pt x="40" y="48"/>
                  </a:lnTo>
                  <a:lnTo>
                    <a:pt x="36" y="48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40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36"/>
                  </a:lnTo>
                  <a:lnTo>
                    <a:pt x="76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24"/>
                  </a:lnTo>
                  <a:lnTo>
                    <a:pt x="80" y="20"/>
                  </a:lnTo>
                  <a:lnTo>
                    <a:pt x="84" y="20"/>
                  </a:lnTo>
                  <a:lnTo>
                    <a:pt x="84" y="16"/>
                  </a:lnTo>
                  <a:lnTo>
                    <a:pt x="80" y="16"/>
                  </a:lnTo>
                  <a:lnTo>
                    <a:pt x="84" y="12"/>
                  </a:lnTo>
                  <a:lnTo>
                    <a:pt x="84" y="8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0"/>
                  </a:lnTo>
                  <a:lnTo>
                    <a:pt x="96" y="4"/>
                  </a:lnTo>
                  <a:lnTo>
                    <a:pt x="100" y="4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16" y="12"/>
                  </a:lnTo>
                  <a:lnTo>
                    <a:pt x="112" y="12"/>
                  </a:lnTo>
                  <a:lnTo>
                    <a:pt x="112" y="16"/>
                  </a:lnTo>
                  <a:lnTo>
                    <a:pt x="112" y="20"/>
                  </a:lnTo>
                  <a:lnTo>
                    <a:pt x="112" y="24"/>
                  </a:lnTo>
                  <a:lnTo>
                    <a:pt x="108" y="24"/>
                  </a:lnTo>
                  <a:lnTo>
                    <a:pt x="108" y="28"/>
                  </a:lnTo>
                  <a:lnTo>
                    <a:pt x="108" y="32"/>
                  </a:lnTo>
                  <a:lnTo>
                    <a:pt x="108" y="36"/>
                  </a:lnTo>
                  <a:lnTo>
                    <a:pt x="108" y="40"/>
                  </a:lnTo>
                  <a:lnTo>
                    <a:pt x="104" y="48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4" y="60"/>
                  </a:lnTo>
                  <a:lnTo>
                    <a:pt x="104" y="64"/>
                  </a:lnTo>
                  <a:lnTo>
                    <a:pt x="104" y="68"/>
                  </a:lnTo>
                  <a:lnTo>
                    <a:pt x="100" y="68"/>
                  </a:lnTo>
                  <a:lnTo>
                    <a:pt x="100" y="72"/>
                  </a:lnTo>
                  <a:lnTo>
                    <a:pt x="100" y="76"/>
                  </a:lnTo>
                  <a:lnTo>
                    <a:pt x="100" y="80"/>
                  </a:lnTo>
                  <a:lnTo>
                    <a:pt x="100" y="84"/>
                  </a:lnTo>
                  <a:lnTo>
                    <a:pt x="96" y="88"/>
                  </a:lnTo>
                  <a:lnTo>
                    <a:pt x="92" y="88"/>
                  </a:lnTo>
                  <a:lnTo>
                    <a:pt x="88" y="92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4" y="104"/>
                  </a:lnTo>
                  <a:lnTo>
                    <a:pt x="80" y="104"/>
                  </a:lnTo>
                  <a:lnTo>
                    <a:pt x="80" y="108"/>
                  </a:lnTo>
                  <a:lnTo>
                    <a:pt x="76" y="108"/>
                  </a:lnTo>
                  <a:lnTo>
                    <a:pt x="76" y="112"/>
                  </a:lnTo>
                  <a:lnTo>
                    <a:pt x="80" y="116"/>
                  </a:lnTo>
                  <a:lnTo>
                    <a:pt x="80" y="120"/>
                  </a:lnTo>
                  <a:lnTo>
                    <a:pt x="76" y="120"/>
                  </a:lnTo>
                  <a:lnTo>
                    <a:pt x="76" y="124"/>
                  </a:lnTo>
                  <a:lnTo>
                    <a:pt x="76" y="127"/>
                  </a:lnTo>
                  <a:lnTo>
                    <a:pt x="80" y="131"/>
                  </a:lnTo>
                  <a:lnTo>
                    <a:pt x="76" y="131"/>
                  </a:lnTo>
                  <a:lnTo>
                    <a:pt x="76" y="135"/>
                  </a:lnTo>
                  <a:lnTo>
                    <a:pt x="76" y="139"/>
                  </a:lnTo>
                  <a:lnTo>
                    <a:pt x="72" y="139"/>
                  </a:lnTo>
                  <a:lnTo>
                    <a:pt x="72" y="1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2" name="Freeform 129"/>
            <p:cNvSpPr>
              <a:spLocks/>
            </p:cNvSpPr>
            <p:nvPr>
              <p:custDataLst>
                <p:tags r:id="rId325"/>
              </p:custDataLst>
            </p:nvPr>
          </p:nvSpPr>
          <p:spPr bwMode="gray">
            <a:xfrm>
              <a:off x="4647462" y="4450614"/>
              <a:ext cx="431571" cy="508690"/>
            </a:xfrm>
            <a:custGeom>
              <a:avLst/>
              <a:gdLst/>
              <a:ahLst/>
              <a:cxnLst>
                <a:cxn ang="0">
                  <a:pos x="32" y="207"/>
                </a:cxn>
                <a:cxn ang="0">
                  <a:pos x="12" y="203"/>
                </a:cxn>
                <a:cxn ang="0">
                  <a:pos x="4" y="203"/>
                </a:cxn>
                <a:cxn ang="0">
                  <a:pos x="16" y="183"/>
                </a:cxn>
                <a:cxn ang="0">
                  <a:pos x="24" y="179"/>
                </a:cxn>
                <a:cxn ang="0">
                  <a:pos x="36" y="187"/>
                </a:cxn>
                <a:cxn ang="0">
                  <a:pos x="52" y="175"/>
                </a:cxn>
                <a:cxn ang="0">
                  <a:pos x="60" y="159"/>
                </a:cxn>
                <a:cxn ang="0">
                  <a:pos x="64" y="144"/>
                </a:cxn>
                <a:cxn ang="0">
                  <a:pos x="68" y="128"/>
                </a:cxn>
                <a:cxn ang="0">
                  <a:pos x="84" y="112"/>
                </a:cxn>
                <a:cxn ang="0">
                  <a:pos x="88" y="92"/>
                </a:cxn>
                <a:cxn ang="0">
                  <a:pos x="92" y="64"/>
                </a:cxn>
                <a:cxn ang="0">
                  <a:pos x="96" y="44"/>
                </a:cxn>
                <a:cxn ang="0">
                  <a:pos x="100" y="24"/>
                </a:cxn>
                <a:cxn ang="0">
                  <a:pos x="104" y="12"/>
                </a:cxn>
                <a:cxn ang="0">
                  <a:pos x="120" y="8"/>
                </a:cxn>
                <a:cxn ang="0">
                  <a:pos x="136" y="16"/>
                </a:cxn>
                <a:cxn ang="0">
                  <a:pos x="156" y="24"/>
                </a:cxn>
                <a:cxn ang="0">
                  <a:pos x="164" y="8"/>
                </a:cxn>
                <a:cxn ang="0">
                  <a:pos x="184" y="8"/>
                </a:cxn>
                <a:cxn ang="0">
                  <a:pos x="200" y="8"/>
                </a:cxn>
                <a:cxn ang="0">
                  <a:pos x="212" y="4"/>
                </a:cxn>
                <a:cxn ang="0">
                  <a:pos x="228" y="4"/>
                </a:cxn>
                <a:cxn ang="0">
                  <a:pos x="243" y="16"/>
                </a:cxn>
                <a:cxn ang="0">
                  <a:pos x="259" y="16"/>
                </a:cxn>
                <a:cxn ang="0">
                  <a:pos x="267" y="16"/>
                </a:cxn>
                <a:cxn ang="0">
                  <a:pos x="279" y="28"/>
                </a:cxn>
                <a:cxn ang="0">
                  <a:pos x="283" y="48"/>
                </a:cxn>
                <a:cxn ang="0">
                  <a:pos x="287" y="60"/>
                </a:cxn>
                <a:cxn ang="0">
                  <a:pos x="275" y="80"/>
                </a:cxn>
                <a:cxn ang="0">
                  <a:pos x="267" y="96"/>
                </a:cxn>
                <a:cxn ang="0">
                  <a:pos x="263" y="116"/>
                </a:cxn>
                <a:cxn ang="0">
                  <a:pos x="259" y="136"/>
                </a:cxn>
                <a:cxn ang="0">
                  <a:pos x="259" y="155"/>
                </a:cxn>
                <a:cxn ang="0">
                  <a:pos x="263" y="179"/>
                </a:cxn>
                <a:cxn ang="0">
                  <a:pos x="263" y="195"/>
                </a:cxn>
                <a:cxn ang="0">
                  <a:pos x="267" y="219"/>
                </a:cxn>
                <a:cxn ang="0">
                  <a:pos x="279" y="235"/>
                </a:cxn>
                <a:cxn ang="0">
                  <a:pos x="275" y="247"/>
                </a:cxn>
                <a:cxn ang="0">
                  <a:pos x="255" y="259"/>
                </a:cxn>
                <a:cxn ang="0">
                  <a:pos x="251" y="279"/>
                </a:cxn>
                <a:cxn ang="0">
                  <a:pos x="247" y="299"/>
                </a:cxn>
                <a:cxn ang="0">
                  <a:pos x="251" y="319"/>
                </a:cxn>
                <a:cxn ang="0">
                  <a:pos x="267" y="323"/>
                </a:cxn>
                <a:cxn ang="0">
                  <a:pos x="267" y="343"/>
                </a:cxn>
                <a:cxn ang="0">
                  <a:pos x="251" y="335"/>
                </a:cxn>
                <a:cxn ang="0">
                  <a:pos x="236" y="323"/>
                </a:cxn>
                <a:cxn ang="0">
                  <a:pos x="224" y="319"/>
                </a:cxn>
                <a:cxn ang="0">
                  <a:pos x="200" y="311"/>
                </a:cxn>
                <a:cxn ang="0">
                  <a:pos x="184" y="307"/>
                </a:cxn>
                <a:cxn ang="0">
                  <a:pos x="180" y="299"/>
                </a:cxn>
                <a:cxn ang="0">
                  <a:pos x="156" y="299"/>
                </a:cxn>
                <a:cxn ang="0">
                  <a:pos x="156" y="291"/>
                </a:cxn>
                <a:cxn ang="0">
                  <a:pos x="148" y="267"/>
                </a:cxn>
                <a:cxn ang="0">
                  <a:pos x="148" y="243"/>
                </a:cxn>
                <a:cxn ang="0">
                  <a:pos x="128" y="231"/>
                </a:cxn>
                <a:cxn ang="0">
                  <a:pos x="112" y="227"/>
                </a:cxn>
                <a:cxn ang="0">
                  <a:pos x="112" y="243"/>
                </a:cxn>
                <a:cxn ang="0">
                  <a:pos x="88" y="247"/>
                </a:cxn>
                <a:cxn ang="0">
                  <a:pos x="76" y="235"/>
                </a:cxn>
                <a:cxn ang="0">
                  <a:pos x="68" y="215"/>
                </a:cxn>
              </a:cxnLst>
              <a:rect l="0" t="0" r="r" b="b"/>
              <a:pathLst>
                <a:path w="291" h="343">
                  <a:moveTo>
                    <a:pt x="60" y="203"/>
                  </a:moveTo>
                  <a:lnTo>
                    <a:pt x="56" y="203"/>
                  </a:lnTo>
                  <a:lnTo>
                    <a:pt x="44" y="203"/>
                  </a:lnTo>
                  <a:lnTo>
                    <a:pt x="40" y="203"/>
                  </a:lnTo>
                  <a:lnTo>
                    <a:pt x="36" y="207"/>
                  </a:lnTo>
                  <a:lnTo>
                    <a:pt x="32" y="207"/>
                  </a:lnTo>
                  <a:lnTo>
                    <a:pt x="32" y="203"/>
                  </a:lnTo>
                  <a:lnTo>
                    <a:pt x="28" y="203"/>
                  </a:lnTo>
                  <a:lnTo>
                    <a:pt x="24" y="203"/>
                  </a:lnTo>
                  <a:lnTo>
                    <a:pt x="20" y="203"/>
                  </a:lnTo>
                  <a:lnTo>
                    <a:pt x="16" y="203"/>
                  </a:lnTo>
                  <a:lnTo>
                    <a:pt x="12" y="203"/>
                  </a:lnTo>
                  <a:lnTo>
                    <a:pt x="8" y="203"/>
                  </a:lnTo>
                  <a:lnTo>
                    <a:pt x="8" y="207"/>
                  </a:lnTo>
                  <a:lnTo>
                    <a:pt x="4" y="207"/>
                  </a:lnTo>
                  <a:lnTo>
                    <a:pt x="4" y="203"/>
                  </a:lnTo>
                  <a:lnTo>
                    <a:pt x="0" y="203"/>
                  </a:lnTo>
                  <a:lnTo>
                    <a:pt x="4" y="203"/>
                  </a:lnTo>
                  <a:lnTo>
                    <a:pt x="8" y="203"/>
                  </a:lnTo>
                  <a:lnTo>
                    <a:pt x="8" y="195"/>
                  </a:lnTo>
                  <a:lnTo>
                    <a:pt x="8" y="191"/>
                  </a:lnTo>
                  <a:lnTo>
                    <a:pt x="8" y="187"/>
                  </a:lnTo>
                  <a:lnTo>
                    <a:pt x="12" y="183"/>
                  </a:lnTo>
                  <a:lnTo>
                    <a:pt x="16" y="183"/>
                  </a:lnTo>
                  <a:lnTo>
                    <a:pt x="16" y="179"/>
                  </a:lnTo>
                  <a:lnTo>
                    <a:pt x="16" y="183"/>
                  </a:lnTo>
                  <a:lnTo>
                    <a:pt x="20" y="187"/>
                  </a:lnTo>
                  <a:lnTo>
                    <a:pt x="20" y="183"/>
                  </a:lnTo>
                  <a:lnTo>
                    <a:pt x="24" y="183"/>
                  </a:lnTo>
                  <a:lnTo>
                    <a:pt x="24" y="179"/>
                  </a:lnTo>
                  <a:lnTo>
                    <a:pt x="28" y="179"/>
                  </a:lnTo>
                  <a:lnTo>
                    <a:pt x="32" y="175"/>
                  </a:lnTo>
                  <a:lnTo>
                    <a:pt x="36" y="175"/>
                  </a:lnTo>
                  <a:lnTo>
                    <a:pt x="36" y="179"/>
                  </a:lnTo>
                  <a:lnTo>
                    <a:pt x="36" y="183"/>
                  </a:lnTo>
                  <a:lnTo>
                    <a:pt x="36" y="187"/>
                  </a:lnTo>
                  <a:lnTo>
                    <a:pt x="40" y="187"/>
                  </a:lnTo>
                  <a:lnTo>
                    <a:pt x="40" y="183"/>
                  </a:lnTo>
                  <a:lnTo>
                    <a:pt x="44" y="183"/>
                  </a:lnTo>
                  <a:lnTo>
                    <a:pt x="44" y="179"/>
                  </a:lnTo>
                  <a:lnTo>
                    <a:pt x="48" y="175"/>
                  </a:lnTo>
                  <a:lnTo>
                    <a:pt x="52" y="175"/>
                  </a:lnTo>
                  <a:lnTo>
                    <a:pt x="52" y="171"/>
                  </a:lnTo>
                  <a:lnTo>
                    <a:pt x="56" y="171"/>
                  </a:lnTo>
                  <a:lnTo>
                    <a:pt x="56" y="167"/>
                  </a:lnTo>
                  <a:lnTo>
                    <a:pt x="60" y="167"/>
                  </a:lnTo>
                  <a:lnTo>
                    <a:pt x="60" y="163"/>
                  </a:lnTo>
                  <a:lnTo>
                    <a:pt x="60" y="159"/>
                  </a:lnTo>
                  <a:lnTo>
                    <a:pt x="64" y="159"/>
                  </a:lnTo>
                  <a:lnTo>
                    <a:pt x="60" y="155"/>
                  </a:lnTo>
                  <a:lnTo>
                    <a:pt x="60" y="152"/>
                  </a:lnTo>
                  <a:lnTo>
                    <a:pt x="60" y="148"/>
                  </a:lnTo>
                  <a:lnTo>
                    <a:pt x="64" y="148"/>
                  </a:lnTo>
                  <a:lnTo>
                    <a:pt x="64" y="144"/>
                  </a:lnTo>
                  <a:lnTo>
                    <a:pt x="60" y="140"/>
                  </a:lnTo>
                  <a:lnTo>
                    <a:pt x="60" y="136"/>
                  </a:lnTo>
                  <a:lnTo>
                    <a:pt x="64" y="136"/>
                  </a:lnTo>
                  <a:lnTo>
                    <a:pt x="64" y="132"/>
                  </a:lnTo>
                  <a:lnTo>
                    <a:pt x="68" y="132"/>
                  </a:lnTo>
                  <a:lnTo>
                    <a:pt x="68" y="128"/>
                  </a:lnTo>
                  <a:lnTo>
                    <a:pt x="68" y="124"/>
                  </a:lnTo>
                  <a:lnTo>
                    <a:pt x="72" y="124"/>
                  </a:lnTo>
                  <a:lnTo>
                    <a:pt x="72" y="120"/>
                  </a:lnTo>
                  <a:lnTo>
                    <a:pt x="76" y="116"/>
                  </a:lnTo>
                  <a:lnTo>
                    <a:pt x="80" y="116"/>
                  </a:lnTo>
                  <a:lnTo>
                    <a:pt x="84" y="112"/>
                  </a:lnTo>
                  <a:lnTo>
                    <a:pt x="84" y="108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96"/>
                  </a:lnTo>
                  <a:lnTo>
                    <a:pt x="88" y="96"/>
                  </a:lnTo>
                  <a:lnTo>
                    <a:pt x="88" y="92"/>
                  </a:lnTo>
                  <a:lnTo>
                    <a:pt x="88" y="88"/>
                  </a:lnTo>
                  <a:lnTo>
                    <a:pt x="88" y="84"/>
                  </a:lnTo>
                  <a:lnTo>
                    <a:pt x="88" y="80"/>
                  </a:lnTo>
                  <a:lnTo>
                    <a:pt x="88" y="76"/>
                  </a:lnTo>
                  <a:lnTo>
                    <a:pt x="92" y="68"/>
                  </a:lnTo>
                  <a:lnTo>
                    <a:pt x="92" y="64"/>
                  </a:lnTo>
                  <a:lnTo>
                    <a:pt x="92" y="60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96" y="52"/>
                  </a:lnTo>
                  <a:lnTo>
                    <a:pt x="96" y="48"/>
                  </a:lnTo>
                  <a:lnTo>
                    <a:pt x="96" y="44"/>
                  </a:lnTo>
                  <a:lnTo>
                    <a:pt x="96" y="40"/>
                  </a:lnTo>
                  <a:lnTo>
                    <a:pt x="100" y="40"/>
                  </a:lnTo>
                  <a:lnTo>
                    <a:pt x="100" y="36"/>
                  </a:lnTo>
                  <a:lnTo>
                    <a:pt x="100" y="32"/>
                  </a:lnTo>
                  <a:lnTo>
                    <a:pt x="100" y="28"/>
                  </a:lnTo>
                  <a:lnTo>
                    <a:pt x="100" y="24"/>
                  </a:lnTo>
                  <a:lnTo>
                    <a:pt x="100" y="20"/>
                  </a:lnTo>
                  <a:lnTo>
                    <a:pt x="96" y="20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0" y="16"/>
                  </a:lnTo>
                  <a:lnTo>
                    <a:pt x="104" y="12"/>
                  </a:lnTo>
                  <a:lnTo>
                    <a:pt x="104" y="8"/>
                  </a:lnTo>
                  <a:lnTo>
                    <a:pt x="108" y="8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20" y="8"/>
                  </a:lnTo>
                  <a:lnTo>
                    <a:pt x="124" y="8"/>
                  </a:lnTo>
                  <a:lnTo>
                    <a:pt x="124" y="12"/>
                  </a:lnTo>
                  <a:lnTo>
                    <a:pt x="128" y="12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20"/>
                  </a:lnTo>
                  <a:lnTo>
                    <a:pt x="144" y="20"/>
                  </a:lnTo>
                  <a:lnTo>
                    <a:pt x="148" y="20"/>
                  </a:lnTo>
                  <a:lnTo>
                    <a:pt x="152" y="20"/>
                  </a:lnTo>
                  <a:lnTo>
                    <a:pt x="152" y="24"/>
                  </a:lnTo>
                  <a:lnTo>
                    <a:pt x="156" y="24"/>
                  </a:lnTo>
                  <a:lnTo>
                    <a:pt x="156" y="20"/>
                  </a:lnTo>
                  <a:lnTo>
                    <a:pt x="160" y="20"/>
                  </a:lnTo>
                  <a:lnTo>
                    <a:pt x="160" y="16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4" y="8"/>
                  </a:lnTo>
                  <a:lnTo>
                    <a:pt x="164" y="12"/>
                  </a:lnTo>
                  <a:lnTo>
                    <a:pt x="168" y="12"/>
                  </a:lnTo>
                  <a:lnTo>
                    <a:pt x="172" y="12"/>
                  </a:lnTo>
                  <a:lnTo>
                    <a:pt x="176" y="8"/>
                  </a:lnTo>
                  <a:lnTo>
                    <a:pt x="180" y="8"/>
                  </a:lnTo>
                  <a:lnTo>
                    <a:pt x="184" y="8"/>
                  </a:lnTo>
                  <a:lnTo>
                    <a:pt x="188" y="4"/>
                  </a:lnTo>
                  <a:lnTo>
                    <a:pt x="184" y="4"/>
                  </a:lnTo>
                  <a:lnTo>
                    <a:pt x="188" y="4"/>
                  </a:lnTo>
                  <a:lnTo>
                    <a:pt x="192" y="8"/>
                  </a:lnTo>
                  <a:lnTo>
                    <a:pt x="196" y="8"/>
                  </a:lnTo>
                  <a:lnTo>
                    <a:pt x="200" y="8"/>
                  </a:lnTo>
                  <a:lnTo>
                    <a:pt x="200" y="4"/>
                  </a:lnTo>
                  <a:lnTo>
                    <a:pt x="200" y="0"/>
                  </a:lnTo>
                  <a:lnTo>
                    <a:pt x="204" y="0"/>
                  </a:lnTo>
                  <a:lnTo>
                    <a:pt x="208" y="0"/>
                  </a:lnTo>
                  <a:lnTo>
                    <a:pt x="208" y="4"/>
                  </a:lnTo>
                  <a:lnTo>
                    <a:pt x="212" y="4"/>
                  </a:lnTo>
                  <a:lnTo>
                    <a:pt x="212" y="0"/>
                  </a:lnTo>
                  <a:lnTo>
                    <a:pt x="212" y="4"/>
                  </a:lnTo>
                  <a:lnTo>
                    <a:pt x="216" y="4"/>
                  </a:lnTo>
                  <a:lnTo>
                    <a:pt x="220" y="4"/>
                  </a:lnTo>
                  <a:lnTo>
                    <a:pt x="224" y="4"/>
                  </a:lnTo>
                  <a:lnTo>
                    <a:pt x="228" y="4"/>
                  </a:lnTo>
                  <a:lnTo>
                    <a:pt x="232" y="4"/>
                  </a:lnTo>
                  <a:lnTo>
                    <a:pt x="232" y="8"/>
                  </a:lnTo>
                  <a:lnTo>
                    <a:pt x="236" y="8"/>
                  </a:lnTo>
                  <a:lnTo>
                    <a:pt x="236" y="12"/>
                  </a:lnTo>
                  <a:lnTo>
                    <a:pt x="240" y="16"/>
                  </a:lnTo>
                  <a:lnTo>
                    <a:pt x="243" y="16"/>
                  </a:lnTo>
                  <a:lnTo>
                    <a:pt x="243" y="20"/>
                  </a:lnTo>
                  <a:lnTo>
                    <a:pt x="247" y="20"/>
                  </a:lnTo>
                  <a:lnTo>
                    <a:pt x="247" y="16"/>
                  </a:lnTo>
                  <a:lnTo>
                    <a:pt x="251" y="16"/>
                  </a:lnTo>
                  <a:lnTo>
                    <a:pt x="255" y="16"/>
                  </a:lnTo>
                  <a:lnTo>
                    <a:pt x="259" y="16"/>
                  </a:lnTo>
                  <a:lnTo>
                    <a:pt x="259" y="20"/>
                  </a:lnTo>
                  <a:lnTo>
                    <a:pt x="259" y="16"/>
                  </a:lnTo>
                  <a:lnTo>
                    <a:pt x="263" y="16"/>
                  </a:lnTo>
                  <a:lnTo>
                    <a:pt x="263" y="12"/>
                  </a:lnTo>
                  <a:lnTo>
                    <a:pt x="267" y="12"/>
                  </a:lnTo>
                  <a:lnTo>
                    <a:pt x="267" y="16"/>
                  </a:lnTo>
                  <a:lnTo>
                    <a:pt x="267" y="20"/>
                  </a:lnTo>
                  <a:lnTo>
                    <a:pt x="271" y="20"/>
                  </a:lnTo>
                  <a:lnTo>
                    <a:pt x="271" y="24"/>
                  </a:lnTo>
                  <a:lnTo>
                    <a:pt x="275" y="24"/>
                  </a:lnTo>
                  <a:lnTo>
                    <a:pt x="275" y="28"/>
                  </a:lnTo>
                  <a:lnTo>
                    <a:pt x="279" y="28"/>
                  </a:lnTo>
                  <a:lnTo>
                    <a:pt x="279" y="32"/>
                  </a:lnTo>
                  <a:lnTo>
                    <a:pt x="283" y="32"/>
                  </a:lnTo>
                  <a:lnTo>
                    <a:pt x="283" y="36"/>
                  </a:lnTo>
                  <a:lnTo>
                    <a:pt x="283" y="40"/>
                  </a:lnTo>
                  <a:lnTo>
                    <a:pt x="283" y="44"/>
                  </a:lnTo>
                  <a:lnTo>
                    <a:pt x="283" y="48"/>
                  </a:lnTo>
                  <a:lnTo>
                    <a:pt x="283" y="52"/>
                  </a:lnTo>
                  <a:lnTo>
                    <a:pt x="283" y="56"/>
                  </a:lnTo>
                  <a:lnTo>
                    <a:pt x="287" y="52"/>
                  </a:lnTo>
                  <a:lnTo>
                    <a:pt x="287" y="56"/>
                  </a:lnTo>
                  <a:lnTo>
                    <a:pt x="291" y="60"/>
                  </a:lnTo>
                  <a:lnTo>
                    <a:pt x="287" y="60"/>
                  </a:lnTo>
                  <a:lnTo>
                    <a:pt x="287" y="64"/>
                  </a:lnTo>
                  <a:lnTo>
                    <a:pt x="283" y="68"/>
                  </a:lnTo>
                  <a:lnTo>
                    <a:pt x="279" y="72"/>
                  </a:lnTo>
                  <a:lnTo>
                    <a:pt x="279" y="76"/>
                  </a:lnTo>
                  <a:lnTo>
                    <a:pt x="275" y="76"/>
                  </a:lnTo>
                  <a:lnTo>
                    <a:pt x="275" y="80"/>
                  </a:lnTo>
                  <a:lnTo>
                    <a:pt x="271" y="80"/>
                  </a:lnTo>
                  <a:lnTo>
                    <a:pt x="271" y="84"/>
                  </a:lnTo>
                  <a:lnTo>
                    <a:pt x="271" y="88"/>
                  </a:lnTo>
                  <a:lnTo>
                    <a:pt x="271" y="92"/>
                  </a:lnTo>
                  <a:lnTo>
                    <a:pt x="267" y="92"/>
                  </a:lnTo>
                  <a:lnTo>
                    <a:pt x="267" y="96"/>
                  </a:lnTo>
                  <a:lnTo>
                    <a:pt x="267" y="100"/>
                  </a:lnTo>
                  <a:lnTo>
                    <a:pt x="267" y="104"/>
                  </a:lnTo>
                  <a:lnTo>
                    <a:pt x="267" y="108"/>
                  </a:lnTo>
                  <a:lnTo>
                    <a:pt x="263" y="108"/>
                  </a:lnTo>
                  <a:lnTo>
                    <a:pt x="263" y="112"/>
                  </a:lnTo>
                  <a:lnTo>
                    <a:pt x="263" y="116"/>
                  </a:lnTo>
                  <a:lnTo>
                    <a:pt x="263" y="120"/>
                  </a:lnTo>
                  <a:lnTo>
                    <a:pt x="263" y="124"/>
                  </a:lnTo>
                  <a:lnTo>
                    <a:pt x="259" y="124"/>
                  </a:lnTo>
                  <a:lnTo>
                    <a:pt x="259" y="128"/>
                  </a:lnTo>
                  <a:lnTo>
                    <a:pt x="259" y="132"/>
                  </a:lnTo>
                  <a:lnTo>
                    <a:pt x="259" y="136"/>
                  </a:lnTo>
                  <a:lnTo>
                    <a:pt x="259" y="140"/>
                  </a:lnTo>
                  <a:lnTo>
                    <a:pt x="255" y="140"/>
                  </a:lnTo>
                  <a:lnTo>
                    <a:pt x="255" y="144"/>
                  </a:lnTo>
                  <a:lnTo>
                    <a:pt x="255" y="148"/>
                  </a:lnTo>
                  <a:lnTo>
                    <a:pt x="259" y="152"/>
                  </a:lnTo>
                  <a:lnTo>
                    <a:pt x="259" y="155"/>
                  </a:lnTo>
                  <a:lnTo>
                    <a:pt x="259" y="159"/>
                  </a:lnTo>
                  <a:lnTo>
                    <a:pt x="259" y="163"/>
                  </a:lnTo>
                  <a:lnTo>
                    <a:pt x="259" y="167"/>
                  </a:lnTo>
                  <a:lnTo>
                    <a:pt x="259" y="171"/>
                  </a:lnTo>
                  <a:lnTo>
                    <a:pt x="263" y="175"/>
                  </a:lnTo>
                  <a:lnTo>
                    <a:pt x="263" y="179"/>
                  </a:lnTo>
                  <a:lnTo>
                    <a:pt x="263" y="183"/>
                  </a:lnTo>
                  <a:lnTo>
                    <a:pt x="259" y="183"/>
                  </a:lnTo>
                  <a:lnTo>
                    <a:pt x="259" y="187"/>
                  </a:lnTo>
                  <a:lnTo>
                    <a:pt x="259" y="191"/>
                  </a:lnTo>
                  <a:lnTo>
                    <a:pt x="263" y="191"/>
                  </a:lnTo>
                  <a:lnTo>
                    <a:pt x="263" y="195"/>
                  </a:lnTo>
                  <a:lnTo>
                    <a:pt x="263" y="199"/>
                  </a:lnTo>
                  <a:lnTo>
                    <a:pt x="263" y="203"/>
                  </a:lnTo>
                  <a:lnTo>
                    <a:pt x="263" y="207"/>
                  </a:lnTo>
                  <a:lnTo>
                    <a:pt x="263" y="211"/>
                  </a:lnTo>
                  <a:lnTo>
                    <a:pt x="263" y="215"/>
                  </a:lnTo>
                  <a:lnTo>
                    <a:pt x="267" y="219"/>
                  </a:lnTo>
                  <a:lnTo>
                    <a:pt x="271" y="223"/>
                  </a:lnTo>
                  <a:lnTo>
                    <a:pt x="275" y="223"/>
                  </a:lnTo>
                  <a:lnTo>
                    <a:pt x="275" y="227"/>
                  </a:lnTo>
                  <a:lnTo>
                    <a:pt x="275" y="231"/>
                  </a:lnTo>
                  <a:lnTo>
                    <a:pt x="275" y="235"/>
                  </a:lnTo>
                  <a:lnTo>
                    <a:pt x="279" y="235"/>
                  </a:lnTo>
                  <a:lnTo>
                    <a:pt x="279" y="239"/>
                  </a:lnTo>
                  <a:lnTo>
                    <a:pt x="279" y="243"/>
                  </a:lnTo>
                  <a:lnTo>
                    <a:pt x="283" y="243"/>
                  </a:lnTo>
                  <a:lnTo>
                    <a:pt x="283" y="247"/>
                  </a:lnTo>
                  <a:lnTo>
                    <a:pt x="279" y="247"/>
                  </a:lnTo>
                  <a:lnTo>
                    <a:pt x="275" y="247"/>
                  </a:lnTo>
                  <a:lnTo>
                    <a:pt x="271" y="251"/>
                  </a:lnTo>
                  <a:lnTo>
                    <a:pt x="263" y="251"/>
                  </a:lnTo>
                  <a:lnTo>
                    <a:pt x="259" y="251"/>
                  </a:lnTo>
                  <a:lnTo>
                    <a:pt x="255" y="251"/>
                  </a:lnTo>
                  <a:lnTo>
                    <a:pt x="255" y="255"/>
                  </a:lnTo>
                  <a:lnTo>
                    <a:pt x="255" y="259"/>
                  </a:lnTo>
                  <a:lnTo>
                    <a:pt x="251" y="259"/>
                  </a:lnTo>
                  <a:lnTo>
                    <a:pt x="251" y="263"/>
                  </a:lnTo>
                  <a:lnTo>
                    <a:pt x="247" y="267"/>
                  </a:lnTo>
                  <a:lnTo>
                    <a:pt x="247" y="271"/>
                  </a:lnTo>
                  <a:lnTo>
                    <a:pt x="251" y="275"/>
                  </a:lnTo>
                  <a:lnTo>
                    <a:pt x="251" y="279"/>
                  </a:lnTo>
                  <a:lnTo>
                    <a:pt x="251" y="283"/>
                  </a:lnTo>
                  <a:lnTo>
                    <a:pt x="251" y="287"/>
                  </a:lnTo>
                  <a:lnTo>
                    <a:pt x="251" y="291"/>
                  </a:lnTo>
                  <a:lnTo>
                    <a:pt x="251" y="295"/>
                  </a:lnTo>
                  <a:lnTo>
                    <a:pt x="247" y="295"/>
                  </a:lnTo>
                  <a:lnTo>
                    <a:pt x="247" y="299"/>
                  </a:lnTo>
                  <a:lnTo>
                    <a:pt x="247" y="303"/>
                  </a:lnTo>
                  <a:lnTo>
                    <a:pt x="247" y="307"/>
                  </a:lnTo>
                  <a:lnTo>
                    <a:pt x="247" y="311"/>
                  </a:lnTo>
                  <a:lnTo>
                    <a:pt x="247" y="315"/>
                  </a:lnTo>
                  <a:lnTo>
                    <a:pt x="251" y="315"/>
                  </a:lnTo>
                  <a:lnTo>
                    <a:pt x="251" y="319"/>
                  </a:lnTo>
                  <a:lnTo>
                    <a:pt x="255" y="323"/>
                  </a:lnTo>
                  <a:lnTo>
                    <a:pt x="259" y="323"/>
                  </a:lnTo>
                  <a:lnTo>
                    <a:pt x="263" y="327"/>
                  </a:lnTo>
                  <a:lnTo>
                    <a:pt x="263" y="323"/>
                  </a:lnTo>
                  <a:lnTo>
                    <a:pt x="267" y="319"/>
                  </a:lnTo>
                  <a:lnTo>
                    <a:pt x="267" y="323"/>
                  </a:lnTo>
                  <a:lnTo>
                    <a:pt x="267" y="327"/>
                  </a:lnTo>
                  <a:lnTo>
                    <a:pt x="267" y="331"/>
                  </a:lnTo>
                  <a:lnTo>
                    <a:pt x="267" y="339"/>
                  </a:lnTo>
                  <a:lnTo>
                    <a:pt x="267" y="343"/>
                  </a:lnTo>
                  <a:lnTo>
                    <a:pt x="263" y="343"/>
                  </a:lnTo>
                  <a:lnTo>
                    <a:pt x="267" y="343"/>
                  </a:lnTo>
                  <a:lnTo>
                    <a:pt x="263" y="339"/>
                  </a:lnTo>
                  <a:lnTo>
                    <a:pt x="263" y="343"/>
                  </a:lnTo>
                  <a:lnTo>
                    <a:pt x="259" y="343"/>
                  </a:lnTo>
                  <a:lnTo>
                    <a:pt x="255" y="343"/>
                  </a:lnTo>
                  <a:lnTo>
                    <a:pt x="255" y="339"/>
                  </a:lnTo>
                  <a:lnTo>
                    <a:pt x="251" y="335"/>
                  </a:lnTo>
                  <a:lnTo>
                    <a:pt x="247" y="335"/>
                  </a:lnTo>
                  <a:lnTo>
                    <a:pt x="247" y="331"/>
                  </a:lnTo>
                  <a:lnTo>
                    <a:pt x="247" y="327"/>
                  </a:lnTo>
                  <a:lnTo>
                    <a:pt x="243" y="327"/>
                  </a:lnTo>
                  <a:lnTo>
                    <a:pt x="240" y="323"/>
                  </a:lnTo>
                  <a:lnTo>
                    <a:pt x="236" y="323"/>
                  </a:lnTo>
                  <a:lnTo>
                    <a:pt x="232" y="319"/>
                  </a:lnTo>
                  <a:lnTo>
                    <a:pt x="232" y="315"/>
                  </a:lnTo>
                  <a:lnTo>
                    <a:pt x="228" y="315"/>
                  </a:lnTo>
                  <a:lnTo>
                    <a:pt x="228" y="311"/>
                  </a:lnTo>
                  <a:lnTo>
                    <a:pt x="224" y="315"/>
                  </a:lnTo>
                  <a:lnTo>
                    <a:pt x="224" y="319"/>
                  </a:lnTo>
                  <a:lnTo>
                    <a:pt x="220" y="319"/>
                  </a:lnTo>
                  <a:lnTo>
                    <a:pt x="216" y="315"/>
                  </a:lnTo>
                  <a:lnTo>
                    <a:pt x="212" y="315"/>
                  </a:lnTo>
                  <a:lnTo>
                    <a:pt x="208" y="315"/>
                  </a:lnTo>
                  <a:lnTo>
                    <a:pt x="204" y="311"/>
                  </a:lnTo>
                  <a:lnTo>
                    <a:pt x="200" y="311"/>
                  </a:lnTo>
                  <a:lnTo>
                    <a:pt x="200" y="307"/>
                  </a:lnTo>
                  <a:lnTo>
                    <a:pt x="200" y="303"/>
                  </a:lnTo>
                  <a:lnTo>
                    <a:pt x="196" y="303"/>
                  </a:lnTo>
                  <a:lnTo>
                    <a:pt x="192" y="307"/>
                  </a:lnTo>
                  <a:lnTo>
                    <a:pt x="188" y="307"/>
                  </a:lnTo>
                  <a:lnTo>
                    <a:pt x="184" y="307"/>
                  </a:lnTo>
                  <a:lnTo>
                    <a:pt x="188" y="303"/>
                  </a:lnTo>
                  <a:lnTo>
                    <a:pt x="188" y="299"/>
                  </a:lnTo>
                  <a:lnTo>
                    <a:pt x="184" y="299"/>
                  </a:lnTo>
                  <a:lnTo>
                    <a:pt x="180" y="299"/>
                  </a:lnTo>
                  <a:lnTo>
                    <a:pt x="180" y="295"/>
                  </a:lnTo>
                  <a:lnTo>
                    <a:pt x="180" y="299"/>
                  </a:lnTo>
                  <a:lnTo>
                    <a:pt x="176" y="299"/>
                  </a:lnTo>
                  <a:lnTo>
                    <a:pt x="172" y="299"/>
                  </a:lnTo>
                  <a:lnTo>
                    <a:pt x="168" y="299"/>
                  </a:lnTo>
                  <a:lnTo>
                    <a:pt x="164" y="299"/>
                  </a:lnTo>
                  <a:lnTo>
                    <a:pt x="160" y="299"/>
                  </a:lnTo>
                  <a:lnTo>
                    <a:pt x="156" y="299"/>
                  </a:lnTo>
                  <a:lnTo>
                    <a:pt x="156" y="303"/>
                  </a:lnTo>
                  <a:lnTo>
                    <a:pt x="152" y="303"/>
                  </a:lnTo>
                  <a:lnTo>
                    <a:pt x="152" y="299"/>
                  </a:lnTo>
                  <a:lnTo>
                    <a:pt x="152" y="295"/>
                  </a:lnTo>
                  <a:lnTo>
                    <a:pt x="156" y="295"/>
                  </a:lnTo>
                  <a:lnTo>
                    <a:pt x="156" y="291"/>
                  </a:lnTo>
                  <a:lnTo>
                    <a:pt x="156" y="287"/>
                  </a:lnTo>
                  <a:lnTo>
                    <a:pt x="152" y="283"/>
                  </a:lnTo>
                  <a:lnTo>
                    <a:pt x="152" y="279"/>
                  </a:lnTo>
                  <a:lnTo>
                    <a:pt x="148" y="275"/>
                  </a:lnTo>
                  <a:lnTo>
                    <a:pt x="148" y="271"/>
                  </a:lnTo>
                  <a:lnTo>
                    <a:pt x="148" y="267"/>
                  </a:lnTo>
                  <a:lnTo>
                    <a:pt x="148" y="263"/>
                  </a:lnTo>
                  <a:lnTo>
                    <a:pt x="148" y="259"/>
                  </a:lnTo>
                  <a:lnTo>
                    <a:pt x="148" y="255"/>
                  </a:lnTo>
                  <a:lnTo>
                    <a:pt x="148" y="251"/>
                  </a:lnTo>
                  <a:lnTo>
                    <a:pt x="148" y="247"/>
                  </a:lnTo>
                  <a:lnTo>
                    <a:pt x="148" y="243"/>
                  </a:lnTo>
                  <a:lnTo>
                    <a:pt x="148" y="239"/>
                  </a:lnTo>
                  <a:lnTo>
                    <a:pt x="148" y="235"/>
                  </a:lnTo>
                  <a:lnTo>
                    <a:pt x="148" y="231"/>
                  </a:lnTo>
                  <a:lnTo>
                    <a:pt x="144" y="231"/>
                  </a:lnTo>
                  <a:lnTo>
                    <a:pt x="136" y="231"/>
                  </a:lnTo>
                  <a:lnTo>
                    <a:pt x="128" y="231"/>
                  </a:lnTo>
                  <a:lnTo>
                    <a:pt x="128" y="227"/>
                  </a:lnTo>
                  <a:lnTo>
                    <a:pt x="128" y="223"/>
                  </a:lnTo>
                  <a:lnTo>
                    <a:pt x="124" y="223"/>
                  </a:lnTo>
                  <a:lnTo>
                    <a:pt x="124" y="227"/>
                  </a:lnTo>
                  <a:lnTo>
                    <a:pt x="120" y="227"/>
                  </a:lnTo>
                  <a:lnTo>
                    <a:pt x="112" y="227"/>
                  </a:lnTo>
                  <a:lnTo>
                    <a:pt x="112" y="231"/>
                  </a:lnTo>
                  <a:lnTo>
                    <a:pt x="112" y="235"/>
                  </a:lnTo>
                  <a:lnTo>
                    <a:pt x="112" y="239"/>
                  </a:lnTo>
                  <a:lnTo>
                    <a:pt x="108" y="239"/>
                  </a:lnTo>
                  <a:lnTo>
                    <a:pt x="108" y="243"/>
                  </a:lnTo>
                  <a:lnTo>
                    <a:pt x="112" y="243"/>
                  </a:lnTo>
                  <a:lnTo>
                    <a:pt x="104" y="243"/>
                  </a:lnTo>
                  <a:lnTo>
                    <a:pt x="100" y="243"/>
                  </a:lnTo>
                  <a:lnTo>
                    <a:pt x="96" y="243"/>
                  </a:lnTo>
                  <a:lnTo>
                    <a:pt x="92" y="243"/>
                  </a:lnTo>
                  <a:lnTo>
                    <a:pt x="92" y="247"/>
                  </a:lnTo>
                  <a:lnTo>
                    <a:pt x="88" y="247"/>
                  </a:lnTo>
                  <a:lnTo>
                    <a:pt x="88" y="243"/>
                  </a:lnTo>
                  <a:lnTo>
                    <a:pt x="84" y="247"/>
                  </a:lnTo>
                  <a:lnTo>
                    <a:pt x="84" y="243"/>
                  </a:lnTo>
                  <a:lnTo>
                    <a:pt x="80" y="243"/>
                  </a:lnTo>
                  <a:lnTo>
                    <a:pt x="80" y="239"/>
                  </a:lnTo>
                  <a:lnTo>
                    <a:pt x="76" y="235"/>
                  </a:lnTo>
                  <a:lnTo>
                    <a:pt x="76" y="231"/>
                  </a:lnTo>
                  <a:lnTo>
                    <a:pt x="72" y="231"/>
                  </a:lnTo>
                  <a:lnTo>
                    <a:pt x="72" y="227"/>
                  </a:lnTo>
                  <a:lnTo>
                    <a:pt x="72" y="223"/>
                  </a:lnTo>
                  <a:lnTo>
                    <a:pt x="72" y="219"/>
                  </a:lnTo>
                  <a:lnTo>
                    <a:pt x="68" y="215"/>
                  </a:lnTo>
                  <a:lnTo>
                    <a:pt x="68" y="211"/>
                  </a:lnTo>
                  <a:lnTo>
                    <a:pt x="68" y="207"/>
                  </a:lnTo>
                  <a:lnTo>
                    <a:pt x="68" y="203"/>
                  </a:lnTo>
                  <a:lnTo>
                    <a:pt x="64" y="203"/>
                  </a:lnTo>
                  <a:lnTo>
                    <a:pt x="60" y="20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3" name="Freeform 130"/>
            <p:cNvSpPr>
              <a:spLocks noEditPoints="1"/>
            </p:cNvSpPr>
            <p:nvPr>
              <p:custDataLst>
                <p:tags r:id="rId326"/>
              </p:custDataLst>
            </p:nvPr>
          </p:nvSpPr>
          <p:spPr bwMode="gray">
            <a:xfrm>
              <a:off x="4180296" y="4302308"/>
              <a:ext cx="142374" cy="177968"/>
            </a:xfrm>
            <a:custGeom>
              <a:avLst/>
              <a:gdLst/>
              <a:ahLst/>
              <a:cxnLst>
                <a:cxn ang="0">
                  <a:pos x="48" y="104"/>
                </a:cxn>
                <a:cxn ang="0">
                  <a:pos x="56" y="104"/>
                </a:cxn>
                <a:cxn ang="0">
                  <a:pos x="48" y="104"/>
                </a:cxn>
                <a:cxn ang="0">
                  <a:pos x="36" y="108"/>
                </a:cxn>
                <a:cxn ang="0">
                  <a:pos x="32" y="112"/>
                </a:cxn>
                <a:cxn ang="0">
                  <a:pos x="24" y="116"/>
                </a:cxn>
                <a:cxn ang="0">
                  <a:pos x="20" y="120"/>
                </a:cxn>
                <a:cxn ang="0">
                  <a:pos x="16" y="112"/>
                </a:cxn>
                <a:cxn ang="0">
                  <a:pos x="20" y="100"/>
                </a:cxn>
                <a:cxn ang="0">
                  <a:pos x="20" y="92"/>
                </a:cxn>
                <a:cxn ang="0">
                  <a:pos x="16" y="88"/>
                </a:cxn>
                <a:cxn ang="0">
                  <a:pos x="12" y="84"/>
                </a:cxn>
                <a:cxn ang="0">
                  <a:pos x="0" y="80"/>
                </a:cxn>
                <a:cxn ang="0">
                  <a:pos x="4" y="76"/>
                </a:cxn>
                <a:cxn ang="0">
                  <a:pos x="4" y="72"/>
                </a:cxn>
                <a:cxn ang="0">
                  <a:pos x="4" y="60"/>
                </a:cxn>
                <a:cxn ang="0">
                  <a:pos x="8" y="60"/>
                </a:cxn>
                <a:cxn ang="0">
                  <a:pos x="8" y="52"/>
                </a:cxn>
                <a:cxn ang="0">
                  <a:pos x="8" y="48"/>
                </a:cxn>
                <a:cxn ang="0">
                  <a:pos x="12" y="40"/>
                </a:cxn>
                <a:cxn ang="0">
                  <a:pos x="16" y="44"/>
                </a:cxn>
                <a:cxn ang="0">
                  <a:pos x="12" y="36"/>
                </a:cxn>
                <a:cxn ang="0">
                  <a:pos x="16" y="32"/>
                </a:cxn>
                <a:cxn ang="0">
                  <a:pos x="8" y="24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20" y="8"/>
                </a:cxn>
                <a:cxn ang="0">
                  <a:pos x="24" y="12"/>
                </a:cxn>
                <a:cxn ang="0">
                  <a:pos x="32" y="8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40" y="8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52" y="8"/>
                </a:cxn>
                <a:cxn ang="0">
                  <a:pos x="60" y="16"/>
                </a:cxn>
                <a:cxn ang="0">
                  <a:pos x="64" y="20"/>
                </a:cxn>
                <a:cxn ang="0">
                  <a:pos x="72" y="16"/>
                </a:cxn>
                <a:cxn ang="0">
                  <a:pos x="80" y="16"/>
                </a:cxn>
                <a:cxn ang="0">
                  <a:pos x="88" y="24"/>
                </a:cxn>
                <a:cxn ang="0">
                  <a:pos x="92" y="28"/>
                </a:cxn>
                <a:cxn ang="0">
                  <a:pos x="92" y="36"/>
                </a:cxn>
                <a:cxn ang="0">
                  <a:pos x="92" y="48"/>
                </a:cxn>
                <a:cxn ang="0">
                  <a:pos x="88" y="64"/>
                </a:cxn>
                <a:cxn ang="0">
                  <a:pos x="84" y="76"/>
                </a:cxn>
                <a:cxn ang="0">
                  <a:pos x="84" y="84"/>
                </a:cxn>
                <a:cxn ang="0">
                  <a:pos x="88" y="96"/>
                </a:cxn>
                <a:cxn ang="0">
                  <a:pos x="92" y="104"/>
                </a:cxn>
                <a:cxn ang="0">
                  <a:pos x="88" y="104"/>
                </a:cxn>
                <a:cxn ang="0">
                  <a:pos x="84" y="100"/>
                </a:cxn>
                <a:cxn ang="0">
                  <a:pos x="80" y="104"/>
                </a:cxn>
                <a:cxn ang="0">
                  <a:pos x="76" y="104"/>
                </a:cxn>
                <a:cxn ang="0">
                  <a:pos x="76" y="100"/>
                </a:cxn>
                <a:cxn ang="0">
                  <a:pos x="76" y="100"/>
                </a:cxn>
                <a:cxn ang="0">
                  <a:pos x="64" y="100"/>
                </a:cxn>
                <a:cxn ang="0">
                  <a:pos x="64" y="104"/>
                </a:cxn>
                <a:cxn ang="0">
                  <a:pos x="68" y="100"/>
                </a:cxn>
                <a:cxn ang="0">
                  <a:pos x="60" y="104"/>
                </a:cxn>
                <a:cxn ang="0">
                  <a:pos x="56" y="104"/>
                </a:cxn>
                <a:cxn ang="0">
                  <a:pos x="52" y="104"/>
                </a:cxn>
                <a:cxn ang="0">
                  <a:pos x="84" y="104"/>
                </a:cxn>
              </a:cxnLst>
              <a:rect l="0" t="0" r="r" b="b"/>
              <a:pathLst>
                <a:path w="96" h="120">
                  <a:moveTo>
                    <a:pt x="52" y="104"/>
                  </a:move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16" y="120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6" y="104"/>
                  </a:lnTo>
                  <a:lnTo>
                    <a:pt x="20" y="104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8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92" y="96"/>
                  </a:lnTo>
                  <a:lnTo>
                    <a:pt x="92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2" y="104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68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72" y="100"/>
                  </a:lnTo>
                  <a:lnTo>
                    <a:pt x="72" y="104"/>
                  </a:lnTo>
                  <a:lnTo>
                    <a:pt x="68" y="104"/>
                  </a:lnTo>
                  <a:lnTo>
                    <a:pt x="68" y="104"/>
                  </a:lnTo>
                  <a:lnTo>
                    <a:pt x="68" y="104"/>
                  </a:lnTo>
                  <a:lnTo>
                    <a:pt x="64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close/>
                  <a:moveTo>
                    <a:pt x="84" y="104"/>
                  </a:move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4" name="Freeform 131"/>
            <p:cNvSpPr>
              <a:spLocks/>
            </p:cNvSpPr>
            <p:nvPr>
              <p:custDataLst>
                <p:tags r:id="rId327"/>
              </p:custDataLst>
            </p:nvPr>
          </p:nvSpPr>
          <p:spPr bwMode="gray">
            <a:xfrm>
              <a:off x="5310391" y="4248918"/>
              <a:ext cx="41526" cy="47458"/>
            </a:xfrm>
            <a:custGeom>
              <a:avLst/>
              <a:gdLst/>
              <a:ahLst/>
              <a:cxnLst>
                <a:cxn ang="0">
                  <a:pos x="24" y="4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4" y="12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6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8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0" y="24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4"/>
                </a:cxn>
                <a:cxn ang="0">
                  <a:pos x="24" y="4"/>
                </a:cxn>
              </a:cxnLst>
              <a:rect l="0" t="0" r="r" b="b"/>
              <a:pathLst>
                <a:path w="28" h="32">
                  <a:moveTo>
                    <a:pt x="24" y="4"/>
                  </a:moveTo>
                  <a:lnTo>
                    <a:pt x="24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5" name="Freeform 132"/>
            <p:cNvSpPr>
              <a:spLocks/>
            </p:cNvSpPr>
            <p:nvPr>
              <p:custDataLst>
                <p:tags r:id="rId328"/>
              </p:custDataLst>
            </p:nvPr>
          </p:nvSpPr>
          <p:spPr bwMode="gray">
            <a:xfrm>
              <a:off x="4932210" y="3716497"/>
              <a:ext cx="271400" cy="272884"/>
            </a:xfrm>
            <a:custGeom>
              <a:avLst/>
              <a:gdLst/>
              <a:ahLst/>
              <a:cxnLst>
                <a:cxn ang="0">
                  <a:pos x="115" y="8"/>
                </a:cxn>
                <a:cxn ang="0">
                  <a:pos x="127" y="12"/>
                </a:cxn>
                <a:cxn ang="0">
                  <a:pos x="139" y="8"/>
                </a:cxn>
                <a:cxn ang="0">
                  <a:pos x="147" y="20"/>
                </a:cxn>
                <a:cxn ang="0">
                  <a:pos x="151" y="36"/>
                </a:cxn>
                <a:cxn ang="0">
                  <a:pos x="151" y="52"/>
                </a:cxn>
                <a:cxn ang="0">
                  <a:pos x="147" y="68"/>
                </a:cxn>
                <a:cxn ang="0">
                  <a:pos x="139" y="72"/>
                </a:cxn>
                <a:cxn ang="0">
                  <a:pos x="131" y="64"/>
                </a:cxn>
                <a:cxn ang="0">
                  <a:pos x="123" y="48"/>
                </a:cxn>
                <a:cxn ang="0">
                  <a:pos x="119" y="32"/>
                </a:cxn>
                <a:cxn ang="0">
                  <a:pos x="119" y="44"/>
                </a:cxn>
                <a:cxn ang="0">
                  <a:pos x="123" y="56"/>
                </a:cxn>
                <a:cxn ang="0">
                  <a:pos x="131" y="68"/>
                </a:cxn>
                <a:cxn ang="0">
                  <a:pos x="131" y="76"/>
                </a:cxn>
                <a:cxn ang="0">
                  <a:pos x="135" y="88"/>
                </a:cxn>
                <a:cxn ang="0">
                  <a:pos x="143" y="104"/>
                </a:cxn>
                <a:cxn ang="0">
                  <a:pos x="151" y="120"/>
                </a:cxn>
                <a:cxn ang="0">
                  <a:pos x="155" y="132"/>
                </a:cxn>
                <a:cxn ang="0">
                  <a:pos x="163" y="144"/>
                </a:cxn>
                <a:cxn ang="0">
                  <a:pos x="163" y="152"/>
                </a:cxn>
                <a:cxn ang="0">
                  <a:pos x="163" y="168"/>
                </a:cxn>
                <a:cxn ang="0">
                  <a:pos x="175" y="176"/>
                </a:cxn>
                <a:cxn ang="0">
                  <a:pos x="183" y="184"/>
                </a:cxn>
                <a:cxn ang="0">
                  <a:pos x="167" y="184"/>
                </a:cxn>
                <a:cxn ang="0">
                  <a:pos x="151" y="184"/>
                </a:cxn>
                <a:cxn ang="0">
                  <a:pos x="131" y="184"/>
                </a:cxn>
                <a:cxn ang="0">
                  <a:pos x="107" y="184"/>
                </a:cxn>
                <a:cxn ang="0">
                  <a:pos x="99" y="180"/>
                </a:cxn>
                <a:cxn ang="0">
                  <a:pos x="87" y="184"/>
                </a:cxn>
                <a:cxn ang="0">
                  <a:pos x="67" y="184"/>
                </a:cxn>
                <a:cxn ang="0">
                  <a:pos x="44" y="184"/>
                </a:cxn>
                <a:cxn ang="0">
                  <a:pos x="28" y="184"/>
                </a:cxn>
                <a:cxn ang="0">
                  <a:pos x="4" y="184"/>
                </a:cxn>
                <a:cxn ang="0">
                  <a:pos x="4" y="140"/>
                </a:cxn>
                <a:cxn ang="0">
                  <a:pos x="4" y="108"/>
                </a:cxn>
                <a:cxn ang="0">
                  <a:pos x="4" y="88"/>
                </a:cxn>
                <a:cxn ang="0">
                  <a:pos x="4" y="68"/>
                </a:cxn>
                <a:cxn ang="0">
                  <a:pos x="4" y="44"/>
                </a:cxn>
                <a:cxn ang="0">
                  <a:pos x="0" y="28"/>
                </a:cxn>
                <a:cxn ang="0">
                  <a:pos x="4" y="12"/>
                </a:cxn>
                <a:cxn ang="0">
                  <a:pos x="4" y="0"/>
                </a:cxn>
                <a:cxn ang="0">
                  <a:pos x="20" y="0"/>
                </a:cxn>
                <a:cxn ang="0">
                  <a:pos x="32" y="4"/>
                </a:cxn>
                <a:cxn ang="0">
                  <a:pos x="44" y="8"/>
                </a:cxn>
                <a:cxn ang="0">
                  <a:pos x="59" y="12"/>
                </a:cxn>
                <a:cxn ang="0">
                  <a:pos x="75" y="12"/>
                </a:cxn>
                <a:cxn ang="0">
                  <a:pos x="79" y="8"/>
                </a:cxn>
                <a:cxn ang="0">
                  <a:pos x="83" y="4"/>
                </a:cxn>
                <a:cxn ang="0">
                  <a:pos x="91" y="4"/>
                </a:cxn>
                <a:cxn ang="0">
                  <a:pos x="95" y="0"/>
                </a:cxn>
                <a:cxn ang="0">
                  <a:pos x="107" y="4"/>
                </a:cxn>
                <a:cxn ang="0">
                  <a:pos x="107" y="4"/>
                </a:cxn>
                <a:cxn ang="0">
                  <a:pos x="111" y="12"/>
                </a:cxn>
              </a:cxnLst>
              <a:rect l="0" t="0" r="r" b="b"/>
              <a:pathLst>
                <a:path w="183" h="184">
                  <a:moveTo>
                    <a:pt x="111" y="8"/>
                  </a:moveTo>
                  <a:lnTo>
                    <a:pt x="115" y="8"/>
                  </a:lnTo>
                  <a:lnTo>
                    <a:pt x="111" y="8"/>
                  </a:lnTo>
                  <a:lnTo>
                    <a:pt x="115" y="8"/>
                  </a:lnTo>
                  <a:lnTo>
                    <a:pt x="119" y="12"/>
                  </a:lnTo>
                  <a:lnTo>
                    <a:pt x="123" y="8"/>
                  </a:lnTo>
                  <a:lnTo>
                    <a:pt x="127" y="8"/>
                  </a:lnTo>
                  <a:lnTo>
                    <a:pt x="127" y="12"/>
                  </a:lnTo>
                  <a:lnTo>
                    <a:pt x="127" y="8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43" y="4"/>
                  </a:lnTo>
                  <a:lnTo>
                    <a:pt x="143" y="8"/>
                  </a:lnTo>
                  <a:lnTo>
                    <a:pt x="147" y="16"/>
                  </a:lnTo>
                  <a:lnTo>
                    <a:pt x="147" y="20"/>
                  </a:lnTo>
                  <a:lnTo>
                    <a:pt x="147" y="24"/>
                  </a:lnTo>
                  <a:lnTo>
                    <a:pt x="151" y="28"/>
                  </a:lnTo>
                  <a:lnTo>
                    <a:pt x="151" y="32"/>
                  </a:lnTo>
                  <a:lnTo>
                    <a:pt x="151" y="36"/>
                  </a:lnTo>
                  <a:lnTo>
                    <a:pt x="151" y="40"/>
                  </a:lnTo>
                  <a:lnTo>
                    <a:pt x="151" y="44"/>
                  </a:lnTo>
                  <a:lnTo>
                    <a:pt x="151" y="48"/>
                  </a:lnTo>
                  <a:lnTo>
                    <a:pt x="151" y="52"/>
                  </a:lnTo>
                  <a:lnTo>
                    <a:pt x="147" y="56"/>
                  </a:lnTo>
                  <a:lnTo>
                    <a:pt x="147" y="60"/>
                  </a:lnTo>
                  <a:lnTo>
                    <a:pt x="147" y="64"/>
                  </a:lnTo>
                  <a:lnTo>
                    <a:pt x="147" y="68"/>
                  </a:lnTo>
                  <a:lnTo>
                    <a:pt x="147" y="72"/>
                  </a:lnTo>
                  <a:lnTo>
                    <a:pt x="143" y="72"/>
                  </a:lnTo>
                  <a:lnTo>
                    <a:pt x="143" y="76"/>
                  </a:lnTo>
                  <a:lnTo>
                    <a:pt x="139" y="72"/>
                  </a:lnTo>
                  <a:lnTo>
                    <a:pt x="135" y="72"/>
                  </a:lnTo>
                  <a:lnTo>
                    <a:pt x="135" y="68"/>
                  </a:lnTo>
                  <a:lnTo>
                    <a:pt x="135" y="64"/>
                  </a:lnTo>
                  <a:lnTo>
                    <a:pt x="131" y="64"/>
                  </a:lnTo>
                  <a:lnTo>
                    <a:pt x="127" y="60"/>
                  </a:lnTo>
                  <a:lnTo>
                    <a:pt x="127" y="56"/>
                  </a:lnTo>
                  <a:lnTo>
                    <a:pt x="127" y="52"/>
                  </a:lnTo>
                  <a:lnTo>
                    <a:pt x="123" y="48"/>
                  </a:lnTo>
                  <a:lnTo>
                    <a:pt x="119" y="44"/>
                  </a:lnTo>
                  <a:lnTo>
                    <a:pt x="119" y="40"/>
                  </a:lnTo>
                  <a:lnTo>
                    <a:pt x="119" y="36"/>
                  </a:lnTo>
                  <a:lnTo>
                    <a:pt x="119" y="32"/>
                  </a:lnTo>
                  <a:lnTo>
                    <a:pt x="115" y="32"/>
                  </a:lnTo>
                  <a:lnTo>
                    <a:pt x="115" y="36"/>
                  </a:lnTo>
                  <a:lnTo>
                    <a:pt x="115" y="40"/>
                  </a:lnTo>
                  <a:lnTo>
                    <a:pt x="119" y="44"/>
                  </a:lnTo>
                  <a:lnTo>
                    <a:pt x="119" y="48"/>
                  </a:lnTo>
                  <a:lnTo>
                    <a:pt x="119" y="52"/>
                  </a:lnTo>
                  <a:lnTo>
                    <a:pt x="119" y="56"/>
                  </a:lnTo>
                  <a:lnTo>
                    <a:pt x="123" y="56"/>
                  </a:lnTo>
                  <a:lnTo>
                    <a:pt x="123" y="60"/>
                  </a:lnTo>
                  <a:lnTo>
                    <a:pt x="127" y="64"/>
                  </a:lnTo>
                  <a:lnTo>
                    <a:pt x="127" y="68"/>
                  </a:lnTo>
                  <a:lnTo>
                    <a:pt x="131" y="68"/>
                  </a:lnTo>
                  <a:lnTo>
                    <a:pt x="131" y="72"/>
                  </a:lnTo>
                  <a:lnTo>
                    <a:pt x="131" y="76"/>
                  </a:lnTo>
                  <a:lnTo>
                    <a:pt x="131" y="72"/>
                  </a:lnTo>
                  <a:lnTo>
                    <a:pt x="131" y="76"/>
                  </a:lnTo>
                  <a:lnTo>
                    <a:pt x="131" y="80"/>
                  </a:lnTo>
                  <a:lnTo>
                    <a:pt x="135" y="80"/>
                  </a:lnTo>
                  <a:lnTo>
                    <a:pt x="135" y="84"/>
                  </a:lnTo>
                  <a:lnTo>
                    <a:pt x="135" y="88"/>
                  </a:lnTo>
                  <a:lnTo>
                    <a:pt x="139" y="92"/>
                  </a:lnTo>
                  <a:lnTo>
                    <a:pt x="139" y="96"/>
                  </a:lnTo>
                  <a:lnTo>
                    <a:pt x="139" y="100"/>
                  </a:lnTo>
                  <a:lnTo>
                    <a:pt x="143" y="104"/>
                  </a:lnTo>
                  <a:lnTo>
                    <a:pt x="143" y="108"/>
                  </a:lnTo>
                  <a:lnTo>
                    <a:pt x="147" y="112"/>
                  </a:lnTo>
                  <a:lnTo>
                    <a:pt x="147" y="116"/>
                  </a:lnTo>
                  <a:lnTo>
                    <a:pt x="151" y="120"/>
                  </a:lnTo>
                  <a:lnTo>
                    <a:pt x="151" y="124"/>
                  </a:lnTo>
                  <a:lnTo>
                    <a:pt x="151" y="128"/>
                  </a:lnTo>
                  <a:lnTo>
                    <a:pt x="155" y="128"/>
                  </a:lnTo>
                  <a:lnTo>
                    <a:pt x="155" y="132"/>
                  </a:lnTo>
                  <a:lnTo>
                    <a:pt x="155" y="136"/>
                  </a:lnTo>
                  <a:lnTo>
                    <a:pt x="159" y="140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63" y="148"/>
                  </a:lnTo>
                  <a:lnTo>
                    <a:pt x="167" y="148"/>
                  </a:lnTo>
                  <a:lnTo>
                    <a:pt x="163" y="148"/>
                  </a:lnTo>
                  <a:lnTo>
                    <a:pt x="163" y="152"/>
                  </a:lnTo>
                  <a:lnTo>
                    <a:pt x="163" y="156"/>
                  </a:lnTo>
                  <a:lnTo>
                    <a:pt x="163" y="160"/>
                  </a:lnTo>
                  <a:lnTo>
                    <a:pt x="163" y="164"/>
                  </a:lnTo>
                  <a:lnTo>
                    <a:pt x="163" y="168"/>
                  </a:lnTo>
                  <a:lnTo>
                    <a:pt x="167" y="168"/>
                  </a:lnTo>
                  <a:lnTo>
                    <a:pt x="167" y="172"/>
                  </a:lnTo>
                  <a:lnTo>
                    <a:pt x="171" y="172"/>
                  </a:lnTo>
                  <a:lnTo>
                    <a:pt x="175" y="176"/>
                  </a:lnTo>
                  <a:lnTo>
                    <a:pt x="175" y="180"/>
                  </a:lnTo>
                  <a:lnTo>
                    <a:pt x="179" y="180"/>
                  </a:lnTo>
                  <a:lnTo>
                    <a:pt x="179" y="184"/>
                  </a:lnTo>
                  <a:lnTo>
                    <a:pt x="183" y="184"/>
                  </a:lnTo>
                  <a:lnTo>
                    <a:pt x="179" y="184"/>
                  </a:lnTo>
                  <a:lnTo>
                    <a:pt x="175" y="184"/>
                  </a:lnTo>
                  <a:lnTo>
                    <a:pt x="171" y="184"/>
                  </a:lnTo>
                  <a:lnTo>
                    <a:pt x="167" y="184"/>
                  </a:lnTo>
                  <a:lnTo>
                    <a:pt x="163" y="184"/>
                  </a:lnTo>
                  <a:lnTo>
                    <a:pt x="159" y="184"/>
                  </a:lnTo>
                  <a:lnTo>
                    <a:pt x="155" y="184"/>
                  </a:lnTo>
                  <a:lnTo>
                    <a:pt x="151" y="184"/>
                  </a:lnTo>
                  <a:lnTo>
                    <a:pt x="143" y="184"/>
                  </a:lnTo>
                  <a:lnTo>
                    <a:pt x="139" y="184"/>
                  </a:lnTo>
                  <a:lnTo>
                    <a:pt x="135" y="184"/>
                  </a:lnTo>
                  <a:lnTo>
                    <a:pt x="131" y="184"/>
                  </a:lnTo>
                  <a:lnTo>
                    <a:pt x="127" y="184"/>
                  </a:lnTo>
                  <a:lnTo>
                    <a:pt x="119" y="184"/>
                  </a:lnTo>
                  <a:lnTo>
                    <a:pt x="115" y="184"/>
                  </a:lnTo>
                  <a:lnTo>
                    <a:pt x="107" y="184"/>
                  </a:lnTo>
                  <a:lnTo>
                    <a:pt x="103" y="184"/>
                  </a:lnTo>
                  <a:lnTo>
                    <a:pt x="99" y="184"/>
                  </a:lnTo>
                  <a:lnTo>
                    <a:pt x="103" y="184"/>
                  </a:lnTo>
                  <a:lnTo>
                    <a:pt x="99" y="180"/>
                  </a:lnTo>
                  <a:lnTo>
                    <a:pt x="99" y="184"/>
                  </a:lnTo>
                  <a:lnTo>
                    <a:pt x="95" y="184"/>
                  </a:lnTo>
                  <a:lnTo>
                    <a:pt x="91" y="184"/>
                  </a:lnTo>
                  <a:lnTo>
                    <a:pt x="87" y="184"/>
                  </a:lnTo>
                  <a:lnTo>
                    <a:pt x="83" y="184"/>
                  </a:lnTo>
                  <a:lnTo>
                    <a:pt x="79" y="184"/>
                  </a:lnTo>
                  <a:lnTo>
                    <a:pt x="71" y="184"/>
                  </a:lnTo>
                  <a:lnTo>
                    <a:pt x="67" y="184"/>
                  </a:lnTo>
                  <a:lnTo>
                    <a:pt x="63" y="184"/>
                  </a:lnTo>
                  <a:lnTo>
                    <a:pt x="59" y="184"/>
                  </a:lnTo>
                  <a:lnTo>
                    <a:pt x="51" y="184"/>
                  </a:lnTo>
                  <a:lnTo>
                    <a:pt x="44" y="184"/>
                  </a:lnTo>
                  <a:lnTo>
                    <a:pt x="40" y="184"/>
                  </a:lnTo>
                  <a:lnTo>
                    <a:pt x="36" y="184"/>
                  </a:lnTo>
                  <a:lnTo>
                    <a:pt x="32" y="184"/>
                  </a:lnTo>
                  <a:lnTo>
                    <a:pt x="28" y="184"/>
                  </a:lnTo>
                  <a:lnTo>
                    <a:pt x="24" y="184"/>
                  </a:lnTo>
                  <a:lnTo>
                    <a:pt x="16" y="184"/>
                  </a:lnTo>
                  <a:lnTo>
                    <a:pt x="8" y="184"/>
                  </a:lnTo>
                  <a:lnTo>
                    <a:pt x="4" y="184"/>
                  </a:lnTo>
                  <a:lnTo>
                    <a:pt x="4" y="180"/>
                  </a:lnTo>
                  <a:lnTo>
                    <a:pt x="4" y="156"/>
                  </a:lnTo>
                  <a:lnTo>
                    <a:pt x="4" y="148"/>
                  </a:lnTo>
                  <a:lnTo>
                    <a:pt x="4" y="140"/>
                  </a:lnTo>
                  <a:lnTo>
                    <a:pt x="4" y="132"/>
                  </a:lnTo>
                  <a:lnTo>
                    <a:pt x="4" y="128"/>
                  </a:lnTo>
                  <a:lnTo>
                    <a:pt x="4" y="120"/>
                  </a:lnTo>
                  <a:lnTo>
                    <a:pt x="4" y="108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4" y="92"/>
                  </a:lnTo>
                  <a:lnTo>
                    <a:pt x="4" y="88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1" y="12"/>
                  </a:lnTo>
                  <a:lnTo>
                    <a:pt x="55" y="12"/>
                  </a:lnTo>
                  <a:lnTo>
                    <a:pt x="59" y="12"/>
                  </a:lnTo>
                  <a:lnTo>
                    <a:pt x="63" y="16"/>
                  </a:lnTo>
                  <a:lnTo>
                    <a:pt x="67" y="16"/>
                  </a:lnTo>
                  <a:lnTo>
                    <a:pt x="71" y="12"/>
                  </a:lnTo>
                  <a:lnTo>
                    <a:pt x="75" y="12"/>
                  </a:lnTo>
                  <a:lnTo>
                    <a:pt x="75" y="8"/>
                  </a:lnTo>
                  <a:lnTo>
                    <a:pt x="79" y="8"/>
                  </a:lnTo>
                  <a:lnTo>
                    <a:pt x="79" y="4"/>
                  </a:lnTo>
                  <a:lnTo>
                    <a:pt x="79" y="8"/>
                  </a:lnTo>
                  <a:lnTo>
                    <a:pt x="83" y="8"/>
                  </a:lnTo>
                  <a:lnTo>
                    <a:pt x="83" y="4"/>
                  </a:lnTo>
                  <a:lnTo>
                    <a:pt x="83" y="0"/>
                  </a:lnTo>
                  <a:lnTo>
                    <a:pt x="83" y="4"/>
                  </a:lnTo>
                  <a:lnTo>
                    <a:pt x="87" y="4"/>
                  </a:lnTo>
                  <a:lnTo>
                    <a:pt x="87" y="0"/>
                  </a:lnTo>
                  <a:lnTo>
                    <a:pt x="91" y="0"/>
                  </a:lnTo>
                  <a:lnTo>
                    <a:pt x="91" y="4"/>
                  </a:lnTo>
                  <a:lnTo>
                    <a:pt x="87" y="4"/>
                  </a:lnTo>
                  <a:lnTo>
                    <a:pt x="91" y="4"/>
                  </a:lnTo>
                  <a:lnTo>
                    <a:pt x="95" y="4"/>
                  </a:lnTo>
                  <a:lnTo>
                    <a:pt x="95" y="0"/>
                  </a:lnTo>
                  <a:lnTo>
                    <a:pt x="99" y="0"/>
                  </a:lnTo>
                  <a:lnTo>
                    <a:pt x="99" y="4"/>
                  </a:lnTo>
                  <a:lnTo>
                    <a:pt x="103" y="4"/>
                  </a:lnTo>
                  <a:lnTo>
                    <a:pt x="107" y="4"/>
                  </a:lnTo>
                  <a:lnTo>
                    <a:pt x="107" y="0"/>
                  </a:lnTo>
                  <a:lnTo>
                    <a:pt x="107" y="4"/>
                  </a:lnTo>
                  <a:lnTo>
                    <a:pt x="111" y="4"/>
                  </a:lnTo>
                  <a:lnTo>
                    <a:pt x="107" y="4"/>
                  </a:lnTo>
                  <a:lnTo>
                    <a:pt x="107" y="0"/>
                  </a:lnTo>
                  <a:lnTo>
                    <a:pt x="107" y="8"/>
                  </a:lnTo>
                  <a:lnTo>
                    <a:pt x="111" y="8"/>
                  </a:lnTo>
                  <a:lnTo>
                    <a:pt x="111" y="12"/>
                  </a:lnTo>
                  <a:lnTo>
                    <a:pt x="111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6" name="Freeform 133"/>
            <p:cNvSpPr>
              <a:spLocks noEditPoints="1"/>
            </p:cNvSpPr>
            <p:nvPr>
              <p:custDataLst>
                <p:tags r:id="rId329"/>
              </p:custDataLst>
            </p:nvPr>
          </p:nvSpPr>
          <p:spPr bwMode="gray">
            <a:xfrm>
              <a:off x="4564410" y="4492140"/>
              <a:ext cx="65255" cy="77119"/>
            </a:xfrm>
            <a:custGeom>
              <a:avLst/>
              <a:gdLst/>
              <a:ahLst/>
              <a:cxnLst>
                <a:cxn ang="0">
                  <a:pos x="28" y="52"/>
                </a:cxn>
                <a:cxn ang="0">
                  <a:pos x="28" y="52"/>
                </a:cxn>
                <a:cxn ang="0">
                  <a:pos x="24" y="52"/>
                </a:cxn>
                <a:cxn ang="0">
                  <a:pos x="24" y="52"/>
                </a:cxn>
                <a:cxn ang="0">
                  <a:pos x="24" y="52"/>
                </a:cxn>
                <a:cxn ang="0">
                  <a:pos x="20" y="52"/>
                </a:cxn>
                <a:cxn ang="0">
                  <a:pos x="20" y="52"/>
                </a:cxn>
                <a:cxn ang="0">
                  <a:pos x="20" y="52"/>
                </a:cxn>
                <a:cxn ang="0">
                  <a:pos x="20" y="48"/>
                </a:cxn>
                <a:cxn ang="0">
                  <a:pos x="20" y="52"/>
                </a:cxn>
                <a:cxn ang="0">
                  <a:pos x="16" y="48"/>
                </a:cxn>
                <a:cxn ang="0">
                  <a:pos x="16" y="48"/>
                </a:cxn>
                <a:cxn ang="0">
                  <a:pos x="16" y="48"/>
                </a:cxn>
                <a:cxn ang="0">
                  <a:pos x="16" y="48"/>
                </a:cxn>
                <a:cxn ang="0">
                  <a:pos x="16" y="44"/>
                </a:cxn>
                <a:cxn ang="0">
                  <a:pos x="20" y="40"/>
                </a:cxn>
                <a:cxn ang="0">
                  <a:pos x="16" y="40"/>
                </a:cxn>
                <a:cxn ang="0">
                  <a:pos x="20" y="40"/>
                </a:cxn>
                <a:cxn ang="0">
                  <a:pos x="20" y="36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20" y="28"/>
                </a:cxn>
                <a:cxn ang="0">
                  <a:pos x="24" y="28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8" y="32"/>
                </a:cxn>
                <a:cxn ang="0">
                  <a:pos x="32" y="32"/>
                </a:cxn>
                <a:cxn ang="0">
                  <a:pos x="32" y="32"/>
                </a:cxn>
                <a:cxn ang="0">
                  <a:pos x="32" y="32"/>
                </a:cxn>
                <a:cxn ang="0">
                  <a:pos x="40" y="32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4" y="52"/>
                </a:cxn>
                <a:cxn ang="0">
                  <a:pos x="40" y="52"/>
                </a:cxn>
                <a:cxn ang="0">
                  <a:pos x="36" y="52"/>
                </a:cxn>
                <a:cxn ang="0">
                  <a:pos x="32" y="52"/>
                </a:cxn>
                <a:cxn ang="0">
                  <a:pos x="8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</a:cxnLst>
              <a:rect l="0" t="0" r="r" b="b"/>
              <a:pathLst>
                <a:path w="44" h="52">
                  <a:moveTo>
                    <a:pt x="32" y="52"/>
                  </a:move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close/>
                  <a:moveTo>
                    <a:pt x="8" y="4"/>
                  </a:moveTo>
                  <a:lnTo>
                    <a:pt x="8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7" name="Freeform 134"/>
            <p:cNvSpPr>
              <a:spLocks noEditPoints="1"/>
            </p:cNvSpPr>
            <p:nvPr>
              <p:custDataLst>
                <p:tags r:id="rId330"/>
              </p:custDataLst>
            </p:nvPr>
          </p:nvSpPr>
          <p:spPr bwMode="gray">
            <a:xfrm>
              <a:off x="5191746" y="4100611"/>
              <a:ext cx="154239" cy="160171"/>
            </a:xfrm>
            <a:custGeom>
              <a:avLst/>
              <a:gdLst/>
              <a:ahLst/>
              <a:cxnLst>
                <a:cxn ang="0">
                  <a:pos x="44" y="36"/>
                </a:cxn>
                <a:cxn ang="0">
                  <a:pos x="48" y="48"/>
                </a:cxn>
                <a:cxn ang="0">
                  <a:pos x="48" y="48"/>
                </a:cxn>
                <a:cxn ang="0">
                  <a:pos x="52" y="56"/>
                </a:cxn>
                <a:cxn ang="0">
                  <a:pos x="52" y="52"/>
                </a:cxn>
                <a:cxn ang="0">
                  <a:pos x="52" y="48"/>
                </a:cxn>
                <a:cxn ang="0">
                  <a:pos x="56" y="56"/>
                </a:cxn>
                <a:cxn ang="0">
                  <a:pos x="60" y="56"/>
                </a:cxn>
                <a:cxn ang="0">
                  <a:pos x="68" y="64"/>
                </a:cxn>
                <a:cxn ang="0">
                  <a:pos x="76" y="72"/>
                </a:cxn>
                <a:cxn ang="0">
                  <a:pos x="80" y="76"/>
                </a:cxn>
                <a:cxn ang="0">
                  <a:pos x="88" y="80"/>
                </a:cxn>
                <a:cxn ang="0">
                  <a:pos x="88" y="84"/>
                </a:cxn>
                <a:cxn ang="0">
                  <a:pos x="92" y="88"/>
                </a:cxn>
                <a:cxn ang="0">
                  <a:pos x="96" y="92"/>
                </a:cxn>
                <a:cxn ang="0">
                  <a:pos x="100" y="100"/>
                </a:cxn>
                <a:cxn ang="0">
                  <a:pos x="104" y="100"/>
                </a:cxn>
                <a:cxn ang="0">
                  <a:pos x="96" y="108"/>
                </a:cxn>
                <a:cxn ang="0">
                  <a:pos x="92" y="104"/>
                </a:cxn>
                <a:cxn ang="0">
                  <a:pos x="92" y="104"/>
                </a:cxn>
                <a:cxn ang="0">
                  <a:pos x="88" y="100"/>
                </a:cxn>
                <a:cxn ang="0">
                  <a:pos x="84" y="96"/>
                </a:cxn>
                <a:cxn ang="0">
                  <a:pos x="84" y="92"/>
                </a:cxn>
                <a:cxn ang="0">
                  <a:pos x="80" y="88"/>
                </a:cxn>
                <a:cxn ang="0">
                  <a:pos x="72" y="84"/>
                </a:cxn>
                <a:cxn ang="0">
                  <a:pos x="72" y="80"/>
                </a:cxn>
                <a:cxn ang="0">
                  <a:pos x="68" y="72"/>
                </a:cxn>
                <a:cxn ang="0">
                  <a:pos x="64" y="72"/>
                </a:cxn>
                <a:cxn ang="0">
                  <a:pos x="60" y="68"/>
                </a:cxn>
                <a:cxn ang="0">
                  <a:pos x="56" y="68"/>
                </a:cxn>
                <a:cxn ang="0">
                  <a:pos x="52" y="68"/>
                </a:cxn>
                <a:cxn ang="0">
                  <a:pos x="44" y="68"/>
                </a:cxn>
                <a:cxn ang="0">
                  <a:pos x="40" y="64"/>
                </a:cxn>
                <a:cxn ang="0">
                  <a:pos x="36" y="68"/>
                </a:cxn>
                <a:cxn ang="0">
                  <a:pos x="28" y="64"/>
                </a:cxn>
                <a:cxn ang="0">
                  <a:pos x="24" y="60"/>
                </a:cxn>
                <a:cxn ang="0">
                  <a:pos x="20" y="76"/>
                </a:cxn>
                <a:cxn ang="0">
                  <a:pos x="12" y="68"/>
                </a:cxn>
                <a:cxn ang="0">
                  <a:pos x="12" y="72"/>
                </a:cxn>
                <a:cxn ang="0">
                  <a:pos x="4" y="72"/>
                </a:cxn>
                <a:cxn ang="0">
                  <a:pos x="0" y="56"/>
                </a:cxn>
                <a:cxn ang="0">
                  <a:pos x="4" y="44"/>
                </a:cxn>
                <a:cxn ang="0">
                  <a:pos x="8" y="36"/>
                </a:cxn>
                <a:cxn ang="0">
                  <a:pos x="8" y="28"/>
                </a:cxn>
                <a:cxn ang="0">
                  <a:pos x="8" y="20"/>
                </a:cxn>
                <a:cxn ang="0">
                  <a:pos x="16" y="20"/>
                </a:cxn>
                <a:cxn ang="0">
                  <a:pos x="16" y="16"/>
                </a:cxn>
                <a:cxn ang="0">
                  <a:pos x="24" y="12"/>
                </a:cxn>
                <a:cxn ang="0">
                  <a:pos x="32" y="8"/>
                </a:cxn>
                <a:cxn ang="0">
                  <a:pos x="36" y="4"/>
                </a:cxn>
                <a:cxn ang="0">
                  <a:pos x="40" y="16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56" y="44"/>
                </a:cxn>
                <a:cxn ang="0">
                  <a:pos x="60" y="44"/>
                </a:cxn>
                <a:cxn ang="0">
                  <a:pos x="60" y="44"/>
                </a:cxn>
                <a:cxn ang="0">
                  <a:pos x="60" y="48"/>
                </a:cxn>
                <a:cxn ang="0">
                  <a:pos x="56" y="48"/>
                </a:cxn>
                <a:cxn ang="0">
                  <a:pos x="56" y="44"/>
                </a:cxn>
                <a:cxn ang="0">
                  <a:pos x="56" y="44"/>
                </a:cxn>
                <a:cxn ang="0">
                  <a:pos x="56" y="44"/>
                </a:cxn>
              </a:cxnLst>
              <a:rect l="0" t="0" r="r" b="b"/>
              <a:pathLst>
                <a:path w="104" h="108">
                  <a:moveTo>
                    <a:pt x="44" y="32"/>
                  </a:move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72" y="64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72"/>
                  </a:lnTo>
                  <a:lnTo>
                    <a:pt x="80" y="72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8" y="80"/>
                  </a:lnTo>
                  <a:lnTo>
                    <a:pt x="88" y="80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92" y="84"/>
                  </a:lnTo>
                  <a:lnTo>
                    <a:pt x="92" y="88"/>
                  </a:lnTo>
                  <a:lnTo>
                    <a:pt x="92" y="88"/>
                  </a:lnTo>
                  <a:lnTo>
                    <a:pt x="92" y="88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0" y="100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88" y="104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0" y="92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76" y="88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4"/>
                  </a:lnTo>
                  <a:lnTo>
                    <a:pt x="20" y="68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close/>
                  <a:moveTo>
                    <a:pt x="56" y="40"/>
                  </a:moveTo>
                  <a:lnTo>
                    <a:pt x="56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56" y="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8" name="Freeform 135"/>
            <p:cNvSpPr>
              <a:spLocks/>
            </p:cNvSpPr>
            <p:nvPr>
              <p:custDataLst>
                <p:tags r:id="rId331"/>
              </p:custDataLst>
            </p:nvPr>
          </p:nvSpPr>
          <p:spPr bwMode="gray">
            <a:xfrm>
              <a:off x="5114627" y="4189595"/>
              <a:ext cx="338139" cy="314410"/>
            </a:xfrm>
            <a:custGeom>
              <a:avLst/>
              <a:gdLst/>
              <a:ahLst/>
              <a:cxnLst>
                <a:cxn ang="0">
                  <a:pos x="184" y="184"/>
                </a:cxn>
                <a:cxn ang="0">
                  <a:pos x="164" y="184"/>
                </a:cxn>
                <a:cxn ang="0">
                  <a:pos x="152" y="188"/>
                </a:cxn>
                <a:cxn ang="0">
                  <a:pos x="144" y="196"/>
                </a:cxn>
                <a:cxn ang="0">
                  <a:pos x="132" y="200"/>
                </a:cxn>
                <a:cxn ang="0">
                  <a:pos x="116" y="196"/>
                </a:cxn>
                <a:cxn ang="0">
                  <a:pos x="104" y="208"/>
                </a:cxn>
                <a:cxn ang="0">
                  <a:pos x="96" y="208"/>
                </a:cxn>
                <a:cxn ang="0">
                  <a:pos x="84" y="208"/>
                </a:cxn>
                <a:cxn ang="0">
                  <a:pos x="64" y="196"/>
                </a:cxn>
                <a:cxn ang="0">
                  <a:pos x="52" y="192"/>
                </a:cxn>
                <a:cxn ang="0">
                  <a:pos x="44" y="180"/>
                </a:cxn>
                <a:cxn ang="0">
                  <a:pos x="36" y="172"/>
                </a:cxn>
                <a:cxn ang="0">
                  <a:pos x="32" y="160"/>
                </a:cxn>
                <a:cxn ang="0">
                  <a:pos x="24" y="152"/>
                </a:cxn>
                <a:cxn ang="0">
                  <a:pos x="16" y="140"/>
                </a:cxn>
                <a:cxn ang="0">
                  <a:pos x="4" y="132"/>
                </a:cxn>
                <a:cxn ang="0">
                  <a:pos x="4" y="120"/>
                </a:cxn>
                <a:cxn ang="0">
                  <a:pos x="16" y="116"/>
                </a:cxn>
                <a:cxn ang="0">
                  <a:pos x="20" y="96"/>
                </a:cxn>
                <a:cxn ang="0">
                  <a:pos x="20" y="80"/>
                </a:cxn>
                <a:cxn ang="0">
                  <a:pos x="32" y="76"/>
                </a:cxn>
                <a:cxn ang="0">
                  <a:pos x="32" y="60"/>
                </a:cxn>
                <a:cxn ang="0">
                  <a:pos x="40" y="44"/>
                </a:cxn>
                <a:cxn ang="0">
                  <a:pos x="48" y="36"/>
                </a:cxn>
                <a:cxn ang="0">
                  <a:pos x="52" y="16"/>
                </a:cxn>
                <a:cxn ang="0">
                  <a:pos x="64" y="8"/>
                </a:cxn>
                <a:cxn ang="0">
                  <a:pos x="72" y="16"/>
                </a:cxn>
                <a:cxn ang="0">
                  <a:pos x="76" y="4"/>
                </a:cxn>
                <a:cxn ang="0">
                  <a:pos x="88" y="8"/>
                </a:cxn>
                <a:cxn ang="0">
                  <a:pos x="96" y="8"/>
                </a:cxn>
                <a:cxn ang="0">
                  <a:pos x="104" y="8"/>
                </a:cxn>
                <a:cxn ang="0">
                  <a:pos x="116" y="12"/>
                </a:cxn>
                <a:cxn ang="0">
                  <a:pos x="124" y="20"/>
                </a:cxn>
                <a:cxn ang="0">
                  <a:pos x="132" y="32"/>
                </a:cxn>
                <a:cxn ang="0">
                  <a:pos x="140" y="40"/>
                </a:cxn>
                <a:cxn ang="0">
                  <a:pos x="140" y="48"/>
                </a:cxn>
                <a:cxn ang="0">
                  <a:pos x="132" y="64"/>
                </a:cxn>
                <a:cxn ang="0">
                  <a:pos x="140" y="72"/>
                </a:cxn>
                <a:cxn ang="0">
                  <a:pos x="152" y="76"/>
                </a:cxn>
                <a:cxn ang="0">
                  <a:pos x="152" y="88"/>
                </a:cxn>
                <a:cxn ang="0">
                  <a:pos x="160" y="100"/>
                </a:cxn>
                <a:cxn ang="0">
                  <a:pos x="176" y="112"/>
                </a:cxn>
                <a:cxn ang="0">
                  <a:pos x="200" y="120"/>
                </a:cxn>
                <a:cxn ang="0">
                  <a:pos x="212" y="128"/>
                </a:cxn>
                <a:cxn ang="0">
                  <a:pos x="224" y="132"/>
                </a:cxn>
                <a:cxn ang="0">
                  <a:pos x="200" y="160"/>
                </a:cxn>
                <a:cxn ang="0">
                  <a:pos x="192" y="172"/>
                </a:cxn>
              </a:cxnLst>
              <a:rect l="0" t="0" r="r" b="b"/>
              <a:pathLst>
                <a:path w="228" h="212">
                  <a:moveTo>
                    <a:pt x="192" y="172"/>
                  </a:moveTo>
                  <a:lnTo>
                    <a:pt x="188" y="176"/>
                  </a:lnTo>
                  <a:lnTo>
                    <a:pt x="184" y="180"/>
                  </a:lnTo>
                  <a:lnTo>
                    <a:pt x="184" y="184"/>
                  </a:lnTo>
                  <a:lnTo>
                    <a:pt x="176" y="184"/>
                  </a:lnTo>
                  <a:lnTo>
                    <a:pt x="172" y="184"/>
                  </a:lnTo>
                  <a:lnTo>
                    <a:pt x="168" y="184"/>
                  </a:lnTo>
                  <a:lnTo>
                    <a:pt x="164" y="184"/>
                  </a:lnTo>
                  <a:lnTo>
                    <a:pt x="160" y="184"/>
                  </a:lnTo>
                  <a:lnTo>
                    <a:pt x="160" y="188"/>
                  </a:lnTo>
                  <a:lnTo>
                    <a:pt x="156" y="188"/>
                  </a:lnTo>
                  <a:lnTo>
                    <a:pt x="152" y="188"/>
                  </a:lnTo>
                  <a:lnTo>
                    <a:pt x="152" y="192"/>
                  </a:lnTo>
                  <a:lnTo>
                    <a:pt x="152" y="196"/>
                  </a:lnTo>
                  <a:lnTo>
                    <a:pt x="148" y="196"/>
                  </a:lnTo>
                  <a:lnTo>
                    <a:pt x="144" y="196"/>
                  </a:lnTo>
                  <a:lnTo>
                    <a:pt x="140" y="196"/>
                  </a:lnTo>
                  <a:lnTo>
                    <a:pt x="140" y="200"/>
                  </a:lnTo>
                  <a:lnTo>
                    <a:pt x="136" y="200"/>
                  </a:lnTo>
                  <a:lnTo>
                    <a:pt x="132" y="200"/>
                  </a:lnTo>
                  <a:lnTo>
                    <a:pt x="128" y="200"/>
                  </a:lnTo>
                  <a:lnTo>
                    <a:pt x="124" y="200"/>
                  </a:lnTo>
                  <a:lnTo>
                    <a:pt x="120" y="196"/>
                  </a:lnTo>
                  <a:lnTo>
                    <a:pt x="116" y="196"/>
                  </a:lnTo>
                  <a:lnTo>
                    <a:pt x="112" y="200"/>
                  </a:lnTo>
                  <a:lnTo>
                    <a:pt x="108" y="200"/>
                  </a:lnTo>
                  <a:lnTo>
                    <a:pt x="104" y="204"/>
                  </a:lnTo>
                  <a:lnTo>
                    <a:pt x="104" y="208"/>
                  </a:lnTo>
                  <a:lnTo>
                    <a:pt x="100" y="208"/>
                  </a:lnTo>
                  <a:lnTo>
                    <a:pt x="100" y="212"/>
                  </a:lnTo>
                  <a:lnTo>
                    <a:pt x="96" y="212"/>
                  </a:lnTo>
                  <a:lnTo>
                    <a:pt x="96" y="208"/>
                  </a:lnTo>
                  <a:lnTo>
                    <a:pt x="96" y="212"/>
                  </a:lnTo>
                  <a:lnTo>
                    <a:pt x="92" y="208"/>
                  </a:lnTo>
                  <a:lnTo>
                    <a:pt x="88" y="208"/>
                  </a:lnTo>
                  <a:lnTo>
                    <a:pt x="84" y="208"/>
                  </a:lnTo>
                  <a:lnTo>
                    <a:pt x="80" y="208"/>
                  </a:lnTo>
                  <a:lnTo>
                    <a:pt x="76" y="208"/>
                  </a:lnTo>
                  <a:lnTo>
                    <a:pt x="76" y="204"/>
                  </a:lnTo>
                  <a:lnTo>
                    <a:pt x="64" y="196"/>
                  </a:lnTo>
                  <a:lnTo>
                    <a:pt x="64" y="192"/>
                  </a:lnTo>
                  <a:lnTo>
                    <a:pt x="60" y="192"/>
                  </a:lnTo>
                  <a:lnTo>
                    <a:pt x="56" y="192"/>
                  </a:lnTo>
                  <a:lnTo>
                    <a:pt x="52" y="192"/>
                  </a:lnTo>
                  <a:lnTo>
                    <a:pt x="48" y="192"/>
                  </a:lnTo>
                  <a:lnTo>
                    <a:pt x="44" y="192"/>
                  </a:lnTo>
                  <a:lnTo>
                    <a:pt x="44" y="188"/>
                  </a:lnTo>
                  <a:lnTo>
                    <a:pt x="44" y="180"/>
                  </a:lnTo>
                  <a:lnTo>
                    <a:pt x="44" y="176"/>
                  </a:lnTo>
                  <a:lnTo>
                    <a:pt x="40" y="176"/>
                  </a:lnTo>
                  <a:lnTo>
                    <a:pt x="36" y="176"/>
                  </a:lnTo>
                  <a:lnTo>
                    <a:pt x="36" y="172"/>
                  </a:lnTo>
                  <a:lnTo>
                    <a:pt x="32" y="172"/>
                  </a:lnTo>
                  <a:lnTo>
                    <a:pt x="32" y="168"/>
                  </a:lnTo>
                  <a:lnTo>
                    <a:pt x="32" y="164"/>
                  </a:lnTo>
                  <a:lnTo>
                    <a:pt x="32" y="160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8" y="152"/>
                  </a:lnTo>
                  <a:lnTo>
                    <a:pt x="24" y="152"/>
                  </a:lnTo>
                  <a:lnTo>
                    <a:pt x="24" y="148"/>
                  </a:lnTo>
                  <a:lnTo>
                    <a:pt x="20" y="148"/>
                  </a:lnTo>
                  <a:lnTo>
                    <a:pt x="20" y="144"/>
                  </a:lnTo>
                  <a:lnTo>
                    <a:pt x="16" y="140"/>
                  </a:lnTo>
                  <a:lnTo>
                    <a:pt x="16" y="136"/>
                  </a:lnTo>
                  <a:lnTo>
                    <a:pt x="12" y="132"/>
                  </a:lnTo>
                  <a:lnTo>
                    <a:pt x="8" y="132"/>
                  </a:lnTo>
                  <a:lnTo>
                    <a:pt x="4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4" y="124"/>
                  </a:lnTo>
                  <a:lnTo>
                    <a:pt x="4" y="120"/>
                  </a:lnTo>
                  <a:lnTo>
                    <a:pt x="8" y="120"/>
                  </a:lnTo>
                  <a:lnTo>
                    <a:pt x="12" y="120"/>
                  </a:lnTo>
                  <a:lnTo>
                    <a:pt x="16" y="120"/>
                  </a:lnTo>
                  <a:lnTo>
                    <a:pt x="16" y="116"/>
                  </a:lnTo>
                  <a:lnTo>
                    <a:pt x="20" y="112"/>
                  </a:lnTo>
                  <a:lnTo>
                    <a:pt x="20" y="108"/>
                  </a:lnTo>
                  <a:lnTo>
                    <a:pt x="16" y="100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8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40" y="44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36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8"/>
                  </a:lnTo>
                  <a:lnTo>
                    <a:pt x="76" y="4"/>
                  </a:lnTo>
                  <a:lnTo>
                    <a:pt x="76" y="0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8"/>
                  </a:lnTo>
                  <a:lnTo>
                    <a:pt x="100" y="8"/>
                  </a:lnTo>
                  <a:lnTo>
                    <a:pt x="100" y="4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8" y="8"/>
                  </a:lnTo>
                  <a:lnTo>
                    <a:pt x="112" y="8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4" y="20"/>
                  </a:lnTo>
                  <a:lnTo>
                    <a:pt x="124" y="24"/>
                  </a:lnTo>
                  <a:lnTo>
                    <a:pt x="128" y="28"/>
                  </a:lnTo>
                  <a:lnTo>
                    <a:pt x="132" y="28"/>
                  </a:lnTo>
                  <a:lnTo>
                    <a:pt x="132" y="32"/>
                  </a:lnTo>
                  <a:lnTo>
                    <a:pt x="136" y="32"/>
                  </a:lnTo>
                  <a:lnTo>
                    <a:pt x="136" y="36"/>
                  </a:lnTo>
                  <a:lnTo>
                    <a:pt x="140" y="36"/>
                  </a:lnTo>
                  <a:lnTo>
                    <a:pt x="140" y="40"/>
                  </a:lnTo>
                  <a:lnTo>
                    <a:pt x="140" y="44"/>
                  </a:lnTo>
                  <a:lnTo>
                    <a:pt x="144" y="44"/>
                  </a:lnTo>
                  <a:lnTo>
                    <a:pt x="144" y="48"/>
                  </a:lnTo>
                  <a:lnTo>
                    <a:pt x="140" y="48"/>
                  </a:lnTo>
                  <a:lnTo>
                    <a:pt x="140" y="52"/>
                  </a:lnTo>
                  <a:lnTo>
                    <a:pt x="136" y="56"/>
                  </a:lnTo>
                  <a:lnTo>
                    <a:pt x="136" y="60"/>
                  </a:lnTo>
                  <a:lnTo>
                    <a:pt x="132" y="64"/>
                  </a:lnTo>
                  <a:lnTo>
                    <a:pt x="136" y="64"/>
                  </a:lnTo>
                  <a:lnTo>
                    <a:pt x="136" y="68"/>
                  </a:lnTo>
                  <a:lnTo>
                    <a:pt x="136" y="72"/>
                  </a:lnTo>
                  <a:lnTo>
                    <a:pt x="140" y="72"/>
                  </a:lnTo>
                  <a:lnTo>
                    <a:pt x="144" y="72"/>
                  </a:lnTo>
                  <a:lnTo>
                    <a:pt x="148" y="72"/>
                  </a:lnTo>
                  <a:lnTo>
                    <a:pt x="152" y="72"/>
                  </a:lnTo>
                  <a:lnTo>
                    <a:pt x="152" y="76"/>
                  </a:lnTo>
                  <a:lnTo>
                    <a:pt x="148" y="76"/>
                  </a:lnTo>
                  <a:lnTo>
                    <a:pt x="148" y="80"/>
                  </a:lnTo>
                  <a:lnTo>
                    <a:pt x="148" y="84"/>
                  </a:lnTo>
                  <a:lnTo>
                    <a:pt x="152" y="88"/>
                  </a:lnTo>
                  <a:lnTo>
                    <a:pt x="152" y="92"/>
                  </a:lnTo>
                  <a:lnTo>
                    <a:pt x="156" y="92"/>
                  </a:lnTo>
                  <a:lnTo>
                    <a:pt x="156" y="96"/>
                  </a:lnTo>
                  <a:lnTo>
                    <a:pt x="160" y="100"/>
                  </a:lnTo>
                  <a:lnTo>
                    <a:pt x="160" y="104"/>
                  </a:lnTo>
                  <a:lnTo>
                    <a:pt x="164" y="104"/>
                  </a:lnTo>
                  <a:lnTo>
                    <a:pt x="168" y="108"/>
                  </a:lnTo>
                  <a:lnTo>
                    <a:pt x="176" y="112"/>
                  </a:lnTo>
                  <a:lnTo>
                    <a:pt x="184" y="116"/>
                  </a:lnTo>
                  <a:lnTo>
                    <a:pt x="188" y="116"/>
                  </a:lnTo>
                  <a:lnTo>
                    <a:pt x="192" y="120"/>
                  </a:lnTo>
                  <a:lnTo>
                    <a:pt x="200" y="120"/>
                  </a:lnTo>
                  <a:lnTo>
                    <a:pt x="204" y="124"/>
                  </a:lnTo>
                  <a:lnTo>
                    <a:pt x="208" y="124"/>
                  </a:lnTo>
                  <a:lnTo>
                    <a:pt x="212" y="124"/>
                  </a:lnTo>
                  <a:lnTo>
                    <a:pt x="212" y="128"/>
                  </a:lnTo>
                  <a:lnTo>
                    <a:pt x="216" y="128"/>
                  </a:lnTo>
                  <a:lnTo>
                    <a:pt x="224" y="128"/>
                  </a:lnTo>
                  <a:lnTo>
                    <a:pt x="228" y="128"/>
                  </a:lnTo>
                  <a:lnTo>
                    <a:pt x="224" y="132"/>
                  </a:lnTo>
                  <a:lnTo>
                    <a:pt x="220" y="136"/>
                  </a:lnTo>
                  <a:lnTo>
                    <a:pt x="212" y="144"/>
                  </a:lnTo>
                  <a:lnTo>
                    <a:pt x="208" y="152"/>
                  </a:lnTo>
                  <a:lnTo>
                    <a:pt x="200" y="160"/>
                  </a:lnTo>
                  <a:lnTo>
                    <a:pt x="200" y="164"/>
                  </a:lnTo>
                  <a:lnTo>
                    <a:pt x="196" y="164"/>
                  </a:lnTo>
                  <a:lnTo>
                    <a:pt x="192" y="168"/>
                  </a:lnTo>
                  <a:lnTo>
                    <a:pt x="192" y="17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39" name="Freeform 136"/>
            <p:cNvSpPr>
              <a:spLocks noEditPoints="1"/>
            </p:cNvSpPr>
            <p:nvPr>
              <p:custDataLst>
                <p:tags r:id="rId332"/>
              </p:custDataLst>
            </p:nvPr>
          </p:nvSpPr>
          <p:spPr bwMode="gray">
            <a:xfrm>
              <a:off x="4570343" y="4533666"/>
              <a:ext cx="130510" cy="164620"/>
            </a:xfrm>
            <a:custGeom>
              <a:avLst/>
              <a:gdLst/>
              <a:ahLst/>
              <a:cxnLst>
                <a:cxn ang="0">
                  <a:pos x="48" y="96"/>
                </a:cxn>
                <a:cxn ang="0">
                  <a:pos x="48" y="103"/>
                </a:cxn>
                <a:cxn ang="0">
                  <a:pos x="48" y="107"/>
                </a:cxn>
                <a:cxn ang="0">
                  <a:pos x="44" y="107"/>
                </a:cxn>
                <a:cxn ang="0">
                  <a:pos x="36" y="111"/>
                </a:cxn>
                <a:cxn ang="0">
                  <a:pos x="32" y="107"/>
                </a:cxn>
                <a:cxn ang="0">
                  <a:pos x="28" y="99"/>
                </a:cxn>
                <a:cxn ang="0">
                  <a:pos x="20" y="92"/>
                </a:cxn>
                <a:cxn ang="0">
                  <a:pos x="16" y="88"/>
                </a:cxn>
                <a:cxn ang="0">
                  <a:pos x="20" y="88"/>
                </a:cxn>
                <a:cxn ang="0">
                  <a:pos x="16" y="88"/>
                </a:cxn>
                <a:cxn ang="0">
                  <a:pos x="12" y="80"/>
                </a:cxn>
                <a:cxn ang="0">
                  <a:pos x="12" y="80"/>
                </a:cxn>
                <a:cxn ang="0">
                  <a:pos x="8" y="76"/>
                </a:cxn>
                <a:cxn ang="0">
                  <a:pos x="8" y="72"/>
                </a:cxn>
                <a:cxn ang="0">
                  <a:pos x="4" y="64"/>
                </a:cxn>
                <a:cxn ang="0">
                  <a:pos x="12" y="72"/>
                </a:cxn>
                <a:cxn ang="0">
                  <a:pos x="12" y="72"/>
                </a:cxn>
                <a:cxn ang="0">
                  <a:pos x="8" y="68"/>
                </a:cxn>
                <a:cxn ang="0">
                  <a:pos x="4" y="68"/>
                </a:cxn>
                <a:cxn ang="0">
                  <a:pos x="0" y="52"/>
                </a:cxn>
                <a:cxn ang="0">
                  <a:pos x="4" y="56"/>
                </a:cxn>
                <a:cxn ang="0">
                  <a:pos x="8" y="48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12" y="40"/>
                </a:cxn>
                <a:cxn ang="0">
                  <a:pos x="16" y="40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16" y="28"/>
                </a:cxn>
                <a:cxn ang="0">
                  <a:pos x="16" y="24"/>
                </a:cxn>
                <a:cxn ang="0">
                  <a:pos x="20" y="24"/>
                </a:cxn>
                <a:cxn ang="0">
                  <a:pos x="28" y="24"/>
                </a:cxn>
                <a:cxn ang="0">
                  <a:pos x="40" y="12"/>
                </a:cxn>
                <a:cxn ang="0">
                  <a:pos x="40" y="0"/>
                </a:cxn>
                <a:cxn ang="0">
                  <a:pos x="56" y="0"/>
                </a:cxn>
                <a:cxn ang="0">
                  <a:pos x="68" y="0"/>
                </a:cxn>
                <a:cxn ang="0">
                  <a:pos x="68" y="4"/>
                </a:cxn>
                <a:cxn ang="0">
                  <a:pos x="68" y="12"/>
                </a:cxn>
                <a:cxn ang="0">
                  <a:pos x="68" y="20"/>
                </a:cxn>
                <a:cxn ang="0">
                  <a:pos x="76" y="16"/>
                </a:cxn>
                <a:cxn ang="0">
                  <a:pos x="84" y="16"/>
                </a:cxn>
                <a:cxn ang="0">
                  <a:pos x="88" y="24"/>
                </a:cxn>
                <a:cxn ang="0">
                  <a:pos x="80" y="32"/>
                </a:cxn>
                <a:cxn ang="0">
                  <a:pos x="80" y="44"/>
                </a:cxn>
                <a:cxn ang="0">
                  <a:pos x="84" y="48"/>
                </a:cxn>
                <a:cxn ang="0">
                  <a:pos x="88" y="52"/>
                </a:cxn>
                <a:cxn ang="0">
                  <a:pos x="88" y="64"/>
                </a:cxn>
                <a:cxn ang="0">
                  <a:pos x="88" y="76"/>
                </a:cxn>
                <a:cxn ang="0">
                  <a:pos x="84" y="80"/>
                </a:cxn>
                <a:cxn ang="0">
                  <a:pos x="80" y="88"/>
                </a:cxn>
                <a:cxn ang="0">
                  <a:pos x="76" y="84"/>
                </a:cxn>
                <a:cxn ang="0">
                  <a:pos x="68" y="84"/>
                </a:cxn>
                <a:cxn ang="0">
                  <a:pos x="64" y="84"/>
                </a:cxn>
                <a:cxn ang="0">
                  <a:pos x="60" y="76"/>
                </a:cxn>
                <a:cxn ang="0">
                  <a:pos x="56" y="80"/>
                </a:cxn>
                <a:cxn ang="0">
                  <a:pos x="52" y="84"/>
                </a:cxn>
                <a:cxn ang="0">
                  <a:pos x="44" y="84"/>
                </a:cxn>
                <a:cxn ang="0">
                  <a:pos x="44" y="92"/>
                </a:cxn>
                <a:cxn ang="0">
                  <a:pos x="4" y="56"/>
                </a:cxn>
                <a:cxn ang="0">
                  <a:pos x="4" y="56"/>
                </a:cxn>
              </a:cxnLst>
              <a:rect l="0" t="0" r="r" b="b"/>
              <a:pathLst>
                <a:path w="88" h="111">
                  <a:moveTo>
                    <a:pt x="44" y="92"/>
                  </a:moveTo>
                  <a:lnTo>
                    <a:pt x="44" y="92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2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4" y="99"/>
                  </a:lnTo>
                  <a:lnTo>
                    <a:pt x="44" y="99"/>
                  </a:lnTo>
                  <a:lnTo>
                    <a:pt x="44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0" y="107"/>
                  </a:lnTo>
                  <a:lnTo>
                    <a:pt x="40" y="107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07"/>
                  </a:lnTo>
                  <a:lnTo>
                    <a:pt x="36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3"/>
                  </a:lnTo>
                  <a:lnTo>
                    <a:pt x="28" y="103"/>
                  </a:lnTo>
                  <a:lnTo>
                    <a:pt x="28" y="103"/>
                  </a:lnTo>
                  <a:lnTo>
                    <a:pt x="28" y="103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92"/>
                  </a:lnTo>
                  <a:lnTo>
                    <a:pt x="24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8" y="68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4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48" y="88"/>
                  </a:lnTo>
                  <a:lnTo>
                    <a:pt x="48" y="88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close/>
                  <a:moveTo>
                    <a:pt x="4" y="56"/>
                  </a:move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0" name="Freeform 137"/>
            <p:cNvSpPr>
              <a:spLocks/>
            </p:cNvSpPr>
            <p:nvPr>
              <p:custDataLst>
                <p:tags r:id="rId333"/>
              </p:custDataLst>
            </p:nvPr>
          </p:nvSpPr>
          <p:spPr bwMode="gray">
            <a:xfrm>
              <a:off x="4304874" y="4290443"/>
              <a:ext cx="100848" cy="177968"/>
            </a:xfrm>
            <a:custGeom>
              <a:avLst/>
              <a:gdLst/>
              <a:ahLst/>
              <a:cxnLst>
                <a:cxn ang="0">
                  <a:pos x="0" y="84"/>
                </a:cxn>
                <a:cxn ang="0">
                  <a:pos x="0" y="76"/>
                </a:cxn>
                <a:cxn ang="0">
                  <a:pos x="4" y="64"/>
                </a:cxn>
                <a:cxn ang="0">
                  <a:pos x="12" y="56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4" y="24"/>
                </a:cxn>
                <a:cxn ang="0">
                  <a:pos x="4" y="12"/>
                </a:cxn>
                <a:cxn ang="0">
                  <a:pos x="4" y="4"/>
                </a:cxn>
                <a:cxn ang="0">
                  <a:pos x="24" y="4"/>
                </a:cxn>
                <a:cxn ang="0">
                  <a:pos x="36" y="4"/>
                </a:cxn>
                <a:cxn ang="0">
                  <a:pos x="44" y="4"/>
                </a:cxn>
                <a:cxn ang="0">
                  <a:pos x="48" y="4"/>
                </a:cxn>
                <a:cxn ang="0">
                  <a:pos x="48" y="8"/>
                </a:cxn>
                <a:cxn ang="0">
                  <a:pos x="48" y="12"/>
                </a:cxn>
                <a:cxn ang="0">
                  <a:pos x="52" y="16"/>
                </a:cxn>
                <a:cxn ang="0">
                  <a:pos x="56" y="20"/>
                </a:cxn>
                <a:cxn ang="0">
                  <a:pos x="52" y="32"/>
                </a:cxn>
                <a:cxn ang="0">
                  <a:pos x="56" y="32"/>
                </a:cxn>
                <a:cxn ang="0">
                  <a:pos x="56" y="36"/>
                </a:cxn>
                <a:cxn ang="0">
                  <a:pos x="56" y="44"/>
                </a:cxn>
                <a:cxn ang="0">
                  <a:pos x="56" y="48"/>
                </a:cxn>
                <a:cxn ang="0">
                  <a:pos x="60" y="56"/>
                </a:cxn>
                <a:cxn ang="0">
                  <a:pos x="56" y="64"/>
                </a:cxn>
                <a:cxn ang="0">
                  <a:pos x="56" y="72"/>
                </a:cxn>
                <a:cxn ang="0">
                  <a:pos x="56" y="76"/>
                </a:cxn>
                <a:cxn ang="0">
                  <a:pos x="56" y="84"/>
                </a:cxn>
                <a:cxn ang="0">
                  <a:pos x="60" y="88"/>
                </a:cxn>
                <a:cxn ang="0">
                  <a:pos x="64" y="88"/>
                </a:cxn>
                <a:cxn ang="0">
                  <a:pos x="68" y="96"/>
                </a:cxn>
                <a:cxn ang="0">
                  <a:pos x="64" y="96"/>
                </a:cxn>
                <a:cxn ang="0">
                  <a:pos x="60" y="100"/>
                </a:cxn>
                <a:cxn ang="0">
                  <a:pos x="56" y="100"/>
                </a:cxn>
                <a:cxn ang="0">
                  <a:pos x="56" y="96"/>
                </a:cxn>
                <a:cxn ang="0">
                  <a:pos x="52" y="96"/>
                </a:cxn>
                <a:cxn ang="0">
                  <a:pos x="52" y="96"/>
                </a:cxn>
                <a:cxn ang="0">
                  <a:pos x="56" y="96"/>
                </a:cxn>
                <a:cxn ang="0">
                  <a:pos x="56" y="100"/>
                </a:cxn>
                <a:cxn ang="0">
                  <a:pos x="52" y="100"/>
                </a:cxn>
                <a:cxn ang="0">
                  <a:pos x="44" y="104"/>
                </a:cxn>
                <a:cxn ang="0">
                  <a:pos x="40" y="108"/>
                </a:cxn>
                <a:cxn ang="0">
                  <a:pos x="36" y="112"/>
                </a:cxn>
                <a:cxn ang="0">
                  <a:pos x="32" y="112"/>
                </a:cxn>
                <a:cxn ang="0">
                  <a:pos x="24" y="112"/>
                </a:cxn>
                <a:cxn ang="0">
                  <a:pos x="20" y="120"/>
                </a:cxn>
                <a:cxn ang="0">
                  <a:pos x="12" y="116"/>
                </a:cxn>
                <a:cxn ang="0">
                  <a:pos x="8" y="116"/>
                </a:cxn>
                <a:cxn ang="0">
                  <a:pos x="0" y="112"/>
                </a:cxn>
                <a:cxn ang="0">
                  <a:pos x="8" y="112"/>
                </a:cxn>
                <a:cxn ang="0">
                  <a:pos x="4" y="108"/>
                </a:cxn>
                <a:cxn ang="0">
                  <a:pos x="4" y="104"/>
                </a:cxn>
                <a:cxn ang="0">
                  <a:pos x="0" y="92"/>
                </a:cxn>
              </a:cxnLst>
              <a:rect l="0" t="0" r="r" b="b"/>
              <a:pathLst>
                <a:path w="68" h="120">
                  <a:moveTo>
                    <a:pt x="0" y="92"/>
                  </a:move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4" y="92"/>
                  </a:lnTo>
                  <a:lnTo>
                    <a:pt x="64" y="92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12"/>
                  </a:lnTo>
                  <a:lnTo>
                    <a:pt x="36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20"/>
                  </a:lnTo>
                  <a:lnTo>
                    <a:pt x="16" y="120"/>
                  </a:lnTo>
                  <a:lnTo>
                    <a:pt x="16" y="120"/>
                  </a:lnTo>
                  <a:lnTo>
                    <a:pt x="16" y="120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4" y="108"/>
                  </a:lnTo>
                  <a:lnTo>
                    <a:pt x="4" y="108"/>
                  </a:lnTo>
                  <a:lnTo>
                    <a:pt x="8" y="108"/>
                  </a:lnTo>
                  <a:lnTo>
                    <a:pt x="8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0"/>
                  </a:lnTo>
                  <a:lnTo>
                    <a:pt x="4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1" name="Freeform 138"/>
            <p:cNvSpPr>
              <a:spLocks/>
            </p:cNvSpPr>
            <p:nvPr>
              <p:custDataLst>
                <p:tags r:id="rId334"/>
              </p:custDataLst>
            </p:nvPr>
          </p:nvSpPr>
          <p:spPr bwMode="gray">
            <a:xfrm>
              <a:off x="4037922" y="4248918"/>
              <a:ext cx="166103" cy="154239"/>
            </a:xfrm>
            <a:custGeom>
              <a:avLst/>
              <a:gdLst/>
              <a:ahLst/>
              <a:cxnLst>
                <a:cxn ang="0">
                  <a:pos x="104" y="92"/>
                </a:cxn>
                <a:cxn ang="0">
                  <a:pos x="100" y="96"/>
                </a:cxn>
                <a:cxn ang="0">
                  <a:pos x="96" y="92"/>
                </a:cxn>
                <a:cxn ang="0">
                  <a:pos x="92" y="100"/>
                </a:cxn>
                <a:cxn ang="0">
                  <a:pos x="88" y="100"/>
                </a:cxn>
                <a:cxn ang="0">
                  <a:pos x="84" y="96"/>
                </a:cxn>
                <a:cxn ang="0">
                  <a:pos x="84" y="92"/>
                </a:cxn>
                <a:cxn ang="0">
                  <a:pos x="80" y="80"/>
                </a:cxn>
                <a:cxn ang="0">
                  <a:pos x="72" y="80"/>
                </a:cxn>
                <a:cxn ang="0">
                  <a:pos x="64" y="80"/>
                </a:cxn>
                <a:cxn ang="0">
                  <a:pos x="68" y="68"/>
                </a:cxn>
                <a:cxn ang="0">
                  <a:pos x="64" y="64"/>
                </a:cxn>
                <a:cxn ang="0">
                  <a:pos x="60" y="56"/>
                </a:cxn>
                <a:cxn ang="0">
                  <a:pos x="52" y="52"/>
                </a:cxn>
                <a:cxn ang="0">
                  <a:pos x="44" y="52"/>
                </a:cxn>
                <a:cxn ang="0">
                  <a:pos x="36" y="56"/>
                </a:cxn>
                <a:cxn ang="0">
                  <a:pos x="32" y="64"/>
                </a:cxn>
                <a:cxn ang="0">
                  <a:pos x="28" y="68"/>
                </a:cxn>
                <a:cxn ang="0">
                  <a:pos x="24" y="64"/>
                </a:cxn>
                <a:cxn ang="0">
                  <a:pos x="20" y="60"/>
                </a:cxn>
                <a:cxn ang="0">
                  <a:pos x="20" y="56"/>
                </a:cxn>
                <a:cxn ang="0">
                  <a:pos x="20" y="52"/>
                </a:cxn>
                <a:cxn ang="0">
                  <a:pos x="16" y="48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4" y="32"/>
                </a:cxn>
                <a:cxn ang="0">
                  <a:pos x="0" y="32"/>
                </a:cxn>
                <a:cxn ang="0">
                  <a:pos x="0" y="32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16" y="20"/>
                </a:cxn>
                <a:cxn ang="0">
                  <a:pos x="16" y="12"/>
                </a:cxn>
                <a:cxn ang="0">
                  <a:pos x="20" y="8"/>
                </a:cxn>
                <a:cxn ang="0">
                  <a:pos x="20" y="4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40" y="4"/>
                </a:cxn>
                <a:cxn ang="0">
                  <a:pos x="44" y="8"/>
                </a:cxn>
                <a:cxn ang="0">
                  <a:pos x="52" y="4"/>
                </a:cxn>
                <a:cxn ang="0">
                  <a:pos x="52" y="8"/>
                </a:cxn>
                <a:cxn ang="0">
                  <a:pos x="56" y="12"/>
                </a:cxn>
                <a:cxn ang="0">
                  <a:pos x="64" y="8"/>
                </a:cxn>
                <a:cxn ang="0">
                  <a:pos x="68" y="12"/>
                </a:cxn>
                <a:cxn ang="0">
                  <a:pos x="80" y="12"/>
                </a:cxn>
                <a:cxn ang="0">
                  <a:pos x="84" y="8"/>
                </a:cxn>
                <a:cxn ang="0">
                  <a:pos x="88" y="4"/>
                </a:cxn>
                <a:cxn ang="0">
                  <a:pos x="92" y="8"/>
                </a:cxn>
                <a:cxn ang="0">
                  <a:pos x="92" y="20"/>
                </a:cxn>
                <a:cxn ang="0">
                  <a:pos x="96" y="24"/>
                </a:cxn>
                <a:cxn ang="0">
                  <a:pos x="100" y="24"/>
                </a:cxn>
                <a:cxn ang="0">
                  <a:pos x="96" y="28"/>
                </a:cxn>
                <a:cxn ang="0">
                  <a:pos x="104" y="36"/>
                </a:cxn>
                <a:cxn ang="0">
                  <a:pos x="108" y="44"/>
                </a:cxn>
                <a:cxn ang="0">
                  <a:pos x="104" y="52"/>
                </a:cxn>
                <a:cxn ang="0">
                  <a:pos x="104" y="60"/>
                </a:cxn>
                <a:cxn ang="0">
                  <a:pos x="108" y="64"/>
                </a:cxn>
                <a:cxn ang="0">
                  <a:pos x="108" y="68"/>
                </a:cxn>
                <a:cxn ang="0">
                  <a:pos x="108" y="72"/>
                </a:cxn>
                <a:cxn ang="0">
                  <a:pos x="112" y="80"/>
                </a:cxn>
                <a:cxn ang="0">
                  <a:pos x="104" y="84"/>
                </a:cxn>
                <a:cxn ang="0">
                  <a:pos x="108" y="88"/>
                </a:cxn>
              </a:cxnLst>
              <a:rect l="0" t="0" r="r" b="b"/>
              <a:pathLst>
                <a:path w="112" h="104">
                  <a:moveTo>
                    <a:pt x="108" y="88"/>
                  </a:moveTo>
                  <a:lnTo>
                    <a:pt x="108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88" y="100"/>
                  </a:lnTo>
                  <a:lnTo>
                    <a:pt x="88" y="104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8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4"/>
                  </a:lnTo>
                  <a:lnTo>
                    <a:pt x="84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0" y="76"/>
                  </a:lnTo>
                  <a:lnTo>
                    <a:pt x="80" y="80"/>
                  </a:lnTo>
                  <a:lnTo>
                    <a:pt x="80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4" y="64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6" y="12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96" y="28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36"/>
                  </a:lnTo>
                  <a:lnTo>
                    <a:pt x="100" y="36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12" y="72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4" y="80"/>
                  </a:lnTo>
                  <a:lnTo>
                    <a:pt x="104" y="80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8" y="84"/>
                  </a:lnTo>
                  <a:lnTo>
                    <a:pt x="108" y="84"/>
                  </a:lnTo>
                  <a:lnTo>
                    <a:pt x="108" y="88"/>
                  </a:lnTo>
                  <a:lnTo>
                    <a:pt x="108" y="8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2" name="Freeform 139"/>
            <p:cNvSpPr>
              <a:spLocks noEditPoints="1"/>
            </p:cNvSpPr>
            <p:nvPr>
              <p:custDataLst>
                <p:tags r:id="rId335"/>
              </p:custDataLst>
            </p:nvPr>
          </p:nvSpPr>
          <p:spPr bwMode="gray">
            <a:xfrm>
              <a:off x="4002329" y="4248918"/>
              <a:ext cx="65255" cy="47458"/>
            </a:xfrm>
            <a:custGeom>
              <a:avLst/>
              <a:gdLst/>
              <a:ahLst/>
              <a:cxnLst>
                <a:cxn ang="0">
                  <a:pos x="8" y="16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8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20" y="0"/>
                </a:cxn>
                <a:cxn ang="0">
                  <a:pos x="32" y="0"/>
                </a:cxn>
                <a:cxn ang="0">
                  <a:pos x="40" y="0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4" y="20"/>
                </a:cxn>
                <a:cxn ang="0">
                  <a:pos x="36" y="20"/>
                </a:cxn>
                <a:cxn ang="0">
                  <a:pos x="32" y="20"/>
                </a:cxn>
                <a:cxn ang="0">
                  <a:pos x="28" y="24"/>
                </a:cxn>
                <a:cxn ang="0">
                  <a:pos x="28" y="28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4" y="28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20" y="28"/>
                </a:cxn>
                <a:cxn ang="0">
                  <a:pos x="20" y="24"/>
                </a:cxn>
                <a:cxn ang="0">
                  <a:pos x="20" y="24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20" y="16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4" y="12"/>
                </a:cxn>
                <a:cxn ang="0">
                  <a:pos x="20" y="16"/>
                </a:cxn>
                <a:cxn ang="0">
                  <a:pos x="16" y="16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16" y="24"/>
                </a:cxn>
                <a:cxn ang="0">
                  <a:pos x="8" y="24"/>
                </a:cxn>
                <a:cxn ang="0">
                  <a:pos x="12" y="20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32"/>
                </a:cxn>
                <a:cxn ang="0">
                  <a:pos x="4" y="28"/>
                </a:cxn>
                <a:cxn ang="0">
                  <a:pos x="8" y="28"/>
                </a:cxn>
                <a:cxn ang="0">
                  <a:pos x="8" y="28"/>
                </a:cxn>
              </a:cxnLst>
              <a:rect l="0" t="0" r="r" b="b"/>
              <a:pathLst>
                <a:path w="44" h="32">
                  <a:moveTo>
                    <a:pt x="12" y="16"/>
                  </a:moveTo>
                  <a:lnTo>
                    <a:pt x="12" y="16"/>
                  </a:lnTo>
                  <a:lnTo>
                    <a:pt x="12" y="16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16"/>
                  </a:lnTo>
                  <a:close/>
                  <a:moveTo>
                    <a:pt x="12" y="28"/>
                  </a:move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close/>
                  <a:moveTo>
                    <a:pt x="8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close/>
                  <a:moveTo>
                    <a:pt x="16" y="20"/>
                  </a:move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close/>
                  <a:moveTo>
                    <a:pt x="8" y="24"/>
                  </a:move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close/>
                  <a:moveTo>
                    <a:pt x="4" y="24"/>
                  </a:move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close/>
                  <a:moveTo>
                    <a:pt x="8" y="32"/>
                  </a:move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3" name="Freeform 140"/>
            <p:cNvSpPr>
              <a:spLocks noEditPoints="1"/>
            </p:cNvSpPr>
            <p:nvPr>
              <p:custDataLst>
                <p:tags r:id="rId336"/>
              </p:custDataLst>
            </p:nvPr>
          </p:nvSpPr>
          <p:spPr bwMode="gray">
            <a:xfrm>
              <a:off x="5138356" y="4468411"/>
              <a:ext cx="177968" cy="253603"/>
            </a:xfrm>
            <a:custGeom>
              <a:avLst/>
              <a:gdLst/>
              <a:ahLst/>
              <a:cxnLst>
                <a:cxn ang="0">
                  <a:pos x="0" y="88"/>
                </a:cxn>
                <a:cxn ang="0">
                  <a:pos x="0" y="84"/>
                </a:cxn>
                <a:cxn ang="0">
                  <a:pos x="4" y="76"/>
                </a:cxn>
                <a:cxn ang="0">
                  <a:pos x="8" y="68"/>
                </a:cxn>
                <a:cxn ang="0">
                  <a:pos x="12" y="64"/>
                </a:cxn>
                <a:cxn ang="0">
                  <a:pos x="12" y="60"/>
                </a:cxn>
                <a:cxn ang="0">
                  <a:pos x="12" y="60"/>
                </a:cxn>
                <a:cxn ang="0">
                  <a:pos x="16" y="56"/>
                </a:cxn>
                <a:cxn ang="0">
                  <a:pos x="12" y="44"/>
                </a:cxn>
                <a:cxn ang="0">
                  <a:pos x="12" y="36"/>
                </a:cxn>
                <a:cxn ang="0">
                  <a:pos x="8" y="32"/>
                </a:cxn>
                <a:cxn ang="0">
                  <a:pos x="8" y="24"/>
                </a:cxn>
                <a:cxn ang="0">
                  <a:pos x="4" y="16"/>
                </a:cxn>
                <a:cxn ang="0">
                  <a:pos x="0" y="8"/>
                </a:cxn>
                <a:cxn ang="0">
                  <a:pos x="8" y="0"/>
                </a:cxn>
                <a:cxn ang="0">
                  <a:pos x="16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40" y="4"/>
                </a:cxn>
                <a:cxn ang="0">
                  <a:pos x="48" y="8"/>
                </a:cxn>
                <a:cxn ang="0">
                  <a:pos x="64" y="20"/>
                </a:cxn>
                <a:cxn ang="0">
                  <a:pos x="76" y="20"/>
                </a:cxn>
                <a:cxn ang="0">
                  <a:pos x="80" y="24"/>
                </a:cxn>
                <a:cxn ang="0">
                  <a:pos x="84" y="24"/>
                </a:cxn>
                <a:cxn ang="0">
                  <a:pos x="88" y="20"/>
                </a:cxn>
                <a:cxn ang="0">
                  <a:pos x="100" y="8"/>
                </a:cxn>
                <a:cxn ang="0">
                  <a:pos x="108" y="12"/>
                </a:cxn>
                <a:cxn ang="0">
                  <a:pos x="112" y="12"/>
                </a:cxn>
                <a:cxn ang="0">
                  <a:pos x="120" y="12"/>
                </a:cxn>
                <a:cxn ang="0">
                  <a:pos x="120" y="16"/>
                </a:cxn>
                <a:cxn ang="0">
                  <a:pos x="108" y="60"/>
                </a:cxn>
                <a:cxn ang="0">
                  <a:pos x="116" y="116"/>
                </a:cxn>
                <a:cxn ang="0">
                  <a:pos x="112" y="120"/>
                </a:cxn>
                <a:cxn ang="0">
                  <a:pos x="104" y="124"/>
                </a:cxn>
                <a:cxn ang="0">
                  <a:pos x="104" y="128"/>
                </a:cxn>
                <a:cxn ang="0">
                  <a:pos x="104" y="128"/>
                </a:cxn>
                <a:cxn ang="0">
                  <a:pos x="100" y="132"/>
                </a:cxn>
                <a:cxn ang="0">
                  <a:pos x="96" y="132"/>
                </a:cxn>
                <a:cxn ang="0">
                  <a:pos x="92" y="140"/>
                </a:cxn>
                <a:cxn ang="0">
                  <a:pos x="92" y="147"/>
                </a:cxn>
                <a:cxn ang="0">
                  <a:pos x="88" y="151"/>
                </a:cxn>
                <a:cxn ang="0">
                  <a:pos x="88" y="155"/>
                </a:cxn>
                <a:cxn ang="0">
                  <a:pos x="80" y="171"/>
                </a:cxn>
                <a:cxn ang="0">
                  <a:pos x="72" y="163"/>
                </a:cxn>
                <a:cxn ang="0">
                  <a:pos x="56" y="151"/>
                </a:cxn>
                <a:cxn ang="0">
                  <a:pos x="56" y="147"/>
                </a:cxn>
                <a:cxn ang="0">
                  <a:pos x="56" y="143"/>
                </a:cxn>
                <a:cxn ang="0">
                  <a:pos x="48" y="136"/>
                </a:cxn>
                <a:cxn ang="0">
                  <a:pos x="32" y="124"/>
                </a:cxn>
                <a:cxn ang="0">
                  <a:pos x="8" y="108"/>
                </a:cxn>
                <a:cxn ang="0">
                  <a:pos x="108" y="128"/>
                </a:cxn>
                <a:cxn ang="0">
                  <a:pos x="108" y="124"/>
                </a:cxn>
                <a:cxn ang="0">
                  <a:pos x="108" y="124"/>
                </a:cxn>
              </a:cxnLst>
              <a:rect l="0" t="0" r="r" b="b"/>
              <a:pathLst>
                <a:path w="120" h="171">
                  <a:moveTo>
                    <a:pt x="0" y="104"/>
                  </a:moveTo>
                  <a:lnTo>
                    <a:pt x="0" y="104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88" y="16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16" y="12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8" y="44"/>
                  </a:lnTo>
                  <a:lnTo>
                    <a:pt x="108" y="60"/>
                  </a:lnTo>
                  <a:lnTo>
                    <a:pt x="108" y="84"/>
                  </a:lnTo>
                  <a:lnTo>
                    <a:pt x="108" y="100"/>
                  </a:lnTo>
                  <a:lnTo>
                    <a:pt x="108" y="104"/>
                  </a:lnTo>
                  <a:lnTo>
                    <a:pt x="112" y="112"/>
                  </a:lnTo>
                  <a:lnTo>
                    <a:pt x="116" y="116"/>
                  </a:lnTo>
                  <a:lnTo>
                    <a:pt x="116" y="116"/>
                  </a:lnTo>
                  <a:lnTo>
                    <a:pt x="116" y="116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8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36"/>
                  </a:lnTo>
                  <a:lnTo>
                    <a:pt x="96" y="136"/>
                  </a:lnTo>
                  <a:lnTo>
                    <a:pt x="96" y="136"/>
                  </a:lnTo>
                  <a:lnTo>
                    <a:pt x="92" y="136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9"/>
                  </a:lnTo>
                  <a:lnTo>
                    <a:pt x="88" y="159"/>
                  </a:lnTo>
                  <a:lnTo>
                    <a:pt x="88" y="159"/>
                  </a:lnTo>
                  <a:lnTo>
                    <a:pt x="84" y="167"/>
                  </a:lnTo>
                  <a:lnTo>
                    <a:pt x="84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76" y="167"/>
                  </a:lnTo>
                  <a:lnTo>
                    <a:pt x="72" y="163"/>
                  </a:lnTo>
                  <a:lnTo>
                    <a:pt x="72" y="163"/>
                  </a:lnTo>
                  <a:lnTo>
                    <a:pt x="68" y="163"/>
                  </a:lnTo>
                  <a:lnTo>
                    <a:pt x="68" y="159"/>
                  </a:lnTo>
                  <a:lnTo>
                    <a:pt x="60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3"/>
                  </a:lnTo>
                  <a:lnTo>
                    <a:pt x="56" y="143"/>
                  </a:lnTo>
                  <a:lnTo>
                    <a:pt x="56" y="140"/>
                  </a:lnTo>
                  <a:lnTo>
                    <a:pt x="56" y="140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48" y="136"/>
                  </a:lnTo>
                  <a:lnTo>
                    <a:pt x="48" y="136"/>
                  </a:lnTo>
                  <a:lnTo>
                    <a:pt x="48" y="136"/>
                  </a:lnTo>
                  <a:lnTo>
                    <a:pt x="40" y="132"/>
                  </a:lnTo>
                  <a:lnTo>
                    <a:pt x="36" y="128"/>
                  </a:lnTo>
                  <a:lnTo>
                    <a:pt x="32" y="128"/>
                  </a:lnTo>
                  <a:lnTo>
                    <a:pt x="32" y="124"/>
                  </a:lnTo>
                  <a:lnTo>
                    <a:pt x="28" y="124"/>
                  </a:lnTo>
                  <a:lnTo>
                    <a:pt x="24" y="120"/>
                  </a:lnTo>
                  <a:lnTo>
                    <a:pt x="20" y="116"/>
                  </a:lnTo>
                  <a:lnTo>
                    <a:pt x="12" y="112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close/>
                  <a:moveTo>
                    <a:pt x="108" y="128"/>
                  </a:moveTo>
                  <a:lnTo>
                    <a:pt x="108" y="128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4" name="Freeform 141"/>
            <p:cNvSpPr>
              <a:spLocks/>
            </p:cNvSpPr>
            <p:nvPr>
              <p:custDataLst>
                <p:tags r:id="rId337"/>
              </p:custDataLst>
            </p:nvPr>
          </p:nvSpPr>
          <p:spPr bwMode="gray">
            <a:xfrm>
              <a:off x="4985600" y="5384945"/>
              <a:ext cx="51907" cy="59323"/>
            </a:xfrm>
            <a:custGeom>
              <a:avLst/>
              <a:gdLst/>
              <a:ahLst/>
              <a:cxnLst>
                <a:cxn ang="0">
                  <a:pos x="27" y="28"/>
                </a:cxn>
                <a:cxn ang="0">
                  <a:pos x="23" y="32"/>
                </a:cxn>
                <a:cxn ang="0">
                  <a:pos x="23" y="32"/>
                </a:cxn>
                <a:cxn ang="0">
                  <a:pos x="19" y="32"/>
                </a:cxn>
                <a:cxn ang="0">
                  <a:pos x="19" y="32"/>
                </a:cxn>
                <a:cxn ang="0">
                  <a:pos x="15" y="36"/>
                </a:cxn>
                <a:cxn ang="0">
                  <a:pos x="15" y="4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5" y="4"/>
                </a:cxn>
                <a:cxn ang="0">
                  <a:pos x="15" y="4"/>
                </a:cxn>
                <a:cxn ang="0">
                  <a:pos x="19" y="4"/>
                </a:cxn>
                <a:cxn ang="0">
                  <a:pos x="19" y="0"/>
                </a:cxn>
                <a:cxn ang="0">
                  <a:pos x="19" y="0"/>
                </a:cxn>
                <a:cxn ang="0">
                  <a:pos x="19" y="0"/>
                </a:cxn>
                <a:cxn ang="0">
                  <a:pos x="23" y="0"/>
                </a:cxn>
                <a:cxn ang="0">
                  <a:pos x="23" y="4"/>
                </a:cxn>
                <a:cxn ang="0">
                  <a:pos x="27" y="4"/>
                </a:cxn>
                <a:cxn ang="0">
                  <a:pos x="27" y="4"/>
                </a:cxn>
                <a:cxn ang="0">
                  <a:pos x="27" y="8"/>
                </a:cxn>
                <a:cxn ang="0">
                  <a:pos x="31" y="8"/>
                </a:cxn>
                <a:cxn ang="0">
                  <a:pos x="31" y="12"/>
                </a:cxn>
                <a:cxn ang="0">
                  <a:pos x="35" y="16"/>
                </a:cxn>
                <a:cxn ang="0">
                  <a:pos x="35" y="16"/>
                </a:cxn>
                <a:cxn ang="0">
                  <a:pos x="31" y="16"/>
                </a:cxn>
                <a:cxn ang="0">
                  <a:pos x="31" y="20"/>
                </a:cxn>
                <a:cxn ang="0">
                  <a:pos x="31" y="20"/>
                </a:cxn>
                <a:cxn ang="0">
                  <a:pos x="31" y="20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27" y="28"/>
                </a:cxn>
                <a:cxn ang="0">
                  <a:pos x="27" y="28"/>
                </a:cxn>
              </a:cxnLst>
              <a:rect l="0" t="0" r="r" b="b"/>
              <a:pathLst>
                <a:path w="35" h="40">
                  <a:moveTo>
                    <a:pt x="27" y="28"/>
                  </a:moveTo>
                  <a:lnTo>
                    <a:pt x="27" y="28"/>
                  </a:lnTo>
                  <a:lnTo>
                    <a:pt x="27" y="28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5" y="32"/>
                  </a:lnTo>
                  <a:lnTo>
                    <a:pt x="15" y="36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5" name="Freeform 142"/>
            <p:cNvSpPr>
              <a:spLocks/>
            </p:cNvSpPr>
            <p:nvPr>
              <p:custDataLst>
                <p:tags r:id="rId338"/>
              </p:custDataLst>
            </p:nvPr>
          </p:nvSpPr>
          <p:spPr bwMode="gray">
            <a:xfrm>
              <a:off x="4115041" y="4361630"/>
              <a:ext cx="94916" cy="118645"/>
            </a:xfrm>
            <a:custGeom>
              <a:avLst/>
              <a:gdLst/>
              <a:ahLst/>
              <a:cxnLst>
                <a:cxn ang="0">
                  <a:pos x="4" y="28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16" y="12"/>
                </a:cxn>
                <a:cxn ang="0">
                  <a:pos x="16" y="8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8" y="0"/>
                </a:cxn>
                <a:cxn ang="0">
                  <a:pos x="32" y="8"/>
                </a:cxn>
                <a:cxn ang="0">
                  <a:pos x="32" y="12"/>
                </a:cxn>
                <a:cxn ang="0">
                  <a:pos x="32" y="16"/>
                </a:cxn>
                <a:cxn ang="0">
                  <a:pos x="32" y="20"/>
                </a:cxn>
                <a:cxn ang="0">
                  <a:pos x="32" y="24"/>
                </a:cxn>
                <a:cxn ang="0">
                  <a:pos x="36" y="24"/>
                </a:cxn>
                <a:cxn ang="0">
                  <a:pos x="36" y="24"/>
                </a:cxn>
                <a:cxn ang="0">
                  <a:pos x="40" y="24"/>
                </a:cxn>
                <a:cxn ang="0">
                  <a:pos x="44" y="20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48" y="20"/>
                </a:cxn>
                <a:cxn ang="0">
                  <a:pos x="48" y="24"/>
                </a:cxn>
                <a:cxn ang="0">
                  <a:pos x="52" y="28"/>
                </a:cxn>
                <a:cxn ang="0">
                  <a:pos x="48" y="32"/>
                </a:cxn>
                <a:cxn ang="0">
                  <a:pos x="48" y="36"/>
                </a:cxn>
                <a:cxn ang="0">
                  <a:pos x="48" y="36"/>
                </a:cxn>
                <a:cxn ang="0">
                  <a:pos x="44" y="40"/>
                </a:cxn>
                <a:cxn ang="0">
                  <a:pos x="48" y="40"/>
                </a:cxn>
                <a:cxn ang="0">
                  <a:pos x="52" y="44"/>
                </a:cxn>
                <a:cxn ang="0">
                  <a:pos x="56" y="44"/>
                </a:cxn>
                <a:cxn ang="0">
                  <a:pos x="56" y="48"/>
                </a:cxn>
                <a:cxn ang="0">
                  <a:pos x="60" y="52"/>
                </a:cxn>
                <a:cxn ang="0">
                  <a:pos x="64" y="52"/>
                </a:cxn>
                <a:cxn ang="0">
                  <a:pos x="64" y="56"/>
                </a:cxn>
                <a:cxn ang="0">
                  <a:pos x="64" y="56"/>
                </a:cxn>
                <a:cxn ang="0">
                  <a:pos x="64" y="60"/>
                </a:cxn>
                <a:cxn ang="0">
                  <a:pos x="60" y="68"/>
                </a:cxn>
                <a:cxn ang="0">
                  <a:pos x="60" y="72"/>
                </a:cxn>
                <a:cxn ang="0">
                  <a:pos x="60" y="80"/>
                </a:cxn>
                <a:cxn ang="0">
                  <a:pos x="56" y="76"/>
                </a:cxn>
                <a:cxn ang="0">
                  <a:pos x="56" y="76"/>
                </a:cxn>
                <a:cxn ang="0">
                  <a:pos x="48" y="72"/>
                </a:cxn>
                <a:cxn ang="0">
                  <a:pos x="44" y="68"/>
                </a:cxn>
                <a:cxn ang="0">
                  <a:pos x="40" y="68"/>
                </a:cxn>
                <a:cxn ang="0">
                  <a:pos x="36" y="64"/>
                </a:cxn>
                <a:cxn ang="0">
                  <a:pos x="32" y="60"/>
                </a:cxn>
                <a:cxn ang="0">
                  <a:pos x="28" y="56"/>
                </a:cxn>
                <a:cxn ang="0">
                  <a:pos x="20" y="48"/>
                </a:cxn>
                <a:cxn ang="0">
                  <a:pos x="20" y="44"/>
                </a:cxn>
                <a:cxn ang="0">
                  <a:pos x="16" y="44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4" y="36"/>
                </a:cxn>
                <a:cxn ang="0">
                  <a:pos x="4" y="32"/>
                </a:cxn>
              </a:cxnLst>
              <a:rect l="0" t="0" r="r" b="b"/>
              <a:pathLst>
                <a:path w="64" h="80">
                  <a:moveTo>
                    <a:pt x="0" y="32"/>
                  </a:moveTo>
                  <a:lnTo>
                    <a:pt x="0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4" y="52"/>
                  </a:lnTo>
                  <a:lnTo>
                    <a:pt x="24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6" name="Freeform 143"/>
            <p:cNvSpPr>
              <a:spLocks/>
            </p:cNvSpPr>
            <p:nvPr>
              <p:custDataLst>
                <p:tags r:id="rId339"/>
              </p:custDataLst>
            </p:nvPr>
          </p:nvSpPr>
          <p:spPr bwMode="gray">
            <a:xfrm>
              <a:off x="4582207" y="3669039"/>
              <a:ext cx="355935" cy="390045"/>
            </a:xfrm>
            <a:custGeom>
              <a:avLst/>
              <a:gdLst/>
              <a:ahLst/>
              <a:cxnLst>
                <a:cxn ang="0">
                  <a:pos x="80" y="12"/>
                </a:cxn>
                <a:cxn ang="0">
                  <a:pos x="92" y="20"/>
                </a:cxn>
                <a:cxn ang="0">
                  <a:pos x="96" y="36"/>
                </a:cxn>
                <a:cxn ang="0">
                  <a:pos x="108" y="40"/>
                </a:cxn>
                <a:cxn ang="0">
                  <a:pos x="124" y="40"/>
                </a:cxn>
                <a:cxn ang="0">
                  <a:pos x="132" y="48"/>
                </a:cxn>
                <a:cxn ang="0">
                  <a:pos x="144" y="56"/>
                </a:cxn>
                <a:cxn ang="0">
                  <a:pos x="152" y="56"/>
                </a:cxn>
                <a:cxn ang="0">
                  <a:pos x="164" y="44"/>
                </a:cxn>
                <a:cxn ang="0">
                  <a:pos x="164" y="28"/>
                </a:cxn>
                <a:cxn ang="0">
                  <a:pos x="172" y="12"/>
                </a:cxn>
                <a:cxn ang="0">
                  <a:pos x="184" y="8"/>
                </a:cxn>
                <a:cxn ang="0">
                  <a:pos x="196" y="4"/>
                </a:cxn>
                <a:cxn ang="0">
                  <a:pos x="208" y="8"/>
                </a:cxn>
                <a:cxn ang="0">
                  <a:pos x="212" y="20"/>
                </a:cxn>
                <a:cxn ang="0">
                  <a:pos x="224" y="24"/>
                </a:cxn>
                <a:cxn ang="0">
                  <a:pos x="240" y="24"/>
                </a:cxn>
                <a:cxn ang="0">
                  <a:pos x="236" y="36"/>
                </a:cxn>
                <a:cxn ang="0">
                  <a:pos x="240" y="52"/>
                </a:cxn>
                <a:cxn ang="0">
                  <a:pos x="236" y="68"/>
                </a:cxn>
                <a:cxn ang="0">
                  <a:pos x="240" y="84"/>
                </a:cxn>
                <a:cxn ang="0">
                  <a:pos x="240" y="108"/>
                </a:cxn>
                <a:cxn ang="0">
                  <a:pos x="240" y="128"/>
                </a:cxn>
                <a:cxn ang="0">
                  <a:pos x="240" y="160"/>
                </a:cxn>
                <a:cxn ang="0">
                  <a:pos x="240" y="188"/>
                </a:cxn>
                <a:cxn ang="0">
                  <a:pos x="240" y="255"/>
                </a:cxn>
                <a:cxn ang="0">
                  <a:pos x="224" y="255"/>
                </a:cxn>
                <a:cxn ang="0">
                  <a:pos x="200" y="247"/>
                </a:cxn>
                <a:cxn ang="0">
                  <a:pos x="168" y="232"/>
                </a:cxn>
                <a:cxn ang="0">
                  <a:pos x="144" y="216"/>
                </a:cxn>
                <a:cxn ang="0">
                  <a:pos x="116" y="200"/>
                </a:cxn>
                <a:cxn ang="0">
                  <a:pos x="88" y="196"/>
                </a:cxn>
                <a:cxn ang="0">
                  <a:pos x="76" y="204"/>
                </a:cxn>
                <a:cxn ang="0">
                  <a:pos x="64" y="196"/>
                </a:cxn>
                <a:cxn ang="0">
                  <a:pos x="48" y="192"/>
                </a:cxn>
                <a:cxn ang="0">
                  <a:pos x="36" y="172"/>
                </a:cxn>
                <a:cxn ang="0">
                  <a:pos x="20" y="168"/>
                </a:cxn>
                <a:cxn ang="0">
                  <a:pos x="12" y="164"/>
                </a:cxn>
                <a:cxn ang="0">
                  <a:pos x="8" y="148"/>
                </a:cxn>
                <a:cxn ang="0">
                  <a:pos x="12" y="128"/>
                </a:cxn>
                <a:cxn ang="0">
                  <a:pos x="8" y="116"/>
                </a:cxn>
                <a:cxn ang="0">
                  <a:pos x="8" y="100"/>
                </a:cxn>
                <a:cxn ang="0">
                  <a:pos x="8" y="84"/>
                </a:cxn>
                <a:cxn ang="0">
                  <a:pos x="8" y="68"/>
                </a:cxn>
                <a:cxn ang="0">
                  <a:pos x="4" y="60"/>
                </a:cxn>
                <a:cxn ang="0">
                  <a:pos x="16" y="48"/>
                </a:cxn>
                <a:cxn ang="0">
                  <a:pos x="12" y="36"/>
                </a:cxn>
                <a:cxn ang="0">
                  <a:pos x="24" y="24"/>
                </a:cxn>
                <a:cxn ang="0">
                  <a:pos x="36" y="16"/>
                </a:cxn>
                <a:cxn ang="0">
                  <a:pos x="36" y="0"/>
                </a:cxn>
                <a:cxn ang="0">
                  <a:pos x="44" y="8"/>
                </a:cxn>
                <a:cxn ang="0">
                  <a:pos x="60" y="8"/>
                </a:cxn>
                <a:cxn ang="0">
                  <a:pos x="68" y="8"/>
                </a:cxn>
              </a:cxnLst>
              <a:rect l="0" t="0" r="r" b="b"/>
              <a:pathLst>
                <a:path w="240" h="263">
                  <a:moveTo>
                    <a:pt x="72" y="8"/>
                  </a:move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4" y="16"/>
                  </a:lnTo>
                  <a:lnTo>
                    <a:pt x="88" y="16"/>
                  </a:lnTo>
                  <a:lnTo>
                    <a:pt x="92" y="16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100" y="36"/>
                  </a:lnTo>
                  <a:lnTo>
                    <a:pt x="104" y="36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12" y="40"/>
                  </a:lnTo>
                  <a:lnTo>
                    <a:pt x="116" y="40"/>
                  </a:lnTo>
                  <a:lnTo>
                    <a:pt x="120" y="40"/>
                  </a:lnTo>
                  <a:lnTo>
                    <a:pt x="124" y="40"/>
                  </a:lnTo>
                  <a:lnTo>
                    <a:pt x="124" y="44"/>
                  </a:lnTo>
                  <a:lnTo>
                    <a:pt x="128" y="44"/>
                  </a:lnTo>
                  <a:lnTo>
                    <a:pt x="132" y="44"/>
                  </a:lnTo>
                  <a:lnTo>
                    <a:pt x="132" y="48"/>
                  </a:lnTo>
                  <a:lnTo>
                    <a:pt x="136" y="48"/>
                  </a:lnTo>
                  <a:lnTo>
                    <a:pt x="136" y="52"/>
                  </a:lnTo>
                  <a:lnTo>
                    <a:pt x="140" y="52"/>
                  </a:lnTo>
                  <a:lnTo>
                    <a:pt x="144" y="56"/>
                  </a:lnTo>
                  <a:lnTo>
                    <a:pt x="148" y="56"/>
                  </a:lnTo>
                  <a:lnTo>
                    <a:pt x="148" y="60"/>
                  </a:lnTo>
                  <a:lnTo>
                    <a:pt x="152" y="60"/>
                  </a:lnTo>
                  <a:lnTo>
                    <a:pt x="152" y="56"/>
                  </a:lnTo>
                  <a:lnTo>
                    <a:pt x="156" y="56"/>
                  </a:lnTo>
                  <a:lnTo>
                    <a:pt x="160" y="52"/>
                  </a:lnTo>
                  <a:lnTo>
                    <a:pt x="164" y="48"/>
                  </a:lnTo>
                  <a:lnTo>
                    <a:pt x="164" y="44"/>
                  </a:lnTo>
                  <a:lnTo>
                    <a:pt x="164" y="40"/>
                  </a:lnTo>
                  <a:lnTo>
                    <a:pt x="164" y="36"/>
                  </a:lnTo>
                  <a:lnTo>
                    <a:pt x="164" y="32"/>
                  </a:lnTo>
                  <a:lnTo>
                    <a:pt x="164" y="28"/>
                  </a:lnTo>
                  <a:lnTo>
                    <a:pt x="164" y="24"/>
                  </a:lnTo>
                  <a:lnTo>
                    <a:pt x="164" y="20"/>
                  </a:lnTo>
                  <a:lnTo>
                    <a:pt x="168" y="16"/>
                  </a:lnTo>
                  <a:lnTo>
                    <a:pt x="172" y="12"/>
                  </a:lnTo>
                  <a:lnTo>
                    <a:pt x="176" y="12"/>
                  </a:lnTo>
                  <a:lnTo>
                    <a:pt x="176" y="8"/>
                  </a:lnTo>
                  <a:lnTo>
                    <a:pt x="180" y="8"/>
                  </a:lnTo>
                  <a:lnTo>
                    <a:pt x="184" y="8"/>
                  </a:lnTo>
                  <a:lnTo>
                    <a:pt x="188" y="8"/>
                  </a:lnTo>
                  <a:lnTo>
                    <a:pt x="188" y="4"/>
                  </a:lnTo>
                  <a:lnTo>
                    <a:pt x="192" y="4"/>
                  </a:lnTo>
                  <a:lnTo>
                    <a:pt x="196" y="4"/>
                  </a:lnTo>
                  <a:lnTo>
                    <a:pt x="196" y="8"/>
                  </a:lnTo>
                  <a:lnTo>
                    <a:pt x="200" y="8"/>
                  </a:lnTo>
                  <a:lnTo>
                    <a:pt x="204" y="8"/>
                  </a:lnTo>
                  <a:lnTo>
                    <a:pt x="208" y="8"/>
                  </a:lnTo>
                  <a:lnTo>
                    <a:pt x="208" y="12"/>
                  </a:lnTo>
                  <a:lnTo>
                    <a:pt x="212" y="12"/>
                  </a:lnTo>
                  <a:lnTo>
                    <a:pt x="212" y="16"/>
                  </a:lnTo>
                  <a:lnTo>
                    <a:pt x="212" y="20"/>
                  </a:lnTo>
                  <a:lnTo>
                    <a:pt x="216" y="20"/>
                  </a:lnTo>
                  <a:lnTo>
                    <a:pt x="220" y="20"/>
                  </a:lnTo>
                  <a:lnTo>
                    <a:pt x="224" y="20"/>
                  </a:lnTo>
                  <a:lnTo>
                    <a:pt x="224" y="24"/>
                  </a:lnTo>
                  <a:lnTo>
                    <a:pt x="228" y="24"/>
                  </a:lnTo>
                  <a:lnTo>
                    <a:pt x="232" y="24"/>
                  </a:lnTo>
                  <a:lnTo>
                    <a:pt x="236" y="24"/>
                  </a:lnTo>
                  <a:lnTo>
                    <a:pt x="240" y="24"/>
                  </a:lnTo>
                  <a:lnTo>
                    <a:pt x="240" y="28"/>
                  </a:lnTo>
                  <a:lnTo>
                    <a:pt x="240" y="32"/>
                  </a:lnTo>
                  <a:lnTo>
                    <a:pt x="240" y="36"/>
                  </a:lnTo>
                  <a:lnTo>
                    <a:pt x="236" y="36"/>
                  </a:lnTo>
                  <a:lnTo>
                    <a:pt x="236" y="40"/>
                  </a:lnTo>
                  <a:lnTo>
                    <a:pt x="240" y="44"/>
                  </a:lnTo>
                  <a:lnTo>
                    <a:pt x="240" y="48"/>
                  </a:lnTo>
                  <a:lnTo>
                    <a:pt x="240" y="52"/>
                  </a:lnTo>
                  <a:lnTo>
                    <a:pt x="236" y="56"/>
                  </a:lnTo>
                  <a:lnTo>
                    <a:pt x="236" y="60"/>
                  </a:lnTo>
                  <a:lnTo>
                    <a:pt x="236" y="64"/>
                  </a:lnTo>
                  <a:lnTo>
                    <a:pt x="236" y="68"/>
                  </a:lnTo>
                  <a:lnTo>
                    <a:pt x="236" y="72"/>
                  </a:lnTo>
                  <a:lnTo>
                    <a:pt x="240" y="76"/>
                  </a:lnTo>
                  <a:lnTo>
                    <a:pt x="240" y="80"/>
                  </a:lnTo>
                  <a:lnTo>
                    <a:pt x="240" y="84"/>
                  </a:lnTo>
                  <a:lnTo>
                    <a:pt x="240" y="96"/>
                  </a:lnTo>
                  <a:lnTo>
                    <a:pt x="240" y="100"/>
                  </a:lnTo>
                  <a:lnTo>
                    <a:pt x="240" y="104"/>
                  </a:lnTo>
                  <a:lnTo>
                    <a:pt x="240" y="108"/>
                  </a:lnTo>
                  <a:lnTo>
                    <a:pt x="240" y="112"/>
                  </a:lnTo>
                  <a:lnTo>
                    <a:pt x="240" y="120"/>
                  </a:lnTo>
                  <a:lnTo>
                    <a:pt x="240" y="124"/>
                  </a:lnTo>
                  <a:lnTo>
                    <a:pt x="240" y="128"/>
                  </a:lnTo>
                  <a:lnTo>
                    <a:pt x="240" y="132"/>
                  </a:lnTo>
                  <a:lnTo>
                    <a:pt x="240" y="140"/>
                  </a:lnTo>
                  <a:lnTo>
                    <a:pt x="240" y="152"/>
                  </a:lnTo>
                  <a:lnTo>
                    <a:pt x="240" y="160"/>
                  </a:lnTo>
                  <a:lnTo>
                    <a:pt x="240" y="164"/>
                  </a:lnTo>
                  <a:lnTo>
                    <a:pt x="240" y="172"/>
                  </a:lnTo>
                  <a:lnTo>
                    <a:pt x="240" y="180"/>
                  </a:lnTo>
                  <a:lnTo>
                    <a:pt x="240" y="188"/>
                  </a:lnTo>
                  <a:lnTo>
                    <a:pt x="240" y="212"/>
                  </a:lnTo>
                  <a:lnTo>
                    <a:pt x="240" y="216"/>
                  </a:lnTo>
                  <a:lnTo>
                    <a:pt x="240" y="236"/>
                  </a:lnTo>
                  <a:lnTo>
                    <a:pt x="240" y="255"/>
                  </a:lnTo>
                  <a:lnTo>
                    <a:pt x="236" y="255"/>
                  </a:lnTo>
                  <a:lnTo>
                    <a:pt x="232" y="255"/>
                  </a:lnTo>
                  <a:lnTo>
                    <a:pt x="228" y="255"/>
                  </a:lnTo>
                  <a:lnTo>
                    <a:pt x="224" y="255"/>
                  </a:lnTo>
                  <a:lnTo>
                    <a:pt x="224" y="263"/>
                  </a:lnTo>
                  <a:lnTo>
                    <a:pt x="216" y="259"/>
                  </a:lnTo>
                  <a:lnTo>
                    <a:pt x="208" y="255"/>
                  </a:lnTo>
                  <a:lnTo>
                    <a:pt x="200" y="247"/>
                  </a:lnTo>
                  <a:lnTo>
                    <a:pt x="192" y="244"/>
                  </a:lnTo>
                  <a:lnTo>
                    <a:pt x="184" y="240"/>
                  </a:lnTo>
                  <a:lnTo>
                    <a:pt x="180" y="236"/>
                  </a:lnTo>
                  <a:lnTo>
                    <a:pt x="168" y="232"/>
                  </a:lnTo>
                  <a:lnTo>
                    <a:pt x="160" y="224"/>
                  </a:lnTo>
                  <a:lnTo>
                    <a:pt x="152" y="220"/>
                  </a:lnTo>
                  <a:lnTo>
                    <a:pt x="148" y="216"/>
                  </a:lnTo>
                  <a:lnTo>
                    <a:pt x="144" y="216"/>
                  </a:lnTo>
                  <a:lnTo>
                    <a:pt x="140" y="212"/>
                  </a:lnTo>
                  <a:lnTo>
                    <a:pt x="132" y="208"/>
                  </a:lnTo>
                  <a:lnTo>
                    <a:pt x="128" y="204"/>
                  </a:lnTo>
                  <a:lnTo>
                    <a:pt x="116" y="200"/>
                  </a:lnTo>
                  <a:lnTo>
                    <a:pt x="108" y="192"/>
                  </a:lnTo>
                  <a:lnTo>
                    <a:pt x="104" y="192"/>
                  </a:lnTo>
                  <a:lnTo>
                    <a:pt x="92" y="196"/>
                  </a:lnTo>
                  <a:lnTo>
                    <a:pt x="88" y="196"/>
                  </a:lnTo>
                  <a:lnTo>
                    <a:pt x="88" y="200"/>
                  </a:lnTo>
                  <a:lnTo>
                    <a:pt x="84" y="200"/>
                  </a:lnTo>
                  <a:lnTo>
                    <a:pt x="80" y="204"/>
                  </a:lnTo>
                  <a:lnTo>
                    <a:pt x="76" y="204"/>
                  </a:lnTo>
                  <a:lnTo>
                    <a:pt x="76" y="208"/>
                  </a:lnTo>
                  <a:lnTo>
                    <a:pt x="72" y="200"/>
                  </a:lnTo>
                  <a:lnTo>
                    <a:pt x="68" y="196"/>
                  </a:lnTo>
                  <a:lnTo>
                    <a:pt x="64" y="196"/>
                  </a:lnTo>
                  <a:lnTo>
                    <a:pt x="60" y="192"/>
                  </a:lnTo>
                  <a:lnTo>
                    <a:pt x="56" y="192"/>
                  </a:lnTo>
                  <a:lnTo>
                    <a:pt x="52" y="192"/>
                  </a:lnTo>
                  <a:lnTo>
                    <a:pt x="48" y="192"/>
                  </a:lnTo>
                  <a:lnTo>
                    <a:pt x="44" y="188"/>
                  </a:lnTo>
                  <a:lnTo>
                    <a:pt x="40" y="188"/>
                  </a:lnTo>
                  <a:lnTo>
                    <a:pt x="40" y="180"/>
                  </a:lnTo>
                  <a:lnTo>
                    <a:pt x="36" y="172"/>
                  </a:lnTo>
                  <a:lnTo>
                    <a:pt x="32" y="172"/>
                  </a:lnTo>
                  <a:lnTo>
                    <a:pt x="28" y="172"/>
                  </a:lnTo>
                  <a:lnTo>
                    <a:pt x="24" y="168"/>
                  </a:lnTo>
                  <a:lnTo>
                    <a:pt x="20" y="168"/>
                  </a:lnTo>
                  <a:lnTo>
                    <a:pt x="20" y="172"/>
                  </a:lnTo>
                  <a:lnTo>
                    <a:pt x="16" y="168"/>
                  </a:lnTo>
                  <a:lnTo>
                    <a:pt x="16" y="164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12" y="156"/>
                  </a:lnTo>
                  <a:lnTo>
                    <a:pt x="12" y="152"/>
                  </a:lnTo>
                  <a:lnTo>
                    <a:pt x="8" y="148"/>
                  </a:lnTo>
                  <a:lnTo>
                    <a:pt x="4" y="140"/>
                  </a:lnTo>
                  <a:lnTo>
                    <a:pt x="4" y="136"/>
                  </a:lnTo>
                  <a:lnTo>
                    <a:pt x="8" y="132"/>
                  </a:lnTo>
                  <a:lnTo>
                    <a:pt x="12" y="128"/>
                  </a:lnTo>
                  <a:lnTo>
                    <a:pt x="12" y="124"/>
                  </a:lnTo>
                  <a:lnTo>
                    <a:pt x="8" y="124"/>
                  </a:lnTo>
                  <a:lnTo>
                    <a:pt x="8" y="120"/>
                  </a:lnTo>
                  <a:lnTo>
                    <a:pt x="8" y="116"/>
                  </a:lnTo>
                  <a:lnTo>
                    <a:pt x="8" y="112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8" y="100"/>
                  </a:lnTo>
                  <a:lnTo>
                    <a:pt x="8" y="96"/>
                  </a:lnTo>
                  <a:lnTo>
                    <a:pt x="8" y="92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72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7" name="Freeform 144"/>
            <p:cNvSpPr>
              <a:spLocks noEditPoints="1"/>
            </p:cNvSpPr>
            <p:nvPr>
              <p:custDataLst>
                <p:tags r:id="rId340"/>
              </p:custDataLst>
            </p:nvPr>
          </p:nvSpPr>
          <p:spPr bwMode="gray">
            <a:xfrm>
              <a:off x="5345984" y="4917779"/>
              <a:ext cx="166103" cy="385597"/>
            </a:xfrm>
            <a:custGeom>
              <a:avLst/>
              <a:gdLst/>
              <a:ahLst/>
              <a:cxnLst>
                <a:cxn ang="0">
                  <a:pos x="76" y="28"/>
                </a:cxn>
                <a:cxn ang="0">
                  <a:pos x="80" y="172"/>
                </a:cxn>
                <a:cxn ang="0">
                  <a:pos x="76" y="188"/>
                </a:cxn>
                <a:cxn ang="0">
                  <a:pos x="72" y="204"/>
                </a:cxn>
                <a:cxn ang="0">
                  <a:pos x="68" y="216"/>
                </a:cxn>
                <a:cxn ang="0">
                  <a:pos x="64" y="228"/>
                </a:cxn>
                <a:cxn ang="0">
                  <a:pos x="60" y="244"/>
                </a:cxn>
                <a:cxn ang="0">
                  <a:pos x="48" y="252"/>
                </a:cxn>
                <a:cxn ang="0">
                  <a:pos x="36" y="256"/>
                </a:cxn>
                <a:cxn ang="0">
                  <a:pos x="28" y="256"/>
                </a:cxn>
                <a:cxn ang="0">
                  <a:pos x="16" y="252"/>
                </a:cxn>
                <a:cxn ang="0">
                  <a:pos x="12" y="248"/>
                </a:cxn>
                <a:cxn ang="0">
                  <a:pos x="8" y="232"/>
                </a:cxn>
                <a:cxn ang="0">
                  <a:pos x="8" y="216"/>
                </a:cxn>
                <a:cxn ang="0">
                  <a:pos x="4" y="204"/>
                </a:cxn>
                <a:cxn ang="0">
                  <a:pos x="0" y="192"/>
                </a:cxn>
                <a:cxn ang="0">
                  <a:pos x="4" y="180"/>
                </a:cxn>
                <a:cxn ang="0">
                  <a:pos x="12" y="172"/>
                </a:cxn>
                <a:cxn ang="0">
                  <a:pos x="16" y="156"/>
                </a:cxn>
                <a:cxn ang="0">
                  <a:pos x="20" y="144"/>
                </a:cxn>
                <a:cxn ang="0">
                  <a:pos x="16" y="132"/>
                </a:cxn>
                <a:cxn ang="0">
                  <a:pos x="12" y="120"/>
                </a:cxn>
                <a:cxn ang="0">
                  <a:pos x="12" y="104"/>
                </a:cxn>
                <a:cxn ang="0">
                  <a:pos x="16" y="92"/>
                </a:cxn>
                <a:cxn ang="0">
                  <a:pos x="16" y="84"/>
                </a:cxn>
                <a:cxn ang="0">
                  <a:pos x="28" y="76"/>
                </a:cxn>
                <a:cxn ang="0">
                  <a:pos x="36" y="76"/>
                </a:cxn>
                <a:cxn ang="0">
                  <a:pos x="40" y="72"/>
                </a:cxn>
                <a:cxn ang="0">
                  <a:pos x="48" y="72"/>
                </a:cxn>
                <a:cxn ang="0">
                  <a:pos x="48" y="68"/>
                </a:cxn>
                <a:cxn ang="0">
                  <a:pos x="60" y="64"/>
                </a:cxn>
                <a:cxn ang="0">
                  <a:pos x="60" y="64"/>
                </a:cxn>
                <a:cxn ang="0">
                  <a:pos x="64" y="56"/>
                </a:cxn>
                <a:cxn ang="0">
                  <a:pos x="68" y="56"/>
                </a:cxn>
                <a:cxn ang="0">
                  <a:pos x="72" y="52"/>
                </a:cxn>
                <a:cxn ang="0">
                  <a:pos x="72" y="44"/>
                </a:cxn>
                <a:cxn ang="0">
                  <a:pos x="72" y="36"/>
                </a:cxn>
                <a:cxn ang="0">
                  <a:pos x="80" y="32"/>
                </a:cxn>
                <a:cxn ang="0">
                  <a:pos x="84" y="28"/>
                </a:cxn>
                <a:cxn ang="0">
                  <a:pos x="88" y="16"/>
                </a:cxn>
                <a:cxn ang="0">
                  <a:pos x="92" y="8"/>
                </a:cxn>
                <a:cxn ang="0">
                  <a:pos x="92" y="0"/>
                </a:cxn>
                <a:cxn ang="0">
                  <a:pos x="92" y="8"/>
                </a:cxn>
                <a:cxn ang="0">
                  <a:pos x="100" y="16"/>
                </a:cxn>
                <a:cxn ang="0">
                  <a:pos x="100" y="24"/>
                </a:cxn>
                <a:cxn ang="0">
                  <a:pos x="104" y="36"/>
                </a:cxn>
                <a:cxn ang="0">
                  <a:pos x="108" y="48"/>
                </a:cxn>
                <a:cxn ang="0">
                  <a:pos x="108" y="60"/>
                </a:cxn>
                <a:cxn ang="0">
                  <a:pos x="108" y="76"/>
                </a:cxn>
                <a:cxn ang="0">
                  <a:pos x="96" y="68"/>
                </a:cxn>
                <a:cxn ang="0">
                  <a:pos x="100" y="80"/>
                </a:cxn>
                <a:cxn ang="0">
                  <a:pos x="96" y="92"/>
                </a:cxn>
                <a:cxn ang="0">
                  <a:pos x="96" y="108"/>
                </a:cxn>
                <a:cxn ang="0">
                  <a:pos x="92" y="124"/>
                </a:cxn>
                <a:cxn ang="0">
                  <a:pos x="88" y="136"/>
                </a:cxn>
                <a:cxn ang="0">
                  <a:pos x="84" y="148"/>
                </a:cxn>
                <a:cxn ang="0">
                  <a:pos x="80" y="160"/>
                </a:cxn>
                <a:cxn ang="0">
                  <a:pos x="104" y="96"/>
                </a:cxn>
              </a:cxnLst>
              <a:rect l="0" t="0" r="r" b="b"/>
              <a:pathLst>
                <a:path w="112" h="260">
                  <a:moveTo>
                    <a:pt x="76" y="28"/>
                  </a:moveTo>
                  <a:lnTo>
                    <a:pt x="76" y="24"/>
                  </a:lnTo>
                  <a:lnTo>
                    <a:pt x="80" y="28"/>
                  </a:lnTo>
                  <a:lnTo>
                    <a:pt x="76" y="28"/>
                  </a:lnTo>
                  <a:close/>
                  <a:moveTo>
                    <a:pt x="80" y="160"/>
                  </a:moveTo>
                  <a:lnTo>
                    <a:pt x="80" y="164"/>
                  </a:lnTo>
                  <a:lnTo>
                    <a:pt x="80" y="168"/>
                  </a:lnTo>
                  <a:lnTo>
                    <a:pt x="80" y="172"/>
                  </a:lnTo>
                  <a:lnTo>
                    <a:pt x="80" y="176"/>
                  </a:lnTo>
                  <a:lnTo>
                    <a:pt x="76" y="180"/>
                  </a:lnTo>
                  <a:lnTo>
                    <a:pt x="76" y="184"/>
                  </a:lnTo>
                  <a:lnTo>
                    <a:pt x="76" y="188"/>
                  </a:lnTo>
                  <a:lnTo>
                    <a:pt x="72" y="192"/>
                  </a:lnTo>
                  <a:lnTo>
                    <a:pt x="72" y="196"/>
                  </a:lnTo>
                  <a:lnTo>
                    <a:pt x="72" y="200"/>
                  </a:lnTo>
                  <a:lnTo>
                    <a:pt x="72" y="204"/>
                  </a:lnTo>
                  <a:lnTo>
                    <a:pt x="72" y="208"/>
                  </a:lnTo>
                  <a:lnTo>
                    <a:pt x="68" y="208"/>
                  </a:lnTo>
                  <a:lnTo>
                    <a:pt x="68" y="212"/>
                  </a:lnTo>
                  <a:lnTo>
                    <a:pt x="68" y="216"/>
                  </a:lnTo>
                  <a:lnTo>
                    <a:pt x="68" y="220"/>
                  </a:lnTo>
                  <a:lnTo>
                    <a:pt x="68" y="224"/>
                  </a:lnTo>
                  <a:lnTo>
                    <a:pt x="64" y="224"/>
                  </a:lnTo>
                  <a:lnTo>
                    <a:pt x="64" y="228"/>
                  </a:lnTo>
                  <a:lnTo>
                    <a:pt x="64" y="232"/>
                  </a:lnTo>
                  <a:lnTo>
                    <a:pt x="64" y="236"/>
                  </a:lnTo>
                  <a:lnTo>
                    <a:pt x="60" y="240"/>
                  </a:lnTo>
                  <a:lnTo>
                    <a:pt x="60" y="244"/>
                  </a:lnTo>
                  <a:lnTo>
                    <a:pt x="60" y="248"/>
                  </a:lnTo>
                  <a:lnTo>
                    <a:pt x="56" y="248"/>
                  </a:lnTo>
                  <a:lnTo>
                    <a:pt x="52" y="252"/>
                  </a:lnTo>
                  <a:lnTo>
                    <a:pt x="48" y="252"/>
                  </a:lnTo>
                  <a:lnTo>
                    <a:pt x="44" y="252"/>
                  </a:lnTo>
                  <a:lnTo>
                    <a:pt x="40" y="252"/>
                  </a:lnTo>
                  <a:lnTo>
                    <a:pt x="40" y="256"/>
                  </a:lnTo>
                  <a:lnTo>
                    <a:pt x="36" y="256"/>
                  </a:lnTo>
                  <a:lnTo>
                    <a:pt x="36" y="260"/>
                  </a:lnTo>
                  <a:lnTo>
                    <a:pt x="32" y="260"/>
                  </a:lnTo>
                  <a:lnTo>
                    <a:pt x="28" y="260"/>
                  </a:lnTo>
                  <a:lnTo>
                    <a:pt x="28" y="256"/>
                  </a:lnTo>
                  <a:lnTo>
                    <a:pt x="24" y="256"/>
                  </a:lnTo>
                  <a:lnTo>
                    <a:pt x="24" y="252"/>
                  </a:lnTo>
                  <a:lnTo>
                    <a:pt x="20" y="252"/>
                  </a:lnTo>
                  <a:lnTo>
                    <a:pt x="16" y="252"/>
                  </a:lnTo>
                  <a:lnTo>
                    <a:pt x="20" y="252"/>
                  </a:lnTo>
                  <a:lnTo>
                    <a:pt x="16" y="252"/>
                  </a:lnTo>
                  <a:lnTo>
                    <a:pt x="16" y="248"/>
                  </a:lnTo>
                  <a:lnTo>
                    <a:pt x="12" y="248"/>
                  </a:lnTo>
                  <a:lnTo>
                    <a:pt x="12" y="244"/>
                  </a:lnTo>
                  <a:lnTo>
                    <a:pt x="12" y="240"/>
                  </a:lnTo>
                  <a:lnTo>
                    <a:pt x="8" y="236"/>
                  </a:lnTo>
                  <a:lnTo>
                    <a:pt x="8" y="232"/>
                  </a:lnTo>
                  <a:lnTo>
                    <a:pt x="8" y="228"/>
                  </a:lnTo>
                  <a:lnTo>
                    <a:pt x="8" y="224"/>
                  </a:lnTo>
                  <a:lnTo>
                    <a:pt x="8" y="220"/>
                  </a:lnTo>
                  <a:lnTo>
                    <a:pt x="8" y="216"/>
                  </a:lnTo>
                  <a:lnTo>
                    <a:pt x="4" y="216"/>
                  </a:lnTo>
                  <a:lnTo>
                    <a:pt x="4" y="212"/>
                  </a:lnTo>
                  <a:lnTo>
                    <a:pt x="4" y="208"/>
                  </a:lnTo>
                  <a:lnTo>
                    <a:pt x="4" y="204"/>
                  </a:lnTo>
                  <a:lnTo>
                    <a:pt x="0" y="204"/>
                  </a:lnTo>
                  <a:lnTo>
                    <a:pt x="0" y="200"/>
                  </a:lnTo>
                  <a:lnTo>
                    <a:pt x="0" y="196"/>
                  </a:lnTo>
                  <a:lnTo>
                    <a:pt x="0" y="192"/>
                  </a:lnTo>
                  <a:lnTo>
                    <a:pt x="0" y="188"/>
                  </a:lnTo>
                  <a:lnTo>
                    <a:pt x="0" y="184"/>
                  </a:lnTo>
                  <a:lnTo>
                    <a:pt x="4" y="184"/>
                  </a:lnTo>
                  <a:lnTo>
                    <a:pt x="4" y="180"/>
                  </a:lnTo>
                  <a:lnTo>
                    <a:pt x="4" y="176"/>
                  </a:lnTo>
                  <a:lnTo>
                    <a:pt x="8" y="176"/>
                  </a:lnTo>
                  <a:lnTo>
                    <a:pt x="8" y="172"/>
                  </a:lnTo>
                  <a:lnTo>
                    <a:pt x="12" y="172"/>
                  </a:lnTo>
                  <a:lnTo>
                    <a:pt x="12" y="168"/>
                  </a:lnTo>
                  <a:lnTo>
                    <a:pt x="12" y="164"/>
                  </a:lnTo>
                  <a:lnTo>
                    <a:pt x="16" y="160"/>
                  </a:lnTo>
                  <a:lnTo>
                    <a:pt x="16" y="156"/>
                  </a:lnTo>
                  <a:lnTo>
                    <a:pt x="20" y="152"/>
                  </a:lnTo>
                  <a:lnTo>
                    <a:pt x="20" y="148"/>
                  </a:lnTo>
                  <a:lnTo>
                    <a:pt x="16" y="148"/>
                  </a:lnTo>
                  <a:lnTo>
                    <a:pt x="20" y="144"/>
                  </a:lnTo>
                  <a:lnTo>
                    <a:pt x="20" y="140"/>
                  </a:lnTo>
                  <a:lnTo>
                    <a:pt x="16" y="140"/>
                  </a:lnTo>
                  <a:lnTo>
                    <a:pt x="16" y="136"/>
                  </a:lnTo>
                  <a:lnTo>
                    <a:pt x="16" y="132"/>
                  </a:lnTo>
                  <a:lnTo>
                    <a:pt x="16" y="128"/>
                  </a:lnTo>
                  <a:lnTo>
                    <a:pt x="16" y="124"/>
                  </a:lnTo>
                  <a:lnTo>
                    <a:pt x="12" y="124"/>
                  </a:lnTo>
                  <a:lnTo>
                    <a:pt x="12" y="120"/>
                  </a:lnTo>
                  <a:lnTo>
                    <a:pt x="12" y="116"/>
                  </a:lnTo>
                  <a:lnTo>
                    <a:pt x="12" y="112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6" y="100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32" y="76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72"/>
                  </a:lnTo>
                  <a:lnTo>
                    <a:pt x="40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8" y="76"/>
                  </a:lnTo>
                  <a:lnTo>
                    <a:pt x="48" y="72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52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8" y="56"/>
                  </a:lnTo>
                  <a:lnTo>
                    <a:pt x="68" y="52"/>
                  </a:lnTo>
                  <a:lnTo>
                    <a:pt x="72" y="52"/>
                  </a:lnTo>
                  <a:lnTo>
                    <a:pt x="72" y="56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72" y="44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2" y="32"/>
                  </a:lnTo>
                  <a:lnTo>
                    <a:pt x="76" y="32"/>
                  </a:lnTo>
                  <a:lnTo>
                    <a:pt x="76" y="36"/>
                  </a:lnTo>
                  <a:lnTo>
                    <a:pt x="80" y="32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0" y="28"/>
                  </a:lnTo>
                  <a:lnTo>
                    <a:pt x="84" y="28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88" y="16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0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96" y="12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0" y="24"/>
                  </a:lnTo>
                  <a:lnTo>
                    <a:pt x="104" y="24"/>
                  </a:lnTo>
                  <a:lnTo>
                    <a:pt x="104" y="28"/>
                  </a:lnTo>
                  <a:lnTo>
                    <a:pt x="104" y="32"/>
                  </a:lnTo>
                  <a:lnTo>
                    <a:pt x="104" y="36"/>
                  </a:lnTo>
                  <a:lnTo>
                    <a:pt x="104" y="40"/>
                  </a:lnTo>
                  <a:lnTo>
                    <a:pt x="104" y="44"/>
                  </a:lnTo>
                  <a:lnTo>
                    <a:pt x="108" y="44"/>
                  </a:lnTo>
                  <a:lnTo>
                    <a:pt x="108" y="48"/>
                  </a:lnTo>
                  <a:lnTo>
                    <a:pt x="104" y="48"/>
                  </a:lnTo>
                  <a:lnTo>
                    <a:pt x="108" y="52"/>
                  </a:lnTo>
                  <a:lnTo>
                    <a:pt x="108" y="56"/>
                  </a:lnTo>
                  <a:lnTo>
                    <a:pt x="108" y="60"/>
                  </a:lnTo>
                  <a:lnTo>
                    <a:pt x="112" y="64"/>
                  </a:lnTo>
                  <a:lnTo>
                    <a:pt x="108" y="68"/>
                  </a:lnTo>
                  <a:lnTo>
                    <a:pt x="108" y="72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4" y="72"/>
                  </a:lnTo>
                  <a:lnTo>
                    <a:pt x="100" y="68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100" y="72"/>
                  </a:lnTo>
                  <a:lnTo>
                    <a:pt x="100" y="76"/>
                  </a:lnTo>
                  <a:lnTo>
                    <a:pt x="100" y="80"/>
                  </a:lnTo>
                  <a:lnTo>
                    <a:pt x="100" y="84"/>
                  </a:lnTo>
                  <a:lnTo>
                    <a:pt x="100" y="88"/>
                  </a:lnTo>
                  <a:lnTo>
                    <a:pt x="100" y="92"/>
                  </a:lnTo>
                  <a:lnTo>
                    <a:pt x="96" y="92"/>
                  </a:lnTo>
                  <a:lnTo>
                    <a:pt x="96" y="96"/>
                  </a:lnTo>
                  <a:lnTo>
                    <a:pt x="96" y="100"/>
                  </a:lnTo>
                  <a:lnTo>
                    <a:pt x="96" y="104"/>
                  </a:lnTo>
                  <a:lnTo>
                    <a:pt x="96" y="108"/>
                  </a:lnTo>
                  <a:lnTo>
                    <a:pt x="96" y="112"/>
                  </a:lnTo>
                  <a:lnTo>
                    <a:pt x="96" y="116"/>
                  </a:lnTo>
                  <a:lnTo>
                    <a:pt x="92" y="120"/>
                  </a:lnTo>
                  <a:lnTo>
                    <a:pt x="92" y="124"/>
                  </a:lnTo>
                  <a:lnTo>
                    <a:pt x="92" y="128"/>
                  </a:lnTo>
                  <a:lnTo>
                    <a:pt x="92" y="132"/>
                  </a:lnTo>
                  <a:lnTo>
                    <a:pt x="88" y="132"/>
                  </a:lnTo>
                  <a:lnTo>
                    <a:pt x="88" y="136"/>
                  </a:lnTo>
                  <a:lnTo>
                    <a:pt x="88" y="140"/>
                  </a:lnTo>
                  <a:lnTo>
                    <a:pt x="88" y="144"/>
                  </a:lnTo>
                  <a:lnTo>
                    <a:pt x="84" y="144"/>
                  </a:lnTo>
                  <a:lnTo>
                    <a:pt x="84" y="148"/>
                  </a:lnTo>
                  <a:lnTo>
                    <a:pt x="84" y="152"/>
                  </a:lnTo>
                  <a:lnTo>
                    <a:pt x="84" y="156"/>
                  </a:lnTo>
                  <a:lnTo>
                    <a:pt x="84" y="160"/>
                  </a:lnTo>
                  <a:lnTo>
                    <a:pt x="80" y="160"/>
                  </a:lnTo>
                  <a:close/>
                  <a:moveTo>
                    <a:pt x="100" y="96"/>
                  </a:moveTo>
                  <a:lnTo>
                    <a:pt x="100" y="92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0" y="9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8" name="Freeform 145"/>
            <p:cNvSpPr>
              <a:spLocks noEditPoints="1"/>
            </p:cNvSpPr>
            <p:nvPr>
              <p:custDataLst>
                <p:tags r:id="rId341"/>
              </p:custDataLst>
            </p:nvPr>
          </p:nvSpPr>
          <p:spPr bwMode="gray">
            <a:xfrm>
              <a:off x="5108694" y="4852524"/>
              <a:ext cx="71187" cy="213561"/>
            </a:xfrm>
            <a:custGeom>
              <a:avLst/>
              <a:gdLst/>
              <a:ahLst/>
              <a:cxnLst>
                <a:cxn ang="0">
                  <a:pos x="4" y="84"/>
                </a:cxn>
                <a:cxn ang="0">
                  <a:pos x="0" y="76"/>
                </a:cxn>
                <a:cxn ang="0">
                  <a:pos x="4" y="72"/>
                </a:cxn>
                <a:cxn ang="0">
                  <a:pos x="4" y="64"/>
                </a:cxn>
                <a:cxn ang="0">
                  <a:pos x="4" y="60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2" y="52"/>
                </a:cxn>
                <a:cxn ang="0">
                  <a:pos x="8" y="40"/>
                </a:cxn>
                <a:cxn ang="0">
                  <a:pos x="12" y="32"/>
                </a:cxn>
                <a:cxn ang="0">
                  <a:pos x="8" y="28"/>
                </a:cxn>
                <a:cxn ang="0">
                  <a:pos x="12" y="24"/>
                </a:cxn>
                <a:cxn ang="0">
                  <a:pos x="16" y="20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12" y="0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8" y="8"/>
                </a:cxn>
                <a:cxn ang="0">
                  <a:pos x="28" y="16"/>
                </a:cxn>
                <a:cxn ang="0">
                  <a:pos x="28" y="20"/>
                </a:cxn>
                <a:cxn ang="0">
                  <a:pos x="28" y="28"/>
                </a:cxn>
                <a:cxn ang="0">
                  <a:pos x="32" y="32"/>
                </a:cxn>
                <a:cxn ang="0">
                  <a:pos x="36" y="40"/>
                </a:cxn>
                <a:cxn ang="0">
                  <a:pos x="28" y="40"/>
                </a:cxn>
                <a:cxn ang="0">
                  <a:pos x="28" y="44"/>
                </a:cxn>
                <a:cxn ang="0">
                  <a:pos x="24" y="52"/>
                </a:cxn>
                <a:cxn ang="0">
                  <a:pos x="28" y="56"/>
                </a:cxn>
                <a:cxn ang="0">
                  <a:pos x="28" y="60"/>
                </a:cxn>
                <a:cxn ang="0">
                  <a:pos x="28" y="72"/>
                </a:cxn>
                <a:cxn ang="0">
                  <a:pos x="32" y="76"/>
                </a:cxn>
                <a:cxn ang="0">
                  <a:pos x="44" y="88"/>
                </a:cxn>
                <a:cxn ang="0">
                  <a:pos x="48" y="100"/>
                </a:cxn>
                <a:cxn ang="0">
                  <a:pos x="48" y="108"/>
                </a:cxn>
                <a:cxn ang="0">
                  <a:pos x="48" y="120"/>
                </a:cxn>
                <a:cxn ang="0">
                  <a:pos x="44" y="124"/>
                </a:cxn>
                <a:cxn ang="0">
                  <a:pos x="40" y="132"/>
                </a:cxn>
                <a:cxn ang="0">
                  <a:pos x="40" y="132"/>
                </a:cxn>
                <a:cxn ang="0">
                  <a:pos x="40" y="140"/>
                </a:cxn>
                <a:cxn ang="0">
                  <a:pos x="36" y="140"/>
                </a:cxn>
                <a:cxn ang="0">
                  <a:pos x="36" y="136"/>
                </a:cxn>
                <a:cxn ang="0">
                  <a:pos x="32" y="132"/>
                </a:cxn>
                <a:cxn ang="0">
                  <a:pos x="28" y="128"/>
                </a:cxn>
                <a:cxn ang="0">
                  <a:pos x="28" y="124"/>
                </a:cxn>
                <a:cxn ang="0">
                  <a:pos x="24" y="120"/>
                </a:cxn>
                <a:cxn ang="0">
                  <a:pos x="24" y="116"/>
                </a:cxn>
                <a:cxn ang="0">
                  <a:pos x="28" y="112"/>
                </a:cxn>
                <a:cxn ang="0">
                  <a:pos x="28" y="108"/>
                </a:cxn>
                <a:cxn ang="0">
                  <a:pos x="28" y="104"/>
                </a:cxn>
                <a:cxn ang="0">
                  <a:pos x="28" y="96"/>
                </a:cxn>
                <a:cxn ang="0">
                  <a:pos x="24" y="92"/>
                </a:cxn>
                <a:cxn ang="0">
                  <a:pos x="16" y="92"/>
                </a:cxn>
                <a:cxn ang="0">
                  <a:pos x="8" y="84"/>
                </a:cxn>
                <a:cxn ang="0">
                  <a:pos x="32" y="48"/>
                </a:cxn>
              </a:cxnLst>
              <a:rect l="0" t="0" r="r" b="b"/>
              <a:pathLst>
                <a:path w="48" h="144">
                  <a:moveTo>
                    <a:pt x="8" y="84"/>
                  </a:move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8" y="52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40" y="80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20"/>
                  </a:lnTo>
                  <a:lnTo>
                    <a:pt x="48" y="120"/>
                  </a:lnTo>
                  <a:lnTo>
                    <a:pt x="48" y="124"/>
                  </a:lnTo>
                  <a:lnTo>
                    <a:pt x="48" y="124"/>
                  </a:lnTo>
                  <a:lnTo>
                    <a:pt x="48" y="12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40" y="124"/>
                  </a:lnTo>
                  <a:lnTo>
                    <a:pt x="40" y="124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40" y="132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40" y="132"/>
                  </a:lnTo>
                  <a:lnTo>
                    <a:pt x="40" y="132"/>
                  </a:lnTo>
                  <a:lnTo>
                    <a:pt x="40" y="132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2" y="132"/>
                  </a:lnTo>
                  <a:lnTo>
                    <a:pt x="32" y="132"/>
                  </a:lnTo>
                  <a:lnTo>
                    <a:pt x="32" y="132"/>
                  </a:lnTo>
                  <a:lnTo>
                    <a:pt x="32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0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0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4"/>
                  </a:lnTo>
                  <a:close/>
                  <a:moveTo>
                    <a:pt x="28" y="48"/>
                  </a:move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close/>
                  <a:moveTo>
                    <a:pt x="32" y="48"/>
                  </a:move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49" name="Freeform 146"/>
            <p:cNvSpPr>
              <a:spLocks/>
            </p:cNvSpPr>
            <p:nvPr>
              <p:custDataLst>
                <p:tags r:id="rId342"/>
              </p:custDataLst>
            </p:nvPr>
          </p:nvSpPr>
          <p:spPr bwMode="gray">
            <a:xfrm>
              <a:off x="4103177" y="3906329"/>
              <a:ext cx="367800" cy="413774"/>
            </a:xfrm>
            <a:custGeom>
              <a:avLst/>
              <a:gdLst/>
              <a:ahLst/>
              <a:cxnLst>
                <a:cxn ang="0">
                  <a:pos x="28" y="243"/>
                </a:cxn>
                <a:cxn ang="0">
                  <a:pos x="20" y="239"/>
                </a:cxn>
                <a:cxn ang="0">
                  <a:pos x="8" y="239"/>
                </a:cxn>
                <a:cxn ang="0">
                  <a:pos x="12" y="223"/>
                </a:cxn>
                <a:cxn ang="0">
                  <a:pos x="0" y="215"/>
                </a:cxn>
                <a:cxn ang="0">
                  <a:pos x="4" y="203"/>
                </a:cxn>
                <a:cxn ang="0">
                  <a:pos x="0" y="195"/>
                </a:cxn>
                <a:cxn ang="0">
                  <a:pos x="8" y="179"/>
                </a:cxn>
                <a:cxn ang="0">
                  <a:pos x="20" y="187"/>
                </a:cxn>
                <a:cxn ang="0">
                  <a:pos x="32" y="183"/>
                </a:cxn>
                <a:cxn ang="0">
                  <a:pos x="44" y="179"/>
                </a:cxn>
                <a:cxn ang="0">
                  <a:pos x="64" y="179"/>
                </a:cxn>
                <a:cxn ang="0">
                  <a:pos x="88" y="179"/>
                </a:cxn>
                <a:cxn ang="0">
                  <a:pos x="104" y="163"/>
                </a:cxn>
                <a:cxn ang="0">
                  <a:pos x="96" y="131"/>
                </a:cxn>
                <a:cxn ang="0">
                  <a:pos x="92" y="99"/>
                </a:cxn>
                <a:cxn ang="0">
                  <a:pos x="92" y="72"/>
                </a:cxn>
                <a:cxn ang="0">
                  <a:pos x="88" y="44"/>
                </a:cxn>
                <a:cxn ang="0">
                  <a:pos x="84" y="12"/>
                </a:cxn>
                <a:cxn ang="0">
                  <a:pos x="96" y="0"/>
                </a:cxn>
                <a:cxn ang="0">
                  <a:pos x="128" y="12"/>
                </a:cxn>
                <a:cxn ang="0">
                  <a:pos x="152" y="36"/>
                </a:cxn>
                <a:cxn ang="0">
                  <a:pos x="176" y="56"/>
                </a:cxn>
                <a:cxn ang="0">
                  <a:pos x="200" y="76"/>
                </a:cxn>
                <a:cxn ang="0">
                  <a:pos x="208" y="84"/>
                </a:cxn>
                <a:cxn ang="0">
                  <a:pos x="220" y="91"/>
                </a:cxn>
                <a:cxn ang="0">
                  <a:pos x="232" y="103"/>
                </a:cxn>
                <a:cxn ang="0">
                  <a:pos x="244" y="111"/>
                </a:cxn>
                <a:cxn ang="0">
                  <a:pos x="248" y="139"/>
                </a:cxn>
                <a:cxn ang="0">
                  <a:pos x="248" y="163"/>
                </a:cxn>
                <a:cxn ang="0">
                  <a:pos x="240" y="175"/>
                </a:cxn>
                <a:cxn ang="0">
                  <a:pos x="228" y="179"/>
                </a:cxn>
                <a:cxn ang="0">
                  <a:pos x="200" y="187"/>
                </a:cxn>
                <a:cxn ang="0">
                  <a:pos x="188" y="191"/>
                </a:cxn>
                <a:cxn ang="0">
                  <a:pos x="176" y="187"/>
                </a:cxn>
                <a:cxn ang="0">
                  <a:pos x="156" y="199"/>
                </a:cxn>
                <a:cxn ang="0">
                  <a:pos x="140" y="207"/>
                </a:cxn>
                <a:cxn ang="0">
                  <a:pos x="136" y="215"/>
                </a:cxn>
                <a:cxn ang="0">
                  <a:pos x="128" y="219"/>
                </a:cxn>
                <a:cxn ang="0">
                  <a:pos x="120" y="227"/>
                </a:cxn>
                <a:cxn ang="0">
                  <a:pos x="112" y="243"/>
                </a:cxn>
                <a:cxn ang="0">
                  <a:pos x="104" y="259"/>
                </a:cxn>
                <a:cxn ang="0">
                  <a:pos x="100" y="275"/>
                </a:cxn>
                <a:cxn ang="0">
                  <a:pos x="88" y="275"/>
                </a:cxn>
                <a:cxn ang="0">
                  <a:pos x="88" y="267"/>
                </a:cxn>
                <a:cxn ang="0">
                  <a:pos x="80" y="279"/>
                </a:cxn>
                <a:cxn ang="0">
                  <a:pos x="64" y="275"/>
                </a:cxn>
                <a:cxn ang="0">
                  <a:pos x="56" y="267"/>
                </a:cxn>
                <a:cxn ang="0">
                  <a:pos x="52" y="259"/>
                </a:cxn>
                <a:cxn ang="0">
                  <a:pos x="48" y="251"/>
                </a:cxn>
                <a:cxn ang="0">
                  <a:pos x="44" y="235"/>
                </a:cxn>
                <a:cxn ang="0">
                  <a:pos x="36" y="243"/>
                </a:cxn>
              </a:cxnLst>
              <a:rect l="0" t="0" r="r" b="b"/>
              <a:pathLst>
                <a:path w="248" h="279">
                  <a:moveTo>
                    <a:pt x="36" y="243"/>
                  </a:moveTo>
                  <a:lnTo>
                    <a:pt x="32" y="243"/>
                  </a:lnTo>
                  <a:lnTo>
                    <a:pt x="32" y="239"/>
                  </a:lnTo>
                  <a:lnTo>
                    <a:pt x="28" y="239"/>
                  </a:lnTo>
                  <a:lnTo>
                    <a:pt x="28" y="243"/>
                  </a:lnTo>
                  <a:lnTo>
                    <a:pt x="24" y="243"/>
                  </a:lnTo>
                  <a:lnTo>
                    <a:pt x="24" y="247"/>
                  </a:lnTo>
                  <a:lnTo>
                    <a:pt x="20" y="247"/>
                  </a:lnTo>
                  <a:lnTo>
                    <a:pt x="20" y="243"/>
                  </a:lnTo>
                  <a:lnTo>
                    <a:pt x="20" y="239"/>
                  </a:lnTo>
                  <a:lnTo>
                    <a:pt x="16" y="239"/>
                  </a:lnTo>
                  <a:lnTo>
                    <a:pt x="16" y="243"/>
                  </a:lnTo>
                  <a:lnTo>
                    <a:pt x="12" y="243"/>
                  </a:lnTo>
                  <a:lnTo>
                    <a:pt x="8" y="243"/>
                  </a:lnTo>
                  <a:lnTo>
                    <a:pt x="8" y="239"/>
                  </a:lnTo>
                  <a:lnTo>
                    <a:pt x="12" y="239"/>
                  </a:lnTo>
                  <a:lnTo>
                    <a:pt x="12" y="235"/>
                  </a:lnTo>
                  <a:lnTo>
                    <a:pt x="12" y="231"/>
                  </a:lnTo>
                  <a:lnTo>
                    <a:pt x="12" y="227"/>
                  </a:lnTo>
                  <a:lnTo>
                    <a:pt x="12" y="223"/>
                  </a:lnTo>
                  <a:lnTo>
                    <a:pt x="8" y="223"/>
                  </a:lnTo>
                  <a:lnTo>
                    <a:pt x="8" y="219"/>
                  </a:lnTo>
                  <a:lnTo>
                    <a:pt x="4" y="219"/>
                  </a:lnTo>
                  <a:lnTo>
                    <a:pt x="4" y="215"/>
                  </a:lnTo>
                  <a:lnTo>
                    <a:pt x="0" y="215"/>
                  </a:lnTo>
                  <a:lnTo>
                    <a:pt x="0" y="211"/>
                  </a:lnTo>
                  <a:lnTo>
                    <a:pt x="4" y="211"/>
                  </a:lnTo>
                  <a:lnTo>
                    <a:pt x="4" y="207"/>
                  </a:lnTo>
                  <a:lnTo>
                    <a:pt x="0" y="207"/>
                  </a:lnTo>
                  <a:lnTo>
                    <a:pt x="4" y="203"/>
                  </a:lnTo>
                  <a:lnTo>
                    <a:pt x="0" y="203"/>
                  </a:lnTo>
                  <a:lnTo>
                    <a:pt x="0" y="199"/>
                  </a:lnTo>
                  <a:lnTo>
                    <a:pt x="0" y="195"/>
                  </a:lnTo>
                  <a:lnTo>
                    <a:pt x="0" y="191"/>
                  </a:lnTo>
                  <a:lnTo>
                    <a:pt x="0" y="195"/>
                  </a:lnTo>
                  <a:lnTo>
                    <a:pt x="4" y="191"/>
                  </a:lnTo>
                  <a:lnTo>
                    <a:pt x="4" y="187"/>
                  </a:lnTo>
                  <a:lnTo>
                    <a:pt x="4" y="183"/>
                  </a:lnTo>
                  <a:lnTo>
                    <a:pt x="4" y="179"/>
                  </a:lnTo>
                  <a:lnTo>
                    <a:pt x="8" y="179"/>
                  </a:lnTo>
                  <a:lnTo>
                    <a:pt x="8" y="175"/>
                  </a:lnTo>
                  <a:lnTo>
                    <a:pt x="12" y="175"/>
                  </a:lnTo>
                  <a:lnTo>
                    <a:pt x="12" y="179"/>
                  </a:lnTo>
                  <a:lnTo>
                    <a:pt x="16" y="183"/>
                  </a:lnTo>
                  <a:lnTo>
                    <a:pt x="20" y="187"/>
                  </a:lnTo>
                  <a:lnTo>
                    <a:pt x="20" y="183"/>
                  </a:lnTo>
                  <a:lnTo>
                    <a:pt x="20" y="179"/>
                  </a:lnTo>
                  <a:lnTo>
                    <a:pt x="24" y="179"/>
                  </a:lnTo>
                  <a:lnTo>
                    <a:pt x="28" y="179"/>
                  </a:lnTo>
                  <a:lnTo>
                    <a:pt x="32" y="183"/>
                  </a:lnTo>
                  <a:lnTo>
                    <a:pt x="36" y="183"/>
                  </a:lnTo>
                  <a:lnTo>
                    <a:pt x="36" y="179"/>
                  </a:lnTo>
                  <a:lnTo>
                    <a:pt x="40" y="179"/>
                  </a:lnTo>
                  <a:lnTo>
                    <a:pt x="44" y="175"/>
                  </a:lnTo>
                  <a:lnTo>
                    <a:pt x="44" y="179"/>
                  </a:lnTo>
                  <a:lnTo>
                    <a:pt x="48" y="179"/>
                  </a:lnTo>
                  <a:lnTo>
                    <a:pt x="52" y="179"/>
                  </a:lnTo>
                  <a:lnTo>
                    <a:pt x="56" y="179"/>
                  </a:lnTo>
                  <a:lnTo>
                    <a:pt x="60" y="179"/>
                  </a:lnTo>
                  <a:lnTo>
                    <a:pt x="64" y="179"/>
                  </a:lnTo>
                  <a:lnTo>
                    <a:pt x="68" y="179"/>
                  </a:lnTo>
                  <a:lnTo>
                    <a:pt x="72" y="179"/>
                  </a:lnTo>
                  <a:lnTo>
                    <a:pt x="76" y="179"/>
                  </a:lnTo>
                  <a:lnTo>
                    <a:pt x="84" y="179"/>
                  </a:lnTo>
                  <a:lnTo>
                    <a:pt x="88" y="179"/>
                  </a:lnTo>
                  <a:lnTo>
                    <a:pt x="92" y="179"/>
                  </a:lnTo>
                  <a:lnTo>
                    <a:pt x="100" y="179"/>
                  </a:lnTo>
                  <a:lnTo>
                    <a:pt x="100" y="171"/>
                  </a:lnTo>
                  <a:lnTo>
                    <a:pt x="104" y="167"/>
                  </a:lnTo>
                  <a:lnTo>
                    <a:pt x="104" y="163"/>
                  </a:lnTo>
                  <a:lnTo>
                    <a:pt x="100" y="159"/>
                  </a:lnTo>
                  <a:lnTo>
                    <a:pt x="100" y="155"/>
                  </a:lnTo>
                  <a:lnTo>
                    <a:pt x="96" y="143"/>
                  </a:lnTo>
                  <a:lnTo>
                    <a:pt x="96" y="135"/>
                  </a:lnTo>
                  <a:lnTo>
                    <a:pt x="96" y="131"/>
                  </a:lnTo>
                  <a:lnTo>
                    <a:pt x="96" y="127"/>
                  </a:lnTo>
                  <a:lnTo>
                    <a:pt x="96" y="119"/>
                  </a:lnTo>
                  <a:lnTo>
                    <a:pt x="96" y="111"/>
                  </a:lnTo>
                  <a:lnTo>
                    <a:pt x="96" y="107"/>
                  </a:lnTo>
                  <a:lnTo>
                    <a:pt x="92" y="99"/>
                  </a:lnTo>
                  <a:lnTo>
                    <a:pt x="92" y="91"/>
                  </a:lnTo>
                  <a:lnTo>
                    <a:pt x="92" y="84"/>
                  </a:lnTo>
                  <a:lnTo>
                    <a:pt x="92" y="80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92" y="68"/>
                  </a:lnTo>
                  <a:lnTo>
                    <a:pt x="92" y="64"/>
                  </a:lnTo>
                  <a:lnTo>
                    <a:pt x="88" y="60"/>
                  </a:lnTo>
                  <a:lnTo>
                    <a:pt x="88" y="56"/>
                  </a:lnTo>
                  <a:lnTo>
                    <a:pt x="88" y="44"/>
                  </a:lnTo>
                  <a:lnTo>
                    <a:pt x="88" y="40"/>
                  </a:lnTo>
                  <a:lnTo>
                    <a:pt x="88" y="32"/>
                  </a:lnTo>
                  <a:lnTo>
                    <a:pt x="88" y="24"/>
                  </a:lnTo>
                  <a:lnTo>
                    <a:pt x="84" y="16"/>
                  </a:lnTo>
                  <a:lnTo>
                    <a:pt x="84" y="12"/>
                  </a:lnTo>
                  <a:lnTo>
                    <a:pt x="84" y="8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6" y="0"/>
                  </a:lnTo>
                  <a:lnTo>
                    <a:pt x="108" y="0"/>
                  </a:lnTo>
                  <a:lnTo>
                    <a:pt x="112" y="0"/>
                  </a:lnTo>
                  <a:lnTo>
                    <a:pt x="116" y="4"/>
                  </a:lnTo>
                  <a:lnTo>
                    <a:pt x="120" y="8"/>
                  </a:lnTo>
                  <a:lnTo>
                    <a:pt x="128" y="12"/>
                  </a:lnTo>
                  <a:lnTo>
                    <a:pt x="132" y="16"/>
                  </a:lnTo>
                  <a:lnTo>
                    <a:pt x="136" y="20"/>
                  </a:lnTo>
                  <a:lnTo>
                    <a:pt x="140" y="24"/>
                  </a:lnTo>
                  <a:lnTo>
                    <a:pt x="148" y="28"/>
                  </a:lnTo>
                  <a:lnTo>
                    <a:pt x="152" y="36"/>
                  </a:lnTo>
                  <a:lnTo>
                    <a:pt x="156" y="40"/>
                  </a:lnTo>
                  <a:lnTo>
                    <a:pt x="164" y="44"/>
                  </a:lnTo>
                  <a:lnTo>
                    <a:pt x="168" y="48"/>
                  </a:lnTo>
                  <a:lnTo>
                    <a:pt x="172" y="52"/>
                  </a:lnTo>
                  <a:lnTo>
                    <a:pt x="176" y="56"/>
                  </a:lnTo>
                  <a:lnTo>
                    <a:pt x="184" y="60"/>
                  </a:lnTo>
                  <a:lnTo>
                    <a:pt x="188" y="64"/>
                  </a:lnTo>
                  <a:lnTo>
                    <a:pt x="192" y="64"/>
                  </a:lnTo>
                  <a:lnTo>
                    <a:pt x="196" y="72"/>
                  </a:lnTo>
                  <a:lnTo>
                    <a:pt x="200" y="76"/>
                  </a:lnTo>
                  <a:lnTo>
                    <a:pt x="204" y="76"/>
                  </a:lnTo>
                  <a:lnTo>
                    <a:pt x="204" y="80"/>
                  </a:lnTo>
                  <a:lnTo>
                    <a:pt x="200" y="80"/>
                  </a:lnTo>
                  <a:lnTo>
                    <a:pt x="204" y="84"/>
                  </a:lnTo>
                  <a:lnTo>
                    <a:pt x="208" y="84"/>
                  </a:lnTo>
                  <a:lnTo>
                    <a:pt x="208" y="87"/>
                  </a:lnTo>
                  <a:lnTo>
                    <a:pt x="212" y="87"/>
                  </a:lnTo>
                  <a:lnTo>
                    <a:pt x="212" y="91"/>
                  </a:lnTo>
                  <a:lnTo>
                    <a:pt x="216" y="91"/>
                  </a:lnTo>
                  <a:lnTo>
                    <a:pt x="220" y="91"/>
                  </a:lnTo>
                  <a:lnTo>
                    <a:pt x="220" y="95"/>
                  </a:lnTo>
                  <a:lnTo>
                    <a:pt x="224" y="95"/>
                  </a:lnTo>
                  <a:lnTo>
                    <a:pt x="228" y="95"/>
                  </a:lnTo>
                  <a:lnTo>
                    <a:pt x="232" y="99"/>
                  </a:lnTo>
                  <a:lnTo>
                    <a:pt x="232" y="103"/>
                  </a:lnTo>
                  <a:lnTo>
                    <a:pt x="232" y="107"/>
                  </a:lnTo>
                  <a:lnTo>
                    <a:pt x="232" y="111"/>
                  </a:lnTo>
                  <a:lnTo>
                    <a:pt x="236" y="115"/>
                  </a:lnTo>
                  <a:lnTo>
                    <a:pt x="240" y="111"/>
                  </a:lnTo>
                  <a:lnTo>
                    <a:pt x="244" y="111"/>
                  </a:lnTo>
                  <a:lnTo>
                    <a:pt x="248" y="111"/>
                  </a:lnTo>
                  <a:lnTo>
                    <a:pt x="248" y="115"/>
                  </a:lnTo>
                  <a:lnTo>
                    <a:pt x="248" y="119"/>
                  </a:lnTo>
                  <a:lnTo>
                    <a:pt x="248" y="131"/>
                  </a:lnTo>
                  <a:lnTo>
                    <a:pt x="248" y="139"/>
                  </a:lnTo>
                  <a:lnTo>
                    <a:pt x="248" y="143"/>
                  </a:lnTo>
                  <a:lnTo>
                    <a:pt x="248" y="147"/>
                  </a:lnTo>
                  <a:lnTo>
                    <a:pt x="248" y="151"/>
                  </a:lnTo>
                  <a:lnTo>
                    <a:pt x="248" y="155"/>
                  </a:lnTo>
                  <a:lnTo>
                    <a:pt x="248" y="163"/>
                  </a:lnTo>
                  <a:lnTo>
                    <a:pt x="244" y="163"/>
                  </a:lnTo>
                  <a:lnTo>
                    <a:pt x="244" y="167"/>
                  </a:lnTo>
                  <a:lnTo>
                    <a:pt x="244" y="171"/>
                  </a:lnTo>
                  <a:lnTo>
                    <a:pt x="244" y="175"/>
                  </a:lnTo>
                  <a:lnTo>
                    <a:pt x="240" y="175"/>
                  </a:lnTo>
                  <a:lnTo>
                    <a:pt x="240" y="179"/>
                  </a:lnTo>
                  <a:lnTo>
                    <a:pt x="236" y="179"/>
                  </a:lnTo>
                  <a:lnTo>
                    <a:pt x="236" y="183"/>
                  </a:lnTo>
                  <a:lnTo>
                    <a:pt x="232" y="179"/>
                  </a:lnTo>
                  <a:lnTo>
                    <a:pt x="228" y="179"/>
                  </a:lnTo>
                  <a:lnTo>
                    <a:pt x="228" y="183"/>
                  </a:lnTo>
                  <a:lnTo>
                    <a:pt x="224" y="183"/>
                  </a:lnTo>
                  <a:lnTo>
                    <a:pt x="212" y="183"/>
                  </a:lnTo>
                  <a:lnTo>
                    <a:pt x="204" y="183"/>
                  </a:lnTo>
                  <a:lnTo>
                    <a:pt x="200" y="187"/>
                  </a:lnTo>
                  <a:lnTo>
                    <a:pt x="196" y="191"/>
                  </a:lnTo>
                  <a:lnTo>
                    <a:pt x="192" y="191"/>
                  </a:lnTo>
                  <a:lnTo>
                    <a:pt x="192" y="187"/>
                  </a:lnTo>
                  <a:lnTo>
                    <a:pt x="192" y="191"/>
                  </a:lnTo>
                  <a:lnTo>
                    <a:pt x="188" y="191"/>
                  </a:lnTo>
                  <a:lnTo>
                    <a:pt x="188" y="187"/>
                  </a:lnTo>
                  <a:lnTo>
                    <a:pt x="188" y="191"/>
                  </a:lnTo>
                  <a:lnTo>
                    <a:pt x="184" y="187"/>
                  </a:lnTo>
                  <a:lnTo>
                    <a:pt x="180" y="187"/>
                  </a:lnTo>
                  <a:lnTo>
                    <a:pt x="176" y="187"/>
                  </a:lnTo>
                  <a:lnTo>
                    <a:pt x="172" y="187"/>
                  </a:lnTo>
                  <a:lnTo>
                    <a:pt x="168" y="191"/>
                  </a:lnTo>
                  <a:lnTo>
                    <a:pt x="164" y="195"/>
                  </a:lnTo>
                  <a:lnTo>
                    <a:pt x="160" y="199"/>
                  </a:lnTo>
                  <a:lnTo>
                    <a:pt x="156" y="199"/>
                  </a:lnTo>
                  <a:lnTo>
                    <a:pt x="152" y="199"/>
                  </a:lnTo>
                  <a:lnTo>
                    <a:pt x="152" y="203"/>
                  </a:lnTo>
                  <a:lnTo>
                    <a:pt x="148" y="203"/>
                  </a:lnTo>
                  <a:lnTo>
                    <a:pt x="144" y="203"/>
                  </a:lnTo>
                  <a:lnTo>
                    <a:pt x="140" y="207"/>
                  </a:lnTo>
                  <a:lnTo>
                    <a:pt x="140" y="211"/>
                  </a:lnTo>
                  <a:lnTo>
                    <a:pt x="140" y="215"/>
                  </a:lnTo>
                  <a:lnTo>
                    <a:pt x="136" y="215"/>
                  </a:lnTo>
                  <a:lnTo>
                    <a:pt x="136" y="211"/>
                  </a:lnTo>
                  <a:lnTo>
                    <a:pt x="136" y="215"/>
                  </a:lnTo>
                  <a:lnTo>
                    <a:pt x="136" y="219"/>
                  </a:lnTo>
                  <a:lnTo>
                    <a:pt x="132" y="219"/>
                  </a:lnTo>
                  <a:lnTo>
                    <a:pt x="132" y="223"/>
                  </a:lnTo>
                  <a:lnTo>
                    <a:pt x="128" y="223"/>
                  </a:lnTo>
                  <a:lnTo>
                    <a:pt x="128" y="219"/>
                  </a:lnTo>
                  <a:lnTo>
                    <a:pt x="124" y="219"/>
                  </a:lnTo>
                  <a:lnTo>
                    <a:pt x="124" y="215"/>
                  </a:lnTo>
                  <a:lnTo>
                    <a:pt x="120" y="219"/>
                  </a:lnTo>
                  <a:lnTo>
                    <a:pt x="120" y="223"/>
                  </a:lnTo>
                  <a:lnTo>
                    <a:pt x="120" y="227"/>
                  </a:lnTo>
                  <a:lnTo>
                    <a:pt x="120" y="231"/>
                  </a:lnTo>
                  <a:lnTo>
                    <a:pt x="116" y="231"/>
                  </a:lnTo>
                  <a:lnTo>
                    <a:pt x="116" y="235"/>
                  </a:lnTo>
                  <a:lnTo>
                    <a:pt x="116" y="239"/>
                  </a:lnTo>
                  <a:lnTo>
                    <a:pt x="112" y="243"/>
                  </a:lnTo>
                  <a:lnTo>
                    <a:pt x="108" y="243"/>
                  </a:lnTo>
                  <a:lnTo>
                    <a:pt x="104" y="247"/>
                  </a:lnTo>
                  <a:lnTo>
                    <a:pt x="104" y="251"/>
                  </a:lnTo>
                  <a:lnTo>
                    <a:pt x="104" y="255"/>
                  </a:lnTo>
                  <a:lnTo>
                    <a:pt x="104" y="259"/>
                  </a:lnTo>
                  <a:lnTo>
                    <a:pt x="104" y="263"/>
                  </a:lnTo>
                  <a:lnTo>
                    <a:pt x="100" y="263"/>
                  </a:lnTo>
                  <a:lnTo>
                    <a:pt x="100" y="267"/>
                  </a:lnTo>
                  <a:lnTo>
                    <a:pt x="100" y="271"/>
                  </a:lnTo>
                  <a:lnTo>
                    <a:pt x="100" y="275"/>
                  </a:lnTo>
                  <a:lnTo>
                    <a:pt x="100" y="271"/>
                  </a:lnTo>
                  <a:lnTo>
                    <a:pt x="96" y="275"/>
                  </a:lnTo>
                  <a:lnTo>
                    <a:pt x="92" y="275"/>
                  </a:lnTo>
                  <a:lnTo>
                    <a:pt x="92" y="279"/>
                  </a:lnTo>
                  <a:lnTo>
                    <a:pt x="88" y="275"/>
                  </a:lnTo>
                  <a:lnTo>
                    <a:pt x="92" y="275"/>
                  </a:lnTo>
                  <a:lnTo>
                    <a:pt x="92" y="271"/>
                  </a:lnTo>
                  <a:lnTo>
                    <a:pt x="88" y="271"/>
                  </a:lnTo>
                  <a:lnTo>
                    <a:pt x="92" y="271"/>
                  </a:lnTo>
                  <a:lnTo>
                    <a:pt x="88" y="267"/>
                  </a:lnTo>
                  <a:lnTo>
                    <a:pt x="88" y="271"/>
                  </a:lnTo>
                  <a:lnTo>
                    <a:pt x="84" y="271"/>
                  </a:lnTo>
                  <a:lnTo>
                    <a:pt x="84" y="275"/>
                  </a:lnTo>
                  <a:lnTo>
                    <a:pt x="80" y="275"/>
                  </a:lnTo>
                  <a:lnTo>
                    <a:pt x="80" y="279"/>
                  </a:lnTo>
                  <a:lnTo>
                    <a:pt x="76" y="279"/>
                  </a:lnTo>
                  <a:lnTo>
                    <a:pt x="76" y="275"/>
                  </a:lnTo>
                  <a:lnTo>
                    <a:pt x="72" y="275"/>
                  </a:lnTo>
                  <a:lnTo>
                    <a:pt x="68" y="275"/>
                  </a:lnTo>
                  <a:lnTo>
                    <a:pt x="64" y="275"/>
                  </a:lnTo>
                  <a:lnTo>
                    <a:pt x="64" y="279"/>
                  </a:lnTo>
                  <a:lnTo>
                    <a:pt x="64" y="275"/>
                  </a:lnTo>
                  <a:lnTo>
                    <a:pt x="60" y="275"/>
                  </a:lnTo>
                  <a:lnTo>
                    <a:pt x="60" y="271"/>
                  </a:lnTo>
                  <a:lnTo>
                    <a:pt x="56" y="267"/>
                  </a:lnTo>
                  <a:lnTo>
                    <a:pt x="60" y="267"/>
                  </a:lnTo>
                  <a:lnTo>
                    <a:pt x="60" y="263"/>
                  </a:lnTo>
                  <a:lnTo>
                    <a:pt x="56" y="263"/>
                  </a:lnTo>
                  <a:lnTo>
                    <a:pt x="52" y="263"/>
                  </a:lnTo>
                  <a:lnTo>
                    <a:pt x="52" y="259"/>
                  </a:lnTo>
                  <a:lnTo>
                    <a:pt x="56" y="259"/>
                  </a:lnTo>
                  <a:lnTo>
                    <a:pt x="56" y="255"/>
                  </a:lnTo>
                  <a:lnTo>
                    <a:pt x="52" y="255"/>
                  </a:lnTo>
                  <a:lnTo>
                    <a:pt x="52" y="251"/>
                  </a:lnTo>
                  <a:lnTo>
                    <a:pt x="48" y="251"/>
                  </a:lnTo>
                  <a:lnTo>
                    <a:pt x="52" y="247"/>
                  </a:lnTo>
                  <a:lnTo>
                    <a:pt x="52" y="243"/>
                  </a:lnTo>
                  <a:lnTo>
                    <a:pt x="48" y="239"/>
                  </a:lnTo>
                  <a:lnTo>
                    <a:pt x="48" y="235"/>
                  </a:lnTo>
                  <a:lnTo>
                    <a:pt x="44" y="235"/>
                  </a:lnTo>
                  <a:lnTo>
                    <a:pt x="40" y="235"/>
                  </a:lnTo>
                  <a:lnTo>
                    <a:pt x="44" y="235"/>
                  </a:lnTo>
                  <a:lnTo>
                    <a:pt x="44" y="239"/>
                  </a:lnTo>
                  <a:lnTo>
                    <a:pt x="40" y="239"/>
                  </a:lnTo>
                  <a:lnTo>
                    <a:pt x="36" y="2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0" name="Freeform 147"/>
            <p:cNvSpPr>
              <a:spLocks noEditPoints="1"/>
            </p:cNvSpPr>
            <p:nvPr>
              <p:custDataLst>
                <p:tags r:id="rId343"/>
              </p:custDataLst>
            </p:nvPr>
          </p:nvSpPr>
          <p:spPr bwMode="gray">
            <a:xfrm>
              <a:off x="3990464" y="3841075"/>
              <a:ext cx="278816" cy="354452"/>
            </a:xfrm>
            <a:custGeom>
              <a:avLst/>
              <a:gdLst/>
              <a:ahLst/>
              <a:cxnLst>
                <a:cxn ang="0">
                  <a:pos x="96" y="231"/>
                </a:cxn>
                <a:cxn ang="0">
                  <a:pos x="88" y="223"/>
                </a:cxn>
                <a:cxn ang="0">
                  <a:pos x="84" y="219"/>
                </a:cxn>
                <a:cxn ang="0">
                  <a:pos x="80" y="223"/>
                </a:cxn>
                <a:cxn ang="0">
                  <a:pos x="80" y="231"/>
                </a:cxn>
                <a:cxn ang="0">
                  <a:pos x="76" y="235"/>
                </a:cxn>
                <a:cxn ang="0">
                  <a:pos x="68" y="231"/>
                </a:cxn>
                <a:cxn ang="0">
                  <a:pos x="64" y="227"/>
                </a:cxn>
                <a:cxn ang="0">
                  <a:pos x="64" y="223"/>
                </a:cxn>
                <a:cxn ang="0">
                  <a:pos x="56" y="211"/>
                </a:cxn>
                <a:cxn ang="0">
                  <a:pos x="52" y="211"/>
                </a:cxn>
                <a:cxn ang="0">
                  <a:pos x="40" y="203"/>
                </a:cxn>
                <a:cxn ang="0">
                  <a:pos x="32" y="203"/>
                </a:cxn>
                <a:cxn ang="0">
                  <a:pos x="28" y="203"/>
                </a:cxn>
                <a:cxn ang="0">
                  <a:pos x="20" y="203"/>
                </a:cxn>
                <a:cxn ang="0">
                  <a:pos x="16" y="203"/>
                </a:cxn>
                <a:cxn ang="0">
                  <a:pos x="12" y="207"/>
                </a:cxn>
                <a:cxn ang="0">
                  <a:pos x="8" y="207"/>
                </a:cxn>
                <a:cxn ang="0">
                  <a:pos x="12" y="203"/>
                </a:cxn>
                <a:cxn ang="0">
                  <a:pos x="16" y="191"/>
                </a:cxn>
                <a:cxn ang="0">
                  <a:pos x="16" y="183"/>
                </a:cxn>
                <a:cxn ang="0">
                  <a:pos x="16" y="167"/>
                </a:cxn>
                <a:cxn ang="0">
                  <a:pos x="16" y="163"/>
                </a:cxn>
                <a:cxn ang="0">
                  <a:pos x="12" y="155"/>
                </a:cxn>
                <a:cxn ang="0">
                  <a:pos x="12" y="151"/>
                </a:cxn>
                <a:cxn ang="0">
                  <a:pos x="12" y="147"/>
                </a:cxn>
                <a:cxn ang="0">
                  <a:pos x="12" y="147"/>
                </a:cxn>
                <a:cxn ang="0">
                  <a:pos x="12" y="131"/>
                </a:cxn>
                <a:cxn ang="0">
                  <a:pos x="8" y="128"/>
                </a:cxn>
                <a:cxn ang="0">
                  <a:pos x="4" y="120"/>
                </a:cxn>
                <a:cxn ang="0">
                  <a:pos x="0" y="124"/>
                </a:cxn>
                <a:cxn ang="0">
                  <a:pos x="4" y="116"/>
                </a:cxn>
                <a:cxn ang="0">
                  <a:pos x="32" y="116"/>
                </a:cxn>
                <a:cxn ang="0">
                  <a:pos x="64" y="116"/>
                </a:cxn>
                <a:cxn ang="0">
                  <a:pos x="60" y="92"/>
                </a:cxn>
                <a:cxn ang="0">
                  <a:pos x="64" y="84"/>
                </a:cxn>
                <a:cxn ang="0">
                  <a:pos x="76" y="76"/>
                </a:cxn>
                <a:cxn ang="0">
                  <a:pos x="76" y="48"/>
                </a:cxn>
                <a:cxn ang="0">
                  <a:pos x="76" y="32"/>
                </a:cxn>
                <a:cxn ang="0">
                  <a:pos x="108" y="24"/>
                </a:cxn>
                <a:cxn ang="0">
                  <a:pos x="128" y="24"/>
                </a:cxn>
                <a:cxn ang="0">
                  <a:pos x="128" y="0"/>
                </a:cxn>
                <a:cxn ang="0">
                  <a:pos x="152" y="20"/>
                </a:cxn>
                <a:cxn ang="0">
                  <a:pos x="176" y="36"/>
                </a:cxn>
                <a:cxn ang="0">
                  <a:pos x="184" y="44"/>
                </a:cxn>
                <a:cxn ang="0">
                  <a:pos x="160" y="52"/>
                </a:cxn>
                <a:cxn ang="0">
                  <a:pos x="164" y="84"/>
                </a:cxn>
                <a:cxn ang="0">
                  <a:pos x="168" y="116"/>
                </a:cxn>
                <a:cxn ang="0">
                  <a:pos x="172" y="151"/>
                </a:cxn>
                <a:cxn ang="0">
                  <a:pos x="172" y="179"/>
                </a:cxn>
                <a:cxn ang="0">
                  <a:pos x="176" y="215"/>
                </a:cxn>
                <a:cxn ang="0">
                  <a:pos x="164" y="223"/>
                </a:cxn>
                <a:cxn ang="0">
                  <a:pos x="140" y="223"/>
                </a:cxn>
                <a:cxn ang="0">
                  <a:pos x="124" y="223"/>
                </a:cxn>
                <a:cxn ang="0">
                  <a:pos x="116" y="223"/>
                </a:cxn>
                <a:cxn ang="0">
                  <a:pos x="112" y="227"/>
                </a:cxn>
                <a:cxn ang="0">
                  <a:pos x="104" y="223"/>
                </a:cxn>
                <a:cxn ang="0">
                  <a:pos x="12" y="147"/>
                </a:cxn>
                <a:cxn ang="0">
                  <a:pos x="12" y="143"/>
                </a:cxn>
                <a:cxn ang="0">
                  <a:pos x="12" y="147"/>
                </a:cxn>
              </a:cxnLst>
              <a:rect l="0" t="0" r="r" b="b"/>
              <a:pathLst>
                <a:path w="188" h="239">
                  <a:moveTo>
                    <a:pt x="96" y="223"/>
                  </a:move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31"/>
                  </a:lnTo>
                  <a:lnTo>
                    <a:pt x="96" y="231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19"/>
                  </a:lnTo>
                  <a:lnTo>
                    <a:pt x="88" y="219"/>
                  </a:lnTo>
                  <a:lnTo>
                    <a:pt x="84" y="219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80" y="227"/>
                  </a:lnTo>
                  <a:lnTo>
                    <a:pt x="80" y="227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76" y="239"/>
                  </a:lnTo>
                  <a:lnTo>
                    <a:pt x="76" y="239"/>
                  </a:lnTo>
                  <a:lnTo>
                    <a:pt x="76" y="235"/>
                  </a:lnTo>
                  <a:lnTo>
                    <a:pt x="76" y="235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72" y="231"/>
                  </a:lnTo>
                  <a:lnTo>
                    <a:pt x="68" y="231"/>
                  </a:lnTo>
                  <a:lnTo>
                    <a:pt x="68" y="231"/>
                  </a:lnTo>
                  <a:lnTo>
                    <a:pt x="68" y="231"/>
                  </a:lnTo>
                  <a:lnTo>
                    <a:pt x="68" y="231"/>
                  </a:lnTo>
                  <a:lnTo>
                    <a:pt x="64" y="231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19"/>
                  </a:lnTo>
                  <a:lnTo>
                    <a:pt x="60" y="219"/>
                  </a:lnTo>
                  <a:lnTo>
                    <a:pt x="56" y="215"/>
                  </a:lnTo>
                  <a:lnTo>
                    <a:pt x="56" y="211"/>
                  </a:lnTo>
                  <a:lnTo>
                    <a:pt x="56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48" y="211"/>
                  </a:lnTo>
                  <a:lnTo>
                    <a:pt x="48" y="207"/>
                  </a:lnTo>
                  <a:lnTo>
                    <a:pt x="48" y="207"/>
                  </a:lnTo>
                  <a:lnTo>
                    <a:pt x="44" y="203"/>
                  </a:lnTo>
                  <a:lnTo>
                    <a:pt x="44" y="203"/>
                  </a:lnTo>
                  <a:lnTo>
                    <a:pt x="40" y="203"/>
                  </a:lnTo>
                  <a:lnTo>
                    <a:pt x="40" y="203"/>
                  </a:lnTo>
                  <a:lnTo>
                    <a:pt x="40" y="203"/>
                  </a:lnTo>
                  <a:lnTo>
                    <a:pt x="36" y="203"/>
                  </a:lnTo>
                  <a:lnTo>
                    <a:pt x="36" y="203"/>
                  </a:lnTo>
                  <a:lnTo>
                    <a:pt x="36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199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7"/>
                  </a:lnTo>
                  <a:lnTo>
                    <a:pt x="12" y="207"/>
                  </a:lnTo>
                  <a:lnTo>
                    <a:pt x="12" y="207"/>
                  </a:lnTo>
                  <a:lnTo>
                    <a:pt x="12" y="207"/>
                  </a:lnTo>
                  <a:lnTo>
                    <a:pt x="12" y="211"/>
                  </a:lnTo>
                  <a:lnTo>
                    <a:pt x="8" y="211"/>
                  </a:lnTo>
                  <a:lnTo>
                    <a:pt x="8" y="211"/>
                  </a:lnTo>
                  <a:lnTo>
                    <a:pt x="8" y="211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199"/>
                  </a:lnTo>
                  <a:lnTo>
                    <a:pt x="12" y="199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6" y="183"/>
                  </a:lnTo>
                  <a:lnTo>
                    <a:pt x="16" y="183"/>
                  </a:lnTo>
                  <a:lnTo>
                    <a:pt x="16" y="183"/>
                  </a:lnTo>
                  <a:lnTo>
                    <a:pt x="16" y="179"/>
                  </a:lnTo>
                  <a:lnTo>
                    <a:pt x="16" y="175"/>
                  </a:lnTo>
                  <a:lnTo>
                    <a:pt x="16" y="175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3"/>
                  </a:lnTo>
                  <a:lnTo>
                    <a:pt x="16" y="163"/>
                  </a:lnTo>
                  <a:lnTo>
                    <a:pt x="16" y="159"/>
                  </a:lnTo>
                  <a:lnTo>
                    <a:pt x="16" y="159"/>
                  </a:lnTo>
                  <a:lnTo>
                    <a:pt x="16" y="159"/>
                  </a:lnTo>
                  <a:lnTo>
                    <a:pt x="12" y="159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1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3"/>
                  </a:lnTo>
                  <a:lnTo>
                    <a:pt x="12" y="139"/>
                  </a:lnTo>
                  <a:lnTo>
                    <a:pt x="12" y="139"/>
                  </a:lnTo>
                  <a:lnTo>
                    <a:pt x="16" y="135"/>
                  </a:lnTo>
                  <a:lnTo>
                    <a:pt x="12" y="135"/>
                  </a:lnTo>
                  <a:lnTo>
                    <a:pt x="12" y="131"/>
                  </a:lnTo>
                  <a:lnTo>
                    <a:pt x="12" y="131"/>
                  </a:lnTo>
                  <a:lnTo>
                    <a:pt x="12" y="128"/>
                  </a:lnTo>
                  <a:lnTo>
                    <a:pt x="12" y="128"/>
                  </a:lnTo>
                  <a:lnTo>
                    <a:pt x="12" y="128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4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20"/>
                  </a:lnTo>
                  <a:lnTo>
                    <a:pt x="0" y="120"/>
                  </a:lnTo>
                  <a:lnTo>
                    <a:pt x="4" y="120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28" y="116"/>
                  </a:lnTo>
                  <a:lnTo>
                    <a:pt x="32" y="116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4" y="116"/>
                  </a:lnTo>
                  <a:lnTo>
                    <a:pt x="44" y="116"/>
                  </a:lnTo>
                  <a:lnTo>
                    <a:pt x="48" y="116"/>
                  </a:lnTo>
                  <a:lnTo>
                    <a:pt x="56" y="116"/>
                  </a:lnTo>
                  <a:lnTo>
                    <a:pt x="64" y="116"/>
                  </a:lnTo>
                  <a:lnTo>
                    <a:pt x="64" y="112"/>
                  </a:lnTo>
                  <a:lnTo>
                    <a:pt x="64" y="104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72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68"/>
                  </a:lnTo>
                  <a:lnTo>
                    <a:pt x="76" y="64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28" y="24"/>
                  </a:lnTo>
                  <a:lnTo>
                    <a:pt x="128" y="24"/>
                  </a:lnTo>
                  <a:lnTo>
                    <a:pt x="128" y="24"/>
                  </a:lnTo>
                  <a:lnTo>
                    <a:pt x="128" y="16"/>
                  </a:lnTo>
                  <a:lnTo>
                    <a:pt x="128" y="8"/>
                  </a:lnTo>
                  <a:lnTo>
                    <a:pt x="128" y="8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36" y="4"/>
                  </a:lnTo>
                  <a:lnTo>
                    <a:pt x="136" y="8"/>
                  </a:lnTo>
                  <a:lnTo>
                    <a:pt x="144" y="12"/>
                  </a:lnTo>
                  <a:lnTo>
                    <a:pt x="144" y="12"/>
                  </a:lnTo>
                  <a:lnTo>
                    <a:pt x="148" y="16"/>
                  </a:lnTo>
                  <a:lnTo>
                    <a:pt x="152" y="16"/>
                  </a:lnTo>
                  <a:lnTo>
                    <a:pt x="152" y="20"/>
                  </a:lnTo>
                  <a:lnTo>
                    <a:pt x="156" y="20"/>
                  </a:lnTo>
                  <a:lnTo>
                    <a:pt x="160" y="24"/>
                  </a:lnTo>
                  <a:lnTo>
                    <a:pt x="164" y="28"/>
                  </a:lnTo>
                  <a:lnTo>
                    <a:pt x="164" y="28"/>
                  </a:lnTo>
                  <a:lnTo>
                    <a:pt x="172" y="32"/>
                  </a:lnTo>
                  <a:lnTo>
                    <a:pt x="172" y="32"/>
                  </a:lnTo>
                  <a:lnTo>
                    <a:pt x="176" y="36"/>
                  </a:lnTo>
                  <a:lnTo>
                    <a:pt x="180" y="40"/>
                  </a:lnTo>
                  <a:lnTo>
                    <a:pt x="184" y="44"/>
                  </a:lnTo>
                  <a:lnTo>
                    <a:pt x="184" y="44"/>
                  </a:lnTo>
                  <a:lnTo>
                    <a:pt x="188" y="44"/>
                  </a:lnTo>
                  <a:lnTo>
                    <a:pt x="188" y="44"/>
                  </a:lnTo>
                  <a:lnTo>
                    <a:pt x="188" y="44"/>
                  </a:lnTo>
                  <a:lnTo>
                    <a:pt x="184" y="44"/>
                  </a:lnTo>
                  <a:lnTo>
                    <a:pt x="172" y="44"/>
                  </a:lnTo>
                  <a:lnTo>
                    <a:pt x="168" y="44"/>
                  </a:lnTo>
                  <a:lnTo>
                    <a:pt x="164" y="44"/>
                  </a:lnTo>
                  <a:lnTo>
                    <a:pt x="164" y="44"/>
                  </a:lnTo>
                  <a:lnTo>
                    <a:pt x="160" y="44"/>
                  </a:lnTo>
                  <a:lnTo>
                    <a:pt x="160" y="44"/>
                  </a:lnTo>
                  <a:lnTo>
                    <a:pt x="160" y="52"/>
                  </a:lnTo>
                  <a:lnTo>
                    <a:pt x="160" y="52"/>
                  </a:lnTo>
                  <a:lnTo>
                    <a:pt x="160" y="56"/>
                  </a:lnTo>
                  <a:lnTo>
                    <a:pt x="160" y="60"/>
                  </a:lnTo>
                  <a:lnTo>
                    <a:pt x="164" y="68"/>
                  </a:lnTo>
                  <a:lnTo>
                    <a:pt x="164" y="76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8"/>
                  </a:lnTo>
                  <a:lnTo>
                    <a:pt x="164" y="100"/>
                  </a:lnTo>
                  <a:lnTo>
                    <a:pt x="164" y="104"/>
                  </a:lnTo>
                  <a:lnTo>
                    <a:pt x="168" y="108"/>
                  </a:lnTo>
                  <a:lnTo>
                    <a:pt x="168" y="112"/>
                  </a:lnTo>
                  <a:lnTo>
                    <a:pt x="168" y="116"/>
                  </a:lnTo>
                  <a:lnTo>
                    <a:pt x="168" y="120"/>
                  </a:lnTo>
                  <a:lnTo>
                    <a:pt x="168" y="124"/>
                  </a:lnTo>
                  <a:lnTo>
                    <a:pt x="168" y="128"/>
                  </a:lnTo>
                  <a:lnTo>
                    <a:pt x="168" y="135"/>
                  </a:lnTo>
                  <a:lnTo>
                    <a:pt x="168" y="143"/>
                  </a:lnTo>
                  <a:lnTo>
                    <a:pt x="168" y="143"/>
                  </a:lnTo>
                  <a:lnTo>
                    <a:pt x="172" y="151"/>
                  </a:lnTo>
                  <a:lnTo>
                    <a:pt x="172" y="155"/>
                  </a:lnTo>
                  <a:lnTo>
                    <a:pt x="172" y="155"/>
                  </a:lnTo>
                  <a:lnTo>
                    <a:pt x="172" y="163"/>
                  </a:lnTo>
                  <a:lnTo>
                    <a:pt x="172" y="163"/>
                  </a:lnTo>
                  <a:lnTo>
                    <a:pt x="172" y="171"/>
                  </a:lnTo>
                  <a:lnTo>
                    <a:pt x="172" y="175"/>
                  </a:lnTo>
                  <a:lnTo>
                    <a:pt x="172" y="179"/>
                  </a:lnTo>
                  <a:lnTo>
                    <a:pt x="172" y="187"/>
                  </a:lnTo>
                  <a:lnTo>
                    <a:pt x="176" y="199"/>
                  </a:lnTo>
                  <a:lnTo>
                    <a:pt x="176" y="203"/>
                  </a:lnTo>
                  <a:lnTo>
                    <a:pt x="180" y="207"/>
                  </a:lnTo>
                  <a:lnTo>
                    <a:pt x="180" y="211"/>
                  </a:lnTo>
                  <a:lnTo>
                    <a:pt x="180" y="211"/>
                  </a:lnTo>
                  <a:lnTo>
                    <a:pt x="176" y="215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68" y="223"/>
                  </a:lnTo>
                  <a:lnTo>
                    <a:pt x="164" y="223"/>
                  </a:lnTo>
                  <a:lnTo>
                    <a:pt x="164" y="223"/>
                  </a:lnTo>
                  <a:lnTo>
                    <a:pt x="164" y="223"/>
                  </a:lnTo>
                  <a:lnTo>
                    <a:pt x="160" y="223"/>
                  </a:lnTo>
                  <a:lnTo>
                    <a:pt x="152" y="223"/>
                  </a:lnTo>
                  <a:lnTo>
                    <a:pt x="148" y="223"/>
                  </a:lnTo>
                  <a:lnTo>
                    <a:pt x="148" y="223"/>
                  </a:lnTo>
                  <a:lnTo>
                    <a:pt x="144" y="223"/>
                  </a:lnTo>
                  <a:lnTo>
                    <a:pt x="140" y="223"/>
                  </a:lnTo>
                  <a:lnTo>
                    <a:pt x="136" y="223"/>
                  </a:lnTo>
                  <a:lnTo>
                    <a:pt x="132" y="223"/>
                  </a:lnTo>
                  <a:lnTo>
                    <a:pt x="132" y="223"/>
                  </a:lnTo>
                  <a:lnTo>
                    <a:pt x="128" y="223"/>
                  </a:lnTo>
                  <a:lnTo>
                    <a:pt x="124" y="223"/>
                  </a:lnTo>
                  <a:lnTo>
                    <a:pt x="124" y="223"/>
                  </a:lnTo>
                  <a:lnTo>
                    <a:pt x="124" y="223"/>
                  </a:lnTo>
                  <a:lnTo>
                    <a:pt x="120" y="223"/>
                  </a:lnTo>
                  <a:lnTo>
                    <a:pt x="120" y="223"/>
                  </a:lnTo>
                  <a:lnTo>
                    <a:pt x="120" y="223"/>
                  </a:lnTo>
                  <a:lnTo>
                    <a:pt x="120" y="223"/>
                  </a:lnTo>
                  <a:lnTo>
                    <a:pt x="120" y="219"/>
                  </a:lnTo>
                  <a:lnTo>
                    <a:pt x="120" y="219"/>
                  </a:lnTo>
                  <a:lnTo>
                    <a:pt x="116" y="223"/>
                  </a:lnTo>
                  <a:lnTo>
                    <a:pt x="116" y="223"/>
                  </a:lnTo>
                  <a:lnTo>
                    <a:pt x="116" y="223"/>
                  </a:lnTo>
                  <a:lnTo>
                    <a:pt x="112" y="223"/>
                  </a:lnTo>
                  <a:lnTo>
                    <a:pt x="112" y="223"/>
                  </a:lnTo>
                  <a:lnTo>
                    <a:pt x="112" y="227"/>
                  </a:lnTo>
                  <a:lnTo>
                    <a:pt x="112" y="227"/>
                  </a:lnTo>
                  <a:lnTo>
                    <a:pt x="112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4" y="223"/>
                  </a:lnTo>
                  <a:lnTo>
                    <a:pt x="104" y="223"/>
                  </a:lnTo>
                  <a:lnTo>
                    <a:pt x="104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96" y="223"/>
                  </a:lnTo>
                  <a:lnTo>
                    <a:pt x="96" y="223"/>
                  </a:lnTo>
                  <a:close/>
                  <a:moveTo>
                    <a:pt x="12" y="147"/>
                  </a:moveTo>
                  <a:lnTo>
                    <a:pt x="12" y="147"/>
                  </a:lnTo>
                  <a:lnTo>
                    <a:pt x="12" y="147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1" name="Freeform 148"/>
            <p:cNvSpPr>
              <a:spLocks/>
            </p:cNvSpPr>
            <p:nvPr>
              <p:custDataLst>
                <p:tags r:id="rId344"/>
              </p:custDataLst>
            </p:nvPr>
          </p:nvSpPr>
          <p:spPr bwMode="gray">
            <a:xfrm>
              <a:off x="4079448" y="3585988"/>
              <a:ext cx="272884" cy="243222"/>
            </a:xfrm>
            <a:custGeom>
              <a:avLst/>
              <a:gdLst/>
              <a:ahLst/>
              <a:cxnLst>
                <a:cxn ang="0">
                  <a:pos x="136" y="16"/>
                </a:cxn>
                <a:cxn ang="0">
                  <a:pos x="144" y="16"/>
                </a:cxn>
                <a:cxn ang="0">
                  <a:pos x="152" y="16"/>
                </a:cxn>
                <a:cxn ang="0">
                  <a:pos x="156" y="16"/>
                </a:cxn>
                <a:cxn ang="0">
                  <a:pos x="156" y="16"/>
                </a:cxn>
                <a:cxn ang="0">
                  <a:pos x="160" y="16"/>
                </a:cxn>
                <a:cxn ang="0">
                  <a:pos x="168" y="20"/>
                </a:cxn>
                <a:cxn ang="0">
                  <a:pos x="172" y="28"/>
                </a:cxn>
                <a:cxn ang="0">
                  <a:pos x="176" y="40"/>
                </a:cxn>
                <a:cxn ang="0">
                  <a:pos x="176" y="48"/>
                </a:cxn>
                <a:cxn ang="0">
                  <a:pos x="176" y="60"/>
                </a:cxn>
                <a:cxn ang="0">
                  <a:pos x="184" y="68"/>
                </a:cxn>
                <a:cxn ang="0">
                  <a:pos x="180" y="76"/>
                </a:cxn>
                <a:cxn ang="0">
                  <a:pos x="180" y="80"/>
                </a:cxn>
                <a:cxn ang="0">
                  <a:pos x="172" y="76"/>
                </a:cxn>
                <a:cxn ang="0">
                  <a:pos x="164" y="76"/>
                </a:cxn>
                <a:cxn ang="0">
                  <a:pos x="156" y="80"/>
                </a:cxn>
                <a:cxn ang="0">
                  <a:pos x="152" y="84"/>
                </a:cxn>
                <a:cxn ang="0">
                  <a:pos x="144" y="84"/>
                </a:cxn>
                <a:cxn ang="0">
                  <a:pos x="140" y="92"/>
                </a:cxn>
                <a:cxn ang="0">
                  <a:pos x="144" y="100"/>
                </a:cxn>
                <a:cxn ang="0">
                  <a:pos x="140" y="100"/>
                </a:cxn>
                <a:cxn ang="0">
                  <a:pos x="136" y="104"/>
                </a:cxn>
                <a:cxn ang="0">
                  <a:pos x="128" y="108"/>
                </a:cxn>
                <a:cxn ang="0">
                  <a:pos x="124" y="116"/>
                </a:cxn>
                <a:cxn ang="0">
                  <a:pos x="120" y="120"/>
                </a:cxn>
                <a:cxn ang="0">
                  <a:pos x="108" y="124"/>
                </a:cxn>
                <a:cxn ang="0">
                  <a:pos x="104" y="124"/>
                </a:cxn>
                <a:cxn ang="0">
                  <a:pos x="100" y="128"/>
                </a:cxn>
                <a:cxn ang="0">
                  <a:pos x="92" y="128"/>
                </a:cxn>
                <a:cxn ang="0">
                  <a:pos x="84" y="132"/>
                </a:cxn>
                <a:cxn ang="0">
                  <a:pos x="80" y="132"/>
                </a:cxn>
                <a:cxn ang="0">
                  <a:pos x="72" y="140"/>
                </a:cxn>
                <a:cxn ang="0">
                  <a:pos x="68" y="164"/>
                </a:cxn>
                <a:cxn ang="0">
                  <a:pos x="48" y="164"/>
                </a:cxn>
                <a:cxn ang="0">
                  <a:pos x="0" y="164"/>
                </a:cxn>
                <a:cxn ang="0">
                  <a:pos x="4" y="160"/>
                </a:cxn>
                <a:cxn ang="0">
                  <a:pos x="20" y="156"/>
                </a:cxn>
                <a:cxn ang="0">
                  <a:pos x="32" y="144"/>
                </a:cxn>
                <a:cxn ang="0">
                  <a:pos x="40" y="140"/>
                </a:cxn>
                <a:cxn ang="0">
                  <a:pos x="44" y="132"/>
                </a:cxn>
                <a:cxn ang="0">
                  <a:pos x="52" y="124"/>
                </a:cxn>
                <a:cxn ang="0">
                  <a:pos x="56" y="112"/>
                </a:cxn>
                <a:cxn ang="0">
                  <a:pos x="52" y="104"/>
                </a:cxn>
                <a:cxn ang="0">
                  <a:pos x="52" y="92"/>
                </a:cxn>
                <a:cxn ang="0">
                  <a:pos x="52" y="84"/>
                </a:cxn>
                <a:cxn ang="0">
                  <a:pos x="60" y="68"/>
                </a:cxn>
                <a:cxn ang="0">
                  <a:pos x="64" y="64"/>
                </a:cxn>
                <a:cxn ang="0">
                  <a:pos x="72" y="56"/>
                </a:cxn>
                <a:cxn ang="0">
                  <a:pos x="76" y="52"/>
                </a:cxn>
                <a:cxn ang="0">
                  <a:pos x="88" y="44"/>
                </a:cxn>
                <a:cxn ang="0">
                  <a:pos x="96" y="40"/>
                </a:cxn>
                <a:cxn ang="0">
                  <a:pos x="104" y="24"/>
                </a:cxn>
                <a:cxn ang="0">
                  <a:pos x="108" y="12"/>
                </a:cxn>
                <a:cxn ang="0">
                  <a:pos x="116" y="4"/>
                </a:cxn>
                <a:cxn ang="0">
                  <a:pos x="120" y="4"/>
                </a:cxn>
                <a:cxn ang="0">
                  <a:pos x="120" y="8"/>
                </a:cxn>
              </a:cxnLst>
              <a:rect l="0" t="0" r="r" b="b"/>
              <a:pathLst>
                <a:path w="184" h="164">
                  <a:moveTo>
                    <a:pt x="132" y="16"/>
                  </a:moveTo>
                  <a:lnTo>
                    <a:pt x="132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52" y="16"/>
                  </a:lnTo>
                  <a:lnTo>
                    <a:pt x="152" y="16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60" y="16"/>
                  </a:lnTo>
                  <a:lnTo>
                    <a:pt x="160" y="16"/>
                  </a:lnTo>
                  <a:lnTo>
                    <a:pt x="160" y="16"/>
                  </a:lnTo>
                  <a:lnTo>
                    <a:pt x="160" y="20"/>
                  </a:lnTo>
                  <a:lnTo>
                    <a:pt x="160" y="20"/>
                  </a:lnTo>
                  <a:lnTo>
                    <a:pt x="164" y="16"/>
                  </a:lnTo>
                  <a:lnTo>
                    <a:pt x="164" y="16"/>
                  </a:lnTo>
                  <a:lnTo>
                    <a:pt x="164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72" y="24"/>
                  </a:lnTo>
                  <a:lnTo>
                    <a:pt x="172" y="24"/>
                  </a:lnTo>
                  <a:lnTo>
                    <a:pt x="172" y="24"/>
                  </a:lnTo>
                  <a:lnTo>
                    <a:pt x="172" y="28"/>
                  </a:lnTo>
                  <a:lnTo>
                    <a:pt x="172" y="28"/>
                  </a:lnTo>
                  <a:lnTo>
                    <a:pt x="172" y="28"/>
                  </a:lnTo>
                  <a:lnTo>
                    <a:pt x="172" y="32"/>
                  </a:lnTo>
                  <a:lnTo>
                    <a:pt x="176" y="32"/>
                  </a:lnTo>
                  <a:lnTo>
                    <a:pt x="172" y="32"/>
                  </a:lnTo>
                  <a:lnTo>
                    <a:pt x="172" y="32"/>
                  </a:lnTo>
                  <a:lnTo>
                    <a:pt x="172" y="32"/>
                  </a:lnTo>
                  <a:lnTo>
                    <a:pt x="172" y="36"/>
                  </a:lnTo>
                  <a:lnTo>
                    <a:pt x="176" y="40"/>
                  </a:lnTo>
                  <a:lnTo>
                    <a:pt x="176" y="40"/>
                  </a:lnTo>
                  <a:lnTo>
                    <a:pt x="176" y="40"/>
                  </a:lnTo>
                  <a:lnTo>
                    <a:pt x="176" y="44"/>
                  </a:lnTo>
                  <a:lnTo>
                    <a:pt x="172" y="44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52"/>
                  </a:lnTo>
                  <a:lnTo>
                    <a:pt x="176" y="52"/>
                  </a:lnTo>
                  <a:lnTo>
                    <a:pt x="176" y="52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80" y="64"/>
                  </a:lnTo>
                  <a:lnTo>
                    <a:pt x="180" y="68"/>
                  </a:lnTo>
                  <a:lnTo>
                    <a:pt x="184" y="68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0" y="72"/>
                  </a:lnTo>
                  <a:lnTo>
                    <a:pt x="180" y="72"/>
                  </a:lnTo>
                  <a:lnTo>
                    <a:pt x="180" y="72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4" y="76"/>
                  </a:lnTo>
                  <a:lnTo>
                    <a:pt x="184" y="76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80" y="76"/>
                  </a:lnTo>
                  <a:lnTo>
                    <a:pt x="176" y="76"/>
                  </a:lnTo>
                  <a:lnTo>
                    <a:pt x="176" y="76"/>
                  </a:lnTo>
                  <a:lnTo>
                    <a:pt x="176" y="76"/>
                  </a:lnTo>
                  <a:lnTo>
                    <a:pt x="172" y="76"/>
                  </a:lnTo>
                  <a:lnTo>
                    <a:pt x="172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4"/>
                  </a:lnTo>
                  <a:lnTo>
                    <a:pt x="156" y="84"/>
                  </a:lnTo>
                  <a:lnTo>
                    <a:pt x="156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48" y="84"/>
                  </a:lnTo>
                  <a:lnTo>
                    <a:pt x="148" y="84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44" y="88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0" y="88"/>
                  </a:lnTo>
                  <a:lnTo>
                    <a:pt x="140" y="88"/>
                  </a:lnTo>
                  <a:lnTo>
                    <a:pt x="140" y="92"/>
                  </a:lnTo>
                  <a:lnTo>
                    <a:pt x="140" y="92"/>
                  </a:lnTo>
                  <a:lnTo>
                    <a:pt x="144" y="92"/>
                  </a:lnTo>
                  <a:lnTo>
                    <a:pt x="140" y="96"/>
                  </a:lnTo>
                  <a:lnTo>
                    <a:pt x="140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28" y="108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6"/>
                  </a:lnTo>
                  <a:lnTo>
                    <a:pt x="124" y="116"/>
                  </a:lnTo>
                  <a:lnTo>
                    <a:pt x="120" y="116"/>
                  </a:lnTo>
                  <a:lnTo>
                    <a:pt x="120" y="116"/>
                  </a:lnTo>
                  <a:lnTo>
                    <a:pt x="120" y="116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16" y="120"/>
                  </a:lnTo>
                  <a:lnTo>
                    <a:pt x="116" y="120"/>
                  </a:lnTo>
                  <a:lnTo>
                    <a:pt x="116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0" y="132"/>
                  </a:lnTo>
                  <a:lnTo>
                    <a:pt x="80" y="136"/>
                  </a:lnTo>
                  <a:lnTo>
                    <a:pt x="76" y="136"/>
                  </a:lnTo>
                  <a:lnTo>
                    <a:pt x="76" y="140"/>
                  </a:lnTo>
                  <a:lnTo>
                    <a:pt x="76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68" y="144"/>
                  </a:lnTo>
                  <a:lnTo>
                    <a:pt x="68" y="144"/>
                  </a:lnTo>
                  <a:lnTo>
                    <a:pt x="68" y="144"/>
                  </a:lnTo>
                  <a:lnTo>
                    <a:pt x="68" y="160"/>
                  </a:lnTo>
                  <a:lnTo>
                    <a:pt x="68" y="164"/>
                  </a:lnTo>
                  <a:lnTo>
                    <a:pt x="60" y="164"/>
                  </a:lnTo>
                  <a:lnTo>
                    <a:pt x="60" y="164"/>
                  </a:lnTo>
                  <a:lnTo>
                    <a:pt x="52" y="164"/>
                  </a:lnTo>
                  <a:lnTo>
                    <a:pt x="52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4" y="164"/>
                  </a:lnTo>
                  <a:lnTo>
                    <a:pt x="4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12" y="156"/>
                  </a:lnTo>
                  <a:lnTo>
                    <a:pt x="16" y="156"/>
                  </a:lnTo>
                  <a:lnTo>
                    <a:pt x="20" y="156"/>
                  </a:lnTo>
                  <a:lnTo>
                    <a:pt x="20" y="156"/>
                  </a:lnTo>
                  <a:lnTo>
                    <a:pt x="24" y="152"/>
                  </a:lnTo>
                  <a:lnTo>
                    <a:pt x="24" y="152"/>
                  </a:lnTo>
                  <a:lnTo>
                    <a:pt x="24" y="152"/>
                  </a:lnTo>
                  <a:lnTo>
                    <a:pt x="28" y="152"/>
                  </a:lnTo>
                  <a:lnTo>
                    <a:pt x="28" y="148"/>
                  </a:lnTo>
                  <a:lnTo>
                    <a:pt x="28" y="148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6" y="144"/>
                  </a:lnTo>
                  <a:lnTo>
                    <a:pt x="36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4" y="136"/>
                  </a:lnTo>
                  <a:lnTo>
                    <a:pt x="44" y="136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8" y="132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52" y="124"/>
                  </a:lnTo>
                  <a:lnTo>
                    <a:pt x="52" y="124"/>
                  </a:lnTo>
                  <a:lnTo>
                    <a:pt x="52" y="124"/>
                  </a:lnTo>
                  <a:lnTo>
                    <a:pt x="52" y="120"/>
                  </a:lnTo>
                  <a:lnTo>
                    <a:pt x="52" y="120"/>
                  </a:lnTo>
                  <a:lnTo>
                    <a:pt x="52" y="120"/>
                  </a:lnTo>
                  <a:lnTo>
                    <a:pt x="52" y="116"/>
                  </a:lnTo>
                  <a:lnTo>
                    <a:pt x="52" y="116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0"/>
                  </a:lnTo>
                  <a:lnTo>
                    <a:pt x="68" y="60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88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28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8" y="16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8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4"/>
                  </a:lnTo>
                  <a:lnTo>
                    <a:pt x="116" y="4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8"/>
                  </a:lnTo>
                  <a:lnTo>
                    <a:pt x="120" y="8"/>
                  </a:lnTo>
                  <a:lnTo>
                    <a:pt x="124" y="12"/>
                  </a:lnTo>
                  <a:lnTo>
                    <a:pt x="124" y="12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2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2" name="Freeform 149"/>
            <p:cNvSpPr>
              <a:spLocks noEditPoints="1"/>
            </p:cNvSpPr>
            <p:nvPr>
              <p:custDataLst>
                <p:tags r:id="rId345"/>
              </p:custDataLst>
            </p:nvPr>
          </p:nvSpPr>
          <p:spPr bwMode="gray">
            <a:xfrm>
              <a:off x="5055304" y="4882185"/>
              <a:ext cx="237290" cy="455300"/>
            </a:xfrm>
            <a:custGeom>
              <a:avLst/>
              <a:gdLst/>
              <a:ahLst/>
              <a:cxnLst>
                <a:cxn ang="0">
                  <a:pos x="24" y="292"/>
                </a:cxn>
                <a:cxn ang="0">
                  <a:pos x="24" y="272"/>
                </a:cxn>
                <a:cxn ang="0">
                  <a:pos x="24" y="256"/>
                </a:cxn>
                <a:cxn ang="0">
                  <a:pos x="20" y="240"/>
                </a:cxn>
                <a:cxn ang="0">
                  <a:pos x="24" y="212"/>
                </a:cxn>
                <a:cxn ang="0">
                  <a:pos x="36" y="188"/>
                </a:cxn>
                <a:cxn ang="0">
                  <a:pos x="40" y="168"/>
                </a:cxn>
                <a:cxn ang="0">
                  <a:pos x="40" y="156"/>
                </a:cxn>
                <a:cxn ang="0">
                  <a:pos x="44" y="144"/>
                </a:cxn>
                <a:cxn ang="0">
                  <a:pos x="40" y="128"/>
                </a:cxn>
                <a:cxn ang="0">
                  <a:pos x="36" y="112"/>
                </a:cxn>
                <a:cxn ang="0">
                  <a:pos x="24" y="104"/>
                </a:cxn>
                <a:cxn ang="0">
                  <a:pos x="8" y="100"/>
                </a:cxn>
                <a:cxn ang="0">
                  <a:pos x="0" y="84"/>
                </a:cxn>
                <a:cxn ang="0">
                  <a:pos x="12" y="76"/>
                </a:cxn>
                <a:cxn ang="0">
                  <a:pos x="28" y="72"/>
                </a:cxn>
                <a:cxn ang="0">
                  <a:pos x="48" y="68"/>
                </a:cxn>
                <a:cxn ang="0">
                  <a:pos x="64" y="72"/>
                </a:cxn>
                <a:cxn ang="0">
                  <a:pos x="64" y="92"/>
                </a:cxn>
                <a:cxn ang="0">
                  <a:pos x="64" y="108"/>
                </a:cxn>
                <a:cxn ang="0">
                  <a:pos x="72" y="124"/>
                </a:cxn>
                <a:cxn ang="0">
                  <a:pos x="72" y="112"/>
                </a:cxn>
                <a:cxn ang="0">
                  <a:pos x="84" y="104"/>
                </a:cxn>
                <a:cxn ang="0">
                  <a:pos x="84" y="80"/>
                </a:cxn>
                <a:cxn ang="0">
                  <a:pos x="72" y="56"/>
                </a:cxn>
                <a:cxn ang="0">
                  <a:pos x="64" y="40"/>
                </a:cxn>
                <a:cxn ang="0">
                  <a:pos x="64" y="28"/>
                </a:cxn>
                <a:cxn ang="0">
                  <a:pos x="76" y="20"/>
                </a:cxn>
                <a:cxn ang="0">
                  <a:pos x="96" y="20"/>
                </a:cxn>
                <a:cxn ang="0">
                  <a:pos x="116" y="20"/>
                </a:cxn>
                <a:cxn ang="0">
                  <a:pos x="120" y="12"/>
                </a:cxn>
                <a:cxn ang="0">
                  <a:pos x="136" y="12"/>
                </a:cxn>
                <a:cxn ang="0">
                  <a:pos x="148" y="4"/>
                </a:cxn>
                <a:cxn ang="0">
                  <a:pos x="156" y="12"/>
                </a:cxn>
                <a:cxn ang="0">
                  <a:pos x="156" y="24"/>
                </a:cxn>
                <a:cxn ang="0">
                  <a:pos x="152" y="44"/>
                </a:cxn>
                <a:cxn ang="0">
                  <a:pos x="156" y="60"/>
                </a:cxn>
                <a:cxn ang="0">
                  <a:pos x="156" y="72"/>
                </a:cxn>
                <a:cxn ang="0">
                  <a:pos x="156" y="84"/>
                </a:cxn>
                <a:cxn ang="0">
                  <a:pos x="152" y="92"/>
                </a:cxn>
                <a:cxn ang="0">
                  <a:pos x="144" y="108"/>
                </a:cxn>
                <a:cxn ang="0">
                  <a:pos x="132" y="120"/>
                </a:cxn>
                <a:cxn ang="0">
                  <a:pos x="116" y="128"/>
                </a:cxn>
                <a:cxn ang="0">
                  <a:pos x="100" y="140"/>
                </a:cxn>
                <a:cxn ang="0">
                  <a:pos x="92" y="148"/>
                </a:cxn>
                <a:cxn ang="0">
                  <a:pos x="88" y="156"/>
                </a:cxn>
                <a:cxn ang="0">
                  <a:pos x="76" y="168"/>
                </a:cxn>
                <a:cxn ang="0">
                  <a:pos x="68" y="172"/>
                </a:cxn>
                <a:cxn ang="0">
                  <a:pos x="72" y="188"/>
                </a:cxn>
                <a:cxn ang="0">
                  <a:pos x="76" y="204"/>
                </a:cxn>
                <a:cxn ang="0">
                  <a:pos x="76" y="224"/>
                </a:cxn>
                <a:cxn ang="0">
                  <a:pos x="80" y="224"/>
                </a:cxn>
                <a:cxn ang="0">
                  <a:pos x="76" y="244"/>
                </a:cxn>
                <a:cxn ang="0">
                  <a:pos x="80" y="252"/>
                </a:cxn>
                <a:cxn ang="0">
                  <a:pos x="72" y="264"/>
                </a:cxn>
                <a:cxn ang="0">
                  <a:pos x="56" y="272"/>
                </a:cxn>
                <a:cxn ang="0">
                  <a:pos x="40" y="280"/>
                </a:cxn>
                <a:cxn ang="0">
                  <a:pos x="36" y="296"/>
                </a:cxn>
                <a:cxn ang="0">
                  <a:pos x="40" y="307"/>
                </a:cxn>
                <a:cxn ang="0">
                  <a:pos x="76" y="212"/>
                </a:cxn>
              </a:cxnLst>
              <a:rect l="0" t="0" r="r" b="b"/>
              <a:pathLst>
                <a:path w="160" h="307">
                  <a:moveTo>
                    <a:pt x="28" y="307"/>
                  </a:moveTo>
                  <a:lnTo>
                    <a:pt x="28" y="299"/>
                  </a:lnTo>
                  <a:lnTo>
                    <a:pt x="28" y="296"/>
                  </a:lnTo>
                  <a:lnTo>
                    <a:pt x="28" y="292"/>
                  </a:lnTo>
                  <a:lnTo>
                    <a:pt x="24" y="292"/>
                  </a:lnTo>
                  <a:lnTo>
                    <a:pt x="24" y="288"/>
                  </a:lnTo>
                  <a:lnTo>
                    <a:pt x="24" y="284"/>
                  </a:lnTo>
                  <a:lnTo>
                    <a:pt x="24" y="280"/>
                  </a:lnTo>
                  <a:lnTo>
                    <a:pt x="28" y="272"/>
                  </a:lnTo>
                  <a:lnTo>
                    <a:pt x="24" y="272"/>
                  </a:lnTo>
                  <a:lnTo>
                    <a:pt x="24" y="268"/>
                  </a:lnTo>
                  <a:lnTo>
                    <a:pt x="24" y="264"/>
                  </a:lnTo>
                  <a:lnTo>
                    <a:pt x="28" y="260"/>
                  </a:lnTo>
                  <a:lnTo>
                    <a:pt x="24" y="260"/>
                  </a:lnTo>
                  <a:lnTo>
                    <a:pt x="24" y="256"/>
                  </a:lnTo>
                  <a:lnTo>
                    <a:pt x="24" y="252"/>
                  </a:lnTo>
                  <a:lnTo>
                    <a:pt x="24" y="248"/>
                  </a:lnTo>
                  <a:lnTo>
                    <a:pt x="20" y="248"/>
                  </a:lnTo>
                  <a:lnTo>
                    <a:pt x="20" y="244"/>
                  </a:lnTo>
                  <a:lnTo>
                    <a:pt x="20" y="240"/>
                  </a:lnTo>
                  <a:lnTo>
                    <a:pt x="20" y="236"/>
                  </a:lnTo>
                  <a:lnTo>
                    <a:pt x="16" y="224"/>
                  </a:lnTo>
                  <a:lnTo>
                    <a:pt x="16" y="220"/>
                  </a:lnTo>
                  <a:lnTo>
                    <a:pt x="20" y="216"/>
                  </a:lnTo>
                  <a:lnTo>
                    <a:pt x="24" y="212"/>
                  </a:lnTo>
                  <a:lnTo>
                    <a:pt x="32" y="200"/>
                  </a:lnTo>
                  <a:lnTo>
                    <a:pt x="32" y="196"/>
                  </a:lnTo>
                  <a:lnTo>
                    <a:pt x="32" y="192"/>
                  </a:lnTo>
                  <a:lnTo>
                    <a:pt x="32" y="188"/>
                  </a:lnTo>
                  <a:lnTo>
                    <a:pt x="36" y="188"/>
                  </a:lnTo>
                  <a:lnTo>
                    <a:pt x="36" y="184"/>
                  </a:lnTo>
                  <a:lnTo>
                    <a:pt x="40" y="180"/>
                  </a:lnTo>
                  <a:lnTo>
                    <a:pt x="40" y="176"/>
                  </a:lnTo>
                  <a:lnTo>
                    <a:pt x="40" y="172"/>
                  </a:lnTo>
                  <a:lnTo>
                    <a:pt x="40" y="168"/>
                  </a:lnTo>
                  <a:lnTo>
                    <a:pt x="36" y="168"/>
                  </a:lnTo>
                  <a:lnTo>
                    <a:pt x="36" y="164"/>
                  </a:lnTo>
                  <a:lnTo>
                    <a:pt x="40" y="164"/>
                  </a:lnTo>
                  <a:lnTo>
                    <a:pt x="40" y="160"/>
                  </a:lnTo>
                  <a:lnTo>
                    <a:pt x="40" y="156"/>
                  </a:lnTo>
                  <a:lnTo>
                    <a:pt x="36" y="156"/>
                  </a:lnTo>
                  <a:lnTo>
                    <a:pt x="36" y="152"/>
                  </a:lnTo>
                  <a:lnTo>
                    <a:pt x="40" y="152"/>
                  </a:lnTo>
                  <a:lnTo>
                    <a:pt x="40" y="148"/>
                  </a:lnTo>
                  <a:lnTo>
                    <a:pt x="44" y="144"/>
                  </a:lnTo>
                  <a:lnTo>
                    <a:pt x="40" y="144"/>
                  </a:lnTo>
                  <a:lnTo>
                    <a:pt x="40" y="140"/>
                  </a:lnTo>
                  <a:lnTo>
                    <a:pt x="40" y="136"/>
                  </a:lnTo>
                  <a:lnTo>
                    <a:pt x="40" y="132"/>
                  </a:lnTo>
                  <a:lnTo>
                    <a:pt x="40" y="128"/>
                  </a:lnTo>
                  <a:lnTo>
                    <a:pt x="40" y="124"/>
                  </a:lnTo>
                  <a:lnTo>
                    <a:pt x="40" y="120"/>
                  </a:lnTo>
                  <a:lnTo>
                    <a:pt x="40" y="116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2" y="112"/>
                  </a:lnTo>
                  <a:lnTo>
                    <a:pt x="32" y="108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0" y="104"/>
                  </a:lnTo>
                  <a:lnTo>
                    <a:pt x="16" y="104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8" y="100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16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8" y="72"/>
                  </a:lnTo>
                  <a:lnTo>
                    <a:pt x="32" y="68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8"/>
                  </a:lnTo>
                  <a:lnTo>
                    <a:pt x="48" y="68"/>
                  </a:lnTo>
                  <a:lnTo>
                    <a:pt x="48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4" y="96"/>
                  </a:lnTo>
                  <a:lnTo>
                    <a:pt x="60" y="96"/>
                  </a:lnTo>
                  <a:lnTo>
                    <a:pt x="60" y="100"/>
                  </a:lnTo>
                  <a:lnTo>
                    <a:pt x="64" y="104"/>
                  </a:lnTo>
                  <a:lnTo>
                    <a:pt x="64" y="108"/>
                  </a:lnTo>
                  <a:lnTo>
                    <a:pt x="68" y="108"/>
                  </a:lnTo>
                  <a:lnTo>
                    <a:pt x="68" y="112"/>
                  </a:lnTo>
                  <a:lnTo>
                    <a:pt x="72" y="116"/>
                  </a:lnTo>
                  <a:lnTo>
                    <a:pt x="72" y="120"/>
                  </a:lnTo>
                  <a:lnTo>
                    <a:pt x="72" y="124"/>
                  </a:lnTo>
                  <a:lnTo>
                    <a:pt x="76" y="124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76" y="112"/>
                  </a:lnTo>
                  <a:lnTo>
                    <a:pt x="72" y="112"/>
                  </a:lnTo>
                  <a:lnTo>
                    <a:pt x="76" y="112"/>
                  </a:lnTo>
                  <a:lnTo>
                    <a:pt x="76" y="108"/>
                  </a:lnTo>
                  <a:lnTo>
                    <a:pt x="76" y="104"/>
                  </a:lnTo>
                  <a:lnTo>
                    <a:pt x="80" y="104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92"/>
                  </a:lnTo>
                  <a:lnTo>
                    <a:pt x="84" y="88"/>
                  </a:lnTo>
                  <a:lnTo>
                    <a:pt x="84" y="84"/>
                  </a:lnTo>
                  <a:lnTo>
                    <a:pt x="84" y="80"/>
                  </a:lnTo>
                  <a:lnTo>
                    <a:pt x="84" y="76"/>
                  </a:lnTo>
                  <a:lnTo>
                    <a:pt x="80" y="68"/>
                  </a:lnTo>
                  <a:lnTo>
                    <a:pt x="76" y="60"/>
                  </a:lnTo>
                  <a:lnTo>
                    <a:pt x="72" y="60"/>
                  </a:lnTo>
                  <a:lnTo>
                    <a:pt x="72" y="56"/>
                  </a:lnTo>
                  <a:lnTo>
                    <a:pt x="68" y="56"/>
                  </a:lnTo>
                  <a:lnTo>
                    <a:pt x="64" y="52"/>
                  </a:lnTo>
                  <a:lnTo>
                    <a:pt x="64" y="48"/>
                  </a:lnTo>
                  <a:lnTo>
                    <a:pt x="64" y="44"/>
                  </a:lnTo>
                  <a:lnTo>
                    <a:pt x="64" y="40"/>
                  </a:lnTo>
                  <a:lnTo>
                    <a:pt x="64" y="36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80" y="20"/>
                  </a:lnTo>
                  <a:lnTo>
                    <a:pt x="84" y="16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8" y="20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16" y="16"/>
                  </a:lnTo>
                  <a:lnTo>
                    <a:pt x="112" y="16"/>
                  </a:lnTo>
                  <a:lnTo>
                    <a:pt x="116" y="16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2"/>
                  </a:lnTo>
                  <a:lnTo>
                    <a:pt x="136" y="8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4" y="4"/>
                  </a:lnTo>
                  <a:lnTo>
                    <a:pt x="148" y="4"/>
                  </a:lnTo>
                  <a:lnTo>
                    <a:pt x="152" y="0"/>
                  </a:lnTo>
                  <a:lnTo>
                    <a:pt x="156" y="0"/>
                  </a:lnTo>
                  <a:lnTo>
                    <a:pt x="156" y="4"/>
                  </a:lnTo>
                  <a:lnTo>
                    <a:pt x="156" y="8"/>
                  </a:lnTo>
                  <a:lnTo>
                    <a:pt x="156" y="12"/>
                  </a:lnTo>
                  <a:lnTo>
                    <a:pt x="152" y="12"/>
                  </a:lnTo>
                  <a:lnTo>
                    <a:pt x="152" y="16"/>
                  </a:lnTo>
                  <a:lnTo>
                    <a:pt x="156" y="16"/>
                  </a:lnTo>
                  <a:lnTo>
                    <a:pt x="152" y="20"/>
                  </a:lnTo>
                  <a:lnTo>
                    <a:pt x="156" y="24"/>
                  </a:lnTo>
                  <a:lnTo>
                    <a:pt x="156" y="32"/>
                  </a:lnTo>
                  <a:lnTo>
                    <a:pt x="156" y="36"/>
                  </a:lnTo>
                  <a:lnTo>
                    <a:pt x="156" y="40"/>
                  </a:lnTo>
                  <a:lnTo>
                    <a:pt x="156" y="44"/>
                  </a:lnTo>
                  <a:lnTo>
                    <a:pt x="152" y="44"/>
                  </a:lnTo>
                  <a:lnTo>
                    <a:pt x="156" y="44"/>
                  </a:lnTo>
                  <a:lnTo>
                    <a:pt x="156" y="48"/>
                  </a:lnTo>
                  <a:lnTo>
                    <a:pt x="156" y="52"/>
                  </a:lnTo>
                  <a:lnTo>
                    <a:pt x="156" y="56"/>
                  </a:lnTo>
                  <a:lnTo>
                    <a:pt x="156" y="60"/>
                  </a:lnTo>
                  <a:lnTo>
                    <a:pt x="156" y="64"/>
                  </a:lnTo>
                  <a:lnTo>
                    <a:pt x="156" y="68"/>
                  </a:lnTo>
                  <a:lnTo>
                    <a:pt x="160" y="68"/>
                  </a:lnTo>
                  <a:lnTo>
                    <a:pt x="160" y="72"/>
                  </a:lnTo>
                  <a:lnTo>
                    <a:pt x="156" y="72"/>
                  </a:lnTo>
                  <a:lnTo>
                    <a:pt x="160" y="72"/>
                  </a:lnTo>
                  <a:lnTo>
                    <a:pt x="160" y="76"/>
                  </a:lnTo>
                  <a:lnTo>
                    <a:pt x="160" y="80"/>
                  </a:lnTo>
                  <a:lnTo>
                    <a:pt x="160" y="84"/>
                  </a:lnTo>
                  <a:lnTo>
                    <a:pt x="156" y="84"/>
                  </a:lnTo>
                  <a:lnTo>
                    <a:pt x="156" y="88"/>
                  </a:lnTo>
                  <a:lnTo>
                    <a:pt x="156" y="84"/>
                  </a:lnTo>
                  <a:lnTo>
                    <a:pt x="156" y="88"/>
                  </a:lnTo>
                  <a:lnTo>
                    <a:pt x="156" y="92"/>
                  </a:lnTo>
                  <a:lnTo>
                    <a:pt x="152" y="92"/>
                  </a:lnTo>
                  <a:lnTo>
                    <a:pt x="152" y="96"/>
                  </a:lnTo>
                  <a:lnTo>
                    <a:pt x="148" y="100"/>
                  </a:lnTo>
                  <a:lnTo>
                    <a:pt x="148" y="104"/>
                  </a:lnTo>
                  <a:lnTo>
                    <a:pt x="144" y="104"/>
                  </a:lnTo>
                  <a:lnTo>
                    <a:pt x="144" y="108"/>
                  </a:lnTo>
                  <a:lnTo>
                    <a:pt x="144" y="112"/>
                  </a:lnTo>
                  <a:lnTo>
                    <a:pt x="140" y="112"/>
                  </a:lnTo>
                  <a:lnTo>
                    <a:pt x="136" y="116"/>
                  </a:lnTo>
                  <a:lnTo>
                    <a:pt x="132" y="116"/>
                  </a:lnTo>
                  <a:lnTo>
                    <a:pt x="132" y="120"/>
                  </a:lnTo>
                  <a:lnTo>
                    <a:pt x="128" y="120"/>
                  </a:lnTo>
                  <a:lnTo>
                    <a:pt x="124" y="124"/>
                  </a:lnTo>
                  <a:lnTo>
                    <a:pt x="120" y="124"/>
                  </a:lnTo>
                  <a:lnTo>
                    <a:pt x="116" y="124"/>
                  </a:lnTo>
                  <a:lnTo>
                    <a:pt x="116" y="128"/>
                  </a:lnTo>
                  <a:lnTo>
                    <a:pt x="112" y="128"/>
                  </a:lnTo>
                  <a:lnTo>
                    <a:pt x="108" y="132"/>
                  </a:lnTo>
                  <a:lnTo>
                    <a:pt x="104" y="132"/>
                  </a:lnTo>
                  <a:lnTo>
                    <a:pt x="104" y="136"/>
                  </a:lnTo>
                  <a:lnTo>
                    <a:pt x="100" y="140"/>
                  </a:lnTo>
                  <a:lnTo>
                    <a:pt x="100" y="136"/>
                  </a:lnTo>
                  <a:lnTo>
                    <a:pt x="100" y="140"/>
                  </a:lnTo>
                  <a:lnTo>
                    <a:pt x="100" y="144"/>
                  </a:lnTo>
                  <a:lnTo>
                    <a:pt x="96" y="148"/>
                  </a:lnTo>
                  <a:lnTo>
                    <a:pt x="92" y="148"/>
                  </a:lnTo>
                  <a:lnTo>
                    <a:pt x="92" y="152"/>
                  </a:lnTo>
                  <a:lnTo>
                    <a:pt x="92" y="156"/>
                  </a:lnTo>
                  <a:lnTo>
                    <a:pt x="88" y="156"/>
                  </a:lnTo>
                  <a:lnTo>
                    <a:pt x="88" y="152"/>
                  </a:lnTo>
                  <a:lnTo>
                    <a:pt x="88" y="156"/>
                  </a:lnTo>
                  <a:lnTo>
                    <a:pt x="84" y="156"/>
                  </a:lnTo>
                  <a:lnTo>
                    <a:pt x="84" y="160"/>
                  </a:lnTo>
                  <a:lnTo>
                    <a:pt x="80" y="160"/>
                  </a:lnTo>
                  <a:lnTo>
                    <a:pt x="80" y="164"/>
                  </a:lnTo>
                  <a:lnTo>
                    <a:pt x="76" y="168"/>
                  </a:lnTo>
                  <a:lnTo>
                    <a:pt x="72" y="172"/>
                  </a:lnTo>
                  <a:lnTo>
                    <a:pt x="68" y="172"/>
                  </a:lnTo>
                  <a:lnTo>
                    <a:pt x="64" y="168"/>
                  </a:lnTo>
                  <a:lnTo>
                    <a:pt x="64" y="172"/>
                  </a:lnTo>
                  <a:lnTo>
                    <a:pt x="68" y="172"/>
                  </a:lnTo>
                  <a:lnTo>
                    <a:pt x="68" y="176"/>
                  </a:lnTo>
                  <a:lnTo>
                    <a:pt x="68" y="180"/>
                  </a:lnTo>
                  <a:lnTo>
                    <a:pt x="68" y="184"/>
                  </a:lnTo>
                  <a:lnTo>
                    <a:pt x="68" y="188"/>
                  </a:lnTo>
                  <a:lnTo>
                    <a:pt x="72" y="188"/>
                  </a:lnTo>
                  <a:lnTo>
                    <a:pt x="72" y="192"/>
                  </a:lnTo>
                  <a:lnTo>
                    <a:pt x="72" y="196"/>
                  </a:lnTo>
                  <a:lnTo>
                    <a:pt x="72" y="200"/>
                  </a:lnTo>
                  <a:lnTo>
                    <a:pt x="72" y="204"/>
                  </a:lnTo>
                  <a:lnTo>
                    <a:pt x="76" y="204"/>
                  </a:lnTo>
                  <a:lnTo>
                    <a:pt x="76" y="208"/>
                  </a:lnTo>
                  <a:lnTo>
                    <a:pt x="76" y="212"/>
                  </a:lnTo>
                  <a:lnTo>
                    <a:pt x="76" y="216"/>
                  </a:lnTo>
                  <a:lnTo>
                    <a:pt x="76" y="220"/>
                  </a:lnTo>
                  <a:lnTo>
                    <a:pt x="76" y="224"/>
                  </a:lnTo>
                  <a:lnTo>
                    <a:pt x="76" y="220"/>
                  </a:lnTo>
                  <a:lnTo>
                    <a:pt x="76" y="216"/>
                  </a:lnTo>
                  <a:lnTo>
                    <a:pt x="80" y="216"/>
                  </a:lnTo>
                  <a:lnTo>
                    <a:pt x="80" y="220"/>
                  </a:lnTo>
                  <a:lnTo>
                    <a:pt x="80" y="224"/>
                  </a:lnTo>
                  <a:lnTo>
                    <a:pt x="80" y="228"/>
                  </a:lnTo>
                  <a:lnTo>
                    <a:pt x="80" y="232"/>
                  </a:lnTo>
                  <a:lnTo>
                    <a:pt x="80" y="236"/>
                  </a:lnTo>
                  <a:lnTo>
                    <a:pt x="80" y="240"/>
                  </a:lnTo>
                  <a:lnTo>
                    <a:pt x="76" y="244"/>
                  </a:lnTo>
                  <a:lnTo>
                    <a:pt x="76" y="248"/>
                  </a:lnTo>
                  <a:lnTo>
                    <a:pt x="76" y="252"/>
                  </a:lnTo>
                  <a:lnTo>
                    <a:pt x="76" y="248"/>
                  </a:lnTo>
                  <a:lnTo>
                    <a:pt x="80" y="248"/>
                  </a:lnTo>
                  <a:lnTo>
                    <a:pt x="80" y="252"/>
                  </a:lnTo>
                  <a:lnTo>
                    <a:pt x="80" y="256"/>
                  </a:lnTo>
                  <a:lnTo>
                    <a:pt x="76" y="256"/>
                  </a:lnTo>
                  <a:lnTo>
                    <a:pt x="76" y="260"/>
                  </a:lnTo>
                  <a:lnTo>
                    <a:pt x="76" y="264"/>
                  </a:lnTo>
                  <a:lnTo>
                    <a:pt x="72" y="264"/>
                  </a:lnTo>
                  <a:lnTo>
                    <a:pt x="68" y="268"/>
                  </a:lnTo>
                  <a:lnTo>
                    <a:pt x="64" y="268"/>
                  </a:lnTo>
                  <a:lnTo>
                    <a:pt x="60" y="268"/>
                  </a:lnTo>
                  <a:lnTo>
                    <a:pt x="60" y="272"/>
                  </a:lnTo>
                  <a:lnTo>
                    <a:pt x="56" y="272"/>
                  </a:lnTo>
                  <a:lnTo>
                    <a:pt x="52" y="272"/>
                  </a:lnTo>
                  <a:lnTo>
                    <a:pt x="48" y="276"/>
                  </a:lnTo>
                  <a:lnTo>
                    <a:pt x="44" y="276"/>
                  </a:lnTo>
                  <a:lnTo>
                    <a:pt x="44" y="280"/>
                  </a:lnTo>
                  <a:lnTo>
                    <a:pt x="40" y="280"/>
                  </a:lnTo>
                  <a:lnTo>
                    <a:pt x="40" y="284"/>
                  </a:lnTo>
                  <a:lnTo>
                    <a:pt x="36" y="284"/>
                  </a:lnTo>
                  <a:lnTo>
                    <a:pt x="36" y="288"/>
                  </a:lnTo>
                  <a:lnTo>
                    <a:pt x="36" y="292"/>
                  </a:lnTo>
                  <a:lnTo>
                    <a:pt x="36" y="296"/>
                  </a:lnTo>
                  <a:lnTo>
                    <a:pt x="40" y="296"/>
                  </a:lnTo>
                  <a:lnTo>
                    <a:pt x="40" y="292"/>
                  </a:lnTo>
                  <a:lnTo>
                    <a:pt x="40" y="296"/>
                  </a:lnTo>
                  <a:lnTo>
                    <a:pt x="40" y="303"/>
                  </a:lnTo>
                  <a:lnTo>
                    <a:pt x="40" y="307"/>
                  </a:lnTo>
                  <a:lnTo>
                    <a:pt x="36" y="307"/>
                  </a:lnTo>
                  <a:lnTo>
                    <a:pt x="32" y="307"/>
                  </a:lnTo>
                  <a:lnTo>
                    <a:pt x="28" y="307"/>
                  </a:lnTo>
                  <a:close/>
                  <a:moveTo>
                    <a:pt x="80" y="212"/>
                  </a:moveTo>
                  <a:lnTo>
                    <a:pt x="76" y="212"/>
                  </a:lnTo>
                  <a:lnTo>
                    <a:pt x="76" y="208"/>
                  </a:lnTo>
                  <a:lnTo>
                    <a:pt x="80" y="204"/>
                  </a:lnTo>
                  <a:lnTo>
                    <a:pt x="80" y="208"/>
                  </a:lnTo>
                  <a:lnTo>
                    <a:pt x="80" y="2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3" name="Freeform 150"/>
            <p:cNvSpPr>
              <a:spLocks/>
            </p:cNvSpPr>
            <p:nvPr>
              <p:custDataLst>
                <p:tags r:id="rId346"/>
              </p:custDataLst>
            </p:nvPr>
          </p:nvSpPr>
          <p:spPr bwMode="gray">
            <a:xfrm>
              <a:off x="4635597" y="5060153"/>
              <a:ext cx="308477" cy="336655"/>
            </a:xfrm>
            <a:custGeom>
              <a:avLst/>
              <a:gdLst/>
              <a:ahLst/>
              <a:cxnLst>
                <a:cxn ang="0">
                  <a:pos x="128" y="132"/>
                </a:cxn>
                <a:cxn ang="0">
                  <a:pos x="128" y="148"/>
                </a:cxn>
                <a:cxn ang="0">
                  <a:pos x="128" y="164"/>
                </a:cxn>
                <a:cxn ang="0">
                  <a:pos x="128" y="195"/>
                </a:cxn>
                <a:cxn ang="0">
                  <a:pos x="128" y="215"/>
                </a:cxn>
                <a:cxn ang="0">
                  <a:pos x="116" y="223"/>
                </a:cxn>
                <a:cxn ang="0">
                  <a:pos x="104" y="227"/>
                </a:cxn>
                <a:cxn ang="0">
                  <a:pos x="92" y="223"/>
                </a:cxn>
                <a:cxn ang="0">
                  <a:pos x="88" y="211"/>
                </a:cxn>
                <a:cxn ang="0">
                  <a:pos x="80" y="211"/>
                </a:cxn>
                <a:cxn ang="0">
                  <a:pos x="72" y="219"/>
                </a:cxn>
                <a:cxn ang="0">
                  <a:pos x="64" y="207"/>
                </a:cxn>
                <a:cxn ang="0">
                  <a:pos x="60" y="203"/>
                </a:cxn>
                <a:cxn ang="0">
                  <a:pos x="56" y="187"/>
                </a:cxn>
                <a:cxn ang="0">
                  <a:pos x="52" y="176"/>
                </a:cxn>
                <a:cxn ang="0">
                  <a:pos x="48" y="164"/>
                </a:cxn>
                <a:cxn ang="0">
                  <a:pos x="48" y="148"/>
                </a:cxn>
                <a:cxn ang="0">
                  <a:pos x="44" y="136"/>
                </a:cxn>
                <a:cxn ang="0">
                  <a:pos x="44" y="120"/>
                </a:cxn>
                <a:cxn ang="0">
                  <a:pos x="44" y="104"/>
                </a:cxn>
                <a:cxn ang="0">
                  <a:pos x="36" y="92"/>
                </a:cxn>
                <a:cxn ang="0">
                  <a:pos x="32" y="80"/>
                </a:cxn>
                <a:cxn ang="0">
                  <a:pos x="24" y="68"/>
                </a:cxn>
                <a:cxn ang="0">
                  <a:pos x="20" y="56"/>
                </a:cxn>
                <a:cxn ang="0">
                  <a:pos x="16" y="44"/>
                </a:cxn>
                <a:cxn ang="0">
                  <a:pos x="8" y="32"/>
                </a:cxn>
                <a:cxn ang="0">
                  <a:pos x="4" y="20"/>
                </a:cxn>
                <a:cxn ang="0">
                  <a:pos x="4" y="8"/>
                </a:cxn>
                <a:cxn ang="0">
                  <a:pos x="16" y="4"/>
                </a:cxn>
                <a:cxn ang="0">
                  <a:pos x="32" y="4"/>
                </a:cxn>
                <a:cxn ang="0">
                  <a:pos x="44" y="8"/>
                </a:cxn>
                <a:cxn ang="0">
                  <a:pos x="68" y="8"/>
                </a:cxn>
                <a:cxn ang="0">
                  <a:pos x="96" y="8"/>
                </a:cxn>
                <a:cxn ang="0">
                  <a:pos x="108" y="16"/>
                </a:cxn>
                <a:cxn ang="0">
                  <a:pos x="124" y="16"/>
                </a:cxn>
                <a:cxn ang="0">
                  <a:pos x="136" y="20"/>
                </a:cxn>
                <a:cxn ang="0">
                  <a:pos x="148" y="20"/>
                </a:cxn>
                <a:cxn ang="0">
                  <a:pos x="172" y="12"/>
                </a:cxn>
                <a:cxn ang="0">
                  <a:pos x="188" y="8"/>
                </a:cxn>
                <a:cxn ang="0">
                  <a:pos x="204" y="8"/>
                </a:cxn>
                <a:cxn ang="0">
                  <a:pos x="200" y="16"/>
                </a:cxn>
                <a:cxn ang="0">
                  <a:pos x="192" y="20"/>
                </a:cxn>
                <a:cxn ang="0">
                  <a:pos x="184" y="28"/>
                </a:cxn>
                <a:cxn ang="0">
                  <a:pos x="176" y="20"/>
                </a:cxn>
                <a:cxn ang="0">
                  <a:pos x="156" y="24"/>
                </a:cxn>
                <a:cxn ang="0">
                  <a:pos x="144" y="32"/>
                </a:cxn>
                <a:cxn ang="0">
                  <a:pos x="144" y="72"/>
                </a:cxn>
                <a:cxn ang="0">
                  <a:pos x="144" y="92"/>
                </a:cxn>
                <a:cxn ang="0">
                  <a:pos x="132" y="96"/>
                </a:cxn>
                <a:cxn ang="0">
                  <a:pos x="128" y="108"/>
                </a:cxn>
              </a:cxnLst>
              <a:rect l="0" t="0" r="r" b="b"/>
              <a:pathLst>
                <a:path w="208" h="227">
                  <a:moveTo>
                    <a:pt x="128" y="120"/>
                  </a:moveTo>
                  <a:lnTo>
                    <a:pt x="128" y="124"/>
                  </a:lnTo>
                  <a:lnTo>
                    <a:pt x="128" y="128"/>
                  </a:lnTo>
                  <a:lnTo>
                    <a:pt x="128" y="132"/>
                  </a:lnTo>
                  <a:lnTo>
                    <a:pt x="128" y="136"/>
                  </a:lnTo>
                  <a:lnTo>
                    <a:pt x="128" y="140"/>
                  </a:lnTo>
                  <a:lnTo>
                    <a:pt x="128" y="144"/>
                  </a:lnTo>
                  <a:lnTo>
                    <a:pt x="128" y="148"/>
                  </a:lnTo>
                  <a:lnTo>
                    <a:pt x="128" y="152"/>
                  </a:lnTo>
                  <a:lnTo>
                    <a:pt x="128" y="156"/>
                  </a:lnTo>
                  <a:lnTo>
                    <a:pt x="128" y="160"/>
                  </a:lnTo>
                  <a:lnTo>
                    <a:pt x="128" y="164"/>
                  </a:lnTo>
                  <a:lnTo>
                    <a:pt x="128" y="168"/>
                  </a:lnTo>
                  <a:lnTo>
                    <a:pt x="128" y="179"/>
                  </a:lnTo>
                  <a:lnTo>
                    <a:pt x="128" y="191"/>
                  </a:lnTo>
                  <a:lnTo>
                    <a:pt x="128" y="195"/>
                  </a:lnTo>
                  <a:lnTo>
                    <a:pt x="128" y="199"/>
                  </a:lnTo>
                  <a:lnTo>
                    <a:pt x="128" y="207"/>
                  </a:lnTo>
                  <a:lnTo>
                    <a:pt x="128" y="211"/>
                  </a:lnTo>
                  <a:lnTo>
                    <a:pt x="128" y="215"/>
                  </a:lnTo>
                  <a:lnTo>
                    <a:pt x="124" y="219"/>
                  </a:lnTo>
                  <a:lnTo>
                    <a:pt x="120" y="219"/>
                  </a:lnTo>
                  <a:lnTo>
                    <a:pt x="120" y="223"/>
                  </a:lnTo>
                  <a:lnTo>
                    <a:pt x="116" y="223"/>
                  </a:lnTo>
                  <a:lnTo>
                    <a:pt x="116" y="227"/>
                  </a:lnTo>
                  <a:lnTo>
                    <a:pt x="112" y="227"/>
                  </a:lnTo>
                  <a:lnTo>
                    <a:pt x="108" y="223"/>
                  </a:lnTo>
                  <a:lnTo>
                    <a:pt x="104" y="227"/>
                  </a:lnTo>
                  <a:lnTo>
                    <a:pt x="100" y="227"/>
                  </a:lnTo>
                  <a:lnTo>
                    <a:pt x="96" y="227"/>
                  </a:lnTo>
                  <a:lnTo>
                    <a:pt x="96" y="223"/>
                  </a:lnTo>
                  <a:lnTo>
                    <a:pt x="92" y="223"/>
                  </a:lnTo>
                  <a:lnTo>
                    <a:pt x="88" y="223"/>
                  </a:lnTo>
                  <a:lnTo>
                    <a:pt x="88" y="219"/>
                  </a:lnTo>
                  <a:lnTo>
                    <a:pt x="88" y="215"/>
                  </a:lnTo>
                  <a:lnTo>
                    <a:pt x="88" y="211"/>
                  </a:lnTo>
                  <a:lnTo>
                    <a:pt x="88" y="215"/>
                  </a:lnTo>
                  <a:lnTo>
                    <a:pt x="84" y="215"/>
                  </a:lnTo>
                  <a:lnTo>
                    <a:pt x="84" y="211"/>
                  </a:lnTo>
                  <a:lnTo>
                    <a:pt x="80" y="211"/>
                  </a:lnTo>
                  <a:lnTo>
                    <a:pt x="80" y="215"/>
                  </a:lnTo>
                  <a:lnTo>
                    <a:pt x="80" y="219"/>
                  </a:lnTo>
                  <a:lnTo>
                    <a:pt x="76" y="219"/>
                  </a:lnTo>
                  <a:lnTo>
                    <a:pt x="72" y="219"/>
                  </a:lnTo>
                  <a:lnTo>
                    <a:pt x="68" y="215"/>
                  </a:lnTo>
                  <a:lnTo>
                    <a:pt x="68" y="211"/>
                  </a:lnTo>
                  <a:lnTo>
                    <a:pt x="64" y="211"/>
                  </a:lnTo>
                  <a:lnTo>
                    <a:pt x="64" y="207"/>
                  </a:lnTo>
                  <a:lnTo>
                    <a:pt x="60" y="207"/>
                  </a:lnTo>
                  <a:lnTo>
                    <a:pt x="64" y="207"/>
                  </a:lnTo>
                  <a:lnTo>
                    <a:pt x="60" y="207"/>
                  </a:lnTo>
                  <a:lnTo>
                    <a:pt x="60" y="203"/>
                  </a:lnTo>
                  <a:lnTo>
                    <a:pt x="56" y="199"/>
                  </a:lnTo>
                  <a:lnTo>
                    <a:pt x="56" y="195"/>
                  </a:lnTo>
                  <a:lnTo>
                    <a:pt x="56" y="191"/>
                  </a:lnTo>
                  <a:lnTo>
                    <a:pt x="56" y="187"/>
                  </a:lnTo>
                  <a:lnTo>
                    <a:pt x="52" y="183"/>
                  </a:lnTo>
                  <a:lnTo>
                    <a:pt x="56" y="183"/>
                  </a:lnTo>
                  <a:lnTo>
                    <a:pt x="52" y="179"/>
                  </a:lnTo>
                  <a:lnTo>
                    <a:pt x="52" y="176"/>
                  </a:lnTo>
                  <a:lnTo>
                    <a:pt x="52" y="172"/>
                  </a:lnTo>
                  <a:lnTo>
                    <a:pt x="52" y="168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48" y="160"/>
                  </a:lnTo>
                  <a:lnTo>
                    <a:pt x="48" y="156"/>
                  </a:lnTo>
                  <a:lnTo>
                    <a:pt x="48" y="152"/>
                  </a:lnTo>
                  <a:lnTo>
                    <a:pt x="48" y="148"/>
                  </a:lnTo>
                  <a:lnTo>
                    <a:pt x="48" y="144"/>
                  </a:lnTo>
                  <a:lnTo>
                    <a:pt x="44" y="144"/>
                  </a:lnTo>
                  <a:lnTo>
                    <a:pt x="44" y="140"/>
                  </a:lnTo>
                  <a:lnTo>
                    <a:pt x="44" y="136"/>
                  </a:lnTo>
                  <a:lnTo>
                    <a:pt x="44" y="132"/>
                  </a:lnTo>
                  <a:lnTo>
                    <a:pt x="44" y="128"/>
                  </a:lnTo>
                  <a:lnTo>
                    <a:pt x="44" y="124"/>
                  </a:lnTo>
                  <a:lnTo>
                    <a:pt x="44" y="120"/>
                  </a:lnTo>
                  <a:lnTo>
                    <a:pt x="44" y="116"/>
                  </a:lnTo>
                  <a:lnTo>
                    <a:pt x="44" y="112"/>
                  </a:lnTo>
                  <a:lnTo>
                    <a:pt x="44" y="108"/>
                  </a:lnTo>
                  <a:lnTo>
                    <a:pt x="44" y="104"/>
                  </a:lnTo>
                  <a:lnTo>
                    <a:pt x="44" y="100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36" y="92"/>
                  </a:lnTo>
                  <a:lnTo>
                    <a:pt x="36" y="88"/>
                  </a:lnTo>
                  <a:lnTo>
                    <a:pt x="36" y="84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28" y="72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60" y="8"/>
                  </a:lnTo>
                  <a:lnTo>
                    <a:pt x="68" y="8"/>
                  </a:lnTo>
                  <a:lnTo>
                    <a:pt x="76" y="8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6" y="16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20"/>
                  </a:lnTo>
                  <a:lnTo>
                    <a:pt x="140" y="20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48" y="20"/>
                  </a:lnTo>
                  <a:lnTo>
                    <a:pt x="156" y="16"/>
                  </a:lnTo>
                  <a:lnTo>
                    <a:pt x="164" y="16"/>
                  </a:lnTo>
                  <a:lnTo>
                    <a:pt x="168" y="16"/>
                  </a:lnTo>
                  <a:lnTo>
                    <a:pt x="172" y="12"/>
                  </a:lnTo>
                  <a:lnTo>
                    <a:pt x="176" y="12"/>
                  </a:lnTo>
                  <a:lnTo>
                    <a:pt x="180" y="12"/>
                  </a:lnTo>
                  <a:lnTo>
                    <a:pt x="184" y="12"/>
                  </a:lnTo>
                  <a:lnTo>
                    <a:pt x="188" y="8"/>
                  </a:lnTo>
                  <a:lnTo>
                    <a:pt x="192" y="8"/>
                  </a:lnTo>
                  <a:lnTo>
                    <a:pt x="196" y="8"/>
                  </a:lnTo>
                  <a:lnTo>
                    <a:pt x="200" y="8"/>
                  </a:lnTo>
                  <a:lnTo>
                    <a:pt x="204" y="8"/>
                  </a:lnTo>
                  <a:lnTo>
                    <a:pt x="204" y="12"/>
                  </a:lnTo>
                  <a:lnTo>
                    <a:pt x="208" y="16"/>
                  </a:lnTo>
                  <a:lnTo>
                    <a:pt x="204" y="16"/>
                  </a:lnTo>
                  <a:lnTo>
                    <a:pt x="200" y="16"/>
                  </a:lnTo>
                  <a:lnTo>
                    <a:pt x="196" y="20"/>
                  </a:lnTo>
                  <a:lnTo>
                    <a:pt x="196" y="16"/>
                  </a:lnTo>
                  <a:lnTo>
                    <a:pt x="192" y="16"/>
                  </a:lnTo>
                  <a:lnTo>
                    <a:pt x="192" y="20"/>
                  </a:lnTo>
                  <a:lnTo>
                    <a:pt x="188" y="20"/>
                  </a:lnTo>
                  <a:lnTo>
                    <a:pt x="188" y="24"/>
                  </a:lnTo>
                  <a:lnTo>
                    <a:pt x="184" y="24"/>
                  </a:lnTo>
                  <a:lnTo>
                    <a:pt x="184" y="28"/>
                  </a:lnTo>
                  <a:lnTo>
                    <a:pt x="180" y="28"/>
                  </a:lnTo>
                  <a:lnTo>
                    <a:pt x="180" y="24"/>
                  </a:lnTo>
                  <a:lnTo>
                    <a:pt x="180" y="20"/>
                  </a:lnTo>
                  <a:lnTo>
                    <a:pt x="176" y="20"/>
                  </a:lnTo>
                  <a:lnTo>
                    <a:pt x="168" y="20"/>
                  </a:lnTo>
                  <a:lnTo>
                    <a:pt x="164" y="20"/>
                  </a:lnTo>
                  <a:lnTo>
                    <a:pt x="160" y="20"/>
                  </a:lnTo>
                  <a:lnTo>
                    <a:pt x="156" y="24"/>
                  </a:lnTo>
                  <a:lnTo>
                    <a:pt x="148" y="24"/>
                  </a:lnTo>
                  <a:lnTo>
                    <a:pt x="144" y="24"/>
                  </a:lnTo>
                  <a:lnTo>
                    <a:pt x="144" y="28"/>
                  </a:lnTo>
                  <a:lnTo>
                    <a:pt x="144" y="32"/>
                  </a:lnTo>
                  <a:lnTo>
                    <a:pt x="144" y="40"/>
                  </a:lnTo>
                  <a:lnTo>
                    <a:pt x="144" y="56"/>
                  </a:lnTo>
                  <a:lnTo>
                    <a:pt x="144" y="60"/>
                  </a:lnTo>
                  <a:lnTo>
                    <a:pt x="144" y="72"/>
                  </a:lnTo>
                  <a:lnTo>
                    <a:pt x="144" y="76"/>
                  </a:lnTo>
                  <a:lnTo>
                    <a:pt x="144" y="80"/>
                  </a:lnTo>
                  <a:lnTo>
                    <a:pt x="144" y="88"/>
                  </a:lnTo>
                  <a:lnTo>
                    <a:pt x="144" y="92"/>
                  </a:lnTo>
                  <a:lnTo>
                    <a:pt x="144" y="96"/>
                  </a:lnTo>
                  <a:lnTo>
                    <a:pt x="140" y="96"/>
                  </a:lnTo>
                  <a:lnTo>
                    <a:pt x="136" y="96"/>
                  </a:lnTo>
                  <a:lnTo>
                    <a:pt x="132" y="96"/>
                  </a:lnTo>
                  <a:lnTo>
                    <a:pt x="128" y="96"/>
                  </a:lnTo>
                  <a:lnTo>
                    <a:pt x="128" y="100"/>
                  </a:lnTo>
                  <a:lnTo>
                    <a:pt x="128" y="104"/>
                  </a:lnTo>
                  <a:lnTo>
                    <a:pt x="128" y="108"/>
                  </a:lnTo>
                  <a:lnTo>
                    <a:pt x="128" y="112"/>
                  </a:lnTo>
                  <a:lnTo>
                    <a:pt x="128" y="116"/>
                  </a:lnTo>
                  <a:lnTo>
                    <a:pt x="128" y="1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4" name="Freeform 151"/>
            <p:cNvSpPr>
              <a:spLocks/>
            </p:cNvSpPr>
            <p:nvPr>
              <p:custDataLst>
                <p:tags r:id="rId347"/>
              </p:custDataLst>
            </p:nvPr>
          </p:nvSpPr>
          <p:spPr bwMode="gray">
            <a:xfrm>
              <a:off x="4381993" y="3947855"/>
              <a:ext cx="354452" cy="330723"/>
            </a:xfrm>
            <a:custGeom>
              <a:avLst/>
              <a:gdLst/>
              <a:ahLst/>
              <a:cxnLst>
                <a:cxn ang="0">
                  <a:pos x="91" y="187"/>
                </a:cxn>
                <a:cxn ang="0">
                  <a:pos x="87" y="183"/>
                </a:cxn>
                <a:cxn ang="0">
                  <a:pos x="75" y="183"/>
                </a:cxn>
                <a:cxn ang="0">
                  <a:pos x="64" y="183"/>
                </a:cxn>
                <a:cxn ang="0">
                  <a:pos x="56" y="199"/>
                </a:cxn>
                <a:cxn ang="0">
                  <a:pos x="52" y="215"/>
                </a:cxn>
                <a:cxn ang="0">
                  <a:pos x="52" y="223"/>
                </a:cxn>
                <a:cxn ang="0">
                  <a:pos x="48" y="219"/>
                </a:cxn>
                <a:cxn ang="0">
                  <a:pos x="40" y="211"/>
                </a:cxn>
                <a:cxn ang="0">
                  <a:pos x="32" y="211"/>
                </a:cxn>
                <a:cxn ang="0">
                  <a:pos x="32" y="215"/>
                </a:cxn>
                <a:cxn ang="0">
                  <a:pos x="28" y="203"/>
                </a:cxn>
                <a:cxn ang="0">
                  <a:pos x="16" y="199"/>
                </a:cxn>
                <a:cxn ang="0">
                  <a:pos x="12" y="191"/>
                </a:cxn>
                <a:cxn ang="0">
                  <a:pos x="16" y="191"/>
                </a:cxn>
                <a:cxn ang="0">
                  <a:pos x="8" y="187"/>
                </a:cxn>
                <a:cxn ang="0">
                  <a:pos x="4" y="175"/>
                </a:cxn>
                <a:cxn ang="0">
                  <a:pos x="0" y="167"/>
                </a:cxn>
                <a:cxn ang="0">
                  <a:pos x="0" y="159"/>
                </a:cxn>
                <a:cxn ang="0">
                  <a:pos x="4" y="163"/>
                </a:cxn>
                <a:cxn ang="0">
                  <a:pos x="12" y="159"/>
                </a:cxn>
                <a:cxn ang="0">
                  <a:pos x="40" y="155"/>
                </a:cxn>
                <a:cxn ang="0">
                  <a:pos x="52" y="151"/>
                </a:cxn>
                <a:cxn ang="0">
                  <a:pos x="56" y="147"/>
                </a:cxn>
                <a:cxn ang="0">
                  <a:pos x="60" y="135"/>
                </a:cxn>
                <a:cxn ang="0">
                  <a:pos x="60" y="119"/>
                </a:cxn>
                <a:cxn ang="0">
                  <a:pos x="60" y="83"/>
                </a:cxn>
                <a:cxn ang="0">
                  <a:pos x="79" y="79"/>
                </a:cxn>
                <a:cxn ang="0">
                  <a:pos x="95" y="63"/>
                </a:cxn>
                <a:cxn ang="0">
                  <a:pos x="127" y="40"/>
                </a:cxn>
                <a:cxn ang="0">
                  <a:pos x="155" y="16"/>
                </a:cxn>
                <a:cxn ang="0">
                  <a:pos x="179" y="0"/>
                </a:cxn>
                <a:cxn ang="0">
                  <a:pos x="195" y="4"/>
                </a:cxn>
                <a:cxn ang="0">
                  <a:pos x="203" y="8"/>
                </a:cxn>
                <a:cxn ang="0">
                  <a:pos x="219" y="12"/>
                </a:cxn>
                <a:cxn ang="0">
                  <a:pos x="227" y="28"/>
                </a:cxn>
                <a:cxn ang="0">
                  <a:pos x="231" y="48"/>
                </a:cxn>
                <a:cxn ang="0">
                  <a:pos x="231" y="52"/>
                </a:cxn>
                <a:cxn ang="0">
                  <a:pos x="235" y="63"/>
                </a:cxn>
                <a:cxn ang="0">
                  <a:pos x="231" y="91"/>
                </a:cxn>
                <a:cxn ang="0">
                  <a:pos x="231" y="127"/>
                </a:cxn>
                <a:cxn ang="0">
                  <a:pos x="215" y="147"/>
                </a:cxn>
                <a:cxn ang="0">
                  <a:pos x="203" y="163"/>
                </a:cxn>
                <a:cxn ang="0">
                  <a:pos x="203" y="171"/>
                </a:cxn>
                <a:cxn ang="0">
                  <a:pos x="199" y="171"/>
                </a:cxn>
                <a:cxn ang="0">
                  <a:pos x="195" y="187"/>
                </a:cxn>
                <a:cxn ang="0">
                  <a:pos x="187" y="191"/>
                </a:cxn>
                <a:cxn ang="0">
                  <a:pos x="187" y="195"/>
                </a:cxn>
                <a:cxn ang="0">
                  <a:pos x="175" y="195"/>
                </a:cxn>
                <a:cxn ang="0">
                  <a:pos x="167" y="191"/>
                </a:cxn>
                <a:cxn ang="0">
                  <a:pos x="163" y="191"/>
                </a:cxn>
                <a:cxn ang="0">
                  <a:pos x="159" y="191"/>
                </a:cxn>
                <a:cxn ang="0">
                  <a:pos x="155" y="191"/>
                </a:cxn>
                <a:cxn ang="0">
                  <a:pos x="147" y="195"/>
                </a:cxn>
                <a:cxn ang="0">
                  <a:pos x="143" y="203"/>
                </a:cxn>
                <a:cxn ang="0">
                  <a:pos x="131" y="199"/>
                </a:cxn>
                <a:cxn ang="0">
                  <a:pos x="123" y="195"/>
                </a:cxn>
                <a:cxn ang="0">
                  <a:pos x="119" y="195"/>
                </a:cxn>
                <a:cxn ang="0">
                  <a:pos x="107" y="195"/>
                </a:cxn>
              </a:cxnLst>
              <a:rect l="0" t="0" r="r" b="b"/>
              <a:pathLst>
                <a:path w="239" h="223">
                  <a:moveTo>
                    <a:pt x="103" y="199"/>
                  </a:moveTo>
                  <a:lnTo>
                    <a:pt x="99" y="199"/>
                  </a:lnTo>
                  <a:lnTo>
                    <a:pt x="99" y="195"/>
                  </a:lnTo>
                  <a:lnTo>
                    <a:pt x="99" y="195"/>
                  </a:lnTo>
                  <a:lnTo>
                    <a:pt x="95" y="191"/>
                  </a:lnTo>
                  <a:lnTo>
                    <a:pt x="95" y="191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87" y="187"/>
                  </a:lnTo>
                  <a:lnTo>
                    <a:pt x="87" y="183"/>
                  </a:lnTo>
                  <a:lnTo>
                    <a:pt x="87" y="183"/>
                  </a:lnTo>
                  <a:lnTo>
                    <a:pt x="83" y="183"/>
                  </a:lnTo>
                  <a:lnTo>
                    <a:pt x="83" y="183"/>
                  </a:lnTo>
                  <a:lnTo>
                    <a:pt x="79" y="183"/>
                  </a:lnTo>
                  <a:lnTo>
                    <a:pt x="79" y="183"/>
                  </a:lnTo>
                  <a:lnTo>
                    <a:pt x="79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1" y="183"/>
                  </a:lnTo>
                  <a:lnTo>
                    <a:pt x="71" y="183"/>
                  </a:lnTo>
                  <a:lnTo>
                    <a:pt x="71" y="183"/>
                  </a:lnTo>
                  <a:lnTo>
                    <a:pt x="68" y="183"/>
                  </a:lnTo>
                  <a:lnTo>
                    <a:pt x="64" y="183"/>
                  </a:lnTo>
                  <a:lnTo>
                    <a:pt x="60" y="187"/>
                  </a:lnTo>
                  <a:lnTo>
                    <a:pt x="60" y="187"/>
                  </a:lnTo>
                  <a:lnTo>
                    <a:pt x="60" y="191"/>
                  </a:lnTo>
                  <a:lnTo>
                    <a:pt x="60" y="191"/>
                  </a:lnTo>
                  <a:lnTo>
                    <a:pt x="60" y="195"/>
                  </a:lnTo>
                  <a:lnTo>
                    <a:pt x="60" y="199"/>
                  </a:lnTo>
                  <a:lnTo>
                    <a:pt x="56" y="199"/>
                  </a:lnTo>
                  <a:lnTo>
                    <a:pt x="56" y="203"/>
                  </a:lnTo>
                  <a:lnTo>
                    <a:pt x="56" y="203"/>
                  </a:lnTo>
                  <a:lnTo>
                    <a:pt x="52" y="207"/>
                  </a:lnTo>
                  <a:lnTo>
                    <a:pt x="52" y="207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5"/>
                  </a:lnTo>
                  <a:lnTo>
                    <a:pt x="52" y="215"/>
                  </a:lnTo>
                  <a:lnTo>
                    <a:pt x="52" y="215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23"/>
                  </a:lnTo>
                  <a:lnTo>
                    <a:pt x="52" y="223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4" y="219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0" y="211"/>
                  </a:lnTo>
                  <a:lnTo>
                    <a:pt x="40" y="211"/>
                  </a:lnTo>
                  <a:lnTo>
                    <a:pt x="40" y="207"/>
                  </a:lnTo>
                  <a:lnTo>
                    <a:pt x="40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2" y="211"/>
                  </a:lnTo>
                  <a:lnTo>
                    <a:pt x="32" y="211"/>
                  </a:lnTo>
                  <a:lnTo>
                    <a:pt x="32" y="215"/>
                  </a:lnTo>
                  <a:lnTo>
                    <a:pt x="32" y="215"/>
                  </a:lnTo>
                  <a:lnTo>
                    <a:pt x="32" y="219"/>
                  </a:lnTo>
                  <a:lnTo>
                    <a:pt x="32" y="219"/>
                  </a:lnTo>
                  <a:lnTo>
                    <a:pt x="32" y="219"/>
                  </a:lnTo>
                  <a:lnTo>
                    <a:pt x="32" y="215"/>
                  </a:lnTo>
                  <a:lnTo>
                    <a:pt x="28" y="211"/>
                  </a:lnTo>
                  <a:lnTo>
                    <a:pt x="28" y="211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32" y="207"/>
                  </a:lnTo>
                  <a:lnTo>
                    <a:pt x="28" y="207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4" y="203"/>
                  </a:lnTo>
                  <a:lnTo>
                    <a:pt x="24" y="207"/>
                  </a:lnTo>
                  <a:lnTo>
                    <a:pt x="20" y="203"/>
                  </a:lnTo>
                  <a:lnTo>
                    <a:pt x="16" y="199"/>
                  </a:lnTo>
                  <a:lnTo>
                    <a:pt x="12" y="199"/>
                  </a:lnTo>
                  <a:lnTo>
                    <a:pt x="12" y="199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87"/>
                  </a:lnTo>
                  <a:lnTo>
                    <a:pt x="12" y="187"/>
                  </a:lnTo>
                  <a:lnTo>
                    <a:pt x="12" y="187"/>
                  </a:lnTo>
                  <a:lnTo>
                    <a:pt x="8" y="187"/>
                  </a:lnTo>
                  <a:lnTo>
                    <a:pt x="4" y="187"/>
                  </a:lnTo>
                  <a:lnTo>
                    <a:pt x="4" y="183"/>
                  </a:lnTo>
                  <a:lnTo>
                    <a:pt x="4" y="183"/>
                  </a:lnTo>
                  <a:lnTo>
                    <a:pt x="4" y="179"/>
                  </a:lnTo>
                  <a:lnTo>
                    <a:pt x="0" y="175"/>
                  </a:lnTo>
                  <a:lnTo>
                    <a:pt x="0" y="175"/>
                  </a:lnTo>
                  <a:lnTo>
                    <a:pt x="4" y="175"/>
                  </a:lnTo>
                  <a:lnTo>
                    <a:pt x="0" y="175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59"/>
                  </a:lnTo>
                  <a:lnTo>
                    <a:pt x="0" y="159"/>
                  </a:lnTo>
                  <a:lnTo>
                    <a:pt x="0" y="163"/>
                  </a:lnTo>
                  <a:lnTo>
                    <a:pt x="4" y="163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6" y="155"/>
                  </a:lnTo>
                  <a:lnTo>
                    <a:pt x="24" y="155"/>
                  </a:lnTo>
                  <a:lnTo>
                    <a:pt x="24" y="155"/>
                  </a:lnTo>
                  <a:lnTo>
                    <a:pt x="36" y="155"/>
                  </a:lnTo>
                  <a:lnTo>
                    <a:pt x="36" y="155"/>
                  </a:lnTo>
                  <a:lnTo>
                    <a:pt x="40" y="155"/>
                  </a:lnTo>
                  <a:lnTo>
                    <a:pt x="40" y="155"/>
                  </a:lnTo>
                  <a:lnTo>
                    <a:pt x="40" y="151"/>
                  </a:lnTo>
                  <a:lnTo>
                    <a:pt x="44" y="151"/>
                  </a:lnTo>
                  <a:lnTo>
                    <a:pt x="48" y="155"/>
                  </a:lnTo>
                  <a:lnTo>
                    <a:pt x="48" y="155"/>
                  </a:lnTo>
                  <a:lnTo>
                    <a:pt x="48" y="155"/>
                  </a:lnTo>
                  <a:lnTo>
                    <a:pt x="48" y="151"/>
                  </a:lnTo>
                  <a:lnTo>
                    <a:pt x="52" y="151"/>
                  </a:lnTo>
                  <a:lnTo>
                    <a:pt x="52" y="147"/>
                  </a:lnTo>
                  <a:lnTo>
                    <a:pt x="52" y="147"/>
                  </a:lnTo>
                  <a:lnTo>
                    <a:pt x="52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3"/>
                  </a:lnTo>
                  <a:lnTo>
                    <a:pt x="56" y="139"/>
                  </a:lnTo>
                  <a:lnTo>
                    <a:pt x="56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27"/>
                  </a:lnTo>
                  <a:lnTo>
                    <a:pt x="60" y="127"/>
                  </a:lnTo>
                  <a:lnTo>
                    <a:pt x="60" y="123"/>
                  </a:lnTo>
                  <a:lnTo>
                    <a:pt x="60" y="123"/>
                  </a:lnTo>
                  <a:lnTo>
                    <a:pt x="60" y="119"/>
                  </a:lnTo>
                  <a:lnTo>
                    <a:pt x="60" y="115"/>
                  </a:lnTo>
                  <a:lnTo>
                    <a:pt x="60" y="111"/>
                  </a:lnTo>
                  <a:lnTo>
                    <a:pt x="60" y="103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87"/>
                  </a:lnTo>
                  <a:lnTo>
                    <a:pt x="60" y="83"/>
                  </a:lnTo>
                  <a:lnTo>
                    <a:pt x="60" y="83"/>
                  </a:lnTo>
                  <a:lnTo>
                    <a:pt x="64" y="83"/>
                  </a:lnTo>
                  <a:lnTo>
                    <a:pt x="64" y="83"/>
                  </a:lnTo>
                  <a:lnTo>
                    <a:pt x="71" y="79"/>
                  </a:lnTo>
                  <a:lnTo>
                    <a:pt x="75" y="79"/>
                  </a:lnTo>
                  <a:lnTo>
                    <a:pt x="79" y="79"/>
                  </a:lnTo>
                  <a:lnTo>
                    <a:pt x="79" y="79"/>
                  </a:lnTo>
                  <a:lnTo>
                    <a:pt x="83" y="79"/>
                  </a:lnTo>
                  <a:lnTo>
                    <a:pt x="83" y="79"/>
                  </a:lnTo>
                  <a:lnTo>
                    <a:pt x="87" y="75"/>
                  </a:lnTo>
                  <a:lnTo>
                    <a:pt x="87" y="75"/>
                  </a:lnTo>
                  <a:lnTo>
                    <a:pt x="91" y="71"/>
                  </a:lnTo>
                  <a:lnTo>
                    <a:pt x="95" y="67"/>
                  </a:lnTo>
                  <a:lnTo>
                    <a:pt x="95" y="63"/>
                  </a:lnTo>
                  <a:lnTo>
                    <a:pt x="99" y="59"/>
                  </a:lnTo>
                  <a:lnTo>
                    <a:pt x="107" y="52"/>
                  </a:lnTo>
                  <a:lnTo>
                    <a:pt x="111" y="48"/>
                  </a:lnTo>
                  <a:lnTo>
                    <a:pt x="111" y="48"/>
                  </a:lnTo>
                  <a:lnTo>
                    <a:pt x="115" y="48"/>
                  </a:lnTo>
                  <a:lnTo>
                    <a:pt x="119" y="44"/>
                  </a:lnTo>
                  <a:lnTo>
                    <a:pt x="127" y="40"/>
                  </a:lnTo>
                  <a:lnTo>
                    <a:pt x="127" y="36"/>
                  </a:lnTo>
                  <a:lnTo>
                    <a:pt x="131" y="32"/>
                  </a:lnTo>
                  <a:lnTo>
                    <a:pt x="139" y="28"/>
                  </a:lnTo>
                  <a:lnTo>
                    <a:pt x="143" y="24"/>
                  </a:lnTo>
                  <a:lnTo>
                    <a:pt x="147" y="20"/>
                  </a:lnTo>
                  <a:lnTo>
                    <a:pt x="151" y="20"/>
                  </a:lnTo>
                  <a:lnTo>
                    <a:pt x="155" y="16"/>
                  </a:lnTo>
                  <a:lnTo>
                    <a:pt x="159" y="16"/>
                  </a:lnTo>
                  <a:lnTo>
                    <a:pt x="159" y="12"/>
                  </a:lnTo>
                  <a:lnTo>
                    <a:pt x="163" y="12"/>
                  </a:lnTo>
                  <a:lnTo>
                    <a:pt x="171" y="4"/>
                  </a:lnTo>
                  <a:lnTo>
                    <a:pt x="175" y="4"/>
                  </a:lnTo>
                  <a:lnTo>
                    <a:pt x="175" y="0"/>
                  </a:lnTo>
                  <a:lnTo>
                    <a:pt x="179" y="0"/>
                  </a:lnTo>
                  <a:lnTo>
                    <a:pt x="183" y="4"/>
                  </a:lnTo>
                  <a:lnTo>
                    <a:pt x="183" y="4"/>
                  </a:lnTo>
                  <a:lnTo>
                    <a:pt x="183" y="4"/>
                  </a:lnTo>
                  <a:lnTo>
                    <a:pt x="183" y="4"/>
                  </a:lnTo>
                  <a:lnTo>
                    <a:pt x="187" y="4"/>
                  </a:lnTo>
                  <a:lnTo>
                    <a:pt x="191" y="4"/>
                  </a:lnTo>
                  <a:lnTo>
                    <a:pt x="195" y="4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203" y="8"/>
                  </a:lnTo>
                  <a:lnTo>
                    <a:pt x="203" y="8"/>
                  </a:lnTo>
                  <a:lnTo>
                    <a:pt x="207" y="12"/>
                  </a:lnTo>
                  <a:lnTo>
                    <a:pt x="211" y="20"/>
                  </a:lnTo>
                  <a:lnTo>
                    <a:pt x="211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9" y="12"/>
                  </a:lnTo>
                  <a:lnTo>
                    <a:pt x="219" y="12"/>
                  </a:lnTo>
                  <a:lnTo>
                    <a:pt x="223" y="12"/>
                  </a:lnTo>
                  <a:lnTo>
                    <a:pt x="223" y="12"/>
                  </a:lnTo>
                  <a:lnTo>
                    <a:pt x="223" y="12"/>
                  </a:lnTo>
                  <a:lnTo>
                    <a:pt x="223" y="16"/>
                  </a:lnTo>
                  <a:lnTo>
                    <a:pt x="227" y="28"/>
                  </a:lnTo>
                  <a:lnTo>
                    <a:pt x="227" y="28"/>
                  </a:lnTo>
                  <a:lnTo>
                    <a:pt x="227" y="32"/>
                  </a:lnTo>
                  <a:lnTo>
                    <a:pt x="227" y="36"/>
                  </a:lnTo>
                  <a:lnTo>
                    <a:pt x="227" y="36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31" y="48"/>
                  </a:lnTo>
                  <a:lnTo>
                    <a:pt x="231" y="48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6"/>
                  </a:lnTo>
                  <a:lnTo>
                    <a:pt x="231" y="56"/>
                  </a:lnTo>
                  <a:lnTo>
                    <a:pt x="239" y="59"/>
                  </a:lnTo>
                  <a:lnTo>
                    <a:pt x="239" y="59"/>
                  </a:lnTo>
                  <a:lnTo>
                    <a:pt x="235" y="63"/>
                  </a:lnTo>
                  <a:lnTo>
                    <a:pt x="235" y="67"/>
                  </a:lnTo>
                  <a:lnTo>
                    <a:pt x="235" y="67"/>
                  </a:lnTo>
                  <a:lnTo>
                    <a:pt x="235" y="71"/>
                  </a:lnTo>
                  <a:lnTo>
                    <a:pt x="235" y="75"/>
                  </a:lnTo>
                  <a:lnTo>
                    <a:pt x="231" y="87"/>
                  </a:lnTo>
                  <a:lnTo>
                    <a:pt x="231" y="87"/>
                  </a:lnTo>
                  <a:lnTo>
                    <a:pt x="231" y="91"/>
                  </a:lnTo>
                  <a:lnTo>
                    <a:pt x="231" y="99"/>
                  </a:lnTo>
                  <a:lnTo>
                    <a:pt x="231" y="99"/>
                  </a:lnTo>
                  <a:lnTo>
                    <a:pt x="231" y="103"/>
                  </a:lnTo>
                  <a:lnTo>
                    <a:pt x="231" y="115"/>
                  </a:lnTo>
                  <a:lnTo>
                    <a:pt x="231" y="123"/>
                  </a:lnTo>
                  <a:lnTo>
                    <a:pt x="231" y="127"/>
                  </a:lnTo>
                  <a:lnTo>
                    <a:pt x="231" y="127"/>
                  </a:lnTo>
                  <a:lnTo>
                    <a:pt x="231" y="127"/>
                  </a:lnTo>
                  <a:lnTo>
                    <a:pt x="227" y="127"/>
                  </a:lnTo>
                  <a:lnTo>
                    <a:pt x="227" y="131"/>
                  </a:lnTo>
                  <a:lnTo>
                    <a:pt x="223" y="131"/>
                  </a:lnTo>
                  <a:lnTo>
                    <a:pt x="223" y="135"/>
                  </a:lnTo>
                  <a:lnTo>
                    <a:pt x="215" y="143"/>
                  </a:lnTo>
                  <a:lnTo>
                    <a:pt x="215" y="147"/>
                  </a:lnTo>
                  <a:lnTo>
                    <a:pt x="211" y="151"/>
                  </a:lnTo>
                  <a:lnTo>
                    <a:pt x="211" y="151"/>
                  </a:lnTo>
                  <a:lnTo>
                    <a:pt x="207" y="155"/>
                  </a:lnTo>
                  <a:lnTo>
                    <a:pt x="207" y="155"/>
                  </a:lnTo>
                  <a:lnTo>
                    <a:pt x="207" y="159"/>
                  </a:lnTo>
                  <a:lnTo>
                    <a:pt x="203" y="163"/>
                  </a:lnTo>
                  <a:lnTo>
                    <a:pt x="203" y="163"/>
                  </a:lnTo>
                  <a:lnTo>
                    <a:pt x="203" y="163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9"/>
                  </a:lnTo>
                  <a:lnTo>
                    <a:pt x="203" y="183"/>
                  </a:lnTo>
                  <a:lnTo>
                    <a:pt x="203" y="183"/>
                  </a:lnTo>
                  <a:lnTo>
                    <a:pt x="199" y="183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1" y="187"/>
                  </a:lnTo>
                  <a:lnTo>
                    <a:pt x="191" y="187"/>
                  </a:lnTo>
                  <a:lnTo>
                    <a:pt x="191" y="187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5"/>
                  </a:lnTo>
                  <a:lnTo>
                    <a:pt x="187" y="195"/>
                  </a:lnTo>
                  <a:lnTo>
                    <a:pt x="187" y="195"/>
                  </a:lnTo>
                  <a:lnTo>
                    <a:pt x="183" y="195"/>
                  </a:lnTo>
                  <a:lnTo>
                    <a:pt x="183" y="195"/>
                  </a:lnTo>
                  <a:lnTo>
                    <a:pt x="183" y="195"/>
                  </a:lnTo>
                  <a:lnTo>
                    <a:pt x="183" y="195"/>
                  </a:lnTo>
                  <a:lnTo>
                    <a:pt x="179" y="195"/>
                  </a:lnTo>
                  <a:lnTo>
                    <a:pt x="179" y="195"/>
                  </a:lnTo>
                  <a:lnTo>
                    <a:pt x="175" y="195"/>
                  </a:lnTo>
                  <a:lnTo>
                    <a:pt x="175" y="191"/>
                  </a:lnTo>
                  <a:lnTo>
                    <a:pt x="171" y="191"/>
                  </a:lnTo>
                  <a:lnTo>
                    <a:pt x="171" y="191"/>
                  </a:lnTo>
                  <a:lnTo>
                    <a:pt x="171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3" y="195"/>
                  </a:lnTo>
                  <a:lnTo>
                    <a:pt x="143" y="199"/>
                  </a:lnTo>
                  <a:lnTo>
                    <a:pt x="143" y="203"/>
                  </a:lnTo>
                  <a:lnTo>
                    <a:pt x="143" y="203"/>
                  </a:lnTo>
                  <a:lnTo>
                    <a:pt x="139" y="203"/>
                  </a:lnTo>
                  <a:lnTo>
                    <a:pt x="135" y="199"/>
                  </a:lnTo>
                  <a:lnTo>
                    <a:pt x="135" y="199"/>
                  </a:lnTo>
                  <a:lnTo>
                    <a:pt x="131" y="199"/>
                  </a:lnTo>
                  <a:lnTo>
                    <a:pt x="131" y="199"/>
                  </a:lnTo>
                  <a:lnTo>
                    <a:pt x="131" y="199"/>
                  </a:lnTo>
                  <a:lnTo>
                    <a:pt x="131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19" y="195"/>
                  </a:lnTo>
                  <a:lnTo>
                    <a:pt x="119" y="195"/>
                  </a:lnTo>
                  <a:lnTo>
                    <a:pt x="119" y="195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5" y="191"/>
                  </a:lnTo>
                  <a:lnTo>
                    <a:pt x="107" y="195"/>
                  </a:lnTo>
                  <a:lnTo>
                    <a:pt x="107" y="195"/>
                  </a:lnTo>
                  <a:lnTo>
                    <a:pt x="103" y="195"/>
                  </a:lnTo>
                  <a:lnTo>
                    <a:pt x="103" y="195"/>
                  </a:lnTo>
                  <a:lnTo>
                    <a:pt x="103" y="199"/>
                  </a:lnTo>
                  <a:lnTo>
                    <a:pt x="103" y="19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5" name="Freeform 152"/>
            <p:cNvSpPr>
              <a:spLocks noEditPoints="1"/>
            </p:cNvSpPr>
            <p:nvPr>
              <p:custDataLst>
                <p:tags r:id="rId348"/>
              </p:custDataLst>
            </p:nvPr>
          </p:nvSpPr>
          <p:spPr bwMode="gray">
            <a:xfrm>
              <a:off x="4435383" y="4219256"/>
              <a:ext cx="271400" cy="261019"/>
            </a:xfrm>
            <a:custGeom>
              <a:avLst/>
              <a:gdLst/>
              <a:ahLst/>
              <a:cxnLst>
                <a:cxn ang="0">
                  <a:pos x="135" y="132"/>
                </a:cxn>
                <a:cxn ang="0">
                  <a:pos x="127" y="132"/>
                </a:cxn>
                <a:cxn ang="0">
                  <a:pos x="119" y="124"/>
                </a:cxn>
                <a:cxn ang="0">
                  <a:pos x="111" y="128"/>
                </a:cxn>
                <a:cxn ang="0">
                  <a:pos x="103" y="136"/>
                </a:cxn>
                <a:cxn ang="0">
                  <a:pos x="95" y="152"/>
                </a:cxn>
                <a:cxn ang="0">
                  <a:pos x="87" y="164"/>
                </a:cxn>
                <a:cxn ang="0">
                  <a:pos x="83" y="168"/>
                </a:cxn>
                <a:cxn ang="0">
                  <a:pos x="75" y="172"/>
                </a:cxn>
                <a:cxn ang="0">
                  <a:pos x="67" y="168"/>
                </a:cxn>
                <a:cxn ang="0">
                  <a:pos x="63" y="172"/>
                </a:cxn>
                <a:cxn ang="0">
                  <a:pos x="63" y="172"/>
                </a:cxn>
                <a:cxn ang="0">
                  <a:pos x="63" y="168"/>
                </a:cxn>
                <a:cxn ang="0">
                  <a:pos x="55" y="172"/>
                </a:cxn>
                <a:cxn ang="0">
                  <a:pos x="43" y="168"/>
                </a:cxn>
                <a:cxn ang="0">
                  <a:pos x="39" y="160"/>
                </a:cxn>
                <a:cxn ang="0">
                  <a:pos x="43" y="156"/>
                </a:cxn>
                <a:cxn ang="0">
                  <a:pos x="39" y="152"/>
                </a:cxn>
                <a:cxn ang="0">
                  <a:pos x="32" y="140"/>
                </a:cxn>
                <a:cxn ang="0">
                  <a:pos x="20" y="136"/>
                </a:cxn>
                <a:cxn ang="0">
                  <a:pos x="20" y="132"/>
                </a:cxn>
                <a:cxn ang="0">
                  <a:pos x="12" y="136"/>
                </a:cxn>
                <a:cxn ang="0">
                  <a:pos x="0" y="132"/>
                </a:cxn>
                <a:cxn ang="0">
                  <a:pos x="4" y="120"/>
                </a:cxn>
                <a:cxn ang="0">
                  <a:pos x="0" y="104"/>
                </a:cxn>
                <a:cxn ang="0">
                  <a:pos x="4" y="88"/>
                </a:cxn>
                <a:cxn ang="0">
                  <a:pos x="12" y="76"/>
                </a:cxn>
                <a:cxn ang="0">
                  <a:pos x="16" y="64"/>
                </a:cxn>
                <a:cxn ang="0">
                  <a:pos x="16" y="56"/>
                </a:cxn>
                <a:cxn ang="0">
                  <a:pos x="12" y="40"/>
                </a:cxn>
                <a:cxn ang="0">
                  <a:pos x="16" y="28"/>
                </a:cxn>
                <a:cxn ang="0">
                  <a:pos x="24" y="16"/>
                </a:cxn>
                <a:cxn ang="0">
                  <a:pos x="28" y="0"/>
                </a:cxn>
                <a:cxn ang="0">
                  <a:pos x="43" y="0"/>
                </a:cxn>
                <a:cxn ang="0">
                  <a:pos x="55" y="4"/>
                </a:cxn>
                <a:cxn ang="0">
                  <a:pos x="67" y="16"/>
                </a:cxn>
                <a:cxn ang="0">
                  <a:pos x="83" y="8"/>
                </a:cxn>
                <a:cxn ang="0">
                  <a:pos x="95" y="16"/>
                </a:cxn>
                <a:cxn ang="0">
                  <a:pos x="107" y="16"/>
                </a:cxn>
                <a:cxn ang="0">
                  <a:pos x="119" y="8"/>
                </a:cxn>
                <a:cxn ang="0">
                  <a:pos x="135" y="8"/>
                </a:cxn>
                <a:cxn ang="0">
                  <a:pos x="147" y="12"/>
                </a:cxn>
                <a:cxn ang="0">
                  <a:pos x="159" y="4"/>
                </a:cxn>
                <a:cxn ang="0">
                  <a:pos x="171" y="8"/>
                </a:cxn>
                <a:cxn ang="0">
                  <a:pos x="175" y="24"/>
                </a:cxn>
                <a:cxn ang="0">
                  <a:pos x="183" y="32"/>
                </a:cxn>
                <a:cxn ang="0">
                  <a:pos x="179" y="36"/>
                </a:cxn>
                <a:cxn ang="0">
                  <a:pos x="175" y="44"/>
                </a:cxn>
                <a:cxn ang="0">
                  <a:pos x="167" y="56"/>
                </a:cxn>
                <a:cxn ang="0">
                  <a:pos x="159" y="68"/>
                </a:cxn>
                <a:cxn ang="0">
                  <a:pos x="155" y="80"/>
                </a:cxn>
                <a:cxn ang="0">
                  <a:pos x="151" y="96"/>
                </a:cxn>
                <a:cxn ang="0">
                  <a:pos x="143" y="104"/>
                </a:cxn>
                <a:cxn ang="0">
                  <a:pos x="143" y="112"/>
                </a:cxn>
                <a:cxn ang="0">
                  <a:pos x="67" y="172"/>
                </a:cxn>
              </a:cxnLst>
              <a:rect l="0" t="0" r="r" b="b"/>
              <a:pathLst>
                <a:path w="183" h="176">
                  <a:moveTo>
                    <a:pt x="139" y="120"/>
                  </a:moveTo>
                  <a:lnTo>
                    <a:pt x="139" y="124"/>
                  </a:lnTo>
                  <a:lnTo>
                    <a:pt x="135" y="128"/>
                  </a:lnTo>
                  <a:lnTo>
                    <a:pt x="135" y="132"/>
                  </a:lnTo>
                  <a:lnTo>
                    <a:pt x="131" y="132"/>
                  </a:lnTo>
                  <a:lnTo>
                    <a:pt x="131" y="136"/>
                  </a:lnTo>
                  <a:lnTo>
                    <a:pt x="127" y="136"/>
                  </a:lnTo>
                  <a:lnTo>
                    <a:pt x="127" y="132"/>
                  </a:lnTo>
                  <a:lnTo>
                    <a:pt x="127" y="128"/>
                  </a:lnTo>
                  <a:lnTo>
                    <a:pt x="123" y="128"/>
                  </a:lnTo>
                  <a:lnTo>
                    <a:pt x="123" y="124"/>
                  </a:lnTo>
                  <a:lnTo>
                    <a:pt x="119" y="124"/>
                  </a:lnTo>
                  <a:lnTo>
                    <a:pt x="119" y="128"/>
                  </a:lnTo>
                  <a:lnTo>
                    <a:pt x="115" y="128"/>
                  </a:lnTo>
                  <a:lnTo>
                    <a:pt x="115" y="124"/>
                  </a:lnTo>
                  <a:lnTo>
                    <a:pt x="111" y="128"/>
                  </a:lnTo>
                  <a:lnTo>
                    <a:pt x="107" y="128"/>
                  </a:lnTo>
                  <a:lnTo>
                    <a:pt x="107" y="132"/>
                  </a:lnTo>
                  <a:lnTo>
                    <a:pt x="107" y="136"/>
                  </a:lnTo>
                  <a:lnTo>
                    <a:pt x="103" y="136"/>
                  </a:lnTo>
                  <a:lnTo>
                    <a:pt x="99" y="140"/>
                  </a:lnTo>
                  <a:lnTo>
                    <a:pt x="95" y="144"/>
                  </a:lnTo>
                  <a:lnTo>
                    <a:pt x="95" y="148"/>
                  </a:lnTo>
                  <a:lnTo>
                    <a:pt x="95" y="152"/>
                  </a:lnTo>
                  <a:lnTo>
                    <a:pt x="95" y="156"/>
                  </a:lnTo>
                  <a:lnTo>
                    <a:pt x="91" y="160"/>
                  </a:lnTo>
                  <a:lnTo>
                    <a:pt x="91" y="164"/>
                  </a:lnTo>
                  <a:lnTo>
                    <a:pt x="87" y="164"/>
                  </a:lnTo>
                  <a:lnTo>
                    <a:pt x="87" y="168"/>
                  </a:lnTo>
                  <a:lnTo>
                    <a:pt x="87" y="164"/>
                  </a:lnTo>
                  <a:lnTo>
                    <a:pt x="83" y="164"/>
                  </a:lnTo>
                  <a:lnTo>
                    <a:pt x="83" y="168"/>
                  </a:lnTo>
                  <a:lnTo>
                    <a:pt x="87" y="168"/>
                  </a:lnTo>
                  <a:lnTo>
                    <a:pt x="83" y="172"/>
                  </a:lnTo>
                  <a:lnTo>
                    <a:pt x="79" y="172"/>
                  </a:lnTo>
                  <a:lnTo>
                    <a:pt x="75" y="172"/>
                  </a:lnTo>
                  <a:lnTo>
                    <a:pt x="75" y="168"/>
                  </a:lnTo>
                  <a:lnTo>
                    <a:pt x="71" y="172"/>
                  </a:lnTo>
                  <a:lnTo>
                    <a:pt x="67" y="172"/>
                  </a:lnTo>
                  <a:lnTo>
                    <a:pt x="67" y="168"/>
                  </a:lnTo>
                  <a:lnTo>
                    <a:pt x="67" y="172"/>
                  </a:lnTo>
                  <a:lnTo>
                    <a:pt x="67" y="168"/>
                  </a:lnTo>
                  <a:lnTo>
                    <a:pt x="63" y="168"/>
                  </a:lnTo>
                  <a:lnTo>
                    <a:pt x="63" y="172"/>
                  </a:lnTo>
                  <a:lnTo>
                    <a:pt x="67" y="172"/>
                  </a:lnTo>
                  <a:lnTo>
                    <a:pt x="63" y="172"/>
                  </a:lnTo>
                  <a:lnTo>
                    <a:pt x="63" y="168"/>
                  </a:lnTo>
                  <a:lnTo>
                    <a:pt x="63" y="172"/>
                  </a:lnTo>
                  <a:lnTo>
                    <a:pt x="63" y="176"/>
                  </a:lnTo>
                  <a:lnTo>
                    <a:pt x="59" y="172"/>
                  </a:lnTo>
                  <a:lnTo>
                    <a:pt x="63" y="172"/>
                  </a:lnTo>
                  <a:lnTo>
                    <a:pt x="63" y="168"/>
                  </a:lnTo>
                  <a:lnTo>
                    <a:pt x="59" y="172"/>
                  </a:lnTo>
                  <a:lnTo>
                    <a:pt x="59" y="176"/>
                  </a:lnTo>
                  <a:lnTo>
                    <a:pt x="55" y="176"/>
                  </a:lnTo>
                  <a:lnTo>
                    <a:pt x="55" y="172"/>
                  </a:lnTo>
                  <a:lnTo>
                    <a:pt x="55" y="176"/>
                  </a:lnTo>
                  <a:lnTo>
                    <a:pt x="51" y="176"/>
                  </a:lnTo>
                  <a:lnTo>
                    <a:pt x="47" y="172"/>
                  </a:lnTo>
                  <a:lnTo>
                    <a:pt x="43" y="168"/>
                  </a:lnTo>
                  <a:lnTo>
                    <a:pt x="43" y="164"/>
                  </a:lnTo>
                  <a:lnTo>
                    <a:pt x="39" y="160"/>
                  </a:lnTo>
                  <a:lnTo>
                    <a:pt x="43" y="160"/>
                  </a:lnTo>
                  <a:lnTo>
                    <a:pt x="39" y="160"/>
                  </a:lnTo>
                  <a:lnTo>
                    <a:pt x="39" y="156"/>
                  </a:lnTo>
                  <a:lnTo>
                    <a:pt x="43" y="156"/>
                  </a:lnTo>
                  <a:lnTo>
                    <a:pt x="43" y="152"/>
                  </a:lnTo>
                  <a:lnTo>
                    <a:pt x="43" y="156"/>
                  </a:lnTo>
                  <a:lnTo>
                    <a:pt x="39" y="156"/>
                  </a:lnTo>
                  <a:lnTo>
                    <a:pt x="39" y="152"/>
                  </a:lnTo>
                  <a:lnTo>
                    <a:pt x="43" y="152"/>
                  </a:lnTo>
                  <a:lnTo>
                    <a:pt x="39" y="152"/>
                  </a:lnTo>
                  <a:lnTo>
                    <a:pt x="35" y="148"/>
                  </a:lnTo>
                  <a:lnTo>
                    <a:pt x="35" y="144"/>
                  </a:lnTo>
                  <a:lnTo>
                    <a:pt x="32" y="144"/>
                  </a:lnTo>
                  <a:lnTo>
                    <a:pt x="32" y="140"/>
                  </a:lnTo>
                  <a:lnTo>
                    <a:pt x="28" y="140"/>
                  </a:lnTo>
                  <a:lnTo>
                    <a:pt x="28" y="136"/>
                  </a:lnTo>
                  <a:lnTo>
                    <a:pt x="24" y="136"/>
                  </a:lnTo>
                  <a:lnTo>
                    <a:pt x="20" y="136"/>
                  </a:lnTo>
                  <a:lnTo>
                    <a:pt x="16" y="136"/>
                  </a:lnTo>
                  <a:lnTo>
                    <a:pt x="12" y="136"/>
                  </a:lnTo>
                  <a:lnTo>
                    <a:pt x="16" y="136"/>
                  </a:lnTo>
                  <a:lnTo>
                    <a:pt x="20" y="132"/>
                  </a:lnTo>
                  <a:lnTo>
                    <a:pt x="16" y="132"/>
                  </a:lnTo>
                  <a:lnTo>
                    <a:pt x="12" y="136"/>
                  </a:lnTo>
                  <a:lnTo>
                    <a:pt x="12" y="132"/>
                  </a:lnTo>
                  <a:lnTo>
                    <a:pt x="12" y="136"/>
                  </a:lnTo>
                  <a:lnTo>
                    <a:pt x="8" y="136"/>
                  </a:lnTo>
                  <a:lnTo>
                    <a:pt x="4" y="136"/>
                  </a:lnTo>
                  <a:lnTo>
                    <a:pt x="0" y="136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4" y="124"/>
                  </a:lnTo>
                  <a:lnTo>
                    <a:pt x="4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4" y="88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5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51" y="0"/>
                  </a:lnTo>
                  <a:lnTo>
                    <a:pt x="51" y="4"/>
                  </a:lnTo>
                  <a:lnTo>
                    <a:pt x="55" y="4"/>
                  </a:lnTo>
                  <a:lnTo>
                    <a:pt x="59" y="8"/>
                  </a:lnTo>
                  <a:lnTo>
                    <a:pt x="63" y="12"/>
                  </a:lnTo>
                  <a:lnTo>
                    <a:pt x="63" y="16"/>
                  </a:lnTo>
                  <a:lnTo>
                    <a:pt x="67" y="16"/>
                  </a:lnTo>
                  <a:lnTo>
                    <a:pt x="67" y="12"/>
                  </a:lnTo>
                  <a:lnTo>
                    <a:pt x="71" y="12"/>
                  </a:lnTo>
                  <a:lnTo>
                    <a:pt x="79" y="8"/>
                  </a:lnTo>
                  <a:lnTo>
                    <a:pt x="83" y="8"/>
                  </a:lnTo>
                  <a:lnTo>
                    <a:pt x="83" y="12"/>
                  </a:lnTo>
                  <a:lnTo>
                    <a:pt x="87" y="12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9" y="16"/>
                  </a:lnTo>
                  <a:lnTo>
                    <a:pt x="103" y="20"/>
                  </a:lnTo>
                  <a:lnTo>
                    <a:pt x="107" y="20"/>
                  </a:lnTo>
                  <a:lnTo>
                    <a:pt x="107" y="16"/>
                  </a:lnTo>
                  <a:lnTo>
                    <a:pt x="107" y="12"/>
                  </a:lnTo>
                  <a:lnTo>
                    <a:pt x="111" y="12"/>
                  </a:lnTo>
                  <a:lnTo>
                    <a:pt x="115" y="8"/>
                  </a:lnTo>
                  <a:lnTo>
                    <a:pt x="119" y="8"/>
                  </a:lnTo>
                  <a:lnTo>
                    <a:pt x="123" y="8"/>
                  </a:lnTo>
                  <a:lnTo>
                    <a:pt x="127" y="8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39" y="12"/>
                  </a:lnTo>
                  <a:lnTo>
                    <a:pt x="143" y="12"/>
                  </a:lnTo>
                  <a:lnTo>
                    <a:pt x="147" y="12"/>
                  </a:lnTo>
                  <a:lnTo>
                    <a:pt x="151" y="12"/>
                  </a:lnTo>
                  <a:lnTo>
                    <a:pt x="151" y="8"/>
                  </a:lnTo>
                  <a:lnTo>
                    <a:pt x="155" y="4"/>
                  </a:lnTo>
                  <a:lnTo>
                    <a:pt x="159" y="4"/>
                  </a:lnTo>
                  <a:lnTo>
                    <a:pt x="163" y="0"/>
                  </a:lnTo>
                  <a:lnTo>
                    <a:pt x="167" y="0"/>
                  </a:lnTo>
                  <a:lnTo>
                    <a:pt x="167" y="4"/>
                  </a:lnTo>
                  <a:lnTo>
                    <a:pt x="171" y="8"/>
                  </a:lnTo>
                  <a:lnTo>
                    <a:pt x="171" y="12"/>
                  </a:lnTo>
                  <a:lnTo>
                    <a:pt x="175" y="16"/>
                  </a:lnTo>
                  <a:lnTo>
                    <a:pt x="175" y="20"/>
                  </a:lnTo>
                  <a:lnTo>
                    <a:pt x="175" y="24"/>
                  </a:lnTo>
                  <a:lnTo>
                    <a:pt x="175" y="28"/>
                  </a:lnTo>
                  <a:lnTo>
                    <a:pt x="179" y="28"/>
                  </a:lnTo>
                  <a:lnTo>
                    <a:pt x="183" y="28"/>
                  </a:lnTo>
                  <a:lnTo>
                    <a:pt x="183" y="32"/>
                  </a:lnTo>
                  <a:lnTo>
                    <a:pt x="179" y="32"/>
                  </a:lnTo>
                  <a:lnTo>
                    <a:pt x="183" y="32"/>
                  </a:lnTo>
                  <a:lnTo>
                    <a:pt x="183" y="36"/>
                  </a:lnTo>
                  <a:lnTo>
                    <a:pt x="179" y="36"/>
                  </a:lnTo>
                  <a:lnTo>
                    <a:pt x="179" y="40"/>
                  </a:lnTo>
                  <a:lnTo>
                    <a:pt x="183" y="40"/>
                  </a:lnTo>
                  <a:lnTo>
                    <a:pt x="179" y="44"/>
                  </a:lnTo>
                  <a:lnTo>
                    <a:pt x="175" y="44"/>
                  </a:lnTo>
                  <a:lnTo>
                    <a:pt x="175" y="48"/>
                  </a:lnTo>
                  <a:lnTo>
                    <a:pt x="171" y="48"/>
                  </a:lnTo>
                  <a:lnTo>
                    <a:pt x="167" y="52"/>
                  </a:lnTo>
                  <a:lnTo>
                    <a:pt x="167" y="56"/>
                  </a:lnTo>
                  <a:lnTo>
                    <a:pt x="163" y="60"/>
                  </a:lnTo>
                  <a:lnTo>
                    <a:pt x="163" y="64"/>
                  </a:lnTo>
                  <a:lnTo>
                    <a:pt x="163" y="68"/>
                  </a:lnTo>
                  <a:lnTo>
                    <a:pt x="159" y="68"/>
                  </a:lnTo>
                  <a:lnTo>
                    <a:pt x="159" y="72"/>
                  </a:lnTo>
                  <a:lnTo>
                    <a:pt x="159" y="76"/>
                  </a:lnTo>
                  <a:lnTo>
                    <a:pt x="159" y="80"/>
                  </a:lnTo>
                  <a:lnTo>
                    <a:pt x="155" y="80"/>
                  </a:lnTo>
                  <a:lnTo>
                    <a:pt x="155" y="84"/>
                  </a:lnTo>
                  <a:lnTo>
                    <a:pt x="155" y="88"/>
                  </a:lnTo>
                  <a:lnTo>
                    <a:pt x="155" y="92"/>
                  </a:lnTo>
                  <a:lnTo>
                    <a:pt x="151" y="96"/>
                  </a:lnTo>
                  <a:lnTo>
                    <a:pt x="147" y="96"/>
                  </a:lnTo>
                  <a:lnTo>
                    <a:pt x="147" y="100"/>
                  </a:lnTo>
                  <a:lnTo>
                    <a:pt x="143" y="100"/>
                  </a:lnTo>
                  <a:lnTo>
                    <a:pt x="143" y="104"/>
                  </a:lnTo>
                  <a:lnTo>
                    <a:pt x="147" y="104"/>
                  </a:lnTo>
                  <a:lnTo>
                    <a:pt x="143" y="104"/>
                  </a:lnTo>
                  <a:lnTo>
                    <a:pt x="143" y="108"/>
                  </a:lnTo>
                  <a:lnTo>
                    <a:pt x="143" y="112"/>
                  </a:lnTo>
                  <a:lnTo>
                    <a:pt x="143" y="116"/>
                  </a:lnTo>
                  <a:lnTo>
                    <a:pt x="139" y="116"/>
                  </a:lnTo>
                  <a:lnTo>
                    <a:pt x="139" y="120"/>
                  </a:lnTo>
                  <a:close/>
                  <a:moveTo>
                    <a:pt x="67" y="172"/>
                  </a:moveTo>
                  <a:lnTo>
                    <a:pt x="71" y="172"/>
                  </a:lnTo>
                  <a:lnTo>
                    <a:pt x="67" y="17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6" name="Freeform 153"/>
            <p:cNvSpPr>
              <a:spLocks/>
            </p:cNvSpPr>
            <p:nvPr>
              <p:custDataLst>
                <p:tags r:id="rId349"/>
              </p:custDataLst>
            </p:nvPr>
          </p:nvSpPr>
          <p:spPr bwMode="gray">
            <a:xfrm>
              <a:off x="5025643" y="4622650"/>
              <a:ext cx="41526" cy="47458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0" y="32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4" y="0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6"/>
                </a:cxn>
                <a:cxn ang="0">
                  <a:pos x="28" y="20"/>
                </a:cxn>
                <a:cxn ang="0">
                  <a:pos x="28" y="24"/>
                </a:cxn>
                <a:cxn ang="0">
                  <a:pos x="28" y="24"/>
                </a:cxn>
                <a:cxn ang="0">
                  <a:pos x="28" y="24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0" y="24"/>
                </a:cxn>
                <a:cxn ang="0">
                  <a:pos x="16" y="28"/>
                </a:cxn>
                <a:cxn ang="0">
                  <a:pos x="16" y="24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32"/>
                </a:cxn>
              </a:cxnLst>
              <a:rect l="0" t="0" r="r" b="b"/>
              <a:pathLst>
                <a:path w="28" h="32">
                  <a:moveTo>
                    <a:pt x="0" y="32"/>
                  </a:move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8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7" name="Freeform 154"/>
            <p:cNvSpPr>
              <a:spLocks noEditPoints="1"/>
            </p:cNvSpPr>
            <p:nvPr>
              <p:custDataLst>
                <p:tags r:id="rId350"/>
              </p:custDataLst>
            </p:nvPr>
          </p:nvSpPr>
          <p:spPr bwMode="gray">
            <a:xfrm>
              <a:off x="4522885" y="4551463"/>
              <a:ext cx="17797" cy="41526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</a:cxnLst>
              <a:rect l="0" t="0" r="r" b="b"/>
              <a:pathLst>
                <a:path w="12" h="28">
                  <a:moveTo>
                    <a:pt x="12" y="0"/>
                  </a:move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close/>
                  <a:moveTo>
                    <a:pt x="0" y="28"/>
                  </a:move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8" name="Freeform 155"/>
            <p:cNvSpPr>
              <a:spLocks/>
            </p:cNvSpPr>
            <p:nvPr>
              <p:custDataLst>
                <p:tags r:id="rId351"/>
              </p:custDataLst>
            </p:nvPr>
          </p:nvSpPr>
          <p:spPr bwMode="gray">
            <a:xfrm>
              <a:off x="3978600" y="4136205"/>
              <a:ext cx="142374" cy="124577"/>
            </a:xfrm>
            <a:custGeom>
              <a:avLst/>
              <a:gdLst/>
              <a:ahLst/>
              <a:cxnLst>
                <a:cxn ang="0">
                  <a:pos x="88" y="84"/>
                </a:cxn>
                <a:cxn ang="0">
                  <a:pos x="84" y="84"/>
                </a:cxn>
                <a:cxn ang="0">
                  <a:pos x="76" y="84"/>
                </a:cxn>
                <a:cxn ang="0">
                  <a:pos x="68" y="80"/>
                </a:cxn>
                <a:cxn ang="0">
                  <a:pos x="64" y="76"/>
                </a:cxn>
                <a:cxn ang="0">
                  <a:pos x="48" y="76"/>
                </a:cxn>
                <a:cxn ang="0">
                  <a:pos x="32" y="80"/>
                </a:cxn>
                <a:cxn ang="0">
                  <a:pos x="24" y="80"/>
                </a:cxn>
                <a:cxn ang="0">
                  <a:pos x="16" y="84"/>
                </a:cxn>
                <a:cxn ang="0">
                  <a:pos x="16" y="76"/>
                </a:cxn>
                <a:cxn ang="0">
                  <a:pos x="24" y="80"/>
                </a:cxn>
                <a:cxn ang="0">
                  <a:pos x="28" y="80"/>
                </a:cxn>
                <a:cxn ang="0">
                  <a:pos x="32" y="76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16" y="76"/>
                </a:cxn>
                <a:cxn ang="0">
                  <a:pos x="12" y="80"/>
                </a:cxn>
                <a:cxn ang="0">
                  <a:pos x="12" y="72"/>
                </a:cxn>
                <a:cxn ang="0">
                  <a:pos x="28" y="68"/>
                </a:cxn>
                <a:cxn ang="0">
                  <a:pos x="36" y="64"/>
                </a:cxn>
                <a:cxn ang="0">
                  <a:pos x="40" y="60"/>
                </a:cxn>
                <a:cxn ang="0">
                  <a:pos x="44" y="64"/>
                </a:cxn>
                <a:cxn ang="0">
                  <a:pos x="48" y="68"/>
                </a:cxn>
                <a:cxn ang="0">
                  <a:pos x="56" y="64"/>
                </a:cxn>
                <a:cxn ang="0">
                  <a:pos x="60" y="60"/>
                </a:cxn>
                <a:cxn ang="0">
                  <a:pos x="52" y="60"/>
                </a:cxn>
                <a:cxn ang="0">
                  <a:pos x="48" y="60"/>
                </a:cxn>
                <a:cxn ang="0">
                  <a:pos x="44" y="60"/>
                </a:cxn>
                <a:cxn ang="0">
                  <a:pos x="44" y="56"/>
                </a:cxn>
                <a:cxn ang="0">
                  <a:pos x="36" y="56"/>
                </a:cxn>
                <a:cxn ang="0">
                  <a:pos x="32" y="60"/>
                </a:cxn>
                <a:cxn ang="0">
                  <a:pos x="16" y="60"/>
                </a:cxn>
                <a:cxn ang="0">
                  <a:pos x="16" y="56"/>
                </a:cxn>
                <a:cxn ang="0">
                  <a:pos x="16" y="52"/>
                </a:cxn>
                <a:cxn ang="0">
                  <a:pos x="20" y="48"/>
                </a:cxn>
                <a:cxn ang="0">
                  <a:pos x="16" y="52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4" y="40"/>
                </a:cxn>
                <a:cxn ang="0">
                  <a:pos x="8" y="36"/>
                </a:cxn>
                <a:cxn ang="0">
                  <a:pos x="12" y="24"/>
                </a:cxn>
                <a:cxn ang="0">
                  <a:pos x="16" y="20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32" y="4"/>
                </a:cxn>
                <a:cxn ang="0">
                  <a:pos x="40" y="4"/>
                </a:cxn>
                <a:cxn ang="0">
                  <a:pos x="48" y="4"/>
                </a:cxn>
                <a:cxn ang="0">
                  <a:pos x="60" y="12"/>
                </a:cxn>
                <a:cxn ang="0">
                  <a:pos x="64" y="16"/>
                </a:cxn>
                <a:cxn ang="0">
                  <a:pos x="72" y="28"/>
                </a:cxn>
                <a:cxn ang="0">
                  <a:pos x="72" y="32"/>
                </a:cxn>
                <a:cxn ang="0">
                  <a:pos x="80" y="36"/>
                </a:cxn>
                <a:cxn ang="0">
                  <a:pos x="84" y="44"/>
                </a:cxn>
                <a:cxn ang="0">
                  <a:pos x="88" y="52"/>
                </a:cxn>
                <a:cxn ang="0">
                  <a:pos x="84" y="56"/>
                </a:cxn>
                <a:cxn ang="0">
                  <a:pos x="88" y="64"/>
                </a:cxn>
                <a:cxn ang="0">
                  <a:pos x="92" y="68"/>
                </a:cxn>
                <a:cxn ang="0">
                  <a:pos x="96" y="76"/>
                </a:cxn>
              </a:cxnLst>
              <a:rect l="0" t="0" r="r" b="b"/>
              <a:pathLst>
                <a:path w="96" h="84">
                  <a:moveTo>
                    <a:pt x="96" y="80"/>
                  </a:moveTo>
                  <a:lnTo>
                    <a:pt x="96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0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0" y="80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32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4"/>
                  </a:lnTo>
                  <a:lnTo>
                    <a:pt x="48" y="64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96" y="72"/>
                  </a:lnTo>
                  <a:lnTo>
                    <a:pt x="96" y="72"/>
                  </a:lnTo>
                  <a:lnTo>
                    <a:pt x="96" y="76"/>
                  </a:lnTo>
                  <a:lnTo>
                    <a:pt x="96" y="80"/>
                  </a:lnTo>
                  <a:lnTo>
                    <a:pt x="96" y="80"/>
                  </a:lnTo>
                  <a:lnTo>
                    <a:pt x="96" y="80"/>
                  </a:lnTo>
                  <a:lnTo>
                    <a:pt x="96" y="8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59" name="Freeform 156"/>
            <p:cNvSpPr>
              <a:spLocks noEditPoints="1"/>
            </p:cNvSpPr>
            <p:nvPr>
              <p:custDataLst>
                <p:tags r:id="rId352"/>
              </p:custDataLst>
            </p:nvPr>
          </p:nvSpPr>
          <p:spPr bwMode="gray">
            <a:xfrm>
              <a:off x="5411239" y="4716082"/>
              <a:ext cx="212078" cy="136442"/>
            </a:xfrm>
            <a:custGeom>
              <a:avLst/>
              <a:gdLst/>
              <a:ahLst/>
              <a:cxnLst>
                <a:cxn ang="0">
                  <a:pos x="4" y="92"/>
                </a:cxn>
                <a:cxn ang="0">
                  <a:pos x="4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88"/>
                </a:cxn>
                <a:cxn ang="0">
                  <a:pos x="4" y="88"/>
                </a:cxn>
                <a:cxn ang="0">
                  <a:pos x="4" y="88"/>
                </a:cxn>
                <a:cxn ang="0">
                  <a:pos x="8" y="88"/>
                </a:cxn>
                <a:cxn ang="0">
                  <a:pos x="8" y="92"/>
                </a:cxn>
                <a:cxn ang="0">
                  <a:pos x="8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39" y="4"/>
                </a:cxn>
                <a:cxn ang="0">
                  <a:pos x="139" y="0"/>
                </a:cxn>
                <a:cxn ang="0">
                  <a:pos x="139" y="0"/>
                </a:cxn>
                <a:cxn ang="0">
                  <a:pos x="143" y="0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</a:cxnLst>
              <a:rect l="0" t="0" r="r" b="b"/>
              <a:pathLst>
                <a:path w="143" h="92">
                  <a:moveTo>
                    <a:pt x="4" y="92"/>
                  </a:moveTo>
                  <a:lnTo>
                    <a:pt x="4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8" y="88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close/>
                  <a:moveTo>
                    <a:pt x="143" y="4"/>
                  </a:move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39" y="4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43" y="0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0" name="Freeform 157"/>
            <p:cNvSpPr>
              <a:spLocks noEditPoints="1"/>
            </p:cNvSpPr>
            <p:nvPr>
              <p:custDataLst>
                <p:tags r:id="rId353"/>
              </p:custDataLst>
            </p:nvPr>
          </p:nvSpPr>
          <p:spPr bwMode="gray">
            <a:xfrm>
              <a:off x="4079448" y="4326037"/>
              <a:ext cx="65255" cy="83052"/>
            </a:xfrm>
            <a:custGeom>
              <a:avLst/>
              <a:gdLst/>
              <a:ahLst/>
              <a:cxnLst>
                <a:cxn ang="0">
                  <a:pos x="24" y="52"/>
                </a:cxn>
                <a:cxn ang="0">
                  <a:pos x="20" y="52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6" y="44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36" y="8"/>
                </a:cxn>
                <a:cxn ang="0">
                  <a:pos x="40" y="12"/>
                </a:cxn>
                <a:cxn ang="0">
                  <a:pos x="36" y="16"/>
                </a:cxn>
                <a:cxn ang="0">
                  <a:pos x="40" y="16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40" y="28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0" y="32"/>
                </a:cxn>
                <a:cxn ang="0">
                  <a:pos x="40" y="36"/>
                </a:cxn>
                <a:cxn ang="0">
                  <a:pos x="36" y="40"/>
                </a:cxn>
                <a:cxn ang="0">
                  <a:pos x="36" y="44"/>
                </a:cxn>
                <a:cxn ang="0">
                  <a:pos x="32" y="48"/>
                </a:cxn>
                <a:cxn ang="0">
                  <a:pos x="32" y="48"/>
                </a:cxn>
                <a:cxn ang="0">
                  <a:pos x="28" y="52"/>
                </a:cxn>
                <a:cxn ang="0">
                  <a:pos x="28" y="56"/>
                </a:cxn>
                <a:cxn ang="0">
                  <a:pos x="8" y="40"/>
                </a:cxn>
                <a:cxn ang="0">
                  <a:pos x="8" y="40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4" y="44"/>
                </a:cxn>
              </a:cxnLst>
              <a:rect l="0" t="0" r="r" b="b"/>
              <a:pathLst>
                <a:path w="44" h="56">
                  <a:moveTo>
                    <a:pt x="24" y="56"/>
                  </a:moveTo>
                  <a:lnTo>
                    <a:pt x="24" y="56"/>
                  </a:lnTo>
                  <a:lnTo>
                    <a:pt x="24" y="56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6"/>
                  </a:lnTo>
                  <a:lnTo>
                    <a:pt x="24" y="56"/>
                  </a:lnTo>
                  <a:lnTo>
                    <a:pt x="24" y="56"/>
                  </a:lnTo>
                  <a:close/>
                  <a:moveTo>
                    <a:pt x="4" y="44"/>
                  </a:move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1" name="Freeform 158"/>
            <p:cNvSpPr>
              <a:spLocks/>
            </p:cNvSpPr>
            <p:nvPr>
              <p:custDataLst>
                <p:tags r:id="rId354"/>
              </p:custDataLst>
            </p:nvPr>
          </p:nvSpPr>
          <p:spPr bwMode="gray">
            <a:xfrm>
              <a:off x="5298526" y="4266714"/>
              <a:ext cx="231358" cy="373732"/>
            </a:xfrm>
            <a:custGeom>
              <a:avLst/>
              <a:gdLst/>
              <a:ahLst/>
              <a:cxnLst>
                <a:cxn ang="0">
                  <a:pos x="84" y="24"/>
                </a:cxn>
                <a:cxn ang="0">
                  <a:pos x="100" y="16"/>
                </a:cxn>
                <a:cxn ang="0">
                  <a:pos x="116" y="12"/>
                </a:cxn>
                <a:cxn ang="0">
                  <a:pos x="128" y="12"/>
                </a:cxn>
                <a:cxn ang="0">
                  <a:pos x="144" y="8"/>
                </a:cxn>
                <a:cxn ang="0">
                  <a:pos x="152" y="4"/>
                </a:cxn>
                <a:cxn ang="0">
                  <a:pos x="152" y="16"/>
                </a:cxn>
                <a:cxn ang="0">
                  <a:pos x="152" y="32"/>
                </a:cxn>
                <a:cxn ang="0">
                  <a:pos x="152" y="32"/>
                </a:cxn>
                <a:cxn ang="0">
                  <a:pos x="148" y="48"/>
                </a:cxn>
                <a:cxn ang="0">
                  <a:pos x="140" y="60"/>
                </a:cxn>
                <a:cxn ang="0">
                  <a:pos x="136" y="72"/>
                </a:cxn>
                <a:cxn ang="0">
                  <a:pos x="132" y="84"/>
                </a:cxn>
                <a:cxn ang="0">
                  <a:pos x="124" y="92"/>
                </a:cxn>
                <a:cxn ang="0">
                  <a:pos x="120" y="108"/>
                </a:cxn>
                <a:cxn ang="0">
                  <a:pos x="112" y="128"/>
                </a:cxn>
                <a:cxn ang="0">
                  <a:pos x="104" y="136"/>
                </a:cxn>
                <a:cxn ang="0">
                  <a:pos x="96" y="148"/>
                </a:cxn>
                <a:cxn ang="0">
                  <a:pos x="88" y="160"/>
                </a:cxn>
                <a:cxn ang="0">
                  <a:pos x="80" y="172"/>
                </a:cxn>
                <a:cxn ang="0">
                  <a:pos x="68" y="180"/>
                </a:cxn>
                <a:cxn ang="0">
                  <a:pos x="60" y="188"/>
                </a:cxn>
                <a:cxn ang="0">
                  <a:pos x="48" y="200"/>
                </a:cxn>
                <a:cxn ang="0">
                  <a:pos x="40" y="208"/>
                </a:cxn>
                <a:cxn ang="0">
                  <a:pos x="28" y="220"/>
                </a:cxn>
                <a:cxn ang="0">
                  <a:pos x="20" y="228"/>
                </a:cxn>
                <a:cxn ang="0">
                  <a:pos x="12" y="240"/>
                </a:cxn>
                <a:cxn ang="0">
                  <a:pos x="8" y="252"/>
                </a:cxn>
                <a:cxn ang="0">
                  <a:pos x="0" y="220"/>
                </a:cxn>
                <a:cxn ang="0">
                  <a:pos x="4" y="164"/>
                </a:cxn>
                <a:cxn ang="0">
                  <a:pos x="16" y="144"/>
                </a:cxn>
                <a:cxn ang="0">
                  <a:pos x="28" y="140"/>
                </a:cxn>
                <a:cxn ang="0">
                  <a:pos x="36" y="132"/>
                </a:cxn>
                <a:cxn ang="0">
                  <a:pos x="52" y="132"/>
                </a:cxn>
                <a:cxn ang="0">
                  <a:pos x="68" y="120"/>
                </a:cxn>
                <a:cxn ang="0">
                  <a:pos x="76" y="108"/>
                </a:cxn>
                <a:cxn ang="0">
                  <a:pos x="100" y="80"/>
                </a:cxn>
                <a:cxn ang="0">
                  <a:pos x="88" y="76"/>
                </a:cxn>
                <a:cxn ang="0">
                  <a:pos x="76" y="68"/>
                </a:cxn>
                <a:cxn ang="0">
                  <a:pos x="52" y="60"/>
                </a:cxn>
                <a:cxn ang="0">
                  <a:pos x="36" y="48"/>
                </a:cxn>
                <a:cxn ang="0">
                  <a:pos x="28" y="36"/>
                </a:cxn>
                <a:cxn ang="0">
                  <a:pos x="28" y="24"/>
                </a:cxn>
                <a:cxn ang="0">
                  <a:pos x="32" y="12"/>
                </a:cxn>
                <a:cxn ang="0">
                  <a:pos x="40" y="24"/>
                </a:cxn>
                <a:cxn ang="0">
                  <a:pos x="52" y="32"/>
                </a:cxn>
                <a:cxn ang="0">
                  <a:pos x="60" y="28"/>
                </a:cxn>
                <a:cxn ang="0">
                  <a:pos x="68" y="24"/>
                </a:cxn>
              </a:cxnLst>
              <a:rect l="0" t="0" r="r" b="b"/>
              <a:pathLst>
                <a:path w="156" h="252">
                  <a:moveTo>
                    <a:pt x="72" y="24"/>
                  </a:moveTo>
                  <a:lnTo>
                    <a:pt x="76" y="24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16" y="16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2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4" y="4"/>
                  </a:lnTo>
                  <a:lnTo>
                    <a:pt x="148" y="0"/>
                  </a:lnTo>
                  <a:lnTo>
                    <a:pt x="148" y="4"/>
                  </a:lnTo>
                  <a:lnTo>
                    <a:pt x="152" y="4"/>
                  </a:lnTo>
                  <a:lnTo>
                    <a:pt x="156" y="4"/>
                  </a:lnTo>
                  <a:lnTo>
                    <a:pt x="152" y="8"/>
                  </a:lnTo>
                  <a:lnTo>
                    <a:pt x="152" y="12"/>
                  </a:lnTo>
                  <a:lnTo>
                    <a:pt x="152" y="16"/>
                  </a:lnTo>
                  <a:lnTo>
                    <a:pt x="152" y="20"/>
                  </a:lnTo>
                  <a:lnTo>
                    <a:pt x="152" y="24"/>
                  </a:lnTo>
                  <a:lnTo>
                    <a:pt x="152" y="28"/>
                  </a:lnTo>
                  <a:lnTo>
                    <a:pt x="152" y="32"/>
                  </a:lnTo>
                  <a:lnTo>
                    <a:pt x="152" y="28"/>
                  </a:lnTo>
                  <a:lnTo>
                    <a:pt x="156" y="28"/>
                  </a:lnTo>
                  <a:lnTo>
                    <a:pt x="156" y="32"/>
                  </a:lnTo>
                  <a:lnTo>
                    <a:pt x="152" y="32"/>
                  </a:lnTo>
                  <a:lnTo>
                    <a:pt x="148" y="32"/>
                  </a:lnTo>
                  <a:lnTo>
                    <a:pt x="148" y="36"/>
                  </a:lnTo>
                  <a:lnTo>
                    <a:pt x="148" y="44"/>
                  </a:lnTo>
                  <a:lnTo>
                    <a:pt x="148" y="48"/>
                  </a:lnTo>
                  <a:lnTo>
                    <a:pt x="148" y="52"/>
                  </a:lnTo>
                  <a:lnTo>
                    <a:pt x="144" y="52"/>
                  </a:lnTo>
                  <a:lnTo>
                    <a:pt x="144" y="56"/>
                  </a:lnTo>
                  <a:lnTo>
                    <a:pt x="140" y="60"/>
                  </a:lnTo>
                  <a:lnTo>
                    <a:pt x="140" y="64"/>
                  </a:lnTo>
                  <a:lnTo>
                    <a:pt x="140" y="68"/>
                  </a:lnTo>
                  <a:lnTo>
                    <a:pt x="136" y="68"/>
                  </a:lnTo>
                  <a:lnTo>
                    <a:pt x="136" y="72"/>
                  </a:lnTo>
                  <a:lnTo>
                    <a:pt x="136" y="76"/>
                  </a:lnTo>
                  <a:lnTo>
                    <a:pt x="132" y="76"/>
                  </a:lnTo>
                  <a:lnTo>
                    <a:pt x="132" y="80"/>
                  </a:lnTo>
                  <a:lnTo>
                    <a:pt x="132" y="84"/>
                  </a:lnTo>
                  <a:lnTo>
                    <a:pt x="128" y="84"/>
                  </a:lnTo>
                  <a:lnTo>
                    <a:pt x="128" y="88"/>
                  </a:lnTo>
                  <a:lnTo>
                    <a:pt x="128" y="92"/>
                  </a:lnTo>
                  <a:lnTo>
                    <a:pt x="124" y="92"/>
                  </a:lnTo>
                  <a:lnTo>
                    <a:pt x="124" y="96"/>
                  </a:lnTo>
                  <a:lnTo>
                    <a:pt x="124" y="100"/>
                  </a:lnTo>
                  <a:lnTo>
                    <a:pt x="120" y="104"/>
                  </a:lnTo>
                  <a:lnTo>
                    <a:pt x="120" y="108"/>
                  </a:lnTo>
                  <a:lnTo>
                    <a:pt x="116" y="116"/>
                  </a:lnTo>
                  <a:lnTo>
                    <a:pt x="116" y="120"/>
                  </a:lnTo>
                  <a:lnTo>
                    <a:pt x="112" y="124"/>
                  </a:lnTo>
                  <a:lnTo>
                    <a:pt x="112" y="128"/>
                  </a:lnTo>
                  <a:lnTo>
                    <a:pt x="108" y="128"/>
                  </a:lnTo>
                  <a:lnTo>
                    <a:pt x="108" y="132"/>
                  </a:lnTo>
                  <a:lnTo>
                    <a:pt x="108" y="136"/>
                  </a:lnTo>
                  <a:lnTo>
                    <a:pt x="104" y="136"/>
                  </a:lnTo>
                  <a:lnTo>
                    <a:pt x="104" y="140"/>
                  </a:lnTo>
                  <a:lnTo>
                    <a:pt x="100" y="144"/>
                  </a:lnTo>
                  <a:lnTo>
                    <a:pt x="100" y="148"/>
                  </a:lnTo>
                  <a:lnTo>
                    <a:pt x="96" y="148"/>
                  </a:lnTo>
                  <a:lnTo>
                    <a:pt x="96" y="152"/>
                  </a:lnTo>
                  <a:lnTo>
                    <a:pt x="92" y="156"/>
                  </a:lnTo>
                  <a:lnTo>
                    <a:pt x="92" y="160"/>
                  </a:lnTo>
                  <a:lnTo>
                    <a:pt x="88" y="160"/>
                  </a:lnTo>
                  <a:lnTo>
                    <a:pt x="84" y="164"/>
                  </a:lnTo>
                  <a:lnTo>
                    <a:pt x="84" y="168"/>
                  </a:lnTo>
                  <a:lnTo>
                    <a:pt x="80" y="168"/>
                  </a:lnTo>
                  <a:lnTo>
                    <a:pt x="80" y="172"/>
                  </a:lnTo>
                  <a:lnTo>
                    <a:pt x="76" y="172"/>
                  </a:lnTo>
                  <a:lnTo>
                    <a:pt x="76" y="176"/>
                  </a:lnTo>
                  <a:lnTo>
                    <a:pt x="72" y="180"/>
                  </a:lnTo>
                  <a:lnTo>
                    <a:pt x="68" y="180"/>
                  </a:lnTo>
                  <a:lnTo>
                    <a:pt x="68" y="184"/>
                  </a:lnTo>
                  <a:lnTo>
                    <a:pt x="64" y="184"/>
                  </a:lnTo>
                  <a:lnTo>
                    <a:pt x="64" y="188"/>
                  </a:lnTo>
                  <a:lnTo>
                    <a:pt x="60" y="188"/>
                  </a:lnTo>
                  <a:lnTo>
                    <a:pt x="56" y="188"/>
                  </a:lnTo>
                  <a:lnTo>
                    <a:pt x="52" y="192"/>
                  </a:lnTo>
                  <a:lnTo>
                    <a:pt x="48" y="196"/>
                  </a:lnTo>
                  <a:lnTo>
                    <a:pt x="48" y="200"/>
                  </a:lnTo>
                  <a:lnTo>
                    <a:pt x="44" y="200"/>
                  </a:lnTo>
                  <a:lnTo>
                    <a:pt x="44" y="204"/>
                  </a:lnTo>
                  <a:lnTo>
                    <a:pt x="40" y="204"/>
                  </a:lnTo>
                  <a:lnTo>
                    <a:pt x="40" y="208"/>
                  </a:lnTo>
                  <a:lnTo>
                    <a:pt x="36" y="212"/>
                  </a:lnTo>
                  <a:lnTo>
                    <a:pt x="32" y="212"/>
                  </a:lnTo>
                  <a:lnTo>
                    <a:pt x="32" y="216"/>
                  </a:lnTo>
                  <a:lnTo>
                    <a:pt x="28" y="220"/>
                  </a:lnTo>
                  <a:lnTo>
                    <a:pt x="28" y="224"/>
                  </a:lnTo>
                  <a:lnTo>
                    <a:pt x="24" y="224"/>
                  </a:lnTo>
                  <a:lnTo>
                    <a:pt x="24" y="228"/>
                  </a:lnTo>
                  <a:lnTo>
                    <a:pt x="20" y="228"/>
                  </a:lnTo>
                  <a:lnTo>
                    <a:pt x="20" y="232"/>
                  </a:lnTo>
                  <a:lnTo>
                    <a:pt x="16" y="236"/>
                  </a:lnTo>
                  <a:lnTo>
                    <a:pt x="16" y="240"/>
                  </a:lnTo>
                  <a:lnTo>
                    <a:pt x="12" y="240"/>
                  </a:lnTo>
                  <a:lnTo>
                    <a:pt x="12" y="244"/>
                  </a:lnTo>
                  <a:lnTo>
                    <a:pt x="12" y="248"/>
                  </a:lnTo>
                  <a:lnTo>
                    <a:pt x="8" y="248"/>
                  </a:lnTo>
                  <a:lnTo>
                    <a:pt x="8" y="252"/>
                  </a:lnTo>
                  <a:lnTo>
                    <a:pt x="4" y="248"/>
                  </a:lnTo>
                  <a:lnTo>
                    <a:pt x="0" y="240"/>
                  </a:lnTo>
                  <a:lnTo>
                    <a:pt x="0" y="236"/>
                  </a:lnTo>
                  <a:lnTo>
                    <a:pt x="0" y="220"/>
                  </a:lnTo>
                  <a:lnTo>
                    <a:pt x="0" y="196"/>
                  </a:lnTo>
                  <a:lnTo>
                    <a:pt x="0" y="180"/>
                  </a:lnTo>
                  <a:lnTo>
                    <a:pt x="0" y="172"/>
                  </a:lnTo>
                  <a:lnTo>
                    <a:pt x="4" y="164"/>
                  </a:lnTo>
                  <a:lnTo>
                    <a:pt x="12" y="152"/>
                  </a:lnTo>
                  <a:lnTo>
                    <a:pt x="12" y="148"/>
                  </a:lnTo>
                  <a:lnTo>
                    <a:pt x="16" y="148"/>
                  </a:lnTo>
                  <a:lnTo>
                    <a:pt x="16" y="144"/>
                  </a:lnTo>
                  <a:lnTo>
                    <a:pt x="20" y="144"/>
                  </a:lnTo>
                  <a:lnTo>
                    <a:pt x="24" y="144"/>
                  </a:lnTo>
                  <a:lnTo>
                    <a:pt x="28" y="144"/>
                  </a:lnTo>
                  <a:lnTo>
                    <a:pt x="28" y="140"/>
                  </a:lnTo>
                  <a:lnTo>
                    <a:pt x="28" y="136"/>
                  </a:lnTo>
                  <a:lnTo>
                    <a:pt x="32" y="136"/>
                  </a:lnTo>
                  <a:lnTo>
                    <a:pt x="36" y="136"/>
                  </a:lnTo>
                  <a:lnTo>
                    <a:pt x="36" y="132"/>
                  </a:lnTo>
                  <a:lnTo>
                    <a:pt x="40" y="132"/>
                  </a:lnTo>
                  <a:lnTo>
                    <a:pt x="44" y="132"/>
                  </a:lnTo>
                  <a:lnTo>
                    <a:pt x="48" y="132"/>
                  </a:lnTo>
                  <a:lnTo>
                    <a:pt x="52" y="132"/>
                  </a:lnTo>
                  <a:lnTo>
                    <a:pt x="60" y="132"/>
                  </a:lnTo>
                  <a:lnTo>
                    <a:pt x="60" y="128"/>
                  </a:lnTo>
                  <a:lnTo>
                    <a:pt x="64" y="124"/>
                  </a:lnTo>
                  <a:lnTo>
                    <a:pt x="68" y="120"/>
                  </a:lnTo>
                  <a:lnTo>
                    <a:pt x="68" y="116"/>
                  </a:lnTo>
                  <a:lnTo>
                    <a:pt x="72" y="112"/>
                  </a:lnTo>
                  <a:lnTo>
                    <a:pt x="76" y="112"/>
                  </a:lnTo>
                  <a:lnTo>
                    <a:pt x="76" y="108"/>
                  </a:lnTo>
                  <a:lnTo>
                    <a:pt x="84" y="100"/>
                  </a:lnTo>
                  <a:lnTo>
                    <a:pt x="88" y="92"/>
                  </a:lnTo>
                  <a:lnTo>
                    <a:pt x="96" y="84"/>
                  </a:lnTo>
                  <a:lnTo>
                    <a:pt x="100" y="80"/>
                  </a:lnTo>
                  <a:lnTo>
                    <a:pt x="104" y="76"/>
                  </a:lnTo>
                  <a:lnTo>
                    <a:pt x="100" y="76"/>
                  </a:lnTo>
                  <a:lnTo>
                    <a:pt x="92" y="76"/>
                  </a:lnTo>
                  <a:lnTo>
                    <a:pt x="88" y="76"/>
                  </a:lnTo>
                  <a:lnTo>
                    <a:pt x="88" y="72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76" y="68"/>
                  </a:lnTo>
                  <a:lnTo>
                    <a:pt x="68" y="68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52" y="60"/>
                  </a:lnTo>
                  <a:lnTo>
                    <a:pt x="44" y="56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48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6" y="28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8" y="24"/>
                  </a:lnTo>
                  <a:lnTo>
                    <a:pt x="72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2" name="Freeform 160"/>
            <p:cNvSpPr>
              <a:spLocks/>
            </p:cNvSpPr>
            <p:nvPr>
              <p:custDataLst>
                <p:tags r:id="rId355"/>
              </p:custDataLst>
            </p:nvPr>
          </p:nvSpPr>
          <p:spPr bwMode="gray">
            <a:xfrm>
              <a:off x="5067168" y="5303376"/>
              <a:ext cx="29661" cy="45975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0" y="23"/>
                </a:cxn>
                <a:cxn ang="0">
                  <a:pos x="0" y="23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15"/>
                </a:cxn>
                <a:cxn ang="0">
                  <a:pos x="20" y="15"/>
                </a:cxn>
                <a:cxn ang="0">
                  <a:pos x="20" y="15"/>
                </a:cxn>
                <a:cxn ang="0">
                  <a:pos x="20" y="23"/>
                </a:cxn>
                <a:cxn ang="0">
                  <a:pos x="20" y="23"/>
                </a:cxn>
                <a:cxn ang="0">
                  <a:pos x="20" y="23"/>
                </a:cxn>
                <a:cxn ang="0">
                  <a:pos x="16" y="23"/>
                </a:cxn>
                <a:cxn ang="0">
                  <a:pos x="16" y="27"/>
                </a:cxn>
                <a:cxn ang="0">
                  <a:pos x="16" y="27"/>
                </a:cxn>
                <a:cxn ang="0">
                  <a:pos x="16" y="27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2" y="31"/>
                </a:cxn>
                <a:cxn ang="0">
                  <a:pos x="12" y="31"/>
                </a:cxn>
                <a:cxn ang="0">
                  <a:pos x="8" y="31"/>
                </a:cxn>
                <a:cxn ang="0">
                  <a:pos x="8" y="31"/>
                </a:cxn>
                <a:cxn ang="0">
                  <a:pos x="4" y="31"/>
                </a:cxn>
                <a:cxn ang="0">
                  <a:pos x="4" y="31"/>
                </a:cxn>
                <a:cxn ang="0">
                  <a:pos x="4" y="27"/>
                </a:cxn>
                <a:cxn ang="0">
                  <a:pos x="4" y="23"/>
                </a:cxn>
                <a:cxn ang="0">
                  <a:pos x="0" y="23"/>
                </a:cxn>
                <a:cxn ang="0">
                  <a:pos x="0" y="19"/>
                </a:cxn>
              </a:cxnLst>
              <a:rect l="0" t="0" r="r" b="b"/>
              <a:pathLst>
                <a:path w="20" h="31">
                  <a:moveTo>
                    <a:pt x="0" y="19"/>
                  </a:moveTo>
                  <a:lnTo>
                    <a:pt x="0" y="23"/>
                  </a:lnTo>
                  <a:lnTo>
                    <a:pt x="0" y="23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16" y="23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3"/>
                  </a:lnTo>
                  <a:lnTo>
                    <a:pt x="0" y="23"/>
                  </a:lnTo>
                  <a:lnTo>
                    <a:pt x="0" y="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3" name="Freeform 161"/>
            <p:cNvSpPr>
              <a:spLocks noEditPoints="1"/>
            </p:cNvSpPr>
            <p:nvPr>
              <p:custDataLst>
                <p:tags r:id="rId356"/>
              </p:custDataLst>
            </p:nvPr>
          </p:nvSpPr>
          <p:spPr bwMode="gray">
            <a:xfrm>
              <a:off x="5031575" y="4622650"/>
              <a:ext cx="249155" cy="289197"/>
            </a:xfrm>
            <a:custGeom>
              <a:avLst/>
              <a:gdLst/>
              <a:ahLst/>
              <a:cxnLst>
                <a:cxn ang="0">
                  <a:pos x="68" y="159"/>
                </a:cxn>
                <a:cxn ang="0">
                  <a:pos x="56" y="155"/>
                </a:cxn>
                <a:cxn ang="0">
                  <a:pos x="44" y="147"/>
                </a:cxn>
                <a:cxn ang="0">
                  <a:pos x="32" y="139"/>
                </a:cxn>
                <a:cxn ang="0">
                  <a:pos x="24" y="131"/>
                </a:cxn>
                <a:cxn ang="0">
                  <a:pos x="20" y="119"/>
                </a:cxn>
                <a:cxn ang="0">
                  <a:pos x="16" y="107"/>
                </a:cxn>
                <a:cxn ang="0">
                  <a:pos x="4" y="95"/>
                </a:cxn>
                <a:cxn ang="0">
                  <a:pos x="4" y="79"/>
                </a:cxn>
                <a:cxn ang="0">
                  <a:pos x="0" y="67"/>
                </a:cxn>
                <a:cxn ang="0">
                  <a:pos x="12" y="59"/>
                </a:cxn>
                <a:cxn ang="0">
                  <a:pos x="20" y="47"/>
                </a:cxn>
                <a:cxn ang="0">
                  <a:pos x="24" y="36"/>
                </a:cxn>
                <a:cxn ang="0">
                  <a:pos x="20" y="24"/>
                </a:cxn>
                <a:cxn ang="0">
                  <a:pos x="24" y="12"/>
                </a:cxn>
                <a:cxn ang="0">
                  <a:pos x="20" y="0"/>
                </a:cxn>
                <a:cxn ang="0">
                  <a:pos x="36" y="0"/>
                </a:cxn>
                <a:cxn ang="0">
                  <a:pos x="60" y="0"/>
                </a:cxn>
                <a:cxn ang="0">
                  <a:pos x="84" y="8"/>
                </a:cxn>
                <a:cxn ang="0">
                  <a:pos x="104" y="20"/>
                </a:cxn>
                <a:cxn ang="0">
                  <a:pos x="120" y="32"/>
                </a:cxn>
                <a:cxn ang="0">
                  <a:pos x="128" y="43"/>
                </a:cxn>
                <a:cxn ang="0">
                  <a:pos x="140" y="59"/>
                </a:cxn>
                <a:cxn ang="0">
                  <a:pos x="152" y="71"/>
                </a:cxn>
                <a:cxn ang="0">
                  <a:pos x="144" y="87"/>
                </a:cxn>
                <a:cxn ang="0">
                  <a:pos x="148" y="99"/>
                </a:cxn>
                <a:cxn ang="0">
                  <a:pos x="156" y="111"/>
                </a:cxn>
                <a:cxn ang="0">
                  <a:pos x="152" y="123"/>
                </a:cxn>
                <a:cxn ang="0">
                  <a:pos x="152" y="135"/>
                </a:cxn>
                <a:cxn ang="0">
                  <a:pos x="152" y="143"/>
                </a:cxn>
                <a:cxn ang="0">
                  <a:pos x="156" y="151"/>
                </a:cxn>
                <a:cxn ang="0">
                  <a:pos x="160" y="167"/>
                </a:cxn>
                <a:cxn ang="0">
                  <a:pos x="168" y="167"/>
                </a:cxn>
                <a:cxn ang="0">
                  <a:pos x="160" y="179"/>
                </a:cxn>
                <a:cxn ang="0">
                  <a:pos x="152" y="187"/>
                </a:cxn>
                <a:cxn ang="0">
                  <a:pos x="136" y="191"/>
                </a:cxn>
                <a:cxn ang="0">
                  <a:pos x="128" y="191"/>
                </a:cxn>
                <a:cxn ang="0">
                  <a:pos x="124" y="195"/>
                </a:cxn>
                <a:cxn ang="0">
                  <a:pos x="108" y="195"/>
                </a:cxn>
                <a:cxn ang="0">
                  <a:pos x="92" y="195"/>
                </a:cxn>
                <a:cxn ang="0">
                  <a:pos x="84" y="187"/>
                </a:cxn>
                <a:cxn ang="0">
                  <a:pos x="84" y="175"/>
                </a:cxn>
                <a:cxn ang="0">
                  <a:pos x="80" y="163"/>
                </a:cxn>
                <a:cxn ang="0">
                  <a:pos x="160" y="75"/>
                </a:cxn>
                <a:cxn ang="0">
                  <a:pos x="160" y="83"/>
                </a:cxn>
                <a:cxn ang="0">
                  <a:pos x="152" y="91"/>
                </a:cxn>
                <a:cxn ang="0">
                  <a:pos x="156" y="95"/>
                </a:cxn>
                <a:cxn ang="0">
                  <a:pos x="152" y="91"/>
                </a:cxn>
                <a:cxn ang="0">
                  <a:pos x="156" y="127"/>
                </a:cxn>
              </a:cxnLst>
              <a:rect l="0" t="0" r="r" b="b"/>
              <a:pathLst>
                <a:path w="168" h="195">
                  <a:moveTo>
                    <a:pt x="76" y="155"/>
                  </a:moveTo>
                  <a:lnTo>
                    <a:pt x="72" y="155"/>
                  </a:lnTo>
                  <a:lnTo>
                    <a:pt x="72" y="159"/>
                  </a:lnTo>
                  <a:lnTo>
                    <a:pt x="68" y="159"/>
                  </a:lnTo>
                  <a:lnTo>
                    <a:pt x="64" y="159"/>
                  </a:lnTo>
                  <a:lnTo>
                    <a:pt x="64" y="155"/>
                  </a:lnTo>
                  <a:lnTo>
                    <a:pt x="60" y="155"/>
                  </a:lnTo>
                  <a:lnTo>
                    <a:pt x="56" y="155"/>
                  </a:lnTo>
                  <a:lnTo>
                    <a:pt x="52" y="151"/>
                  </a:lnTo>
                  <a:lnTo>
                    <a:pt x="48" y="151"/>
                  </a:lnTo>
                  <a:lnTo>
                    <a:pt x="48" y="147"/>
                  </a:lnTo>
                  <a:lnTo>
                    <a:pt x="44" y="147"/>
                  </a:lnTo>
                  <a:lnTo>
                    <a:pt x="40" y="147"/>
                  </a:lnTo>
                  <a:lnTo>
                    <a:pt x="40" y="143"/>
                  </a:lnTo>
                  <a:lnTo>
                    <a:pt x="36" y="143"/>
                  </a:lnTo>
                  <a:lnTo>
                    <a:pt x="32" y="139"/>
                  </a:lnTo>
                  <a:lnTo>
                    <a:pt x="28" y="139"/>
                  </a:lnTo>
                  <a:lnTo>
                    <a:pt x="24" y="139"/>
                  </a:lnTo>
                  <a:lnTo>
                    <a:pt x="24" y="135"/>
                  </a:lnTo>
                  <a:lnTo>
                    <a:pt x="24" y="131"/>
                  </a:lnTo>
                  <a:lnTo>
                    <a:pt x="24" y="127"/>
                  </a:lnTo>
                  <a:lnTo>
                    <a:pt x="20" y="127"/>
                  </a:lnTo>
                  <a:lnTo>
                    <a:pt x="20" y="123"/>
                  </a:lnTo>
                  <a:lnTo>
                    <a:pt x="20" y="119"/>
                  </a:lnTo>
                  <a:lnTo>
                    <a:pt x="16" y="119"/>
                  </a:lnTo>
                  <a:lnTo>
                    <a:pt x="16" y="115"/>
                  </a:lnTo>
                  <a:lnTo>
                    <a:pt x="16" y="111"/>
                  </a:lnTo>
                  <a:lnTo>
                    <a:pt x="16" y="107"/>
                  </a:lnTo>
                  <a:lnTo>
                    <a:pt x="12" y="107"/>
                  </a:lnTo>
                  <a:lnTo>
                    <a:pt x="8" y="103"/>
                  </a:lnTo>
                  <a:lnTo>
                    <a:pt x="4" y="99"/>
                  </a:lnTo>
                  <a:lnTo>
                    <a:pt x="4" y="95"/>
                  </a:lnTo>
                  <a:lnTo>
                    <a:pt x="4" y="91"/>
                  </a:lnTo>
                  <a:lnTo>
                    <a:pt x="4" y="87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5"/>
                  </a:lnTo>
                  <a:lnTo>
                    <a:pt x="0" y="75"/>
                  </a:lnTo>
                  <a:lnTo>
                    <a:pt x="0" y="71"/>
                  </a:lnTo>
                  <a:lnTo>
                    <a:pt x="0" y="67"/>
                  </a:lnTo>
                  <a:lnTo>
                    <a:pt x="4" y="67"/>
                  </a:lnTo>
                  <a:lnTo>
                    <a:pt x="4" y="63"/>
                  </a:lnTo>
                  <a:lnTo>
                    <a:pt x="8" y="63"/>
                  </a:lnTo>
                  <a:lnTo>
                    <a:pt x="12" y="59"/>
                  </a:lnTo>
                  <a:lnTo>
                    <a:pt x="16" y="55"/>
                  </a:lnTo>
                  <a:lnTo>
                    <a:pt x="16" y="51"/>
                  </a:lnTo>
                  <a:lnTo>
                    <a:pt x="16" y="47"/>
                  </a:lnTo>
                  <a:lnTo>
                    <a:pt x="20" y="47"/>
                  </a:lnTo>
                  <a:lnTo>
                    <a:pt x="20" y="43"/>
                  </a:lnTo>
                  <a:lnTo>
                    <a:pt x="24" y="43"/>
                  </a:lnTo>
                  <a:lnTo>
                    <a:pt x="24" y="39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72" y="0"/>
                  </a:lnTo>
                  <a:lnTo>
                    <a:pt x="80" y="4"/>
                  </a:lnTo>
                  <a:lnTo>
                    <a:pt x="84" y="8"/>
                  </a:lnTo>
                  <a:lnTo>
                    <a:pt x="92" y="12"/>
                  </a:lnTo>
                  <a:lnTo>
                    <a:pt x="96" y="16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12" y="28"/>
                  </a:lnTo>
                  <a:lnTo>
                    <a:pt x="120" y="32"/>
                  </a:lnTo>
                  <a:lnTo>
                    <a:pt x="124" y="36"/>
                  </a:lnTo>
                  <a:lnTo>
                    <a:pt x="128" y="36"/>
                  </a:lnTo>
                  <a:lnTo>
                    <a:pt x="128" y="39"/>
                  </a:lnTo>
                  <a:lnTo>
                    <a:pt x="128" y="43"/>
                  </a:lnTo>
                  <a:lnTo>
                    <a:pt x="128" y="47"/>
                  </a:lnTo>
                  <a:lnTo>
                    <a:pt x="132" y="47"/>
                  </a:lnTo>
                  <a:lnTo>
                    <a:pt x="140" y="55"/>
                  </a:lnTo>
                  <a:lnTo>
                    <a:pt x="140" y="59"/>
                  </a:lnTo>
                  <a:lnTo>
                    <a:pt x="144" y="59"/>
                  </a:lnTo>
                  <a:lnTo>
                    <a:pt x="148" y="63"/>
                  </a:lnTo>
                  <a:lnTo>
                    <a:pt x="152" y="67"/>
                  </a:lnTo>
                  <a:lnTo>
                    <a:pt x="152" y="71"/>
                  </a:lnTo>
                  <a:lnTo>
                    <a:pt x="148" y="75"/>
                  </a:lnTo>
                  <a:lnTo>
                    <a:pt x="148" y="79"/>
                  </a:lnTo>
                  <a:lnTo>
                    <a:pt x="148" y="83"/>
                  </a:lnTo>
                  <a:lnTo>
                    <a:pt x="144" y="87"/>
                  </a:lnTo>
                  <a:lnTo>
                    <a:pt x="144" y="91"/>
                  </a:lnTo>
                  <a:lnTo>
                    <a:pt x="144" y="95"/>
                  </a:lnTo>
                  <a:lnTo>
                    <a:pt x="144" y="99"/>
                  </a:lnTo>
                  <a:lnTo>
                    <a:pt x="148" y="99"/>
                  </a:lnTo>
                  <a:lnTo>
                    <a:pt x="152" y="103"/>
                  </a:lnTo>
                  <a:lnTo>
                    <a:pt x="152" y="107"/>
                  </a:lnTo>
                  <a:lnTo>
                    <a:pt x="156" y="107"/>
                  </a:lnTo>
                  <a:lnTo>
                    <a:pt x="156" y="111"/>
                  </a:lnTo>
                  <a:lnTo>
                    <a:pt x="156" y="115"/>
                  </a:lnTo>
                  <a:lnTo>
                    <a:pt x="152" y="115"/>
                  </a:lnTo>
                  <a:lnTo>
                    <a:pt x="152" y="119"/>
                  </a:lnTo>
                  <a:lnTo>
                    <a:pt x="152" y="123"/>
                  </a:lnTo>
                  <a:lnTo>
                    <a:pt x="156" y="123"/>
                  </a:lnTo>
                  <a:lnTo>
                    <a:pt x="156" y="127"/>
                  </a:lnTo>
                  <a:lnTo>
                    <a:pt x="152" y="131"/>
                  </a:lnTo>
                  <a:lnTo>
                    <a:pt x="152" y="135"/>
                  </a:lnTo>
                  <a:lnTo>
                    <a:pt x="152" y="131"/>
                  </a:lnTo>
                  <a:lnTo>
                    <a:pt x="152" y="135"/>
                  </a:lnTo>
                  <a:lnTo>
                    <a:pt x="152" y="139"/>
                  </a:lnTo>
                  <a:lnTo>
                    <a:pt x="152" y="143"/>
                  </a:lnTo>
                  <a:lnTo>
                    <a:pt x="156" y="143"/>
                  </a:lnTo>
                  <a:lnTo>
                    <a:pt x="152" y="143"/>
                  </a:lnTo>
                  <a:lnTo>
                    <a:pt x="156" y="147"/>
                  </a:lnTo>
                  <a:lnTo>
                    <a:pt x="156" y="151"/>
                  </a:lnTo>
                  <a:lnTo>
                    <a:pt x="160" y="155"/>
                  </a:lnTo>
                  <a:lnTo>
                    <a:pt x="160" y="159"/>
                  </a:lnTo>
                  <a:lnTo>
                    <a:pt x="160" y="163"/>
                  </a:lnTo>
                  <a:lnTo>
                    <a:pt x="160" y="167"/>
                  </a:lnTo>
                  <a:lnTo>
                    <a:pt x="164" y="167"/>
                  </a:lnTo>
                  <a:lnTo>
                    <a:pt x="164" y="171"/>
                  </a:lnTo>
                  <a:lnTo>
                    <a:pt x="168" y="171"/>
                  </a:lnTo>
                  <a:lnTo>
                    <a:pt x="168" y="167"/>
                  </a:lnTo>
                  <a:lnTo>
                    <a:pt x="168" y="171"/>
                  </a:lnTo>
                  <a:lnTo>
                    <a:pt x="168" y="175"/>
                  </a:lnTo>
                  <a:lnTo>
                    <a:pt x="164" y="179"/>
                  </a:lnTo>
                  <a:lnTo>
                    <a:pt x="160" y="179"/>
                  </a:lnTo>
                  <a:lnTo>
                    <a:pt x="160" y="183"/>
                  </a:lnTo>
                  <a:lnTo>
                    <a:pt x="156" y="183"/>
                  </a:lnTo>
                  <a:lnTo>
                    <a:pt x="152" y="183"/>
                  </a:lnTo>
                  <a:lnTo>
                    <a:pt x="152" y="187"/>
                  </a:lnTo>
                  <a:lnTo>
                    <a:pt x="148" y="187"/>
                  </a:lnTo>
                  <a:lnTo>
                    <a:pt x="144" y="187"/>
                  </a:lnTo>
                  <a:lnTo>
                    <a:pt x="140" y="191"/>
                  </a:lnTo>
                  <a:lnTo>
                    <a:pt x="136" y="191"/>
                  </a:lnTo>
                  <a:lnTo>
                    <a:pt x="136" y="187"/>
                  </a:lnTo>
                  <a:lnTo>
                    <a:pt x="132" y="187"/>
                  </a:lnTo>
                  <a:lnTo>
                    <a:pt x="132" y="191"/>
                  </a:lnTo>
                  <a:lnTo>
                    <a:pt x="128" y="191"/>
                  </a:lnTo>
                  <a:lnTo>
                    <a:pt x="132" y="191"/>
                  </a:lnTo>
                  <a:lnTo>
                    <a:pt x="132" y="195"/>
                  </a:lnTo>
                  <a:lnTo>
                    <a:pt x="128" y="195"/>
                  </a:lnTo>
                  <a:lnTo>
                    <a:pt x="124" y="195"/>
                  </a:lnTo>
                  <a:lnTo>
                    <a:pt x="120" y="195"/>
                  </a:lnTo>
                  <a:lnTo>
                    <a:pt x="116" y="195"/>
                  </a:lnTo>
                  <a:lnTo>
                    <a:pt x="112" y="195"/>
                  </a:lnTo>
                  <a:lnTo>
                    <a:pt x="108" y="195"/>
                  </a:lnTo>
                  <a:lnTo>
                    <a:pt x="104" y="195"/>
                  </a:lnTo>
                  <a:lnTo>
                    <a:pt x="100" y="191"/>
                  </a:lnTo>
                  <a:lnTo>
                    <a:pt x="96" y="195"/>
                  </a:lnTo>
                  <a:lnTo>
                    <a:pt x="92" y="195"/>
                  </a:lnTo>
                  <a:lnTo>
                    <a:pt x="88" y="195"/>
                  </a:lnTo>
                  <a:lnTo>
                    <a:pt x="88" y="191"/>
                  </a:lnTo>
                  <a:lnTo>
                    <a:pt x="84" y="191"/>
                  </a:lnTo>
                  <a:lnTo>
                    <a:pt x="84" y="187"/>
                  </a:lnTo>
                  <a:lnTo>
                    <a:pt x="80" y="187"/>
                  </a:lnTo>
                  <a:lnTo>
                    <a:pt x="80" y="183"/>
                  </a:lnTo>
                  <a:lnTo>
                    <a:pt x="84" y="179"/>
                  </a:lnTo>
                  <a:lnTo>
                    <a:pt x="84" y="175"/>
                  </a:lnTo>
                  <a:lnTo>
                    <a:pt x="80" y="175"/>
                  </a:lnTo>
                  <a:lnTo>
                    <a:pt x="80" y="171"/>
                  </a:lnTo>
                  <a:lnTo>
                    <a:pt x="80" y="167"/>
                  </a:lnTo>
                  <a:lnTo>
                    <a:pt x="80" y="163"/>
                  </a:lnTo>
                  <a:lnTo>
                    <a:pt x="76" y="163"/>
                  </a:lnTo>
                  <a:lnTo>
                    <a:pt x="76" y="159"/>
                  </a:lnTo>
                  <a:lnTo>
                    <a:pt x="76" y="155"/>
                  </a:lnTo>
                  <a:close/>
                  <a:moveTo>
                    <a:pt x="160" y="75"/>
                  </a:moveTo>
                  <a:lnTo>
                    <a:pt x="160" y="71"/>
                  </a:lnTo>
                  <a:lnTo>
                    <a:pt x="160" y="75"/>
                  </a:lnTo>
                  <a:lnTo>
                    <a:pt x="160" y="79"/>
                  </a:lnTo>
                  <a:lnTo>
                    <a:pt x="160" y="83"/>
                  </a:lnTo>
                  <a:lnTo>
                    <a:pt x="156" y="79"/>
                  </a:lnTo>
                  <a:lnTo>
                    <a:pt x="160" y="79"/>
                  </a:lnTo>
                  <a:lnTo>
                    <a:pt x="160" y="75"/>
                  </a:lnTo>
                  <a:close/>
                  <a:moveTo>
                    <a:pt x="152" y="91"/>
                  </a:moveTo>
                  <a:lnTo>
                    <a:pt x="152" y="87"/>
                  </a:lnTo>
                  <a:lnTo>
                    <a:pt x="152" y="91"/>
                  </a:lnTo>
                  <a:lnTo>
                    <a:pt x="156" y="91"/>
                  </a:lnTo>
                  <a:lnTo>
                    <a:pt x="156" y="95"/>
                  </a:lnTo>
                  <a:lnTo>
                    <a:pt x="156" y="99"/>
                  </a:lnTo>
                  <a:lnTo>
                    <a:pt x="156" y="95"/>
                  </a:lnTo>
                  <a:lnTo>
                    <a:pt x="152" y="95"/>
                  </a:lnTo>
                  <a:lnTo>
                    <a:pt x="152" y="91"/>
                  </a:lnTo>
                  <a:close/>
                  <a:moveTo>
                    <a:pt x="156" y="127"/>
                  </a:moveTo>
                  <a:lnTo>
                    <a:pt x="160" y="123"/>
                  </a:lnTo>
                  <a:lnTo>
                    <a:pt x="160" y="127"/>
                  </a:lnTo>
                  <a:lnTo>
                    <a:pt x="156" y="12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4" name="Freeform 162"/>
            <p:cNvSpPr>
              <a:spLocks/>
            </p:cNvSpPr>
            <p:nvPr>
              <p:custDataLst>
                <p:tags r:id="rId357"/>
              </p:custDataLst>
            </p:nvPr>
          </p:nvSpPr>
          <p:spPr bwMode="gray">
            <a:xfrm>
              <a:off x="3996396" y="4219256"/>
              <a:ext cx="71187" cy="17797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0" y="4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12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2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36" y="8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4"/>
                </a:cxn>
                <a:cxn ang="0">
                  <a:pos x="48" y="4"/>
                </a:cxn>
                <a:cxn ang="0">
                  <a:pos x="48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36" y="8"/>
                </a:cxn>
                <a:cxn ang="0">
                  <a:pos x="32" y="8"/>
                </a:cxn>
                <a:cxn ang="0">
                  <a:pos x="32" y="8"/>
                </a:cxn>
                <a:cxn ang="0">
                  <a:pos x="28" y="8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0" y="8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4"/>
                </a:cxn>
              </a:cxnLst>
              <a:rect l="0" t="0" r="r" b="b"/>
              <a:pathLst>
                <a:path w="48" h="12"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5" name="Freeform 163"/>
            <p:cNvSpPr>
              <a:spLocks/>
            </p:cNvSpPr>
            <p:nvPr>
              <p:custDataLst>
                <p:tags r:id="rId358"/>
              </p:custDataLst>
            </p:nvPr>
          </p:nvSpPr>
          <p:spPr bwMode="gray">
            <a:xfrm>
              <a:off x="4370128" y="4290443"/>
              <a:ext cx="47458" cy="142374"/>
            </a:xfrm>
            <a:custGeom>
              <a:avLst/>
              <a:gdLst/>
              <a:ahLst/>
              <a:cxnLst>
                <a:cxn ang="0">
                  <a:pos x="28" y="72"/>
                </a:cxn>
                <a:cxn ang="0">
                  <a:pos x="28" y="80"/>
                </a:cxn>
                <a:cxn ang="0">
                  <a:pos x="28" y="84"/>
                </a:cxn>
                <a:cxn ang="0">
                  <a:pos x="28" y="84"/>
                </a:cxn>
                <a:cxn ang="0">
                  <a:pos x="32" y="88"/>
                </a:cxn>
                <a:cxn ang="0">
                  <a:pos x="28" y="92"/>
                </a:cxn>
                <a:cxn ang="0">
                  <a:pos x="28" y="92"/>
                </a:cxn>
                <a:cxn ang="0">
                  <a:pos x="24" y="92"/>
                </a:cxn>
                <a:cxn ang="0">
                  <a:pos x="20" y="92"/>
                </a:cxn>
                <a:cxn ang="0">
                  <a:pos x="16" y="88"/>
                </a:cxn>
                <a:cxn ang="0">
                  <a:pos x="16" y="88"/>
                </a:cxn>
                <a:cxn ang="0">
                  <a:pos x="16" y="84"/>
                </a:cxn>
                <a:cxn ang="0">
                  <a:pos x="12" y="84"/>
                </a:cxn>
                <a:cxn ang="0">
                  <a:pos x="12" y="76"/>
                </a:cxn>
                <a:cxn ang="0">
                  <a:pos x="12" y="72"/>
                </a:cxn>
                <a:cxn ang="0">
                  <a:pos x="12" y="68"/>
                </a:cxn>
                <a:cxn ang="0">
                  <a:pos x="12" y="68"/>
                </a:cxn>
                <a:cxn ang="0">
                  <a:pos x="12" y="56"/>
                </a:cxn>
                <a:cxn ang="0">
                  <a:pos x="16" y="52"/>
                </a:cxn>
                <a:cxn ang="0">
                  <a:pos x="12" y="52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20" y="20"/>
                </a:cxn>
                <a:cxn ang="0">
                  <a:pos x="24" y="24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8" y="36"/>
                </a:cxn>
                <a:cxn ang="0">
                  <a:pos x="28" y="36"/>
                </a:cxn>
                <a:cxn ang="0">
                  <a:pos x="28" y="44"/>
                </a:cxn>
                <a:cxn ang="0">
                  <a:pos x="28" y="52"/>
                </a:cxn>
                <a:cxn ang="0">
                  <a:pos x="28" y="68"/>
                </a:cxn>
              </a:cxnLst>
              <a:rect l="0" t="0" r="r" b="b"/>
              <a:pathLst>
                <a:path w="32" h="96">
                  <a:moveTo>
                    <a:pt x="28" y="68"/>
                  </a:moveTo>
                  <a:lnTo>
                    <a:pt x="28" y="68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8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6" name="Freeform 164"/>
            <p:cNvSpPr>
              <a:spLocks noEditPoints="1"/>
            </p:cNvSpPr>
            <p:nvPr>
              <p:custDataLst>
                <p:tags r:id="rId359"/>
              </p:custDataLst>
            </p:nvPr>
          </p:nvSpPr>
          <p:spPr bwMode="gray">
            <a:xfrm>
              <a:off x="4540681" y="3544462"/>
              <a:ext cx="94916" cy="213561"/>
            </a:xfrm>
            <a:custGeom>
              <a:avLst/>
              <a:gdLst/>
              <a:ahLst/>
              <a:cxnLst>
                <a:cxn ang="0">
                  <a:pos x="44" y="12"/>
                </a:cxn>
                <a:cxn ang="0">
                  <a:pos x="48" y="12"/>
                </a:cxn>
                <a:cxn ang="0">
                  <a:pos x="48" y="8"/>
                </a:cxn>
                <a:cxn ang="0">
                  <a:pos x="52" y="8"/>
                </a:cxn>
                <a:cxn ang="0">
                  <a:pos x="52" y="16"/>
                </a:cxn>
                <a:cxn ang="0">
                  <a:pos x="52" y="20"/>
                </a:cxn>
                <a:cxn ang="0">
                  <a:pos x="48" y="20"/>
                </a:cxn>
                <a:cxn ang="0">
                  <a:pos x="48" y="32"/>
                </a:cxn>
                <a:cxn ang="0">
                  <a:pos x="52" y="36"/>
                </a:cxn>
                <a:cxn ang="0">
                  <a:pos x="56" y="36"/>
                </a:cxn>
                <a:cxn ang="0">
                  <a:pos x="56" y="44"/>
                </a:cxn>
                <a:cxn ang="0">
                  <a:pos x="52" y="56"/>
                </a:cxn>
                <a:cxn ang="0">
                  <a:pos x="48" y="60"/>
                </a:cxn>
                <a:cxn ang="0">
                  <a:pos x="40" y="64"/>
                </a:cxn>
                <a:cxn ang="0">
                  <a:pos x="40" y="68"/>
                </a:cxn>
                <a:cxn ang="0">
                  <a:pos x="44" y="76"/>
                </a:cxn>
                <a:cxn ang="0">
                  <a:pos x="48" y="76"/>
                </a:cxn>
                <a:cxn ang="0">
                  <a:pos x="52" y="80"/>
                </a:cxn>
                <a:cxn ang="0">
                  <a:pos x="56" y="76"/>
                </a:cxn>
                <a:cxn ang="0">
                  <a:pos x="56" y="80"/>
                </a:cxn>
                <a:cxn ang="0">
                  <a:pos x="60" y="84"/>
                </a:cxn>
                <a:cxn ang="0">
                  <a:pos x="64" y="88"/>
                </a:cxn>
                <a:cxn ang="0">
                  <a:pos x="64" y="96"/>
                </a:cxn>
                <a:cxn ang="0">
                  <a:pos x="64" y="100"/>
                </a:cxn>
                <a:cxn ang="0">
                  <a:pos x="52" y="108"/>
                </a:cxn>
                <a:cxn ang="0">
                  <a:pos x="48" y="112"/>
                </a:cxn>
                <a:cxn ang="0">
                  <a:pos x="40" y="116"/>
                </a:cxn>
                <a:cxn ang="0">
                  <a:pos x="44" y="132"/>
                </a:cxn>
                <a:cxn ang="0">
                  <a:pos x="36" y="140"/>
                </a:cxn>
                <a:cxn ang="0">
                  <a:pos x="32" y="132"/>
                </a:cxn>
                <a:cxn ang="0">
                  <a:pos x="24" y="108"/>
                </a:cxn>
                <a:cxn ang="0">
                  <a:pos x="16" y="96"/>
                </a:cxn>
                <a:cxn ang="0">
                  <a:pos x="12" y="88"/>
                </a:cxn>
                <a:cxn ang="0">
                  <a:pos x="4" y="84"/>
                </a:cxn>
                <a:cxn ang="0">
                  <a:pos x="4" y="72"/>
                </a:cxn>
                <a:cxn ang="0">
                  <a:pos x="4" y="68"/>
                </a:cxn>
                <a:cxn ang="0">
                  <a:pos x="4" y="64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6" y="44"/>
                </a:cxn>
                <a:cxn ang="0">
                  <a:pos x="16" y="36"/>
                </a:cxn>
                <a:cxn ang="0">
                  <a:pos x="12" y="32"/>
                </a:cxn>
                <a:cxn ang="0">
                  <a:pos x="16" y="24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4"/>
                </a:cxn>
                <a:cxn ang="0">
                  <a:pos x="36" y="0"/>
                </a:cxn>
                <a:cxn ang="0">
                  <a:pos x="36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56" y="52"/>
                </a:cxn>
                <a:cxn ang="0">
                  <a:pos x="60" y="52"/>
                </a:cxn>
                <a:cxn ang="0">
                  <a:pos x="52" y="76"/>
                </a:cxn>
                <a:cxn ang="0">
                  <a:pos x="52" y="72"/>
                </a:cxn>
                <a:cxn ang="0">
                  <a:pos x="52" y="72"/>
                </a:cxn>
                <a:cxn ang="0">
                  <a:pos x="56" y="72"/>
                </a:cxn>
                <a:cxn ang="0">
                  <a:pos x="52" y="76"/>
                </a:cxn>
              </a:cxnLst>
              <a:rect l="0" t="0" r="r" b="b"/>
              <a:pathLst>
                <a:path w="64" h="144">
                  <a:moveTo>
                    <a:pt x="44" y="8"/>
                  </a:move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4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0" y="116"/>
                  </a:lnTo>
                  <a:lnTo>
                    <a:pt x="40" y="120"/>
                  </a:lnTo>
                  <a:lnTo>
                    <a:pt x="44" y="120"/>
                  </a:lnTo>
                  <a:lnTo>
                    <a:pt x="44" y="124"/>
                  </a:lnTo>
                  <a:lnTo>
                    <a:pt x="44" y="128"/>
                  </a:lnTo>
                  <a:lnTo>
                    <a:pt x="44" y="128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0" y="136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0"/>
                  </a:lnTo>
                  <a:lnTo>
                    <a:pt x="32" y="136"/>
                  </a:lnTo>
                  <a:lnTo>
                    <a:pt x="32" y="136"/>
                  </a:lnTo>
                  <a:lnTo>
                    <a:pt x="32" y="132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16"/>
                  </a:lnTo>
                  <a:lnTo>
                    <a:pt x="28" y="116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4" y="104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close/>
                  <a:moveTo>
                    <a:pt x="56" y="56"/>
                  </a:moveTo>
                  <a:lnTo>
                    <a:pt x="56" y="56"/>
                  </a:lnTo>
                  <a:lnTo>
                    <a:pt x="56" y="56"/>
                  </a:lnTo>
                  <a:lnTo>
                    <a:pt x="56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close/>
                  <a:moveTo>
                    <a:pt x="52" y="76"/>
                  </a:moveTo>
                  <a:lnTo>
                    <a:pt x="52" y="76"/>
                  </a:lnTo>
                  <a:lnTo>
                    <a:pt x="52" y="76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7" name="Freeform 165"/>
            <p:cNvSpPr>
              <a:spLocks/>
            </p:cNvSpPr>
            <p:nvPr>
              <p:custDataLst>
                <p:tags r:id="rId360"/>
              </p:custDataLst>
            </p:nvPr>
          </p:nvSpPr>
          <p:spPr bwMode="gray">
            <a:xfrm>
              <a:off x="5037507" y="4480276"/>
              <a:ext cx="124577" cy="154239"/>
            </a:xfrm>
            <a:custGeom>
              <a:avLst/>
              <a:gdLst/>
              <a:ahLst/>
              <a:cxnLst>
                <a:cxn ang="0">
                  <a:pos x="44" y="96"/>
                </a:cxn>
                <a:cxn ang="0">
                  <a:pos x="24" y="96"/>
                </a:cxn>
                <a:cxn ang="0">
                  <a:pos x="16" y="96"/>
                </a:cxn>
                <a:cxn ang="0">
                  <a:pos x="12" y="100"/>
                </a:cxn>
                <a:cxn ang="0">
                  <a:pos x="8" y="104"/>
                </a:cxn>
                <a:cxn ang="0">
                  <a:pos x="4" y="104"/>
                </a:cxn>
                <a:cxn ang="0">
                  <a:pos x="4" y="104"/>
                </a:cxn>
                <a:cxn ang="0">
                  <a:pos x="0" y="104"/>
                </a:cxn>
                <a:cxn ang="0">
                  <a:pos x="0" y="96"/>
                </a:cxn>
                <a:cxn ang="0">
                  <a:pos x="4" y="88"/>
                </a:cxn>
                <a:cxn ang="0">
                  <a:pos x="4" y="80"/>
                </a:cxn>
                <a:cxn ang="0">
                  <a:pos x="4" y="76"/>
                </a:cxn>
                <a:cxn ang="0">
                  <a:pos x="8" y="68"/>
                </a:cxn>
                <a:cxn ang="0">
                  <a:pos x="8" y="64"/>
                </a:cxn>
                <a:cxn ang="0">
                  <a:pos x="8" y="60"/>
                </a:cxn>
                <a:cxn ang="0">
                  <a:pos x="12" y="56"/>
                </a:cxn>
                <a:cxn ang="0">
                  <a:pos x="16" y="56"/>
                </a:cxn>
                <a:cxn ang="0">
                  <a:pos x="24" y="44"/>
                </a:cxn>
                <a:cxn ang="0">
                  <a:pos x="24" y="36"/>
                </a:cxn>
                <a:cxn ang="0">
                  <a:pos x="20" y="36"/>
                </a:cxn>
                <a:cxn ang="0">
                  <a:pos x="20" y="32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8" y="8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52" y="8"/>
                </a:cxn>
                <a:cxn ang="0">
                  <a:pos x="60" y="8"/>
                </a:cxn>
                <a:cxn ang="0">
                  <a:pos x="68" y="0"/>
                </a:cxn>
                <a:cxn ang="0">
                  <a:pos x="72" y="8"/>
                </a:cxn>
                <a:cxn ang="0">
                  <a:pos x="76" y="12"/>
                </a:cxn>
                <a:cxn ang="0">
                  <a:pos x="76" y="20"/>
                </a:cxn>
                <a:cxn ang="0">
                  <a:pos x="80" y="24"/>
                </a:cxn>
                <a:cxn ang="0">
                  <a:pos x="80" y="28"/>
                </a:cxn>
                <a:cxn ang="0">
                  <a:pos x="80" y="36"/>
                </a:cxn>
                <a:cxn ang="0">
                  <a:pos x="84" y="44"/>
                </a:cxn>
                <a:cxn ang="0">
                  <a:pos x="80" y="48"/>
                </a:cxn>
                <a:cxn ang="0">
                  <a:pos x="80" y="52"/>
                </a:cxn>
                <a:cxn ang="0">
                  <a:pos x="80" y="56"/>
                </a:cxn>
                <a:cxn ang="0">
                  <a:pos x="80" y="56"/>
                </a:cxn>
                <a:cxn ang="0">
                  <a:pos x="76" y="60"/>
                </a:cxn>
                <a:cxn ang="0">
                  <a:pos x="76" y="64"/>
                </a:cxn>
                <a:cxn ang="0">
                  <a:pos x="68" y="72"/>
                </a:cxn>
                <a:cxn ang="0">
                  <a:pos x="68" y="76"/>
                </a:cxn>
                <a:cxn ang="0">
                  <a:pos x="68" y="84"/>
                </a:cxn>
                <a:cxn ang="0">
                  <a:pos x="60" y="96"/>
                </a:cxn>
                <a:cxn ang="0">
                  <a:pos x="56" y="96"/>
                </a:cxn>
              </a:cxnLst>
              <a:rect l="0" t="0" r="r" b="b"/>
              <a:pathLst>
                <a:path w="84" h="104">
                  <a:moveTo>
                    <a:pt x="52" y="96"/>
                  </a:move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4" y="96"/>
                  </a:lnTo>
                  <a:lnTo>
                    <a:pt x="32" y="96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2" y="96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20" y="48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44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96"/>
                  </a:lnTo>
                  <a:lnTo>
                    <a:pt x="68" y="96"/>
                  </a:lnTo>
                  <a:lnTo>
                    <a:pt x="68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2" y="96"/>
                  </a:lnTo>
                  <a:lnTo>
                    <a:pt x="52" y="9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8" name="Freeform 166"/>
            <p:cNvSpPr>
              <a:spLocks/>
            </p:cNvSpPr>
            <p:nvPr>
              <p:custDataLst>
                <p:tags r:id="rId361"/>
              </p:custDataLst>
            </p:nvPr>
          </p:nvSpPr>
          <p:spPr bwMode="gray">
            <a:xfrm>
              <a:off x="3990464" y="3829210"/>
              <a:ext cx="189832" cy="195764"/>
            </a:xfrm>
            <a:custGeom>
              <a:avLst/>
              <a:gdLst/>
              <a:ahLst/>
              <a:cxnLst>
                <a:cxn ang="0">
                  <a:pos x="0" y="128"/>
                </a:cxn>
                <a:cxn ang="0">
                  <a:pos x="0" y="120"/>
                </a:cxn>
                <a:cxn ang="0">
                  <a:pos x="4" y="116"/>
                </a:cxn>
                <a:cxn ang="0">
                  <a:pos x="4" y="112"/>
                </a:cxn>
                <a:cxn ang="0">
                  <a:pos x="8" y="104"/>
                </a:cxn>
                <a:cxn ang="0">
                  <a:pos x="12" y="104"/>
                </a:cxn>
                <a:cxn ang="0">
                  <a:pos x="12" y="100"/>
                </a:cxn>
                <a:cxn ang="0">
                  <a:pos x="12" y="96"/>
                </a:cxn>
                <a:cxn ang="0">
                  <a:pos x="16" y="92"/>
                </a:cxn>
                <a:cxn ang="0">
                  <a:pos x="16" y="88"/>
                </a:cxn>
                <a:cxn ang="0">
                  <a:pos x="16" y="84"/>
                </a:cxn>
                <a:cxn ang="0">
                  <a:pos x="16" y="84"/>
                </a:cxn>
                <a:cxn ang="0">
                  <a:pos x="20" y="80"/>
                </a:cxn>
                <a:cxn ang="0">
                  <a:pos x="20" y="76"/>
                </a:cxn>
                <a:cxn ang="0">
                  <a:pos x="20" y="76"/>
                </a:cxn>
                <a:cxn ang="0">
                  <a:pos x="20" y="76"/>
                </a:cxn>
                <a:cxn ang="0">
                  <a:pos x="20" y="72"/>
                </a:cxn>
                <a:cxn ang="0">
                  <a:pos x="28" y="68"/>
                </a:cxn>
                <a:cxn ang="0">
                  <a:pos x="28" y="64"/>
                </a:cxn>
                <a:cxn ang="0">
                  <a:pos x="32" y="60"/>
                </a:cxn>
                <a:cxn ang="0">
                  <a:pos x="36" y="56"/>
                </a:cxn>
                <a:cxn ang="0">
                  <a:pos x="36" y="52"/>
                </a:cxn>
                <a:cxn ang="0">
                  <a:pos x="36" y="44"/>
                </a:cxn>
                <a:cxn ang="0">
                  <a:pos x="36" y="36"/>
                </a:cxn>
                <a:cxn ang="0">
                  <a:pos x="40" y="36"/>
                </a:cxn>
                <a:cxn ang="0">
                  <a:pos x="40" y="32"/>
                </a:cxn>
                <a:cxn ang="0">
                  <a:pos x="40" y="32"/>
                </a:cxn>
                <a:cxn ang="0">
                  <a:pos x="44" y="28"/>
                </a:cxn>
                <a:cxn ang="0">
                  <a:pos x="44" y="28"/>
                </a:cxn>
                <a:cxn ang="0">
                  <a:pos x="48" y="24"/>
                </a:cxn>
                <a:cxn ang="0">
                  <a:pos x="52" y="20"/>
                </a:cxn>
                <a:cxn ang="0">
                  <a:pos x="56" y="16"/>
                </a:cxn>
                <a:cxn ang="0">
                  <a:pos x="56" y="12"/>
                </a:cxn>
                <a:cxn ang="0">
                  <a:pos x="56" y="8"/>
                </a:cxn>
                <a:cxn ang="0">
                  <a:pos x="60" y="4"/>
                </a:cxn>
                <a:cxn ang="0">
                  <a:pos x="60" y="0"/>
                </a:cxn>
                <a:cxn ang="0">
                  <a:pos x="108" y="0"/>
                </a:cxn>
                <a:cxn ang="0">
                  <a:pos x="112" y="0"/>
                </a:cxn>
                <a:cxn ang="0">
                  <a:pos x="128" y="0"/>
                </a:cxn>
                <a:cxn ang="0">
                  <a:pos x="128" y="16"/>
                </a:cxn>
                <a:cxn ang="0">
                  <a:pos x="128" y="32"/>
                </a:cxn>
                <a:cxn ang="0">
                  <a:pos x="112" y="32"/>
                </a:cxn>
                <a:cxn ang="0">
                  <a:pos x="108" y="32"/>
                </a:cxn>
                <a:cxn ang="0">
                  <a:pos x="88" y="32"/>
                </a:cxn>
                <a:cxn ang="0">
                  <a:pos x="76" y="40"/>
                </a:cxn>
                <a:cxn ang="0">
                  <a:pos x="76" y="48"/>
                </a:cxn>
                <a:cxn ang="0">
                  <a:pos x="76" y="64"/>
                </a:cxn>
                <a:cxn ang="0">
                  <a:pos x="76" y="84"/>
                </a:cxn>
                <a:cxn ang="0">
                  <a:pos x="68" y="84"/>
                </a:cxn>
                <a:cxn ang="0">
                  <a:pos x="64" y="92"/>
                </a:cxn>
                <a:cxn ang="0">
                  <a:pos x="60" y="96"/>
                </a:cxn>
                <a:cxn ang="0">
                  <a:pos x="60" y="104"/>
                </a:cxn>
                <a:cxn ang="0">
                  <a:pos x="64" y="112"/>
                </a:cxn>
                <a:cxn ang="0">
                  <a:pos x="48" y="124"/>
                </a:cxn>
                <a:cxn ang="0">
                  <a:pos x="36" y="124"/>
                </a:cxn>
                <a:cxn ang="0">
                  <a:pos x="20" y="124"/>
                </a:cxn>
                <a:cxn ang="0">
                  <a:pos x="4" y="124"/>
                </a:cxn>
                <a:cxn ang="0">
                  <a:pos x="0" y="128"/>
                </a:cxn>
              </a:cxnLst>
              <a:rect l="0" t="0" r="r" b="b"/>
              <a:pathLst>
                <a:path w="128" h="132">
                  <a:moveTo>
                    <a:pt x="0" y="132"/>
                  </a:moveTo>
                  <a:lnTo>
                    <a:pt x="0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6" y="20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104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28" y="0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8" y="8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24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0" y="32"/>
                  </a:lnTo>
                  <a:lnTo>
                    <a:pt x="96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76" y="32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72"/>
                  </a:lnTo>
                  <a:lnTo>
                    <a:pt x="76" y="76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4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8"/>
                  </a:lnTo>
                  <a:lnTo>
                    <a:pt x="60" y="108"/>
                  </a:lnTo>
                  <a:lnTo>
                    <a:pt x="64" y="112"/>
                  </a:lnTo>
                  <a:lnTo>
                    <a:pt x="64" y="120"/>
                  </a:lnTo>
                  <a:lnTo>
                    <a:pt x="64" y="124"/>
                  </a:lnTo>
                  <a:lnTo>
                    <a:pt x="56" y="124"/>
                  </a:lnTo>
                  <a:lnTo>
                    <a:pt x="48" y="12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40" y="124"/>
                  </a:lnTo>
                  <a:lnTo>
                    <a:pt x="36" y="124"/>
                  </a:lnTo>
                  <a:lnTo>
                    <a:pt x="32" y="124"/>
                  </a:lnTo>
                  <a:lnTo>
                    <a:pt x="28" y="124"/>
                  </a:lnTo>
                  <a:lnTo>
                    <a:pt x="20" y="124"/>
                  </a:lnTo>
                  <a:lnTo>
                    <a:pt x="20" y="124"/>
                  </a:lnTo>
                  <a:lnTo>
                    <a:pt x="16" y="124"/>
                  </a:lnTo>
                  <a:lnTo>
                    <a:pt x="16" y="124"/>
                  </a:lnTo>
                  <a:lnTo>
                    <a:pt x="8" y="124"/>
                  </a:lnTo>
                  <a:lnTo>
                    <a:pt x="4" y="124"/>
                  </a:lnTo>
                  <a:lnTo>
                    <a:pt x="4" y="124"/>
                  </a:lnTo>
                  <a:lnTo>
                    <a:pt x="4" y="128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69" name="Freeform 167"/>
            <p:cNvSpPr>
              <a:spLocks/>
            </p:cNvSpPr>
            <p:nvPr>
              <p:custDataLst>
                <p:tags r:id="rId362"/>
              </p:custDataLst>
            </p:nvPr>
          </p:nvSpPr>
          <p:spPr bwMode="gray">
            <a:xfrm>
              <a:off x="4866955" y="4816931"/>
              <a:ext cx="265468" cy="272884"/>
            </a:xfrm>
            <a:custGeom>
              <a:avLst/>
              <a:gdLst/>
              <a:ahLst/>
              <a:cxnLst>
                <a:cxn ang="0">
                  <a:pos x="127" y="140"/>
                </a:cxn>
                <a:cxn ang="0">
                  <a:pos x="115" y="140"/>
                </a:cxn>
                <a:cxn ang="0">
                  <a:pos x="103" y="148"/>
                </a:cxn>
                <a:cxn ang="0">
                  <a:pos x="95" y="160"/>
                </a:cxn>
                <a:cxn ang="0">
                  <a:pos x="88" y="172"/>
                </a:cxn>
                <a:cxn ang="0">
                  <a:pos x="76" y="180"/>
                </a:cxn>
                <a:cxn ang="0">
                  <a:pos x="64" y="180"/>
                </a:cxn>
                <a:cxn ang="0">
                  <a:pos x="56" y="180"/>
                </a:cxn>
                <a:cxn ang="0">
                  <a:pos x="44" y="172"/>
                </a:cxn>
                <a:cxn ang="0">
                  <a:pos x="28" y="176"/>
                </a:cxn>
                <a:cxn ang="0">
                  <a:pos x="8" y="160"/>
                </a:cxn>
                <a:cxn ang="0">
                  <a:pos x="4" y="148"/>
                </a:cxn>
                <a:cxn ang="0">
                  <a:pos x="0" y="124"/>
                </a:cxn>
                <a:cxn ang="0">
                  <a:pos x="0" y="104"/>
                </a:cxn>
                <a:cxn ang="0">
                  <a:pos x="16" y="88"/>
                </a:cxn>
                <a:cxn ang="0">
                  <a:pos x="32" y="88"/>
                </a:cxn>
                <a:cxn ang="0">
                  <a:pos x="32" y="68"/>
                </a:cxn>
                <a:cxn ang="0">
                  <a:pos x="32" y="52"/>
                </a:cxn>
                <a:cxn ang="0">
                  <a:pos x="40" y="52"/>
                </a:cxn>
                <a:cxn ang="0">
                  <a:pos x="44" y="60"/>
                </a:cxn>
                <a:cxn ang="0">
                  <a:pos x="52" y="64"/>
                </a:cxn>
                <a:cxn ang="0">
                  <a:pos x="68" y="68"/>
                </a:cxn>
                <a:cxn ang="0">
                  <a:pos x="80" y="64"/>
                </a:cxn>
                <a:cxn ang="0">
                  <a:pos x="88" y="76"/>
                </a:cxn>
                <a:cxn ang="0">
                  <a:pos x="99" y="84"/>
                </a:cxn>
                <a:cxn ang="0">
                  <a:pos x="107" y="96"/>
                </a:cxn>
                <a:cxn ang="0">
                  <a:pos x="119" y="96"/>
                </a:cxn>
                <a:cxn ang="0">
                  <a:pos x="119" y="84"/>
                </a:cxn>
                <a:cxn ang="0">
                  <a:pos x="115" y="76"/>
                </a:cxn>
                <a:cxn ang="0">
                  <a:pos x="103" y="72"/>
                </a:cxn>
                <a:cxn ang="0">
                  <a:pos x="99" y="60"/>
                </a:cxn>
                <a:cxn ang="0">
                  <a:pos x="103" y="48"/>
                </a:cxn>
                <a:cxn ang="0">
                  <a:pos x="103" y="32"/>
                </a:cxn>
                <a:cxn ang="0">
                  <a:pos x="103" y="16"/>
                </a:cxn>
                <a:cxn ang="0">
                  <a:pos x="107" y="4"/>
                </a:cxn>
                <a:cxn ang="0">
                  <a:pos x="127" y="0"/>
                </a:cxn>
                <a:cxn ang="0">
                  <a:pos x="135" y="8"/>
                </a:cxn>
                <a:cxn ang="0">
                  <a:pos x="151" y="12"/>
                </a:cxn>
                <a:cxn ang="0">
                  <a:pos x="159" y="20"/>
                </a:cxn>
                <a:cxn ang="0">
                  <a:pos x="171" y="28"/>
                </a:cxn>
                <a:cxn ang="0">
                  <a:pos x="171" y="36"/>
                </a:cxn>
                <a:cxn ang="0">
                  <a:pos x="175" y="48"/>
                </a:cxn>
                <a:cxn ang="0">
                  <a:pos x="175" y="56"/>
                </a:cxn>
                <a:cxn ang="0">
                  <a:pos x="171" y="72"/>
                </a:cxn>
                <a:cxn ang="0">
                  <a:pos x="167" y="80"/>
                </a:cxn>
                <a:cxn ang="0">
                  <a:pos x="167" y="96"/>
                </a:cxn>
                <a:cxn ang="0">
                  <a:pos x="167" y="108"/>
                </a:cxn>
                <a:cxn ang="0">
                  <a:pos x="155" y="116"/>
                </a:cxn>
                <a:cxn ang="0">
                  <a:pos x="143" y="120"/>
                </a:cxn>
                <a:cxn ang="0">
                  <a:pos x="131" y="124"/>
                </a:cxn>
              </a:cxnLst>
              <a:rect l="0" t="0" r="r" b="b"/>
              <a:pathLst>
                <a:path w="179" h="184">
                  <a:moveTo>
                    <a:pt x="127" y="128"/>
                  </a:moveTo>
                  <a:lnTo>
                    <a:pt x="127" y="132"/>
                  </a:lnTo>
                  <a:lnTo>
                    <a:pt x="127" y="136"/>
                  </a:lnTo>
                  <a:lnTo>
                    <a:pt x="127" y="140"/>
                  </a:lnTo>
                  <a:lnTo>
                    <a:pt x="123" y="140"/>
                  </a:lnTo>
                  <a:lnTo>
                    <a:pt x="119" y="136"/>
                  </a:lnTo>
                  <a:lnTo>
                    <a:pt x="119" y="140"/>
                  </a:lnTo>
                  <a:lnTo>
                    <a:pt x="115" y="140"/>
                  </a:lnTo>
                  <a:lnTo>
                    <a:pt x="111" y="140"/>
                  </a:lnTo>
                  <a:lnTo>
                    <a:pt x="107" y="144"/>
                  </a:lnTo>
                  <a:lnTo>
                    <a:pt x="107" y="148"/>
                  </a:lnTo>
                  <a:lnTo>
                    <a:pt x="103" y="148"/>
                  </a:lnTo>
                  <a:lnTo>
                    <a:pt x="103" y="152"/>
                  </a:lnTo>
                  <a:lnTo>
                    <a:pt x="103" y="156"/>
                  </a:lnTo>
                  <a:lnTo>
                    <a:pt x="99" y="156"/>
                  </a:lnTo>
                  <a:lnTo>
                    <a:pt x="95" y="160"/>
                  </a:lnTo>
                  <a:lnTo>
                    <a:pt x="92" y="160"/>
                  </a:lnTo>
                  <a:lnTo>
                    <a:pt x="92" y="164"/>
                  </a:lnTo>
                  <a:lnTo>
                    <a:pt x="88" y="168"/>
                  </a:lnTo>
                  <a:lnTo>
                    <a:pt x="88" y="172"/>
                  </a:lnTo>
                  <a:lnTo>
                    <a:pt x="84" y="172"/>
                  </a:lnTo>
                  <a:lnTo>
                    <a:pt x="84" y="176"/>
                  </a:lnTo>
                  <a:lnTo>
                    <a:pt x="80" y="180"/>
                  </a:lnTo>
                  <a:lnTo>
                    <a:pt x="76" y="180"/>
                  </a:lnTo>
                  <a:lnTo>
                    <a:pt x="76" y="184"/>
                  </a:lnTo>
                  <a:lnTo>
                    <a:pt x="72" y="184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4" y="184"/>
                  </a:lnTo>
                  <a:lnTo>
                    <a:pt x="60" y="184"/>
                  </a:lnTo>
                  <a:lnTo>
                    <a:pt x="60" y="180"/>
                  </a:lnTo>
                  <a:lnTo>
                    <a:pt x="56" y="180"/>
                  </a:lnTo>
                  <a:lnTo>
                    <a:pt x="52" y="180"/>
                  </a:lnTo>
                  <a:lnTo>
                    <a:pt x="48" y="176"/>
                  </a:lnTo>
                  <a:lnTo>
                    <a:pt x="48" y="172"/>
                  </a:lnTo>
                  <a:lnTo>
                    <a:pt x="44" y="172"/>
                  </a:lnTo>
                  <a:lnTo>
                    <a:pt x="40" y="172"/>
                  </a:lnTo>
                  <a:lnTo>
                    <a:pt x="36" y="172"/>
                  </a:lnTo>
                  <a:lnTo>
                    <a:pt x="32" y="172"/>
                  </a:lnTo>
                  <a:lnTo>
                    <a:pt x="28" y="176"/>
                  </a:lnTo>
                  <a:lnTo>
                    <a:pt x="24" y="176"/>
                  </a:lnTo>
                  <a:lnTo>
                    <a:pt x="20" y="172"/>
                  </a:lnTo>
                  <a:lnTo>
                    <a:pt x="12" y="164"/>
                  </a:lnTo>
                  <a:lnTo>
                    <a:pt x="8" y="160"/>
                  </a:lnTo>
                  <a:lnTo>
                    <a:pt x="8" y="156"/>
                  </a:lnTo>
                  <a:lnTo>
                    <a:pt x="4" y="156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0" y="148"/>
                  </a:lnTo>
                  <a:lnTo>
                    <a:pt x="0" y="144"/>
                  </a:lnTo>
                  <a:lnTo>
                    <a:pt x="0" y="136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96"/>
                  </a:lnTo>
                  <a:lnTo>
                    <a:pt x="0" y="88"/>
                  </a:lnTo>
                  <a:lnTo>
                    <a:pt x="8" y="88"/>
                  </a:lnTo>
                  <a:lnTo>
                    <a:pt x="16" y="88"/>
                  </a:lnTo>
                  <a:lnTo>
                    <a:pt x="20" y="88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52"/>
                  </a:lnTo>
                  <a:lnTo>
                    <a:pt x="36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60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60" y="68"/>
                  </a:lnTo>
                  <a:lnTo>
                    <a:pt x="64" y="68"/>
                  </a:lnTo>
                  <a:lnTo>
                    <a:pt x="68" y="68"/>
                  </a:lnTo>
                  <a:lnTo>
                    <a:pt x="72" y="72"/>
                  </a:lnTo>
                  <a:lnTo>
                    <a:pt x="76" y="72"/>
                  </a:lnTo>
                  <a:lnTo>
                    <a:pt x="76" y="68"/>
                  </a:lnTo>
                  <a:lnTo>
                    <a:pt x="80" y="64"/>
                  </a:lnTo>
                  <a:lnTo>
                    <a:pt x="80" y="68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8" y="76"/>
                  </a:lnTo>
                  <a:lnTo>
                    <a:pt x="92" y="76"/>
                  </a:lnTo>
                  <a:lnTo>
                    <a:pt x="95" y="80"/>
                  </a:lnTo>
                  <a:lnTo>
                    <a:pt x="99" y="80"/>
                  </a:lnTo>
                  <a:lnTo>
                    <a:pt x="99" y="84"/>
                  </a:lnTo>
                  <a:lnTo>
                    <a:pt x="99" y="88"/>
                  </a:lnTo>
                  <a:lnTo>
                    <a:pt x="103" y="88"/>
                  </a:lnTo>
                  <a:lnTo>
                    <a:pt x="107" y="92"/>
                  </a:lnTo>
                  <a:lnTo>
                    <a:pt x="107" y="96"/>
                  </a:lnTo>
                  <a:lnTo>
                    <a:pt x="111" y="96"/>
                  </a:lnTo>
                  <a:lnTo>
                    <a:pt x="115" y="96"/>
                  </a:lnTo>
                  <a:lnTo>
                    <a:pt x="115" y="92"/>
                  </a:lnTo>
                  <a:lnTo>
                    <a:pt x="119" y="96"/>
                  </a:lnTo>
                  <a:lnTo>
                    <a:pt x="115" y="96"/>
                  </a:lnTo>
                  <a:lnTo>
                    <a:pt x="119" y="96"/>
                  </a:lnTo>
                  <a:lnTo>
                    <a:pt x="119" y="92"/>
                  </a:lnTo>
                  <a:lnTo>
                    <a:pt x="119" y="84"/>
                  </a:lnTo>
                  <a:lnTo>
                    <a:pt x="119" y="80"/>
                  </a:lnTo>
                  <a:lnTo>
                    <a:pt x="119" y="76"/>
                  </a:lnTo>
                  <a:lnTo>
                    <a:pt x="119" y="72"/>
                  </a:lnTo>
                  <a:lnTo>
                    <a:pt x="115" y="76"/>
                  </a:lnTo>
                  <a:lnTo>
                    <a:pt x="115" y="80"/>
                  </a:lnTo>
                  <a:lnTo>
                    <a:pt x="111" y="76"/>
                  </a:lnTo>
                  <a:lnTo>
                    <a:pt x="107" y="76"/>
                  </a:lnTo>
                  <a:lnTo>
                    <a:pt x="103" y="72"/>
                  </a:lnTo>
                  <a:lnTo>
                    <a:pt x="103" y="68"/>
                  </a:lnTo>
                  <a:lnTo>
                    <a:pt x="99" y="68"/>
                  </a:lnTo>
                  <a:lnTo>
                    <a:pt x="99" y="64"/>
                  </a:lnTo>
                  <a:lnTo>
                    <a:pt x="99" y="60"/>
                  </a:lnTo>
                  <a:lnTo>
                    <a:pt x="99" y="56"/>
                  </a:lnTo>
                  <a:lnTo>
                    <a:pt x="99" y="52"/>
                  </a:lnTo>
                  <a:lnTo>
                    <a:pt x="99" y="48"/>
                  </a:lnTo>
                  <a:lnTo>
                    <a:pt x="103" y="48"/>
                  </a:lnTo>
                  <a:lnTo>
                    <a:pt x="103" y="44"/>
                  </a:lnTo>
                  <a:lnTo>
                    <a:pt x="103" y="40"/>
                  </a:lnTo>
                  <a:lnTo>
                    <a:pt x="103" y="36"/>
                  </a:lnTo>
                  <a:lnTo>
                    <a:pt x="103" y="32"/>
                  </a:lnTo>
                  <a:lnTo>
                    <a:pt x="103" y="28"/>
                  </a:lnTo>
                  <a:lnTo>
                    <a:pt x="99" y="24"/>
                  </a:lnTo>
                  <a:lnTo>
                    <a:pt x="99" y="20"/>
                  </a:lnTo>
                  <a:lnTo>
                    <a:pt x="103" y="16"/>
                  </a:lnTo>
                  <a:lnTo>
                    <a:pt x="103" y="12"/>
                  </a:lnTo>
                  <a:lnTo>
                    <a:pt x="107" y="12"/>
                  </a:lnTo>
                  <a:lnTo>
                    <a:pt x="107" y="8"/>
                  </a:lnTo>
                  <a:lnTo>
                    <a:pt x="107" y="4"/>
                  </a:lnTo>
                  <a:lnTo>
                    <a:pt x="111" y="4"/>
                  </a:lnTo>
                  <a:lnTo>
                    <a:pt x="115" y="4"/>
                  </a:lnTo>
                  <a:lnTo>
                    <a:pt x="123" y="4"/>
                  </a:lnTo>
                  <a:lnTo>
                    <a:pt x="127" y="0"/>
                  </a:lnTo>
                  <a:lnTo>
                    <a:pt x="131" y="0"/>
                  </a:lnTo>
                  <a:lnTo>
                    <a:pt x="135" y="0"/>
                  </a:lnTo>
                  <a:lnTo>
                    <a:pt x="135" y="4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43" y="8"/>
                  </a:lnTo>
                  <a:lnTo>
                    <a:pt x="147" y="12"/>
                  </a:lnTo>
                  <a:lnTo>
                    <a:pt x="151" y="12"/>
                  </a:lnTo>
                  <a:lnTo>
                    <a:pt x="151" y="16"/>
                  </a:lnTo>
                  <a:lnTo>
                    <a:pt x="155" y="16"/>
                  </a:lnTo>
                  <a:lnTo>
                    <a:pt x="159" y="16"/>
                  </a:lnTo>
                  <a:lnTo>
                    <a:pt x="159" y="20"/>
                  </a:lnTo>
                  <a:lnTo>
                    <a:pt x="163" y="20"/>
                  </a:lnTo>
                  <a:lnTo>
                    <a:pt x="167" y="24"/>
                  </a:lnTo>
                  <a:lnTo>
                    <a:pt x="167" y="28"/>
                  </a:lnTo>
                  <a:lnTo>
                    <a:pt x="171" y="28"/>
                  </a:lnTo>
                  <a:lnTo>
                    <a:pt x="171" y="32"/>
                  </a:lnTo>
                  <a:lnTo>
                    <a:pt x="175" y="32"/>
                  </a:lnTo>
                  <a:lnTo>
                    <a:pt x="171" y="32"/>
                  </a:lnTo>
                  <a:lnTo>
                    <a:pt x="171" y="36"/>
                  </a:lnTo>
                  <a:lnTo>
                    <a:pt x="175" y="36"/>
                  </a:lnTo>
                  <a:lnTo>
                    <a:pt x="175" y="40"/>
                  </a:lnTo>
                  <a:lnTo>
                    <a:pt x="179" y="44"/>
                  </a:lnTo>
                  <a:lnTo>
                    <a:pt x="175" y="48"/>
                  </a:lnTo>
                  <a:lnTo>
                    <a:pt x="171" y="48"/>
                  </a:lnTo>
                  <a:lnTo>
                    <a:pt x="171" y="52"/>
                  </a:lnTo>
                  <a:lnTo>
                    <a:pt x="175" y="52"/>
                  </a:lnTo>
                  <a:lnTo>
                    <a:pt x="175" y="56"/>
                  </a:lnTo>
                  <a:lnTo>
                    <a:pt x="171" y="60"/>
                  </a:lnTo>
                  <a:lnTo>
                    <a:pt x="171" y="64"/>
                  </a:lnTo>
                  <a:lnTo>
                    <a:pt x="171" y="68"/>
                  </a:lnTo>
                  <a:lnTo>
                    <a:pt x="171" y="72"/>
                  </a:lnTo>
                  <a:lnTo>
                    <a:pt x="175" y="76"/>
                  </a:lnTo>
                  <a:lnTo>
                    <a:pt x="175" y="80"/>
                  </a:lnTo>
                  <a:lnTo>
                    <a:pt x="171" y="80"/>
                  </a:lnTo>
                  <a:lnTo>
                    <a:pt x="167" y="80"/>
                  </a:lnTo>
                  <a:lnTo>
                    <a:pt x="167" y="84"/>
                  </a:lnTo>
                  <a:lnTo>
                    <a:pt x="167" y="88"/>
                  </a:lnTo>
                  <a:lnTo>
                    <a:pt x="167" y="92"/>
                  </a:lnTo>
                  <a:lnTo>
                    <a:pt x="167" y="96"/>
                  </a:lnTo>
                  <a:lnTo>
                    <a:pt x="167" y="100"/>
                  </a:lnTo>
                  <a:lnTo>
                    <a:pt x="163" y="100"/>
                  </a:lnTo>
                  <a:lnTo>
                    <a:pt x="167" y="104"/>
                  </a:lnTo>
                  <a:lnTo>
                    <a:pt x="167" y="108"/>
                  </a:lnTo>
                  <a:lnTo>
                    <a:pt x="171" y="108"/>
                  </a:lnTo>
                  <a:lnTo>
                    <a:pt x="167" y="108"/>
                  </a:lnTo>
                  <a:lnTo>
                    <a:pt x="159" y="112"/>
                  </a:lnTo>
                  <a:lnTo>
                    <a:pt x="155" y="116"/>
                  </a:lnTo>
                  <a:lnTo>
                    <a:pt x="151" y="116"/>
                  </a:lnTo>
                  <a:lnTo>
                    <a:pt x="147" y="116"/>
                  </a:lnTo>
                  <a:lnTo>
                    <a:pt x="147" y="120"/>
                  </a:lnTo>
                  <a:lnTo>
                    <a:pt x="143" y="120"/>
                  </a:lnTo>
                  <a:lnTo>
                    <a:pt x="139" y="120"/>
                  </a:lnTo>
                  <a:lnTo>
                    <a:pt x="135" y="120"/>
                  </a:lnTo>
                  <a:lnTo>
                    <a:pt x="135" y="124"/>
                  </a:lnTo>
                  <a:lnTo>
                    <a:pt x="131" y="124"/>
                  </a:lnTo>
                  <a:lnTo>
                    <a:pt x="127" y="124"/>
                  </a:lnTo>
                  <a:lnTo>
                    <a:pt x="127" y="1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0" name="Freeform 168"/>
            <p:cNvSpPr>
              <a:spLocks/>
            </p:cNvSpPr>
            <p:nvPr>
              <p:custDataLst>
                <p:tags r:id="rId363"/>
              </p:custDataLst>
            </p:nvPr>
          </p:nvSpPr>
          <p:spPr bwMode="gray">
            <a:xfrm>
              <a:off x="4944075" y="5018627"/>
              <a:ext cx="176484" cy="195764"/>
            </a:xfrm>
            <a:custGeom>
              <a:avLst/>
              <a:gdLst/>
              <a:ahLst/>
              <a:cxnLst>
                <a:cxn ang="0">
                  <a:pos x="95" y="124"/>
                </a:cxn>
                <a:cxn ang="0">
                  <a:pos x="91" y="128"/>
                </a:cxn>
                <a:cxn ang="0">
                  <a:pos x="87" y="128"/>
                </a:cxn>
                <a:cxn ang="0">
                  <a:pos x="79" y="128"/>
                </a:cxn>
                <a:cxn ang="0">
                  <a:pos x="75" y="128"/>
                </a:cxn>
                <a:cxn ang="0">
                  <a:pos x="67" y="124"/>
                </a:cxn>
                <a:cxn ang="0">
                  <a:pos x="59" y="124"/>
                </a:cxn>
                <a:cxn ang="0">
                  <a:pos x="55" y="124"/>
                </a:cxn>
                <a:cxn ang="0">
                  <a:pos x="55" y="120"/>
                </a:cxn>
                <a:cxn ang="0">
                  <a:pos x="55" y="116"/>
                </a:cxn>
                <a:cxn ang="0">
                  <a:pos x="47" y="116"/>
                </a:cxn>
                <a:cxn ang="0">
                  <a:pos x="43" y="116"/>
                </a:cxn>
                <a:cxn ang="0">
                  <a:pos x="40" y="112"/>
                </a:cxn>
                <a:cxn ang="0">
                  <a:pos x="36" y="104"/>
                </a:cxn>
                <a:cxn ang="0">
                  <a:pos x="36" y="100"/>
                </a:cxn>
                <a:cxn ang="0">
                  <a:pos x="32" y="92"/>
                </a:cxn>
                <a:cxn ang="0">
                  <a:pos x="32" y="92"/>
                </a:cxn>
                <a:cxn ang="0">
                  <a:pos x="28" y="84"/>
                </a:cxn>
                <a:cxn ang="0">
                  <a:pos x="20" y="80"/>
                </a:cxn>
                <a:cxn ang="0">
                  <a:pos x="16" y="76"/>
                </a:cxn>
                <a:cxn ang="0">
                  <a:pos x="12" y="72"/>
                </a:cxn>
                <a:cxn ang="0">
                  <a:pos x="12" y="64"/>
                </a:cxn>
                <a:cxn ang="0">
                  <a:pos x="8" y="56"/>
                </a:cxn>
                <a:cxn ang="0">
                  <a:pos x="4" y="52"/>
                </a:cxn>
                <a:cxn ang="0">
                  <a:pos x="0" y="48"/>
                </a:cxn>
                <a:cxn ang="0">
                  <a:pos x="0" y="44"/>
                </a:cxn>
                <a:cxn ang="0">
                  <a:pos x="4" y="44"/>
                </a:cxn>
                <a:cxn ang="0">
                  <a:pos x="12" y="48"/>
                </a:cxn>
                <a:cxn ang="0">
                  <a:pos x="16" y="44"/>
                </a:cxn>
                <a:cxn ang="0">
                  <a:pos x="24" y="48"/>
                </a:cxn>
                <a:cxn ang="0">
                  <a:pos x="28" y="44"/>
                </a:cxn>
                <a:cxn ang="0">
                  <a:pos x="40" y="28"/>
                </a:cxn>
                <a:cxn ang="0">
                  <a:pos x="51" y="20"/>
                </a:cxn>
                <a:cxn ang="0">
                  <a:pos x="51" y="12"/>
                </a:cxn>
                <a:cxn ang="0">
                  <a:pos x="55" y="8"/>
                </a:cxn>
                <a:cxn ang="0">
                  <a:pos x="67" y="4"/>
                </a:cxn>
                <a:cxn ang="0">
                  <a:pos x="75" y="4"/>
                </a:cxn>
                <a:cxn ang="0">
                  <a:pos x="83" y="8"/>
                </a:cxn>
                <a:cxn ang="0">
                  <a:pos x="91" y="12"/>
                </a:cxn>
                <a:cxn ang="0">
                  <a:pos x="95" y="12"/>
                </a:cxn>
                <a:cxn ang="0">
                  <a:pos x="103" y="16"/>
                </a:cxn>
                <a:cxn ang="0">
                  <a:pos x="107" y="16"/>
                </a:cxn>
                <a:cxn ang="0">
                  <a:pos x="111" y="24"/>
                </a:cxn>
                <a:cxn ang="0">
                  <a:pos x="115" y="24"/>
                </a:cxn>
                <a:cxn ang="0">
                  <a:pos x="115" y="28"/>
                </a:cxn>
                <a:cxn ang="0">
                  <a:pos x="115" y="32"/>
                </a:cxn>
                <a:cxn ang="0">
                  <a:pos x="115" y="36"/>
                </a:cxn>
                <a:cxn ang="0">
                  <a:pos x="115" y="44"/>
                </a:cxn>
                <a:cxn ang="0">
                  <a:pos x="115" y="48"/>
                </a:cxn>
                <a:cxn ang="0">
                  <a:pos x="115" y="56"/>
                </a:cxn>
                <a:cxn ang="0">
                  <a:pos x="115" y="60"/>
                </a:cxn>
                <a:cxn ang="0">
                  <a:pos x="111" y="60"/>
                </a:cxn>
                <a:cxn ang="0">
                  <a:pos x="115" y="64"/>
                </a:cxn>
                <a:cxn ang="0">
                  <a:pos x="115" y="76"/>
                </a:cxn>
                <a:cxn ang="0">
                  <a:pos x="115" y="84"/>
                </a:cxn>
                <a:cxn ang="0">
                  <a:pos x="111" y="92"/>
                </a:cxn>
                <a:cxn ang="0">
                  <a:pos x="107" y="100"/>
                </a:cxn>
                <a:cxn ang="0">
                  <a:pos x="107" y="108"/>
                </a:cxn>
              </a:cxnLst>
              <a:rect l="0" t="0" r="r" b="b"/>
              <a:pathLst>
                <a:path w="119" h="132">
                  <a:moveTo>
                    <a:pt x="107" y="108"/>
                  </a:moveTo>
                  <a:lnTo>
                    <a:pt x="107" y="108"/>
                  </a:lnTo>
                  <a:lnTo>
                    <a:pt x="107" y="108"/>
                  </a:lnTo>
                  <a:lnTo>
                    <a:pt x="107" y="108"/>
                  </a:lnTo>
                  <a:lnTo>
                    <a:pt x="99" y="120"/>
                  </a:lnTo>
                  <a:lnTo>
                    <a:pt x="95" y="124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91" y="132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5" y="128"/>
                  </a:lnTo>
                  <a:lnTo>
                    <a:pt x="75" y="128"/>
                  </a:lnTo>
                  <a:lnTo>
                    <a:pt x="75" y="128"/>
                  </a:lnTo>
                  <a:lnTo>
                    <a:pt x="71" y="128"/>
                  </a:lnTo>
                  <a:lnTo>
                    <a:pt x="71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3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1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0" y="116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4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28" y="88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7" y="20"/>
                  </a:lnTo>
                  <a:lnTo>
                    <a:pt x="51" y="20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2"/>
                  </a:lnTo>
                  <a:lnTo>
                    <a:pt x="55" y="12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9" y="4"/>
                  </a:lnTo>
                  <a:lnTo>
                    <a:pt x="59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0"/>
                  </a:lnTo>
                  <a:lnTo>
                    <a:pt x="71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8"/>
                  </a:lnTo>
                  <a:lnTo>
                    <a:pt x="83" y="8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91" y="8"/>
                  </a:lnTo>
                  <a:lnTo>
                    <a:pt x="91" y="8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20"/>
                  </a:lnTo>
                  <a:lnTo>
                    <a:pt x="111" y="20"/>
                  </a:lnTo>
                  <a:lnTo>
                    <a:pt x="111" y="20"/>
                  </a:lnTo>
                  <a:lnTo>
                    <a:pt x="111" y="24"/>
                  </a:lnTo>
                  <a:lnTo>
                    <a:pt x="111" y="24"/>
                  </a:lnTo>
                  <a:lnTo>
                    <a:pt x="111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8"/>
                  </a:lnTo>
                  <a:lnTo>
                    <a:pt x="115" y="28"/>
                  </a:lnTo>
                  <a:lnTo>
                    <a:pt x="115" y="28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4"/>
                  </a:lnTo>
                  <a:lnTo>
                    <a:pt x="115" y="44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9" y="52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1" y="60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5" y="64"/>
                  </a:lnTo>
                  <a:lnTo>
                    <a:pt x="115" y="68"/>
                  </a:lnTo>
                  <a:lnTo>
                    <a:pt x="115" y="72"/>
                  </a:lnTo>
                  <a:lnTo>
                    <a:pt x="115" y="72"/>
                  </a:lnTo>
                  <a:lnTo>
                    <a:pt x="111" y="72"/>
                  </a:lnTo>
                  <a:lnTo>
                    <a:pt x="111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80"/>
                  </a:lnTo>
                  <a:lnTo>
                    <a:pt x="115" y="80"/>
                  </a:lnTo>
                  <a:lnTo>
                    <a:pt x="115" y="84"/>
                  </a:lnTo>
                  <a:lnTo>
                    <a:pt x="115" y="84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1" y="92"/>
                  </a:lnTo>
                  <a:lnTo>
                    <a:pt x="111" y="96"/>
                  </a:lnTo>
                  <a:lnTo>
                    <a:pt x="111" y="96"/>
                  </a:lnTo>
                  <a:lnTo>
                    <a:pt x="107" y="96"/>
                  </a:lnTo>
                  <a:lnTo>
                    <a:pt x="107" y="96"/>
                  </a:lnTo>
                  <a:lnTo>
                    <a:pt x="107" y="100"/>
                  </a:lnTo>
                  <a:lnTo>
                    <a:pt x="107" y="100"/>
                  </a:lnTo>
                  <a:lnTo>
                    <a:pt x="107" y="100"/>
                  </a:lnTo>
                  <a:lnTo>
                    <a:pt x="107" y="104"/>
                  </a:lnTo>
                  <a:lnTo>
                    <a:pt x="107" y="104"/>
                  </a:lnTo>
                  <a:lnTo>
                    <a:pt x="107" y="104"/>
                  </a:lnTo>
                  <a:lnTo>
                    <a:pt x="107" y="108"/>
                  </a:lnTo>
                  <a:lnTo>
                    <a:pt x="107" y="108"/>
                  </a:lnTo>
                  <a:lnTo>
                    <a:pt x="107" y="10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1" name="Freeform 169"/>
            <p:cNvSpPr>
              <a:spLocks noEditPoints="1"/>
            </p:cNvSpPr>
            <p:nvPr>
              <p:custDataLst>
                <p:tags r:id="rId364"/>
              </p:custDataLst>
            </p:nvPr>
          </p:nvSpPr>
          <p:spPr bwMode="gray">
            <a:xfrm>
              <a:off x="2725411" y="5190663"/>
              <a:ext cx="443436" cy="1023314"/>
            </a:xfrm>
            <a:custGeom>
              <a:avLst/>
              <a:gdLst/>
              <a:ahLst/>
              <a:cxnLst>
                <a:cxn ang="0">
                  <a:pos x="28" y="351"/>
                </a:cxn>
                <a:cxn ang="0">
                  <a:pos x="40" y="327"/>
                </a:cxn>
                <a:cxn ang="0">
                  <a:pos x="40" y="291"/>
                </a:cxn>
                <a:cxn ang="0">
                  <a:pos x="48" y="259"/>
                </a:cxn>
                <a:cxn ang="0">
                  <a:pos x="56" y="223"/>
                </a:cxn>
                <a:cxn ang="0">
                  <a:pos x="44" y="187"/>
                </a:cxn>
                <a:cxn ang="0">
                  <a:pos x="56" y="155"/>
                </a:cxn>
                <a:cxn ang="0">
                  <a:pos x="64" y="123"/>
                </a:cxn>
                <a:cxn ang="0">
                  <a:pos x="76" y="91"/>
                </a:cxn>
                <a:cxn ang="0">
                  <a:pos x="80" y="52"/>
                </a:cxn>
                <a:cxn ang="0">
                  <a:pos x="96" y="24"/>
                </a:cxn>
                <a:cxn ang="0">
                  <a:pos x="112" y="4"/>
                </a:cxn>
                <a:cxn ang="0">
                  <a:pos x="139" y="24"/>
                </a:cxn>
                <a:cxn ang="0">
                  <a:pos x="167" y="12"/>
                </a:cxn>
                <a:cxn ang="0">
                  <a:pos x="187" y="40"/>
                </a:cxn>
                <a:cxn ang="0">
                  <a:pos x="223" y="60"/>
                </a:cxn>
                <a:cxn ang="0">
                  <a:pos x="235" y="84"/>
                </a:cxn>
                <a:cxn ang="0">
                  <a:pos x="239" y="107"/>
                </a:cxn>
                <a:cxn ang="0">
                  <a:pos x="271" y="107"/>
                </a:cxn>
                <a:cxn ang="0">
                  <a:pos x="291" y="76"/>
                </a:cxn>
                <a:cxn ang="0">
                  <a:pos x="295" y="103"/>
                </a:cxn>
                <a:cxn ang="0">
                  <a:pos x="267" y="123"/>
                </a:cxn>
                <a:cxn ang="0">
                  <a:pos x="255" y="147"/>
                </a:cxn>
                <a:cxn ang="0">
                  <a:pos x="235" y="183"/>
                </a:cxn>
                <a:cxn ang="0">
                  <a:pos x="231" y="215"/>
                </a:cxn>
                <a:cxn ang="0">
                  <a:pos x="231" y="251"/>
                </a:cxn>
                <a:cxn ang="0">
                  <a:pos x="247" y="283"/>
                </a:cxn>
                <a:cxn ang="0">
                  <a:pos x="243" y="315"/>
                </a:cxn>
                <a:cxn ang="0">
                  <a:pos x="207" y="339"/>
                </a:cxn>
                <a:cxn ang="0">
                  <a:pos x="167" y="335"/>
                </a:cxn>
                <a:cxn ang="0">
                  <a:pos x="171" y="355"/>
                </a:cxn>
                <a:cxn ang="0">
                  <a:pos x="163" y="383"/>
                </a:cxn>
                <a:cxn ang="0">
                  <a:pos x="131" y="375"/>
                </a:cxn>
                <a:cxn ang="0">
                  <a:pos x="135" y="407"/>
                </a:cxn>
                <a:cxn ang="0">
                  <a:pos x="151" y="415"/>
                </a:cxn>
                <a:cxn ang="0">
                  <a:pos x="135" y="423"/>
                </a:cxn>
                <a:cxn ang="0">
                  <a:pos x="127" y="443"/>
                </a:cxn>
                <a:cxn ang="0">
                  <a:pos x="104" y="471"/>
                </a:cxn>
                <a:cxn ang="0">
                  <a:pos x="92" y="503"/>
                </a:cxn>
                <a:cxn ang="0">
                  <a:pos x="116" y="526"/>
                </a:cxn>
                <a:cxn ang="0">
                  <a:pos x="96" y="546"/>
                </a:cxn>
                <a:cxn ang="0">
                  <a:pos x="88" y="574"/>
                </a:cxn>
                <a:cxn ang="0">
                  <a:pos x="80" y="578"/>
                </a:cxn>
                <a:cxn ang="0">
                  <a:pos x="68" y="606"/>
                </a:cxn>
                <a:cxn ang="0">
                  <a:pos x="76" y="626"/>
                </a:cxn>
                <a:cxn ang="0">
                  <a:pos x="36" y="622"/>
                </a:cxn>
                <a:cxn ang="0">
                  <a:pos x="16" y="590"/>
                </a:cxn>
                <a:cxn ang="0">
                  <a:pos x="0" y="574"/>
                </a:cxn>
                <a:cxn ang="0">
                  <a:pos x="16" y="550"/>
                </a:cxn>
                <a:cxn ang="0">
                  <a:pos x="20" y="523"/>
                </a:cxn>
                <a:cxn ang="0">
                  <a:pos x="28" y="491"/>
                </a:cxn>
                <a:cxn ang="0">
                  <a:pos x="24" y="463"/>
                </a:cxn>
                <a:cxn ang="0">
                  <a:pos x="24" y="447"/>
                </a:cxn>
                <a:cxn ang="0">
                  <a:pos x="20" y="423"/>
                </a:cxn>
                <a:cxn ang="0">
                  <a:pos x="24" y="391"/>
                </a:cxn>
                <a:cxn ang="0">
                  <a:pos x="80" y="642"/>
                </a:cxn>
                <a:cxn ang="0">
                  <a:pos x="92" y="666"/>
                </a:cxn>
                <a:cxn ang="0">
                  <a:pos x="124" y="686"/>
                </a:cxn>
                <a:cxn ang="0">
                  <a:pos x="84" y="686"/>
                </a:cxn>
                <a:cxn ang="0">
                  <a:pos x="76" y="634"/>
                </a:cxn>
                <a:cxn ang="0">
                  <a:pos x="143" y="682"/>
                </a:cxn>
              </a:cxnLst>
              <a:rect l="0" t="0" r="r" b="b"/>
              <a:pathLst>
                <a:path w="299" h="690">
                  <a:moveTo>
                    <a:pt x="24" y="383"/>
                  </a:moveTo>
                  <a:lnTo>
                    <a:pt x="24" y="379"/>
                  </a:lnTo>
                  <a:lnTo>
                    <a:pt x="24" y="375"/>
                  </a:lnTo>
                  <a:lnTo>
                    <a:pt x="24" y="371"/>
                  </a:lnTo>
                  <a:lnTo>
                    <a:pt x="28" y="371"/>
                  </a:lnTo>
                  <a:lnTo>
                    <a:pt x="28" y="367"/>
                  </a:lnTo>
                  <a:lnTo>
                    <a:pt x="24" y="367"/>
                  </a:lnTo>
                  <a:lnTo>
                    <a:pt x="28" y="363"/>
                  </a:lnTo>
                  <a:lnTo>
                    <a:pt x="28" y="359"/>
                  </a:lnTo>
                  <a:lnTo>
                    <a:pt x="28" y="355"/>
                  </a:lnTo>
                  <a:lnTo>
                    <a:pt x="28" y="351"/>
                  </a:lnTo>
                  <a:lnTo>
                    <a:pt x="28" y="355"/>
                  </a:lnTo>
                  <a:lnTo>
                    <a:pt x="32" y="355"/>
                  </a:lnTo>
                  <a:lnTo>
                    <a:pt x="32" y="351"/>
                  </a:lnTo>
                  <a:lnTo>
                    <a:pt x="32" y="347"/>
                  </a:lnTo>
                  <a:lnTo>
                    <a:pt x="32" y="343"/>
                  </a:lnTo>
                  <a:lnTo>
                    <a:pt x="32" y="339"/>
                  </a:lnTo>
                  <a:lnTo>
                    <a:pt x="36" y="339"/>
                  </a:lnTo>
                  <a:lnTo>
                    <a:pt x="36" y="335"/>
                  </a:lnTo>
                  <a:lnTo>
                    <a:pt x="40" y="335"/>
                  </a:lnTo>
                  <a:lnTo>
                    <a:pt x="40" y="331"/>
                  </a:lnTo>
                  <a:lnTo>
                    <a:pt x="40" y="327"/>
                  </a:lnTo>
                  <a:lnTo>
                    <a:pt x="40" y="323"/>
                  </a:lnTo>
                  <a:lnTo>
                    <a:pt x="36" y="319"/>
                  </a:lnTo>
                  <a:lnTo>
                    <a:pt x="36" y="315"/>
                  </a:lnTo>
                  <a:lnTo>
                    <a:pt x="36" y="311"/>
                  </a:lnTo>
                  <a:lnTo>
                    <a:pt x="36" y="307"/>
                  </a:lnTo>
                  <a:lnTo>
                    <a:pt x="36" y="303"/>
                  </a:lnTo>
                  <a:lnTo>
                    <a:pt x="36" y="299"/>
                  </a:lnTo>
                  <a:lnTo>
                    <a:pt x="36" y="295"/>
                  </a:lnTo>
                  <a:lnTo>
                    <a:pt x="36" y="291"/>
                  </a:lnTo>
                  <a:lnTo>
                    <a:pt x="40" y="287"/>
                  </a:lnTo>
                  <a:lnTo>
                    <a:pt x="40" y="291"/>
                  </a:lnTo>
                  <a:lnTo>
                    <a:pt x="44" y="287"/>
                  </a:lnTo>
                  <a:lnTo>
                    <a:pt x="44" y="283"/>
                  </a:lnTo>
                  <a:lnTo>
                    <a:pt x="48" y="283"/>
                  </a:lnTo>
                  <a:lnTo>
                    <a:pt x="48" y="279"/>
                  </a:lnTo>
                  <a:lnTo>
                    <a:pt x="48" y="275"/>
                  </a:lnTo>
                  <a:lnTo>
                    <a:pt x="48" y="271"/>
                  </a:lnTo>
                  <a:lnTo>
                    <a:pt x="48" y="267"/>
                  </a:lnTo>
                  <a:lnTo>
                    <a:pt x="44" y="267"/>
                  </a:lnTo>
                  <a:lnTo>
                    <a:pt x="44" y="263"/>
                  </a:lnTo>
                  <a:lnTo>
                    <a:pt x="48" y="263"/>
                  </a:lnTo>
                  <a:lnTo>
                    <a:pt x="48" y="259"/>
                  </a:lnTo>
                  <a:lnTo>
                    <a:pt x="48" y="255"/>
                  </a:lnTo>
                  <a:lnTo>
                    <a:pt x="48" y="251"/>
                  </a:lnTo>
                  <a:lnTo>
                    <a:pt x="52" y="251"/>
                  </a:lnTo>
                  <a:lnTo>
                    <a:pt x="52" y="247"/>
                  </a:lnTo>
                  <a:lnTo>
                    <a:pt x="52" y="243"/>
                  </a:lnTo>
                  <a:lnTo>
                    <a:pt x="56" y="243"/>
                  </a:lnTo>
                  <a:lnTo>
                    <a:pt x="56" y="239"/>
                  </a:lnTo>
                  <a:lnTo>
                    <a:pt x="56" y="235"/>
                  </a:lnTo>
                  <a:lnTo>
                    <a:pt x="56" y="231"/>
                  </a:lnTo>
                  <a:lnTo>
                    <a:pt x="56" y="227"/>
                  </a:lnTo>
                  <a:lnTo>
                    <a:pt x="56" y="223"/>
                  </a:lnTo>
                  <a:lnTo>
                    <a:pt x="52" y="223"/>
                  </a:lnTo>
                  <a:lnTo>
                    <a:pt x="52" y="219"/>
                  </a:lnTo>
                  <a:lnTo>
                    <a:pt x="52" y="215"/>
                  </a:lnTo>
                  <a:lnTo>
                    <a:pt x="52" y="211"/>
                  </a:lnTo>
                  <a:lnTo>
                    <a:pt x="52" y="207"/>
                  </a:lnTo>
                  <a:lnTo>
                    <a:pt x="48" y="207"/>
                  </a:lnTo>
                  <a:lnTo>
                    <a:pt x="48" y="203"/>
                  </a:lnTo>
                  <a:lnTo>
                    <a:pt x="48" y="199"/>
                  </a:lnTo>
                  <a:lnTo>
                    <a:pt x="48" y="195"/>
                  </a:lnTo>
                  <a:lnTo>
                    <a:pt x="44" y="191"/>
                  </a:lnTo>
                  <a:lnTo>
                    <a:pt x="44" y="187"/>
                  </a:lnTo>
                  <a:lnTo>
                    <a:pt x="44" y="183"/>
                  </a:lnTo>
                  <a:lnTo>
                    <a:pt x="48" y="183"/>
                  </a:lnTo>
                  <a:lnTo>
                    <a:pt x="48" y="179"/>
                  </a:lnTo>
                  <a:lnTo>
                    <a:pt x="48" y="175"/>
                  </a:lnTo>
                  <a:lnTo>
                    <a:pt x="48" y="171"/>
                  </a:lnTo>
                  <a:lnTo>
                    <a:pt x="52" y="171"/>
                  </a:lnTo>
                  <a:lnTo>
                    <a:pt x="52" y="167"/>
                  </a:lnTo>
                  <a:lnTo>
                    <a:pt x="56" y="167"/>
                  </a:lnTo>
                  <a:lnTo>
                    <a:pt x="56" y="163"/>
                  </a:lnTo>
                  <a:lnTo>
                    <a:pt x="56" y="159"/>
                  </a:lnTo>
                  <a:lnTo>
                    <a:pt x="56" y="155"/>
                  </a:lnTo>
                  <a:lnTo>
                    <a:pt x="52" y="151"/>
                  </a:lnTo>
                  <a:lnTo>
                    <a:pt x="56" y="151"/>
                  </a:lnTo>
                  <a:lnTo>
                    <a:pt x="52" y="151"/>
                  </a:lnTo>
                  <a:lnTo>
                    <a:pt x="52" y="147"/>
                  </a:lnTo>
                  <a:lnTo>
                    <a:pt x="56" y="143"/>
                  </a:lnTo>
                  <a:lnTo>
                    <a:pt x="56" y="139"/>
                  </a:lnTo>
                  <a:lnTo>
                    <a:pt x="56" y="135"/>
                  </a:lnTo>
                  <a:lnTo>
                    <a:pt x="56" y="131"/>
                  </a:lnTo>
                  <a:lnTo>
                    <a:pt x="60" y="131"/>
                  </a:lnTo>
                  <a:lnTo>
                    <a:pt x="60" y="127"/>
                  </a:lnTo>
                  <a:lnTo>
                    <a:pt x="64" y="123"/>
                  </a:lnTo>
                  <a:lnTo>
                    <a:pt x="64" y="119"/>
                  </a:lnTo>
                  <a:lnTo>
                    <a:pt x="68" y="119"/>
                  </a:lnTo>
                  <a:lnTo>
                    <a:pt x="68" y="115"/>
                  </a:lnTo>
                  <a:lnTo>
                    <a:pt x="68" y="111"/>
                  </a:lnTo>
                  <a:lnTo>
                    <a:pt x="72" y="107"/>
                  </a:lnTo>
                  <a:lnTo>
                    <a:pt x="72" y="103"/>
                  </a:lnTo>
                  <a:lnTo>
                    <a:pt x="76" y="103"/>
                  </a:lnTo>
                  <a:lnTo>
                    <a:pt x="80" y="103"/>
                  </a:lnTo>
                  <a:lnTo>
                    <a:pt x="80" y="99"/>
                  </a:lnTo>
                  <a:lnTo>
                    <a:pt x="76" y="95"/>
                  </a:lnTo>
                  <a:lnTo>
                    <a:pt x="76" y="91"/>
                  </a:lnTo>
                  <a:lnTo>
                    <a:pt x="76" y="88"/>
                  </a:lnTo>
                  <a:lnTo>
                    <a:pt x="76" y="84"/>
                  </a:lnTo>
                  <a:lnTo>
                    <a:pt x="76" y="80"/>
                  </a:lnTo>
                  <a:lnTo>
                    <a:pt x="76" y="76"/>
                  </a:lnTo>
                  <a:lnTo>
                    <a:pt x="76" y="72"/>
                  </a:lnTo>
                  <a:lnTo>
                    <a:pt x="76" y="68"/>
                  </a:lnTo>
                  <a:lnTo>
                    <a:pt x="80" y="64"/>
                  </a:lnTo>
                  <a:lnTo>
                    <a:pt x="76" y="60"/>
                  </a:lnTo>
                  <a:lnTo>
                    <a:pt x="76" y="56"/>
                  </a:lnTo>
                  <a:lnTo>
                    <a:pt x="76" y="52"/>
                  </a:lnTo>
                  <a:lnTo>
                    <a:pt x="80" y="52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92" y="48"/>
                  </a:lnTo>
                  <a:lnTo>
                    <a:pt x="92" y="44"/>
                  </a:lnTo>
                  <a:lnTo>
                    <a:pt x="96" y="40"/>
                  </a:lnTo>
                  <a:lnTo>
                    <a:pt x="96" y="36"/>
                  </a:lnTo>
                  <a:lnTo>
                    <a:pt x="96" y="32"/>
                  </a:lnTo>
                  <a:lnTo>
                    <a:pt x="96" y="28"/>
                  </a:lnTo>
                  <a:lnTo>
                    <a:pt x="100" y="28"/>
                  </a:lnTo>
                  <a:lnTo>
                    <a:pt x="100" y="24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100" y="20"/>
                  </a:lnTo>
                  <a:lnTo>
                    <a:pt x="100" y="16"/>
                  </a:lnTo>
                  <a:lnTo>
                    <a:pt x="104" y="16"/>
                  </a:lnTo>
                  <a:lnTo>
                    <a:pt x="104" y="12"/>
                  </a:lnTo>
                  <a:lnTo>
                    <a:pt x="104" y="8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2" y="0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20" y="8"/>
                  </a:lnTo>
                  <a:lnTo>
                    <a:pt x="127" y="8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5" y="12"/>
                  </a:lnTo>
                  <a:lnTo>
                    <a:pt x="135" y="16"/>
                  </a:lnTo>
                  <a:lnTo>
                    <a:pt x="135" y="20"/>
                  </a:lnTo>
                  <a:lnTo>
                    <a:pt x="139" y="20"/>
                  </a:lnTo>
                  <a:lnTo>
                    <a:pt x="139" y="24"/>
                  </a:lnTo>
                  <a:lnTo>
                    <a:pt x="139" y="20"/>
                  </a:lnTo>
                  <a:lnTo>
                    <a:pt x="139" y="16"/>
                  </a:lnTo>
                  <a:lnTo>
                    <a:pt x="143" y="12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51" y="8"/>
                  </a:lnTo>
                  <a:lnTo>
                    <a:pt x="155" y="8"/>
                  </a:lnTo>
                  <a:lnTo>
                    <a:pt x="159" y="8"/>
                  </a:lnTo>
                  <a:lnTo>
                    <a:pt x="163" y="8"/>
                  </a:lnTo>
                  <a:lnTo>
                    <a:pt x="163" y="12"/>
                  </a:lnTo>
                  <a:lnTo>
                    <a:pt x="167" y="12"/>
                  </a:lnTo>
                  <a:lnTo>
                    <a:pt x="167" y="16"/>
                  </a:lnTo>
                  <a:lnTo>
                    <a:pt x="171" y="16"/>
                  </a:lnTo>
                  <a:lnTo>
                    <a:pt x="171" y="20"/>
                  </a:lnTo>
                  <a:lnTo>
                    <a:pt x="175" y="24"/>
                  </a:lnTo>
                  <a:lnTo>
                    <a:pt x="175" y="28"/>
                  </a:lnTo>
                  <a:lnTo>
                    <a:pt x="179" y="28"/>
                  </a:lnTo>
                  <a:lnTo>
                    <a:pt x="179" y="32"/>
                  </a:lnTo>
                  <a:lnTo>
                    <a:pt x="183" y="32"/>
                  </a:lnTo>
                  <a:lnTo>
                    <a:pt x="183" y="36"/>
                  </a:lnTo>
                  <a:lnTo>
                    <a:pt x="187" y="36"/>
                  </a:lnTo>
                  <a:lnTo>
                    <a:pt x="187" y="40"/>
                  </a:lnTo>
                  <a:lnTo>
                    <a:pt x="191" y="40"/>
                  </a:lnTo>
                  <a:lnTo>
                    <a:pt x="195" y="40"/>
                  </a:lnTo>
                  <a:lnTo>
                    <a:pt x="195" y="44"/>
                  </a:lnTo>
                  <a:lnTo>
                    <a:pt x="199" y="44"/>
                  </a:lnTo>
                  <a:lnTo>
                    <a:pt x="203" y="44"/>
                  </a:lnTo>
                  <a:lnTo>
                    <a:pt x="211" y="48"/>
                  </a:lnTo>
                  <a:lnTo>
                    <a:pt x="211" y="52"/>
                  </a:lnTo>
                  <a:lnTo>
                    <a:pt x="215" y="52"/>
                  </a:lnTo>
                  <a:lnTo>
                    <a:pt x="215" y="56"/>
                  </a:lnTo>
                  <a:lnTo>
                    <a:pt x="219" y="56"/>
                  </a:lnTo>
                  <a:lnTo>
                    <a:pt x="223" y="60"/>
                  </a:lnTo>
                  <a:lnTo>
                    <a:pt x="227" y="60"/>
                  </a:lnTo>
                  <a:lnTo>
                    <a:pt x="231" y="64"/>
                  </a:lnTo>
                  <a:lnTo>
                    <a:pt x="235" y="64"/>
                  </a:lnTo>
                  <a:lnTo>
                    <a:pt x="239" y="68"/>
                  </a:lnTo>
                  <a:lnTo>
                    <a:pt x="239" y="72"/>
                  </a:lnTo>
                  <a:lnTo>
                    <a:pt x="243" y="72"/>
                  </a:lnTo>
                  <a:lnTo>
                    <a:pt x="243" y="76"/>
                  </a:lnTo>
                  <a:lnTo>
                    <a:pt x="239" y="76"/>
                  </a:lnTo>
                  <a:lnTo>
                    <a:pt x="239" y="80"/>
                  </a:lnTo>
                  <a:lnTo>
                    <a:pt x="235" y="80"/>
                  </a:lnTo>
                  <a:lnTo>
                    <a:pt x="235" y="84"/>
                  </a:lnTo>
                  <a:lnTo>
                    <a:pt x="231" y="88"/>
                  </a:lnTo>
                  <a:lnTo>
                    <a:pt x="231" y="91"/>
                  </a:lnTo>
                  <a:lnTo>
                    <a:pt x="231" y="95"/>
                  </a:lnTo>
                  <a:lnTo>
                    <a:pt x="231" y="99"/>
                  </a:lnTo>
                  <a:lnTo>
                    <a:pt x="227" y="99"/>
                  </a:lnTo>
                  <a:lnTo>
                    <a:pt x="227" y="103"/>
                  </a:lnTo>
                  <a:lnTo>
                    <a:pt x="223" y="103"/>
                  </a:lnTo>
                  <a:lnTo>
                    <a:pt x="227" y="107"/>
                  </a:lnTo>
                  <a:lnTo>
                    <a:pt x="231" y="107"/>
                  </a:lnTo>
                  <a:lnTo>
                    <a:pt x="235" y="107"/>
                  </a:lnTo>
                  <a:lnTo>
                    <a:pt x="239" y="107"/>
                  </a:lnTo>
                  <a:lnTo>
                    <a:pt x="243" y="111"/>
                  </a:lnTo>
                  <a:lnTo>
                    <a:pt x="247" y="111"/>
                  </a:lnTo>
                  <a:lnTo>
                    <a:pt x="251" y="111"/>
                  </a:lnTo>
                  <a:lnTo>
                    <a:pt x="255" y="111"/>
                  </a:lnTo>
                  <a:lnTo>
                    <a:pt x="259" y="111"/>
                  </a:lnTo>
                  <a:lnTo>
                    <a:pt x="259" y="107"/>
                  </a:lnTo>
                  <a:lnTo>
                    <a:pt x="263" y="107"/>
                  </a:lnTo>
                  <a:lnTo>
                    <a:pt x="267" y="107"/>
                  </a:lnTo>
                  <a:lnTo>
                    <a:pt x="267" y="111"/>
                  </a:lnTo>
                  <a:lnTo>
                    <a:pt x="271" y="111"/>
                  </a:lnTo>
                  <a:lnTo>
                    <a:pt x="271" y="107"/>
                  </a:lnTo>
                  <a:lnTo>
                    <a:pt x="271" y="103"/>
                  </a:lnTo>
                  <a:lnTo>
                    <a:pt x="275" y="99"/>
                  </a:lnTo>
                  <a:lnTo>
                    <a:pt x="279" y="99"/>
                  </a:lnTo>
                  <a:lnTo>
                    <a:pt x="279" y="95"/>
                  </a:lnTo>
                  <a:lnTo>
                    <a:pt x="283" y="95"/>
                  </a:lnTo>
                  <a:lnTo>
                    <a:pt x="283" y="91"/>
                  </a:lnTo>
                  <a:lnTo>
                    <a:pt x="287" y="88"/>
                  </a:lnTo>
                  <a:lnTo>
                    <a:pt x="287" y="84"/>
                  </a:lnTo>
                  <a:lnTo>
                    <a:pt x="287" y="80"/>
                  </a:lnTo>
                  <a:lnTo>
                    <a:pt x="287" y="76"/>
                  </a:lnTo>
                  <a:lnTo>
                    <a:pt x="291" y="76"/>
                  </a:lnTo>
                  <a:lnTo>
                    <a:pt x="291" y="72"/>
                  </a:lnTo>
                  <a:lnTo>
                    <a:pt x="295" y="72"/>
                  </a:lnTo>
                  <a:lnTo>
                    <a:pt x="299" y="76"/>
                  </a:lnTo>
                  <a:lnTo>
                    <a:pt x="299" y="80"/>
                  </a:lnTo>
                  <a:lnTo>
                    <a:pt x="299" y="84"/>
                  </a:lnTo>
                  <a:lnTo>
                    <a:pt x="299" y="88"/>
                  </a:lnTo>
                  <a:lnTo>
                    <a:pt x="299" y="91"/>
                  </a:lnTo>
                  <a:lnTo>
                    <a:pt x="299" y="95"/>
                  </a:lnTo>
                  <a:lnTo>
                    <a:pt x="299" y="99"/>
                  </a:lnTo>
                  <a:lnTo>
                    <a:pt x="299" y="103"/>
                  </a:lnTo>
                  <a:lnTo>
                    <a:pt x="295" y="103"/>
                  </a:lnTo>
                  <a:lnTo>
                    <a:pt x="295" y="107"/>
                  </a:lnTo>
                  <a:lnTo>
                    <a:pt x="291" y="107"/>
                  </a:lnTo>
                  <a:lnTo>
                    <a:pt x="291" y="111"/>
                  </a:lnTo>
                  <a:lnTo>
                    <a:pt x="287" y="111"/>
                  </a:lnTo>
                  <a:lnTo>
                    <a:pt x="283" y="111"/>
                  </a:lnTo>
                  <a:lnTo>
                    <a:pt x="283" y="115"/>
                  </a:lnTo>
                  <a:lnTo>
                    <a:pt x="279" y="119"/>
                  </a:lnTo>
                  <a:lnTo>
                    <a:pt x="275" y="119"/>
                  </a:lnTo>
                  <a:lnTo>
                    <a:pt x="275" y="123"/>
                  </a:lnTo>
                  <a:lnTo>
                    <a:pt x="271" y="123"/>
                  </a:lnTo>
                  <a:lnTo>
                    <a:pt x="267" y="123"/>
                  </a:lnTo>
                  <a:lnTo>
                    <a:pt x="267" y="127"/>
                  </a:lnTo>
                  <a:lnTo>
                    <a:pt x="271" y="127"/>
                  </a:lnTo>
                  <a:lnTo>
                    <a:pt x="267" y="127"/>
                  </a:lnTo>
                  <a:lnTo>
                    <a:pt x="267" y="131"/>
                  </a:lnTo>
                  <a:lnTo>
                    <a:pt x="263" y="131"/>
                  </a:lnTo>
                  <a:lnTo>
                    <a:pt x="263" y="135"/>
                  </a:lnTo>
                  <a:lnTo>
                    <a:pt x="259" y="135"/>
                  </a:lnTo>
                  <a:lnTo>
                    <a:pt x="259" y="139"/>
                  </a:lnTo>
                  <a:lnTo>
                    <a:pt x="259" y="143"/>
                  </a:lnTo>
                  <a:lnTo>
                    <a:pt x="255" y="143"/>
                  </a:lnTo>
                  <a:lnTo>
                    <a:pt x="255" y="147"/>
                  </a:lnTo>
                  <a:lnTo>
                    <a:pt x="251" y="151"/>
                  </a:lnTo>
                  <a:lnTo>
                    <a:pt x="251" y="155"/>
                  </a:lnTo>
                  <a:lnTo>
                    <a:pt x="247" y="155"/>
                  </a:lnTo>
                  <a:lnTo>
                    <a:pt x="243" y="159"/>
                  </a:lnTo>
                  <a:lnTo>
                    <a:pt x="243" y="163"/>
                  </a:lnTo>
                  <a:lnTo>
                    <a:pt x="239" y="163"/>
                  </a:lnTo>
                  <a:lnTo>
                    <a:pt x="239" y="167"/>
                  </a:lnTo>
                  <a:lnTo>
                    <a:pt x="235" y="171"/>
                  </a:lnTo>
                  <a:lnTo>
                    <a:pt x="239" y="175"/>
                  </a:lnTo>
                  <a:lnTo>
                    <a:pt x="235" y="179"/>
                  </a:lnTo>
                  <a:lnTo>
                    <a:pt x="235" y="183"/>
                  </a:lnTo>
                  <a:lnTo>
                    <a:pt x="235" y="187"/>
                  </a:lnTo>
                  <a:lnTo>
                    <a:pt x="235" y="191"/>
                  </a:lnTo>
                  <a:lnTo>
                    <a:pt x="235" y="195"/>
                  </a:lnTo>
                  <a:lnTo>
                    <a:pt x="231" y="195"/>
                  </a:lnTo>
                  <a:lnTo>
                    <a:pt x="231" y="199"/>
                  </a:lnTo>
                  <a:lnTo>
                    <a:pt x="231" y="203"/>
                  </a:lnTo>
                  <a:lnTo>
                    <a:pt x="235" y="203"/>
                  </a:lnTo>
                  <a:lnTo>
                    <a:pt x="235" y="207"/>
                  </a:lnTo>
                  <a:lnTo>
                    <a:pt x="231" y="207"/>
                  </a:lnTo>
                  <a:lnTo>
                    <a:pt x="231" y="211"/>
                  </a:lnTo>
                  <a:lnTo>
                    <a:pt x="231" y="215"/>
                  </a:lnTo>
                  <a:lnTo>
                    <a:pt x="231" y="219"/>
                  </a:lnTo>
                  <a:lnTo>
                    <a:pt x="227" y="219"/>
                  </a:lnTo>
                  <a:lnTo>
                    <a:pt x="227" y="223"/>
                  </a:lnTo>
                  <a:lnTo>
                    <a:pt x="227" y="227"/>
                  </a:lnTo>
                  <a:lnTo>
                    <a:pt x="227" y="231"/>
                  </a:lnTo>
                  <a:lnTo>
                    <a:pt x="227" y="235"/>
                  </a:lnTo>
                  <a:lnTo>
                    <a:pt x="227" y="239"/>
                  </a:lnTo>
                  <a:lnTo>
                    <a:pt x="227" y="243"/>
                  </a:lnTo>
                  <a:lnTo>
                    <a:pt x="227" y="247"/>
                  </a:lnTo>
                  <a:lnTo>
                    <a:pt x="227" y="251"/>
                  </a:lnTo>
                  <a:lnTo>
                    <a:pt x="231" y="251"/>
                  </a:lnTo>
                  <a:lnTo>
                    <a:pt x="231" y="255"/>
                  </a:lnTo>
                  <a:lnTo>
                    <a:pt x="235" y="255"/>
                  </a:lnTo>
                  <a:lnTo>
                    <a:pt x="239" y="255"/>
                  </a:lnTo>
                  <a:lnTo>
                    <a:pt x="243" y="259"/>
                  </a:lnTo>
                  <a:lnTo>
                    <a:pt x="243" y="263"/>
                  </a:lnTo>
                  <a:lnTo>
                    <a:pt x="247" y="263"/>
                  </a:lnTo>
                  <a:lnTo>
                    <a:pt x="247" y="267"/>
                  </a:lnTo>
                  <a:lnTo>
                    <a:pt x="247" y="271"/>
                  </a:lnTo>
                  <a:lnTo>
                    <a:pt x="243" y="275"/>
                  </a:lnTo>
                  <a:lnTo>
                    <a:pt x="243" y="279"/>
                  </a:lnTo>
                  <a:lnTo>
                    <a:pt x="247" y="283"/>
                  </a:lnTo>
                  <a:lnTo>
                    <a:pt x="247" y="287"/>
                  </a:lnTo>
                  <a:lnTo>
                    <a:pt x="251" y="287"/>
                  </a:lnTo>
                  <a:lnTo>
                    <a:pt x="255" y="287"/>
                  </a:lnTo>
                  <a:lnTo>
                    <a:pt x="255" y="291"/>
                  </a:lnTo>
                  <a:lnTo>
                    <a:pt x="255" y="295"/>
                  </a:lnTo>
                  <a:lnTo>
                    <a:pt x="255" y="299"/>
                  </a:lnTo>
                  <a:lnTo>
                    <a:pt x="251" y="303"/>
                  </a:lnTo>
                  <a:lnTo>
                    <a:pt x="251" y="307"/>
                  </a:lnTo>
                  <a:lnTo>
                    <a:pt x="247" y="307"/>
                  </a:lnTo>
                  <a:lnTo>
                    <a:pt x="247" y="311"/>
                  </a:lnTo>
                  <a:lnTo>
                    <a:pt x="243" y="315"/>
                  </a:lnTo>
                  <a:lnTo>
                    <a:pt x="243" y="319"/>
                  </a:lnTo>
                  <a:lnTo>
                    <a:pt x="243" y="323"/>
                  </a:lnTo>
                  <a:lnTo>
                    <a:pt x="239" y="323"/>
                  </a:lnTo>
                  <a:lnTo>
                    <a:pt x="239" y="327"/>
                  </a:lnTo>
                  <a:lnTo>
                    <a:pt x="231" y="327"/>
                  </a:lnTo>
                  <a:lnTo>
                    <a:pt x="231" y="331"/>
                  </a:lnTo>
                  <a:lnTo>
                    <a:pt x="223" y="331"/>
                  </a:lnTo>
                  <a:lnTo>
                    <a:pt x="219" y="335"/>
                  </a:lnTo>
                  <a:lnTo>
                    <a:pt x="215" y="335"/>
                  </a:lnTo>
                  <a:lnTo>
                    <a:pt x="211" y="335"/>
                  </a:lnTo>
                  <a:lnTo>
                    <a:pt x="207" y="339"/>
                  </a:lnTo>
                  <a:lnTo>
                    <a:pt x="203" y="339"/>
                  </a:lnTo>
                  <a:lnTo>
                    <a:pt x="199" y="339"/>
                  </a:lnTo>
                  <a:lnTo>
                    <a:pt x="195" y="339"/>
                  </a:lnTo>
                  <a:lnTo>
                    <a:pt x="191" y="339"/>
                  </a:lnTo>
                  <a:lnTo>
                    <a:pt x="187" y="339"/>
                  </a:lnTo>
                  <a:lnTo>
                    <a:pt x="183" y="339"/>
                  </a:lnTo>
                  <a:lnTo>
                    <a:pt x="179" y="339"/>
                  </a:lnTo>
                  <a:lnTo>
                    <a:pt x="175" y="339"/>
                  </a:lnTo>
                  <a:lnTo>
                    <a:pt x="171" y="339"/>
                  </a:lnTo>
                  <a:lnTo>
                    <a:pt x="171" y="335"/>
                  </a:lnTo>
                  <a:lnTo>
                    <a:pt x="167" y="335"/>
                  </a:lnTo>
                  <a:lnTo>
                    <a:pt x="167" y="339"/>
                  </a:lnTo>
                  <a:lnTo>
                    <a:pt x="171" y="339"/>
                  </a:lnTo>
                  <a:lnTo>
                    <a:pt x="171" y="343"/>
                  </a:lnTo>
                  <a:lnTo>
                    <a:pt x="167" y="343"/>
                  </a:lnTo>
                  <a:lnTo>
                    <a:pt x="167" y="347"/>
                  </a:lnTo>
                  <a:lnTo>
                    <a:pt x="171" y="347"/>
                  </a:lnTo>
                  <a:lnTo>
                    <a:pt x="175" y="347"/>
                  </a:lnTo>
                  <a:lnTo>
                    <a:pt x="175" y="351"/>
                  </a:lnTo>
                  <a:lnTo>
                    <a:pt x="171" y="347"/>
                  </a:lnTo>
                  <a:lnTo>
                    <a:pt x="171" y="351"/>
                  </a:lnTo>
                  <a:lnTo>
                    <a:pt x="171" y="355"/>
                  </a:lnTo>
                  <a:lnTo>
                    <a:pt x="171" y="359"/>
                  </a:lnTo>
                  <a:lnTo>
                    <a:pt x="167" y="363"/>
                  </a:lnTo>
                  <a:lnTo>
                    <a:pt x="167" y="367"/>
                  </a:lnTo>
                  <a:lnTo>
                    <a:pt x="167" y="371"/>
                  </a:lnTo>
                  <a:lnTo>
                    <a:pt x="171" y="371"/>
                  </a:lnTo>
                  <a:lnTo>
                    <a:pt x="171" y="375"/>
                  </a:lnTo>
                  <a:lnTo>
                    <a:pt x="167" y="375"/>
                  </a:lnTo>
                  <a:lnTo>
                    <a:pt x="171" y="375"/>
                  </a:lnTo>
                  <a:lnTo>
                    <a:pt x="171" y="379"/>
                  </a:lnTo>
                  <a:lnTo>
                    <a:pt x="167" y="379"/>
                  </a:lnTo>
                  <a:lnTo>
                    <a:pt x="163" y="383"/>
                  </a:lnTo>
                  <a:lnTo>
                    <a:pt x="159" y="383"/>
                  </a:lnTo>
                  <a:lnTo>
                    <a:pt x="159" y="387"/>
                  </a:lnTo>
                  <a:lnTo>
                    <a:pt x="155" y="387"/>
                  </a:lnTo>
                  <a:lnTo>
                    <a:pt x="151" y="387"/>
                  </a:lnTo>
                  <a:lnTo>
                    <a:pt x="147" y="387"/>
                  </a:lnTo>
                  <a:lnTo>
                    <a:pt x="147" y="383"/>
                  </a:lnTo>
                  <a:lnTo>
                    <a:pt x="143" y="383"/>
                  </a:lnTo>
                  <a:lnTo>
                    <a:pt x="139" y="383"/>
                  </a:lnTo>
                  <a:lnTo>
                    <a:pt x="135" y="379"/>
                  </a:lnTo>
                  <a:lnTo>
                    <a:pt x="131" y="379"/>
                  </a:lnTo>
                  <a:lnTo>
                    <a:pt x="131" y="375"/>
                  </a:lnTo>
                  <a:lnTo>
                    <a:pt x="127" y="375"/>
                  </a:lnTo>
                  <a:lnTo>
                    <a:pt x="127" y="379"/>
                  </a:lnTo>
                  <a:lnTo>
                    <a:pt x="127" y="383"/>
                  </a:lnTo>
                  <a:lnTo>
                    <a:pt x="127" y="387"/>
                  </a:lnTo>
                  <a:lnTo>
                    <a:pt x="127" y="391"/>
                  </a:lnTo>
                  <a:lnTo>
                    <a:pt x="127" y="395"/>
                  </a:lnTo>
                  <a:lnTo>
                    <a:pt x="127" y="399"/>
                  </a:lnTo>
                  <a:lnTo>
                    <a:pt x="127" y="403"/>
                  </a:lnTo>
                  <a:lnTo>
                    <a:pt x="127" y="407"/>
                  </a:lnTo>
                  <a:lnTo>
                    <a:pt x="131" y="407"/>
                  </a:lnTo>
                  <a:lnTo>
                    <a:pt x="135" y="407"/>
                  </a:lnTo>
                  <a:lnTo>
                    <a:pt x="135" y="411"/>
                  </a:lnTo>
                  <a:lnTo>
                    <a:pt x="143" y="411"/>
                  </a:lnTo>
                  <a:lnTo>
                    <a:pt x="143" y="407"/>
                  </a:lnTo>
                  <a:lnTo>
                    <a:pt x="139" y="407"/>
                  </a:lnTo>
                  <a:lnTo>
                    <a:pt x="143" y="407"/>
                  </a:lnTo>
                  <a:lnTo>
                    <a:pt x="147" y="407"/>
                  </a:lnTo>
                  <a:lnTo>
                    <a:pt x="147" y="403"/>
                  </a:lnTo>
                  <a:lnTo>
                    <a:pt x="147" y="407"/>
                  </a:lnTo>
                  <a:lnTo>
                    <a:pt x="151" y="407"/>
                  </a:lnTo>
                  <a:lnTo>
                    <a:pt x="151" y="411"/>
                  </a:lnTo>
                  <a:lnTo>
                    <a:pt x="151" y="415"/>
                  </a:lnTo>
                  <a:lnTo>
                    <a:pt x="151" y="419"/>
                  </a:lnTo>
                  <a:lnTo>
                    <a:pt x="147" y="419"/>
                  </a:lnTo>
                  <a:lnTo>
                    <a:pt x="143" y="423"/>
                  </a:lnTo>
                  <a:lnTo>
                    <a:pt x="139" y="419"/>
                  </a:lnTo>
                  <a:lnTo>
                    <a:pt x="139" y="415"/>
                  </a:lnTo>
                  <a:lnTo>
                    <a:pt x="135" y="415"/>
                  </a:lnTo>
                  <a:lnTo>
                    <a:pt x="131" y="415"/>
                  </a:lnTo>
                  <a:lnTo>
                    <a:pt x="127" y="419"/>
                  </a:lnTo>
                  <a:lnTo>
                    <a:pt x="131" y="419"/>
                  </a:lnTo>
                  <a:lnTo>
                    <a:pt x="131" y="423"/>
                  </a:lnTo>
                  <a:lnTo>
                    <a:pt x="135" y="423"/>
                  </a:lnTo>
                  <a:lnTo>
                    <a:pt x="139" y="423"/>
                  </a:lnTo>
                  <a:lnTo>
                    <a:pt x="139" y="427"/>
                  </a:lnTo>
                  <a:lnTo>
                    <a:pt x="135" y="427"/>
                  </a:lnTo>
                  <a:lnTo>
                    <a:pt x="131" y="427"/>
                  </a:lnTo>
                  <a:lnTo>
                    <a:pt x="131" y="431"/>
                  </a:lnTo>
                  <a:lnTo>
                    <a:pt x="127" y="431"/>
                  </a:lnTo>
                  <a:lnTo>
                    <a:pt x="127" y="435"/>
                  </a:lnTo>
                  <a:lnTo>
                    <a:pt x="124" y="435"/>
                  </a:lnTo>
                  <a:lnTo>
                    <a:pt x="124" y="439"/>
                  </a:lnTo>
                  <a:lnTo>
                    <a:pt x="124" y="443"/>
                  </a:lnTo>
                  <a:lnTo>
                    <a:pt x="127" y="443"/>
                  </a:lnTo>
                  <a:lnTo>
                    <a:pt x="124" y="447"/>
                  </a:lnTo>
                  <a:lnTo>
                    <a:pt x="124" y="451"/>
                  </a:lnTo>
                  <a:lnTo>
                    <a:pt x="124" y="455"/>
                  </a:lnTo>
                  <a:lnTo>
                    <a:pt x="120" y="459"/>
                  </a:lnTo>
                  <a:lnTo>
                    <a:pt x="120" y="463"/>
                  </a:lnTo>
                  <a:lnTo>
                    <a:pt x="120" y="467"/>
                  </a:lnTo>
                  <a:lnTo>
                    <a:pt x="116" y="467"/>
                  </a:lnTo>
                  <a:lnTo>
                    <a:pt x="112" y="467"/>
                  </a:lnTo>
                  <a:lnTo>
                    <a:pt x="108" y="467"/>
                  </a:lnTo>
                  <a:lnTo>
                    <a:pt x="108" y="471"/>
                  </a:lnTo>
                  <a:lnTo>
                    <a:pt x="104" y="471"/>
                  </a:lnTo>
                  <a:lnTo>
                    <a:pt x="100" y="471"/>
                  </a:lnTo>
                  <a:lnTo>
                    <a:pt x="100" y="475"/>
                  </a:lnTo>
                  <a:lnTo>
                    <a:pt x="96" y="475"/>
                  </a:lnTo>
                  <a:lnTo>
                    <a:pt x="96" y="479"/>
                  </a:lnTo>
                  <a:lnTo>
                    <a:pt x="92" y="479"/>
                  </a:lnTo>
                  <a:lnTo>
                    <a:pt x="92" y="483"/>
                  </a:lnTo>
                  <a:lnTo>
                    <a:pt x="92" y="487"/>
                  </a:lnTo>
                  <a:lnTo>
                    <a:pt x="88" y="491"/>
                  </a:lnTo>
                  <a:lnTo>
                    <a:pt x="92" y="495"/>
                  </a:lnTo>
                  <a:lnTo>
                    <a:pt x="92" y="499"/>
                  </a:lnTo>
                  <a:lnTo>
                    <a:pt x="92" y="503"/>
                  </a:lnTo>
                  <a:lnTo>
                    <a:pt x="96" y="503"/>
                  </a:lnTo>
                  <a:lnTo>
                    <a:pt x="100" y="507"/>
                  </a:lnTo>
                  <a:lnTo>
                    <a:pt x="100" y="511"/>
                  </a:lnTo>
                  <a:lnTo>
                    <a:pt x="104" y="511"/>
                  </a:lnTo>
                  <a:lnTo>
                    <a:pt x="108" y="511"/>
                  </a:lnTo>
                  <a:lnTo>
                    <a:pt x="112" y="511"/>
                  </a:lnTo>
                  <a:lnTo>
                    <a:pt x="116" y="511"/>
                  </a:lnTo>
                  <a:lnTo>
                    <a:pt x="116" y="515"/>
                  </a:lnTo>
                  <a:lnTo>
                    <a:pt x="120" y="519"/>
                  </a:lnTo>
                  <a:lnTo>
                    <a:pt x="116" y="523"/>
                  </a:lnTo>
                  <a:lnTo>
                    <a:pt x="116" y="526"/>
                  </a:lnTo>
                  <a:lnTo>
                    <a:pt x="112" y="526"/>
                  </a:lnTo>
                  <a:lnTo>
                    <a:pt x="116" y="526"/>
                  </a:lnTo>
                  <a:lnTo>
                    <a:pt x="116" y="530"/>
                  </a:lnTo>
                  <a:lnTo>
                    <a:pt x="116" y="534"/>
                  </a:lnTo>
                  <a:lnTo>
                    <a:pt x="112" y="534"/>
                  </a:lnTo>
                  <a:lnTo>
                    <a:pt x="108" y="538"/>
                  </a:lnTo>
                  <a:lnTo>
                    <a:pt x="104" y="538"/>
                  </a:lnTo>
                  <a:lnTo>
                    <a:pt x="104" y="542"/>
                  </a:lnTo>
                  <a:lnTo>
                    <a:pt x="100" y="542"/>
                  </a:lnTo>
                  <a:lnTo>
                    <a:pt x="100" y="546"/>
                  </a:lnTo>
                  <a:lnTo>
                    <a:pt x="96" y="546"/>
                  </a:lnTo>
                  <a:lnTo>
                    <a:pt x="96" y="550"/>
                  </a:lnTo>
                  <a:lnTo>
                    <a:pt x="92" y="550"/>
                  </a:lnTo>
                  <a:lnTo>
                    <a:pt x="92" y="554"/>
                  </a:lnTo>
                  <a:lnTo>
                    <a:pt x="88" y="554"/>
                  </a:lnTo>
                  <a:lnTo>
                    <a:pt x="88" y="558"/>
                  </a:lnTo>
                  <a:lnTo>
                    <a:pt x="88" y="562"/>
                  </a:lnTo>
                  <a:lnTo>
                    <a:pt x="88" y="558"/>
                  </a:lnTo>
                  <a:lnTo>
                    <a:pt x="88" y="562"/>
                  </a:lnTo>
                  <a:lnTo>
                    <a:pt x="88" y="566"/>
                  </a:lnTo>
                  <a:lnTo>
                    <a:pt x="88" y="570"/>
                  </a:lnTo>
                  <a:lnTo>
                    <a:pt x="88" y="574"/>
                  </a:lnTo>
                  <a:lnTo>
                    <a:pt x="84" y="574"/>
                  </a:lnTo>
                  <a:lnTo>
                    <a:pt x="84" y="578"/>
                  </a:lnTo>
                  <a:lnTo>
                    <a:pt x="80" y="578"/>
                  </a:lnTo>
                  <a:lnTo>
                    <a:pt x="76" y="578"/>
                  </a:lnTo>
                  <a:lnTo>
                    <a:pt x="76" y="574"/>
                  </a:lnTo>
                  <a:lnTo>
                    <a:pt x="72" y="574"/>
                  </a:lnTo>
                  <a:lnTo>
                    <a:pt x="68" y="574"/>
                  </a:lnTo>
                  <a:lnTo>
                    <a:pt x="72" y="574"/>
                  </a:lnTo>
                  <a:lnTo>
                    <a:pt x="76" y="574"/>
                  </a:lnTo>
                  <a:lnTo>
                    <a:pt x="76" y="578"/>
                  </a:lnTo>
                  <a:lnTo>
                    <a:pt x="80" y="578"/>
                  </a:lnTo>
                  <a:lnTo>
                    <a:pt x="76" y="578"/>
                  </a:lnTo>
                  <a:lnTo>
                    <a:pt x="76" y="582"/>
                  </a:lnTo>
                  <a:lnTo>
                    <a:pt x="72" y="582"/>
                  </a:lnTo>
                  <a:lnTo>
                    <a:pt x="68" y="582"/>
                  </a:lnTo>
                  <a:lnTo>
                    <a:pt x="68" y="586"/>
                  </a:lnTo>
                  <a:lnTo>
                    <a:pt x="68" y="590"/>
                  </a:lnTo>
                  <a:lnTo>
                    <a:pt x="68" y="594"/>
                  </a:lnTo>
                  <a:lnTo>
                    <a:pt x="64" y="598"/>
                  </a:lnTo>
                  <a:lnTo>
                    <a:pt x="68" y="598"/>
                  </a:lnTo>
                  <a:lnTo>
                    <a:pt x="68" y="602"/>
                  </a:lnTo>
                  <a:lnTo>
                    <a:pt x="68" y="606"/>
                  </a:lnTo>
                  <a:lnTo>
                    <a:pt x="68" y="610"/>
                  </a:lnTo>
                  <a:lnTo>
                    <a:pt x="64" y="610"/>
                  </a:lnTo>
                  <a:lnTo>
                    <a:pt x="60" y="610"/>
                  </a:lnTo>
                  <a:lnTo>
                    <a:pt x="64" y="610"/>
                  </a:lnTo>
                  <a:lnTo>
                    <a:pt x="68" y="610"/>
                  </a:lnTo>
                  <a:lnTo>
                    <a:pt x="68" y="614"/>
                  </a:lnTo>
                  <a:lnTo>
                    <a:pt x="72" y="614"/>
                  </a:lnTo>
                  <a:lnTo>
                    <a:pt x="72" y="618"/>
                  </a:lnTo>
                  <a:lnTo>
                    <a:pt x="72" y="622"/>
                  </a:lnTo>
                  <a:lnTo>
                    <a:pt x="76" y="622"/>
                  </a:lnTo>
                  <a:lnTo>
                    <a:pt x="76" y="626"/>
                  </a:lnTo>
                  <a:lnTo>
                    <a:pt x="76" y="630"/>
                  </a:lnTo>
                  <a:lnTo>
                    <a:pt x="76" y="626"/>
                  </a:lnTo>
                  <a:lnTo>
                    <a:pt x="72" y="626"/>
                  </a:lnTo>
                  <a:lnTo>
                    <a:pt x="68" y="626"/>
                  </a:lnTo>
                  <a:lnTo>
                    <a:pt x="64" y="622"/>
                  </a:lnTo>
                  <a:lnTo>
                    <a:pt x="60" y="622"/>
                  </a:lnTo>
                  <a:lnTo>
                    <a:pt x="56" y="622"/>
                  </a:lnTo>
                  <a:lnTo>
                    <a:pt x="52" y="622"/>
                  </a:lnTo>
                  <a:lnTo>
                    <a:pt x="48" y="622"/>
                  </a:lnTo>
                  <a:lnTo>
                    <a:pt x="44" y="622"/>
                  </a:lnTo>
                  <a:lnTo>
                    <a:pt x="36" y="622"/>
                  </a:lnTo>
                  <a:lnTo>
                    <a:pt x="28" y="622"/>
                  </a:lnTo>
                  <a:lnTo>
                    <a:pt x="24" y="618"/>
                  </a:lnTo>
                  <a:lnTo>
                    <a:pt x="20" y="614"/>
                  </a:lnTo>
                  <a:lnTo>
                    <a:pt x="16" y="610"/>
                  </a:lnTo>
                  <a:lnTo>
                    <a:pt x="20" y="606"/>
                  </a:lnTo>
                  <a:lnTo>
                    <a:pt x="20" y="602"/>
                  </a:lnTo>
                  <a:lnTo>
                    <a:pt x="16" y="602"/>
                  </a:lnTo>
                  <a:lnTo>
                    <a:pt x="16" y="598"/>
                  </a:lnTo>
                  <a:lnTo>
                    <a:pt x="20" y="598"/>
                  </a:lnTo>
                  <a:lnTo>
                    <a:pt x="20" y="594"/>
                  </a:lnTo>
                  <a:lnTo>
                    <a:pt x="16" y="590"/>
                  </a:lnTo>
                  <a:lnTo>
                    <a:pt x="20" y="590"/>
                  </a:lnTo>
                  <a:lnTo>
                    <a:pt x="16" y="590"/>
                  </a:lnTo>
                  <a:lnTo>
                    <a:pt x="12" y="590"/>
                  </a:lnTo>
                  <a:lnTo>
                    <a:pt x="8" y="590"/>
                  </a:lnTo>
                  <a:lnTo>
                    <a:pt x="8" y="594"/>
                  </a:lnTo>
                  <a:lnTo>
                    <a:pt x="4" y="594"/>
                  </a:lnTo>
                  <a:lnTo>
                    <a:pt x="4" y="590"/>
                  </a:lnTo>
                  <a:lnTo>
                    <a:pt x="4" y="586"/>
                  </a:lnTo>
                  <a:lnTo>
                    <a:pt x="4" y="582"/>
                  </a:lnTo>
                  <a:lnTo>
                    <a:pt x="0" y="578"/>
                  </a:lnTo>
                  <a:lnTo>
                    <a:pt x="0" y="574"/>
                  </a:lnTo>
                  <a:lnTo>
                    <a:pt x="0" y="570"/>
                  </a:lnTo>
                  <a:lnTo>
                    <a:pt x="0" y="566"/>
                  </a:lnTo>
                  <a:lnTo>
                    <a:pt x="0" y="562"/>
                  </a:lnTo>
                  <a:lnTo>
                    <a:pt x="0" y="558"/>
                  </a:lnTo>
                  <a:lnTo>
                    <a:pt x="4" y="558"/>
                  </a:lnTo>
                  <a:lnTo>
                    <a:pt x="8" y="558"/>
                  </a:lnTo>
                  <a:lnTo>
                    <a:pt x="4" y="558"/>
                  </a:lnTo>
                  <a:lnTo>
                    <a:pt x="8" y="554"/>
                  </a:lnTo>
                  <a:lnTo>
                    <a:pt x="8" y="550"/>
                  </a:lnTo>
                  <a:lnTo>
                    <a:pt x="12" y="550"/>
                  </a:lnTo>
                  <a:lnTo>
                    <a:pt x="16" y="550"/>
                  </a:lnTo>
                  <a:lnTo>
                    <a:pt x="16" y="546"/>
                  </a:lnTo>
                  <a:lnTo>
                    <a:pt x="16" y="542"/>
                  </a:lnTo>
                  <a:lnTo>
                    <a:pt x="12" y="542"/>
                  </a:lnTo>
                  <a:lnTo>
                    <a:pt x="16" y="542"/>
                  </a:lnTo>
                  <a:lnTo>
                    <a:pt x="16" y="538"/>
                  </a:lnTo>
                  <a:lnTo>
                    <a:pt x="20" y="538"/>
                  </a:lnTo>
                  <a:lnTo>
                    <a:pt x="20" y="534"/>
                  </a:lnTo>
                  <a:lnTo>
                    <a:pt x="16" y="530"/>
                  </a:lnTo>
                  <a:lnTo>
                    <a:pt x="16" y="526"/>
                  </a:lnTo>
                  <a:lnTo>
                    <a:pt x="16" y="523"/>
                  </a:lnTo>
                  <a:lnTo>
                    <a:pt x="20" y="523"/>
                  </a:lnTo>
                  <a:lnTo>
                    <a:pt x="16" y="519"/>
                  </a:lnTo>
                  <a:lnTo>
                    <a:pt x="20" y="519"/>
                  </a:lnTo>
                  <a:lnTo>
                    <a:pt x="24" y="515"/>
                  </a:lnTo>
                  <a:lnTo>
                    <a:pt x="24" y="511"/>
                  </a:lnTo>
                  <a:lnTo>
                    <a:pt x="24" y="507"/>
                  </a:lnTo>
                  <a:lnTo>
                    <a:pt x="28" y="503"/>
                  </a:lnTo>
                  <a:lnTo>
                    <a:pt x="28" y="499"/>
                  </a:lnTo>
                  <a:lnTo>
                    <a:pt x="28" y="495"/>
                  </a:lnTo>
                  <a:lnTo>
                    <a:pt x="28" y="491"/>
                  </a:lnTo>
                  <a:lnTo>
                    <a:pt x="24" y="491"/>
                  </a:lnTo>
                  <a:lnTo>
                    <a:pt x="28" y="491"/>
                  </a:lnTo>
                  <a:lnTo>
                    <a:pt x="28" y="487"/>
                  </a:lnTo>
                  <a:lnTo>
                    <a:pt x="28" y="483"/>
                  </a:lnTo>
                  <a:lnTo>
                    <a:pt x="28" y="479"/>
                  </a:lnTo>
                  <a:lnTo>
                    <a:pt x="32" y="475"/>
                  </a:lnTo>
                  <a:lnTo>
                    <a:pt x="32" y="471"/>
                  </a:lnTo>
                  <a:lnTo>
                    <a:pt x="32" y="467"/>
                  </a:lnTo>
                  <a:lnTo>
                    <a:pt x="28" y="467"/>
                  </a:lnTo>
                  <a:lnTo>
                    <a:pt x="24" y="467"/>
                  </a:lnTo>
                  <a:lnTo>
                    <a:pt x="24" y="463"/>
                  </a:lnTo>
                  <a:lnTo>
                    <a:pt x="20" y="463"/>
                  </a:lnTo>
                  <a:lnTo>
                    <a:pt x="24" y="463"/>
                  </a:lnTo>
                  <a:lnTo>
                    <a:pt x="28" y="463"/>
                  </a:lnTo>
                  <a:lnTo>
                    <a:pt x="32" y="463"/>
                  </a:lnTo>
                  <a:lnTo>
                    <a:pt x="36" y="463"/>
                  </a:lnTo>
                  <a:lnTo>
                    <a:pt x="36" y="459"/>
                  </a:lnTo>
                  <a:lnTo>
                    <a:pt x="36" y="455"/>
                  </a:lnTo>
                  <a:lnTo>
                    <a:pt x="32" y="455"/>
                  </a:lnTo>
                  <a:lnTo>
                    <a:pt x="28" y="455"/>
                  </a:lnTo>
                  <a:lnTo>
                    <a:pt x="24" y="455"/>
                  </a:lnTo>
                  <a:lnTo>
                    <a:pt x="24" y="451"/>
                  </a:lnTo>
                  <a:lnTo>
                    <a:pt x="28" y="451"/>
                  </a:lnTo>
                  <a:lnTo>
                    <a:pt x="24" y="447"/>
                  </a:lnTo>
                  <a:lnTo>
                    <a:pt x="28" y="447"/>
                  </a:lnTo>
                  <a:lnTo>
                    <a:pt x="28" y="443"/>
                  </a:lnTo>
                  <a:lnTo>
                    <a:pt x="28" y="439"/>
                  </a:lnTo>
                  <a:lnTo>
                    <a:pt x="28" y="435"/>
                  </a:lnTo>
                  <a:lnTo>
                    <a:pt x="24" y="435"/>
                  </a:lnTo>
                  <a:lnTo>
                    <a:pt x="24" y="431"/>
                  </a:lnTo>
                  <a:lnTo>
                    <a:pt x="28" y="431"/>
                  </a:lnTo>
                  <a:lnTo>
                    <a:pt x="28" y="427"/>
                  </a:lnTo>
                  <a:lnTo>
                    <a:pt x="24" y="427"/>
                  </a:lnTo>
                  <a:lnTo>
                    <a:pt x="20" y="427"/>
                  </a:lnTo>
                  <a:lnTo>
                    <a:pt x="20" y="423"/>
                  </a:lnTo>
                  <a:lnTo>
                    <a:pt x="20" y="419"/>
                  </a:lnTo>
                  <a:lnTo>
                    <a:pt x="20" y="415"/>
                  </a:lnTo>
                  <a:lnTo>
                    <a:pt x="24" y="411"/>
                  </a:lnTo>
                  <a:lnTo>
                    <a:pt x="20" y="411"/>
                  </a:lnTo>
                  <a:lnTo>
                    <a:pt x="24" y="407"/>
                  </a:lnTo>
                  <a:lnTo>
                    <a:pt x="28" y="407"/>
                  </a:lnTo>
                  <a:lnTo>
                    <a:pt x="28" y="403"/>
                  </a:lnTo>
                  <a:lnTo>
                    <a:pt x="28" y="399"/>
                  </a:lnTo>
                  <a:lnTo>
                    <a:pt x="24" y="399"/>
                  </a:lnTo>
                  <a:lnTo>
                    <a:pt x="24" y="395"/>
                  </a:lnTo>
                  <a:lnTo>
                    <a:pt x="24" y="391"/>
                  </a:lnTo>
                  <a:lnTo>
                    <a:pt x="24" y="387"/>
                  </a:lnTo>
                  <a:lnTo>
                    <a:pt x="24" y="383"/>
                  </a:lnTo>
                  <a:close/>
                  <a:moveTo>
                    <a:pt x="175" y="347"/>
                  </a:moveTo>
                  <a:lnTo>
                    <a:pt x="171" y="343"/>
                  </a:lnTo>
                  <a:lnTo>
                    <a:pt x="175" y="343"/>
                  </a:lnTo>
                  <a:lnTo>
                    <a:pt x="175" y="347"/>
                  </a:lnTo>
                  <a:close/>
                  <a:moveTo>
                    <a:pt x="76" y="634"/>
                  </a:moveTo>
                  <a:lnTo>
                    <a:pt x="76" y="638"/>
                  </a:lnTo>
                  <a:lnTo>
                    <a:pt x="80" y="642"/>
                  </a:lnTo>
                  <a:lnTo>
                    <a:pt x="80" y="646"/>
                  </a:lnTo>
                  <a:lnTo>
                    <a:pt x="80" y="642"/>
                  </a:lnTo>
                  <a:lnTo>
                    <a:pt x="76" y="642"/>
                  </a:lnTo>
                  <a:lnTo>
                    <a:pt x="76" y="646"/>
                  </a:lnTo>
                  <a:lnTo>
                    <a:pt x="76" y="650"/>
                  </a:lnTo>
                  <a:lnTo>
                    <a:pt x="80" y="650"/>
                  </a:lnTo>
                  <a:lnTo>
                    <a:pt x="84" y="650"/>
                  </a:lnTo>
                  <a:lnTo>
                    <a:pt x="84" y="654"/>
                  </a:lnTo>
                  <a:lnTo>
                    <a:pt x="84" y="658"/>
                  </a:lnTo>
                  <a:lnTo>
                    <a:pt x="88" y="658"/>
                  </a:lnTo>
                  <a:lnTo>
                    <a:pt x="88" y="662"/>
                  </a:lnTo>
                  <a:lnTo>
                    <a:pt x="92" y="662"/>
                  </a:lnTo>
                  <a:lnTo>
                    <a:pt x="92" y="666"/>
                  </a:lnTo>
                  <a:lnTo>
                    <a:pt x="96" y="666"/>
                  </a:lnTo>
                  <a:lnTo>
                    <a:pt x="100" y="670"/>
                  </a:lnTo>
                  <a:lnTo>
                    <a:pt x="104" y="670"/>
                  </a:lnTo>
                  <a:lnTo>
                    <a:pt x="104" y="674"/>
                  </a:lnTo>
                  <a:lnTo>
                    <a:pt x="108" y="678"/>
                  </a:lnTo>
                  <a:lnTo>
                    <a:pt x="112" y="678"/>
                  </a:lnTo>
                  <a:lnTo>
                    <a:pt x="116" y="682"/>
                  </a:lnTo>
                  <a:lnTo>
                    <a:pt x="120" y="682"/>
                  </a:lnTo>
                  <a:lnTo>
                    <a:pt x="124" y="682"/>
                  </a:lnTo>
                  <a:lnTo>
                    <a:pt x="127" y="682"/>
                  </a:lnTo>
                  <a:lnTo>
                    <a:pt x="124" y="686"/>
                  </a:lnTo>
                  <a:lnTo>
                    <a:pt x="120" y="686"/>
                  </a:lnTo>
                  <a:lnTo>
                    <a:pt x="116" y="686"/>
                  </a:lnTo>
                  <a:lnTo>
                    <a:pt x="112" y="690"/>
                  </a:lnTo>
                  <a:lnTo>
                    <a:pt x="108" y="690"/>
                  </a:lnTo>
                  <a:lnTo>
                    <a:pt x="104" y="690"/>
                  </a:lnTo>
                  <a:lnTo>
                    <a:pt x="104" y="686"/>
                  </a:lnTo>
                  <a:lnTo>
                    <a:pt x="100" y="686"/>
                  </a:lnTo>
                  <a:lnTo>
                    <a:pt x="96" y="686"/>
                  </a:lnTo>
                  <a:lnTo>
                    <a:pt x="92" y="686"/>
                  </a:lnTo>
                  <a:lnTo>
                    <a:pt x="88" y="686"/>
                  </a:lnTo>
                  <a:lnTo>
                    <a:pt x="84" y="686"/>
                  </a:lnTo>
                  <a:lnTo>
                    <a:pt x="80" y="686"/>
                  </a:lnTo>
                  <a:lnTo>
                    <a:pt x="76" y="686"/>
                  </a:lnTo>
                  <a:lnTo>
                    <a:pt x="76" y="678"/>
                  </a:lnTo>
                  <a:lnTo>
                    <a:pt x="76" y="674"/>
                  </a:lnTo>
                  <a:lnTo>
                    <a:pt x="76" y="666"/>
                  </a:lnTo>
                  <a:lnTo>
                    <a:pt x="76" y="662"/>
                  </a:lnTo>
                  <a:lnTo>
                    <a:pt x="76" y="654"/>
                  </a:lnTo>
                  <a:lnTo>
                    <a:pt x="76" y="650"/>
                  </a:lnTo>
                  <a:lnTo>
                    <a:pt x="76" y="646"/>
                  </a:lnTo>
                  <a:lnTo>
                    <a:pt x="76" y="638"/>
                  </a:lnTo>
                  <a:lnTo>
                    <a:pt x="76" y="634"/>
                  </a:lnTo>
                  <a:close/>
                  <a:moveTo>
                    <a:pt x="135" y="686"/>
                  </a:moveTo>
                  <a:lnTo>
                    <a:pt x="131" y="686"/>
                  </a:lnTo>
                  <a:lnTo>
                    <a:pt x="135" y="682"/>
                  </a:lnTo>
                  <a:lnTo>
                    <a:pt x="135" y="686"/>
                  </a:lnTo>
                  <a:lnTo>
                    <a:pt x="135" y="682"/>
                  </a:lnTo>
                  <a:lnTo>
                    <a:pt x="139" y="682"/>
                  </a:lnTo>
                  <a:lnTo>
                    <a:pt x="143" y="682"/>
                  </a:lnTo>
                  <a:lnTo>
                    <a:pt x="147" y="682"/>
                  </a:lnTo>
                  <a:lnTo>
                    <a:pt x="147" y="686"/>
                  </a:lnTo>
                  <a:lnTo>
                    <a:pt x="143" y="686"/>
                  </a:lnTo>
                  <a:lnTo>
                    <a:pt x="143" y="682"/>
                  </a:lnTo>
                  <a:lnTo>
                    <a:pt x="143" y="686"/>
                  </a:lnTo>
                  <a:lnTo>
                    <a:pt x="139" y="686"/>
                  </a:lnTo>
                  <a:lnTo>
                    <a:pt x="135" y="68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2" name="Freeform 170"/>
            <p:cNvSpPr>
              <a:spLocks/>
            </p:cNvSpPr>
            <p:nvPr>
              <p:custDataLst>
                <p:tags r:id="rId365"/>
              </p:custDataLst>
            </p:nvPr>
          </p:nvSpPr>
          <p:spPr bwMode="gray">
            <a:xfrm>
              <a:off x="2814395" y="4858456"/>
              <a:ext cx="271400" cy="367800"/>
            </a:xfrm>
            <a:custGeom>
              <a:avLst/>
              <a:gdLst/>
              <a:ahLst/>
              <a:cxnLst>
                <a:cxn ang="0">
                  <a:pos x="111" y="212"/>
                </a:cxn>
                <a:cxn ang="0">
                  <a:pos x="103" y="232"/>
                </a:cxn>
                <a:cxn ang="0">
                  <a:pos x="95" y="232"/>
                </a:cxn>
                <a:cxn ang="0">
                  <a:pos x="83" y="236"/>
                </a:cxn>
                <a:cxn ang="0">
                  <a:pos x="79" y="244"/>
                </a:cxn>
                <a:cxn ang="0">
                  <a:pos x="75" y="232"/>
                </a:cxn>
                <a:cxn ang="0">
                  <a:pos x="56" y="232"/>
                </a:cxn>
                <a:cxn ang="0">
                  <a:pos x="52" y="228"/>
                </a:cxn>
                <a:cxn ang="0">
                  <a:pos x="44" y="236"/>
                </a:cxn>
                <a:cxn ang="0">
                  <a:pos x="36" y="244"/>
                </a:cxn>
                <a:cxn ang="0">
                  <a:pos x="28" y="240"/>
                </a:cxn>
                <a:cxn ang="0">
                  <a:pos x="24" y="228"/>
                </a:cxn>
                <a:cxn ang="0">
                  <a:pos x="16" y="208"/>
                </a:cxn>
                <a:cxn ang="0">
                  <a:pos x="12" y="204"/>
                </a:cxn>
                <a:cxn ang="0">
                  <a:pos x="16" y="192"/>
                </a:cxn>
                <a:cxn ang="0">
                  <a:pos x="16" y="180"/>
                </a:cxn>
                <a:cxn ang="0">
                  <a:pos x="8" y="168"/>
                </a:cxn>
                <a:cxn ang="0">
                  <a:pos x="4" y="156"/>
                </a:cxn>
                <a:cxn ang="0">
                  <a:pos x="0" y="144"/>
                </a:cxn>
                <a:cxn ang="0">
                  <a:pos x="4" y="132"/>
                </a:cxn>
                <a:cxn ang="0">
                  <a:pos x="12" y="124"/>
                </a:cxn>
                <a:cxn ang="0">
                  <a:pos x="4" y="108"/>
                </a:cxn>
                <a:cxn ang="0">
                  <a:pos x="4" y="100"/>
                </a:cxn>
                <a:cxn ang="0">
                  <a:pos x="8" y="84"/>
                </a:cxn>
                <a:cxn ang="0">
                  <a:pos x="8" y="76"/>
                </a:cxn>
                <a:cxn ang="0">
                  <a:pos x="8" y="60"/>
                </a:cxn>
                <a:cxn ang="0">
                  <a:pos x="12" y="48"/>
                </a:cxn>
                <a:cxn ang="0">
                  <a:pos x="4" y="36"/>
                </a:cxn>
                <a:cxn ang="0">
                  <a:pos x="4" y="24"/>
                </a:cxn>
                <a:cxn ang="0">
                  <a:pos x="16" y="28"/>
                </a:cxn>
                <a:cxn ang="0">
                  <a:pos x="24" y="20"/>
                </a:cxn>
                <a:cxn ang="0">
                  <a:pos x="28" y="16"/>
                </a:cxn>
                <a:cxn ang="0">
                  <a:pos x="40" y="12"/>
                </a:cxn>
                <a:cxn ang="0">
                  <a:pos x="52" y="0"/>
                </a:cxn>
                <a:cxn ang="0">
                  <a:pos x="60" y="0"/>
                </a:cxn>
                <a:cxn ang="0">
                  <a:pos x="64" y="12"/>
                </a:cxn>
                <a:cxn ang="0">
                  <a:pos x="64" y="28"/>
                </a:cxn>
                <a:cxn ang="0">
                  <a:pos x="67" y="36"/>
                </a:cxn>
                <a:cxn ang="0">
                  <a:pos x="75" y="48"/>
                </a:cxn>
                <a:cxn ang="0">
                  <a:pos x="91" y="52"/>
                </a:cxn>
                <a:cxn ang="0">
                  <a:pos x="99" y="60"/>
                </a:cxn>
                <a:cxn ang="0">
                  <a:pos x="111" y="68"/>
                </a:cxn>
                <a:cxn ang="0">
                  <a:pos x="123" y="72"/>
                </a:cxn>
                <a:cxn ang="0">
                  <a:pos x="139" y="76"/>
                </a:cxn>
                <a:cxn ang="0">
                  <a:pos x="139" y="88"/>
                </a:cxn>
                <a:cxn ang="0">
                  <a:pos x="135" y="100"/>
                </a:cxn>
                <a:cxn ang="0">
                  <a:pos x="143" y="124"/>
                </a:cxn>
                <a:cxn ang="0">
                  <a:pos x="171" y="124"/>
                </a:cxn>
                <a:cxn ang="0">
                  <a:pos x="167" y="136"/>
                </a:cxn>
                <a:cxn ang="0">
                  <a:pos x="175" y="144"/>
                </a:cxn>
                <a:cxn ang="0">
                  <a:pos x="183" y="160"/>
                </a:cxn>
                <a:cxn ang="0">
                  <a:pos x="175" y="176"/>
                </a:cxn>
                <a:cxn ang="0">
                  <a:pos x="175" y="188"/>
                </a:cxn>
                <a:cxn ang="0">
                  <a:pos x="171" y="188"/>
                </a:cxn>
                <a:cxn ang="0">
                  <a:pos x="151" y="180"/>
                </a:cxn>
                <a:cxn ang="0">
                  <a:pos x="135" y="184"/>
                </a:cxn>
                <a:cxn ang="0">
                  <a:pos x="119" y="188"/>
                </a:cxn>
              </a:cxnLst>
              <a:rect l="0" t="0" r="r" b="b"/>
              <a:pathLst>
                <a:path w="183" h="248">
                  <a:moveTo>
                    <a:pt x="111" y="200"/>
                  </a:moveTo>
                  <a:lnTo>
                    <a:pt x="111" y="204"/>
                  </a:lnTo>
                  <a:lnTo>
                    <a:pt x="111" y="208"/>
                  </a:lnTo>
                  <a:lnTo>
                    <a:pt x="111" y="212"/>
                  </a:lnTo>
                  <a:lnTo>
                    <a:pt x="107" y="220"/>
                  </a:lnTo>
                  <a:lnTo>
                    <a:pt x="107" y="224"/>
                  </a:lnTo>
                  <a:lnTo>
                    <a:pt x="107" y="228"/>
                  </a:lnTo>
                  <a:lnTo>
                    <a:pt x="103" y="232"/>
                  </a:lnTo>
                  <a:lnTo>
                    <a:pt x="103" y="236"/>
                  </a:lnTo>
                  <a:lnTo>
                    <a:pt x="103" y="232"/>
                  </a:lnTo>
                  <a:lnTo>
                    <a:pt x="99" y="232"/>
                  </a:lnTo>
                  <a:lnTo>
                    <a:pt x="95" y="232"/>
                  </a:lnTo>
                  <a:lnTo>
                    <a:pt x="91" y="232"/>
                  </a:lnTo>
                  <a:lnTo>
                    <a:pt x="87" y="232"/>
                  </a:lnTo>
                  <a:lnTo>
                    <a:pt x="83" y="232"/>
                  </a:lnTo>
                  <a:lnTo>
                    <a:pt x="83" y="236"/>
                  </a:lnTo>
                  <a:lnTo>
                    <a:pt x="79" y="240"/>
                  </a:lnTo>
                  <a:lnTo>
                    <a:pt x="79" y="244"/>
                  </a:lnTo>
                  <a:lnTo>
                    <a:pt x="79" y="248"/>
                  </a:lnTo>
                  <a:lnTo>
                    <a:pt x="79" y="244"/>
                  </a:lnTo>
                  <a:lnTo>
                    <a:pt x="75" y="244"/>
                  </a:lnTo>
                  <a:lnTo>
                    <a:pt x="75" y="240"/>
                  </a:lnTo>
                  <a:lnTo>
                    <a:pt x="75" y="236"/>
                  </a:lnTo>
                  <a:lnTo>
                    <a:pt x="75" y="232"/>
                  </a:lnTo>
                  <a:lnTo>
                    <a:pt x="71" y="232"/>
                  </a:lnTo>
                  <a:lnTo>
                    <a:pt x="67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56" y="228"/>
                  </a:lnTo>
                  <a:lnTo>
                    <a:pt x="52" y="228"/>
                  </a:lnTo>
                  <a:lnTo>
                    <a:pt x="52" y="224"/>
                  </a:lnTo>
                  <a:lnTo>
                    <a:pt x="52" y="228"/>
                  </a:lnTo>
                  <a:lnTo>
                    <a:pt x="48" y="228"/>
                  </a:lnTo>
                  <a:lnTo>
                    <a:pt x="48" y="232"/>
                  </a:lnTo>
                  <a:lnTo>
                    <a:pt x="44" y="232"/>
                  </a:lnTo>
                  <a:lnTo>
                    <a:pt x="44" y="236"/>
                  </a:lnTo>
                  <a:lnTo>
                    <a:pt x="44" y="240"/>
                  </a:lnTo>
                  <a:lnTo>
                    <a:pt x="40" y="240"/>
                  </a:lnTo>
                  <a:lnTo>
                    <a:pt x="40" y="244"/>
                  </a:lnTo>
                  <a:lnTo>
                    <a:pt x="36" y="244"/>
                  </a:lnTo>
                  <a:lnTo>
                    <a:pt x="32" y="248"/>
                  </a:lnTo>
                  <a:lnTo>
                    <a:pt x="28" y="248"/>
                  </a:lnTo>
                  <a:lnTo>
                    <a:pt x="24" y="244"/>
                  </a:lnTo>
                  <a:lnTo>
                    <a:pt x="28" y="240"/>
                  </a:lnTo>
                  <a:lnTo>
                    <a:pt x="24" y="240"/>
                  </a:lnTo>
                  <a:lnTo>
                    <a:pt x="24" y="236"/>
                  </a:lnTo>
                  <a:lnTo>
                    <a:pt x="24" y="232"/>
                  </a:lnTo>
                  <a:lnTo>
                    <a:pt x="24" y="228"/>
                  </a:lnTo>
                  <a:lnTo>
                    <a:pt x="24" y="224"/>
                  </a:lnTo>
                  <a:lnTo>
                    <a:pt x="20" y="224"/>
                  </a:lnTo>
                  <a:lnTo>
                    <a:pt x="20" y="216"/>
                  </a:lnTo>
                  <a:lnTo>
                    <a:pt x="16" y="208"/>
                  </a:lnTo>
                  <a:lnTo>
                    <a:pt x="16" y="212"/>
                  </a:lnTo>
                  <a:lnTo>
                    <a:pt x="16" y="208"/>
                  </a:lnTo>
                  <a:lnTo>
                    <a:pt x="16" y="204"/>
                  </a:lnTo>
                  <a:lnTo>
                    <a:pt x="12" y="204"/>
                  </a:lnTo>
                  <a:lnTo>
                    <a:pt x="12" y="200"/>
                  </a:lnTo>
                  <a:lnTo>
                    <a:pt x="12" y="196"/>
                  </a:lnTo>
                  <a:lnTo>
                    <a:pt x="12" y="192"/>
                  </a:lnTo>
                  <a:lnTo>
                    <a:pt x="16" y="192"/>
                  </a:lnTo>
                  <a:lnTo>
                    <a:pt x="16" y="188"/>
                  </a:lnTo>
                  <a:lnTo>
                    <a:pt x="12" y="188"/>
                  </a:lnTo>
                  <a:lnTo>
                    <a:pt x="16" y="184"/>
                  </a:lnTo>
                  <a:lnTo>
                    <a:pt x="16" y="180"/>
                  </a:lnTo>
                  <a:lnTo>
                    <a:pt x="12" y="180"/>
                  </a:lnTo>
                  <a:lnTo>
                    <a:pt x="12" y="176"/>
                  </a:lnTo>
                  <a:lnTo>
                    <a:pt x="8" y="172"/>
                  </a:lnTo>
                  <a:lnTo>
                    <a:pt x="8" y="168"/>
                  </a:lnTo>
                  <a:lnTo>
                    <a:pt x="8" y="164"/>
                  </a:lnTo>
                  <a:lnTo>
                    <a:pt x="8" y="160"/>
                  </a:lnTo>
                  <a:lnTo>
                    <a:pt x="8" y="156"/>
                  </a:lnTo>
                  <a:lnTo>
                    <a:pt x="4" y="156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0" y="148"/>
                  </a:lnTo>
                  <a:lnTo>
                    <a:pt x="0" y="144"/>
                  </a:lnTo>
                  <a:lnTo>
                    <a:pt x="0" y="140"/>
                  </a:lnTo>
                  <a:lnTo>
                    <a:pt x="0" y="136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8" y="132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12" y="124"/>
                  </a:lnTo>
                  <a:lnTo>
                    <a:pt x="8" y="120"/>
                  </a:lnTo>
                  <a:lnTo>
                    <a:pt x="4" y="120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4" y="104"/>
                  </a:lnTo>
                  <a:lnTo>
                    <a:pt x="8" y="104"/>
                  </a:lnTo>
                  <a:lnTo>
                    <a:pt x="8" y="100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4" y="92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7" y="36"/>
                  </a:lnTo>
                  <a:lnTo>
                    <a:pt x="67" y="40"/>
                  </a:lnTo>
                  <a:lnTo>
                    <a:pt x="67" y="36"/>
                  </a:lnTo>
                  <a:lnTo>
                    <a:pt x="67" y="40"/>
                  </a:lnTo>
                  <a:lnTo>
                    <a:pt x="67" y="44"/>
                  </a:lnTo>
                  <a:lnTo>
                    <a:pt x="71" y="44"/>
                  </a:lnTo>
                  <a:lnTo>
                    <a:pt x="75" y="48"/>
                  </a:lnTo>
                  <a:lnTo>
                    <a:pt x="79" y="52"/>
                  </a:lnTo>
                  <a:lnTo>
                    <a:pt x="83" y="52"/>
                  </a:lnTo>
                  <a:lnTo>
                    <a:pt x="87" y="52"/>
                  </a:lnTo>
                  <a:lnTo>
                    <a:pt x="91" y="52"/>
                  </a:lnTo>
                  <a:lnTo>
                    <a:pt x="91" y="56"/>
                  </a:lnTo>
                  <a:lnTo>
                    <a:pt x="95" y="56"/>
                  </a:lnTo>
                  <a:lnTo>
                    <a:pt x="99" y="56"/>
                  </a:lnTo>
                  <a:lnTo>
                    <a:pt x="99" y="60"/>
                  </a:lnTo>
                  <a:lnTo>
                    <a:pt x="103" y="60"/>
                  </a:lnTo>
                  <a:lnTo>
                    <a:pt x="107" y="64"/>
                  </a:lnTo>
                  <a:lnTo>
                    <a:pt x="111" y="64"/>
                  </a:lnTo>
                  <a:lnTo>
                    <a:pt x="111" y="68"/>
                  </a:lnTo>
                  <a:lnTo>
                    <a:pt x="115" y="68"/>
                  </a:lnTo>
                  <a:lnTo>
                    <a:pt x="115" y="72"/>
                  </a:lnTo>
                  <a:lnTo>
                    <a:pt x="119" y="72"/>
                  </a:lnTo>
                  <a:lnTo>
                    <a:pt x="123" y="72"/>
                  </a:lnTo>
                  <a:lnTo>
                    <a:pt x="127" y="72"/>
                  </a:lnTo>
                  <a:lnTo>
                    <a:pt x="131" y="72"/>
                  </a:lnTo>
                  <a:lnTo>
                    <a:pt x="135" y="76"/>
                  </a:lnTo>
                  <a:lnTo>
                    <a:pt x="139" y="76"/>
                  </a:lnTo>
                  <a:lnTo>
                    <a:pt x="139" y="80"/>
                  </a:lnTo>
                  <a:lnTo>
                    <a:pt x="135" y="84"/>
                  </a:lnTo>
                  <a:lnTo>
                    <a:pt x="139" y="84"/>
                  </a:lnTo>
                  <a:lnTo>
                    <a:pt x="139" y="88"/>
                  </a:lnTo>
                  <a:lnTo>
                    <a:pt x="139" y="92"/>
                  </a:lnTo>
                  <a:lnTo>
                    <a:pt x="139" y="96"/>
                  </a:lnTo>
                  <a:lnTo>
                    <a:pt x="139" y="100"/>
                  </a:lnTo>
                  <a:lnTo>
                    <a:pt x="135" y="100"/>
                  </a:lnTo>
                  <a:lnTo>
                    <a:pt x="139" y="104"/>
                  </a:lnTo>
                  <a:lnTo>
                    <a:pt x="139" y="108"/>
                  </a:lnTo>
                  <a:lnTo>
                    <a:pt x="143" y="116"/>
                  </a:lnTo>
                  <a:lnTo>
                    <a:pt x="143" y="124"/>
                  </a:lnTo>
                  <a:lnTo>
                    <a:pt x="151" y="124"/>
                  </a:lnTo>
                  <a:lnTo>
                    <a:pt x="159" y="124"/>
                  </a:lnTo>
                  <a:lnTo>
                    <a:pt x="167" y="124"/>
                  </a:lnTo>
                  <a:lnTo>
                    <a:pt x="171" y="124"/>
                  </a:lnTo>
                  <a:lnTo>
                    <a:pt x="171" y="128"/>
                  </a:lnTo>
                  <a:lnTo>
                    <a:pt x="167" y="128"/>
                  </a:lnTo>
                  <a:lnTo>
                    <a:pt x="167" y="132"/>
                  </a:lnTo>
                  <a:lnTo>
                    <a:pt x="167" y="136"/>
                  </a:lnTo>
                  <a:lnTo>
                    <a:pt x="167" y="140"/>
                  </a:lnTo>
                  <a:lnTo>
                    <a:pt x="171" y="140"/>
                  </a:lnTo>
                  <a:lnTo>
                    <a:pt x="171" y="144"/>
                  </a:lnTo>
                  <a:lnTo>
                    <a:pt x="175" y="144"/>
                  </a:lnTo>
                  <a:lnTo>
                    <a:pt x="179" y="148"/>
                  </a:lnTo>
                  <a:lnTo>
                    <a:pt x="179" y="152"/>
                  </a:lnTo>
                  <a:lnTo>
                    <a:pt x="179" y="156"/>
                  </a:lnTo>
                  <a:lnTo>
                    <a:pt x="183" y="160"/>
                  </a:lnTo>
                  <a:lnTo>
                    <a:pt x="179" y="164"/>
                  </a:lnTo>
                  <a:lnTo>
                    <a:pt x="179" y="172"/>
                  </a:lnTo>
                  <a:lnTo>
                    <a:pt x="179" y="176"/>
                  </a:lnTo>
                  <a:lnTo>
                    <a:pt x="175" y="176"/>
                  </a:lnTo>
                  <a:lnTo>
                    <a:pt x="175" y="180"/>
                  </a:lnTo>
                  <a:lnTo>
                    <a:pt x="175" y="188"/>
                  </a:lnTo>
                  <a:lnTo>
                    <a:pt x="171" y="188"/>
                  </a:lnTo>
                  <a:lnTo>
                    <a:pt x="175" y="188"/>
                  </a:lnTo>
                  <a:lnTo>
                    <a:pt x="175" y="192"/>
                  </a:lnTo>
                  <a:lnTo>
                    <a:pt x="171" y="196"/>
                  </a:lnTo>
                  <a:lnTo>
                    <a:pt x="171" y="192"/>
                  </a:lnTo>
                  <a:lnTo>
                    <a:pt x="171" y="188"/>
                  </a:lnTo>
                  <a:lnTo>
                    <a:pt x="167" y="184"/>
                  </a:lnTo>
                  <a:lnTo>
                    <a:pt x="163" y="184"/>
                  </a:lnTo>
                  <a:lnTo>
                    <a:pt x="159" y="180"/>
                  </a:lnTo>
                  <a:lnTo>
                    <a:pt x="151" y="180"/>
                  </a:lnTo>
                  <a:lnTo>
                    <a:pt x="143" y="180"/>
                  </a:lnTo>
                  <a:lnTo>
                    <a:pt x="139" y="180"/>
                  </a:lnTo>
                  <a:lnTo>
                    <a:pt x="135" y="180"/>
                  </a:lnTo>
                  <a:lnTo>
                    <a:pt x="135" y="184"/>
                  </a:lnTo>
                  <a:lnTo>
                    <a:pt x="131" y="184"/>
                  </a:lnTo>
                  <a:lnTo>
                    <a:pt x="123" y="184"/>
                  </a:lnTo>
                  <a:lnTo>
                    <a:pt x="119" y="184"/>
                  </a:lnTo>
                  <a:lnTo>
                    <a:pt x="119" y="188"/>
                  </a:lnTo>
                  <a:lnTo>
                    <a:pt x="115" y="192"/>
                  </a:lnTo>
                  <a:lnTo>
                    <a:pt x="111" y="20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3" name="Freeform 171"/>
            <p:cNvSpPr>
              <a:spLocks noEditPoints="1"/>
            </p:cNvSpPr>
            <p:nvPr>
              <p:custDataLst>
                <p:tags r:id="rId366"/>
              </p:custDataLst>
            </p:nvPr>
          </p:nvSpPr>
          <p:spPr bwMode="gray">
            <a:xfrm>
              <a:off x="2713547" y="4450614"/>
              <a:ext cx="880940" cy="1088569"/>
            </a:xfrm>
            <a:custGeom>
              <a:avLst/>
              <a:gdLst/>
              <a:ahLst/>
              <a:cxnLst>
                <a:cxn ang="0">
                  <a:pos x="451" y="152"/>
                </a:cxn>
                <a:cxn ang="0">
                  <a:pos x="494" y="152"/>
                </a:cxn>
                <a:cxn ang="0">
                  <a:pos x="550" y="179"/>
                </a:cxn>
                <a:cxn ang="0">
                  <a:pos x="594" y="223"/>
                </a:cxn>
                <a:cxn ang="0">
                  <a:pos x="566" y="291"/>
                </a:cxn>
                <a:cxn ang="0">
                  <a:pos x="538" y="335"/>
                </a:cxn>
                <a:cxn ang="0">
                  <a:pos x="530" y="355"/>
                </a:cxn>
                <a:cxn ang="0">
                  <a:pos x="530" y="423"/>
                </a:cxn>
                <a:cxn ang="0">
                  <a:pos x="502" y="483"/>
                </a:cxn>
                <a:cxn ang="0">
                  <a:pos x="463" y="523"/>
                </a:cxn>
                <a:cxn ang="0">
                  <a:pos x="435" y="539"/>
                </a:cxn>
                <a:cxn ang="0">
                  <a:pos x="391" y="567"/>
                </a:cxn>
                <a:cxn ang="0">
                  <a:pos x="387" y="606"/>
                </a:cxn>
                <a:cxn ang="0">
                  <a:pos x="363" y="650"/>
                </a:cxn>
                <a:cxn ang="0">
                  <a:pos x="331" y="694"/>
                </a:cxn>
                <a:cxn ang="0">
                  <a:pos x="351" y="666"/>
                </a:cxn>
                <a:cxn ang="0">
                  <a:pos x="331" y="702"/>
                </a:cxn>
                <a:cxn ang="0">
                  <a:pos x="307" y="706"/>
                </a:cxn>
                <a:cxn ang="0">
                  <a:pos x="271" y="670"/>
                </a:cxn>
                <a:cxn ang="0">
                  <a:pos x="267" y="638"/>
                </a:cxn>
                <a:cxn ang="0">
                  <a:pos x="307" y="602"/>
                </a:cxn>
                <a:cxn ang="0">
                  <a:pos x="295" y="539"/>
                </a:cxn>
                <a:cxn ang="0">
                  <a:pos x="255" y="511"/>
                </a:cxn>
                <a:cxn ang="0">
                  <a:pos x="247" y="447"/>
                </a:cxn>
                <a:cxn ang="0">
                  <a:pos x="207" y="383"/>
                </a:cxn>
                <a:cxn ang="0">
                  <a:pos x="175" y="339"/>
                </a:cxn>
                <a:cxn ang="0">
                  <a:pos x="132" y="295"/>
                </a:cxn>
                <a:cxn ang="0">
                  <a:pos x="96" y="291"/>
                </a:cxn>
                <a:cxn ang="0">
                  <a:pos x="52" y="279"/>
                </a:cxn>
                <a:cxn ang="0">
                  <a:pos x="12" y="259"/>
                </a:cxn>
                <a:cxn ang="0">
                  <a:pos x="16" y="199"/>
                </a:cxn>
                <a:cxn ang="0">
                  <a:pos x="64" y="175"/>
                </a:cxn>
                <a:cxn ang="0">
                  <a:pos x="60" y="88"/>
                </a:cxn>
                <a:cxn ang="0">
                  <a:pos x="92" y="68"/>
                </a:cxn>
                <a:cxn ang="0">
                  <a:pos x="128" y="84"/>
                </a:cxn>
                <a:cxn ang="0">
                  <a:pos x="151" y="44"/>
                </a:cxn>
                <a:cxn ang="0">
                  <a:pos x="159" y="24"/>
                </a:cxn>
                <a:cxn ang="0">
                  <a:pos x="203" y="4"/>
                </a:cxn>
                <a:cxn ang="0">
                  <a:pos x="215" y="56"/>
                </a:cxn>
                <a:cxn ang="0">
                  <a:pos x="255" y="60"/>
                </a:cxn>
                <a:cxn ang="0">
                  <a:pos x="303" y="56"/>
                </a:cxn>
                <a:cxn ang="0">
                  <a:pos x="343" y="24"/>
                </a:cxn>
                <a:cxn ang="0">
                  <a:pos x="367" y="76"/>
                </a:cxn>
                <a:cxn ang="0">
                  <a:pos x="327" y="128"/>
                </a:cxn>
                <a:cxn ang="0">
                  <a:pos x="343" y="128"/>
                </a:cxn>
                <a:cxn ang="0">
                  <a:pos x="359" y="132"/>
                </a:cxn>
                <a:cxn ang="0">
                  <a:pos x="387" y="124"/>
                </a:cxn>
                <a:cxn ang="0">
                  <a:pos x="411" y="112"/>
                </a:cxn>
                <a:cxn ang="0">
                  <a:pos x="439" y="124"/>
                </a:cxn>
                <a:cxn ang="0">
                  <a:pos x="351" y="124"/>
                </a:cxn>
                <a:cxn ang="0">
                  <a:pos x="375" y="100"/>
                </a:cxn>
                <a:cxn ang="0">
                  <a:pos x="363" y="80"/>
                </a:cxn>
                <a:cxn ang="0">
                  <a:pos x="359" y="92"/>
                </a:cxn>
                <a:cxn ang="0">
                  <a:pos x="375" y="96"/>
                </a:cxn>
                <a:cxn ang="0">
                  <a:pos x="347" y="100"/>
                </a:cxn>
                <a:cxn ang="0">
                  <a:pos x="347" y="112"/>
                </a:cxn>
                <a:cxn ang="0">
                  <a:pos x="387" y="120"/>
                </a:cxn>
                <a:cxn ang="0">
                  <a:pos x="443" y="128"/>
                </a:cxn>
                <a:cxn ang="0">
                  <a:pos x="447" y="148"/>
                </a:cxn>
                <a:cxn ang="0">
                  <a:pos x="387" y="606"/>
                </a:cxn>
                <a:cxn ang="0">
                  <a:pos x="455" y="527"/>
                </a:cxn>
              </a:cxnLst>
              <a:rect l="0" t="0" r="r" b="b"/>
              <a:pathLst>
                <a:path w="594" h="734">
                  <a:moveTo>
                    <a:pt x="443" y="132"/>
                  </a:moveTo>
                  <a:lnTo>
                    <a:pt x="447" y="132"/>
                  </a:lnTo>
                  <a:lnTo>
                    <a:pt x="447" y="136"/>
                  </a:lnTo>
                  <a:lnTo>
                    <a:pt x="447" y="140"/>
                  </a:lnTo>
                  <a:lnTo>
                    <a:pt x="447" y="136"/>
                  </a:lnTo>
                  <a:lnTo>
                    <a:pt x="451" y="140"/>
                  </a:lnTo>
                  <a:lnTo>
                    <a:pt x="447" y="144"/>
                  </a:lnTo>
                  <a:lnTo>
                    <a:pt x="447" y="148"/>
                  </a:lnTo>
                  <a:lnTo>
                    <a:pt x="443" y="152"/>
                  </a:lnTo>
                  <a:lnTo>
                    <a:pt x="447" y="152"/>
                  </a:lnTo>
                  <a:lnTo>
                    <a:pt x="443" y="155"/>
                  </a:lnTo>
                  <a:lnTo>
                    <a:pt x="443" y="159"/>
                  </a:lnTo>
                  <a:lnTo>
                    <a:pt x="447" y="155"/>
                  </a:lnTo>
                  <a:lnTo>
                    <a:pt x="447" y="152"/>
                  </a:lnTo>
                  <a:lnTo>
                    <a:pt x="451" y="148"/>
                  </a:lnTo>
                  <a:lnTo>
                    <a:pt x="451" y="144"/>
                  </a:lnTo>
                  <a:lnTo>
                    <a:pt x="455" y="144"/>
                  </a:lnTo>
                  <a:lnTo>
                    <a:pt x="455" y="148"/>
                  </a:lnTo>
                  <a:lnTo>
                    <a:pt x="451" y="148"/>
                  </a:lnTo>
                  <a:lnTo>
                    <a:pt x="451" y="152"/>
                  </a:lnTo>
                  <a:lnTo>
                    <a:pt x="455" y="148"/>
                  </a:lnTo>
                  <a:lnTo>
                    <a:pt x="455" y="144"/>
                  </a:lnTo>
                  <a:lnTo>
                    <a:pt x="459" y="144"/>
                  </a:lnTo>
                  <a:lnTo>
                    <a:pt x="463" y="144"/>
                  </a:lnTo>
                  <a:lnTo>
                    <a:pt x="463" y="140"/>
                  </a:lnTo>
                  <a:lnTo>
                    <a:pt x="467" y="140"/>
                  </a:lnTo>
                  <a:lnTo>
                    <a:pt x="467" y="144"/>
                  </a:lnTo>
                  <a:lnTo>
                    <a:pt x="471" y="144"/>
                  </a:lnTo>
                  <a:lnTo>
                    <a:pt x="475" y="144"/>
                  </a:lnTo>
                  <a:lnTo>
                    <a:pt x="475" y="148"/>
                  </a:lnTo>
                  <a:lnTo>
                    <a:pt x="479" y="148"/>
                  </a:lnTo>
                  <a:lnTo>
                    <a:pt x="483" y="148"/>
                  </a:lnTo>
                  <a:lnTo>
                    <a:pt x="483" y="152"/>
                  </a:lnTo>
                  <a:lnTo>
                    <a:pt x="483" y="148"/>
                  </a:lnTo>
                  <a:lnTo>
                    <a:pt x="487" y="148"/>
                  </a:lnTo>
                  <a:lnTo>
                    <a:pt x="487" y="152"/>
                  </a:lnTo>
                  <a:lnTo>
                    <a:pt x="487" y="148"/>
                  </a:lnTo>
                  <a:lnTo>
                    <a:pt x="490" y="148"/>
                  </a:lnTo>
                  <a:lnTo>
                    <a:pt x="490" y="152"/>
                  </a:lnTo>
                  <a:lnTo>
                    <a:pt x="494" y="152"/>
                  </a:lnTo>
                  <a:lnTo>
                    <a:pt x="498" y="152"/>
                  </a:lnTo>
                  <a:lnTo>
                    <a:pt x="494" y="152"/>
                  </a:lnTo>
                  <a:lnTo>
                    <a:pt x="498" y="152"/>
                  </a:lnTo>
                  <a:lnTo>
                    <a:pt x="502" y="152"/>
                  </a:lnTo>
                  <a:lnTo>
                    <a:pt x="506" y="152"/>
                  </a:lnTo>
                  <a:lnTo>
                    <a:pt x="506" y="148"/>
                  </a:lnTo>
                  <a:lnTo>
                    <a:pt x="510" y="148"/>
                  </a:lnTo>
                  <a:lnTo>
                    <a:pt x="514" y="152"/>
                  </a:lnTo>
                  <a:lnTo>
                    <a:pt x="518" y="152"/>
                  </a:lnTo>
                  <a:lnTo>
                    <a:pt x="522" y="155"/>
                  </a:lnTo>
                  <a:lnTo>
                    <a:pt x="526" y="155"/>
                  </a:lnTo>
                  <a:lnTo>
                    <a:pt x="526" y="159"/>
                  </a:lnTo>
                  <a:lnTo>
                    <a:pt x="530" y="159"/>
                  </a:lnTo>
                  <a:lnTo>
                    <a:pt x="534" y="163"/>
                  </a:lnTo>
                  <a:lnTo>
                    <a:pt x="538" y="167"/>
                  </a:lnTo>
                  <a:lnTo>
                    <a:pt x="542" y="167"/>
                  </a:lnTo>
                  <a:lnTo>
                    <a:pt x="542" y="171"/>
                  </a:lnTo>
                  <a:lnTo>
                    <a:pt x="542" y="175"/>
                  </a:lnTo>
                  <a:lnTo>
                    <a:pt x="546" y="175"/>
                  </a:lnTo>
                  <a:lnTo>
                    <a:pt x="550" y="179"/>
                  </a:lnTo>
                  <a:lnTo>
                    <a:pt x="550" y="183"/>
                  </a:lnTo>
                  <a:lnTo>
                    <a:pt x="554" y="183"/>
                  </a:lnTo>
                  <a:lnTo>
                    <a:pt x="558" y="183"/>
                  </a:lnTo>
                  <a:lnTo>
                    <a:pt x="558" y="187"/>
                  </a:lnTo>
                  <a:lnTo>
                    <a:pt x="562" y="187"/>
                  </a:lnTo>
                  <a:lnTo>
                    <a:pt x="562" y="191"/>
                  </a:lnTo>
                  <a:lnTo>
                    <a:pt x="566" y="191"/>
                  </a:lnTo>
                  <a:lnTo>
                    <a:pt x="570" y="191"/>
                  </a:lnTo>
                  <a:lnTo>
                    <a:pt x="574" y="191"/>
                  </a:lnTo>
                  <a:lnTo>
                    <a:pt x="578" y="191"/>
                  </a:lnTo>
                  <a:lnTo>
                    <a:pt x="582" y="191"/>
                  </a:lnTo>
                  <a:lnTo>
                    <a:pt x="586" y="191"/>
                  </a:lnTo>
                  <a:lnTo>
                    <a:pt x="586" y="195"/>
                  </a:lnTo>
                  <a:lnTo>
                    <a:pt x="586" y="199"/>
                  </a:lnTo>
                  <a:lnTo>
                    <a:pt x="586" y="203"/>
                  </a:lnTo>
                  <a:lnTo>
                    <a:pt x="590" y="207"/>
                  </a:lnTo>
                  <a:lnTo>
                    <a:pt x="590" y="211"/>
                  </a:lnTo>
                  <a:lnTo>
                    <a:pt x="590" y="215"/>
                  </a:lnTo>
                  <a:lnTo>
                    <a:pt x="590" y="219"/>
                  </a:lnTo>
                  <a:lnTo>
                    <a:pt x="594" y="223"/>
                  </a:lnTo>
                  <a:lnTo>
                    <a:pt x="594" y="227"/>
                  </a:lnTo>
                  <a:lnTo>
                    <a:pt x="594" y="231"/>
                  </a:lnTo>
                  <a:lnTo>
                    <a:pt x="594" y="235"/>
                  </a:lnTo>
                  <a:lnTo>
                    <a:pt x="594" y="239"/>
                  </a:lnTo>
                  <a:lnTo>
                    <a:pt x="594" y="243"/>
                  </a:lnTo>
                  <a:lnTo>
                    <a:pt x="594" y="247"/>
                  </a:lnTo>
                  <a:lnTo>
                    <a:pt x="590" y="251"/>
                  </a:lnTo>
                  <a:lnTo>
                    <a:pt x="590" y="255"/>
                  </a:lnTo>
                  <a:lnTo>
                    <a:pt x="590" y="259"/>
                  </a:lnTo>
                  <a:lnTo>
                    <a:pt x="590" y="263"/>
                  </a:lnTo>
                  <a:lnTo>
                    <a:pt x="586" y="263"/>
                  </a:lnTo>
                  <a:lnTo>
                    <a:pt x="586" y="267"/>
                  </a:lnTo>
                  <a:lnTo>
                    <a:pt x="582" y="271"/>
                  </a:lnTo>
                  <a:lnTo>
                    <a:pt x="582" y="275"/>
                  </a:lnTo>
                  <a:lnTo>
                    <a:pt x="578" y="275"/>
                  </a:lnTo>
                  <a:lnTo>
                    <a:pt x="578" y="279"/>
                  </a:lnTo>
                  <a:lnTo>
                    <a:pt x="574" y="283"/>
                  </a:lnTo>
                  <a:lnTo>
                    <a:pt x="570" y="287"/>
                  </a:lnTo>
                  <a:lnTo>
                    <a:pt x="570" y="291"/>
                  </a:lnTo>
                  <a:lnTo>
                    <a:pt x="566" y="291"/>
                  </a:lnTo>
                  <a:lnTo>
                    <a:pt x="562" y="295"/>
                  </a:lnTo>
                  <a:lnTo>
                    <a:pt x="562" y="299"/>
                  </a:lnTo>
                  <a:lnTo>
                    <a:pt x="558" y="299"/>
                  </a:lnTo>
                  <a:lnTo>
                    <a:pt x="558" y="295"/>
                  </a:lnTo>
                  <a:lnTo>
                    <a:pt x="558" y="299"/>
                  </a:lnTo>
                  <a:lnTo>
                    <a:pt x="558" y="303"/>
                  </a:lnTo>
                  <a:lnTo>
                    <a:pt x="558" y="299"/>
                  </a:lnTo>
                  <a:lnTo>
                    <a:pt x="558" y="303"/>
                  </a:lnTo>
                  <a:lnTo>
                    <a:pt x="554" y="307"/>
                  </a:lnTo>
                  <a:lnTo>
                    <a:pt x="554" y="303"/>
                  </a:lnTo>
                  <a:lnTo>
                    <a:pt x="554" y="307"/>
                  </a:lnTo>
                  <a:lnTo>
                    <a:pt x="554" y="311"/>
                  </a:lnTo>
                  <a:lnTo>
                    <a:pt x="550" y="315"/>
                  </a:lnTo>
                  <a:lnTo>
                    <a:pt x="550" y="319"/>
                  </a:lnTo>
                  <a:lnTo>
                    <a:pt x="550" y="323"/>
                  </a:lnTo>
                  <a:lnTo>
                    <a:pt x="546" y="323"/>
                  </a:lnTo>
                  <a:lnTo>
                    <a:pt x="546" y="327"/>
                  </a:lnTo>
                  <a:lnTo>
                    <a:pt x="546" y="331"/>
                  </a:lnTo>
                  <a:lnTo>
                    <a:pt x="542" y="335"/>
                  </a:lnTo>
                  <a:lnTo>
                    <a:pt x="538" y="335"/>
                  </a:lnTo>
                  <a:lnTo>
                    <a:pt x="538" y="331"/>
                  </a:lnTo>
                  <a:lnTo>
                    <a:pt x="534" y="331"/>
                  </a:lnTo>
                  <a:lnTo>
                    <a:pt x="534" y="327"/>
                  </a:lnTo>
                  <a:lnTo>
                    <a:pt x="534" y="331"/>
                  </a:lnTo>
                  <a:lnTo>
                    <a:pt x="534" y="335"/>
                  </a:lnTo>
                  <a:lnTo>
                    <a:pt x="534" y="331"/>
                  </a:lnTo>
                  <a:lnTo>
                    <a:pt x="530" y="331"/>
                  </a:lnTo>
                  <a:lnTo>
                    <a:pt x="534" y="331"/>
                  </a:lnTo>
                  <a:lnTo>
                    <a:pt x="530" y="331"/>
                  </a:lnTo>
                  <a:lnTo>
                    <a:pt x="534" y="335"/>
                  </a:lnTo>
                  <a:lnTo>
                    <a:pt x="534" y="339"/>
                  </a:lnTo>
                  <a:lnTo>
                    <a:pt x="530" y="339"/>
                  </a:lnTo>
                  <a:lnTo>
                    <a:pt x="530" y="343"/>
                  </a:lnTo>
                  <a:lnTo>
                    <a:pt x="530" y="347"/>
                  </a:lnTo>
                  <a:lnTo>
                    <a:pt x="530" y="351"/>
                  </a:lnTo>
                  <a:lnTo>
                    <a:pt x="530" y="355"/>
                  </a:lnTo>
                  <a:lnTo>
                    <a:pt x="530" y="359"/>
                  </a:lnTo>
                  <a:lnTo>
                    <a:pt x="530" y="355"/>
                  </a:lnTo>
                  <a:lnTo>
                    <a:pt x="530" y="351"/>
                  </a:lnTo>
                  <a:lnTo>
                    <a:pt x="530" y="355"/>
                  </a:lnTo>
                  <a:lnTo>
                    <a:pt x="530" y="359"/>
                  </a:lnTo>
                  <a:lnTo>
                    <a:pt x="530" y="363"/>
                  </a:lnTo>
                  <a:lnTo>
                    <a:pt x="530" y="367"/>
                  </a:lnTo>
                  <a:lnTo>
                    <a:pt x="530" y="371"/>
                  </a:lnTo>
                  <a:lnTo>
                    <a:pt x="530" y="375"/>
                  </a:lnTo>
                  <a:lnTo>
                    <a:pt x="530" y="379"/>
                  </a:lnTo>
                  <a:lnTo>
                    <a:pt x="530" y="383"/>
                  </a:lnTo>
                  <a:lnTo>
                    <a:pt x="530" y="387"/>
                  </a:lnTo>
                  <a:lnTo>
                    <a:pt x="530" y="391"/>
                  </a:lnTo>
                  <a:lnTo>
                    <a:pt x="530" y="395"/>
                  </a:lnTo>
                  <a:lnTo>
                    <a:pt x="530" y="399"/>
                  </a:lnTo>
                  <a:lnTo>
                    <a:pt x="530" y="403"/>
                  </a:lnTo>
                  <a:lnTo>
                    <a:pt x="530" y="407"/>
                  </a:lnTo>
                  <a:lnTo>
                    <a:pt x="526" y="407"/>
                  </a:lnTo>
                  <a:lnTo>
                    <a:pt x="530" y="407"/>
                  </a:lnTo>
                  <a:lnTo>
                    <a:pt x="526" y="411"/>
                  </a:lnTo>
                  <a:lnTo>
                    <a:pt x="526" y="415"/>
                  </a:lnTo>
                  <a:lnTo>
                    <a:pt x="526" y="419"/>
                  </a:lnTo>
                  <a:lnTo>
                    <a:pt x="526" y="423"/>
                  </a:lnTo>
                  <a:lnTo>
                    <a:pt x="530" y="423"/>
                  </a:lnTo>
                  <a:lnTo>
                    <a:pt x="526" y="427"/>
                  </a:lnTo>
                  <a:lnTo>
                    <a:pt x="522" y="427"/>
                  </a:lnTo>
                  <a:lnTo>
                    <a:pt x="522" y="431"/>
                  </a:lnTo>
                  <a:lnTo>
                    <a:pt x="522" y="435"/>
                  </a:lnTo>
                  <a:lnTo>
                    <a:pt x="518" y="435"/>
                  </a:lnTo>
                  <a:lnTo>
                    <a:pt x="518" y="439"/>
                  </a:lnTo>
                  <a:lnTo>
                    <a:pt x="518" y="443"/>
                  </a:lnTo>
                  <a:lnTo>
                    <a:pt x="518" y="447"/>
                  </a:lnTo>
                  <a:lnTo>
                    <a:pt x="518" y="451"/>
                  </a:lnTo>
                  <a:lnTo>
                    <a:pt x="518" y="455"/>
                  </a:lnTo>
                  <a:lnTo>
                    <a:pt x="518" y="459"/>
                  </a:lnTo>
                  <a:lnTo>
                    <a:pt x="518" y="463"/>
                  </a:lnTo>
                  <a:lnTo>
                    <a:pt x="514" y="463"/>
                  </a:lnTo>
                  <a:lnTo>
                    <a:pt x="514" y="467"/>
                  </a:lnTo>
                  <a:lnTo>
                    <a:pt x="514" y="471"/>
                  </a:lnTo>
                  <a:lnTo>
                    <a:pt x="510" y="471"/>
                  </a:lnTo>
                  <a:lnTo>
                    <a:pt x="510" y="475"/>
                  </a:lnTo>
                  <a:lnTo>
                    <a:pt x="510" y="479"/>
                  </a:lnTo>
                  <a:lnTo>
                    <a:pt x="506" y="483"/>
                  </a:lnTo>
                  <a:lnTo>
                    <a:pt x="502" y="483"/>
                  </a:lnTo>
                  <a:lnTo>
                    <a:pt x="502" y="487"/>
                  </a:lnTo>
                  <a:lnTo>
                    <a:pt x="502" y="491"/>
                  </a:lnTo>
                  <a:lnTo>
                    <a:pt x="498" y="495"/>
                  </a:lnTo>
                  <a:lnTo>
                    <a:pt x="498" y="499"/>
                  </a:lnTo>
                  <a:lnTo>
                    <a:pt x="502" y="503"/>
                  </a:lnTo>
                  <a:lnTo>
                    <a:pt x="498" y="507"/>
                  </a:lnTo>
                  <a:lnTo>
                    <a:pt x="494" y="507"/>
                  </a:lnTo>
                  <a:lnTo>
                    <a:pt x="490" y="511"/>
                  </a:lnTo>
                  <a:lnTo>
                    <a:pt x="487" y="515"/>
                  </a:lnTo>
                  <a:lnTo>
                    <a:pt x="487" y="519"/>
                  </a:lnTo>
                  <a:lnTo>
                    <a:pt x="483" y="523"/>
                  </a:lnTo>
                  <a:lnTo>
                    <a:pt x="479" y="523"/>
                  </a:lnTo>
                  <a:lnTo>
                    <a:pt x="475" y="523"/>
                  </a:lnTo>
                  <a:lnTo>
                    <a:pt x="471" y="523"/>
                  </a:lnTo>
                  <a:lnTo>
                    <a:pt x="467" y="523"/>
                  </a:lnTo>
                  <a:lnTo>
                    <a:pt x="467" y="519"/>
                  </a:lnTo>
                  <a:lnTo>
                    <a:pt x="471" y="519"/>
                  </a:lnTo>
                  <a:lnTo>
                    <a:pt x="467" y="519"/>
                  </a:lnTo>
                  <a:lnTo>
                    <a:pt x="467" y="523"/>
                  </a:lnTo>
                  <a:lnTo>
                    <a:pt x="463" y="523"/>
                  </a:lnTo>
                  <a:lnTo>
                    <a:pt x="459" y="527"/>
                  </a:lnTo>
                  <a:lnTo>
                    <a:pt x="455" y="527"/>
                  </a:lnTo>
                  <a:lnTo>
                    <a:pt x="455" y="523"/>
                  </a:lnTo>
                  <a:lnTo>
                    <a:pt x="455" y="527"/>
                  </a:lnTo>
                  <a:lnTo>
                    <a:pt x="459" y="527"/>
                  </a:lnTo>
                  <a:lnTo>
                    <a:pt x="463" y="523"/>
                  </a:lnTo>
                  <a:lnTo>
                    <a:pt x="459" y="523"/>
                  </a:lnTo>
                  <a:lnTo>
                    <a:pt x="455" y="523"/>
                  </a:lnTo>
                  <a:lnTo>
                    <a:pt x="451" y="527"/>
                  </a:lnTo>
                  <a:lnTo>
                    <a:pt x="451" y="523"/>
                  </a:lnTo>
                  <a:lnTo>
                    <a:pt x="447" y="523"/>
                  </a:lnTo>
                  <a:lnTo>
                    <a:pt x="447" y="527"/>
                  </a:lnTo>
                  <a:lnTo>
                    <a:pt x="443" y="527"/>
                  </a:lnTo>
                  <a:lnTo>
                    <a:pt x="447" y="527"/>
                  </a:lnTo>
                  <a:lnTo>
                    <a:pt x="447" y="531"/>
                  </a:lnTo>
                  <a:lnTo>
                    <a:pt x="443" y="531"/>
                  </a:lnTo>
                  <a:lnTo>
                    <a:pt x="439" y="531"/>
                  </a:lnTo>
                  <a:lnTo>
                    <a:pt x="439" y="535"/>
                  </a:lnTo>
                  <a:lnTo>
                    <a:pt x="435" y="535"/>
                  </a:lnTo>
                  <a:lnTo>
                    <a:pt x="435" y="539"/>
                  </a:lnTo>
                  <a:lnTo>
                    <a:pt x="431" y="539"/>
                  </a:lnTo>
                  <a:lnTo>
                    <a:pt x="427" y="539"/>
                  </a:lnTo>
                  <a:lnTo>
                    <a:pt x="423" y="539"/>
                  </a:lnTo>
                  <a:lnTo>
                    <a:pt x="423" y="543"/>
                  </a:lnTo>
                  <a:lnTo>
                    <a:pt x="423" y="539"/>
                  </a:lnTo>
                  <a:lnTo>
                    <a:pt x="423" y="543"/>
                  </a:lnTo>
                  <a:lnTo>
                    <a:pt x="419" y="543"/>
                  </a:lnTo>
                  <a:lnTo>
                    <a:pt x="419" y="539"/>
                  </a:lnTo>
                  <a:lnTo>
                    <a:pt x="419" y="543"/>
                  </a:lnTo>
                  <a:lnTo>
                    <a:pt x="415" y="547"/>
                  </a:lnTo>
                  <a:lnTo>
                    <a:pt x="411" y="547"/>
                  </a:lnTo>
                  <a:lnTo>
                    <a:pt x="411" y="551"/>
                  </a:lnTo>
                  <a:lnTo>
                    <a:pt x="407" y="555"/>
                  </a:lnTo>
                  <a:lnTo>
                    <a:pt x="403" y="555"/>
                  </a:lnTo>
                  <a:lnTo>
                    <a:pt x="399" y="559"/>
                  </a:lnTo>
                  <a:lnTo>
                    <a:pt x="395" y="559"/>
                  </a:lnTo>
                  <a:lnTo>
                    <a:pt x="395" y="563"/>
                  </a:lnTo>
                  <a:lnTo>
                    <a:pt x="395" y="567"/>
                  </a:lnTo>
                  <a:lnTo>
                    <a:pt x="391" y="571"/>
                  </a:lnTo>
                  <a:lnTo>
                    <a:pt x="391" y="567"/>
                  </a:lnTo>
                  <a:lnTo>
                    <a:pt x="387" y="567"/>
                  </a:lnTo>
                  <a:lnTo>
                    <a:pt x="387" y="571"/>
                  </a:lnTo>
                  <a:lnTo>
                    <a:pt x="383" y="571"/>
                  </a:lnTo>
                  <a:lnTo>
                    <a:pt x="387" y="571"/>
                  </a:lnTo>
                  <a:lnTo>
                    <a:pt x="387" y="575"/>
                  </a:lnTo>
                  <a:lnTo>
                    <a:pt x="387" y="579"/>
                  </a:lnTo>
                  <a:lnTo>
                    <a:pt x="383" y="579"/>
                  </a:lnTo>
                  <a:lnTo>
                    <a:pt x="387" y="579"/>
                  </a:lnTo>
                  <a:lnTo>
                    <a:pt x="387" y="583"/>
                  </a:lnTo>
                  <a:lnTo>
                    <a:pt x="387" y="587"/>
                  </a:lnTo>
                  <a:lnTo>
                    <a:pt x="383" y="587"/>
                  </a:lnTo>
                  <a:lnTo>
                    <a:pt x="383" y="583"/>
                  </a:lnTo>
                  <a:lnTo>
                    <a:pt x="383" y="587"/>
                  </a:lnTo>
                  <a:lnTo>
                    <a:pt x="383" y="590"/>
                  </a:lnTo>
                  <a:lnTo>
                    <a:pt x="387" y="590"/>
                  </a:lnTo>
                  <a:lnTo>
                    <a:pt x="383" y="590"/>
                  </a:lnTo>
                  <a:lnTo>
                    <a:pt x="383" y="594"/>
                  </a:lnTo>
                  <a:lnTo>
                    <a:pt x="383" y="598"/>
                  </a:lnTo>
                  <a:lnTo>
                    <a:pt x="387" y="602"/>
                  </a:lnTo>
                  <a:lnTo>
                    <a:pt x="387" y="606"/>
                  </a:lnTo>
                  <a:lnTo>
                    <a:pt x="387" y="602"/>
                  </a:lnTo>
                  <a:lnTo>
                    <a:pt x="383" y="606"/>
                  </a:lnTo>
                  <a:lnTo>
                    <a:pt x="383" y="610"/>
                  </a:lnTo>
                  <a:lnTo>
                    <a:pt x="387" y="610"/>
                  </a:lnTo>
                  <a:lnTo>
                    <a:pt x="383" y="614"/>
                  </a:lnTo>
                  <a:lnTo>
                    <a:pt x="387" y="614"/>
                  </a:lnTo>
                  <a:lnTo>
                    <a:pt x="387" y="618"/>
                  </a:lnTo>
                  <a:lnTo>
                    <a:pt x="383" y="622"/>
                  </a:lnTo>
                  <a:lnTo>
                    <a:pt x="383" y="630"/>
                  </a:lnTo>
                  <a:lnTo>
                    <a:pt x="383" y="626"/>
                  </a:lnTo>
                  <a:lnTo>
                    <a:pt x="383" y="630"/>
                  </a:lnTo>
                  <a:lnTo>
                    <a:pt x="379" y="634"/>
                  </a:lnTo>
                  <a:lnTo>
                    <a:pt x="375" y="634"/>
                  </a:lnTo>
                  <a:lnTo>
                    <a:pt x="375" y="638"/>
                  </a:lnTo>
                  <a:lnTo>
                    <a:pt x="371" y="638"/>
                  </a:lnTo>
                  <a:lnTo>
                    <a:pt x="371" y="642"/>
                  </a:lnTo>
                  <a:lnTo>
                    <a:pt x="371" y="646"/>
                  </a:lnTo>
                  <a:lnTo>
                    <a:pt x="367" y="646"/>
                  </a:lnTo>
                  <a:lnTo>
                    <a:pt x="367" y="650"/>
                  </a:lnTo>
                  <a:lnTo>
                    <a:pt x="363" y="650"/>
                  </a:lnTo>
                  <a:lnTo>
                    <a:pt x="363" y="654"/>
                  </a:lnTo>
                  <a:lnTo>
                    <a:pt x="363" y="658"/>
                  </a:lnTo>
                  <a:lnTo>
                    <a:pt x="363" y="662"/>
                  </a:lnTo>
                  <a:lnTo>
                    <a:pt x="359" y="662"/>
                  </a:lnTo>
                  <a:lnTo>
                    <a:pt x="359" y="666"/>
                  </a:lnTo>
                  <a:lnTo>
                    <a:pt x="359" y="670"/>
                  </a:lnTo>
                  <a:lnTo>
                    <a:pt x="355" y="674"/>
                  </a:lnTo>
                  <a:lnTo>
                    <a:pt x="355" y="678"/>
                  </a:lnTo>
                  <a:lnTo>
                    <a:pt x="351" y="678"/>
                  </a:lnTo>
                  <a:lnTo>
                    <a:pt x="351" y="682"/>
                  </a:lnTo>
                  <a:lnTo>
                    <a:pt x="347" y="686"/>
                  </a:lnTo>
                  <a:lnTo>
                    <a:pt x="347" y="690"/>
                  </a:lnTo>
                  <a:lnTo>
                    <a:pt x="343" y="694"/>
                  </a:lnTo>
                  <a:lnTo>
                    <a:pt x="339" y="694"/>
                  </a:lnTo>
                  <a:lnTo>
                    <a:pt x="335" y="698"/>
                  </a:lnTo>
                  <a:lnTo>
                    <a:pt x="331" y="702"/>
                  </a:lnTo>
                  <a:lnTo>
                    <a:pt x="331" y="698"/>
                  </a:lnTo>
                  <a:lnTo>
                    <a:pt x="335" y="698"/>
                  </a:lnTo>
                  <a:lnTo>
                    <a:pt x="331" y="698"/>
                  </a:lnTo>
                  <a:lnTo>
                    <a:pt x="331" y="694"/>
                  </a:lnTo>
                  <a:lnTo>
                    <a:pt x="335" y="694"/>
                  </a:lnTo>
                  <a:lnTo>
                    <a:pt x="339" y="694"/>
                  </a:lnTo>
                  <a:lnTo>
                    <a:pt x="339" y="690"/>
                  </a:lnTo>
                  <a:lnTo>
                    <a:pt x="343" y="690"/>
                  </a:lnTo>
                  <a:lnTo>
                    <a:pt x="343" y="686"/>
                  </a:lnTo>
                  <a:lnTo>
                    <a:pt x="347" y="686"/>
                  </a:lnTo>
                  <a:lnTo>
                    <a:pt x="347" y="682"/>
                  </a:lnTo>
                  <a:lnTo>
                    <a:pt x="347" y="678"/>
                  </a:lnTo>
                  <a:lnTo>
                    <a:pt x="347" y="682"/>
                  </a:lnTo>
                  <a:lnTo>
                    <a:pt x="351" y="682"/>
                  </a:lnTo>
                  <a:lnTo>
                    <a:pt x="351" y="678"/>
                  </a:lnTo>
                  <a:lnTo>
                    <a:pt x="351" y="674"/>
                  </a:lnTo>
                  <a:lnTo>
                    <a:pt x="355" y="674"/>
                  </a:lnTo>
                  <a:lnTo>
                    <a:pt x="355" y="670"/>
                  </a:lnTo>
                  <a:lnTo>
                    <a:pt x="355" y="666"/>
                  </a:lnTo>
                  <a:lnTo>
                    <a:pt x="355" y="670"/>
                  </a:lnTo>
                  <a:lnTo>
                    <a:pt x="355" y="666"/>
                  </a:lnTo>
                  <a:lnTo>
                    <a:pt x="355" y="662"/>
                  </a:lnTo>
                  <a:lnTo>
                    <a:pt x="355" y="666"/>
                  </a:lnTo>
                  <a:lnTo>
                    <a:pt x="351" y="666"/>
                  </a:lnTo>
                  <a:lnTo>
                    <a:pt x="347" y="666"/>
                  </a:lnTo>
                  <a:lnTo>
                    <a:pt x="347" y="662"/>
                  </a:lnTo>
                  <a:lnTo>
                    <a:pt x="347" y="658"/>
                  </a:lnTo>
                  <a:lnTo>
                    <a:pt x="343" y="658"/>
                  </a:lnTo>
                  <a:lnTo>
                    <a:pt x="343" y="662"/>
                  </a:lnTo>
                  <a:lnTo>
                    <a:pt x="343" y="666"/>
                  </a:lnTo>
                  <a:lnTo>
                    <a:pt x="347" y="666"/>
                  </a:lnTo>
                  <a:lnTo>
                    <a:pt x="343" y="670"/>
                  </a:lnTo>
                  <a:lnTo>
                    <a:pt x="343" y="674"/>
                  </a:lnTo>
                  <a:lnTo>
                    <a:pt x="343" y="670"/>
                  </a:lnTo>
                  <a:lnTo>
                    <a:pt x="343" y="674"/>
                  </a:lnTo>
                  <a:lnTo>
                    <a:pt x="343" y="678"/>
                  </a:lnTo>
                  <a:lnTo>
                    <a:pt x="343" y="682"/>
                  </a:lnTo>
                  <a:lnTo>
                    <a:pt x="339" y="682"/>
                  </a:lnTo>
                  <a:lnTo>
                    <a:pt x="335" y="686"/>
                  </a:lnTo>
                  <a:lnTo>
                    <a:pt x="335" y="690"/>
                  </a:lnTo>
                  <a:lnTo>
                    <a:pt x="331" y="690"/>
                  </a:lnTo>
                  <a:lnTo>
                    <a:pt x="331" y="694"/>
                  </a:lnTo>
                  <a:lnTo>
                    <a:pt x="331" y="698"/>
                  </a:lnTo>
                  <a:lnTo>
                    <a:pt x="331" y="702"/>
                  </a:lnTo>
                  <a:lnTo>
                    <a:pt x="331" y="706"/>
                  </a:lnTo>
                  <a:lnTo>
                    <a:pt x="327" y="710"/>
                  </a:lnTo>
                  <a:lnTo>
                    <a:pt x="327" y="714"/>
                  </a:lnTo>
                  <a:lnTo>
                    <a:pt x="327" y="718"/>
                  </a:lnTo>
                  <a:lnTo>
                    <a:pt x="323" y="722"/>
                  </a:lnTo>
                  <a:lnTo>
                    <a:pt x="319" y="726"/>
                  </a:lnTo>
                  <a:lnTo>
                    <a:pt x="315" y="730"/>
                  </a:lnTo>
                  <a:lnTo>
                    <a:pt x="315" y="734"/>
                  </a:lnTo>
                  <a:lnTo>
                    <a:pt x="311" y="734"/>
                  </a:lnTo>
                  <a:lnTo>
                    <a:pt x="311" y="730"/>
                  </a:lnTo>
                  <a:lnTo>
                    <a:pt x="311" y="726"/>
                  </a:lnTo>
                  <a:lnTo>
                    <a:pt x="311" y="722"/>
                  </a:lnTo>
                  <a:lnTo>
                    <a:pt x="311" y="718"/>
                  </a:lnTo>
                  <a:lnTo>
                    <a:pt x="315" y="718"/>
                  </a:lnTo>
                  <a:lnTo>
                    <a:pt x="315" y="714"/>
                  </a:lnTo>
                  <a:lnTo>
                    <a:pt x="319" y="714"/>
                  </a:lnTo>
                  <a:lnTo>
                    <a:pt x="315" y="710"/>
                  </a:lnTo>
                  <a:lnTo>
                    <a:pt x="311" y="710"/>
                  </a:lnTo>
                  <a:lnTo>
                    <a:pt x="311" y="706"/>
                  </a:lnTo>
                  <a:lnTo>
                    <a:pt x="307" y="706"/>
                  </a:lnTo>
                  <a:lnTo>
                    <a:pt x="307" y="702"/>
                  </a:lnTo>
                  <a:lnTo>
                    <a:pt x="307" y="698"/>
                  </a:lnTo>
                  <a:lnTo>
                    <a:pt x="303" y="698"/>
                  </a:lnTo>
                  <a:lnTo>
                    <a:pt x="303" y="694"/>
                  </a:lnTo>
                  <a:lnTo>
                    <a:pt x="299" y="694"/>
                  </a:lnTo>
                  <a:lnTo>
                    <a:pt x="295" y="690"/>
                  </a:lnTo>
                  <a:lnTo>
                    <a:pt x="295" y="686"/>
                  </a:lnTo>
                  <a:lnTo>
                    <a:pt x="291" y="686"/>
                  </a:lnTo>
                  <a:lnTo>
                    <a:pt x="287" y="686"/>
                  </a:lnTo>
                  <a:lnTo>
                    <a:pt x="283" y="682"/>
                  </a:lnTo>
                  <a:lnTo>
                    <a:pt x="283" y="678"/>
                  </a:lnTo>
                  <a:lnTo>
                    <a:pt x="279" y="678"/>
                  </a:lnTo>
                  <a:lnTo>
                    <a:pt x="279" y="674"/>
                  </a:lnTo>
                  <a:lnTo>
                    <a:pt x="279" y="678"/>
                  </a:lnTo>
                  <a:lnTo>
                    <a:pt x="275" y="678"/>
                  </a:lnTo>
                  <a:lnTo>
                    <a:pt x="271" y="678"/>
                  </a:lnTo>
                  <a:lnTo>
                    <a:pt x="275" y="678"/>
                  </a:lnTo>
                  <a:lnTo>
                    <a:pt x="275" y="674"/>
                  </a:lnTo>
                  <a:lnTo>
                    <a:pt x="271" y="674"/>
                  </a:lnTo>
                  <a:lnTo>
                    <a:pt x="271" y="670"/>
                  </a:lnTo>
                  <a:lnTo>
                    <a:pt x="267" y="670"/>
                  </a:lnTo>
                  <a:lnTo>
                    <a:pt x="267" y="666"/>
                  </a:lnTo>
                  <a:lnTo>
                    <a:pt x="263" y="666"/>
                  </a:lnTo>
                  <a:lnTo>
                    <a:pt x="263" y="662"/>
                  </a:lnTo>
                  <a:lnTo>
                    <a:pt x="259" y="662"/>
                  </a:lnTo>
                  <a:lnTo>
                    <a:pt x="255" y="662"/>
                  </a:lnTo>
                  <a:lnTo>
                    <a:pt x="255" y="666"/>
                  </a:lnTo>
                  <a:lnTo>
                    <a:pt x="251" y="662"/>
                  </a:lnTo>
                  <a:lnTo>
                    <a:pt x="251" y="666"/>
                  </a:lnTo>
                  <a:lnTo>
                    <a:pt x="251" y="662"/>
                  </a:lnTo>
                  <a:lnTo>
                    <a:pt x="247" y="662"/>
                  </a:lnTo>
                  <a:lnTo>
                    <a:pt x="251" y="662"/>
                  </a:lnTo>
                  <a:lnTo>
                    <a:pt x="251" y="658"/>
                  </a:lnTo>
                  <a:lnTo>
                    <a:pt x="255" y="654"/>
                  </a:lnTo>
                  <a:lnTo>
                    <a:pt x="259" y="654"/>
                  </a:lnTo>
                  <a:lnTo>
                    <a:pt x="259" y="650"/>
                  </a:lnTo>
                  <a:lnTo>
                    <a:pt x="263" y="646"/>
                  </a:lnTo>
                  <a:lnTo>
                    <a:pt x="263" y="642"/>
                  </a:lnTo>
                  <a:lnTo>
                    <a:pt x="267" y="642"/>
                  </a:lnTo>
                  <a:lnTo>
                    <a:pt x="267" y="638"/>
                  </a:lnTo>
                  <a:lnTo>
                    <a:pt x="267" y="634"/>
                  </a:lnTo>
                  <a:lnTo>
                    <a:pt x="271" y="634"/>
                  </a:lnTo>
                  <a:lnTo>
                    <a:pt x="271" y="630"/>
                  </a:lnTo>
                  <a:lnTo>
                    <a:pt x="275" y="630"/>
                  </a:lnTo>
                  <a:lnTo>
                    <a:pt x="275" y="626"/>
                  </a:lnTo>
                  <a:lnTo>
                    <a:pt x="279" y="626"/>
                  </a:lnTo>
                  <a:lnTo>
                    <a:pt x="275" y="626"/>
                  </a:lnTo>
                  <a:lnTo>
                    <a:pt x="275" y="622"/>
                  </a:lnTo>
                  <a:lnTo>
                    <a:pt x="279" y="622"/>
                  </a:lnTo>
                  <a:lnTo>
                    <a:pt x="283" y="622"/>
                  </a:lnTo>
                  <a:lnTo>
                    <a:pt x="283" y="618"/>
                  </a:lnTo>
                  <a:lnTo>
                    <a:pt x="287" y="618"/>
                  </a:lnTo>
                  <a:lnTo>
                    <a:pt x="291" y="614"/>
                  </a:lnTo>
                  <a:lnTo>
                    <a:pt x="291" y="610"/>
                  </a:lnTo>
                  <a:lnTo>
                    <a:pt x="295" y="610"/>
                  </a:lnTo>
                  <a:lnTo>
                    <a:pt x="299" y="610"/>
                  </a:lnTo>
                  <a:lnTo>
                    <a:pt x="299" y="606"/>
                  </a:lnTo>
                  <a:lnTo>
                    <a:pt x="303" y="606"/>
                  </a:lnTo>
                  <a:lnTo>
                    <a:pt x="303" y="602"/>
                  </a:lnTo>
                  <a:lnTo>
                    <a:pt x="307" y="602"/>
                  </a:lnTo>
                  <a:lnTo>
                    <a:pt x="307" y="598"/>
                  </a:lnTo>
                  <a:lnTo>
                    <a:pt x="307" y="594"/>
                  </a:lnTo>
                  <a:lnTo>
                    <a:pt x="307" y="590"/>
                  </a:lnTo>
                  <a:lnTo>
                    <a:pt x="307" y="587"/>
                  </a:lnTo>
                  <a:lnTo>
                    <a:pt x="307" y="583"/>
                  </a:lnTo>
                  <a:lnTo>
                    <a:pt x="307" y="579"/>
                  </a:lnTo>
                  <a:lnTo>
                    <a:pt x="307" y="575"/>
                  </a:lnTo>
                  <a:lnTo>
                    <a:pt x="303" y="571"/>
                  </a:lnTo>
                  <a:lnTo>
                    <a:pt x="299" y="571"/>
                  </a:lnTo>
                  <a:lnTo>
                    <a:pt x="299" y="575"/>
                  </a:lnTo>
                  <a:lnTo>
                    <a:pt x="295" y="575"/>
                  </a:lnTo>
                  <a:lnTo>
                    <a:pt x="295" y="571"/>
                  </a:lnTo>
                  <a:lnTo>
                    <a:pt x="295" y="567"/>
                  </a:lnTo>
                  <a:lnTo>
                    <a:pt x="295" y="563"/>
                  </a:lnTo>
                  <a:lnTo>
                    <a:pt x="299" y="559"/>
                  </a:lnTo>
                  <a:lnTo>
                    <a:pt x="299" y="555"/>
                  </a:lnTo>
                  <a:lnTo>
                    <a:pt x="299" y="551"/>
                  </a:lnTo>
                  <a:lnTo>
                    <a:pt x="299" y="547"/>
                  </a:lnTo>
                  <a:lnTo>
                    <a:pt x="299" y="543"/>
                  </a:lnTo>
                  <a:lnTo>
                    <a:pt x="295" y="539"/>
                  </a:lnTo>
                  <a:lnTo>
                    <a:pt x="291" y="543"/>
                  </a:lnTo>
                  <a:lnTo>
                    <a:pt x="287" y="543"/>
                  </a:lnTo>
                  <a:lnTo>
                    <a:pt x="283" y="543"/>
                  </a:lnTo>
                  <a:lnTo>
                    <a:pt x="283" y="539"/>
                  </a:lnTo>
                  <a:lnTo>
                    <a:pt x="283" y="535"/>
                  </a:lnTo>
                  <a:lnTo>
                    <a:pt x="279" y="535"/>
                  </a:lnTo>
                  <a:lnTo>
                    <a:pt x="279" y="531"/>
                  </a:lnTo>
                  <a:lnTo>
                    <a:pt x="279" y="527"/>
                  </a:lnTo>
                  <a:lnTo>
                    <a:pt x="279" y="523"/>
                  </a:lnTo>
                  <a:lnTo>
                    <a:pt x="279" y="519"/>
                  </a:lnTo>
                  <a:lnTo>
                    <a:pt x="279" y="515"/>
                  </a:lnTo>
                  <a:lnTo>
                    <a:pt x="275" y="515"/>
                  </a:lnTo>
                  <a:lnTo>
                    <a:pt x="275" y="511"/>
                  </a:lnTo>
                  <a:lnTo>
                    <a:pt x="271" y="511"/>
                  </a:lnTo>
                  <a:lnTo>
                    <a:pt x="267" y="511"/>
                  </a:lnTo>
                  <a:lnTo>
                    <a:pt x="267" y="507"/>
                  </a:lnTo>
                  <a:lnTo>
                    <a:pt x="263" y="507"/>
                  </a:lnTo>
                  <a:lnTo>
                    <a:pt x="263" y="511"/>
                  </a:lnTo>
                  <a:lnTo>
                    <a:pt x="259" y="511"/>
                  </a:lnTo>
                  <a:lnTo>
                    <a:pt x="255" y="511"/>
                  </a:lnTo>
                  <a:lnTo>
                    <a:pt x="251" y="511"/>
                  </a:lnTo>
                  <a:lnTo>
                    <a:pt x="247" y="507"/>
                  </a:lnTo>
                  <a:lnTo>
                    <a:pt x="243" y="507"/>
                  </a:lnTo>
                  <a:lnTo>
                    <a:pt x="243" y="503"/>
                  </a:lnTo>
                  <a:lnTo>
                    <a:pt x="243" y="499"/>
                  </a:lnTo>
                  <a:lnTo>
                    <a:pt x="243" y="495"/>
                  </a:lnTo>
                  <a:lnTo>
                    <a:pt x="243" y="491"/>
                  </a:lnTo>
                  <a:lnTo>
                    <a:pt x="247" y="487"/>
                  </a:lnTo>
                  <a:lnTo>
                    <a:pt x="243" y="483"/>
                  </a:lnTo>
                  <a:lnTo>
                    <a:pt x="243" y="479"/>
                  </a:lnTo>
                  <a:lnTo>
                    <a:pt x="243" y="475"/>
                  </a:lnTo>
                  <a:lnTo>
                    <a:pt x="239" y="471"/>
                  </a:lnTo>
                  <a:lnTo>
                    <a:pt x="243" y="467"/>
                  </a:lnTo>
                  <a:lnTo>
                    <a:pt x="243" y="463"/>
                  </a:lnTo>
                  <a:lnTo>
                    <a:pt x="239" y="463"/>
                  </a:lnTo>
                  <a:lnTo>
                    <a:pt x="243" y="463"/>
                  </a:lnTo>
                  <a:lnTo>
                    <a:pt x="243" y="455"/>
                  </a:lnTo>
                  <a:lnTo>
                    <a:pt x="243" y="451"/>
                  </a:lnTo>
                  <a:lnTo>
                    <a:pt x="247" y="451"/>
                  </a:lnTo>
                  <a:lnTo>
                    <a:pt x="247" y="447"/>
                  </a:lnTo>
                  <a:lnTo>
                    <a:pt x="247" y="439"/>
                  </a:lnTo>
                  <a:lnTo>
                    <a:pt x="251" y="435"/>
                  </a:lnTo>
                  <a:lnTo>
                    <a:pt x="247" y="431"/>
                  </a:lnTo>
                  <a:lnTo>
                    <a:pt x="247" y="427"/>
                  </a:lnTo>
                  <a:lnTo>
                    <a:pt x="247" y="423"/>
                  </a:lnTo>
                  <a:lnTo>
                    <a:pt x="243" y="419"/>
                  </a:lnTo>
                  <a:lnTo>
                    <a:pt x="239" y="419"/>
                  </a:lnTo>
                  <a:lnTo>
                    <a:pt x="239" y="415"/>
                  </a:lnTo>
                  <a:lnTo>
                    <a:pt x="235" y="415"/>
                  </a:lnTo>
                  <a:lnTo>
                    <a:pt x="235" y="411"/>
                  </a:lnTo>
                  <a:lnTo>
                    <a:pt x="235" y="407"/>
                  </a:lnTo>
                  <a:lnTo>
                    <a:pt x="235" y="403"/>
                  </a:lnTo>
                  <a:lnTo>
                    <a:pt x="239" y="403"/>
                  </a:lnTo>
                  <a:lnTo>
                    <a:pt x="239" y="399"/>
                  </a:lnTo>
                  <a:lnTo>
                    <a:pt x="235" y="399"/>
                  </a:lnTo>
                  <a:lnTo>
                    <a:pt x="227" y="399"/>
                  </a:lnTo>
                  <a:lnTo>
                    <a:pt x="219" y="399"/>
                  </a:lnTo>
                  <a:lnTo>
                    <a:pt x="211" y="399"/>
                  </a:lnTo>
                  <a:lnTo>
                    <a:pt x="211" y="391"/>
                  </a:lnTo>
                  <a:lnTo>
                    <a:pt x="207" y="383"/>
                  </a:lnTo>
                  <a:lnTo>
                    <a:pt x="207" y="379"/>
                  </a:lnTo>
                  <a:lnTo>
                    <a:pt x="203" y="375"/>
                  </a:lnTo>
                  <a:lnTo>
                    <a:pt x="207" y="375"/>
                  </a:lnTo>
                  <a:lnTo>
                    <a:pt x="207" y="371"/>
                  </a:lnTo>
                  <a:lnTo>
                    <a:pt x="207" y="367"/>
                  </a:lnTo>
                  <a:lnTo>
                    <a:pt x="207" y="363"/>
                  </a:lnTo>
                  <a:lnTo>
                    <a:pt x="207" y="359"/>
                  </a:lnTo>
                  <a:lnTo>
                    <a:pt x="203" y="359"/>
                  </a:lnTo>
                  <a:lnTo>
                    <a:pt x="207" y="355"/>
                  </a:lnTo>
                  <a:lnTo>
                    <a:pt x="207" y="351"/>
                  </a:lnTo>
                  <a:lnTo>
                    <a:pt x="203" y="351"/>
                  </a:lnTo>
                  <a:lnTo>
                    <a:pt x="199" y="347"/>
                  </a:lnTo>
                  <a:lnTo>
                    <a:pt x="195" y="347"/>
                  </a:lnTo>
                  <a:lnTo>
                    <a:pt x="191" y="347"/>
                  </a:lnTo>
                  <a:lnTo>
                    <a:pt x="187" y="347"/>
                  </a:lnTo>
                  <a:lnTo>
                    <a:pt x="183" y="347"/>
                  </a:lnTo>
                  <a:lnTo>
                    <a:pt x="183" y="343"/>
                  </a:lnTo>
                  <a:lnTo>
                    <a:pt x="179" y="343"/>
                  </a:lnTo>
                  <a:lnTo>
                    <a:pt x="179" y="339"/>
                  </a:lnTo>
                  <a:lnTo>
                    <a:pt x="175" y="339"/>
                  </a:lnTo>
                  <a:lnTo>
                    <a:pt x="171" y="335"/>
                  </a:lnTo>
                  <a:lnTo>
                    <a:pt x="167" y="335"/>
                  </a:lnTo>
                  <a:lnTo>
                    <a:pt x="167" y="331"/>
                  </a:lnTo>
                  <a:lnTo>
                    <a:pt x="163" y="331"/>
                  </a:lnTo>
                  <a:lnTo>
                    <a:pt x="159" y="331"/>
                  </a:lnTo>
                  <a:lnTo>
                    <a:pt x="159" y="327"/>
                  </a:lnTo>
                  <a:lnTo>
                    <a:pt x="155" y="327"/>
                  </a:lnTo>
                  <a:lnTo>
                    <a:pt x="151" y="327"/>
                  </a:lnTo>
                  <a:lnTo>
                    <a:pt x="147" y="327"/>
                  </a:lnTo>
                  <a:lnTo>
                    <a:pt x="143" y="323"/>
                  </a:lnTo>
                  <a:lnTo>
                    <a:pt x="139" y="319"/>
                  </a:lnTo>
                  <a:lnTo>
                    <a:pt x="135" y="319"/>
                  </a:lnTo>
                  <a:lnTo>
                    <a:pt x="135" y="315"/>
                  </a:lnTo>
                  <a:lnTo>
                    <a:pt x="135" y="311"/>
                  </a:lnTo>
                  <a:lnTo>
                    <a:pt x="135" y="315"/>
                  </a:lnTo>
                  <a:lnTo>
                    <a:pt x="135" y="311"/>
                  </a:lnTo>
                  <a:lnTo>
                    <a:pt x="132" y="307"/>
                  </a:lnTo>
                  <a:lnTo>
                    <a:pt x="132" y="303"/>
                  </a:lnTo>
                  <a:lnTo>
                    <a:pt x="132" y="299"/>
                  </a:lnTo>
                  <a:lnTo>
                    <a:pt x="132" y="295"/>
                  </a:lnTo>
                  <a:lnTo>
                    <a:pt x="132" y="291"/>
                  </a:lnTo>
                  <a:lnTo>
                    <a:pt x="132" y="287"/>
                  </a:lnTo>
                  <a:lnTo>
                    <a:pt x="132" y="283"/>
                  </a:lnTo>
                  <a:lnTo>
                    <a:pt x="132" y="279"/>
                  </a:lnTo>
                  <a:lnTo>
                    <a:pt x="132" y="275"/>
                  </a:lnTo>
                  <a:lnTo>
                    <a:pt x="128" y="275"/>
                  </a:lnTo>
                  <a:lnTo>
                    <a:pt x="128" y="279"/>
                  </a:lnTo>
                  <a:lnTo>
                    <a:pt x="128" y="275"/>
                  </a:lnTo>
                  <a:lnTo>
                    <a:pt x="124" y="275"/>
                  </a:lnTo>
                  <a:lnTo>
                    <a:pt x="120" y="275"/>
                  </a:lnTo>
                  <a:lnTo>
                    <a:pt x="116" y="279"/>
                  </a:lnTo>
                  <a:lnTo>
                    <a:pt x="112" y="279"/>
                  </a:lnTo>
                  <a:lnTo>
                    <a:pt x="108" y="283"/>
                  </a:lnTo>
                  <a:lnTo>
                    <a:pt x="108" y="287"/>
                  </a:lnTo>
                  <a:lnTo>
                    <a:pt x="104" y="287"/>
                  </a:lnTo>
                  <a:lnTo>
                    <a:pt x="100" y="287"/>
                  </a:lnTo>
                  <a:lnTo>
                    <a:pt x="100" y="291"/>
                  </a:lnTo>
                  <a:lnTo>
                    <a:pt x="96" y="291"/>
                  </a:lnTo>
                  <a:lnTo>
                    <a:pt x="96" y="295"/>
                  </a:lnTo>
                  <a:lnTo>
                    <a:pt x="96" y="291"/>
                  </a:lnTo>
                  <a:lnTo>
                    <a:pt x="92" y="291"/>
                  </a:lnTo>
                  <a:lnTo>
                    <a:pt x="92" y="295"/>
                  </a:lnTo>
                  <a:lnTo>
                    <a:pt x="88" y="295"/>
                  </a:lnTo>
                  <a:lnTo>
                    <a:pt x="88" y="299"/>
                  </a:lnTo>
                  <a:lnTo>
                    <a:pt x="84" y="299"/>
                  </a:lnTo>
                  <a:lnTo>
                    <a:pt x="84" y="303"/>
                  </a:lnTo>
                  <a:lnTo>
                    <a:pt x="80" y="303"/>
                  </a:lnTo>
                  <a:lnTo>
                    <a:pt x="80" y="299"/>
                  </a:lnTo>
                  <a:lnTo>
                    <a:pt x="76" y="299"/>
                  </a:lnTo>
                  <a:lnTo>
                    <a:pt x="72" y="299"/>
                  </a:lnTo>
                  <a:lnTo>
                    <a:pt x="68" y="299"/>
                  </a:lnTo>
                  <a:lnTo>
                    <a:pt x="64" y="299"/>
                  </a:lnTo>
                  <a:lnTo>
                    <a:pt x="60" y="299"/>
                  </a:lnTo>
                  <a:lnTo>
                    <a:pt x="56" y="299"/>
                  </a:lnTo>
                  <a:lnTo>
                    <a:pt x="52" y="299"/>
                  </a:lnTo>
                  <a:lnTo>
                    <a:pt x="52" y="295"/>
                  </a:lnTo>
                  <a:lnTo>
                    <a:pt x="52" y="291"/>
                  </a:lnTo>
                  <a:lnTo>
                    <a:pt x="52" y="287"/>
                  </a:lnTo>
                  <a:lnTo>
                    <a:pt x="52" y="283"/>
                  </a:lnTo>
                  <a:lnTo>
                    <a:pt x="52" y="279"/>
                  </a:lnTo>
                  <a:lnTo>
                    <a:pt x="52" y="275"/>
                  </a:lnTo>
                  <a:lnTo>
                    <a:pt x="52" y="271"/>
                  </a:lnTo>
                  <a:lnTo>
                    <a:pt x="48" y="275"/>
                  </a:lnTo>
                  <a:lnTo>
                    <a:pt x="48" y="279"/>
                  </a:lnTo>
                  <a:lnTo>
                    <a:pt x="44" y="279"/>
                  </a:lnTo>
                  <a:lnTo>
                    <a:pt x="40" y="279"/>
                  </a:lnTo>
                  <a:lnTo>
                    <a:pt x="36" y="279"/>
                  </a:lnTo>
                  <a:lnTo>
                    <a:pt x="32" y="279"/>
                  </a:lnTo>
                  <a:lnTo>
                    <a:pt x="28" y="279"/>
                  </a:lnTo>
                  <a:lnTo>
                    <a:pt x="28" y="275"/>
                  </a:lnTo>
                  <a:lnTo>
                    <a:pt x="28" y="271"/>
                  </a:lnTo>
                  <a:lnTo>
                    <a:pt x="24" y="271"/>
                  </a:lnTo>
                  <a:lnTo>
                    <a:pt x="20" y="271"/>
                  </a:lnTo>
                  <a:lnTo>
                    <a:pt x="16" y="271"/>
                  </a:lnTo>
                  <a:lnTo>
                    <a:pt x="12" y="271"/>
                  </a:lnTo>
                  <a:lnTo>
                    <a:pt x="12" y="267"/>
                  </a:lnTo>
                  <a:lnTo>
                    <a:pt x="16" y="267"/>
                  </a:lnTo>
                  <a:lnTo>
                    <a:pt x="16" y="263"/>
                  </a:lnTo>
                  <a:lnTo>
                    <a:pt x="16" y="259"/>
                  </a:lnTo>
                  <a:lnTo>
                    <a:pt x="12" y="259"/>
                  </a:lnTo>
                  <a:lnTo>
                    <a:pt x="12" y="255"/>
                  </a:lnTo>
                  <a:lnTo>
                    <a:pt x="8" y="251"/>
                  </a:lnTo>
                  <a:lnTo>
                    <a:pt x="8" y="247"/>
                  </a:lnTo>
                  <a:lnTo>
                    <a:pt x="8" y="243"/>
                  </a:lnTo>
                  <a:lnTo>
                    <a:pt x="4" y="243"/>
                  </a:lnTo>
                  <a:lnTo>
                    <a:pt x="4" y="239"/>
                  </a:lnTo>
                  <a:lnTo>
                    <a:pt x="0" y="235"/>
                  </a:lnTo>
                  <a:lnTo>
                    <a:pt x="0" y="231"/>
                  </a:lnTo>
                  <a:lnTo>
                    <a:pt x="4" y="231"/>
                  </a:lnTo>
                  <a:lnTo>
                    <a:pt x="4" y="227"/>
                  </a:lnTo>
                  <a:lnTo>
                    <a:pt x="4" y="223"/>
                  </a:lnTo>
                  <a:lnTo>
                    <a:pt x="8" y="219"/>
                  </a:lnTo>
                  <a:lnTo>
                    <a:pt x="12" y="219"/>
                  </a:lnTo>
                  <a:lnTo>
                    <a:pt x="12" y="215"/>
                  </a:lnTo>
                  <a:lnTo>
                    <a:pt x="16" y="215"/>
                  </a:lnTo>
                  <a:lnTo>
                    <a:pt x="12" y="211"/>
                  </a:lnTo>
                  <a:lnTo>
                    <a:pt x="12" y="207"/>
                  </a:lnTo>
                  <a:lnTo>
                    <a:pt x="12" y="203"/>
                  </a:lnTo>
                  <a:lnTo>
                    <a:pt x="16" y="203"/>
                  </a:lnTo>
                  <a:lnTo>
                    <a:pt x="16" y="199"/>
                  </a:lnTo>
                  <a:lnTo>
                    <a:pt x="16" y="195"/>
                  </a:lnTo>
                  <a:lnTo>
                    <a:pt x="16" y="191"/>
                  </a:lnTo>
                  <a:lnTo>
                    <a:pt x="20" y="191"/>
                  </a:lnTo>
                  <a:lnTo>
                    <a:pt x="24" y="187"/>
                  </a:lnTo>
                  <a:lnTo>
                    <a:pt x="24" y="183"/>
                  </a:lnTo>
                  <a:lnTo>
                    <a:pt x="28" y="183"/>
                  </a:lnTo>
                  <a:lnTo>
                    <a:pt x="32" y="183"/>
                  </a:lnTo>
                  <a:lnTo>
                    <a:pt x="32" y="179"/>
                  </a:lnTo>
                  <a:lnTo>
                    <a:pt x="36" y="179"/>
                  </a:lnTo>
                  <a:lnTo>
                    <a:pt x="40" y="179"/>
                  </a:lnTo>
                  <a:lnTo>
                    <a:pt x="44" y="175"/>
                  </a:lnTo>
                  <a:lnTo>
                    <a:pt x="44" y="179"/>
                  </a:lnTo>
                  <a:lnTo>
                    <a:pt x="48" y="179"/>
                  </a:lnTo>
                  <a:lnTo>
                    <a:pt x="48" y="175"/>
                  </a:lnTo>
                  <a:lnTo>
                    <a:pt x="52" y="175"/>
                  </a:lnTo>
                  <a:lnTo>
                    <a:pt x="56" y="175"/>
                  </a:lnTo>
                  <a:lnTo>
                    <a:pt x="56" y="171"/>
                  </a:lnTo>
                  <a:lnTo>
                    <a:pt x="56" y="175"/>
                  </a:lnTo>
                  <a:lnTo>
                    <a:pt x="60" y="175"/>
                  </a:lnTo>
                  <a:lnTo>
                    <a:pt x="64" y="175"/>
                  </a:lnTo>
                  <a:lnTo>
                    <a:pt x="64" y="167"/>
                  </a:lnTo>
                  <a:lnTo>
                    <a:pt x="64" y="159"/>
                  </a:lnTo>
                  <a:lnTo>
                    <a:pt x="68" y="144"/>
                  </a:lnTo>
                  <a:lnTo>
                    <a:pt x="68" y="140"/>
                  </a:lnTo>
                  <a:lnTo>
                    <a:pt x="68" y="132"/>
                  </a:lnTo>
                  <a:lnTo>
                    <a:pt x="68" y="124"/>
                  </a:lnTo>
                  <a:lnTo>
                    <a:pt x="72" y="124"/>
                  </a:lnTo>
                  <a:lnTo>
                    <a:pt x="72" y="120"/>
                  </a:lnTo>
                  <a:lnTo>
                    <a:pt x="72" y="116"/>
                  </a:lnTo>
                  <a:lnTo>
                    <a:pt x="68" y="116"/>
                  </a:lnTo>
                  <a:lnTo>
                    <a:pt x="72" y="116"/>
                  </a:lnTo>
                  <a:lnTo>
                    <a:pt x="68" y="116"/>
                  </a:lnTo>
                  <a:lnTo>
                    <a:pt x="68" y="112"/>
                  </a:lnTo>
                  <a:lnTo>
                    <a:pt x="68" y="108"/>
                  </a:lnTo>
                  <a:lnTo>
                    <a:pt x="64" y="108"/>
                  </a:lnTo>
                  <a:lnTo>
                    <a:pt x="64" y="104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88"/>
                  </a:lnTo>
                  <a:lnTo>
                    <a:pt x="64" y="88"/>
                  </a:lnTo>
                  <a:lnTo>
                    <a:pt x="68" y="84"/>
                  </a:lnTo>
                  <a:lnTo>
                    <a:pt x="72" y="84"/>
                  </a:lnTo>
                  <a:lnTo>
                    <a:pt x="72" y="88"/>
                  </a:lnTo>
                  <a:lnTo>
                    <a:pt x="76" y="88"/>
                  </a:lnTo>
                  <a:lnTo>
                    <a:pt x="76" y="84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4" y="80"/>
                  </a:lnTo>
                  <a:lnTo>
                    <a:pt x="64" y="68"/>
                  </a:lnTo>
                  <a:lnTo>
                    <a:pt x="68" y="64"/>
                  </a:lnTo>
                  <a:lnTo>
                    <a:pt x="72" y="68"/>
                  </a:lnTo>
                  <a:lnTo>
                    <a:pt x="76" y="68"/>
                  </a:lnTo>
                  <a:lnTo>
                    <a:pt x="80" y="68"/>
                  </a:lnTo>
                  <a:lnTo>
                    <a:pt x="88" y="68"/>
                  </a:lnTo>
                  <a:lnTo>
                    <a:pt x="88" y="64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92" y="64"/>
                  </a:lnTo>
                  <a:lnTo>
                    <a:pt x="92" y="68"/>
                  </a:lnTo>
                  <a:lnTo>
                    <a:pt x="92" y="64"/>
                  </a:lnTo>
                  <a:lnTo>
                    <a:pt x="96" y="64"/>
                  </a:lnTo>
                  <a:lnTo>
                    <a:pt x="96" y="60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4" y="64"/>
                  </a:lnTo>
                  <a:lnTo>
                    <a:pt x="104" y="68"/>
                  </a:lnTo>
                  <a:lnTo>
                    <a:pt x="108" y="72"/>
                  </a:lnTo>
                  <a:lnTo>
                    <a:pt x="104" y="72"/>
                  </a:lnTo>
                  <a:lnTo>
                    <a:pt x="104" y="76"/>
                  </a:lnTo>
                  <a:lnTo>
                    <a:pt x="108" y="76"/>
                  </a:lnTo>
                  <a:lnTo>
                    <a:pt x="112" y="76"/>
                  </a:lnTo>
                  <a:lnTo>
                    <a:pt x="116" y="84"/>
                  </a:lnTo>
                  <a:lnTo>
                    <a:pt x="120" y="84"/>
                  </a:lnTo>
                  <a:lnTo>
                    <a:pt x="124" y="84"/>
                  </a:lnTo>
                  <a:lnTo>
                    <a:pt x="124" y="80"/>
                  </a:lnTo>
                  <a:lnTo>
                    <a:pt x="128" y="80"/>
                  </a:lnTo>
                  <a:lnTo>
                    <a:pt x="128" y="84"/>
                  </a:lnTo>
                  <a:lnTo>
                    <a:pt x="128" y="88"/>
                  </a:lnTo>
                  <a:lnTo>
                    <a:pt x="128" y="84"/>
                  </a:lnTo>
                  <a:lnTo>
                    <a:pt x="132" y="84"/>
                  </a:lnTo>
                  <a:lnTo>
                    <a:pt x="132" y="80"/>
                  </a:lnTo>
                  <a:lnTo>
                    <a:pt x="135" y="80"/>
                  </a:lnTo>
                  <a:lnTo>
                    <a:pt x="135" y="76"/>
                  </a:lnTo>
                  <a:lnTo>
                    <a:pt x="139" y="76"/>
                  </a:lnTo>
                  <a:lnTo>
                    <a:pt x="143" y="72"/>
                  </a:lnTo>
                  <a:lnTo>
                    <a:pt x="147" y="72"/>
                  </a:lnTo>
                  <a:lnTo>
                    <a:pt x="151" y="68"/>
                  </a:lnTo>
                  <a:lnTo>
                    <a:pt x="151" y="64"/>
                  </a:lnTo>
                  <a:lnTo>
                    <a:pt x="151" y="60"/>
                  </a:lnTo>
                  <a:lnTo>
                    <a:pt x="155" y="60"/>
                  </a:lnTo>
                  <a:lnTo>
                    <a:pt x="159" y="60"/>
                  </a:lnTo>
                  <a:lnTo>
                    <a:pt x="159" y="56"/>
                  </a:lnTo>
                  <a:lnTo>
                    <a:pt x="163" y="56"/>
                  </a:lnTo>
                  <a:lnTo>
                    <a:pt x="163" y="52"/>
                  </a:lnTo>
                  <a:lnTo>
                    <a:pt x="159" y="52"/>
                  </a:lnTo>
                  <a:lnTo>
                    <a:pt x="155" y="52"/>
                  </a:lnTo>
                  <a:lnTo>
                    <a:pt x="151" y="52"/>
                  </a:lnTo>
                  <a:lnTo>
                    <a:pt x="151" y="48"/>
                  </a:lnTo>
                  <a:lnTo>
                    <a:pt x="151" y="44"/>
                  </a:lnTo>
                  <a:lnTo>
                    <a:pt x="151" y="40"/>
                  </a:lnTo>
                  <a:lnTo>
                    <a:pt x="147" y="40"/>
                  </a:lnTo>
                  <a:lnTo>
                    <a:pt x="147" y="36"/>
                  </a:lnTo>
                  <a:lnTo>
                    <a:pt x="147" y="32"/>
                  </a:lnTo>
                  <a:lnTo>
                    <a:pt x="147" y="28"/>
                  </a:lnTo>
                  <a:lnTo>
                    <a:pt x="143" y="28"/>
                  </a:lnTo>
                  <a:lnTo>
                    <a:pt x="143" y="24"/>
                  </a:lnTo>
                  <a:lnTo>
                    <a:pt x="139" y="24"/>
                  </a:lnTo>
                  <a:lnTo>
                    <a:pt x="139" y="20"/>
                  </a:lnTo>
                  <a:lnTo>
                    <a:pt x="143" y="20"/>
                  </a:lnTo>
                  <a:lnTo>
                    <a:pt x="143" y="24"/>
                  </a:lnTo>
                  <a:lnTo>
                    <a:pt x="147" y="20"/>
                  </a:lnTo>
                  <a:lnTo>
                    <a:pt x="147" y="24"/>
                  </a:lnTo>
                  <a:lnTo>
                    <a:pt x="151" y="24"/>
                  </a:lnTo>
                  <a:lnTo>
                    <a:pt x="151" y="28"/>
                  </a:lnTo>
                  <a:lnTo>
                    <a:pt x="151" y="24"/>
                  </a:lnTo>
                  <a:lnTo>
                    <a:pt x="155" y="24"/>
                  </a:lnTo>
                  <a:lnTo>
                    <a:pt x="159" y="24"/>
                  </a:lnTo>
                  <a:lnTo>
                    <a:pt x="159" y="28"/>
                  </a:lnTo>
                  <a:lnTo>
                    <a:pt x="159" y="24"/>
                  </a:lnTo>
                  <a:lnTo>
                    <a:pt x="163" y="24"/>
                  </a:lnTo>
                  <a:lnTo>
                    <a:pt x="163" y="28"/>
                  </a:lnTo>
                  <a:lnTo>
                    <a:pt x="167" y="32"/>
                  </a:lnTo>
                  <a:lnTo>
                    <a:pt x="171" y="32"/>
                  </a:lnTo>
                  <a:lnTo>
                    <a:pt x="171" y="28"/>
                  </a:lnTo>
                  <a:lnTo>
                    <a:pt x="171" y="24"/>
                  </a:lnTo>
                  <a:lnTo>
                    <a:pt x="175" y="24"/>
                  </a:lnTo>
                  <a:lnTo>
                    <a:pt x="175" y="20"/>
                  </a:lnTo>
                  <a:lnTo>
                    <a:pt x="179" y="20"/>
                  </a:lnTo>
                  <a:lnTo>
                    <a:pt x="179" y="24"/>
                  </a:lnTo>
                  <a:lnTo>
                    <a:pt x="183" y="20"/>
                  </a:lnTo>
                  <a:lnTo>
                    <a:pt x="187" y="20"/>
                  </a:lnTo>
                  <a:lnTo>
                    <a:pt x="191" y="20"/>
                  </a:lnTo>
                  <a:lnTo>
                    <a:pt x="191" y="16"/>
                  </a:lnTo>
                  <a:lnTo>
                    <a:pt x="195" y="16"/>
                  </a:lnTo>
                  <a:lnTo>
                    <a:pt x="199" y="16"/>
                  </a:lnTo>
                  <a:lnTo>
                    <a:pt x="199" y="12"/>
                  </a:lnTo>
                  <a:lnTo>
                    <a:pt x="203" y="12"/>
                  </a:lnTo>
                  <a:lnTo>
                    <a:pt x="203" y="8"/>
                  </a:lnTo>
                  <a:lnTo>
                    <a:pt x="203" y="4"/>
                  </a:lnTo>
                  <a:lnTo>
                    <a:pt x="207" y="4"/>
                  </a:lnTo>
                  <a:lnTo>
                    <a:pt x="207" y="0"/>
                  </a:lnTo>
                  <a:lnTo>
                    <a:pt x="211" y="0"/>
                  </a:lnTo>
                  <a:lnTo>
                    <a:pt x="211" y="4"/>
                  </a:lnTo>
                  <a:lnTo>
                    <a:pt x="211" y="8"/>
                  </a:lnTo>
                  <a:lnTo>
                    <a:pt x="211" y="12"/>
                  </a:lnTo>
                  <a:lnTo>
                    <a:pt x="211" y="16"/>
                  </a:lnTo>
                  <a:lnTo>
                    <a:pt x="215" y="16"/>
                  </a:lnTo>
                  <a:lnTo>
                    <a:pt x="219" y="16"/>
                  </a:lnTo>
                  <a:lnTo>
                    <a:pt x="215" y="20"/>
                  </a:lnTo>
                  <a:lnTo>
                    <a:pt x="219" y="24"/>
                  </a:lnTo>
                  <a:lnTo>
                    <a:pt x="219" y="28"/>
                  </a:lnTo>
                  <a:lnTo>
                    <a:pt x="215" y="32"/>
                  </a:lnTo>
                  <a:lnTo>
                    <a:pt x="215" y="36"/>
                  </a:lnTo>
                  <a:lnTo>
                    <a:pt x="215" y="40"/>
                  </a:lnTo>
                  <a:lnTo>
                    <a:pt x="211" y="44"/>
                  </a:lnTo>
                  <a:lnTo>
                    <a:pt x="211" y="48"/>
                  </a:lnTo>
                  <a:lnTo>
                    <a:pt x="211" y="52"/>
                  </a:lnTo>
                  <a:lnTo>
                    <a:pt x="215" y="52"/>
                  </a:lnTo>
                  <a:lnTo>
                    <a:pt x="215" y="56"/>
                  </a:lnTo>
                  <a:lnTo>
                    <a:pt x="215" y="60"/>
                  </a:lnTo>
                  <a:lnTo>
                    <a:pt x="215" y="64"/>
                  </a:lnTo>
                  <a:lnTo>
                    <a:pt x="219" y="64"/>
                  </a:lnTo>
                  <a:lnTo>
                    <a:pt x="219" y="68"/>
                  </a:lnTo>
                  <a:lnTo>
                    <a:pt x="223" y="68"/>
                  </a:lnTo>
                  <a:lnTo>
                    <a:pt x="223" y="72"/>
                  </a:lnTo>
                  <a:lnTo>
                    <a:pt x="227" y="72"/>
                  </a:lnTo>
                  <a:lnTo>
                    <a:pt x="227" y="76"/>
                  </a:lnTo>
                  <a:lnTo>
                    <a:pt x="231" y="76"/>
                  </a:lnTo>
                  <a:lnTo>
                    <a:pt x="235" y="76"/>
                  </a:lnTo>
                  <a:lnTo>
                    <a:pt x="235" y="72"/>
                  </a:lnTo>
                  <a:lnTo>
                    <a:pt x="239" y="68"/>
                  </a:lnTo>
                  <a:lnTo>
                    <a:pt x="239" y="72"/>
                  </a:lnTo>
                  <a:lnTo>
                    <a:pt x="243" y="72"/>
                  </a:lnTo>
                  <a:lnTo>
                    <a:pt x="243" y="68"/>
                  </a:lnTo>
                  <a:lnTo>
                    <a:pt x="247" y="68"/>
                  </a:lnTo>
                  <a:lnTo>
                    <a:pt x="251" y="68"/>
                  </a:lnTo>
                  <a:lnTo>
                    <a:pt x="251" y="64"/>
                  </a:lnTo>
                  <a:lnTo>
                    <a:pt x="251" y="60"/>
                  </a:lnTo>
                  <a:lnTo>
                    <a:pt x="255" y="60"/>
                  </a:lnTo>
                  <a:lnTo>
                    <a:pt x="255" y="64"/>
                  </a:lnTo>
                  <a:lnTo>
                    <a:pt x="255" y="60"/>
                  </a:lnTo>
                  <a:lnTo>
                    <a:pt x="259" y="64"/>
                  </a:lnTo>
                  <a:lnTo>
                    <a:pt x="263" y="64"/>
                  </a:lnTo>
                  <a:lnTo>
                    <a:pt x="267" y="64"/>
                  </a:lnTo>
                  <a:lnTo>
                    <a:pt x="271" y="64"/>
                  </a:lnTo>
                  <a:lnTo>
                    <a:pt x="275" y="64"/>
                  </a:lnTo>
                  <a:lnTo>
                    <a:pt x="275" y="60"/>
                  </a:lnTo>
                  <a:lnTo>
                    <a:pt x="271" y="56"/>
                  </a:lnTo>
                  <a:lnTo>
                    <a:pt x="271" y="52"/>
                  </a:lnTo>
                  <a:lnTo>
                    <a:pt x="275" y="52"/>
                  </a:lnTo>
                  <a:lnTo>
                    <a:pt x="279" y="56"/>
                  </a:lnTo>
                  <a:lnTo>
                    <a:pt x="279" y="52"/>
                  </a:lnTo>
                  <a:lnTo>
                    <a:pt x="287" y="52"/>
                  </a:lnTo>
                  <a:lnTo>
                    <a:pt x="291" y="52"/>
                  </a:lnTo>
                  <a:lnTo>
                    <a:pt x="291" y="56"/>
                  </a:lnTo>
                  <a:lnTo>
                    <a:pt x="295" y="56"/>
                  </a:lnTo>
                  <a:lnTo>
                    <a:pt x="299" y="60"/>
                  </a:lnTo>
                  <a:lnTo>
                    <a:pt x="303" y="60"/>
                  </a:lnTo>
                  <a:lnTo>
                    <a:pt x="303" y="56"/>
                  </a:lnTo>
                  <a:lnTo>
                    <a:pt x="307" y="56"/>
                  </a:lnTo>
                  <a:lnTo>
                    <a:pt x="311" y="56"/>
                  </a:lnTo>
                  <a:lnTo>
                    <a:pt x="315" y="56"/>
                  </a:lnTo>
                  <a:lnTo>
                    <a:pt x="319" y="56"/>
                  </a:lnTo>
                  <a:lnTo>
                    <a:pt x="319" y="60"/>
                  </a:lnTo>
                  <a:lnTo>
                    <a:pt x="319" y="56"/>
                  </a:lnTo>
                  <a:lnTo>
                    <a:pt x="323" y="56"/>
                  </a:lnTo>
                  <a:lnTo>
                    <a:pt x="323" y="52"/>
                  </a:lnTo>
                  <a:lnTo>
                    <a:pt x="327" y="52"/>
                  </a:lnTo>
                  <a:lnTo>
                    <a:pt x="327" y="48"/>
                  </a:lnTo>
                  <a:lnTo>
                    <a:pt x="327" y="44"/>
                  </a:lnTo>
                  <a:lnTo>
                    <a:pt x="327" y="40"/>
                  </a:lnTo>
                  <a:lnTo>
                    <a:pt x="331" y="40"/>
                  </a:lnTo>
                  <a:lnTo>
                    <a:pt x="331" y="36"/>
                  </a:lnTo>
                  <a:lnTo>
                    <a:pt x="335" y="32"/>
                  </a:lnTo>
                  <a:lnTo>
                    <a:pt x="335" y="28"/>
                  </a:lnTo>
                  <a:lnTo>
                    <a:pt x="335" y="24"/>
                  </a:lnTo>
                  <a:lnTo>
                    <a:pt x="339" y="24"/>
                  </a:lnTo>
                  <a:lnTo>
                    <a:pt x="339" y="20"/>
                  </a:lnTo>
                  <a:lnTo>
                    <a:pt x="343" y="24"/>
                  </a:lnTo>
                  <a:lnTo>
                    <a:pt x="339" y="20"/>
                  </a:lnTo>
                  <a:lnTo>
                    <a:pt x="339" y="16"/>
                  </a:lnTo>
                  <a:lnTo>
                    <a:pt x="343" y="20"/>
                  </a:lnTo>
                  <a:lnTo>
                    <a:pt x="347" y="24"/>
                  </a:lnTo>
                  <a:lnTo>
                    <a:pt x="347" y="28"/>
                  </a:lnTo>
                  <a:lnTo>
                    <a:pt x="347" y="32"/>
                  </a:lnTo>
                  <a:lnTo>
                    <a:pt x="347" y="36"/>
                  </a:lnTo>
                  <a:lnTo>
                    <a:pt x="347" y="40"/>
                  </a:lnTo>
                  <a:lnTo>
                    <a:pt x="347" y="44"/>
                  </a:lnTo>
                  <a:lnTo>
                    <a:pt x="351" y="44"/>
                  </a:lnTo>
                  <a:lnTo>
                    <a:pt x="351" y="48"/>
                  </a:lnTo>
                  <a:lnTo>
                    <a:pt x="351" y="52"/>
                  </a:lnTo>
                  <a:lnTo>
                    <a:pt x="355" y="60"/>
                  </a:lnTo>
                  <a:lnTo>
                    <a:pt x="355" y="64"/>
                  </a:lnTo>
                  <a:lnTo>
                    <a:pt x="359" y="64"/>
                  </a:lnTo>
                  <a:lnTo>
                    <a:pt x="363" y="64"/>
                  </a:lnTo>
                  <a:lnTo>
                    <a:pt x="367" y="68"/>
                  </a:lnTo>
                  <a:lnTo>
                    <a:pt x="367" y="72"/>
                  </a:lnTo>
                  <a:lnTo>
                    <a:pt x="363" y="76"/>
                  </a:lnTo>
                  <a:lnTo>
                    <a:pt x="367" y="76"/>
                  </a:lnTo>
                  <a:lnTo>
                    <a:pt x="363" y="76"/>
                  </a:lnTo>
                  <a:lnTo>
                    <a:pt x="363" y="80"/>
                  </a:lnTo>
                  <a:lnTo>
                    <a:pt x="359" y="80"/>
                  </a:lnTo>
                  <a:lnTo>
                    <a:pt x="359" y="84"/>
                  </a:lnTo>
                  <a:lnTo>
                    <a:pt x="355" y="88"/>
                  </a:lnTo>
                  <a:lnTo>
                    <a:pt x="355" y="92"/>
                  </a:lnTo>
                  <a:lnTo>
                    <a:pt x="351" y="96"/>
                  </a:lnTo>
                  <a:lnTo>
                    <a:pt x="347" y="96"/>
                  </a:lnTo>
                  <a:lnTo>
                    <a:pt x="347" y="100"/>
                  </a:lnTo>
                  <a:lnTo>
                    <a:pt x="343" y="100"/>
                  </a:lnTo>
                  <a:lnTo>
                    <a:pt x="343" y="104"/>
                  </a:lnTo>
                  <a:lnTo>
                    <a:pt x="343" y="108"/>
                  </a:lnTo>
                  <a:lnTo>
                    <a:pt x="339" y="108"/>
                  </a:lnTo>
                  <a:lnTo>
                    <a:pt x="339" y="112"/>
                  </a:lnTo>
                  <a:lnTo>
                    <a:pt x="339" y="116"/>
                  </a:lnTo>
                  <a:lnTo>
                    <a:pt x="335" y="120"/>
                  </a:lnTo>
                  <a:lnTo>
                    <a:pt x="335" y="124"/>
                  </a:lnTo>
                  <a:lnTo>
                    <a:pt x="331" y="124"/>
                  </a:lnTo>
                  <a:lnTo>
                    <a:pt x="327" y="124"/>
                  </a:lnTo>
                  <a:lnTo>
                    <a:pt x="327" y="128"/>
                  </a:lnTo>
                  <a:lnTo>
                    <a:pt x="323" y="124"/>
                  </a:lnTo>
                  <a:lnTo>
                    <a:pt x="323" y="128"/>
                  </a:lnTo>
                  <a:lnTo>
                    <a:pt x="327" y="128"/>
                  </a:lnTo>
                  <a:lnTo>
                    <a:pt x="331" y="128"/>
                  </a:lnTo>
                  <a:lnTo>
                    <a:pt x="335" y="128"/>
                  </a:lnTo>
                  <a:lnTo>
                    <a:pt x="335" y="124"/>
                  </a:lnTo>
                  <a:lnTo>
                    <a:pt x="339" y="124"/>
                  </a:lnTo>
                  <a:lnTo>
                    <a:pt x="343" y="124"/>
                  </a:lnTo>
                  <a:lnTo>
                    <a:pt x="347" y="120"/>
                  </a:lnTo>
                  <a:lnTo>
                    <a:pt x="347" y="116"/>
                  </a:lnTo>
                  <a:lnTo>
                    <a:pt x="351" y="116"/>
                  </a:lnTo>
                  <a:lnTo>
                    <a:pt x="351" y="120"/>
                  </a:lnTo>
                  <a:lnTo>
                    <a:pt x="351" y="124"/>
                  </a:lnTo>
                  <a:lnTo>
                    <a:pt x="351" y="128"/>
                  </a:lnTo>
                  <a:lnTo>
                    <a:pt x="355" y="128"/>
                  </a:lnTo>
                  <a:lnTo>
                    <a:pt x="355" y="132"/>
                  </a:lnTo>
                  <a:lnTo>
                    <a:pt x="351" y="132"/>
                  </a:lnTo>
                  <a:lnTo>
                    <a:pt x="347" y="132"/>
                  </a:lnTo>
                  <a:lnTo>
                    <a:pt x="343" y="132"/>
                  </a:lnTo>
                  <a:lnTo>
                    <a:pt x="343" y="128"/>
                  </a:lnTo>
                  <a:lnTo>
                    <a:pt x="343" y="132"/>
                  </a:lnTo>
                  <a:lnTo>
                    <a:pt x="343" y="136"/>
                  </a:lnTo>
                  <a:lnTo>
                    <a:pt x="339" y="136"/>
                  </a:lnTo>
                  <a:lnTo>
                    <a:pt x="343" y="140"/>
                  </a:lnTo>
                  <a:lnTo>
                    <a:pt x="343" y="136"/>
                  </a:lnTo>
                  <a:lnTo>
                    <a:pt x="343" y="132"/>
                  </a:lnTo>
                  <a:lnTo>
                    <a:pt x="347" y="132"/>
                  </a:lnTo>
                  <a:lnTo>
                    <a:pt x="347" y="136"/>
                  </a:lnTo>
                  <a:lnTo>
                    <a:pt x="347" y="140"/>
                  </a:lnTo>
                  <a:lnTo>
                    <a:pt x="347" y="144"/>
                  </a:lnTo>
                  <a:lnTo>
                    <a:pt x="351" y="144"/>
                  </a:lnTo>
                  <a:lnTo>
                    <a:pt x="347" y="140"/>
                  </a:lnTo>
                  <a:lnTo>
                    <a:pt x="351" y="136"/>
                  </a:lnTo>
                  <a:lnTo>
                    <a:pt x="355" y="140"/>
                  </a:lnTo>
                  <a:lnTo>
                    <a:pt x="351" y="136"/>
                  </a:lnTo>
                  <a:lnTo>
                    <a:pt x="351" y="132"/>
                  </a:lnTo>
                  <a:lnTo>
                    <a:pt x="355" y="132"/>
                  </a:lnTo>
                  <a:lnTo>
                    <a:pt x="359" y="132"/>
                  </a:lnTo>
                  <a:lnTo>
                    <a:pt x="355" y="132"/>
                  </a:lnTo>
                  <a:lnTo>
                    <a:pt x="359" y="132"/>
                  </a:lnTo>
                  <a:lnTo>
                    <a:pt x="363" y="132"/>
                  </a:lnTo>
                  <a:lnTo>
                    <a:pt x="367" y="132"/>
                  </a:lnTo>
                  <a:lnTo>
                    <a:pt x="371" y="132"/>
                  </a:lnTo>
                  <a:lnTo>
                    <a:pt x="371" y="128"/>
                  </a:lnTo>
                  <a:lnTo>
                    <a:pt x="375" y="128"/>
                  </a:lnTo>
                  <a:lnTo>
                    <a:pt x="375" y="132"/>
                  </a:lnTo>
                  <a:lnTo>
                    <a:pt x="375" y="136"/>
                  </a:lnTo>
                  <a:lnTo>
                    <a:pt x="371" y="136"/>
                  </a:lnTo>
                  <a:lnTo>
                    <a:pt x="371" y="140"/>
                  </a:lnTo>
                  <a:lnTo>
                    <a:pt x="371" y="144"/>
                  </a:lnTo>
                  <a:lnTo>
                    <a:pt x="371" y="140"/>
                  </a:lnTo>
                  <a:lnTo>
                    <a:pt x="375" y="140"/>
                  </a:lnTo>
                  <a:lnTo>
                    <a:pt x="375" y="136"/>
                  </a:lnTo>
                  <a:lnTo>
                    <a:pt x="375" y="132"/>
                  </a:lnTo>
                  <a:lnTo>
                    <a:pt x="379" y="132"/>
                  </a:lnTo>
                  <a:lnTo>
                    <a:pt x="383" y="128"/>
                  </a:lnTo>
                  <a:lnTo>
                    <a:pt x="383" y="124"/>
                  </a:lnTo>
                  <a:lnTo>
                    <a:pt x="387" y="124"/>
                  </a:lnTo>
                  <a:lnTo>
                    <a:pt x="387" y="128"/>
                  </a:lnTo>
                  <a:lnTo>
                    <a:pt x="387" y="124"/>
                  </a:lnTo>
                  <a:lnTo>
                    <a:pt x="391" y="124"/>
                  </a:lnTo>
                  <a:lnTo>
                    <a:pt x="387" y="124"/>
                  </a:lnTo>
                  <a:lnTo>
                    <a:pt x="387" y="120"/>
                  </a:lnTo>
                  <a:lnTo>
                    <a:pt x="387" y="124"/>
                  </a:lnTo>
                  <a:lnTo>
                    <a:pt x="391" y="124"/>
                  </a:lnTo>
                  <a:lnTo>
                    <a:pt x="391" y="120"/>
                  </a:lnTo>
                  <a:lnTo>
                    <a:pt x="391" y="116"/>
                  </a:lnTo>
                  <a:lnTo>
                    <a:pt x="391" y="112"/>
                  </a:lnTo>
                  <a:lnTo>
                    <a:pt x="395" y="112"/>
                  </a:lnTo>
                  <a:lnTo>
                    <a:pt x="399" y="108"/>
                  </a:lnTo>
                  <a:lnTo>
                    <a:pt x="399" y="112"/>
                  </a:lnTo>
                  <a:lnTo>
                    <a:pt x="399" y="108"/>
                  </a:lnTo>
                  <a:lnTo>
                    <a:pt x="403" y="108"/>
                  </a:lnTo>
                  <a:lnTo>
                    <a:pt x="403" y="112"/>
                  </a:lnTo>
                  <a:lnTo>
                    <a:pt x="403" y="108"/>
                  </a:lnTo>
                  <a:lnTo>
                    <a:pt x="407" y="108"/>
                  </a:lnTo>
                  <a:lnTo>
                    <a:pt x="407" y="112"/>
                  </a:lnTo>
                  <a:lnTo>
                    <a:pt x="411" y="112"/>
                  </a:lnTo>
                  <a:lnTo>
                    <a:pt x="411" y="116"/>
                  </a:lnTo>
                  <a:lnTo>
                    <a:pt x="411" y="112"/>
                  </a:lnTo>
                  <a:lnTo>
                    <a:pt x="415" y="112"/>
                  </a:lnTo>
                  <a:lnTo>
                    <a:pt x="415" y="116"/>
                  </a:lnTo>
                  <a:lnTo>
                    <a:pt x="419" y="116"/>
                  </a:lnTo>
                  <a:lnTo>
                    <a:pt x="423" y="116"/>
                  </a:lnTo>
                  <a:lnTo>
                    <a:pt x="423" y="120"/>
                  </a:lnTo>
                  <a:lnTo>
                    <a:pt x="419" y="120"/>
                  </a:lnTo>
                  <a:lnTo>
                    <a:pt x="423" y="120"/>
                  </a:lnTo>
                  <a:lnTo>
                    <a:pt x="427" y="116"/>
                  </a:lnTo>
                  <a:lnTo>
                    <a:pt x="427" y="120"/>
                  </a:lnTo>
                  <a:lnTo>
                    <a:pt x="431" y="120"/>
                  </a:lnTo>
                  <a:lnTo>
                    <a:pt x="431" y="124"/>
                  </a:lnTo>
                  <a:lnTo>
                    <a:pt x="431" y="120"/>
                  </a:lnTo>
                  <a:lnTo>
                    <a:pt x="435" y="124"/>
                  </a:lnTo>
                  <a:lnTo>
                    <a:pt x="431" y="124"/>
                  </a:lnTo>
                  <a:lnTo>
                    <a:pt x="431" y="128"/>
                  </a:lnTo>
                  <a:lnTo>
                    <a:pt x="435" y="128"/>
                  </a:lnTo>
                  <a:lnTo>
                    <a:pt x="435" y="124"/>
                  </a:lnTo>
                  <a:lnTo>
                    <a:pt x="435" y="128"/>
                  </a:lnTo>
                  <a:lnTo>
                    <a:pt x="435" y="124"/>
                  </a:lnTo>
                  <a:lnTo>
                    <a:pt x="439" y="124"/>
                  </a:lnTo>
                  <a:lnTo>
                    <a:pt x="443" y="124"/>
                  </a:lnTo>
                  <a:lnTo>
                    <a:pt x="443" y="128"/>
                  </a:lnTo>
                  <a:lnTo>
                    <a:pt x="439" y="128"/>
                  </a:lnTo>
                  <a:lnTo>
                    <a:pt x="443" y="128"/>
                  </a:lnTo>
                  <a:lnTo>
                    <a:pt x="443" y="132"/>
                  </a:lnTo>
                  <a:close/>
                  <a:moveTo>
                    <a:pt x="383" y="124"/>
                  </a:moveTo>
                  <a:lnTo>
                    <a:pt x="379" y="124"/>
                  </a:lnTo>
                  <a:lnTo>
                    <a:pt x="375" y="128"/>
                  </a:lnTo>
                  <a:lnTo>
                    <a:pt x="371" y="128"/>
                  </a:lnTo>
                  <a:lnTo>
                    <a:pt x="371" y="132"/>
                  </a:lnTo>
                  <a:lnTo>
                    <a:pt x="367" y="128"/>
                  </a:lnTo>
                  <a:lnTo>
                    <a:pt x="367" y="132"/>
                  </a:lnTo>
                  <a:lnTo>
                    <a:pt x="363" y="132"/>
                  </a:lnTo>
                  <a:lnTo>
                    <a:pt x="363" y="128"/>
                  </a:lnTo>
                  <a:lnTo>
                    <a:pt x="363" y="132"/>
                  </a:lnTo>
                  <a:lnTo>
                    <a:pt x="359" y="132"/>
                  </a:lnTo>
                  <a:lnTo>
                    <a:pt x="355" y="132"/>
                  </a:lnTo>
                  <a:lnTo>
                    <a:pt x="355" y="128"/>
                  </a:lnTo>
                  <a:lnTo>
                    <a:pt x="351" y="128"/>
                  </a:lnTo>
                  <a:lnTo>
                    <a:pt x="351" y="124"/>
                  </a:lnTo>
                  <a:lnTo>
                    <a:pt x="351" y="120"/>
                  </a:lnTo>
                  <a:lnTo>
                    <a:pt x="355" y="120"/>
                  </a:lnTo>
                  <a:lnTo>
                    <a:pt x="355" y="116"/>
                  </a:lnTo>
                  <a:lnTo>
                    <a:pt x="355" y="120"/>
                  </a:lnTo>
                  <a:lnTo>
                    <a:pt x="355" y="116"/>
                  </a:lnTo>
                  <a:lnTo>
                    <a:pt x="351" y="116"/>
                  </a:lnTo>
                  <a:lnTo>
                    <a:pt x="351" y="112"/>
                  </a:lnTo>
                  <a:lnTo>
                    <a:pt x="351" y="108"/>
                  </a:lnTo>
                  <a:lnTo>
                    <a:pt x="355" y="108"/>
                  </a:lnTo>
                  <a:lnTo>
                    <a:pt x="355" y="112"/>
                  </a:lnTo>
                  <a:lnTo>
                    <a:pt x="355" y="108"/>
                  </a:lnTo>
                  <a:lnTo>
                    <a:pt x="355" y="104"/>
                  </a:lnTo>
                  <a:lnTo>
                    <a:pt x="355" y="100"/>
                  </a:lnTo>
                  <a:lnTo>
                    <a:pt x="359" y="100"/>
                  </a:lnTo>
                  <a:lnTo>
                    <a:pt x="363" y="100"/>
                  </a:lnTo>
                  <a:lnTo>
                    <a:pt x="367" y="100"/>
                  </a:lnTo>
                  <a:lnTo>
                    <a:pt x="367" y="104"/>
                  </a:lnTo>
                  <a:lnTo>
                    <a:pt x="371" y="104"/>
                  </a:lnTo>
                  <a:lnTo>
                    <a:pt x="375" y="104"/>
                  </a:lnTo>
                  <a:lnTo>
                    <a:pt x="375" y="100"/>
                  </a:lnTo>
                  <a:lnTo>
                    <a:pt x="379" y="100"/>
                  </a:lnTo>
                  <a:lnTo>
                    <a:pt x="383" y="100"/>
                  </a:lnTo>
                  <a:lnTo>
                    <a:pt x="383" y="104"/>
                  </a:lnTo>
                  <a:lnTo>
                    <a:pt x="387" y="104"/>
                  </a:lnTo>
                  <a:lnTo>
                    <a:pt x="387" y="108"/>
                  </a:lnTo>
                  <a:lnTo>
                    <a:pt x="387" y="112"/>
                  </a:lnTo>
                  <a:lnTo>
                    <a:pt x="387" y="116"/>
                  </a:lnTo>
                  <a:lnTo>
                    <a:pt x="383" y="116"/>
                  </a:lnTo>
                  <a:lnTo>
                    <a:pt x="383" y="120"/>
                  </a:lnTo>
                  <a:lnTo>
                    <a:pt x="383" y="124"/>
                  </a:lnTo>
                  <a:close/>
                  <a:moveTo>
                    <a:pt x="355" y="60"/>
                  </a:moveTo>
                  <a:lnTo>
                    <a:pt x="355" y="56"/>
                  </a:lnTo>
                  <a:lnTo>
                    <a:pt x="359" y="56"/>
                  </a:lnTo>
                  <a:lnTo>
                    <a:pt x="359" y="60"/>
                  </a:lnTo>
                  <a:lnTo>
                    <a:pt x="355" y="60"/>
                  </a:lnTo>
                  <a:close/>
                  <a:moveTo>
                    <a:pt x="359" y="64"/>
                  </a:moveTo>
                  <a:lnTo>
                    <a:pt x="355" y="60"/>
                  </a:lnTo>
                  <a:lnTo>
                    <a:pt x="359" y="60"/>
                  </a:lnTo>
                  <a:lnTo>
                    <a:pt x="359" y="64"/>
                  </a:lnTo>
                  <a:close/>
                  <a:moveTo>
                    <a:pt x="363" y="80"/>
                  </a:moveTo>
                  <a:lnTo>
                    <a:pt x="367" y="80"/>
                  </a:lnTo>
                  <a:lnTo>
                    <a:pt x="363" y="80"/>
                  </a:lnTo>
                  <a:close/>
                  <a:moveTo>
                    <a:pt x="359" y="84"/>
                  </a:moveTo>
                  <a:lnTo>
                    <a:pt x="359" y="80"/>
                  </a:lnTo>
                  <a:lnTo>
                    <a:pt x="363" y="80"/>
                  </a:lnTo>
                  <a:lnTo>
                    <a:pt x="363" y="84"/>
                  </a:lnTo>
                  <a:lnTo>
                    <a:pt x="363" y="80"/>
                  </a:lnTo>
                  <a:lnTo>
                    <a:pt x="363" y="84"/>
                  </a:lnTo>
                  <a:lnTo>
                    <a:pt x="359" y="84"/>
                  </a:lnTo>
                  <a:close/>
                  <a:moveTo>
                    <a:pt x="359" y="92"/>
                  </a:moveTo>
                  <a:lnTo>
                    <a:pt x="359" y="88"/>
                  </a:lnTo>
                  <a:lnTo>
                    <a:pt x="363" y="88"/>
                  </a:lnTo>
                  <a:lnTo>
                    <a:pt x="363" y="92"/>
                  </a:lnTo>
                  <a:lnTo>
                    <a:pt x="359" y="92"/>
                  </a:lnTo>
                  <a:close/>
                  <a:moveTo>
                    <a:pt x="359" y="96"/>
                  </a:moveTo>
                  <a:lnTo>
                    <a:pt x="355" y="96"/>
                  </a:lnTo>
                  <a:lnTo>
                    <a:pt x="355" y="92"/>
                  </a:lnTo>
                  <a:lnTo>
                    <a:pt x="359" y="92"/>
                  </a:lnTo>
                  <a:lnTo>
                    <a:pt x="359" y="88"/>
                  </a:lnTo>
                  <a:lnTo>
                    <a:pt x="359" y="92"/>
                  </a:lnTo>
                  <a:lnTo>
                    <a:pt x="359" y="96"/>
                  </a:lnTo>
                  <a:close/>
                  <a:moveTo>
                    <a:pt x="363" y="96"/>
                  </a:moveTo>
                  <a:lnTo>
                    <a:pt x="359" y="96"/>
                  </a:lnTo>
                  <a:lnTo>
                    <a:pt x="363" y="96"/>
                  </a:lnTo>
                  <a:lnTo>
                    <a:pt x="363" y="92"/>
                  </a:lnTo>
                  <a:lnTo>
                    <a:pt x="367" y="92"/>
                  </a:lnTo>
                  <a:lnTo>
                    <a:pt x="371" y="92"/>
                  </a:lnTo>
                  <a:lnTo>
                    <a:pt x="371" y="96"/>
                  </a:lnTo>
                  <a:lnTo>
                    <a:pt x="367" y="96"/>
                  </a:lnTo>
                  <a:lnTo>
                    <a:pt x="367" y="100"/>
                  </a:lnTo>
                  <a:lnTo>
                    <a:pt x="363" y="100"/>
                  </a:lnTo>
                  <a:lnTo>
                    <a:pt x="363" y="96"/>
                  </a:lnTo>
                  <a:close/>
                  <a:moveTo>
                    <a:pt x="355" y="100"/>
                  </a:moveTo>
                  <a:lnTo>
                    <a:pt x="355" y="96"/>
                  </a:lnTo>
                  <a:lnTo>
                    <a:pt x="359" y="96"/>
                  </a:lnTo>
                  <a:lnTo>
                    <a:pt x="359" y="100"/>
                  </a:lnTo>
                  <a:lnTo>
                    <a:pt x="355" y="100"/>
                  </a:lnTo>
                  <a:close/>
                  <a:moveTo>
                    <a:pt x="367" y="96"/>
                  </a:moveTo>
                  <a:lnTo>
                    <a:pt x="371" y="96"/>
                  </a:lnTo>
                  <a:lnTo>
                    <a:pt x="375" y="96"/>
                  </a:lnTo>
                  <a:lnTo>
                    <a:pt x="375" y="100"/>
                  </a:lnTo>
                  <a:lnTo>
                    <a:pt x="371" y="100"/>
                  </a:lnTo>
                  <a:lnTo>
                    <a:pt x="367" y="100"/>
                  </a:lnTo>
                  <a:lnTo>
                    <a:pt x="367" y="96"/>
                  </a:lnTo>
                  <a:close/>
                  <a:moveTo>
                    <a:pt x="351" y="96"/>
                  </a:moveTo>
                  <a:lnTo>
                    <a:pt x="355" y="96"/>
                  </a:lnTo>
                  <a:lnTo>
                    <a:pt x="351" y="96"/>
                  </a:lnTo>
                  <a:lnTo>
                    <a:pt x="351" y="100"/>
                  </a:lnTo>
                  <a:lnTo>
                    <a:pt x="351" y="96"/>
                  </a:lnTo>
                  <a:close/>
                  <a:moveTo>
                    <a:pt x="351" y="104"/>
                  </a:moveTo>
                  <a:lnTo>
                    <a:pt x="347" y="104"/>
                  </a:lnTo>
                  <a:lnTo>
                    <a:pt x="347" y="100"/>
                  </a:lnTo>
                  <a:lnTo>
                    <a:pt x="351" y="100"/>
                  </a:lnTo>
                  <a:lnTo>
                    <a:pt x="355" y="100"/>
                  </a:lnTo>
                  <a:lnTo>
                    <a:pt x="351" y="100"/>
                  </a:lnTo>
                  <a:lnTo>
                    <a:pt x="351" y="104"/>
                  </a:lnTo>
                  <a:close/>
                  <a:moveTo>
                    <a:pt x="343" y="108"/>
                  </a:moveTo>
                  <a:lnTo>
                    <a:pt x="343" y="104"/>
                  </a:lnTo>
                  <a:lnTo>
                    <a:pt x="347" y="104"/>
                  </a:lnTo>
                  <a:lnTo>
                    <a:pt x="347" y="100"/>
                  </a:lnTo>
                  <a:lnTo>
                    <a:pt x="347" y="104"/>
                  </a:lnTo>
                  <a:lnTo>
                    <a:pt x="343" y="108"/>
                  </a:lnTo>
                  <a:close/>
                  <a:moveTo>
                    <a:pt x="347" y="108"/>
                  </a:moveTo>
                  <a:lnTo>
                    <a:pt x="347" y="104"/>
                  </a:lnTo>
                  <a:lnTo>
                    <a:pt x="351" y="104"/>
                  </a:lnTo>
                  <a:lnTo>
                    <a:pt x="347" y="104"/>
                  </a:lnTo>
                  <a:lnTo>
                    <a:pt x="347" y="108"/>
                  </a:lnTo>
                  <a:close/>
                  <a:moveTo>
                    <a:pt x="351" y="108"/>
                  </a:moveTo>
                  <a:lnTo>
                    <a:pt x="351" y="104"/>
                  </a:lnTo>
                  <a:lnTo>
                    <a:pt x="351" y="108"/>
                  </a:lnTo>
                  <a:close/>
                  <a:moveTo>
                    <a:pt x="347" y="108"/>
                  </a:moveTo>
                  <a:lnTo>
                    <a:pt x="347" y="104"/>
                  </a:lnTo>
                  <a:lnTo>
                    <a:pt x="351" y="104"/>
                  </a:lnTo>
                  <a:lnTo>
                    <a:pt x="351" y="108"/>
                  </a:lnTo>
                  <a:lnTo>
                    <a:pt x="347" y="108"/>
                  </a:lnTo>
                  <a:close/>
                  <a:moveTo>
                    <a:pt x="347" y="116"/>
                  </a:moveTo>
                  <a:lnTo>
                    <a:pt x="347" y="112"/>
                  </a:lnTo>
                  <a:lnTo>
                    <a:pt x="351" y="108"/>
                  </a:lnTo>
                  <a:lnTo>
                    <a:pt x="351" y="112"/>
                  </a:lnTo>
                  <a:lnTo>
                    <a:pt x="347" y="112"/>
                  </a:lnTo>
                  <a:lnTo>
                    <a:pt x="347" y="116"/>
                  </a:lnTo>
                  <a:close/>
                  <a:moveTo>
                    <a:pt x="343" y="120"/>
                  </a:moveTo>
                  <a:lnTo>
                    <a:pt x="343" y="116"/>
                  </a:lnTo>
                  <a:lnTo>
                    <a:pt x="347" y="116"/>
                  </a:lnTo>
                  <a:lnTo>
                    <a:pt x="347" y="112"/>
                  </a:lnTo>
                  <a:lnTo>
                    <a:pt x="347" y="116"/>
                  </a:lnTo>
                  <a:lnTo>
                    <a:pt x="347" y="120"/>
                  </a:lnTo>
                  <a:lnTo>
                    <a:pt x="343" y="120"/>
                  </a:lnTo>
                  <a:close/>
                  <a:moveTo>
                    <a:pt x="351" y="112"/>
                  </a:moveTo>
                  <a:lnTo>
                    <a:pt x="351" y="116"/>
                  </a:lnTo>
                  <a:lnTo>
                    <a:pt x="347" y="116"/>
                  </a:lnTo>
                  <a:lnTo>
                    <a:pt x="347" y="120"/>
                  </a:lnTo>
                  <a:lnTo>
                    <a:pt x="347" y="116"/>
                  </a:lnTo>
                  <a:lnTo>
                    <a:pt x="347" y="112"/>
                  </a:lnTo>
                  <a:lnTo>
                    <a:pt x="351" y="112"/>
                  </a:lnTo>
                  <a:close/>
                  <a:moveTo>
                    <a:pt x="415" y="116"/>
                  </a:moveTo>
                  <a:lnTo>
                    <a:pt x="419" y="116"/>
                  </a:lnTo>
                  <a:lnTo>
                    <a:pt x="415" y="116"/>
                  </a:lnTo>
                  <a:close/>
                  <a:moveTo>
                    <a:pt x="391" y="120"/>
                  </a:moveTo>
                  <a:lnTo>
                    <a:pt x="387" y="120"/>
                  </a:lnTo>
                  <a:lnTo>
                    <a:pt x="387" y="116"/>
                  </a:lnTo>
                  <a:lnTo>
                    <a:pt x="391" y="116"/>
                  </a:lnTo>
                  <a:lnTo>
                    <a:pt x="391" y="120"/>
                  </a:lnTo>
                  <a:close/>
                  <a:moveTo>
                    <a:pt x="431" y="124"/>
                  </a:moveTo>
                  <a:lnTo>
                    <a:pt x="431" y="120"/>
                  </a:lnTo>
                  <a:lnTo>
                    <a:pt x="431" y="124"/>
                  </a:lnTo>
                  <a:close/>
                  <a:moveTo>
                    <a:pt x="439" y="124"/>
                  </a:moveTo>
                  <a:lnTo>
                    <a:pt x="439" y="120"/>
                  </a:lnTo>
                  <a:lnTo>
                    <a:pt x="443" y="120"/>
                  </a:lnTo>
                  <a:lnTo>
                    <a:pt x="443" y="124"/>
                  </a:lnTo>
                  <a:lnTo>
                    <a:pt x="439" y="124"/>
                  </a:lnTo>
                  <a:close/>
                  <a:moveTo>
                    <a:pt x="327" y="124"/>
                  </a:moveTo>
                  <a:lnTo>
                    <a:pt x="331" y="124"/>
                  </a:lnTo>
                  <a:lnTo>
                    <a:pt x="327" y="124"/>
                  </a:lnTo>
                  <a:close/>
                  <a:moveTo>
                    <a:pt x="331" y="128"/>
                  </a:moveTo>
                  <a:lnTo>
                    <a:pt x="331" y="124"/>
                  </a:lnTo>
                  <a:lnTo>
                    <a:pt x="335" y="124"/>
                  </a:lnTo>
                  <a:lnTo>
                    <a:pt x="335" y="128"/>
                  </a:lnTo>
                  <a:lnTo>
                    <a:pt x="331" y="128"/>
                  </a:lnTo>
                  <a:close/>
                  <a:moveTo>
                    <a:pt x="443" y="128"/>
                  </a:moveTo>
                  <a:lnTo>
                    <a:pt x="447" y="128"/>
                  </a:lnTo>
                  <a:lnTo>
                    <a:pt x="443" y="128"/>
                  </a:lnTo>
                  <a:close/>
                  <a:moveTo>
                    <a:pt x="379" y="132"/>
                  </a:moveTo>
                  <a:lnTo>
                    <a:pt x="379" y="128"/>
                  </a:lnTo>
                  <a:lnTo>
                    <a:pt x="379" y="132"/>
                  </a:lnTo>
                  <a:close/>
                  <a:moveTo>
                    <a:pt x="379" y="132"/>
                  </a:moveTo>
                  <a:lnTo>
                    <a:pt x="375" y="132"/>
                  </a:lnTo>
                  <a:lnTo>
                    <a:pt x="379" y="132"/>
                  </a:lnTo>
                  <a:lnTo>
                    <a:pt x="379" y="128"/>
                  </a:lnTo>
                  <a:lnTo>
                    <a:pt x="379" y="132"/>
                  </a:lnTo>
                  <a:close/>
                  <a:moveTo>
                    <a:pt x="351" y="136"/>
                  </a:moveTo>
                  <a:lnTo>
                    <a:pt x="351" y="132"/>
                  </a:lnTo>
                  <a:lnTo>
                    <a:pt x="351" y="136"/>
                  </a:lnTo>
                  <a:lnTo>
                    <a:pt x="347" y="136"/>
                  </a:lnTo>
                  <a:lnTo>
                    <a:pt x="347" y="132"/>
                  </a:lnTo>
                  <a:lnTo>
                    <a:pt x="351" y="132"/>
                  </a:lnTo>
                  <a:lnTo>
                    <a:pt x="351" y="136"/>
                  </a:lnTo>
                  <a:close/>
                  <a:moveTo>
                    <a:pt x="447" y="155"/>
                  </a:moveTo>
                  <a:lnTo>
                    <a:pt x="447" y="152"/>
                  </a:lnTo>
                  <a:lnTo>
                    <a:pt x="447" y="148"/>
                  </a:lnTo>
                  <a:lnTo>
                    <a:pt x="447" y="152"/>
                  </a:lnTo>
                  <a:lnTo>
                    <a:pt x="447" y="155"/>
                  </a:lnTo>
                  <a:close/>
                  <a:moveTo>
                    <a:pt x="534" y="339"/>
                  </a:moveTo>
                  <a:lnTo>
                    <a:pt x="534" y="335"/>
                  </a:lnTo>
                  <a:lnTo>
                    <a:pt x="538" y="335"/>
                  </a:lnTo>
                  <a:lnTo>
                    <a:pt x="534" y="335"/>
                  </a:lnTo>
                  <a:lnTo>
                    <a:pt x="534" y="339"/>
                  </a:lnTo>
                  <a:close/>
                  <a:moveTo>
                    <a:pt x="530" y="347"/>
                  </a:moveTo>
                  <a:lnTo>
                    <a:pt x="530" y="343"/>
                  </a:lnTo>
                  <a:lnTo>
                    <a:pt x="530" y="347"/>
                  </a:lnTo>
                  <a:close/>
                  <a:moveTo>
                    <a:pt x="387" y="590"/>
                  </a:moveTo>
                  <a:lnTo>
                    <a:pt x="383" y="590"/>
                  </a:lnTo>
                  <a:lnTo>
                    <a:pt x="383" y="587"/>
                  </a:lnTo>
                  <a:lnTo>
                    <a:pt x="387" y="583"/>
                  </a:lnTo>
                  <a:lnTo>
                    <a:pt x="387" y="587"/>
                  </a:lnTo>
                  <a:lnTo>
                    <a:pt x="387" y="590"/>
                  </a:lnTo>
                  <a:close/>
                  <a:moveTo>
                    <a:pt x="387" y="618"/>
                  </a:moveTo>
                  <a:lnTo>
                    <a:pt x="387" y="614"/>
                  </a:lnTo>
                  <a:lnTo>
                    <a:pt x="387" y="610"/>
                  </a:lnTo>
                  <a:lnTo>
                    <a:pt x="387" y="606"/>
                  </a:lnTo>
                  <a:lnTo>
                    <a:pt x="387" y="610"/>
                  </a:lnTo>
                  <a:lnTo>
                    <a:pt x="387" y="614"/>
                  </a:lnTo>
                  <a:lnTo>
                    <a:pt x="387" y="618"/>
                  </a:lnTo>
                  <a:close/>
                  <a:moveTo>
                    <a:pt x="335" y="124"/>
                  </a:moveTo>
                  <a:lnTo>
                    <a:pt x="335" y="120"/>
                  </a:lnTo>
                  <a:lnTo>
                    <a:pt x="339" y="120"/>
                  </a:lnTo>
                  <a:lnTo>
                    <a:pt x="339" y="116"/>
                  </a:lnTo>
                  <a:lnTo>
                    <a:pt x="339" y="112"/>
                  </a:lnTo>
                  <a:lnTo>
                    <a:pt x="339" y="108"/>
                  </a:lnTo>
                  <a:lnTo>
                    <a:pt x="343" y="108"/>
                  </a:lnTo>
                  <a:lnTo>
                    <a:pt x="347" y="108"/>
                  </a:lnTo>
                  <a:lnTo>
                    <a:pt x="347" y="112"/>
                  </a:lnTo>
                  <a:lnTo>
                    <a:pt x="347" y="116"/>
                  </a:lnTo>
                  <a:lnTo>
                    <a:pt x="343" y="116"/>
                  </a:lnTo>
                  <a:lnTo>
                    <a:pt x="343" y="120"/>
                  </a:lnTo>
                  <a:lnTo>
                    <a:pt x="339" y="120"/>
                  </a:lnTo>
                  <a:lnTo>
                    <a:pt x="339" y="124"/>
                  </a:lnTo>
                  <a:lnTo>
                    <a:pt x="335" y="124"/>
                  </a:lnTo>
                  <a:close/>
                  <a:moveTo>
                    <a:pt x="451" y="527"/>
                  </a:moveTo>
                  <a:lnTo>
                    <a:pt x="455" y="527"/>
                  </a:lnTo>
                  <a:lnTo>
                    <a:pt x="451" y="527"/>
                  </a:lnTo>
                  <a:close/>
                  <a:moveTo>
                    <a:pt x="435" y="543"/>
                  </a:moveTo>
                  <a:lnTo>
                    <a:pt x="435" y="539"/>
                  </a:lnTo>
                  <a:lnTo>
                    <a:pt x="435" y="54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4" name="Freeform 172"/>
            <p:cNvSpPr>
              <a:spLocks noEditPoints="1"/>
            </p:cNvSpPr>
            <p:nvPr>
              <p:custDataLst>
                <p:tags r:id="rId367"/>
              </p:custDataLst>
            </p:nvPr>
          </p:nvSpPr>
          <p:spPr bwMode="gray">
            <a:xfrm>
              <a:off x="2600834" y="4254850"/>
              <a:ext cx="272884" cy="455300"/>
            </a:xfrm>
            <a:custGeom>
              <a:avLst/>
              <a:gdLst/>
              <a:ahLst/>
              <a:cxnLst>
                <a:cxn ang="0">
                  <a:pos x="72" y="32"/>
                </a:cxn>
                <a:cxn ang="0">
                  <a:pos x="88" y="24"/>
                </a:cxn>
                <a:cxn ang="0">
                  <a:pos x="104" y="8"/>
                </a:cxn>
                <a:cxn ang="0">
                  <a:pos x="112" y="0"/>
                </a:cxn>
                <a:cxn ang="0">
                  <a:pos x="112" y="12"/>
                </a:cxn>
                <a:cxn ang="0">
                  <a:pos x="100" y="28"/>
                </a:cxn>
                <a:cxn ang="0">
                  <a:pos x="92" y="48"/>
                </a:cxn>
                <a:cxn ang="0">
                  <a:pos x="92" y="64"/>
                </a:cxn>
                <a:cxn ang="0">
                  <a:pos x="104" y="80"/>
                </a:cxn>
                <a:cxn ang="0">
                  <a:pos x="104" y="96"/>
                </a:cxn>
                <a:cxn ang="0">
                  <a:pos x="120" y="104"/>
                </a:cxn>
                <a:cxn ang="0">
                  <a:pos x="136" y="104"/>
                </a:cxn>
                <a:cxn ang="0">
                  <a:pos x="152" y="116"/>
                </a:cxn>
                <a:cxn ang="0">
                  <a:pos x="176" y="116"/>
                </a:cxn>
                <a:cxn ang="0">
                  <a:pos x="172" y="140"/>
                </a:cxn>
                <a:cxn ang="0">
                  <a:pos x="176" y="160"/>
                </a:cxn>
                <a:cxn ang="0">
                  <a:pos x="172" y="176"/>
                </a:cxn>
                <a:cxn ang="0">
                  <a:pos x="184" y="200"/>
                </a:cxn>
                <a:cxn ang="0">
                  <a:pos x="180" y="200"/>
                </a:cxn>
                <a:cxn ang="0">
                  <a:pos x="168" y="196"/>
                </a:cxn>
                <a:cxn ang="0">
                  <a:pos x="164" y="200"/>
                </a:cxn>
                <a:cxn ang="0">
                  <a:pos x="140" y="212"/>
                </a:cxn>
                <a:cxn ang="0">
                  <a:pos x="148" y="216"/>
                </a:cxn>
                <a:cxn ang="0">
                  <a:pos x="136" y="232"/>
                </a:cxn>
                <a:cxn ang="0">
                  <a:pos x="148" y="248"/>
                </a:cxn>
                <a:cxn ang="0">
                  <a:pos x="144" y="264"/>
                </a:cxn>
                <a:cxn ang="0">
                  <a:pos x="136" y="307"/>
                </a:cxn>
                <a:cxn ang="0">
                  <a:pos x="136" y="280"/>
                </a:cxn>
                <a:cxn ang="0">
                  <a:pos x="120" y="272"/>
                </a:cxn>
                <a:cxn ang="0">
                  <a:pos x="104" y="276"/>
                </a:cxn>
                <a:cxn ang="0">
                  <a:pos x="92" y="272"/>
                </a:cxn>
                <a:cxn ang="0">
                  <a:pos x="84" y="264"/>
                </a:cxn>
                <a:cxn ang="0">
                  <a:pos x="72" y="244"/>
                </a:cxn>
                <a:cxn ang="0">
                  <a:pos x="64" y="232"/>
                </a:cxn>
                <a:cxn ang="0">
                  <a:pos x="48" y="224"/>
                </a:cxn>
                <a:cxn ang="0">
                  <a:pos x="24" y="224"/>
                </a:cxn>
                <a:cxn ang="0">
                  <a:pos x="12" y="212"/>
                </a:cxn>
                <a:cxn ang="0">
                  <a:pos x="0" y="196"/>
                </a:cxn>
                <a:cxn ang="0">
                  <a:pos x="8" y="188"/>
                </a:cxn>
                <a:cxn ang="0">
                  <a:pos x="16" y="180"/>
                </a:cxn>
                <a:cxn ang="0">
                  <a:pos x="24" y="172"/>
                </a:cxn>
                <a:cxn ang="0">
                  <a:pos x="28" y="156"/>
                </a:cxn>
                <a:cxn ang="0">
                  <a:pos x="24" y="152"/>
                </a:cxn>
                <a:cxn ang="0">
                  <a:pos x="24" y="136"/>
                </a:cxn>
                <a:cxn ang="0">
                  <a:pos x="24" y="120"/>
                </a:cxn>
                <a:cxn ang="0">
                  <a:pos x="20" y="100"/>
                </a:cxn>
                <a:cxn ang="0">
                  <a:pos x="28" y="88"/>
                </a:cxn>
                <a:cxn ang="0">
                  <a:pos x="24" y="72"/>
                </a:cxn>
                <a:cxn ang="0">
                  <a:pos x="36" y="80"/>
                </a:cxn>
                <a:cxn ang="0">
                  <a:pos x="40" y="64"/>
                </a:cxn>
                <a:cxn ang="0">
                  <a:pos x="52" y="48"/>
                </a:cxn>
                <a:cxn ang="0">
                  <a:pos x="56" y="36"/>
                </a:cxn>
                <a:cxn ang="0">
                  <a:pos x="64" y="28"/>
                </a:cxn>
                <a:cxn ang="0">
                  <a:pos x="12" y="184"/>
                </a:cxn>
              </a:cxnLst>
              <a:rect l="0" t="0" r="r" b="b"/>
              <a:pathLst>
                <a:path w="184" h="307">
                  <a:moveTo>
                    <a:pt x="64" y="24"/>
                  </a:moveTo>
                  <a:lnTo>
                    <a:pt x="68" y="28"/>
                  </a:lnTo>
                  <a:lnTo>
                    <a:pt x="72" y="28"/>
                  </a:lnTo>
                  <a:lnTo>
                    <a:pt x="68" y="28"/>
                  </a:lnTo>
                  <a:lnTo>
                    <a:pt x="68" y="32"/>
                  </a:lnTo>
                  <a:lnTo>
                    <a:pt x="72" y="32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6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16"/>
                  </a:lnTo>
                  <a:lnTo>
                    <a:pt x="100" y="12"/>
                  </a:lnTo>
                  <a:lnTo>
                    <a:pt x="104" y="12"/>
                  </a:lnTo>
                  <a:lnTo>
                    <a:pt x="104" y="8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2" y="0"/>
                  </a:lnTo>
                  <a:lnTo>
                    <a:pt x="116" y="0"/>
                  </a:lnTo>
                  <a:lnTo>
                    <a:pt x="120" y="4"/>
                  </a:lnTo>
                  <a:lnTo>
                    <a:pt x="120" y="8"/>
                  </a:lnTo>
                  <a:lnTo>
                    <a:pt x="120" y="12"/>
                  </a:lnTo>
                  <a:lnTo>
                    <a:pt x="116" y="12"/>
                  </a:lnTo>
                  <a:lnTo>
                    <a:pt x="112" y="12"/>
                  </a:lnTo>
                  <a:lnTo>
                    <a:pt x="112" y="16"/>
                  </a:lnTo>
                  <a:lnTo>
                    <a:pt x="108" y="16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96" y="28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92" y="40"/>
                  </a:lnTo>
                  <a:lnTo>
                    <a:pt x="92" y="44"/>
                  </a:lnTo>
                  <a:lnTo>
                    <a:pt x="92" y="48"/>
                  </a:lnTo>
                  <a:lnTo>
                    <a:pt x="92" y="52"/>
                  </a:lnTo>
                  <a:lnTo>
                    <a:pt x="92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92" y="60"/>
                  </a:lnTo>
                  <a:lnTo>
                    <a:pt x="92" y="64"/>
                  </a:lnTo>
                  <a:lnTo>
                    <a:pt x="96" y="64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100" y="76"/>
                  </a:lnTo>
                  <a:lnTo>
                    <a:pt x="100" y="80"/>
                  </a:lnTo>
                  <a:lnTo>
                    <a:pt x="104" y="80"/>
                  </a:lnTo>
                  <a:lnTo>
                    <a:pt x="104" y="84"/>
                  </a:lnTo>
                  <a:lnTo>
                    <a:pt x="100" y="84"/>
                  </a:lnTo>
                  <a:lnTo>
                    <a:pt x="100" y="88"/>
                  </a:lnTo>
                  <a:lnTo>
                    <a:pt x="100" y="92"/>
                  </a:lnTo>
                  <a:lnTo>
                    <a:pt x="100" y="96"/>
                  </a:lnTo>
                  <a:lnTo>
                    <a:pt x="104" y="96"/>
                  </a:lnTo>
                  <a:lnTo>
                    <a:pt x="104" y="100"/>
                  </a:lnTo>
                  <a:lnTo>
                    <a:pt x="108" y="100"/>
                  </a:lnTo>
                  <a:lnTo>
                    <a:pt x="112" y="100"/>
                  </a:lnTo>
                  <a:lnTo>
                    <a:pt x="116" y="100"/>
                  </a:lnTo>
                  <a:lnTo>
                    <a:pt x="120" y="100"/>
                  </a:lnTo>
                  <a:lnTo>
                    <a:pt x="120" y="104"/>
                  </a:lnTo>
                  <a:lnTo>
                    <a:pt x="120" y="100"/>
                  </a:lnTo>
                  <a:lnTo>
                    <a:pt x="124" y="100"/>
                  </a:lnTo>
                  <a:lnTo>
                    <a:pt x="128" y="100"/>
                  </a:lnTo>
                  <a:lnTo>
                    <a:pt x="132" y="100"/>
                  </a:lnTo>
                  <a:lnTo>
                    <a:pt x="132" y="104"/>
                  </a:lnTo>
                  <a:lnTo>
                    <a:pt x="136" y="104"/>
                  </a:lnTo>
                  <a:lnTo>
                    <a:pt x="136" y="100"/>
                  </a:lnTo>
                  <a:lnTo>
                    <a:pt x="136" y="104"/>
                  </a:lnTo>
                  <a:lnTo>
                    <a:pt x="140" y="112"/>
                  </a:lnTo>
                  <a:lnTo>
                    <a:pt x="148" y="116"/>
                  </a:lnTo>
                  <a:lnTo>
                    <a:pt x="148" y="120"/>
                  </a:lnTo>
                  <a:lnTo>
                    <a:pt x="152" y="116"/>
                  </a:lnTo>
                  <a:lnTo>
                    <a:pt x="156" y="116"/>
                  </a:lnTo>
                  <a:lnTo>
                    <a:pt x="160" y="116"/>
                  </a:lnTo>
                  <a:lnTo>
                    <a:pt x="164" y="116"/>
                  </a:lnTo>
                  <a:lnTo>
                    <a:pt x="168" y="116"/>
                  </a:lnTo>
                  <a:lnTo>
                    <a:pt x="172" y="116"/>
                  </a:lnTo>
                  <a:lnTo>
                    <a:pt x="176" y="116"/>
                  </a:lnTo>
                  <a:lnTo>
                    <a:pt x="176" y="120"/>
                  </a:lnTo>
                  <a:lnTo>
                    <a:pt x="172" y="124"/>
                  </a:lnTo>
                  <a:lnTo>
                    <a:pt x="172" y="128"/>
                  </a:lnTo>
                  <a:lnTo>
                    <a:pt x="172" y="132"/>
                  </a:lnTo>
                  <a:lnTo>
                    <a:pt x="172" y="136"/>
                  </a:lnTo>
                  <a:lnTo>
                    <a:pt x="172" y="140"/>
                  </a:lnTo>
                  <a:lnTo>
                    <a:pt x="172" y="144"/>
                  </a:lnTo>
                  <a:lnTo>
                    <a:pt x="168" y="148"/>
                  </a:lnTo>
                  <a:lnTo>
                    <a:pt x="172" y="152"/>
                  </a:lnTo>
                  <a:lnTo>
                    <a:pt x="172" y="156"/>
                  </a:lnTo>
                  <a:lnTo>
                    <a:pt x="172" y="160"/>
                  </a:lnTo>
                  <a:lnTo>
                    <a:pt x="176" y="160"/>
                  </a:lnTo>
                  <a:lnTo>
                    <a:pt x="176" y="164"/>
                  </a:lnTo>
                  <a:lnTo>
                    <a:pt x="176" y="168"/>
                  </a:lnTo>
                  <a:lnTo>
                    <a:pt x="180" y="168"/>
                  </a:lnTo>
                  <a:lnTo>
                    <a:pt x="176" y="168"/>
                  </a:lnTo>
                  <a:lnTo>
                    <a:pt x="176" y="172"/>
                  </a:lnTo>
                  <a:lnTo>
                    <a:pt x="172" y="176"/>
                  </a:lnTo>
                  <a:lnTo>
                    <a:pt x="172" y="180"/>
                  </a:lnTo>
                  <a:lnTo>
                    <a:pt x="176" y="180"/>
                  </a:lnTo>
                  <a:lnTo>
                    <a:pt x="180" y="184"/>
                  </a:lnTo>
                  <a:lnTo>
                    <a:pt x="180" y="188"/>
                  </a:lnTo>
                  <a:lnTo>
                    <a:pt x="180" y="192"/>
                  </a:lnTo>
                  <a:lnTo>
                    <a:pt x="184" y="200"/>
                  </a:lnTo>
                  <a:lnTo>
                    <a:pt x="184" y="204"/>
                  </a:lnTo>
                  <a:lnTo>
                    <a:pt x="184" y="208"/>
                  </a:lnTo>
                  <a:lnTo>
                    <a:pt x="180" y="208"/>
                  </a:lnTo>
                  <a:lnTo>
                    <a:pt x="180" y="204"/>
                  </a:lnTo>
                  <a:lnTo>
                    <a:pt x="184" y="204"/>
                  </a:lnTo>
                  <a:lnTo>
                    <a:pt x="180" y="200"/>
                  </a:lnTo>
                  <a:lnTo>
                    <a:pt x="180" y="196"/>
                  </a:lnTo>
                  <a:lnTo>
                    <a:pt x="180" y="192"/>
                  </a:lnTo>
                  <a:lnTo>
                    <a:pt x="176" y="192"/>
                  </a:lnTo>
                  <a:lnTo>
                    <a:pt x="172" y="192"/>
                  </a:lnTo>
                  <a:lnTo>
                    <a:pt x="172" y="196"/>
                  </a:lnTo>
                  <a:lnTo>
                    <a:pt x="168" y="196"/>
                  </a:lnTo>
                  <a:lnTo>
                    <a:pt x="168" y="200"/>
                  </a:lnTo>
                  <a:lnTo>
                    <a:pt x="168" y="196"/>
                  </a:lnTo>
                  <a:lnTo>
                    <a:pt x="164" y="196"/>
                  </a:lnTo>
                  <a:lnTo>
                    <a:pt x="164" y="192"/>
                  </a:lnTo>
                  <a:lnTo>
                    <a:pt x="164" y="196"/>
                  </a:lnTo>
                  <a:lnTo>
                    <a:pt x="164" y="200"/>
                  </a:lnTo>
                  <a:lnTo>
                    <a:pt x="156" y="200"/>
                  </a:lnTo>
                  <a:lnTo>
                    <a:pt x="152" y="200"/>
                  </a:lnTo>
                  <a:lnTo>
                    <a:pt x="148" y="200"/>
                  </a:lnTo>
                  <a:lnTo>
                    <a:pt x="144" y="196"/>
                  </a:lnTo>
                  <a:lnTo>
                    <a:pt x="140" y="200"/>
                  </a:lnTo>
                  <a:lnTo>
                    <a:pt x="140" y="212"/>
                  </a:lnTo>
                  <a:lnTo>
                    <a:pt x="144" y="212"/>
                  </a:lnTo>
                  <a:lnTo>
                    <a:pt x="148" y="212"/>
                  </a:lnTo>
                  <a:lnTo>
                    <a:pt x="152" y="216"/>
                  </a:lnTo>
                  <a:lnTo>
                    <a:pt x="152" y="220"/>
                  </a:lnTo>
                  <a:lnTo>
                    <a:pt x="148" y="220"/>
                  </a:lnTo>
                  <a:lnTo>
                    <a:pt x="148" y="216"/>
                  </a:lnTo>
                  <a:lnTo>
                    <a:pt x="144" y="216"/>
                  </a:lnTo>
                  <a:lnTo>
                    <a:pt x="140" y="220"/>
                  </a:lnTo>
                  <a:lnTo>
                    <a:pt x="136" y="220"/>
                  </a:lnTo>
                  <a:lnTo>
                    <a:pt x="136" y="224"/>
                  </a:lnTo>
                  <a:lnTo>
                    <a:pt x="136" y="228"/>
                  </a:lnTo>
                  <a:lnTo>
                    <a:pt x="136" y="232"/>
                  </a:lnTo>
                  <a:lnTo>
                    <a:pt x="140" y="236"/>
                  </a:lnTo>
                  <a:lnTo>
                    <a:pt x="140" y="240"/>
                  </a:lnTo>
                  <a:lnTo>
                    <a:pt x="144" y="240"/>
                  </a:lnTo>
                  <a:lnTo>
                    <a:pt x="144" y="244"/>
                  </a:lnTo>
                  <a:lnTo>
                    <a:pt x="144" y="248"/>
                  </a:lnTo>
                  <a:lnTo>
                    <a:pt x="148" y="248"/>
                  </a:lnTo>
                  <a:lnTo>
                    <a:pt x="144" y="248"/>
                  </a:lnTo>
                  <a:lnTo>
                    <a:pt x="148" y="248"/>
                  </a:lnTo>
                  <a:lnTo>
                    <a:pt x="148" y="252"/>
                  </a:lnTo>
                  <a:lnTo>
                    <a:pt x="148" y="256"/>
                  </a:lnTo>
                  <a:lnTo>
                    <a:pt x="144" y="256"/>
                  </a:lnTo>
                  <a:lnTo>
                    <a:pt x="144" y="264"/>
                  </a:lnTo>
                  <a:lnTo>
                    <a:pt x="144" y="272"/>
                  </a:lnTo>
                  <a:lnTo>
                    <a:pt x="144" y="276"/>
                  </a:lnTo>
                  <a:lnTo>
                    <a:pt x="140" y="291"/>
                  </a:lnTo>
                  <a:lnTo>
                    <a:pt x="140" y="299"/>
                  </a:lnTo>
                  <a:lnTo>
                    <a:pt x="140" y="307"/>
                  </a:lnTo>
                  <a:lnTo>
                    <a:pt x="136" y="307"/>
                  </a:lnTo>
                  <a:lnTo>
                    <a:pt x="136" y="303"/>
                  </a:lnTo>
                  <a:lnTo>
                    <a:pt x="132" y="299"/>
                  </a:lnTo>
                  <a:lnTo>
                    <a:pt x="128" y="299"/>
                  </a:lnTo>
                  <a:lnTo>
                    <a:pt x="128" y="295"/>
                  </a:lnTo>
                  <a:lnTo>
                    <a:pt x="132" y="291"/>
                  </a:lnTo>
                  <a:lnTo>
                    <a:pt x="136" y="280"/>
                  </a:lnTo>
                  <a:lnTo>
                    <a:pt x="136" y="276"/>
                  </a:lnTo>
                  <a:lnTo>
                    <a:pt x="132" y="276"/>
                  </a:lnTo>
                  <a:lnTo>
                    <a:pt x="128" y="276"/>
                  </a:lnTo>
                  <a:lnTo>
                    <a:pt x="128" y="272"/>
                  </a:lnTo>
                  <a:lnTo>
                    <a:pt x="124" y="272"/>
                  </a:lnTo>
                  <a:lnTo>
                    <a:pt x="120" y="272"/>
                  </a:lnTo>
                  <a:lnTo>
                    <a:pt x="116" y="272"/>
                  </a:lnTo>
                  <a:lnTo>
                    <a:pt x="112" y="272"/>
                  </a:lnTo>
                  <a:lnTo>
                    <a:pt x="112" y="268"/>
                  </a:lnTo>
                  <a:lnTo>
                    <a:pt x="108" y="272"/>
                  </a:lnTo>
                  <a:lnTo>
                    <a:pt x="108" y="276"/>
                  </a:lnTo>
                  <a:lnTo>
                    <a:pt x="104" y="276"/>
                  </a:lnTo>
                  <a:lnTo>
                    <a:pt x="100" y="276"/>
                  </a:lnTo>
                  <a:lnTo>
                    <a:pt x="96" y="276"/>
                  </a:lnTo>
                  <a:lnTo>
                    <a:pt x="92" y="276"/>
                  </a:lnTo>
                  <a:lnTo>
                    <a:pt x="92" y="272"/>
                  </a:lnTo>
                  <a:lnTo>
                    <a:pt x="92" y="276"/>
                  </a:lnTo>
                  <a:lnTo>
                    <a:pt x="92" y="272"/>
                  </a:lnTo>
                  <a:lnTo>
                    <a:pt x="88" y="272"/>
                  </a:lnTo>
                  <a:lnTo>
                    <a:pt x="92" y="272"/>
                  </a:lnTo>
                  <a:lnTo>
                    <a:pt x="92" y="268"/>
                  </a:lnTo>
                  <a:lnTo>
                    <a:pt x="92" y="264"/>
                  </a:lnTo>
                  <a:lnTo>
                    <a:pt x="88" y="264"/>
                  </a:lnTo>
                  <a:lnTo>
                    <a:pt x="84" y="264"/>
                  </a:lnTo>
                  <a:lnTo>
                    <a:pt x="84" y="260"/>
                  </a:lnTo>
                  <a:lnTo>
                    <a:pt x="84" y="256"/>
                  </a:lnTo>
                  <a:lnTo>
                    <a:pt x="80" y="252"/>
                  </a:lnTo>
                  <a:lnTo>
                    <a:pt x="76" y="248"/>
                  </a:lnTo>
                  <a:lnTo>
                    <a:pt x="72" y="248"/>
                  </a:lnTo>
                  <a:lnTo>
                    <a:pt x="72" y="244"/>
                  </a:lnTo>
                  <a:lnTo>
                    <a:pt x="72" y="240"/>
                  </a:lnTo>
                  <a:lnTo>
                    <a:pt x="68" y="236"/>
                  </a:lnTo>
                  <a:lnTo>
                    <a:pt x="64" y="236"/>
                  </a:lnTo>
                  <a:lnTo>
                    <a:pt x="64" y="232"/>
                  </a:lnTo>
                  <a:lnTo>
                    <a:pt x="64" y="236"/>
                  </a:lnTo>
                  <a:lnTo>
                    <a:pt x="64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52" y="232"/>
                  </a:lnTo>
                  <a:lnTo>
                    <a:pt x="52" y="228"/>
                  </a:lnTo>
                  <a:lnTo>
                    <a:pt x="48" y="228"/>
                  </a:lnTo>
                  <a:lnTo>
                    <a:pt x="48" y="224"/>
                  </a:lnTo>
                  <a:lnTo>
                    <a:pt x="44" y="224"/>
                  </a:lnTo>
                  <a:lnTo>
                    <a:pt x="40" y="224"/>
                  </a:lnTo>
                  <a:lnTo>
                    <a:pt x="36" y="224"/>
                  </a:lnTo>
                  <a:lnTo>
                    <a:pt x="32" y="224"/>
                  </a:lnTo>
                  <a:lnTo>
                    <a:pt x="28" y="224"/>
                  </a:lnTo>
                  <a:lnTo>
                    <a:pt x="24" y="224"/>
                  </a:lnTo>
                  <a:lnTo>
                    <a:pt x="24" y="220"/>
                  </a:lnTo>
                  <a:lnTo>
                    <a:pt x="24" y="216"/>
                  </a:lnTo>
                  <a:lnTo>
                    <a:pt x="20" y="216"/>
                  </a:lnTo>
                  <a:lnTo>
                    <a:pt x="16" y="216"/>
                  </a:lnTo>
                  <a:lnTo>
                    <a:pt x="16" y="212"/>
                  </a:lnTo>
                  <a:lnTo>
                    <a:pt x="12" y="212"/>
                  </a:lnTo>
                  <a:lnTo>
                    <a:pt x="8" y="208"/>
                  </a:lnTo>
                  <a:lnTo>
                    <a:pt x="4" y="208"/>
                  </a:lnTo>
                  <a:lnTo>
                    <a:pt x="4" y="204"/>
                  </a:lnTo>
                  <a:lnTo>
                    <a:pt x="4" y="200"/>
                  </a:lnTo>
                  <a:lnTo>
                    <a:pt x="0" y="200"/>
                  </a:lnTo>
                  <a:lnTo>
                    <a:pt x="0" y="196"/>
                  </a:lnTo>
                  <a:lnTo>
                    <a:pt x="4" y="196"/>
                  </a:lnTo>
                  <a:lnTo>
                    <a:pt x="8" y="196"/>
                  </a:lnTo>
                  <a:lnTo>
                    <a:pt x="8" y="192"/>
                  </a:lnTo>
                  <a:lnTo>
                    <a:pt x="4" y="192"/>
                  </a:lnTo>
                  <a:lnTo>
                    <a:pt x="4" y="188"/>
                  </a:lnTo>
                  <a:lnTo>
                    <a:pt x="8" y="188"/>
                  </a:lnTo>
                  <a:lnTo>
                    <a:pt x="8" y="184"/>
                  </a:lnTo>
                  <a:lnTo>
                    <a:pt x="8" y="188"/>
                  </a:lnTo>
                  <a:lnTo>
                    <a:pt x="8" y="184"/>
                  </a:lnTo>
                  <a:lnTo>
                    <a:pt x="12" y="184"/>
                  </a:lnTo>
                  <a:lnTo>
                    <a:pt x="16" y="184"/>
                  </a:lnTo>
                  <a:lnTo>
                    <a:pt x="16" y="180"/>
                  </a:lnTo>
                  <a:lnTo>
                    <a:pt x="16" y="184"/>
                  </a:lnTo>
                  <a:lnTo>
                    <a:pt x="20" y="184"/>
                  </a:lnTo>
                  <a:lnTo>
                    <a:pt x="20" y="180"/>
                  </a:lnTo>
                  <a:lnTo>
                    <a:pt x="20" y="176"/>
                  </a:lnTo>
                  <a:lnTo>
                    <a:pt x="24" y="176"/>
                  </a:lnTo>
                  <a:lnTo>
                    <a:pt x="24" y="172"/>
                  </a:lnTo>
                  <a:lnTo>
                    <a:pt x="24" y="168"/>
                  </a:lnTo>
                  <a:lnTo>
                    <a:pt x="28" y="164"/>
                  </a:lnTo>
                  <a:lnTo>
                    <a:pt x="28" y="160"/>
                  </a:lnTo>
                  <a:lnTo>
                    <a:pt x="32" y="160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4" y="156"/>
                  </a:lnTo>
                  <a:lnTo>
                    <a:pt x="24" y="160"/>
                  </a:lnTo>
                  <a:lnTo>
                    <a:pt x="24" y="156"/>
                  </a:lnTo>
                  <a:lnTo>
                    <a:pt x="24" y="152"/>
                  </a:lnTo>
                  <a:lnTo>
                    <a:pt x="28" y="152"/>
                  </a:lnTo>
                  <a:lnTo>
                    <a:pt x="24" y="152"/>
                  </a:lnTo>
                  <a:lnTo>
                    <a:pt x="24" y="148"/>
                  </a:lnTo>
                  <a:lnTo>
                    <a:pt x="28" y="148"/>
                  </a:lnTo>
                  <a:lnTo>
                    <a:pt x="28" y="144"/>
                  </a:lnTo>
                  <a:lnTo>
                    <a:pt x="28" y="140"/>
                  </a:lnTo>
                  <a:lnTo>
                    <a:pt x="24" y="140"/>
                  </a:lnTo>
                  <a:lnTo>
                    <a:pt x="24" y="136"/>
                  </a:lnTo>
                  <a:lnTo>
                    <a:pt x="24" y="132"/>
                  </a:lnTo>
                  <a:lnTo>
                    <a:pt x="24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20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2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0" y="104"/>
                  </a:lnTo>
                  <a:lnTo>
                    <a:pt x="20" y="100"/>
                  </a:lnTo>
                  <a:lnTo>
                    <a:pt x="16" y="96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20" y="92"/>
                  </a:lnTo>
                  <a:lnTo>
                    <a:pt x="24" y="92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8" y="84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32" y="80"/>
                  </a:lnTo>
                  <a:lnTo>
                    <a:pt x="32" y="84"/>
                  </a:lnTo>
                  <a:lnTo>
                    <a:pt x="36" y="84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2" y="44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56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4"/>
                  </a:lnTo>
                  <a:close/>
                  <a:moveTo>
                    <a:pt x="24" y="152"/>
                  </a:moveTo>
                  <a:lnTo>
                    <a:pt x="28" y="152"/>
                  </a:lnTo>
                  <a:lnTo>
                    <a:pt x="24" y="152"/>
                  </a:lnTo>
                  <a:close/>
                  <a:moveTo>
                    <a:pt x="16" y="184"/>
                  </a:moveTo>
                  <a:lnTo>
                    <a:pt x="12" y="184"/>
                  </a:lnTo>
                  <a:lnTo>
                    <a:pt x="12" y="180"/>
                  </a:lnTo>
                  <a:lnTo>
                    <a:pt x="16" y="18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5" name="Freeform 173"/>
            <p:cNvSpPr>
              <a:spLocks noEditPoints="1"/>
            </p:cNvSpPr>
            <p:nvPr>
              <p:custDataLst>
                <p:tags r:id="rId368"/>
              </p:custDataLst>
            </p:nvPr>
          </p:nvSpPr>
          <p:spPr bwMode="gray">
            <a:xfrm>
              <a:off x="2317568" y="4557395"/>
              <a:ext cx="372249" cy="170552"/>
            </a:xfrm>
            <a:custGeom>
              <a:avLst/>
              <a:gdLst/>
              <a:ahLst/>
              <a:cxnLst>
                <a:cxn ang="0">
                  <a:pos x="179" y="107"/>
                </a:cxn>
                <a:cxn ang="0">
                  <a:pos x="175" y="107"/>
                </a:cxn>
                <a:cxn ang="0">
                  <a:pos x="171" y="99"/>
                </a:cxn>
                <a:cxn ang="0">
                  <a:pos x="171" y="87"/>
                </a:cxn>
                <a:cxn ang="0">
                  <a:pos x="179" y="83"/>
                </a:cxn>
                <a:cxn ang="0">
                  <a:pos x="179" y="72"/>
                </a:cxn>
                <a:cxn ang="0">
                  <a:pos x="179" y="68"/>
                </a:cxn>
                <a:cxn ang="0">
                  <a:pos x="175" y="68"/>
                </a:cxn>
                <a:cxn ang="0">
                  <a:pos x="175" y="72"/>
                </a:cxn>
                <a:cxn ang="0">
                  <a:pos x="167" y="72"/>
                </a:cxn>
                <a:cxn ang="0">
                  <a:pos x="163" y="64"/>
                </a:cxn>
                <a:cxn ang="0">
                  <a:pos x="163" y="60"/>
                </a:cxn>
                <a:cxn ang="0">
                  <a:pos x="167" y="52"/>
                </a:cxn>
                <a:cxn ang="0">
                  <a:pos x="167" y="44"/>
                </a:cxn>
                <a:cxn ang="0">
                  <a:pos x="171" y="36"/>
                </a:cxn>
                <a:cxn ang="0">
                  <a:pos x="175" y="28"/>
                </a:cxn>
                <a:cxn ang="0">
                  <a:pos x="175" y="16"/>
                </a:cxn>
                <a:cxn ang="0">
                  <a:pos x="179" y="8"/>
                </a:cxn>
                <a:cxn ang="0">
                  <a:pos x="191" y="4"/>
                </a:cxn>
                <a:cxn ang="0">
                  <a:pos x="195" y="4"/>
                </a:cxn>
                <a:cxn ang="0">
                  <a:pos x="207" y="8"/>
                </a:cxn>
                <a:cxn ang="0">
                  <a:pos x="215" y="12"/>
                </a:cxn>
                <a:cxn ang="0">
                  <a:pos x="219" y="20"/>
                </a:cxn>
                <a:cxn ang="0">
                  <a:pos x="231" y="20"/>
                </a:cxn>
                <a:cxn ang="0">
                  <a:pos x="239" y="24"/>
                </a:cxn>
                <a:cxn ang="0">
                  <a:pos x="247" y="28"/>
                </a:cxn>
                <a:cxn ang="0">
                  <a:pos x="247" y="36"/>
                </a:cxn>
                <a:cxn ang="0">
                  <a:pos x="247" y="44"/>
                </a:cxn>
                <a:cxn ang="0">
                  <a:pos x="243" y="56"/>
                </a:cxn>
                <a:cxn ang="0">
                  <a:pos x="235" y="64"/>
                </a:cxn>
                <a:cxn ang="0">
                  <a:pos x="223" y="76"/>
                </a:cxn>
                <a:cxn ang="0">
                  <a:pos x="211" y="80"/>
                </a:cxn>
                <a:cxn ang="0">
                  <a:pos x="207" y="87"/>
                </a:cxn>
                <a:cxn ang="0">
                  <a:pos x="203" y="87"/>
                </a:cxn>
                <a:cxn ang="0">
                  <a:pos x="199" y="95"/>
                </a:cxn>
                <a:cxn ang="0">
                  <a:pos x="195" y="103"/>
                </a:cxn>
                <a:cxn ang="0">
                  <a:pos x="195" y="107"/>
                </a:cxn>
                <a:cxn ang="0">
                  <a:pos x="187" y="115"/>
                </a:cxn>
                <a:cxn ang="0">
                  <a:pos x="20" y="40"/>
                </a:cxn>
                <a:cxn ang="0">
                  <a:pos x="20" y="36"/>
                </a:cxn>
                <a:cxn ang="0">
                  <a:pos x="20" y="40"/>
                </a:cxn>
                <a:cxn ang="0">
                  <a:pos x="4" y="40"/>
                </a:cxn>
                <a:cxn ang="0">
                  <a:pos x="4" y="32"/>
                </a:cxn>
                <a:cxn ang="0">
                  <a:pos x="0" y="24"/>
                </a:cxn>
                <a:cxn ang="0">
                  <a:pos x="8" y="28"/>
                </a:cxn>
                <a:cxn ang="0">
                  <a:pos x="12" y="36"/>
                </a:cxn>
                <a:cxn ang="0">
                  <a:pos x="8" y="44"/>
                </a:cxn>
                <a:cxn ang="0">
                  <a:pos x="12" y="28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32" y="40"/>
                </a:cxn>
                <a:cxn ang="0">
                  <a:pos x="32" y="44"/>
                </a:cxn>
                <a:cxn ang="0">
                  <a:pos x="20" y="48"/>
                </a:cxn>
                <a:cxn ang="0">
                  <a:pos x="171" y="80"/>
                </a:cxn>
                <a:cxn ang="0">
                  <a:pos x="179" y="76"/>
                </a:cxn>
              </a:cxnLst>
              <a:rect l="0" t="0" r="r" b="b"/>
              <a:pathLst>
                <a:path w="251" h="115">
                  <a:moveTo>
                    <a:pt x="183" y="111"/>
                  </a:moveTo>
                  <a:lnTo>
                    <a:pt x="183" y="107"/>
                  </a:lnTo>
                  <a:lnTo>
                    <a:pt x="179" y="107"/>
                  </a:lnTo>
                  <a:lnTo>
                    <a:pt x="175" y="107"/>
                  </a:lnTo>
                  <a:lnTo>
                    <a:pt x="175" y="103"/>
                  </a:lnTo>
                  <a:lnTo>
                    <a:pt x="175" y="107"/>
                  </a:lnTo>
                  <a:lnTo>
                    <a:pt x="171" y="107"/>
                  </a:lnTo>
                  <a:lnTo>
                    <a:pt x="171" y="103"/>
                  </a:lnTo>
                  <a:lnTo>
                    <a:pt x="171" y="99"/>
                  </a:lnTo>
                  <a:lnTo>
                    <a:pt x="175" y="95"/>
                  </a:lnTo>
                  <a:lnTo>
                    <a:pt x="175" y="91"/>
                  </a:lnTo>
                  <a:lnTo>
                    <a:pt x="171" y="87"/>
                  </a:lnTo>
                  <a:lnTo>
                    <a:pt x="175" y="87"/>
                  </a:lnTo>
                  <a:lnTo>
                    <a:pt x="175" y="83"/>
                  </a:lnTo>
                  <a:lnTo>
                    <a:pt x="179" y="83"/>
                  </a:lnTo>
                  <a:lnTo>
                    <a:pt x="179" y="80"/>
                  </a:lnTo>
                  <a:lnTo>
                    <a:pt x="179" y="76"/>
                  </a:lnTo>
                  <a:lnTo>
                    <a:pt x="179" y="72"/>
                  </a:lnTo>
                  <a:lnTo>
                    <a:pt x="179" y="68"/>
                  </a:lnTo>
                  <a:lnTo>
                    <a:pt x="179" y="64"/>
                  </a:lnTo>
                  <a:lnTo>
                    <a:pt x="179" y="68"/>
                  </a:lnTo>
                  <a:lnTo>
                    <a:pt x="179" y="72"/>
                  </a:lnTo>
                  <a:lnTo>
                    <a:pt x="175" y="72"/>
                  </a:lnTo>
                  <a:lnTo>
                    <a:pt x="175" y="68"/>
                  </a:lnTo>
                  <a:lnTo>
                    <a:pt x="179" y="68"/>
                  </a:lnTo>
                  <a:lnTo>
                    <a:pt x="175" y="68"/>
                  </a:lnTo>
                  <a:lnTo>
                    <a:pt x="175" y="72"/>
                  </a:lnTo>
                  <a:lnTo>
                    <a:pt x="175" y="76"/>
                  </a:lnTo>
                  <a:lnTo>
                    <a:pt x="171" y="76"/>
                  </a:lnTo>
                  <a:lnTo>
                    <a:pt x="167" y="72"/>
                  </a:lnTo>
                  <a:lnTo>
                    <a:pt x="167" y="68"/>
                  </a:lnTo>
                  <a:lnTo>
                    <a:pt x="163" y="68"/>
                  </a:lnTo>
                  <a:lnTo>
                    <a:pt x="163" y="64"/>
                  </a:lnTo>
                  <a:lnTo>
                    <a:pt x="167" y="64"/>
                  </a:lnTo>
                  <a:lnTo>
                    <a:pt x="167" y="60"/>
                  </a:lnTo>
                  <a:lnTo>
                    <a:pt x="163" y="60"/>
                  </a:lnTo>
                  <a:lnTo>
                    <a:pt x="163" y="56"/>
                  </a:lnTo>
                  <a:lnTo>
                    <a:pt x="163" y="52"/>
                  </a:lnTo>
                  <a:lnTo>
                    <a:pt x="167" y="52"/>
                  </a:lnTo>
                  <a:lnTo>
                    <a:pt x="163" y="48"/>
                  </a:lnTo>
                  <a:lnTo>
                    <a:pt x="163" y="44"/>
                  </a:lnTo>
                  <a:lnTo>
                    <a:pt x="167" y="44"/>
                  </a:lnTo>
                  <a:lnTo>
                    <a:pt x="167" y="40"/>
                  </a:lnTo>
                  <a:lnTo>
                    <a:pt x="171" y="40"/>
                  </a:lnTo>
                  <a:lnTo>
                    <a:pt x="171" y="36"/>
                  </a:lnTo>
                  <a:lnTo>
                    <a:pt x="171" y="32"/>
                  </a:lnTo>
                  <a:lnTo>
                    <a:pt x="171" y="28"/>
                  </a:lnTo>
                  <a:lnTo>
                    <a:pt x="175" y="28"/>
                  </a:lnTo>
                  <a:lnTo>
                    <a:pt x="175" y="24"/>
                  </a:lnTo>
                  <a:lnTo>
                    <a:pt x="175" y="20"/>
                  </a:lnTo>
                  <a:lnTo>
                    <a:pt x="175" y="16"/>
                  </a:lnTo>
                  <a:lnTo>
                    <a:pt x="175" y="12"/>
                  </a:lnTo>
                  <a:lnTo>
                    <a:pt x="179" y="12"/>
                  </a:lnTo>
                  <a:lnTo>
                    <a:pt x="179" y="8"/>
                  </a:lnTo>
                  <a:lnTo>
                    <a:pt x="183" y="8"/>
                  </a:lnTo>
                  <a:lnTo>
                    <a:pt x="187" y="8"/>
                  </a:lnTo>
                  <a:lnTo>
                    <a:pt x="191" y="4"/>
                  </a:lnTo>
                  <a:lnTo>
                    <a:pt x="195" y="4"/>
                  </a:lnTo>
                  <a:lnTo>
                    <a:pt x="195" y="0"/>
                  </a:lnTo>
                  <a:lnTo>
                    <a:pt x="195" y="4"/>
                  </a:lnTo>
                  <a:lnTo>
                    <a:pt x="199" y="4"/>
                  </a:lnTo>
                  <a:lnTo>
                    <a:pt x="203" y="8"/>
                  </a:lnTo>
                  <a:lnTo>
                    <a:pt x="207" y="8"/>
                  </a:lnTo>
                  <a:lnTo>
                    <a:pt x="207" y="12"/>
                  </a:lnTo>
                  <a:lnTo>
                    <a:pt x="211" y="12"/>
                  </a:lnTo>
                  <a:lnTo>
                    <a:pt x="215" y="12"/>
                  </a:lnTo>
                  <a:lnTo>
                    <a:pt x="215" y="16"/>
                  </a:lnTo>
                  <a:lnTo>
                    <a:pt x="215" y="20"/>
                  </a:lnTo>
                  <a:lnTo>
                    <a:pt x="219" y="20"/>
                  </a:lnTo>
                  <a:lnTo>
                    <a:pt x="223" y="20"/>
                  </a:lnTo>
                  <a:lnTo>
                    <a:pt x="227" y="20"/>
                  </a:lnTo>
                  <a:lnTo>
                    <a:pt x="231" y="20"/>
                  </a:lnTo>
                  <a:lnTo>
                    <a:pt x="235" y="20"/>
                  </a:lnTo>
                  <a:lnTo>
                    <a:pt x="239" y="20"/>
                  </a:lnTo>
                  <a:lnTo>
                    <a:pt x="239" y="24"/>
                  </a:lnTo>
                  <a:lnTo>
                    <a:pt x="243" y="24"/>
                  </a:lnTo>
                  <a:lnTo>
                    <a:pt x="243" y="28"/>
                  </a:lnTo>
                  <a:lnTo>
                    <a:pt x="247" y="28"/>
                  </a:lnTo>
                  <a:lnTo>
                    <a:pt x="243" y="28"/>
                  </a:lnTo>
                  <a:lnTo>
                    <a:pt x="247" y="32"/>
                  </a:lnTo>
                  <a:lnTo>
                    <a:pt x="247" y="36"/>
                  </a:lnTo>
                  <a:lnTo>
                    <a:pt x="247" y="40"/>
                  </a:lnTo>
                  <a:lnTo>
                    <a:pt x="251" y="44"/>
                  </a:lnTo>
                  <a:lnTo>
                    <a:pt x="247" y="44"/>
                  </a:lnTo>
                  <a:lnTo>
                    <a:pt x="247" y="48"/>
                  </a:lnTo>
                  <a:lnTo>
                    <a:pt x="243" y="52"/>
                  </a:lnTo>
                  <a:lnTo>
                    <a:pt x="243" y="56"/>
                  </a:lnTo>
                  <a:lnTo>
                    <a:pt x="239" y="60"/>
                  </a:lnTo>
                  <a:lnTo>
                    <a:pt x="239" y="64"/>
                  </a:lnTo>
                  <a:lnTo>
                    <a:pt x="235" y="64"/>
                  </a:lnTo>
                  <a:lnTo>
                    <a:pt x="231" y="68"/>
                  </a:lnTo>
                  <a:lnTo>
                    <a:pt x="227" y="72"/>
                  </a:lnTo>
                  <a:lnTo>
                    <a:pt x="223" y="76"/>
                  </a:lnTo>
                  <a:lnTo>
                    <a:pt x="219" y="76"/>
                  </a:lnTo>
                  <a:lnTo>
                    <a:pt x="215" y="80"/>
                  </a:lnTo>
                  <a:lnTo>
                    <a:pt x="211" y="80"/>
                  </a:lnTo>
                  <a:lnTo>
                    <a:pt x="207" y="80"/>
                  </a:lnTo>
                  <a:lnTo>
                    <a:pt x="207" y="83"/>
                  </a:lnTo>
                  <a:lnTo>
                    <a:pt x="207" y="87"/>
                  </a:lnTo>
                  <a:lnTo>
                    <a:pt x="203" y="87"/>
                  </a:lnTo>
                  <a:lnTo>
                    <a:pt x="203" y="91"/>
                  </a:lnTo>
                  <a:lnTo>
                    <a:pt x="203" y="87"/>
                  </a:lnTo>
                  <a:lnTo>
                    <a:pt x="203" y="91"/>
                  </a:lnTo>
                  <a:lnTo>
                    <a:pt x="203" y="95"/>
                  </a:lnTo>
                  <a:lnTo>
                    <a:pt x="199" y="95"/>
                  </a:lnTo>
                  <a:lnTo>
                    <a:pt x="199" y="99"/>
                  </a:lnTo>
                  <a:lnTo>
                    <a:pt x="199" y="103"/>
                  </a:lnTo>
                  <a:lnTo>
                    <a:pt x="195" y="103"/>
                  </a:lnTo>
                  <a:lnTo>
                    <a:pt x="195" y="107"/>
                  </a:lnTo>
                  <a:lnTo>
                    <a:pt x="199" y="107"/>
                  </a:lnTo>
                  <a:lnTo>
                    <a:pt x="195" y="107"/>
                  </a:lnTo>
                  <a:lnTo>
                    <a:pt x="195" y="111"/>
                  </a:lnTo>
                  <a:lnTo>
                    <a:pt x="191" y="115"/>
                  </a:lnTo>
                  <a:lnTo>
                    <a:pt x="187" y="115"/>
                  </a:lnTo>
                  <a:lnTo>
                    <a:pt x="187" y="111"/>
                  </a:lnTo>
                  <a:lnTo>
                    <a:pt x="183" y="111"/>
                  </a:lnTo>
                  <a:close/>
                  <a:moveTo>
                    <a:pt x="20" y="40"/>
                  </a:moveTo>
                  <a:lnTo>
                    <a:pt x="16" y="40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4" y="40"/>
                  </a:lnTo>
                  <a:lnTo>
                    <a:pt x="20" y="40"/>
                  </a:lnTo>
                  <a:close/>
                  <a:moveTo>
                    <a:pt x="8" y="44"/>
                  </a:moveTo>
                  <a:lnTo>
                    <a:pt x="4" y="44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8" y="44"/>
                  </a:lnTo>
                  <a:close/>
                  <a:moveTo>
                    <a:pt x="16" y="32"/>
                  </a:moveTo>
                  <a:lnTo>
                    <a:pt x="12" y="32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32"/>
                  </a:lnTo>
                  <a:close/>
                  <a:moveTo>
                    <a:pt x="4" y="36"/>
                  </a:moveTo>
                  <a:lnTo>
                    <a:pt x="0" y="36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6"/>
                  </a:lnTo>
                  <a:close/>
                  <a:moveTo>
                    <a:pt x="32" y="44"/>
                  </a:moveTo>
                  <a:lnTo>
                    <a:pt x="32" y="40"/>
                  </a:lnTo>
                  <a:lnTo>
                    <a:pt x="36" y="40"/>
                  </a:lnTo>
                  <a:lnTo>
                    <a:pt x="36" y="44"/>
                  </a:lnTo>
                  <a:lnTo>
                    <a:pt x="32" y="44"/>
                  </a:lnTo>
                  <a:close/>
                  <a:moveTo>
                    <a:pt x="20" y="52"/>
                  </a:moveTo>
                  <a:lnTo>
                    <a:pt x="16" y="48"/>
                  </a:lnTo>
                  <a:lnTo>
                    <a:pt x="20" y="48"/>
                  </a:lnTo>
                  <a:lnTo>
                    <a:pt x="20" y="52"/>
                  </a:lnTo>
                  <a:close/>
                  <a:moveTo>
                    <a:pt x="175" y="80"/>
                  </a:moveTo>
                  <a:lnTo>
                    <a:pt x="171" y="80"/>
                  </a:lnTo>
                  <a:lnTo>
                    <a:pt x="171" y="76"/>
                  </a:lnTo>
                  <a:lnTo>
                    <a:pt x="175" y="76"/>
                  </a:lnTo>
                  <a:lnTo>
                    <a:pt x="179" y="76"/>
                  </a:lnTo>
                  <a:lnTo>
                    <a:pt x="175" y="8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6" name="Freeform 174"/>
            <p:cNvSpPr>
              <a:spLocks/>
            </p:cNvSpPr>
            <p:nvPr>
              <p:custDataLst>
                <p:tags r:id="rId369"/>
              </p:custDataLst>
            </p:nvPr>
          </p:nvSpPr>
          <p:spPr bwMode="gray">
            <a:xfrm>
              <a:off x="3151050" y="4438750"/>
              <a:ext cx="65255" cy="100848"/>
            </a:xfrm>
            <a:custGeom>
              <a:avLst/>
              <a:gdLst/>
              <a:ahLst/>
              <a:cxnLst>
                <a:cxn ang="0">
                  <a:pos x="0" y="60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8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32" y="16"/>
                </a:cxn>
                <a:cxn ang="0">
                  <a:pos x="40" y="20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40" y="28"/>
                </a:cxn>
                <a:cxn ang="0">
                  <a:pos x="40" y="24"/>
                </a:cxn>
                <a:cxn ang="0">
                  <a:pos x="40" y="24"/>
                </a:cxn>
                <a:cxn ang="0">
                  <a:pos x="40" y="24"/>
                </a:cxn>
                <a:cxn ang="0">
                  <a:pos x="40" y="20"/>
                </a:cxn>
                <a:cxn ang="0">
                  <a:pos x="44" y="24"/>
                </a:cxn>
                <a:cxn ang="0">
                  <a:pos x="44" y="24"/>
                </a:cxn>
                <a:cxn ang="0">
                  <a:pos x="44" y="28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0" y="36"/>
                </a:cxn>
                <a:cxn ang="0">
                  <a:pos x="40" y="40"/>
                </a:cxn>
                <a:cxn ang="0">
                  <a:pos x="36" y="44"/>
                </a:cxn>
                <a:cxn ang="0">
                  <a:pos x="36" y="48"/>
                </a:cxn>
                <a:cxn ang="0">
                  <a:pos x="32" y="48"/>
                </a:cxn>
                <a:cxn ang="0">
                  <a:pos x="32" y="52"/>
                </a:cxn>
                <a:cxn ang="0">
                  <a:pos x="32" y="56"/>
                </a:cxn>
                <a:cxn ang="0">
                  <a:pos x="32" y="60"/>
                </a:cxn>
                <a:cxn ang="0">
                  <a:pos x="28" y="64"/>
                </a:cxn>
                <a:cxn ang="0">
                  <a:pos x="24" y="64"/>
                </a:cxn>
                <a:cxn ang="0">
                  <a:pos x="24" y="64"/>
                </a:cxn>
                <a:cxn ang="0">
                  <a:pos x="20" y="64"/>
                </a:cxn>
                <a:cxn ang="0">
                  <a:pos x="20" y="64"/>
                </a:cxn>
                <a:cxn ang="0">
                  <a:pos x="20" y="64"/>
                </a:cxn>
                <a:cxn ang="0">
                  <a:pos x="16" y="64"/>
                </a:cxn>
                <a:cxn ang="0">
                  <a:pos x="12" y="64"/>
                </a:cxn>
                <a:cxn ang="0">
                  <a:pos x="8" y="64"/>
                </a:cxn>
                <a:cxn ang="0">
                  <a:pos x="8" y="68"/>
                </a:cxn>
                <a:cxn ang="0">
                  <a:pos x="0" y="64"/>
                </a:cxn>
                <a:cxn ang="0">
                  <a:pos x="0" y="64"/>
                </a:cxn>
              </a:cxnLst>
              <a:rect l="0" t="0" r="r" b="b"/>
              <a:pathLst>
                <a:path w="44" h="68">
                  <a:moveTo>
                    <a:pt x="0" y="64"/>
                  </a:moveTo>
                  <a:lnTo>
                    <a:pt x="0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7" name="Freeform 175"/>
            <p:cNvSpPr>
              <a:spLocks/>
            </p:cNvSpPr>
            <p:nvPr>
              <p:custDataLst>
                <p:tags r:id="rId370"/>
              </p:custDataLst>
            </p:nvPr>
          </p:nvSpPr>
          <p:spPr bwMode="gray">
            <a:xfrm>
              <a:off x="2996811" y="4361630"/>
              <a:ext cx="112713" cy="201697"/>
            </a:xfrm>
            <a:custGeom>
              <a:avLst/>
              <a:gdLst/>
              <a:ahLst/>
              <a:cxnLst>
                <a:cxn ang="0">
                  <a:pos x="52" y="36"/>
                </a:cxn>
                <a:cxn ang="0">
                  <a:pos x="56" y="40"/>
                </a:cxn>
                <a:cxn ang="0">
                  <a:pos x="60" y="44"/>
                </a:cxn>
                <a:cxn ang="0">
                  <a:pos x="64" y="48"/>
                </a:cxn>
                <a:cxn ang="0">
                  <a:pos x="64" y="60"/>
                </a:cxn>
                <a:cxn ang="0">
                  <a:pos x="64" y="64"/>
                </a:cxn>
                <a:cxn ang="0">
                  <a:pos x="60" y="64"/>
                </a:cxn>
                <a:cxn ang="0">
                  <a:pos x="56" y="68"/>
                </a:cxn>
                <a:cxn ang="0">
                  <a:pos x="52" y="72"/>
                </a:cxn>
                <a:cxn ang="0">
                  <a:pos x="52" y="80"/>
                </a:cxn>
                <a:cxn ang="0">
                  <a:pos x="52" y="84"/>
                </a:cxn>
                <a:cxn ang="0">
                  <a:pos x="52" y="88"/>
                </a:cxn>
                <a:cxn ang="0">
                  <a:pos x="56" y="92"/>
                </a:cxn>
                <a:cxn ang="0">
                  <a:pos x="56" y="96"/>
                </a:cxn>
                <a:cxn ang="0">
                  <a:pos x="64" y="100"/>
                </a:cxn>
                <a:cxn ang="0">
                  <a:pos x="64" y="104"/>
                </a:cxn>
                <a:cxn ang="0">
                  <a:pos x="68" y="116"/>
                </a:cxn>
                <a:cxn ang="0">
                  <a:pos x="76" y="124"/>
                </a:cxn>
                <a:cxn ang="0">
                  <a:pos x="72" y="124"/>
                </a:cxn>
                <a:cxn ang="0">
                  <a:pos x="64" y="120"/>
                </a:cxn>
                <a:cxn ang="0">
                  <a:pos x="64" y="120"/>
                </a:cxn>
                <a:cxn ang="0">
                  <a:pos x="60" y="128"/>
                </a:cxn>
                <a:cxn ang="0">
                  <a:pos x="56" y="128"/>
                </a:cxn>
                <a:cxn ang="0">
                  <a:pos x="48" y="132"/>
                </a:cxn>
                <a:cxn ang="0">
                  <a:pos x="44" y="132"/>
                </a:cxn>
                <a:cxn ang="0">
                  <a:pos x="40" y="136"/>
                </a:cxn>
                <a:cxn ang="0">
                  <a:pos x="36" y="136"/>
                </a:cxn>
                <a:cxn ang="0">
                  <a:pos x="32" y="128"/>
                </a:cxn>
                <a:cxn ang="0">
                  <a:pos x="28" y="124"/>
                </a:cxn>
                <a:cxn ang="0">
                  <a:pos x="24" y="116"/>
                </a:cxn>
                <a:cxn ang="0">
                  <a:pos x="24" y="112"/>
                </a:cxn>
                <a:cxn ang="0">
                  <a:pos x="20" y="104"/>
                </a:cxn>
                <a:cxn ang="0">
                  <a:pos x="24" y="96"/>
                </a:cxn>
                <a:cxn ang="0">
                  <a:pos x="28" y="88"/>
                </a:cxn>
                <a:cxn ang="0">
                  <a:pos x="28" y="76"/>
                </a:cxn>
                <a:cxn ang="0">
                  <a:pos x="20" y="76"/>
                </a:cxn>
                <a:cxn ang="0">
                  <a:pos x="20" y="72"/>
                </a:cxn>
                <a:cxn ang="0">
                  <a:pos x="20" y="64"/>
                </a:cxn>
                <a:cxn ang="0">
                  <a:pos x="16" y="64"/>
                </a:cxn>
                <a:cxn ang="0">
                  <a:pos x="12" y="64"/>
                </a:cxn>
                <a:cxn ang="0">
                  <a:pos x="0" y="48"/>
                </a:cxn>
                <a:cxn ang="0">
                  <a:pos x="4" y="44"/>
                </a:cxn>
                <a:cxn ang="0">
                  <a:pos x="4" y="36"/>
                </a:cxn>
                <a:cxn ang="0">
                  <a:pos x="12" y="36"/>
                </a:cxn>
                <a:cxn ang="0">
                  <a:pos x="12" y="32"/>
                </a:cxn>
                <a:cxn ang="0">
                  <a:pos x="16" y="28"/>
                </a:cxn>
                <a:cxn ang="0">
                  <a:pos x="12" y="28"/>
                </a:cxn>
                <a:cxn ang="0">
                  <a:pos x="12" y="24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20" y="12"/>
                </a:cxn>
                <a:cxn ang="0">
                  <a:pos x="24" y="8"/>
                </a:cxn>
                <a:cxn ang="0">
                  <a:pos x="20" y="0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6" y="12"/>
                </a:cxn>
                <a:cxn ang="0">
                  <a:pos x="40" y="20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4" y="40"/>
                </a:cxn>
                <a:cxn ang="0">
                  <a:pos x="44" y="36"/>
                </a:cxn>
                <a:cxn ang="0">
                  <a:pos x="48" y="32"/>
                </a:cxn>
              </a:cxnLst>
              <a:rect l="0" t="0" r="r" b="b"/>
              <a:pathLst>
                <a:path w="76" h="136">
                  <a:moveTo>
                    <a:pt x="48" y="32"/>
                  </a:move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0" y="60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2" y="72"/>
                  </a:lnTo>
                  <a:lnTo>
                    <a:pt x="52" y="76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8"/>
                  </a:lnTo>
                  <a:lnTo>
                    <a:pt x="64" y="108"/>
                  </a:lnTo>
                  <a:lnTo>
                    <a:pt x="68" y="112"/>
                  </a:lnTo>
                  <a:lnTo>
                    <a:pt x="68" y="112"/>
                  </a:lnTo>
                  <a:lnTo>
                    <a:pt x="68" y="116"/>
                  </a:lnTo>
                  <a:lnTo>
                    <a:pt x="68" y="116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2" y="120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68" y="124"/>
                  </a:lnTo>
                  <a:lnTo>
                    <a:pt x="68" y="124"/>
                  </a:lnTo>
                  <a:lnTo>
                    <a:pt x="68" y="124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4" y="124"/>
                  </a:lnTo>
                  <a:lnTo>
                    <a:pt x="64" y="120"/>
                  </a:lnTo>
                  <a:lnTo>
                    <a:pt x="64" y="120"/>
                  </a:lnTo>
                  <a:lnTo>
                    <a:pt x="60" y="120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60" y="128"/>
                  </a:lnTo>
                  <a:lnTo>
                    <a:pt x="60" y="128"/>
                  </a:lnTo>
                  <a:lnTo>
                    <a:pt x="60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6" y="128"/>
                  </a:lnTo>
                  <a:lnTo>
                    <a:pt x="52" y="128"/>
                  </a:lnTo>
                  <a:lnTo>
                    <a:pt x="52" y="128"/>
                  </a:lnTo>
                  <a:lnTo>
                    <a:pt x="52" y="128"/>
                  </a:lnTo>
                  <a:lnTo>
                    <a:pt x="52" y="132"/>
                  </a:lnTo>
                  <a:lnTo>
                    <a:pt x="48" y="132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6"/>
                  </a:lnTo>
                  <a:lnTo>
                    <a:pt x="44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32" y="132"/>
                  </a:lnTo>
                  <a:lnTo>
                    <a:pt x="32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4" y="124"/>
                  </a:lnTo>
                  <a:lnTo>
                    <a:pt x="24" y="124"/>
                  </a:lnTo>
                  <a:lnTo>
                    <a:pt x="24" y="124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0" y="112"/>
                  </a:lnTo>
                  <a:lnTo>
                    <a:pt x="20" y="108"/>
                  </a:lnTo>
                  <a:lnTo>
                    <a:pt x="20" y="104"/>
                  </a:lnTo>
                  <a:lnTo>
                    <a:pt x="20" y="104"/>
                  </a:lnTo>
                  <a:lnTo>
                    <a:pt x="20" y="104"/>
                  </a:lnTo>
                  <a:lnTo>
                    <a:pt x="24" y="100"/>
                  </a:lnTo>
                  <a:lnTo>
                    <a:pt x="24" y="100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4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16" y="60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4" y="56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8" name="Freeform 176"/>
            <p:cNvSpPr>
              <a:spLocks/>
            </p:cNvSpPr>
            <p:nvPr>
              <p:custDataLst>
                <p:tags r:id="rId371"/>
              </p:custDataLst>
            </p:nvPr>
          </p:nvSpPr>
          <p:spPr bwMode="gray">
            <a:xfrm>
              <a:off x="2967150" y="5125408"/>
              <a:ext cx="189832" cy="229874"/>
            </a:xfrm>
            <a:custGeom>
              <a:avLst/>
              <a:gdLst/>
              <a:ahLst/>
              <a:cxnLst>
                <a:cxn ang="0">
                  <a:pos x="72" y="108"/>
                </a:cxn>
                <a:cxn ang="0">
                  <a:pos x="68" y="108"/>
                </a:cxn>
                <a:cxn ang="0">
                  <a:pos x="60" y="104"/>
                </a:cxn>
                <a:cxn ang="0">
                  <a:pos x="52" y="96"/>
                </a:cxn>
                <a:cxn ang="0">
                  <a:pos x="40" y="88"/>
                </a:cxn>
                <a:cxn ang="0">
                  <a:pos x="36" y="88"/>
                </a:cxn>
                <a:cxn ang="0">
                  <a:pos x="28" y="84"/>
                </a:cxn>
                <a:cxn ang="0">
                  <a:pos x="20" y="76"/>
                </a:cxn>
                <a:cxn ang="0">
                  <a:pos x="16" y="72"/>
                </a:cxn>
                <a:cxn ang="0">
                  <a:pos x="12" y="68"/>
                </a:cxn>
                <a:cxn ang="0">
                  <a:pos x="8" y="60"/>
                </a:cxn>
                <a:cxn ang="0">
                  <a:pos x="0" y="56"/>
                </a:cxn>
                <a:cxn ang="0">
                  <a:pos x="4" y="40"/>
                </a:cxn>
                <a:cxn ang="0">
                  <a:pos x="8" y="20"/>
                </a:cxn>
                <a:cxn ang="0">
                  <a:pos x="20" y="4"/>
                </a:cxn>
                <a:cxn ang="0">
                  <a:pos x="40" y="0"/>
                </a:cxn>
                <a:cxn ang="0">
                  <a:pos x="68" y="8"/>
                </a:cxn>
                <a:cxn ang="0">
                  <a:pos x="68" y="16"/>
                </a:cxn>
                <a:cxn ang="0">
                  <a:pos x="72" y="24"/>
                </a:cxn>
                <a:cxn ang="0">
                  <a:pos x="72" y="40"/>
                </a:cxn>
                <a:cxn ang="0">
                  <a:pos x="72" y="52"/>
                </a:cxn>
                <a:cxn ang="0">
                  <a:pos x="76" y="52"/>
                </a:cxn>
                <a:cxn ang="0">
                  <a:pos x="84" y="56"/>
                </a:cxn>
                <a:cxn ang="0">
                  <a:pos x="92" y="56"/>
                </a:cxn>
                <a:cxn ang="0">
                  <a:pos x="96" y="52"/>
                </a:cxn>
                <a:cxn ang="0">
                  <a:pos x="100" y="56"/>
                </a:cxn>
                <a:cxn ang="0">
                  <a:pos x="104" y="60"/>
                </a:cxn>
                <a:cxn ang="0">
                  <a:pos x="108" y="60"/>
                </a:cxn>
                <a:cxn ang="0">
                  <a:pos x="108" y="72"/>
                </a:cxn>
                <a:cxn ang="0">
                  <a:pos x="108" y="80"/>
                </a:cxn>
                <a:cxn ang="0">
                  <a:pos x="112" y="88"/>
                </a:cxn>
                <a:cxn ang="0">
                  <a:pos x="116" y="88"/>
                </a:cxn>
                <a:cxn ang="0">
                  <a:pos x="128" y="88"/>
                </a:cxn>
                <a:cxn ang="0">
                  <a:pos x="128" y="92"/>
                </a:cxn>
                <a:cxn ang="0">
                  <a:pos x="128" y="96"/>
                </a:cxn>
                <a:cxn ang="0">
                  <a:pos x="128" y="100"/>
                </a:cxn>
                <a:cxn ang="0">
                  <a:pos x="124" y="112"/>
                </a:cxn>
                <a:cxn ang="0">
                  <a:pos x="124" y="116"/>
                </a:cxn>
                <a:cxn ang="0">
                  <a:pos x="124" y="132"/>
                </a:cxn>
                <a:cxn ang="0">
                  <a:pos x="120" y="139"/>
                </a:cxn>
                <a:cxn ang="0">
                  <a:pos x="116" y="143"/>
                </a:cxn>
                <a:cxn ang="0">
                  <a:pos x="108" y="147"/>
                </a:cxn>
                <a:cxn ang="0">
                  <a:pos x="108" y="155"/>
                </a:cxn>
                <a:cxn ang="0">
                  <a:pos x="104" y="151"/>
                </a:cxn>
                <a:cxn ang="0">
                  <a:pos x="96" y="155"/>
                </a:cxn>
                <a:cxn ang="0">
                  <a:pos x="96" y="155"/>
                </a:cxn>
                <a:cxn ang="0">
                  <a:pos x="92" y="155"/>
                </a:cxn>
                <a:cxn ang="0">
                  <a:pos x="88" y="155"/>
                </a:cxn>
                <a:cxn ang="0">
                  <a:pos x="84" y="155"/>
                </a:cxn>
                <a:cxn ang="0">
                  <a:pos x="80" y="155"/>
                </a:cxn>
                <a:cxn ang="0">
                  <a:pos x="76" y="151"/>
                </a:cxn>
                <a:cxn ang="0">
                  <a:pos x="64" y="151"/>
                </a:cxn>
                <a:cxn ang="0">
                  <a:pos x="60" y="147"/>
                </a:cxn>
                <a:cxn ang="0">
                  <a:pos x="68" y="143"/>
                </a:cxn>
                <a:cxn ang="0">
                  <a:pos x="68" y="132"/>
                </a:cxn>
                <a:cxn ang="0">
                  <a:pos x="72" y="124"/>
                </a:cxn>
                <a:cxn ang="0">
                  <a:pos x="80" y="116"/>
                </a:cxn>
              </a:cxnLst>
              <a:rect l="0" t="0" r="r" b="b"/>
              <a:pathLst>
                <a:path w="128" h="155">
                  <a:moveTo>
                    <a:pt x="76" y="112"/>
                  </a:moveTo>
                  <a:lnTo>
                    <a:pt x="76" y="112"/>
                  </a:lnTo>
                  <a:lnTo>
                    <a:pt x="76" y="112"/>
                  </a:lnTo>
                  <a:lnTo>
                    <a:pt x="76" y="112"/>
                  </a:lnTo>
                  <a:lnTo>
                    <a:pt x="76" y="112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8" y="108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2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6" y="32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2" y="48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2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6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12" y="80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20" y="88"/>
                  </a:lnTo>
                  <a:lnTo>
                    <a:pt x="120" y="88"/>
                  </a:lnTo>
                  <a:lnTo>
                    <a:pt x="120" y="88"/>
                  </a:lnTo>
                  <a:lnTo>
                    <a:pt x="124" y="84"/>
                  </a:lnTo>
                  <a:lnTo>
                    <a:pt x="124" y="84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8" y="88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2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4"/>
                  </a:lnTo>
                  <a:lnTo>
                    <a:pt x="128" y="104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6"/>
                  </a:lnTo>
                  <a:lnTo>
                    <a:pt x="124" y="116"/>
                  </a:lnTo>
                  <a:lnTo>
                    <a:pt x="124" y="116"/>
                  </a:lnTo>
                  <a:lnTo>
                    <a:pt x="124" y="120"/>
                  </a:lnTo>
                  <a:lnTo>
                    <a:pt x="124" y="120"/>
                  </a:lnTo>
                  <a:lnTo>
                    <a:pt x="124" y="124"/>
                  </a:lnTo>
                  <a:lnTo>
                    <a:pt x="124" y="124"/>
                  </a:lnTo>
                  <a:lnTo>
                    <a:pt x="124" y="128"/>
                  </a:lnTo>
                  <a:lnTo>
                    <a:pt x="124" y="128"/>
                  </a:lnTo>
                  <a:lnTo>
                    <a:pt x="124" y="132"/>
                  </a:lnTo>
                  <a:lnTo>
                    <a:pt x="124" y="132"/>
                  </a:lnTo>
                  <a:lnTo>
                    <a:pt x="124" y="132"/>
                  </a:lnTo>
                  <a:lnTo>
                    <a:pt x="124" y="132"/>
                  </a:lnTo>
                  <a:lnTo>
                    <a:pt x="120" y="135"/>
                  </a:lnTo>
                  <a:lnTo>
                    <a:pt x="120" y="139"/>
                  </a:lnTo>
                  <a:lnTo>
                    <a:pt x="120" y="139"/>
                  </a:lnTo>
                  <a:lnTo>
                    <a:pt x="120" y="139"/>
                  </a:lnTo>
                  <a:lnTo>
                    <a:pt x="120" y="139"/>
                  </a:lnTo>
                  <a:lnTo>
                    <a:pt x="120" y="139"/>
                  </a:lnTo>
                  <a:lnTo>
                    <a:pt x="116" y="139"/>
                  </a:lnTo>
                  <a:lnTo>
                    <a:pt x="116" y="139"/>
                  </a:lnTo>
                  <a:lnTo>
                    <a:pt x="116" y="143"/>
                  </a:lnTo>
                  <a:lnTo>
                    <a:pt x="116" y="143"/>
                  </a:lnTo>
                  <a:lnTo>
                    <a:pt x="116" y="143"/>
                  </a:lnTo>
                  <a:lnTo>
                    <a:pt x="116" y="143"/>
                  </a:lnTo>
                  <a:lnTo>
                    <a:pt x="112" y="143"/>
                  </a:lnTo>
                  <a:lnTo>
                    <a:pt x="112" y="143"/>
                  </a:lnTo>
                  <a:lnTo>
                    <a:pt x="112" y="143"/>
                  </a:lnTo>
                  <a:lnTo>
                    <a:pt x="112" y="143"/>
                  </a:lnTo>
                  <a:lnTo>
                    <a:pt x="112" y="143"/>
                  </a:lnTo>
                  <a:lnTo>
                    <a:pt x="108" y="147"/>
                  </a:lnTo>
                  <a:lnTo>
                    <a:pt x="108" y="147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1"/>
                  </a:lnTo>
                  <a:lnTo>
                    <a:pt x="108" y="155"/>
                  </a:lnTo>
                  <a:lnTo>
                    <a:pt x="104" y="155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0" y="151"/>
                  </a:lnTo>
                  <a:lnTo>
                    <a:pt x="100" y="151"/>
                  </a:lnTo>
                  <a:lnTo>
                    <a:pt x="100" y="151"/>
                  </a:lnTo>
                  <a:lnTo>
                    <a:pt x="100" y="151"/>
                  </a:lnTo>
                  <a:lnTo>
                    <a:pt x="96" y="151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6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92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6" y="151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68" y="151"/>
                  </a:lnTo>
                  <a:lnTo>
                    <a:pt x="68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4" y="151"/>
                  </a:lnTo>
                  <a:lnTo>
                    <a:pt x="60" y="147"/>
                  </a:lnTo>
                  <a:lnTo>
                    <a:pt x="60" y="147"/>
                  </a:lnTo>
                  <a:lnTo>
                    <a:pt x="64" y="147"/>
                  </a:lnTo>
                  <a:lnTo>
                    <a:pt x="64" y="147"/>
                  </a:lnTo>
                  <a:lnTo>
                    <a:pt x="64" y="147"/>
                  </a:lnTo>
                  <a:lnTo>
                    <a:pt x="64" y="143"/>
                  </a:lnTo>
                  <a:lnTo>
                    <a:pt x="64" y="143"/>
                  </a:lnTo>
                  <a:lnTo>
                    <a:pt x="68" y="143"/>
                  </a:lnTo>
                  <a:lnTo>
                    <a:pt x="68" y="143"/>
                  </a:lnTo>
                  <a:lnTo>
                    <a:pt x="68" y="139"/>
                  </a:lnTo>
                  <a:lnTo>
                    <a:pt x="68" y="139"/>
                  </a:lnTo>
                  <a:lnTo>
                    <a:pt x="68" y="135"/>
                  </a:lnTo>
                  <a:lnTo>
                    <a:pt x="68" y="135"/>
                  </a:lnTo>
                  <a:lnTo>
                    <a:pt x="68" y="135"/>
                  </a:lnTo>
                  <a:lnTo>
                    <a:pt x="68" y="132"/>
                  </a:lnTo>
                  <a:lnTo>
                    <a:pt x="68" y="132"/>
                  </a:lnTo>
                  <a:lnTo>
                    <a:pt x="68" y="132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8"/>
                  </a:lnTo>
                  <a:lnTo>
                    <a:pt x="72" y="124"/>
                  </a:lnTo>
                  <a:lnTo>
                    <a:pt x="72" y="124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6" y="124"/>
                  </a:lnTo>
                  <a:lnTo>
                    <a:pt x="76" y="120"/>
                  </a:lnTo>
                  <a:lnTo>
                    <a:pt x="80" y="120"/>
                  </a:lnTo>
                  <a:lnTo>
                    <a:pt x="80" y="116"/>
                  </a:lnTo>
                  <a:lnTo>
                    <a:pt x="80" y="116"/>
                  </a:lnTo>
                  <a:lnTo>
                    <a:pt x="76" y="116"/>
                  </a:lnTo>
                  <a:lnTo>
                    <a:pt x="76" y="116"/>
                  </a:lnTo>
                  <a:lnTo>
                    <a:pt x="76" y="112"/>
                  </a:lnTo>
                  <a:lnTo>
                    <a:pt x="76" y="1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79" name="Freeform 177"/>
            <p:cNvSpPr>
              <a:spLocks/>
            </p:cNvSpPr>
            <p:nvPr>
              <p:custDataLst>
                <p:tags r:id="rId372"/>
              </p:custDataLst>
            </p:nvPr>
          </p:nvSpPr>
          <p:spPr bwMode="gray">
            <a:xfrm>
              <a:off x="2547443" y="4598921"/>
              <a:ext cx="284748" cy="496826"/>
            </a:xfrm>
            <a:custGeom>
              <a:avLst/>
              <a:gdLst/>
              <a:ahLst/>
              <a:cxnLst>
                <a:cxn ang="0">
                  <a:pos x="176" y="331"/>
                </a:cxn>
                <a:cxn ang="0">
                  <a:pos x="164" y="331"/>
                </a:cxn>
                <a:cxn ang="0">
                  <a:pos x="152" y="319"/>
                </a:cxn>
                <a:cxn ang="0">
                  <a:pos x="140" y="311"/>
                </a:cxn>
                <a:cxn ang="0">
                  <a:pos x="128" y="303"/>
                </a:cxn>
                <a:cxn ang="0">
                  <a:pos x="112" y="295"/>
                </a:cxn>
                <a:cxn ang="0">
                  <a:pos x="100" y="283"/>
                </a:cxn>
                <a:cxn ang="0">
                  <a:pos x="88" y="271"/>
                </a:cxn>
                <a:cxn ang="0">
                  <a:pos x="80" y="255"/>
                </a:cxn>
                <a:cxn ang="0">
                  <a:pos x="80" y="247"/>
                </a:cxn>
                <a:cxn ang="0">
                  <a:pos x="72" y="227"/>
                </a:cxn>
                <a:cxn ang="0">
                  <a:pos x="64" y="215"/>
                </a:cxn>
                <a:cxn ang="0">
                  <a:pos x="56" y="199"/>
                </a:cxn>
                <a:cxn ang="0">
                  <a:pos x="48" y="179"/>
                </a:cxn>
                <a:cxn ang="0">
                  <a:pos x="40" y="163"/>
                </a:cxn>
                <a:cxn ang="0">
                  <a:pos x="36" y="147"/>
                </a:cxn>
                <a:cxn ang="0">
                  <a:pos x="28" y="135"/>
                </a:cxn>
                <a:cxn ang="0">
                  <a:pos x="20" y="123"/>
                </a:cxn>
                <a:cxn ang="0">
                  <a:pos x="12" y="111"/>
                </a:cxn>
                <a:cxn ang="0">
                  <a:pos x="8" y="103"/>
                </a:cxn>
                <a:cxn ang="0">
                  <a:pos x="4" y="87"/>
                </a:cxn>
                <a:cxn ang="0">
                  <a:pos x="4" y="71"/>
                </a:cxn>
                <a:cxn ang="0">
                  <a:pos x="16" y="59"/>
                </a:cxn>
                <a:cxn ang="0">
                  <a:pos x="16" y="79"/>
                </a:cxn>
                <a:cxn ang="0">
                  <a:pos x="28" y="79"/>
                </a:cxn>
                <a:cxn ang="0">
                  <a:pos x="40" y="83"/>
                </a:cxn>
                <a:cxn ang="0">
                  <a:pos x="44" y="75"/>
                </a:cxn>
                <a:cxn ang="0">
                  <a:pos x="48" y="59"/>
                </a:cxn>
                <a:cxn ang="0">
                  <a:pos x="52" y="52"/>
                </a:cxn>
                <a:cxn ang="0">
                  <a:pos x="72" y="44"/>
                </a:cxn>
                <a:cxn ang="0">
                  <a:pos x="88" y="28"/>
                </a:cxn>
                <a:cxn ang="0">
                  <a:pos x="92" y="12"/>
                </a:cxn>
                <a:cxn ang="0">
                  <a:pos x="96" y="0"/>
                </a:cxn>
                <a:cxn ang="0">
                  <a:pos x="104" y="4"/>
                </a:cxn>
                <a:cxn ang="0">
                  <a:pos x="116" y="20"/>
                </a:cxn>
                <a:cxn ang="0">
                  <a:pos x="128" y="32"/>
                </a:cxn>
                <a:cxn ang="0">
                  <a:pos x="128" y="44"/>
                </a:cxn>
                <a:cxn ang="0">
                  <a:pos x="140" y="44"/>
                </a:cxn>
                <a:cxn ang="0">
                  <a:pos x="152" y="40"/>
                </a:cxn>
                <a:cxn ang="0">
                  <a:pos x="168" y="44"/>
                </a:cxn>
                <a:cxn ang="0">
                  <a:pos x="164" y="67"/>
                </a:cxn>
                <a:cxn ang="0">
                  <a:pos x="172" y="75"/>
                </a:cxn>
                <a:cxn ang="0">
                  <a:pos x="160" y="75"/>
                </a:cxn>
                <a:cxn ang="0">
                  <a:pos x="148" y="79"/>
                </a:cxn>
                <a:cxn ang="0">
                  <a:pos x="136" y="87"/>
                </a:cxn>
                <a:cxn ang="0">
                  <a:pos x="128" y="103"/>
                </a:cxn>
                <a:cxn ang="0">
                  <a:pos x="124" y="115"/>
                </a:cxn>
                <a:cxn ang="0">
                  <a:pos x="116" y="131"/>
                </a:cxn>
                <a:cxn ang="0">
                  <a:pos x="120" y="143"/>
                </a:cxn>
                <a:cxn ang="0">
                  <a:pos x="128" y="159"/>
                </a:cxn>
                <a:cxn ang="0">
                  <a:pos x="128" y="171"/>
                </a:cxn>
                <a:cxn ang="0">
                  <a:pos x="140" y="179"/>
                </a:cxn>
                <a:cxn ang="0">
                  <a:pos x="160" y="179"/>
                </a:cxn>
                <a:cxn ang="0">
                  <a:pos x="164" y="183"/>
                </a:cxn>
                <a:cxn ang="0">
                  <a:pos x="168" y="199"/>
                </a:cxn>
                <a:cxn ang="0">
                  <a:pos x="184" y="207"/>
                </a:cxn>
                <a:cxn ang="0">
                  <a:pos x="192" y="223"/>
                </a:cxn>
                <a:cxn ang="0">
                  <a:pos x="188" y="239"/>
                </a:cxn>
                <a:cxn ang="0">
                  <a:pos x="192" y="255"/>
                </a:cxn>
                <a:cxn ang="0">
                  <a:pos x="184" y="271"/>
                </a:cxn>
                <a:cxn ang="0">
                  <a:pos x="184" y="283"/>
                </a:cxn>
                <a:cxn ang="0">
                  <a:pos x="188" y="299"/>
                </a:cxn>
                <a:cxn ang="0">
                  <a:pos x="180" y="311"/>
                </a:cxn>
              </a:cxnLst>
              <a:rect l="0" t="0" r="r" b="b"/>
              <a:pathLst>
                <a:path w="192" h="335">
                  <a:moveTo>
                    <a:pt x="180" y="319"/>
                  </a:moveTo>
                  <a:lnTo>
                    <a:pt x="180" y="323"/>
                  </a:lnTo>
                  <a:lnTo>
                    <a:pt x="176" y="323"/>
                  </a:lnTo>
                  <a:lnTo>
                    <a:pt x="176" y="327"/>
                  </a:lnTo>
                  <a:lnTo>
                    <a:pt x="176" y="331"/>
                  </a:lnTo>
                  <a:lnTo>
                    <a:pt x="176" y="335"/>
                  </a:lnTo>
                  <a:lnTo>
                    <a:pt x="172" y="335"/>
                  </a:lnTo>
                  <a:lnTo>
                    <a:pt x="168" y="335"/>
                  </a:lnTo>
                  <a:lnTo>
                    <a:pt x="164" y="335"/>
                  </a:lnTo>
                  <a:lnTo>
                    <a:pt x="164" y="331"/>
                  </a:lnTo>
                  <a:lnTo>
                    <a:pt x="160" y="331"/>
                  </a:lnTo>
                  <a:lnTo>
                    <a:pt x="160" y="327"/>
                  </a:lnTo>
                  <a:lnTo>
                    <a:pt x="156" y="327"/>
                  </a:lnTo>
                  <a:lnTo>
                    <a:pt x="152" y="323"/>
                  </a:lnTo>
                  <a:lnTo>
                    <a:pt x="152" y="319"/>
                  </a:lnTo>
                  <a:lnTo>
                    <a:pt x="152" y="315"/>
                  </a:lnTo>
                  <a:lnTo>
                    <a:pt x="148" y="315"/>
                  </a:lnTo>
                  <a:lnTo>
                    <a:pt x="144" y="315"/>
                  </a:lnTo>
                  <a:lnTo>
                    <a:pt x="144" y="311"/>
                  </a:lnTo>
                  <a:lnTo>
                    <a:pt x="140" y="311"/>
                  </a:lnTo>
                  <a:lnTo>
                    <a:pt x="140" y="307"/>
                  </a:lnTo>
                  <a:lnTo>
                    <a:pt x="136" y="307"/>
                  </a:lnTo>
                  <a:lnTo>
                    <a:pt x="136" y="303"/>
                  </a:lnTo>
                  <a:lnTo>
                    <a:pt x="132" y="303"/>
                  </a:lnTo>
                  <a:lnTo>
                    <a:pt x="128" y="303"/>
                  </a:lnTo>
                  <a:lnTo>
                    <a:pt x="124" y="299"/>
                  </a:lnTo>
                  <a:lnTo>
                    <a:pt x="120" y="299"/>
                  </a:lnTo>
                  <a:lnTo>
                    <a:pt x="120" y="295"/>
                  </a:lnTo>
                  <a:lnTo>
                    <a:pt x="116" y="295"/>
                  </a:lnTo>
                  <a:lnTo>
                    <a:pt x="112" y="295"/>
                  </a:lnTo>
                  <a:lnTo>
                    <a:pt x="112" y="291"/>
                  </a:lnTo>
                  <a:lnTo>
                    <a:pt x="108" y="291"/>
                  </a:lnTo>
                  <a:lnTo>
                    <a:pt x="108" y="287"/>
                  </a:lnTo>
                  <a:lnTo>
                    <a:pt x="104" y="287"/>
                  </a:lnTo>
                  <a:lnTo>
                    <a:pt x="100" y="283"/>
                  </a:lnTo>
                  <a:lnTo>
                    <a:pt x="96" y="283"/>
                  </a:lnTo>
                  <a:lnTo>
                    <a:pt x="96" y="279"/>
                  </a:lnTo>
                  <a:lnTo>
                    <a:pt x="92" y="279"/>
                  </a:lnTo>
                  <a:lnTo>
                    <a:pt x="92" y="275"/>
                  </a:lnTo>
                  <a:lnTo>
                    <a:pt x="88" y="271"/>
                  </a:lnTo>
                  <a:lnTo>
                    <a:pt x="84" y="267"/>
                  </a:lnTo>
                  <a:lnTo>
                    <a:pt x="84" y="263"/>
                  </a:lnTo>
                  <a:lnTo>
                    <a:pt x="80" y="263"/>
                  </a:lnTo>
                  <a:lnTo>
                    <a:pt x="80" y="259"/>
                  </a:lnTo>
                  <a:lnTo>
                    <a:pt x="80" y="255"/>
                  </a:lnTo>
                  <a:lnTo>
                    <a:pt x="76" y="251"/>
                  </a:lnTo>
                  <a:lnTo>
                    <a:pt x="76" y="255"/>
                  </a:lnTo>
                  <a:lnTo>
                    <a:pt x="76" y="251"/>
                  </a:lnTo>
                  <a:lnTo>
                    <a:pt x="80" y="251"/>
                  </a:lnTo>
                  <a:lnTo>
                    <a:pt x="80" y="247"/>
                  </a:lnTo>
                  <a:lnTo>
                    <a:pt x="80" y="243"/>
                  </a:lnTo>
                  <a:lnTo>
                    <a:pt x="76" y="239"/>
                  </a:lnTo>
                  <a:lnTo>
                    <a:pt x="76" y="235"/>
                  </a:lnTo>
                  <a:lnTo>
                    <a:pt x="72" y="231"/>
                  </a:lnTo>
                  <a:lnTo>
                    <a:pt x="72" y="227"/>
                  </a:lnTo>
                  <a:lnTo>
                    <a:pt x="72" y="223"/>
                  </a:lnTo>
                  <a:lnTo>
                    <a:pt x="68" y="223"/>
                  </a:lnTo>
                  <a:lnTo>
                    <a:pt x="68" y="219"/>
                  </a:lnTo>
                  <a:lnTo>
                    <a:pt x="64" y="219"/>
                  </a:lnTo>
                  <a:lnTo>
                    <a:pt x="64" y="215"/>
                  </a:lnTo>
                  <a:lnTo>
                    <a:pt x="64" y="211"/>
                  </a:lnTo>
                  <a:lnTo>
                    <a:pt x="64" y="207"/>
                  </a:lnTo>
                  <a:lnTo>
                    <a:pt x="60" y="207"/>
                  </a:lnTo>
                  <a:lnTo>
                    <a:pt x="56" y="203"/>
                  </a:lnTo>
                  <a:lnTo>
                    <a:pt x="56" y="199"/>
                  </a:lnTo>
                  <a:lnTo>
                    <a:pt x="56" y="195"/>
                  </a:lnTo>
                  <a:lnTo>
                    <a:pt x="52" y="191"/>
                  </a:lnTo>
                  <a:lnTo>
                    <a:pt x="52" y="187"/>
                  </a:lnTo>
                  <a:lnTo>
                    <a:pt x="48" y="183"/>
                  </a:lnTo>
                  <a:lnTo>
                    <a:pt x="48" y="179"/>
                  </a:lnTo>
                  <a:lnTo>
                    <a:pt x="48" y="175"/>
                  </a:lnTo>
                  <a:lnTo>
                    <a:pt x="44" y="171"/>
                  </a:lnTo>
                  <a:lnTo>
                    <a:pt x="44" y="167"/>
                  </a:lnTo>
                  <a:lnTo>
                    <a:pt x="44" y="163"/>
                  </a:lnTo>
                  <a:lnTo>
                    <a:pt x="40" y="163"/>
                  </a:lnTo>
                  <a:lnTo>
                    <a:pt x="40" y="159"/>
                  </a:lnTo>
                  <a:lnTo>
                    <a:pt x="40" y="155"/>
                  </a:lnTo>
                  <a:lnTo>
                    <a:pt x="36" y="151"/>
                  </a:lnTo>
                  <a:lnTo>
                    <a:pt x="40" y="151"/>
                  </a:lnTo>
                  <a:lnTo>
                    <a:pt x="36" y="147"/>
                  </a:lnTo>
                  <a:lnTo>
                    <a:pt x="36" y="143"/>
                  </a:lnTo>
                  <a:lnTo>
                    <a:pt x="32" y="143"/>
                  </a:lnTo>
                  <a:lnTo>
                    <a:pt x="32" y="139"/>
                  </a:lnTo>
                  <a:lnTo>
                    <a:pt x="28" y="139"/>
                  </a:lnTo>
                  <a:lnTo>
                    <a:pt x="28" y="135"/>
                  </a:lnTo>
                  <a:lnTo>
                    <a:pt x="28" y="131"/>
                  </a:lnTo>
                  <a:lnTo>
                    <a:pt x="28" y="127"/>
                  </a:lnTo>
                  <a:lnTo>
                    <a:pt x="24" y="127"/>
                  </a:lnTo>
                  <a:lnTo>
                    <a:pt x="24" y="123"/>
                  </a:lnTo>
                  <a:lnTo>
                    <a:pt x="20" y="123"/>
                  </a:lnTo>
                  <a:lnTo>
                    <a:pt x="20" y="119"/>
                  </a:lnTo>
                  <a:lnTo>
                    <a:pt x="16" y="119"/>
                  </a:lnTo>
                  <a:lnTo>
                    <a:pt x="16" y="115"/>
                  </a:lnTo>
                  <a:lnTo>
                    <a:pt x="12" y="115"/>
                  </a:lnTo>
                  <a:lnTo>
                    <a:pt x="12" y="111"/>
                  </a:lnTo>
                  <a:lnTo>
                    <a:pt x="8" y="111"/>
                  </a:lnTo>
                  <a:lnTo>
                    <a:pt x="4" y="111"/>
                  </a:lnTo>
                  <a:lnTo>
                    <a:pt x="4" y="107"/>
                  </a:lnTo>
                  <a:lnTo>
                    <a:pt x="4" y="103"/>
                  </a:lnTo>
                  <a:lnTo>
                    <a:pt x="8" y="103"/>
                  </a:lnTo>
                  <a:lnTo>
                    <a:pt x="8" y="99"/>
                  </a:lnTo>
                  <a:lnTo>
                    <a:pt x="8" y="95"/>
                  </a:lnTo>
                  <a:lnTo>
                    <a:pt x="4" y="95"/>
                  </a:lnTo>
                  <a:lnTo>
                    <a:pt x="4" y="91"/>
                  </a:lnTo>
                  <a:lnTo>
                    <a:pt x="4" y="87"/>
                  </a:lnTo>
                  <a:lnTo>
                    <a:pt x="0" y="83"/>
                  </a:lnTo>
                  <a:lnTo>
                    <a:pt x="0" y="79"/>
                  </a:lnTo>
                  <a:lnTo>
                    <a:pt x="4" y="79"/>
                  </a:lnTo>
                  <a:lnTo>
                    <a:pt x="4" y="75"/>
                  </a:lnTo>
                  <a:lnTo>
                    <a:pt x="4" y="71"/>
                  </a:lnTo>
                  <a:lnTo>
                    <a:pt x="8" y="71"/>
                  </a:lnTo>
                  <a:lnTo>
                    <a:pt x="8" y="67"/>
                  </a:lnTo>
                  <a:lnTo>
                    <a:pt x="12" y="63"/>
                  </a:lnTo>
                  <a:lnTo>
                    <a:pt x="16" y="63"/>
                  </a:lnTo>
                  <a:lnTo>
                    <a:pt x="16" y="59"/>
                  </a:lnTo>
                  <a:lnTo>
                    <a:pt x="20" y="63"/>
                  </a:lnTo>
                  <a:lnTo>
                    <a:pt x="20" y="67"/>
                  </a:lnTo>
                  <a:lnTo>
                    <a:pt x="16" y="71"/>
                  </a:lnTo>
                  <a:lnTo>
                    <a:pt x="16" y="75"/>
                  </a:lnTo>
                  <a:lnTo>
                    <a:pt x="16" y="79"/>
                  </a:lnTo>
                  <a:lnTo>
                    <a:pt x="20" y="79"/>
                  </a:lnTo>
                  <a:lnTo>
                    <a:pt x="20" y="75"/>
                  </a:lnTo>
                  <a:lnTo>
                    <a:pt x="20" y="79"/>
                  </a:lnTo>
                  <a:lnTo>
                    <a:pt x="24" y="79"/>
                  </a:lnTo>
                  <a:lnTo>
                    <a:pt x="28" y="79"/>
                  </a:lnTo>
                  <a:lnTo>
                    <a:pt x="28" y="83"/>
                  </a:lnTo>
                  <a:lnTo>
                    <a:pt x="32" y="83"/>
                  </a:lnTo>
                  <a:lnTo>
                    <a:pt x="32" y="87"/>
                  </a:lnTo>
                  <a:lnTo>
                    <a:pt x="36" y="87"/>
                  </a:lnTo>
                  <a:lnTo>
                    <a:pt x="40" y="83"/>
                  </a:lnTo>
                  <a:lnTo>
                    <a:pt x="40" y="79"/>
                  </a:lnTo>
                  <a:lnTo>
                    <a:pt x="44" y="79"/>
                  </a:lnTo>
                  <a:lnTo>
                    <a:pt x="40" y="79"/>
                  </a:lnTo>
                  <a:lnTo>
                    <a:pt x="40" y="75"/>
                  </a:lnTo>
                  <a:lnTo>
                    <a:pt x="44" y="75"/>
                  </a:lnTo>
                  <a:lnTo>
                    <a:pt x="44" y="71"/>
                  </a:lnTo>
                  <a:lnTo>
                    <a:pt x="44" y="67"/>
                  </a:lnTo>
                  <a:lnTo>
                    <a:pt x="48" y="67"/>
                  </a:lnTo>
                  <a:lnTo>
                    <a:pt x="48" y="63"/>
                  </a:lnTo>
                  <a:lnTo>
                    <a:pt x="48" y="59"/>
                  </a:lnTo>
                  <a:lnTo>
                    <a:pt x="48" y="63"/>
                  </a:lnTo>
                  <a:lnTo>
                    <a:pt x="48" y="59"/>
                  </a:lnTo>
                  <a:lnTo>
                    <a:pt x="52" y="59"/>
                  </a:lnTo>
                  <a:lnTo>
                    <a:pt x="52" y="55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60" y="52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72" y="44"/>
                  </a:lnTo>
                  <a:lnTo>
                    <a:pt x="76" y="40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32"/>
                  </a:lnTo>
                  <a:lnTo>
                    <a:pt x="88" y="28"/>
                  </a:lnTo>
                  <a:lnTo>
                    <a:pt x="88" y="24"/>
                  </a:lnTo>
                  <a:lnTo>
                    <a:pt x="92" y="20"/>
                  </a:lnTo>
                  <a:lnTo>
                    <a:pt x="92" y="16"/>
                  </a:lnTo>
                  <a:lnTo>
                    <a:pt x="96" y="16"/>
                  </a:lnTo>
                  <a:lnTo>
                    <a:pt x="92" y="12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6" y="0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4" y="4"/>
                  </a:lnTo>
                  <a:lnTo>
                    <a:pt x="108" y="8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6" y="20"/>
                  </a:lnTo>
                  <a:lnTo>
                    <a:pt x="120" y="24"/>
                  </a:lnTo>
                  <a:lnTo>
                    <a:pt x="120" y="28"/>
                  </a:lnTo>
                  <a:lnTo>
                    <a:pt x="120" y="32"/>
                  </a:lnTo>
                  <a:lnTo>
                    <a:pt x="124" y="32"/>
                  </a:lnTo>
                  <a:lnTo>
                    <a:pt x="128" y="32"/>
                  </a:lnTo>
                  <a:lnTo>
                    <a:pt x="128" y="36"/>
                  </a:lnTo>
                  <a:lnTo>
                    <a:pt x="128" y="40"/>
                  </a:lnTo>
                  <a:lnTo>
                    <a:pt x="124" y="40"/>
                  </a:lnTo>
                  <a:lnTo>
                    <a:pt x="128" y="40"/>
                  </a:lnTo>
                  <a:lnTo>
                    <a:pt x="128" y="44"/>
                  </a:lnTo>
                  <a:lnTo>
                    <a:pt x="128" y="40"/>
                  </a:lnTo>
                  <a:lnTo>
                    <a:pt x="128" y="44"/>
                  </a:lnTo>
                  <a:lnTo>
                    <a:pt x="132" y="44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4" y="44"/>
                  </a:lnTo>
                  <a:lnTo>
                    <a:pt x="144" y="40"/>
                  </a:lnTo>
                  <a:lnTo>
                    <a:pt x="148" y="36"/>
                  </a:lnTo>
                  <a:lnTo>
                    <a:pt x="148" y="40"/>
                  </a:lnTo>
                  <a:lnTo>
                    <a:pt x="152" y="40"/>
                  </a:lnTo>
                  <a:lnTo>
                    <a:pt x="156" y="40"/>
                  </a:lnTo>
                  <a:lnTo>
                    <a:pt x="160" y="40"/>
                  </a:lnTo>
                  <a:lnTo>
                    <a:pt x="164" y="40"/>
                  </a:lnTo>
                  <a:lnTo>
                    <a:pt x="164" y="44"/>
                  </a:lnTo>
                  <a:lnTo>
                    <a:pt x="168" y="44"/>
                  </a:lnTo>
                  <a:lnTo>
                    <a:pt x="172" y="44"/>
                  </a:lnTo>
                  <a:lnTo>
                    <a:pt x="172" y="48"/>
                  </a:lnTo>
                  <a:lnTo>
                    <a:pt x="168" y="59"/>
                  </a:lnTo>
                  <a:lnTo>
                    <a:pt x="164" y="63"/>
                  </a:lnTo>
                  <a:lnTo>
                    <a:pt x="164" y="67"/>
                  </a:lnTo>
                  <a:lnTo>
                    <a:pt x="168" y="67"/>
                  </a:lnTo>
                  <a:lnTo>
                    <a:pt x="172" y="71"/>
                  </a:lnTo>
                  <a:lnTo>
                    <a:pt x="172" y="75"/>
                  </a:lnTo>
                  <a:lnTo>
                    <a:pt x="176" y="75"/>
                  </a:lnTo>
                  <a:lnTo>
                    <a:pt x="172" y="75"/>
                  </a:lnTo>
                  <a:lnTo>
                    <a:pt x="168" y="75"/>
                  </a:lnTo>
                  <a:lnTo>
                    <a:pt x="168" y="71"/>
                  </a:lnTo>
                  <a:lnTo>
                    <a:pt x="168" y="75"/>
                  </a:lnTo>
                  <a:lnTo>
                    <a:pt x="164" y="75"/>
                  </a:lnTo>
                  <a:lnTo>
                    <a:pt x="160" y="75"/>
                  </a:lnTo>
                  <a:lnTo>
                    <a:pt x="160" y="79"/>
                  </a:lnTo>
                  <a:lnTo>
                    <a:pt x="156" y="79"/>
                  </a:lnTo>
                  <a:lnTo>
                    <a:pt x="156" y="75"/>
                  </a:lnTo>
                  <a:lnTo>
                    <a:pt x="152" y="79"/>
                  </a:lnTo>
                  <a:lnTo>
                    <a:pt x="148" y="79"/>
                  </a:lnTo>
                  <a:lnTo>
                    <a:pt x="144" y="79"/>
                  </a:lnTo>
                  <a:lnTo>
                    <a:pt x="144" y="83"/>
                  </a:lnTo>
                  <a:lnTo>
                    <a:pt x="140" y="83"/>
                  </a:lnTo>
                  <a:lnTo>
                    <a:pt x="136" y="83"/>
                  </a:lnTo>
                  <a:lnTo>
                    <a:pt x="136" y="87"/>
                  </a:lnTo>
                  <a:lnTo>
                    <a:pt x="132" y="91"/>
                  </a:lnTo>
                  <a:lnTo>
                    <a:pt x="128" y="91"/>
                  </a:lnTo>
                  <a:lnTo>
                    <a:pt x="128" y="95"/>
                  </a:lnTo>
                  <a:lnTo>
                    <a:pt x="128" y="99"/>
                  </a:lnTo>
                  <a:lnTo>
                    <a:pt x="128" y="103"/>
                  </a:lnTo>
                  <a:lnTo>
                    <a:pt x="124" y="103"/>
                  </a:lnTo>
                  <a:lnTo>
                    <a:pt x="124" y="107"/>
                  </a:lnTo>
                  <a:lnTo>
                    <a:pt x="124" y="111"/>
                  </a:lnTo>
                  <a:lnTo>
                    <a:pt x="128" y="115"/>
                  </a:lnTo>
                  <a:lnTo>
                    <a:pt x="124" y="115"/>
                  </a:lnTo>
                  <a:lnTo>
                    <a:pt x="124" y="119"/>
                  </a:lnTo>
                  <a:lnTo>
                    <a:pt x="120" y="119"/>
                  </a:lnTo>
                  <a:lnTo>
                    <a:pt x="116" y="123"/>
                  </a:lnTo>
                  <a:lnTo>
                    <a:pt x="116" y="127"/>
                  </a:lnTo>
                  <a:lnTo>
                    <a:pt x="116" y="131"/>
                  </a:lnTo>
                  <a:lnTo>
                    <a:pt x="112" y="131"/>
                  </a:lnTo>
                  <a:lnTo>
                    <a:pt x="112" y="135"/>
                  </a:lnTo>
                  <a:lnTo>
                    <a:pt x="116" y="139"/>
                  </a:lnTo>
                  <a:lnTo>
                    <a:pt x="116" y="143"/>
                  </a:lnTo>
                  <a:lnTo>
                    <a:pt x="120" y="143"/>
                  </a:lnTo>
                  <a:lnTo>
                    <a:pt x="120" y="147"/>
                  </a:lnTo>
                  <a:lnTo>
                    <a:pt x="120" y="151"/>
                  </a:lnTo>
                  <a:lnTo>
                    <a:pt x="124" y="155"/>
                  </a:lnTo>
                  <a:lnTo>
                    <a:pt x="124" y="159"/>
                  </a:lnTo>
                  <a:lnTo>
                    <a:pt x="128" y="159"/>
                  </a:lnTo>
                  <a:lnTo>
                    <a:pt x="128" y="163"/>
                  </a:lnTo>
                  <a:lnTo>
                    <a:pt x="128" y="167"/>
                  </a:lnTo>
                  <a:lnTo>
                    <a:pt x="124" y="167"/>
                  </a:lnTo>
                  <a:lnTo>
                    <a:pt x="124" y="171"/>
                  </a:lnTo>
                  <a:lnTo>
                    <a:pt x="128" y="171"/>
                  </a:lnTo>
                  <a:lnTo>
                    <a:pt x="132" y="171"/>
                  </a:lnTo>
                  <a:lnTo>
                    <a:pt x="136" y="171"/>
                  </a:lnTo>
                  <a:lnTo>
                    <a:pt x="140" y="171"/>
                  </a:lnTo>
                  <a:lnTo>
                    <a:pt x="140" y="175"/>
                  </a:lnTo>
                  <a:lnTo>
                    <a:pt x="140" y="179"/>
                  </a:lnTo>
                  <a:lnTo>
                    <a:pt x="144" y="179"/>
                  </a:lnTo>
                  <a:lnTo>
                    <a:pt x="148" y="179"/>
                  </a:lnTo>
                  <a:lnTo>
                    <a:pt x="152" y="179"/>
                  </a:lnTo>
                  <a:lnTo>
                    <a:pt x="156" y="179"/>
                  </a:lnTo>
                  <a:lnTo>
                    <a:pt x="160" y="179"/>
                  </a:lnTo>
                  <a:lnTo>
                    <a:pt x="160" y="175"/>
                  </a:lnTo>
                  <a:lnTo>
                    <a:pt x="164" y="171"/>
                  </a:lnTo>
                  <a:lnTo>
                    <a:pt x="164" y="175"/>
                  </a:lnTo>
                  <a:lnTo>
                    <a:pt x="164" y="179"/>
                  </a:lnTo>
                  <a:lnTo>
                    <a:pt x="164" y="183"/>
                  </a:lnTo>
                  <a:lnTo>
                    <a:pt x="164" y="187"/>
                  </a:lnTo>
                  <a:lnTo>
                    <a:pt x="164" y="191"/>
                  </a:lnTo>
                  <a:lnTo>
                    <a:pt x="164" y="195"/>
                  </a:lnTo>
                  <a:lnTo>
                    <a:pt x="164" y="199"/>
                  </a:lnTo>
                  <a:lnTo>
                    <a:pt x="168" y="199"/>
                  </a:lnTo>
                  <a:lnTo>
                    <a:pt x="172" y="199"/>
                  </a:lnTo>
                  <a:lnTo>
                    <a:pt x="176" y="199"/>
                  </a:lnTo>
                  <a:lnTo>
                    <a:pt x="180" y="199"/>
                  </a:lnTo>
                  <a:lnTo>
                    <a:pt x="184" y="203"/>
                  </a:lnTo>
                  <a:lnTo>
                    <a:pt x="184" y="207"/>
                  </a:lnTo>
                  <a:lnTo>
                    <a:pt x="184" y="211"/>
                  </a:lnTo>
                  <a:lnTo>
                    <a:pt x="188" y="215"/>
                  </a:lnTo>
                  <a:lnTo>
                    <a:pt x="188" y="219"/>
                  </a:lnTo>
                  <a:lnTo>
                    <a:pt x="192" y="219"/>
                  </a:lnTo>
                  <a:lnTo>
                    <a:pt x="192" y="223"/>
                  </a:lnTo>
                  <a:lnTo>
                    <a:pt x="192" y="227"/>
                  </a:lnTo>
                  <a:lnTo>
                    <a:pt x="192" y="231"/>
                  </a:lnTo>
                  <a:lnTo>
                    <a:pt x="188" y="231"/>
                  </a:lnTo>
                  <a:lnTo>
                    <a:pt x="188" y="235"/>
                  </a:lnTo>
                  <a:lnTo>
                    <a:pt x="188" y="239"/>
                  </a:lnTo>
                  <a:lnTo>
                    <a:pt x="188" y="243"/>
                  </a:lnTo>
                  <a:lnTo>
                    <a:pt x="188" y="247"/>
                  </a:lnTo>
                  <a:lnTo>
                    <a:pt x="188" y="251"/>
                  </a:lnTo>
                  <a:lnTo>
                    <a:pt x="188" y="255"/>
                  </a:lnTo>
                  <a:lnTo>
                    <a:pt x="192" y="255"/>
                  </a:lnTo>
                  <a:lnTo>
                    <a:pt x="192" y="259"/>
                  </a:lnTo>
                  <a:lnTo>
                    <a:pt x="188" y="259"/>
                  </a:lnTo>
                  <a:lnTo>
                    <a:pt x="188" y="263"/>
                  </a:lnTo>
                  <a:lnTo>
                    <a:pt x="184" y="267"/>
                  </a:lnTo>
                  <a:lnTo>
                    <a:pt x="184" y="271"/>
                  </a:lnTo>
                  <a:lnTo>
                    <a:pt x="184" y="275"/>
                  </a:lnTo>
                  <a:lnTo>
                    <a:pt x="188" y="275"/>
                  </a:lnTo>
                  <a:lnTo>
                    <a:pt x="188" y="279"/>
                  </a:lnTo>
                  <a:lnTo>
                    <a:pt x="184" y="279"/>
                  </a:lnTo>
                  <a:lnTo>
                    <a:pt x="184" y="283"/>
                  </a:lnTo>
                  <a:lnTo>
                    <a:pt x="184" y="287"/>
                  </a:lnTo>
                  <a:lnTo>
                    <a:pt x="184" y="295"/>
                  </a:lnTo>
                  <a:lnTo>
                    <a:pt x="188" y="295"/>
                  </a:lnTo>
                  <a:lnTo>
                    <a:pt x="192" y="299"/>
                  </a:lnTo>
                  <a:lnTo>
                    <a:pt x="188" y="299"/>
                  </a:lnTo>
                  <a:lnTo>
                    <a:pt x="188" y="303"/>
                  </a:lnTo>
                  <a:lnTo>
                    <a:pt x="188" y="307"/>
                  </a:lnTo>
                  <a:lnTo>
                    <a:pt x="184" y="307"/>
                  </a:lnTo>
                  <a:lnTo>
                    <a:pt x="184" y="311"/>
                  </a:lnTo>
                  <a:lnTo>
                    <a:pt x="180" y="311"/>
                  </a:lnTo>
                  <a:lnTo>
                    <a:pt x="180" y="315"/>
                  </a:lnTo>
                  <a:lnTo>
                    <a:pt x="180" y="31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0" name="Freeform 178"/>
            <p:cNvSpPr>
              <a:spLocks/>
            </p:cNvSpPr>
            <p:nvPr>
              <p:custDataLst>
                <p:tags r:id="rId373"/>
              </p:custDataLst>
            </p:nvPr>
          </p:nvSpPr>
          <p:spPr bwMode="gray">
            <a:xfrm>
              <a:off x="3073931" y="4432818"/>
              <a:ext cx="88984" cy="112713"/>
            </a:xfrm>
            <a:custGeom>
              <a:avLst/>
              <a:gdLst/>
              <a:ahLst/>
              <a:cxnLst>
                <a:cxn ang="0">
                  <a:pos x="44" y="4"/>
                </a:cxn>
                <a:cxn ang="0">
                  <a:pos x="44" y="4"/>
                </a:cxn>
                <a:cxn ang="0">
                  <a:pos x="44" y="0"/>
                </a:cxn>
                <a:cxn ang="0">
                  <a:pos x="48" y="0"/>
                </a:cxn>
                <a:cxn ang="0">
                  <a:pos x="56" y="4"/>
                </a:cxn>
                <a:cxn ang="0">
                  <a:pos x="60" y="4"/>
                </a:cxn>
                <a:cxn ang="0">
                  <a:pos x="60" y="8"/>
                </a:cxn>
                <a:cxn ang="0">
                  <a:pos x="56" y="12"/>
                </a:cxn>
                <a:cxn ang="0">
                  <a:pos x="56" y="12"/>
                </a:cxn>
                <a:cxn ang="0">
                  <a:pos x="56" y="16"/>
                </a:cxn>
                <a:cxn ang="0">
                  <a:pos x="52" y="24"/>
                </a:cxn>
                <a:cxn ang="0">
                  <a:pos x="52" y="28"/>
                </a:cxn>
                <a:cxn ang="0">
                  <a:pos x="52" y="28"/>
                </a:cxn>
                <a:cxn ang="0">
                  <a:pos x="56" y="36"/>
                </a:cxn>
                <a:cxn ang="0">
                  <a:pos x="60" y="44"/>
                </a:cxn>
                <a:cxn ang="0">
                  <a:pos x="60" y="48"/>
                </a:cxn>
                <a:cxn ang="0">
                  <a:pos x="56" y="52"/>
                </a:cxn>
                <a:cxn ang="0">
                  <a:pos x="56" y="60"/>
                </a:cxn>
                <a:cxn ang="0">
                  <a:pos x="56" y="60"/>
                </a:cxn>
                <a:cxn ang="0">
                  <a:pos x="52" y="64"/>
                </a:cxn>
                <a:cxn ang="0">
                  <a:pos x="48" y="68"/>
                </a:cxn>
                <a:cxn ang="0">
                  <a:pos x="48" y="64"/>
                </a:cxn>
                <a:cxn ang="0">
                  <a:pos x="48" y="64"/>
                </a:cxn>
                <a:cxn ang="0">
                  <a:pos x="36" y="64"/>
                </a:cxn>
                <a:cxn ang="0">
                  <a:pos x="32" y="64"/>
                </a:cxn>
                <a:cxn ang="0">
                  <a:pos x="28" y="64"/>
                </a:cxn>
                <a:cxn ang="0">
                  <a:pos x="32" y="72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20" y="72"/>
                </a:cxn>
                <a:cxn ang="0">
                  <a:pos x="16" y="64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2" y="48"/>
                </a:cxn>
                <a:cxn ang="0">
                  <a:pos x="4" y="48"/>
                </a:cxn>
                <a:cxn ang="0">
                  <a:pos x="4" y="44"/>
                </a:cxn>
                <a:cxn ang="0">
                  <a:pos x="4" y="44"/>
                </a:cxn>
                <a:cxn ang="0">
                  <a:pos x="0" y="40"/>
                </a:cxn>
                <a:cxn ang="0">
                  <a:pos x="0" y="40"/>
                </a:cxn>
                <a:cxn ang="0">
                  <a:pos x="0" y="32"/>
                </a:cxn>
                <a:cxn ang="0">
                  <a:pos x="0" y="32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0"/>
                </a:cxn>
                <a:cxn ang="0">
                  <a:pos x="8" y="20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20" y="0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32" y="4"/>
                </a:cxn>
                <a:cxn ang="0">
                  <a:pos x="32" y="0"/>
                </a:cxn>
                <a:cxn ang="0">
                  <a:pos x="40" y="0"/>
                </a:cxn>
                <a:cxn ang="0">
                  <a:pos x="40" y="0"/>
                </a:cxn>
                <a:cxn ang="0">
                  <a:pos x="44" y="4"/>
                </a:cxn>
              </a:cxnLst>
              <a:rect l="0" t="0" r="r" b="b"/>
              <a:pathLst>
                <a:path w="60" h="76">
                  <a:moveTo>
                    <a:pt x="44" y="4"/>
                  </a:move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2" y="64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36" y="64"/>
                  </a:lnTo>
                  <a:lnTo>
                    <a:pt x="36" y="68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1" name="Freeform 179"/>
            <p:cNvSpPr>
              <a:spLocks/>
            </p:cNvSpPr>
            <p:nvPr>
              <p:custDataLst>
                <p:tags r:id="rId374"/>
              </p:custDataLst>
            </p:nvPr>
          </p:nvSpPr>
          <p:spPr bwMode="gray">
            <a:xfrm>
              <a:off x="3062066" y="5432403"/>
              <a:ext cx="124577" cy="142374"/>
            </a:xfrm>
            <a:custGeom>
              <a:avLst/>
              <a:gdLst/>
              <a:ahLst/>
              <a:cxnLst>
                <a:cxn ang="0">
                  <a:pos x="4" y="64"/>
                </a:cxn>
                <a:cxn ang="0">
                  <a:pos x="4" y="60"/>
                </a:cxn>
                <a:cxn ang="0">
                  <a:pos x="4" y="60"/>
                </a:cxn>
                <a:cxn ang="0">
                  <a:pos x="8" y="52"/>
                </a:cxn>
                <a:cxn ang="0">
                  <a:pos x="4" y="52"/>
                </a:cxn>
                <a:cxn ang="0">
                  <a:pos x="4" y="44"/>
                </a:cxn>
                <a:cxn ang="0">
                  <a:pos x="4" y="44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8" y="28"/>
                </a:cxn>
                <a:cxn ang="0">
                  <a:pos x="8" y="24"/>
                </a:cxn>
                <a:cxn ang="0">
                  <a:pos x="8" y="16"/>
                </a:cxn>
                <a:cxn ang="0">
                  <a:pos x="12" y="12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4"/>
                </a:cxn>
                <a:cxn ang="0">
                  <a:pos x="36" y="8"/>
                </a:cxn>
                <a:cxn ang="0">
                  <a:pos x="40" y="16"/>
                </a:cxn>
                <a:cxn ang="0">
                  <a:pos x="40" y="16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52" y="24"/>
                </a:cxn>
                <a:cxn ang="0">
                  <a:pos x="56" y="24"/>
                </a:cxn>
                <a:cxn ang="0">
                  <a:pos x="56" y="24"/>
                </a:cxn>
                <a:cxn ang="0">
                  <a:pos x="64" y="32"/>
                </a:cxn>
                <a:cxn ang="0">
                  <a:pos x="68" y="32"/>
                </a:cxn>
                <a:cxn ang="0">
                  <a:pos x="72" y="40"/>
                </a:cxn>
                <a:cxn ang="0">
                  <a:pos x="76" y="44"/>
                </a:cxn>
                <a:cxn ang="0">
                  <a:pos x="80" y="48"/>
                </a:cxn>
                <a:cxn ang="0">
                  <a:pos x="80" y="52"/>
                </a:cxn>
                <a:cxn ang="0">
                  <a:pos x="76" y="56"/>
                </a:cxn>
                <a:cxn ang="0">
                  <a:pos x="76" y="60"/>
                </a:cxn>
                <a:cxn ang="0">
                  <a:pos x="76" y="64"/>
                </a:cxn>
                <a:cxn ang="0">
                  <a:pos x="76" y="68"/>
                </a:cxn>
                <a:cxn ang="0">
                  <a:pos x="76" y="72"/>
                </a:cxn>
                <a:cxn ang="0">
                  <a:pos x="76" y="72"/>
                </a:cxn>
                <a:cxn ang="0">
                  <a:pos x="76" y="76"/>
                </a:cxn>
                <a:cxn ang="0">
                  <a:pos x="72" y="84"/>
                </a:cxn>
                <a:cxn ang="0">
                  <a:pos x="68" y="88"/>
                </a:cxn>
                <a:cxn ang="0">
                  <a:pos x="64" y="88"/>
                </a:cxn>
                <a:cxn ang="0">
                  <a:pos x="64" y="88"/>
                </a:cxn>
                <a:cxn ang="0">
                  <a:pos x="56" y="92"/>
                </a:cxn>
                <a:cxn ang="0">
                  <a:pos x="52" y="92"/>
                </a:cxn>
                <a:cxn ang="0">
                  <a:pos x="48" y="96"/>
                </a:cxn>
                <a:cxn ang="0">
                  <a:pos x="48" y="92"/>
                </a:cxn>
                <a:cxn ang="0">
                  <a:pos x="40" y="92"/>
                </a:cxn>
                <a:cxn ang="0">
                  <a:pos x="36" y="92"/>
                </a:cxn>
                <a:cxn ang="0">
                  <a:pos x="32" y="92"/>
                </a:cxn>
                <a:cxn ang="0">
                  <a:pos x="24" y="88"/>
                </a:cxn>
                <a:cxn ang="0">
                  <a:pos x="16" y="84"/>
                </a:cxn>
                <a:cxn ang="0">
                  <a:pos x="8" y="84"/>
                </a:cxn>
                <a:cxn ang="0">
                  <a:pos x="4" y="80"/>
                </a:cxn>
                <a:cxn ang="0">
                  <a:pos x="4" y="76"/>
                </a:cxn>
                <a:cxn ang="0">
                  <a:pos x="0" y="68"/>
                </a:cxn>
                <a:cxn ang="0">
                  <a:pos x="0" y="64"/>
                </a:cxn>
              </a:cxnLst>
              <a:rect l="0" t="0" r="r" b="b"/>
              <a:pathLst>
                <a:path w="84" h="96">
                  <a:moveTo>
                    <a:pt x="0" y="64"/>
                  </a:move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72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4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8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6"/>
                  </a:lnTo>
                  <a:lnTo>
                    <a:pt x="32" y="96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28" y="92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0" y="76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2" name="Freeform 180"/>
            <p:cNvSpPr>
              <a:spLocks noEditPoints="1"/>
            </p:cNvSpPr>
            <p:nvPr>
              <p:custDataLst>
                <p:tags r:id="rId375"/>
              </p:custDataLst>
            </p:nvPr>
          </p:nvSpPr>
          <p:spPr bwMode="gray">
            <a:xfrm>
              <a:off x="2731343" y="4260782"/>
              <a:ext cx="301061" cy="320342"/>
            </a:xfrm>
            <a:custGeom>
              <a:avLst/>
              <a:gdLst/>
              <a:ahLst/>
              <a:cxnLst>
                <a:cxn ang="0">
                  <a:pos x="116" y="40"/>
                </a:cxn>
                <a:cxn ang="0">
                  <a:pos x="135" y="32"/>
                </a:cxn>
                <a:cxn ang="0">
                  <a:pos x="135" y="32"/>
                </a:cxn>
                <a:cxn ang="0">
                  <a:pos x="159" y="28"/>
                </a:cxn>
                <a:cxn ang="0">
                  <a:pos x="163" y="32"/>
                </a:cxn>
                <a:cxn ang="0">
                  <a:pos x="159" y="36"/>
                </a:cxn>
                <a:cxn ang="0">
                  <a:pos x="163" y="44"/>
                </a:cxn>
                <a:cxn ang="0">
                  <a:pos x="167" y="44"/>
                </a:cxn>
                <a:cxn ang="0">
                  <a:pos x="171" y="44"/>
                </a:cxn>
                <a:cxn ang="0">
                  <a:pos x="183" y="48"/>
                </a:cxn>
                <a:cxn ang="0">
                  <a:pos x="183" y="60"/>
                </a:cxn>
                <a:cxn ang="0">
                  <a:pos x="179" y="72"/>
                </a:cxn>
                <a:cxn ang="0">
                  <a:pos x="203" y="72"/>
                </a:cxn>
                <a:cxn ang="0">
                  <a:pos x="191" y="88"/>
                </a:cxn>
                <a:cxn ang="0">
                  <a:pos x="191" y="100"/>
                </a:cxn>
                <a:cxn ang="0">
                  <a:pos x="183" y="112"/>
                </a:cxn>
                <a:cxn ang="0">
                  <a:pos x="191" y="136"/>
                </a:cxn>
                <a:cxn ang="0">
                  <a:pos x="179" y="148"/>
                </a:cxn>
                <a:cxn ang="0">
                  <a:pos x="163" y="152"/>
                </a:cxn>
                <a:cxn ang="0">
                  <a:pos x="151" y="152"/>
                </a:cxn>
                <a:cxn ang="0">
                  <a:pos x="139" y="156"/>
                </a:cxn>
                <a:cxn ang="0">
                  <a:pos x="127" y="148"/>
                </a:cxn>
                <a:cxn ang="0">
                  <a:pos x="135" y="164"/>
                </a:cxn>
                <a:cxn ang="0">
                  <a:pos x="143" y="180"/>
                </a:cxn>
                <a:cxn ang="0">
                  <a:pos x="143" y="188"/>
                </a:cxn>
                <a:cxn ang="0">
                  <a:pos x="127" y="204"/>
                </a:cxn>
                <a:cxn ang="0">
                  <a:pos x="116" y="216"/>
                </a:cxn>
                <a:cxn ang="0">
                  <a:pos x="104" y="212"/>
                </a:cxn>
                <a:cxn ang="0">
                  <a:pos x="92" y="184"/>
                </a:cxn>
                <a:cxn ang="0">
                  <a:pos x="88" y="164"/>
                </a:cxn>
                <a:cxn ang="0">
                  <a:pos x="84" y="152"/>
                </a:cxn>
                <a:cxn ang="0">
                  <a:pos x="84" y="128"/>
                </a:cxn>
                <a:cxn ang="0">
                  <a:pos x="80" y="112"/>
                </a:cxn>
                <a:cxn ang="0">
                  <a:pos x="60" y="112"/>
                </a:cxn>
                <a:cxn ang="0">
                  <a:pos x="44" y="96"/>
                </a:cxn>
                <a:cxn ang="0">
                  <a:pos x="28" y="96"/>
                </a:cxn>
                <a:cxn ang="0">
                  <a:pos x="12" y="88"/>
                </a:cxn>
                <a:cxn ang="0">
                  <a:pos x="12" y="72"/>
                </a:cxn>
                <a:cxn ang="0">
                  <a:pos x="0" y="56"/>
                </a:cxn>
                <a:cxn ang="0">
                  <a:pos x="4" y="36"/>
                </a:cxn>
                <a:cxn ang="0">
                  <a:pos x="16" y="20"/>
                </a:cxn>
                <a:cxn ang="0">
                  <a:pos x="28" y="12"/>
                </a:cxn>
                <a:cxn ang="0">
                  <a:pos x="24" y="24"/>
                </a:cxn>
                <a:cxn ang="0">
                  <a:pos x="16" y="44"/>
                </a:cxn>
                <a:cxn ang="0">
                  <a:pos x="24" y="60"/>
                </a:cxn>
                <a:cxn ang="0">
                  <a:pos x="32" y="40"/>
                </a:cxn>
                <a:cxn ang="0">
                  <a:pos x="28" y="24"/>
                </a:cxn>
                <a:cxn ang="0">
                  <a:pos x="44" y="16"/>
                </a:cxn>
                <a:cxn ang="0">
                  <a:pos x="48" y="12"/>
                </a:cxn>
                <a:cxn ang="0">
                  <a:pos x="52" y="8"/>
                </a:cxn>
                <a:cxn ang="0">
                  <a:pos x="68" y="16"/>
                </a:cxn>
                <a:cxn ang="0">
                  <a:pos x="84" y="32"/>
                </a:cxn>
                <a:cxn ang="0">
                  <a:pos x="183" y="64"/>
                </a:cxn>
                <a:cxn ang="0">
                  <a:pos x="187" y="64"/>
                </a:cxn>
                <a:cxn ang="0">
                  <a:pos x="187" y="64"/>
                </a:cxn>
                <a:cxn ang="0">
                  <a:pos x="183" y="68"/>
                </a:cxn>
                <a:cxn ang="0">
                  <a:pos x="175" y="68"/>
                </a:cxn>
                <a:cxn ang="0">
                  <a:pos x="139" y="28"/>
                </a:cxn>
                <a:cxn ang="0">
                  <a:pos x="143" y="24"/>
                </a:cxn>
                <a:cxn ang="0">
                  <a:pos x="120" y="28"/>
                </a:cxn>
              </a:cxnLst>
              <a:rect l="0" t="0" r="r" b="b"/>
              <a:pathLst>
                <a:path w="203" h="216">
                  <a:moveTo>
                    <a:pt x="104" y="32"/>
                  </a:moveTo>
                  <a:lnTo>
                    <a:pt x="108" y="32"/>
                  </a:lnTo>
                  <a:lnTo>
                    <a:pt x="108" y="36"/>
                  </a:lnTo>
                  <a:lnTo>
                    <a:pt x="112" y="36"/>
                  </a:lnTo>
                  <a:lnTo>
                    <a:pt x="112" y="40"/>
                  </a:lnTo>
                  <a:lnTo>
                    <a:pt x="116" y="40"/>
                  </a:lnTo>
                  <a:lnTo>
                    <a:pt x="120" y="40"/>
                  </a:lnTo>
                  <a:lnTo>
                    <a:pt x="123" y="40"/>
                  </a:lnTo>
                  <a:lnTo>
                    <a:pt x="127" y="40"/>
                  </a:lnTo>
                  <a:lnTo>
                    <a:pt x="131" y="36"/>
                  </a:lnTo>
                  <a:lnTo>
                    <a:pt x="135" y="36"/>
                  </a:lnTo>
                  <a:lnTo>
                    <a:pt x="135" y="32"/>
                  </a:lnTo>
                  <a:lnTo>
                    <a:pt x="139" y="32"/>
                  </a:lnTo>
                  <a:lnTo>
                    <a:pt x="139" y="36"/>
                  </a:lnTo>
                  <a:lnTo>
                    <a:pt x="143" y="36"/>
                  </a:lnTo>
                  <a:lnTo>
                    <a:pt x="143" y="32"/>
                  </a:lnTo>
                  <a:lnTo>
                    <a:pt x="139" y="32"/>
                  </a:lnTo>
                  <a:lnTo>
                    <a:pt x="135" y="32"/>
                  </a:lnTo>
                  <a:lnTo>
                    <a:pt x="139" y="32"/>
                  </a:lnTo>
                  <a:lnTo>
                    <a:pt x="143" y="32"/>
                  </a:lnTo>
                  <a:lnTo>
                    <a:pt x="147" y="32"/>
                  </a:lnTo>
                  <a:lnTo>
                    <a:pt x="151" y="28"/>
                  </a:lnTo>
                  <a:lnTo>
                    <a:pt x="155" y="28"/>
                  </a:lnTo>
                  <a:lnTo>
                    <a:pt x="159" y="28"/>
                  </a:lnTo>
                  <a:lnTo>
                    <a:pt x="163" y="28"/>
                  </a:lnTo>
                  <a:lnTo>
                    <a:pt x="167" y="28"/>
                  </a:lnTo>
                  <a:lnTo>
                    <a:pt x="171" y="28"/>
                  </a:lnTo>
                  <a:lnTo>
                    <a:pt x="171" y="32"/>
                  </a:lnTo>
                  <a:lnTo>
                    <a:pt x="167" y="32"/>
                  </a:lnTo>
                  <a:lnTo>
                    <a:pt x="163" y="32"/>
                  </a:lnTo>
                  <a:lnTo>
                    <a:pt x="159" y="32"/>
                  </a:lnTo>
                  <a:lnTo>
                    <a:pt x="155" y="32"/>
                  </a:lnTo>
                  <a:lnTo>
                    <a:pt x="159" y="32"/>
                  </a:lnTo>
                  <a:lnTo>
                    <a:pt x="159" y="36"/>
                  </a:lnTo>
                  <a:lnTo>
                    <a:pt x="155" y="36"/>
                  </a:lnTo>
                  <a:lnTo>
                    <a:pt x="159" y="36"/>
                  </a:lnTo>
                  <a:lnTo>
                    <a:pt x="159" y="40"/>
                  </a:lnTo>
                  <a:lnTo>
                    <a:pt x="155" y="40"/>
                  </a:lnTo>
                  <a:lnTo>
                    <a:pt x="159" y="44"/>
                  </a:lnTo>
                  <a:lnTo>
                    <a:pt x="159" y="40"/>
                  </a:lnTo>
                  <a:lnTo>
                    <a:pt x="163" y="40"/>
                  </a:lnTo>
                  <a:lnTo>
                    <a:pt x="163" y="44"/>
                  </a:lnTo>
                  <a:lnTo>
                    <a:pt x="167" y="48"/>
                  </a:lnTo>
                  <a:lnTo>
                    <a:pt x="163" y="48"/>
                  </a:lnTo>
                  <a:lnTo>
                    <a:pt x="167" y="48"/>
                  </a:lnTo>
                  <a:lnTo>
                    <a:pt x="167" y="44"/>
                  </a:lnTo>
                  <a:lnTo>
                    <a:pt x="167" y="48"/>
                  </a:lnTo>
                  <a:lnTo>
                    <a:pt x="167" y="44"/>
                  </a:lnTo>
                  <a:lnTo>
                    <a:pt x="171" y="44"/>
                  </a:lnTo>
                  <a:lnTo>
                    <a:pt x="167" y="44"/>
                  </a:lnTo>
                  <a:lnTo>
                    <a:pt x="171" y="44"/>
                  </a:lnTo>
                  <a:lnTo>
                    <a:pt x="171" y="48"/>
                  </a:lnTo>
                  <a:lnTo>
                    <a:pt x="175" y="48"/>
                  </a:lnTo>
                  <a:lnTo>
                    <a:pt x="171" y="44"/>
                  </a:lnTo>
                  <a:lnTo>
                    <a:pt x="175" y="44"/>
                  </a:lnTo>
                  <a:lnTo>
                    <a:pt x="175" y="48"/>
                  </a:lnTo>
                  <a:lnTo>
                    <a:pt x="175" y="44"/>
                  </a:lnTo>
                  <a:lnTo>
                    <a:pt x="179" y="44"/>
                  </a:lnTo>
                  <a:lnTo>
                    <a:pt x="179" y="48"/>
                  </a:lnTo>
                  <a:lnTo>
                    <a:pt x="183" y="48"/>
                  </a:lnTo>
                  <a:lnTo>
                    <a:pt x="183" y="52"/>
                  </a:lnTo>
                  <a:lnTo>
                    <a:pt x="187" y="52"/>
                  </a:lnTo>
                  <a:lnTo>
                    <a:pt x="187" y="56"/>
                  </a:lnTo>
                  <a:lnTo>
                    <a:pt x="183" y="60"/>
                  </a:lnTo>
                  <a:lnTo>
                    <a:pt x="187" y="56"/>
                  </a:lnTo>
                  <a:lnTo>
                    <a:pt x="183" y="60"/>
                  </a:lnTo>
                  <a:lnTo>
                    <a:pt x="183" y="64"/>
                  </a:lnTo>
                  <a:lnTo>
                    <a:pt x="183" y="68"/>
                  </a:lnTo>
                  <a:lnTo>
                    <a:pt x="179" y="68"/>
                  </a:lnTo>
                  <a:lnTo>
                    <a:pt x="175" y="68"/>
                  </a:lnTo>
                  <a:lnTo>
                    <a:pt x="179" y="68"/>
                  </a:lnTo>
                  <a:lnTo>
                    <a:pt x="179" y="72"/>
                  </a:lnTo>
                  <a:lnTo>
                    <a:pt x="183" y="72"/>
                  </a:lnTo>
                  <a:lnTo>
                    <a:pt x="187" y="68"/>
                  </a:lnTo>
                  <a:lnTo>
                    <a:pt x="191" y="68"/>
                  </a:lnTo>
                  <a:lnTo>
                    <a:pt x="195" y="68"/>
                  </a:lnTo>
                  <a:lnTo>
                    <a:pt x="199" y="68"/>
                  </a:lnTo>
                  <a:lnTo>
                    <a:pt x="203" y="72"/>
                  </a:lnTo>
                  <a:lnTo>
                    <a:pt x="203" y="76"/>
                  </a:lnTo>
                  <a:lnTo>
                    <a:pt x="199" y="76"/>
                  </a:lnTo>
                  <a:lnTo>
                    <a:pt x="199" y="80"/>
                  </a:lnTo>
                  <a:lnTo>
                    <a:pt x="195" y="80"/>
                  </a:lnTo>
                  <a:lnTo>
                    <a:pt x="191" y="84"/>
                  </a:lnTo>
                  <a:lnTo>
                    <a:pt x="191" y="88"/>
                  </a:lnTo>
                  <a:lnTo>
                    <a:pt x="191" y="92"/>
                  </a:lnTo>
                  <a:lnTo>
                    <a:pt x="191" y="96"/>
                  </a:lnTo>
                  <a:lnTo>
                    <a:pt x="195" y="92"/>
                  </a:lnTo>
                  <a:lnTo>
                    <a:pt x="195" y="96"/>
                  </a:lnTo>
                  <a:lnTo>
                    <a:pt x="195" y="100"/>
                  </a:lnTo>
                  <a:lnTo>
                    <a:pt x="191" y="100"/>
                  </a:lnTo>
                  <a:lnTo>
                    <a:pt x="191" y="104"/>
                  </a:lnTo>
                  <a:lnTo>
                    <a:pt x="187" y="100"/>
                  </a:lnTo>
                  <a:lnTo>
                    <a:pt x="187" y="104"/>
                  </a:lnTo>
                  <a:lnTo>
                    <a:pt x="183" y="104"/>
                  </a:lnTo>
                  <a:lnTo>
                    <a:pt x="183" y="108"/>
                  </a:lnTo>
                  <a:lnTo>
                    <a:pt x="183" y="112"/>
                  </a:lnTo>
                  <a:lnTo>
                    <a:pt x="179" y="116"/>
                  </a:lnTo>
                  <a:lnTo>
                    <a:pt x="183" y="124"/>
                  </a:lnTo>
                  <a:lnTo>
                    <a:pt x="187" y="128"/>
                  </a:lnTo>
                  <a:lnTo>
                    <a:pt x="187" y="132"/>
                  </a:lnTo>
                  <a:lnTo>
                    <a:pt x="191" y="132"/>
                  </a:lnTo>
                  <a:lnTo>
                    <a:pt x="191" y="136"/>
                  </a:lnTo>
                  <a:lnTo>
                    <a:pt x="191" y="140"/>
                  </a:lnTo>
                  <a:lnTo>
                    <a:pt x="187" y="140"/>
                  </a:lnTo>
                  <a:lnTo>
                    <a:pt x="187" y="144"/>
                  </a:lnTo>
                  <a:lnTo>
                    <a:pt x="183" y="144"/>
                  </a:lnTo>
                  <a:lnTo>
                    <a:pt x="179" y="144"/>
                  </a:lnTo>
                  <a:lnTo>
                    <a:pt x="179" y="148"/>
                  </a:lnTo>
                  <a:lnTo>
                    <a:pt x="175" y="148"/>
                  </a:lnTo>
                  <a:lnTo>
                    <a:pt x="171" y="148"/>
                  </a:lnTo>
                  <a:lnTo>
                    <a:pt x="167" y="152"/>
                  </a:lnTo>
                  <a:lnTo>
                    <a:pt x="167" y="148"/>
                  </a:lnTo>
                  <a:lnTo>
                    <a:pt x="163" y="148"/>
                  </a:lnTo>
                  <a:lnTo>
                    <a:pt x="163" y="152"/>
                  </a:lnTo>
                  <a:lnTo>
                    <a:pt x="159" y="152"/>
                  </a:lnTo>
                  <a:lnTo>
                    <a:pt x="159" y="156"/>
                  </a:lnTo>
                  <a:lnTo>
                    <a:pt x="159" y="160"/>
                  </a:lnTo>
                  <a:lnTo>
                    <a:pt x="155" y="160"/>
                  </a:lnTo>
                  <a:lnTo>
                    <a:pt x="151" y="156"/>
                  </a:lnTo>
                  <a:lnTo>
                    <a:pt x="151" y="152"/>
                  </a:lnTo>
                  <a:lnTo>
                    <a:pt x="147" y="152"/>
                  </a:lnTo>
                  <a:lnTo>
                    <a:pt x="147" y="156"/>
                  </a:lnTo>
                  <a:lnTo>
                    <a:pt x="147" y="152"/>
                  </a:lnTo>
                  <a:lnTo>
                    <a:pt x="143" y="152"/>
                  </a:lnTo>
                  <a:lnTo>
                    <a:pt x="139" y="152"/>
                  </a:lnTo>
                  <a:lnTo>
                    <a:pt x="139" y="156"/>
                  </a:lnTo>
                  <a:lnTo>
                    <a:pt x="139" y="152"/>
                  </a:lnTo>
                  <a:lnTo>
                    <a:pt x="135" y="152"/>
                  </a:lnTo>
                  <a:lnTo>
                    <a:pt x="135" y="148"/>
                  </a:lnTo>
                  <a:lnTo>
                    <a:pt x="131" y="152"/>
                  </a:lnTo>
                  <a:lnTo>
                    <a:pt x="131" y="148"/>
                  </a:lnTo>
                  <a:lnTo>
                    <a:pt x="127" y="148"/>
                  </a:lnTo>
                  <a:lnTo>
                    <a:pt x="127" y="152"/>
                  </a:lnTo>
                  <a:lnTo>
                    <a:pt x="131" y="152"/>
                  </a:lnTo>
                  <a:lnTo>
                    <a:pt x="131" y="156"/>
                  </a:lnTo>
                  <a:lnTo>
                    <a:pt x="135" y="156"/>
                  </a:lnTo>
                  <a:lnTo>
                    <a:pt x="135" y="160"/>
                  </a:lnTo>
                  <a:lnTo>
                    <a:pt x="135" y="164"/>
                  </a:lnTo>
                  <a:lnTo>
                    <a:pt x="135" y="168"/>
                  </a:lnTo>
                  <a:lnTo>
                    <a:pt x="139" y="168"/>
                  </a:lnTo>
                  <a:lnTo>
                    <a:pt x="139" y="172"/>
                  </a:lnTo>
                  <a:lnTo>
                    <a:pt x="139" y="176"/>
                  </a:lnTo>
                  <a:lnTo>
                    <a:pt x="139" y="180"/>
                  </a:lnTo>
                  <a:lnTo>
                    <a:pt x="143" y="180"/>
                  </a:lnTo>
                  <a:lnTo>
                    <a:pt x="147" y="180"/>
                  </a:lnTo>
                  <a:lnTo>
                    <a:pt x="151" y="180"/>
                  </a:lnTo>
                  <a:lnTo>
                    <a:pt x="151" y="184"/>
                  </a:lnTo>
                  <a:lnTo>
                    <a:pt x="147" y="184"/>
                  </a:lnTo>
                  <a:lnTo>
                    <a:pt x="147" y="188"/>
                  </a:lnTo>
                  <a:lnTo>
                    <a:pt x="143" y="188"/>
                  </a:lnTo>
                  <a:lnTo>
                    <a:pt x="139" y="188"/>
                  </a:lnTo>
                  <a:lnTo>
                    <a:pt x="139" y="192"/>
                  </a:lnTo>
                  <a:lnTo>
                    <a:pt x="139" y="196"/>
                  </a:lnTo>
                  <a:lnTo>
                    <a:pt x="135" y="200"/>
                  </a:lnTo>
                  <a:lnTo>
                    <a:pt x="131" y="200"/>
                  </a:lnTo>
                  <a:lnTo>
                    <a:pt x="127" y="204"/>
                  </a:lnTo>
                  <a:lnTo>
                    <a:pt x="123" y="204"/>
                  </a:lnTo>
                  <a:lnTo>
                    <a:pt x="123" y="208"/>
                  </a:lnTo>
                  <a:lnTo>
                    <a:pt x="120" y="208"/>
                  </a:lnTo>
                  <a:lnTo>
                    <a:pt x="120" y="212"/>
                  </a:lnTo>
                  <a:lnTo>
                    <a:pt x="116" y="212"/>
                  </a:lnTo>
                  <a:lnTo>
                    <a:pt x="116" y="216"/>
                  </a:lnTo>
                  <a:lnTo>
                    <a:pt x="116" y="212"/>
                  </a:lnTo>
                  <a:lnTo>
                    <a:pt x="116" y="208"/>
                  </a:lnTo>
                  <a:lnTo>
                    <a:pt x="112" y="208"/>
                  </a:lnTo>
                  <a:lnTo>
                    <a:pt x="112" y="212"/>
                  </a:lnTo>
                  <a:lnTo>
                    <a:pt x="108" y="212"/>
                  </a:lnTo>
                  <a:lnTo>
                    <a:pt x="104" y="212"/>
                  </a:lnTo>
                  <a:lnTo>
                    <a:pt x="100" y="204"/>
                  </a:lnTo>
                  <a:lnTo>
                    <a:pt x="96" y="204"/>
                  </a:lnTo>
                  <a:lnTo>
                    <a:pt x="96" y="200"/>
                  </a:lnTo>
                  <a:lnTo>
                    <a:pt x="96" y="196"/>
                  </a:lnTo>
                  <a:lnTo>
                    <a:pt x="92" y="188"/>
                  </a:lnTo>
                  <a:lnTo>
                    <a:pt x="92" y="184"/>
                  </a:lnTo>
                  <a:lnTo>
                    <a:pt x="92" y="180"/>
                  </a:lnTo>
                  <a:lnTo>
                    <a:pt x="88" y="176"/>
                  </a:lnTo>
                  <a:lnTo>
                    <a:pt x="84" y="176"/>
                  </a:lnTo>
                  <a:lnTo>
                    <a:pt x="84" y="172"/>
                  </a:lnTo>
                  <a:lnTo>
                    <a:pt x="88" y="168"/>
                  </a:lnTo>
                  <a:lnTo>
                    <a:pt x="88" y="164"/>
                  </a:lnTo>
                  <a:lnTo>
                    <a:pt x="92" y="164"/>
                  </a:lnTo>
                  <a:lnTo>
                    <a:pt x="88" y="164"/>
                  </a:lnTo>
                  <a:lnTo>
                    <a:pt x="88" y="160"/>
                  </a:lnTo>
                  <a:lnTo>
                    <a:pt x="88" y="156"/>
                  </a:lnTo>
                  <a:lnTo>
                    <a:pt x="84" y="156"/>
                  </a:lnTo>
                  <a:lnTo>
                    <a:pt x="84" y="152"/>
                  </a:lnTo>
                  <a:lnTo>
                    <a:pt x="84" y="148"/>
                  </a:lnTo>
                  <a:lnTo>
                    <a:pt x="80" y="144"/>
                  </a:lnTo>
                  <a:lnTo>
                    <a:pt x="84" y="140"/>
                  </a:lnTo>
                  <a:lnTo>
                    <a:pt x="84" y="136"/>
                  </a:lnTo>
                  <a:lnTo>
                    <a:pt x="84" y="132"/>
                  </a:lnTo>
                  <a:lnTo>
                    <a:pt x="84" y="128"/>
                  </a:lnTo>
                  <a:lnTo>
                    <a:pt x="84" y="124"/>
                  </a:lnTo>
                  <a:lnTo>
                    <a:pt x="84" y="120"/>
                  </a:lnTo>
                  <a:lnTo>
                    <a:pt x="88" y="116"/>
                  </a:lnTo>
                  <a:lnTo>
                    <a:pt x="88" y="112"/>
                  </a:lnTo>
                  <a:lnTo>
                    <a:pt x="84" y="112"/>
                  </a:lnTo>
                  <a:lnTo>
                    <a:pt x="80" y="112"/>
                  </a:lnTo>
                  <a:lnTo>
                    <a:pt x="76" y="112"/>
                  </a:lnTo>
                  <a:lnTo>
                    <a:pt x="72" y="112"/>
                  </a:lnTo>
                  <a:lnTo>
                    <a:pt x="68" y="112"/>
                  </a:lnTo>
                  <a:lnTo>
                    <a:pt x="64" y="112"/>
                  </a:lnTo>
                  <a:lnTo>
                    <a:pt x="60" y="116"/>
                  </a:lnTo>
                  <a:lnTo>
                    <a:pt x="60" y="112"/>
                  </a:lnTo>
                  <a:lnTo>
                    <a:pt x="52" y="108"/>
                  </a:lnTo>
                  <a:lnTo>
                    <a:pt x="48" y="100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44" y="100"/>
                  </a:lnTo>
                  <a:lnTo>
                    <a:pt x="44" y="96"/>
                  </a:lnTo>
                  <a:lnTo>
                    <a:pt x="40" y="96"/>
                  </a:lnTo>
                  <a:lnTo>
                    <a:pt x="36" y="96"/>
                  </a:lnTo>
                  <a:lnTo>
                    <a:pt x="32" y="96"/>
                  </a:lnTo>
                  <a:lnTo>
                    <a:pt x="32" y="100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20" y="40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20" y="48"/>
                  </a:lnTo>
                  <a:lnTo>
                    <a:pt x="20" y="52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4" y="60"/>
                  </a:lnTo>
                  <a:lnTo>
                    <a:pt x="28" y="60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60" y="12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72" y="20"/>
                  </a:lnTo>
                  <a:lnTo>
                    <a:pt x="76" y="24"/>
                  </a:lnTo>
                  <a:lnTo>
                    <a:pt x="76" y="28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4" y="32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104" y="32"/>
                  </a:lnTo>
                  <a:close/>
                  <a:moveTo>
                    <a:pt x="187" y="60"/>
                  </a:moveTo>
                  <a:lnTo>
                    <a:pt x="183" y="64"/>
                  </a:lnTo>
                  <a:lnTo>
                    <a:pt x="183" y="60"/>
                  </a:lnTo>
                  <a:lnTo>
                    <a:pt x="187" y="60"/>
                  </a:lnTo>
                  <a:close/>
                  <a:moveTo>
                    <a:pt x="187" y="64"/>
                  </a:moveTo>
                  <a:lnTo>
                    <a:pt x="183" y="64"/>
                  </a:lnTo>
                  <a:lnTo>
                    <a:pt x="187" y="60"/>
                  </a:lnTo>
                  <a:lnTo>
                    <a:pt x="187" y="64"/>
                  </a:lnTo>
                  <a:close/>
                  <a:moveTo>
                    <a:pt x="183" y="68"/>
                  </a:moveTo>
                  <a:lnTo>
                    <a:pt x="183" y="64"/>
                  </a:lnTo>
                  <a:lnTo>
                    <a:pt x="187" y="64"/>
                  </a:lnTo>
                  <a:lnTo>
                    <a:pt x="183" y="68"/>
                  </a:lnTo>
                  <a:close/>
                  <a:moveTo>
                    <a:pt x="187" y="68"/>
                  </a:moveTo>
                  <a:lnTo>
                    <a:pt x="187" y="64"/>
                  </a:lnTo>
                  <a:lnTo>
                    <a:pt x="187" y="68"/>
                  </a:lnTo>
                  <a:close/>
                  <a:moveTo>
                    <a:pt x="183" y="68"/>
                  </a:moveTo>
                  <a:lnTo>
                    <a:pt x="187" y="64"/>
                  </a:lnTo>
                  <a:lnTo>
                    <a:pt x="187" y="68"/>
                  </a:lnTo>
                  <a:lnTo>
                    <a:pt x="183" y="68"/>
                  </a:lnTo>
                  <a:close/>
                  <a:moveTo>
                    <a:pt x="183" y="68"/>
                  </a:moveTo>
                  <a:lnTo>
                    <a:pt x="187" y="68"/>
                  </a:lnTo>
                  <a:lnTo>
                    <a:pt x="183" y="68"/>
                  </a:lnTo>
                  <a:close/>
                  <a:moveTo>
                    <a:pt x="183" y="72"/>
                  </a:moveTo>
                  <a:lnTo>
                    <a:pt x="179" y="72"/>
                  </a:lnTo>
                  <a:lnTo>
                    <a:pt x="179" y="68"/>
                  </a:lnTo>
                  <a:lnTo>
                    <a:pt x="175" y="68"/>
                  </a:lnTo>
                  <a:lnTo>
                    <a:pt x="179" y="68"/>
                  </a:lnTo>
                  <a:lnTo>
                    <a:pt x="183" y="68"/>
                  </a:lnTo>
                  <a:lnTo>
                    <a:pt x="179" y="68"/>
                  </a:lnTo>
                  <a:lnTo>
                    <a:pt x="183" y="68"/>
                  </a:lnTo>
                  <a:lnTo>
                    <a:pt x="183" y="72"/>
                  </a:lnTo>
                  <a:close/>
                  <a:moveTo>
                    <a:pt x="139" y="28"/>
                  </a:moveTo>
                  <a:lnTo>
                    <a:pt x="139" y="24"/>
                  </a:lnTo>
                  <a:lnTo>
                    <a:pt x="135" y="24"/>
                  </a:lnTo>
                  <a:lnTo>
                    <a:pt x="139" y="24"/>
                  </a:lnTo>
                  <a:lnTo>
                    <a:pt x="139" y="20"/>
                  </a:lnTo>
                  <a:lnTo>
                    <a:pt x="143" y="20"/>
                  </a:lnTo>
                  <a:lnTo>
                    <a:pt x="143" y="24"/>
                  </a:lnTo>
                  <a:lnTo>
                    <a:pt x="139" y="24"/>
                  </a:lnTo>
                  <a:lnTo>
                    <a:pt x="139" y="28"/>
                  </a:lnTo>
                  <a:close/>
                  <a:moveTo>
                    <a:pt x="120" y="28"/>
                  </a:moveTo>
                  <a:lnTo>
                    <a:pt x="120" y="24"/>
                  </a:lnTo>
                  <a:lnTo>
                    <a:pt x="123" y="24"/>
                  </a:lnTo>
                  <a:lnTo>
                    <a:pt x="120" y="28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3" name="Freeform 181"/>
            <p:cNvSpPr>
              <a:spLocks noEditPoints="1"/>
            </p:cNvSpPr>
            <p:nvPr>
              <p:custDataLst>
                <p:tags r:id="rId376"/>
              </p:custDataLst>
            </p:nvPr>
          </p:nvSpPr>
          <p:spPr bwMode="gray">
            <a:xfrm>
              <a:off x="6907651" y="4870321"/>
              <a:ext cx="1035179" cy="1331791"/>
            </a:xfrm>
            <a:custGeom>
              <a:avLst/>
              <a:gdLst/>
              <a:ahLst/>
              <a:cxnLst>
                <a:cxn ang="0">
                  <a:pos x="610" y="304"/>
                </a:cxn>
                <a:cxn ang="0">
                  <a:pos x="614" y="375"/>
                </a:cxn>
                <a:cxn ang="0">
                  <a:pos x="582" y="447"/>
                </a:cxn>
                <a:cxn ang="0">
                  <a:pos x="566" y="503"/>
                </a:cxn>
                <a:cxn ang="0">
                  <a:pos x="522" y="539"/>
                </a:cxn>
                <a:cxn ang="0">
                  <a:pos x="490" y="543"/>
                </a:cxn>
                <a:cxn ang="0">
                  <a:pos x="455" y="547"/>
                </a:cxn>
                <a:cxn ang="0">
                  <a:pos x="407" y="519"/>
                </a:cxn>
                <a:cxn ang="0">
                  <a:pos x="399" y="483"/>
                </a:cxn>
                <a:cxn ang="0">
                  <a:pos x="379" y="479"/>
                </a:cxn>
                <a:cxn ang="0">
                  <a:pos x="383" y="435"/>
                </a:cxn>
                <a:cxn ang="0">
                  <a:pos x="351" y="467"/>
                </a:cxn>
                <a:cxn ang="0">
                  <a:pos x="335" y="443"/>
                </a:cxn>
                <a:cxn ang="0">
                  <a:pos x="291" y="415"/>
                </a:cxn>
                <a:cxn ang="0">
                  <a:pos x="219" y="419"/>
                </a:cxn>
                <a:cxn ang="0">
                  <a:pos x="163" y="451"/>
                </a:cxn>
                <a:cxn ang="0">
                  <a:pos x="112" y="455"/>
                </a:cxn>
                <a:cxn ang="0">
                  <a:pos x="72" y="475"/>
                </a:cxn>
                <a:cxn ang="0">
                  <a:pos x="36" y="447"/>
                </a:cxn>
                <a:cxn ang="0">
                  <a:pos x="36" y="387"/>
                </a:cxn>
                <a:cxn ang="0">
                  <a:pos x="16" y="315"/>
                </a:cxn>
                <a:cxn ang="0">
                  <a:pos x="12" y="292"/>
                </a:cxn>
                <a:cxn ang="0">
                  <a:pos x="8" y="268"/>
                </a:cxn>
                <a:cxn ang="0">
                  <a:pos x="24" y="232"/>
                </a:cxn>
                <a:cxn ang="0">
                  <a:pos x="72" y="196"/>
                </a:cxn>
                <a:cxn ang="0">
                  <a:pos x="135" y="156"/>
                </a:cxn>
                <a:cxn ang="0">
                  <a:pos x="159" y="132"/>
                </a:cxn>
                <a:cxn ang="0">
                  <a:pos x="171" y="112"/>
                </a:cxn>
                <a:cxn ang="0">
                  <a:pos x="187" y="96"/>
                </a:cxn>
                <a:cxn ang="0">
                  <a:pos x="195" y="84"/>
                </a:cxn>
                <a:cxn ang="0">
                  <a:pos x="227" y="76"/>
                </a:cxn>
                <a:cxn ang="0">
                  <a:pos x="247" y="92"/>
                </a:cxn>
                <a:cxn ang="0">
                  <a:pos x="259" y="64"/>
                </a:cxn>
                <a:cxn ang="0">
                  <a:pos x="287" y="40"/>
                </a:cxn>
                <a:cxn ang="0">
                  <a:pos x="295" y="24"/>
                </a:cxn>
                <a:cxn ang="0">
                  <a:pos x="335" y="40"/>
                </a:cxn>
                <a:cxn ang="0">
                  <a:pos x="363" y="36"/>
                </a:cxn>
                <a:cxn ang="0">
                  <a:pos x="343" y="92"/>
                </a:cxn>
                <a:cxn ang="0">
                  <a:pos x="399" y="124"/>
                </a:cxn>
                <a:cxn ang="0">
                  <a:pos x="435" y="112"/>
                </a:cxn>
                <a:cxn ang="0">
                  <a:pos x="439" y="52"/>
                </a:cxn>
                <a:cxn ang="0">
                  <a:pos x="455" y="20"/>
                </a:cxn>
                <a:cxn ang="0">
                  <a:pos x="479" y="76"/>
                </a:cxn>
                <a:cxn ang="0">
                  <a:pos x="502" y="132"/>
                </a:cxn>
                <a:cxn ang="0">
                  <a:pos x="530" y="180"/>
                </a:cxn>
                <a:cxn ang="0">
                  <a:pos x="554" y="216"/>
                </a:cxn>
                <a:cxn ang="0">
                  <a:pos x="574" y="244"/>
                </a:cxn>
                <a:cxn ang="0">
                  <a:pos x="614" y="276"/>
                </a:cxn>
                <a:cxn ang="0">
                  <a:pos x="403" y="128"/>
                </a:cxn>
                <a:cxn ang="0">
                  <a:pos x="443" y="8"/>
                </a:cxn>
                <a:cxn ang="0">
                  <a:pos x="275" y="20"/>
                </a:cxn>
                <a:cxn ang="0">
                  <a:pos x="271" y="32"/>
                </a:cxn>
                <a:cxn ang="0">
                  <a:pos x="355" y="68"/>
                </a:cxn>
                <a:cxn ang="0">
                  <a:pos x="582" y="252"/>
                </a:cxn>
                <a:cxn ang="0">
                  <a:pos x="614" y="323"/>
                </a:cxn>
                <a:cxn ang="0">
                  <a:pos x="490" y="543"/>
                </a:cxn>
                <a:cxn ang="0">
                  <a:pos x="514" y="651"/>
                </a:cxn>
                <a:cxn ang="0">
                  <a:pos x="490" y="623"/>
                </a:cxn>
                <a:cxn ang="0">
                  <a:pos x="518" y="599"/>
                </a:cxn>
                <a:cxn ang="0">
                  <a:pos x="534" y="631"/>
                </a:cxn>
                <a:cxn ang="0">
                  <a:pos x="522" y="643"/>
                </a:cxn>
              </a:cxnLst>
              <a:rect l="0" t="0" r="r" b="b"/>
              <a:pathLst>
                <a:path w="698" h="898">
                  <a:moveTo>
                    <a:pt x="586" y="260"/>
                  </a:moveTo>
                  <a:lnTo>
                    <a:pt x="586" y="264"/>
                  </a:lnTo>
                  <a:lnTo>
                    <a:pt x="586" y="260"/>
                  </a:lnTo>
                  <a:lnTo>
                    <a:pt x="590" y="260"/>
                  </a:lnTo>
                  <a:lnTo>
                    <a:pt x="590" y="264"/>
                  </a:lnTo>
                  <a:lnTo>
                    <a:pt x="594" y="264"/>
                  </a:lnTo>
                  <a:lnTo>
                    <a:pt x="594" y="268"/>
                  </a:lnTo>
                  <a:lnTo>
                    <a:pt x="594" y="272"/>
                  </a:lnTo>
                  <a:lnTo>
                    <a:pt x="598" y="272"/>
                  </a:lnTo>
                  <a:lnTo>
                    <a:pt x="598" y="276"/>
                  </a:lnTo>
                  <a:lnTo>
                    <a:pt x="602" y="276"/>
                  </a:lnTo>
                  <a:lnTo>
                    <a:pt x="602" y="280"/>
                  </a:lnTo>
                  <a:lnTo>
                    <a:pt x="602" y="284"/>
                  </a:lnTo>
                  <a:lnTo>
                    <a:pt x="606" y="284"/>
                  </a:lnTo>
                  <a:lnTo>
                    <a:pt x="606" y="288"/>
                  </a:lnTo>
                  <a:lnTo>
                    <a:pt x="606" y="292"/>
                  </a:lnTo>
                  <a:lnTo>
                    <a:pt x="606" y="296"/>
                  </a:lnTo>
                  <a:lnTo>
                    <a:pt x="610" y="296"/>
                  </a:lnTo>
                  <a:lnTo>
                    <a:pt x="610" y="300"/>
                  </a:lnTo>
                  <a:lnTo>
                    <a:pt x="610" y="304"/>
                  </a:lnTo>
                  <a:lnTo>
                    <a:pt x="610" y="307"/>
                  </a:lnTo>
                  <a:lnTo>
                    <a:pt x="610" y="311"/>
                  </a:lnTo>
                  <a:lnTo>
                    <a:pt x="610" y="315"/>
                  </a:lnTo>
                  <a:lnTo>
                    <a:pt x="610" y="319"/>
                  </a:lnTo>
                  <a:lnTo>
                    <a:pt x="610" y="323"/>
                  </a:lnTo>
                  <a:lnTo>
                    <a:pt x="614" y="327"/>
                  </a:lnTo>
                  <a:lnTo>
                    <a:pt x="614" y="331"/>
                  </a:lnTo>
                  <a:lnTo>
                    <a:pt x="614" y="335"/>
                  </a:lnTo>
                  <a:lnTo>
                    <a:pt x="614" y="339"/>
                  </a:lnTo>
                  <a:lnTo>
                    <a:pt x="618" y="339"/>
                  </a:lnTo>
                  <a:lnTo>
                    <a:pt x="618" y="343"/>
                  </a:lnTo>
                  <a:lnTo>
                    <a:pt x="618" y="347"/>
                  </a:lnTo>
                  <a:lnTo>
                    <a:pt x="618" y="351"/>
                  </a:lnTo>
                  <a:lnTo>
                    <a:pt x="618" y="355"/>
                  </a:lnTo>
                  <a:lnTo>
                    <a:pt x="614" y="355"/>
                  </a:lnTo>
                  <a:lnTo>
                    <a:pt x="614" y="359"/>
                  </a:lnTo>
                  <a:lnTo>
                    <a:pt x="614" y="363"/>
                  </a:lnTo>
                  <a:lnTo>
                    <a:pt x="614" y="367"/>
                  </a:lnTo>
                  <a:lnTo>
                    <a:pt x="614" y="371"/>
                  </a:lnTo>
                  <a:lnTo>
                    <a:pt x="614" y="375"/>
                  </a:lnTo>
                  <a:lnTo>
                    <a:pt x="610" y="379"/>
                  </a:lnTo>
                  <a:lnTo>
                    <a:pt x="610" y="387"/>
                  </a:lnTo>
                  <a:lnTo>
                    <a:pt x="610" y="391"/>
                  </a:lnTo>
                  <a:lnTo>
                    <a:pt x="610" y="395"/>
                  </a:lnTo>
                  <a:lnTo>
                    <a:pt x="610" y="399"/>
                  </a:lnTo>
                  <a:lnTo>
                    <a:pt x="606" y="403"/>
                  </a:lnTo>
                  <a:lnTo>
                    <a:pt x="606" y="407"/>
                  </a:lnTo>
                  <a:lnTo>
                    <a:pt x="606" y="411"/>
                  </a:lnTo>
                  <a:lnTo>
                    <a:pt x="602" y="411"/>
                  </a:lnTo>
                  <a:lnTo>
                    <a:pt x="602" y="415"/>
                  </a:lnTo>
                  <a:lnTo>
                    <a:pt x="602" y="419"/>
                  </a:lnTo>
                  <a:lnTo>
                    <a:pt x="602" y="423"/>
                  </a:lnTo>
                  <a:lnTo>
                    <a:pt x="598" y="427"/>
                  </a:lnTo>
                  <a:lnTo>
                    <a:pt x="594" y="427"/>
                  </a:lnTo>
                  <a:lnTo>
                    <a:pt x="594" y="431"/>
                  </a:lnTo>
                  <a:lnTo>
                    <a:pt x="590" y="431"/>
                  </a:lnTo>
                  <a:lnTo>
                    <a:pt x="590" y="435"/>
                  </a:lnTo>
                  <a:lnTo>
                    <a:pt x="586" y="439"/>
                  </a:lnTo>
                  <a:lnTo>
                    <a:pt x="586" y="443"/>
                  </a:lnTo>
                  <a:lnTo>
                    <a:pt x="582" y="447"/>
                  </a:lnTo>
                  <a:lnTo>
                    <a:pt x="582" y="451"/>
                  </a:lnTo>
                  <a:lnTo>
                    <a:pt x="582" y="455"/>
                  </a:lnTo>
                  <a:lnTo>
                    <a:pt x="578" y="455"/>
                  </a:lnTo>
                  <a:lnTo>
                    <a:pt x="582" y="455"/>
                  </a:lnTo>
                  <a:lnTo>
                    <a:pt x="578" y="459"/>
                  </a:lnTo>
                  <a:lnTo>
                    <a:pt x="578" y="463"/>
                  </a:lnTo>
                  <a:lnTo>
                    <a:pt x="574" y="467"/>
                  </a:lnTo>
                  <a:lnTo>
                    <a:pt x="578" y="467"/>
                  </a:lnTo>
                  <a:lnTo>
                    <a:pt x="574" y="471"/>
                  </a:lnTo>
                  <a:lnTo>
                    <a:pt x="574" y="475"/>
                  </a:lnTo>
                  <a:lnTo>
                    <a:pt x="574" y="479"/>
                  </a:lnTo>
                  <a:lnTo>
                    <a:pt x="574" y="475"/>
                  </a:lnTo>
                  <a:lnTo>
                    <a:pt x="574" y="479"/>
                  </a:lnTo>
                  <a:lnTo>
                    <a:pt x="570" y="479"/>
                  </a:lnTo>
                  <a:lnTo>
                    <a:pt x="570" y="483"/>
                  </a:lnTo>
                  <a:lnTo>
                    <a:pt x="570" y="487"/>
                  </a:lnTo>
                  <a:lnTo>
                    <a:pt x="566" y="491"/>
                  </a:lnTo>
                  <a:lnTo>
                    <a:pt x="566" y="495"/>
                  </a:lnTo>
                  <a:lnTo>
                    <a:pt x="566" y="499"/>
                  </a:lnTo>
                  <a:lnTo>
                    <a:pt x="566" y="503"/>
                  </a:lnTo>
                  <a:lnTo>
                    <a:pt x="562" y="503"/>
                  </a:lnTo>
                  <a:lnTo>
                    <a:pt x="562" y="507"/>
                  </a:lnTo>
                  <a:lnTo>
                    <a:pt x="562" y="511"/>
                  </a:lnTo>
                  <a:lnTo>
                    <a:pt x="562" y="515"/>
                  </a:lnTo>
                  <a:lnTo>
                    <a:pt x="562" y="519"/>
                  </a:lnTo>
                  <a:lnTo>
                    <a:pt x="562" y="523"/>
                  </a:lnTo>
                  <a:lnTo>
                    <a:pt x="562" y="527"/>
                  </a:lnTo>
                  <a:lnTo>
                    <a:pt x="558" y="527"/>
                  </a:lnTo>
                  <a:lnTo>
                    <a:pt x="558" y="531"/>
                  </a:lnTo>
                  <a:lnTo>
                    <a:pt x="554" y="531"/>
                  </a:lnTo>
                  <a:lnTo>
                    <a:pt x="550" y="531"/>
                  </a:lnTo>
                  <a:lnTo>
                    <a:pt x="546" y="531"/>
                  </a:lnTo>
                  <a:lnTo>
                    <a:pt x="542" y="531"/>
                  </a:lnTo>
                  <a:lnTo>
                    <a:pt x="538" y="531"/>
                  </a:lnTo>
                  <a:lnTo>
                    <a:pt x="534" y="531"/>
                  </a:lnTo>
                  <a:lnTo>
                    <a:pt x="534" y="535"/>
                  </a:lnTo>
                  <a:lnTo>
                    <a:pt x="530" y="535"/>
                  </a:lnTo>
                  <a:lnTo>
                    <a:pt x="526" y="535"/>
                  </a:lnTo>
                  <a:lnTo>
                    <a:pt x="526" y="539"/>
                  </a:lnTo>
                  <a:lnTo>
                    <a:pt x="522" y="539"/>
                  </a:lnTo>
                  <a:lnTo>
                    <a:pt x="522" y="543"/>
                  </a:lnTo>
                  <a:lnTo>
                    <a:pt x="518" y="547"/>
                  </a:lnTo>
                  <a:lnTo>
                    <a:pt x="514" y="551"/>
                  </a:lnTo>
                  <a:lnTo>
                    <a:pt x="510" y="551"/>
                  </a:lnTo>
                  <a:lnTo>
                    <a:pt x="506" y="551"/>
                  </a:lnTo>
                  <a:lnTo>
                    <a:pt x="506" y="555"/>
                  </a:lnTo>
                  <a:lnTo>
                    <a:pt x="510" y="555"/>
                  </a:lnTo>
                  <a:lnTo>
                    <a:pt x="510" y="551"/>
                  </a:lnTo>
                  <a:lnTo>
                    <a:pt x="510" y="559"/>
                  </a:lnTo>
                  <a:lnTo>
                    <a:pt x="506" y="559"/>
                  </a:lnTo>
                  <a:lnTo>
                    <a:pt x="506" y="555"/>
                  </a:lnTo>
                  <a:lnTo>
                    <a:pt x="502" y="551"/>
                  </a:lnTo>
                  <a:lnTo>
                    <a:pt x="502" y="555"/>
                  </a:lnTo>
                  <a:lnTo>
                    <a:pt x="498" y="551"/>
                  </a:lnTo>
                  <a:lnTo>
                    <a:pt x="494" y="551"/>
                  </a:lnTo>
                  <a:lnTo>
                    <a:pt x="494" y="547"/>
                  </a:lnTo>
                  <a:lnTo>
                    <a:pt x="494" y="543"/>
                  </a:lnTo>
                  <a:lnTo>
                    <a:pt x="494" y="539"/>
                  </a:lnTo>
                  <a:lnTo>
                    <a:pt x="490" y="539"/>
                  </a:lnTo>
                  <a:lnTo>
                    <a:pt x="490" y="543"/>
                  </a:lnTo>
                  <a:lnTo>
                    <a:pt x="486" y="547"/>
                  </a:lnTo>
                  <a:lnTo>
                    <a:pt x="483" y="543"/>
                  </a:lnTo>
                  <a:lnTo>
                    <a:pt x="486" y="543"/>
                  </a:lnTo>
                  <a:lnTo>
                    <a:pt x="490" y="539"/>
                  </a:lnTo>
                  <a:lnTo>
                    <a:pt x="490" y="535"/>
                  </a:lnTo>
                  <a:lnTo>
                    <a:pt x="486" y="535"/>
                  </a:lnTo>
                  <a:lnTo>
                    <a:pt x="483" y="535"/>
                  </a:lnTo>
                  <a:lnTo>
                    <a:pt x="479" y="539"/>
                  </a:lnTo>
                  <a:lnTo>
                    <a:pt x="483" y="539"/>
                  </a:lnTo>
                  <a:lnTo>
                    <a:pt x="483" y="543"/>
                  </a:lnTo>
                  <a:lnTo>
                    <a:pt x="479" y="543"/>
                  </a:lnTo>
                  <a:lnTo>
                    <a:pt x="475" y="547"/>
                  </a:lnTo>
                  <a:lnTo>
                    <a:pt x="471" y="547"/>
                  </a:lnTo>
                  <a:lnTo>
                    <a:pt x="471" y="551"/>
                  </a:lnTo>
                  <a:lnTo>
                    <a:pt x="467" y="551"/>
                  </a:lnTo>
                  <a:lnTo>
                    <a:pt x="467" y="555"/>
                  </a:lnTo>
                  <a:lnTo>
                    <a:pt x="463" y="551"/>
                  </a:lnTo>
                  <a:lnTo>
                    <a:pt x="459" y="551"/>
                  </a:lnTo>
                  <a:lnTo>
                    <a:pt x="459" y="547"/>
                  </a:lnTo>
                  <a:lnTo>
                    <a:pt x="455" y="547"/>
                  </a:lnTo>
                  <a:lnTo>
                    <a:pt x="451" y="547"/>
                  </a:lnTo>
                  <a:lnTo>
                    <a:pt x="451" y="543"/>
                  </a:lnTo>
                  <a:lnTo>
                    <a:pt x="447" y="543"/>
                  </a:lnTo>
                  <a:lnTo>
                    <a:pt x="443" y="543"/>
                  </a:lnTo>
                  <a:lnTo>
                    <a:pt x="439" y="543"/>
                  </a:lnTo>
                  <a:lnTo>
                    <a:pt x="435" y="543"/>
                  </a:lnTo>
                  <a:lnTo>
                    <a:pt x="439" y="543"/>
                  </a:lnTo>
                  <a:lnTo>
                    <a:pt x="435" y="543"/>
                  </a:lnTo>
                  <a:lnTo>
                    <a:pt x="431" y="543"/>
                  </a:lnTo>
                  <a:lnTo>
                    <a:pt x="431" y="539"/>
                  </a:lnTo>
                  <a:lnTo>
                    <a:pt x="427" y="539"/>
                  </a:lnTo>
                  <a:lnTo>
                    <a:pt x="423" y="539"/>
                  </a:lnTo>
                  <a:lnTo>
                    <a:pt x="423" y="535"/>
                  </a:lnTo>
                  <a:lnTo>
                    <a:pt x="419" y="535"/>
                  </a:lnTo>
                  <a:lnTo>
                    <a:pt x="419" y="531"/>
                  </a:lnTo>
                  <a:lnTo>
                    <a:pt x="415" y="531"/>
                  </a:lnTo>
                  <a:lnTo>
                    <a:pt x="415" y="527"/>
                  </a:lnTo>
                  <a:lnTo>
                    <a:pt x="411" y="527"/>
                  </a:lnTo>
                  <a:lnTo>
                    <a:pt x="411" y="523"/>
                  </a:lnTo>
                  <a:lnTo>
                    <a:pt x="407" y="519"/>
                  </a:lnTo>
                  <a:lnTo>
                    <a:pt x="407" y="515"/>
                  </a:lnTo>
                  <a:lnTo>
                    <a:pt x="411" y="511"/>
                  </a:lnTo>
                  <a:lnTo>
                    <a:pt x="411" y="507"/>
                  </a:lnTo>
                  <a:lnTo>
                    <a:pt x="407" y="499"/>
                  </a:lnTo>
                  <a:lnTo>
                    <a:pt x="403" y="495"/>
                  </a:lnTo>
                  <a:lnTo>
                    <a:pt x="403" y="491"/>
                  </a:lnTo>
                  <a:lnTo>
                    <a:pt x="399" y="491"/>
                  </a:lnTo>
                  <a:lnTo>
                    <a:pt x="399" y="487"/>
                  </a:lnTo>
                  <a:lnTo>
                    <a:pt x="399" y="491"/>
                  </a:lnTo>
                  <a:lnTo>
                    <a:pt x="403" y="491"/>
                  </a:lnTo>
                  <a:lnTo>
                    <a:pt x="403" y="495"/>
                  </a:lnTo>
                  <a:lnTo>
                    <a:pt x="407" y="499"/>
                  </a:lnTo>
                  <a:lnTo>
                    <a:pt x="407" y="495"/>
                  </a:lnTo>
                  <a:lnTo>
                    <a:pt x="403" y="495"/>
                  </a:lnTo>
                  <a:lnTo>
                    <a:pt x="403" y="491"/>
                  </a:lnTo>
                  <a:lnTo>
                    <a:pt x="399" y="487"/>
                  </a:lnTo>
                  <a:lnTo>
                    <a:pt x="399" y="491"/>
                  </a:lnTo>
                  <a:lnTo>
                    <a:pt x="403" y="487"/>
                  </a:lnTo>
                  <a:lnTo>
                    <a:pt x="403" y="483"/>
                  </a:lnTo>
                  <a:lnTo>
                    <a:pt x="399" y="483"/>
                  </a:lnTo>
                  <a:lnTo>
                    <a:pt x="395" y="483"/>
                  </a:lnTo>
                  <a:lnTo>
                    <a:pt x="399" y="483"/>
                  </a:lnTo>
                  <a:lnTo>
                    <a:pt x="399" y="487"/>
                  </a:lnTo>
                  <a:lnTo>
                    <a:pt x="395" y="487"/>
                  </a:lnTo>
                  <a:lnTo>
                    <a:pt x="391" y="487"/>
                  </a:lnTo>
                  <a:lnTo>
                    <a:pt x="383" y="487"/>
                  </a:lnTo>
                  <a:lnTo>
                    <a:pt x="387" y="487"/>
                  </a:lnTo>
                  <a:lnTo>
                    <a:pt x="387" y="483"/>
                  </a:lnTo>
                  <a:lnTo>
                    <a:pt x="387" y="479"/>
                  </a:lnTo>
                  <a:lnTo>
                    <a:pt x="391" y="475"/>
                  </a:lnTo>
                  <a:lnTo>
                    <a:pt x="391" y="471"/>
                  </a:lnTo>
                  <a:lnTo>
                    <a:pt x="387" y="467"/>
                  </a:lnTo>
                  <a:lnTo>
                    <a:pt x="387" y="463"/>
                  </a:lnTo>
                  <a:lnTo>
                    <a:pt x="383" y="459"/>
                  </a:lnTo>
                  <a:lnTo>
                    <a:pt x="383" y="463"/>
                  </a:lnTo>
                  <a:lnTo>
                    <a:pt x="379" y="463"/>
                  </a:lnTo>
                  <a:lnTo>
                    <a:pt x="379" y="467"/>
                  </a:lnTo>
                  <a:lnTo>
                    <a:pt x="379" y="471"/>
                  </a:lnTo>
                  <a:lnTo>
                    <a:pt x="379" y="475"/>
                  </a:lnTo>
                  <a:lnTo>
                    <a:pt x="379" y="479"/>
                  </a:lnTo>
                  <a:lnTo>
                    <a:pt x="375" y="479"/>
                  </a:lnTo>
                  <a:lnTo>
                    <a:pt x="371" y="479"/>
                  </a:lnTo>
                  <a:lnTo>
                    <a:pt x="367" y="479"/>
                  </a:lnTo>
                  <a:lnTo>
                    <a:pt x="363" y="483"/>
                  </a:lnTo>
                  <a:lnTo>
                    <a:pt x="363" y="479"/>
                  </a:lnTo>
                  <a:lnTo>
                    <a:pt x="367" y="479"/>
                  </a:lnTo>
                  <a:lnTo>
                    <a:pt x="367" y="475"/>
                  </a:lnTo>
                  <a:lnTo>
                    <a:pt x="371" y="475"/>
                  </a:lnTo>
                  <a:lnTo>
                    <a:pt x="375" y="475"/>
                  </a:lnTo>
                  <a:lnTo>
                    <a:pt x="375" y="471"/>
                  </a:lnTo>
                  <a:lnTo>
                    <a:pt x="375" y="467"/>
                  </a:lnTo>
                  <a:lnTo>
                    <a:pt x="375" y="463"/>
                  </a:lnTo>
                  <a:lnTo>
                    <a:pt x="375" y="459"/>
                  </a:lnTo>
                  <a:lnTo>
                    <a:pt x="375" y="455"/>
                  </a:lnTo>
                  <a:lnTo>
                    <a:pt x="375" y="451"/>
                  </a:lnTo>
                  <a:lnTo>
                    <a:pt x="379" y="447"/>
                  </a:lnTo>
                  <a:lnTo>
                    <a:pt x="379" y="443"/>
                  </a:lnTo>
                  <a:lnTo>
                    <a:pt x="379" y="439"/>
                  </a:lnTo>
                  <a:lnTo>
                    <a:pt x="383" y="439"/>
                  </a:lnTo>
                  <a:lnTo>
                    <a:pt x="383" y="435"/>
                  </a:lnTo>
                  <a:lnTo>
                    <a:pt x="379" y="431"/>
                  </a:lnTo>
                  <a:lnTo>
                    <a:pt x="379" y="427"/>
                  </a:lnTo>
                  <a:lnTo>
                    <a:pt x="379" y="431"/>
                  </a:lnTo>
                  <a:lnTo>
                    <a:pt x="379" y="435"/>
                  </a:lnTo>
                  <a:lnTo>
                    <a:pt x="375" y="435"/>
                  </a:lnTo>
                  <a:lnTo>
                    <a:pt x="375" y="439"/>
                  </a:lnTo>
                  <a:lnTo>
                    <a:pt x="371" y="439"/>
                  </a:lnTo>
                  <a:lnTo>
                    <a:pt x="371" y="443"/>
                  </a:lnTo>
                  <a:lnTo>
                    <a:pt x="371" y="447"/>
                  </a:lnTo>
                  <a:lnTo>
                    <a:pt x="367" y="451"/>
                  </a:lnTo>
                  <a:lnTo>
                    <a:pt x="367" y="447"/>
                  </a:lnTo>
                  <a:lnTo>
                    <a:pt x="363" y="451"/>
                  </a:lnTo>
                  <a:lnTo>
                    <a:pt x="367" y="451"/>
                  </a:lnTo>
                  <a:lnTo>
                    <a:pt x="363" y="451"/>
                  </a:lnTo>
                  <a:lnTo>
                    <a:pt x="359" y="455"/>
                  </a:lnTo>
                  <a:lnTo>
                    <a:pt x="355" y="455"/>
                  </a:lnTo>
                  <a:lnTo>
                    <a:pt x="355" y="459"/>
                  </a:lnTo>
                  <a:lnTo>
                    <a:pt x="355" y="463"/>
                  </a:lnTo>
                  <a:lnTo>
                    <a:pt x="351" y="463"/>
                  </a:lnTo>
                  <a:lnTo>
                    <a:pt x="351" y="467"/>
                  </a:lnTo>
                  <a:lnTo>
                    <a:pt x="347" y="471"/>
                  </a:lnTo>
                  <a:lnTo>
                    <a:pt x="351" y="471"/>
                  </a:lnTo>
                  <a:lnTo>
                    <a:pt x="351" y="475"/>
                  </a:lnTo>
                  <a:lnTo>
                    <a:pt x="351" y="471"/>
                  </a:lnTo>
                  <a:lnTo>
                    <a:pt x="347" y="471"/>
                  </a:lnTo>
                  <a:lnTo>
                    <a:pt x="347" y="475"/>
                  </a:lnTo>
                  <a:lnTo>
                    <a:pt x="347" y="471"/>
                  </a:lnTo>
                  <a:lnTo>
                    <a:pt x="343" y="471"/>
                  </a:lnTo>
                  <a:lnTo>
                    <a:pt x="343" y="467"/>
                  </a:lnTo>
                  <a:lnTo>
                    <a:pt x="339" y="467"/>
                  </a:lnTo>
                  <a:lnTo>
                    <a:pt x="339" y="463"/>
                  </a:lnTo>
                  <a:lnTo>
                    <a:pt x="343" y="467"/>
                  </a:lnTo>
                  <a:lnTo>
                    <a:pt x="343" y="463"/>
                  </a:lnTo>
                  <a:lnTo>
                    <a:pt x="343" y="459"/>
                  </a:lnTo>
                  <a:lnTo>
                    <a:pt x="339" y="459"/>
                  </a:lnTo>
                  <a:lnTo>
                    <a:pt x="339" y="455"/>
                  </a:lnTo>
                  <a:lnTo>
                    <a:pt x="339" y="451"/>
                  </a:lnTo>
                  <a:lnTo>
                    <a:pt x="335" y="451"/>
                  </a:lnTo>
                  <a:lnTo>
                    <a:pt x="335" y="447"/>
                  </a:lnTo>
                  <a:lnTo>
                    <a:pt x="335" y="443"/>
                  </a:lnTo>
                  <a:lnTo>
                    <a:pt x="331" y="439"/>
                  </a:lnTo>
                  <a:lnTo>
                    <a:pt x="327" y="439"/>
                  </a:lnTo>
                  <a:lnTo>
                    <a:pt x="323" y="435"/>
                  </a:lnTo>
                  <a:lnTo>
                    <a:pt x="323" y="431"/>
                  </a:lnTo>
                  <a:lnTo>
                    <a:pt x="327" y="431"/>
                  </a:lnTo>
                  <a:lnTo>
                    <a:pt x="327" y="427"/>
                  </a:lnTo>
                  <a:lnTo>
                    <a:pt x="323" y="427"/>
                  </a:lnTo>
                  <a:lnTo>
                    <a:pt x="323" y="423"/>
                  </a:lnTo>
                  <a:lnTo>
                    <a:pt x="319" y="423"/>
                  </a:lnTo>
                  <a:lnTo>
                    <a:pt x="319" y="427"/>
                  </a:lnTo>
                  <a:lnTo>
                    <a:pt x="319" y="423"/>
                  </a:lnTo>
                  <a:lnTo>
                    <a:pt x="319" y="419"/>
                  </a:lnTo>
                  <a:lnTo>
                    <a:pt x="315" y="419"/>
                  </a:lnTo>
                  <a:lnTo>
                    <a:pt x="311" y="419"/>
                  </a:lnTo>
                  <a:lnTo>
                    <a:pt x="307" y="419"/>
                  </a:lnTo>
                  <a:lnTo>
                    <a:pt x="307" y="415"/>
                  </a:lnTo>
                  <a:lnTo>
                    <a:pt x="303" y="415"/>
                  </a:lnTo>
                  <a:lnTo>
                    <a:pt x="299" y="415"/>
                  </a:lnTo>
                  <a:lnTo>
                    <a:pt x="295" y="415"/>
                  </a:lnTo>
                  <a:lnTo>
                    <a:pt x="291" y="415"/>
                  </a:lnTo>
                  <a:lnTo>
                    <a:pt x="291" y="411"/>
                  </a:lnTo>
                  <a:lnTo>
                    <a:pt x="287" y="411"/>
                  </a:lnTo>
                  <a:lnTo>
                    <a:pt x="287" y="407"/>
                  </a:lnTo>
                  <a:lnTo>
                    <a:pt x="283" y="407"/>
                  </a:lnTo>
                  <a:lnTo>
                    <a:pt x="279" y="407"/>
                  </a:lnTo>
                  <a:lnTo>
                    <a:pt x="279" y="403"/>
                  </a:lnTo>
                  <a:lnTo>
                    <a:pt x="275" y="407"/>
                  </a:lnTo>
                  <a:lnTo>
                    <a:pt x="271" y="407"/>
                  </a:lnTo>
                  <a:lnTo>
                    <a:pt x="263" y="407"/>
                  </a:lnTo>
                  <a:lnTo>
                    <a:pt x="259" y="407"/>
                  </a:lnTo>
                  <a:lnTo>
                    <a:pt x="255" y="407"/>
                  </a:lnTo>
                  <a:lnTo>
                    <a:pt x="251" y="407"/>
                  </a:lnTo>
                  <a:lnTo>
                    <a:pt x="247" y="407"/>
                  </a:lnTo>
                  <a:lnTo>
                    <a:pt x="243" y="411"/>
                  </a:lnTo>
                  <a:lnTo>
                    <a:pt x="239" y="411"/>
                  </a:lnTo>
                  <a:lnTo>
                    <a:pt x="231" y="415"/>
                  </a:lnTo>
                  <a:lnTo>
                    <a:pt x="231" y="419"/>
                  </a:lnTo>
                  <a:lnTo>
                    <a:pt x="227" y="419"/>
                  </a:lnTo>
                  <a:lnTo>
                    <a:pt x="223" y="419"/>
                  </a:lnTo>
                  <a:lnTo>
                    <a:pt x="219" y="419"/>
                  </a:lnTo>
                  <a:lnTo>
                    <a:pt x="215" y="419"/>
                  </a:lnTo>
                  <a:lnTo>
                    <a:pt x="215" y="423"/>
                  </a:lnTo>
                  <a:lnTo>
                    <a:pt x="211" y="423"/>
                  </a:lnTo>
                  <a:lnTo>
                    <a:pt x="207" y="423"/>
                  </a:lnTo>
                  <a:lnTo>
                    <a:pt x="207" y="419"/>
                  </a:lnTo>
                  <a:lnTo>
                    <a:pt x="203" y="419"/>
                  </a:lnTo>
                  <a:lnTo>
                    <a:pt x="199" y="419"/>
                  </a:lnTo>
                  <a:lnTo>
                    <a:pt x="195" y="423"/>
                  </a:lnTo>
                  <a:lnTo>
                    <a:pt x="191" y="427"/>
                  </a:lnTo>
                  <a:lnTo>
                    <a:pt x="187" y="427"/>
                  </a:lnTo>
                  <a:lnTo>
                    <a:pt x="183" y="431"/>
                  </a:lnTo>
                  <a:lnTo>
                    <a:pt x="179" y="431"/>
                  </a:lnTo>
                  <a:lnTo>
                    <a:pt x="179" y="435"/>
                  </a:lnTo>
                  <a:lnTo>
                    <a:pt x="175" y="435"/>
                  </a:lnTo>
                  <a:lnTo>
                    <a:pt x="171" y="435"/>
                  </a:lnTo>
                  <a:lnTo>
                    <a:pt x="171" y="439"/>
                  </a:lnTo>
                  <a:lnTo>
                    <a:pt x="171" y="443"/>
                  </a:lnTo>
                  <a:lnTo>
                    <a:pt x="167" y="447"/>
                  </a:lnTo>
                  <a:lnTo>
                    <a:pt x="167" y="451"/>
                  </a:lnTo>
                  <a:lnTo>
                    <a:pt x="163" y="451"/>
                  </a:lnTo>
                  <a:lnTo>
                    <a:pt x="163" y="455"/>
                  </a:lnTo>
                  <a:lnTo>
                    <a:pt x="159" y="451"/>
                  </a:lnTo>
                  <a:lnTo>
                    <a:pt x="159" y="455"/>
                  </a:lnTo>
                  <a:lnTo>
                    <a:pt x="155" y="455"/>
                  </a:lnTo>
                  <a:lnTo>
                    <a:pt x="155" y="451"/>
                  </a:lnTo>
                  <a:lnTo>
                    <a:pt x="151" y="451"/>
                  </a:lnTo>
                  <a:lnTo>
                    <a:pt x="151" y="455"/>
                  </a:lnTo>
                  <a:lnTo>
                    <a:pt x="151" y="451"/>
                  </a:lnTo>
                  <a:lnTo>
                    <a:pt x="147" y="451"/>
                  </a:lnTo>
                  <a:lnTo>
                    <a:pt x="147" y="455"/>
                  </a:lnTo>
                  <a:lnTo>
                    <a:pt x="143" y="455"/>
                  </a:lnTo>
                  <a:lnTo>
                    <a:pt x="139" y="455"/>
                  </a:lnTo>
                  <a:lnTo>
                    <a:pt x="139" y="451"/>
                  </a:lnTo>
                  <a:lnTo>
                    <a:pt x="135" y="451"/>
                  </a:lnTo>
                  <a:lnTo>
                    <a:pt x="131" y="451"/>
                  </a:lnTo>
                  <a:lnTo>
                    <a:pt x="128" y="451"/>
                  </a:lnTo>
                  <a:lnTo>
                    <a:pt x="124" y="451"/>
                  </a:lnTo>
                  <a:lnTo>
                    <a:pt x="120" y="451"/>
                  </a:lnTo>
                  <a:lnTo>
                    <a:pt x="116" y="455"/>
                  </a:lnTo>
                  <a:lnTo>
                    <a:pt x="112" y="455"/>
                  </a:lnTo>
                  <a:lnTo>
                    <a:pt x="108" y="455"/>
                  </a:lnTo>
                  <a:lnTo>
                    <a:pt x="104" y="455"/>
                  </a:lnTo>
                  <a:lnTo>
                    <a:pt x="104" y="459"/>
                  </a:lnTo>
                  <a:lnTo>
                    <a:pt x="100" y="459"/>
                  </a:lnTo>
                  <a:lnTo>
                    <a:pt x="100" y="463"/>
                  </a:lnTo>
                  <a:lnTo>
                    <a:pt x="96" y="467"/>
                  </a:lnTo>
                  <a:lnTo>
                    <a:pt x="96" y="463"/>
                  </a:lnTo>
                  <a:lnTo>
                    <a:pt x="92" y="463"/>
                  </a:lnTo>
                  <a:lnTo>
                    <a:pt x="92" y="467"/>
                  </a:lnTo>
                  <a:lnTo>
                    <a:pt x="88" y="467"/>
                  </a:lnTo>
                  <a:lnTo>
                    <a:pt x="88" y="471"/>
                  </a:lnTo>
                  <a:lnTo>
                    <a:pt x="84" y="471"/>
                  </a:lnTo>
                  <a:lnTo>
                    <a:pt x="84" y="475"/>
                  </a:lnTo>
                  <a:lnTo>
                    <a:pt x="80" y="475"/>
                  </a:lnTo>
                  <a:lnTo>
                    <a:pt x="76" y="475"/>
                  </a:lnTo>
                  <a:lnTo>
                    <a:pt x="80" y="475"/>
                  </a:lnTo>
                  <a:lnTo>
                    <a:pt x="80" y="479"/>
                  </a:lnTo>
                  <a:lnTo>
                    <a:pt x="76" y="479"/>
                  </a:lnTo>
                  <a:lnTo>
                    <a:pt x="76" y="475"/>
                  </a:lnTo>
                  <a:lnTo>
                    <a:pt x="72" y="475"/>
                  </a:lnTo>
                  <a:lnTo>
                    <a:pt x="72" y="479"/>
                  </a:lnTo>
                  <a:lnTo>
                    <a:pt x="72" y="475"/>
                  </a:lnTo>
                  <a:lnTo>
                    <a:pt x="68" y="475"/>
                  </a:lnTo>
                  <a:lnTo>
                    <a:pt x="64" y="475"/>
                  </a:lnTo>
                  <a:lnTo>
                    <a:pt x="60" y="475"/>
                  </a:lnTo>
                  <a:lnTo>
                    <a:pt x="56" y="475"/>
                  </a:lnTo>
                  <a:lnTo>
                    <a:pt x="52" y="475"/>
                  </a:lnTo>
                  <a:lnTo>
                    <a:pt x="52" y="471"/>
                  </a:lnTo>
                  <a:lnTo>
                    <a:pt x="48" y="471"/>
                  </a:lnTo>
                  <a:lnTo>
                    <a:pt x="48" y="467"/>
                  </a:lnTo>
                  <a:lnTo>
                    <a:pt x="44" y="467"/>
                  </a:lnTo>
                  <a:lnTo>
                    <a:pt x="44" y="463"/>
                  </a:lnTo>
                  <a:lnTo>
                    <a:pt x="40" y="463"/>
                  </a:lnTo>
                  <a:lnTo>
                    <a:pt x="36" y="459"/>
                  </a:lnTo>
                  <a:lnTo>
                    <a:pt x="36" y="463"/>
                  </a:lnTo>
                  <a:lnTo>
                    <a:pt x="32" y="459"/>
                  </a:lnTo>
                  <a:lnTo>
                    <a:pt x="32" y="455"/>
                  </a:lnTo>
                  <a:lnTo>
                    <a:pt x="32" y="451"/>
                  </a:lnTo>
                  <a:lnTo>
                    <a:pt x="32" y="447"/>
                  </a:lnTo>
                  <a:lnTo>
                    <a:pt x="36" y="447"/>
                  </a:lnTo>
                  <a:lnTo>
                    <a:pt x="40" y="447"/>
                  </a:lnTo>
                  <a:lnTo>
                    <a:pt x="44" y="443"/>
                  </a:lnTo>
                  <a:lnTo>
                    <a:pt x="44" y="439"/>
                  </a:lnTo>
                  <a:lnTo>
                    <a:pt x="44" y="435"/>
                  </a:lnTo>
                  <a:lnTo>
                    <a:pt x="44" y="431"/>
                  </a:lnTo>
                  <a:lnTo>
                    <a:pt x="44" y="427"/>
                  </a:lnTo>
                  <a:lnTo>
                    <a:pt x="44" y="431"/>
                  </a:lnTo>
                  <a:lnTo>
                    <a:pt x="44" y="427"/>
                  </a:lnTo>
                  <a:lnTo>
                    <a:pt x="44" y="423"/>
                  </a:lnTo>
                  <a:lnTo>
                    <a:pt x="44" y="419"/>
                  </a:lnTo>
                  <a:lnTo>
                    <a:pt x="44" y="415"/>
                  </a:lnTo>
                  <a:lnTo>
                    <a:pt x="44" y="411"/>
                  </a:lnTo>
                  <a:lnTo>
                    <a:pt x="44" y="407"/>
                  </a:lnTo>
                  <a:lnTo>
                    <a:pt x="44" y="403"/>
                  </a:lnTo>
                  <a:lnTo>
                    <a:pt x="40" y="403"/>
                  </a:lnTo>
                  <a:lnTo>
                    <a:pt x="40" y="399"/>
                  </a:lnTo>
                  <a:lnTo>
                    <a:pt x="40" y="395"/>
                  </a:lnTo>
                  <a:lnTo>
                    <a:pt x="36" y="395"/>
                  </a:lnTo>
                  <a:lnTo>
                    <a:pt x="36" y="391"/>
                  </a:lnTo>
                  <a:lnTo>
                    <a:pt x="36" y="387"/>
                  </a:lnTo>
                  <a:lnTo>
                    <a:pt x="36" y="383"/>
                  </a:lnTo>
                  <a:lnTo>
                    <a:pt x="36" y="379"/>
                  </a:lnTo>
                  <a:lnTo>
                    <a:pt x="32" y="379"/>
                  </a:lnTo>
                  <a:lnTo>
                    <a:pt x="32" y="375"/>
                  </a:lnTo>
                  <a:lnTo>
                    <a:pt x="32" y="371"/>
                  </a:lnTo>
                  <a:lnTo>
                    <a:pt x="32" y="367"/>
                  </a:lnTo>
                  <a:lnTo>
                    <a:pt x="32" y="363"/>
                  </a:lnTo>
                  <a:lnTo>
                    <a:pt x="32" y="359"/>
                  </a:lnTo>
                  <a:lnTo>
                    <a:pt x="28" y="355"/>
                  </a:lnTo>
                  <a:lnTo>
                    <a:pt x="28" y="351"/>
                  </a:lnTo>
                  <a:lnTo>
                    <a:pt x="28" y="347"/>
                  </a:lnTo>
                  <a:lnTo>
                    <a:pt x="24" y="343"/>
                  </a:lnTo>
                  <a:lnTo>
                    <a:pt x="24" y="339"/>
                  </a:lnTo>
                  <a:lnTo>
                    <a:pt x="20" y="339"/>
                  </a:lnTo>
                  <a:lnTo>
                    <a:pt x="20" y="335"/>
                  </a:lnTo>
                  <a:lnTo>
                    <a:pt x="20" y="331"/>
                  </a:lnTo>
                  <a:lnTo>
                    <a:pt x="20" y="327"/>
                  </a:lnTo>
                  <a:lnTo>
                    <a:pt x="20" y="323"/>
                  </a:lnTo>
                  <a:lnTo>
                    <a:pt x="16" y="319"/>
                  </a:lnTo>
                  <a:lnTo>
                    <a:pt x="16" y="315"/>
                  </a:lnTo>
                  <a:lnTo>
                    <a:pt x="12" y="315"/>
                  </a:lnTo>
                  <a:lnTo>
                    <a:pt x="12" y="311"/>
                  </a:lnTo>
                  <a:lnTo>
                    <a:pt x="12" y="307"/>
                  </a:lnTo>
                  <a:lnTo>
                    <a:pt x="8" y="307"/>
                  </a:lnTo>
                  <a:lnTo>
                    <a:pt x="8" y="304"/>
                  </a:lnTo>
                  <a:lnTo>
                    <a:pt x="8" y="300"/>
                  </a:lnTo>
                  <a:lnTo>
                    <a:pt x="8" y="304"/>
                  </a:lnTo>
                  <a:lnTo>
                    <a:pt x="8" y="300"/>
                  </a:lnTo>
                  <a:lnTo>
                    <a:pt x="12" y="304"/>
                  </a:lnTo>
                  <a:lnTo>
                    <a:pt x="12" y="307"/>
                  </a:lnTo>
                  <a:lnTo>
                    <a:pt x="12" y="311"/>
                  </a:lnTo>
                  <a:lnTo>
                    <a:pt x="16" y="311"/>
                  </a:lnTo>
                  <a:lnTo>
                    <a:pt x="16" y="307"/>
                  </a:lnTo>
                  <a:lnTo>
                    <a:pt x="16" y="304"/>
                  </a:lnTo>
                  <a:lnTo>
                    <a:pt x="12" y="304"/>
                  </a:lnTo>
                  <a:lnTo>
                    <a:pt x="12" y="300"/>
                  </a:lnTo>
                  <a:lnTo>
                    <a:pt x="12" y="296"/>
                  </a:lnTo>
                  <a:lnTo>
                    <a:pt x="8" y="292"/>
                  </a:lnTo>
                  <a:lnTo>
                    <a:pt x="12" y="288"/>
                  </a:lnTo>
                  <a:lnTo>
                    <a:pt x="12" y="292"/>
                  </a:lnTo>
                  <a:lnTo>
                    <a:pt x="12" y="296"/>
                  </a:lnTo>
                  <a:lnTo>
                    <a:pt x="16" y="296"/>
                  </a:lnTo>
                  <a:lnTo>
                    <a:pt x="16" y="300"/>
                  </a:lnTo>
                  <a:lnTo>
                    <a:pt x="12" y="300"/>
                  </a:lnTo>
                  <a:lnTo>
                    <a:pt x="16" y="304"/>
                  </a:lnTo>
                  <a:lnTo>
                    <a:pt x="16" y="300"/>
                  </a:lnTo>
                  <a:lnTo>
                    <a:pt x="16" y="304"/>
                  </a:lnTo>
                  <a:lnTo>
                    <a:pt x="20" y="307"/>
                  </a:lnTo>
                  <a:lnTo>
                    <a:pt x="20" y="304"/>
                  </a:lnTo>
                  <a:lnTo>
                    <a:pt x="20" y="300"/>
                  </a:lnTo>
                  <a:lnTo>
                    <a:pt x="24" y="300"/>
                  </a:lnTo>
                  <a:lnTo>
                    <a:pt x="24" y="296"/>
                  </a:lnTo>
                  <a:lnTo>
                    <a:pt x="20" y="292"/>
                  </a:lnTo>
                  <a:lnTo>
                    <a:pt x="16" y="288"/>
                  </a:lnTo>
                  <a:lnTo>
                    <a:pt x="16" y="284"/>
                  </a:lnTo>
                  <a:lnTo>
                    <a:pt x="12" y="280"/>
                  </a:lnTo>
                  <a:lnTo>
                    <a:pt x="12" y="276"/>
                  </a:lnTo>
                  <a:lnTo>
                    <a:pt x="12" y="272"/>
                  </a:lnTo>
                  <a:lnTo>
                    <a:pt x="8" y="272"/>
                  </a:lnTo>
                  <a:lnTo>
                    <a:pt x="8" y="268"/>
                  </a:lnTo>
                  <a:lnTo>
                    <a:pt x="8" y="264"/>
                  </a:lnTo>
                  <a:lnTo>
                    <a:pt x="12" y="260"/>
                  </a:lnTo>
                  <a:lnTo>
                    <a:pt x="12" y="256"/>
                  </a:lnTo>
                  <a:lnTo>
                    <a:pt x="12" y="252"/>
                  </a:lnTo>
                  <a:lnTo>
                    <a:pt x="16" y="252"/>
                  </a:lnTo>
                  <a:lnTo>
                    <a:pt x="16" y="248"/>
                  </a:lnTo>
                  <a:lnTo>
                    <a:pt x="16" y="244"/>
                  </a:lnTo>
                  <a:lnTo>
                    <a:pt x="16" y="240"/>
                  </a:lnTo>
                  <a:lnTo>
                    <a:pt x="16" y="236"/>
                  </a:lnTo>
                  <a:lnTo>
                    <a:pt x="12" y="236"/>
                  </a:lnTo>
                  <a:lnTo>
                    <a:pt x="12" y="232"/>
                  </a:lnTo>
                  <a:lnTo>
                    <a:pt x="16" y="232"/>
                  </a:lnTo>
                  <a:lnTo>
                    <a:pt x="16" y="228"/>
                  </a:lnTo>
                  <a:lnTo>
                    <a:pt x="16" y="224"/>
                  </a:lnTo>
                  <a:lnTo>
                    <a:pt x="16" y="220"/>
                  </a:lnTo>
                  <a:lnTo>
                    <a:pt x="20" y="220"/>
                  </a:lnTo>
                  <a:lnTo>
                    <a:pt x="20" y="224"/>
                  </a:lnTo>
                  <a:lnTo>
                    <a:pt x="20" y="228"/>
                  </a:lnTo>
                  <a:lnTo>
                    <a:pt x="20" y="232"/>
                  </a:lnTo>
                  <a:lnTo>
                    <a:pt x="24" y="232"/>
                  </a:lnTo>
                  <a:lnTo>
                    <a:pt x="24" y="228"/>
                  </a:lnTo>
                  <a:lnTo>
                    <a:pt x="24" y="224"/>
                  </a:lnTo>
                  <a:lnTo>
                    <a:pt x="28" y="224"/>
                  </a:lnTo>
                  <a:lnTo>
                    <a:pt x="28" y="220"/>
                  </a:lnTo>
                  <a:lnTo>
                    <a:pt x="32" y="216"/>
                  </a:lnTo>
                  <a:lnTo>
                    <a:pt x="36" y="216"/>
                  </a:lnTo>
                  <a:lnTo>
                    <a:pt x="40" y="212"/>
                  </a:lnTo>
                  <a:lnTo>
                    <a:pt x="44" y="208"/>
                  </a:lnTo>
                  <a:lnTo>
                    <a:pt x="48" y="208"/>
                  </a:lnTo>
                  <a:lnTo>
                    <a:pt x="48" y="204"/>
                  </a:lnTo>
                  <a:lnTo>
                    <a:pt x="52" y="204"/>
                  </a:lnTo>
                  <a:lnTo>
                    <a:pt x="52" y="200"/>
                  </a:lnTo>
                  <a:lnTo>
                    <a:pt x="56" y="200"/>
                  </a:lnTo>
                  <a:lnTo>
                    <a:pt x="60" y="200"/>
                  </a:lnTo>
                  <a:lnTo>
                    <a:pt x="60" y="196"/>
                  </a:lnTo>
                  <a:lnTo>
                    <a:pt x="64" y="196"/>
                  </a:lnTo>
                  <a:lnTo>
                    <a:pt x="68" y="196"/>
                  </a:lnTo>
                  <a:lnTo>
                    <a:pt x="68" y="200"/>
                  </a:lnTo>
                  <a:lnTo>
                    <a:pt x="72" y="200"/>
                  </a:lnTo>
                  <a:lnTo>
                    <a:pt x="72" y="196"/>
                  </a:lnTo>
                  <a:lnTo>
                    <a:pt x="76" y="196"/>
                  </a:lnTo>
                  <a:lnTo>
                    <a:pt x="80" y="196"/>
                  </a:lnTo>
                  <a:lnTo>
                    <a:pt x="80" y="192"/>
                  </a:lnTo>
                  <a:lnTo>
                    <a:pt x="84" y="192"/>
                  </a:lnTo>
                  <a:lnTo>
                    <a:pt x="88" y="192"/>
                  </a:lnTo>
                  <a:lnTo>
                    <a:pt x="92" y="188"/>
                  </a:lnTo>
                  <a:lnTo>
                    <a:pt x="96" y="184"/>
                  </a:lnTo>
                  <a:lnTo>
                    <a:pt x="100" y="184"/>
                  </a:lnTo>
                  <a:lnTo>
                    <a:pt x="104" y="184"/>
                  </a:lnTo>
                  <a:lnTo>
                    <a:pt x="108" y="184"/>
                  </a:lnTo>
                  <a:lnTo>
                    <a:pt x="112" y="184"/>
                  </a:lnTo>
                  <a:lnTo>
                    <a:pt x="116" y="180"/>
                  </a:lnTo>
                  <a:lnTo>
                    <a:pt x="120" y="180"/>
                  </a:lnTo>
                  <a:lnTo>
                    <a:pt x="124" y="176"/>
                  </a:lnTo>
                  <a:lnTo>
                    <a:pt x="128" y="176"/>
                  </a:lnTo>
                  <a:lnTo>
                    <a:pt x="128" y="172"/>
                  </a:lnTo>
                  <a:lnTo>
                    <a:pt x="131" y="168"/>
                  </a:lnTo>
                  <a:lnTo>
                    <a:pt x="131" y="164"/>
                  </a:lnTo>
                  <a:lnTo>
                    <a:pt x="135" y="160"/>
                  </a:lnTo>
                  <a:lnTo>
                    <a:pt x="135" y="156"/>
                  </a:lnTo>
                  <a:lnTo>
                    <a:pt x="139" y="156"/>
                  </a:lnTo>
                  <a:lnTo>
                    <a:pt x="139" y="152"/>
                  </a:lnTo>
                  <a:lnTo>
                    <a:pt x="143" y="148"/>
                  </a:lnTo>
                  <a:lnTo>
                    <a:pt x="143" y="144"/>
                  </a:lnTo>
                  <a:lnTo>
                    <a:pt x="143" y="140"/>
                  </a:lnTo>
                  <a:lnTo>
                    <a:pt x="143" y="136"/>
                  </a:lnTo>
                  <a:lnTo>
                    <a:pt x="143" y="132"/>
                  </a:lnTo>
                  <a:lnTo>
                    <a:pt x="143" y="128"/>
                  </a:lnTo>
                  <a:lnTo>
                    <a:pt x="147" y="128"/>
                  </a:lnTo>
                  <a:lnTo>
                    <a:pt x="147" y="124"/>
                  </a:lnTo>
                  <a:lnTo>
                    <a:pt x="151" y="124"/>
                  </a:lnTo>
                  <a:lnTo>
                    <a:pt x="151" y="120"/>
                  </a:lnTo>
                  <a:lnTo>
                    <a:pt x="151" y="116"/>
                  </a:lnTo>
                  <a:lnTo>
                    <a:pt x="155" y="116"/>
                  </a:lnTo>
                  <a:lnTo>
                    <a:pt x="155" y="120"/>
                  </a:lnTo>
                  <a:lnTo>
                    <a:pt x="155" y="116"/>
                  </a:lnTo>
                  <a:lnTo>
                    <a:pt x="155" y="120"/>
                  </a:lnTo>
                  <a:lnTo>
                    <a:pt x="155" y="124"/>
                  </a:lnTo>
                  <a:lnTo>
                    <a:pt x="159" y="128"/>
                  </a:lnTo>
                  <a:lnTo>
                    <a:pt x="159" y="132"/>
                  </a:lnTo>
                  <a:lnTo>
                    <a:pt x="159" y="136"/>
                  </a:lnTo>
                  <a:lnTo>
                    <a:pt x="163" y="136"/>
                  </a:lnTo>
                  <a:lnTo>
                    <a:pt x="163" y="140"/>
                  </a:lnTo>
                  <a:lnTo>
                    <a:pt x="163" y="136"/>
                  </a:lnTo>
                  <a:lnTo>
                    <a:pt x="163" y="132"/>
                  </a:lnTo>
                  <a:lnTo>
                    <a:pt x="163" y="128"/>
                  </a:lnTo>
                  <a:lnTo>
                    <a:pt x="167" y="128"/>
                  </a:lnTo>
                  <a:lnTo>
                    <a:pt x="167" y="132"/>
                  </a:lnTo>
                  <a:lnTo>
                    <a:pt x="167" y="128"/>
                  </a:lnTo>
                  <a:lnTo>
                    <a:pt x="167" y="124"/>
                  </a:lnTo>
                  <a:lnTo>
                    <a:pt x="163" y="124"/>
                  </a:lnTo>
                  <a:lnTo>
                    <a:pt x="163" y="120"/>
                  </a:lnTo>
                  <a:lnTo>
                    <a:pt x="159" y="120"/>
                  </a:lnTo>
                  <a:lnTo>
                    <a:pt x="163" y="120"/>
                  </a:lnTo>
                  <a:lnTo>
                    <a:pt x="163" y="116"/>
                  </a:lnTo>
                  <a:lnTo>
                    <a:pt x="163" y="112"/>
                  </a:lnTo>
                  <a:lnTo>
                    <a:pt x="167" y="112"/>
                  </a:lnTo>
                  <a:lnTo>
                    <a:pt x="167" y="116"/>
                  </a:lnTo>
                  <a:lnTo>
                    <a:pt x="167" y="112"/>
                  </a:lnTo>
                  <a:lnTo>
                    <a:pt x="171" y="112"/>
                  </a:lnTo>
                  <a:lnTo>
                    <a:pt x="171" y="116"/>
                  </a:lnTo>
                  <a:lnTo>
                    <a:pt x="175" y="116"/>
                  </a:lnTo>
                  <a:lnTo>
                    <a:pt x="179" y="116"/>
                  </a:lnTo>
                  <a:lnTo>
                    <a:pt x="183" y="116"/>
                  </a:lnTo>
                  <a:lnTo>
                    <a:pt x="179" y="116"/>
                  </a:lnTo>
                  <a:lnTo>
                    <a:pt x="175" y="116"/>
                  </a:lnTo>
                  <a:lnTo>
                    <a:pt x="175" y="112"/>
                  </a:lnTo>
                  <a:lnTo>
                    <a:pt x="179" y="112"/>
                  </a:lnTo>
                  <a:lnTo>
                    <a:pt x="179" y="108"/>
                  </a:lnTo>
                  <a:lnTo>
                    <a:pt x="179" y="104"/>
                  </a:lnTo>
                  <a:lnTo>
                    <a:pt x="179" y="108"/>
                  </a:lnTo>
                  <a:lnTo>
                    <a:pt x="175" y="108"/>
                  </a:lnTo>
                  <a:lnTo>
                    <a:pt x="175" y="104"/>
                  </a:lnTo>
                  <a:lnTo>
                    <a:pt x="175" y="100"/>
                  </a:lnTo>
                  <a:lnTo>
                    <a:pt x="179" y="100"/>
                  </a:lnTo>
                  <a:lnTo>
                    <a:pt x="179" y="96"/>
                  </a:lnTo>
                  <a:lnTo>
                    <a:pt x="183" y="96"/>
                  </a:lnTo>
                  <a:lnTo>
                    <a:pt x="183" y="100"/>
                  </a:lnTo>
                  <a:lnTo>
                    <a:pt x="187" y="100"/>
                  </a:lnTo>
                  <a:lnTo>
                    <a:pt x="187" y="96"/>
                  </a:lnTo>
                  <a:lnTo>
                    <a:pt x="183" y="96"/>
                  </a:lnTo>
                  <a:lnTo>
                    <a:pt x="187" y="92"/>
                  </a:lnTo>
                  <a:lnTo>
                    <a:pt x="183" y="92"/>
                  </a:lnTo>
                  <a:lnTo>
                    <a:pt x="183" y="96"/>
                  </a:lnTo>
                  <a:lnTo>
                    <a:pt x="183" y="92"/>
                  </a:lnTo>
                  <a:lnTo>
                    <a:pt x="187" y="92"/>
                  </a:lnTo>
                  <a:lnTo>
                    <a:pt x="191" y="92"/>
                  </a:lnTo>
                  <a:lnTo>
                    <a:pt x="187" y="92"/>
                  </a:lnTo>
                  <a:lnTo>
                    <a:pt x="187" y="88"/>
                  </a:lnTo>
                  <a:lnTo>
                    <a:pt x="187" y="84"/>
                  </a:lnTo>
                  <a:lnTo>
                    <a:pt x="191" y="80"/>
                  </a:lnTo>
                  <a:lnTo>
                    <a:pt x="191" y="84"/>
                  </a:lnTo>
                  <a:lnTo>
                    <a:pt x="195" y="84"/>
                  </a:lnTo>
                  <a:lnTo>
                    <a:pt x="195" y="80"/>
                  </a:lnTo>
                  <a:lnTo>
                    <a:pt x="195" y="76"/>
                  </a:lnTo>
                  <a:lnTo>
                    <a:pt x="195" y="80"/>
                  </a:lnTo>
                  <a:lnTo>
                    <a:pt x="195" y="84"/>
                  </a:lnTo>
                  <a:lnTo>
                    <a:pt x="195" y="80"/>
                  </a:lnTo>
                  <a:lnTo>
                    <a:pt x="199" y="80"/>
                  </a:lnTo>
                  <a:lnTo>
                    <a:pt x="195" y="84"/>
                  </a:lnTo>
                  <a:lnTo>
                    <a:pt x="199" y="84"/>
                  </a:lnTo>
                  <a:lnTo>
                    <a:pt x="199" y="80"/>
                  </a:lnTo>
                  <a:lnTo>
                    <a:pt x="203" y="76"/>
                  </a:lnTo>
                  <a:lnTo>
                    <a:pt x="199" y="72"/>
                  </a:lnTo>
                  <a:lnTo>
                    <a:pt x="203" y="72"/>
                  </a:lnTo>
                  <a:lnTo>
                    <a:pt x="203" y="76"/>
                  </a:lnTo>
                  <a:lnTo>
                    <a:pt x="203" y="72"/>
                  </a:lnTo>
                  <a:lnTo>
                    <a:pt x="207" y="72"/>
                  </a:lnTo>
                  <a:lnTo>
                    <a:pt x="207" y="76"/>
                  </a:lnTo>
                  <a:lnTo>
                    <a:pt x="211" y="76"/>
                  </a:lnTo>
                  <a:lnTo>
                    <a:pt x="211" y="72"/>
                  </a:lnTo>
                  <a:lnTo>
                    <a:pt x="211" y="68"/>
                  </a:lnTo>
                  <a:lnTo>
                    <a:pt x="215" y="68"/>
                  </a:lnTo>
                  <a:lnTo>
                    <a:pt x="215" y="72"/>
                  </a:lnTo>
                  <a:lnTo>
                    <a:pt x="219" y="72"/>
                  </a:lnTo>
                  <a:lnTo>
                    <a:pt x="219" y="68"/>
                  </a:lnTo>
                  <a:lnTo>
                    <a:pt x="219" y="72"/>
                  </a:lnTo>
                  <a:lnTo>
                    <a:pt x="223" y="72"/>
                  </a:lnTo>
                  <a:lnTo>
                    <a:pt x="223" y="76"/>
                  </a:lnTo>
                  <a:lnTo>
                    <a:pt x="227" y="76"/>
                  </a:lnTo>
                  <a:lnTo>
                    <a:pt x="227" y="80"/>
                  </a:lnTo>
                  <a:lnTo>
                    <a:pt x="231" y="84"/>
                  </a:lnTo>
                  <a:lnTo>
                    <a:pt x="231" y="88"/>
                  </a:lnTo>
                  <a:lnTo>
                    <a:pt x="231" y="92"/>
                  </a:lnTo>
                  <a:lnTo>
                    <a:pt x="231" y="96"/>
                  </a:lnTo>
                  <a:lnTo>
                    <a:pt x="231" y="100"/>
                  </a:lnTo>
                  <a:lnTo>
                    <a:pt x="231" y="96"/>
                  </a:lnTo>
                  <a:lnTo>
                    <a:pt x="235" y="96"/>
                  </a:lnTo>
                  <a:lnTo>
                    <a:pt x="235" y="92"/>
                  </a:lnTo>
                  <a:lnTo>
                    <a:pt x="231" y="92"/>
                  </a:lnTo>
                  <a:lnTo>
                    <a:pt x="235" y="92"/>
                  </a:lnTo>
                  <a:lnTo>
                    <a:pt x="235" y="88"/>
                  </a:lnTo>
                  <a:lnTo>
                    <a:pt x="235" y="92"/>
                  </a:lnTo>
                  <a:lnTo>
                    <a:pt x="235" y="88"/>
                  </a:lnTo>
                  <a:lnTo>
                    <a:pt x="239" y="88"/>
                  </a:lnTo>
                  <a:lnTo>
                    <a:pt x="239" y="84"/>
                  </a:lnTo>
                  <a:lnTo>
                    <a:pt x="239" y="88"/>
                  </a:lnTo>
                  <a:lnTo>
                    <a:pt x="243" y="88"/>
                  </a:lnTo>
                  <a:lnTo>
                    <a:pt x="247" y="88"/>
                  </a:lnTo>
                  <a:lnTo>
                    <a:pt x="247" y="92"/>
                  </a:lnTo>
                  <a:lnTo>
                    <a:pt x="251" y="92"/>
                  </a:lnTo>
                  <a:lnTo>
                    <a:pt x="247" y="92"/>
                  </a:lnTo>
                  <a:lnTo>
                    <a:pt x="247" y="88"/>
                  </a:lnTo>
                  <a:lnTo>
                    <a:pt x="251" y="88"/>
                  </a:lnTo>
                  <a:lnTo>
                    <a:pt x="255" y="92"/>
                  </a:lnTo>
                  <a:lnTo>
                    <a:pt x="255" y="96"/>
                  </a:lnTo>
                  <a:lnTo>
                    <a:pt x="255" y="92"/>
                  </a:lnTo>
                  <a:lnTo>
                    <a:pt x="255" y="88"/>
                  </a:lnTo>
                  <a:lnTo>
                    <a:pt x="259" y="88"/>
                  </a:lnTo>
                  <a:lnTo>
                    <a:pt x="255" y="88"/>
                  </a:lnTo>
                  <a:lnTo>
                    <a:pt x="255" y="84"/>
                  </a:lnTo>
                  <a:lnTo>
                    <a:pt x="255" y="80"/>
                  </a:lnTo>
                  <a:lnTo>
                    <a:pt x="255" y="84"/>
                  </a:lnTo>
                  <a:lnTo>
                    <a:pt x="251" y="80"/>
                  </a:lnTo>
                  <a:lnTo>
                    <a:pt x="251" y="76"/>
                  </a:lnTo>
                  <a:lnTo>
                    <a:pt x="255" y="72"/>
                  </a:lnTo>
                  <a:lnTo>
                    <a:pt x="259" y="68"/>
                  </a:lnTo>
                  <a:lnTo>
                    <a:pt x="259" y="64"/>
                  </a:lnTo>
                  <a:lnTo>
                    <a:pt x="259" y="60"/>
                  </a:lnTo>
                  <a:lnTo>
                    <a:pt x="259" y="64"/>
                  </a:lnTo>
                  <a:lnTo>
                    <a:pt x="263" y="60"/>
                  </a:lnTo>
                  <a:lnTo>
                    <a:pt x="263" y="56"/>
                  </a:lnTo>
                  <a:lnTo>
                    <a:pt x="263" y="52"/>
                  </a:lnTo>
                  <a:lnTo>
                    <a:pt x="267" y="52"/>
                  </a:lnTo>
                  <a:lnTo>
                    <a:pt x="267" y="48"/>
                  </a:lnTo>
                  <a:lnTo>
                    <a:pt x="267" y="44"/>
                  </a:lnTo>
                  <a:lnTo>
                    <a:pt x="267" y="48"/>
                  </a:lnTo>
                  <a:lnTo>
                    <a:pt x="271" y="48"/>
                  </a:lnTo>
                  <a:lnTo>
                    <a:pt x="271" y="44"/>
                  </a:lnTo>
                  <a:lnTo>
                    <a:pt x="271" y="40"/>
                  </a:lnTo>
                  <a:lnTo>
                    <a:pt x="271" y="44"/>
                  </a:lnTo>
                  <a:lnTo>
                    <a:pt x="275" y="48"/>
                  </a:lnTo>
                  <a:lnTo>
                    <a:pt x="275" y="44"/>
                  </a:lnTo>
                  <a:lnTo>
                    <a:pt x="271" y="44"/>
                  </a:lnTo>
                  <a:lnTo>
                    <a:pt x="275" y="40"/>
                  </a:lnTo>
                  <a:lnTo>
                    <a:pt x="275" y="36"/>
                  </a:lnTo>
                  <a:lnTo>
                    <a:pt x="279" y="36"/>
                  </a:lnTo>
                  <a:lnTo>
                    <a:pt x="279" y="40"/>
                  </a:lnTo>
                  <a:lnTo>
                    <a:pt x="283" y="40"/>
                  </a:lnTo>
                  <a:lnTo>
                    <a:pt x="287" y="40"/>
                  </a:lnTo>
                  <a:lnTo>
                    <a:pt x="291" y="40"/>
                  </a:lnTo>
                  <a:lnTo>
                    <a:pt x="295" y="40"/>
                  </a:lnTo>
                  <a:lnTo>
                    <a:pt x="299" y="40"/>
                  </a:lnTo>
                  <a:lnTo>
                    <a:pt x="295" y="40"/>
                  </a:lnTo>
                  <a:lnTo>
                    <a:pt x="299" y="40"/>
                  </a:lnTo>
                  <a:lnTo>
                    <a:pt x="299" y="36"/>
                  </a:lnTo>
                  <a:lnTo>
                    <a:pt x="303" y="36"/>
                  </a:lnTo>
                  <a:lnTo>
                    <a:pt x="299" y="36"/>
                  </a:lnTo>
                  <a:lnTo>
                    <a:pt x="299" y="32"/>
                  </a:lnTo>
                  <a:lnTo>
                    <a:pt x="299" y="28"/>
                  </a:lnTo>
                  <a:lnTo>
                    <a:pt x="303" y="28"/>
                  </a:lnTo>
                  <a:lnTo>
                    <a:pt x="299" y="28"/>
                  </a:lnTo>
                  <a:lnTo>
                    <a:pt x="299" y="24"/>
                  </a:lnTo>
                  <a:lnTo>
                    <a:pt x="295" y="24"/>
                  </a:lnTo>
                  <a:lnTo>
                    <a:pt x="291" y="24"/>
                  </a:lnTo>
                  <a:lnTo>
                    <a:pt x="287" y="20"/>
                  </a:lnTo>
                  <a:lnTo>
                    <a:pt x="287" y="24"/>
                  </a:lnTo>
                  <a:lnTo>
                    <a:pt x="287" y="20"/>
                  </a:lnTo>
                  <a:lnTo>
                    <a:pt x="291" y="20"/>
                  </a:lnTo>
                  <a:lnTo>
                    <a:pt x="295" y="24"/>
                  </a:lnTo>
                  <a:lnTo>
                    <a:pt x="295" y="20"/>
                  </a:lnTo>
                  <a:lnTo>
                    <a:pt x="291" y="20"/>
                  </a:lnTo>
                  <a:lnTo>
                    <a:pt x="295" y="20"/>
                  </a:lnTo>
                  <a:lnTo>
                    <a:pt x="299" y="20"/>
                  </a:lnTo>
                  <a:lnTo>
                    <a:pt x="299" y="24"/>
                  </a:lnTo>
                  <a:lnTo>
                    <a:pt x="303" y="24"/>
                  </a:lnTo>
                  <a:lnTo>
                    <a:pt x="307" y="24"/>
                  </a:lnTo>
                  <a:lnTo>
                    <a:pt x="307" y="28"/>
                  </a:lnTo>
                  <a:lnTo>
                    <a:pt x="311" y="28"/>
                  </a:lnTo>
                  <a:lnTo>
                    <a:pt x="311" y="32"/>
                  </a:lnTo>
                  <a:lnTo>
                    <a:pt x="315" y="32"/>
                  </a:lnTo>
                  <a:lnTo>
                    <a:pt x="319" y="32"/>
                  </a:lnTo>
                  <a:lnTo>
                    <a:pt x="319" y="28"/>
                  </a:lnTo>
                  <a:lnTo>
                    <a:pt x="319" y="32"/>
                  </a:lnTo>
                  <a:lnTo>
                    <a:pt x="323" y="32"/>
                  </a:lnTo>
                  <a:lnTo>
                    <a:pt x="323" y="36"/>
                  </a:lnTo>
                  <a:lnTo>
                    <a:pt x="327" y="36"/>
                  </a:lnTo>
                  <a:lnTo>
                    <a:pt x="331" y="36"/>
                  </a:lnTo>
                  <a:lnTo>
                    <a:pt x="335" y="36"/>
                  </a:lnTo>
                  <a:lnTo>
                    <a:pt x="335" y="40"/>
                  </a:lnTo>
                  <a:lnTo>
                    <a:pt x="339" y="40"/>
                  </a:lnTo>
                  <a:lnTo>
                    <a:pt x="339" y="36"/>
                  </a:lnTo>
                  <a:lnTo>
                    <a:pt x="343" y="36"/>
                  </a:lnTo>
                  <a:lnTo>
                    <a:pt x="347" y="36"/>
                  </a:lnTo>
                  <a:lnTo>
                    <a:pt x="343" y="36"/>
                  </a:lnTo>
                  <a:lnTo>
                    <a:pt x="347" y="32"/>
                  </a:lnTo>
                  <a:lnTo>
                    <a:pt x="351" y="32"/>
                  </a:lnTo>
                  <a:lnTo>
                    <a:pt x="347" y="36"/>
                  </a:lnTo>
                  <a:lnTo>
                    <a:pt x="347" y="40"/>
                  </a:lnTo>
                  <a:lnTo>
                    <a:pt x="351" y="36"/>
                  </a:lnTo>
                  <a:lnTo>
                    <a:pt x="351" y="40"/>
                  </a:lnTo>
                  <a:lnTo>
                    <a:pt x="351" y="44"/>
                  </a:lnTo>
                  <a:lnTo>
                    <a:pt x="355" y="44"/>
                  </a:lnTo>
                  <a:lnTo>
                    <a:pt x="355" y="40"/>
                  </a:lnTo>
                  <a:lnTo>
                    <a:pt x="355" y="36"/>
                  </a:lnTo>
                  <a:lnTo>
                    <a:pt x="359" y="32"/>
                  </a:lnTo>
                  <a:lnTo>
                    <a:pt x="359" y="36"/>
                  </a:lnTo>
                  <a:lnTo>
                    <a:pt x="359" y="40"/>
                  </a:lnTo>
                  <a:lnTo>
                    <a:pt x="363" y="40"/>
                  </a:lnTo>
                  <a:lnTo>
                    <a:pt x="363" y="36"/>
                  </a:lnTo>
                  <a:lnTo>
                    <a:pt x="363" y="40"/>
                  </a:lnTo>
                  <a:lnTo>
                    <a:pt x="367" y="40"/>
                  </a:lnTo>
                  <a:lnTo>
                    <a:pt x="363" y="44"/>
                  </a:lnTo>
                  <a:lnTo>
                    <a:pt x="363" y="48"/>
                  </a:lnTo>
                  <a:lnTo>
                    <a:pt x="359" y="48"/>
                  </a:lnTo>
                  <a:lnTo>
                    <a:pt x="359" y="52"/>
                  </a:lnTo>
                  <a:lnTo>
                    <a:pt x="359" y="56"/>
                  </a:lnTo>
                  <a:lnTo>
                    <a:pt x="355" y="56"/>
                  </a:lnTo>
                  <a:lnTo>
                    <a:pt x="351" y="56"/>
                  </a:lnTo>
                  <a:lnTo>
                    <a:pt x="351" y="60"/>
                  </a:lnTo>
                  <a:lnTo>
                    <a:pt x="351" y="64"/>
                  </a:lnTo>
                  <a:lnTo>
                    <a:pt x="351" y="68"/>
                  </a:lnTo>
                  <a:lnTo>
                    <a:pt x="351" y="72"/>
                  </a:lnTo>
                  <a:lnTo>
                    <a:pt x="351" y="76"/>
                  </a:lnTo>
                  <a:lnTo>
                    <a:pt x="347" y="76"/>
                  </a:lnTo>
                  <a:lnTo>
                    <a:pt x="347" y="80"/>
                  </a:lnTo>
                  <a:lnTo>
                    <a:pt x="343" y="80"/>
                  </a:lnTo>
                  <a:lnTo>
                    <a:pt x="343" y="84"/>
                  </a:lnTo>
                  <a:lnTo>
                    <a:pt x="343" y="88"/>
                  </a:lnTo>
                  <a:lnTo>
                    <a:pt x="343" y="92"/>
                  </a:lnTo>
                  <a:lnTo>
                    <a:pt x="347" y="92"/>
                  </a:lnTo>
                  <a:lnTo>
                    <a:pt x="351" y="92"/>
                  </a:lnTo>
                  <a:lnTo>
                    <a:pt x="351" y="96"/>
                  </a:lnTo>
                  <a:lnTo>
                    <a:pt x="355" y="96"/>
                  </a:lnTo>
                  <a:lnTo>
                    <a:pt x="355" y="100"/>
                  </a:lnTo>
                  <a:lnTo>
                    <a:pt x="359" y="104"/>
                  </a:lnTo>
                  <a:lnTo>
                    <a:pt x="363" y="104"/>
                  </a:lnTo>
                  <a:lnTo>
                    <a:pt x="363" y="108"/>
                  </a:lnTo>
                  <a:lnTo>
                    <a:pt x="367" y="108"/>
                  </a:lnTo>
                  <a:lnTo>
                    <a:pt x="371" y="112"/>
                  </a:lnTo>
                  <a:lnTo>
                    <a:pt x="375" y="112"/>
                  </a:lnTo>
                  <a:lnTo>
                    <a:pt x="379" y="112"/>
                  </a:lnTo>
                  <a:lnTo>
                    <a:pt x="379" y="116"/>
                  </a:lnTo>
                  <a:lnTo>
                    <a:pt x="379" y="120"/>
                  </a:lnTo>
                  <a:lnTo>
                    <a:pt x="383" y="120"/>
                  </a:lnTo>
                  <a:lnTo>
                    <a:pt x="383" y="124"/>
                  </a:lnTo>
                  <a:lnTo>
                    <a:pt x="387" y="124"/>
                  </a:lnTo>
                  <a:lnTo>
                    <a:pt x="391" y="124"/>
                  </a:lnTo>
                  <a:lnTo>
                    <a:pt x="395" y="124"/>
                  </a:lnTo>
                  <a:lnTo>
                    <a:pt x="399" y="124"/>
                  </a:lnTo>
                  <a:lnTo>
                    <a:pt x="399" y="128"/>
                  </a:lnTo>
                  <a:lnTo>
                    <a:pt x="399" y="132"/>
                  </a:lnTo>
                  <a:lnTo>
                    <a:pt x="399" y="136"/>
                  </a:lnTo>
                  <a:lnTo>
                    <a:pt x="403" y="136"/>
                  </a:lnTo>
                  <a:lnTo>
                    <a:pt x="407" y="136"/>
                  </a:lnTo>
                  <a:lnTo>
                    <a:pt x="407" y="140"/>
                  </a:lnTo>
                  <a:lnTo>
                    <a:pt x="411" y="140"/>
                  </a:lnTo>
                  <a:lnTo>
                    <a:pt x="415" y="140"/>
                  </a:lnTo>
                  <a:lnTo>
                    <a:pt x="419" y="140"/>
                  </a:lnTo>
                  <a:lnTo>
                    <a:pt x="423" y="140"/>
                  </a:lnTo>
                  <a:lnTo>
                    <a:pt x="423" y="136"/>
                  </a:lnTo>
                  <a:lnTo>
                    <a:pt x="427" y="136"/>
                  </a:lnTo>
                  <a:lnTo>
                    <a:pt x="427" y="132"/>
                  </a:lnTo>
                  <a:lnTo>
                    <a:pt x="427" y="128"/>
                  </a:lnTo>
                  <a:lnTo>
                    <a:pt x="427" y="124"/>
                  </a:lnTo>
                  <a:lnTo>
                    <a:pt x="431" y="124"/>
                  </a:lnTo>
                  <a:lnTo>
                    <a:pt x="431" y="120"/>
                  </a:lnTo>
                  <a:lnTo>
                    <a:pt x="431" y="116"/>
                  </a:lnTo>
                  <a:lnTo>
                    <a:pt x="431" y="112"/>
                  </a:lnTo>
                  <a:lnTo>
                    <a:pt x="435" y="112"/>
                  </a:lnTo>
                  <a:lnTo>
                    <a:pt x="435" y="108"/>
                  </a:lnTo>
                  <a:lnTo>
                    <a:pt x="435" y="104"/>
                  </a:lnTo>
                  <a:lnTo>
                    <a:pt x="435" y="100"/>
                  </a:lnTo>
                  <a:lnTo>
                    <a:pt x="435" y="96"/>
                  </a:lnTo>
                  <a:lnTo>
                    <a:pt x="435" y="92"/>
                  </a:lnTo>
                  <a:lnTo>
                    <a:pt x="439" y="92"/>
                  </a:lnTo>
                  <a:lnTo>
                    <a:pt x="435" y="88"/>
                  </a:lnTo>
                  <a:lnTo>
                    <a:pt x="435" y="80"/>
                  </a:lnTo>
                  <a:lnTo>
                    <a:pt x="435" y="76"/>
                  </a:lnTo>
                  <a:lnTo>
                    <a:pt x="435" y="72"/>
                  </a:lnTo>
                  <a:lnTo>
                    <a:pt x="435" y="68"/>
                  </a:lnTo>
                  <a:lnTo>
                    <a:pt x="435" y="64"/>
                  </a:lnTo>
                  <a:lnTo>
                    <a:pt x="435" y="60"/>
                  </a:lnTo>
                  <a:lnTo>
                    <a:pt x="439" y="60"/>
                  </a:lnTo>
                  <a:lnTo>
                    <a:pt x="439" y="56"/>
                  </a:lnTo>
                  <a:lnTo>
                    <a:pt x="435" y="56"/>
                  </a:lnTo>
                  <a:lnTo>
                    <a:pt x="435" y="52"/>
                  </a:lnTo>
                  <a:lnTo>
                    <a:pt x="439" y="52"/>
                  </a:lnTo>
                  <a:lnTo>
                    <a:pt x="439" y="48"/>
                  </a:lnTo>
                  <a:lnTo>
                    <a:pt x="439" y="52"/>
                  </a:lnTo>
                  <a:lnTo>
                    <a:pt x="443" y="52"/>
                  </a:lnTo>
                  <a:lnTo>
                    <a:pt x="439" y="48"/>
                  </a:lnTo>
                  <a:lnTo>
                    <a:pt x="439" y="44"/>
                  </a:lnTo>
                  <a:lnTo>
                    <a:pt x="435" y="44"/>
                  </a:lnTo>
                  <a:lnTo>
                    <a:pt x="439" y="44"/>
                  </a:lnTo>
                  <a:lnTo>
                    <a:pt x="439" y="40"/>
                  </a:lnTo>
                  <a:lnTo>
                    <a:pt x="439" y="36"/>
                  </a:lnTo>
                  <a:lnTo>
                    <a:pt x="443" y="36"/>
                  </a:lnTo>
                  <a:lnTo>
                    <a:pt x="443" y="32"/>
                  </a:lnTo>
                  <a:lnTo>
                    <a:pt x="443" y="28"/>
                  </a:lnTo>
                  <a:lnTo>
                    <a:pt x="443" y="24"/>
                  </a:lnTo>
                  <a:lnTo>
                    <a:pt x="443" y="20"/>
                  </a:lnTo>
                  <a:lnTo>
                    <a:pt x="443" y="16"/>
                  </a:lnTo>
                  <a:lnTo>
                    <a:pt x="447" y="16"/>
                  </a:lnTo>
                  <a:lnTo>
                    <a:pt x="447" y="12"/>
                  </a:lnTo>
                  <a:lnTo>
                    <a:pt x="451" y="12"/>
                  </a:lnTo>
                  <a:lnTo>
                    <a:pt x="451" y="16"/>
                  </a:lnTo>
                  <a:lnTo>
                    <a:pt x="451" y="12"/>
                  </a:lnTo>
                  <a:lnTo>
                    <a:pt x="455" y="16"/>
                  </a:lnTo>
                  <a:lnTo>
                    <a:pt x="455" y="20"/>
                  </a:lnTo>
                  <a:lnTo>
                    <a:pt x="455" y="24"/>
                  </a:lnTo>
                  <a:lnTo>
                    <a:pt x="455" y="28"/>
                  </a:lnTo>
                  <a:lnTo>
                    <a:pt x="455" y="32"/>
                  </a:lnTo>
                  <a:lnTo>
                    <a:pt x="459" y="32"/>
                  </a:lnTo>
                  <a:lnTo>
                    <a:pt x="459" y="36"/>
                  </a:lnTo>
                  <a:lnTo>
                    <a:pt x="459" y="40"/>
                  </a:lnTo>
                  <a:lnTo>
                    <a:pt x="463" y="40"/>
                  </a:lnTo>
                  <a:lnTo>
                    <a:pt x="463" y="44"/>
                  </a:lnTo>
                  <a:lnTo>
                    <a:pt x="463" y="48"/>
                  </a:lnTo>
                  <a:lnTo>
                    <a:pt x="463" y="52"/>
                  </a:lnTo>
                  <a:lnTo>
                    <a:pt x="467" y="52"/>
                  </a:lnTo>
                  <a:lnTo>
                    <a:pt x="467" y="56"/>
                  </a:lnTo>
                  <a:lnTo>
                    <a:pt x="467" y="60"/>
                  </a:lnTo>
                  <a:lnTo>
                    <a:pt x="467" y="64"/>
                  </a:lnTo>
                  <a:lnTo>
                    <a:pt x="467" y="68"/>
                  </a:lnTo>
                  <a:lnTo>
                    <a:pt x="467" y="72"/>
                  </a:lnTo>
                  <a:lnTo>
                    <a:pt x="467" y="76"/>
                  </a:lnTo>
                  <a:lnTo>
                    <a:pt x="471" y="80"/>
                  </a:lnTo>
                  <a:lnTo>
                    <a:pt x="475" y="80"/>
                  </a:lnTo>
                  <a:lnTo>
                    <a:pt x="479" y="76"/>
                  </a:lnTo>
                  <a:lnTo>
                    <a:pt x="483" y="76"/>
                  </a:lnTo>
                  <a:lnTo>
                    <a:pt x="483" y="80"/>
                  </a:lnTo>
                  <a:lnTo>
                    <a:pt x="483" y="84"/>
                  </a:lnTo>
                  <a:lnTo>
                    <a:pt x="486" y="84"/>
                  </a:lnTo>
                  <a:lnTo>
                    <a:pt x="486" y="88"/>
                  </a:lnTo>
                  <a:lnTo>
                    <a:pt x="490" y="88"/>
                  </a:lnTo>
                  <a:lnTo>
                    <a:pt x="490" y="92"/>
                  </a:lnTo>
                  <a:lnTo>
                    <a:pt x="490" y="96"/>
                  </a:lnTo>
                  <a:lnTo>
                    <a:pt x="490" y="100"/>
                  </a:lnTo>
                  <a:lnTo>
                    <a:pt x="494" y="104"/>
                  </a:lnTo>
                  <a:lnTo>
                    <a:pt x="494" y="108"/>
                  </a:lnTo>
                  <a:lnTo>
                    <a:pt x="494" y="112"/>
                  </a:lnTo>
                  <a:lnTo>
                    <a:pt x="494" y="116"/>
                  </a:lnTo>
                  <a:lnTo>
                    <a:pt x="494" y="120"/>
                  </a:lnTo>
                  <a:lnTo>
                    <a:pt x="498" y="124"/>
                  </a:lnTo>
                  <a:lnTo>
                    <a:pt x="498" y="128"/>
                  </a:lnTo>
                  <a:lnTo>
                    <a:pt x="498" y="124"/>
                  </a:lnTo>
                  <a:lnTo>
                    <a:pt x="502" y="124"/>
                  </a:lnTo>
                  <a:lnTo>
                    <a:pt x="502" y="128"/>
                  </a:lnTo>
                  <a:lnTo>
                    <a:pt x="502" y="132"/>
                  </a:lnTo>
                  <a:lnTo>
                    <a:pt x="502" y="136"/>
                  </a:lnTo>
                  <a:lnTo>
                    <a:pt x="502" y="140"/>
                  </a:lnTo>
                  <a:lnTo>
                    <a:pt x="502" y="144"/>
                  </a:lnTo>
                  <a:lnTo>
                    <a:pt x="502" y="148"/>
                  </a:lnTo>
                  <a:lnTo>
                    <a:pt x="502" y="152"/>
                  </a:lnTo>
                  <a:lnTo>
                    <a:pt x="506" y="156"/>
                  </a:lnTo>
                  <a:lnTo>
                    <a:pt x="506" y="160"/>
                  </a:lnTo>
                  <a:lnTo>
                    <a:pt x="506" y="164"/>
                  </a:lnTo>
                  <a:lnTo>
                    <a:pt x="510" y="164"/>
                  </a:lnTo>
                  <a:lnTo>
                    <a:pt x="510" y="168"/>
                  </a:lnTo>
                  <a:lnTo>
                    <a:pt x="514" y="168"/>
                  </a:lnTo>
                  <a:lnTo>
                    <a:pt x="514" y="172"/>
                  </a:lnTo>
                  <a:lnTo>
                    <a:pt x="518" y="172"/>
                  </a:lnTo>
                  <a:lnTo>
                    <a:pt x="522" y="172"/>
                  </a:lnTo>
                  <a:lnTo>
                    <a:pt x="526" y="172"/>
                  </a:lnTo>
                  <a:lnTo>
                    <a:pt x="522" y="172"/>
                  </a:lnTo>
                  <a:lnTo>
                    <a:pt x="526" y="172"/>
                  </a:lnTo>
                  <a:lnTo>
                    <a:pt x="526" y="176"/>
                  </a:lnTo>
                  <a:lnTo>
                    <a:pt x="526" y="180"/>
                  </a:lnTo>
                  <a:lnTo>
                    <a:pt x="530" y="180"/>
                  </a:lnTo>
                  <a:lnTo>
                    <a:pt x="530" y="184"/>
                  </a:lnTo>
                  <a:lnTo>
                    <a:pt x="534" y="184"/>
                  </a:lnTo>
                  <a:lnTo>
                    <a:pt x="538" y="184"/>
                  </a:lnTo>
                  <a:lnTo>
                    <a:pt x="538" y="188"/>
                  </a:lnTo>
                  <a:lnTo>
                    <a:pt x="538" y="184"/>
                  </a:lnTo>
                  <a:lnTo>
                    <a:pt x="542" y="184"/>
                  </a:lnTo>
                  <a:lnTo>
                    <a:pt x="542" y="188"/>
                  </a:lnTo>
                  <a:lnTo>
                    <a:pt x="546" y="188"/>
                  </a:lnTo>
                  <a:lnTo>
                    <a:pt x="546" y="192"/>
                  </a:lnTo>
                  <a:lnTo>
                    <a:pt x="546" y="196"/>
                  </a:lnTo>
                  <a:lnTo>
                    <a:pt x="546" y="192"/>
                  </a:lnTo>
                  <a:lnTo>
                    <a:pt x="542" y="192"/>
                  </a:lnTo>
                  <a:lnTo>
                    <a:pt x="542" y="196"/>
                  </a:lnTo>
                  <a:lnTo>
                    <a:pt x="546" y="200"/>
                  </a:lnTo>
                  <a:lnTo>
                    <a:pt x="550" y="200"/>
                  </a:lnTo>
                  <a:lnTo>
                    <a:pt x="550" y="204"/>
                  </a:lnTo>
                  <a:lnTo>
                    <a:pt x="550" y="208"/>
                  </a:lnTo>
                  <a:lnTo>
                    <a:pt x="554" y="208"/>
                  </a:lnTo>
                  <a:lnTo>
                    <a:pt x="554" y="212"/>
                  </a:lnTo>
                  <a:lnTo>
                    <a:pt x="554" y="216"/>
                  </a:lnTo>
                  <a:lnTo>
                    <a:pt x="554" y="220"/>
                  </a:lnTo>
                  <a:lnTo>
                    <a:pt x="554" y="224"/>
                  </a:lnTo>
                  <a:lnTo>
                    <a:pt x="558" y="228"/>
                  </a:lnTo>
                  <a:lnTo>
                    <a:pt x="558" y="232"/>
                  </a:lnTo>
                  <a:lnTo>
                    <a:pt x="562" y="228"/>
                  </a:lnTo>
                  <a:lnTo>
                    <a:pt x="562" y="232"/>
                  </a:lnTo>
                  <a:lnTo>
                    <a:pt x="562" y="236"/>
                  </a:lnTo>
                  <a:lnTo>
                    <a:pt x="562" y="232"/>
                  </a:lnTo>
                  <a:lnTo>
                    <a:pt x="562" y="228"/>
                  </a:lnTo>
                  <a:lnTo>
                    <a:pt x="562" y="224"/>
                  </a:lnTo>
                  <a:lnTo>
                    <a:pt x="566" y="224"/>
                  </a:lnTo>
                  <a:lnTo>
                    <a:pt x="566" y="228"/>
                  </a:lnTo>
                  <a:lnTo>
                    <a:pt x="566" y="232"/>
                  </a:lnTo>
                  <a:lnTo>
                    <a:pt x="570" y="232"/>
                  </a:lnTo>
                  <a:lnTo>
                    <a:pt x="570" y="228"/>
                  </a:lnTo>
                  <a:lnTo>
                    <a:pt x="574" y="228"/>
                  </a:lnTo>
                  <a:lnTo>
                    <a:pt x="574" y="232"/>
                  </a:lnTo>
                  <a:lnTo>
                    <a:pt x="574" y="236"/>
                  </a:lnTo>
                  <a:lnTo>
                    <a:pt x="574" y="240"/>
                  </a:lnTo>
                  <a:lnTo>
                    <a:pt x="574" y="244"/>
                  </a:lnTo>
                  <a:lnTo>
                    <a:pt x="574" y="248"/>
                  </a:lnTo>
                  <a:lnTo>
                    <a:pt x="578" y="252"/>
                  </a:lnTo>
                  <a:lnTo>
                    <a:pt x="582" y="256"/>
                  </a:lnTo>
                  <a:lnTo>
                    <a:pt x="586" y="260"/>
                  </a:lnTo>
                  <a:close/>
                  <a:moveTo>
                    <a:pt x="179" y="100"/>
                  </a:moveTo>
                  <a:lnTo>
                    <a:pt x="175" y="96"/>
                  </a:lnTo>
                  <a:lnTo>
                    <a:pt x="179" y="96"/>
                  </a:lnTo>
                  <a:lnTo>
                    <a:pt x="179" y="100"/>
                  </a:lnTo>
                  <a:close/>
                  <a:moveTo>
                    <a:pt x="610" y="296"/>
                  </a:moveTo>
                  <a:lnTo>
                    <a:pt x="610" y="292"/>
                  </a:lnTo>
                  <a:lnTo>
                    <a:pt x="606" y="292"/>
                  </a:lnTo>
                  <a:lnTo>
                    <a:pt x="610" y="288"/>
                  </a:lnTo>
                  <a:lnTo>
                    <a:pt x="610" y="284"/>
                  </a:lnTo>
                  <a:lnTo>
                    <a:pt x="610" y="280"/>
                  </a:lnTo>
                  <a:lnTo>
                    <a:pt x="614" y="280"/>
                  </a:lnTo>
                  <a:lnTo>
                    <a:pt x="614" y="276"/>
                  </a:lnTo>
                  <a:lnTo>
                    <a:pt x="610" y="276"/>
                  </a:lnTo>
                  <a:lnTo>
                    <a:pt x="614" y="276"/>
                  </a:lnTo>
                  <a:lnTo>
                    <a:pt x="614" y="272"/>
                  </a:lnTo>
                  <a:lnTo>
                    <a:pt x="614" y="276"/>
                  </a:lnTo>
                  <a:lnTo>
                    <a:pt x="614" y="280"/>
                  </a:lnTo>
                  <a:lnTo>
                    <a:pt x="614" y="284"/>
                  </a:lnTo>
                  <a:lnTo>
                    <a:pt x="610" y="288"/>
                  </a:lnTo>
                  <a:lnTo>
                    <a:pt x="610" y="292"/>
                  </a:lnTo>
                  <a:lnTo>
                    <a:pt x="610" y="296"/>
                  </a:lnTo>
                  <a:close/>
                  <a:moveTo>
                    <a:pt x="534" y="583"/>
                  </a:moveTo>
                  <a:lnTo>
                    <a:pt x="534" y="579"/>
                  </a:lnTo>
                  <a:lnTo>
                    <a:pt x="530" y="575"/>
                  </a:lnTo>
                  <a:lnTo>
                    <a:pt x="530" y="571"/>
                  </a:lnTo>
                  <a:lnTo>
                    <a:pt x="534" y="571"/>
                  </a:lnTo>
                  <a:lnTo>
                    <a:pt x="534" y="575"/>
                  </a:lnTo>
                  <a:lnTo>
                    <a:pt x="538" y="575"/>
                  </a:lnTo>
                  <a:lnTo>
                    <a:pt x="538" y="579"/>
                  </a:lnTo>
                  <a:lnTo>
                    <a:pt x="538" y="583"/>
                  </a:lnTo>
                  <a:lnTo>
                    <a:pt x="534" y="583"/>
                  </a:lnTo>
                  <a:close/>
                  <a:moveTo>
                    <a:pt x="534" y="635"/>
                  </a:moveTo>
                  <a:lnTo>
                    <a:pt x="534" y="631"/>
                  </a:lnTo>
                  <a:lnTo>
                    <a:pt x="534" y="635"/>
                  </a:lnTo>
                  <a:close/>
                  <a:moveTo>
                    <a:pt x="403" y="132"/>
                  </a:moveTo>
                  <a:lnTo>
                    <a:pt x="403" y="128"/>
                  </a:lnTo>
                  <a:lnTo>
                    <a:pt x="407" y="128"/>
                  </a:lnTo>
                  <a:lnTo>
                    <a:pt x="403" y="128"/>
                  </a:lnTo>
                  <a:lnTo>
                    <a:pt x="403" y="132"/>
                  </a:lnTo>
                  <a:close/>
                  <a:moveTo>
                    <a:pt x="506" y="156"/>
                  </a:moveTo>
                  <a:lnTo>
                    <a:pt x="506" y="152"/>
                  </a:lnTo>
                  <a:lnTo>
                    <a:pt x="502" y="152"/>
                  </a:lnTo>
                  <a:lnTo>
                    <a:pt x="506" y="152"/>
                  </a:lnTo>
                  <a:lnTo>
                    <a:pt x="506" y="156"/>
                  </a:lnTo>
                  <a:close/>
                  <a:moveTo>
                    <a:pt x="40" y="200"/>
                  </a:moveTo>
                  <a:lnTo>
                    <a:pt x="40" y="196"/>
                  </a:lnTo>
                  <a:lnTo>
                    <a:pt x="40" y="200"/>
                  </a:lnTo>
                  <a:close/>
                  <a:moveTo>
                    <a:pt x="698" y="898"/>
                  </a:moveTo>
                  <a:lnTo>
                    <a:pt x="698" y="894"/>
                  </a:lnTo>
                  <a:lnTo>
                    <a:pt x="698" y="898"/>
                  </a:lnTo>
                  <a:close/>
                  <a:moveTo>
                    <a:pt x="447" y="4"/>
                  </a:moveTo>
                  <a:lnTo>
                    <a:pt x="447" y="0"/>
                  </a:lnTo>
                  <a:lnTo>
                    <a:pt x="447" y="4"/>
                  </a:lnTo>
                  <a:close/>
                  <a:moveTo>
                    <a:pt x="447" y="12"/>
                  </a:moveTo>
                  <a:lnTo>
                    <a:pt x="443" y="12"/>
                  </a:lnTo>
                  <a:lnTo>
                    <a:pt x="443" y="8"/>
                  </a:lnTo>
                  <a:lnTo>
                    <a:pt x="447" y="8"/>
                  </a:lnTo>
                  <a:lnTo>
                    <a:pt x="447" y="12"/>
                  </a:lnTo>
                  <a:close/>
                  <a:moveTo>
                    <a:pt x="359" y="24"/>
                  </a:moveTo>
                  <a:lnTo>
                    <a:pt x="363" y="20"/>
                  </a:lnTo>
                  <a:lnTo>
                    <a:pt x="363" y="16"/>
                  </a:lnTo>
                  <a:lnTo>
                    <a:pt x="363" y="20"/>
                  </a:lnTo>
                  <a:lnTo>
                    <a:pt x="359" y="24"/>
                  </a:lnTo>
                  <a:close/>
                  <a:moveTo>
                    <a:pt x="299" y="24"/>
                  </a:moveTo>
                  <a:lnTo>
                    <a:pt x="299" y="20"/>
                  </a:lnTo>
                  <a:lnTo>
                    <a:pt x="299" y="16"/>
                  </a:lnTo>
                  <a:lnTo>
                    <a:pt x="299" y="20"/>
                  </a:lnTo>
                  <a:lnTo>
                    <a:pt x="299" y="24"/>
                  </a:lnTo>
                  <a:close/>
                  <a:moveTo>
                    <a:pt x="275" y="32"/>
                  </a:moveTo>
                  <a:lnTo>
                    <a:pt x="271" y="32"/>
                  </a:lnTo>
                  <a:lnTo>
                    <a:pt x="267" y="28"/>
                  </a:lnTo>
                  <a:lnTo>
                    <a:pt x="267" y="24"/>
                  </a:lnTo>
                  <a:lnTo>
                    <a:pt x="267" y="20"/>
                  </a:lnTo>
                  <a:lnTo>
                    <a:pt x="271" y="24"/>
                  </a:lnTo>
                  <a:lnTo>
                    <a:pt x="275" y="24"/>
                  </a:lnTo>
                  <a:lnTo>
                    <a:pt x="275" y="20"/>
                  </a:lnTo>
                  <a:lnTo>
                    <a:pt x="275" y="24"/>
                  </a:lnTo>
                  <a:lnTo>
                    <a:pt x="275" y="20"/>
                  </a:lnTo>
                  <a:lnTo>
                    <a:pt x="279" y="20"/>
                  </a:lnTo>
                  <a:lnTo>
                    <a:pt x="279" y="24"/>
                  </a:lnTo>
                  <a:lnTo>
                    <a:pt x="279" y="20"/>
                  </a:lnTo>
                  <a:lnTo>
                    <a:pt x="283" y="20"/>
                  </a:lnTo>
                  <a:lnTo>
                    <a:pt x="283" y="24"/>
                  </a:lnTo>
                  <a:lnTo>
                    <a:pt x="283" y="28"/>
                  </a:lnTo>
                  <a:lnTo>
                    <a:pt x="279" y="28"/>
                  </a:lnTo>
                  <a:lnTo>
                    <a:pt x="279" y="32"/>
                  </a:lnTo>
                  <a:lnTo>
                    <a:pt x="275" y="32"/>
                  </a:lnTo>
                  <a:close/>
                  <a:moveTo>
                    <a:pt x="267" y="32"/>
                  </a:moveTo>
                  <a:lnTo>
                    <a:pt x="263" y="32"/>
                  </a:lnTo>
                  <a:lnTo>
                    <a:pt x="259" y="32"/>
                  </a:lnTo>
                  <a:lnTo>
                    <a:pt x="263" y="28"/>
                  </a:lnTo>
                  <a:lnTo>
                    <a:pt x="263" y="24"/>
                  </a:lnTo>
                  <a:lnTo>
                    <a:pt x="267" y="24"/>
                  </a:lnTo>
                  <a:lnTo>
                    <a:pt x="267" y="28"/>
                  </a:lnTo>
                  <a:lnTo>
                    <a:pt x="271" y="28"/>
                  </a:lnTo>
                  <a:lnTo>
                    <a:pt x="271" y="32"/>
                  </a:lnTo>
                  <a:lnTo>
                    <a:pt x="267" y="32"/>
                  </a:lnTo>
                  <a:close/>
                  <a:moveTo>
                    <a:pt x="355" y="28"/>
                  </a:moveTo>
                  <a:lnTo>
                    <a:pt x="359" y="24"/>
                  </a:lnTo>
                  <a:lnTo>
                    <a:pt x="359" y="28"/>
                  </a:lnTo>
                  <a:lnTo>
                    <a:pt x="355" y="28"/>
                  </a:lnTo>
                  <a:close/>
                  <a:moveTo>
                    <a:pt x="367" y="76"/>
                  </a:moveTo>
                  <a:lnTo>
                    <a:pt x="363" y="76"/>
                  </a:lnTo>
                  <a:lnTo>
                    <a:pt x="359" y="76"/>
                  </a:lnTo>
                  <a:lnTo>
                    <a:pt x="359" y="72"/>
                  </a:lnTo>
                  <a:lnTo>
                    <a:pt x="359" y="68"/>
                  </a:lnTo>
                  <a:lnTo>
                    <a:pt x="363" y="64"/>
                  </a:lnTo>
                  <a:lnTo>
                    <a:pt x="363" y="68"/>
                  </a:lnTo>
                  <a:lnTo>
                    <a:pt x="367" y="68"/>
                  </a:lnTo>
                  <a:lnTo>
                    <a:pt x="363" y="68"/>
                  </a:lnTo>
                  <a:lnTo>
                    <a:pt x="363" y="72"/>
                  </a:lnTo>
                  <a:lnTo>
                    <a:pt x="363" y="76"/>
                  </a:lnTo>
                  <a:lnTo>
                    <a:pt x="367" y="76"/>
                  </a:lnTo>
                  <a:close/>
                  <a:moveTo>
                    <a:pt x="355" y="68"/>
                  </a:moveTo>
                  <a:lnTo>
                    <a:pt x="355" y="64"/>
                  </a:lnTo>
                  <a:lnTo>
                    <a:pt x="355" y="68"/>
                  </a:lnTo>
                  <a:close/>
                  <a:moveTo>
                    <a:pt x="187" y="84"/>
                  </a:moveTo>
                  <a:lnTo>
                    <a:pt x="187" y="80"/>
                  </a:lnTo>
                  <a:lnTo>
                    <a:pt x="187" y="84"/>
                  </a:lnTo>
                  <a:close/>
                  <a:moveTo>
                    <a:pt x="359" y="104"/>
                  </a:moveTo>
                  <a:lnTo>
                    <a:pt x="359" y="100"/>
                  </a:lnTo>
                  <a:lnTo>
                    <a:pt x="359" y="104"/>
                  </a:lnTo>
                  <a:close/>
                  <a:moveTo>
                    <a:pt x="367" y="104"/>
                  </a:moveTo>
                  <a:lnTo>
                    <a:pt x="367" y="100"/>
                  </a:lnTo>
                  <a:lnTo>
                    <a:pt x="367" y="104"/>
                  </a:lnTo>
                  <a:close/>
                  <a:moveTo>
                    <a:pt x="399" y="124"/>
                  </a:moveTo>
                  <a:lnTo>
                    <a:pt x="399" y="120"/>
                  </a:lnTo>
                  <a:lnTo>
                    <a:pt x="403" y="120"/>
                  </a:lnTo>
                  <a:lnTo>
                    <a:pt x="403" y="116"/>
                  </a:lnTo>
                  <a:lnTo>
                    <a:pt x="407" y="116"/>
                  </a:lnTo>
                  <a:lnTo>
                    <a:pt x="407" y="120"/>
                  </a:lnTo>
                  <a:lnTo>
                    <a:pt x="403" y="120"/>
                  </a:lnTo>
                  <a:lnTo>
                    <a:pt x="403" y="124"/>
                  </a:lnTo>
                  <a:lnTo>
                    <a:pt x="399" y="124"/>
                  </a:lnTo>
                  <a:close/>
                  <a:moveTo>
                    <a:pt x="582" y="256"/>
                  </a:moveTo>
                  <a:lnTo>
                    <a:pt x="582" y="252"/>
                  </a:lnTo>
                  <a:lnTo>
                    <a:pt x="578" y="252"/>
                  </a:lnTo>
                  <a:lnTo>
                    <a:pt x="578" y="248"/>
                  </a:lnTo>
                  <a:lnTo>
                    <a:pt x="582" y="252"/>
                  </a:lnTo>
                  <a:lnTo>
                    <a:pt x="582" y="256"/>
                  </a:lnTo>
                  <a:close/>
                  <a:moveTo>
                    <a:pt x="8" y="300"/>
                  </a:moveTo>
                  <a:lnTo>
                    <a:pt x="4" y="300"/>
                  </a:lnTo>
                  <a:lnTo>
                    <a:pt x="4" y="296"/>
                  </a:lnTo>
                  <a:lnTo>
                    <a:pt x="0" y="292"/>
                  </a:lnTo>
                  <a:lnTo>
                    <a:pt x="0" y="288"/>
                  </a:lnTo>
                  <a:lnTo>
                    <a:pt x="4" y="288"/>
                  </a:lnTo>
                  <a:lnTo>
                    <a:pt x="4" y="292"/>
                  </a:lnTo>
                  <a:lnTo>
                    <a:pt x="4" y="296"/>
                  </a:lnTo>
                  <a:lnTo>
                    <a:pt x="4" y="300"/>
                  </a:lnTo>
                  <a:lnTo>
                    <a:pt x="8" y="300"/>
                  </a:lnTo>
                  <a:close/>
                  <a:moveTo>
                    <a:pt x="614" y="323"/>
                  </a:moveTo>
                  <a:lnTo>
                    <a:pt x="614" y="319"/>
                  </a:lnTo>
                  <a:lnTo>
                    <a:pt x="614" y="323"/>
                  </a:lnTo>
                  <a:close/>
                  <a:moveTo>
                    <a:pt x="614" y="331"/>
                  </a:moveTo>
                  <a:lnTo>
                    <a:pt x="614" y="327"/>
                  </a:lnTo>
                  <a:lnTo>
                    <a:pt x="614" y="323"/>
                  </a:lnTo>
                  <a:lnTo>
                    <a:pt x="618" y="327"/>
                  </a:lnTo>
                  <a:lnTo>
                    <a:pt x="614" y="327"/>
                  </a:lnTo>
                  <a:lnTo>
                    <a:pt x="614" y="331"/>
                  </a:lnTo>
                  <a:close/>
                  <a:moveTo>
                    <a:pt x="379" y="491"/>
                  </a:moveTo>
                  <a:lnTo>
                    <a:pt x="383" y="491"/>
                  </a:lnTo>
                  <a:lnTo>
                    <a:pt x="383" y="495"/>
                  </a:lnTo>
                  <a:lnTo>
                    <a:pt x="379" y="491"/>
                  </a:lnTo>
                  <a:lnTo>
                    <a:pt x="375" y="495"/>
                  </a:lnTo>
                  <a:lnTo>
                    <a:pt x="371" y="495"/>
                  </a:lnTo>
                  <a:lnTo>
                    <a:pt x="367" y="495"/>
                  </a:lnTo>
                  <a:lnTo>
                    <a:pt x="363" y="495"/>
                  </a:lnTo>
                  <a:lnTo>
                    <a:pt x="359" y="495"/>
                  </a:lnTo>
                  <a:lnTo>
                    <a:pt x="359" y="491"/>
                  </a:lnTo>
                  <a:lnTo>
                    <a:pt x="367" y="487"/>
                  </a:lnTo>
                  <a:lnTo>
                    <a:pt x="371" y="487"/>
                  </a:lnTo>
                  <a:lnTo>
                    <a:pt x="375" y="487"/>
                  </a:lnTo>
                  <a:lnTo>
                    <a:pt x="375" y="491"/>
                  </a:lnTo>
                  <a:lnTo>
                    <a:pt x="379" y="491"/>
                  </a:lnTo>
                  <a:close/>
                  <a:moveTo>
                    <a:pt x="494" y="543"/>
                  </a:moveTo>
                  <a:lnTo>
                    <a:pt x="490" y="543"/>
                  </a:lnTo>
                  <a:lnTo>
                    <a:pt x="494" y="543"/>
                  </a:lnTo>
                  <a:close/>
                  <a:moveTo>
                    <a:pt x="494" y="547"/>
                  </a:moveTo>
                  <a:lnTo>
                    <a:pt x="490" y="547"/>
                  </a:lnTo>
                  <a:lnTo>
                    <a:pt x="494" y="547"/>
                  </a:lnTo>
                  <a:close/>
                  <a:moveTo>
                    <a:pt x="471" y="579"/>
                  </a:moveTo>
                  <a:lnTo>
                    <a:pt x="471" y="575"/>
                  </a:lnTo>
                  <a:lnTo>
                    <a:pt x="471" y="571"/>
                  </a:lnTo>
                  <a:lnTo>
                    <a:pt x="471" y="567"/>
                  </a:lnTo>
                  <a:lnTo>
                    <a:pt x="475" y="571"/>
                  </a:lnTo>
                  <a:lnTo>
                    <a:pt x="475" y="575"/>
                  </a:lnTo>
                  <a:lnTo>
                    <a:pt x="475" y="579"/>
                  </a:lnTo>
                  <a:lnTo>
                    <a:pt x="471" y="579"/>
                  </a:lnTo>
                  <a:close/>
                  <a:moveTo>
                    <a:pt x="538" y="587"/>
                  </a:moveTo>
                  <a:lnTo>
                    <a:pt x="534" y="587"/>
                  </a:lnTo>
                  <a:lnTo>
                    <a:pt x="534" y="583"/>
                  </a:lnTo>
                  <a:lnTo>
                    <a:pt x="538" y="583"/>
                  </a:lnTo>
                  <a:lnTo>
                    <a:pt x="538" y="587"/>
                  </a:lnTo>
                  <a:close/>
                  <a:moveTo>
                    <a:pt x="518" y="655"/>
                  </a:moveTo>
                  <a:lnTo>
                    <a:pt x="514" y="655"/>
                  </a:lnTo>
                  <a:lnTo>
                    <a:pt x="514" y="651"/>
                  </a:lnTo>
                  <a:lnTo>
                    <a:pt x="510" y="651"/>
                  </a:lnTo>
                  <a:lnTo>
                    <a:pt x="506" y="651"/>
                  </a:lnTo>
                  <a:lnTo>
                    <a:pt x="502" y="651"/>
                  </a:lnTo>
                  <a:lnTo>
                    <a:pt x="502" y="647"/>
                  </a:lnTo>
                  <a:lnTo>
                    <a:pt x="506" y="647"/>
                  </a:lnTo>
                  <a:lnTo>
                    <a:pt x="502" y="647"/>
                  </a:lnTo>
                  <a:lnTo>
                    <a:pt x="498" y="647"/>
                  </a:lnTo>
                  <a:lnTo>
                    <a:pt x="498" y="643"/>
                  </a:lnTo>
                  <a:lnTo>
                    <a:pt x="498" y="639"/>
                  </a:lnTo>
                  <a:lnTo>
                    <a:pt x="494" y="639"/>
                  </a:lnTo>
                  <a:lnTo>
                    <a:pt x="494" y="635"/>
                  </a:lnTo>
                  <a:lnTo>
                    <a:pt x="494" y="631"/>
                  </a:lnTo>
                  <a:lnTo>
                    <a:pt x="490" y="631"/>
                  </a:lnTo>
                  <a:lnTo>
                    <a:pt x="490" y="627"/>
                  </a:lnTo>
                  <a:lnTo>
                    <a:pt x="490" y="623"/>
                  </a:lnTo>
                  <a:lnTo>
                    <a:pt x="490" y="627"/>
                  </a:lnTo>
                  <a:lnTo>
                    <a:pt x="494" y="627"/>
                  </a:lnTo>
                  <a:lnTo>
                    <a:pt x="494" y="631"/>
                  </a:lnTo>
                  <a:lnTo>
                    <a:pt x="494" y="627"/>
                  </a:lnTo>
                  <a:lnTo>
                    <a:pt x="490" y="623"/>
                  </a:lnTo>
                  <a:lnTo>
                    <a:pt x="490" y="619"/>
                  </a:lnTo>
                  <a:lnTo>
                    <a:pt x="486" y="615"/>
                  </a:lnTo>
                  <a:lnTo>
                    <a:pt x="486" y="611"/>
                  </a:lnTo>
                  <a:lnTo>
                    <a:pt x="483" y="607"/>
                  </a:lnTo>
                  <a:lnTo>
                    <a:pt x="483" y="603"/>
                  </a:lnTo>
                  <a:lnTo>
                    <a:pt x="483" y="599"/>
                  </a:lnTo>
                  <a:lnTo>
                    <a:pt x="483" y="595"/>
                  </a:lnTo>
                  <a:lnTo>
                    <a:pt x="483" y="591"/>
                  </a:lnTo>
                  <a:lnTo>
                    <a:pt x="486" y="591"/>
                  </a:lnTo>
                  <a:lnTo>
                    <a:pt x="486" y="595"/>
                  </a:lnTo>
                  <a:lnTo>
                    <a:pt x="490" y="595"/>
                  </a:lnTo>
                  <a:lnTo>
                    <a:pt x="494" y="595"/>
                  </a:lnTo>
                  <a:lnTo>
                    <a:pt x="498" y="599"/>
                  </a:lnTo>
                  <a:lnTo>
                    <a:pt x="502" y="599"/>
                  </a:lnTo>
                  <a:lnTo>
                    <a:pt x="506" y="603"/>
                  </a:lnTo>
                  <a:lnTo>
                    <a:pt x="510" y="603"/>
                  </a:lnTo>
                  <a:lnTo>
                    <a:pt x="514" y="599"/>
                  </a:lnTo>
                  <a:lnTo>
                    <a:pt x="514" y="603"/>
                  </a:lnTo>
                  <a:lnTo>
                    <a:pt x="518" y="603"/>
                  </a:lnTo>
                  <a:lnTo>
                    <a:pt x="518" y="599"/>
                  </a:lnTo>
                  <a:lnTo>
                    <a:pt x="514" y="599"/>
                  </a:lnTo>
                  <a:lnTo>
                    <a:pt x="518" y="599"/>
                  </a:lnTo>
                  <a:lnTo>
                    <a:pt x="522" y="599"/>
                  </a:lnTo>
                  <a:lnTo>
                    <a:pt x="526" y="599"/>
                  </a:lnTo>
                  <a:lnTo>
                    <a:pt x="526" y="595"/>
                  </a:lnTo>
                  <a:lnTo>
                    <a:pt x="530" y="595"/>
                  </a:lnTo>
                  <a:lnTo>
                    <a:pt x="534" y="591"/>
                  </a:lnTo>
                  <a:lnTo>
                    <a:pt x="534" y="595"/>
                  </a:lnTo>
                  <a:lnTo>
                    <a:pt x="538" y="595"/>
                  </a:lnTo>
                  <a:lnTo>
                    <a:pt x="538" y="599"/>
                  </a:lnTo>
                  <a:lnTo>
                    <a:pt x="538" y="603"/>
                  </a:lnTo>
                  <a:lnTo>
                    <a:pt x="538" y="607"/>
                  </a:lnTo>
                  <a:lnTo>
                    <a:pt x="538" y="611"/>
                  </a:lnTo>
                  <a:lnTo>
                    <a:pt x="538" y="615"/>
                  </a:lnTo>
                  <a:lnTo>
                    <a:pt x="538" y="619"/>
                  </a:lnTo>
                  <a:lnTo>
                    <a:pt x="538" y="623"/>
                  </a:lnTo>
                  <a:lnTo>
                    <a:pt x="538" y="619"/>
                  </a:lnTo>
                  <a:lnTo>
                    <a:pt x="534" y="619"/>
                  </a:lnTo>
                  <a:lnTo>
                    <a:pt x="534" y="623"/>
                  </a:lnTo>
                  <a:lnTo>
                    <a:pt x="534" y="631"/>
                  </a:lnTo>
                  <a:lnTo>
                    <a:pt x="530" y="631"/>
                  </a:lnTo>
                  <a:lnTo>
                    <a:pt x="530" y="635"/>
                  </a:lnTo>
                  <a:lnTo>
                    <a:pt x="530" y="639"/>
                  </a:lnTo>
                  <a:lnTo>
                    <a:pt x="530" y="635"/>
                  </a:lnTo>
                  <a:lnTo>
                    <a:pt x="534" y="639"/>
                  </a:lnTo>
                  <a:lnTo>
                    <a:pt x="530" y="643"/>
                  </a:lnTo>
                  <a:lnTo>
                    <a:pt x="534" y="643"/>
                  </a:lnTo>
                  <a:lnTo>
                    <a:pt x="530" y="643"/>
                  </a:lnTo>
                  <a:lnTo>
                    <a:pt x="530" y="647"/>
                  </a:lnTo>
                  <a:lnTo>
                    <a:pt x="526" y="643"/>
                  </a:lnTo>
                  <a:lnTo>
                    <a:pt x="526" y="639"/>
                  </a:lnTo>
                  <a:lnTo>
                    <a:pt x="530" y="639"/>
                  </a:lnTo>
                  <a:lnTo>
                    <a:pt x="530" y="643"/>
                  </a:lnTo>
                  <a:lnTo>
                    <a:pt x="530" y="639"/>
                  </a:lnTo>
                  <a:lnTo>
                    <a:pt x="526" y="635"/>
                  </a:lnTo>
                  <a:lnTo>
                    <a:pt x="526" y="639"/>
                  </a:lnTo>
                  <a:lnTo>
                    <a:pt x="522" y="639"/>
                  </a:lnTo>
                  <a:lnTo>
                    <a:pt x="522" y="635"/>
                  </a:lnTo>
                  <a:lnTo>
                    <a:pt x="522" y="639"/>
                  </a:lnTo>
                  <a:lnTo>
                    <a:pt x="522" y="643"/>
                  </a:lnTo>
                  <a:lnTo>
                    <a:pt x="522" y="647"/>
                  </a:lnTo>
                  <a:lnTo>
                    <a:pt x="518" y="647"/>
                  </a:lnTo>
                  <a:lnTo>
                    <a:pt x="518" y="643"/>
                  </a:lnTo>
                  <a:lnTo>
                    <a:pt x="518" y="647"/>
                  </a:lnTo>
                  <a:lnTo>
                    <a:pt x="518" y="651"/>
                  </a:lnTo>
                  <a:lnTo>
                    <a:pt x="518" y="655"/>
                  </a:lnTo>
                  <a:close/>
                  <a:moveTo>
                    <a:pt x="522" y="647"/>
                  </a:moveTo>
                  <a:lnTo>
                    <a:pt x="522" y="643"/>
                  </a:lnTo>
                  <a:lnTo>
                    <a:pt x="522" y="647"/>
                  </a:lnTo>
                  <a:close/>
                  <a:moveTo>
                    <a:pt x="522" y="651"/>
                  </a:moveTo>
                  <a:lnTo>
                    <a:pt x="518" y="651"/>
                  </a:lnTo>
                  <a:lnTo>
                    <a:pt x="522" y="647"/>
                  </a:lnTo>
                  <a:lnTo>
                    <a:pt x="522" y="65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4" name="Freeform 182"/>
            <p:cNvSpPr>
              <a:spLocks noEditPoints="1"/>
            </p:cNvSpPr>
            <p:nvPr>
              <p:custDataLst>
                <p:tags r:id="rId377"/>
              </p:custDataLst>
            </p:nvPr>
          </p:nvSpPr>
          <p:spPr bwMode="gray">
            <a:xfrm>
              <a:off x="1920107" y="5072018"/>
              <a:ext cx="965474" cy="1171620"/>
            </a:xfrm>
            <a:custGeom>
              <a:avLst/>
              <a:gdLst/>
              <a:ahLst/>
              <a:cxnLst>
                <a:cxn ang="0">
                  <a:pos x="559" y="475"/>
                </a:cxn>
                <a:cxn ang="0">
                  <a:pos x="547" y="419"/>
                </a:cxn>
                <a:cxn ang="0">
                  <a:pos x="563" y="343"/>
                </a:cxn>
                <a:cxn ang="0">
                  <a:pos x="575" y="247"/>
                </a:cxn>
                <a:cxn ang="0">
                  <a:pos x="591" y="152"/>
                </a:cxn>
                <a:cxn ang="0">
                  <a:pos x="595" y="64"/>
                </a:cxn>
                <a:cxn ang="0">
                  <a:pos x="615" y="32"/>
                </a:cxn>
                <a:cxn ang="0">
                  <a:pos x="643" y="104"/>
                </a:cxn>
                <a:cxn ang="0">
                  <a:pos x="611" y="191"/>
                </a:cxn>
                <a:cxn ang="0">
                  <a:pos x="591" y="275"/>
                </a:cxn>
                <a:cxn ang="0">
                  <a:pos x="591" y="363"/>
                </a:cxn>
                <a:cxn ang="0">
                  <a:pos x="571" y="443"/>
                </a:cxn>
                <a:cxn ang="0">
                  <a:pos x="571" y="519"/>
                </a:cxn>
                <a:cxn ang="0">
                  <a:pos x="571" y="575"/>
                </a:cxn>
                <a:cxn ang="0">
                  <a:pos x="543" y="646"/>
                </a:cxn>
                <a:cxn ang="0">
                  <a:pos x="599" y="702"/>
                </a:cxn>
                <a:cxn ang="0">
                  <a:pos x="563" y="738"/>
                </a:cxn>
                <a:cxn ang="0">
                  <a:pos x="555" y="730"/>
                </a:cxn>
                <a:cxn ang="0">
                  <a:pos x="555" y="714"/>
                </a:cxn>
                <a:cxn ang="0">
                  <a:pos x="551" y="706"/>
                </a:cxn>
                <a:cxn ang="0">
                  <a:pos x="559" y="694"/>
                </a:cxn>
                <a:cxn ang="0">
                  <a:pos x="539" y="686"/>
                </a:cxn>
                <a:cxn ang="0">
                  <a:pos x="539" y="662"/>
                </a:cxn>
                <a:cxn ang="0">
                  <a:pos x="535" y="642"/>
                </a:cxn>
                <a:cxn ang="0">
                  <a:pos x="547" y="614"/>
                </a:cxn>
                <a:cxn ang="0">
                  <a:pos x="531" y="587"/>
                </a:cxn>
                <a:cxn ang="0">
                  <a:pos x="523" y="571"/>
                </a:cxn>
                <a:cxn ang="0">
                  <a:pos x="543" y="575"/>
                </a:cxn>
                <a:cxn ang="0">
                  <a:pos x="547" y="531"/>
                </a:cxn>
                <a:cxn ang="0">
                  <a:pos x="535" y="531"/>
                </a:cxn>
                <a:cxn ang="0">
                  <a:pos x="535" y="686"/>
                </a:cxn>
                <a:cxn ang="0">
                  <a:pos x="543" y="503"/>
                </a:cxn>
                <a:cxn ang="0">
                  <a:pos x="539" y="495"/>
                </a:cxn>
                <a:cxn ang="0">
                  <a:pos x="539" y="527"/>
                </a:cxn>
                <a:cxn ang="0">
                  <a:pos x="535" y="535"/>
                </a:cxn>
                <a:cxn ang="0">
                  <a:pos x="535" y="543"/>
                </a:cxn>
                <a:cxn ang="0">
                  <a:pos x="527" y="551"/>
                </a:cxn>
                <a:cxn ang="0">
                  <a:pos x="535" y="563"/>
                </a:cxn>
                <a:cxn ang="0">
                  <a:pos x="531" y="610"/>
                </a:cxn>
                <a:cxn ang="0">
                  <a:pos x="511" y="610"/>
                </a:cxn>
                <a:cxn ang="0">
                  <a:pos x="527" y="614"/>
                </a:cxn>
                <a:cxn ang="0">
                  <a:pos x="527" y="654"/>
                </a:cxn>
                <a:cxn ang="0">
                  <a:pos x="519" y="638"/>
                </a:cxn>
                <a:cxn ang="0">
                  <a:pos x="515" y="638"/>
                </a:cxn>
                <a:cxn ang="0">
                  <a:pos x="515" y="658"/>
                </a:cxn>
                <a:cxn ang="0">
                  <a:pos x="515" y="674"/>
                </a:cxn>
                <a:cxn ang="0">
                  <a:pos x="519" y="686"/>
                </a:cxn>
                <a:cxn ang="0">
                  <a:pos x="523" y="694"/>
                </a:cxn>
                <a:cxn ang="0">
                  <a:pos x="523" y="702"/>
                </a:cxn>
                <a:cxn ang="0">
                  <a:pos x="539" y="706"/>
                </a:cxn>
                <a:cxn ang="0">
                  <a:pos x="579" y="758"/>
                </a:cxn>
                <a:cxn ang="0">
                  <a:pos x="587" y="754"/>
                </a:cxn>
                <a:cxn ang="0">
                  <a:pos x="599" y="738"/>
                </a:cxn>
                <a:cxn ang="0">
                  <a:pos x="619" y="746"/>
                </a:cxn>
                <a:cxn ang="0">
                  <a:pos x="543" y="718"/>
                </a:cxn>
                <a:cxn ang="0">
                  <a:pos x="559" y="738"/>
                </a:cxn>
                <a:cxn ang="0">
                  <a:pos x="591" y="734"/>
                </a:cxn>
                <a:cxn ang="0">
                  <a:pos x="575" y="754"/>
                </a:cxn>
                <a:cxn ang="0">
                  <a:pos x="591" y="766"/>
                </a:cxn>
                <a:cxn ang="0">
                  <a:pos x="639" y="766"/>
                </a:cxn>
                <a:cxn ang="0">
                  <a:pos x="615" y="774"/>
                </a:cxn>
                <a:cxn ang="0">
                  <a:pos x="623" y="774"/>
                </a:cxn>
                <a:cxn ang="0">
                  <a:pos x="635" y="790"/>
                </a:cxn>
              </a:cxnLst>
              <a:rect l="0" t="0" r="r" b="b"/>
              <a:pathLst>
                <a:path w="651" h="790">
                  <a:moveTo>
                    <a:pt x="551" y="519"/>
                  </a:moveTo>
                  <a:lnTo>
                    <a:pt x="551" y="515"/>
                  </a:lnTo>
                  <a:lnTo>
                    <a:pt x="551" y="511"/>
                  </a:lnTo>
                  <a:lnTo>
                    <a:pt x="551" y="507"/>
                  </a:lnTo>
                  <a:lnTo>
                    <a:pt x="551" y="503"/>
                  </a:lnTo>
                  <a:lnTo>
                    <a:pt x="555" y="503"/>
                  </a:lnTo>
                  <a:lnTo>
                    <a:pt x="555" y="507"/>
                  </a:lnTo>
                  <a:lnTo>
                    <a:pt x="555" y="503"/>
                  </a:lnTo>
                  <a:lnTo>
                    <a:pt x="555" y="499"/>
                  </a:lnTo>
                  <a:lnTo>
                    <a:pt x="555" y="495"/>
                  </a:lnTo>
                  <a:lnTo>
                    <a:pt x="559" y="495"/>
                  </a:lnTo>
                  <a:lnTo>
                    <a:pt x="555" y="495"/>
                  </a:lnTo>
                  <a:lnTo>
                    <a:pt x="555" y="491"/>
                  </a:lnTo>
                  <a:lnTo>
                    <a:pt x="555" y="487"/>
                  </a:lnTo>
                  <a:lnTo>
                    <a:pt x="559" y="487"/>
                  </a:lnTo>
                  <a:lnTo>
                    <a:pt x="559" y="491"/>
                  </a:lnTo>
                  <a:lnTo>
                    <a:pt x="559" y="487"/>
                  </a:lnTo>
                  <a:lnTo>
                    <a:pt x="559" y="483"/>
                  </a:lnTo>
                  <a:lnTo>
                    <a:pt x="555" y="483"/>
                  </a:lnTo>
                  <a:lnTo>
                    <a:pt x="551" y="483"/>
                  </a:lnTo>
                  <a:lnTo>
                    <a:pt x="555" y="483"/>
                  </a:lnTo>
                  <a:lnTo>
                    <a:pt x="555" y="479"/>
                  </a:lnTo>
                  <a:lnTo>
                    <a:pt x="559" y="479"/>
                  </a:lnTo>
                  <a:lnTo>
                    <a:pt x="559" y="475"/>
                  </a:lnTo>
                  <a:lnTo>
                    <a:pt x="563" y="475"/>
                  </a:lnTo>
                  <a:lnTo>
                    <a:pt x="563" y="471"/>
                  </a:lnTo>
                  <a:lnTo>
                    <a:pt x="559" y="471"/>
                  </a:lnTo>
                  <a:lnTo>
                    <a:pt x="559" y="475"/>
                  </a:lnTo>
                  <a:lnTo>
                    <a:pt x="555" y="475"/>
                  </a:lnTo>
                  <a:lnTo>
                    <a:pt x="555" y="471"/>
                  </a:lnTo>
                  <a:lnTo>
                    <a:pt x="551" y="471"/>
                  </a:lnTo>
                  <a:lnTo>
                    <a:pt x="551" y="475"/>
                  </a:lnTo>
                  <a:lnTo>
                    <a:pt x="547" y="479"/>
                  </a:lnTo>
                  <a:lnTo>
                    <a:pt x="543" y="479"/>
                  </a:lnTo>
                  <a:lnTo>
                    <a:pt x="539" y="479"/>
                  </a:lnTo>
                  <a:lnTo>
                    <a:pt x="539" y="475"/>
                  </a:lnTo>
                  <a:lnTo>
                    <a:pt x="543" y="475"/>
                  </a:lnTo>
                  <a:lnTo>
                    <a:pt x="543" y="471"/>
                  </a:lnTo>
                  <a:lnTo>
                    <a:pt x="543" y="475"/>
                  </a:lnTo>
                  <a:lnTo>
                    <a:pt x="539" y="475"/>
                  </a:lnTo>
                  <a:lnTo>
                    <a:pt x="539" y="471"/>
                  </a:lnTo>
                  <a:lnTo>
                    <a:pt x="539" y="467"/>
                  </a:lnTo>
                  <a:lnTo>
                    <a:pt x="535" y="467"/>
                  </a:lnTo>
                  <a:lnTo>
                    <a:pt x="535" y="463"/>
                  </a:lnTo>
                  <a:lnTo>
                    <a:pt x="535" y="459"/>
                  </a:lnTo>
                  <a:lnTo>
                    <a:pt x="539" y="455"/>
                  </a:lnTo>
                  <a:lnTo>
                    <a:pt x="539" y="451"/>
                  </a:lnTo>
                  <a:lnTo>
                    <a:pt x="539" y="443"/>
                  </a:lnTo>
                  <a:lnTo>
                    <a:pt x="539" y="439"/>
                  </a:lnTo>
                  <a:lnTo>
                    <a:pt x="543" y="439"/>
                  </a:lnTo>
                  <a:lnTo>
                    <a:pt x="547" y="439"/>
                  </a:lnTo>
                  <a:lnTo>
                    <a:pt x="547" y="435"/>
                  </a:lnTo>
                  <a:lnTo>
                    <a:pt x="547" y="431"/>
                  </a:lnTo>
                  <a:lnTo>
                    <a:pt x="547" y="427"/>
                  </a:lnTo>
                  <a:lnTo>
                    <a:pt x="547" y="423"/>
                  </a:lnTo>
                  <a:lnTo>
                    <a:pt x="547" y="419"/>
                  </a:lnTo>
                  <a:lnTo>
                    <a:pt x="543" y="415"/>
                  </a:lnTo>
                  <a:lnTo>
                    <a:pt x="543" y="411"/>
                  </a:lnTo>
                  <a:lnTo>
                    <a:pt x="543" y="407"/>
                  </a:lnTo>
                  <a:lnTo>
                    <a:pt x="543" y="403"/>
                  </a:lnTo>
                  <a:lnTo>
                    <a:pt x="543" y="399"/>
                  </a:lnTo>
                  <a:lnTo>
                    <a:pt x="543" y="395"/>
                  </a:lnTo>
                  <a:lnTo>
                    <a:pt x="539" y="395"/>
                  </a:lnTo>
                  <a:lnTo>
                    <a:pt x="539" y="391"/>
                  </a:lnTo>
                  <a:lnTo>
                    <a:pt x="543" y="391"/>
                  </a:lnTo>
                  <a:lnTo>
                    <a:pt x="543" y="387"/>
                  </a:lnTo>
                  <a:lnTo>
                    <a:pt x="539" y="387"/>
                  </a:lnTo>
                  <a:lnTo>
                    <a:pt x="543" y="383"/>
                  </a:lnTo>
                  <a:lnTo>
                    <a:pt x="547" y="383"/>
                  </a:lnTo>
                  <a:lnTo>
                    <a:pt x="547" y="379"/>
                  </a:lnTo>
                  <a:lnTo>
                    <a:pt x="547" y="375"/>
                  </a:lnTo>
                  <a:lnTo>
                    <a:pt x="551" y="375"/>
                  </a:lnTo>
                  <a:lnTo>
                    <a:pt x="551" y="371"/>
                  </a:lnTo>
                  <a:lnTo>
                    <a:pt x="551" y="367"/>
                  </a:lnTo>
                  <a:lnTo>
                    <a:pt x="555" y="367"/>
                  </a:lnTo>
                  <a:lnTo>
                    <a:pt x="555" y="363"/>
                  </a:lnTo>
                  <a:lnTo>
                    <a:pt x="555" y="359"/>
                  </a:lnTo>
                  <a:lnTo>
                    <a:pt x="555" y="355"/>
                  </a:lnTo>
                  <a:lnTo>
                    <a:pt x="559" y="355"/>
                  </a:lnTo>
                  <a:lnTo>
                    <a:pt x="555" y="351"/>
                  </a:lnTo>
                  <a:lnTo>
                    <a:pt x="559" y="351"/>
                  </a:lnTo>
                  <a:lnTo>
                    <a:pt x="559" y="347"/>
                  </a:lnTo>
                  <a:lnTo>
                    <a:pt x="559" y="343"/>
                  </a:lnTo>
                  <a:lnTo>
                    <a:pt x="563" y="343"/>
                  </a:lnTo>
                  <a:lnTo>
                    <a:pt x="563" y="339"/>
                  </a:lnTo>
                  <a:lnTo>
                    <a:pt x="563" y="335"/>
                  </a:lnTo>
                  <a:lnTo>
                    <a:pt x="567" y="331"/>
                  </a:lnTo>
                  <a:lnTo>
                    <a:pt x="567" y="327"/>
                  </a:lnTo>
                  <a:lnTo>
                    <a:pt x="567" y="323"/>
                  </a:lnTo>
                  <a:lnTo>
                    <a:pt x="567" y="319"/>
                  </a:lnTo>
                  <a:lnTo>
                    <a:pt x="567" y="315"/>
                  </a:lnTo>
                  <a:lnTo>
                    <a:pt x="571" y="315"/>
                  </a:lnTo>
                  <a:lnTo>
                    <a:pt x="571" y="311"/>
                  </a:lnTo>
                  <a:lnTo>
                    <a:pt x="571" y="307"/>
                  </a:lnTo>
                  <a:lnTo>
                    <a:pt x="571" y="303"/>
                  </a:lnTo>
                  <a:lnTo>
                    <a:pt x="571" y="299"/>
                  </a:lnTo>
                  <a:lnTo>
                    <a:pt x="575" y="295"/>
                  </a:lnTo>
                  <a:lnTo>
                    <a:pt x="575" y="291"/>
                  </a:lnTo>
                  <a:lnTo>
                    <a:pt x="575" y="287"/>
                  </a:lnTo>
                  <a:lnTo>
                    <a:pt x="575" y="283"/>
                  </a:lnTo>
                  <a:lnTo>
                    <a:pt x="575" y="279"/>
                  </a:lnTo>
                  <a:lnTo>
                    <a:pt x="575" y="275"/>
                  </a:lnTo>
                  <a:lnTo>
                    <a:pt x="571" y="271"/>
                  </a:lnTo>
                  <a:lnTo>
                    <a:pt x="571" y="267"/>
                  </a:lnTo>
                  <a:lnTo>
                    <a:pt x="571" y="263"/>
                  </a:lnTo>
                  <a:lnTo>
                    <a:pt x="571" y="259"/>
                  </a:lnTo>
                  <a:lnTo>
                    <a:pt x="571" y="255"/>
                  </a:lnTo>
                  <a:lnTo>
                    <a:pt x="571" y="251"/>
                  </a:lnTo>
                  <a:lnTo>
                    <a:pt x="571" y="247"/>
                  </a:lnTo>
                  <a:lnTo>
                    <a:pt x="571" y="243"/>
                  </a:lnTo>
                  <a:lnTo>
                    <a:pt x="571" y="247"/>
                  </a:lnTo>
                  <a:lnTo>
                    <a:pt x="575" y="247"/>
                  </a:lnTo>
                  <a:lnTo>
                    <a:pt x="575" y="243"/>
                  </a:lnTo>
                  <a:lnTo>
                    <a:pt x="575" y="239"/>
                  </a:lnTo>
                  <a:lnTo>
                    <a:pt x="575" y="235"/>
                  </a:lnTo>
                  <a:lnTo>
                    <a:pt x="575" y="231"/>
                  </a:lnTo>
                  <a:lnTo>
                    <a:pt x="575" y="227"/>
                  </a:lnTo>
                  <a:lnTo>
                    <a:pt x="575" y="223"/>
                  </a:lnTo>
                  <a:lnTo>
                    <a:pt x="575" y="219"/>
                  </a:lnTo>
                  <a:lnTo>
                    <a:pt x="575" y="215"/>
                  </a:lnTo>
                  <a:lnTo>
                    <a:pt x="575" y="211"/>
                  </a:lnTo>
                  <a:lnTo>
                    <a:pt x="579" y="211"/>
                  </a:lnTo>
                  <a:lnTo>
                    <a:pt x="579" y="207"/>
                  </a:lnTo>
                  <a:lnTo>
                    <a:pt x="579" y="203"/>
                  </a:lnTo>
                  <a:lnTo>
                    <a:pt x="579" y="199"/>
                  </a:lnTo>
                  <a:lnTo>
                    <a:pt x="579" y="195"/>
                  </a:lnTo>
                  <a:lnTo>
                    <a:pt x="583" y="195"/>
                  </a:lnTo>
                  <a:lnTo>
                    <a:pt x="583" y="191"/>
                  </a:lnTo>
                  <a:lnTo>
                    <a:pt x="583" y="187"/>
                  </a:lnTo>
                  <a:lnTo>
                    <a:pt x="583" y="183"/>
                  </a:lnTo>
                  <a:lnTo>
                    <a:pt x="583" y="179"/>
                  </a:lnTo>
                  <a:lnTo>
                    <a:pt x="583" y="175"/>
                  </a:lnTo>
                  <a:lnTo>
                    <a:pt x="587" y="175"/>
                  </a:lnTo>
                  <a:lnTo>
                    <a:pt x="587" y="171"/>
                  </a:lnTo>
                  <a:lnTo>
                    <a:pt x="587" y="168"/>
                  </a:lnTo>
                  <a:lnTo>
                    <a:pt x="587" y="164"/>
                  </a:lnTo>
                  <a:lnTo>
                    <a:pt x="587" y="160"/>
                  </a:lnTo>
                  <a:lnTo>
                    <a:pt x="587" y="156"/>
                  </a:lnTo>
                  <a:lnTo>
                    <a:pt x="587" y="152"/>
                  </a:lnTo>
                  <a:lnTo>
                    <a:pt x="591" y="152"/>
                  </a:lnTo>
                  <a:lnTo>
                    <a:pt x="591" y="148"/>
                  </a:lnTo>
                  <a:lnTo>
                    <a:pt x="587" y="144"/>
                  </a:lnTo>
                  <a:lnTo>
                    <a:pt x="587" y="140"/>
                  </a:lnTo>
                  <a:lnTo>
                    <a:pt x="587" y="136"/>
                  </a:lnTo>
                  <a:lnTo>
                    <a:pt x="587" y="132"/>
                  </a:lnTo>
                  <a:lnTo>
                    <a:pt x="587" y="128"/>
                  </a:lnTo>
                  <a:lnTo>
                    <a:pt x="587" y="124"/>
                  </a:lnTo>
                  <a:lnTo>
                    <a:pt x="587" y="120"/>
                  </a:lnTo>
                  <a:lnTo>
                    <a:pt x="591" y="120"/>
                  </a:lnTo>
                  <a:lnTo>
                    <a:pt x="591" y="116"/>
                  </a:lnTo>
                  <a:lnTo>
                    <a:pt x="591" y="112"/>
                  </a:lnTo>
                  <a:lnTo>
                    <a:pt x="587" y="112"/>
                  </a:lnTo>
                  <a:lnTo>
                    <a:pt x="587" y="116"/>
                  </a:lnTo>
                  <a:lnTo>
                    <a:pt x="587" y="112"/>
                  </a:lnTo>
                  <a:lnTo>
                    <a:pt x="587" y="108"/>
                  </a:lnTo>
                  <a:lnTo>
                    <a:pt x="587" y="104"/>
                  </a:lnTo>
                  <a:lnTo>
                    <a:pt x="587" y="108"/>
                  </a:lnTo>
                  <a:lnTo>
                    <a:pt x="591" y="108"/>
                  </a:lnTo>
                  <a:lnTo>
                    <a:pt x="591" y="104"/>
                  </a:lnTo>
                  <a:lnTo>
                    <a:pt x="591" y="100"/>
                  </a:lnTo>
                  <a:lnTo>
                    <a:pt x="591" y="96"/>
                  </a:lnTo>
                  <a:lnTo>
                    <a:pt x="591" y="92"/>
                  </a:lnTo>
                  <a:lnTo>
                    <a:pt x="595" y="88"/>
                  </a:lnTo>
                  <a:lnTo>
                    <a:pt x="595" y="80"/>
                  </a:lnTo>
                  <a:lnTo>
                    <a:pt x="595" y="76"/>
                  </a:lnTo>
                  <a:lnTo>
                    <a:pt x="595" y="72"/>
                  </a:lnTo>
                  <a:lnTo>
                    <a:pt x="595" y="68"/>
                  </a:lnTo>
                  <a:lnTo>
                    <a:pt x="595" y="64"/>
                  </a:lnTo>
                  <a:lnTo>
                    <a:pt x="595" y="56"/>
                  </a:lnTo>
                  <a:lnTo>
                    <a:pt x="595" y="52"/>
                  </a:lnTo>
                  <a:lnTo>
                    <a:pt x="595" y="48"/>
                  </a:lnTo>
                  <a:lnTo>
                    <a:pt x="595" y="44"/>
                  </a:lnTo>
                  <a:lnTo>
                    <a:pt x="595" y="40"/>
                  </a:lnTo>
                  <a:lnTo>
                    <a:pt x="591" y="36"/>
                  </a:lnTo>
                  <a:lnTo>
                    <a:pt x="591" y="32"/>
                  </a:lnTo>
                  <a:lnTo>
                    <a:pt x="591" y="28"/>
                  </a:lnTo>
                  <a:lnTo>
                    <a:pt x="591" y="24"/>
                  </a:lnTo>
                  <a:lnTo>
                    <a:pt x="591" y="20"/>
                  </a:lnTo>
                  <a:lnTo>
                    <a:pt x="591" y="16"/>
                  </a:lnTo>
                  <a:lnTo>
                    <a:pt x="595" y="16"/>
                  </a:lnTo>
                  <a:lnTo>
                    <a:pt x="599" y="16"/>
                  </a:lnTo>
                  <a:lnTo>
                    <a:pt x="599" y="12"/>
                  </a:lnTo>
                  <a:lnTo>
                    <a:pt x="599" y="8"/>
                  </a:lnTo>
                  <a:lnTo>
                    <a:pt x="599" y="4"/>
                  </a:lnTo>
                  <a:lnTo>
                    <a:pt x="603" y="4"/>
                  </a:lnTo>
                  <a:lnTo>
                    <a:pt x="603" y="0"/>
                  </a:lnTo>
                  <a:lnTo>
                    <a:pt x="603" y="4"/>
                  </a:lnTo>
                  <a:lnTo>
                    <a:pt x="607" y="4"/>
                  </a:lnTo>
                  <a:lnTo>
                    <a:pt x="607" y="8"/>
                  </a:lnTo>
                  <a:lnTo>
                    <a:pt x="607" y="12"/>
                  </a:lnTo>
                  <a:lnTo>
                    <a:pt x="611" y="12"/>
                  </a:lnTo>
                  <a:lnTo>
                    <a:pt x="611" y="16"/>
                  </a:lnTo>
                  <a:lnTo>
                    <a:pt x="611" y="20"/>
                  </a:lnTo>
                  <a:lnTo>
                    <a:pt x="611" y="24"/>
                  </a:lnTo>
                  <a:lnTo>
                    <a:pt x="611" y="28"/>
                  </a:lnTo>
                  <a:lnTo>
                    <a:pt x="615" y="32"/>
                  </a:lnTo>
                  <a:lnTo>
                    <a:pt x="615" y="36"/>
                  </a:lnTo>
                  <a:lnTo>
                    <a:pt x="619" y="36"/>
                  </a:lnTo>
                  <a:lnTo>
                    <a:pt x="619" y="40"/>
                  </a:lnTo>
                  <a:lnTo>
                    <a:pt x="615" y="44"/>
                  </a:lnTo>
                  <a:lnTo>
                    <a:pt x="619" y="44"/>
                  </a:lnTo>
                  <a:lnTo>
                    <a:pt x="619" y="48"/>
                  </a:lnTo>
                  <a:lnTo>
                    <a:pt x="615" y="48"/>
                  </a:lnTo>
                  <a:lnTo>
                    <a:pt x="615" y="52"/>
                  </a:lnTo>
                  <a:lnTo>
                    <a:pt x="615" y="56"/>
                  </a:lnTo>
                  <a:lnTo>
                    <a:pt x="615" y="60"/>
                  </a:lnTo>
                  <a:lnTo>
                    <a:pt x="619" y="60"/>
                  </a:lnTo>
                  <a:lnTo>
                    <a:pt x="619" y="64"/>
                  </a:lnTo>
                  <a:lnTo>
                    <a:pt x="619" y="68"/>
                  </a:lnTo>
                  <a:lnTo>
                    <a:pt x="619" y="64"/>
                  </a:lnTo>
                  <a:lnTo>
                    <a:pt x="623" y="72"/>
                  </a:lnTo>
                  <a:lnTo>
                    <a:pt x="623" y="80"/>
                  </a:lnTo>
                  <a:lnTo>
                    <a:pt x="627" y="80"/>
                  </a:lnTo>
                  <a:lnTo>
                    <a:pt x="627" y="84"/>
                  </a:lnTo>
                  <a:lnTo>
                    <a:pt x="627" y="88"/>
                  </a:lnTo>
                  <a:lnTo>
                    <a:pt x="627" y="92"/>
                  </a:lnTo>
                  <a:lnTo>
                    <a:pt x="627" y="96"/>
                  </a:lnTo>
                  <a:lnTo>
                    <a:pt x="631" y="96"/>
                  </a:lnTo>
                  <a:lnTo>
                    <a:pt x="627" y="100"/>
                  </a:lnTo>
                  <a:lnTo>
                    <a:pt x="631" y="104"/>
                  </a:lnTo>
                  <a:lnTo>
                    <a:pt x="635" y="104"/>
                  </a:lnTo>
                  <a:lnTo>
                    <a:pt x="639" y="100"/>
                  </a:lnTo>
                  <a:lnTo>
                    <a:pt x="639" y="104"/>
                  </a:lnTo>
                  <a:lnTo>
                    <a:pt x="643" y="104"/>
                  </a:lnTo>
                  <a:lnTo>
                    <a:pt x="643" y="108"/>
                  </a:lnTo>
                  <a:lnTo>
                    <a:pt x="639" y="108"/>
                  </a:lnTo>
                  <a:lnTo>
                    <a:pt x="639" y="112"/>
                  </a:lnTo>
                  <a:lnTo>
                    <a:pt x="639" y="116"/>
                  </a:lnTo>
                  <a:lnTo>
                    <a:pt x="639" y="120"/>
                  </a:lnTo>
                  <a:lnTo>
                    <a:pt x="635" y="124"/>
                  </a:lnTo>
                  <a:lnTo>
                    <a:pt x="635" y="128"/>
                  </a:lnTo>
                  <a:lnTo>
                    <a:pt x="631" y="128"/>
                  </a:lnTo>
                  <a:lnTo>
                    <a:pt x="627" y="128"/>
                  </a:lnTo>
                  <a:lnTo>
                    <a:pt x="623" y="132"/>
                  </a:lnTo>
                  <a:lnTo>
                    <a:pt x="619" y="132"/>
                  </a:lnTo>
                  <a:lnTo>
                    <a:pt x="619" y="136"/>
                  </a:lnTo>
                  <a:lnTo>
                    <a:pt x="619" y="140"/>
                  </a:lnTo>
                  <a:lnTo>
                    <a:pt x="623" y="144"/>
                  </a:lnTo>
                  <a:lnTo>
                    <a:pt x="619" y="148"/>
                  </a:lnTo>
                  <a:lnTo>
                    <a:pt x="619" y="152"/>
                  </a:lnTo>
                  <a:lnTo>
                    <a:pt x="619" y="156"/>
                  </a:lnTo>
                  <a:lnTo>
                    <a:pt x="619" y="160"/>
                  </a:lnTo>
                  <a:lnTo>
                    <a:pt x="619" y="164"/>
                  </a:lnTo>
                  <a:lnTo>
                    <a:pt x="619" y="168"/>
                  </a:lnTo>
                  <a:lnTo>
                    <a:pt x="619" y="171"/>
                  </a:lnTo>
                  <a:lnTo>
                    <a:pt x="619" y="175"/>
                  </a:lnTo>
                  <a:lnTo>
                    <a:pt x="623" y="179"/>
                  </a:lnTo>
                  <a:lnTo>
                    <a:pt x="623" y="183"/>
                  </a:lnTo>
                  <a:lnTo>
                    <a:pt x="619" y="183"/>
                  </a:lnTo>
                  <a:lnTo>
                    <a:pt x="615" y="183"/>
                  </a:lnTo>
                  <a:lnTo>
                    <a:pt x="615" y="187"/>
                  </a:lnTo>
                  <a:lnTo>
                    <a:pt x="611" y="191"/>
                  </a:lnTo>
                  <a:lnTo>
                    <a:pt x="611" y="195"/>
                  </a:lnTo>
                  <a:lnTo>
                    <a:pt x="611" y="199"/>
                  </a:lnTo>
                  <a:lnTo>
                    <a:pt x="607" y="199"/>
                  </a:lnTo>
                  <a:lnTo>
                    <a:pt x="607" y="203"/>
                  </a:lnTo>
                  <a:lnTo>
                    <a:pt x="603" y="207"/>
                  </a:lnTo>
                  <a:lnTo>
                    <a:pt x="603" y="211"/>
                  </a:lnTo>
                  <a:lnTo>
                    <a:pt x="599" y="211"/>
                  </a:lnTo>
                  <a:lnTo>
                    <a:pt x="599" y="215"/>
                  </a:lnTo>
                  <a:lnTo>
                    <a:pt x="599" y="219"/>
                  </a:lnTo>
                  <a:lnTo>
                    <a:pt x="599" y="223"/>
                  </a:lnTo>
                  <a:lnTo>
                    <a:pt x="595" y="227"/>
                  </a:lnTo>
                  <a:lnTo>
                    <a:pt x="595" y="231"/>
                  </a:lnTo>
                  <a:lnTo>
                    <a:pt x="599" y="231"/>
                  </a:lnTo>
                  <a:lnTo>
                    <a:pt x="595" y="231"/>
                  </a:lnTo>
                  <a:lnTo>
                    <a:pt x="599" y="235"/>
                  </a:lnTo>
                  <a:lnTo>
                    <a:pt x="599" y="239"/>
                  </a:lnTo>
                  <a:lnTo>
                    <a:pt x="599" y="243"/>
                  </a:lnTo>
                  <a:lnTo>
                    <a:pt x="599" y="247"/>
                  </a:lnTo>
                  <a:lnTo>
                    <a:pt x="595" y="247"/>
                  </a:lnTo>
                  <a:lnTo>
                    <a:pt x="595" y="251"/>
                  </a:lnTo>
                  <a:lnTo>
                    <a:pt x="591" y="251"/>
                  </a:lnTo>
                  <a:lnTo>
                    <a:pt x="591" y="255"/>
                  </a:lnTo>
                  <a:lnTo>
                    <a:pt x="591" y="259"/>
                  </a:lnTo>
                  <a:lnTo>
                    <a:pt x="591" y="263"/>
                  </a:lnTo>
                  <a:lnTo>
                    <a:pt x="587" y="263"/>
                  </a:lnTo>
                  <a:lnTo>
                    <a:pt x="587" y="267"/>
                  </a:lnTo>
                  <a:lnTo>
                    <a:pt x="587" y="271"/>
                  </a:lnTo>
                  <a:lnTo>
                    <a:pt x="591" y="275"/>
                  </a:lnTo>
                  <a:lnTo>
                    <a:pt x="591" y="279"/>
                  </a:lnTo>
                  <a:lnTo>
                    <a:pt x="591" y="283"/>
                  </a:lnTo>
                  <a:lnTo>
                    <a:pt x="591" y="287"/>
                  </a:lnTo>
                  <a:lnTo>
                    <a:pt x="595" y="287"/>
                  </a:lnTo>
                  <a:lnTo>
                    <a:pt x="595" y="291"/>
                  </a:lnTo>
                  <a:lnTo>
                    <a:pt x="595" y="295"/>
                  </a:lnTo>
                  <a:lnTo>
                    <a:pt x="595" y="299"/>
                  </a:lnTo>
                  <a:lnTo>
                    <a:pt x="595" y="303"/>
                  </a:lnTo>
                  <a:lnTo>
                    <a:pt x="599" y="303"/>
                  </a:lnTo>
                  <a:lnTo>
                    <a:pt x="599" y="307"/>
                  </a:lnTo>
                  <a:lnTo>
                    <a:pt x="599" y="311"/>
                  </a:lnTo>
                  <a:lnTo>
                    <a:pt x="599" y="315"/>
                  </a:lnTo>
                  <a:lnTo>
                    <a:pt x="599" y="319"/>
                  </a:lnTo>
                  <a:lnTo>
                    <a:pt x="599" y="323"/>
                  </a:lnTo>
                  <a:lnTo>
                    <a:pt x="595" y="323"/>
                  </a:lnTo>
                  <a:lnTo>
                    <a:pt x="595" y="327"/>
                  </a:lnTo>
                  <a:lnTo>
                    <a:pt x="595" y="331"/>
                  </a:lnTo>
                  <a:lnTo>
                    <a:pt x="591" y="331"/>
                  </a:lnTo>
                  <a:lnTo>
                    <a:pt x="591" y="335"/>
                  </a:lnTo>
                  <a:lnTo>
                    <a:pt x="591" y="339"/>
                  </a:lnTo>
                  <a:lnTo>
                    <a:pt x="591" y="343"/>
                  </a:lnTo>
                  <a:lnTo>
                    <a:pt x="587" y="343"/>
                  </a:lnTo>
                  <a:lnTo>
                    <a:pt x="587" y="347"/>
                  </a:lnTo>
                  <a:lnTo>
                    <a:pt x="591" y="347"/>
                  </a:lnTo>
                  <a:lnTo>
                    <a:pt x="591" y="351"/>
                  </a:lnTo>
                  <a:lnTo>
                    <a:pt x="591" y="355"/>
                  </a:lnTo>
                  <a:lnTo>
                    <a:pt x="591" y="359"/>
                  </a:lnTo>
                  <a:lnTo>
                    <a:pt x="591" y="363"/>
                  </a:lnTo>
                  <a:lnTo>
                    <a:pt x="587" y="363"/>
                  </a:lnTo>
                  <a:lnTo>
                    <a:pt x="587" y="367"/>
                  </a:lnTo>
                  <a:lnTo>
                    <a:pt x="583" y="371"/>
                  </a:lnTo>
                  <a:lnTo>
                    <a:pt x="583" y="367"/>
                  </a:lnTo>
                  <a:lnTo>
                    <a:pt x="579" y="371"/>
                  </a:lnTo>
                  <a:lnTo>
                    <a:pt x="579" y="375"/>
                  </a:lnTo>
                  <a:lnTo>
                    <a:pt x="579" y="379"/>
                  </a:lnTo>
                  <a:lnTo>
                    <a:pt x="579" y="383"/>
                  </a:lnTo>
                  <a:lnTo>
                    <a:pt x="579" y="387"/>
                  </a:lnTo>
                  <a:lnTo>
                    <a:pt x="579" y="391"/>
                  </a:lnTo>
                  <a:lnTo>
                    <a:pt x="579" y="395"/>
                  </a:lnTo>
                  <a:lnTo>
                    <a:pt x="579" y="399"/>
                  </a:lnTo>
                  <a:lnTo>
                    <a:pt x="583" y="403"/>
                  </a:lnTo>
                  <a:lnTo>
                    <a:pt x="583" y="407"/>
                  </a:lnTo>
                  <a:lnTo>
                    <a:pt x="583" y="411"/>
                  </a:lnTo>
                  <a:lnTo>
                    <a:pt x="583" y="415"/>
                  </a:lnTo>
                  <a:lnTo>
                    <a:pt x="579" y="415"/>
                  </a:lnTo>
                  <a:lnTo>
                    <a:pt x="579" y="419"/>
                  </a:lnTo>
                  <a:lnTo>
                    <a:pt x="575" y="419"/>
                  </a:lnTo>
                  <a:lnTo>
                    <a:pt x="575" y="423"/>
                  </a:lnTo>
                  <a:lnTo>
                    <a:pt x="575" y="427"/>
                  </a:lnTo>
                  <a:lnTo>
                    <a:pt x="575" y="431"/>
                  </a:lnTo>
                  <a:lnTo>
                    <a:pt x="575" y="435"/>
                  </a:lnTo>
                  <a:lnTo>
                    <a:pt x="571" y="435"/>
                  </a:lnTo>
                  <a:lnTo>
                    <a:pt x="571" y="431"/>
                  </a:lnTo>
                  <a:lnTo>
                    <a:pt x="571" y="435"/>
                  </a:lnTo>
                  <a:lnTo>
                    <a:pt x="571" y="439"/>
                  </a:lnTo>
                  <a:lnTo>
                    <a:pt x="571" y="443"/>
                  </a:lnTo>
                  <a:lnTo>
                    <a:pt x="567" y="447"/>
                  </a:lnTo>
                  <a:lnTo>
                    <a:pt x="571" y="447"/>
                  </a:lnTo>
                  <a:lnTo>
                    <a:pt x="571" y="451"/>
                  </a:lnTo>
                  <a:lnTo>
                    <a:pt x="567" y="451"/>
                  </a:lnTo>
                  <a:lnTo>
                    <a:pt x="567" y="455"/>
                  </a:lnTo>
                  <a:lnTo>
                    <a:pt x="567" y="459"/>
                  </a:lnTo>
                  <a:lnTo>
                    <a:pt x="567" y="463"/>
                  </a:lnTo>
                  <a:lnTo>
                    <a:pt x="567" y="467"/>
                  </a:lnTo>
                  <a:lnTo>
                    <a:pt x="567" y="471"/>
                  </a:lnTo>
                  <a:lnTo>
                    <a:pt x="567" y="475"/>
                  </a:lnTo>
                  <a:lnTo>
                    <a:pt x="567" y="479"/>
                  </a:lnTo>
                  <a:lnTo>
                    <a:pt x="571" y="479"/>
                  </a:lnTo>
                  <a:lnTo>
                    <a:pt x="571" y="483"/>
                  </a:lnTo>
                  <a:lnTo>
                    <a:pt x="571" y="487"/>
                  </a:lnTo>
                  <a:lnTo>
                    <a:pt x="567" y="487"/>
                  </a:lnTo>
                  <a:lnTo>
                    <a:pt x="563" y="491"/>
                  </a:lnTo>
                  <a:lnTo>
                    <a:pt x="567" y="491"/>
                  </a:lnTo>
                  <a:lnTo>
                    <a:pt x="563" y="495"/>
                  </a:lnTo>
                  <a:lnTo>
                    <a:pt x="563" y="499"/>
                  </a:lnTo>
                  <a:lnTo>
                    <a:pt x="563" y="503"/>
                  </a:lnTo>
                  <a:lnTo>
                    <a:pt x="563" y="507"/>
                  </a:lnTo>
                  <a:lnTo>
                    <a:pt x="567" y="507"/>
                  </a:lnTo>
                  <a:lnTo>
                    <a:pt x="571" y="507"/>
                  </a:lnTo>
                  <a:lnTo>
                    <a:pt x="571" y="511"/>
                  </a:lnTo>
                  <a:lnTo>
                    <a:pt x="567" y="511"/>
                  </a:lnTo>
                  <a:lnTo>
                    <a:pt x="567" y="515"/>
                  </a:lnTo>
                  <a:lnTo>
                    <a:pt x="571" y="515"/>
                  </a:lnTo>
                  <a:lnTo>
                    <a:pt x="571" y="519"/>
                  </a:lnTo>
                  <a:lnTo>
                    <a:pt x="571" y="523"/>
                  </a:lnTo>
                  <a:lnTo>
                    <a:pt x="571" y="527"/>
                  </a:lnTo>
                  <a:lnTo>
                    <a:pt x="567" y="527"/>
                  </a:lnTo>
                  <a:lnTo>
                    <a:pt x="571" y="531"/>
                  </a:lnTo>
                  <a:lnTo>
                    <a:pt x="567" y="531"/>
                  </a:lnTo>
                  <a:lnTo>
                    <a:pt x="567" y="535"/>
                  </a:lnTo>
                  <a:lnTo>
                    <a:pt x="571" y="535"/>
                  </a:lnTo>
                  <a:lnTo>
                    <a:pt x="575" y="535"/>
                  </a:lnTo>
                  <a:lnTo>
                    <a:pt x="579" y="535"/>
                  </a:lnTo>
                  <a:lnTo>
                    <a:pt x="579" y="539"/>
                  </a:lnTo>
                  <a:lnTo>
                    <a:pt x="579" y="543"/>
                  </a:lnTo>
                  <a:lnTo>
                    <a:pt x="575" y="543"/>
                  </a:lnTo>
                  <a:lnTo>
                    <a:pt x="571" y="543"/>
                  </a:lnTo>
                  <a:lnTo>
                    <a:pt x="567" y="543"/>
                  </a:lnTo>
                  <a:lnTo>
                    <a:pt x="563" y="543"/>
                  </a:lnTo>
                  <a:lnTo>
                    <a:pt x="567" y="543"/>
                  </a:lnTo>
                  <a:lnTo>
                    <a:pt x="567" y="547"/>
                  </a:lnTo>
                  <a:lnTo>
                    <a:pt x="571" y="547"/>
                  </a:lnTo>
                  <a:lnTo>
                    <a:pt x="575" y="547"/>
                  </a:lnTo>
                  <a:lnTo>
                    <a:pt x="575" y="551"/>
                  </a:lnTo>
                  <a:lnTo>
                    <a:pt x="575" y="555"/>
                  </a:lnTo>
                  <a:lnTo>
                    <a:pt x="571" y="559"/>
                  </a:lnTo>
                  <a:lnTo>
                    <a:pt x="571" y="563"/>
                  </a:lnTo>
                  <a:lnTo>
                    <a:pt x="571" y="567"/>
                  </a:lnTo>
                  <a:lnTo>
                    <a:pt x="571" y="571"/>
                  </a:lnTo>
                  <a:lnTo>
                    <a:pt x="567" y="571"/>
                  </a:lnTo>
                  <a:lnTo>
                    <a:pt x="571" y="571"/>
                  </a:lnTo>
                  <a:lnTo>
                    <a:pt x="571" y="575"/>
                  </a:lnTo>
                  <a:lnTo>
                    <a:pt x="571" y="579"/>
                  </a:lnTo>
                  <a:lnTo>
                    <a:pt x="571" y="583"/>
                  </a:lnTo>
                  <a:lnTo>
                    <a:pt x="567" y="587"/>
                  </a:lnTo>
                  <a:lnTo>
                    <a:pt x="567" y="591"/>
                  </a:lnTo>
                  <a:lnTo>
                    <a:pt x="567" y="595"/>
                  </a:lnTo>
                  <a:lnTo>
                    <a:pt x="563" y="599"/>
                  </a:lnTo>
                  <a:lnTo>
                    <a:pt x="559" y="599"/>
                  </a:lnTo>
                  <a:lnTo>
                    <a:pt x="563" y="603"/>
                  </a:lnTo>
                  <a:lnTo>
                    <a:pt x="559" y="603"/>
                  </a:lnTo>
                  <a:lnTo>
                    <a:pt x="559" y="606"/>
                  </a:lnTo>
                  <a:lnTo>
                    <a:pt x="559" y="610"/>
                  </a:lnTo>
                  <a:lnTo>
                    <a:pt x="563" y="614"/>
                  </a:lnTo>
                  <a:lnTo>
                    <a:pt x="563" y="618"/>
                  </a:lnTo>
                  <a:lnTo>
                    <a:pt x="559" y="618"/>
                  </a:lnTo>
                  <a:lnTo>
                    <a:pt x="559" y="622"/>
                  </a:lnTo>
                  <a:lnTo>
                    <a:pt x="555" y="622"/>
                  </a:lnTo>
                  <a:lnTo>
                    <a:pt x="559" y="622"/>
                  </a:lnTo>
                  <a:lnTo>
                    <a:pt x="559" y="626"/>
                  </a:lnTo>
                  <a:lnTo>
                    <a:pt x="559" y="630"/>
                  </a:lnTo>
                  <a:lnTo>
                    <a:pt x="555" y="630"/>
                  </a:lnTo>
                  <a:lnTo>
                    <a:pt x="551" y="630"/>
                  </a:lnTo>
                  <a:lnTo>
                    <a:pt x="551" y="634"/>
                  </a:lnTo>
                  <a:lnTo>
                    <a:pt x="547" y="638"/>
                  </a:lnTo>
                  <a:lnTo>
                    <a:pt x="551" y="638"/>
                  </a:lnTo>
                  <a:lnTo>
                    <a:pt x="547" y="638"/>
                  </a:lnTo>
                  <a:lnTo>
                    <a:pt x="543" y="638"/>
                  </a:lnTo>
                  <a:lnTo>
                    <a:pt x="543" y="642"/>
                  </a:lnTo>
                  <a:lnTo>
                    <a:pt x="543" y="646"/>
                  </a:lnTo>
                  <a:lnTo>
                    <a:pt x="543" y="650"/>
                  </a:lnTo>
                  <a:lnTo>
                    <a:pt x="543" y="654"/>
                  </a:lnTo>
                  <a:lnTo>
                    <a:pt x="543" y="658"/>
                  </a:lnTo>
                  <a:lnTo>
                    <a:pt x="547" y="662"/>
                  </a:lnTo>
                  <a:lnTo>
                    <a:pt x="547" y="666"/>
                  </a:lnTo>
                  <a:lnTo>
                    <a:pt x="547" y="670"/>
                  </a:lnTo>
                  <a:lnTo>
                    <a:pt x="547" y="674"/>
                  </a:lnTo>
                  <a:lnTo>
                    <a:pt x="551" y="674"/>
                  </a:lnTo>
                  <a:lnTo>
                    <a:pt x="551" y="670"/>
                  </a:lnTo>
                  <a:lnTo>
                    <a:pt x="555" y="670"/>
                  </a:lnTo>
                  <a:lnTo>
                    <a:pt x="559" y="670"/>
                  </a:lnTo>
                  <a:lnTo>
                    <a:pt x="563" y="670"/>
                  </a:lnTo>
                  <a:lnTo>
                    <a:pt x="559" y="670"/>
                  </a:lnTo>
                  <a:lnTo>
                    <a:pt x="563" y="674"/>
                  </a:lnTo>
                  <a:lnTo>
                    <a:pt x="563" y="678"/>
                  </a:lnTo>
                  <a:lnTo>
                    <a:pt x="559" y="678"/>
                  </a:lnTo>
                  <a:lnTo>
                    <a:pt x="559" y="682"/>
                  </a:lnTo>
                  <a:lnTo>
                    <a:pt x="563" y="682"/>
                  </a:lnTo>
                  <a:lnTo>
                    <a:pt x="563" y="686"/>
                  </a:lnTo>
                  <a:lnTo>
                    <a:pt x="559" y="690"/>
                  </a:lnTo>
                  <a:lnTo>
                    <a:pt x="563" y="694"/>
                  </a:lnTo>
                  <a:lnTo>
                    <a:pt x="567" y="698"/>
                  </a:lnTo>
                  <a:lnTo>
                    <a:pt x="571" y="702"/>
                  </a:lnTo>
                  <a:lnTo>
                    <a:pt x="579" y="702"/>
                  </a:lnTo>
                  <a:lnTo>
                    <a:pt x="587" y="702"/>
                  </a:lnTo>
                  <a:lnTo>
                    <a:pt x="591" y="702"/>
                  </a:lnTo>
                  <a:lnTo>
                    <a:pt x="595" y="702"/>
                  </a:lnTo>
                  <a:lnTo>
                    <a:pt x="599" y="702"/>
                  </a:lnTo>
                  <a:lnTo>
                    <a:pt x="603" y="702"/>
                  </a:lnTo>
                  <a:lnTo>
                    <a:pt x="607" y="702"/>
                  </a:lnTo>
                  <a:lnTo>
                    <a:pt x="611" y="706"/>
                  </a:lnTo>
                  <a:lnTo>
                    <a:pt x="615" y="706"/>
                  </a:lnTo>
                  <a:lnTo>
                    <a:pt x="619" y="706"/>
                  </a:lnTo>
                  <a:lnTo>
                    <a:pt x="619" y="710"/>
                  </a:lnTo>
                  <a:lnTo>
                    <a:pt x="619" y="706"/>
                  </a:lnTo>
                  <a:lnTo>
                    <a:pt x="615" y="706"/>
                  </a:lnTo>
                  <a:lnTo>
                    <a:pt x="611" y="706"/>
                  </a:lnTo>
                  <a:lnTo>
                    <a:pt x="607" y="706"/>
                  </a:lnTo>
                  <a:lnTo>
                    <a:pt x="603" y="706"/>
                  </a:lnTo>
                  <a:lnTo>
                    <a:pt x="603" y="710"/>
                  </a:lnTo>
                  <a:lnTo>
                    <a:pt x="603" y="714"/>
                  </a:lnTo>
                  <a:lnTo>
                    <a:pt x="599" y="710"/>
                  </a:lnTo>
                  <a:lnTo>
                    <a:pt x="595" y="714"/>
                  </a:lnTo>
                  <a:lnTo>
                    <a:pt x="587" y="718"/>
                  </a:lnTo>
                  <a:lnTo>
                    <a:pt x="583" y="718"/>
                  </a:lnTo>
                  <a:lnTo>
                    <a:pt x="583" y="722"/>
                  </a:lnTo>
                  <a:lnTo>
                    <a:pt x="583" y="726"/>
                  </a:lnTo>
                  <a:lnTo>
                    <a:pt x="583" y="730"/>
                  </a:lnTo>
                  <a:lnTo>
                    <a:pt x="583" y="734"/>
                  </a:lnTo>
                  <a:lnTo>
                    <a:pt x="583" y="738"/>
                  </a:lnTo>
                  <a:lnTo>
                    <a:pt x="583" y="742"/>
                  </a:lnTo>
                  <a:lnTo>
                    <a:pt x="579" y="742"/>
                  </a:lnTo>
                  <a:lnTo>
                    <a:pt x="575" y="742"/>
                  </a:lnTo>
                  <a:lnTo>
                    <a:pt x="571" y="742"/>
                  </a:lnTo>
                  <a:lnTo>
                    <a:pt x="567" y="738"/>
                  </a:lnTo>
                  <a:lnTo>
                    <a:pt x="563" y="738"/>
                  </a:lnTo>
                  <a:lnTo>
                    <a:pt x="559" y="734"/>
                  </a:lnTo>
                  <a:lnTo>
                    <a:pt x="559" y="730"/>
                  </a:lnTo>
                  <a:lnTo>
                    <a:pt x="563" y="730"/>
                  </a:lnTo>
                  <a:lnTo>
                    <a:pt x="563" y="734"/>
                  </a:lnTo>
                  <a:lnTo>
                    <a:pt x="567" y="734"/>
                  </a:lnTo>
                  <a:lnTo>
                    <a:pt x="567" y="730"/>
                  </a:lnTo>
                  <a:lnTo>
                    <a:pt x="567" y="726"/>
                  </a:lnTo>
                  <a:lnTo>
                    <a:pt x="567" y="730"/>
                  </a:lnTo>
                  <a:lnTo>
                    <a:pt x="571" y="734"/>
                  </a:lnTo>
                  <a:lnTo>
                    <a:pt x="567" y="734"/>
                  </a:lnTo>
                  <a:lnTo>
                    <a:pt x="571" y="734"/>
                  </a:lnTo>
                  <a:lnTo>
                    <a:pt x="571" y="730"/>
                  </a:lnTo>
                  <a:lnTo>
                    <a:pt x="571" y="726"/>
                  </a:lnTo>
                  <a:lnTo>
                    <a:pt x="575" y="726"/>
                  </a:lnTo>
                  <a:lnTo>
                    <a:pt x="579" y="722"/>
                  </a:lnTo>
                  <a:lnTo>
                    <a:pt x="579" y="718"/>
                  </a:lnTo>
                  <a:lnTo>
                    <a:pt x="575" y="718"/>
                  </a:lnTo>
                  <a:lnTo>
                    <a:pt x="571" y="722"/>
                  </a:lnTo>
                  <a:lnTo>
                    <a:pt x="567" y="722"/>
                  </a:lnTo>
                  <a:lnTo>
                    <a:pt x="567" y="726"/>
                  </a:lnTo>
                  <a:lnTo>
                    <a:pt x="563" y="726"/>
                  </a:lnTo>
                  <a:lnTo>
                    <a:pt x="563" y="722"/>
                  </a:lnTo>
                  <a:lnTo>
                    <a:pt x="559" y="726"/>
                  </a:lnTo>
                  <a:lnTo>
                    <a:pt x="563" y="726"/>
                  </a:lnTo>
                  <a:lnTo>
                    <a:pt x="559" y="730"/>
                  </a:lnTo>
                  <a:lnTo>
                    <a:pt x="559" y="726"/>
                  </a:lnTo>
                  <a:lnTo>
                    <a:pt x="559" y="730"/>
                  </a:lnTo>
                  <a:lnTo>
                    <a:pt x="555" y="730"/>
                  </a:lnTo>
                  <a:lnTo>
                    <a:pt x="559" y="734"/>
                  </a:lnTo>
                  <a:lnTo>
                    <a:pt x="555" y="734"/>
                  </a:lnTo>
                  <a:lnTo>
                    <a:pt x="551" y="730"/>
                  </a:lnTo>
                  <a:lnTo>
                    <a:pt x="547" y="730"/>
                  </a:lnTo>
                  <a:lnTo>
                    <a:pt x="547" y="726"/>
                  </a:lnTo>
                  <a:lnTo>
                    <a:pt x="551" y="726"/>
                  </a:lnTo>
                  <a:lnTo>
                    <a:pt x="555" y="726"/>
                  </a:lnTo>
                  <a:lnTo>
                    <a:pt x="555" y="730"/>
                  </a:lnTo>
                  <a:lnTo>
                    <a:pt x="555" y="726"/>
                  </a:lnTo>
                  <a:lnTo>
                    <a:pt x="551" y="726"/>
                  </a:lnTo>
                  <a:lnTo>
                    <a:pt x="551" y="722"/>
                  </a:lnTo>
                  <a:lnTo>
                    <a:pt x="551" y="718"/>
                  </a:lnTo>
                  <a:lnTo>
                    <a:pt x="555" y="718"/>
                  </a:lnTo>
                  <a:lnTo>
                    <a:pt x="559" y="718"/>
                  </a:lnTo>
                  <a:lnTo>
                    <a:pt x="563" y="718"/>
                  </a:lnTo>
                  <a:lnTo>
                    <a:pt x="563" y="714"/>
                  </a:lnTo>
                  <a:lnTo>
                    <a:pt x="567" y="714"/>
                  </a:lnTo>
                  <a:lnTo>
                    <a:pt x="571" y="714"/>
                  </a:lnTo>
                  <a:lnTo>
                    <a:pt x="575" y="714"/>
                  </a:lnTo>
                  <a:lnTo>
                    <a:pt x="571" y="714"/>
                  </a:lnTo>
                  <a:lnTo>
                    <a:pt x="567" y="714"/>
                  </a:lnTo>
                  <a:lnTo>
                    <a:pt x="563" y="710"/>
                  </a:lnTo>
                  <a:lnTo>
                    <a:pt x="559" y="714"/>
                  </a:lnTo>
                  <a:lnTo>
                    <a:pt x="559" y="710"/>
                  </a:lnTo>
                  <a:lnTo>
                    <a:pt x="559" y="714"/>
                  </a:lnTo>
                  <a:lnTo>
                    <a:pt x="555" y="714"/>
                  </a:lnTo>
                  <a:lnTo>
                    <a:pt x="551" y="714"/>
                  </a:lnTo>
                  <a:lnTo>
                    <a:pt x="555" y="714"/>
                  </a:lnTo>
                  <a:lnTo>
                    <a:pt x="555" y="718"/>
                  </a:lnTo>
                  <a:lnTo>
                    <a:pt x="551" y="718"/>
                  </a:lnTo>
                  <a:lnTo>
                    <a:pt x="551" y="722"/>
                  </a:lnTo>
                  <a:lnTo>
                    <a:pt x="551" y="726"/>
                  </a:lnTo>
                  <a:lnTo>
                    <a:pt x="547" y="726"/>
                  </a:lnTo>
                  <a:lnTo>
                    <a:pt x="543" y="722"/>
                  </a:lnTo>
                  <a:lnTo>
                    <a:pt x="547" y="722"/>
                  </a:lnTo>
                  <a:lnTo>
                    <a:pt x="543" y="718"/>
                  </a:lnTo>
                  <a:lnTo>
                    <a:pt x="547" y="718"/>
                  </a:lnTo>
                  <a:lnTo>
                    <a:pt x="551" y="710"/>
                  </a:lnTo>
                  <a:lnTo>
                    <a:pt x="547" y="710"/>
                  </a:lnTo>
                  <a:lnTo>
                    <a:pt x="547" y="714"/>
                  </a:lnTo>
                  <a:lnTo>
                    <a:pt x="543" y="714"/>
                  </a:lnTo>
                  <a:lnTo>
                    <a:pt x="543" y="718"/>
                  </a:lnTo>
                  <a:lnTo>
                    <a:pt x="539" y="718"/>
                  </a:lnTo>
                  <a:lnTo>
                    <a:pt x="539" y="714"/>
                  </a:lnTo>
                  <a:lnTo>
                    <a:pt x="543" y="714"/>
                  </a:lnTo>
                  <a:lnTo>
                    <a:pt x="543" y="710"/>
                  </a:lnTo>
                  <a:lnTo>
                    <a:pt x="539" y="710"/>
                  </a:lnTo>
                  <a:lnTo>
                    <a:pt x="543" y="710"/>
                  </a:lnTo>
                  <a:lnTo>
                    <a:pt x="543" y="706"/>
                  </a:lnTo>
                  <a:lnTo>
                    <a:pt x="543" y="702"/>
                  </a:lnTo>
                  <a:lnTo>
                    <a:pt x="539" y="702"/>
                  </a:lnTo>
                  <a:lnTo>
                    <a:pt x="543" y="706"/>
                  </a:lnTo>
                  <a:lnTo>
                    <a:pt x="547" y="706"/>
                  </a:lnTo>
                  <a:lnTo>
                    <a:pt x="547" y="702"/>
                  </a:lnTo>
                  <a:lnTo>
                    <a:pt x="551" y="702"/>
                  </a:lnTo>
                  <a:lnTo>
                    <a:pt x="551" y="706"/>
                  </a:lnTo>
                  <a:lnTo>
                    <a:pt x="555" y="706"/>
                  </a:lnTo>
                  <a:lnTo>
                    <a:pt x="555" y="702"/>
                  </a:lnTo>
                  <a:lnTo>
                    <a:pt x="551" y="706"/>
                  </a:lnTo>
                  <a:lnTo>
                    <a:pt x="551" y="702"/>
                  </a:lnTo>
                  <a:lnTo>
                    <a:pt x="555" y="698"/>
                  </a:lnTo>
                  <a:lnTo>
                    <a:pt x="555" y="702"/>
                  </a:lnTo>
                  <a:lnTo>
                    <a:pt x="559" y="702"/>
                  </a:lnTo>
                  <a:lnTo>
                    <a:pt x="559" y="706"/>
                  </a:lnTo>
                  <a:lnTo>
                    <a:pt x="555" y="706"/>
                  </a:lnTo>
                  <a:lnTo>
                    <a:pt x="555" y="710"/>
                  </a:lnTo>
                  <a:lnTo>
                    <a:pt x="551" y="710"/>
                  </a:lnTo>
                  <a:lnTo>
                    <a:pt x="555" y="710"/>
                  </a:lnTo>
                  <a:lnTo>
                    <a:pt x="559" y="710"/>
                  </a:lnTo>
                  <a:lnTo>
                    <a:pt x="559" y="706"/>
                  </a:lnTo>
                  <a:lnTo>
                    <a:pt x="559" y="702"/>
                  </a:lnTo>
                  <a:lnTo>
                    <a:pt x="555" y="702"/>
                  </a:lnTo>
                  <a:lnTo>
                    <a:pt x="555" y="698"/>
                  </a:lnTo>
                  <a:lnTo>
                    <a:pt x="559" y="698"/>
                  </a:lnTo>
                  <a:lnTo>
                    <a:pt x="559" y="694"/>
                  </a:lnTo>
                  <a:lnTo>
                    <a:pt x="555" y="690"/>
                  </a:lnTo>
                  <a:lnTo>
                    <a:pt x="551" y="690"/>
                  </a:lnTo>
                  <a:lnTo>
                    <a:pt x="551" y="686"/>
                  </a:lnTo>
                  <a:lnTo>
                    <a:pt x="547" y="686"/>
                  </a:lnTo>
                  <a:lnTo>
                    <a:pt x="547" y="690"/>
                  </a:lnTo>
                  <a:lnTo>
                    <a:pt x="551" y="690"/>
                  </a:lnTo>
                  <a:lnTo>
                    <a:pt x="555" y="690"/>
                  </a:lnTo>
                  <a:lnTo>
                    <a:pt x="555" y="694"/>
                  </a:lnTo>
                  <a:lnTo>
                    <a:pt x="559" y="694"/>
                  </a:lnTo>
                  <a:lnTo>
                    <a:pt x="555" y="698"/>
                  </a:lnTo>
                  <a:lnTo>
                    <a:pt x="555" y="694"/>
                  </a:lnTo>
                  <a:lnTo>
                    <a:pt x="551" y="694"/>
                  </a:lnTo>
                  <a:lnTo>
                    <a:pt x="547" y="690"/>
                  </a:lnTo>
                  <a:lnTo>
                    <a:pt x="547" y="694"/>
                  </a:lnTo>
                  <a:lnTo>
                    <a:pt x="551" y="694"/>
                  </a:lnTo>
                  <a:lnTo>
                    <a:pt x="551" y="698"/>
                  </a:lnTo>
                  <a:lnTo>
                    <a:pt x="547" y="698"/>
                  </a:lnTo>
                  <a:lnTo>
                    <a:pt x="551" y="698"/>
                  </a:lnTo>
                  <a:lnTo>
                    <a:pt x="547" y="698"/>
                  </a:lnTo>
                  <a:lnTo>
                    <a:pt x="547" y="702"/>
                  </a:lnTo>
                  <a:lnTo>
                    <a:pt x="547" y="698"/>
                  </a:lnTo>
                  <a:lnTo>
                    <a:pt x="547" y="694"/>
                  </a:lnTo>
                  <a:lnTo>
                    <a:pt x="547" y="702"/>
                  </a:lnTo>
                  <a:lnTo>
                    <a:pt x="543" y="702"/>
                  </a:lnTo>
                  <a:lnTo>
                    <a:pt x="543" y="698"/>
                  </a:lnTo>
                  <a:lnTo>
                    <a:pt x="543" y="694"/>
                  </a:lnTo>
                  <a:lnTo>
                    <a:pt x="543" y="698"/>
                  </a:lnTo>
                  <a:lnTo>
                    <a:pt x="543" y="702"/>
                  </a:lnTo>
                  <a:lnTo>
                    <a:pt x="543" y="698"/>
                  </a:lnTo>
                  <a:lnTo>
                    <a:pt x="543" y="694"/>
                  </a:lnTo>
                  <a:lnTo>
                    <a:pt x="539" y="694"/>
                  </a:lnTo>
                  <a:lnTo>
                    <a:pt x="539" y="690"/>
                  </a:lnTo>
                  <a:lnTo>
                    <a:pt x="535" y="686"/>
                  </a:lnTo>
                  <a:lnTo>
                    <a:pt x="539" y="686"/>
                  </a:lnTo>
                  <a:lnTo>
                    <a:pt x="539" y="690"/>
                  </a:lnTo>
                  <a:lnTo>
                    <a:pt x="543" y="690"/>
                  </a:lnTo>
                  <a:lnTo>
                    <a:pt x="539" y="686"/>
                  </a:lnTo>
                  <a:lnTo>
                    <a:pt x="539" y="682"/>
                  </a:lnTo>
                  <a:lnTo>
                    <a:pt x="535" y="682"/>
                  </a:lnTo>
                  <a:lnTo>
                    <a:pt x="535" y="678"/>
                  </a:lnTo>
                  <a:lnTo>
                    <a:pt x="531" y="678"/>
                  </a:lnTo>
                  <a:lnTo>
                    <a:pt x="531" y="674"/>
                  </a:lnTo>
                  <a:lnTo>
                    <a:pt x="535" y="674"/>
                  </a:lnTo>
                  <a:lnTo>
                    <a:pt x="539" y="674"/>
                  </a:lnTo>
                  <a:lnTo>
                    <a:pt x="539" y="670"/>
                  </a:lnTo>
                  <a:lnTo>
                    <a:pt x="543" y="670"/>
                  </a:lnTo>
                  <a:lnTo>
                    <a:pt x="539" y="670"/>
                  </a:lnTo>
                  <a:lnTo>
                    <a:pt x="539" y="666"/>
                  </a:lnTo>
                  <a:lnTo>
                    <a:pt x="543" y="666"/>
                  </a:lnTo>
                  <a:lnTo>
                    <a:pt x="539" y="666"/>
                  </a:lnTo>
                  <a:lnTo>
                    <a:pt x="539" y="670"/>
                  </a:lnTo>
                  <a:lnTo>
                    <a:pt x="539" y="674"/>
                  </a:lnTo>
                  <a:lnTo>
                    <a:pt x="535" y="674"/>
                  </a:lnTo>
                  <a:lnTo>
                    <a:pt x="535" y="670"/>
                  </a:lnTo>
                  <a:lnTo>
                    <a:pt x="531" y="670"/>
                  </a:lnTo>
                  <a:lnTo>
                    <a:pt x="531" y="666"/>
                  </a:lnTo>
                  <a:lnTo>
                    <a:pt x="535" y="666"/>
                  </a:lnTo>
                  <a:lnTo>
                    <a:pt x="539" y="666"/>
                  </a:lnTo>
                  <a:lnTo>
                    <a:pt x="535" y="666"/>
                  </a:lnTo>
                  <a:lnTo>
                    <a:pt x="531" y="666"/>
                  </a:lnTo>
                  <a:lnTo>
                    <a:pt x="527" y="662"/>
                  </a:lnTo>
                  <a:lnTo>
                    <a:pt x="527" y="658"/>
                  </a:lnTo>
                  <a:lnTo>
                    <a:pt x="531" y="658"/>
                  </a:lnTo>
                  <a:lnTo>
                    <a:pt x="535" y="662"/>
                  </a:lnTo>
                  <a:lnTo>
                    <a:pt x="539" y="662"/>
                  </a:lnTo>
                  <a:lnTo>
                    <a:pt x="535" y="658"/>
                  </a:lnTo>
                  <a:lnTo>
                    <a:pt x="531" y="658"/>
                  </a:lnTo>
                  <a:lnTo>
                    <a:pt x="531" y="654"/>
                  </a:lnTo>
                  <a:lnTo>
                    <a:pt x="535" y="654"/>
                  </a:lnTo>
                  <a:lnTo>
                    <a:pt x="539" y="658"/>
                  </a:lnTo>
                  <a:lnTo>
                    <a:pt x="539" y="654"/>
                  </a:lnTo>
                  <a:lnTo>
                    <a:pt x="535" y="654"/>
                  </a:lnTo>
                  <a:lnTo>
                    <a:pt x="531" y="654"/>
                  </a:lnTo>
                  <a:lnTo>
                    <a:pt x="531" y="650"/>
                  </a:lnTo>
                  <a:lnTo>
                    <a:pt x="535" y="650"/>
                  </a:lnTo>
                  <a:lnTo>
                    <a:pt x="531" y="650"/>
                  </a:lnTo>
                  <a:lnTo>
                    <a:pt x="531" y="646"/>
                  </a:lnTo>
                  <a:lnTo>
                    <a:pt x="535" y="646"/>
                  </a:lnTo>
                  <a:lnTo>
                    <a:pt x="539" y="646"/>
                  </a:lnTo>
                  <a:lnTo>
                    <a:pt x="539" y="650"/>
                  </a:lnTo>
                  <a:lnTo>
                    <a:pt x="539" y="646"/>
                  </a:lnTo>
                  <a:lnTo>
                    <a:pt x="535" y="646"/>
                  </a:lnTo>
                  <a:lnTo>
                    <a:pt x="535" y="642"/>
                  </a:lnTo>
                  <a:lnTo>
                    <a:pt x="535" y="638"/>
                  </a:lnTo>
                  <a:lnTo>
                    <a:pt x="535" y="642"/>
                  </a:lnTo>
                  <a:lnTo>
                    <a:pt x="539" y="642"/>
                  </a:lnTo>
                  <a:lnTo>
                    <a:pt x="535" y="642"/>
                  </a:lnTo>
                  <a:lnTo>
                    <a:pt x="535" y="638"/>
                  </a:lnTo>
                  <a:lnTo>
                    <a:pt x="535" y="634"/>
                  </a:lnTo>
                  <a:lnTo>
                    <a:pt x="539" y="634"/>
                  </a:lnTo>
                  <a:lnTo>
                    <a:pt x="535" y="634"/>
                  </a:lnTo>
                  <a:lnTo>
                    <a:pt x="535" y="638"/>
                  </a:lnTo>
                  <a:lnTo>
                    <a:pt x="535" y="642"/>
                  </a:lnTo>
                  <a:lnTo>
                    <a:pt x="531" y="646"/>
                  </a:lnTo>
                  <a:lnTo>
                    <a:pt x="531" y="642"/>
                  </a:lnTo>
                  <a:lnTo>
                    <a:pt x="531" y="638"/>
                  </a:lnTo>
                  <a:lnTo>
                    <a:pt x="531" y="634"/>
                  </a:lnTo>
                  <a:lnTo>
                    <a:pt x="531" y="630"/>
                  </a:lnTo>
                  <a:lnTo>
                    <a:pt x="527" y="630"/>
                  </a:lnTo>
                  <a:lnTo>
                    <a:pt x="531" y="630"/>
                  </a:lnTo>
                  <a:lnTo>
                    <a:pt x="531" y="626"/>
                  </a:lnTo>
                  <a:lnTo>
                    <a:pt x="535" y="626"/>
                  </a:lnTo>
                  <a:lnTo>
                    <a:pt x="531" y="626"/>
                  </a:lnTo>
                  <a:lnTo>
                    <a:pt x="531" y="622"/>
                  </a:lnTo>
                  <a:lnTo>
                    <a:pt x="535" y="622"/>
                  </a:lnTo>
                  <a:lnTo>
                    <a:pt x="535" y="618"/>
                  </a:lnTo>
                  <a:lnTo>
                    <a:pt x="531" y="618"/>
                  </a:lnTo>
                  <a:lnTo>
                    <a:pt x="535" y="618"/>
                  </a:lnTo>
                  <a:lnTo>
                    <a:pt x="531" y="618"/>
                  </a:lnTo>
                  <a:lnTo>
                    <a:pt x="531" y="614"/>
                  </a:lnTo>
                  <a:lnTo>
                    <a:pt x="527" y="614"/>
                  </a:lnTo>
                  <a:lnTo>
                    <a:pt x="527" y="610"/>
                  </a:lnTo>
                  <a:lnTo>
                    <a:pt x="531" y="610"/>
                  </a:lnTo>
                  <a:lnTo>
                    <a:pt x="531" y="614"/>
                  </a:lnTo>
                  <a:lnTo>
                    <a:pt x="531" y="610"/>
                  </a:lnTo>
                  <a:lnTo>
                    <a:pt x="535" y="610"/>
                  </a:lnTo>
                  <a:lnTo>
                    <a:pt x="539" y="610"/>
                  </a:lnTo>
                  <a:lnTo>
                    <a:pt x="543" y="614"/>
                  </a:lnTo>
                  <a:lnTo>
                    <a:pt x="543" y="618"/>
                  </a:lnTo>
                  <a:lnTo>
                    <a:pt x="543" y="614"/>
                  </a:lnTo>
                  <a:lnTo>
                    <a:pt x="547" y="614"/>
                  </a:lnTo>
                  <a:lnTo>
                    <a:pt x="543" y="614"/>
                  </a:lnTo>
                  <a:lnTo>
                    <a:pt x="543" y="610"/>
                  </a:lnTo>
                  <a:lnTo>
                    <a:pt x="539" y="610"/>
                  </a:lnTo>
                  <a:lnTo>
                    <a:pt x="543" y="610"/>
                  </a:lnTo>
                  <a:lnTo>
                    <a:pt x="547" y="610"/>
                  </a:lnTo>
                  <a:lnTo>
                    <a:pt x="543" y="610"/>
                  </a:lnTo>
                  <a:lnTo>
                    <a:pt x="539" y="606"/>
                  </a:lnTo>
                  <a:lnTo>
                    <a:pt x="539" y="603"/>
                  </a:lnTo>
                  <a:lnTo>
                    <a:pt x="539" y="606"/>
                  </a:lnTo>
                  <a:lnTo>
                    <a:pt x="535" y="606"/>
                  </a:lnTo>
                  <a:lnTo>
                    <a:pt x="531" y="606"/>
                  </a:lnTo>
                  <a:lnTo>
                    <a:pt x="527" y="606"/>
                  </a:lnTo>
                  <a:lnTo>
                    <a:pt x="523" y="606"/>
                  </a:lnTo>
                  <a:lnTo>
                    <a:pt x="527" y="603"/>
                  </a:lnTo>
                  <a:lnTo>
                    <a:pt x="531" y="603"/>
                  </a:lnTo>
                  <a:lnTo>
                    <a:pt x="531" y="606"/>
                  </a:lnTo>
                  <a:lnTo>
                    <a:pt x="535" y="606"/>
                  </a:lnTo>
                  <a:lnTo>
                    <a:pt x="531" y="606"/>
                  </a:lnTo>
                  <a:lnTo>
                    <a:pt x="531" y="603"/>
                  </a:lnTo>
                  <a:lnTo>
                    <a:pt x="535" y="603"/>
                  </a:lnTo>
                  <a:lnTo>
                    <a:pt x="531" y="603"/>
                  </a:lnTo>
                  <a:lnTo>
                    <a:pt x="527" y="599"/>
                  </a:lnTo>
                  <a:lnTo>
                    <a:pt x="531" y="595"/>
                  </a:lnTo>
                  <a:lnTo>
                    <a:pt x="535" y="595"/>
                  </a:lnTo>
                  <a:lnTo>
                    <a:pt x="535" y="599"/>
                  </a:lnTo>
                  <a:lnTo>
                    <a:pt x="535" y="595"/>
                  </a:lnTo>
                  <a:lnTo>
                    <a:pt x="535" y="591"/>
                  </a:lnTo>
                  <a:lnTo>
                    <a:pt x="531" y="587"/>
                  </a:lnTo>
                  <a:lnTo>
                    <a:pt x="531" y="583"/>
                  </a:lnTo>
                  <a:lnTo>
                    <a:pt x="527" y="587"/>
                  </a:lnTo>
                  <a:lnTo>
                    <a:pt x="531" y="587"/>
                  </a:lnTo>
                  <a:lnTo>
                    <a:pt x="527" y="587"/>
                  </a:lnTo>
                  <a:lnTo>
                    <a:pt x="523" y="587"/>
                  </a:lnTo>
                  <a:lnTo>
                    <a:pt x="519" y="583"/>
                  </a:lnTo>
                  <a:lnTo>
                    <a:pt x="519" y="579"/>
                  </a:lnTo>
                  <a:lnTo>
                    <a:pt x="523" y="579"/>
                  </a:lnTo>
                  <a:lnTo>
                    <a:pt x="519" y="579"/>
                  </a:lnTo>
                  <a:lnTo>
                    <a:pt x="519" y="583"/>
                  </a:lnTo>
                  <a:lnTo>
                    <a:pt x="515" y="583"/>
                  </a:lnTo>
                  <a:lnTo>
                    <a:pt x="511" y="583"/>
                  </a:lnTo>
                  <a:lnTo>
                    <a:pt x="511" y="587"/>
                  </a:lnTo>
                  <a:lnTo>
                    <a:pt x="511" y="583"/>
                  </a:lnTo>
                  <a:lnTo>
                    <a:pt x="515" y="583"/>
                  </a:lnTo>
                  <a:lnTo>
                    <a:pt x="515" y="587"/>
                  </a:lnTo>
                  <a:lnTo>
                    <a:pt x="515" y="591"/>
                  </a:lnTo>
                  <a:lnTo>
                    <a:pt x="511" y="591"/>
                  </a:lnTo>
                  <a:lnTo>
                    <a:pt x="511" y="587"/>
                  </a:lnTo>
                  <a:lnTo>
                    <a:pt x="511" y="583"/>
                  </a:lnTo>
                  <a:lnTo>
                    <a:pt x="511" y="579"/>
                  </a:lnTo>
                  <a:lnTo>
                    <a:pt x="515" y="579"/>
                  </a:lnTo>
                  <a:lnTo>
                    <a:pt x="515" y="575"/>
                  </a:lnTo>
                  <a:lnTo>
                    <a:pt x="519" y="575"/>
                  </a:lnTo>
                  <a:lnTo>
                    <a:pt x="519" y="579"/>
                  </a:lnTo>
                  <a:lnTo>
                    <a:pt x="519" y="575"/>
                  </a:lnTo>
                  <a:lnTo>
                    <a:pt x="519" y="571"/>
                  </a:lnTo>
                  <a:lnTo>
                    <a:pt x="523" y="571"/>
                  </a:lnTo>
                  <a:lnTo>
                    <a:pt x="523" y="567"/>
                  </a:lnTo>
                  <a:lnTo>
                    <a:pt x="527" y="563"/>
                  </a:lnTo>
                  <a:lnTo>
                    <a:pt x="531" y="563"/>
                  </a:lnTo>
                  <a:lnTo>
                    <a:pt x="535" y="563"/>
                  </a:lnTo>
                  <a:lnTo>
                    <a:pt x="535" y="567"/>
                  </a:lnTo>
                  <a:lnTo>
                    <a:pt x="535" y="571"/>
                  </a:lnTo>
                  <a:lnTo>
                    <a:pt x="535" y="567"/>
                  </a:lnTo>
                  <a:lnTo>
                    <a:pt x="535" y="571"/>
                  </a:lnTo>
                  <a:lnTo>
                    <a:pt x="531" y="575"/>
                  </a:lnTo>
                  <a:lnTo>
                    <a:pt x="531" y="571"/>
                  </a:lnTo>
                  <a:lnTo>
                    <a:pt x="527" y="571"/>
                  </a:lnTo>
                  <a:lnTo>
                    <a:pt x="531" y="575"/>
                  </a:lnTo>
                  <a:lnTo>
                    <a:pt x="535" y="575"/>
                  </a:lnTo>
                  <a:lnTo>
                    <a:pt x="535" y="571"/>
                  </a:lnTo>
                  <a:lnTo>
                    <a:pt x="535" y="575"/>
                  </a:lnTo>
                  <a:lnTo>
                    <a:pt x="539" y="575"/>
                  </a:lnTo>
                  <a:lnTo>
                    <a:pt x="535" y="575"/>
                  </a:lnTo>
                  <a:lnTo>
                    <a:pt x="535" y="571"/>
                  </a:lnTo>
                  <a:lnTo>
                    <a:pt x="539" y="571"/>
                  </a:lnTo>
                  <a:lnTo>
                    <a:pt x="539" y="575"/>
                  </a:lnTo>
                  <a:lnTo>
                    <a:pt x="539" y="579"/>
                  </a:lnTo>
                  <a:lnTo>
                    <a:pt x="535" y="579"/>
                  </a:lnTo>
                  <a:lnTo>
                    <a:pt x="539" y="583"/>
                  </a:lnTo>
                  <a:lnTo>
                    <a:pt x="539" y="579"/>
                  </a:lnTo>
                  <a:lnTo>
                    <a:pt x="539" y="575"/>
                  </a:lnTo>
                  <a:lnTo>
                    <a:pt x="543" y="575"/>
                  </a:lnTo>
                  <a:lnTo>
                    <a:pt x="543" y="571"/>
                  </a:lnTo>
                  <a:lnTo>
                    <a:pt x="543" y="575"/>
                  </a:lnTo>
                  <a:lnTo>
                    <a:pt x="539" y="575"/>
                  </a:lnTo>
                  <a:lnTo>
                    <a:pt x="543" y="571"/>
                  </a:lnTo>
                  <a:lnTo>
                    <a:pt x="543" y="567"/>
                  </a:lnTo>
                  <a:lnTo>
                    <a:pt x="539" y="567"/>
                  </a:lnTo>
                  <a:lnTo>
                    <a:pt x="543" y="563"/>
                  </a:lnTo>
                  <a:lnTo>
                    <a:pt x="547" y="563"/>
                  </a:lnTo>
                  <a:lnTo>
                    <a:pt x="547" y="559"/>
                  </a:lnTo>
                  <a:lnTo>
                    <a:pt x="543" y="559"/>
                  </a:lnTo>
                  <a:lnTo>
                    <a:pt x="543" y="563"/>
                  </a:lnTo>
                  <a:lnTo>
                    <a:pt x="543" y="555"/>
                  </a:lnTo>
                  <a:lnTo>
                    <a:pt x="547" y="555"/>
                  </a:lnTo>
                  <a:lnTo>
                    <a:pt x="551" y="555"/>
                  </a:lnTo>
                  <a:lnTo>
                    <a:pt x="555" y="555"/>
                  </a:lnTo>
                  <a:lnTo>
                    <a:pt x="551" y="555"/>
                  </a:lnTo>
                  <a:lnTo>
                    <a:pt x="547" y="555"/>
                  </a:lnTo>
                  <a:lnTo>
                    <a:pt x="547" y="551"/>
                  </a:lnTo>
                  <a:lnTo>
                    <a:pt x="547" y="555"/>
                  </a:lnTo>
                  <a:lnTo>
                    <a:pt x="543" y="551"/>
                  </a:lnTo>
                  <a:lnTo>
                    <a:pt x="547" y="551"/>
                  </a:lnTo>
                  <a:lnTo>
                    <a:pt x="547" y="547"/>
                  </a:lnTo>
                  <a:lnTo>
                    <a:pt x="543" y="547"/>
                  </a:lnTo>
                  <a:lnTo>
                    <a:pt x="547" y="547"/>
                  </a:lnTo>
                  <a:lnTo>
                    <a:pt x="551" y="543"/>
                  </a:lnTo>
                  <a:lnTo>
                    <a:pt x="555" y="543"/>
                  </a:lnTo>
                  <a:lnTo>
                    <a:pt x="555" y="539"/>
                  </a:lnTo>
                  <a:lnTo>
                    <a:pt x="555" y="535"/>
                  </a:lnTo>
                  <a:lnTo>
                    <a:pt x="551" y="531"/>
                  </a:lnTo>
                  <a:lnTo>
                    <a:pt x="547" y="531"/>
                  </a:lnTo>
                  <a:lnTo>
                    <a:pt x="547" y="527"/>
                  </a:lnTo>
                  <a:lnTo>
                    <a:pt x="551" y="523"/>
                  </a:lnTo>
                  <a:lnTo>
                    <a:pt x="555" y="519"/>
                  </a:lnTo>
                  <a:lnTo>
                    <a:pt x="551" y="519"/>
                  </a:lnTo>
                  <a:close/>
                  <a:moveTo>
                    <a:pt x="539" y="547"/>
                  </a:moveTo>
                  <a:lnTo>
                    <a:pt x="539" y="543"/>
                  </a:lnTo>
                  <a:lnTo>
                    <a:pt x="535" y="543"/>
                  </a:lnTo>
                  <a:lnTo>
                    <a:pt x="539" y="543"/>
                  </a:lnTo>
                  <a:lnTo>
                    <a:pt x="539" y="547"/>
                  </a:lnTo>
                  <a:close/>
                  <a:moveTo>
                    <a:pt x="511" y="630"/>
                  </a:moveTo>
                  <a:lnTo>
                    <a:pt x="511" y="626"/>
                  </a:lnTo>
                  <a:lnTo>
                    <a:pt x="515" y="626"/>
                  </a:lnTo>
                  <a:lnTo>
                    <a:pt x="515" y="630"/>
                  </a:lnTo>
                  <a:lnTo>
                    <a:pt x="511" y="630"/>
                  </a:lnTo>
                  <a:close/>
                  <a:moveTo>
                    <a:pt x="519" y="630"/>
                  </a:moveTo>
                  <a:lnTo>
                    <a:pt x="515" y="630"/>
                  </a:lnTo>
                  <a:lnTo>
                    <a:pt x="515" y="626"/>
                  </a:lnTo>
                  <a:lnTo>
                    <a:pt x="519" y="626"/>
                  </a:lnTo>
                  <a:lnTo>
                    <a:pt x="519" y="630"/>
                  </a:lnTo>
                  <a:close/>
                  <a:moveTo>
                    <a:pt x="535" y="718"/>
                  </a:moveTo>
                  <a:lnTo>
                    <a:pt x="535" y="714"/>
                  </a:lnTo>
                  <a:lnTo>
                    <a:pt x="535" y="710"/>
                  </a:lnTo>
                  <a:lnTo>
                    <a:pt x="539" y="710"/>
                  </a:lnTo>
                  <a:lnTo>
                    <a:pt x="539" y="714"/>
                  </a:lnTo>
                  <a:lnTo>
                    <a:pt x="539" y="718"/>
                  </a:lnTo>
                  <a:lnTo>
                    <a:pt x="535" y="718"/>
                  </a:lnTo>
                  <a:close/>
                  <a:moveTo>
                    <a:pt x="539" y="531"/>
                  </a:moveTo>
                  <a:lnTo>
                    <a:pt x="535" y="531"/>
                  </a:lnTo>
                  <a:lnTo>
                    <a:pt x="539" y="531"/>
                  </a:lnTo>
                  <a:close/>
                  <a:moveTo>
                    <a:pt x="519" y="571"/>
                  </a:moveTo>
                  <a:lnTo>
                    <a:pt x="519" y="567"/>
                  </a:lnTo>
                  <a:lnTo>
                    <a:pt x="523" y="567"/>
                  </a:lnTo>
                  <a:lnTo>
                    <a:pt x="519" y="567"/>
                  </a:lnTo>
                  <a:lnTo>
                    <a:pt x="523" y="567"/>
                  </a:lnTo>
                  <a:lnTo>
                    <a:pt x="523" y="563"/>
                  </a:lnTo>
                  <a:lnTo>
                    <a:pt x="523" y="567"/>
                  </a:lnTo>
                  <a:lnTo>
                    <a:pt x="523" y="571"/>
                  </a:lnTo>
                  <a:lnTo>
                    <a:pt x="519" y="571"/>
                  </a:lnTo>
                  <a:close/>
                  <a:moveTo>
                    <a:pt x="535" y="595"/>
                  </a:moveTo>
                  <a:lnTo>
                    <a:pt x="531" y="595"/>
                  </a:lnTo>
                  <a:lnTo>
                    <a:pt x="531" y="591"/>
                  </a:lnTo>
                  <a:lnTo>
                    <a:pt x="535" y="591"/>
                  </a:lnTo>
                  <a:lnTo>
                    <a:pt x="535" y="595"/>
                  </a:lnTo>
                  <a:close/>
                  <a:moveTo>
                    <a:pt x="531" y="622"/>
                  </a:moveTo>
                  <a:lnTo>
                    <a:pt x="527" y="622"/>
                  </a:lnTo>
                  <a:lnTo>
                    <a:pt x="527" y="618"/>
                  </a:lnTo>
                  <a:lnTo>
                    <a:pt x="531" y="622"/>
                  </a:lnTo>
                  <a:close/>
                  <a:moveTo>
                    <a:pt x="519" y="626"/>
                  </a:moveTo>
                  <a:lnTo>
                    <a:pt x="523" y="626"/>
                  </a:lnTo>
                  <a:lnTo>
                    <a:pt x="519" y="626"/>
                  </a:lnTo>
                  <a:close/>
                  <a:moveTo>
                    <a:pt x="511" y="638"/>
                  </a:moveTo>
                  <a:lnTo>
                    <a:pt x="511" y="634"/>
                  </a:lnTo>
                  <a:lnTo>
                    <a:pt x="515" y="634"/>
                  </a:lnTo>
                  <a:lnTo>
                    <a:pt x="515" y="638"/>
                  </a:lnTo>
                  <a:lnTo>
                    <a:pt x="511" y="638"/>
                  </a:lnTo>
                  <a:close/>
                  <a:moveTo>
                    <a:pt x="535" y="686"/>
                  </a:moveTo>
                  <a:lnTo>
                    <a:pt x="531" y="686"/>
                  </a:lnTo>
                  <a:lnTo>
                    <a:pt x="531" y="682"/>
                  </a:lnTo>
                  <a:lnTo>
                    <a:pt x="535" y="682"/>
                  </a:lnTo>
                  <a:lnTo>
                    <a:pt x="535" y="686"/>
                  </a:lnTo>
                  <a:close/>
                  <a:moveTo>
                    <a:pt x="523" y="706"/>
                  </a:moveTo>
                  <a:lnTo>
                    <a:pt x="523" y="702"/>
                  </a:lnTo>
                  <a:lnTo>
                    <a:pt x="527" y="702"/>
                  </a:lnTo>
                  <a:lnTo>
                    <a:pt x="523" y="706"/>
                  </a:lnTo>
                  <a:close/>
                  <a:moveTo>
                    <a:pt x="543" y="730"/>
                  </a:moveTo>
                  <a:lnTo>
                    <a:pt x="543" y="734"/>
                  </a:lnTo>
                  <a:lnTo>
                    <a:pt x="543" y="738"/>
                  </a:lnTo>
                  <a:lnTo>
                    <a:pt x="543" y="734"/>
                  </a:lnTo>
                  <a:lnTo>
                    <a:pt x="539" y="734"/>
                  </a:lnTo>
                  <a:lnTo>
                    <a:pt x="543" y="734"/>
                  </a:lnTo>
                  <a:lnTo>
                    <a:pt x="543" y="730"/>
                  </a:lnTo>
                  <a:close/>
                  <a:moveTo>
                    <a:pt x="591" y="754"/>
                  </a:moveTo>
                  <a:lnTo>
                    <a:pt x="591" y="750"/>
                  </a:lnTo>
                  <a:lnTo>
                    <a:pt x="587" y="750"/>
                  </a:lnTo>
                  <a:lnTo>
                    <a:pt x="591" y="750"/>
                  </a:lnTo>
                  <a:lnTo>
                    <a:pt x="595" y="750"/>
                  </a:lnTo>
                  <a:lnTo>
                    <a:pt x="591" y="750"/>
                  </a:lnTo>
                  <a:lnTo>
                    <a:pt x="591" y="754"/>
                  </a:lnTo>
                  <a:close/>
                  <a:moveTo>
                    <a:pt x="0" y="187"/>
                  </a:moveTo>
                  <a:lnTo>
                    <a:pt x="0" y="183"/>
                  </a:lnTo>
                  <a:lnTo>
                    <a:pt x="4" y="183"/>
                  </a:lnTo>
                  <a:lnTo>
                    <a:pt x="0" y="183"/>
                  </a:lnTo>
                  <a:lnTo>
                    <a:pt x="0" y="187"/>
                  </a:lnTo>
                  <a:close/>
                  <a:moveTo>
                    <a:pt x="543" y="503"/>
                  </a:moveTo>
                  <a:lnTo>
                    <a:pt x="543" y="507"/>
                  </a:lnTo>
                  <a:lnTo>
                    <a:pt x="539" y="507"/>
                  </a:lnTo>
                  <a:lnTo>
                    <a:pt x="539" y="511"/>
                  </a:lnTo>
                  <a:lnTo>
                    <a:pt x="535" y="511"/>
                  </a:lnTo>
                  <a:lnTo>
                    <a:pt x="531" y="511"/>
                  </a:lnTo>
                  <a:lnTo>
                    <a:pt x="531" y="507"/>
                  </a:lnTo>
                  <a:lnTo>
                    <a:pt x="531" y="503"/>
                  </a:lnTo>
                  <a:lnTo>
                    <a:pt x="535" y="503"/>
                  </a:lnTo>
                  <a:lnTo>
                    <a:pt x="535" y="495"/>
                  </a:lnTo>
                  <a:lnTo>
                    <a:pt x="531" y="495"/>
                  </a:lnTo>
                  <a:lnTo>
                    <a:pt x="531" y="491"/>
                  </a:lnTo>
                  <a:lnTo>
                    <a:pt x="535" y="487"/>
                  </a:lnTo>
                  <a:lnTo>
                    <a:pt x="535" y="483"/>
                  </a:lnTo>
                  <a:lnTo>
                    <a:pt x="535" y="479"/>
                  </a:lnTo>
                  <a:lnTo>
                    <a:pt x="539" y="479"/>
                  </a:lnTo>
                  <a:lnTo>
                    <a:pt x="535" y="479"/>
                  </a:lnTo>
                  <a:lnTo>
                    <a:pt x="539" y="479"/>
                  </a:lnTo>
                  <a:lnTo>
                    <a:pt x="543" y="479"/>
                  </a:lnTo>
                  <a:lnTo>
                    <a:pt x="543" y="483"/>
                  </a:lnTo>
                  <a:lnTo>
                    <a:pt x="543" y="487"/>
                  </a:lnTo>
                  <a:lnTo>
                    <a:pt x="547" y="487"/>
                  </a:lnTo>
                  <a:lnTo>
                    <a:pt x="543" y="491"/>
                  </a:lnTo>
                  <a:lnTo>
                    <a:pt x="539" y="491"/>
                  </a:lnTo>
                  <a:lnTo>
                    <a:pt x="539" y="495"/>
                  </a:lnTo>
                  <a:lnTo>
                    <a:pt x="543" y="495"/>
                  </a:lnTo>
                  <a:lnTo>
                    <a:pt x="539" y="495"/>
                  </a:lnTo>
                  <a:lnTo>
                    <a:pt x="539" y="491"/>
                  </a:lnTo>
                  <a:lnTo>
                    <a:pt x="539" y="495"/>
                  </a:lnTo>
                  <a:lnTo>
                    <a:pt x="543" y="499"/>
                  </a:lnTo>
                  <a:lnTo>
                    <a:pt x="543" y="503"/>
                  </a:lnTo>
                  <a:close/>
                  <a:moveTo>
                    <a:pt x="543" y="495"/>
                  </a:moveTo>
                  <a:lnTo>
                    <a:pt x="543" y="491"/>
                  </a:lnTo>
                  <a:lnTo>
                    <a:pt x="539" y="491"/>
                  </a:lnTo>
                  <a:lnTo>
                    <a:pt x="543" y="491"/>
                  </a:lnTo>
                  <a:lnTo>
                    <a:pt x="543" y="495"/>
                  </a:lnTo>
                  <a:close/>
                  <a:moveTo>
                    <a:pt x="523" y="519"/>
                  </a:moveTo>
                  <a:lnTo>
                    <a:pt x="523" y="515"/>
                  </a:lnTo>
                  <a:lnTo>
                    <a:pt x="527" y="515"/>
                  </a:lnTo>
                  <a:lnTo>
                    <a:pt x="527" y="519"/>
                  </a:lnTo>
                  <a:lnTo>
                    <a:pt x="523" y="519"/>
                  </a:lnTo>
                  <a:close/>
                  <a:moveTo>
                    <a:pt x="535" y="523"/>
                  </a:moveTo>
                  <a:lnTo>
                    <a:pt x="539" y="523"/>
                  </a:lnTo>
                  <a:lnTo>
                    <a:pt x="539" y="519"/>
                  </a:lnTo>
                  <a:lnTo>
                    <a:pt x="539" y="523"/>
                  </a:lnTo>
                  <a:lnTo>
                    <a:pt x="535" y="523"/>
                  </a:lnTo>
                  <a:close/>
                  <a:moveTo>
                    <a:pt x="547" y="527"/>
                  </a:moveTo>
                  <a:lnTo>
                    <a:pt x="547" y="523"/>
                  </a:lnTo>
                  <a:lnTo>
                    <a:pt x="547" y="527"/>
                  </a:lnTo>
                  <a:close/>
                  <a:moveTo>
                    <a:pt x="539" y="527"/>
                  </a:moveTo>
                  <a:lnTo>
                    <a:pt x="539" y="523"/>
                  </a:lnTo>
                  <a:lnTo>
                    <a:pt x="543" y="527"/>
                  </a:lnTo>
                  <a:lnTo>
                    <a:pt x="539" y="527"/>
                  </a:lnTo>
                  <a:close/>
                  <a:moveTo>
                    <a:pt x="539" y="531"/>
                  </a:moveTo>
                  <a:lnTo>
                    <a:pt x="535" y="531"/>
                  </a:lnTo>
                  <a:lnTo>
                    <a:pt x="535" y="527"/>
                  </a:lnTo>
                  <a:lnTo>
                    <a:pt x="539" y="527"/>
                  </a:lnTo>
                  <a:lnTo>
                    <a:pt x="539" y="531"/>
                  </a:lnTo>
                  <a:close/>
                  <a:moveTo>
                    <a:pt x="535" y="531"/>
                  </a:moveTo>
                  <a:lnTo>
                    <a:pt x="535" y="527"/>
                  </a:lnTo>
                  <a:lnTo>
                    <a:pt x="535" y="531"/>
                  </a:lnTo>
                  <a:close/>
                  <a:moveTo>
                    <a:pt x="535" y="535"/>
                  </a:moveTo>
                  <a:lnTo>
                    <a:pt x="535" y="531"/>
                  </a:lnTo>
                  <a:lnTo>
                    <a:pt x="535" y="535"/>
                  </a:lnTo>
                  <a:close/>
                  <a:moveTo>
                    <a:pt x="551" y="543"/>
                  </a:moveTo>
                  <a:lnTo>
                    <a:pt x="547" y="543"/>
                  </a:lnTo>
                  <a:lnTo>
                    <a:pt x="547" y="547"/>
                  </a:lnTo>
                  <a:lnTo>
                    <a:pt x="543" y="543"/>
                  </a:lnTo>
                  <a:lnTo>
                    <a:pt x="547" y="543"/>
                  </a:lnTo>
                  <a:lnTo>
                    <a:pt x="543" y="543"/>
                  </a:lnTo>
                  <a:lnTo>
                    <a:pt x="543" y="539"/>
                  </a:lnTo>
                  <a:lnTo>
                    <a:pt x="547" y="539"/>
                  </a:lnTo>
                  <a:lnTo>
                    <a:pt x="547" y="535"/>
                  </a:lnTo>
                  <a:lnTo>
                    <a:pt x="551" y="535"/>
                  </a:lnTo>
                  <a:lnTo>
                    <a:pt x="555" y="535"/>
                  </a:lnTo>
                  <a:lnTo>
                    <a:pt x="555" y="539"/>
                  </a:lnTo>
                  <a:lnTo>
                    <a:pt x="551" y="539"/>
                  </a:lnTo>
                  <a:lnTo>
                    <a:pt x="555" y="539"/>
                  </a:lnTo>
                  <a:lnTo>
                    <a:pt x="551" y="543"/>
                  </a:lnTo>
                  <a:close/>
                  <a:moveTo>
                    <a:pt x="531" y="539"/>
                  </a:moveTo>
                  <a:lnTo>
                    <a:pt x="527" y="535"/>
                  </a:lnTo>
                  <a:lnTo>
                    <a:pt x="531" y="535"/>
                  </a:lnTo>
                  <a:lnTo>
                    <a:pt x="531" y="539"/>
                  </a:lnTo>
                  <a:close/>
                  <a:moveTo>
                    <a:pt x="535" y="539"/>
                  </a:moveTo>
                  <a:lnTo>
                    <a:pt x="535" y="535"/>
                  </a:lnTo>
                  <a:lnTo>
                    <a:pt x="535" y="539"/>
                  </a:lnTo>
                  <a:close/>
                  <a:moveTo>
                    <a:pt x="531" y="539"/>
                  </a:moveTo>
                  <a:lnTo>
                    <a:pt x="531" y="535"/>
                  </a:lnTo>
                  <a:lnTo>
                    <a:pt x="535" y="539"/>
                  </a:lnTo>
                  <a:lnTo>
                    <a:pt x="531" y="539"/>
                  </a:lnTo>
                  <a:close/>
                  <a:moveTo>
                    <a:pt x="539" y="543"/>
                  </a:moveTo>
                  <a:lnTo>
                    <a:pt x="539" y="539"/>
                  </a:lnTo>
                  <a:lnTo>
                    <a:pt x="539" y="535"/>
                  </a:lnTo>
                  <a:lnTo>
                    <a:pt x="539" y="539"/>
                  </a:lnTo>
                  <a:lnTo>
                    <a:pt x="543" y="539"/>
                  </a:lnTo>
                  <a:lnTo>
                    <a:pt x="539" y="543"/>
                  </a:lnTo>
                  <a:close/>
                  <a:moveTo>
                    <a:pt x="531" y="543"/>
                  </a:moveTo>
                  <a:lnTo>
                    <a:pt x="531" y="539"/>
                  </a:lnTo>
                  <a:lnTo>
                    <a:pt x="535" y="539"/>
                  </a:lnTo>
                  <a:lnTo>
                    <a:pt x="539" y="539"/>
                  </a:lnTo>
                  <a:lnTo>
                    <a:pt x="535" y="539"/>
                  </a:lnTo>
                  <a:lnTo>
                    <a:pt x="531" y="543"/>
                  </a:lnTo>
                  <a:close/>
                  <a:moveTo>
                    <a:pt x="531" y="543"/>
                  </a:moveTo>
                  <a:lnTo>
                    <a:pt x="527" y="543"/>
                  </a:lnTo>
                  <a:lnTo>
                    <a:pt x="527" y="539"/>
                  </a:lnTo>
                  <a:lnTo>
                    <a:pt x="531" y="539"/>
                  </a:lnTo>
                  <a:lnTo>
                    <a:pt x="531" y="543"/>
                  </a:lnTo>
                  <a:close/>
                  <a:moveTo>
                    <a:pt x="539" y="543"/>
                  </a:moveTo>
                  <a:lnTo>
                    <a:pt x="543" y="543"/>
                  </a:lnTo>
                  <a:lnTo>
                    <a:pt x="539" y="543"/>
                  </a:lnTo>
                  <a:close/>
                  <a:moveTo>
                    <a:pt x="535" y="543"/>
                  </a:moveTo>
                  <a:lnTo>
                    <a:pt x="531" y="543"/>
                  </a:lnTo>
                  <a:lnTo>
                    <a:pt x="535" y="543"/>
                  </a:lnTo>
                  <a:close/>
                  <a:moveTo>
                    <a:pt x="519" y="547"/>
                  </a:moveTo>
                  <a:lnTo>
                    <a:pt x="519" y="543"/>
                  </a:lnTo>
                  <a:lnTo>
                    <a:pt x="519" y="547"/>
                  </a:lnTo>
                  <a:close/>
                  <a:moveTo>
                    <a:pt x="531" y="547"/>
                  </a:moveTo>
                  <a:lnTo>
                    <a:pt x="531" y="543"/>
                  </a:lnTo>
                  <a:lnTo>
                    <a:pt x="535" y="543"/>
                  </a:lnTo>
                  <a:lnTo>
                    <a:pt x="535" y="547"/>
                  </a:lnTo>
                  <a:lnTo>
                    <a:pt x="539" y="547"/>
                  </a:lnTo>
                  <a:lnTo>
                    <a:pt x="535" y="547"/>
                  </a:lnTo>
                  <a:lnTo>
                    <a:pt x="531" y="547"/>
                  </a:lnTo>
                  <a:close/>
                  <a:moveTo>
                    <a:pt x="539" y="551"/>
                  </a:moveTo>
                  <a:lnTo>
                    <a:pt x="535" y="551"/>
                  </a:lnTo>
                  <a:lnTo>
                    <a:pt x="531" y="551"/>
                  </a:lnTo>
                  <a:lnTo>
                    <a:pt x="531" y="547"/>
                  </a:lnTo>
                  <a:lnTo>
                    <a:pt x="535" y="547"/>
                  </a:lnTo>
                  <a:lnTo>
                    <a:pt x="539" y="547"/>
                  </a:lnTo>
                  <a:lnTo>
                    <a:pt x="539" y="551"/>
                  </a:lnTo>
                  <a:close/>
                  <a:moveTo>
                    <a:pt x="531" y="555"/>
                  </a:moveTo>
                  <a:lnTo>
                    <a:pt x="531" y="551"/>
                  </a:lnTo>
                  <a:lnTo>
                    <a:pt x="531" y="555"/>
                  </a:lnTo>
                  <a:close/>
                  <a:moveTo>
                    <a:pt x="535" y="555"/>
                  </a:moveTo>
                  <a:lnTo>
                    <a:pt x="535" y="551"/>
                  </a:lnTo>
                  <a:lnTo>
                    <a:pt x="539" y="551"/>
                  </a:lnTo>
                  <a:lnTo>
                    <a:pt x="539" y="555"/>
                  </a:lnTo>
                  <a:lnTo>
                    <a:pt x="535" y="555"/>
                  </a:lnTo>
                  <a:close/>
                  <a:moveTo>
                    <a:pt x="531" y="555"/>
                  </a:moveTo>
                  <a:lnTo>
                    <a:pt x="527" y="555"/>
                  </a:lnTo>
                  <a:lnTo>
                    <a:pt x="527" y="551"/>
                  </a:lnTo>
                  <a:lnTo>
                    <a:pt x="531" y="551"/>
                  </a:lnTo>
                  <a:lnTo>
                    <a:pt x="531" y="555"/>
                  </a:lnTo>
                  <a:close/>
                  <a:moveTo>
                    <a:pt x="535" y="555"/>
                  </a:moveTo>
                  <a:lnTo>
                    <a:pt x="539" y="555"/>
                  </a:lnTo>
                  <a:lnTo>
                    <a:pt x="535" y="555"/>
                  </a:lnTo>
                  <a:close/>
                  <a:moveTo>
                    <a:pt x="535" y="559"/>
                  </a:moveTo>
                  <a:lnTo>
                    <a:pt x="535" y="555"/>
                  </a:lnTo>
                  <a:lnTo>
                    <a:pt x="539" y="555"/>
                  </a:lnTo>
                  <a:lnTo>
                    <a:pt x="539" y="559"/>
                  </a:lnTo>
                  <a:lnTo>
                    <a:pt x="535" y="559"/>
                  </a:lnTo>
                  <a:close/>
                  <a:moveTo>
                    <a:pt x="543" y="563"/>
                  </a:moveTo>
                  <a:lnTo>
                    <a:pt x="539" y="563"/>
                  </a:lnTo>
                  <a:lnTo>
                    <a:pt x="539" y="559"/>
                  </a:lnTo>
                  <a:lnTo>
                    <a:pt x="539" y="555"/>
                  </a:lnTo>
                  <a:lnTo>
                    <a:pt x="543" y="555"/>
                  </a:lnTo>
                  <a:lnTo>
                    <a:pt x="543" y="559"/>
                  </a:lnTo>
                  <a:lnTo>
                    <a:pt x="543" y="563"/>
                  </a:lnTo>
                  <a:close/>
                  <a:moveTo>
                    <a:pt x="527" y="563"/>
                  </a:moveTo>
                  <a:lnTo>
                    <a:pt x="527" y="559"/>
                  </a:lnTo>
                  <a:lnTo>
                    <a:pt x="531" y="555"/>
                  </a:lnTo>
                  <a:lnTo>
                    <a:pt x="531" y="559"/>
                  </a:lnTo>
                  <a:lnTo>
                    <a:pt x="531" y="563"/>
                  </a:lnTo>
                  <a:lnTo>
                    <a:pt x="527" y="563"/>
                  </a:lnTo>
                  <a:close/>
                  <a:moveTo>
                    <a:pt x="535" y="563"/>
                  </a:moveTo>
                  <a:lnTo>
                    <a:pt x="535" y="559"/>
                  </a:lnTo>
                  <a:lnTo>
                    <a:pt x="539" y="559"/>
                  </a:lnTo>
                  <a:lnTo>
                    <a:pt x="539" y="563"/>
                  </a:lnTo>
                  <a:lnTo>
                    <a:pt x="535" y="563"/>
                  </a:lnTo>
                  <a:close/>
                  <a:moveTo>
                    <a:pt x="527" y="563"/>
                  </a:moveTo>
                  <a:lnTo>
                    <a:pt x="527" y="559"/>
                  </a:lnTo>
                  <a:lnTo>
                    <a:pt x="527" y="563"/>
                  </a:lnTo>
                  <a:close/>
                  <a:moveTo>
                    <a:pt x="535" y="567"/>
                  </a:moveTo>
                  <a:lnTo>
                    <a:pt x="535" y="563"/>
                  </a:lnTo>
                  <a:lnTo>
                    <a:pt x="535" y="567"/>
                  </a:lnTo>
                  <a:close/>
                  <a:moveTo>
                    <a:pt x="539" y="567"/>
                  </a:moveTo>
                  <a:lnTo>
                    <a:pt x="535" y="567"/>
                  </a:lnTo>
                  <a:lnTo>
                    <a:pt x="539" y="567"/>
                  </a:lnTo>
                  <a:lnTo>
                    <a:pt x="539" y="563"/>
                  </a:lnTo>
                  <a:lnTo>
                    <a:pt x="539" y="567"/>
                  </a:lnTo>
                  <a:close/>
                  <a:moveTo>
                    <a:pt x="539" y="571"/>
                  </a:moveTo>
                  <a:lnTo>
                    <a:pt x="535" y="571"/>
                  </a:lnTo>
                  <a:lnTo>
                    <a:pt x="535" y="567"/>
                  </a:lnTo>
                  <a:lnTo>
                    <a:pt x="539" y="567"/>
                  </a:lnTo>
                  <a:lnTo>
                    <a:pt x="539" y="571"/>
                  </a:lnTo>
                  <a:close/>
                  <a:moveTo>
                    <a:pt x="527" y="595"/>
                  </a:moveTo>
                  <a:lnTo>
                    <a:pt x="527" y="591"/>
                  </a:lnTo>
                  <a:lnTo>
                    <a:pt x="531" y="591"/>
                  </a:lnTo>
                  <a:lnTo>
                    <a:pt x="531" y="595"/>
                  </a:lnTo>
                  <a:lnTo>
                    <a:pt x="527" y="595"/>
                  </a:lnTo>
                  <a:close/>
                  <a:moveTo>
                    <a:pt x="519" y="606"/>
                  </a:moveTo>
                  <a:lnTo>
                    <a:pt x="523" y="606"/>
                  </a:lnTo>
                  <a:lnTo>
                    <a:pt x="519" y="606"/>
                  </a:lnTo>
                  <a:close/>
                  <a:moveTo>
                    <a:pt x="519" y="606"/>
                  </a:moveTo>
                  <a:lnTo>
                    <a:pt x="515" y="606"/>
                  </a:lnTo>
                  <a:lnTo>
                    <a:pt x="519" y="606"/>
                  </a:lnTo>
                  <a:close/>
                  <a:moveTo>
                    <a:pt x="531" y="610"/>
                  </a:moveTo>
                  <a:lnTo>
                    <a:pt x="527" y="610"/>
                  </a:lnTo>
                  <a:lnTo>
                    <a:pt x="531" y="606"/>
                  </a:lnTo>
                  <a:lnTo>
                    <a:pt x="535" y="606"/>
                  </a:lnTo>
                  <a:lnTo>
                    <a:pt x="535" y="610"/>
                  </a:lnTo>
                  <a:lnTo>
                    <a:pt x="539" y="610"/>
                  </a:lnTo>
                  <a:lnTo>
                    <a:pt x="539" y="606"/>
                  </a:lnTo>
                  <a:lnTo>
                    <a:pt x="539" y="610"/>
                  </a:lnTo>
                  <a:lnTo>
                    <a:pt x="535" y="610"/>
                  </a:lnTo>
                  <a:lnTo>
                    <a:pt x="531" y="610"/>
                  </a:lnTo>
                  <a:close/>
                  <a:moveTo>
                    <a:pt x="523" y="614"/>
                  </a:moveTo>
                  <a:lnTo>
                    <a:pt x="519" y="610"/>
                  </a:lnTo>
                  <a:lnTo>
                    <a:pt x="515" y="610"/>
                  </a:lnTo>
                  <a:lnTo>
                    <a:pt x="519" y="610"/>
                  </a:lnTo>
                  <a:lnTo>
                    <a:pt x="523" y="610"/>
                  </a:lnTo>
                  <a:lnTo>
                    <a:pt x="523" y="606"/>
                  </a:lnTo>
                  <a:lnTo>
                    <a:pt x="523" y="610"/>
                  </a:lnTo>
                  <a:lnTo>
                    <a:pt x="523" y="614"/>
                  </a:lnTo>
                  <a:close/>
                  <a:moveTo>
                    <a:pt x="519" y="626"/>
                  </a:moveTo>
                  <a:lnTo>
                    <a:pt x="515" y="626"/>
                  </a:lnTo>
                  <a:lnTo>
                    <a:pt x="515" y="622"/>
                  </a:lnTo>
                  <a:lnTo>
                    <a:pt x="515" y="618"/>
                  </a:lnTo>
                  <a:lnTo>
                    <a:pt x="515" y="622"/>
                  </a:lnTo>
                  <a:lnTo>
                    <a:pt x="511" y="622"/>
                  </a:lnTo>
                  <a:lnTo>
                    <a:pt x="511" y="618"/>
                  </a:lnTo>
                  <a:lnTo>
                    <a:pt x="515" y="618"/>
                  </a:lnTo>
                  <a:lnTo>
                    <a:pt x="511" y="618"/>
                  </a:lnTo>
                  <a:lnTo>
                    <a:pt x="511" y="614"/>
                  </a:lnTo>
                  <a:lnTo>
                    <a:pt x="511" y="610"/>
                  </a:lnTo>
                  <a:lnTo>
                    <a:pt x="515" y="610"/>
                  </a:lnTo>
                  <a:lnTo>
                    <a:pt x="515" y="614"/>
                  </a:lnTo>
                  <a:lnTo>
                    <a:pt x="515" y="618"/>
                  </a:lnTo>
                  <a:lnTo>
                    <a:pt x="519" y="618"/>
                  </a:lnTo>
                  <a:lnTo>
                    <a:pt x="519" y="622"/>
                  </a:lnTo>
                  <a:lnTo>
                    <a:pt x="519" y="626"/>
                  </a:lnTo>
                  <a:close/>
                  <a:moveTo>
                    <a:pt x="519" y="622"/>
                  </a:moveTo>
                  <a:lnTo>
                    <a:pt x="519" y="614"/>
                  </a:lnTo>
                  <a:lnTo>
                    <a:pt x="515" y="614"/>
                  </a:lnTo>
                  <a:lnTo>
                    <a:pt x="519" y="614"/>
                  </a:lnTo>
                  <a:lnTo>
                    <a:pt x="523" y="614"/>
                  </a:lnTo>
                  <a:lnTo>
                    <a:pt x="523" y="618"/>
                  </a:lnTo>
                  <a:lnTo>
                    <a:pt x="519" y="622"/>
                  </a:lnTo>
                  <a:close/>
                  <a:moveTo>
                    <a:pt x="527" y="618"/>
                  </a:moveTo>
                  <a:lnTo>
                    <a:pt x="527" y="614"/>
                  </a:lnTo>
                  <a:lnTo>
                    <a:pt x="531" y="614"/>
                  </a:lnTo>
                  <a:lnTo>
                    <a:pt x="531" y="618"/>
                  </a:lnTo>
                  <a:lnTo>
                    <a:pt x="527" y="618"/>
                  </a:lnTo>
                  <a:close/>
                  <a:moveTo>
                    <a:pt x="527" y="626"/>
                  </a:moveTo>
                  <a:lnTo>
                    <a:pt x="523" y="626"/>
                  </a:lnTo>
                  <a:lnTo>
                    <a:pt x="519" y="626"/>
                  </a:lnTo>
                  <a:lnTo>
                    <a:pt x="519" y="622"/>
                  </a:lnTo>
                  <a:lnTo>
                    <a:pt x="523" y="622"/>
                  </a:lnTo>
                  <a:lnTo>
                    <a:pt x="523" y="618"/>
                  </a:lnTo>
                  <a:lnTo>
                    <a:pt x="523" y="622"/>
                  </a:lnTo>
                  <a:lnTo>
                    <a:pt x="523" y="618"/>
                  </a:lnTo>
                  <a:lnTo>
                    <a:pt x="523" y="614"/>
                  </a:lnTo>
                  <a:lnTo>
                    <a:pt x="527" y="614"/>
                  </a:lnTo>
                  <a:lnTo>
                    <a:pt x="527" y="618"/>
                  </a:lnTo>
                  <a:lnTo>
                    <a:pt x="527" y="622"/>
                  </a:lnTo>
                  <a:lnTo>
                    <a:pt x="527" y="626"/>
                  </a:lnTo>
                  <a:lnTo>
                    <a:pt x="527" y="622"/>
                  </a:lnTo>
                  <a:lnTo>
                    <a:pt x="527" y="626"/>
                  </a:lnTo>
                  <a:close/>
                  <a:moveTo>
                    <a:pt x="531" y="622"/>
                  </a:moveTo>
                  <a:lnTo>
                    <a:pt x="531" y="618"/>
                  </a:lnTo>
                  <a:lnTo>
                    <a:pt x="527" y="618"/>
                  </a:lnTo>
                  <a:lnTo>
                    <a:pt x="531" y="618"/>
                  </a:lnTo>
                  <a:lnTo>
                    <a:pt x="531" y="622"/>
                  </a:lnTo>
                  <a:close/>
                  <a:moveTo>
                    <a:pt x="535" y="622"/>
                  </a:moveTo>
                  <a:lnTo>
                    <a:pt x="531" y="622"/>
                  </a:lnTo>
                  <a:lnTo>
                    <a:pt x="531" y="618"/>
                  </a:lnTo>
                  <a:lnTo>
                    <a:pt x="535" y="618"/>
                  </a:lnTo>
                  <a:lnTo>
                    <a:pt x="535" y="622"/>
                  </a:lnTo>
                  <a:close/>
                  <a:moveTo>
                    <a:pt x="511" y="626"/>
                  </a:moveTo>
                  <a:lnTo>
                    <a:pt x="515" y="626"/>
                  </a:lnTo>
                  <a:lnTo>
                    <a:pt x="511" y="626"/>
                  </a:lnTo>
                  <a:lnTo>
                    <a:pt x="511" y="622"/>
                  </a:lnTo>
                  <a:lnTo>
                    <a:pt x="515" y="622"/>
                  </a:lnTo>
                  <a:lnTo>
                    <a:pt x="515" y="626"/>
                  </a:lnTo>
                  <a:lnTo>
                    <a:pt x="511" y="626"/>
                  </a:lnTo>
                  <a:close/>
                  <a:moveTo>
                    <a:pt x="527" y="646"/>
                  </a:moveTo>
                  <a:lnTo>
                    <a:pt x="527" y="650"/>
                  </a:lnTo>
                  <a:lnTo>
                    <a:pt x="527" y="646"/>
                  </a:lnTo>
                  <a:lnTo>
                    <a:pt x="531" y="646"/>
                  </a:lnTo>
                  <a:lnTo>
                    <a:pt x="531" y="650"/>
                  </a:lnTo>
                  <a:lnTo>
                    <a:pt x="527" y="654"/>
                  </a:lnTo>
                  <a:lnTo>
                    <a:pt x="527" y="658"/>
                  </a:lnTo>
                  <a:lnTo>
                    <a:pt x="523" y="658"/>
                  </a:lnTo>
                  <a:lnTo>
                    <a:pt x="523" y="654"/>
                  </a:lnTo>
                  <a:lnTo>
                    <a:pt x="527" y="654"/>
                  </a:lnTo>
                  <a:lnTo>
                    <a:pt x="523" y="654"/>
                  </a:lnTo>
                  <a:lnTo>
                    <a:pt x="523" y="650"/>
                  </a:lnTo>
                  <a:lnTo>
                    <a:pt x="523" y="646"/>
                  </a:lnTo>
                  <a:lnTo>
                    <a:pt x="523" y="642"/>
                  </a:lnTo>
                  <a:lnTo>
                    <a:pt x="527" y="642"/>
                  </a:lnTo>
                  <a:lnTo>
                    <a:pt x="523" y="642"/>
                  </a:lnTo>
                  <a:lnTo>
                    <a:pt x="523" y="646"/>
                  </a:lnTo>
                  <a:lnTo>
                    <a:pt x="523" y="642"/>
                  </a:lnTo>
                  <a:lnTo>
                    <a:pt x="519" y="646"/>
                  </a:lnTo>
                  <a:lnTo>
                    <a:pt x="523" y="646"/>
                  </a:lnTo>
                  <a:lnTo>
                    <a:pt x="519" y="650"/>
                  </a:lnTo>
                  <a:lnTo>
                    <a:pt x="519" y="654"/>
                  </a:lnTo>
                  <a:lnTo>
                    <a:pt x="519" y="650"/>
                  </a:lnTo>
                  <a:lnTo>
                    <a:pt x="515" y="646"/>
                  </a:lnTo>
                  <a:lnTo>
                    <a:pt x="515" y="642"/>
                  </a:lnTo>
                  <a:lnTo>
                    <a:pt x="515" y="638"/>
                  </a:lnTo>
                  <a:lnTo>
                    <a:pt x="515" y="642"/>
                  </a:lnTo>
                  <a:lnTo>
                    <a:pt x="519" y="642"/>
                  </a:lnTo>
                  <a:lnTo>
                    <a:pt x="519" y="646"/>
                  </a:lnTo>
                  <a:lnTo>
                    <a:pt x="519" y="642"/>
                  </a:lnTo>
                  <a:lnTo>
                    <a:pt x="515" y="642"/>
                  </a:lnTo>
                  <a:lnTo>
                    <a:pt x="515" y="638"/>
                  </a:lnTo>
                  <a:lnTo>
                    <a:pt x="519" y="642"/>
                  </a:lnTo>
                  <a:lnTo>
                    <a:pt x="519" y="638"/>
                  </a:lnTo>
                  <a:lnTo>
                    <a:pt x="523" y="642"/>
                  </a:lnTo>
                  <a:lnTo>
                    <a:pt x="523" y="638"/>
                  </a:lnTo>
                  <a:lnTo>
                    <a:pt x="523" y="634"/>
                  </a:lnTo>
                  <a:lnTo>
                    <a:pt x="519" y="630"/>
                  </a:lnTo>
                  <a:lnTo>
                    <a:pt x="519" y="626"/>
                  </a:lnTo>
                  <a:lnTo>
                    <a:pt x="523" y="626"/>
                  </a:lnTo>
                  <a:lnTo>
                    <a:pt x="527" y="626"/>
                  </a:lnTo>
                  <a:lnTo>
                    <a:pt x="527" y="630"/>
                  </a:lnTo>
                  <a:lnTo>
                    <a:pt x="527" y="634"/>
                  </a:lnTo>
                  <a:lnTo>
                    <a:pt x="527" y="638"/>
                  </a:lnTo>
                  <a:lnTo>
                    <a:pt x="531" y="638"/>
                  </a:lnTo>
                  <a:lnTo>
                    <a:pt x="527" y="642"/>
                  </a:lnTo>
                  <a:lnTo>
                    <a:pt x="527" y="646"/>
                  </a:lnTo>
                  <a:close/>
                  <a:moveTo>
                    <a:pt x="519" y="634"/>
                  </a:moveTo>
                  <a:lnTo>
                    <a:pt x="515" y="630"/>
                  </a:lnTo>
                  <a:lnTo>
                    <a:pt x="519" y="630"/>
                  </a:lnTo>
                  <a:lnTo>
                    <a:pt x="519" y="634"/>
                  </a:lnTo>
                  <a:close/>
                  <a:moveTo>
                    <a:pt x="515" y="634"/>
                  </a:moveTo>
                  <a:lnTo>
                    <a:pt x="515" y="630"/>
                  </a:lnTo>
                  <a:lnTo>
                    <a:pt x="515" y="634"/>
                  </a:lnTo>
                  <a:lnTo>
                    <a:pt x="511" y="634"/>
                  </a:lnTo>
                  <a:lnTo>
                    <a:pt x="511" y="630"/>
                  </a:lnTo>
                  <a:lnTo>
                    <a:pt x="515" y="630"/>
                  </a:lnTo>
                  <a:lnTo>
                    <a:pt x="519" y="634"/>
                  </a:lnTo>
                  <a:lnTo>
                    <a:pt x="515" y="634"/>
                  </a:lnTo>
                  <a:close/>
                  <a:moveTo>
                    <a:pt x="523" y="638"/>
                  </a:moveTo>
                  <a:lnTo>
                    <a:pt x="519" y="638"/>
                  </a:lnTo>
                  <a:lnTo>
                    <a:pt x="515" y="638"/>
                  </a:lnTo>
                  <a:lnTo>
                    <a:pt x="515" y="634"/>
                  </a:lnTo>
                  <a:lnTo>
                    <a:pt x="519" y="634"/>
                  </a:lnTo>
                  <a:lnTo>
                    <a:pt x="523" y="634"/>
                  </a:lnTo>
                  <a:lnTo>
                    <a:pt x="523" y="638"/>
                  </a:lnTo>
                  <a:close/>
                  <a:moveTo>
                    <a:pt x="531" y="646"/>
                  </a:moveTo>
                  <a:lnTo>
                    <a:pt x="527" y="642"/>
                  </a:lnTo>
                  <a:lnTo>
                    <a:pt x="531" y="642"/>
                  </a:lnTo>
                  <a:lnTo>
                    <a:pt x="531" y="646"/>
                  </a:lnTo>
                  <a:close/>
                  <a:moveTo>
                    <a:pt x="519" y="654"/>
                  </a:moveTo>
                  <a:lnTo>
                    <a:pt x="515" y="650"/>
                  </a:lnTo>
                  <a:lnTo>
                    <a:pt x="515" y="654"/>
                  </a:lnTo>
                  <a:lnTo>
                    <a:pt x="515" y="650"/>
                  </a:lnTo>
                  <a:lnTo>
                    <a:pt x="511" y="650"/>
                  </a:lnTo>
                  <a:lnTo>
                    <a:pt x="511" y="646"/>
                  </a:lnTo>
                  <a:lnTo>
                    <a:pt x="515" y="646"/>
                  </a:lnTo>
                  <a:lnTo>
                    <a:pt x="519" y="650"/>
                  </a:lnTo>
                  <a:lnTo>
                    <a:pt x="519" y="654"/>
                  </a:lnTo>
                  <a:close/>
                  <a:moveTo>
                    <a:pt x="519" y="662"/>
                  </a:moveTo>
                  <a:lnTo>
                    <a:pt x="519" y="666"/>
                  </a:lnTo>
                  <a:lnTo>
                    <a:pt x="515" y="666"/>
                  </a:lnTo>
                  <a:lnTo>
                    <a:pt x="515" y="662"/>
                  </a:lnTo>
                  <a:lnTo>
                    <a:pt x="519" y="662"/>
                  </a:lnTo>
                  <a:lnTo>
                    <a:pt x="515" y="662"/>
                  </a:lnTo>
                  <a:lnTo>
                    <a:pt x="515" y="658"/>
                  </a:lnTo>
                  <a:lnTo>
                    <a:pt x="515" y="662"/>
                  </a:lnTo>
                  <a:lnTo>
                    <a:pt x="519" y="662"/>
                  </a:lnTo>
                  <a:lnTo>
                    <a:pt x="519" y="658"/>
                  </a:lnTo>
                  <a:lnTo>
                    <a:pt x="515" y="658"/>
                  </a:lnTo>
                  <a:lnTo>
                    <a:pt x="515" y="654"/>
                  </a:lnTo>
                  <a:lnTo>
                    <a:pt x="519" y="654"/>
                  </a:lnTo>
                  <a:lnTo>
                    <a:pt x="519" y="658"/>
                  </a:lnTo>
                  <a:lnTo>
                    <a:pt x="523" y="658"/>
                  </a:lnTo>
                  <a:lnTo>
                    <a:pt x="519" y="662"/>
                  </a:lnTo>
                  <a:close/>
                  <a:moveTo>
                    <a:pt x="523" y="666"/>
                  </a:moveTo>
                  <a:lnTo>
                    <a:pt x="523" y="662"/>
                  </a:lnTo>
                  <a:lnTo>
                    <a:pt x="527" y="662"/>
                  </a:lnTo>
                  <a:lnTo>
                    <a:pt x="527" y="666"/>
                  </a:lnTo>
                  <a:lnTo>
                    <a:pt x="523" y="666"/>
                  </a:lnTo>
                  <a:close/>
                  <a:moveTo>
                    <a:pt x="531" y="674"/>
                  </a:moveTo>
                  <a:lnTo>
                    <a:pt x="527" y="670"/>
                  </a:lnTo>
                  <a:lnTo>
                    <a:pt x="527" y="666"/>
                  </a:lnTo>
                  <a:lnTo>
                    <a:pt x="531" y="666"/>
                  </a:lnTo>
                  <a:lnTo>
                    <a:pt x="527" y="666"/>
                  </a:lnTo>
                  <a:lnTo>
                    <a:pt x="531" y="666"/>
                  </a:lnTo>
                  <a:lnTo>
                    <a:pt x="531" y="670"/>
                  </a:lnTo>
                  <a:lnTo>
                    <a:pt x="531" y="674"/>
                  </a:lnTo>
                  <a:lnTo>
                    <a:pt x="535" y="674"/>
                  </a:lnTo>
                  <a:lnTo>
                    <a:pt x="531" y="674"/>
                  </a:lnTo>
                  <a:close/>
                  <a:moveTo>
                    <a:pt x="515" y="674"/>
                  </a:moveTo>
                  <a:lnTo>
                    <a:pt x="511" y="670"/>
                  </a:lnTo>
                  <a:lnTo>
                    <a:pt x="515" y="670"/>
                  </a:lnTo>
                  <a:lnTo>
                    <a:pt x="515" y="666"/>
                  </a:lnTo>
                  <a:lnTo>
                    <a:pt x="519" y="666"/>
                  </a:lnTo>
                  <a:lnTo>
                    <a:pt x="519" y="670"/>
                  </a:lnTo>
                  <a:lnTo>
                    <a:pt x="515" y="670"/>
                  </a:lnTo>
                  <a:lnTo>
                    <a:pt x="515" y="674"/>
                  </a:lnTo>
                  <a:close/>
                  <a:moveTo>
                    <a:pt x="519" y="674"/>
                  </a:moveTo>
                  <a:lnTo>
                    <a:pt x="519" y="670"/>
                  </a:lnTo>
                  <a:lnTo>
                    <a:pt x="519" y="674"/>
                  </a:lnTo>
                  <a:close/>
                  <a:moveTo>
                    <a:pt x="527" y="674"/>
                  </a:moveTo>
                  <a:lnTo>
                    <a:pt x="523" y="674"/>
                  </a:lnTo>
                  <a:lnTo>
                    <a:pt x="523" y="670"/>
                  </a:lnTo>
                  <a:lnTo>
                    <a:pt x="527" y="674"/>
                  </a:lnTo>
                  <a:close/>
                  <a:moveTo>
                    <a:pt x="523" y="682"/>
                  </a:moveTo>
                  <a:lnTo>
                    <a:pt x="523" y="678"/>
                  </a:lnTo>
                  <a:lnTo>
                    <a:pt x="523" y="674"/>
                  </a:lnTo>
                  <a:lnTo>
                    <a:pt x="527" y="674"/>
                  </a:lnTo>
                  <a:lnTo>
                    <a:pt x="527" y="670"/>
                  </a:lnTo>
                  <a:lnTo>
                    <a:pt x="527" y="674"/>
                  </a:lnTo>
                  <a:lnTo>
                    <a:pt x="531" y="674"/>
                  </a:lnTo>
                  <a:lnTo>
                    <a:pt x="531" y="678"/>
                  </a:lnTo>
                  <a:lnTo>
                    <a:pt x="527" y="678"/>
                  </a:lnTo>
                  <a:lnTo>
                    <a:pt x="523" y="682"/>
                  </a:lnTo>
                  <a:close/>
                  <a:moveTo>
                    <a:pt x="531" y="682"/>
                  </a:moveTo>
                  <a:lnTo>
                    <a:pt x="531" y="678"/>
                  </a:lnTo>
                  <a:lnTo>
                    <a:pt x="531" y="674"/>
                  </a:lnTo>
                  <a:lnTo>
                    <a:pt x="531" y="678"/>
                  </a:lnTo>
                  <a:lnTo>
                    <a:pt x="531" y="682"/>
                  </a:lnTo>
                  <a:close/>
                  <a:moveTo>
                    <a:pt x="531" y="682"/>
                  </a:moveTo>
                  <a:lnTo>
                    <a:pt x="527" y="682"/>
                  </a:lnTo>
                  <a:lnTo>
                    <a:pt x="527" y="678"/>
                  </a:lnTo>
                  <a:lnTo>
                    <a:pt x="531" y="682"/>
                  </a:lnTo>
                  <a:close/>
                  <a:moveTo>
                    <a:pt x="519" y="690"/>
                  </a:moveTo>
                  <a:lnTo>
                    <a:pt x="519" y="686"/>
                  </a:lnTo>
                  <a:lnTo>
                    <a:pt x="523" y="686"/>
                  </a:lnTo>
                  <a:lnTo>
                    <a:pt x="523" y="682"/>
                  </a:lnTo>
                  <a:lnTo>
                    <a:pt x="527" y="682"/>
                  </a:lnTo>
                  <a:lnTo>
                    <a:pt x="527" y="686"/>
                  </a:lnTo>
                  <a:lnTo>
                    <a:pt x="523" y="686"/>
                  </a:lnTo>
                  <a:lnTo>
                    <a:pt x="519" y="690"/>
                  </a:lnTo>
                  <a:close/>
                  <a:moveTo>
                    <a:pt x="535" y="686"/>
                  </a:moveTo>
                  <a:lnTo>
                    <a:pt x="535" y="682"/>
                  </a:lnTo>
                  <a:lnTo>
                    <a:pt x="535" y="686"/>
                  </a:lnTo>
                  <a:close/>
                  <a:moveTo>
                    <a:pt x="539" y="686"/>
                  </a:moveTo>
                  <a:lnTo>
                    <a:pt x="539" y="682"/>
                  </a:lnTo>
                  <a:lnTo>
                    <a:pt x="539" y="686"/>
                  </a:lnTo>
                  <a:close/>
                  <a:moveTo>
                    <a:pt x="515" y="690"/>
                  </a:moveTo>
                  <a:lnTo>
                    <a:pt x="519" y="690"/>
                  </a:lnTo>
                  <a:lnTo>
                    <a:pt x="519" y="686"/>
                  </a:lnTo>
                  <a:lnTo>
                    <a:pt x="519" y="682"/>
                  </a:lnTo>
                  <a:lnTo>
                    <a:pt x="519" y="686"/>
                  </a:lnTo>
                  <a:lnTo>
                    <a:pt x="519" y="690"/>
                  </a:lnTo>
                  <a:lnTo>
                    <a:pt x="515" y="690"/>
                  </a:lnTo>
                  <a:close/>
                  <a:moveTo>
                    <a:pt x="535" y="694"/>
                  </a:moveTo>
                  <a:lnTo>
                    <a:pt x="531" y="694"/>
                  </a:lnTo>
                  <a:lnTo>
                    <a:pt x="535" y="694"/>
                  </a:lnTo>
                  <a:lnTo>
                    <a:pt x="535" y="690"/>
                  </a:lnTo>
                  <a:lnTo>
                    <a:pt x="535" y="694"/>
                  </a:lnTo>
                  <a:close/>
                  <a:moveTo>
                    <a:pt x="523" y="702"/>
                  </a:moveTo>
                  <a:lnTo>
                    <a:pt x="519" y="702"/>
                  </a:lnTo>
                  <a:lnTo>
                    <a:pt x="519" y="698"/>
                  </a:lnTo>
                  <a:lnTo>
                    <a:pt x="523" y="694"/>
                  </a:lnTo>
                  <a:lnTo>
                    <a:pt x="523" y="698"/>
                  </a:lnTo>
                  <a:lnTo>
                    <a:pt x="523" y="694"/>
                  </a:lnTo>
                  <a:lnTo>
                    <a:pt x="523" y="690"/>
                  </a:lnTo>
                  <a:lnTo>
                    <a:pt x="523" y="694"/>
                  </a:lnTo>
                  <a:lnTo>
                    <a:pt x="523" y="698"/>
                  </a:lnTo>
                  <a:lnTo>
                    <a:pt x="523" y="702"/>
                  </a:lnTo>
                  <a:close/>
                  <a:moveTo>
                    <a:pt x="539" y="694"/>
                  </a:moveTo>
                  <a:lnTo>
                    <a:pt x="535" y="694"/>
                  </a:lnTo>
                  <a:lnTo>
                    <a:pt x="539" y="694"/>
                  </a:lnTo>
                  <a:close/>
                  <a:moveTo>
                    <a:pt x="535" y="698"/>
                  </a:moveTo>
                  <a:lnTo>
                    <a:pt x="531" y="698"/>
                  </a:lnTo>
                  <a:lnTo>
                    <a:pt x="527" y="694"/>
                  </a:lnTo>
                  <a:lnTo>
                    <a:pt x="531" y="694"/>
                  </a:lnTo>
                  <a:lnTo>
                    <a:pt x="535" y="698"/>
                  </a:lnTo>
                  <a:close/>
                  <a:moveTo>
                    <a:pt x="519" y="698"/>
                  </a:moveTo>
                  <a:lnTo>
                    <a:pt x="519" y="694"/>
                  </a:lnTo>
                  <a:lnTo>
                    <a:pt x="523" y="694"/>
                  </a:lnTo>
                  <a:lnTo>
                    <a:pt x="519" y="694"/>
                  </a:lnTo>
                  <a:lnTo>
                    <a:pt x="519" y="698"/>
                  </a:lnTo>
                  <a:close/>
                  <a:moveTo>
                    <a:pt x="539" y="698"/>
                  </a:moveTo>
                  <a:lnTo>
                    <a:pt x="535" y="698"/>
                  </a:lnTo>
                  <a:lnTo>
                    <a:pt x="535" y="694"/>
                  </a:lnTo>
                  <a:lnTo>
                    <a:pt x="539" y="694"/>
                  </a:lnTo>
                  <a:lnTo>
                    <a:pt x="539" y="698"/>
                  </a:lnTo>
                  <a:close/>
                  <a:moveTo>
                    <a:pt x="523" y="702"/>
                  </a:moveTo>
                  <a:lnTo>
                    <a:pt x="523" y="698"/>
                  </a:lnTo>
                  <a:lnTo>
                    <a:pt x="527" y="698"/>
                  </a:lnTo>
                  <a:lnTo>
                    <a:pt x="523" y="702"/>
                  </a:lnTo>
                  <a:close/>
                  <a:moveTo>
                    <a:pt x="551" y="702"/>
                  </a:moveTo>
                  <a:lnTo>
                    <a:pt x="551" y="698"/>
                  </a:lnTo>
                  <a:lnTo>
                    <a:pt x="551" y="702"/>
                  </a:lnTo>
                  <a:close/>
                  <a:moveTo>
                    <a:pt x="539" y="706"/>
                  </a:moveTo>
                  <a:lnTo>
                    <a:pt x="539" y="702"/>
                  </a:lnTo>
                  <a:lnTo>
                    <a:pt x="535" y="702"/>
                  </a:lnTo>
                  <a:lnTo>
                    <a:pt x="535" y="698"/>
                  </a:lnTo>
                  <a:lnTo>
                    <a:pt x="539" y="702"/>
                  </a:lnTo>
                  <a:lnTo>
                    <a:pt x="539" y="706"/>
                  </a:lnTo>
                  <a:close/>
                  <a:moveTo>
                    <a:pt x="523" y="702"/>
                  </a:moveTo>
                  <a:lnTo>
                    <a:pt x="527" y="702"/>
                  </a:lnTo>
                  <a:lnTo>
                    <a:pt x="527" y="698"/>
                  </a:lnTo>
                  <a:lnTo>
                    <a:pt x="527" y="702"/>
                  </a:lnTo>
                  <a:lnTo>
                    <a:pt x="523" y="702"/>
                  </a:lnTo>
                  <a:close/>
                  <a:moveTo>
                    <a:pt x="535" y="710"/>
                  </a:moveTo>
                  <a:lnTo>
                    <a:pt x="531" y="710"/>
                  </a:lnTo>
                  <a:lnTo>
                    <a:pt x="531" y="706"/>
                  </a:lnTo>
                  <a:lnTo>
                    <a:pt x="535" y="706"/>
                  </a:lnTo>
                  <a:lnTo>
                    <a:pt x="531" y="706"/>
                  </a:lnTo>
                  <a:lnTo>
                    <a:pt x="531" y="702"/>
                  </a:lnTo>
                  <a:lnTo>
                    <a:pt x="535" y="706"/>
                  </a:lnTo>
                  <a:lnTo>
                    <a:pt x="535" y="710"/>
                  </a:lnTo>
                  <a:close/>
                  <a:moveTo>
                    <a:pt x="539" y="710"/>
                  </a:moveTo>
                  <a:lnTo>
                    <a:pt x="539" y="706"/>
                  </a:lnTo>
                  <a:lnTo>
                    <a:pt x="535" y="706"/>
                  </a:lnTo>
                  <a:lnTo>
                    <a:pt x="535" y="702"/>
                  </a:lnTo>
                  <a:lnTo>
                    <a:pt x="535" y="706"/>
                  </a:lnTo>
                  <a:lnTo>
                    <a:pt x="539" y="706"/>
                  </a:lnTo>
                  <a:lnTo>
                    <a:pt x="539" y="710"/>
                  </a:lnTo>
                  <a:close/>
                  <a:moveTo>
                    <a:pt x="523" y="706"/>
                  </a:moveTo>
                  <a:lnTo>
                    <a:pt x="527" y="706"/>
                  </a:lnTo>
                  <a:lnTo>
                    <a:pt x="523" y="706"/>
                  </a:lnTo>
                  <a:close/>
                  <a:moveTo>
                    <a:pt x="619" y="766"/>
                  </a:moveTo>
                  <a:lnTo>
                    <a:pt x="615" y="766"/>
                  </a:lnTo>
                  <a:lnTo>
                    <a:pt x="611" y="766"/>
                  </a:lnTo>
                  <a:lnTo>
                    <a:pt x="603" y="766"/>
                  </a:lnTo>
                  <a:lnTo>
                    <a:pt x="603" y="762"/>
                  </a:lnTo>
                  <a:lnTo>
                    <a:pt x="599" y="762"/>
                  </a:lnTo>
                  <a:lnTo>
                    <a:pt x="599" y="766"/>
                  </a:lnTo>
                  <a:lnTo>
                    <a:pt x="595" y="766"/>
                  </a:lnTo>
                  <a:lnTo>
                    <a:pt x="591" y="766"/>
                  </a:lnTo>
                  <a:lnTo>
                    <a:pt x="591" y="762"/>
                  </a:lnTo>
                  <a:lnTo>
                    <a:pt x="591" y="766"/>
                  </a:lnTo>
                  <a:lnTo>
                    <a:pt x="587" y="766"/>
                  </a:lnTo>
                  <a:lnTo>
                    <a:pt x="583" y="766"/>
                  </a:lnTo>
                  <a:lnTo>
                    <a:pt x="583" y="762"/>
                  </a:lnTo>
                  <a:lnTo>
                    <a:pt x="587" y="762"/>
                  </a:lnTo>
                  <a:lnTo>
                    <a:pt x="591" y="762"/>
                  </a:lnTo>
                  <a:lnTo>
                    <a:pt x="587" y="762"/>
                  </a:lnTo>
                  <a:lnTo>
                    <a:pt x="583" y="762"/>
                  </a:lnTo>
                  <a:lnTo>
                    <a:pt x="579" y="762"/>
                  </a:lnTo>
                  <a:lnTo>
                    <a:pt x="583" y="762"/>
                  </a:lnTo>
                  <a:lnTo>
                    <a:pt x="579" y="762"/>
                  </a:lnTo>
                  <a:lnTo>
                    <a:pt x="575" y="762"/>
                  </a:lnTo>
                  <a:lnTo>
                    <a:pt x="579" y="762"/>
                  </a:lnTo>
                  <a:lnTo>
                    <a:pt x="579" y="758"/>
                  </a:lnTo>
                  <a:lnTo>
                    <a:pt x="575" y="758"/>
                  </a:lnTo>
                  <a:lnTo>
                    <a:pt x="575" y="762"/>
                  </a:lnTo>
                  <a:lnTo>
                    <a:pt x="571" y="762"/>
                  </a:lnTo>
                  <a:lnTo>
                    <a:pt x="571" y="758"/>
                  </a:lnTo>
                  <a:lnTo>
                    <a:pt x="571" y="762"/>
                  </a:lnTo>
                  <a:lnTo>
                    <a:pt x="567" y="762"/>
                  </a:lnTo>
                  <a:lnTo>
                    <a:pt x="567" y="758"/>
                  </a:lnTo>
                  <a:lnTo>
                    <a:pt x="571" y="758"/>
                  </a:lnTo>
                  <a:lnTo>
                    <a:pt x="567" y="758"/>
                  </a:lnTo>
                  <a:lnTo>
                    <a:pt x="567" y="754"/>
                  </a:lnTo>
                  <a:lnTo>
                    <a:pt x="571" y="754"/>
                  </a:lnTo>
                  <a:lnTo>
                    <a:pt x="571" y="758"/>
                  </a:lnTo>
                  <a:lnTo>
                    <a:pt x="575" y="758"/>
                  </a:lnTo>
                  <a:lnTo>
                    <a:pt x="571" y="758"/>
                  </a:lnTo>
                  <a:lnTo>
                    <a:pt x="571" y="754"/>
                  </a:lnTo>
                  <a:lnTo>
                    <a:pt x="575" y="758"/>
                  </a:lnTo>
                  <a:lnTo>
                    <a:pt x="575" y="754"/>
                  </a:lnTo>
                  <a:lnTo>
                    <a:pt x="579" y="754"/>
                  </a:lnTo>
                  <a:lnTo>
                    <a:pt x="583" y="758"/>
                  </a:lnTo>
                  <a:lnTo>
                    <a:pt x="583" y="754"/>
                  </a:lnTo>
                  <a:lnTo>
                    <a:pt x="587" y="754"/>
                  </a:lnTo>
                  <a:lnTo>
                    <a:pt x="587" y="758"/>
                  </a:lnTo>
                  <a:lnTo>
                    <a:pt x="587" y="754"/>
                  </a:lnTo>
                  <a:lnTo>
                    <a:pt x="591" y="758"/>
                  </a:lnTo>
                  <a:lnTo>
                    <a:pt x="595" y="758"/>
                  </a:lnTo>
                  <a:lnTo>
                    <a:pt x="591" y="758"/>
                  </a:lnTo>
                  <a:lnTo>
                    <a:pt x="591" y="754"/>
                  </a:lnTo>
                  <a:lnTo>
                    <a:pt x="587" y="754"/>
                  </a:lnTo>
                  <a:lnTo>
                    <a:pt x="583" y="754"/>
                  </a:lnTo>
                  <a:lnTo>
                    <a:pt x="583" y="750"/>
                  </a:lnTo>
                  <a:lnTo>
                    <a:pt x="587" y="750"/>
                  </a:lnTo>
                  <a:lnTo>
                    <a:pt x="591" y="754"/>
                  </a:lnTo>
                  <a:lnTo>
                    <a:pt x="595" y="754"/>
                  </a:lnTo>
                  <a:lnTo>
                    <a:pt x="595" y="750"/>
                  </a:lnTo>
                  <a:lnTo>
                    <a:pt x="595" y="754"/>
                  </a:lnTo>
                  <a:lnTo>
                    <a:pt x="599" y="754"/>
                  </a:lnTo>
                  <a:lnTo>
                    <a:pt x="599" y="758"/>
                  </a:lnTo>
                  <a:lnTo>
                    <a:pt x="599" y="754"/>
                  </a:lnTo>
                  <a:lnTo>
                    <a:pt x="603" y="754"/>
                  </a:lnTo>
                  <a:lnTo>
                    <a:pt x="607" y="754"/>
                  </a:lnTo>
                  <a:lnTo>
                    <a:pt x="607" y="758"/>
                  </a:lnTo>
                  <a:lnTo>
                    <a:pt x="607" y="762"/>
                  </a:lnTo>
                  <a:lnTo>
                    <a:pt x="607" y="758"/>
                  </a:lnTo>
                  <a:lnTo>
                    <a:pt x="611" y="758"/>
                  </a:lnTo>
                  <a:lnTo>
                    <a:pt x="607" y="758"/>
                  </a:lnTo>
                  <a:lnTo>
                    <a:pt x="611" y="758"/>
                  </a:lnTo>
                  <a:lnTo>
                    <a:pt x="611" y="754"/>
                  </a:lnTo>
                  <a:lnTo>
                    <a:pt x="607" y="754"/>
                  </a:lnTo>
                  <a:lnTo>
                    <a:pt x="603" y="754"/>
                  </a:lnTo>
                  <a:lnTo>
                    <a:pt x="603" y="750"/>
                  </a:lnTo>
                  <a:lnTo>
                    <a:pt x="599" y="750"/>
                  </a:lnTo>
                  <a:lnTo>
                    <a:pt x="595" y="750"/>
                  </a:lnTo>
                  <a:lnTo>
                    <a:pt x="595" y="746"/>
                  </a:lnTo>
                  <a:lnTo>
                    <a:pt x="595" y="742"/>
                  </a:lnTo>
                  <a:lnTo>
                    <a:pt x="595" y="738"/>
                  </a:lnTo>
                  <a:lnTo>
                    <a:pt x="599" y="738"/>
                  </a:lnTo>
                  <a:lnTo>
                    <a:pt x="607" y="734"/>
                  </a:lnTo>
                  <a:lnTo>
                    <a:pt x="607" y="730"/>
                  </a:lnTo>
                  <a:lnTo>
                    <a:pt x="603" y="730"/>
                  </a:lnTo>
                  <a:lnTo>
                    <a:pt x="599" y="730"/>
                  </a:lnTo>
                  <a:lnTo>
                    <a:pt x="595" y="730"/>
                  </a:lnTo>
                  <a:lnTo>
                    <a:pt x="595" y="734"/>
                  </a:lnTo>
                  <a:lnTo>
                    <a:pt x="591" y="734"/>
                  </a:lnTo>
                  <a:lnTo>
                    <a:pt x="591" y="730"/>
                  </a:lnTo>
                  <a:lnTo>
                    <a:pt x="591" y="726"/>
                  </a:lnTo>
                  <a:lnTo>
                    <a:pt x="591" y="722"/>
                  </a:lnTo>
                  <a:lnTo>
                    <a:pt x="595" y="722"/>
                  </a:lnTo>
                  <a:lnTo>
                    <a:pt x="595" y="718"/>
                  </a:lnTo>
                  <a:lnTo>
                    <a:pt x="591" y="718"/>
                  </a:lnTo>
                  <a:lnTo>
                    <a:pt x="595" y="718"/>
                  </a:lnTo>
                  <a:lnTo>
                    <a:pt x="599" y="718"/>
                  </a:lnTo>
                  <a:lnTo>
                    <a:pt x="603" y="714"/>
                  </a:lnTo>
                  <a:lnTo>
                    <a:pt x="603" y="710"/>
                  </a:lnTo>
                  <a:lnTo>
                    <a:pt x="607" y="710"/>
                  </a:lnTo>
                  <a:lnTo>
                    <a:pt x="607" y="714"/>
                  </a:lnTo>
                  <a:lnTo>
                    <a:pt x="611" y="714"/>
                  </a:lnTo>
                  <a:lnTo>
                    <a:pt x="615" y="714"/>
                  </a:lnTo>
                  <a:lnTo>
                    <a:pt x="619" y="714"/>
                  </a:lnTo>
                  <a:lnTo>
                    <a:pt x="619" y="718"/>
                  </a:lnTo>
                  <a:lnTo>
                    <a:pt x="619" y="726"/>
                  </a:lnTo>
                  <a:lnTo>
                    <a:pt x="619" y="730"/>
                  </a:lnTo>
                  <a:lnTo>
                    <a:pt x="619" y="734"/>
                  </a:lnTo>
                  <a:lnTo>
                    <a:pt x="619" y="742"/>
                  </a:lnTo>
                  <a:lnTo>
                    <a:pt x="619" y="746"/>
                  </a:lnTo>
                  <a:lnTo>
                    <a:pt x="619" y="754"/>
                  </a:lnTo>
                  <a:lnTo>
                    <a:pt x="619" y="758"/>
                  </a:lnTo>
                  <a:lnTo>
                    <a:pt x="619" y="766"/>
                  </a:lnTo>
                  <a:close/>
                  <a:moveTo>
                    <a:pt x="547" y="730"/>
                  </a:moveTo>
                  <a:lnTo>
                    <a:pt x="551" y="730"/>
                  </a:lnTo>
                  <a:lnTo>
                    <a:pt x="547" y="730"/>
                  </a:lnTo>
                  <a:lnTo>
                    <a:pt x="543" y="730"/>
                  </a:lnTo>
                  <a:lnTo>
                    <a:pt x="539" y="726"/>
                  </a:lnTo>
                  <a:lnTo>
                    <a:pt x="535" y="726"/>
                  </a:lnTo>
                  <a:lnTo>
                    <a:pt x="531" y="726"/>
                  </a:lnTo>
                  <a:lnTo>
                    <a:pt x="531" y="722"/>
                  </a:lnTo>
                  <a:lnTo>
                    <a:pt x="527" y="722"/>
                  </a:lnTo>
                  <a:lnTo>
                    <a:pt x="527" y="718"/>
                  </a:lnTo>
                  <a:lnTo>
                    <a:pt x="523" y="718"/>
                  </a:lnTo>
                  <a:lnTo>
                    <a:pt x="527" y="718"/>
                  </a:lnTo>
                  <a:lnTo>
                    <a:pt x="531" y="718"/>
                  </a:lnTo>
                  <a:lnTo>
                    <a:pt x="531" y="722"/>
                  </a:lnTo>
                  <a:lnTo>
                    <a:pt x="535" y="722"/>
                  </a:lnTo>
                  <a:lnTo>
                    <a:pt x="539" y="722"/>
                  </a:lnTo>
                  <a:lnTo>
                    <a:pt x="539" y="726"/>
                  </a:lnTo>
                  <a:lnTo>
                    <a:pt x="543" y="726"/>
                  </a:lnTo>
                  <a:lnTo>
                    <a:pt x="543" y="730"/>
                  </a:lnTo>
                  <a:lnTo>
                    <a:pt x="543" y="726"/>
                  </a:lnTo>
                  <a:lnTo>
                    <a:pt x="547" y="730"/>
                  </a:lnTo>
                  <a:close/>
                  <a:moveTo>
                    <a:pt x="543" y="722"/>
                  </a:moveTo>
                  <a:lnTo>
                    <a:pt x="539" y="722"/>
                  </a:lnTo>
                  <a:lnTo>
                    <a:pt x="539" y="718"/>
                  </a:lnTo>
                  <a:lnTo>
                    <a:pt x="543" y="718"/>
                  </a:lnTo>
                  <a:lnTo>
                    <a:pt x="543" y="722"/>
                  </a:lnTo>
                  <a:lnTo>
                    <a:pt x="547" y="722"/>
                  </a:lnTo>
                  <a:lnTo>
                    <a:pt x="543" y="722"/>
                  </a:lnTo>
                  <a:close/>
                  <a:moveTo>
                    <a:pt x="535" y="730"/>
                  </a:moveTo>
                  <a:lnTo>
                    <a:pt x="531" y="730"/>
                  </a:lnTo>
                  <a:lnTo>
                    <a:pt x="535" y="730"/>
                  </a:lnTo>
                  <a:close/>
                  <a:moveTo>
                    <a:pt x="547" y="742"/>
                  </a:moveTo>
                  <a:lnTo>
                    <a:pt x="547" y="738"/>
                  </a:lnTo>
                  <a:lnTo>
                    <a:pt x="543" y="738"/>
                  </a:lnTo>
                  <a:lnTo>
                    <a:pt x="543" y="742"/>
                  </a:lnTo>
                  <a:lnTo>
                    <a:pt x="543" y="738"/>
                  </a:lnTo>
                  <a:lnTo>
                    <a:pt x="543" y="734"/>
                  </a:lnTo>
                  <a:lnTo>
                    <a:pt x="547" y="738"/>
                  </a:lnTo>
                  <a:lnTo>
                    <a:pt x="551" y="738"/>
                  </a:lnTo>
                  <a:lnTo>
                    <a:pt x="547" y="738"/>
                  </a:lnTo>
                  <a:lnTo>
                    <a:pt x="543" y="734"/>
                  </a:lnTo>
                  <a:lnTo>
                    <a:pt x="547" y="734"/>
                  </a:lnTo>
                  <a:lnTo>
                    <a:pt x="551" y="734"/>
                  </a:lnTo>
                  <a:lnTo>
                    <a:pt x="547" y="734"/>
                  </a:lnTo>
                  <a:lnTo>
                    <a:pt x="551" y="734"/>
                  </a:lnTo>
                  <a:lnTo>
                    <a:pt x="551" y="738"/>
                  </a:lnTo>
                  <a:lnTo>
                    <a:pt x="555" y="738"/>
                  </a:lnTo>
                  <a:lnTo>
                    <a:pt x="555" y="734"/>
                  </a:lnTo>
                  <a:lnTo>
                    <a:pt x="555" y="738"/>
                  </a:lnTo>
                  <a:lnTo>
                    <a:pt x="559" y="734"/>
                  </a:lnTo>
                  <a:lnTo>
                    <a:pt x="559" y="738"/>
                  </a:lnTo>
                  <a:lnTo>
                    <a:pt x="559" y="742"/>
                  </a:lnTo>
                  <a:lnTo>
                    <a:pt x="559" y="738"/>
                  </a:lnTo>
                  <a:lnTo>
                    <a:pt x="563" y="738"/>
                  </a:lnTo>
                  <a:lnTo>
                    <a:pt x="563" y="742"/>
                  </a:lnTo>
                  <a:lnTo>
                    <a:pt x="559" y="742"/>
                  </a:lnTo>
                  <a:lnTo>
                    <a:pt x="559" y="746"/>
                  </a:lnTo>
                  <a:lnTo>
                    <a:pt x="563" y="746"/>
                  </a:lnTo>
                  <a:lnTo>
                    <a:pt x="559" y="746"/>
                  </a:lnTo>
                  <a:lnTo>
                    <a:pt x="559" y="750"/>
                  </a:lnTo>
                  <a:lnTo>
                    <a:pt x="555" y="746"/>
                  </a:lnTo>
                  <a:lnTo>
                    <a:pt x="555" y="750"/>
                  </a:lnTo>
                  <a:lnTo>
                    <a:pt x="551" y="750"/>
                  </a:lnTo>
                  <a:lnTo>
                    <a:pt x="551" y="746"/>
                  </a:lnTo>
                  <a:lnTo>
                    <a:pt x="555" y="746"/>
                  </a:lnTo>
                  <a:lnTo>
                    <a:pt x="555" y="742"/>
                  </a:lnTo>
                  <a:lnTo>
                    <a:pt x="551" y="742"/>
                  </a:lnTo>
                  <a:lnTo>
                    <a:pt x="551" y="746"/>
                  </a:lnTo>
                  <a:lnTo>
                    <a:pt x="547" y="746"/>
                  </a:lnTo>
                  <a:lnTo>
                    <a:pt x="547" y="742"/>
                  </a:lnTo>
                  <a:close/>
                  <a:moveTo>
                    <a:pt x="539" y="738"/>
                  </a:moveTo>
                  <a:lnTo>
                    <a:pt x="539" y="734"/>
                  </a:lnTo>
                  <a:lnTo>
                    <a:pt x="539" y="738"/>
                  </a:lnTo>
                  <a:close/>
                  <a:moveTo>
                    <a:pt x="587" y="750"/>
                  </a:moveTo>
                  <a:lnTo>
                    <a:pt x="583" y="750"/>
                  </a:lnTo>
                  <a:lnTo>
                    <a:pt x="583" y="746"/>
                  </a:lnTo>
                  <a:lnTo>
                    <a:pt x="583" y="742"/>
                  </a:lnTo>
                  <a:lnTo>
                    <a:pt x="587" y="742"/>
                  </a:lnTo>
                  <a:lnTo>
                    <a:pt x="587" y="738"/>
                  </a:lnTo>
                  <a:lnTo>
                    <a:pt x="587" y="734"/>
                  </a:lnTo>
                  <a:lnTo>
                    <a:pt x="591" y="734"/>
                  </a:lnTo>
                  <a:lnTo>
                    <a:pt x="591" y="738"/>
                  </a:lnTo>
                  <a:lnTo>
                    <a:pt x="587" y="738"/>
                  </a:lnTo>
                  <a:lnTo>
                    <a:pt x="591" y="742"/>
                  </a:lnTo>
                  <a:lnTo>
                    <a:pt x="591" y="746"/>
                  </a:lnTo>
                  <a:lnTo>
                    <a:pt x="587" y="746"/>
                  </a:lnTo>
                  <a:lnTo>
                    <a:pt x="587" y="742"/>
                  </a:lnTo>
                  <a:lnTo>
                    <a:pt x="587" y="746"/>
                  </a:lnTo>
                  <a:lnTo>
                    <a:pt x="587" y="750"/>
                  </a:lnTo>
                  <a:close/>
                  <a:moveTo>
                    <a:pt x="571" y="746"/>
                  </a:moveTo>
                  <a:lnTo>
                    <a:pt x="571" y="750"/>
                  </a:lnTo>
                  <a:lnTo>
                    <a:pt x="567" y="750"/>
                  </a:lnTo>
                  <a:lnTo>
                    <a:pt x="567" y="746"/>
                  </a:lnTo>
                  <a:lnTo>
                    <a:pt x="567" y="750"/>
                  </a:lnTo>
                  <a:lnTo>
                    <a:pt x="571" y="750"/>
                  </a:lnTo>
                  <a:lnTo>
                    <a:pt x="567" y="754"/>
                  </a:lnTo>
                  <a:lnTo>
                    <a:pt x="567" y="750"/>
                  </a:lnTo>
                  <a:lnTo>
                    <a:pt x="563" y="750"/>
                  </a:lnTo>
                  <a:lnTo>
                    <a:pt x="563" y="746"/>
                  </a:lnTo>
                  <a:lnTo>
                    <a:pt x="567" y="746"/>
                  </a:lnTo>
                  <a:lnTo>
                    <a:pt x="567" y="742"/>
                  </a:lnTo>
                  <a:lnTo>
                    <a:pt x="571" y="742"/>
                  </a:lnTo>
                  <a:lnTo>
                    <a:pt x="571" y="746"/>
                  </a:lnTo>
                  <a:close/>
                  <a:moveTo>
                    <a:pt x="575" y="746"/>
                  </a:moveTo>
                  <a:lnTo>
                    <a:pt x="579" y="746"/>
                  </a:lnTo>
                  <a:lnTo>
                    <a:pt x="583" y="750"/>
                  </a:lnTo>
                  <a:lnTo>
                    <a:pt x="583" y="754"/>
                  </a:lnTo>
                  <a:lnTo>
                    <a:pt x="579" y="754"/>
                  </a:lnTo>
                  <a:lnTo>
                    <a:pt x="575" y="754"/>
                  </a:lnTo>
                  <a:lnTo>
                    <a:pt x="575" y="750"/>
                  </a:lnTo>
                  <a:lnTo>
                    <a:pt x="571" y="750"/>
                  </a:lnTo>
                  <a:lnTo>
                    <a:pt x="571" y="746"/>
                  </a:lnTo>
                  <a:lnTo>
                    <a:pt x="575" y="746"/>
                  </a:lnTo>
                  <a:close/>
                  <a:moveTo>
                    <a:pt x="547" y="750"/>
                  </a:moveTo>
                  <a:lnTo>
                    <a:pt x="543" y="746"/>
                  </a:lnTo>
                  <a:lnTo>
                    <a:pt x="547" y="746"/>
                  </a:lnTo>
                  <a:lnTo>
                    <a:pt x="547" y="750"/>
                  </a:lnTo>
                  <a:close/>
                  <a:moveTo>
                    <a:pt x="591" y="750"/>
                  </a:moveTo>
                  <a:lnTo>
                    <a:pt x="587" y="746"/>
                  </a:lnTo>
                  <a:lnTo>
                    <a:pt x="591" y="746"/>
                  </a:lnTo>
                  <a:lnTo>
                    <a:pt x="591" y="750"/>
                  </a:lnTo>
                  <a:close/>
                  <a:moveTo>
                    <a:pt x="563" y="746"/>
                  </a:moveTo>
                  <a:lnTo>
                    <a:pt x="563" y="750"/>
                  </a:lnTo>
                  <a:lnTo>
                    <a:pt x="559" y="750"/>
                  </a:lnTo>
                  <a:lnTo>
                    <a:pt x="559" y="746"/>
                  </a:lnTo>
                  <a:lnTo>
                    <a:pt x="563" y="746"/>
                  </a:lnTo>
                  <a:close/>
                  <a:moveTo>
                    <a:pt x="559" y="754"/>
                  </a:moveTo>
                  <a:lnTo>
                    <a:pt x="563" y="754"/>
                  </a:lnTo>
                  <a:lnTo>
                    <a:pt x="559" y="754"/>
                  </a:lnTo>
                  <a:close/>
                  <a:moveTo>
                    <a:pt x="579" y="766"/>
                  </a:moveTo>
                  <a:lnTo>
                    <a:pt x="575" y="766"/>
                  </a:lnTo>
                  <a:lnTo>
                    <a:pt x="579" y="766"/>
                  </a:lnTo>
                  <a:lnTo>
                    <a:pt x="583" y="766"/>
                  </a:lnTo>
                  <a:lnTo>
                    <a:pt x="579" y="766"/>
                  </a:lnTo>
                  <a:close/>
                  <a:moveTo>
                    <a:pt x="591" y="766"/>
                  </a:moveTo>
                  <a:lnTo>
                    <a:pt x="587" y="766"/>
                  </a:lnTo>
                  <a:lnTo>
                    <a:pt x="591" y="766"/>
                  </a:lnTo>
                  <a:close/>
                  <a:moveTo>
                    <a:pt x="599" y="770"/>
                  </a:moveTo>
                  <a:lnTo>
                    <a:pt x="599" y="766"/>
                  </a:lnTo>
                  <a:lnTo>
                    <a:pt x="603" y="766"/>
                  </a:lnTo>
                  <a:lnTo>
                    <a:pt x="607" y="766"/>
                  </a:lnTo>
                  <a:lnTo>
                    <a:pt x="611" y="770"/>
                  </a:lnTo>
                  <a:lnTo>
                    <a:pt x="607" y="770"/>
                  </a:lnTo>
                  <a:lnTo>
                    <a:pt x="603" y="770"/>
                  </a:lnTo>
                  <a:lnTo>
                    <a:pt x="599" y="770"/>
                  </a:lnTo>
                  <a:close/>
                  <a:moveTo>
                    <a:pt x="591" y="766"/>
                  </a:moveTo>
                  <a:lnTo>
                    <a:pt x="587" y="766"/>
                  </a:lnTo>
                  <a:lnTo>
                    <a:pt x="587" y="770"/>
                  </a:lnTo>
                  <a:lnTo>
                    <a:pt x="591" y="770"/>
                  </a:lnTo>
                  <a:lnTo>
                    <a:pt x="591" y="774"/>
                  </a:lnTo>
                  <a:lnTo>
                    <a:pt x="591" y="770"/>
                  </a:lnTo>
                  <a:lnTo>
                    <a:pt x="591" y="774"/>
                  </a:lnTo>
                  <a:lnTo>
                    <a:pt x="587" y="774"/>
                  </a:lnTo>
                  <a:lnTo>
                    <a:pt x="587" y="770"/>
                  </a:lnTo>
                  <a:lnTo>
                    <a:pt x="587" y="774"/>
                  </a:lnTo>
                  <a:lnTo>
                    <a:pt x="587" y="770"/>
                  </a:lnTo>
                  <a:lnTo>
                    <a:pt x="583" y="770"/>
                  </a:lnTo>
                  <a:lnTo>
                    <a:pt x="583" y="766"/>
                  </a:lnTo>
                  <a:lnTo>
                    <a:pt x="587" y="770"/>
                  </a:lnTo>
                  <a:lnTo>
                    <a:pt x="587" y="766"/>
                  </a:lnTo>
                  <a:lnTo>
                    <a:pt x="591" y="766"/>
                  </a:lnTo>
                  <a:close/>
                  <a:moveTo>
                    <a:pt x="627" y="766"/>
                  </a:moveTo>
                  <a:lnTo>
                    <a:pt x="631" y="766"/>
                  </a:lnTo>
                  <a:lnTo>
                    <a:pt x="635" y="766"/>
                  </a:lnTo>
                  <a:lnTo>
                    <a:pt x="639" y="766"/>
                  </a:lnTo>
                  <a:lnTo>
                    <a:pt x="639" y="770"/>
                  </a:lnTo>
                  <a:lnTo>
                    <a:pt x="643" y="770"/>
                  </a:lnTo>
                  <a:lnTo>
                    <a:pt x="643" y="774"/>
                  </a:lnTo>
                  <a:lnTo>
                    <a:pt x="639" y="774"/>
                  </a:lnTo>
                  <a:lnTo>
                    <a:pt x="639" y="778"/>
                  </a:lnTo>
                  <a:lnTo>
                    <a:pt x="635" y="774"/>
                  </a:lnTo>
                  <a:lnTo>
                    <a:pt x="631" y="774"/>
                  </a:lnTo>
                  <a:lnTo>
                    <a:pt x="627" y="774"/>
                  </a:lnTo>
                  <a:lnTo>
                    <a:pt x="631" y="774"/>
                  </a:lnTo>
                  <a:lnTo>
                    <a:pt x="627" y="774"/>
                  </a:lnTo>
                  <a:lnTo>
                    <a:pt x="623" y="774"/>
                  </a:lnTo>
                  <a:lnTo>
                    <a:pt x="623" y="770"/>
                  </a:lnTo>
                  <a:lnTo>
                    <a:pt x="623" y="766"/>
                  </a:lnTo>
                  <a:lnTo>
                    <a:pt x="627" y="766"/>
                  </a:lnTo>
                  <a:close/>
                  <a:moveTo>
                    <a:pt x="595" y="770"/>
                  </a:moveTo>
                  <a:lnTo>
                    <a:pt x="595" y="766"/>
                  </a:lnTo>
                  <a:lnTo>
                    <a:pt x="595" y="770"/>
                  </a:lnTo>
                  <a:close/>
                  <a:moveTo>
                    <a:pt x="627" y="786"/>
                  </a:moveTo>
                  <a:lnTo>
                    <a:pt x="623" y="786"/>
                  </a:lnTo>
                  <a:lnTo>
                    <a:pt x="623" y="782"/>
                  </a:lnTo>
                  <a:lnTo>
                    <a:pt x="619" y="782"/>
                  </a:lnTo>
                  <a:lnTo>
                    <a:pt x="619" y="778"/>
                  </a:lnTo>
                  <a:lnTo>
                    <a:pt x="615" y="778"/>
                  </a:lnTo>
                  <a:lnTo>
                    <a:pt x="615" y="782"/>
                  </a:lnTo>
                  <a:lnTo>
                    <a:pt x="611" y="778"/>
                  </a:lnTo>
                  <a:lnTo>
                    <a:pt x="615" y="778"/>
                  </a:lnTo>
                  <a:lnTo>
                    <a:pt x="611" y="778"/>
                  </a:lnTo>
                  <a:lnTo>
                    <a:pt x="615" y="774"/>
                  </a:lnTo>
                  <a:lnTo>
                    <a:pt x="611" y="774"/>
                  </a:lnTo>
                  <a:lnTo>
                    <a:pt x="607" y="774"/>
                  </a:lnTo>
                  <a:lnTo>
                    <a:pt x="607" y="778"/>
                  </a:lnTo>
                  <a:lnTo>
                    <a:pt x="611" y="778"/>
                  </a:lnTo>
                  <a:lnTo>
                    <a:pt x="611" y="782"/>
                  </a:lnTo>
                  <a:lnTo>
                    <a:pt x="607" y="782"/>
                  </a:lnTo>
                  <a:lnTo>
                    <a:pt x="603" y="778"/>
                  </a:lnTo>
                  <a:lnTo>
                    <a:pt x="607" y="778"/>
                  </a:lnTo>
                  <a:lnTo>
                    <a:pt x="603" y="778"/>
                  </a:lnTo>
                  <a:lnTo>
                    <a:pt x="599" y="778"/>
                  </a:lnTo>
                  <a:lnTo>
                    <a:pt x="603" y="774"/>
                  </a:lnTo>
                  <a:lnTo>
                    <a:pt x="599" y="774"/>
                  </a:lnTo>
                  <a:lnTo>
                    <a:pt x="595" y="774"/>
                  </a:lnTo>
                  <a:lnTo>
                    <a:pt x="599" y="770"/>
                  </a:lnTo>
                  <a:lnTo>
                    <a:pt x="603" y="770"/>
                  </a:lnTo>
                  <a:lnTo>
                    <a:pt x="607" y="770"/>
                  </a:lnTo>
                  <a:lnTo>
                    <a:pt x="611" y="770"/>
                  </a:lnTo>
                  <a:lnTo>
                    <a:pt x="615" y="770"/>
                  </a:lnTo>
                  <a:lnTo>
                    <a:pt x="615" y="766"/>
                  </a:lnTo>
                  <a:lnTo>
                    <a:pt x="619" y="766"/>
                  </a:lnTo>
                  <a:lnTo>
                    <a:pt x="623" y="770"/>
                  </a:lnTo>
                  <a:lnTo>
                    <a:pt x="619" y="774"/>
                  </a:lnTo>
                  <a:lnTo>
                    <a:pt x="615" y="774"/>
                  </a:lnTo>
                  <a:lnTo>
                    <a:pt x="615" y="770"/>
                  </a:lnTo>
                  <a:lnTo>
                    <a:pt x="611" y="770"/>
                  </a:lnTo>
                  <a:lnTo>
                    <a:pt x="615" y="774"/>
                  </a:lnTo>
                  <a:lnTo>
                    <a:pt x="619" y="774"/>
                  </a:lnTo>
                  <a:lnTo>
                    <a:pt x="623" y="774"/>
                  </a:lnTo>
                  <a:lnTo>
                    <a:pt x="619" y="778"/>
                  </a:lnTo>
                  <a:lnTo>
                    <a:pt x="619" y="774"/>
                  </a:lnTo>
                  <a:lnTo>
                    <a:pt x="615" y="774"/>
                  </a:lnTo>
                  <a:lnTo>
                    <a:pt x="619" y="778"/>
                  </a:lnTo>
                  <a:lnTo>
                    <a:pt x="623" y="778"/>
                  </a:lnTo>
                  <a:lnTo>
                    <a:pt x="623" y="782"/>
                  </a:lnTo>
                  <a:lnTo>
                    <a:pt x="627" y="778"/>
                  </a:lnTo>
                  <a:lnTo>
                    <a:pt x="627" y="782"/>
                  </a:lnTo>
                  <a:lnTo>
                    <a:pt x="627" y="786"/>
                  </a:lnTo>
                  <a:close/>
                  <a:moveTo>
                    <a:pt x="643" y="770"/>
                  </a:moveTo>
                  <a:lnTo>
                    <a:pt x="639" y="770"/>
                  </a:lnTo>
                  <a:lnTo>
                    <a:pt x="643" y="770"/>
                  </a:lnTo>
                  <a:close/>
                  <a:moveTo>
                    <a:pt x="647" y="774"/>
                  </a:moveTo>
                  <a:lnTo>
                    <a:pt x="651" y="774"/>
                  </a:lnTo>
                  <a:lnTo>
                    <a:pt x="647" y="774"/>
                  </a:lnTo>
                  <a:close/>
                  <a:moveTo>
                    <a:pt x="643" y="774"/>
                  </a:moveTo>
                  <a:lnTo>
                    <a:pt x="643" y="778"/>
                  </a:lnTo>
                  <a:lnTo>
                    <a:pt x="639" y="774"/>
                  </a:lnTo>
                  <a:lnTo>
                    <a:pt x="643" y="774"/>
                  </a:lnTo>
                  <a:close/>
                  <a:moveTo>
                    <a:pt x="631" y="782"/>
                  </a:moveTo>
                  <a:lnTo>
                    <a:pt x="635" y="782"/>
                  </a:lnTo>
                  <a:lnTo>
                    <a:pt x="631" y="782"/>
                  </a:lnTo>
                  <a:close/>
                  <a:moveTo>
                    <a:pt x="635" y="786"/>
                  </a:moveTo>
                  <a:lnTo>
                    <a:pt x="635" y="782"/>
                  </a:lnTo>
                  <a:lnTo>
                    <a:pt x="639" y="786"/>
                  </a:lnTo>
                  <a:lnTo>
                    <a:pt x="635" y="786"/>
                  </a:lnTo>
                  <a:close/>
                  <a:moveTo>
                    <a:pt x="631" y="790"/>
                  </a:moveTo>
                  <a:lnTo>
                    <a:pt x="635" y="790"/>
                  </a:lnTo>
                  <a:lnTo>
                    <a:pt x="635" y="786"/>
                  </a:lnTo>
                  <a:lnTo>
                    <a:pt x="635" y="790"/>
                  </a:lnTo>
                  <a:lnTo>
                    <a:pt x="631" y="790"/>
                  </a:lnTo>
                  <a:close/>
                  <a:moveTo>
                    <a:pt x="639" y="790"/>
                  </a:moveTo>
                  <a:lnTo>
                    <a:pt x="635" y="790"/>
                  </a:lnTo>
                  <a:lnTo>
                    <a:pt x="639" y="79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5" name="Freeform 183"/>
            <p:cNvSpPr>
              <a:spLocks noEditPoints="1"/>
            </p:cNvSpPr>
            <p:nvPr>
              <p:custDataLst>
                <p:tags r:id="rId378"/>
              </p:custDataLst>
            </p:nvPr>
          </p:nvSpPr>
          <p:spPr bwMode="gray">
            <a:xfrm>
              <a:off x="7540919" y="4634514"/>
              <a:ext cx="336655" cy="277332"/>
            </a:xfrm>
            <a:custGeom>
              <a:avLst/>
              <a:gdLst/>
              <a:ahLst/>
              <a:cxnLst>
                <a:cxn ang="0">
                  <a:pos x="95" y="12"/>
                </a:cxn>
                <a:cxn ang="0">
                  <a:pos x="83" y="16"/>
                </a:cxn>
                <a:cxn ang="0">
                  <a:pos x="139" y="24"/>
                </a:cxn>
                <a:cxn ang="0">
                  <a:pos x="179" y="43"/>
                </a:cxn>
                <a:cxn ang="0">
                  <a:pos x="179" y="59"/>
                </a:cxn>
                <a:cxn ang="0">
                  <a:pos x="167" y="35"/>
                </a:cxn>
                <a:cxn ang="0">
                  <a:pos x="151" y="24"/>
                </a:cxn>
                <a:cxn ang="0">
                  <a:pos x="155" y="28"/>
                </a:cxn>
                <a:cxn ang="0">
                  <a:pos x="175" y="39"/>
                </a:cxn>
                <a:cxn ang="0">
                  <a:pos x="71" y="119"/>
                </a:cxn>
                <a:cxn ang="0">
                  <a:pos x="56" y="115"/>
                </a:cxn>
                <a:cxn ang="0">
                  <a:pos x="44" y="111"/>
                </a:cxn>
                <a:cxn ang="0">
                  <a:pos x="40" y="119"/>
                </a:cxn>
                <a:cxn ang="0">
                  <a:pos x="24" y="127"/>
                </a:cxn>
                <a:cxn ang="0">
                  <a:pos x="28" y="127"/>
                </a:cxn>
                <a:cxn ang="0">
                  <a:pos x="28" y="143"/>
                </a:cxn>
                <a:cxn ang="0">
                  <a:pos x="4" y="143"/>
                </a:cxn>
                <a:cxn ang="0">
                  <a:pos x="0" y="63"/>
                </a:cxn>
                <a:cxn ang="0">
                  <a:pos x="16" y="31"/>
                </a:cxn>
                <a:cxn ang="0">
                  <a:pos x="40" y="39"/>
                </a:cxn>
                <a:cxn ang="0">
                  <a:pos x="59" y="47"/>
                </a:cxn>
                <a:cxn ang="0">
                  <a:pos x="71" y="67"/>
                </a:cxn>
                <a:cxn ang="0">
                  <a:pos x="87" y="79"/>
                </a:cxn>
                <a:cxn ang="0">
                  <a:pos x="103" y="91"/>
                </a:cxn>
                <a:cxn ang="0">
                  <a:pos x="91" y="107"/>
                </a:cxn>
                <a:cxn ang="0">
                  <a:pos x="107" y="119"/>
                </a:cxn>
                <a:cxn ang="0">
                  <a:pos x="115" y="139"/>
                </a:cxn>
                <a:cxn ang="0">
                  <a:pos x="127" y="147"/>
                </a:cxn>
                <a:cxn ang="0">
                  <a:pos x="139" y="159"/>
                </a:cxn>
                <a:cxn ang="0">
                  <a:pos x="147" y="163"/>
                </a:cxn>
                <a:cxn ang="0">
                  <a:pos x="139" y="167"/>
                </a:cxn>
                <a:cxn ang="0">
                  <a:pos x="123" y="163"/>
                </a:cxn>
                <a:cxn ang="0">
                  <a:pos x="99" y="151"/>
                </a:cxn>
                <a:cxn ang="0">
                  <a:pos x="91" y="139"/>
                </a:cxn>
                <a:cxn ang="0">
                  <a:pos x="151" y="28"/>
                </a:cxn>
                <a:cxn ang="0">
                  <a:pos x="131" y="75"/>
                </a:cxn>
                <a:cxn ang="0">
                  <a:pos x="135" y="71"/>
                </a:cxn>
                <a:cxn ang="0">
                  <a:pos x="151" y="71"/>
                </a:cxn>
                <a:cxn ang="0">
                  <a:pos x="159" y="51"/>
                </a:cxn>
                <a:cxn ang="0">
                  <a:pos x="171" y="59"/>
                </a:cxn>
                <a:cxn ang="0">
                  <a:pos x="159" y="75"/>
                </a:cxn>
                <a:cxn ang="0">
                  <a:pos x="143" y="87"/>
                </a:cxn>
                <a:cxn ang="0">
                  <a:pos x="123" y="83"/>
                </a:cxn>
                <a:cxn ang="0">
                  <a:pos x="111" y="75"/>
                </a:cxn>
                <a:cxn ang="0">
                  <a:pos x="207" y="75"/>
                </a:cxn>
                <a:cxn ang="0">
                  <a:pos x="207" y="75"/>
                </a:cxn>
                <a:cxn ang="0">
                  <a:pos x="223" y="87"/>
                </a:cxn>
                <a:cxn ang="0">
                  <a:pos x="215" y="95"/>
                </a:cxn>
                <a:cxn ang="0">
                  <a:pos x="207" y="75"/>
                </a:cxn>
                <a:cxn ang="0">
                  <a:pos x="107" y="75"/>
                </a:cxn>
                <a:cxn ang="0">
                  <a:pos x="36" y="131"/>
                </a:cxn>
                <a:cxn ang="0">
                  <a:pos x="155" y="135"/>
                </a:cxn>
                <a:cxn ang="0">
                  <a:pos x="179" y="143"/>
                </a:cxn>
                <a:cxn ang="0">
                  <a:pos x="36" y="143"/>
                </a:cxn>
                <a:cxn ang="0">
                  <a:pos x="147" y="151"/>
                </a:cxn>
                <a:cxn ang="0">
                  <a:pos x="151" y="151"/>
                </a:cxn>
                <a:cxn ang="0">
                  <a:pos x="151" y="155"/>
                </a:cxn>
                <a:cxn ang="0">
                  <a:pos x="151" y="167"/>
                </a:cxn>
                <a:cxn ang="0">
                  <a:pos x="195" y="183"/>
                </a:cxn>
                <a:cxn ang="0">
                  <a:pos x="187" y="187"/>
                </a:cxn>
                <a:cxn ang="0">
                  <a:pos x="191" y="187"/>
                </a:cxn>
              </a:cxnLst>
              <a:rect l="0" t="0" r="r" b="b"/>
              <a:pathLst>
                <a:path w="227" h="187">
                  <a:moveTo>
                    <a:pt x="131" y="4"/>
                  </a:moveTo>
                  <a:lnTo>
                    <a:pt x="131" y="0"/>
                  </a:lnTo>
                  <a:lnTo>
                    <a:pt x="127" y="0"/>
                  </a:lnTo>
                  <a:lnTo>
                    <a:pt x="131" y="0"/>
                  </a:lnTo>
                  <a:lnTo>
                    <a:pt x="131" y="4"/>
                  </a:lnTo>
                  <a:close/>
                  <a:moveTo>
                    <a:pt x="95" y="8"/>
                  </a:moveTo>
                  <a:lnTo>
                    <a:pt x="95" y="12"/>
                  </a:lnTo>
                  <a:lnTo>
                    <a:pt x="99" y="12"/>
                  </a:lnTo>
                  <a:lnTo>
                    <a:pt x="95" y="12"/>
                  </a:lnTo>
                  <a:lnTo>
                    <a:pt x="95" y="16"/>
                  </a:lnTo>
                  <a:lnTo>
                    <a:pt x="91" y="16"/>
                  </a:lnTo>
                  <a:lnTo>
                    <a:pt x="87" y="16"/>
                  </a:lnTo>
                  <a:lnTo>
                    <a:pt x="87" y="12"/>
                  </a:lnTo>
                  <a:lnTo>
                    <a:pt x="83" y="16"/>
                  </a:lnTo>
                  <a:lnTo>
                    <a:pt x="83" y="12"/>
                  </a:lnTo>
                  <a:lnTo>
                    <a:pt x="87" y="8"/>
                  </a:lnTo>
                  <a:lnTo>
                    <a:pt x="91" y="12"/>
                  </a:lnTo>
                  <a:lnTo>
                    <a:pt x="95" y="12"/>
                  </a:lnTo>
                  <a:lnTo>
                    <a:pt x="95" y="8"/>
                  </a:lnTo>
                  <a:close/>
                  <a:moveTo>
                    <a:pt x="143" y="24"/>
                  </a:moveTo>
                  <a:lnTo>
                    <a:pt x="139" y="24"/>
                  </a:lnTo>
                  <a:lnTo>
                    <a:pt x="135" y="20"/>
                  </a:lnTo>
                  <a:lnTo>
                    <a:pt x="139" y="20"/>
                  </a:lnTo>
                  <a:lnTo>
                    <a:pt x="139" y="16"/>
                  </a:lnTo>
                  <a:lnTo>
                    <a:pt x="143" y="20"/>
                  </a:lnTo>
                  <a:lnTo>
                    <a:pt x="143" y="24"/>
                  </a:lnTo>
                  <a:close/>
                  <a:moveTo>
                    <a:pt x="175" y="43"/>
                  </a:moveTo>
                  <a:lnTo>
                    <a:pt x="179" y="43"/>
                  </a:lnTo>
                  <a:lnTo>
                    <a:pt x="179" y="47"/>
                  </a:lnTo>
                  <a:lnTo>
                    <a:pt x="183" y="47"/>
                  </a:lnTo>
                  <a:lnTo>
                    <a:pt x="183" y="51"/>
                  </a:lnTo>
                  <a:lnTo>
                    <a:pt x="183" y="55"/>
                  </a:lnTo>
                  <a:lnTo>
                    <a:pt x="183" y="59"/>
                  </a:lnTo>
                  <a:lnTo>
                    <a:pt x="179" y="63"/>
                  </a:lnTo>
                  <a:lnTo>
                    <a:pt x="179" y="59"/>
                  </a:lnTo>
                  <a:lnTo>
                    <a:pt x="175" y="55"/>
                  </a:lnTo>
                  <a:lnTo>
                    <a:pt x="175" y="51"/>
                  </a:lnTo>
                  <a:lnTo>
                    <a:pt x="175" y="47"/>
                  </a:lnTo>
                  <a:lnTo>
                    <a:pt x="175" y="43"/>
                  </a:lnTo>
                  <a:lnTo>
                    <a:pt x="171" y="43"/>
                  </a:lnTo>
                  <a:lnTo>
                    <a:pt x="171" y="39"/>
                  </a:lnTo>
                  <a:lnTo>
                    <a:pt x="167" y="35"/>
                  </a:lnTo>
                  <a:lnTo>
                    <a:pt x="163" y="35"/>
                  </a:lnTo>
                  <a:lnTo>
                    <a:pt x="163" y="31"/>
                  </a:lnTo>
                  <a:lnTo>
                    <a:pt x="159" y="31"/>
                  </a:lnTo>
                  <a:lnTo>
                    <a:pt x="159" y="28"/>
                  </a:lnTo>
                  <a:lnTo>
                    <a:pt x="155" y="28"/>
                  </a:lnTo>
                  <a:lnTo>
                    <a:pt x="151" y="28"/>
                  </a:lnTo>
                  <a:lnTo>
                    <a:pt x="151" y="24"/>
                  </a:lnTo>
                  <a:lnTo>
                    <a:pt x="147" y="24"/>
                  </a:lnTo>
                  <a:lnTo>
                    <a:pt x="151" y="24"/>
                  </a:lnTo>
                  <a:lnTo>
                    <a:pt x="147" y="24"/>
                  </a:lnTo>
                  <a:lnTo>
                    <a:pt x="147" y="20"/>
                  </a:lnTo>
                  <a:lnTo>
                    <a:pt x="151" y="24"/>
                  </a:lnTo>
                  <a:lnTo>
                    <a:pt x="155" y="24"/>
                  </a:lnTo>
                  <a:lnTo>
                    <a:pt x="155" y="28"/>
                  </a:lnTo>
                  <a:lnTo>
                    <a:pt x="159" y="28"/>
                  </a:lnTo>
                  <a:lnTo>
                    <a:pt x="163" y="31"/>
                  </a:lnTo>
                  <a:lnTo>
                    <a:pt x="167" y="31"/>
                  </a:lnTo>
                  <a:lnTo>
                    <a:pt x="167" y="35"/>
                  </a:lnTo>
                  <a:lnTo>
                    <a:pt x="171" y="35"/>
                  </a:lnTo>
                  <a:lnTo>
                    <a:pt x="171" y="39"/>
                  </a:lnTo>
                  <a:lnTo>
                    <a:pt x="175" y="39"/>
                  </a:lnTo>
                  <a:lnTo>
                    <a:pt x="175" y="43"/>
                  </a:lnTo>
                  <a:close/>
                  <a:moveTo>
                    <a:pt x="79" y="131"/>
                  </a:moveTo>
                  <a:lnTo>
                    <a:pt x="79" y="127"/>
                  </a:lnTo>
                  <a:lnTo>
                    <a:pt x="79" y="123"/>
                  </a:lnTo>
                  <a:lnTo>
                    <a:pt x="75" y="123"/>
                  </a:lnTo>
                  <a:lnTo>
                    <a:pt x="75" y="119"/>
                  </a:lnTo>
                  <a:lnTo>
                    <a:pt x="71" y="119"/>
                  </a:lnTo>
                  <a:lnTo>
                    <a:pt x="67" y="119"/>
                  </a:lnTo>
                  <a:lnTo>
                    <a:pt x="63" y="119"/>
                  </a:lnTo>
                  <a:lnTo>
                    <a:pt x="63" y="115"/>
                  </a:lnTo>
                  <a:lnTo>
                    <a:pt x="59" y="115"/>
                  </a:lnTo>
                  <a:lnTo>
                    <a:pt x="59" y="111"/>
                  </a:lnTo>
                  <a:lnTo>
                    <a:pt x="59" y="115"/>
                  </a:lnTo>
                  <a:lnTo>
                    <a:pt x="56" y="115"/>
                  </a:lnTo>
                  <a:lnTo>
                    <a:pt x="56" y="111"/>
                  </a:lnTo>
                  <a:lnTo>
                    <a:pt x="52" y="111"/>
                  </a:lnTo>
                  <a:lnTo>
                    <a:pt x="52" y="115"/>
                  </a:lnTo>
                  <a:lnTo>
                    <a:pt x="52" y="111"/>
                  </a:lnTo>
                  <a:lnTo>
                    <a:pt x="48" y="115"/>
                  </a:lnTo>
                  <a:lnTo>
                    <a:pt x="44" y="115"/>
                  </a:lnTo>
                  <a:lnTo>
                    <a:pt x="44" y="111"/>
                  </a:lnTo>
                  <a:lnTo>
                    <a:pt x="40" y="111"/>
                  </a:lnTo>
                  <a:lnTo>
                    <a:pt x="44" y="111"/>
                  </a:lnTo>
                  <a:lnTo>
                    <a:pt x="44" y="115"/>
                  </a:lnTo>
                  <a:lnTo>
                    <a:pt x="44" y="119"/>
                  </a:lnTo>
                  <a:lnTo>
                    <a:pt x="40" y="119"/>
                  </a:lnTo>
                  <a:lnTo>
                    <a:pt x="36" y="119"/>
                  </a:lnTo>
                  <a:lnTo>
                    <a:pt x="40" y="119"/>
                  </a:lnTo>
                  <a:lnTo>
                    <a:pt x="40" y="123"/>
                  </a:lnTo>
                  <a:lnTo>
                    <a:pt x="36" y="123"/>
                  </a:lnTo>
                  <a:lnTo>
                    <a:pt x="32" y="127"/>
                  </a:lnTo>
                  <a:lnTo>
                    <a:pt x="28" y="127"/>
                  </a:lnTo>
                  <a:lnTo>
                    <a:pt x="28" y="123"/>
                  </a:lnTo>
                  <a:lnTo>
                    <a:pt x="24" y="123"/>
                  </a:lnTo>
                  <a:lnTo>
                    <a:pt x="24" y="127"/>
                  </a:lnTo>
                  <a:lnTo>
                    <a:pt x="20" y="127"/>
                  </a:lnTo>
                  <a:lnTo>
                    <a:pt x="20" y="123"/>
                  </a:lnTo>
                  <a:lnTo>
                    <a:pt x="16" y="123"/>
                  </a:lnTo>
                  <a:lnTo>
                    <a:pt x="20" y="123"/>
                  </a:lnTo>
                  <a:lnTo>
                    <a:pt x="20" y="127"/>
                  </a:lnTo>
                  <a:lnTo>
                    <a:pt x="24" y="127"/>
                  </a:lnTo>
                  <a:lnTo>
                    <a:pt x="28" y="127"/>
                  </a:lnTo>
                  <a:lnTo>
                    <a:pt x="32" y="127"/>
                  </a:lnTo>
                  <a:lnTo>
                    <a:pt x="32" y="131"/>
                  </a:lnTo>
                  <a:lnTo>
                    <a:pt x="36" y="131"/>
                  </a:lnTo>
                  <a:lnTo>
                    <a:pt x="36" y="135"/>
                  </a:lnTo>
                  <a:lnTo>
                    <a:pt x="36" y="139"/>
                  </a:lnTo>
                  <a:lnTo>
                    <a:pt x="32" y="139"/>
                  </a:lnTo>
                  <a:lnTo>
                    <a:pt x="28" y="143"/>
                  </a:lnTo>
                  <a:lnTo>
                    <a:pt x="24" y="143"/>
                  </a:lnTo>
                  <a:lnTo>
                    <a:pt x="20" y="143"/>
                  </a:lnTo>
                  <a:lnTo>
                    <a:pt x="16" y="143"/>
                  </a:lnTo>
                  <a:lnTo>
                    <a:pt x="12" y="143"/>
                  </a:lnTo>
                  <a:lnTo>
                    <a:pt x="8" y="143"/>
                  </a:lnTo>
                  <a:lnTo>
                    <a:pt x="8" y="139"/>
                  </a:lnTo>
                  <a:lnTo>
                    <a:pt x="4" y="143"/>
                  </a:lnTo>
                  <a:lnTo>
                    <a:pt x="0" y="143"/>
                  </a:lnTo>
                  <a:lnTo>
                    <a:pt x="0" y="139"/>
                  </a:lnTo>
                  <a:lnTo>
                    <a:pt x="0" y="99"/>
                  </a:lnTo>
                  <a:lnTo>
                    <a:pt x="0" y="95"/>
                  </a:lnTo>
                  <a:lnTo>
                    <a:pt x="0" y="91"/>
                  </a:lnTo>
                  <a:lnTo>
                    <a:pt x="0" y="83"/>
                  </a:lnTo>
                  <a:lnTo>
                    <a:pt x="0" y="63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31"/>
                  </a:lnTo>
                  <a:lnTo>
                    <a:pt x="20" y="31"/>
                  </a:lnTo>
                  <a:lnTo>
                    <a:pt x="24" y="31"/>
                  </a:lnTo>
                  <a:lnTo>
                    <a:pt x="28" y="35"/>
                  </a:lnTo>
                  <a:lnTo>
                    <a:pt x="32" y="35"/>
                  </a:lnTo>
                  <a:lnTo>
                    <a:pt x="36" y="35"/>
                  </a:lnTo>
                  <a:lnTo>
                    <a:pt x="40" y="35"/>
                  </a:lnTo>
                  <a:lnTo>
                    <a:pt x="40" y="39"/>
                  </a:lnTo>
                  <a:lnTo>
                    <a:pt x="44" y="39"/>
                  </a:lnTo>
                  <a:lnTo>
                    <a:pt x="44" y="43"/>
                  </a:lnTo>
                  <a:lnTo>
                    <a:pt x="48" y="43"/>
                  </a:lnTo>
                  <a:lnTo>
                    <a:pt x="52" y="43"/>
                  </a:lnTo>
                  <a:lnTo>
                    <a:pt x="56" y="43"/>
                  </a:lnTo>
                  <a:lnTo>
                    <a:pt x="56" y="47"/>
                  </a:lnTo>
                  <a:lnTo>
                    <a:pt x="59" y="47"/>
                  </a:lnTo>
                  <a:lnTo>
                    <a:pt x="59" y="51"/>
                  </a:lnTo>
                  <a:lnTo>
                    <a:pt x="63" y="55"/>
                  </a:lnTo>
                  <a:lnTo>
                    <a:pt x="67" y="55"/>
                  </a:lnTo>
                  <a:lnTo>
                    <a:pt x="67" y="59"/>
                  </a:lnTo>
                  <a:lnTo>
                    <a:pt x="71" y="59"/>
                  </a:lnTo>
                  <a:lnTo>
                    <a:pt x="71" y="63"/>
                  </a:lnTo>
                  <a:lnTo>
                    <a:pt x="71" y="67"/>
                  </a:lnTo>
                  <a:lnTo>
                    <a:pt x="71" y="71"/>
                  </a:lnTo>
                  <a:lnTo>
                    <a:pt x="71" y="75"/>
                  </a:lnTo>
                  <a:lnTo>
                    <a:pt x="75" y="75"/>
                  </a:lnTo>
                  <a:lnTo>
                    <a:pt x="79" y="75"/>
                  </a:lnTo>
                  <a:lnTo>
                    <a:pt x="83" y="75"/>
                  </a:lnTo>
                  <a:lnTo>
                    <a:pt x="83" y="79"/>
                  </a:lnTo>
                  <a:lnTo>
                    <a:pt x="87" y="79"/>
                  </a:lnTo>
                  <a:lnTo>
                    <a:pt x="91" y="79"/>
                  </a:lnTo>
                  <a:lnTo>
                    <a:pt x="91" y="83"/>
                  </a:lnTo>
                  <a:lnTo>
                    <a:pt x="95" y="83"/>
                  </a:lnTo>
                  <a:lnTo>
                    <a:pt x="99" y="83"/>
                  </a:lnTo>
                  <a:lnTo>
                    <a:pt x="99" y="87"/>
                  </a:lnTo>
                  <a:lnTo>
                    <a:pt x="103" y="87"/>
                  </a:lnTo>
                  <a:lnTo>
                    <a:pt x="103" y="91"/>
                  </a:lnTo>
                  <a:lnTo>
                    <a:pt x="103" y="95"/>
                  </a:lnTo>
                  <a:lnTo>
                    <a:pt x="99" y="95"/>
                  </a:lnTo>
                  <a:lnTo>
                    <a:pt x="95" y="95"/>
                  </a:lnTo>
                  <a:lnTo>
                    <a:pt x="91" y="95"/>
                  </a:lnTo>
                  <a:lnTo>
                    <a:pt x="91" y="99"/>
                  </a:lnTo>
                  <a:lnTo>
                    <a:pt x="91" y="103"/>
                  </a:lnTo>
                  <a:lnTo>
                    <a:pt x="91" y="107"/>
                  </a:lnTo>
                  <a:lnTo>
                    <a:pt x="95" y="111"/>
                  </a:lnTo>
                  <a:lnTo>
                    <a:pt x="99" y="111"/>
                  </a:lnTo>
                  <a:lnTo>
                    <a:pt x="99" y="115"/>
                  </a:lnTo>
                  <a:lnTo>
                    <a:pt x="103" y="119"/>
                  </a:lnTo>
                  <a:lnTo>
                    <a:pt x="107" y="119"/>
                  </a:lnTo>
                  <a:lnTo>
                    <a:pt x="107" y="123"/>
                  </a:lnTo>
                  <a:lnTo>
                    <a:pt x="107" y="119"/>
                  </a:lnTo>
                  <a:lnTo>
                    <a:pt x="107" y="123"/>
                  </a:lnTo>
                  <a:lnTo>
                    <a:pt x="107" y="127"/>
                  </a:lnTo>
                  <a:lnTo>
                    <a:pt x="107" y="131"/>
                  </a:lnTo>
                  <a:lnTo>
                    <a:pt x="111" y="131"/>
                  </a:lnTo>
                  <a:lnTo>
                    <a:pt x="111" y="135"/>
                  </a:lnTo>
                  <a:lnTo>
                    <a:pt x="115" y="135"/>
                  </a:lnTo>
                  <a:lnTo>
                    <a:pt x="115" y="139"/>
                  </a:lnTo>
                  <a:lnTo>
                    <a:pt x="119" y="139"/>
                  </a:lnTo>
                  <a:lnTo>
                    <a:pt x="123" y="139"/>
                  </a:lnTo>
                  <a:lnTo>
                    <a:pt x="127" y="139"/>
                  </a:lnTo>
                  <a:lnTo>
                    <a:pt x="127" y="143"/>
                  </a:lnTo>
                  <a:lnTo>
                    <a:pt x="123" y="143"/>
                  </a:lnTo>
                  <a:lnTo>
                    <a:pt x="123" y="147"/>
                  </a:lnTo>
                  <a:lnTo>
                    <a:pt x="127" y="147"/>
                  </a:lnTo>
                  <a:lnTo>
                    <a:pt x="127" y="151"/>
                  </a:lnTo>
                  <a:lnTo>
                    <a:pt x="131" y="151"/>
                  </a:lnTo>
                  <a:lnTo>
                    <a:pt x="135" y="151"/>
                  </a:lnTo>
                  <a:lnTo>
                    <a:pt x="131" y="151"/>
                  </a:lnTo>
                  <a:lnTo>
                    <a:pt x="131" y="155"/>
                  </a:lnTo>
                  <a:lnTo>
                    <a:pt x="135" y="159"/>
                  </a:lnTo>
                  <a:lnTo>
                    <a:pt x="139" y="159"/>
                  </a:lnTo>
                  <a:lnTo>
                    <a:pt x="143" y="159"/>
                  </a:lnTo>
                  <a:lnTo>
                    <a:pt x="143" y="163"/>
                  </a:lnTo>
                  <a:lnTo>
                    <a:pt x="147" y="163"/>
                  </a:lnTo>
                  <a:lnTo>
                    <a:pt x="147" y="159"/>
                  </a:lnTo>
                  <a:lnTo>
                    <a:pt x="151" y="159"/>
                  </a:lnTo>
                  <a:lnTo>
                    <a:pt x="151" y="163"/>
                  </a:lnTo>
                  <a:lnTo>
                    <a:pt x="147" y="163"/>
                  </a:lnTo>
                  <a:lnTo>
                    <a:pt x="143" y="163"/>
                  </a:lnTo>
                  <a:lnTo>
                    <a:pt x="143" y="167"/>
                  </a:lnTo>
                  <a:lnTo>
                    <a:pt x="147" y="167"/>
                  </a:lnTo>
                  <a:lnTo>
                    <a:pt x="143" y="167"/>
                  </a:lnTo>
                  <a:lnTo>
                    <a:pt x="143" y="171"/>
                  </a:lnTo>
                  <a:lnTo>
                    <a:pt x="139" y="171"/>
                  </a:lnTo>
                  <a:lnTo>
                    <a:pt x="139" y="167"/>
                  </a:lnTo>
                  <a:lnTo>
                    <a:pt x="135" y="167"/>
                  </a:lnTo>
                  <a:lnTo>
                    <a:pt x="139" y="167"/>
                  </a:lnTo>
                  <a:lnTo>
                    <a:pt x="135" y="167"/>
                  </a:lnTo>
                  <a:lnTo>
                    <a:pt x="135" y="163"/>
                  </a:lnTo>
                  <a:lnTo>
                    <a:pt x="131" y="163"/>
                  </a:lnTo>
                  <a:lnTo>
                    <a:pt x="127" y="163"/>
                  </a:lnTo>
                  <a:lnTo>
                    <a:pt x="123" y="163"/>
                  </a:lnTo>
                  <a:lnTo>
                    <a:pt x="119" y="163"/>
                  </a:lnTo>
                  <a:lnTo>
                    <a:pt x="115" y="159"/>
                  </a:lnTo>
                  <a:lnTo>
                    <a:pt x="111" y="159"/>
                  </a:lnTo>
                  <a:lnTo>
                    <a:pt x="107" y="159"/>
                  </a:lnTo>
                  <a:lnTo>
                    <a:pt x="103" y="159"/>
                  </a:lnTo>
                  <a:lnTo>
                    <a:pt x="99" y="155"/>
                  </a:lnTo>
                  <a:lnTo>
                    <a:pt x="99" y="151"/>
                  </a:lnTo>
                  <a:lnTo>
                    <a:pt x="95" y="151"/>
                  </a:lnTo>
                  <a:lnTo>
                    <a:pt x="95" y="147"/>
                  </a:lnTo>
                  <a:lnTo>
                    <a:pt x="91" y="147"/>
                  </a:lnTo>
                  <a:lnTo>
                    <a:pt x="91" y="143"/>
                  </a:lnTo>
                  <a:lnTo>
                    <a:pt x="87" y="143"/>
                  </a:lnTo>
                  <a:lnTo>
                    <a:pt x="87" y="139"/>
                  </a:lnTo>
                  <a:lnTo>
                    <a:pt x="91" y="139"/>
                  </a:lnTo>
                  <a:lnTo>
                    <a:pt x="87" y="139"/>
                  </a:lnTo>
                  <a:lnTo>
                    <a:pt x="83" y="139"/>
                  </a:lnTo>
                  <a:lnTo>
                    <a:pt x="83" y="135"/>
                  </a:lnTo>
                  <a:lnTo>
                    <a:pt x="83" y="131"/>
                  </a:lnTo>
                  <a:lnTo>
                    <a:pt x="79" y="131"/>
                  </a:lnTo>
                  <a:close/>
                  <a:moveTo>
                    <a:pt x="147" y="28"/>
                  </a:moveTo>
                  <a:lnTo>
                    <a:pt x="151" y="28"/>
                  </a:lnTo>
                  <a:lnTo>
                    <a:pt x="147" y="28"/>
                  </a:lnTo>
                  <a:close/>
                  <a:moveTo>
                    <a:pt x="175" y="31"/>
                  </a:moveTo>
                  <a:lnTo>
                    <a:pt x="175" y="28"/>
                  </a:lnTo>
                  <a:lnTo>
                    <a:pt x="175" y="31"/>
                  </a:lnTo>
                  <a:close/>
                  <a:moveTo>
                    <a:pt x="123" y="75"/>
                  </a:moveTo>
                  <a:lnTo>
                    <a:pt x="127" y="75"/>
                  </a:lnTo>
                  <a:lnTo>
                    <a:pt x="131" y="75"/>
                  </a:lnTo>
                  <a:lnTo>
                    <a:pt x="135" y="75"/>
                  </a:lnTo>
                  <a:lnTo>
                    <a:pt x="135" y="71"/>
                  </a:lnTo>
                  <a:lnTo>
                    <a:pt x="135" y="67"/>
                  </a:lnTo>
                  <a:lnTo>
                    <a:pt x="139" y="63"/>
                  </a:lnTo>
                  <a:lnTo>
                    <a:pt x="139" y="67"/>
                  </a:lnTo>
                  <a:lnTo>
                    <a:pt x="135" y="67"/>
                  </a:lnTo>
                  <a:lnTo>
                    <a:pt x="135" y="71"/>
                  </a:lnTo>
                  <a:lnTo>
                    <a:pt x="139" y="75"/>
                  </a:lnTo>
                  <a:lnTo>
                    <a:pt x="143" y="75"/>
                  </a:lnTo>
                  <a:lnTo>
                    <a:pt x="143" y="71"/>
                  </a:lnTo>
                  <a:lnTo>
                    <a:pt x="143" y="75"/>
                  </a:lnTo>
                  <a:lnTo>
                    <a:pt x="147" y="75"/>
                  </a:lnTo>
                  <a:lnTo>
                    <a:pt x="151" y="75"/>
                  </a:lnTo>
                  <a:lnTo>
                    <a:pt x="151" y="71"/>
                  </a:lnTo>
                  <a:lnTo>
                    <a:pt x="151" y="67"/>
                  </a:lnTo>
                  <a:lnTo>
                    <a:pt x="155" y="63"/>
                  </a:lnTo>
                  <a:lnTo>
                    <a:pt x="159" y="63"/>
                  </a:lnTo>
                  <a:lnTo>
                    <a:pt x="163" y="63"/>
                  </a:lnTo>
                  <a:lnTo>
                    <a:pt x="163" y="59"/>
                  </a:lnTo>
                  <a:lnTo>
                    <a:pt x="159" y="55"/>
                  </a:lnTo>
                  <a:lnTo>
                    <a:pt x="159" y="51"/>
                  </a:lnTo>
                  <a:lnTo>
                    <a:pt x="163" y="51"/>
                  </a:lnTo>
                  <a:lnTo>
                    <a:pt x="167" y="51"/>
                  </a:lnTo>
                  <a:lnTo>
                    <a:pt x="167" y="47"/>
                  </a:lnTo>
                  <a:lnTo>
                    <a:pt x="171" y="51"/>
                  </a:lnTo>
                  <a:lnTo>
                    <a:pt x="167" y="51"/>
                  </a:lnTo>
                  <a:lnTo>
                    <a:pt x="171" y="51"/>
                  </a:lnTo>
                  <a:lnTo>
                    <a:pt x="171" y="59"/>
                  </a:lnTo>
                  <a:lnTo>
                    <a:pt x="171" y="63"/>
                  </a:lnTo>
                  <a:lnTo>
                    <a:pt x="167" y="63"/>
                  </a:lnTo>
                  <a:lnTo>
                    <a:pt x="167" y="67"/>
                  </a:lnTo>
                  <a:lnTo>
                    <a:pt x="167" y="71"/>
                  </a:lnTo>
                  <a:lnTo>
                    <a:pt x="167" y="75"/>
                  </a:lnTo>
                  <a:lnTo>
                    <a:pt x="163" y="75"/>
                  </a:lnTo>
                  <a:lnTo>
                    <a:pt x="159" y="75"/>
                  </a:lnTo>
                  <a:lnTo>
                    <a:pt x="159" y="79"/>
                  </a:lnTo>
                  <a:lnTo>
                    <a:pt x="155" y="79"/>
                  </a:lnTo>
                  <a:lnTo>
                    <a:pt x="155" y="83"/>
                  </a:lnTo>
                  <a:lnTo>
                    <a:pt x="151" y="83"/>
                  </a:lnTo>
                  <a:lnTo>
                    <a:pt x="147" y="83"/>
                  </a:lnTo>
                  <a:lnTo>
                    <a:pt x="147" y="87"/>
                  </a:lnTo>
                  <a:lnTo>
                    <a:pt x="143" y="87"/>
                  </a:lnTo>
                  <a:lnTo>
                    <a:pt x="139" y="87"/>
                  </a:lnTo>
                  <a:lnTo>
                    <a:pt x="135" y="87"/>
                  </a:lnTo>
                  <a:lnTo>
                    <a:pt x="131" y="87"/>
                  </a:lnTo>
                  <a:lnTo>
                    <a:pt x="127" y="87"/>
                  </a:lnTo>
                  <a:lnTo>
                    <a:pt x="127" y="83"/>
                  </a:lnTo>
                  <a:lnTo>
                    <a:pt x="123" y="87"/>
                  </a:lnTo>
                  <a:lnTo>
                    <a:pt x="123" y="83"/>
                  </a:lnTo>
                  <a:lnTo>
                    <a:pt x="119" y="83"/>
                  </a:lnTo>
                  <a:lnTo>
                    <a:pt x="119" y="79"/>
                  </a:lnTo>
                  <a:lnTo>
                    <a:pt x="115" y="79"/>
                  </a:lnTo>
                  <a:lnTo>
                    <a:pt x="111" y="79"/>
                  </a:lnTo>
                  <a:lnTo>
                    <a:pt x="111" y="75"/>
                  </a:lnTo>
                  <a:lnTo>
                    <a:pt x="111" y="71"/>
                  </a:lnTo>
                  <a:lnTo>
                    <a:pt x="111" y="75"/>
                  </a:lnTo>
                  <a:lnTo>
                    <a:pt x="115" y="75"/>
                  </a:lnTo>
                  <a:lnTo>
                    <a:pt x="119" y="75"/>
                  </a:lnTo>
                  <a:lnTo>
                    <a:pt x="123" y="75"/>
                  </a:lnTo>
                  <a:close/>
                  <a:moveTo>
                    <a:pt x="75" y="59"/>
                  </a:moveTo>
                  <a:lnTo>
                    <a:pt x="75" y="55"/>
                  </a:lnTo>
                  <a:lnTo>
                    <a:pt x="75" y="59"/>
                  </a:lnTo>
                  <a:close/>
                  <a:moveTo>
                    <a:pt x="207" y="75"/>
                  </a:moveTo>
                  <a:lnTo>
                    <a:pt x="207" y="71"/>
                  </a:lnTo>
                  <a:lnTo>
                    <a:pt x="203" y="67"/>
                  </a:lnTo>
                  <a:lnTo>
                    <a:pt x="207" y="67"/>
                  </a:lnTo>
                  <a:lnTo>
                    <a:pt x="207" y="63"/>
                  </a:lnTo>
                  <a:lnTo>
                    <a:pt x="207" y="67"/>
                  </a:lnTo>
                  <a:lnTo>
                    <a:pt x="207" y="71"/>
                  </a:lnTo>
                  <a:lnTo>
                    <a:pt x="207" y="75"/>
                  </a:lnTo>
                  <a:close/>
                  <a:moveTo>
                    <a:pt x="91" y="71"/>
                  </a:moveTo>
                  <a:lnTo>
                    <a:pt x="91" y="67"/>
                  </a:lnTo>
                  <a:lnTo>
                    <a:pt x="95" y="71"/>
                  </a:lnTo>
                  <a:lnTo>
                    <a:pt x="91" y="71"/>
                  </a:lnTo>
                  <a:close/>
                  <a:moveTo>
                    <a:pt x="219" y="83"/>
                  </a:moveTo>
                  <a:lnTo>
                    <a:pt x="219" y="87"/>
                  </a:lnTo>
                  <a:lnTo>
                    <a:pt x="223" y="87"/>
                  </a:lnTo>
                  <a:lnTo>
                    <a:pt x="223" y="91"/>
                  </a:lnTo>
                  <a:lnTo>
                    <a:pt x="227" y="91"/>
                  </a:lnTo>
                  <a:lnTo>
                    <a:pt x="227" y="95"/>
                  </a:lnTo>
                  <a:lnTo>
                    <a:pt x="227" y="99"/>
                  </a:lnTo>
                  <a:lnTo>
                    <a:pt x="223" y="99"/>
                  </a:lnTo>
                  <a:lnTo>
                    <a:pt x="219" y="99"/>
                  </a:lnTo>
                  <a:lnTo>
                    <a:pt x="215" y="95"/>
                  </a:lnTo>
                  <a:lnTo>
                    <a:pt x="215" y="91"/>
                  </a:lnTo>
                  <a:lnTo>
                    <a:pt x="215" y="87"/>
                  </a:lnTo>
                  <a:lnTo>
                    <a:pt x="211" y="87"/>
                  </a:lnTo>
                  <a:lnTo>
                    <a:pt x="211" y="83"/>
                  </a:lnTo>
                  <a:lnTo>
                    <a:pt x="207" y="83"/>
                  </a:lnTo>
                  <a:lnTo>
                    <a:pt x="207" y="79"/>
                  </a:lnTo>
                  <a:lnTo>
                    <a:pt x="207" y="75"/>
                  </a:lnTo>
                  <a:lnTo>
                    <a:pt x="211" y="75"/>
                  </a:lnTo>
                  <a:lnTo>
                    <a:pt x="215" y="79"/>
                  </a:lnTo>
                  <a:lnTo>
                    <a:pt x="219" y="83"/>
                  </a:lnTo>
                  <a:close/>
                  <a:moveTo>
                    <a:pt x="107" y="79"/>
                  </a:moveTo>
                  <a:lnTo>
                    <a:pt x="103" y="79"/>
                  </a:lnTo>
                  <a:lnTo>
                    <a:pt x="103" y="75"/>
                  </a:lnTo>
                  <a:lnTo>
                    <a:pt x="107" y="75"/>
                  </a:lnTo>
                  <a:lnTo>
                    <a:pt x="107" y="79"/>
                  </a:lnTo>
                  <a:close/>
                  <a:moveTo>
                    <a:pt x="40" y="127"/>
                  </a:moveTo>
                  <a:lnTo>
                    <a:pt x="36" y="127"/>
                  </a:lnTo>
                  <a:lnTo>
                    <a:pt x="40" y="127"/>
                  </a:lnTo>
                  <a:close/>
                  <a:moveTo>
                    <a:pt x="40" y="135"/>
                  </a:moveTo>
                  <a:lnTo>
                    <a:pt x="40" y="131"/>
                  </a:lnTo>
                  <a:lnTo>
                    <a:pt x="36" y="131"/>
                  </a:lnTo>
                  <a:lnTo>
                    <a:pt x="36" y="127"/>
                  </a:lnTo>
                  <a:lnTo>
                    <a:pt x="32" y="127"/>
                  </a:lnTo>
                  <a:lnTo>
                    <a:pt x="36" y="127"/>
                  </a:lnTo>
                  <a:lnTo>
                    <a:pt x="36" y="131"/>
                  </a:lnTo>
                  <a:lnTo>
                    <a:pt x="40" y="131"/>
                  </a:lnTo>
                  <a:lnTo>
                    <a:pt x="40" y="135"/>
                  </a:lnTo>
                  <a:close/>
                  <a:moveTo>
                    <a:pt x="155" y="135"/>
                  </a:moveTo>
                  <a:lnTo>
                    <a:pt x="151" y="135"/>
                  </a:lnTo>
                  <a:lnTo>
                    <a:pt x="151" y="131"/>
                  </a:lnTo>
                  <a:lnTo>
                    <a:pt x="151" y="127"/>
                  </a:lnTo>
                  <a:lnTo>
                    <a:pt x="151" y="131"/>
                  </a:lnTo>
                  <a:lnTo>
                    <a:pt x="151" y="135"/>
                  </a:lnTo>
                  <a:lnTo>
                    <a:pt x="155" y="135"/>
                  </a:lnTo>
                  <a:close/>
                  <a:moveTo>
                    <a:pt x="179" y="143"/>
                  </a:moveTo>
                  <a:lnTo>
                    <a:pt x="175" y="139"/>
                  </a:lnTo>
                  <a:lnTo>
                    <a:pt x="179" y="139"/>
                  </a:lnTo>
                  <a:lnTo>
                    <a:pt x="183" y="139"/>
                  </a:lnTo>
                  <a:lnTo>
                    <a:pt x="183" y="143"/>
                  </a:lnTo>
                  <a:lnTo>
                    <a:pt x="179" y="143"/>
                  </a:lnTo>
                  <a:close/>
                  <a:moveTo>
                    <a:pt x="36" y="139"/>
                  </a:moveTo>
                  <a:lnTo>
                    <a:pt x="36" y="143"/>
                  </a:lnTo>
                  <a:lnTo>
                    <a:pt x="32" y="139"/>
                  </a:lnTo>
                  <a:lnTo>
                    <a:pt x="36" y="139"/>
                  </a:lnTo>
                  <a:close/>
                  <a:moveTo>
                    <a:pt x="143" y="147"/>
                  </a:moveTo>
                  <a:lnTo>
                    <a:pt x="139" y="147"/>
                  </a:lnTo>
                  <a:lnTo>
                    <a:pt x="139" y="143"/>
                  </a:lnTo>
                  <a:lnTo>
                    <a:pt x="143" y="147"/>
                  </a:lnTo>
                  <a:close/>
                  <a:moveTo>
                    <a:pt x="147" y="151"/>
                  </a:moveTo>
                  <a:lnTo>
                    <a:pt x="143" y="151"/>
                  </a:lnTo>
                  <a:lnTo>
                    <a:pt x="143" y="147"/>
                  </a:lnTo>
                  <a:lnTo>
                    <a:pt x="143" y="143"/>
                  </a:lnTo>
                  <a:lnTo>
                    <a:pt x="143" y="147"/>
                  </a:lnTo>
                  <a:lnTo>
                    <a:pt x="147" y="147"/>
                  </a:lnTo>
                  <a:lnTo>
                    <a:pt x="151" y="147"/>
                  </a:lnTo>
                  <a:lnTo>
                    <a:pt x="151" y="151"/>
                  </a:lnTo>
                  <a:lnTo>
                    <a:pt x="147" y="151"/>
                  </a:lnTo>
                  <a:close/>
                  <a:moveTo>
                    <a:pt x="155" y="159"/>
                  </a:moveTo>
                  <a:lnTo>
                    <a:pt x="151" y="159"/>
                  </a:lnTo>
                  <a:lnTo>
                    <a:pt x="151" y="155"/>
                  </a:lnTo>
                  <a:lnTo>
                    <a:pt x="147" y="155"/>
                  </a:lnTo>
                  <a:lnTo>
                    <a:pt x="147" y="151"/>
                  </a:lnTo>
                  <a:lnTo>
                    <a:pt x="151" y="155"/>
                  </a:lnTo>
                  <a:lnTo>
                    <a:pt x="151" y="159"/>
                  </a:lnTo>
                  <a:lnTo>
                    <a:pt x="155" y="159"/>
                  </a:lnTo>
                  <a:lnTo>
                    <a:pt x="155" y="155"/>
                  </a:lnTo>
                  <a:lnTo>
                    <a:pt x="155" y="159"/>
                  </a:lnTo>
                  <a:close/>
                  <a:moveTo>
                    <a:pt x="151" y="167"/>
                  </a:moveTo>
                  <a:lnTo>
                    <a:pt x="147" y="167"/>
                  </a:lnTo>
                  <a:lnTo>
                    <a:pt x="151" y="167"/>
                  </a:lnTo>
                  <a:close/>
                  <a:moveTo>
                    <a:pt x="179" y="171"/>
                  </a:moveTo>
                  <a:lnTo>
                    <a:pt x="175" y="171"/>
                  </a:lnTo>
                  <a:lnTo>
                    <a:pt x="175" y="167"/>
                  </a:lnTo>
                  <a:lnTo>
                    <a:pt x="179" y="167"/>
                  </a:lnTo>
                  <a:lnTo>
                    <a:pt x="179" y="171"/>
                  </a:lnTo>
                  <a:close/>
                  <a:moveTo>
                    <a:pt x="199" y="183"/>
                  </a:moveTo>
                  <a:lnTo>
                    <a:pt x="195" y="183"/>
                  </a:lnTo>
                  <a:lnTo>
                    <a:pt x="199" y="183"/>
                  </a:lnTo>
                  <a:lnTo>
                    <a:pt x="199" y="179"/>
                  </a:lnTo>
                  <a:lnTo>
                    <a:pt x="199" y="183"/>
                  </a:lnTo>
                  <a:lnTo>
                    <a:pt x="203" y="183"/>
                  </a:lnTo>
                  <a:lnTo>
                    <a:pt x="199" y="183"/>
                  </a:lnTo>
                  <a:close/>
                  <a:moveTo>
                    <a:pt x="191" y="187"/>
                  </a:moveTo>
                  <a:lnTo>
                    <a:pt x="187" y="187"/>
                  </a:lnTo>
                  <a:lnTo>
                    <a:pt x="187" y="183"/>
                  </a:lnTo>
                  <a:lnTo>
                    <a:pt x="183" y="183"/>
                  </a:lnTo>
                  <a:lnTo>
                    <a:pt x="187" y="183"/>
                  </a:lnTo>
                  <a:lnTo>
                    <a:pt x="191" y="183"/>
                  </a:lnTo>
                  <a:lnTo>
                    <a:pt x="191" y="187"/>
                  </a:lnTo>
                  <a:lnTo>
                    <a:pt x="195" y="187"/>
                  </a:lnTo>
                  <a:lnTo>
                    <a:pt x="191" y="18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6" name="Freeform 184"/>
            <p:cNvSpPr>
              <a:spLocks noEditPoints="1"/>
            </p:cNvSpPr>
            <p:nvPr>
              <p:custDataLst>
                <p:tags r:id="rId379"/>
              </p:custDataLst>
            </p:nvPr>
          </p:nvSpPr>
          <p:spPr bwMode="gray">
            <a:xfrm>
              <a:off x="3671606" y="3396155"/>
              <a:ext cx="568013" cy="290681"/>
            </a:xfrm>
            <a:custGeom>
              <a:avLst/>
              <a:gdLst/>
              <a:ahLst/>
              <a:cxnLst>
                <a:cxn ang="0">
                  <a:pos x="343" y="16"/>
                </a:cxn>
                <a:cxn ang="0">
                  <a:pos x="343" y="8"/>
                </a:cxn>
                <a:cxn ang="0">
                  <a:pos x="347" y="0"/>
                </a:cxn>
                <a:cxn ang="0">
                  <a:pos x="351" y="8"/>
                </a:cxn>
                <a:cxn ang="0">
                  <a:pos x="363" y="8"/>
                </a:cxn>
                <a:cxn ang="0">
                  <a:pos x="371" y="4"/>
                </a:cxn>
                <a:cxn ang="0">
                  <a:pos x="375" y="12"/>
                </a:cxn>
                <a:cxn ang="0">
                  <a:pos x="379" y="12"/>
                </a:cxn>
                <a:cxn ang="0">
                  <a:pos x="375" y="20"/>
                </a:cxn>
                <a:cxn ang="0">
                  <a:pos x="371" y="32"/>
                </a:cxn>
                <a:cxn ang="0">
                  <a:pos x="367" y="40"/>
                </a:cxn>
                <a:cxn ang="0">
                  <a:pos x="367" y="52"/>
                </a:cxn>
                <a:cxn ang="0">
                  <a:pos x="363" y="56"/>
                </a:cxn>
                <a:cxn ang="0">
                  <a:pos x="371" y="64"/>
                </a:cxn>
                <a:cxn ang="0">
                  <a:pos x="363" y="72"/>
                </a:cxn>
                <a:cxn ang="0">
                  <a:pos x="367" y="80"/>
                </a:cxn>
                <a:cxn ang="0">
                  <a:pos x="367" y="88"/>
                </a:cxn>
                <a:cxn ang="0">
                  <a:pos x="359" y="96"/>
                </a:cxn>
                <a:cxn ang="0">
                  <a:pos x="363" y="104"/>
                </a:cxn>
                <a:cxn ang="0">
                  <a:pos x="355" y="108"/>
                </a:cxn>
                <a:cxn ang="0">
                  <a:pos x="347" y="104"/>
                </a:cxn>
                <a:cxn ang="0">
                  <a:pos x="339" y="108"/>
                </a:cxn>
                <a:cxn ang="0">
                  <a:pos x="343" y="100"/>
                </a:cxn>
                <a:cxn ang="0">
                  <a:pos x="343" y="88"/>
                </a:cxn>
                <a:cxn ang="0">
                  <a:pos x="343" y="80"/>
                </a:cxn>
                <a:cxn ang="0">
                  <a:pos x="339" y="80"/>
                </a:cxn>
                <a:cxn ang="0">
                  <a:pos x="335" y="72"/>
                </a:cxn>
                <a:cxn ang="0">
                  <a:pos x="339" y="68"/>
                </a:cxn>
                <a:cxn ang="0">
                  <a:pos x="331" y="72"/>
                </a:cxn>
                <a:cxn ang="0">
                  <a:pos x="335" y="60"/>
                </a:cxn>
                <a:cxn ang="0">
                  <a:pos x="335" y="56"/>
                </a:cxn>
                <a:cxn ang="0">
                  <a:pos x="339" y="44"/>
                </a:cxn>
                <a:cxn ang="0">
                  <a:pos x="343" y="32"/>
                </a:cxn>
                <a:cxn ang="0">
                  <a:pos x="343" y="28"/>
                </a:cxn>
                <a:cxn ang="0">
                  <a:pos x="0" y="60"/>
                </a:cxn>
                <a:cxn ang="0">
                  <a:pos x="4" y="60"/>
                </a:cxn>
                <a:cxn ang="0">
                  <a:pos x="60" y="72"/>
                </a:cxn>
                <a:cxn ang="0">
                  <a:pos x="52" y="76"/>
                </a:cxn>
                <a:cxn ang="0">
                  <a:pos x="56" y="76"/>
                </a:cxn>
                <a:cxn ang="0">
                  <a:pos x="40" y="72"/>
                </a:cxn>
                <a:cxn ang="0">
                  <a:pos x="44" y="80"/>
                </a:cxn>
                <a:cxn ang="0">
                  <a:pos x="52" y="80"/>
                </a:cxn>
                <a:cxn ang="0">
                  <a:pos x="84" y="92"/>
                </a:cxn>
                <a:cxn ang="0">
                  <a:pos x="92" y="92"/>
                </a:cxn>
                <a:cxn ang="0">
                  <a:pos x="96" y="92"/>
                </a:cxn>
                <a:cxn ang="0">
                  <a:pos x="96" y="108"/>
                </a:cxn>
                <a:cxn ang="0">
                  <a:pos x="219" y="196"/>
                </a:cxn>
                <a:cxn ang="0">
                  <a:pos x="219" y="192"/>
                </a:cxn>
              </a:cxnLst>
              <a:rect l="0" t="0" r="r" b="b"/>
              <a:pathLst>
                <a:path w="383" h="196">
                  <a:moveTo>
                    <a:pt x="343" y="24"/>
                  </a:moveTo>
                  <a:lnTo>
                    <a:pt x="343" y="20"/>
                  </a:lnTo>
                  <a:lnTo>
                    <a:pt x="343" y="16"/>
                  </a:lnTo>
                  <a:lnTo>
                    <a:pt x="343" y="12"/>
                  </a:lnTo>
                  <a:lnTo>
                    <a:pt x="339" y="8"/>
                  </a:lnTo>
                  <a:lnTo>
                    <a:pt x="343" y="8"/>
                  </a:lnTo>
                  <a:lnTo>
                    <a:pt x="343" y="4"/>
                  </a:lnTo>
                  <a:lnTo>
                    <a:pt x="347" y="4"/>
                  </a:lnTo>
                  <a:lnTo>
                    <a:pt x="347" y="0"/>
                  </a:lnTo>
                  <a:lnTo>
                    <a:pt x="351" y="0"/>
                  </a:lnTo>
                  <a:lnTo>
                    <a:pt x="351" y="4"/>
                  </a:lnTo>
                  <a:lnTo>
                    <a:pt x="351" y="8"/>
                  </a:lnTo>
                  <a:lnTo>
                    <a:pt x="355" y="8"/>
                  </a:lnTo>
                  <a:lnTo>
                    <a:pt x="359" y="8"/>
                  </a:lnTo>
                  <a:lnTo>
                    <a:pt x="363" y="8"/>
                  </a:lnTo>
                  <a:lnTo>
                    <a:pt x="367" y="8"/>
                  </a:lnTo>
                  <a:lnTo>
                    <a:pt x="367" y="4"/>
                  </a:lnTo>
                  <a:lnTo>
                    <a:pt x="371" y="4"/>
                  </a:lnTo>
                  <a:lnTo>
                    <a:pt x="375" y="4"/>
                  </a:lnTo>
                  <a:lnTo>
                    <a:pt x="375" y="8"/>
                  </a:lnTo>
                  <a:lnTo>
                    <a:pt x="375" y="12"/>
                  </a:lnTo>
                  <a:lnTo>
                    <a:pt x="379" y="12"/>
                  </a:lnTo>
                  <a:lnTo>
                    <a:pt x="383" y="12"/>
                  </a:lnTo>
                  <a:lnTo>
                    <a:pt x="379" y="12"/>
                  </a:lnTo>
                  <a:lnTo>
                    <a:pt x="379" y="16"/>
                  </a:lnTo>
                  <a:lnTo>
                    <a:pt x="379" y="20"/>
                  </a:lnTo>
                  <a:lnTo>
                    <a:pt x="375" y="20"/>
                  </a:lnTo>
                  <a:lnTo>
                    <a:pt x="371" y="24"/>
                  </a:lnTo>
                  <a:lnTo>
                    <a:pt x="371" y="28"/>
                  </a:lnTo>
                  <a:lnTo>
                    <a:pt x="371" y="32"/>
                  </a:lnTo>
                  <a:lnTo>
                    <a:pt x="371" y="36"/>
                  </a:lnTo>
                  <a:lnTo>
                    <a:pt x="371" y="40"/>
                  </a:lnTo>
                  <a:lnTo>
                    <a:pt x="367" y="40"/>
                  </a:lnTo>
                  <a:lnTo>
                    <a:pt x="367" y="44"/>
                  </a:lnTo>
                  <a:lnTo>
                    <a:pt x="371" y="44"/>
                  </a:lnTo>
                  <a:lnTo>
                    <a:pt x="367" y="52"/>
                  </a:lnTo>
                  <a:lnTo>
                    <a:pt x="363" y="52"/>
                  </a:lnTo>
                  <a:lnTo>
                    <a:pt x="359" y="52"/>
                  </a:lnTo>
                  <a:lnTo>
                    <a:pt x="363" y="56"/>
                  </a:lnTo>
                  <a:lnTo>
                    <a:pt x="363" y="60"/>
                  </a:lnTo>
                  <a:lnTo>
                    <a:pt x="367" y="64"/>
                  </a:lnTo>
                  <a:lnTo>
                    <a:pt x="371" y="64"/>
                  </a:lnTo>
                  <a:lnTo>
                    <a:pt x="367" y="68"/>
                  </a:lnTo>
                  <a:lnTo>
                    <a:pt x="367" y="72"/>
                  </a:lnTo>
                  <a:lnTo>
                    <a:pt x="363" y="72"/>
                  </a:lnTo>
                  <a:lnTo>
                    <a:pt x="363" y="76"/>
                  </a:lnTo>
                  <a:lnTo>
                    <a:pt x="363" y="80"/>
                  </a:lnTo>
                  <a:lnTo>
                    <a:pt x="367" y="80"/>
                  </a:lnTo>
                  <a:lnTo>
                    <a:pt x="367" y="84"/>
                  </a:lnTo>
                  <a:lnTo>
                    <a:pt x="371" y="84"/>
                  </a:lnTo>
                  <a:lnTo>
                    <a:pt x="367" y="88"/>
                  </a:lnTo>
                  <a:lnTo>
                    <a:pt x="363" y="88"/>
                  </a:lnTo>
                  <a:lnTo>
                    <a:pt x="363" y="92"/>
                  </a:lnTo>
                  <a:lnTo>
                    <a:pt x="359" y="96"/>
                  </a:lnTo>
                  <a:lnTo>
                    <a:pt x="363" y="96"/>
                  </a:lnTo>
                  <a:lnTo>
                    <a:pt x="363" y="100"/>
                  </a:lnTo>
                  <a:lnTo>
                    <a:pt x="363" y="104"/>
                  </a:lnTo>
                  <a:lnTo>
                    <a:pt x="359" y="104"/>
                  </a:lnTo>
                  <a:lnTo>
                    <a:pt x="359" y="108"/>
                  </a:lnTo>
                  <a:lnTo>
                    <a:pt x="355" y="108"/>
                  </a:lnTo>
                  <a:lnTo>
                    <a:pt x="351" y="108"/>
                  </a:lnTo>
                  <a:lnTo>
                    <a:pt x="351" y="104"/>
                  </a:lnTo>
                  <a:lnTo>
                    <a:pt x="347" y="104"/>
                  </a:lnTo>
                  <a:lnTo>
                    <a:pt x="343" y="104"/>
                  </a:lnTo>
                  <a:lnTo>
                    <a:pt x="343" y="108"/>
                  </a:lnTo>
                  <a:lnTo>
                    <a:pt x="339" y="108"/>
                  </a:lnTo>
                  <a:lnTo>
                    <a:pt x="339" y="104"/>
                  </a:lnTo>
                  <a:lnTo>
                    <a:pt x="339" y="100"/>
                  </a:lnTo>
                  <a:lnTo>
                    <a:pt x="343" y="100"/>
                  </a:lnTo>
                  <a:lnTo>
                    <a:pt x="343" y="96"/>
                  </a:lnTo>
                  <a:lnTo>
                    <a:pt x="343" y="92"/>
                  </a:lnTo>
                  <a:lnTo>
                    <a:pt x="343" y="88"/>
                  </a:lnTo>
                  <a:lnTo>
                    <a:pt x="339" y="88"/>
                  </a:lnTo>
                  <a:lnTo>
                    <a:pt x="343" y="84"/>
                  </a:lnTo>
                  <a:lnTo>
                    <a:pt x="343" y="80"/>
                  </a:lnTo>
                  <a:lnTo>
                    <a:pt x="343" y="76"/>
                  </a:lnTo>
                  <a:lnTo>
                    <a:pt x="339" y="76"/>
                  </a:lnTo>
                  <a:lnTo>
                    <a:pt x="339" y="80"/>
                  </a:lnTo>
                  <a:lnTo>
                    <a:pt x="335" y="80"/>
                  </a:lnTo>
                  <a:lnTo>
                    <a:pt x="335" y="76"/>
                  </a:lnTo>
                  <a:lnTo>
                    <a:pt x="335" y="72"/>
                  </a:lnTo>
                  <a:lnTo>
                    <a:pt x="339" y="76"/>
                  </a:lnTo>
                  <a:lnTo>
                    <a:pt x="339" y="72"/>
                  </a:lnTo>
                  <a:lnTo>
                    <a:pt x="339" y="68"/>
                  </a:lnTo>
                  <a:lnTo>
                    <a:pt x="339" y="72"/>
                  </a:lnTo>
                  <a:lnTo>
                    <a:pt x="335" y="72"/>
                  </a:lnTo>
                  <a:lnTo>
                    <a:pt x="331" y="72"/>
                  </a:lnTo>
                  <a:lnTo>
                    <a:pt x="331" y="68"/>
                  </a:lnTo>
                  <a:lnTo>
                    <a:pt x="331" y="64"/>
                  </a:lnTo>
                  <a:lnTo>
                    <a:pt x="335" y="60"/>
                  </a:lnTo>
                  <a:lnTo>
                    <a:pt x="331" y="60"/>
                  </a:lnTo>
                  <a:lnTo>
                    <a:pt x="335" y="60"/>
                  </a:lnTo>
                  <a:lnTo>
                    <a:pt x="335" y="56"/>
                  </a:lnTo>
                  <a:lnTo>
                    <a:pt x="339" y="52"/>
                  </a:lnTo>
                  <a:lnTo>
                    <a:pt x="339" y="48"/>
                  </a:lnTo>
                  <a:lnTo>
                    <a:pt x="339" y="44"/>
                  </a:lnTo>
                  <a:lnTo>
                    <a:pt x="339" y="40"/>
                  </a:lnTo>
                  <a:lnTo>
                    <a:pt x="343" y="36"/>
                  </a:lnTo>
                  <a:lnTo>
                    <a:pt x="343" y="32"/>
                  </a:lnTo>
                  <a:lnTo>
                    <a:pt x="343" y="28"/>
                  </a:lnTo>
                  <a:lnTo>
                    <a:pt x="343" y="32"/>
                  </a:lnTo>
                  <a:lnTo>
                    <a:pt x="343" y="28"/>
                  </a:lnTo>
                  <a:lnTo>
                    <a:pt x="343" y="24"/>
                  </a:lnTo>
                  <a:close/>
                  <a:moveTo>
                    <a:pt x="4" y="60"/>
                  </a:moveTo>
                  <a:lnTo>
                    <a:pt x="0" y="60"/>
                  </a:lnTo>
                  <a:lnTo>
                    <a:pt x="0" y="56"/>
                  </a:lnTo>
                  <a:lnTo>
                    <a:pt x="4" y="56"/>
                  </a:lnTo>
                  <a:lnTo>
                    <a:pt x="4" y="60"/>
                  </a:lnTo>
                  <a:close/>
                  <a:moveTo>
                    <a:pt x="64" y="76"/>
                  </a:moveTo>
                  <a:lnTo>
                    <a:pt x="64" y="72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close/>
                  <a:moveTo>
                    <a:pt x="52" y="76"/>
                  </a:moveTo>
                  <a:lnTo>
                    <a:pt x="48" y="72"/>
                  </a:lnTo>
                  <a:lnTo>
                    <a:pt x="52" y="72"/>
                  </a:lnTo>
                  <a:lnTo>
                    <a:pt x="56" y="76"/>
                  </a:lnTo>
                  <a:lnTo>
                    <a:pt x="52" y="76"/>
                  </a:lnTo>
                  <a:close/>
                  <a:moveTo>
                    <a:pt x="40" y="76"/>
                  </a:moveTo>
                  <a:lnTo>
                    <a:pt x="40" y="72"/>
                  </a:lnTo>
                  <a:lnTo>
                    <a:pt x="40" y="76"/>
                  </a:lnTo>
                  <a:close/>
                  <a:moveTo>
                    <a:pt x="48" y="80"/>
                  </a:moveTo>
                  <a:lnTo>
                    <a:pt x="44" y="80"/>
                  </a:lnTo>
                  <a:lnTo>
                    <a:pt x="44" y="76"/>
                  </a:lnTo>
                  <a:lnTo>
                    <a:pt x="48" y="76"/>
                  </a:lnTo>
                  <a:lnTo>
                    <a:pt x="52" y="80"/>
                  </a:lnTo>
                  <a:lnTo>
                    <a:pt x="48" y="80"/>
                  </a:lnTo>
                  <a:close/>
                  <a:moveTo>
                    <a:pt x="88" y="92"/>
                  </a:moveTo>
                  <a:lnTo>
                    <a:pt x="84" y="92"/>
                  </a:lnTo>
                  <a:lnTo>
                    <a:pt x="84" y="88"/>
                  </a:lnTo>
                  <a:lnTo>
                    <a:pt x="88" y="92"/>
                  </a:lnTo>
                  <a:lnTo>
                    <a:pt x="92" y="92"/>
                  </a:lnTo>
                  <a:lnTo>
                    <a:pt x="92" y="88"/>
                  </a:lnTo>
                  <a:lnTo>
                    <a:pt x="96" y="88"/>
                  </a:lnTo>
                  <a:lnTo>
                    <a:pt x="96" y="92"/>
                  </a:lnTo>
                  <a:lnTo>
                    <a:pt x="92" y="92"/>
                  </a:lnTo>
                  <a:lnTo>
                    <a:pt x="88" y="92"/>
                  </a:lnTo>
                  <a:close/>
                  <a:moveTo>
                    <a:pt x="96" y="108"/>
                  </a:moveTo>
                  <a:lnTo>
                    <a:pt x="92" y="108"/>
                  </a:lnTo>
                  <a:lnTo>
                    <a:pt x="96" y="108"/>
                  </a:lnTo>
                  <a:close/>
                  <a:moveTo>
                    <a:pt x="219" y="196"/>
                  </a:moveTo>
                  <a:lnTo>
                    <a:pt x="215" y="196"/>
                  </a:lnTo>
                  <a:lnTo>
                    <a:pt x="215" y="192"/>
                  </a:lnTo>
                  <a:lnTo>
                    <a:pt x="219" y="192"/>
                  </a:lnTo>
                  <a:lnTo>
                    <a:pt x="223" y="192"/>
                  </a:lnTo>
                  <a:lnTo>
                    <a:pt x="219" y="19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7" name="Freeform 186"/>
            <p:cNvSpPr>
              <a:spLocks noEditPoints="1"/>
            </p:cNvSpPr>
            <p:nvPr>
              <p:custDataLst>
                <p:tags r:id="rId380"/>
              </p:custDataLst>
            </p:nvPr>
          </p:nvSpPr>
          <p:spPr bwMode="gray">
            <a:xfrm>
              <a:off x="4748310" y="5202527"/>
              <a:ext cx="479029" cy="745981"/>
            </a:xfrm>
            <a:custGeom>
              <a:avLst/>
              <a:gdLst/>
              <a:ahLst/>
              <a:cxnLst>
                <a:cxn ang="0">
                  <a:pos x="12" y="123"/>
                </a:cxn>
                <a:cxn ang="0">
                  <a:pos x="28" y="131"/>
                </a:cxn>
                <a:cxn ang="0">
                  <a:pos x="44" y="123"/>
                </a:cxn>
                <a:cxn ang="0">
                  <a:pos x="52" y="99"/>
                </a:cxn>
                <a:cxn ang="0">
                  <a:pos x="52" y="60"/>
                </a:cxn>
                <a:cxn ang="0">
                  <a:pos x="60" y="64"/>
                </a:cxn>
                <a:cxn ang="0">
                  <a:pos x="64" y="83"/>
                </a:cxn>
                <a:cxn ang="0">
                  <a:pos x="72" y="91"/>
                </a:cxn>
                <a:cxn ang="0">
                  <a:pos x="84" y="80"/>
                </a:cxn>
                <a:cxn ang="0">
                  <a:pos x="96" y="64"/>
                </a:cxn>
                <a:cxn ang="0">
                  <a:pos x="116" y="68"/>
                </a:cxn>
                <a:cxn ang="0">
                  <a:pos x="128" y="72"/>
                </a:cxn>
                <a:cxn ang="0">
                  <a:pos x="136" y="64"/>
                </a:cxn>
                <a:cxn ang="0">
                  <a:pos x="152" y="48"/>
                </a:cxn>
                <a:cxn ang="0">
                  <a:pos x="156" y="28"/>
                </a:cxn>
                <a:cxn ang="0">
                  <a:pos x="175" y="12"/>
                </a:cxn>
                <a:cxn ang="0">
                  <a:pos x="191" y="0"/>
                </a:cxn>
                <a:cxn ang="0">
                  <a:pos x="211" y="4"/>
                </a:cxn>
                <a:cxn ang="0">
                  <a:pos x="227" y="24"/>
                </a:cxn>
                <a:cxn ang="0">
                  <a:pos x="231" y="44"/>
                </a:cxn>
                <a:cxn ang="0">
                  <a:pos x="231" y="64"/>
                </a:cxn>
                <a:cxn ang="0">
                  <a:pos x="223" y="68"/>
                </a:cxn>
                <a:cxn ang="0">
                  <a:pos x="215" y="87"/>
                </a:cxn>
                <a:cxn ang="0">
                  <a:pos x="219" y="99"/>
                </a:cxn>
                <a:cxn ang="0">
                  <a:pos x="235" y="91"/>
                </a:cxn>
                <a:cxn ang="0">
                  <a:pos x="243" y="103"/>
                </a:cxn>
                <a:cxn ang="0">
                  <a:pos x="239" y="123"/>
                </a:cxn>
                <a:cxn ang="0">
                  <a:pos x="223" y="139"/>
                </a:cxn>
                <a:cxn ang="0">
                  <a:pos x="215" y="159"/>
                </a:cxn>
                <a:cxn ang="0">
                  <a:pos x="203" y="179"/>
                </a:cxn>
                <a:cxn ang="0">
                  <a:pos x="191" y="191"/>
                </a:cxn>
                <a:cxn ang="0">
                  <a:pos x="175" y="207"/>
                </a:cxn>
                <a:cxn ang="0">
                  <a:pos x="160" y="219"/>
                </a:cxn>
                <a:cxn ang="0">
                  <a:pos x="144" y="227"/>
                </a:cxn>
                <a:cxn ang="0">
                  <a:pos x="132" y="231"/>
                </a:cxn>
                <a:cxn ang="0">
                  <a:pos x="104" y="231"/>
                </a:cxn>
                <a:cxn ang="0">
                  <a:pos x="84" y="235"/>
                </a:cxn>
                <a:cxn ang="0">
                  <a:pos x="64" y="239"/>
                </a:cxn>
                <a:cxn ang="0">
                  <a:pos x="44" y="247"/>
                </a:cxn>
                <a:cxn ang="0">
                  <a:pos x="32" y="235"/>
                </a:cxn>
                <a:cxn ang="0">
                  <a:pos x="28" y="239"/>
                </a:cxn>
                <a:cxn ang="0">
                  <a:pos x="28" y="227"/>
                </a:cxn>
                <a:cxn ang="0">
                  <a:pos x="24" y="207"/>
                </a:cxn>
                <a:cxn ang="0">
                  <a:pos x="24" y="191"/>
                </a:cxn>
                <a:cxn ang="0">
                  <a:pos x="16" y="175"/>
                </a:cxn>
                <a:cxn ang="0">
                  <a:pos x="8" y="151"/>
                </a:cxn>
                <a:cxn ang="0">
                  <a:pos x="0" y="127"/>
                </a:cxn>
                <a:cxn ang="0">
                  <a:pos x="191" y="143"/>
                </a:cxn>
                <a:cxn ang="0">
                  <a:pos x="187" y="127"/>
                </a:cxn>
                <a:cxn ang="0">
                  <a:pos x="172" y="131"/>
                </a:cxn>
                <a:cxn ang="0">
                  <a:pos x="160" y="147"/>
                </a:cxn>
                <a:cxn ang="0">
                  <a:pos x="168" y="163"/>
                </a:cxn>
                <a:cxn ang="0">
                  <a:pos x="183" y="155"/>
                </a:cxn>
                <a:cxn ang="0">
                  <a:pos x="319" y="503"/>
                </a:cxn>
              </a:cxnLst>
              <a:rect l="0" t="0" r="r" b="b"/>
              <a:pathLst>
                <a:path w="323" h="503">
                  <a:moveTo>
                    <a:pt x="8" y="115"/>
                  </a:moveTo>
                  <a:lnTo>
                    <a:pt x="8" y="119"/>
                  </a:lnTo>
                  <a:lnTo>
                    <a:pt x="12" y="119"/>
                  </a:lnTo>
                  <a:lnTo>
                    <a:pt x="12" y="115"/>
                  </a:lnTo>
                  <a:lnTo>
                    <a:pt x="12" y="119"/>
                  </a:lnTo>
                  <a:lnTo>
                    <a:pt x="12" y="123"/>
                  </a:lnTo>
                  <a:lnTo>
                    <a:pt x="12" y="127"/>
                  </a:lnTo>
                  <a:lnTo>
                    <a:pt x="16" y="127"/>
                  </a:lnTo>
                  <a:lnTo>
                    <a:pt x="20" y="127"/>
                  </a:lnTo>
                  <a:lnTo>
                    <a:pt x="20" y="131"/>
                  </a:lnTo>
                  <a:lnTo>
                    <a:pt x="24" y="131"/>
                  </a:lnTo>
                  <a:lnTo>
                    <a:pt x="28" y="131"/>
                  </a:lnTo>
                  <a:lnTo>
                    <a:pt x="32" y="127"/>
                  </a:lnTo>
                  <a:lnTo>
                    <a:pt x="36" y="131"/>
                  </a:lnTo>
                  <a:lnTo>
                    <a:pt x="40" y="131"/>
                  </a:lnTo>
                  <a:lnTo>
                    <a:pt x="40" y="127"/>
                  </a:lnTo>
                  <a:lnTo>
                    <a:pt x="44" y="127"/>
                  </a:lnTo>
                  <a:lnTo>
                    <a:pt x="44" y="123"/>
                  </a:lnTo>
                  <a:lnTo>
                    <a:pt x="48" y="123"/>
                  </a:lnTo>
                  <a:lnTo>
                    <a:pt x="52" y="119"/>
                  </a:lnTo>
                  <a:lnTo>
                    <a:pt x="52" y="115"/>
                  </a:lnTo>
                  <a:lnTo>
                    <a:pt x="52" y="111"/>
                  </a:lnTo>
                  <a:lnTo>
                    <a:pt x="52" y="103"/>
                  </a:lnTo>
                  <a:lnTo>
                    <a:pt x="52" y="99"/>
                  </a:lnTo>
                  <a:lnTo>
                    <a:pt x="52" y="95"/>
                  </a:lnTo>
                  <a:lnTo>
                    <a:pt x="52" y="83"/>
                  </a:lnTo>
                  <a:lnTo>
                    <a:pt x="52" y="72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60" y="60"/>
                  </a:lnTo>
                  <a:lnTo>
                    <a:pt x="60" y="64"/>
                  </a:lnTo>
                  <a:lnTo>
                    <a:pt x="64" y="68"/>
                  </a:lnTo>
                  <a:lnTo>
                    <a:pt x="60" y="68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3"/>
                  </a:lnTo>
                  <a:lnTo>
                    <a:pt x="60" y="83"/>
                  </a:lnTo>
                  <a:lnTo>
                    <a:pt x="60" y="87"/>
                  </a:lnTo>
                  <a:lnTo>
                    <a:pt x="60" y="91"/>
                  </a:lnTo>
                  <a:lnTo>
                    <a:pt x="64" y="91"/>
                  </a:lnTo>
                  <a:lnTo>
                    <a:pt x="68" y="91"/>
                  </a:lnTo>
                  <a:lnTo>
                    <a:pt x="72" y="91"/>
                  </a:lnTo>
                  <a:lnTo>
                    <a:pt x="76" y="91"/>
                  </a:lnTo>
                  <a:lnTo>
                    <a:pt x="80" y="91"/>
                  </a:lnTo>
                  <a:lnTo>
                    <a:pt x="80" y="87"/>
                  </a:lnTo>
                  <a:lnTo>
                    <a:pt x="84" y="87"/>
                  </a:lnTo>
                  <a:lnTo>
                    <a:pt x="84" y="83"/>
                  </a:lnTo>
                  <a:lnTo>
                    <a:pt x="84" y="80"/>
                  </a:lnTo>
                  <a:lnTo>
                    <a:pt x="88" y="80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64"/>
                  </a:lnTo>
                  <a:lnTo>
                    <a:pt x="96" y="60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8" y="64"/>
                  </a:lnTo>
                  <a:lnTo>
                    <a:pt x="112" y="68"/>
                  </a:lnTo>
                  <a:lnTo>
                    <a:pt x="116" y="68"/>
                  </a:lnTo>
                  <a:lnTo>
                    <a:pt x="116" y="72"/>
                  </a:lnTo>
                  <a:lnTo>
                    <a:pt x="120" y="72"/>
                  </a:lnTo>
                  <a:lnTo>
                    <a:pt x="120" y="68"/>
                  </a:lnTo>
                  <a:lnTo>
                    <a:pt x="120" y="72"/>
                  </a:lnTo>
                  <a:lnTo>
                    <a:pt x="124" y="72"/>
                  </a:lnTo>
                  <a:lnTo>
                    <a:pt x="128" y="72"/>
                  </a:lnTo>
                  <a:lnTo>
                    <a:pt x="128" y="68"/>
                  </a:lnTo>
                  <a:lnTo>
                    <a:pt x="128" y="72"/>
                  </a:lnTo>
                  <a:lnTo>
                    <a:pt x="132" y="72"/>
                  </a:lnTo>
                  <a:lnTo>
                    <a:pt x="132" y="68"/>
                  </a:lnTo>
                  <a:lnTo>
                    <a:pt x="136" y="68"/>
                  </a:lnTo>
                  <a:lnTo>
                    <a:pt x="136" y="64"/>
                  </a:lnTo>
                  <a:lnTo>
                    <a:pt x="140" y="60"/>
                  </a:lnTo>
                  <a:lnTo>
                    <a:pt x="140" y="56"/>
                  </a:lnTo>
                  <a:lnTo>
                    <a:pt x="140" y="52"/>
                  </a:lnTo>
                  <a:lnTo>
                    <a:pt x="144" y="48"/>
                  </a:lnTo>
                  <a:lnTo>
                    <a:pt x="148" y="48"/>
                  </a:lnTo>
                  <a:lnTo>
                    <a:pt x="152" y="48"/>
                  </a:lnTo>
                  <a:lnTo>
                    <a:pt x="152" y="44"/>
                  </a:lnTo>
                  <a:lnTo>
                    <a:pt x="156" y="44"/>
                  </a:lnTo>
                  <a:lnTo>
                    <a:pt x="156" y="40"/>
                  </a:lnTo>
                  <a:lnTo>
                    <a:pt x="156" y="36"/>
                  </a:lnTo>
                  <a:lnTo>
                    <a:pt x="156" y="32"/>
                  </a:lnTo>
                  <a:lnTo>
                    <a:pt x="156" y="28"/>
                  </a:lnTo>
                  <a:lnTo>
                    <a:pt x="160" y="28"/>
                  </a:lnTo>
                  <a:lnTo>
                    <a:pt x="164" y="24"/>
                  </a:lnTo>
                  <a:lnTo>
                    <a:pt x="168" y="24"/>
                  </a:lnTo>
                  <a:lnTo>
                    <a:pt x="168" y="20"/>
                  </a:lnTo>
                  <a:lnTo>
                    <a:pt x="172" y="16"/>
                  </a:lnTo>
                  <a:lnTo>
                    <a:pt x="175" y="12"/>
                  </a:lnTo>
                  <a:lnTo>
                    <a:pt x="175" y="8"/>
                  </a:lnTo>
                  <a:lnTo>
                    <a:pt x="179" y="8"/>
                  </a:lnTo>
                  <a:lnTo>
                    <a:pt x="183" y="8"/>
                  </a:lnTo>
                  <a:lnTo>
                    <a:pt x="187" y="8"/>
                  </a:lnTo>
                  <a:lnTo>
                    <a:pt x="187" y="4"/>
                  </a:lnTo>
                  <a:lnTo>
                    <a:pt x="191" y="0"/>
                  </a:lnTo>
                  <a:lnTo>
                    <a:pt x="195" y="0"/>
                  </a:lnTo>
                  <a:lnTo>
                    <a:pt x="199" y="0"/>
                  </a:lnTo>
                  <a:lnTo>
                    <a:pt x="203" y="0"/>
                  </a:lnTo>
                  <a:lnTo>
                    <a:pt x="203" y="4"/>
                  </a:lnTo>
                  <a:lnTo>
                    <a:pt x="207" y="4"/>
                  </a:lnTo>
                  <a:lnTo>
                    <a:pt x="211" y="4"/>
                  </a:lnTo>
                  <a:lnTo>
                    <a:pt x="215" y="4"/>
                  </a:lnTo>
                  <a:lnTo>
                    <a:pt x="219" y="4"/>
                  </a:lnTo>
                  <a:lnTo>
                    <a:pt x="223" y="4"/>
                  </a:lnTo>
                  <a:lnTo>
                    <a:pt x="223" y="8"/>
                  </a:lnTo>
                  <a:lnTo>
                    <a:pt x="227" y="20"/>
                  </a:lnTo>
                  <a:lnTo>
                    <a:pt x="227" y="24"/>
                  </a:lnTo>
                  <a:lnTo>
                    <a:pt x="227" y="28"/>
                  </a:lnTo>
                  <a:lnTo>
                    <a:pt x="227" y="32"/>
                  </a:lnTo>
                  <a:lnTo>
                    <a:pt x="231" y="32"/>
                  </a:lnTo>
                  <a:lnTo>
                    <a:pt x="231" y="36"/>
                  </a:lnTo>
                  <a:lnTo>
                    <a:pt x="231" y="40"/>
                  </a:lnTo>
                  <a:lnTo>
                    <a:pt x="231" y="44"/>
                  </a:lnTo>
                  <a:lnTo>
                    <a:pt x="235" y="44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31" y="56"/>
                  </a:lnTo>
                  <a:lnTo>
                    <a:pt x="235" y="56"/>
                  </a:lnTo>
                  <a:lnTo>
                    <a:pt x="231" y="64"/>
                  </a:lnTo>
                  <a:lnTo>
                    <a:pt x="231" y="68"/>
                  </a:lnTo>
                  <a:lnTo>
                    <a:pt x="231" y="72"/>
                  </a:lnTo>
                  <a:lnTo>
                    <a:pt x="231" y="76"/>
                  </a:lnTo>
                  <a:lnTo>
                    <a:pt x="231" y="72"/>
                  </a:lnTo>
                  <a:lnTo>
                    <a:pt x="227" y="72"/>
                  </a:lnTo>
                  <a:lnTo>
                    <a:pt x="223" y="68"/>
                  </a:lnTo>
                  <a:lnTo>
                    <a:pt x="219" y="72"/>
                  </a:lnTo>
                  <a:lnTo>
                    <a:pt x="219" y="76"/>
                  </a:lnTo>
                  <a:lnTo>
                    <a:pt x="219" y="80"/>
                  </a:lnTo>
                  <a:lnTo>
                    <a:pt x="215" y="80"/>
                  </a:lnTo>
                  <a:lnTo>
                    <a:pt x="215" y="83"/>
                  </a:lnTo>
                  <a:lnTo>
                    <a:pt x="215" y="87"/>
                  </a:lnTo>
                  <a:lnTo>
                    <a:pt x="215" y="91"/>
                  </a:lnTo>
                  <a:lnTo>
                    <a:pt x="215" y="87"/>
                  </a:lnTo>
                  <a:lnTo>
                    <a:pt x="215" y="91"/>
                  </a:lnTo>
                  <a:lnTo>
                    <a:pt x="219" y="91"/>
                  </a:lnTo>
                  <a:lnTo>
                    <a:pt x="219" y="95"/>
                  </a:lnTo>
                  <a:lnTo>
                    <a:pt x="219" y="99"/>
                  </a:lnTo>
                  <a:lnTo>
                    <a:pt x="223" y="99"/>
                  </a:lnTo>
                  <a:lnTo>
                    <a:pt x="227" y="99"/>
                  </a:lnTo>
                  <a:lnTo>
                    <a:pt x="231" y="99"/>
                  </a:lnTo>
                  <a:lnTo>
                    <a:pt x="231" y="95"/>
                  </a:lnTo>
                  <a:lnTo>
                    <a:pt x="231" y="91"/>
                  </a:lnTo>
                  <a:lnTo>
                    <a:pt x="235" y="91"/>
                  </a:lnTo>
                  <a:lnTo>
                    <a:pt x="239" y="91"/>
                  </a:lnTo>
                  <a:lnTo>
                    <a:pt x="243" y="91"/>
                  </a:lnTo>
                  <a:lnTo>
                    <a:pt x="247" y="91"/>
                  </a:lnTo>
                  <a:lnTo>
                    <a:pt x="247" y="95"/>
                  </a:lnTo>
                  <a:lnTo>
                    <a:pt x="243" y="99"/>
                  </a:lnTo>
                  <a:lnTo>
                    <a:pt x="243" y="103"/>
                  </a:lnTo>
                  <a:lnTo>
                    <a:pt x="243" y="107"/>
                  </a:lnTo>
                  <a:lnTo>
                    <a:pt x="243" y="111"/>
                  </a:lnTo>
                  <a:lnTo>
                    <a:pt x="243" y="115"/>
                  </a:lnTo>
                  <a:lnTo>
                    <a:pt x="239" y="115"/>
                  </a:lnTo>
                  <a:lnTo>
                    <a:pt x="239" y="119"/>
                  </a:lnTo>
                  <a:lnTo>
                    <a:pt x="239" y="123"/>
                  </a:lnTo>
                  <a:lnTo>
                    <a:pt x="235" y="127"/>
                  </a:lnTo>
                  <a:lnTo>
                    <a:pt x="235" y="131"/>
                  </a:lnTo>
                  <a:lnTo>
                    <a:pt x="231" y="131"/>
                  </a:lnTo>
                  <a:lnTo>
                    <a:pt x="227" y="131"/>
                  </a:lnTo>
                  <a:lnTo>
                    <a:pt x="227" y="135"/>
                  </a:lnTo>
                  <a:lnTo>
                    <a:pt x="223" y="139"/>
                  </a:lnTo>
                  <a:lnTo>
                    <a:pt x="219" y="143"/>
                  </a:lnTo>
                  <a:lnTo>
                    <a:pt x="219" y="147"/>
                  </a:lnTo>
                  <a:lnTo>
                    <a:pt x="219" y="151"/>
                  </a:lnTo>
                  <a:lnTo>
                    <a:pt x="215" y="151"/>
                  </a:lnTo>
                  <a:lnTo>
                    <a:pt x="215" y="155"/>
                  </a:lnTo>
                  <a:lnTo>
                    <a:pt x="215" y="159"/>
                  </a:lnTo>
                  <a:lnTo>
                    <a:pt x="211" y="159"/>
                  </a:lnTo>
                  <a:lnTo>
                    <a:pt x="211" y="167"/>
                  </a:lnTo>
                  <a:lnTo>
                    <a:pt x="207" y="167"/>
                  </a:lnTo>
                  <a:lnTo>
                    <a:pt x="207" y="171"/>
                  </a:lnTo>
                  <a:lnTo>
                    <a:pt x="203" y="175"/>
                  </a:lnTo>
                  <a:lnTo>
                    <a:pt x="203" y="179"/>
                  </a:lnTo>
                  <a:lnTo>
                    <a:pt x="199" y="179"/>
                  </a:lnTo>
                  <a:lnTo>
                    <a:pt x="199" y="183"/>
                  </a:lnTo>
                  <a:lnTo>
                    <a:pt x="195" y="183"/>
                  </a:lnTo>
                  <a:lnTo>
                    <a:pt x="195" y="187"/>
                  </a:lnTo>
                  <a:lnTo>
                    <a:pt x="191" y="187"/>
                  </a:lnTo>
                  <a:lnTo>
                    <a:pt x="191" y="191"/>
                  </a:lnTo>
                  <a:lnTo>
                    <a:pt x="187" y="191"/>
                  </a:lnTo>
                  <a:lnTo>
                    <a:pt x="187" y="195"/>
                  </a:lnTo>
                  <a:lnTo>
                    <a:pt x="183" y="199"/>
                  </a:lnTo>
                  <a:lnTo>
                    <a:pt x="179" y="203"/>
                  </a:lnTo>
                  <a:lnTo>
                    <a:pt x="179" y="207"/>
                  </a:lnTo>
                  <a:lnTo>
                    <a:pt x="175" y="207"/>
                  </a:lnTo>
                  <a:lnTo>
                    <a:pt x="175" y="211"/>
                  </a:lnTo>
                  <a:lnTo>
                    <a:pt x="172" y="211"/>
                  </a:lnTo>
                  <a:lnTo>
                    <a:pt x="168" y="211"/>
                  </a:lnTo>
                  <a:lnTo>
                    <a:pt x="168" y="215"/>
                  </a:lnTo>
                  <a:lnTo>
                    <a:pt x="164" y="219"/>
                  </a:lnTo>
                  <a:lnTo>
                    <a:pt x="160" y="219"/>
                  </a:lnTo>
                  <a:lnTo>
                    <a:pt x="160" y="223"/>
                  </a:lnTo>
                  <a:lnTo>
                    <a:pt x="156" y="223"/>
                  </a:lnTo>
                  <a:lnTo>
                    <a:pt x="152" y="223"/>
                  </a:lnTo>
                  <a:lnTo>
                    <a:pt x="152" y="227"/>
                  </a:lnTo>
                  <a:lnTo>
                    <a:pt x="148" y="227"/>
                  </a:lnTo>
                  <a:lnTo>
                    <a:pt x="144" y="227"/>
                  </a:lnTo>
                  <a:lnTo>
                    <a:pt x="140" y="227"/>
                  </a:lnTo>
                  <a:lnTo>
                    <a:pt x="136" y="227"/>
                  </a:lnTo>
                  <a:lnTo>
                    <a:pt x="136" y="231"/>
                  </a:lnTo>
                  <a:lnTo>
                    <a:pt x="140" y="231"/>
                  </a:lnTo>
                  <a:lnTo>
                    <a:pt x="136" y="231"/>
                  </a:lnTo>
                  <a:lnTo>
                    <a:pt x="132" y="231"/>
                  </a:lnTo>
                  <a:lnTo>
                    <a:pt x="128" y="231"/>
                  </a:lnTo>
                  <a:lnTo>
                    <a:pt x="124" y="235"/>
                  </a:lnTo>
                  <a:lnTo>
                    <a:pt x="120" y="235"/>
                  </a:lnTo>
                  <a:lnTo>
                    <a:pt x="112" y="231"/>
                  </a:lnTo>
                  <a:lnTo>
                    <a:pt x="108" y="231"/>
                  </a:lnTo>
                  <a:lnTo>
                    <a:pt x="104" y="231"/>
                  </a:lnTo>
                  <a:lnTo>
                    <a:pt x="100" y="231"/>
                  </a:lnTo>
                  <a:lnTo>
                    <a:pt x="96" y="231"/>
                  </a:lnTo>
                  <a:lnTo>
                    <a:pt x="92" y="231"/>
                  </a:lnTo>
                  <a:lnTo>
                    <a:pt x="88" y="231"/>
                  </a:lnTo>
                  <a:lnTo>
                    <a:pt x="84" y="231"/>
                  </a:lnTo>
                  <a:lnTo>
                    <a:pt x="84" y="235"/>
                  </a:lnTo>
                  <a:lnTo>
                    <a:pt x="80" y="235"/>
                  </a:lnTo>
                  <a:lnTo>
                    <a:pt x="80" y="239"/>
                  </a:lnTo>
                  <a:lnTo>
                    <a:pt x="76" y="239"/>
                  </a:lnTo>
                  <a:lnTo>
                    <a:pt x="72" y="239"/>
                  </a:lnTo>
                  <a:lnTo>
                    <a:pt x="68" y="239"/>
                  </a:lnTo>
                  <a:lnTo>
                    <a:pt x="64" y="239"/>
                  </a:lnTo>
                  <a:lnTo>
                    <a:pt x="60" y="239"/>
                  </a:lnTo>
                  <a:lnTo>
                    <a:pt x="60" y="243"/>
                  </a:lnTo>
                  <a:lnTo>
                    <a:pt x="56" y="243"/>
                  </a:lnTo>
                  <a:lnTo>
                    <a:pt x="52" y="247"/>
                  </a:lnTo>
                  <a:lnTo>
                    <a:pt x="48" y="247"/>
                  </a:lnTo>
                  <a:lnTo>
                    <a:pt x="44" y="247"/>
                  </a:lnTo>
                  <a:lnTo>
                    <a:pt x="44" y="243"/>
                  </a:lnTo>
                  <a:lnTo>
                    <a:pt x="40" y="243"/>
                  </a:lnTo>
                  <a:lnTo>
                    <a:pt x="40" y="239"/>
                  </a:lnTo>
                  <a:lnTo>
                    <a:pt x="36" y="239"/>
                  </a:lnTo>
                  <a:lnTo>
                    <a:pt x="32" y="239"/>
                  </a:lnTo>
                  <a:lnTo>
                    <a:pt x="32" y="235"/>
                  </a:lnTo>
                  <a:lnTo>
                    <a:pt x="36" y="235"/>
                  </a:lnTo>
                  <a:lnTo>
                    <a:pt x="32" y="235"/>
                  </a:lnTo>
                  <a:lnTo>
                    <a:pt x="32" y="231"/>
                  </a:lnTo>
                  <a:lnTo>
                    <a:pt x="28" y="231"/>
                  </a:lnTo>
                  <a:lnTo>
                    <a:pt x="28" y="235"/>
                  </a:lnTo>
                  <a:lnTo>
                    <a:pt x="28" y="239"/>
                  </a:lnTo>
                  <a:lnTo>
                    <a:pt x="28" y="235"/>
                  </a:lnTo>
                  <a:lnTo>
                    <a:pt x="24" y="231"/>
                  </a:lnTo>
                  <a:lnTo>
                    <a:pt x="28" y="231"/>
                  </a:lnTo>
                  <a:lnTo>
                    <a:pt x="28" y="227"/>
                  </a:lnTo>
                  <a:lnTo>
                    <a:pt x="28" y="231"/>
                  </a:lnTo>
                  <a:lnTo>
                    <a:pt x="28" y="227"/>
                  </a:lnTo>
                  <a:lnTo>
                    <a:pt x="28" y="223"/>
                  </a:lnTo>
                  <a:lnTo>
                    <a:pt x="24" y="219"/>
                  </a:lnTo>
                  <a:lnTo>
                    <a:pt x="24" y="215"/>
                  </a:lnTo>
                  <a:lnTo>
                    <a:pt x="20" y="211"/>
                  </a:lnTo>
                  <a:lnTo>
                    <a:pt x="20" y="207"/>
                  </a:lnTo>
                  <a:lnTo>
                    <a:pt x="24" y="207"/>
                  </a:lnTo>
                  <a:lnTo>
                    <a:pt x="24" y="203"/>
                  </a:lnTo>
                  <a:lnTo>
                    <a:pt x="28" y="203"/>
                  </a:lnTo>
                  <a:lnTo>
                    <a:pt x="28" y="199"/>
                  </a:lnTo>
                  <a:lnTo>
                    <a:pt x="28" y="195"/>
                  </a:lnTo>
                  <a:lnTo>
                    <a:pt x="24" y="195"/>
                  </a:lnTo>
                  <a:lnTo>
                    <a:pt x="24" y="191"/>
                  </a:lnTo>
                  <a:lnTo>
                    <a:pt x="24" y="187"/>
                  </a:lnTo>
                  <a:lnTo>
                    <a:pt x="24" y="183"/>
                  </a:lnTo>
                  <a:lnTo>
                    <a:pt x="20" y="183"/>
                  </a:lnTo>
                  <a:lnTo>
                    <a:pt x="20" y="179"/>
                  </a:lnTo>
                  <a:lnTo>
                    <a:pt x="20" y="175"/>
                  </a:lnTo>
                  <a:lnTo>
                    <a:pt x="16" y="175"/>
                  </a:lnTo>
                  <a:lnTo>
                    <a:pt x="16" y="171"/>
                  </a:lnTo>
                  <a:lnTo>
                    <a:pt x="12" y="167"/>
                  </a:lnTo>
                  <a:lnTo>
                    <a:pt x="12" y="163"/>
                  </a:lnTo>
                  <a:lnTo>
                    <a:pt x="12" y="159"/>
                  </a:lnTo>
                  <a:lnTo>
                    <a:pt x="8" y="155"/>
                  </a:lnTo>
                  <a:lnTo>
                    <a:pt x="8" y="151"/>
                  </a:lnTo>
                  <a:lnTo>
                    <a:pt x="8" y="147"/>
                  </a:lnTo>
                  <a:lnTo>
                    <a:pt x="8" y="143"/>
                  </a:lnTo>
                  <a:lnTo>
                    <a:pt x="4" y="139"/>
                  </a:lnTo>
                  <a:lnTo>
                    <a:pt x="4" y="135"/>
                  </a:lnTo>
                  <a:lnTo>
                    <a:pt x="0" y="131"/>
                  </a:lnTo>
                  <a:lnTo>
                    <a:pt x="0" y="127"/>
                  </a:lnTo>
                  <a:lnTo>
                    <a:pt x="0" y="123"/>
                  </a:lnTo>
                  <a:lnTo>
                    <a:pt x="4" y="123"/>
                  </a:lnTo>
                  <a:lnTo>
                    <a:pt x="4" y="119"/>
                  </a:lnTo>
                  <a:lnTo>
                    <a:pt x="4" y="115"/>
                  </a:lnTo>
                  <a:lnTo>
                    <a:pt x="8" y="115"/>
                  </a:lnTo>
                  <a:close/>
                  <a:moveTo>
                    <a:pt x="191" y="143"/>
                  </a:moveTo>
                  <a:lnTo>
                    <a:pt x="191" y="139"/>
                  </a:lnTo>
                  <a:lnTo>
                    <a:pt x="195" y="139"/>
                  </a:lnTo>
                  <a:lnTo>
                    <a:pt x="191" y="135"/>
                  </a:lnTo>
                  <a:lnTo>
                    <a:pt x="191" y="131"/>
                  </a:lnTo>
                  <a:lnTo>
                    <a:pt x="187" y="131"/>
                  </a:lnTo>
                  <a:lnTo>
                    <a:pt x="187" y="127"/>
                  </a:lnTo>
                  <a:lnTo>
                    <a:pt x="183" y="127"/>
                  </a:lnTo>
                  <a:lnTo>
                    <a:pt x="183" y="123"/>
                  </a:lnTo>
                  <a:lnTo>
                    <a:pt x="179" y="123"/>
                  </a:lnTo>
                  <a:lnTo>
                    <a:pt x="179" y="127"/>
                  </a:lnTo>
                  <a:lnTo>
                    <a:pt x="175" y="127"/>
                  </a:lnTo>
                  <a:lnTo>
                    <a:pt x="172" y="131"/>
                  </a:lnTo>
                  <a:lnTo>
                    <a:pt x="168" y="131"/>
                  </a:lnTo>
                  <a:lnTo>
                    <a:pt x="168" y="135"/>
                  </a:lnTo>
                  <a:lnTo>
                    <a:pt x="164" y="139"/>
                  </a:lnTo>
                  <a:lnTo>
                    <a:pt x="164" y="143"/>
                  </a:lnTo>
                  <a:lnTo>
                    <a:pt x="160" y="143"/>
                  </a:lnTo>
                  <a:lnTo>
                    <a:pt x="160" y="147"/>
                  </a:lnTo>
                  <a:lnTo>
                    <a:pt x="160" y="151"/>
                  </a:lnTo>
                  <a:lnTo>
                    <a:pt x="164" y="151"/>
                  </a:lnTo>
                  <a:lnTo>
                    <a:pt x="164" y="155"/>
                  </a:lnTo>
                  <a:lnTo>
                    <a:pt x="164" y="159"/>
                  </a:lnTo>
                  <a:lnTo>
                    <a:pt x="168" y="159"/>
                  </a:lnTo>
                  <a:lnTo>
                    <a:pt x="168" y="163"/>
                  </a:lnTo>
                  <a:lnTo>
                    <a:pt x="172" y="163"/>
                  </a:lnTo>
                  <a:lnTo>
                    <a:pt x="175" y="163"/>
                  </a:lnTo>
                  <a:lnTo>
                    <a:pt x="175" y="159"/>
                  </a:lnTo>
                  <a:lnTo>
                    <a:pt x="175" y="155"/>
                  </a:lnTo>
                  <a:lnTo>
                    <a:pt x="179" y="155"/>
                  </a:lnTo>
                  <a:lnTo>
                    <a:pt x="183" y="155"/>
                  </a:lnTo>
                  <a:lnTo>
                    <a:pt x="187" y="151"/>
                  </a:lnTo>
                  <a:lnTo>
                    <a:pt x="191" y="151"/>
                  </a:lnTo>
                  <a:lnTo>
                    <a:pt x="191" y="147"/>
                  </a:lnTo>
                  <a:lnTo>
                    <a:pt x="191" y="143"/>
                  </a:lnTo>
                  <a:close/>
                  <a:moveTo>
                    <a:pt x="323" y="503"/>
                  </a:moveTo>
                  <a:lnTo>
                    <a:pt x="319" y="503"/>
                  </a:lnTo>
                  <a:lnTo>
                    <a:pt x="319" y="499"/>
                  </a:lnTo>
                  <a:lnTo>
                    <a:pt x="323" y="499"/>
                  </a:lnTo>
                  <a:lnTo>
                    <a:pt x="323" y="50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8" name="Freeform 187"/>
            <p:cNvSpPr>
              <a:spLocks noEditPoints="1"/>
            </p:cNvSpPr>
            <p:nvPr>
              <p:custDataLst>
                <p:tags r:id="rId381"/>
              </p:custDataLst>
            </p:nvPr>
          </p:nvSpPr>
          <p:spPr bwMode="gray">
            <a:xfrm>
              <a:off x="3966735" y="3350181"/>
              <a:ext cx="504242" cy="479029"/>
            </a:xfrm>
            <a:custGeom>
              <a:avLst/>
              <a:gdLst/>
              <a:ahLst/>
              <a:cxnLst>
                <a:cxn ang="0">
                  <a:pos x="224" y="4"/>
                </a:cxn>
                <a:cxn ang="0">
                  <a:pos x="236" y="4"/>
                </a:cxn>
                <a:cxn ang="0">
                  <a:pos x="252" y="8"/>
                </a:cxn>
                <a:cxn ang="0">
                  <a:pos x="256" y="16"/>
                </a:cxn>
                <a:cxn ang="0">
                  <a:pos x="272" y="20"/>
                </a:cxn>
                <a:cxn ang="0">
                  <a:pos x="284" y="20"/>
                </a:cxn>
                <a:cxn ang="0">
                  <a:pos x="296" y="20"/>
                </a:cxn>
                <a:cxn ang="0">
                  <a:pos x="308" y="27"/>
                </a:cxn>
                <a:cxn ang="0">
                  <a:pos x="328" y="27"/>
                </a:cxn>
                <a:cxn ang="0">
                  <a:pos x="316" y="43"/>
                </a:cxn>
                <a:cxn ang="0">
                  <a:pos x="300" y="51"/>
                </a:cxn>
                <a:cxn ang="0">
                  <a:pos x="288" y="63"/>
                </a:cxn>
                <a:cxn ang="0">
                  <a:pos x="284" y="63"/>
                </a:cxn>
                <a:cxn ang="0">
                  <a:pos x="272" y="83"/>
                </a:cxn>
                <a:cxn ang="0">
                  <a:pos x="280" y="99"/>
                </a:cxn>
                <a:cxn ang="0">
                  <a:pos x="272" y="111"/>
                </a:cxn>
                <a:cxn ang="0">
                  <a:pos x="264" y="123"/>
                </a:cxn>
                <a:cxn ang="0">
                  <a:pos x="252" y="131"/>
                </a:cxn>
                <a:cxn ang="0">
                  <a:pos x="240" y="143"/>
                </a:cxn>
                <a:cxn ang="0">
                  <a:pos x="224" y="143"/>
                </a:cxn>
                <a:cxn ang="0">
                  <a:pos x="208" y="147"/>
                </a:cxn>
                <a:cxn ang="0">
                  <a:pos x="196" y="155"/>
                </a:cxn>
                <a:cxn ang="0">
                  <a:pos x="184" y="155"/>
                </a:cxn>
                <a:cxn ang="0">
                  <a:pos x="180" y="143"/>
                </a:cxn>
                <a:cxn ang="0">
                  <a:pos x="164" y="131"/>
                </a:cxn>
                <a:cxn ang="0">
                  <a:pos x="168" y="119"/>
                </a:cxn>
                <a:cxn ang="0">
                  <a:pos x="164" y="107"/>
                </a:cxn>
                <a:cxn ang="0">
                  <a:pos x="168" y="95"/>
                </a:cxn>
                <a:cxn ang="0">
                  <a:pos x="168" y="83"/>
                </a:cxn>
                <a:cxn ang="0">
                  <a:pos x="172" y="67"/>
                </a:cxn>
                <a:cxn ang="0">
                  <a:pos x="180" y="51"/>
                </a:cxn>
                <a:cxn ang="0">
                  <a:pos x="176" y="43"/>
                </a:cxn>
                <a:cxn ang="0">
                  <a:pos x="168" y="39"/>
                </a:cxn>
                <a:cxn ang="0">
                  <a:pos x="152" y="35"/>
                </a:cxn>
                <a:cxn ang="0">
                  <a:pos x="140" y="39"/>
                </a:cxn>
                <a:cxn ang="0">
                  <a:pos x="144" y="31"/>
                </a:cxn>
                <a:cxn ang="0">
                  <a:pos x="140" y="24"/>
                </a:cxn>
                <a:cxn ang="0">
                  <a:pos x="144" y="20"/>
                </a:cxn>
                <a:cxn ang="0">
                  <a:pos x="136" y="12"/>
                </a:cxn>
                <a:cxn ang="0">
                  <a:pos x="152" y="4"/>
                </a:cxn>
                <a:cxn ang="0">
                  <a:pos x="168" y="4"/>
                </a:cxn>
                <a:cxn ang="0">
                  <a:pos x="188" y="0"/>
                </a:cxn>
                <a:cxn ang="0">
                  <a:pos x="204" y="4"/>
                </a:cxn>
                <a:cxn ang="0">
                  <a:pos x="196" y="163"/>
                </a:cxn>
                <a:cxn ang="0">
                  <a:pos x="336" y="79"/>
                </a:cxn>
                <a:cxn ang="0">
                  <a:pos x="312" y="87"/>
                </a:cxn>
                <a:cxn ang="0">
                  <a:pos x="324" y="83"/>
                </a:cxn>
                <a:cxn ang="0">
                  <a:pos x="320" y="91"/>
                </a:cxn>
                <a:cxn ang="0">
                  <a:pos x="296" y="95"/>
                </a:cxn>
                <a:cxn ang="0">
                  <a:pos x="300" y="103"/>
                </a:cxn>
                <a:cxn ang="0">
                  <a:pos x="68" y="299"/>
                </a:cxn>
                <a:cxn ang="0">
                  <a:pos x="68" y="303"/>
                </a:cxn>
                <a:cxn ang="0">
                  <a:pos x="4" y="303"/>
                </a:cxn>
                <a:cxn ang="0">
                  <a:pos x="60" y="315"/>
                </a:cxn>
                <a:cxn ang="0">
                  <a:pos x="68" y="307"/>
                </a:cxn>
                <a:cxn ang="0">
                  <a:pos x="24" y="315"/>
                </a:cxn>
                <a:cxn ang="0">
                  <a:pos x="32" y="307"/>
                </a:cxn>
                <a:cxn ang="0">
                  <a:pos x="24" y="319"/>
                </a:cxn>
                <a:cxn ang="0">
                  <a:pos x="40" y="323"/>
                </a:cxn>
                <a:cxn ang="0">
                  <a:pos x="44" y="319"/>
                </a:cxn>
                <a:cxn ang="0">
                  <a:pos x="4" y="319"/>
                </a:cxn>
              </a:cxnLst>
              <a:rect l="0" t="0" r="r" b="b"/>
              <a:pathLst>
                <a:path w="340" h="323">
                  <a:moveTo>
                    <a:pt x="208" y="8"/>
                  </a:moveTo>
                  <a:lnTo>
                    <a:pt x="212" y="8"/>
                  </a:lnTo>
                  <a:lnTo>
                    <a:pt x="216" y="4"/>
                  </a:lnTo>
                  <a:lnTo>
                    <a:pt x="220" y="4"/>
                  </a:lnTo>
                  <a:lnTo>
                    <a:pt x="224" y="4"/>
                  </a:lnTo>
                  <a:lnTo>
                    <a:pt x="224" y="8"/>
                  </a:lnTo>
                  <a:lnTo>
                    <a:pt x="228" y="8"/>
                  </a:lnTo>
                  <a:lnTo>
                    <a:pt x="232" y="8"/>
                  </a:lnTo>
                  <a:lnTo>
                    <a:pt x="232" y="4"/>
                  </a:lnTo>
                  <a:lnTo>
                    <a:pt x="236" y="4"/>
                  </a:lnTo>
                  <a:lnTo>
                    <a:pt x="236" y="8"/>
                  </a:lnTo>
                  <a:lnTo>
                    <a:pt x="240" y="8"/>
                  </a:lnTo>
                  <a:lnTo>
                    <a:pt x="244" y="8"/>
                  </a:lnTo>
                  <a:lnTo>
                    <a:pt x="248" y="8"/>
                  </a:lnTo>
                  <a:lnTo>
                    <a:pt x="252" y="8"/>
                  </a:lnTo>
                  <a:lnTo>
                    <a:pt x="256" y="8"/>
                  </a:lnTo>
                  <a:lnTo>
                    <a:pt x="256" y="12"/>
                  </a:lnTo>
                  <a:lnTo>
                    <a:pt x="252" y="12"/>
                  </a:lnTo>
                  <a:lnTo>
                    <a:pt x="256" y="12"/>
                  </a:lnTo>
                  <a:lnTo>
                    <a:pt x="256" y="16"/>
                  </a:lnTo>
                  <a:lnTo>
                    <a:pt x="256" y="12"/>
                  </a:lnTo>
                  <a:lnTo>
                    <a:pt x="260" y="16"/>
                  </a:lnTo>
                  <a:lnTo>
                    <a:pt x="264" y="16"/>
                  </a:lnTo>
                  <a:lnTo>
                    <a:pt x="268" y="20"/>
                  </a:lnTo>
                  <a:lnTo>
                    <a:pt x="272" y="20"/>
                  </a:lnTo>
                  <a:lnTo>
                    <a:pt x="276" y="20"/>
                  </a:lnTo>
                  <a:lnTo>
                    <a:pt x="280" y="20"/>
                  </a:lnTo>
                  <a:lnTo>
                    <a:pt x="284" y="20"/>
                  </a:lnTo>
                  <a:lnTo>
                    <a:pt x="288" y="20"/>
                  </a:lnTo>
                  <a:lnTo>
                    <a:pt x="284" y="20"/>
                  </a:lnTo>
                  <a:lnTo>
                    <a:pt x="288" y="20"/>
                  </a:lnTo>
                  <a:lnTo>
                    <a:pt x="288" y="16"/>
                  </a:lnTo>
                  <a:lnTo>
                    <a:pt x="288" y="20"/>
                  </a:lnTo>
                  <a:lnTo>
                    <a:pt x="292" y="20"/>
                  </a:lnTo>
                  <a:lnTo>
                    <a:pt x="296" y="20"/>
                  </a:lnTo>
                  <a:lnTo>
                    <a:pt x="296" y="24"/>
                  </a:lnTo>
                  <a:lnTo>
                    <a:pt x="300" y="27"/>
                  </a:lnTo>
                  <a:lnTo>
                    <a:pt x="304" y="24"/>
                  </a:lnTo>
                  <a:lnTo>
                    <a:pt x="304" y="27"/>
                  </a:lnTo>
                  <a:lnTo>
                    <a:pt x="308" y="27"/>
                  </a:lnTo>
                  <a:lnTo>
                    <a:pt x="312" y="27"/>
                  </a:lnTo>
                  <a:lnTo>
                    <a:pt x="316" y="27"/>
                  </a:lnTo>
                  <a:lnTo>
                    <a:pt x="320" y="24"/>
                  </a:lnTo>
                  <a:lnTo>
                    <a:pt x="324" y="27"/>
                  </a:lnTo>
                  <a:lnTo>
                    <a:pt x="328" y="27"/>
                  </a:lnTo>
                  <a:lnTo>
                    <a:pt x="324" y="31"/>
                  </a:lnTo>
                  <a:lnTo>
                    <a:pt x="324" y="35"/>
                  </a:lnTo>
                  <a:lnTo>
                    <a:pt x="324" y="39"/>
                  </a:lnTo>
                  <a:lnTo>
                    <a:pt x="320" y="39"/>
                  </a:lnTo>
                  <a:lnTo>
                    <a:pt x="316" y="43"/>
                  </a:lnTo>
                  <a:lnTo>
                    <a:pt x="312" y="47"/>
                  </a:lnTo>
                  <a:lnTo>
                    <a:pt x="308" y="47"/>
                  </a:lnTo>
                  <a:lnTo>
                    <a:pt x="308" y="51"/>
                  </a:lnTo>
                  <a:lnTo>
                    <a:pt x="304" y="51"/>
                  </a:lnTo>
                  <a:lnTo>
                    <a:pt x="300" y="51"/>
                  </a:lnTo>
                  <a:lnTo>
                    <a:pt x="296" y="55"/>
                  </a:lnTo>
                  <a:lnTo>
                    <a:pt x="292" y="55"/>
                  </a:lnTo>
                  <a:lnTo>
                    <a:pt x="288" y="55"/>
                  </a:lnTo>
                  <a:lnTo>
                    <a:pt x="288" y="59"/>
                  </a:lnTo>
                  <a:lnTo>
                    <a:pt x="288" y="63"/>
                  </a:lnTo>
                  <a:lnTo>
                    <a:pt x="288" y="67"/>
                  </a:lnTo>
                  <a:lnTo>
                    <a:pt x="284" y="67"/>
                  </a:lnTo>
                  <a:lnTo>
                    <a:pt x="284" y="63"/>
                  </a:lnTo>
                  <a:lnTo>
                    <a:pt x="288" y="63"/>
                  </a:lnTo>
                  <a:lnTo>
                    <a:pt x="284" y="63"/>
                  </a:lnTo>
                  <a:lnTo>
                    <a:pt x="284" y="67"/>
                  </a:lnTo>
                  <a:lnTo>
                    <a:pt x="280" y="71"/>
                  </a:lnTo>
                  <a:lnTo>
                    <a:pt x="276" y="75"/>
                  </a:lnTo>
                  <a:lnTo>
                    <a:pt x="276" y="79"/>
                  </a:lnTo>
                  <a:lnTo>
                    <a:pt x="272" y="83"/>
                  </a:lnTo>
                  <a:lnTo>
                    <a:pt x="272" y="87"/>
                  </a:lnTo>
                  <a:lnTo>
                    <a:pt x="272" y="95"/>
                  </a:lnTo>
                  <a:lnTo>
                    <a:pt x="272" y="99"/>
                  </a:lnTo>
                  <a:lnTo>
                    <a:pt x="276" y="99"/>
                  </a:lnTo>
                  <a:lnTo>
                    <a:pt x="280" y="99"/>
                  </a:lnTo>
                  <a:lnTo>
                    <a:pt x="280" y="103"/>
                  </a:lnTo>
                  <a:lnTo>
                    <a:pt x="276" y="103"/>
                  </a:lnTo>
                  <a:lnTo>
                    <a:pt x="276" y="107"/>
                  </a:lnTo>
                  <a:lnTo>
                    <a:pt x="272" y="107"/>
                  </a:lnTo>
                  <a:lnTo>
                    <a:pt x="272" y="111"/>
                  </a:lnTo>
                  <a:lnTo>
                    <a:pt x="268" y="111"/>
                  </a:lnTo>
                  <a:lnTo>
                    <a:pt x="268" y="115"/>
                  </a:lnTo>
                  <a:lnTo>
                    <a:pt x="268" y="119"/>
                  </a:lnTo>
                  <a:lnTo>
                    <a:pt x="264" y="119"/>
                  </a:lnTo>
                  <a:lnTo>
                    <a:pt x="264" y="123"/>
                  </a:lnTo>
                  <a:lnTo>
                    <a:pt x="264" y="127"/>
                  </a:lnTo>
                  <a:lnTo>
                    <a:pt x="260" y="127"/>
                  </a:lnTo>
                  <a:lnTo>
                    <a:pt x="256" y="127"/>
                  </a:lnTo>
                  <a:lnTo>
                    <a:pt x="252" y="127"/>
                  </a:lnTo>
                  <a:lnTo>
                    <a:pt x="252" y="131"/>
                  </a:lnTo>
                  <a:lnTo>
                    <a:pt x="248" y="135"/>
                  </a:lnTo>
                  <a:lnTo>
                    <a:pt x="248" y="139"/>
                  </a:lnTo>
                  <a:lnTo>
                    <a:pt x="244" y="139"/>
                  </a:lnTo>
                  <a:lnTo>
                    <a:pt x="244" y="143"/>
                  </a:lnTo>
                  <a:lnTo>
                    <a:pt x="240" y="143"/>
                  </a:lnTo>
                  <a:lnTo>
                    <a:pt x="236" y="143"/>
                  </a:lnTo>
                  <a:lnTo>
                    <a:pt x="232" y="147"/>
                  </a:lnTo>
                  <a:lnTo>
                    <a:pt x="232" y="143"/>
                  </a:lnTo>
                  <a:lnTo>
                    <a:pt x="228" y="143"/>
                  </a:lnTo>
                  <a:lnTo>
                    <a:pt x="224" y="143"/>
                  </a:lnTo>
                  <a:lnTo>
                    <a:pt x="220" y="143"/>
                  </a:lnTo>
                  <a:lnTo>
                    <a:pt x="216" y="143"/>
                  </a:lnTo>
                  <a:lnTo>
                    <a:pt x="212" y="143"/>
                  </a:lnTo>
                  <a:lnTo>
                    <a:pt x="208" y="143"/>
                  </a:lnTo>
                  <a:lnTo>
                    <a:pt x="208" y="147"/>
                  </a:lnTo>
                  <a:lnTo>
                    <a:pt x="204" y="147"/>
                  </a:lnTo>
                  <a:lnTo>
                    <a:pt x="200" y="147"/>
                  </a:lnTo>
                  <a:lnTo>
                    <a:pt x="200" y="151"/>
                  </a:lnTo>
                  <a:lnTo>
                    <a:pt x="196" y="151"/>
                  </a:lnTo>
                  <a:lnTo>
                    <a:pt x="196" y="155"/>
                  </a:lnTo>
                  <a:lnTo>
                    <a:pt x="192" y="155"/>
                  </a:lnTo>
                  <a:lnTo>
                    <a:pt x="192" y="159"/>
                  </a:lnTo>
                  <a:lnTo>
                    <a:pt x="188" y="159"/>
                  </a:lnTo>
                  <a:lnTo>
                    <a:pt x="188" y="155"/>
                  </a:lnTo>
                  <a:lnTo>
                    <a:pt x="184" y="155"/>
                  </a:lnTo>
                  <a:lnTo>
                    <a:pt x="184" y="151"/>
                  </a:lnTo>
                  <a:lnTo>
                    <a:pt x="180" y="151"/>
                  </a:lnTo>
                  <a:lnTo>
                    <a:pt x="184" y="147"/>
                  </a:lnTo>
                  <a:lnTo>
                    <a:pt x="180" y="147"/>
                  </a:lnTo>
                  <a:lnTo>
                    <a:pt x="180" y="143"/>
                  </a:lnTo>
                  <a:lnTo>
                    <a:pt x="176" y="139"/>
                  </a:lnTo>
                  <a:lnTo>
                    <a:pt x="172" y="135"/>
                  </a:lnTo>
                  <a:lnTo>
                    <a:pt x="168" y="135"/>
                  </a:lnTo>
                  <a:lnTo>
                    <a:pt x="164" y="135"/>
                  </a:lnTo>
                  <a:lnTo>
                    <a:pt x="164" y="131"/>
                  </a:lnTo>
                  <a:lnTo>
                    <a:pt x="164" y="127"/>
                  </a:lnTo>
                  <a:lnTo>
                    <a:pt x="160" y="127"/>
                  </a:lnTo>
                  <a:lnTo>
                    <a:pt x="164" y="123"/>
                  </a:lnTo>
                  <a:lnTo>
                    <a:pt x="164" y="119"/>
                  </a:lnTo>
                  <a:lnTo>
                    <a:pt x="168" y="119"/>
                  </a:lnTo>
                  <a:lnTo>
                    <a:pt x="172" y="115"/>
                  </a:lnTo>
                  <a:lnTo>
                    <a:pt x="168" y="115"/>
                  </a:lnTo>
                  <a:lnTo>
                    <a:pt x="168" y="111"/>
                  </a:lnTo>
                  <a:lnTo>
                    <a:pt x="164" y="111"/>
                  </a:lnTo>
                  <a:lnTo>
                    <a:pt x="164" y="107"/>
                  </a:lnTo>
                  <a:lnTo>
                    <a:pt x="164" y="103"/>
                  </a:lnTo>
                  <a:lnTo>
                    <a:pt x="168" y="103"/>
                  </a:lnTo>
                  <a:lnTo>
                    <a:pt x="168" y="99"/>
                  </a:lnTo>
                  <a:lnTo>
                    <a:pt x="172" y="95"/>
                  </a:lnTo>
                  <a:lnTo>
                    <a:pt x="168" y="95"/>
                  </a:lnTo>
                  <a:lnTo>
                    <a:pt x="164" y="91"/>
                  </a:lnTo>
                  <a:lnTo>
                    <a:pt x="164" y="87"/>
                  </a:lnTo>
                  <a:lnTo>
                    <a:pt x="160" y="83"/>
                  </a:lnTo>
                  <a:lnTo>
                    <a:pt x="164" y="83"/>
                  </a:lnTo>
                  <a:lnTo>
                    <a:pt x="168" y="83"/>
                  </a:lnTo>
                  <a:lnTo>
                    <a:pt x="172" y="75"/>
                  </a:lnTo>
                  <a:lnTo>
                    <a:pt x="168" y="75"/>
                  </a:lnTo>
                  <a:lnTo>
                    <a:pt x="168" y="71"/>
                  </a:lnTo>
                  <a:lnTo>
                    <a:pt x="172" y="71"/>
                  </a:lnTo>
                  <a:lnTo>
                    <a:pt x="172" y="67"/>
                  </a:lnTo>
                  <a:lnTo>
                    <a:pt x="172" y="63"/>
                  </a:lnTo>
                  <a:lnTo>
                    <a:pt x="172" y="59"/>
                  </a:lnTo>
                  <a:lnTo>
                    <a:pt x="172" y="55"/>
                  </a:lnTo>
                  <a:lnTo>
                    <a:pt x="176" y="51"/>
                  </a:lnTo>
                  <a:lnTo>
                    <a:pt x="180" y="51"/>
                  </a:lnTo>
                  <a:lnTo>
                    <a:pt x="180" y="47"/>
                  </a:lnTo>
                  <a:lnTo>
                    <a:pt x="180" y="43"/>
                  </a:lnTo>
                  <a:lnTo>
                    <a:pt x="184" y="43"/>
                  </a:lnTo>
                  <a:lnTo>
                    <a:pt x="180" y="43"/>
                  </a:lnTo>
                  <a:lnTo>
                    <a:pt x="176" y="43"/>
                  </a:lnTo>
                  <a:lnTo>
                    <a:pt x="176" y="39"/>
                  </a:lnTo>
                  <a:lnTo>
                    <a:pt x="176" y="35"/>
                  </a:lnTo>
                  <a:lnTo>
                    <a:pt x="172" y="35"/>
                  </a:lnTo>
                  <a:lnTo>
                    <a:pt x="168" y="35"/>
                  </a:lnTo>
                  <a:lnTo>
                    <a:pt x="168" y="39"/>
                  </a:lnTo>
                  <a:lnTo>
                    <a:pt x="164" y="39"/>
                  </a:lnTo>
                  <a:lnTo>
                    <a:pt x="160" y="39"/>
                  </a:lnTo>
                  <a:lnTo>
                    <a:pt x="156" y="39"/>
                  </a:lnTo>
                  <a:lnTo>
                    <a:pt x="152" y="39"/>
                  </a:lnTo>
                  <a:lnTo>
                    <a:pt x="152" y="35"/>
                  </a:lnTo>
                  <a:lnTo>
                    <a:pt x="152" y="31"/>
                  </a:lnTo>
                  <a:lnTo>
                    <a:pt x="148" y="31"/>
                  </a:lnTo>
                  <a:lnTo>
                    <a:pt x="148" y="35"/>
                  </a:lnTo>
                  <a:lnTo>
                    <a:pt x="144" y="35"/>
                  </a:lnTo>
                  <a:lnTo>
                    <a:pt x="140" y="39"/>
                  </a:lnTo>
                  <a:lnTo>
                    <a:pt x="140" y="35"/>
                  </a:lnTo>
                  <a:lnTo>
                    <a:pt x="140" y="31"/>
                  </a:lnTo>
                  <a:lnTo>
                    <a:pt x="144" y="31"/>
                  </a:lnTo>
                  <a:lnTo>
                    <a:pt x="144" y="27"/>
                  </a:lnTo>
                  <a:lnTo>
                    <a:pt x="144" y="31"/>
                  </a:lnTo>
                  <a:lnTo>
                    <a:pt x="140" y="31"/>
                  </a:lnTo>
                  <a:lnTo>
                    <a:pt x="140" y="27"/>
                  </a:lnTo>
                  <a:lnTo>
                    <a:pt x="144" y="27"/>
                  </a:lnTo>
                  <a:lnTo>
                    <a:pt x="140" y="27"/>
                  </a:lnTo>
                  <a:lnTo>
                    <a:pt x="140" y="24"/>
                  </a:lnTo>
                  <a:lnTo>
                    <a:pt x="140" y="27"/>
                  </a:lnTo>
                  <a:lnTo>
                    <a:pt x="144" y="24"/>
                  </a:lnTo>
                  <a:lnTo>
                    <a:pt x="140" y="24"/>
                  </a:lnTo>
                  <a:lnTo>
                    <a:pt x="144" y="24"/>
                  </a:lnTo>
                  <a:lnTo>
                    <a:pt x="144" y="20"/>
                  </a:lnTo>
                  <a:lnTo>
                    <a:pt x="140" y="24"/>
                  </a:lnTo>
                  <a:lnTo>
                    <a:pt x="140" y="20"/>
                  </a:lnTo>
                  <a:lnTo>
                    <a:pt x="136" y="20"/>
                  </a:lnTo>
                  <a:lnTo>
                    <a:pt x="136" y="16"/>
                  </a:lnTo>
                  <a:lnTo>
                    <a:pt x="136" y="12"/>
                  </a:lnTo>
                  <a:lnTo>
                    <a:pt x="140" y="12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8" y="8"/>
                  </a:lnTo>
                  <a:lnTo>
                    <a:pt x="152" y="4"/>
                  </a:lnTo>
                  <a:lnTo>
                    <a:pt x="156" y="0"/>
                  </a:lnTo>
                  <a:lnTo>
                    <a:pt x="160" y="0"/>
                  </a:lnTo>
                  <a:lnTo>
                    <a:pt x="164" y="0"/>
                  </a:lnTo>
                  <a:lnTo>
                    <a:pt x="164" y="4"/>
                  </a:lnTo>
                  <a:lnTo>
                    <a:pt x="168" y="4"/>
                  </a:lnTo>
                  <a:lnTo>
                    <a:pt x="172" y="4"/>
                  </a:lnTo>
                  <a:lnTo>
                    <a:pt x="176" y="4"/>
                  </a:lnTo>
                  <a:lnTo>
                    <a:pt x="180" y="4"/>
                  </a:lnTo>
                  <a:lnTo>
                    <a:pt x="184" y="4"/>
                  </a:lnTo>
                  <a:lnTo>
                    <a:pt x="188" y="0"/>
                  </a:lnTo>
                  <a:lnTo>
                    <a:pt x="188" y="4"/>
                  </a:lnTo>
                  <a:lnTo>
                    <a:pt x="192" y="4"/>
                  </a:lnTo>
                  <a:lnTo>
                    <a:pt x="196" y="4"/>
                  </a:lnTo>
                  <a:lnTo>
                    <a:pt x="200" y="4"/>
                  </a:lnTo>
                  <a:lnTo>
                    <a:pt x="204" y="4"/>
                  </a:lnTo>
                  <a:lnTo>
                    <a:pt x="204" y="8"/>
                  </a:lnTo>
                  <a:lnTo>
                    <a:pt x="208" y="8"/>
                  </a:lnTo>
                  <a:close/>
                  <a:moveTo>
                    <a:pt x="196" y="163"/>
                  </a:moveTo>
                  <a:lnTo>
                    <a:pt x="196" y="159"/>
                  </a:lnTo>
                  <a:lnTo>
                    <a:pt x="196" y="163"/>
                  </a:lnTo>
                  <a:close/>
                  <a:moveTo>
                    <a:pt x="232" y="175"/>
                  </a:moveTo>
                  <a:lnTo>
                    <a:pt x="232" y="171"/>
                  </a:lnTo>
                  <a:lnTo>
                    <a:pt x="232" y="175"/>
                  </a:lnTo>
                  <a:close/>
                  <a:moveTo>
                    <a:pt x="340" y="79"/>
                  </a:moveTo>
                  <a:lnTo>
                    <a:pt x="336" y="79"/>
                  </a:lnTo>
                  <a:lnTo>
                    <a:pt x="332" y="75"/>
                  </a:lnTo>
                  <a:lnTo>
                    <a:pt x="336" y="75"/>
                  </a:lnTo>
                  <a:lnTo>
                    <a:pt x="340" y="75"/>
                  </a:lnTo>
                  <a:lnTo>
                    <a:pt x="340" y="79"/>
                  </a:lnTo>
                  <a:close/>
                  <a:moveTo>
                    <a:pt x="312" y="87"/>
                  </a:moveTo>
                  <a:lnTo>
                    <a:pt x="312" y="83"/>
                  </a:lnTo>
                  <a:lnTo>
                    <a:pt x="316" y="83"/>
                  </a:lnTo>
                  <a:lnTo>
                    <a:pt x="320" y="79"/>
                  </a:lnTo>
                  <a:lnTo>
                    <a:pt x="324" y="79"/>
                  </a:lnTo>
                  <a:lnTo>
                    <a:pt x="324" y="83"/>
                  </a:lnTo>
                  <a:lnTo>
                    <a:pt x="328" y="83"/>
                  </a:lnTo>
                  <a:lnTo>
                    <a:pt x="328" y="87"/>
                  </a:lnTo>
                  <a:lnTo>
                    <a:pt x="324" y="87"/>
                  </a:lnTo>
                  <a:lnTo>
                    <a:pt x="324" y="91"/>
                  </a:lnTo>
                  <a:lnTo>
                    <a:pt x="320" y="91"/>
                  </a:lnTo>
                  <a:lnTo>
                    <a:pt x="316" y="91"/>
                  </a:lnTo>
                  <a:lnTo>
                    <a:pt x="316" y="87"/>
                  </a:lnTo>
                  <a:lnTo>
                    <a:pt x="312" y="87"/>
                  </a:lnTo>
                  <a:close/>
                  <a:moveTo>
                    <a:pt x="296" y="99"/>
                  </a:moveTo>
                  <a:lnTo>
                    <a:pt x="296" y="95"/>
                  </a:lnTo>
                  <a:lnTo>
                    <a:pt x="300" y="95"/>
                  </a:lnTo>
                  <a:lnTo>
                    <a:pt x="300" y="99"/>
                  </a:lnTo>
                  <a:lnTo>
                    <a:pt x="296" y="99"/>
                  </a:lnTo>
                  <a:close/>
                  <a:moveTo>
                    <a:pt x="296" y="103"/>
                  </a:moveTo>
                  <a:lnTo>
                    <a:pt x="300" y="103"/>
                  </a:lnTo>
                  <a:lnTo>
                    <a:pt x="296" y="103"/>
                  </a:lnTo>
                  <a:close/>
                  <a:moveTo>
                    <a:pt x="68" y="303"/>
                  </a:moveTo>
                  <a:lnTo>
                    <a:pt x="68" y="299"/>
                  </a:lnTo>
                  <a:lnTo>
                    <a:pt x="64" y="299"/>
                  </a:lnTo>
                  <a:lnTo>
                    <a:pt x="68" y="299"/>
                  </a:lnTo>
                  <a:lnTo>
                    <a:pt x="68" y="295"/>
                  </a:lnTo>
                  <a:lnTo>
                    <a:pt x="72" y="295"/>
                  </a:lnTo>
                  <a:lnTo>
                    <a:pt x="72" y="299"/>
                  </a:lnTo>
                  <a:lnTo>
                    <a:pt x="68" y="299"/>
                  </a:lnTo>
                  <a:lnTo>
                    <a:pt x="68" y="303"/>
                  </a:lnTo>
                  <a:close/>
                  <a:moveTo>
                    <a:pt x="8" y="307"/>
                  </a:moveTo>
                  <a:lnTo>
                    <a:pt x="4" y="307"/>
                  </a:lnTo>
                  <a:lnTo>
                    <a:pt x="4" y="303"/>
                  </a:lnTo>
                  <a:lnTo>
                    <a:pt x="4" y="299"/>
                  </a:lnTo>
                  <a:lnTo>
                    <a:pt x="4" y="303"/>
                  </a:lnTo>
                  <a:lnTo>
                    <a:pt x="8" y="303"/>
                  </a:lnTo>
                  <a:lnTo>
                    <a:pt x="8" y="307"/>
                  </a:lnTo>
                  <a:close/>
                  <a:moveTo>
                    <a:pt x="60" y="315"/>
                  </a:moveTo>
                  <a:lnTo>
                    <a:pt x="56" y="315"/>
                  </a:lnTo>
                  <a:lnTo>
                    <a:pt x="60" y="315"/>
                  </a:lnTo>
                  <a:lnTo>
                    <a:pt x="60" y="311"/>
                  </a:lnTo>
                  <a:lnTo>
                    <a:pt x="64" y="307"/>
                  </a:lnTo>
                  <a:lnTo>
                    <a:pt x="64" y="303"/>
                  </a:lnTo>
                  <a:lnTo>
                    <a:pt x="68" y="303"/>
                  </a:lnTo>
                  <a:lnTo>
                    <a:pt x="68" y="307"/>
                  </a:lnTo>
                  <a:lnTo>
                    <a:pt x="64" y="311"/>
                  </a:lnTo>
                  <a:lnTo>
                    <a:pt x="64" y="315"/>
                  </a:lnTo>
                  <a:lnTo>
                    <a:pt x="60" y="315"/>
                  </a:lnTo>
                  <a:close/>
                  <a:moveTo>
                    <a:pt x="24" y="319"/>
                  </a:moveTo>
                  <a:lnTo>
                    <a:pt x="24" y="315"/>
                  </a:lnTo>
                  <a:lnTo>
                    <a:pt x="20" y="315"/>
                  </a:lnTo>
                  <a:lnTo>
                    <a:pt x="20" y="311"/>
                  </a:lnTo>
                  <a:lnTo>
                    <a:pt x="24" y="311"/>
                  </a:lnTo>
                  <a:lnTo>
                    <a:pt x="28" y="307"/>
                  </a:lnTo>
                  <a:lnTo>
                    <a:pt x="32" y="307"/>
                  </a:lnTo>
                  <a:lnTo>
                    <a:pt x="28" y="307"/>
                  </a:lnTo>
                  <a:lnTo>
                    <a:pt x="28" y="311"/>
                  </a:lnTo>
                  <a:lnTo>
                    <a:pt x="28" y="315"/>
                  </a:lnTo>
                  <a:lnTo>
                    <a:pt x="24" y="315"/>
                  </a:lnTo>
                  <a:lnTo>
                    <a:pt x="24" y="319"/>
                  </a:lnTo>
                  <a:close/>
                  <a:moveTo>
                    <a:pt x="16" y="319"/>
                  </a:moveTo>
                  <a:lnTo>
                    <a:pt x="12" y="315"/>
                  </a:lnTo>
                  <a:lnTo>
                    <a:pt x="16" y="315"/>
                  </a:lnTo>
                  <a:lnTo>
                    <a:pt x="16" y="319"/>
                  </a:lnTo>
                  <a:close/>
                  <a:moveTo>
                    <a:pt x="40" y="323"/>
                  </a:moveTo>
                  <a:lnTo>
                    <a:pt x="36" y="319"/>
                  </a:lnTo>
                  <a:lnTo>
                    <a:pt x="36" y="315"/>
                  </a:lnTo>
                  <a:lnTo>
                    <a:pt x="40" y="315"/>
                  </a:lnTo>
                  <a:lnTo>
                    <a:pt x="44" y="315"/>
                  </a:lnTo>
                  <a:lnTo>
                    <a:pt x="44" y="319"/>
                  </a:lnTo>
                  <a:lnTo>
                    <a:pt x="40" y="323"/>
                  </a:lnTo>
                  <a:close/>
                  <a:moveTo>
                    <a:pt x="4" y="323"/>
                  </a:moveTo>
                  <a:lnTo>
                    <a:pt x="0" y="323"/>
                  </a:lnTo>
                  <a:lnTo>
                    <a:pt x="4" y="323"/>
                  </a:lnTo>
                  <a:lnTo>
                    <a:pt x="4" y="319"/>
                  </a:lnTo>
                  <a:lnTo>
                    <a:pt x="4" y="323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89" name="Freeform 188"/>
            <p:cNvSpPr>
              <a:spLocks noEditPoints="1"/>
            </p:cNvSpPr>
            <p:nvPr>
              <p:custDataLst>
                <p:tags r:id="rId382"/>
              </p:custDataLst>
            </p:nvPr>
          </p:nvSpPr>
          <p:spPr bwMode="gray">
            <a:xfrm>
              <a:off x="376238" y="2366909"/>
              <a:ext cx="8033756" cy="1709972"/>
            </a:xfrm>
            <a:custGeom>
              <a:avLst/>
              <a:gdLst/>
              <a:ahLst/>
              <a:cxnLst>
                <a:cxn ang="0">
                  <a:pos x="407" y="303"/>
                </a:cxn>
                <a:cxn ang="0">
                  <a:pos x="375" y="299"/>
                </a:cxn>
                <a:cxn ang="0">
                  <a:pos x="303" y="375"/>
                </a:cxn>
                <a:cxn ang="0">
                  <a:pos x="232" y="415"/>
                </a:cxn>
                <a:cxn ang="0">
                  <a:pos x="315" y="335"/>
                </a:cxn>
                <a:cxn ang="0">
                  <a:pos x="248" y="315"/>
                </a:cxn>
                <a:cxn ang="0">
                  <a:pos x="216" y="275"/>
                </a:cxn>
                <a:cxn ang="0">
                  <a:pos x="204" y="232"/>
                </a:cxn>
                <a:cxn ang="0">
                  <a:pos x="232" y="184"/>
                </a:cxn>
                <a:cxn ang="0">
                  <a:pos x="160" y="148"/>
                </a:cxn>
                <a:cxn ang="0">
                  <a:pos x="248" y="128"/>
                </a:cxn>
                <a:cxn ang="0">
                  <a:pos x="176" y="80"/>
                </a:cxn>
                <a:cxn ang="0">
                  <a:pos x="276" y="20"/>
                </a:cxn>
                <a:cxn ang="0">
                  <a:pos x="387" y="12"/>
                </a:cxn>
                <a:cxn ang="0">
                  <a:pos x="547" y="40"/>
                </a:cxn>
                <a:cxn ang="0">
                  <a:pos x="639" y="303"/>
                </a:cxn>
                <a:cxn ang="0">
                  <a:pos x="714" y="419"/>
                </a:cxn>
                <a:cxn ang="0">
                  <a:pos x="682" y="359"/>
                </a:cxn>
                <a:cxn ang="0">
                  <a:pos x="651" y="335"/>
                </a:cxn>
                <a:cxn ang="0">
                  <a:pos x="599" y="315"/>
                </a:cxn>
                <a:cxn ang="0">
                  <a:pos x="499" y="283"/>
                </a:cxn>
                <a:cxn ang="0">
                  <a:pos x="459" y="283"/>
                </a:cxn>
                <a:cxn ang="0">
                  <a:pos x="1540" y="794"/>
                </a:cxn>
                <a:cxn ang="0">
                  <a:pos x="1552" y="826"/>
                </a:cxn>
                <a:cxn ang="0">
                  <a:pos x="1476" y="894"/>
                </a:cxn>
                <a:cxn ang="0">
                  <a:pos x="1480" y="1026"/>
                </a:cxn>
                <a:cxn ang="0">
                  <a:pos x="1416" y="946"/>
                </a:cxn>
                <a:cxn ang="0">
                  <a:pos x="1341" y="942"/>
                </a:cxn>
                <a:cxn ang="0">
                  <a:pos x="1261" y="950"/>
                </a:cxn>
                <a:cxn ang="0">
                  <a:pos x="1205" y="1014"/>
                </a:cxn>
                <a:cxn ang="0">
                  <a:pos x="1089" y="910"/>
                </a:cxn>
                <a:cxn ang="0">
                  <a:pos x="906" y="862"/>
                </a:cxn>
                <a:cxn ang="0">
                  <a:pos x="842" y="778"/>
                </a:cxn>
                <a:cxn ang="0">
                  <a:pos x="822" y="615"/>
                </a:cxn>
                <a:cxn ang="0">
                  <a:pos x="838" y="587"/>
                </a:cxn>
                <a:cxn ang="0">
                  <a:pos x="1002" y="547"/>
                </a:cxn>
                <a:cxn ang="0">
                  <a:pos x="1277" y="559"/>
                </a:cxn>
                <a:cxn ang="0">
                  <a:pos x="1448" y="639"/>
                </a:cxn>
                <a:cxn ang="0">
                  <a:pos x="1568" y="635"/>
                </a:cxn>
                <a:cxn ang="0">
                  <a:pos x="1672" y="647"/>
                </a:cxn>
                <a:cxn ang="0">
                  <a:pos x="1640" y="698"/>
                </a:cxn>
                <a:cxn ang="0">
                  <a:pos x="1564" y="758"/>
                </a:cxn>
                <a:cxn ang="0">
                  <a:pos x="1544" y="754"/>
                </a:cxn>
                <a:cxn ang="0">
                  <a:pos x="507" y="295"/>
                </a:cxn>
                <a:cxn ang="0">
                  <a:pos x="1484" y="994"/>
                </a:cxn>
                <a:cxn ang="0">
                  <a:pos x="116" y="200"/>
                </a:cxn>
                <a:cxn ang="0">
                  <a:pos x="471" y="287"/>
                </a:cxn>
                <a:cxn ang="0">
                  <a:pos x="666" y="359"/>
                </a:cxn>
                <a:cxn ang="0">
                  <a:pos x="654" y="343"/>
                </a:cxn>
                <a:cxn ang="0">
                  <a:pos x="383" y="343"/>
                </a:cxn>
                <a:cxn ang="0">
                  <a:pos x="375" y="343"/>
                </a:cxn>
                <a:cxn ang="0">
                  <a:pos x="678" y="371"/>
                </a:cxn>
                <a:cxn ang="0">
                  <a:pos x="359" y="375"/>
                </a:cxn>
                <a:cxn ang="0">
                  <a:pos x="682" y="399"/>
                </a:cxn>
                <a:cxn ang="0">
                  <a:pos x="666" y="391"/>
                </a:cxn>
                <a:cxn ang="0">
                  <a:pos x="706" y="407"/>
                </a:cxn>
                <a:cxn ang="0">
                  <a:pos x="710" y="411"/>
                </a:cxn>
                <a:cxn ang="0">
                  <a:pos x="156" y="451"/>
                </a:cxn>
                <a:cxn ang="0">
                  <a:pos x="88" y="475"/>
                </a:cxn>
                <a:cxn ang="0">
                  <a:pos x="32" y="483"/>
                </a:cxn>
                <a:cxn ang="0">
                  <a:pos x="1628" y="710"/>
                </a:cxn>
                <a:cxn ang="0">
                  <a:pos x="1261" y="958"/>
                </a:cxn>
                <a:cxn ang="0">
                  <a:pos x="335" y="1122"/>
                </a:cxn>
              </a:cxnLst>
              <a:rect l="0" t="0" r="r" b="b"/>
              <a:pathLst>
                <a:path w="5417" h="1153">
                  <a:moveTo>
                    <a:pt x="447" y="283"/>
                  </a:moveTo>
                  <a:lnTo>
                    <a:pt x="447" y="279"/>
                  </a:lnTo>
                  <a:lnTo>
                    <a:pt x="451" y="279"/>
                  </a:lnTo>
                  <a:lnTo>
                    <a:pt x="455" y="279"/>
                  </a:lnTo>
                  <a:lnTo>
                    <a:pt x="459" y="279"/>
                  </a:lnTo>
                  <a:lnTo>
                    <a:pt x="459" y="283"/>
                  </a:lnTo>
                  <a:lnTo>
                    <a:pt x="455" y="283"/>
                  </a:lnTo>
                  <a:lnTo>
                    <a:pt x="451" y="287"/>
                  </a:lnTo>
                  <a:lnTo>
                    <a:pt x="455" y="287"/>
                  </a:lnTo>
                  <a:lnTo>
                    <a:pt x="455" y="291"/>
                  </a:lnTo>
                  <a:lnTo>
                    <a:pt x="451" y="291"/>
                  </a:lnTo>
                  <a:lnTo>
                    <a:pt x="451" y="287"/>
                  </a:lnTo>
                  <a:lnTo>
                    <a:pt x="451" y="291"/>
                  </a:lnTo>
                  <a:lnTo>
                    <a:pt x="451" y="295"/>
                  </a:lnTo>
                  <a:lnTo>
                    <a:pt x="447" y="295"/>
                  </a:lnTo>
                  <a:lnTo>
                    <a:pt x="443" y="295"/>
                  </a:lnTo>
                  <a:lnTo>
                    <a:pt x="439" y="295"/>
                  </a:lnTo>
                  <a:lnTo>
                    <a:pt x="439" y="291"/>
                  </a:lnTo>
                  <a:lnTo>
                    <a:pt x="439" y="295"/>
                  </a:lnTo>
                  <a:lnTo>
                    <a:pt x="435" y="295"/>
                  </a:lnTo>
                  <a:lnTo>
                    <a:pt x="435" y="291"/>
                  </a:lnTo>
                  <a:lnTo>
                    <a:pt x="435" y="295"/>
                  </a:lnTo>
                  <a:lnTo>
                    <a:pt x="431" y="295"/>
                  </a:lnTo>
                  <a:lnTo>
                    <a:pt x="431" y="299"/>
                  </a:lnTo>
                  <a:lnTo>
                    <a:pt x="435" y="299"/>
                  </a:lnTo>
                  <a:lnTo>
                    <a:pt x="431" y="299"/>
                  </a:lnTo>
                  <a:lnTo>
                    <a:pt x="431" y="295"/>
                  </a:lnTo>
                  <a:lnTo>
                    <a:pt x="431" y="299"/>
                  </a:lnTo>
                  <a:lnTo>
                    <a:pt x="431" y="303"/>
                  </a:lnTo>
                  <a:lnTo>
                    <a:pt x="431" y="299"/>
                  </a:lnTo>
                  <a:lnTo>
                    <a:pt x="427" y="299"/>
                  </a:lnTo>
                  <a:lnTo>
                    <a:pt x="427" y="303"/>
                  </a:lnTo>
                  <a:lnTo>
                    <a:pt x="423" y="307"/>
                  </a:lnTo>
                  <a:lnTo>
                    <a:pt x="419" y="307"/>
                  </a:lnTo>
                  <a:lnTo>
                    <a:pt x="419" y="303"/>
                  </a:lnTo>
                  <a:lnTo>
                    <a:pt x="423" y="303"/>
                  </a:lnTo>
                  <a:lnTo>
                    <a:pt x="423" y="299"/>
                  </a:lnTo>
                  <a:lnTo>
                    <a:pt x="423" y="303"/>
                  </a:lnTo>
                  <a:lnTo>
                    <a:pt x="419" y="303"/>
                  </a:lnTo>
                  <a:lnTo>
                    <a:pt x="419" y="307"/>
                  </a:lnTo>
                  <a:lnTo>
                    <a:pt x="419" y="303"/>
                  </a:lnTo>
                  <a:lnTo>
                    <a:pt x="415" y="303"/>
                  </a:lnTo>
                  <a:lnTo>
                    <a:pt x="419" y="307"/>
                  </a:lnTo>
                  <a:lnTo>
                    <a:pt x="415" y="307"/>
                  </a:lnTo>
                  <a:lnTo>
                    <a:pt x="411" y="311"/>
                  </a:lnTo>
                  <a:lnTo>
                    <a:pt x="407" y="311"/>
                  </a:lnTo>
                  <a:lnTo>
                    <a:pt x="411" y="311"/>
                  </a:lnTo>
                  <a:lnTo>
                    <a:pt x="407" y="311"/>
                  </a:lnTo>
                  <a:lnTo>
                    <a:pt x="403" y="311"/>
                  </a:lnTo>
                  <a:lnTo>
                    <a:pt x="403" y="315"/>
                  </a:lnTo>
                  <a:lnTo>
                    <a:pt x="399" y="315"/>
                  </a:lnTo>
                  <a:lnTo>
                    <a:pt x="399" y="311"/>
                  </a:lnTo>
                  <a:lnTo>
                    <a:pt x="395" y="311"/>
                  </a:lnTo>
                  <a:lnTo>
                    <a:pt x="399" y="307"/>
                  </a:lnTo>
                  <a:lnTo>
                    <a:pt x="403" y="307"/>
                  </a:lnTo>
                  <a:lnTo>
                    <a:pt x="403" y="303"/>
                  </a:lnTo>
                  <a:lnTo>
                    <a:pt x="407" y="303"/>
                  </a:lnTo>
                  <a:lnTo>
                    <a:pt x="411" y="299"/>
                  </a:lnTo>
                  <a:lnTo>
                    <a:pt x="407" y="299"/>
                  </a:lnTo>
                  <a:lnTo>
                    <a:pt x="403" y="303"/>
                  </a:lnTo>
                  <a:lnTo>
                    <a:pt x="399" y="299"/>
                  </a:lnTo>
                  <a:lnTo>
                    <a:pt x="399" y="291"/>
                  </a:lnTo>
                  <a:lnTo>
                    <a:pt x="403" y="291"/>
                  </a:lnTo>
                  <a:lnTo>
                    <a:pt x="403" y="287"/>
                  </a:lnTo>
                  <a:lnTo>
                    <a:pt x="407" y="283"/>
                  </a:lnTo>
                  <a:lnTo>
                    <a:pt x="407" y="279"/>
                  </a:lnTo>
                  <a:lnTo>
                    <a:pt x="407" y="275"/>
                  </a:lnTo>
                  <a:lnTo>
                    <a:pt x="403" y="275"/>
                  </a:lnTo>
                  <a:lnTo>
                    <a:pt x="407" y="275"/>
                  </a:lnTo>
                  <a:lnTo>
                    <a:pt x="411" y="275"/>
                  </a:lnTo>
                  <a:lnTo>
                    <a:pt x="415" y="271"/>
                  </a:lnTo>
                  <a:lnTo>
                    <a:pt x="419" y="267"/>
                  </a:lnTo>
                  <a:lnTo>
                    <a:pt x="423" y="267"/>
                  </a:lnTo>
                  <a:lnTo>
                    <a:pt x="423" y="271"/>
                  </a:lnTo>
                  <a:lnTo>
                    <a:pt x="427" y="271"/>
                  </a:lnTo>
                  <a:lnTo>
                    <a:pt x="427" y="267"/>
                  </a:lnTo>
                  <a:lnTo>
                    <a:pt x="431" y="267"/>
                  </a:lnTo>
                  <a:lnTo>
                    <a:pt x="431" y="271"/>
                  </a:lnTo>
                  <a:lnTo>
                    <a:pt x="435" y="271"/>
                  </a:lnTo>
                  <a:lnTo>
                    <a:pt x="439" y="271"/>
                  </a:lnTo>
                  <a:lnTo>
                    <a:pt x="435" y="271"/>
                  </a:lnTo>
                  <a:lnTo>
                    <a:pt x="431" y="267"/>
                  </a:lnTo>
                  <a:lnTo>
                    <a:pt x="427" y="267"/>
                  </a:lnTo>
                  <a:lnTo>
                    <a:pt x="427" y="263"/>
                  </a:lnTo>
                  <a:lnTo>
                    <a:pt x="427" y="259"/>
                  </a:lnTo>
                  <a:lnTo>
                    <a:pt x="431" y="259"/>
                  </a:lnTo>
                  <a:lnTo>
                    <a:pt x="435" y="259"/>
                  </a:lnTo>
                  <a:lnTo>
                    <a:pt x="439" y="255"/>
                  </a:lnTo>
                  <a:lnTo>
                    <a:pt x="435" y="255"/>
                  </a:lnTo>
                  <a:lnTo>
                    <a:pt x="431" y="255"/>
                  </a:lnTo>
                  <a:lnTo>
                    <a:pt x="431" y="259"/>
                  </a:lnTo>
                  <a:lnTo>
                    <a:pt x="427" y="259"/>
                  </a:lnTo>
                  <a:lnTo>
                    <a:pt x="427" y="263"/>
                  </a:lnTo>
                  <a:lnTo>
                    <a:pt x="423" y="263"/>
                  </a:lnTo>
                  <a:lnTo>
                    <a:pt x="419" y="263"/>
                  </a:lnTo>
                  <a:lnTo>
                    <a:pt x="415" y="263"/>
                  </a:lnTo>
                  <a:lnTo>
                    <a:pt x="411" y="263"/>
                  </a:lnTo>
                  <a:lnTo>
                    <a:pt x="407" y="267"/>
                  </a:lnTo>
                  <a:lnTo>
                    <a:pt x="403" y="267"/>
                  </a:lnTo>
                  <a:lnTo>
                    <a:pt x="399" y="271"/>
                  </a:lnTo>
                  <a:lnTo>
                    <a:pt x="399" y="275"/>
                  </a:lnTo>
                  <a:lnTo>
                    <a:pt x="395" y="275"/>
                  </a:lnTo>
                  <a:lnTo>
                    <a:pt x="395" y="279"/>
                  </a:lnTo>
                  <a:lnTo>
                    <a:pt x="391" y="279"/>
                  </a:lnTo>
                  <a:lnTo>
                    <a:pt x="391" y="283"/>
                  </a:lnTo>
                  <a:lnTo>
                    <a:pt x="391" y="287"/>
                  </a:lnTo>
                  <a:lnTo>
                    <a:pt x="387" y="287"/>
                  </a:lnTo>
                  <a:lnTo>
                    <a:pt x="383" y="287"/>
                  </a:lnTo>
                  <a:lnTo>
                    <a:pt x="379" y="287"/>
                  </a:lnTo>
                  <a:lnTo>
                    <a:pt x="383" y="287"/>
                  </a:lnTo>
                  <a:lnTo>
                    <a:pt x="387" y="291"/>
                  </a:lnTo>
                  <a:lnTo>
                    <a:pt x="383" y="295"/>
                  </a:lnTo>
                  <a:lnTo>
                    <a:pt x="379" y="295"/>
                  </a:lnTo>
                  <a:lnTo>
                    <a:pt x="375" y="299"/>
                  </a:lnTo>
                  <a:lnTo>
                    <a:pt x="379" y="295"/>
                  </a:lnTo>
                  <a:lnTo>
                    <a:pt x="379" y="299"/>
                  </a:lnTo>
                  <a:lnTo>
                    <a:pt x="379" y="303"/>
                  </a:lnTo>
                  <a:lnTo>
                    <a:pt x="375" y="303"/>
                  </a:lnTo>
                  <a:lnTo>
                    <a:pt x="375" y="299"/>
                  </a:lnTo>
                  <a:lnTo>
                    <a:pt x="375" y="303"/>
                  </a:lnTo>
                  <a:lnTo>
                    <a:pt x="371" y="303"/>
                  </a:lnTo>
                  <a:lnTo>
                    <a:pt x="367" y="303"/>
                  </a:lnTo>
                  <a:lnTo>
                    <a:pt x="371" y="307"/>
                  </a:lnTo>
                  <a:lnTo>
                    <a:pt x="367" y="307"/>
                  </a:lnTo>
                  <a:lnTo>
                    <a:pt x="363" y="307"/>
                  </a:lnTo>
                  <a:lnTo>
                    <a:pt x="367" y="307"/>
                  </a:lnTo>
                  <a:lnTo>
                    <a:pt x="363" y="311"/>
                  </a:lnTo>
                  <a:lnTo>
                    <a:pt x="363" y="315"/>
                  </a:lnTo>
                  <a:lnTo>
                    <a:pt x="367" y="315"/>
                  </a:lnTo>
                  <a:lnTo>
                    <a:pt x="371" y="315"/>
                  </a:lnTo>
                  <a:lnTo>
                    <a:pt x="371" y="319"/>
                  </a:lnTo>
                  <a:lnTo>
                    <a:pt x="375" y="319"/>
                  </a:lnTo>
                  <a:lnTo>
                    <a:pt x="375" y="323"/>
                  </a:lnTo>
                  <a:lnTo>
                    <a:pt x="371" y="327"/>
                  </a:lnTo>
                  <a:lnTo>
                    <a:pt x="367" y="327"/>
                  </a:lnTo>
                  <a:lnTo>
                    <a:pt x="367" y="331"/>
                  </a:lnTo>
                  <a:lnTo>
                    <a:pt x="363" y="331"/>
                  </a:lnTo>
                  <a:lnTo>
                    <a:pt x="367" y="331"/>
                  </a:lnTo>
                  <a:lnTo>
                    <a:pt x="363" y="331"/>
                  </a:lnTo>
                  <a:lnTo>
                    <a:pt x="359" y="335"/>
                  </a:lnTo>
                  <a:lnTo>
                    <a:pt x="363" y="335"/>
                  </a:lnTo>
                  <a:lnTo>
                    <a:pt x="363" y="339"/>
                  </a:lnTo>
                  <a:lnTo>
                    <a:pt x="359" y="339"/>
                  </a:lnTo>
                  <a:lnTo>
                    <a:pt x="355" y="339"/>
                  </a:lnTo>
                  <a:lnTo>
                    <a:pt x="355" y="343"/>
                  </a:lnTo>
                  <a:lnTo>
                    <a:pt x="351" y="339"/>
                  </a:lnTo>
                  <a:lnTo>
                    <a:pt x="351" y="343"/>
                  </a:lnTo>
                  <a:lnTo>
                    <a:pt x="347" y="343"/>
                  </a:lnTo>
                  <a:lnTo>
                    <a:pt x="347" y="347"/>
                  </a:lnTo>
                  <a:lnTo>
                    <a:pt x="343" y="347"/>
                  </a:lnTo>
                  <a:lnTo>
                    <a:pt x="339" y="347"/>
                  </a:lnTo>
                  <a:lnTo>
                    <a:pt x="339" y="351"/>
                  </a:lnTo>
                  <a:lnTo>
                    <a:pt x="335" y="351"/>
                  </a:lnTo>
                  <a:lnTo>
                    <a:pt x="335" y="355"/>
                  </a:lnTo>
                  <a:lnTo>
                    <a:pt x="331" y="355"/>
                  </a:lnTo>
                  <a:lnTo>
                    <a:pt x="327" y="359"/>
                  </a:lnTo>
                  <a:lnTo>
                    <a:pt x="331" y="359"/>
                  </a:lnTo>
                  <a:lnTo>
                    <a:pt x="331" y="363"/>
                  </a:lnTo>
                  <a:lnTo>
                    <a:pt x="327" y="363"/>
                  </a:lnTo>
                  <a:lnTo>
                    <a:pt x="327" y="367"/>
                  </a:lnTo>
                  <a:lnTo>
                    <a:pt x="323" y="367"/>
                  </a:lnTo>
                  <a:lnTo>
                    <a:pt x="319" y="367"/>
                  </a:lnTo>
                  <a:lnTo>
                    <a:pt x="319" y="371"/>
                  </a:lnTo>
                  <a:lnTo>
                    <a:pt x="315" y="371"/>
                  </a:lnTo>
                  <a:lnTo>
                    <a:pt x="315" y="367"/>
                  </a:lnTo>
                  <a:lnTo>
                    <a:pt x="311" y="367"/>
                  </a:lnTo>
                  <a:lnTo>
                    <a:pt x="311" y="371"/>
                  </a:lnTo>
                  <a:lnTo>
                    <a:pt x="311" y="375"/>
                  </a:lnTo>
                  <a:lnTo>
                    <a:pt x="307" y="371"/>
                  </a:lnTo>
                  <a:lnTo>
                    <a:pt x="307" y="375"/>
                  </a:lnTo>
                  <a:lnTo>
                    <a:pt x="303" y="375"/>
                  </a:lnTo>
                  <a:lnTo>
                    <a:pt x="307" y="375"/>
                  </a:lnTo>
                  <a:lnTo>
                    <a:pt x="307" y="379"/>
                  </a:lnTo>
                  <a:lnTo>
                    <a:pt x="303" y="379"/>
                  </a:lnTo>
                  <a:lnTo>
                    <a:pt x="303" y="375"/>
                  </a:lnTo>
                  <a:lnTo>
                    <a:pt x="303" y="379"/>
                  </a:lnTo>
                  <a:lnTo>
                    <a:pt x="299" y="379"/>
                  </a:lnTo>
                  <a:lnTo>
                    <a:pt x="296" y="379"/>
                  </a:lnTo>
                  <a:lnTo>
                    <a:pt x="296" y="383"/>
                  </a:lnTo>
                  <a:lnTo>
                    <a:pt x="299" y="379"/>
                  </a:lnTo>
                  <a:lnTo>
                    <a:pt x="299" y="383"/>
                  </a:lnTo>
                  <a:lnTo>
                    <a:pt x="303" y="383"/>
                  </a:lnTo>
                  <a:lnTo>
                    <a:pt x="299" y="383"/>
                  </a:lnTo>
                  <a:lnTo>
                    <a:pt x="303" y="383"/>
                  </a:lnTo>
                  <a:lnTo>
                    <a:pt x="299" y="387"/>
                  </a:lnTo>
                  <a:lnTo>
                    <a:pt x="299" y="383"/>
                  </a:lnTo>
                  <a:lnTo>
                    <a:pt x="299" y="387"/>
                  </a:lnTo>
                  <a:lnTo>
                    <a:pt x="296" y="387"/>
                  </a:lnTo>
                  <a:lnTo>
                    <a:pt x="299" y="383"/>
                  </a:lnTo>
                  <a:lnTo>
                    <a:pt x="296" y="383"/>
                  </a:lnTo>
                  <a:lnTo>
                    <a:pt x="296" y="387"/>
                  </a:lnTo>
                  <a:lnTo>
                    <a:pt x="296" y="391"/>
                  </a:lnTo>
                  <a:lnTo>
                    <a:pt x="296" y="387"/>
                  </a:lnTo>
                  <a:lnTo>
                    <a:pt x="292" y="387"/>
                  </a:lnTo>
                  <a:lnTo>
                    <a:pt x="292" y="391"/>
                  </a:lnTo>
                  <a:lnTo>
                    <a:pt x="288" y="391"/>
                  </a:lnTo>
                  <a:lnTo>
                    <a:pt x="284" y="391"/>
                  </a:lnTo>
                  <a:lnTo>
                    <a:pt x="284" y="395"/>
                  </a:lnTo>
                  <a:lnTo>
                    <a:pt x="280" y="395"/>
                  </a:lnTo>
                  <a:lnTo>
                    <a:pt x="280" y="399"/>
                  </a:lnTo>
                  <a:lnTo>
                    <a:pt x="280" y="395"/>
                  </a:lnTo>
                  <a:lnTo>
                    <a:pt x="280" y="391"/>
                  </a:lnTo>
                  <a:lnTo>
                    <a:pt x="276" y="391"/>
                  </a:lnTo>
                  <a:lnTo>
                    <a:pt x="276" y="395"/>
                  </a:lnTo>
                  <a:lnTo>
                    <a:pt x="272" y="395"/>
                  </a:lnTo>
                  <a:lnTo>
                    <a:pt x="272" y="399"/>
                  </a:lnTo>
                  <a:lnTo>
                    <a:pt x="268" y="399"/>
                  </a:lnTo>
                  <a:lnTo>
                    <a:pt x="264" y="399"/>
                  </a:lnTo>
                  <a:lnTo>
                    <a:pt x="264" y="403"/>
                  </a:lnTo>
                  <a:lnTo>
                    <a:pt x="264" y="399"/>
                  </a:lnTo>
                  <a:lnTo>
                    <a:pt x="260" y="399"/>
                  </a:lnTo>
                  <a:lnTo>
                    <a:pt x="260" y="403"/>
                  </a:lnTo>
                  <a:lnTo>
                    <a:pt x="256" y="403"/>
                  </a:lnTo>
                  <a:lnTo>
                    <a:pt x="252" y="403"/>
                  </a:lnTo>
                  <a:lnTo>
                    <a:pt x="252" y="399"/>
                  </a:lnTo>
                  <a:lnTo>
                    <a:pt x="256" y="399"/>
                  </a:lnTo>
                  <a:lnTo>
                    <a:pt x="252" y="399"/>
                  </a:lnTo>
                  <a:lnTo>
                    <a:pt x="248" y="399"/>
                  </a:lnTo>
                  <a:lnTo>
                    <a:pt x="248" y="403"/>
                  </a:lnTo>
                  <a:lnTo>
                    <a:pt x="248" y="407"/>
                  </a:lnTo>
                  <a:lnTo>
                    <a:pt x="244" y="407"/>
                  </a:lnTo>
                  <a:lnTo>
                    <a:pt x="244" y="411"/>
                  </a:lnTo>
                  <a:lnTo>
                    <a:pt x="244" y="407"/>
                  </a:lnTo>
                  <a:lnTo>
                    <a:pt x="240" y="411"/>
                  </a:lnTo>
                  <a:lnTo>
                    <a:pt x="236" y="411"/>
                  </a:lnTo>
                  <a:lnTo>
                    <a:pt x="236" y="407"/>
                  </a:lnTo>
                  <a:lnTo>
                    <a:pt x="236" y="411"/>
                  </a:lnTo>
                  <a:lnTo>
                    <a:pt x="232" y="415"/>
                  </a:lnTo>
                  <a:lnTo>
                    <a:pt x="232" y="411"/>
                  </a:lnTo>
                  <a:lnTo>
                    <a:pt x="228" y="411"/>
                  </a:lnTo>
                  <a:lnTo>
                    <a:pt x="228" y="407"/>
                  </a:lnTo>
                  <a:lnTo>
                    <a:pt x="228" y="411"/>
                  </a:lnTo>
                  <a:lnTo>
                    <a:pt x="228" y="415"/>
                  </a:lnTo>
                  <a:lnTo>
                    <a:pt x="224" y="415"/>
                  </a:lnTo>
                  <a:lnTo>
                    <a:pt x="224" y="411"/>
                  </a:lnTo>
                  <a:lnTo>
                    <a:pt x="224" y="407"/>
                  </a:lnTo>
                  <a:lnTo>
                    <a:pt x="228" y="407"/>
                  </a:lnTo>
                  <a:lnTo>
                    <a:pt x="232" y="407"/>
                  </a:lnTo>
                  <a:lnTo>
                    <a:pt x="232" y="403"/>
                  </a:lnTo>
                  <a:lnTo>
                    <a:pt x="236" y="403"/>
                  </a:lnTo>
                  <a:lnTo>
                    <a:pt x="236" y="399"/>
                  </a:lnTo>
                  <a:lnTo>
                    <a:pt x="240" y="399"/>
                  </a:lnTo>
                  <a:lnTo>
                    <a:pt x="240" y="395"/>
                  </a:lnTo>
                  <a:lnTo>
                    <a:pt x="244" y="395"/>
                  </a:lnTo>
                  <a:lnTo>
                    <a:pt x="248" y="391"/>
                  </a:lnTo>
                  <a:lnTo>
                    <a:pt x="256" y="391"/>
                  </a:lnTo>
                  <a:lnTo>
                    <a:pt x="260" y="391"/>
                  </a:lnTo>
                  <a:lnTo>
                    <a:pt x="264" y="395"/>
                  </a:lnTo>
                  <a:lnTo>
                    <a:pt x="264" y="391"/>
                  </a:lnTo>
                  <a:lnTo>
                    <a:pt x="268" y="391"/>
                  </a:lnTo>
                  <a:lnTo>
                    <a:pt x="268" y="395"/>
                  </a:lnTo>
                  <a:lnTo>
                    <a:pt x="272" y="395"/>
                  </a:lnTo>
                  <a:lnTo>
                    <a:pt x="272" y="391"/>
                  </a:lnTo>
                  <a:lnTo>
                    <a:pt x="268" y="391"/>
                  </a:lnTo>
                  <a:lnTo>
                    <a:pt x="268" y="387"/>
                  </a:lnTo>
                  <a:lnTo>
                    <a:pt x="268" y="383"/>
                  </a:lnTo>
                  <a:lnTo>
                    <a:pt x="272" y="383"/>
                  </a:lnTo>
                  <a:lnTo>
                    <a:pt x="272" y="379"/>
                  </a:lnTo>
                  <a:lnTo>
                    <a:pt x="276" y="379"/>
                  </a:lnTo>
                  <a:lnTo>
                    <a:pt x="276" y="375"/>
                  </a:lnTo>
                  <a:lnTo>
                    <a:pt x="280" y="375"/>
                  </a:lnTo>
                  <a:lnTo>
                    <a:pt x="284" y="375"/>
                  </a:lnTo>
                  <a:lnTo>
                    <a:pt x="288" y="371"/>
                  </a:lnTo>
                  <a:lnTo>
                    <a:pt x="292" y="371"/>
                  </a:lnTo>
                  <a:lnTo>
                    <a:pt x="296" y="371"/>
                  </a:lnTo>
                  <a:lnTo>
                    <a:pt x="296" y="367"/>
                  </a:lnTo>
                  <a:lnTo>
                    <a:pt x="296" y="363"/>
                  </a:lnTo>
                  <a:lnTo>
                    <a:pt x="299" y="359"/>
                  </a:lnTo>
                  <a:lnTo>
                    <a:pt x="303" y="355"/>
                  </a:lnTo>
                  <a:lnTo>
                    <a:pt x="307" y="355"/>
                  </a:lnTo>
                  <a:lnTo>
                    <a:pt x="307" y="351"/>
                  </a:lnTo>
                  <a:lnTo>
                    <a:pt x="311" y="351"/>
                  </a:lnTo>
                  <a:lnTo>
                    <a:pt x="311" y="355"/>
                  </a:lnTo>
                  <a:lnTo>
                    <a:pt x="315" y="355"/>
                  </a:lnTo>
                  <a:lnTo>
                    <a:pt x="315" y="351"/>
                  </a:lnTo>
                  <a:lnTo>
                    <a:pt x="311" y="355"/>
                  </a:lnTo>
                  <a:lnTo>
                    <a:pt x="311" y="351"/>
                  </a:lnTo>
                  <a:lnTo>
                    <a:pt x="311" y="347"/>
                  </a:lnTo>
                  <a:lnTo>
                    <a:pt x="311" y="343"/>
                  </a:lnTo>
                  <a:lnTo>
                    <a:pt x="311" y="339"/>
                  </a:lnTo>
                  <a:lnTo>
                    <a:pt x="315" y="335"/>
                  </a:lnTo>
                  <a:lnTo>
                    <a:pt x="319" y="335"/>
                  </a:lnTo>
                  <a:lnTo>
                    <a:pt x="319" y="339"/>
                  </a:lnTo>
                  <a:lnTo>
                    <a:pt x="319" y="335"/>
                  </a:lnTo>
                  <a:lnTo>
                    <a:pt x="315" y="335"/>
                  </a:lnTo>
                  <a:lnTo>
                    <a:pt x="311" y="335"/>
                  </a:lnTo>
                  <a:lnTo>
                    <a:pt x="311" y="331"/>
                  </a:lnTo>
                  <a:lnTo>
                    <a:pt x="315" y="327"/>
                  </a:lnTo>
                  <a:lnTo>
                    <a:pt x="319" y="323"/>
                  </a:lnTo>
                  <a:lnTo>
                    <a:pt x="319" y="319"/>
                  </a:lnTo>
                  <a:lnTo>
                    <a:pt x="323" y="319"/>
                  </a:lnTo>
                  <a:lnTo>
                    <a:pt x="323" y="315"/>
                  </a:lnTo>
                  <a:lnTo>
                    <a:pt x="319" y="319"/>
                  </a:lnTo>
                  <a:lnTo>
                    <a:pt x="315" y="319"/>
                  </a:lnTo>
                  <a:lnTo>
                    <a:pt x="315" y="323"/>
                  </a:lnTo>
                  <a:lnTo>
                    <a:pt x="311" y="323"/>
                  </a:lnTo>
                  <a:lnTo>
                    <a:pt x="307" y="323"/>
                  </a:lnTo>
                  <a:lnTo>
                    <a:pt x="303" y="327"/>
                  </a:lnTo>
                  <a:lnTo>
                    <a:pt x="299" y="327"/>
                  </a:lnTo>
                  <a:lnTo>
                    <a:pt x="299" y="323"/>
                  </a:lnTo>
                  <a:lnTo>
                    <a:pt x="296" y="323"/>
                  </a:lnTo>
                  <a:lnTo>
                    <a:pt x="296" y="319"/>
                  </a:lnTo>
                  <a:lnTo>
                    <a:pt x="299" y="319"/>
                  </a:lnTo>
                  <a:lnTo>
                    <a:pt x="299" y="315"/>
                  </a:lnTo>
                  <a:lnTo>
                    <a:pt x="303" y="315"/>
                  </a:lnTo>
                  <a:lnTo>
                    <a:pt x="303" y="319"/>
                  </a:lnTo>
                  <a:lnTo>
                    <a:pt x="303" y="315"/>
                  </a:lnTo>
                  <a:lnTo>
                    <a:pt x="299" y="315"/>
                  </a:lnTo>
                  <a:lnTo>
                    <a:pt x="296" y="311"/>
                  </a:lnTo>
                  <a:lnTo>
                    <a:pt x="296" y="315"/>
                  </a:lnTo>
                  <a:lnTo>
                    <a:pt x="299" y="315"/>
                  </a:lnTo>
                  <a:lnTo>
                    <a:pt x="296" y="319"/>
                  </a:lnTo>
                  <a:lnTo>
                    <a:pt x="292" y="319"/>
                  </a:lnTo>
                  <a:lnTo>
                    <a:pt x="292" y="323"/>
                  </a:lnTo>
                  <a:lnTo>
                    <a:pt x="296" y="331"/>
                  </a:lnTo>
                  <a:lnTo>
                    <a:pt x="292" y="331"/>
                  </a:lnTo>
                  <a:lnTo>
                    <a:pt x="288" y="331"/>
                  </a:lnTo>
                  <a:lnTo>
                    <a:pt x="288" y="327"/>
                  </a:lnTo>
                  <a:lnTo>
                    <a:pt x="284" y="323"/>
                  </a:lnTo>
                  <a:lnTo>
                    <a:pt x="280" y="319"/>
                  </a:lnTo>
                  <a:lnTo>
                    <a:pt x="280" y="323"/>
                  </a:lnTo>
                  <a:lnTo>
                    <a:pt x="276" y="323"/>
                  </a:lnTo>
                  <a:lnTo>
                    <a:pt x="276" y="319"/>
                  </a:lnTo>
                  <a:lnTo>
                    <a:pt x="272" y="319"/>
                  </a:lnTo>
                  <a:lnTo>
                    <a:pt x="272" y="315"/>
                  </a:lnTo>
                  <a:lnTo>
                    <a:pt x="268" y="315"/>
                  </a:lnTo>
                  <a:lnTo>
                    <a:pt x="264" y="319"/>
                  </a:lnTo>
                  <a:lnTo>
                    <a:pt x="260" y="319"/>
                  </a:lnTo>
                  <a:lnTo>
                    <a:pt x="260" y="323"/>
                  </a:lnTo>
                  <a:lnTo>
                    <a:pt x="256" y="323"/>
                  </a:lnTo>
                  <a:lnTo>
                    <a:pt x="256" y="327"/>
                  </a:lnTo>
                  <a:lnTo>
                    <a:pt x="252" y="327"/>
                  </a:lnTo>
                  <a:lnTo>
                    <a:pt x="248" y="327"/>
                  </a:lnTo>
                  <a:lnTo>
                    <a:pt x="244" y="327"/>
                  </a:lnTo>
                  <a:lnTo>
                    <a:pt x="244" y="323"/>
                  </a:lnTo>
                  <a:lnTo>
                    <a:pt x="244" y="327"/>
                  </a:lnTo>
                  <a:lnTo>
                    <a:pt x="248" y="327"/>
                  </a:lnTo>
                  <a:lnTo>
                    <a:pt x="248" y="323"/>
                  </a:lnTo>
                  <a:lnTo>
                    <a:pt x="252" y="323"/>
                  </a:lnTo>
                  <a:lnTo>
                    <a:pt x="248" y="323"/>
                  </a:lnTo>
                  <a:lnTo>
                    <a:pt x="248" y="319"/>
                  </a:lnTo>
                  <a:lnTo>
                    <a:pt x="248" y="315"/>
                  </a:lnTo>
                  <a:lnTo>
                    <a:pt x="252" y="315"/>
                  </a:lnTo>
                  <a:lnTo>
                    <a:pt x="248" y="315"/>
                  </a:lnTo>
                  <a:lnTo>
                    <a:pt x="244" y="315"/>
                  </a:lnTo>
                  <a:lnTo>
                    <a:pt x="244" y="311"/>
                  </a:lnTo>
                  <a:lnTo>
                    <a:pt x="244" y="307"/>
                  </a:lnTo>
                  <a:lnTo>
                    <a:pt x="248" y="307"/>
                  </a:lnTo>
                  <a:lnTo>
                    <a:pt x="248" y="303"/>
                  </a:lnTo>
                  <a:lnTo>
                    <a:pt x="248" y="299"/>
                  </a:lnTo>
                  <a:lnTo>
                    <a:pt x="244" y="299"/>
                  </a:lnTo>
                  <a:lnTo>
                    <a:pt x="244" y="295"/>
                  </a:lnTo>
                  <a:lnTo>
                    <a:pt x="240" y="291"/>
                  </a:lnTo>
                  <a:lnTo>
                    <a:pt x="244" y="287"/>
                  </a:lnTo>
                  <a:lnTo>
                    <a:pt x="240" y="287"/>
                  </a:lnTo>
                  <a:lnTo>
                    <a:pt x="240" y="291"/>
                  </a:lnTo>
                  <a:lnTo>
                    <a:pt x="240" y="287"/>
                  </a:lnTo>
                  <a:lnTo>
                    <a:pt x="240" y="283"/>
                  </a:lnTo>
                  <a:lnTo>
                    <a:pt x="240" y="279"/>
                  </a:lnTo>
                  <a:lnTo>
                    <a:pt x="244" y="279"/>
                  </a:lnTo>
                  <a:lnTo>
                    <a:pt x="244" y="275"/>
                  </a:lnTo>
                  <a:lnTo>
                    <a:pt x="244" y="279"/>
                  </a:lnTo>
                  <a:lnTo>
                    <a:pt x="244" y="275"/>
                  </a:lnTo>
                  <a:lnTo>
                    <a:pt x="248" y="275"/>
                  </a:lnTo>
                  <a:lnTo>
                    <a:pt x="244" y="275"/>
                  </a:lnTo>
                  <a:lnTo>
                    <a:pt x="240" y="279"/>
                  </a:lnTo>
                  <a:lnTo>
                    <a:pt x="240" y="283"/>
                  </a:lnTo>
                  <a:lnTo>
                    <a:pt x="236" y="283"/>
                  </a:lnTo>
                  <a:lnTo>
                    <a:pt x="236" y="287"/>
                  </a:lnTo>
                  <a:lnTo>
                    <a:pt x="240" y="287"/>
                  </a:lnTo>
                  <a:lnTo>
                    <a:pt x="236" y="291"/>
                  </a:lnTo>
                  <a:lnTo>
                    <a:pt x="236" y="295"/>
                  </a:lnTo>
                  <a:lnTo>
                    <a:pt x="232" y="295"/>
                  </a:lnTo>
                  <a:lnTo>
                    <a:pt x="228" y="295"/>
                  </a:lnTo>
                  <a:lnTo>
                    <a:pt x="224" y="299"/>
                  </a:lnTo>
                  <a:lnTo>
                    <a:pt x="220" y="299"/>
                  </a:lnTo>
                  <a:lnTo>
                    <a:pt x="216" y="299"/>
                  </a:lnTo>
                  <a:lnTo>
                    <a:pt x="212" y="299"/>
                  </a:lnTo>
                  <a:lnTo>
                    <a:pt x="212" y="295"/>
                  </a:lnTo>
                  <a:lnTo>
                    <a:pt x="212" y="291"/>
                  </a:lnTo>
                  <a:lnTo>
                    <a:pt x="208" y="291"/>
                  </a:lnTo>
                  <a:lnTo>
                    <a:pt x="208" y="287"/>
                  </a:lnTo>
                  <a:lnTo>
                    <a:pt x="204" y="287"/>
                  </a:lnTo>
                  <a:lnTo>
                    <a:pt x="200" y="283"/>
                  </a:lnTo>
                  <a:lnTo>
                    <a:pt x="196" y="283"/>
                  </a:lnTo>
                  <a:lnTo>
                    <a:pt x="200" y="283"/>
                  </a:lnTo>
                  <a:lnTo>
                    <a:pt x="200" y="279"/>
                  </a:lnTo>
                  <a:lnTo>
                    <a:pt x="196" y="279"/>
                  </a:lnTo>
                  <a:lnTo>
                    <a:pt x="192" y="279"/>
                  </a:lnTo>
                  <a:lnTo>
                    <a:pt x="196" y="279"/>
                  </a:lnTo>
                  <a:lnTo>
                    <a:pt x="200" y="275"/>
                  </a:lnTo>
                  <a:lnTo>
                    <a:pt x="200" y="271"/>
                  </a:lnTo>
                  <a:lnTo>
                    <a:pt x="204" y="271"/>
                  </a:lnTo>
                  <a:lnTo>
                    <a:pt x="208" y="275"/>
                  </a:lnTo>
                  <a:lnTo>
                    <a:pt x="212" y="275"/>
                  </a:lnTo>
                  <a:lnTo>
                    <a:pt x="208" y="275"/>
                  </a:lnTo>
                  <a:lnTo>
                    <a:pt x="208" y="279"/>
                  </a:lnTo>
                  <a:lnTo>
                    <a:pt x="212" y="275"/>
                  </a:lnTo>
                  <a:lnTo>
                    <a:pt x="216" y="275"/>
                  </a:lnTo>
                  <a:lnTo>
                    <a:pt x="216" y="279"/>
                  </a:lnTo>
                  <a:lnTo>
                    <a:pt x="220" y="279"/>
                  </a:lnTo>
                  <a:lnTo>
                    <a:pt x="224" y="275"/>
                  </a:lnTo>
                  <a:lnTo>
                    <a:pt x="220" y="275"/>
                  </a:lnTo>
                  <a:lnTo>
                    <a:pt x="220" y="271"/>
                  </a:lnTo>
                  <a:lnTo>
                    <a:pt x="216" y="271"/>
                  </a:lnTo>
                  <a:lnTo>
                    <a:pt x="220" y="271"/>
                  </a:lnTo>
                  <a:lnTo>
                    <a:pt x="220" y="267"/>
                  </a:lnTo>
                  <a:lnTo>
                    <a:pt x="216" y="271"/>
                  </a:lnTo>
                  <a:lnTo>
                    <a:pt x="212" y="271"/>
                  </a:lnTo>
                  <a:lnTo>
                    <a:pt x="208" y="271"/>
                  </a:lnTo>
                  <a:lnTo>
                    <a:pt x="204" y="271"/>
                  </a:lnTo>
                  <a:lnTo>
                    <a:pt x="200" y="271"/>
                  </a:lnTo>
                  <a:lnTo>
                    <a:pt x="196" y="271"/>
                  </a:lnTo>
                  <a:lnTo>
                    <a:pt x="196" y="267"/>
                  </a:lnTo>
                  <a:lnTo>
                    <a:pt x="200" y="267"/>
                  </a:lnTo>
                  <a:lnTo>
                    <a:pt x="204" y="267"/>
                  </a:lnTo>
                  <a:lnTo>
                    <a:pt x="200" y="267"/>
                  </a:lnTo>
                  <a:lnTo>
                    <a:pt x="196" y="267"/>
                  </a:lnTo>
                  <a:lnTo>
                    <a:pt x="196" y="263"/>
                  </a:lnTo>
                  <a:lnTo>
                    <a:pt x="192" y="263"/>
                  </a:lnTo>
                  <a:lnTo>
                    <a:pt x="196" y="263"/>
                  </a:lnTo>
                  <a:lnTo>
                    <a:pt x="196" y="259"/>
                  </a:lnTo>
                  <a:lnTo>
                    <a:pt x="200" y="259"/>
                  </a:lnTo>
                  <a:lnTo>
                    <a:pt x="200" y="255"/>
                  </a:lnTo>
                  <a:lnTo>
                    <a:pt x="204" y="255"/>
                  </a:lnTo>
                  <a:lnTo>
                    <a:pt x="204" y="251"/>
                  </a:lnTo>
                  <a:lnTo>
                    <a:pt x="204" y="255"/>
                  </a:lnTo>
                  <a:lnTo>
                    <a:pt x="200" y="255"/>
                  </a:lnTo>
                  <a:lnTo>
                    <a:pt x="200" y="259"/>
                  </a:lnTo>
                  <a:lnTo>
                    <a:pt x="196" y="259"/>
                  </a:lnTo>
                  <a:lnTo>
                    <a:pt x="196" y="263"/>
                  </a:lnTo>
                  <a:lnTo>
                    <a:pt x="192" y="263"/>
                  </a:lnTo>
                  <a:lnTo>
                    <a:pt x="196" y="263"/>
                  </a:lnTo>
                  <a:lnTo>
                    <a:pt x="192" y="267"/>
                  </a:lnTo>
                  <a:lnTo>
                    <a:pt x="188" y="263"/>
                  </a:lnTo>
                  <a:lnTo>
                    <a:pt x="192" y="263"/>
                  </a:lnTo>
                  <a:lnTo>
                    <a:pt x="188" y="259"/>
                  </a:lnTo>
                  <a:lnTo>
                    <a:pt x="184" y="259"/>
                  </a:lnTo>
                  <a:lnTo>
                    <a:pt x="188" y="259"/>
                  </a:lnTo>
                  <a:lnTo>
                    <a:pt x="188" y="255"/>
                  </a:lnTo>
                  <a:lnTo>
                    <a:pt x="184" y="255"/>
                  </a:lnTo>
                  <a:lnTo>
                    <a:pt x="180" y="255"/>
                  </a:lnTo>
                  <a:lnTo>
                    <a:pt x="180" y="251"/>
                  </a:lnTo>
                  <a:lnTo>
                    <a:pt x="184" y="251"/>
                  </a:lnTo>
                  <a:lnTo>
                    <a:pt x="188" y="251"/>
                  </a:lnTo>
                  <a:lnTo>
                    <a:pt x="184" y="251"/>
                  </a:lnTo>
                  <a:lnTo>
                    <a:pt x="184" y="248"/>
                  </a:lnTo>
                  <a:lnTo>
                    <a:pt x="188" y="248"/>
                  </a:lnTo>
                  <a:lnTo>
                    <a:pt x="188" y="244"/>
                  </a:lnTo>
                  <a:lnTo>
                    <a:pt x="188" y="240"/>
                  </a:lnTo>
                  <a:lnTo>
                    <a:pt x="192" y="240"/>
                  </a:lnTo>
                  <a:lnTo>
                    <a:pt x="192" y="236"/>
                  </a:lnTo>
                  <a:lnTo>
                    <a:pt x="196" y="236"/>
                  </a:lnTo>
                  <a:lnTo>
                    <a:pt x="196" y="232"/>
                  </a:lnTo>
                  <a:lnTo>
                    <a:pt x="200" y="232"/>
                  </a:lnTo>
                  <a:lnTo>
                    <a:pt x="204" y="232"/>
                  </a:lnTo>
                  <a:lnTo>
                    <a:pt x="204" y="236"/>
                  </a:lnTo>
                  <a:lnTo>
                    <a:pt x="204" y="232"/>
                  </a:lnTo>
                  <a:lnTo>
                    <a:pt x="200" y="232"/>
                  </a:lnTo>
                  <a:lnTo>
                    <a:pt x="204" y="228"/>
                  </a:lnTo>
                  <a:lnTo>
                    <a:pt x="208" y="224"/>
                  </a:lnTo>
                  <a:lnTo>
                    <a:pt x="204" y="228"/>
                  </a:lnTo>
                  <a:lnTo>
                    <a:pt x="200" y="224"/>
                  </a:lnTo>
                  <a:lnTo>
                    <a:pt x="204" y="220"/>
                  </a:lnTo>
                  <a:lnTo>
                    <a:pt x="208" y="220"/>
                  </a:lnTo>
                  <a:lnTo>
                    <a:pt x="208" y="216"/>
                  </a:lnTo>
                  <a:lnTo>
                    <a:pt x="204" y="216"/>
                  </a:lnTo>
                  <a:lnTo>
                    <a:pt x="208" y="212"/>
                  </a:lnTo>
                  <a:lnTo>
                    <a:pt x="212" y="212"/>
                  </a:lnTo>
                  <a:lnTo>
                    <a:pt x="216" y="212"/>
                  </a:lnTo>
                  <a:lnTo>
                    <a:pt x="220" y="212"/>
                  </a:lnTo>
                  <a:lnTo>
                    <a:pt x="220" y="216"/>
                  </a:lnTo>
                  <a:lnTo>
                    <a:pt x="224" y="216"/>
                  </a:lnTo>
                  <a:lnTo>
                    <a:pt x="224" y="220"/>
                  </a:lnTo>
                  <a:lnTo>
                    <a:pt x="228" y="220"/>
                  </a:lnTo>
                  <a:lnTo>
                    <a:pt x="228" y="216"/>
                  </a:lnTo>
                  <a:lnTo>
                    <a:pt x="232" y="216"/>
                  </a:lnTo>
                  <a:lnTo>
                    <a:pt x="236" y="212"/>
                  </a:lnTo>
                  <a:lnTo>
                    <a:pt x="240" y="208"/>
                  </a:lnTo>
                  <a:lnTo>
                    <a:pt x="240" y="204"/>
                  </a:lnTo>
                  <a:lnTo>
                    <a:pt x="244" y="208"/>
                  </a:lnTo>
                  <a:lnTo>
                    <a:pt x="248" y="208"/>
                  </a:lnTo>
                  <a:lnTo>
                    <a:pt x="252" y="208"/>
                  </a:lnTo>
                  <a:lnTo>
                    <a:pt x="256" y="208"/>
                  </a:lnTo>
                  <a:lnTo>
                    <a:pt x="264" y="200"/>
                  </a:lnTo>
                  <a:lnTo>
                    <a:pt x="264" y="196"/>
                  </a:lnTo>
                  <a:lnTo>
                    <a:pt x="260" y="192"/>
                  </a:lnTo>
                  <a:lnTo>
                    <a:pt x="260" y="188"/>
                  </a:lnTo>
                  <a:lnTo>
                    <a:pt x="256" y="184"/>
                  </a:lnTo>
                  <a:lnTo>
                    <a:pt x="252" y="184"/>
                  </a:lnTo>
                  <a:lnTo>
                    <a:pt x="252" y="180"/>
                  </a:lnTo>
                  <a:lnTo>
                    <a:pt x="256" y="180"/>
                  </a:lnTo>
                  <a:lnTo>
                    <a:pt x="260" y="180"/>
                  </a:lnTo>
                  <a:lnTo>
                    <a:pt x="264" y="176"/>
                  </a:lnTo>
                  <a:lnTo>
                    <a:pt x="264" y="172"/>
                  </a:lnTo>
                  <a:lnTo>
                    <a:pt x="260" y="172"/>
                  </a:lnTo>
                  <a:lnTo>
                    <a:pt x="256" y="172"/>
                  </a:lnTo>
                  <a:lnTo>
                    <a:pt x="260" y="172"/>
                  </a:lnTo>
                  <a:lnTo>
                    <a:pt x="260" y="168"/>
                  </a:lnTo>
                  <a:lnTo>
                    <a:pt x="256" y="168"/>
                  </a:lnTo>
                  <a:lnTo>
                    <a:pt x="256" y="172"/>
                  </a:lnTo>
                  <a:lnTo>
                    <a:pt x="252" y="176"/>
                  </a:lnTo>
                  <a:lnTo>
                    <a:pt x="252" y="172"/>
                  </a:lnTo>
                  <a:lnTo>
                    <a:pt x="248" y="172"/>
                  </a:lnTo>
                  <a:lnTo>
                    <a:pt x="248" y="176"/>
                  </a:lnTo>
                  <a:lnTo>
                    <a:pt x="244" y="176"/>
                  </a:lnTo>
                  <a:lnTo>
                    <a:pt x="248" y="176"/>
                  </a:lnTo>
                  <a:lnTo>
                    <a:pt x="244" y="176"/>
                  </a:lnTo>
                  <a:lnTo>
                    <a:pt x="240" y="176"/>
                  </a:lnTo>
                  <a:lnTo>
                    <a:pt x="240" y="180"/>
                  </a:lnTo>
                  <a:lnTo>
                    <a:pt x="236" y="180"/>
                  </a:lnTo>
                  <a:lnTo>
                    <a:pt x="236" y="184"/>
                  </a:lnTo>
                  <a:lnTo>
                    <a:pt x="232" y="184"/>
                  </a:lnTo>
                  <a:lnTo>
                    <a:pt x="232" y="180"/>
                  </a:lnTo>
                  <a:lnTo>
                    <a:pt x="228" y="176"/>
                  </a:lnTo>
                  <a:lnTo>
                    <a:pt x="224" y="176"/>
                  </a:lnTo>
                  <a:lnTo>
                    <a:pt x="224" y="180"/>
                  </a:lnTo>
                  <a:lnTo>
                    <a:pt x="228" y="180"/>
                  </a:lnTo>
                  <a:lnTo>
                    <a:pt x="228" y="184"/>
                  </a:lnTo>
                  <a:lnTo>
                    <a:pt x="224" y="184"/>
                  </a:lnTo>
                  <a:lnTo>
                    <a:pt x="224" y="180"/>
                  </a:lnTo>
                  <a:lnTo>
                    <a:pt x="220" y="180"/>
                  </a:lnTo>
                  <a:lnTo>
                    <a:pt x="216" y="180"/>
                  </a:lnTo>
                  <a:lnTo>
                    <a:pt x="212" y="180"/>
                  </a:lnTo>
                  <a:lnTo>
                    <a:pt x="208" y="180"/>
                  </a:lnTo>
                  <a:lnTo>
                    <a:pt x="204" y="180"/>
                  </a:lnTo>
                  <a:lnTo>
                    <a:pt x="200" y="180"/>
                  </a:lnTo>
                  <a:lnTo>
                    <a:pt x="200" y="184"/>
                  </a:lnTo>
                  <a:lnTo>
                    <a:pt x="204" y="184"/>
                  </a:lnTo>
                  <a:lnTo>
                    <a:pt x="204" y="180"/>
                  </a:lnTo>
                  <a:lnTo>
                    <a:pt x="204" y="184"/>
                  </a:lnTo>
                  <a:lnTo>
                    <a:pt x="200" y="184"/>
                  </a:lnTo>
                  <a:lnTo>
                    <a:pt x="196" y="184"/>
                  </a:lnTo>
                  <a:lnTo>
                    <a:pt x="196" y="180"/>
                  </a:lnTo>
                  <a:lnTo>
                    <a:pt x="192" y="180"/>
                  </a:lnTo>
                  <a:lnTo>
                    <a:pt x="188" y="180"/>
                  </a:lnTo>
                  <a:lnTo>
                    <a:pt x="184" y="180"/>
                  </a:lnTo>
                  <a:lnTo>
                    <a:pt x="180" y="180"/>
                  </a:lnTo>
                  <a:lnTo>
                    <a:pt x="180" y="176"/>
                  </a:lnTo>
                  <a:lnTo>
                    <a:pt x="176" y="176"/>
                  </a:lnTo>
                  <a:lnTo>
                    <a:pt x="176" y="172"/>
                  </a:lnTo>
                  <a:lnTo>
                    <a:pt x="180" y="172"/>
                  </a:lnTo>
                  <a:lnTo>
                    <a:pt x="176" y="172"/>
                  </a:lnTo>
                  <a:lnTo>
                    <a:pt x="176" y="168"/>
                  </a:lnTo>
                  <a:lnTo>
                    <a:pt x="172" y="168"/>
                  </a:lnTo>
                  <a:lnTo>
                    <a:pt x="172" y="164"/>
                  </a:lnTo>
                  <a:lnTo>
                    <a:pt x="168" y="164"/>
                  </a:lnTo>
                  <a:lnTo>
                    <a:pt x="172" y="164"/>
                  </a:lnTo>
                  <a:lnTo>
                    <a:pt x="172" y="160"/>
                  </a:lnTo>
                  <a:lnTo>
                    <a:pt x="172" y="164"/>
                  </a:lnTo>
                  <a:lnTo>
                    <a:pt x="176" y="164"/>
                  </a:lnTo>
                  <a:lnTo>
                    <a:pt x="180" y="160"/>
                  </a:lnTo>
                  <a:lnTo>
                    <a:pt x="180" y="164"/>
                  </a:lnTo>
                  <a:lnTo>
                    <a:pt x="184" y="164"/>
                  </a:lnTo>
                  <a:lnTo>
                    <a:pt x="184" y="160"/>
                  </a:lnTo>
                  <a:lnTo>
                    <a:pt x="180" y="160"/>
                  </a:lnTo>
                  <a:lnTo>
                    <a:pt x="176" y="160"/>
                  </a:lnTo>
                  <a:lnTo>
                    <a:pt x="172" y="160"/>
                  </a:lnTo>
                  <a:lnTo>
                    <a:pt x="168" y="160"/>
                  </a:lnTo>
                  <a:lnTo>
                    <a:pt x="164" y="156"/>
                  </a:lnTo>
                  <a:lnTo>
                    <a:pt x="160" y="156"/>
                  </a:lnTo>
                  <a:lnTo>
                    <a:pt x="156" y="156"/>
                  </a:lnTo>
                  <a:lnTo>
                    <a:pt x="156" y="152"/>
                  </a:lnTo>
                  <a:lnTo>
                    <a:pt x="152" y="152"/>
                  </a:lnTo>
                  <a:lnTo>
                    <a:pt x="152" y="148"/>
                  </a:lnTo>
                  <a:lnTo>
                    <a:pt x="156" y="148"/>
                  </a:lnTo>
                  <a:lnTo>
                    <a:pt x="156" y="152"/>
                  </a:lnTo>
                  <a:lnTo>
                    <a:pt x="152" y="152"/>
                  </a:lnTo>
                  <a:lnTo>
                    <a:pt x="156" y="152"/>
                  </a:lnTo>
                  <a:lnTo>
                    <a:pt x="160" y="148"/>
                  </a:lnTo>
                  <a:lnTo>
                    <a:pt x="164" y="148"/>
                  </a:lnTo>
                  <a:lnTo>
                    <a:pt x="164" y="144"/>
                  </a:lnTo>
                  <a:lnTo>
                    <a:pt x="168" y="148"/>
                  </a:lnTo>
                  <a:lnTo>
                    <a:pt x="168" y="144"/>
                  </a:lnTo>
                  <a:lnTo>
                    <a:pt x="172" y="144"/>
                  </a:lnTo>
                  <a:lnTo>
                    <a:pt x="168" y="144"/>
                  </a:lnTo>
                  <a:lnTo>
                    <a:pt x="172" y="144"/>
                  </a:lnTo>
                  <a:lnTo>
                    <a:pt x="172" y="140"/>
                  </a:lnTo>
                  <a:lnTo>
                    <a:pt x="176" y="140"/>
                  </a:lnTo>
                  <a:lnTo>
                    <a:pt x="180" y="136"/>
                  </a:lnTo>
                  <a:lnTo>
                    <a:pt x="184" y="140"/>
                  </a:lnTo>
                  <a:lnTo>
                    <a:pt x="188" y="140"/>
                  </a:lnTo>
                  <a:lnTo>
                    <a:pt x="192" y="140"/>
                  </a:lnTo>
                  <a:lnTo>
                    <a:pt x="188" y="136"/>
                  </a:lnTo>
                  <a:lnTo>
                    <a:pt x="184" y="136"/>
                  </a:lnTo>
                  <a:lnTo>
                    <a:pt x="188" y="136"/>
                  </a:lnTo>
                  <a:lnTo>
                    <a:pt x="188" y="132"/>
                  </a:lnTo>
                  <a:lnTo>
                    <a:pt x="192" y="132"/>
                  </a:lnTo>
                  <a:lnTo>
                    <a:pt x="196" y="132"/>
                  </a:lnTo>
                  <a:lnTo>
                    <a:pt x="200" y="132"/>
                  </a:lnTo>
                  <a:lnTo>
                    <a:pt x="204" y="128"/>
                  </a:lnTo>
                  <a:lnTo>
                    <a:pt x="208" y="128"/>
                  </a:lnTo>
                  <a:lnTo>
                    <a:pt x="212" y="128"/>
                  </a:lnTo>
                  <a:lnTo>
                    <a:pt x="216" y="128"/>
                  </a:lnTo>
                  <a:lnTo>
                    <a:pt x="220" y="128"/>
                  </a:lnTo>
                  <a:lnTo>
                    <a:pt x="216" y="128"/>
                  </a:lnTo>
                  <a:lnTo>
                    <a:pt x="220" y="128"/>
                  </a:lnTo>
                  <a:lnTo>
                    <a:pt x="216" y="132"/>
                  </a:lnTo>
                  <a:lnTo>
                    <a:pt x="216" y="136"/>
                  </a:lnTo>
                  <a:lnTo>
                    <a:pt x="212" y="136"/>
                  </a:lnTo>
                  <a:lnTo>
                    <a:pt x="216" y="136"/>
                  </a:lnTo>
                  <a:lnTo>
                    <a:pt x="216" y="140"/>
                  </a:lnTo>
                  <a:lnTo>
                    <a:pt x="220" y="140"/>
                  </a:lnTo>
                  <a:lnTo>
                    <a:pt x="224" y="140"/>
                  </a:lnTo>
                  <a:lnTo>
                    <a:pt x="228" y="140"/>
                  </a:lnTo>
                  <a:lnTo>
                    <a:pt x="232" y="140"/>
                  </a:lnTo>
                  <a:lnTo>
                    <a:pt x="236" y="140"/>
                  </a:lnTo>
                  <a:lnTo>
                    <a:pt x="240" y="140"/>
                  </a:lnTo>
                  <a:lnTo>
                    <a:pt x="244" y="140"/>
                  </a:lnTo>
                  <a:lnTo>
                    <a:pt x="248" y="144"/>
                  </a:lnTo>
                  <a:lnTo>
                    <a:pt x="248" y="140"/>
                  </a:lnTo>
                  <a:lnTo>
                    <a:pt x="252" y="140"/>
                  </a:lnTo>
                  <a:lnTo>
                    <a:pt x="252" y="136"/>
                  </a:lnTo>
                  <a:lnTo>
                    <a:pt x="256" y="136"/>
                  </a:lnTo>
                  <a:lnTo>
                    <a:pt x="260" y="136"/>
                  </a:lnTo>
                  <a:lnTo>
                    <a:pt x="260" y="140"/>
                  </a:lnTo>
                  <a:lnTo>
                    <a:pt x="256" y="140"/>
                  </a:lnTo>
                  <a:lnTo>
                    <a:pt x="260" y="140"/>
                  </a:lnTo>
                  <a:lnTo>
                    <a:pt x="260" y="136"/>
                  </a:lnTo>
                  <a:lnTo>
                    <a:pt x="260" y="132"/>
                  </a:lnTo>
                  <a:lnTo>
                    <a:pt x="256" y="132"/>
                  </a:lnTo>
                  <a:lnTo>
                    <a:pt x="252" y="132"/>
                  </a:lnTo>
                  <a:lnTo>
                    <a:pt x="248" y="132"/>
                  </a:lnTo>
                  <a:lnTo>
                    <a:pt x="248" y="136"/>
                  </a:lnTo>
                  <a:lnTo>
                    <a:pt x="244" y="132"/>
                  </a:lnTo>
                  <a:lnTo>
                    <a:pt x="248" y="132"/>
                  </a:lnTo>
                  <a:lnTo>
                    <a:pt x="248" y="128"/>
                  </a:lnTo>
                  <a:lnTo>
                    <a:pt x="244" y="124"/>
                  </a:lnTo>
                  <a:lnTo>
                    <a:pt x="240" y="124"/>
                  </a:lnTo>
                  <a:lnTo>
                    <a:pt x="236" y="124"/>
                  </a:lnTo>
                  <a:lnTo>
                    <a:pt x="236" y="120"/>
                  </a:lnTo>
                  <a:lnTo>
                    <a:pt x="240" y="116"/>
                  </a:lnTo>
                  <a:lnTo>
                    <a:pt x="244" y="120"/>
                  </a:lnTo>
                  <a:lnTo>
                    <a:pt x="244" y="124"/>
                  </a:lnTo>
                  <a:lnTo>
                    <a:pt x="248" y="128"/>
                  </a:lnTo>
                  <a:lnTo>
                    <a:pt x="252" y="132"/>
                  </a:lnTo>
                  <a:lnTo>
                    <a:pt x="256" y="128"/>
                  </a:lnTo>
                  <a:lnTo>
                    <a:pt x="260" y="128"/>
                  </a:lnTo>
                  <a:lnTo>
                    <a:pt x="260" y="132"/>
                  </a:lnTo>
                  <a:lnTo>
                    <a:pt x="264" y="132"/>
                  </a:lnTo>
                  <a:lnTo>
                    <a:pt x="268" y="132"/>
                  </a:lnTo>
                  <a:lnTo>
                    <a:pt x="272" y="132"/>
                  </a:lnTo>
                  <a:lnTo>
                    <a:pt x="272" y="128"/>
                  </a:lnTo>
                  <a:lnTo>
                    <a:pt x="272" y="124"/>
                  </a:lnTo>
                  <a:lnTo>
                    <a:pt x="268" y="128"/>
                  </a:lnTo>
                  <a:lnTo>
                    <a:pt x="264" y="128"/>
                  </a:lnTo>
                  <a:lnTo>
                    <a:pt x="264" y="124"/>
                  </a:lnTo>
                  <a:lnTo>
                    <a:pt x="260" y="124"/>
                  </a:lnTo>
                  <a:lnTo>
                    <a:pt x="256" y="124"/>
                  </a:lnTo>
                  <a:lnTo>
                    <a:pt x="256" y="128"/>
                  </a:lnTo>
                  <a:lnTo>
                    <a:pt x="252" y="128"/>
                  </a:lnTo>
                  <a:lnTo>
                    <a:pt x="248" y="128"/>
                  </a:lnTo>
                  <a:lnTo>
                    <a:pt x="248" y="124"/>
                  </a:lnTo>
                  <a:lnTo>
                    <a:pt x="248" y="120"/>
                  </a:lnTo>
                  <a:lnTo>
                    <a:pt x="248" y="116"/>
                  </a:lnTo>
                  <a:lnTo>
                    <a:pt x="252" y="116"/>
                  </a:lnTo>
                  <a:lnTo>
                    <a:pt x="248" y="116"/>
                  </a:lnTo>
                  <a:lnTo>
                    <a:pt x="240" y="116"/>
                  </a:lnTo>
                  <a:lnTo>
                    <a:pt x="236" y="116"/>
                  </a:lnTo>
                  <a:lnTo>
                    <a:pt x="240" y="116"/>
                  </a:lnTo>
                  <a:lnTo>
                    <a:pt x="240" y="112"/>
                  </a:lnTo>
                  <a:lnTo>
                    <a:pt x="236" y="116"/>
                  </a:lnTo>
                  <a:lnTo>
                    <a:pt x="232" y="116"/>
                  </a:lnTo>
                  <a:lnTo>
                    <a:pt x="228" y="116"/>
                  </a:lnTo>
                  <a:lnTo>
                    <a:pt x="224" y="116"/>
                  </a:lnTo>
                  <a:lnTo>
                    <a:pt x="220" y="112"/>
                  </a:lnTo>
                  <a:lnTo>
                    <a:pt x="216" y="112"/>
                  </a:lnTo>
                  <a:lnTo>
                    <a:pt x="220" y="112"/>
                  </a:lnTo>
                  <a:lnTo>
                    <a:pt x="216" y="108"/>
                  </a:lnTo>
                  <a:lnTo>
                    <a:pt x="216" y="104"/>
                  </a:lnTo>
                  <a:lnTo>
                    <a:pt x="216" y="100"/>
                  </a:lnTo>
                  <a:lnTo>
                    <a:pt x="212" y="100"/>
                  </a:lnTo>
                  <a:lnTo>
                    <a:pt x="208" y="100"/>
                  </a:lnTo>
                  <a:lnTo>
                    <a:pt x="208" y="96"/>
                  </a:lnTo>
                  <a:lnTo>
                    <a:pt x="204" y="96"/>
                  </a:lnTo>
                  <a:lnTo>
                    <a:pt x="196" y="92"/>
                  </a:lnTo>
                  <a:lnTo>
                    <a:pt x="196" y="88"/>
                  </a:lnTo>
                  <a:lnTo>
                    <a:pt x="192" y="88"/>
                  </a:lnTo>
                  <a:lnTo>
                    <a:pt x="188" y="88"/>
                  </a:lnTo>
                  <a:lnTo>
                    <a:pt x="184" y="88"/>
                  </a:lnTo>
                  <a:lnTo>
                    <a:pt x="184" y="84"/>
                  </a:lnTo>
                  <a:lnTo>
                    <a:pt x="180" y="84"/>
                  </a:lnTo>
                  <a:lnTo>
                    <a:pt x="180" y="80"/>
                  </a:lnTo>
                  <a:lnTo>
                    <a:pt x="176" y="80"/>
                  </a:lnTo>
                  <a:lnTo>
                    <a:pt x="172" y="80"/>
                  </a:lnTo>
                  <a:lnTo>
                    <a:pt x="176" y="80"/>
                  </a:lnTo>
                  <a:lnTo>
                    <a:pt x="172" y="80"/>
                  </a:lnTo>
                  <a:lnTo>
                    <a:pt x="176" y="80"/>
                  </a:lnTo>
                  <a:lnTo>
                    <a:pt x="180" y="80"/>
                  </a:lnTo>
                  <a:lnTo>
                    <a:pt x="180" y="76"/>
                  </a:lnTo>
                  <a:lnTo>
                    <a:pt x="180" y="72"/>
                  </a:lnTo>
                  <a:lnTo>
                    <a:pt x="180" y="68"/>
                  </a:lnTo>
                  <a:lnTo>
                    <a:pt x="184" y="68"/>
                  </a:lnTo>
                  <a:lnTo>
                    <a:pt x="188" y="68"/>
                  </a:lnTo>
                  <a:lnTo>
                    <a:pt x="192" y="68"/>
                  </a:lnTo>
                  <a:lnTo>
                    <a:pt x="196" y="68"/>
                  </a:lnTo>
                  <a:lnTo>
                    <a:pt x="200" y="64"/>
                  </a:lnTo>
                  <a:lnTo>
                    <a:pt x="204" y="64"/>
                  </a:lnTo>
                  <a:lnTo>
                    <a:pt x="208" y="64"/>
                  </a:lnTo>
                  <a:lnTo>
                    <a:pt x="212" y="64"/>
                  </a:lnTo>
                  <a:lnTo>
                    <a:pt x="216" y="64"/>
                  </a:lnTo>
                  <a:lnTo>
                    <a:pt x="220" y="60"/>
                  </a:lnTo>
                  <a:lnTo>
                    <a:pt x="224" y="60"/>
                  </a:lnTo>
                  <a:lnTo>
                    <a:pt x="224" y="56"/>
                  </a:lnTo>
                  <a:lnTo>
                    <a:pt x="228" y="52"/>
                  </a:lnTo>
                  <a:lnTo>
                    <a:pt x="224" y="56"/>
                  </a:lnTo>
                  <a:lnTo>
                    <a:pt x="228" y="52"/>
                  </a:lnTo>
                  <a:lnTo>
                    <a:pt x="228" y="48"/>
                  </a:lnTo>
                  <a:lnTo>
                    <a:pt x="228" y="44"/>
                  </a:lnTo>
                  <a:lnTo>
                    <a:pt x="232" y="44"/>
                  </a:lnTo>
                  <a:lnTo>
                    <a:pt x="228" y="44"/>
                  </a:lnTo>
                  <a:lnTo>
                    <a:pt x="232" y="40"/>
                  </a:lnTo>
                  <a:lnTo>
                    <a:pt x="236" y="40"/>
                  </a:lnTo>
                  <a:lnTo>
                    <a:pt x="236" y="36"/>
                  </a:lnTo>
                  <a:lnTo>
                    <a:pt x="240" y="32"/>
                  </a:lnTo>
                  <a:lnTo>
                    <a:pt x="244" y="28"/>
                  </a:lnTo>
                  <a:lnTo>
                    <a:pt x="248" y="28"/>
                  </a:lnTo>
                  <a:lnTo>
                    <a:pt x="248" y="32"/>
                  </a:lnTo>
                  <a:lnTo>
                    <a:pt x="244" y="32"/>
                  </a:lnTo>
                  <a:lnTo>
                    <a:pt x="248" y="32"/>
                  </a:lnTo>
                  <a:lnTo>
                    <a:pt x="248" y="28"/>
                  </a:lnTo>
                  <a:lnTo>
                    <a:pt x="252" y="28"/>
                  </a:lnTo>
                  <a:lnTo>
                    <a:pt x="256" y="28"/>
                  </a:lnTo>
                  <a:lnTo>
                    <a:pt x="260" y="28"/>
                  </a:lnTo>
                  <a:lnTo>
                    <a:pt x="264" y="28"/>
                  </a:lnTo>
                  <a:lnTo>
                    <a:pt x="264" y="24"/>
                  </a:lnTo>
                  <a:lnTo>
                    <a:pt x="268" y="24"/>
                  </a:lnTo>
                  <a:lnTo>
                    <a:pt x="268" y="20"/>
                  </a:lnTo>
                  <a:lnTo>
                    <a:pt x="272" y="20"/>
                  </a:lnTo>
                  <a:lnTo>
                    <a:pt x="276" y="20"/>
                  </a:lnTo>
                  <a:lnTo>
                    <a:pt x="276" y="24"/>
                  </a:lnTo>
                  <a:lnTo>
                    <a:pt x="272" y="24"/>
                  </a:lnTo>
                  <a:lnTo>
                    <a:pt x="276" y="24"/>
                  </a:lnTo>
                  <a:lnTo>
                    <a:pt x="276" y="28"/>
                  </a:lnTo>
                  <a:lnTo>
                    <a:pt x="276" y="24"/>
                  </a:lnTo>
                  <a:lnTo>
                    <a:pt x="280" y="24"/>
                  </a:lnTo>
                  <a:lnTo>
                    <a:pt x="284" y="24"/>
                  </a:lnTo>
                  <a:lnTo>
                    <a:pt x="284" y="20"/>
                  </a:lnTo>
                  <a:lnTo>
                    <a:pt x="280" y="20"/>
                  </a:lnTo>
                  <a:lnTo>
                    <a:pt x="280" y="24"/>
                  </a:lnTo>
                  <a:lnTo>
                    <a:pt x="276" y="20"/>
                  </a:lnTo>
                  <a:lnTo>
                    <a:pt x="272" y="20"/>
                  </a:lnTo>
                  <a:lnTo>
                    <a:pt x="276" y="16"/>
                  </a:lnTo>
                  <a:lnTo>
                    <a:pt x="280" y="16"/>
                  </a:lnTo>
                  <a:lnTo>
                    <a:pt x="280" y="12"/>
                  </a:lnTo>
                  <a:lnTo>
                    <a:pt x="284" y="12"/>
                  </a:lnTo>
                  <a:lnTo>
                    <a:pt x="288" y="12"/>
                  </a:lnTo>
                  <a:lnTo>
                    <a:pt x="284" y="12"/>
                  </a:lnTo>
                  <a:lnTo>
                    <a:pt x="288" y="12"/>
                  </a:lnTo>
                  <a:lnTo>
                    <a:pt x="284" y="12"/>
                  </a:lnTo>
                  <a:lnTo>
                    <a:pt x="284" y="16"/>
                  </a:lnTo>
                  <a:lnTo>
                    <a:pt x="288" y="16"/>
                  </a:lnTo>
                  <a:lnTo>
                    <a:pt x="292" y="16"/>
                  </a:lnTo>
                  <a:lnTo>
                    <a:pt x="292" y="12"/>
                  </a:lnTo>
                  <a:lnTo>
                    <a:pt x="292" y="16"/>
                  </a:lnTo>
                  <a:lnTo>
                    <a:pt x="296" y="16"/>
                  </a:lnTo>
                  <a:lnTo>
                    <a:pt x="296" y="12"/>
                  </a:lnTo>
                  <a:lnTo>
                    <a:pt x="299" y="12"/>
                  </a:lnTo>
                  <a:lnTo>
                    <a:pt x="303" y="12"/>
                  </a:lnTo>
                  <a:lnTo>
                    <a:pt x="307" y="12"/>
                  </a:lnTo>
                  <a:lnTo>
                    <a:pt x="311" y="8"/>
                  </a:lnTo>
                  <a:lnTo>
                    <a:pt x="315" y="8"/>
                  </a:lnTo>
                  <a:lnTo>
                    <a:pt x="315" y="4"/>
                  </a:lnTo>
                  <a:lnTo>
                    <a:pt x="319" y="4"/>
                  </a:lnTo>
                  <a:lnTo>
                    <a:pt x="323" y="0"/>
                  </a:lnTo>
                  <a:lnTo>
                    <a:pt x="327" y="0"/>
                  </a:lnTo>
                  <a:lnTo>
                    <a:pt x="331" y="0"/>
                  </a:lnTo>
                  <a:lnTo>
                    <a:pt x="335" y="0"/>
                  </a:lnTo>
                  <a:lnTo>
                    <a:pt x="335" y="4"/>
                  </a:lnTo>
                  <a:lnTo>
                    <a:pt x="339" y="4"/>
                  </a:lnTo>
                  <a:lnTo>
                    <a:pt x="343" y="4"/>
                  </a:lnTo>
                  <a:lnTo>
                    <a:pt x="339" y="8"/>
                  </a:lnTo>
                  <a:lnTo>
                    <a:pt x="335" y="8"/>
                  </a:lnTo>
                  <a:lnTo>
                    <a:pt x="331" y="12"/>
                  </a:lnTo>
                  <a:lnTo>
                    <a:pt x="335" y="12"/>
                  </a:lnTo>
                  <a:lnTo>
                    <a:pt x="335" y="16"/>
                  </a:lnTo>
                  <a:lnTo>
                    <a:pt x="335" y="12"/>
                  </a:lnTo>
                  <a:lnTo>
                    <a:pt x="339" y="12"/>
                  </a:lnTo>
                  <a:lnTo>
                    <a:pt x="343" y="12"/>
                  </a:lnTo>
                  <a:lnTo>
                    <a:pt x="343" y="8"/>
                  </a:lnTo>
                  <a:lnTo>
                    <a:pt x="347" y="8"/>
                  </a:lnTo>
                  <a:lnTo>
                    <a:pt x="347" y="4"/>
                  </a:lnTo>
                  <a:lnTo>
                    <a:pt x="351" y="4"/>
                  </a:lnTo>
                  <a:lnTo>
                    <a:pt x="351" y="8"/>
                  </a:lnTo>
                  <a:lnTo>
                    <a:pt x="347" y="8"/>
                  </a:lnTo>
                  <a:lnTo>
                    <a:pt x="351" y="8"/>
                  </a:lnTo>
                  <a:lnTo>
                    <a:pt x="351" y="4"/>
                  </a:lnTo>
                  <a:lnTo>
                    <a:pt x="355" y="8"/>
                  </a:lnTo>
                  <a:lnTo>
                    <a:pt x="355" y="12"/>
                  </a:lnTo>
                  <a:lnTo>
                    <a:pt x="359" y="12"/>
                  </a:lnTo>
                  <a:lnTo>
                    <a:pt x="363" y="12"/>
                  </a:lnTo>
                  <a:lnTo>
                    <a:pt x="363" y="16"/>
                  </a:lnTo>
                  <a:lnTo>
                    <a:pt x="367" y="12"/>
                  </a:lnTo>
                  <a:lnTo>
                    <a:pt x="371" y="12"/>
                  </a:lnTo>
                  <a:lnTo>
                    <a:pt x="375" y="12"/>
                  </a:lnTo>
                  <a:lnTo>
                    <a:pt x="379" y="12"/>
                  </a:lnTo>
                  <a:lnTo>
                    <a:pt x="383" y="12"/>
                  </a:lnTo>
                  <a:lnTo>
                    <a:pt x="387" y="12"/>
                  </a:lnTo>
                  <a:lnTo>
                    <a:pt x="391" y="12"/>
                  </a:lnTo>
                  <a:lnTo>
                    <a:pt x="391" y="16"/>
                  </a:lnTo>
                  <a:lnTo>
                    <a:pt x="387" y="16"/>
                  </a:lnTo>
                  <a:lnTo>
                    <a:pt x="387" y="20"/>
                  </a:lnTo>
                  <a:lnTo>
                    <a:pt x="391" y="20"/>
                  </a:lnTo>
                  <a:lnTo>
                    <a:pt x="395" y="20"/>
                  </a:lnTo>
                  <a:lnTo>
                    <a:pt x="391" y="20"/>
                  </a:lnTo>
                  <a:lnTo>
                    <a:pt x="387" y="20"/>
                  </a:lnTo>
                  <a:lnTo>
                    <a:pt x="391" y="20"/>
                  </a:lnTo>
                  <a:lnTo>
                    <a:pt x="395" y="20"/>
                  </a:lnTo>
                  <a:lnTo>
                    <a:pt x="399" y="20"/>
                  </a:lnTo>
                  <a:lnTo>
                    <a:pt x="399" y="24"/>
                  </a:lnTo>
                  <a:lnTo>
                    <a:pt x="395" y="24"/>
                  </a:lnTo>
                  <a:lnTo>
                    <a:pt x="399" y="24"/>
                  </a:lnTo>
                  <a:lnTo>
                    <a:pt x="403" y="24"/>
                  </a:lnTo>
                  <a:lnTo>
                    <a:pt x="407" y="24"/>
                  </a:lnTo>
                  <a:lnTo>
                    <a:pt x="411" y="24"/>
                  </a:lnTo>
                  <a:lnTo>
                    <a:pt x="415" y="24"/>
                  </a:lnTo>
                  <a:lnTo>
                    <a:pt x="415" y="20"/>
                  </a:lnTo>
                  <a:lnTo>
                    <a:pt x="419" y="20"/>
                  </a:lnTo>
                  <a:lnTo>
                    <a:pt x="419" y="24"/>
                  </a:lnTo>
                  <a:lnTo>
                    <a:pt x="423" y="24"/>
                  </a:lnTo>
                  <a:lnTo>
                    <a:pt x="427" y="24"/>
                  </a:lnTo>
                  <a:lnTo>
                    <a:pt x="427" y="20"/>
                  </a:lnTo>
                  <a:lnTo>
                    <a:pt x="435" y="20"/>
                  </a:lnTo>
                  <a:lnTo>
                    <a:pt x="435" y="24"/>
                  </a:lnTo>
                  <a:lnTo>
                    <a:pt x="439" y="24"/>
                  </a:lnTo>
                  <a:lnTo>
                    <a:pt x="443" y="24"/>
                  </a:lnTo>
                  <a:lnTo>
                    <a:pt x="447" y="24"/>
                  </a:lnTo>
                  <a:lnTo>
                    <a:pt x="447" y="28"/>
                  </a:lnTo>
                  <a:lnTo>
                    <a:pt x="451" y="28"/>
                  </a:lnTo>
                  <a:lnTo>
                    <a:pt x="455" y="24"/>
                  </a:lnTo>
                  <a:lnTo>
                    <a:pt x="455" y="28"/>
                  </a:lnTo>
                  <a:lnTo>
                    <a:pt x="459" y="28"/>
                  </a:lnTo>
                  <a:lnTo>
                    <a:pt x="463" y="32"/>
                  </a:lnTo>
                  <a:lnTo>
                    <a:pt x="467" y="32"/>
                  </a:lnTo>
                  <a:lnTo>
                    <a:pt x="471" y="32"/>
                  </a:lnTo>
                  <a:lnTo>
                    <a:pt x="475" y="32"/>
                  </a:lnTo>
                  <a:lnTo>
                    <a:pt x="479" y="32"/>
                  </a:lnTo>
                  <a:lnTo>
                    <a:pt x="483" y="32"/>
                  </a:lnTo>
                  <a:lnTo>
                    <a:pt x="487" y="32"/>
                  </a:lnTo>
                  <a:lnTo>
                    <a:pt x="491" y="32"/>
                  </a:lnTo>
                  <a:lnTo>
                    <a:pt x="495" y="36"/>
                  </a:lnTo>
                  <a:lnTo>
                    <a:pt x="499" y="36"/>
                  </a:lnTo>
                  <a:lnTo>
                    <a:pt x="503" y="36"/>
                  </a:lnTo>
                  <a:lnTo>
                    <a:pt x="507" y="36"/>
                  </a:lnTo>
                  <a:lnTo>
                    <a:pt x="511" y="36"/>
                  </a:lnTo>
                  <a:lnTo>
                    <a:pt x="515" y="36"/>
                  </a:lnTo>
                  <a:lnTo>
                    <a:pt x="515" y="32"/>
                  </a:lnTo>
                  <a:lnTo>
                    <a:pt x="523" y="32"/>
                  </a:lnTo>
                  <a:lnTo>
                    <a:pt x="527" y="32"/>
                  </a:lnTo>
                  <a:lnTo>
                    <a:pt x="531" y="32"/>
                  </a:lnTo>
                  <a:lnTo>
                    <a:pt x="535" y="32"/>
                  </a:lnTo>
                  <a:lnTo>
                    <a:pt x="539" y="36"/>
                  </a:lnTo>
                  <a:lnTo>
                    <a:pt x="543" y="36"/>
                  </a:lnTo>
                  <a:lnTo>
                    <a:pt x="543" y="40"/>
                  </a:lnTo>
                  <a:lnTo>
                    <a:pt x="547" y="40"/>
                  </a:lnTo>
                  <a:lnTo>
                    <a:pt x="551" y="40"/>
                  </a:lnTo>
                  <a:lnTo>
                    <a:pt x="551" y="44"/>
                  </a:lnTo>
                  <a:lnTo>
                    <a:pt x="555" y="44"/>
                  </a:lnTo>
                  <a:lnTo>
                    <a:pt x="559" y="44"/>
                  </a:lnTo>
                  <a:lnTo>
                    <a:pt x="563" y="44"/>
                  </a:lnTo>
                  <a:lnTo>
                    <a:pt x="563" y="48"/>
                  </a:lnTo>
                  <a:lnTo>
                    <a:pt x="563" y="52"/>
                  </a:lnTo>
                  <a:lnTo>
                    <a:pt x="563" y="64"/>
                  </a:lnTo>
                  <a:lnTo>
                    <a:pt x="563" y="76"/>
                  </a:lnTo>
                  <a:lnTo>
                    <a:pt x="563" y="84"/>
                  </a:lnTo>
                  <a:lnTo>
                    <a:pt x="563" y="88"/>
                  </a:lnTo>
                  <a:lnTo>
                    <a:pt x="563" y="92"/>
                  </a:lnTo>
                  <a:lnTo>
                    <a:pt x="563" y="96"/>
                  </a:lnTo>
                  <a:lnTo>
                    <a:pt x="563" y="104"/>
                  </a:lnTo>
                  <a:lnTo>
                    <a:pt x="563" y="108"/>
                  </a:lnTo>
                  <a:lnTo>
                    <a:pt x="563" y="116"/>
                  </a:lnTo>
                  <a:lnTo>
                    <a:pt x="563" y="120"/>
                  </a:lnTo>
                  <a:lnTo>
                    <a:pt x="563" y="124"/>
                  </a:lnTo>
                  <a:lnTo>
                    <a:pt x="563" y="128"/>
                  </a:lnTo>
                  <a:lnTo>
                    <a:pt x="563" y="140"/>
                  </a:lnTo>
                  <a:lnTo>
                    <a:pt x="563" y="152"/>
                  </a:lnTo>
                  <a:lnTo>
                    <a:pt x="563" y="164"/>
                  </a:lnTo>
                  <a:lnTo>
                    <a:pt x="563" y="188"/>
                  </a:lnTo>
                  <a:lnTo>
                    <a:pt x="563" y="196"/>
                  </a:lnTo>
                  <a:lnTo>
                    <a:pt x="563" y="200"/>
                  </a:lnTo>
                  <a:lnTo>
                    <a:pt x="563" y="216"/>
                  </a:lnTo>
                  <a:lnTo>
                    <a:pt x="563" y="228"/>
                  </a:lnTo>
                  <a:lnTo>
                    <a:pt x="563" y="271"/>
                  </a:lnTo>
                  <a:lnTo>
                    <a:pt x="563" y="283"/>
                  </a:lnTo>
                  <a:lnTo>
                    <a:pt x="563" y="287"/>
                  </a:lnTo>
                  <a:lnTo>
                    <a:pt x="571" y="287"/>
                  </a:lnTo>
                  <a:lnTo>
                    <a:pt x="579" y="287"/>
                  </a:lnTo>
                  <a:lnTo>
                    <a:pt x="583" y="287"/>
                  </a:lnTo>
                  <a:lnTo>
                    <a:pt x="583" y="283"/>
                  </a:lnTo>
                  <a:lnTo>
                    <a:pt x="587" y="283"/>
                  </a:lnTo>
                  <a:lnTo>
                    <a:pt x="591" y="283"/>
                  </a:lnTo>
                  <a:lnTo>
                    <a:pt x="591" y="287"/>
                  </a:lnTo>
                  <a:lnTo>
                    <a:pt x="591" y="291"/>
                  </a:lnTo>
                  <a:lnTo>
                    <a:pt x="595" y="295"/>
                  </a:lnTo>
                  <a:lnTo>
                    <a:pt x="599" y="295"/>
                  </a:lnTo>
                  <a:lnTo>
                    <a:pt x="599" y="299"/>
                  </a:lnTo>
                  <a:lnTo>
                    <a:pt x="603" y="303"/>
                  </a:lnTo>
                  <a:lnTo>
                    <a:pt x="607" y="303"/>
                  </a:lnTo>
                  <a:lnTo>
                    <a:pt x="611" y="307"/>
                  </a:lnTo>
                  <a:lnTo>
                    <a:pt x="615" y="311"/>
                  </a:lnTo>
                  <a:lnTo>
                    <a:pt x="615" y="315"/>
                  </a:lnTo>
                  <a:lnTo>
                    <a:pt x="615" y="319"/>
                  </a:lnTo>
                  <a:lnTo>
                    <a:pt x="619" y="319"/>
                  </a:lnTo>
                  <a:lnTo>
                    <a:pt x="619" y="315"/>
                  </a:lnTo>
                  <a:lnTo>
                    <a:pt x="623" y="315"/>
                  </a:lnTo>
                  <a:lnTo>
                    <a:pt x="627" y="315"/>
                  </a:lnTo>
                  <a:lnTo>
                    <a:pt x="631" y="315"/>
                  </a:lnTo>
                  <a:lnTo>
                    <a:pt x="631" y="311"/>
                  </a:lnTo>
                  <a:lnTo>
                    <a:pt x="631" y="307"/>
                  </a:lnTo>
                  <a:lnTo>
                    <a:pt x="635" y="307"/>
                  </a:lnTo>
                  <a:lnTo>
                    <a:pt x="635" y="303"/>
                  </a:lnTo>
                  <a:lnTo>
                    <a:pt x="639" y="303"/>
                  </a:lnTo>
                  <a:lnTo>
                    <a:pt x="639" y="299"/>
                  </a:lnTo>
                  <a:lnTo>
                    <a:pt x="643" y="299"/>
                  </a:lnTo>
                  <a:lnTo>
                    <a:pt x="647" y="299"/>
                  </a:lnTo>
                  <a:lnTo>
                    <a:pt x="651" y="303"/>
                  </a:lnTo>
                  <a:lnTo>
                    <a:pt x="654" y="303"/>
                  </a:lnTo>
                  <a:lnTo>
                    <a:pt x="654" y="307"/>
                  </a:lnTo>
                  <a:lnTo>
                    <a:pt x="651" y="307"/>
                  </a:lnTo>
                  <a:lnTo>
                    <a:pt x="654" y="311"/>
                  </a:lnTo>
                  <a:lnTo>
                    <a:pt x="658" y="311"/>
                  </a:lnTo>
                  <a:lnTo>
                    <a:pt x="658" y="315"/>
                  </a:lnTo>
                  <a:lnTo>
                    <a:pt x="662" y="315"/>
                  </a:lnTo>
                  <a:lnTo>
                    <a:pt x="662" y="319"/>
                  </a:lnTo>
                  <a:lnTo>
                    <a:pt x="666" y="319"/>
                  </a:lnTo>
                  <a:lnTo>
                    <a:pt x="666" y="323"/>
                  </a:lnTo>
                  <a:lnTo>
                    <a:pt x="670" y="323"/>
                  </a:lnTo>
                  <a:lnTo>
                    <a:pt x="670" y="327"/>
                  </a:lnTo>
                  <a:lnTo>
                    <a:pt x="674" y="327"/>
                  </a:lnTo>
                  <a:lnTo>
                    <a:pt x="678" y="331"/>
                  </a:lnTo>
                  <a:lnTo>
                    <a:pt x="678" y="335"/>
                  </a:lnTo>
                  <a:lnTo>
                    <a:pt x="682" y="335"/>
                  </a:lnTo>
                  <a:lnTo>
                    <a:pt x="682" y="339"/>
                  </a:lnTo>
                  <a:lnTo>
                    <a:pt x="682" y="343"/>
                  </a:lnTo>
                  <a:lnTo>
                    <a:pt x="686" y="343"/>
                  </a:lnTo>
                  <a:lnTo>
                    <a:pt x="686" y="347"/>
                  </a:lnTo>
                  <a:lnTo>
                    <a:pt x="690" y="351"/>
                  </a:lnTo>
                  <a:lnTo>
                    <a:pt x="690" y="355"/>
                  </a:lnTo>
                  <a:lnTo>
                    <a:pt x="694" y="355"/>
                  </a:lnTo>
                  <a:lnTo>
                    <a:pt x="694" y="359"/>
                  </a:lnTo>
                  <a:lnTo>
                    <a:pt x="694" y="363"/>
                  </a:lnTo>
                  <a:lnTo>
                    <a:pt x="698" y="363"/>
                  </a:lnTo>
                  <a:lnTo>
                    <a:pt x="698" y="367"/>
                  </a:lnTo>
                  <a:lnTo>
                    <a:pt x="702" y="371"/>
                  </a:lnTo>
                  <a:lnTo>
                    <a:pt x="702" y="375"/>
                  </a:lnTo>
                  <a:lnTo>
                    <a:pt x="706" y="375"/>
                  </a:lnTo>
                  <a:lnTo>
                    <a:pt x="710" y="375"/>
                  </a:lnTo>
                  <a:lnTo>
                    <a:pt x="710" y="379"/>
                  </a:lnTo>
                  <a:lnTo>
                    <a:pt x="714" y="379"/>
                  </a:lnTo>
                  <a:lnTo>
                    <a:pt x="718" y="379"/>
                  </a:lnTo>
                  <a:lnTo>
                    <a:pt x="718" y="383"/>
                  </a:lnTo>
                  <a:lnTo>
                    <a:pt x="722" y="383"/>
                  </a:lnTo>
                  <a:lnTo>
                    <a:pt x="722" y="387"/>
                  </a:lnTo>
                  <a:lnTo>
                    <a:pt x="726" y="387"/>
                  </a:lnTo>
                  <a:lnTo>
                    <a:pt x="730" y="387"/>
                  </a:lnTo>
                  <a:lnTo>
                    <a:pt x="730" y="391"/>
                  </a:lnTo>
                  <a:lnTo>
                    <a:pt x="726" y="391"/>
                  </a:lnTo>
                  <a:lnTo>
                    <a:pt x="726" y="395"/>
                  </a:lnTo>
                  <a:lnTo>
                    <a:pt x="726" y="399"/>
                  </a:lnTo>
                  <a:lnTo>
                    <a:pt x="726" y="403"/>
                  </a:lnTo>
                  <a:lnTo>
                    <a:pt x="730" y="407"/>
                  </a:lnTo>
                  <a:lnTo>
                    <a:pt x="726" y="407"/>
                  </a:lnTo>
                  <a:lnTo>
                    <a:pt x="726" y="411"/>
                  </a:lnTo>
                  <a:lnTo>
                    <a:pt x="722" y="415"/>
                  </a:lnTo>
                  <a:lnTo>
                    <a:pt x="718" y="415"/>
                  </a:lnTo>
                  <a:lnTo>
                    <a:pt x="718" y="419"/>
                  </a:lnTo>
                  <a:lnTo>
                    <a:pt x="718" y="415"/>
                  </a:lnTo>
                  <a:lnTo>
                    <a:pt x="718" y="419"/>
                  </a:lnTo>
                  <a:lnTo>
                    <a:pt x="714" y="419"/>
                  </a:lnTo>
                  <a:lnTo>
                    <a:pt x="714" y="415"/>
                  </a:lnTo>
                  <a:lnTo>
                    <a:pt x="714" y="411"/>
                  </a:lnTo>
                  <a:lnTo>
                    <a:pt x="718" y="411"/>
                  </a:lnTo>
                  <a:lnTo>
                    <a:pt x="722" y="407"/>
                  </a:lnTo>
                  <a:lnTo>
                    <a:pt x="722" y="403"/>
                  </a:lnTo>
                  <a:lnTo>
                    <a:pt x="722" y="407"/>
                  </a:lnTo>
                  <a:lnTo>
                    <a:pt x="718" y="407"/>
                  </a:lnTo>
                  <a:lnTo>
                    <a:pt x="718" y="411"/>
                  </a:lnTo>
                  <a:lnTo>
                    <a:pt x="718" y="407"/>
                  </a:lnTo>
                  <a:lnTo>
                    <a:pt x="714" y="411"/>
                  </a:lnTo>
                  <a:lnTo>
                    <a:pt x="714" y="407"/>
                  </a:lnTo>
                  <a:lnTo>
                    <a:pt x="718" y="407"/>
                  </a:lnTo>
                  <a:lnTo>
                    <a:pt x="718" y="403"/>
                  </a:lnTo>
                  <a:lnTo>
                    <a:pt x="714" y="403"/>
                  </a:lnTo>
                  <a:lnTo>
                    <a:pt x="714" y="399"/>
                  </a:lnTo>
                  <a:lnTo>
                    <a:pt x="714" y="395"/>
                  </a:lnTo>
                  <a:lnTo>
                    <a:pt x="714" y="391"/>
                  </a:lnTo>
                  <a:lnTo>
                    <a:pt x="710" y="391"/>
                  </a:lnTo>
                  <a:lnTo>
                    <a:pt x="710" y="387"/>
                  </a:lnTo>
                  <a:lnTo>
                    <a:pt x="714" y="387"/>
                  </a:lnTo>
                  <a:lnTo>
                    <a:pt x="710" y="387"/>
                  </a:lnTo>
                  <a:lnTo>
                    <a:pt x="710" y="391"/>
                  </a:lnTo>
                  <a:lnTo>
                    <a:pt x="706" y="391"/>
                  </a:lnTo>
                  <a:lnTo>
                    <a:pt x="706" y="387"/>
                  </a:lnTo>
                  <a:lnTo>
                    <a:pt x="706" y="391"/>
                  </a:lnTo>
                  <a:lnTo>
                    <a:pt x="702" y="391"/>
                  </a:lnTo>
                  <a:lnTo>
                    <a:pt x="698" y="391"/>
                  </a:lnTo>
                  <a:lnTo>
                    <a:pt x="702" y="391"/>
                  </a:lnTo>
                  <a:lnTo>
                    <a:pt x="702" y="395"/>
                  </a:lnTo>
                  <a:lnTo>
                    <a:pt x="702" y="399"/>
                  </a:lnTo>
                  <a:lnTo>
                    <a:pt x="698" y="399"/>
                  </a:lnTo>
                  <a:lnTo>
                    <a:pt x="694" y="399"/>
                  </a:lnTo>
                  <a:lnTo>
                    <a:pt x="694" y="395"/>
                  </a:lnTo>
                  <a:lnTo>
                    <a:pt x="698" y="395"/>
                  </a:lnTo>
                  <a:lnTo>
                    <a:pt x="698" y="391"/>
                  </a:lnTo>
                  <a:lnTo>
                    <a:pt x="698" y="387"/>
                  </a:lnTo>
                  <a:lnTo>
                    <a:pt x="698" y="383"/>
                  </a:lnTo>
                  <a:lnTo>
                    <a:pt x="702" y="383"/>
                  </a:lnTo>
                  <a:lnTo>
                    <a:pt x="698" y="383"/>
                  </a:lnTo>
                  <a:lnTo>
                    <a:pt x="698" y="379"/>
                  </a:lnTo>
                  <a:lnTo>
                    <a:pt x="694" y="379"/>
                  </a:lnTo>
                  <a:lnTo>
                    <a:pt x="694" y="375"/>
                  </a:lnTo>
                  <a:lnTo>
                    <a:pt x="690" y="375"/>
                  </a:lnTo>
                  <a:lnTo>
                    <a:pt x="690" y="371"/>
                  </a:lnTo>
                  <a:lnTo>
                    <a:pt x="694" y="371"/>
                  </a:lnTo>
                  <a:lnTo>
                    <a:pt x="690" y="371"/>
                  </a:lnTo>
                  <a:lnTo>
                    <a:pt x="686" y="371"/>
                  </a:lnTo>
                  <a:lnTo>
                    <a:pt x="686" y="367"/>
                  </a:lnTo>
                  <a:lnTo>
                    <a:pt x="686" y="363"/>
                  </a:lnTo>
                  <a:lnTo>
                    <a:pt x="682" y="363"/>
                  </a:lnTo>
                  <a:lnTo>
                    <a:pt x="678" y="363"/>
                  </a:lnTo>
                  <a:lnTo>
                    <a:pt x="674" y="363"/>
                  </a:lnTo>
                  <a:lnTo>
                    <a:pt x="674" y="359"/>
                  </a:lnTo>
                  <a:lnTo>
                    <a:pt x="678" y="359"/>
                  </a:lnTo>
                  <a:lnTo>
                    <a:pt x="682" y="359"/>
                  </a:lnTo>
                  <a:lnTo>
                    <a:pt x="682" y="355"/>
                  </a:lnTo>
                  <a:lnTo>
                    <a:pt x="682" y="359"/>
                  </a:lnTo>
                  <a:lnTo>
                    <a:pt x="678" y="359"/>
                  </a:lnTo>
                  <a:lnTo>
                    <a:pt x="678" y="355"/>
                  </a:lnTo>
                  <a:lnTo>
                    <a:pt x="674" y="355"/>
                  </a:lnTo>
                  <a:lnTo>
                    <a:pt x="678" y="351"/>
                  </a:lnTo>
                  <a:lnTo>
                    <a:pt x="674" y="351"/>
                  </a:lnTo>
                  <a:lnTo>
                    <a:pt x="674" y="347"/>
                  </a:lnTo>
                  <a:lnTo>
                    <a:pt x="682" y="351"/>
                  </a:lnTo>
                  <a:lnTo>
                    <a:pt x="678" y="351"/>
                  </a:lnTo>
                  <a:lnTo>
                    <a:pt x="678" y="347"/>
                  </a:lnTo>
                  <a:lnTo>
                    <a:pt x="674" y="347"/>
                  </a:lnTo>
                  <a:lnTo>
                    <a:pt x="674" y="343"/>
                  </a:lnTo>
                  <a:lnTo>
                    <a:pt x="678" y="343"/>
                  </a:lnTo>
                  <a:lnTo>
                    <a:pt x="682" y="343"/>
                  </a:lnTo>
                  <a:lnTo>
                    <a:pt x="678" y="343"/>
                  </a:lnTo>
                  <a:lnTo>
                    <a:pt x="674" y="343"/>
                  </a:lnTo>
                  <a:lnTo>
                    <a:pt x="674" y="347"/>
                  </a:lnTo>
                  <a:lnTo>
                    <a:pt x="670" y="343"/>
                  </a:lnTo>
                  <a:lnTo>
                    <a:pt x="670" y="339"/>
                  </a:lnTo>
                  <a:lnTo>
                    <a:pt x="674" y="339"/>
                  </a:lnTo>
                  <a:lnTo>
                    <a:pt x="670" y="339"/>
                  </a:lnTo>
                  <a:lnTo>
                    <a:pt x="670" y="343"/>
                  </a:lnTo>
                  <a:lnTo>
                    <a:pt x="670" y="339"/>
                  </a:lnTo>
                  <a:lnTo>
                    <a:pt x="666" y="339"/>
                  </a:lnTo>
                  <a:lnTo>
                    <a:pt x="666" y="335"/>
                  </a:lnTo>
                  <a:lnTo>
                    <a:pt x="670" y="331"/>
                  </a:lnTo>
                  <a:lnTo>
                    <a:pt x="666" y="331"/>
                  </a:lnTo>
                  <a:lnTo>
                    <a:pt x="670" y="331"/>
                  </a:lnTo>
                  <a:lnTo>
                    <a:pt x="670" y="327"/>
                  </a:lnTo>
                  <a:lnTo>
                    <a:pt x="670" y="331"/>
                  </a:lnTo>
                  <a:lnTo>
                    <a:pt x="670" y="327"/>
                  </a:lnTo>
                  <a:lnTo>
                    <a:pt x="670" y="331"/>
                  </a:lnTo>
                  <a:lnTo>
                    <a:pt x="666" y="331"/>
                  </a:lnTo>
                  <a:lnTo>
                    <a:pt x="666" y="335"/>
                  </a:lnTo>
                  <a:lnTo>
                    <a:pt x="662" y="335"/>
                  </a:lnTo>
                  <a:lnTo>
                    <a:pt x="662" y="331"/>
                  </a:lnTo>
                  <a:lnTo>
                    <a:pt x="658" y="331"/>
                  </a:lnTo>
                  <a:lnTo>
                    <a:pt x="654" y="327"/>
                  </a:lnTo>
                  <a:lnTo>
                    <a:pt x="654" y="323"/>
                  </a:lnTo>
                  <a:lnTo>
                    <a:pt x="651" y="323"/>
                  </a:lnTo>
                  <a:lnTo>
                    <a:pt x="651" y="319"/>
                  </a:lnTo>
                  <a:lnTo>
                    <a:pt x="651" y="315"/>
                  </a:lnTo>
                  <a:lnTo>
                    <a:pt x="651" y="311"/>
                  </a:lnTo>
                  <a:lnTo>
                    <a:pt x="647" y="311"/>
                  </a:lnTo>
                  <a:lnTo>
                    <a:pt x="647" y="307"/>
                  </a:lnTo>
                  <a:lnTo>
                    <a:pt x="647" y="311"/>
                  </a:lnTo>
                  <a:lnTo>
                    <a:pt x="651" y="315"/>
                  </a:lnTo>
                  <a:lnTo>
                    <a:pt x="647" y="315"/>
                  </a:lnTo>
                  <a:lnTo>
                    <a:pt x="647" y="311"/>
                  </a:lnTo>
                  <a:lnTo>
                    <a:pt x="647" y="315"/>
                  </a:lnTo>
                  <a:lnTo>
                    <a:pt x="647" y="319"/>
                  </a:lnTo>
                  <a:lnTo>
                    <a:pt x="651" y="319"/>
                  </a:lnTo>
                  <a:lnTo>
                    <a:pt x="651" y="323"/>
                  </a:lnTo>
                  <a:lnTo>
                    <a:pt x="651" y="327"/>
                  </a:lnTo>
                  <a:lnTo>
                    <a:pt x="651" y="331"/>
                  </a:lnTo>
                  <a:lnTo>
                    <a:pt x="654" y="331"/>
                  </a:lnTo>
                  <a:lnTo>
                    <a:pt x="654" y="335"/>
                  </a:lnTo>
                  <a:lnTo>
                    <a:pt x="651" y="335"/>
                  </a:lnTo>
                  <a:lnTo>
                    <a:pt x="647" y="335"/>
                  </a:lnTo>
                  <a:lnTo>
                    <a:pt x="647" y="331"/>
                  </a:lnTo>
                  <a:lnTo>
                    <a:pt x="643" y="331"/>
                  </a:lnTo>
                  <a:lnTo>
                    <a:pt x="639" y="331"/>
                  </a:lnTo>
                  <a:lnTo>
                    <a:pt x="643" y="327"/>
                  </a:lnTo>
                  <a:lnTo>
                    <a:pt x="639" y="327"/>
                  </a:lnTo>
                  <a:lnTo>
                    <a:pt x="639" y="323"/>
                  </a:lnTo>
                  <a:lnTo>
                    <a:pt x="639" y="319"/>
                  </a:lnTo>
                  <a:lnTo>
                    <a:pt x="643" y="319"/>
                  </a:lnTo>
                  <a:lnTo>
                    <a:pt x="639" y="319"/>
                  </a:lnTo>
                  <a:lnTo>
                    <a:pt x="639" y="315"/>
                  </a:lnTo>
                  <a:lnTo>
                    <a:pt x="635" y="315"/>
                  </a:lnTo>
                  <a:lnTo>
                    <a:pt x="635" y="319"/>
                  </a:lnTo>
                  <a:lnTo>
                    <a:pt x="639" y="319"/>
                  </a:lnTo>
                  <a:lnTo>
                    <a:pt x="639" y="323"/>
                  </a:lnTo>
                  <a:lnTo>
                    <a:pt x="635" y="323"/>
                  </a:lnTo>
                  <a:lnTo>
                    <a:pt x="631" y="323"/>
                  </a:lnTo>
                  <a:lnTo>
                    <a:pt x="631" y="319"/>
                  </a:lnTo>
                  <a:lnTo>
                    <a:pt x="627" y="319"/>
                  </a:lnTo>
                  <a:lnTo>
                    <a:pt x="623" y="315"/>
                  </a:lnTo>
                  <a:lnTo>
                    <a:pt x="623" y="319"/>
                  </a:lnTo>
                  <a:lnTo>
                    <a:pt x="623" y="323"/>
                  </a:lnTo>
                  <a:lnTo>
                    <a:pt x="623" y="319"/>
                  </a:lnTo>
                  <a:lnTo>
                    <a:pt x="627" y="319"/>
                  </a:lnTo>
                  <a:lnTo>
                    <a:pt x="631" y="319"/>
                  </a:lnTo>
                  <a:lnTo>
                    <a:pt x="631" y="323"/>
                  </a:lnTo>
                  <a:lnTo>
                    <a:pt x="627" y="323"/>
                  </a:lnTo>
                  <a:lnTo>
                    <a:pt x="631" y="323"/>
                  </a:lnTo>
                  <a:lnTo>
                    <a:pt x="635" y="323"/>
                  </a:lnTo>
                  <a:lnTo>
                    <a:pt x="631" y="327"/>
                  </a:lnTo>
                  <a:lnTo>
                    <a:pt x="635" y="327"/>
                  </a:lnTo>
                  <a:lnTo>
                    <a:pt x="639" y="327"/>
                  </a:lnTo>
                  <a:lnTo>
                    <a:pt x="639" y="331"/>
                  </a:lnTo>
                  <a:lnTo>
                    <a:pt x="635" y="335"/>
                  </a:lnTo>
                  <a:lnTo>
                    <a:pt x="635" y="331"/>
                  </a:lnTo>
                  <a:lnTo>
                    <a:pt x="631" y="331"/>
                  </a:lnTo>
                  <a:lnTo>
                    <a:pt x="631" y="335"/>
                  </a:lnTo>
                  <a:lnTo>
                    <a:pt x="631" y="331"/>
                  </a:lnTo>
                  <a:lnTo>
                    <a:pt x="635" y="335"/>
                  </a:lnTo>
                  <a:lnTo>
                    <a:pt x="631" y="335"/>
                  </a:lnTo>
                  <a:lnTo>
                    <a:pt x="631" y="331"/>
                  </a:lnTo>
                  <a:lnTo>
                    <a:pt x="627" y="335"/>
                  </a:lnTo>
                  <a:lnTo>
                    <a:pt x="631" y="335"/>
                  </a:lnTo>
                  <a:lnTo>
                    <a:pt x="627" y="335"/>
                  </a:lnTo>
                  <a:lnTo>
                    <a:pt x="627" y="331"/>
                  </a:lnTo>
                  <a:lnTo>
                    <a:pt x="623" y="331"/>
                  </a:lnTo>
                  <a:lnTo>
                    <a:pt x="619" y="331"/>
                  </a:lnTo>
                  <a:lnTo>
                    <a:pt x="619" y="327"/>
                  </a:lnTo>
                  <a:lnTo>
                    <a:pt x="615" y="327"/>
                  </a:lnTo>
                  <a:lnTo>
                    <a:pt x="615" y="323"/>
                  </a:lnTo>
                  <a:lnTo>
                    <a:pt x="615" y="327"/>
                  </a:lnTo>
                  <a:lnTo>
                    <a:pt x="611" y="323"/>
                  </a:lnTo>
                  <a:lnTo>
                    <a:pt x="611" y="319"/>
                  </a:lnTo>
                  <a:lnTo>
                    <a:pt x="607" y="319"/>
                  </a:lnTo>
                  <a:lnTo>
                    <a:pt x="607" y="315"/>
                  </a:lnTo>
                  <a:lnTo>
                    <a:pt x="603" y="315"/>
                  </a:lnTo>
                  <a:lnTo>
                    <a:pt x="599" y="315"/>
                  </a:lnTo>
                  <a:lnTo>
                    <a:pt x="603" y="311"/>
                  </a:lnTo>
                  <a:lnTo>
                    <a:pt x="599" y="311"/>
                  </a:lnTo>
                  <a:lnTo>
                    <a:pt x="599" y="315"/>
                  </a:lnTo>
                  <a:lnTo>
                    <a:pt x="595" y="311"/>
                  </a:lnTo>
                  <a:lnTo>
                    <a:pt x="591" y="311"/>
                  </a:lnTo>
                  <a:lnTo>
                    <a:pt x="591" y="307"/>
                  </a:lnTo>
                  <a:lnTo>
                    <a:pt x="587" y="307"/>
                  </a:lnTo>
                  <a:lnTo>
                    <a:pt x="583" y="307"/>
                  </a:lnTo>
                  <a:lnTo>
                    <a:pt x="583" y="303"/>
                  </a:lnTo>
                  <a:lnTo>
                    <a:pt x="587" y="299"/>
                  </a:lnTo>
                  <a:lnTo>
                    <a:pt x="583" y="299"/>
                  </a:lnTo>
                  <a:lnTo>
                    <a:pt x="583" y="295"/>
                  </a:lnTo>
                  <a:lnTo>
                    <a:pt x="587" y="295"/>
                  </a:lnTo>
                  <a:lnTo>
                    <a:pt x="587" y="299"/>
                  </a:lnTo>
                  <a:lnTo>
                    <a:pt x="587" y="303"/>
                  </a:lnTo>
                  <a:lnTo>
                    <a:pt x="591" y="303"/>
                  </a:lnTo>
                  <a:lnTo>
                    <a:pt x="591" y="299"/>
                  </a:lnTo>
                  <a:lnTo>
                    <a:pt x="587" y="299"/>
                  </a:lnTo>
                  <a:lnTo>
                    <a:pt x="591" y="295"/>
                  </a:lnTo>
                  <a:lnTo>
                    <a:pt x="595" y="299"/>
                  </a:lnTo>
                  <a:lnTo>
                    <a:pt x="595" y="295"/>
                  </a:lnTo>
                  <a:lnTo>
                    <a:pt x="591" y="295"/>
                  </a:lnTo>
                  <a:lnTo>
                    <a:pt x="587" y="295"/>
                  </a:lnTo>
                  <a:lnTo>
                    <a:pt x="587" y="291"/>
                  </a:lnTo>
                  <a:lnTo>
                    <a:pt x="583" y="291"/>
                  </a:lnTo>
                  <a:lnTo>
                    <a:pt x="583" y="295"/>
                  </a:lnTo>
                  <a:lnTo>
                    <a:pt x="579" y="299"/>
                  </a:lnTo>
                  <a:lnTo>
                    <a:pt x="575" y="299"/>
                  </a:lnTo>
                  <a:lnTo>
                    <a:pt x="571" y="299"/>
                  </a:lnTo>
                  <a:lnTo>
                    <a:pt x="567" y="299"/>
                  </a:lnTo>
                  <a:lnTo>
                    <a:pt x="563" y="299"/>
                  </a:lnTo>
                  <a:lnTo>
                    <a:pt x="559" y="295"/>
                  </a:lnTo>
                  <a:lnTo>
                    <a:pt x="555" y="295"/>
                  </a:lnTo>
                  <a:lnTo>
                    <a:pt x="559" y="295"/>
                  </a:lnTo>
                  <a:lnTo>
                    <a:pt x="559" y="291"/>
                  </a:lnTo>
                  <a:lnTo>
                    <a:pt x="555" y="291"/>
                  </a:lnTo>
                  <a:lnTo>
                    <a:pt x="555" y="295"/>
                  </a:lnTo>
                  <a:lnTo>
                    <a:pt x="551" y="295"/>
                  </a:lnTo>
                  <a:lnTo>
                    <a:pt x="551" y="291"/>
                  </a:lnTo>
                  <a:lnTo>
                    <a:pt x="547" y="291"/>
                  </a:lnTo>
                  <a:lnTo>
                    <a:pt x="539" y="291"/>
                  </a:lnTo>
                  <a:lnTo>
                    <a:pt x="535" y="291"/>
                  </a:lnTo>
                  <a:lnTo>
                    <a:pt x="531" y="291"/>
                  </a:lnTo>
                  <a:lnTo>
                    <a:pt x="527" y="291"/>
                  </a:lnTo>
                  <a:lnTo>
                    <a:pt x="523" y="291"/>
                  </a:lnTo>
                  <a:lnTo>
                    <a:pt x="519" y="291"/>
                  </a:lnTo>
                  <a:lnTo>
                    <a:pt x="515" y="291"/>
                  </a:lnTo>
                  <a:lnTo>
                    <a:pt x="515" y="287"/>
                  </a:lnTo>
                  <a:lnTo>
                    <a:pt x="511" y="287"/>
                  </a:lnTo>
                  <a:lnTo>
                    <a:pt x="507" y="287"/>
                  </a:lnTo>
                  <a:lnTo>
                    <a:pt x="503" y="287"/>
                  </a:lnTo>
                  <a:lnTo>
                    <a:pt x="503" y="283"/>
                  </a:lnTo>
                  <a:lnTo>
                    <a:pt x="503" y="279"/>
                  </a:lnTo>
                  <a:lnTo>
                    <a:pt x="507" y="279"/>
                  </a:lnTo>
                  <a:lnTo>
                    <a:pt x="507" y="275"/>
                  </a:lnTo>
                  <a:lnTo>
                    <a:pt x="503" y="279"/>
                  </a:lnTo>
                  <a:lnTo>
                    <a:pt x="499" y="283"/>
                  </a:lnTo>
                  <a:lnTo>
                    <a:pt x="495" y="283"/>
                  </a:lnTo>
                  <a:lnTo>
                    <a:pt x="491" y="283"/>
                  </a:lnTo>
                  <a:lnTo>
                    <a:pt x="487" y="279"/>
                  </a:lnTo>
                  <a:lnTo>
                    <a:pt x="491" y="279"/>
                  </a:lnTo>
                  <a:lnTo>
                    <a:pt x="491" y="275"/>
                  </a:lnTo>
                  <a:lnTo>
                    <a:pt x="491" y="279"/>
                  </a:lnTo>
                  <a:lnTo>
                    <a:pt x="487" y="279"/>
                  </a:lnTo>
                  <a:lnTo>
                    <a:pt x="487" y="275"/>
                  </a:lnTo>
                  <a:lnTo>
                    <a:pt x="487" y="279"/>
                  </a:lnTo>
                  <a:lnTo>
                    <a:pt x="483" y="279"/>
                  </a:lnTo>
                  <a:lnTo>
                    <a:pt x="483" y="275"/>
                  </a:lnTo>
                  <a:lnTo>
                    <a:pt x="487" y="275"/>
                  </a:lnTo>
                  <a:lnTo>
                    <a:pt x="483" y="275"/>
                  </a:lnTo>
                  <a:lnTo>
                    <a:pt x="479" y="275"/>
                  </a:lnTo>
                  <a:lnTo>
                    <a:pt x="475" y="275"/>
                  </a:lnTo>
                  <a:lnTo>
                    <a:pt x="479" y="275"/>
                  </a:lnTo>
                  <a:lnTo>
                    <a:pt x="483" y="271"/>
                  </a:lnTo>
                  <a:lnTo>
                    <a:pt x="479" y="271"/>
                  </a:lnTo>
                  <a:lnTo>
                    <a:pt x="475" y="271"/>
                  </a:lnTo>
                  <a:lnTo>
                    <a:pt x="479" y="267"/>
                  </a:lnTo>
                  <a:lnTo>
                    <a:pt x="483" y="267"/>
                  </a:lnTo>
                  <a:lnTo>
                    <a:pt x="483" y="263"/>
                  </a:lnTo>
                  <a:lnTo>
                    <a:pt x="479" y="263"/>
                  </a:lnTo>
                  <a:lnTo>
                    <a:pt x="479" y="267"/>
                  </a:lnTo>
                  <a:lnTo>
                    <a:pt x="475" y="267"/>
                  </a:lnTo>
                  <a:lnTo>
                    <a:pt x="471" y="271"/>
                  </a:lnTo>
                  <a:lnTo>
                    <a:pt x="471" y="267"/>
                  </a:lnTo>
                  <a:lnTo>
                    <a:pt x="467" y="267"/>
                  </a:lnTo>
                  <a:lnTo>
                    <a:pt x="467" y="271"/>
                  </a:lnTo>
                  <a:lnTo>
                    <a:pt x="463" y="271"/>
                  </a:lnTo>
                  <a:lnTo>
                    <a:pt x="463" y="267"/>
                  </a:lnTo>
                  <a:lnTo>
                    <a:pt x="463" y="263"/>
                  </a:lnTo>
                  <a:lnTo>
                    <a:pt x="463" y="271"/>
                  </a:lnTo>
                  <a:lnTo>
                    <a:pt x="459" y="271"/>
                  </a:lnTo>
                  <a:lnTo>
                    <a:pt x="455" y="271"/>
                  </a:lnTo>
                  <a:lnTo>
                    <a:pt x="459" y="267"/>
                  </a:lnTo>
                  <a:lnTo>
                    <a:pt x="459" y="263"/>
                  </a:lnTo>
                  <a:lnTo>
                    <a:pt x="459" y="267"/>
                  </a:lnTo>
                  <a:lnTo>
                    <a:pt x="455" y="267"/>
                  </a:lnTo>
                  <a:lnTo>
                    <a:pt x="451" y="267"/>
                  </a:lnTo>
                  <a:lnTo>
                    <a:pt x="455" y="267"/>
                  </a:lnTo>
                  <a:lnTo>
                    <a:pt x="451" y="271"/>
                  </a:lnTo>
                  <a:lnTo>
                    <a:pt x="447" y="271"/>
                  </a:lnTo>
                  <a:lnTo>
                    <a:pt x="447" y="275"/>
                  </a:lnTo>
                  <a:lnTo>
                    <a:pt x="447" y="271"/>
                  </a:lnTo>
                  <a:lnTo>
                    <a:pt x="451" y="275"/>
                  </a:lnTo>
                  <a:lnTo>
                    <a:pt x="447" y="275"/>
                  </a:lnTo>
                  <a:lnTo>
                    <a:pt x="451" y="275"/>
                  </a:lnTo>
                  <a:lnTo>
                    <a:pt x="455" y="279"/>
                  </a:lnTo>
                  <a:lnTo>
                    <a:pt x="451" y="279"/>
                  </a:lnTo>
                  <a:lnTo>
                    <a:pt x="447" y="279"/>
                  </a:lnTo>
                  <a:lnTo>
                    <a:pt x="447" y="283"/>
                  </a:lnTo>
                  <a:close/>
                  <a:moveTo>
                    <a:pt x="463" y="283"/>
                  </a:moveTo>
                  <a:lnTo>
                    <a:pt x="459" y="283"/>
                  </a:lnTo>
                  <a:lnTo>
                    <a:pt x="463" y="283"/>
                  </a:lnTo>
                  <a:lnTo>
                    <a:pt x="459" y="287"/>
                  </a:lnTo>
                  <a:lnTo>
                    <a:pt x="459" y="283"/>
                  </a:lnTo>
                  <a:lnTo>
                    <a:pt x="463" y="279"/>
                  </a:lnTo>
                  <a:lnTo>
                    <a:pt x="463" y="283"/>
                  </a:lnTo>
                  <a:close/>
                  <a:moveTo>
                    <a:pt x="240" y="411"/>
                  </a:moveTo>
                  <a:lnTo>
                    <a:pt x="240" y="415"/>
                  </a:lnTo>
                  <a:lnTo>
                    <a:pt x="240" y="411"/>
                  </a:lnTo>
                  <a:close/>
                  <a:moveTo>
                    <a:pt x="1540" y="754"/>
                  </a:moveTo>
                  <a:lnTo>
                    <a:pt x="1540" y="758"/>
                  </a:lnTo>
                  <a:lnTo>
                    <a:pt x="1540" y="754"/>
                  </a:lnTo>
                  <a:lnTo>
                    <a:pt x="1536" y="754"/>
                  </a:lnTo>
                  <a:lnTo>
                    <a:pt x="1540" y="758"/>
                  </a:lnTo>
                  <a:lnTo>
                    <a:pt x="1540" y="762"/>
                  </a:lnTo>
                  <a:lnTo>
                    <a:pt x="1540" y="766"/>
                  </a:lnTo>
                  <a:lnTo>
                    <a:pt x="1540" y="770"/>
                  </a:lnTo>
                  <a:lnTo>
                    <a:pt x="1540" y="774"/>
                  </a:lnTo>
                  <a:lnTo>
                    <a:pt x="1536" y="774"/>
                  </a:lnTo>
                  <a:lnTo>
                    <a:pt x="1536" y="770"/>
                  </a:lnTo>
                  <a:lnTo>
                    <a:pt x="1536" y="766"/>
                  </a:lnTo>
                  <a:lnTo>
                    <a:pt x="1536" y="770"/>
                  </a:lnTo>
                  <a:lnTo>
                    <a:pt x="1536" y="774"/>
                  </a:lnTo>
                  <a:lnTo>
                    <a:pt x="1540" y="774"/>
                  </a:lnTo>
                  <a:lnTo>
                    <a:pt x="1540" y="778"/>
                  </a:lnTo>
                  <a:lnTo>
                    <a:pt x="1540" y="782"/>
                  </a:lnTo>
                  <a:lnTo>
                    <a:pt x="1540" y="778"/>
                  </a:lnTo>
                  <a:lnTo>
                    <a:pt x="1536" y="778"/>
                  </a:lnTo>
                  <a:lnTo>
                    <a:pt x="1532" y="774"/>
                  </a:lnTo>
                  <a:lnTo>
                    <a:pt x="1528" y="774"/>
                  </a:lnTo>
                  <a:lnTo>
                    <a:pt x="1528" y="770"/>
                  </a:lnTo>
                  <a:lnTo>
                    <a:pt x="1528" y="766"/>
                  </a:lnTo>
                  <a:lnTo>
                    <a:pt x="1532" y="766"/>
                  </a:lnTo>
                  <a:lnTo>
                    <a:pt x="1532" y="762"/>
                  </a:lnTo>
                  <a:lnTo>
                    <a:pt x="1532" y="766"/>
                  </a:lnTo>
                  <a:lnTo>
                    <a:pt x="1528" y="766"/>
                  </a:lnTo>
                  <a:lnTo>
                    <a:pt x="1528" y="770"/>
                  </a:lnTo>
                  <a:lnTo>
                    <a:pt x="1528" y="774"/>
                  </a:lnTo>
                  <a:lnTo>
                    <a:pt x="1532" y="774"/>
                  </a:lnTo>
                  <a:lnTo>
                    <a:pt x="1532" y="778"/>
                  </a:lnTo>
                  <a:lnTo>
                    <a:pt x="1536" y="778"/>
                  </a:lnTo>
                  <a:lnTo>
                    <a:pt x="1540" y="782"/>
                  </a:lnTo>
                  <a:lnTo>
                    <a:pt x="1544" y="782"/>
                  </a:lnTo>
                  <a:lnTo>
                    <a:pt x="1544" y="786"/>
                  </a:lnTo>
                  <a:lnTo>
                    <a:pt x="1540" y="790"/>
                  </a:lnTo>
                  <a:lnTo>
                    <a:pt x="1540" y="786"/>
                  </a:lnTo>
                  <a:lnTo>
                    <a:pt x="1536" y="786"/>
                  </a:lnTo>
                  <a:lnTo>
                    <a:pt x="1532" y="782"/>
                  </a:lnTo>
                  <a:lnTo>
                    <a:pt x="1532" y="778"/>
                  </a:lnTo>
                  <a:lnTo>
                    <a:pt x="1528" y="778"/>
                  </a:lnTo>
                  <a:lnTo>
                    <a:pt x="1532" y="778"/>
                  </a:lnTo>
                  <a:lnTo>
                    <a:pt x="1532" y="782"/>
                  </a:lnTo>
                  <a:lnTo>
                    <a:pt x="1536" y="786"/>
                  </a:lnTo>
                  <a:lnTo>
                    <a:pt x="1540" y="790"/>
                  </a:lnTo>
                  <a:lnTo>
                    <a:pt x="1544" y="790"/>
                  </a:lnTo>
                  <a:lnTo>
                    <a:pt x="1544" y="794"/>
                  </a:lnTo>
                  <a:lnTo>
                    <a:pt x="1540" y="794"/>
                  </a:lnTo>
                  <a:lnTo>
                    <a:pt x="1540" y="798"/>
                  </a:lnTo>
                  <a:lnTo>
                    <a:pt x="1540" y="794"/>
                  </a:lnTo>
                  <a:lnTo>
                    <a:pt x="1536" y="794"/>
                  </a:lnTo>
                  <a:lnTo>
                    <a:pt x="1540" y="794"/>
                  </a:lnTo>
                  <a:lnTo>
                    <a:pt x="1540" y="798"/>
                  </a:lnTo>
                  <a:lnTo>
                    <a:pt x="1544" y="798"/>
                  </a:lnTo>
                  <a:lnTo>
                    <a:pt x="1540" y="802"/>
                  </a:lnTo>
                  <a:lnTo>
                    <a:pt x="1536" y="798"/>
                  </a:lnTo>
                  <a:lnTo>
                    <a:pt x="1532" y="798"/>
                  </a:lnTo>
                  <a:lnTo>
                    <a:pt x="1532" y="794"/>
                  </a:lnTo>
                  <a:lnTo>
                    <a:pt x="1528" y="794"/>
                  </a:lnTo>
                  <a:lnTo>
                    <a:pt x="1532" y="794"/>
                  </a:lnTo>
                  <a:lnTo>
                    <a:pt x="1532" y="798"/>
                  </a:lnTo>
                  <a:lnTo>
                    <a:pt x="1536" y="798"/>
                  </a:lnTo>
                  <a:lnTo>
                    <a:pt x="1536" y="802"/>
                  </a:lnTo>
                  <a:lnTo>
                    <a:pt x="1540" y="802"/>
                  </a:lnTo>
                  <a:lnTo>
                    <a:pt x="1540" y="806"/>
                  </a:lnTo>
                  <a:lnTo>
                    <a:pt x="1540" y="802"/>
                  </a:lnTo>
                  <a:lnTo>
                    <a:pt x="1544" y="802"/>
                  </a:lnTo>
                  <a:lnTo>
                    <a:pt x="1548" y="802"/>
                  </a:lnTo>
                  <a:lnTo>
                    <a:pt x="1548" y="806"/>
                  </a:lnTo>
                  <a:lnTo>
                    <a:pt x="1548" y="810"/>
                  </a:lnTo>
                  <a:lnTo>
                    <a:pt x="1548" y="814"/>
                  </a:lnTo>
                  <a:lnTo>
                    <a:pt x="1548" y="818"/>
                  </a:lnTo>
                  <a:lnTo>
                    <a:pt x="1552" y="818"/>
                  </a:lnTo>
                  <a:lnTo>
                    <a:pt x="1552" y="822"/>
                  </a:lnTo>
                  <a:lnTo>
                    <a:pt x="1552" y="826"/>
                  </a:lnTo>
                  <a:lnTo>
                    <a:pt x="1552" y="822"/>
                  </a:lnTo>
                  <a:lnTo>
                    <a:pt x="1552" y="818"/>
                  </a:lnTo>
                  <a:lnTo>
                    <a:pt x="1548" y="818"/>
                  </a:lnTo>
                  <a:lnTo>
                    <a:pt x="1548" y="814"/>
                  </a:lnTo>
                  <a:lnTo>
                    <a:pt x="1548" y="810"/>
                  </a:lnTo>
                  <a:lnTo>
                    <a:pt x="1548" y="806"/>
                  </a:lnTo>
                  <a:lnTo>
                    <a:pt x="1548" y="810"/>
                  </a:lnTo>
                  <a:lnTo>
                    <a:pt x="1544" y="810"/>
                  </a:lnTo>
                  <a:lnTo>
                    <a:pt x="1548" y="814"/>
                  </a:lnTo>
                  <a:lnTo>
                    <a:pt x="1548" y="818"/>
                  </a:lnTo>
                  <a:lnTo>
                    <a:pt x="1548" y="822"/>
                  </a:lnTo>
                  <a:lnTo>
                    <a:pt x="1548" y="818"/>
                  </a:lnTo>
                  <a:lnTo>
                    <a:pt x="1548" y="814"/>
                  </a:lnTo>
                  <a:lnTo>
                    <a:pt x="1548" y="818"/>
                  </a:lnTo>
                  <a:lnTo>
                    <a:pt x="1544" y="818"/>
                  </a:lnTo>
                  <a:lnTo>
                    <a:pt x="1544" y="814"/>
                  </a:lnTo>
                  <a:lnTo>
                    <a:pt x="1544" y="818"/>
                  </a:lnTo>
                  <a:lnTo>
                    <a:pt x="1540" y="818"/>
                  </a:lnTo>
                  <a:lnTo>
                    <a:pt x="1540" y="822"/>
                  </a:lnTo>
                  <a:lnTo>
                    <a:pt x="1536" y="822"/>
                  </a:lnTo>
                  <a:lnTo>
                    <a:pt x="1536" y="818"/>
                  </a:lnTo>
                  <a:lnTo>
                    <a:pt x="1536" y="822"/>
                  </a:lnTo>
                  <a:lnTo>
                    <a:pt x="1540" y="822"/>
                  </a:lnTo>
                  <a:lnTo>
                    <a:pt x="1544" y="822"/>
                  </a:lnTo>
                  <a:lnTo>
                    <a:pt x="1540" y="822"/>
                  </a:lnTo>
                  <a:lnTo>
                    <a:pt x="1544" y="822"/>
                  </a:lnTo>
                  <a:lnTo>
                    <a:pt x="1548" y="822"/>
                  </a:lnTo>
                  <a:lnTo>
                    <a:pt x="1544" y="826"/>
                  </a:lnTo>
                  <a:lnTo>
                    <a:pt x="1544" y="830"/>
                  </a:lnTo>
                  <a:lnTo>
                    <a:pt x="1544" y="826"/>
                  </a:lnTo>
                  <a:lnTo>
                    <a:pt x="1544" y="830"/>
                  </a:lnTo>
                  <a:lnTo>
                    <a:pt x="1548" y="826"/>
                  </a:lnTo>
                  <a:lnTo>
                    <a:pt x="1548" y="822"/>
                  </a:lnTo>
                  <a:lnTo>
                    <a:pt x="1552" y="826"/>
                  </a:lnTo>
                  <a:lnTo>
                    <a:pt x="1552" y="830"/>
                  </a:lnTo>
                  <a:lnTo>
                    <a:pt x="1548" y="830"/>
                  </a:lnTo>
                  <a:lnTo>
                    <a:pt x="1548" y="834"/>
                  </a:lnTo>
                  <a:lnTo>
                    <a:pt x="1544" y="834"/>
                  </a:lnTo>
                  <a:lnTo>
                    <a:pt x="1540" y="834"/>
                  </a:lnTo>
                  <a:lnTo>
                    <a:pt x="1536" y="834"/>
                  </a:lnTo>
                  <a:lnTo>
                    <a:pt x="1536" y="830"/>
                  </a:lnTo>
                  <a:lnTo>
                    <a:pt x="1540" y="830"/>
                  </a:lnTo>
                  <a:lnTo>
                    <a:pt x="1536" y="830"/>
                  </a:lnTo>
                  <a:lnTo>
                    <a:pt x="1536" y="834"/>
                  </a:lnTo>
                  <a:lnTo>
                    <a:pt x="1532" y="834"/>
                  </a:lnTo>
                  <a:lnTo>
                    <a:pt x="1532" y="830"/>
                  </a:lnTo>
                  <a:lnTo>
                    <a:pt x="1532" y="834"/>
                  </a:lnTo>
                  <a:lnTo>
                    <a:pt x="1540" y="834"/>
                  </a:lnTo>
                  <a:lnTo>
                    <a:pt x="1540" y="838"/>
                  </a:lnTo>
                  <a:lnTo>
                    <a:pt x="1536" y="838"/>
                  </a:lnTo>
                  <a:lnTo>
                    <a:pt x="1536" y="842"/>
                  </a:lnTo>
                  <a:lnTo>
                    <a:pt x="1532" y="842"/>
                  </a:lnTo>
                  <a:lnTo>
                    <a:pt x="1532" y="838"/>
                  </a:lnTo>
                  <a:lnTo>
                    <a:pt x="1532" y="842"/>
                  </a:lnTo>
                  <a:lnTo>
                    <a:pt x="1536" y="842"/>
                  </a:lnTo>
                  <a:lnTo>
                    <a:pt x="1540" y="842"/>
                  </a:lnTo>
                  <a:lnTo>
                    <a:pt x="1544" y="842"/>
                  </a:lnTo>
                  <a:lnTo>
                    <a:pt x="1540" y="842"/>
                  </a:lnTo>
                  <a:lnTo>
                    <a:pt x="1540" y="846"/>
                  </a:lnTo>
                  <a:lnTo>
                    <a:pt x="1536" y="846"/>
                  </a:lnTo>
                  <a:lnTo>
                    <a:pt x="1528" y="850"/>
                  </a:lnTo>
                  <a:lnTo>
                    <a:pt x="1524" y="850"/>
                  </a:lnTo>
                  <a:lnTo>
                    <a:pt x="1528" y="850"/>
                  </a:lnTo>
                  <a:lnTo>
                    <a:pt x="1524" y="846"/>
                  </a:lnTo>
                  <a:lnTo>
                    <a:pt x="1524" y="850"/>
                  </a:lnTo>
                  <a:lnTo>
                    <a:pt x="1524" y="854"/>
                  </a:lnTo>
                  <a:lnTo>
                    <a:pt x="1520" y="854"/>
                  </a:lnTo>
                  <a:lnTo>
                    <a:pt x="1520" y="858"/>
                  </a:lnTo>
                  <a:lnTo>
                    <a:pt x="1516" y="858"/>
                  </a:lnTo>
                  <a:lnTo>
                    <a:pt x="1516" y="862"/>
                  </a:lnTo>
                  <a:lnTo>
                    <a:pt x="1516" y="858"/>
                  </a:lnTo>
                  <a:lnTo>
                    <a:pt x="1516" y="862"/>
                  </a:lnTo>
                  <a:lnTo>
                    <a:pt x="1516" y="866"/>
                  </a:lnTo>
                  <a:lnTo>
                    <a:pt x="1516" y="862"/>
                  </a:lnTo>
                  <a:lnTo>
                    <a:pt x="1512" y="862"/>
                  </a:lnTo>
                  <a:lnTo>
                    <a:pt x="1508" y="866"/>
                  </a:lnTo>
                  <a:lnTo>
                    <a:pt x="1504" y="866"/>
                  </a:lnTo>
                  <a:lnTo>
                    <a:pt x="1504" y="870"/>
                  </a:lnTo>
                  <a:lnTo>
                    <a:pt x="1500" y="870"/>
                  </a:lnTo>
                  <a:lnTo>
                    <a:pt x="1500" y="874"/>
                  </a:lnTo>
                  <a:lnTo>
                    <a:pt x="1496" y="878"/>
                  </a:lnTo>
                  <a:lnTo>
                    <a:pt x="1496" y="874"/>
                  </a:lnTo>
                  <a:lnTo>
                    <a:pt x="1496" y="878"/>
                  </a:lnTo>
                  <a:lnTo>
                    <a:pt x="1496" y="882"/>
                  </a:lnTo>
                  <a:lnTo>
                    <a:pt x="1492" y="882"/>
                  </a:lnTo>
                  <a:lnTo>
                    <a:pt x="1488" y="886"/>
                  </a:lnTo>
                  <a:lnTo>
                    <a:pt x="1488" y="890"/>
                  </a:lnTo>
                  <a:lnTo>
                    <a:pt x="1484" y="890"/>
                  </a:lnTo>
                  <a:lnTo>
                    <a:pt x="1480" y="894"/>
                  </a:lnTo>
                  <a:lnTo>
                    <a:pt x="1476" y="890"/>
                  </a:lnTo>
                  <a:lnTo>
                    <a:pt x="1476" y="894"/>
                  </a:lnTo>
                  <a:lnTo>
                    <a:pt x="1480" y="894"/>
                  </a:lnTo>
                  <a:lnTo>
                    <a:pt x="1476" y="898"/>
                  </a:lnTo>
                  <a:lnTo>
                    <a:pt x="1476" y="894"/>
                  </a:lnTo>
                  <a:lnTo>
                    <a:pt x="1472" y="894"/>
                  </a:lnTo>
                  <a:lnTo>
                    <a:pt x="1472" y="890"/>
                  </a:lnTo>
                  <a:lnTo>
                    <a:pt x="1472" y="894"/>
                  </a:lnTo>
                  <a:lnTo>
                    <a:pt x="1476" y="898"/>
                  </a:lnTo>
                  <a:lnTo>
                    <a:pt x="1472" y="898"/>
                  </a:lnTo>
                  <a:lnTo>
                    <a:pt x="1472" y="902"/>
                  </a:lnTo>
                  <a:lnTo>
                    <a:pt x="1472" y="906"/>
                  </a:lnTo>
                  <a:lnTo>
                    <a:pt x="1468" y="906"/>
                  </a:lnTo>
                  <a:lnTo>
                    <a:pt x="1468" y="910"/>
                  </a:lnTo>
                  <a:lnTo>
                    <a:pt x="1464" y="910"/>
                  </a:lnTo>
                  <a:lnTo>
                    <a:pt x="1468" y="914"/>
                  </a:lnTo>
                  <a:lnTo>
                    <a:pt x="1468" y="910"/>
                  </a:lnTo>
                  <a:lnTo>
                    <a:pt x="1468" y="914"/>
                  </a:lnTo>
                  <a:lnTo>
                    <a:pt x="1468" y="918"/>
                  </a:lnTo>
                  <a:lnTo>
                    <a:pt x="1464" y="918"/>
                  </a:lnTo>
                  <a:lnTo>
                    <a:pt x="1464" y="922"/>
                  </a:lnTo>
                  <a:lnTo>
                    <a:pt x="1464" y="918"/>
                  </a:lnTo>
                  <a:lnTo>
                    <a:pt x="1464" y="922"/>
                  </a:lnTo>
                  <a:lnTo>
                    <a:pt x="1464" y="926"/>
                  </a:lnTo>
                  <a:lnTo>
                    <a:pt x="1464" y="930"/>
                  </a:lnTo>
                  <a:lnTo>
                    <a:pt x="1464" y="934"/>
                  </a:lnTo>
                  <a:lnTo>
                    <a:pt x="1464" y="938"/>
                  </a:lnTo>
                  <a:lnTo>
                    <a:pt x="1464" y="942"/>
                  </a:lnTo>
                  <a:lnTo>
                    <a:pt x="1468" y="942"/>
                  </a:lnTo>
                  <a:lnTo>
                    <a:pt x="1468" y="946"/>
                  </a:lnTo>
                  <a:lnTo>
                    <a:pt x="1468" y="950"/>
                  </a:lnTo>
                  <a:lnTo>
                    <a:pt x="1472" y="958"/>
                  </a:lnTo>
                  <a:lnTo>
                    <a:pt x="1472" y="962"/>
                  </a:lnTo>
                  <a:lnTo>
                    <a:pt x="1476" y="966"/>
                  </a:lnTo>
                  <a:lnTo>
                    <a:pt x="1476" y="970"/>
                  </a:lnTo>
                  <a:lnTo>
                    <a:pt x="1476" y="974"/>
                  </a:lnTo>
                  <a:lnTo>
                    <a:pt x="1476" y="978"/>
                  </a:lnTo>
                  <a:lnTo>
                    <a:pt x="1480" y="982"/>
                  </a:lnTo>
                  <a:lnTo>
                    <a:pt x="1476" y="982"/>
                  </a:lnTo>
                  <a:lnTo>
                    <a:pt x="1476" y="978"/>
                  </a:lnTo>
                  <a:lnTo>
                    <a:pt x="1476" y="974"/>
                  </a:lnTo>
                  <a:lnTo>
                    <a:pt x="1476" y="970"/>
                  </a:lnTo>
                  <a:lnTo>
                    <a:pt x="1472" y="970"/>
                  </a:lnTo>
                  <a:lnTo>
                    <a:pt x="1472" y="966"/>
                  </a:lnTo>
                  <a:lnTo>
                    <a:pt x="1476" y="966"/>
                  </a:lnTo>
                  <a:lnTo>
                    <a:pt x="1472" y="966"/>
                  </a:lnTo>
                  <a:lnTo>
                    <a:pt x="1476" y="974"/>
                  </a:lnTo>
                  <a:lnTo>
                    <a:pt x="1476" y="978"/>
                  </a:lnTo>
                  <a:lnTo>
                    <a:pt x="1480" y="982"/>
                  </a:lnTo>
                  <a:lnTo>
                    <a:pt x="1480" y="986"/>
                  </a:lnTo>
                  <a:lnTo>
                    <a:pt x="1480" y="990"/>
                  </a:lnTo>
                  <a:lnTo>
                    <a:pt x="1484" y="998"/>
                  </a:lnTo>
                  <a:lnTo>
                    <a:pt x="1484" y="1002"/>
                  </a:lnTo>
                  <a:lnTo>
                    <a:pt x="1484" y="1006"/>
                  </a:lnTo>
                  <a:lnTo>
                    <a:pt x="1484" y="1010"/>
                  </a:lnTo>
                  <a:lnTo>
                    <a:pt x="1484" y="1014"/>
                  </a:lnTo>
                  <a:lnTo>
                    <a:pt x="1484" y="1022"/>
                  </a:lnTo>
                  <a:lnTo>
                    <a:pt x="1484" y="1026"/>
                  </a:lnTo>
                  <a:lnTo>
                    <a:pt x="1480" y="1026"/>
                  </a:lnTo>
                  <a:lnTo>
                    <a:pt x="1480" y="1030"/>
                  </a:lnTo>
                  <a:lnTo>
                    <a:pt x="1480" y="1034"/>
                  </a:lnTo>
                  <a:lnTo>
                    <a:pt x="1476" y="1034"/>
                  </a:lnTo>
                  <a:lnTo>
                    <a:pt x="1472" y="1034"/>
                  </a:lnTo>
                  <a:lnTo>
                    <a:pt x="1468" y="1038"/>
                  </a:lnTo>
                  <a:lnTo>
                    <a:pt x="1468" y="1034"/>
                  </a:lnTo>
                  <a:lnTo>
                    <a:pt x="1472" y="1034"/>
                  </a:lnTo>
                  <a:lnTo>
                    <a:pt x="1468" y="1034"/>
                  </a:lnTo>
                  <a:lnTo>
                    <a:pt x="1468" y="1030"/>
                  </a:lnTo>
                  <a:lnTo>
                    <a:pt x="1464" y="1022"/>
                  </a:lnTo>
                  <a:lnTo>
                    <a:pt x="1460" y="1022"/>
                  </a:lnTo>
                  <a:lnTo>
                    <a:pt x="1460" y="1018"/>
                  </a:lnTo>
                  <a:lnTo>
                    <a:pt x="1456" y="1014"/>
                  </a:lnTo>
                  <a:lnTo>
                    <a:pt x="1456" y="1010"/>
                  </a:lnTo>
                  <a:lnTo>
                    <a:pt x="1460" y="1006"/>
                  </a:lnTo>
                  <a:lnTo>
                    <a:pt x="1456" y="1006"/>
                  </a:lnTo>
                  <a:lnTo>
                    <a:pt x="1456" y="1010"/>
                  </a:lnTo>
                  <a:lnTo>
                    <a:pt x="1456" y="1006"/>
                  </a:lnTo>
                  <a:lnTo>
                    <a:pt x="1456" y="1002"/>
                  </a:lnTo>
                  <a:lnTo>
                    <a:pt x="1452" y="1002"/>
                  </a:lnTo>
                  <a:lnTo>
                    <a:pt x="1452" y="1006"/>
                  </a:lnTo>
                  <a:lnTo>
                    <a:pt x="1452" y="1002"/>
                  </a:lnTo>
                  <a:lnTo>
                    <a:pt x="1448" y="1002"/>
                  </a:lnTo>
                  <a:lnTo>
                    <a:pt x="1448" y="998"/>
                  </a:lnTo>
                  <a:lnTo>
                    <a:pt x="1448" y="994"/>
                  </a:lnTo>
                  <a:lnTo>
                    <a:pt x="1448" y="990"/>
                  </a:lnTo>
                  <a:lnTo>
                    <a:pt x="1444" y="990"/>
                  </a:lnTo>
                  <a:lnTo>
                    <a:pt x="1448" y="990"/>
                  </a:lnTo>
                  <a:lnTo>
                    <a:pt x="1444" y="990"/>
                  </a:lnTo>
                  <a:lnTo>
                    <a:pt x="1448" y="986"/>
                  </a:lnTo>
                  <a:lnTo>
                    <a:pt x="1448" y="982"/>
                  </a:lnTo>
                  <a:lnTo>
                    <a:pt x="1444" y="978"/>
                  </a:lnTo>
                  <a:lnTo>
                    <a:pt x="1444" y="982"/>
                  </a:lnTo>
                  <a:lnTo>
                    <a:pt x="1448" y="982"/>
                  </a:lnTo>
                  <a:lnTo>
                    <a:pt x="1444" y="986"/>
                  </a:lnTo>
                  <a:lnTo>
                    <a:pt x="1444" y="982"/>
                  </a:lnTo>
                  <a:lnTo>
                    <a:pt x="1444" y="978"/>
                  </a:lnTo>
                  <a:lnTo>
                    <a:pt x="1444" y="974"/>
                  </a:lnTo>
                  <a:lnTo>
                    <a:pt x="1444" y="970"/>
                  </a:lnTo>
                  <a:lnTo>
                    <a:pt x="1444" y="966"/>
                  </a:lnTo>
                  <a:lnTo>
                    <a:pt x="1444" y="962"/>
                  </a:lnTo>
                  <a:lnTo>
                    <a:pt x="1444" y="958"/>
                  </a:lnTo>
                  <a:lnTo>
                    <a:pt x="1440" y="958"/>
                  </a:lnTo>
                  <a:lnTo>
                    <a:pt x="1440" y="954"/>
                  </a:lnTo>
                  <a:lnTo>
                    <a:pt x="1436" y="954"/>
                  </a:lnTo>
                  <a:lnTo>
                    <a:pt x="1436" y="950"/>
                  </a:lnTo>
                  <a:lnTo>
                    <a:pt x="1432" y="950"/>
                  </a:lnTo>
                  <a:lnTo>
                    <a:pt x="1432" y="946"/>
                  </a:lnTo>
                  <a:lnTo>
                    <a:pt x="1432" y="942"/>
                  </a:lnTo>
                  <a:lnTo>
                    <a:pt x="1428" y="942"/>
                  </a:lnTo>
                  <a:lnTo>
                    <a:pt x="1424" y="942"/>
                  </a:lnTo>
                  <a:lnTo>
                    <a:pt x="1424" y="938"/>
                  </a:lnTo>
                  <a:lnTo>
                    <a:pt x="1420" y="938"/>
                  </a:lnTo>
                  <a:lnTo>
                    <a:pt x="1416" y="942"/>
                  </a:lnTo>
                  <a:lnTo>
                    <a:pt x="1420" y="942"/>
                  </a:lnTo>
                  <a:lnTo>
                    <a:pt x="1416" y="942"/>
                  </a:lnTo>
                  <a:lnTo>
                    <a:pt x="1416" y="946"/>
                  </a:lnTo>
                  <a:lnTo>
                    <a:pt x="1412" y="946"/>
                  </a:lnTo>
                  <a:lnTo>
                    <a:pt x="1408" y="946"/>
                  </a:lnTo>
                  <a:lnTo>
                    <a:pt x="1404" y="946"/>
                  </a:lnTo>
                  <a:lnTo>
                    <a:pt x="1404" y="942"/>
                  </a:lnTo>
                  <a:lnTo>
                    <a:pt x="1400" y="942"/>
                  </a:lnTo>
                  <a:lnTo>
                    <a:pt x="1400" y="938"/>
                  </a:lnTo>
                  <a:lnTo>
                    <a:pt x="1400" y="942"/>
                  </a:lnTo>
                  <a:lnTo>
                    <a:pt x="1404" y="942"/>
                  </a:lnTo>
                  <a:lnTo>
                    <a:pt x="1400" y="938"/>
                  </a:lnTo>
                  <a:lnTo>
                    <a:pt x="1400" y="934"/>
                  </a:lnTo>
                  <a:lnTo>
                    <a:pt x="1396" y="934"/>
                  </a:lnTo>
                  <a:lnTo>
                    <a:pt x="1396" y="938"/>
                  </a:lnTo>
                  <a:lnTo>
                    <a:pt x="1400" y="938"/>
                  </a:lnTo>
                  <a:lnTo>
                    <a:pt x="1396" y="938"/>
                  </a:lnTo>
                  <a:lnTo>
                    <a:pt x="1396" y="934"/>
                  </a:lnTo>
                  <a:lnTo>
                    <a:pt x="1392" y="934"/>
                  </a:lnTo>
                  <a:lnTo>
                    <a:pt x="1388" y="934"/>
                  </a:lnTo>
                  <a:lnTo>
                    <a:pt x="1392" y="934"/>
                  </a:lnTo>
                  <a:lnTo>
                    <a:pt x="1392" y="930"/>
                  </a:lnTo>
                  <a:lnTo>
                    <a:pt x="1388" y="930"/>
                  </a:lnTo>
                  <a:lnTo>
                    <a:pt x="1388" y="934"/>
                  </a:lnTo>
                  <a:lnTo>
                    <a:pt x="1384" y="934"/>
                  </a:lnTo>
                  <a:lnTo>
                    <a:pt x="1380" y="934"/>
                  </a:lnTo>
                  <a:lnTo>
                    <a:pt x="1376" y="934"/>
                  </a:lnTo>
                  <a:lnTo>
                    <a:pt x="1380" y="934"/>
                  </a:lnTo>
                  <a:lnTo>
                    <a:pt x="1380" y="930"/>
                  </a:lnTo>
                  <a:lnTo>
                    <a:pt x="1376" y="930"/>
                  </a:lnTo>
                  <a:lnTo>
                    <a:pt x="1376" y="934"/>
                  </a:lnTo>
                  <a:lnTo>
                    <a:pt x="1372" y="934"/>
                  </a:lnTo>
                  <a:lnTo>
                    <a:pt x="1376" y="934"/>
                  </a:lnTo>
                  <a:lnTo>
                    <a:pt x="1372" y="930"/>
                  </a:lnTo>
                  <a:lnTo>
                    <a:pt x="1372" y="934"/>
                  </a:lnTo>
                  <a:lnTo>
                    <a:pt x="1368" y="938"/>
                  </a:lnTo>
                  <a:lnTo>
                    <a:pt x="1364" y="938"/>
                  </a:lnTo>
                  <a:lnTo>
                    <a:pt x="1368" y="938"/>
                  </a:lnTo>
                  <a:lnTo>
                    <a:pt x="1368" y="934"/>
                  </a:lnTo>
                  <a:lnTo>
                    <a:pt x="1364" y="934"/>
                  </a:lnTo>
                  <a:lnTo>
                    <a:pt x="1364" y="930"/>
                  </a:lnTo>
                  <a:lnTo>
                    <a:pt x="1364" y="926"/>
                  </a:lnTo>
                  <a:lnTo>
                    <a:pt x="1364" y="930"/>
                  </a:lnTo>
                  <a:lnTo>
                    <a:pt x="1364" y="934"/>
                  </a:lnTo>
                  <a:lnTo>
                    <a:pt x="1360" y="934"/>
                  </a:lnTo>
                  <a:lnTo>
                    <a:pt x="1357" y="934"/>
                  </a:lnTo>
                  <a:lnTo>
                    <a:pt x="1353" y="934"/>
                  </a:lnTo>
                  <a:lnTo>
                    <a:pt x="1349" y="934"/>
                  </a:lnTo>
                  <a:lnTo>
                    <a:pt x="1345" y="934"/>
                  </a:lnTo>
                  <a:lnTo>
                    <a:pt x="1345" y="938"/>
                  </a:lnTo>
                  <a:lnTo>
                    <a:pt x="1341" y="938"/>
                  </a:lnTo>
                  <a:lnTo>
                    <a:pt x="1337" y="938"/>
                  </a:lnTo>
                  <a:lnTo>
                    <a:pt x="1337" y="934"/>
                  </a:lnTo>
                  <a:lnTo>
                    <a:pt x="1333" y="934"/>
                  </a:lnTo>
                  <a:lnTo>
                    <a:pt x="1329" y="938"/>
                  </a:lnTo>
                  <a:lnTo>
                    <a:pt x="1329" y="942"/>
                  </a:lnTo>
                  <a:lnTo>
                    <a:pt x="1333" y="942"/>
                  </a:lnTo>
                  <a:lnTo>
                    <a:pt x="1337" y="938"/>
                  </a:lnTo>
                  <a:lnTo>
                    <a:pt x="1341" y="938"/>
                  </a:lnTo>
                  <a:lnTo>
                    <a:pt x="1341" y="942"/>
                  </a:lnTo>
                  <a:lnTo>
                    <a:pt x="1337" y="942"/>
                  </a:lnTo>
                  <a:lnTo>
                    <a:pt x="1341" y="942"/>
                  </a:lnTo>
                  <a:lnTo>
                    <a:pt x="1341" y="938"/>
                  </a:lnTo>
                  <a:lnTo>
                    <a:pt x="1345" y="942"/>
                  </a:lnTo>
                  <a:lnTo>
                    <a:pt x="1345" y="946"/>
                  </a:lnTo>
                  <a:lnTo>
                    <a:pt x="1341" y="946"/>
                  </a:lnTo>
                  <a:lnTo>
                    <a:pt x="1337" y="950"/>
                  </a:lnTo>
                  <a:lnTo>
                    <a:pt x="1341" y="950"/>
                  </a:lnTo>
                  <a:lnTo>
                    <a:pt x="1341" y="954"/>
                  </a:lnTo>
                  <a:lnTo>
                    <a:pt x="1345" y="954"/>
                  </a:lnTo>
                  <a:lnTo>
                    <a:pt x="1349" y="954"/>
                  </a:lnTo>
                  <a:lnTo>
                    <a:pt x="1349" y="958"/>
                  </a:lnTo>
                  <a:lnTo>
                    <a:pt x="1349" y="962"/>
                  </a:lnTo>
                  <a:lnTo>
                    <a:pt x="1345" y="958"/>
                  </a:lnTo>
                  <a:lnTo>
                    <a:pt x="1345" y="962"/>
                  </a:lnTo>
                  <a:lnTo>
                    <a:pt x="1345" y="958"/>
                  </a:lnTo>
                  <a:lnTo>
                    <a:pt x="1341" y="958"/>
                  </a:lnTo>
                  <a:lnTo>
                    <a:pt x="1341" y="954"/>
                  </a:lnTo>
                  <a:lnTo>
                    <a:pt x="1337" y="954"/>
                  </a:lnTo>
                  <a:lnTo>
                    <a:pt x="1337" y="950"/>
                  </a:lnTo>
                  <a:lnTo>
                    <a:pt x="1333" y="950"/>
                  </a:lnTo>
                  <a:lnTo>
                    <a:pt x="1333" y="954"/>
                  </a:lnTo>
                  <a:lnTo>
                    <a:pt x="1333" y="958"/>
                  </a:lnTo>
                  <a:lnTo>
                    <a:pt x="1329" y="958"/>
                  </a:lnTo>
                  <a:lnTo>
                    <a:pt x="1329" y="954"/>
                  </a:lnTo>
                  <a:lnTo>
                    <a:pt x="1325" y="954"/>
                  </a:lnTo>
                  <a:lnTo>
                    <a:pt x="1325" y="958"/>
                  </a:lnTo>
                  <a:lnTo>
                    <a:pt x="1321" y="958"/>
                  </a:lnTo>
                  <a:lnTo>
                    <a:pt x="1317" y="958"/>
                  </a:lnTo>
                  <a:lnTo>
                    <a:pt x="1317" y="954"/>
                  </a:lnTo>
                  <a:lnTo>
                    <a:pt x="1313" y="954"/>
                  </a:lnTo>
                  <a:lnTo>
                    <a:pt x="1317" y="954"/>
                  </a:lnTo>
                  <a:lnTo>
                    <a:pt x="1317" y="958"/>
                  </a:lnTo>
                  <a:lnTo>
                    <a:pt x="1317" y="954"/>
                  </a:lnTo>
                  <a:lnTo>
                    <a:pt x="1317" y="950"/>
                  </a:lnTo>
                  <a:lnTo>
                    <a:pt x="1313" y="950"/>
                  </a:lnTo>
                  <a:lnTo>
                    <a:pt x="1309" y="946"/>
                  </a:lnTo>
                  <a:lnTo>
                    <a:pt x="1305" y="946"/>
                  </a:lnTo>
                  <a:lnTo>
                    <a:pt x="1301" y="946"/>
                  </a:lnTo>
                  <a:lnTo>
                    <a:pt x="1301" y="950"/>
                  </a:lnTo>
                  <a:lnTo>
                    <a:pt x="1297" y="950"/>
                  </a:lnTo>
                  <a:lnTo>
                    <a:pt x="1293" y="950"/>
                  </a:lnTo>
                  <a:lnTo>
                    <a:pt x="1289" y="946"/>
                  </a:lnTo>
                  <a:lnTo>
                    <a:pt x="1285" y="946"/>
                  </a:lnTo>
                  <a:lnTo>
                    <a:pt x="1281" y="946"/>
                  </a:lnTo>
                  <a:lnTo>
                    <a:pt x="1277" y="946"/>
                  </a:lnTo>
                  <a:lnTo>
                    <a:pt x="1277" y="942"/>
                  </a:lnTo>
                  <a:lnTo>
                    <a:pt x="1273" y="946"/>
                  </a:lnTo>
                  <a:lnTo>
                    <a:pt x="1277" y="946"/>
                  </a:lnTo>
                  <a:lnTo>
                    <a:pt x="1273" y="946"/>
                  </a:lnTo>
                  <a:lnTo>
                    <a:pt x="1273" y="950"/>
                  </a:lnTo>
                  <a:lnTo>
                    <a:pt x="1269" y="950"/>
                  </a:lnTo>
                  <a:lnTo>
                    <a:pt x="1265" y="950"/>
                  </a:lnTo>
                  <a:lnTo>
                    <a:pt x="1265" y="954"/>
                  </a:lnTo>
                  <a:lnTo>
                    <a:pt x="1261" y="954"/>
                  </a:lnTo>
                  <a:lnTo>
                    <a:pt x="1265" y="950"/>
                  </a:lnTo>
                  <a:lnTo>
                    <a:pt x="1261" y="950"/>
                  </a:lnTo>
                  <a:lnTo>
                    <a:pt x="1265" y="950"/>
                  </a:lnTo>
                  <a:lnTo>
                    <a:pt x="1265" y="946"/>
                  </a:lnTo>
                  <a:lnTo>
                    <a:pt x="1261" y="946"/>
                  </a:lnTo>
                  <a:lnTo>
                    <a:pt x="1257" y="946"/>
                  </a:lnTo>
                  <a:lnTo>
                    <a:pt x="1257" y="950"/>
                  </a:lnTo>
                  <a:lnTo>
                    <a:pt x="1261" y="954"/>
                  </a:lnTo>
                  <a:lnTo>
                    <a:pt x="1257" y="958"/>
                  </a:lnTo>
                  <a:lnTo>
                    <a:pt x="1253" y="962"/>
                  </a:lnTo>
                  <a:lnTo>
                    <a:pt x="1249" y="966"/>
                  </a:lnTo>
                  <a:lnTo>
                    <a:pt x="1245" y="966"/>
                  </a:lnTo>
                  <a:lnTo>
                    <a:pt x="1245" y="970"/>
                  </a:lnTo>
                  <a:lnTo>
                    <a:pt x="1245" y="966"/>
                  </a:lnTo>
                  <a:lnTo>
                    <a:pt x="1249" y="966"/>
                  </a:lnTo>
                  <a:lnTo>
                    <a:pt x="1245" y="966"/>
                  </a:lnTo>
                  <a:lnTo>
                    <a:pt x="1245" y="970"/>
                  </a:lnTo>
                  <a:lnTo>
                    <a:pt x="1241" y="970"/>
                  </a:lnTo>
                  <a:lnTo>
                    <a:pt x="1245" y="970"/>
                  </a:lnTo>
                  <a:lnTo>
                    <a:pt x="1245" y="966"/>
                  </a:lnTo>
                  <a:lnTo>
                    <a:pt x="1241" y="970"/>
                  </a:lnTo>
                  <a:lnTo>
                    <a:pt x="1241" y="966"/>
                  </a:lnTo>
                  <a:lnTo>
                    <a:pt x="1237" y="966"/>
                  </a:lnTo>
                  <a:lnTo>
                    <a:pt x="1237" y="970"/>
                  </a:lnTo>
                  <a:lnTo>
                    <a:pt x="1237" y="966"/>
                  </a:lnTo>
                  <a:lnTo>
                    <a:pt x="1233" y="966"/>
                  </a:lnTo>
                  <a:lnTo>
                    <a:pt x="1233" y="970"/>
                  </a:lnTo>
                  <a:lnTo>
                    <a:pt x="1237" y="970"/>
                  </a:lnTo>
                  <a:lnTo>
                    <a:pt x="1233" y="974"/>
                  </a:lnTo>
                  <a:lnTo>
                    <a:pt x="1233" y="970"/>
                  </a:lnTo>
                  <a:lnTo>
                    <a:pt x="1229" y="974"/>
                  </a:lnTo>
                  <a:lnTo>
                    <a:pt x="1233" y="974"/>
                  </a:lnTo>
                  <a:lnTo>
                    <a:pt x="1229" y="978"/>
                  </a:lnTo>
                  <a:lnTo>
                    <a:pt x="1225" y="978"/>
                  </a:lnTo>
                  <a:lnTo>
                    <a:pt x="1229" y="978"/>
                  </a:lnTo>
                  <a:lnTo>
                    <a:pt x="1225" y="982"/>
                  </a:lnTo>
                  <a:lnTo>
                    <a:pt x="1221" y="982"/>
                  </a:lnTo>
                  <a:lnTo>
                    <a:pt x="1221" y="986"/>
                  </a:lnTo>
                  <a:lnTo>
                    <a:pt x="1225" y="986"/>
                  </a:lnTo>
                  <a:lnTo>
                    <a:pt x="1221" y="994"/>
                  </a:lnTo>
                  <a:lnTo>
                    <a:pt x="1217" y="994"/>
                  </a:lnTo>
                  <a:lnTo>
                    <a:pt x="1217" y="990"/>
                  </a:lnTo>
                  <a:lnTo>
                    <a:pt x="1217" y="994"/>
                  </a:lnTo>
                  <a:lnTo>
                    <a:pt x="1221" y="994"/>
                  </a:lnTo>
                  <a:lnTo>
                    <a:pt x="1221" y="998"/>
                  </a:lnTo>
                  <a:lnTo>
                    <a:pt x="1221" y="1002"/>
                  </a:lnTo>
                  <a:lnTo>
                    <a:pt x="1221" y="1006"/>
                  </a:lnTo>
                  <a:lnTo>
                    <a:pt x="1221" y="1010"/>
                  </a:lnTo>
                  <a:lnTo>
                    <a:pt x="1221" y="1014"/>
                  </a:lnTo>
                  <a:lnTo>
                    <a:pt x="1225" y="1014"/>
                  </a:lnTo>
                  <a:lnTo>
                    <a:pt x="1225" y="1018"/>
                  </a:lnTo>
                  <a:lnTo>
                    <a:pt x="1225" y="1022"/>
                  </a:lnTo>
                  <a:lnTo>
                    <a:pt x="1221" y="1022"/>
                  </a:lnTo>
                  <a:lnTo>
                    <a:pt x="1221" y="1018"/>
                  </a:lnTo>
                  <a:lnTo>
                    <a:pt x="1217" y="1018"/>
                  </a:lnTo>
                  <a:lnTo>
                    <a:pt x="1213" y="1018"/>
                  </a:lnTo>
                  <a:lnTo>
                    <a:pt x="1209" y="1018"/>
                  </a:lnTo>
                  <a:lnTo>
                    <a:pt x="1209" y="1014"/>
                  </a:lnTo>
                  <a:lnTo>
                    <a:pt x="1205" y="1014"/>
                  </a:lnTo>
                  <a:lnTo>
                    <a:pt x="1201" y="1014"/>
                  </a:lnTo>
                  <a:lnTo>
                    <a:pt x="1201" y="1010"/>
                  </a:lnTo>
                  <a:lnTo>
                    <a:pt x="1197" y="1010"/>
                  </a:lnTo>
                  <a:lnTo>
                    <a:pt x="1197" y="1006"/>
                  </a:lnTo>
                  <a:lnTo>
                    <a:pt x="1193" y="1002"/>
                  </a:lnTo>
                  <a:lnTo>
                    <a:pt x="1193" y="998"/>
                  </a:lnTo>
                  <a:lnTo>
                    <a:pt x="1193" y="994"/>
                  </a:lnTo>
                  <a:lnTo>
                    <a:pt x="1193" y="990"/>
                  </a:lnTo>
                  <a:lnTo>
                    <a:pt x="1189" y="990"/>
                  </a:lnTo>
                  <a:lnTo>
                    <a:pt x="1189" y="986"/>
                  </a:lnTo>
                  <a:lnTo>
                    <a:pt x="1185" y="986"/>
                  </a:lnTo>
                  <a:lnTo>
                    <a:pt x="1185" y="982"/>
                  </a:lnTo>
                  <a:lnTo>
                    <a:pt x="1181" y="978"/>
                  </a:lnTo>
                  <a:lnTo>
                    <a:pt x="1181" y="974"/>
                  </a:lnTo>
                  <a:lnTo>
                    <a:pt x="1177" y="974"/>
                  </a:lnTo>
                  <a:lnTo>
                    <a:pt x="1177" y="970"/>
                  </a:lnTo>
                  <a:lnTo>
                    <a:pt x="1177" y="966"/>
                  </a:lnTo>
                  <a:lnTo>
                    <a:pt x="1173" y="962"/>
                  </a:lnTo>
                  <a:lnTo>
                    <a:pt x="1173" y="958"/>
                  </a:lnTo>
                  <a:lnTo>
                    <a:pt x="1169" y="954"/>
                  </a:lnTo>
                  <a:lnTo>
                    <a:pt x="1169" y="950"/>
                  </a:lnTo>
                  <a:lnTo>
                    <a:pt x="1165" y="950"/>
                  </a:lnTo>
                  <a:lnTo>
                    <a:pt x="1161" y="950"/>
                  </a:lnTo>
                  <a:lnTo>
                    <a:pt x="1161" y="946"/>
                  </a:lnTo>
                  <a:lnTo>
                    <a:pt x="1157" y="946"/>
                  </a:lnTo>
                  <a:lnTo>
                    <a:pt x="1153" y="946"/>
                  </a:lnTo>
                  <a:lnTo>
                    <a:pt x="1149" y="946"/>
                  </a:lnTo>
                  <a:lnTo>
                    <a:pt x="1149" y="942"/>
                  </a:lnTo>
                  <a:lnTo>
                    <a:pt x="1149" y="946"/>
                  </a:lnTo>
                  <a:lnTo>
                    <a:pt x="1145" y="946"/>
                  </a:lnTo>
                  <a:lnTo>
                    <a:pt x="1141" y="946"/>
                  </a:lnTo>
                  <a:lnTo>
                    <a:pt x="1141" y="950"/>
                  </a:lnTo>
                  <a:lnTo>
                    <a:pt x="1141" y="954"/>
                  </a:lnTo>
                  <a:lnTo>
                    <a:pt x="1141" y="958"/>
                  </a:lnTo>
                  <a:lnTo>
                    <a:pt x="1137" y="958"/>
                  </a:lnTo>
                  <a:lnTo>
                    <a:pt x="1137" y="962"/>
                  </a:lnTo>
                  <a:lnTo>
                    <a:pt x="1133" y="962"/>
                  </a:lnTo>
                  <a:lnTo>
                    <a:pt x="1129" y="958"/>
                  </a:lnTo>
                  <a:lnTo>
                    <a:pt x="1125" y="958"/>
                  </a:lnTo>
                  <a:lnTo>
                    <a:pt x="1125" y="954"/>
                  </a:lnTo>
                  <a:lnTo>
                    <a:pt x="1121" y="954"/>
                  </a:lnTo>
                  <a:lnTo>
                    <a:pt x="1121" y="950"/>
                  </a:lnTo>
                  <a:lnTo>
                    <a:pt x="1117" y="950"/>
                  </a:lnTo>
                  <a:lnTo>
                    <a:pt x="1113" y="946"/>
                  </a:lnTo>
                  <a:lnTo>
                    <a:pt x="1113" y="942"/>
                  </a:lnTo>
                  <a:lnTo>
                    <a:pt x="1113" y="938"/>
                  </a:lnTo>
                  <a:lnTo>
                    <a:pt x="1109" y="934"/>
                  </a:lnTo>
                  <a:lnTo>
                    <a:pt x="1109" y="930"/>
                  </a:lnTo>
                  <a:lnTo>
                    <a:pt x="1105" y="926"/>
                  </a:lnTo>
                  <a:lnTo>
                    <a:pt x="1101" y="926"/>
                  </a:lnTo>
                  <a:lnTo>
                    <a:pt x="1101" y="922"/>
                  </a:lnTo>
                  <a:lnTo>
                    <a:pt x="1097" y="922"/>
                  </a:lnTo>
                  <a:lnTo>
                    <a:pt x="1097" y="918"/>
                  </a:lnTo>
                  <a:lnTo>
                    <a:pt x="1093" y="918"/>
                  </a:lnTo>
                  <a:lnTo>
                    <a:pt x="1093" y="914"/>
                  </a:lnTo>
                  <a:lnTo>
                    <a:pt x="1089" y="914"/>
                  </a:lnTo>
                  <a:lnTo>
                    <a:pt x="1089" y="910"/>
                  </a:lnTo>
                  <a:lnTo>
                    <a:pt x="1085" y="910"/>
                  </a:lnTo>
                  <a:lnTo>
                    <a:pt x="1085" y="906"/>
                  </a:lnTo>
                  <a:lnTo>
                    <a:pt x="1081" y="906"/>
                  </a:lnTo>
                  <a:lnTo>
                    <a:pt x="1077" y="906"/>
                  </a:lnTo>
                  <a:lnTo>
                    <a:pt x="1073" y="906"/>
                  </a:lnTo>
                  <a:lnTo>
                    <a:pt x="1069" y="906"/>
                  </a:lnTo>
                  <a:lnTo>
                    <a:pt x="1065" y="906"/>
                  </a:lnTo>
                  <a:lnTo>
                    <a:pt x="1057" y="906"/>
                  </a:lnTo>
                  <a:lnTo>
                    <a:pt x="1057" y="910"/>
                  </a:lnTo>
                  <a:lnTo>
                    <a:pt x="1057" y="914"/>
                  </a:lnTo>
                  <a:lnTo>
                    <a:pt x="1049" y="914"/>
                  </a:lnTo>
                  <a:lnTo>
                    <a:pt x="1045" y="914"/>
                  </a:lnTo>
                  <a:lnTo>
                    <a:pt x="1037" y="914"/>
                  </a:lnTo>
                  <a:lnTo>
                    <a:pt x="1033" y="914"/>
                  </a:lnTo>
                  <a:lnTo>
                    <a:pt x="1029" y="914"/>
                  </a:lnTo>
                  <a:lnTo>
                    <a:pt x="1025" y="914"/>
                  </a:lnTo>
                  <a:lnTo>
                    <a:pt x="1017" y="914"/>
                  </a:lnTo>
                  <a:lnTo>
                    <a:pt x="1009" y="914"/>
                  </a:lnTo>
                  <a:lnTo>
                    <a:pt x="1002" y="910"/>
                  </a:lnTo>
                  <a:lnTo>
                    <a:pt x="998" y="906"/>
                  </a:lnTo>
                  <a:lnTo>
                    <a:pt x="994" y="906"/>
                  </a:lnTo>
                  <a:lnTo>
                    <a:pt x="990" y="902"/>
                  </a:lnTo>
                  <a:lnTo>
                    <a:pt x="986" y="902"/>
                  </a:lnTo>
                  <a:lnTo>
                    <a:pt x="982" y="902"/>
                  </a:lnTo>
                  <a:lnTo>
                    <a:pt x="978" y="898"/>
                  </a:lnTo>
                  <a:lnTo>
                    <a:pt x="974" y="898"/>
                  </a:lnTo>
                  <a:lnTo>
                    <a:pt x="970" y="898"/>
                  </a:lnTo>
                  <a:lnTo>
                    <a:pt x="966" y="894"/>
                  </a:lnTo>
                  <a:lnTo>
                    <a:pt x="962" y="894"/>
                  </a:lnTo>
                  <a:lnTo>
                    <a:pt x="958" y="890"/>
                  </a:lnTo>
                  <a:lnTo>
                    <a:pt x="962" y="890"/>
                  </a:lnTo>
                  <a:lnTo>
                    <a:pt x="962" y="886"/>
                  </a:lnTo>
                  <a:lnTo>
                    <a:pt x="958" y="886"/>
                  </a:lnTo>
                  <a:lnTo>
                    <a:pt x="954" y="890"/>
                  </a:lnTo>
                  <a:lnTo>
                    <a:pt x="950" y="890"/>
                  </a:lnTo>
                  <a:lnTo>
                    <a:pt x="946" y="890"/>
                  </a:lnTo>
                  <a:lnTo>
                    <a:pt x="942" y="890"/>
                  </a:lnTo>
                  <a:lnTo>
                    <a:pt x="938" y="890"/>
                  </a:lnTo>
                  <a:lnTo>
                    <a:pt x="934" y="890"/>
                  </a:lnTo>
                  <a:lnTo>
                    <a:pt x="930" y="890"/>
                  </a:lnTo>
                  <a:lnTo>
                    <a:pt x="926" y="890"/>
                  </a:lnTo>
                  <a:lnTo>
                    <a:pt x="922" y="890"/>
                  </a:lnTo>
                  <a:lnTo>
                    <a:pt x="926" y="890"/>
                  </a:lnTo>
                  <a:lnTo>
                    <a:pt x="922" y="890"/>
                  </a:lnTo>
                  <a:lnTo>
                    <a:pt x="922" y="886"/>
                  </a:lnTo>
                  <a:lnTo>
                    <a:pt x="922" y="890"/>
                  </a:lnTo>
                  <a:lnTo>
                    <a:pt x="922" y="886"/>
                  </a:lnTo>
                  <a:lnTo>
                    <a:pt x="922" y="882"/>
                  </a:lnTo>
                  <a:lnTo>
                    <a:pt x="922" y="878"/>
                  </a:lnTo>
                  <a:lnTo>
                    <a:pt x="918" y="878"/>
                  </a:lnTo>
                  <a:lnTo>
                    <a:pt x="918" y="874"/>
                  </a:lnTo>
                  <a:lnTo>
                    <a:pt x="914" y="874"/>
                  </a:lnTo>
                  <a:lnTo>
                    <a:pt x="914" y="870"/>
                  </a:lnTo>
                  <a:lnTo>
                    <a:pt x="910" y="870"/>
                  </a:lnTo>
                  <a:lnTo>
                    <a:pt x="910" y="866"/>
                  </a:lnTo>
                  <a:lnTo>
                    <a:pt x="906" y="866"/>
                  </a:lnTo>
                  <a:lnTo>
                    <a:pt x="906" y="862"/>
                  </a:lnTo>
                  <a:lnTo>
                    <a:pt x="902" y="862"/>
                  </a:lnTo>
                  <a:lnTo>
                    <a:pt x="898" y="862"/>
                  </a:lnTo>
                  <a:lnTo>
                    <a:pt x="894" y="862"/>
                  </a:lnTo>
                  <a:lnTo>
                    <a:pt x="894" y="858"/>
                  </a:lnTo>
                  <a:lnTo>
                    <a:pt x="890" y="858"/>
                  </a:lnTo>
                  <a:lnTo>
                    <a:pt x="890" y="854"/>
                  </a:lnTo>
                  <a:lnTo>
                    <a:pt x="886" y="854"/>
                  </a:lnTo>
                  <a:lnTo>
                    <a:pt x="882" y="854"/>
                  </a:lnTo>
                  <a:lnTo>
                    <a:pt x="878" y="854"/>
                  </a:lnTo>
                  <a:lnTo>
                    <a:pt x="874" y="854"/>
                  </a:lnTo>
                  <a:lnTo>
                    <a:pt x="874" y="850"/>
                  </a:lnTo>
                  <a:lnTo>
                    <a:pt x="870" y="850"/>
                  </a:lnTo>
                  <a:lnTo>
                    <a:pt x="870" y="846"/>
                  </a:lnTo>
                  <a:lnTo>
                    <a:pt x="870" y="842"/>
                  </a:lnTo>
                  <a:lnTo>
                    <a:pt x="870" y="838"/>
                  </a:lnTo>
                  <a:lnTo>
                    <a:pt x="866" y="838"/>
                  </a:lnTo>
                  <a:lnTo>
                    <a:pt x="866" y="834"/>
                  </a:lnTo>
                  <a:lnTo>
                    <a:pt x="866" y="830"/>
                  </a:lnTo>
                  <a:lnTo>
                    <a:pt x="862" y="830"/>
                  </a:lnTo>
                  <a:lnTo>
                    <a:pt x="862" y="826"/>
                  </a:lnTo>
                  <a:lnTo>
                    <a:pt x="858" y="826"/>
                  </a:lnTo>
                  <a:lnTo>
                    <a:pt x="858" y="822"/>
                  </a:lnTo>
                  <a:lnTo>
                    <a:pt x="854" y="818"/>
                  </a:lnTo>
                  <a:lnTo>
                    <a:pt x="854" y="814"/>
                  </a:lnTo>
                  <a:lnTo>
                    <a:pt x="850" y="814"/>
                  </a:lnTo>
                  <a:lnTo>
                    <a:pt x="850" y="810"/>
                  </a:lnTo>
                  <a:lnTo>
                    <a:pt x="854" y="810"/>
                  </a:lnTo>
                  <a:lnTo>
                    <a:pt x="854" y="806"/>
                  </a:lnTo>
                  <a:lnTo>
                    <a:pt x="854" y="802"/>
                  </a:lnTo>
                  <a:lnTo>
                    <a:pt x="850" y="802"/>
                  </a:lnTo>
                  <a:lnTo>
                    <a:pt x="846" y="802"/>
                  </a:lnTo>
                  <a:lnTo>
                    <a:pt x="846" y="798"/>
                  </a:lnTo>
                  <a:lnTo>
                    <a:pt x="846" y="794"/>
                  </a:lnTo>
                  <a:lnTo>
                    <a:pt x="842" y="790"/>
                  </a:lnTo>
                  <a:lnTo>
                    <a:pt x="842" y="786"/>
                  </a:lnTo>
                  <a:lnTo>
                    <a:pt x="846" y="786"/>
                  </a:lnTo>
                  <a:lnTo>
                    <a:pt x="846" y="790"/>
                  </a:lnTo>
                  <a:lnTo>
                    <a:pt x="850" y="794"/>
                  </a:lnTo>
                  <a:lnTo>
                    <a:pt x="850" y="790"/>
                  </a:lnTo>
                  <a:lnTo>
                    <a:pt x="850" y="786"/>
                  </a:lnTo>
                  <a:lnTo>
                    <a:pt x="846" y="786"/>
                  </a:lnTo>
                  <a:lnTo>
                    <a:pt x="846" y="782"/>
                  </a:lnTo>
                  <a:lnTo>
                    <a:pt x="846" y="778"/>
                  </a:lnTo>
                  <a:lnTo>
                    <a:pt x="846" y="782"/>
                  </a:lnTo>
                  <a:lnTo>
                    <a:pt x="850" y="782"/>
                  </a:lnTo>
                  <a:lnTo>
                    <a:pt x="850" y="778"/>
                  </a:lnTo>
                  <a:lnTo>
                    <a:pt x="854" y="782"/>
                  </a:lnTo>
                  <a:lnTo>
                    <a:pt x="854" y="778"/>
                  </a:lnTo>
                  <a:lnTo>
                    <a:pt x="858" y="778"/>
                  </a:lnTo>
                  <a:lnTo>
                    <a:pt x="858" y="782"/>
                  </a:lnTo>
                  <a:lnTo>
                    <a:pt x="858" y="778"/>
                  </a:lnTo>
                  <a:lnTo>
                    <a:pt x="854" y="778"/>
                  </a:lnTo>
                  <a:lnTo>
                    <a:pt x="854" y="782"/>
                  </a:lnTo>
                  <a:lnTo>
                    <a:pt x="854" y="778"/>
                  </a:lnTo>
                  <a:lnTo>
                    <a:pt x="850" y="778"/>
                  </a:lnTo>
                  <a:lnTo>
                    <a:pt x="846" y="778"/>
                  </a:lnTo>
                  <a:lnTo>
                    <a:pt x="842" y="778"/>
                  </a:lnTo>
                  <a:lnTo>
                    <a:pt x="842" y="782"/>
                  </a:lnTo>
                  <a:lnTo>
                    <a:pt x="842" y="786"/>
                  </a:lnTo>
                  <a:lnTo>
                    <a:pt x="842" y="782"/>
                  </a:lnTo>
                  <a:lnTo>
                    <a:pt x="838" y="782"/>
                  </a:lnTo>
                  <a:lnTo>
                    <a:pt x="838" y="778"/>
                  </a:lnTo>
                  <a:lnTo>
                    <a:pt x="834" y="778"/>
                  </a:lnTo>
                  <a:lnTo>
                    <a:pt x="838" y="778"/>
                  </a:lnTo>
                  <a:lnTo>
                    <a:pt x="834" y="774"/>
                  </a:lnTo>
                  <a:lnTo>
                    <a:pt x="834" y="770"/>
                  </a:lnTo>
                  <a:lnTo>
                    <a:pt x="830" y="770"/>
                  </a:lnTo>
                  <a:lnTo>
                    <a:pt x="830" y="766"/>
                  </a:lnTo>
                  <a:lnTo>
                    <a:pt x="826" y="766"/>
                  </a:lnTo>
                  <a:lnTo>
                    <a:pt x="826" y="762"/>
                  </a:lnTo>
                  <a:lnTo>
                    <a:pt x="826" y="758"/>
                  </a:lnTo>
                  <a:lnTo>
                    <a:pt x="822" y="754"/>
                  </a:lnTo>
                  <a:lnTo>
                    <a:pt x="822" y="750"/>
                  </a:lnTo>
                  <a:lnTo>
                    <a:pt x="822" y="746"/>
                  </a:lnTo>
                  <a:lnTo>
                    <a:pt x="822" y="742"/>
                  </a:lnTo>
                  <a:lnTo>
                    <a:pt x="818" y="738"/>
                  </a:lnTo>
                  <a:lnTo>
                    <a:pt x="814" y="734"/>
                  </a:lnTo>
                  <a:lnTo>
                    <a:pt x="814" y="730"/>
                  </a:lnTo>
                  <a:lnTo>
                    <a:pt x="814" y="726"/>
                  </a:lnTo>
                  <a:lnTo>
                    <a:pt x="818" y="726"/>
                  </a:lnTo>
                  <a:lnTo>
                    <a:pt x="818" y="722"/>
                  </a:lnTo>
                  <a:lnTo>
                    <a:pt x="818" y="718"/>
                  </a:lnTo>
                  <a:lnTo>
                    <a:pt x="818" y="714"/>
                  </a:lnTo>
                  <a:lnTo>
                    <a:pt x="818" y="710"/>
                  </a:lnTo>
                  <a:lnTo>
                    <a:pt x="818" y="706"/>
                  </a:lnTo>
                  <a:lnTo>
                    <a:pt x="818" y="702"/>
                  </a:lnTo>
                  <a:lnTo>
                    <a:pt x="818" y="698"/>
                  </a:lnTo>
                  <a:lnTo>
                    <a:pt x="814" y="698"/>
                  </a:lnTo>
                  <a:lnTo>
                    <a:pt x="814" y="694"/>
                  </a:lnTo>
                  <a:lnTo>
                    <a:pt x="814" y="690"/>
                  </a:lnTo>
                  <a:lnTo>
                    <a:pt x="814" y="687"/>
                  </a:lnTo>
                  <a:lnTo>
                    <a:pt x="814" y="683"/>
                  </a:lnTo>
                  <a:lnTo>
                    <a:pt x="810" y="683"/>
                  </a:lnTo>
                  <a:lnTo>
                    <a:pt x="810" y="679"/>
                  </a:lnTo>
                  <a:lnTo>
                    <a:pt x="814" y="679"/>
                  </a:lnTo>
                  <a:lnTo>
                    <a:pt x="814" y="675"/>
                  </a:lnTo>
                  <a:lnTo>
                    <a:pt x="814" y="671"/>
                  </a:lnTo>
                  <a:lnTo>
                    <a:pt x="818" y="671"/>
                  </a:lnTo>
                  <a:lnTo>
                    <a:pt x="818" y="667"/>
                  </a:lnTo>
                  <a:lnTo>
                    <a:pt x="814" y="671"/>
                  </a:lnTo>
                  <a:lnTo>
                    <a:pt x="814" y="667"/>
                  </a:lnTo>
                  <a:lnTo>
                    <a:pt x="818" y="667"/>
                  </a:lnTo>
                  <a:lnTo>
                    <a:pt x="818" y="663"/>
                  </a:lnTo>
                  <a:lnTo>
                    <a:pt x="818" y="659"/>
                  </a:lnTo>
                  <a:lnTo>
                    <a:pt x="818" y="655"/>
                  </a:lnTo>
                  <a:lnTo>
                    <a:pt x="818" y="647"/>
                  </a:lnTo>
                  <a:lnTo>
                    <a:pt x="818" y="643"/>
                  </a:lnTo>
                  <a:lnTo>
                    <a:pt x="818" y="639"/>
                  </a:lnTo>
                  <a:lnTo>
                    <a:pt x="818" y="635"/>
                  </a:lnTo>
                  <a:lnTo>
                    <a:pt x="822" y="631"/>
                  </a:lnTo>
                  <a:lnTo>
                    <a:pt x="822" y="627"/>
                  </a:lnTo>
                  <a:lnTo>
                    <a:pt x="822" y="623"/>
                  </a:lnTo>
                  <a:lnTo>
                    <a:pt x="822" y="619"/>
                  </a:lnTo>
                  <a:lnTo>
                    <a:pt x="822" y="615"/>
                  </a:lnTo>
                  <a:lnTo>
                    <a:pt x="822" y="611"/>
                  </a:lnTo>
                  <a:lnTo>
                    <a:pt x="826" y="611"/>
                  </a:lnTo>
                  <a:lnTo>
                    <a:pt x="826" y="607"/>
                  </a:lnTo>
                  <a:lnTo>
                    <a:pt x="830" y="611"/>
                  </a:lnTo>
                  <a:lnTo>
                    <a:pt x="834" y="611"/>
                  </a:lnTo>
                  <a:lnTo>
                    <a:pt x="830" y="611"/>
                  </a:lnTo>
                  <a:lnTo>
                    <a:pt x="830" y="607"/>
                  </a:lnTo>
                  <a:lnTo>
                    <a:pt x="826" y="607"/>
                  </a:lnTo>
                  <a:lnTo>
                    <a:pt x="822" y="607"/>
                  </a:lnTo>
                  <a:lnTo>
                    <a:pt x="818" y="607"/>
                  </a:lnTo>
                  <a:lnTo>
                    <a:pt x="818" y="603"/>
                  </a:lnTo>
                  <a:lnTo>
                    <a:pt x="818" y="599"/>
                  </a:lnTo>
                  <a:lnTo>
                    <a:pt x="818" y="603"/>
                  </a:lnTo>
                  <a:lnTo>
                    <a:pt x="822" y="607"/>
                  </a:lnTo>
                  <a:lnTo>
                    <a:pt x="822" y="603"/>
                  </a:lnTo>
                  <a:lnTo>
                    <a:pt x="822" y="599"/>
                  </a:lnTo>
                  <a:lnTo>
                    <a:pt x="818" y="599"/>
                  </a:lnTo>
                  <a:lnTo>
                    <a:pt x="818" y="595"/>
                  </a:lnTo>
                  <a:lnTo>
                    <a:pt x="822" y="595"/>
                  </a:lnTo>
                  <a:lnTo>
                    <a:pt x="822" y="591"/>
                  </a:lnTo>
                  <a:lnTo>
                    <a:pt x="818" y="591"/>
                  </a:lnTo>
                  <a:lnTo>
                    <a:pt x="818" y="595"/>
                  </a:lnTo>
                  <a:lnTo>
                    <a:pt x="818" y="591"/>
                  </a:lnTo>
                  <a:lnTo>
                    <a:pt x="818" y="587"/>
                  </a:lnTo>
                  <a:lnTo>
                    <a:pt x="814" y="583"/>
                  </a:lnTo>
                  <a:lnTo>
                    <a:pt x="814" y="579"/>
                  </a:lnTo>
                  <a:lnTo>
                    <a:pt x="814" y="575"/>
                  </a:lnTo>
                  <a:lnTo>
                    <a:pt x="810" y="571"/>
                  </a:lnTo>
                  <a:lnTo>
                    <a:pt x="810" y="567"/>
                  </a:lnTo>
                  <a:lnTo>
                    <a:pt x="810" y="563"/>
                  </a:lnTo>
                  <a:lnTo>
                    <a:pt x="814" y="563"/>
                  </a:lnTo>
                  <a:lnTo>
                    <a:pt x="818" y="563"/>
                  </a:lnTo>
                  <a:lnTo>
                    <a:pt x="818" y="567"/>
                  </a:lnTo>
                  <a:lnTo>
                    <a:pt x="822" y="567"/>
                  </a:lnTo>
                  <a:lnTo>
                    <a:pt x="826" y="567"/>
                  </a:lnTo>
                  <a:lnTo>
                    <a:pt x="830" y="567"/>
                  </a:lnTo>
                  <a:lnTo>
                    <a:pt x="834" y="567"/>
                  </a:lnTo>
                  <a:lnTo>
                    <a:pt x="838" y="567"/>
                  </a:lnTo>
                  <a:lnTo>
                    <a:pt x="838" y="571"/>
                  </a:lnTo>
                  <a:lnTo>
                    <a:pt x="842" y="571"/>
                  </a:lnTo>
                  <a:lnTo>
                    <a:pt x="838" y="575"/>
                  </a:lnTo>
                  <a:lnTo>
                    <a:pt x="838" y="579"/>
                  </a:lnTo>
                  <a:lnTo>
                    <a:pt x="834" y="579"/>
                  </a:lnTo>
                  <a:lnTo>
                    <a:pt x="834" y="583"/>
                  </a:lnTo>
                  <a:lnTo>
                    <a:pt x="838" y="583"/>
                  </a:lnTo>
                  <a:lnTo>
                    <a:pt x="834" y="583"/>
                  </a:lnTo>
                  <a:lnTo>
                    <a:pt x="834" y="579"/>
                  </a:lnTo>
                  <a:lnTo>
                    <a:pt x="838" y="579"/>
                  </a:lnTo>
                  <a:lnTo>
                    <a:pt x="838" y="575"/>
                  </a:lnTo>
                  <a:lnTo>
                    <a:pt x="842" y="571"/>
                  </a:lnTo>
                  <a:lnTo>
                    <a:pt x="842" y="575"/>
                  </a:lnTo>
                  <a:lnTo>
                    <a:pt x="842" y="579"/>
                  </a:lnTo>
                  <a:lnTo>
                    <a:pt x="838" y="579"/>
                  </a:lnTo>
                  <a:lnTo>
                    <a:pt x="842" y="579"/>
                  </a:lnTo>
                  <a:lnTo>
                    <a:pt x="842" y="583"/>
                  </a:lnTo>
                  <a:lnTo>
                    <a:pt x="842" y="587"/>
                  </a:lnTo>
                  <a:lnTo>
                    <a:pt x="838" y="587"/>
                  </a:lnTo>
                  <a:lnTo>
                    <a:pt x="842" y="583"/>
                  </a:lnTo>
                  <a:lnTo>
                    <a:pt x="838" y="583"/>
                  </a:lnTo>
                  <a:lnTo>
                    <a:pt x="838" y="587"/>
                  </a:lnTo>
                  <a:lnTo>
                    <a:pt x="838" y="583"/>
                  </a:lnTo>
                  <a:lnTo>
                    <a:pt x="838" y="587"/>
                  </a:lnTo>
                  <a:lnTo>
                    <a:pt x="834" y="587"/>
                  </a:lnTo>
                  <a:lnTo>
                    <a:pt x="834" y="591"/>
                  </a:lnTo>
                  <a:lnTo>
                    <a:pt x="838" y="591"/>
                  </a:lnTo>
                  <a:lnTo>
                    <a:pt x="838" y="587"/>
                  </a:lnTo>
                  <a:lnTo>
                    <a:pt x="838" y="591"/>
                  </a:lnTo>
                  <a:lnTo>
                    <a:pt x="842" y="587"/>
                  </a:lnTo>
                  <a:lnTo>
                    <a:pt x="846" y="583"/>
                  </a:lnTo>
                  <a:lnTo>
                    <a:pt x="846" y="579"/>
                  </a:lnTo>
                  <a:lnTo>
                    <a:pt x="842" y="579"/>
                  </a:lnTo>
                  <a:lnTo>
                    <a:pt x="846" y="575"/>
                  </a:lnTo>
                  <a:lnTo>
                    <a:pt x="846" y="571"/>
                  </a:lnTo>
                  <a:lnTo>
                    <a:pt x="846" y="567"/>
                  </a:lnTo>
                  <a:lnTo>
                    <a:pt x="842" y="567"/>
                  </a:lnTo>
                  <a:lnTo>
                    <a:pt x="842" y="563"/>
                  </a:lnTo>
                  <a:lnTo>
                    <a:pt x="846" y="563"/>
                  </a:lnTo>
                  <a:lnTo>
                    <a:pt x="842" y="559"/>
                  </a:lnTo>
                  <a:lnTo>
                    <a:pt x="842" y="563"/>
                  </a:lnTo>
                  <a:lnTo>
                    <a:pt x="838" y="559"/>
                  </a:lnTo>
                  <a:lnTo>
                    <a:pt x="842" y="559"/>
                  </a:lnTo>
                  <a:lnTo>
                    <a:pt x="842" y="555"/>
                  </a:lnTo>
                  <a:lnTo>
                    <a:pt x="838" y="551"/>
                  </a:lnTo>
                  <a:lnTo>
                    <a:pt x="838" y="547"/>
                  </a:lnTo>
                  <a:lnTo>
                    <a:pt x="842" y="547"/>
                  </a:lnTo>
                  <a:lnTo>
                    <a:pt x="846" y="547"/>
                  </a:lnTo>
                  <a:lnTo>
                    <a:pt x="850" y="547"/>
                  </a:lnTo>
                  <a:lnTo>
                    <a:pt x="866" y="547"/>
                  </a:lnTo>
                  <a:lnTo>
                    <a:pt x="874" y="547"/>
                  </a:lnTo>
                  <a:lnTo>
                    <a:pt x="878" y="547"/>
                  </a:lnTo>
                  <a:lnTo>
                    <a:pt x="882" y="547"/>
                  </a:lnTo>
                  <a:lnTo>
                    <a:pt x="890" y="547"/>
                  </a:lnTo>
                  <a:lnTo>
                    <a:pt x="894" y="547"/>
                  </a:lnTo>
                  <a:lnTo>
                    <a:pt x="898" y="547"/>
                  </a:lnTo>
                  <a:lnTo>
                    <a:pt x="906" y="547"/>
                  </a:lnTo>
                  <a:lnTo>
                    <a:pt x="910" y="547"/>
                  </a:lnTo>
                  <a:lnTo>
                    <a:pt x="914" y="547"/>
                  </a:lnTo>
                  <a:lnTo>
                    <a:pt x="918" y="547"/>
                  </a:lnTo>
                  <a:lnTo>
                    <a:pt x="922" y="547"/>
                  </a:lnTo>
                  <a:lnTo>
                    <a:pt x="926" y="547"/>
                  </a:lnTo>
                  <a:lnTo>
                    <a:pt x="942" y="547"/>
                  </a:lnTo>
                  <a:lnTo>
                    <a:pt x="946" y="547"/>
                  </a:lnTo>
                  <a:lnTo>
                    <a:pt x="950" y="547"/>
                  </a:lnTo>
                  <a:lnTo>
                    <a:pt x="954" y="547"/>
                  </a:lnTo>
                  <a:lnTo>
                    <a:pt x="958" y="547"/>
                  </a:lnTo>
                  <a:lnTo>
                    <a:pt x="962" y="547"/>
                  </a:lnTo>
                  <a:lnTo>
                    <a:pt x="966" y="547"/>
                  </a:lnTo>
                  <a:lnTo>
                    <a:pt x="970" y="547"/>
                  </a:lnTo>
                  <a:lnTo>
                    <a:pt x="978" y="547"/>
                  </a:lnTo>
                  <a:lnTo>
                    <a:pt x="982" y="547"/>
                  </a:lnTo>
                  <a:lnTo>
                    <a:pt x="986" y="547"/>
                  </a:lnTo>
                  <a:lnTo>
                    <a:pt x="994" y="547"/>
                  </a:lnTo>
                  <a:lnTo>
                    <a:pt x="998" y="547"/>
                  </a:lnTo>
                  <a:lnTo>
                    <a:pt x="1002" y="547"/>
                  </a:lnTo>
                  <a:lnTo>
                    <a:pt x="1005" y="547"/>
                  </a:lnTo>
                  <a:lnTo>
                    <a:pt x="1009" y="547"/>
                  </a:lnTo>
                  <a:lnTo>
                    <a:pt x="1021" y="547"/>
                  </a:lnTo>
                  <a:lnTo>
                    <a:pt x="1025" y="547"/>
                  </a:lnTo>
                  <a:lnTo>
                    <a:pt x="1029" y="547"/>
                  </a:lnTo>
                  <a:lnTo>
                    <a:pt x="1033" y="547"/>
                  </a:lnTo>
                  <a:lnTo>
                    <a:pt x="1037" y="547"/>
                  </a:lnTo>
                  <a:lnTo>
                    <a:pt x="1041" y="547"/>
                  </a:lnTo>
                  <a:lnTo>
                    <a:pt x="1049" y="547"/>
                  </a:lnTo>
                  <a:lnTo>
                    <a:pt x="1053" y="547"/>
                  </a:lnTo>
                  <a:lnTo>
                    <a:pt x="1057" y="547"/>
                  </a:lnTo>
                  <a:lnTo>
                    <a:pt x="1061" y="547"/>
                  </a:lnTo>
                  <a:lnTo>
                    <a:pt x="1065" y="547"/>
                  </a:lnTo>
                  <a:lnTo>
                    <a:pt x="1069" y="547"/>
                  </a:lnTo>
                  <a:lnTo>
                    <a:pt x="1073" y="547"/>
                  </a:lnTo>
                  <a:lnTo>
                    <a:pt x="1081" y="547"/>
                  </a:lnTo>
                  <a:lnTo>
                    <a:pt x="1085" y="547"/>
                  </a:lnTo>
                  <a:lnTo>
                    <a:pt x="1089" y="547"/>
                  </a:lnTo>
                  <a:lnTo>
                    <a:pt x="1093" y="547"/>
                  </a:lnTo>
                  <a:lnTo>
                    <a:pt x="1097" y="547"/>
                  </a:lnTo>
                  <a:lnTo>
                    <a:pt x="1105" y="547"/>
                  </a:lnTo>
                  <a:lnTo>
                    <a:pt x="1109" y="547"/>
                  </a:lnTo>
                  <a:lnTo>
                    <a:pt x="1117" y="547"/>
                  </a:lnTo>
                  <a:lnTo>
                    <a:pt x="1121" y="547"/>
                  </a:lnTo>
                  <a:lnTo>
                    <a:pt x="1125" y="547"/>
                  </a:lnTo>
                  <a:lnTo>
                    <a:pt x="1129" y="547"/>
                  </a:lnTo>
                  <a:lnTo>
                    <a:pt x="1133" y="547"/>
                  </a:lnTo>
                  <a:lnTo>
                    <a:pt x="1137" y="547"/>
                  </a:lnTo>
                  <a:lnTo>
                    <a:pt x="1141" y="547"/>
                  </a:lnTo>
                  <a:lnTo>
                    <a:pt x="1145" y="547"/>
                  </a:lnTo>
                  <a:lnTo>
                    <a:pt x="1149" y="547"/>
                  </a:lnTo>
                  <a:lnTo>
                    <a:pt x="1161" y="547"/>
                  </a:lnTo>
                  <a:lnTo>
                    <a:pt x="1165" y="547"/>
                  </a:lnTo>
                  <a:lnTo>
                    <a:pt x="1177" y="547"/>
                  </a:lnTo>
                  <a:lnTo>
                    <a:pt x="1185" y="547"/>
                  </a:lnTo>
                  <a:lnTo>
                    <a:pt x="1193" y="547"/>
                  </a:lnTo>
                  <a:lnTo>
                    <a:pt x="1201" y="547"/>
                  </a:lnTo>
                  <a:lnTo>
                    <a:pt x="1205" y="547"/>
                  </a:lnTo>
                  <a:lnTo>
                    <a:pt x="1209" y="547"/>
                  </a:lnTo>
                  <a:lnTo>
                    <a:pt x="1213" y="547"/>
                  </a:lnTo>
                  <a:lnTo>
                    <a:pt x="1217" y="547"/>
                  </a:lnTo>
                  <a:lnTo>
                    <a:pt x="1221" y="547"/>
                  </a:lnTo>
                  <a:lnTo>
                    <a:pt x="1225" y="547"/>
                  </a:lnTo>
                  <a:lnTo>
                    <a:pt x="1253" y="547"/>
                  </a:lnTo>
                  <a:lnTo>
                    <a:pt x="1257" y="547"/>
                  </a:lnTo>
                  <a:lnTo>
                    <a:pt x="1257" y="543"/>
                  </a:lnTo>
                  <a:lnTo>
                    <a:pt x="1257" y="539"/>
                  </a:lnTo>
                  <a:lnTo>
                    <a:pt x="1261" y="539"/>
                  </a:lnTo>
                  <a:lnTo>
                    <a:pt x="1261" y="543"/>
                  </a:lnTo>
                  <a:lnTo>
                    <a:pt x="1261" y="547"/>
                  </a:lnTo>
                  <a:lnTo>
                    <a:pt x="1265" y="547"/>
                  </a:lnTo>
                  <a:lnTo>
                    <a:pt x="1265" y="551"/>
                  </a:lnTo>
                  <a:lnTo>
                    <a:pt x="1265" y="555"/>
                  </a:lnTo>
                  <a:lnTo>
                    <a:pt x="1269" y="555"/>
                  </a:lnTo>
                  <a:lnTo>
                    <a:pt x="1273" y="555"/>
                  </a:lnTo>
                  <a:lnTo>
                    <a:pt x="1277" y="555"/>
                  </a:lnTo>
                  <a:lnTo>
                    <a:pt x="1277" y="559"/>
                  </a:lnTo>
                  <a:lnTo>
                    <a:pt x="1281" y="559"/>
                  </a:lnTo>
                  <a:lnTo>
                    <a:pt x="1285" y="555"/>
                  </a:lnTo>
                  <a:lnTo>
                    <a:pt x="1289" y="555"/>
                  </a:lnTo>
                  <a:lnTo>
                    <a:pt x="1293" y="559"/>
                  </a:lnTo>
                  <a:lnTo>
                    <a:pt x="1297" y="559"/>
                  </a:lnTo>
                  <a:lnTo>
                    <a:pt x="1297" y="563"/>
                  </a:lnTo>
                  <a:lnTo>
                    <a:pt x="1301" y="567"/>
                  </a:lnTo>
                  <a:lnTo>
                    <a:pt x="1301" y="563"/>
                  </a:lnTo>
                  <a:lnTo>
                    <a:pt x="1305" y="563"/>
                  </a:lnTo>
                  <a:lnTo>
                    <a:pt x="1305" y="567"/>
                  </a:lnTo>
                  <a:lnTo>
                    <a:pt x="1309" y="567"/>
                  </a:lnTo>
                  <a:lnTo>
                    <a:pt x="1313" y="567"/>
                  </a:lnTo>
                  <a:lnTo>
                    <a:pt x="1313" y="571"/>
                  </a:lnTo>
                  <a:lnTo>
                    <a:pt x="1313" y="567"/>
                  </a:lnTo>
                  <a:lnTo>
                    <a:pt x="1317" y="567"/>
                  </a:lnTo>
                  <a:lnTo>
                    <a:pt x="1321" y="567"/>
                  </a:lnTo>
                  <a:lnTo>
                    <a:pt x="1321" y="563"/>
                  </a:lnTo>
                  <a:lnTo>
                    <a:pt x="1321" y="567"/>
                  </a:lnTo>
                  <a:lnTo>
                    <a:pt x="1325" y="567"/>
                  </a:lnTo>
                  <a:lnTo>
                    <a:pt x="1329" y="567"/>
                  </a:lnTo>
                  <a:lnTo>
                    <a:pt x="1333" y="567"/>
                  </a:lnTo>
                  <a:lnTo>
                    <a:pt x="1333" y="571"/>
                  </a:lnTo>
                  <a:lnTo>
                    <a:pt x="1337" y="571"/>
                  </a:lnTo>
                  <a:lnTo>
                    <a:pt x="1341" y="571"/>
                  </a:lnTo>
                  <a:lnTo>
                    <a:pt x="1345" y="571"/>
                  </a:lnTo>
                  <a:lnTo>
                    <a:pt x="1349" y="567"/>
                  </a:lnTo>
                  <a:lnTo>
                    <a:pt x="1353" y="563"/>
                  </a:lnTo>
                  <a:lnTo>
                    <a:pt x="1357" y="563"/>
                  </a:lnTo>
                  <a:lnTo>
                    <a:pt x="1360" y="563"/>
                  </a:lnTo>
                  <a:lnTo>
                    <a:pt x="1372" y="571"/>
                  </a:lnTo>
                  <a:lnTo>
                    <a:pt x="1376" y="571"/>
                  </a:lnTo>
                  <a:lnTo>
                    <a:pt x="1376" y="575"/>
                  </a:lnTo>
                  <a:lnTo>
                    <a:pt x="1380" y="575"/>
                  </a:lnTo>
                  <a:lnTo>
                    <a:pt x="1384" y="579"/>
                  </a:lnTo>
                  <a:lnTo>
                    <a:pt x="1388" y="579"/>
                  </a:lnTo>
                  <a:lnTo>
                    <a:pt x="1392" y="583"/>
                  </a:lnTo>
                  <a:lnTo>
                    <a:pt x="1396" y="583"/>
                  </a:lnTo>
                  <a:lnTo>
                    <a:pt x="1396" y="587"/>
                  </a:lnTo>
                  <a:lnTo>
                    <a:pt x="1400" y="587"/>
                  </a:lnTo>
                  <a:lnTo>
                    <a:pt x="1404" y="587"/>
                  </a:lnTo>
                  <a:lnTo>
                    <a:pt x="1404" y="591"/>
                  </a:lnTo>
                  <a:lnTo>
                    <a:pt x="1412" y="595"/>
                  </a:lnTo>
                  <a:lnTo>
                    <a:pt x="1412" y="599"/>
                  </a:lnTo>
                  <a:lnTo>
                    <a:pt x="1416" y="603"/>
                  </a:lnTo>
                  <a:lnTo>
                    <a:pt x="1420" y="603"/>
                  </a:lnTo>
                  <a:lnTo>
                    <a:pt x="1424" y="603"/>
                  </a:lnTo>
                  <a:lnTo>
                    <a:pt x="1424" y="607"/>
                  </a:lnTo>
                  <a:lnTo>
                    <a:pt x="1424" y="611"/>
                  </a:lnTo>
                  <a:lnTo>
                    <a:pt x="1428" y="611"/>
                  </a:lnTo>
                  <a:lnTo>
                    <a:pt x="1432" y="611"/>
                  </a:lnTo>
                  <a:lnTo>
                    <a:pt x="1432" y="615"/>
                  </a:lnTo>
                  <a:lnTo>
                    <a:pt x="1432" y="619"/>
                  </a:lnTo>
                  <a:lnTo>
                    <a:pt x="1436" y="619"/>
                  </a:lnTo>
                  <a:lnTo>
                    <a:pt x="1440" y="623"/>
                  </a:lnTo>
                  <a:lnTo>
                    <a:pt x="1444" y="627"/>
                  </a:lnTo>
                  <a:lnTo>
                    <a:pt x="1448" y="627"/>
                  </a:lnTo>
                  <a:lnTo>
                    <a:pt x="1448" y="639"/>
                  </a:lnTo>
                  <a:lnTo>
                    <a:pt x="1452" y="647"/>
                  </a:lnTo>
                  <a:lnTo>
                    <a:pt x="1452" y="659"/>
                  </a:lnTo>
                  <a:lnTo>
                    <a:pt x="1452" y="667"/>
                  </a:lnTo>
                  <a:lnTo>
                    <a:pt x="1452" y="671"/>
                  </a:lnTo>
                  <a:lnTo>
                    <a:pt x="1452" y="675"/>
                  </a:lnTo>
                  <a:lnTo>
                    <a:pt x="1448" y="675"/>
                  </a:lnTo>
                  <a:lnTo>
                    <a:pt x="1448" y="679"/>
                  </a:lnTo>
                  <a:lnTo>
                    <a:pt x="1448" y="683"/>
                  </a:lnTo>
                  <a:lnTo>
                    <a:pt x="1448" y="687"/>
                  </a:lnTo>
                  <a:lnTo>
                    <a:pt x="1444" y="687"/>
                  </a:lnTo>
                  <a:lnTo>
                    <a:pt x="1444" y="690"/>
                  </a:lnTo>
                  <a:lnTo>
                    <a:pt x="1440" y="690"/>
                  </a:lnTo>
                  <a:lnTo>
                    <a:pt x="1440" y="694"/>
                  </a:lnTo>
                  <a:lnTo>
                    <a:pt x="1436" y="698"/>
                  </a:lnTo>
                  <a:lnTo>
                    <a:pt x="1440" y="698"/>
                  </a:lnTo>
                  <a:lnTo>
                    <a:pt x="1440" y="702"/>
                  </a:lnTo>
                  <a:lnTo>
                    <a:pt x="1444" y="706"/>
                  </a:lnTo>
                  <a:lnTo>
                    <a:pt x="1448" y="706"/>
                  </a:lnTo>
                  <a:lnTo>
                    <a:pt x="1452" y="702"/>
                  </a:lnTo>
                  <a:lnTo>
                    <a:pt x="1456" y="698"/>
                  </a:lnTo>
                  <a:lnTo>
                    <a:pt x="1460" y="698"/>
                  </a:lnTo>
                  <a:lnTo>
                    <a:pt x="1464" y="694"/>
                  </a:lnTo>
                  <a:lnTo>
                    <a:pt x="1468" y="694"/>
                  </a:lnTo>
                  <a:lnTo>
                    <a:pt x="1472" y="694"/>
                  </a:lnTo>
                  <a:lnTo>
                    <a:pt x="1476" y="690"/>
                  </a:lnTo>
                  <a:lnTo>
                    <a:pt x="1484" y="690"/>
                  </a:lnTo>
                  <a:lnTo>
                    <a:pt x="1488" y="687"/>
                  </a:lnTo>
                  <a:lnTo>
                    <a:pt x="1492" y="687"/>
                  </a:lnTo>
                  <a:lnTo>
                    <a:pt x="1496" y="683"/>
                  </a:lnTo>
                  <a:lnTo>
                    <a:pt x="1500" y="683"/>
                  </a:lnTo>
                  <a:lnTo>
                    <a:pt x="1500" y="679"/>
                  </a:lnTo>
                  <a:lnTo>
                    <a:pt x="1504" y="679"/>
                  </a:lnTo>
                  <a:lnTo>
                    <a:pt x="1500" y="679"/>
                  </a:lnTo>
                  <a:lnTo>
                    <a:pt x="1500" y="675"/>
                  </a:lnTo>
                  <a:lnTo>
                    <a:pt x="1500" y="671"/>
                  </a:lnTo>
                  <a:lnTo>
                    <a:pt x="1500" y="667"/>
                  </a:lnTo>
                  <a:lnTo>
                    <a:pt x="1504" y="663"/>
                  </a:lnTo>
                  <a:lnTo>
                    <a:pt x="1512" y="663"/>
                  </a:lnTo>
                  <a:lnTo>
                    <a:pt x="1516" y="663"/>
                  </a:lnTo>
                  <a:lnTo>
                    <a:pt x="1520" y="663"/>
                  </a:lnTo>
                  <a:lnTo>
                    <a:pt x="1524" y="663"/>
                  </a:lnTo>
                  <a:lnTo>
                    <a:pt x="1528" y="663"/>
                  </a:lnTo>
                  <a:lnTo>
                    <a:pt x="1532" y="663"/>
                  </a:lnTo>
                  <a:lnTo>
                    <a:pt x="1536" y="663"/>
                  </a:lnTo>
                  <a:lnTo>
                    <a:pt x="1536" y="659"/>
                  </a:lnTo>
                  <a:lnTo>
                    <a:pt x="1540" y="659"/>
                  </a:lnTo>
                  <a:lnTo>
                    <a:pt x="1540" y="655"/>
                  </a:lnTo>
                  <a:lnTo>
                    <a:pt x="1544" y="651"/>
                  </a:lnTo>
                  <a:lnTo>
                    <a:pt x="1548" y="651"/>
                  </a:lnTo>
                  <a:lnTo>
                    <a:pt x="1548" y="647"/>
                  </a:lnTo>
                  <a:lnTo>
                    <a:pt x="1552" y="647"/>
                  </a:lnTo>
                  <a:lnTo>
                    <a:pt x="1552" y="643"/>
                  </a:lnTo>
                  <a:lnTo>
                    <a:pt x="1556" y="639"/>
                  </a:lnTo>
                  <a:lnTo>
                    <a:pt x="1560" y="639"/>
                  </a:lnTo>
                  <a:lnTo>
                    <a:pt x="1560" y="635"/>
                  </a:lnTo>
                  <a:lnTo>
                    <a:pt x="1564" y="635"/>
                  </a:lnTo>
                  <a:lnTo>
                    <a:pt x="1568" y="635"/>
                  </a:lnTo>
                  <a:lnTo>
                    <a:pt x="1572" y="635"/>
                  </a:lnTo>
                  <a:lnTo>
                    <a:pt x="1580" y="635"/>
                  </a:lnTo>
                  <a:lnTo>
                    <a:pt x="1584" y="635"/>
                  </a:lnTo>
                  <a:lnTo>
                    <a:pt x="1588" y="635"/>
                  </a:lnTo>
                  <a:lnTo>
                    <a:pt x="1592" y="635"/>
                  </a:lnTo>
                  <a:lnTo>
                    <a:pt x="1596" y="635"/>
                  </a:lnTo>
                  <a:lnTo>
                    <a:pt x="1600" y="635"/>
                  </a:lnTo>
                  <a:lnTo>
                    <a:pt x="1604" y="635"/>
                  </a:lnTo>
                  <a:lnTo>
                    <a:pt x="1608" y="635"/>
                  </a:lnTo>
                  <a:lnTo>
                    <a:pt x="1612" y="635"/>
                  </a:lnTo>
                  <a:lnTo>
                    <a:pt x="1616" y="635"/>
                  </a:lnTo>
                  <a:lnTo>
                    <a:pt x="1616" y="631"/>
                  </a:lnTo>
                  <a:lnTo>
                    <a:pt x="1616" y="627"/>
                  </a:lnTo>
                  <a:lnTo>
                    <a:pt x="1620" y="627"/>
                  </a:lnTo>
                  <a:lnTo>
                    <a:pt x="1620" y="631"/>
                  </a:lnTo>
                  <a:lnTo>
                    <a:pt x="1620" y="627"/>
                  </a:lnTo>
                  <a:lnTo>
                    <a:pt x="1624" y="631"/>
                  </a:lnTo>
                  <a:lnTo>
                    <a:pt x="1628" y="627"/>
                  </a:lnTo>
                  <a:lnTo>
                    <a:pt x="1628" y="623"/>
                  </a:lnTo>
                  <a:lnTo>
                    <a:pt x="1628" y="619"/>
                  </a:lnTo>
                  <a:lnTo>
                    <a:pt x="1632" y="619"/>
                  </a:lnTo>
                  <a:lnTo>
                    <a:pt x="1632" y="615"/>
                  </a:lnTo>
                  <a:lnTo>
                    <a:pt x="1632" y="611"/>
                  </a:lnTo>
                  <a:lnTo>
                    <a:pt x="1632" y="607"/>
                  </a:lnTo>
                  <a:lnTo>
                    <a:pt x="1636" y="607"/>
                  </a:lnTo>
                  <a:lnTo>
                    <a:pt x="1636" y="603"/>
                  </a:lnTo>
                  <a:lnTo>
                    <a:pt x="1636" y="599"/>
                  </a:lnTo>
                  <a:lnTo>
                    <a:pt x="1640" y="595"/>
                  </a:lnTo>
                  <a:lnTo>
                    <a:pt x="1640" y="591"/>
                  </a:lnTo>
                  <a:lnTo>
                    <a:pt x="1644" y="591"/>
                  </a:lnTo>
                  <a:lnTo>
                    <a:pt x="1648" y="587"/>
                  </a:lnTo>
                  <a:lnTo>
                    <a:pt x="1648" y="583"/>
                  </a:lnTo>
                  <a:lnTo>
                    <a:pt x="1652" y="583"/>
                  </a:lnTo>
                  <a:lnTo>
                    <a:pt x="1652" y="587"/>
                  </a:lnTo>
                  <a:lnTo>
                    <a:pt x="1656" y="587"/>
                  </a:lnTo>
                  <a:lnTo>
                    <a:pt x="1660" y="587"/>
                  </a:lnTo>
                  <a:lnTo>
                    <a:pt x="1664" y="583"/>
                  </a:lnTo>
                  <a:lnTo>
                    <a:pt x="1668" y="587"/>
                  </a:lnTo>
                  <a:lnTo>
                    <a:pt x="1668" y="591"/>
                  </a:lnTo>
                  <a:lnTo>
                    <a:pt x="1672" y="591"/>
                  </a:lnTo>
                  <a:lnTo>
                    <a:pt x="1672" y="595"/>
                  </a:lnTo>
                  <a:lnTo>
                    <a:pt x="1672" y="607"/>
                  </a:lnTo>
                  <a:lnTo>
                    <a:pt x="1672" y="615"/>
                  </a:lnTo>
                  <a:lnTo>
                    <a:pt x="1672" y="619"/>
                  </a:lnTo>
                  <a:lnTo>
                    <a:pt x="1672" y="623"/>
                  </a:lnTo>
                  <a:lnTo>
                    <a:pt x="1676" y="623"/>
                  </a:lnTo>
                  <a:lnTo>
                    <a:pt x="1676" y="627"/>
                  </a:lnTo>
                  <a:lnTo>
                    <a:pt x="1676" y="631"/>
                  </a:lnTo>
                  <a:lnTo>
                    <a:pt x="1680" y="631"/>
                  </a:lnTo>
                  <a:lnTo>
                    <a:pt x="1680" y="635"/>
                  </a:lnTo>
                  <a:lnTo>
                    <a:pt x="1684" y="635"/>
                  </a:lnTo>
                  <a:lnTo>
                    <a:pt x="1680" y="635"/>
                  </a:lnTo>
                  <a:lnTo>
                    <a:pt x="1680" y="639"/>
                  </a:lnTo>
                  <a:lnTo>
                    <a:pt x="1684" y="639"/>
                  </a:lnTo>
                  <a:lnTo>
                    <a:pt x="1680" y="643"/>
                  </a:lnTo>
                  <a:lnTo>
                    <a:pt x="1676" y="643"/>
                  </a:lnTo>
                  <a:lnTo>
                    <a:pt x="1672" y="647"/>
                  </a:lnTo>
                  <a:lnTo>
                    <a:pt x="1672" y="643"/>
                  </a:lnTo>
                  <a:lnTo>
                    <a:pt x="1668" y="647"/>
                  </a:lnTo>
                  <a:lnTo>
                    <a:pt x="1668" y="651"/>
                  </a:lnTo>
                  <a:lnTo>
                    <a:pt x="1668" y="647"/>
                  </a:lnTo>
                  <a:lnTo>
                    <a:pt x="1664" y="647"/>
                  </a:lnTo>
                  <a:lnTo>
                    <a:pt x="1660" y="647"/>
                  </a:lnTo>
                  <a:lnTo>
                    <a:pt x="1660" y="651"/>
                  </a:lnTo>
                  <a:lnTo>
                    <a:pt x="1656" y="651"/>
                  </a:lnTo>
                  <a:lnTo>
                    <a:pt x="1656" y="647"/>
                  </a:lnTo>
                  <a:lnTo>
                    <a:pt x="1656" y="643"/>
                  </a:lnTo>
                  <a:lnTo>
                    <a:pt x="1656" y="647"/>
                  </a:lnTo>
                  <a:lnTo>
                    <a:pt x="1652" y="647"/>
                  </a:lnTo>
                  <a:lnTo>
                    <a:pt x="1652" y="651"/>
                  </a:lnTo>
                  <a:lnTo>
                    <a:pt x="1652" y="655"/>
                  </a:lnTo>
                  <a:lnTo>
                    <a:pt x="1648" y="659"/>
                  </a:lnTo>
                  <a:lnTo>
                    <a:pt x="1648" y="655"/>
                  </a:lnTo>
                  <a:lnTo>
                    <a:pt x="1644" y="659"/>
                  </a:lnTo>
                  <a:lnTo>
                    <a:pt x="1644" y="655"/>
                  </a:lnTo>
                  <a:lnTo>
                    <a:pt x="1644" y="659"/>
                  </a:lnTo>
                  <a:lnTo>
                    <a:pt x="1644" y="655"/>
                  </a:lnTo>
                  <a:lnTo>
                    <a:pt x="1644" y="659"/>
                  </a:lnTo>
                  <a:lnTo>
                    <a:pt x="1640" y="659"/>
                  </a:lnTo>
                  <a:lnTo>
                    <a:pt x="1644" y="659"/>
                  </a:lnTo>
                  <a:lnTo>
                    <a:pt x="1640" y="663"/>
                  </a:lnTo>
                  <a:lnTo>
                    <a:pt x="1640" y="659"/>
                  </a:lnTo>
                  <a:lnTo>
                    <a:pt x="1640" y="655"/>
                  </a:lnTo>
                  <a:lnTo>
                    <a:pt x="1640" y="659"/>
                  </a:lnTo>
                  <a:lnTo>
                    <a:pt x="1640" y="663"/>
                  </a:lnTo>
                  <a:lnTo>
                    <a:pt x="1640" y="659"/>
                  </a:lnTo>
                  <a:lnTo>
                    <a:pt x="1636" y="659"/>
                  </a:lnTo>
                  <a:lnTo>
                    <a:pt x="1636" y="663"/>
                  </a:lnTo>
                  <a:lnTo>
                    <a:pt x="1632" y="663"/>
                  </a:lnTo>
                  <a:lnTo>
                    <a:pt x="1636" y="663"/>
                  </a:lnTo>
                  <a:lnTo>
                    <a:pt x="1636" y="667"/>
                  </a:lnTo>
                  <a:lnTo>
                    <a:pt x="1632" y="667"/>
                  </a:lnTo>
                  <a:lnTo>
                    <a:pt x="1632" y="671"/>
                  </a:lnTo>
                  <a:lnTo>
                    <a:pt x="1628" y="671"/>
                  </a:lnTo>
                  <a:lnTo>
                    <a:pt x="1628" y="675"/>
                  </a:lnTo>
                  <a:lnTo>
                    <a:pt x="1628" y="679"/>
                  </a:lnTo>
                  <a:lnTo>
                    <a:pt x="1624" y="679"/>
                  </a:lnTo>
                  <a:lnTo>
                    <a:pt x="1624" y="683"/>
                  </a:lnTo>
                  <a:lnTo>
                    <a:pt x="1628" y="687"/>
                  </a:lnTo>
                  <a:lnTo>
                    <a:pt x="1628" y="683"/>
                  </a:lnTo>
                  <a:lnTo>
                    <a:pt x="1628" y="687"/>
                  </a:lnTo>
                  <a:lnTo>
                    <a:pt x="1624" y="687"/>
                  </a:lnTo>
                  <a:lnTo>
                    <a:pt x="1620" y="690"/>
                  </a:lnTo>
                  <a:lnTo>
                    <a:pt x="1624" y="694"/>
                  </a:lnTo>
                  <a:lnTo>
                    <a:pt x="1628" y="694"/>
                  </a:lnTo>
                  <a:lnTo>
                    <a:pt x="1628" y="698"/>
                  </a:lnTo>
                  <a:lnTo>
                    <a:pt x="1628" y="702"/>
                  </a:lnTo>
                  <a:lnTo>
                    <a:pt x="1632" y="702"/>
                  </a:lnTo>
                  <a:lnTo>
                    <a:pt x="1632" y="706"/>
                  </a:lnTo>
                  <a:lnTo>
                    <a:pt x="1636" y="702"/>
                  </a:lnTo>
                  <a:lnTo>
                    <a:pt x="1636" y="698"/>
                  </a:lnTo>
                  <a:lnTo>
                    <a:pt x="1632" y="698"/>
                  </a:lnTo>
                  <a:lnTo>
                    <a:pt x="1636" y="698"/>
                  </a:lnTo>
                  <a:lnTo>
                    <a:pt x="1640" y="698"/>
                  </a:lnTo>
                  <a:lnTo>
                    <a:pt x="1640" y="702"/>
                  </a:lnTo>
                  <a:lnTo>
                    <a:pt x="1640" y="706"/>
                  </a:lnTo>
                  <a:lnTo>
                    <a:pt x="1636" y="706"/>
                  </a:lnTo>
                  <a:lnTo>
                    <a:pt x="1632" y="706"/>
                  </a:lnTo>
                  <a:lnTo>
                    <a:pt x="1628" y="706"/>
                  </a:lnTo>
                  <a:lnTo>
                    <a:pt x="1628" y="702"/>
                  </a:lnTo>
                  <a:lnTo>
                    <a:pt x="1624" y="706"/>
                  </a:lnTo>
                  <a:lnTo>
                    <a:pt x="1620" y="710"/>
                  </a:lnTo>
                  <a:lnTo>
                    <a:pt x="1620" y="706"/>
                  </a:lnTo>
                  <a:lnTo>
                    <a:pt x="1620" y="702"/>
                  </a:lnTo>
                  <a:lnTo>
                    <a:pt x="1620" y="706"/>
                  </a:lnTo>
                  <a:lnTo>
                    <a:pt x="1616" y="706"/>
                  </a:lnTo>
                  <a:lnTo>
                    <a:pt x="1616" y="702"/>
                  </a:lnTo>
                  <a:lnTo>
                    <a:pt x="1616" y="706"/>
                  </a:lnTo>
                  <a:lnTo>
                    <a:pt x="1616" y="710"/>
                  </a:lnTo>
                  <a:lnTo>
                    <a:pt x="1612" y="710"/>
                  </a:lnTo>
                  <a:lnTo>
                    <a:pt x="1612" y="714"/>
                  </a:lnTo>
                  <a:lnTo>
                    <a:pt x="1608" y="714"/>
                  </a:lnTo>
                  <a:lnTo>
                    <a:pt x="1608" y="710"/>
                  </a:lnTo>
                  <a:lnTo>
                    <a:pt x="1604" y="714"/>
                  </a:lnTo>
                  <a:lnTo>
                    <a:pt x="1600" y="714"/>
                  </a:lnTo>
                  <a:lnTo>
                    <a:pt x="1596" y="714"/>
                  </a:lnTo>
                  <a:lnTo>
                    <a:pt x="1592" y="714"/>
                  </a:lnTo>
                  <a:lnTo>
                    <a:pt x="1588" y="714"/>
                  </a:lnTo>
                  <a:lnTo>
                    <a:pt x="1588" y="718"/>
                  </a:lnTo>
                  <a:lnTo>
                    <a:pt x="1584" y="718"/>
                  </a:lnTo>
                  <a:lnTo>
                    <a:pt x="1580" y="718"/>
                  </a:lnTo>
                  <a:lnTo>
                    <a:pt x="1580" y="722"/>
                  </a:lnTo>
                  <a:lnTo>
                    <a:pt x="1576" y="722"/>
                  </a:lnTo>
                  <a:lnTo>
                    <a:pt x="1580" y="722"/>
                  </a:lnTo>
                  <a:lnTo>
                    <a:pt x="1580" y="718"/>
                  </a:lnTo>
                  <a:lnTo>
                    <a:pt x="1580" y="714"/>
                  </a:lnTo>
                  <a:lnTo>
                    <a:pt x="1576" y="714"/>
                  </a:lnTo>
                  <a:lnTo>
                    <a:pt x="1580" y="714"/>
                  </a:lnTo>
                  <a:lnTo>
                    <a:pt x="1580" y="718"/>
                  </a:lnTo>
                  <a:lnTo>
                    <a:pt x="1576" y="722"/>
                  </a:lnTo>
                  <a:lnTo>
                    <a:pt x="1576" y="726"/>
                  </a:lnTo>
                  <a:lnTo>
                    <a:pt x="1572" y="726"/>
                  </a:lnTo>
                  <a:lnTo>
                    <a:pt x="1572" y="730"/>
                  </a:lnTo>
                  <a:lnTo>
                    <a:pt x="1576" y="730"/>
                  </a:lnTo>
                  <a:lnTo>
                    <a:pt x="1576" y="734"/>
                  </a:lnTo>
                  <a:lnTo>
                    <a:pt x="1576" y="738"/>
                  </a:lnTo>
                  <a:lnTo>
                    <a:pt x="1576" y="746"/>
                  </a:lnTo>
                  <a:lnTo>
                    <a:pt x="1576" y="742"/>
                  </a:lnTo>
                  <a:lnTo>
                    <a:pt x="1576" y="738"/>
                  </a:lnTo>
                  <a:lnTo>
                    <a:pt x="1576" y="742"/>
                  </a:lnTo>
                  <a:lnTo>
                    <a:pt x="1576" y="746"/>
                  </a:lnTo>
                  <a:lnTo>
                    <a:pt x="1572" y="746"/>
                  </a:lnTo>
                  <a:lnTo>
                    <a:pt x="1572" y="750"/>
                  </a:lnTo>
                  <a:lnTo>
                    <a:pt x="1568" y="750"/>
                  </a:lnTo>
                  <a:lnTo>
                    <a:pt x="1568" y="754"/>
                  </a:lnTo>
                  <a:lnTo>
                    <a:pt x="1572" y="754"/>
                  </a:lnTo>
                  <a:lnTo>
                    <a:pt x="1568" y="754"/>
                  </a:lnTo>
                  <a:lnTo>
                    <a:pt x="1568" y="758"/>
                  </a:lnTo>
                  <a:lnTo>
                    <a:pt x="1564" y="758"/>
                  </a:lnTo>
                  <a:lnTo>
                    <a:pt x="1564" y="762"/>
                  </a:lnTo>
                  <a:lnTo>
                    <a:pt x="1564" y="758"/>
                  </a:lnTo>
                  <a:lnTo>
                    <a:pt x="1560" y="758"/>
                  </a:lnTo>
                  <a:lnTo>
                    <a:pt x="1560" y="754"/>
                  </a:lnTo>
                  <a:lnTo>
                    <a:pt x="1556" y="754"/>
                  </a:lnTo>
                  <a:lnTo>
                    <a:pt x="1552" y="750"/>
                  </a:lnTo>
                  <a:lnTo>
                    <a:pt x="1552" y="746"/>
                  </a:lnTo>
                  <a:lnTo>
                    <a:pt x="1556" y="746"/>
                  </a:lnTo>
                  <a:lnTo>
                    <a:pt x="1556" y="742"/>
                  </a:lnTo>
                  <a:lnTo>
                    <a:pt x="1560" y="742"/>
                  </a:lnTo>
                  <a:lnTo>
                    <a:pt x="1560" y="738"/>
                  </a:lnTo>
                  <a:lnTo>
                    <a:pt x="1560" y="742"/>
                  </a:lnTo>
                  <a:lnTo>
                    <a:pt x="1556" y="742"/>
                  </a:lnTo>
                  <a:lnTo>
                    <a:pt x="1556" y="746"/>
                  </a:lnTo>
                  <a:lnTo>
                    <a:pt x="1552" y="746"/>
                  </a:lnTo>
                  <a:lnTo>
                    <a:pt x="1552" y="750"/>
                  </a:lnTo>
                  <a:lnTo>
                    <a:pt x="1556" y="754"/>
                  </a:lnTo>
                  <a:lnTo>
                    <a:pt x="1556" y="758"/>
                  </a:lnTo>
                  <a:lnTo>
                    <a:pt x="1556" y="762"/>
                  </a:lnTo>
                  <a:lnTo>
                    <a:pt x="1560" y="766"/>
                  </a:lnTo>
                  <a:lnTo>
                    <a:pt x="1560" y="770"/>
                  </a:lnTo>
                  <a:lnTo>
                    <a:pt x="1560" y="774"/>
                  </a:lnTo>
                  <a:lnTo>
                    <a:pt x="1560" y="770"/>
                  </a:lnTo>
                  <a:lnTo>
                    <a:pt x="1560" y="774"/>
                  </a:lnTo>
                  <a:lnTo>
                    <a:pt x="1560" y="778"/>
                  </a:lnTo>
                  <a:lnTo>
                    <a:pt x="1556" y="778"/>
                  </a:lnTo>
                  <a:lnTo>
                    <a:pt x="1556" y="782"/>
                  </a:lnTo>
                  <a:lnTo>
                    <a:pt x="1556" y="786"/>
                  </a:lnTo>
                  <a:lnTo>
                    <a:pt x="1552" y="786"/>
                  </a:lnTo>
                  <a:lnTo>
                    <a:pt x="1552" y="790"/>
                  </a:lnTo>
                  <a:lnTo>
                    <a:pt x="1548" y="794"/>
                  </a:lnTo>
                  <a:lnTo>
                    <a:pt x="1548" y="798"/>
                  </a:lnTo>
                  <a:lnTo>
                    <a:pt x="1548" y="794"/>
                  </a:lnTo>
                  <a:lnTo>
                    <a:pt x="1548" y="790"/>
                  </a:lnTo>
                  <a:lnTo>
                    <a:pt x="1548" y="786"/>
                  </a:lnTo>
                  <a:lnTo>
                    <a:pt x="1552" y="786"/>
                  </a:lnTo>
                  <a:lnTo>
                    <a:pt x="1552" y="782"/>
                  </a:lnTo>
                  <a:lnTo>
                    <a:pt x="1548" y="782"/>
                  </a:lnTo>
                  <a:lnTo>
                    <a:pt x="1548" y="778"/>
                  </a:lnTo>
                  <a:lnTo>
                    <a:pt x="1548" y="774"/>
                  </a:lnTo>
                  <a:lnTo>
                    <a:pt x="1548" y="778"/>
                  </a:lnTo>
                  <a:lnTo>
                    <a:pt x="1544" y="778"/>
                  </a:lnTo>
                  <a:lnTo>
                    <a:pt x="1544" y="774"/>
                  </a:lnTo>
                  <a:lnTo>
                    <a:pt x="1540" y="770"/>
                  </a:lnTo>
                  <a:lnTo>
                    <a:pt x="1544" y="770"/>
                  </a:lnTo>
                  <a:lnTo>
                    <a:pt x="1548" y="770"/>
                  </a:lnTo>
                  <a:lnTo>
                    <a:pt x="1548" y="766"/>
                  </a:lnTo>
                  <a:lnTo>
                    <a:pt x="1548" y="770"/>
                  </a:lnTo>
                  <a:lnTo>
                    <a:pt x="1544" y="770"/>
                  </a:lnTo>
                  <a:lnTo>
                    <a:pt x="1544" y="766"/>
                  </a:lnTo>
                  <a:lnTo>
                    <a:pt x="1540" y="766"/>
                  </a:lnTo>
                  <a:lnTo>
                    <a:pt x="1544" y="762"/>
                  </a:lnTo>
                  <a:lnTo>
                    <a:pt x="1544" y="766"/>
                  </a:lnTo>
                  <a:lnTo>
                    <a:pt x="1544" y="762"/>
                  </a:lnTo>
                  <a:lnTo>
                    <a:pt x="1540" y="762"/>
                  </a:lnTo>
                  <a:lnTo>
                    <a:pt x="1540" y="758"/>
                  </a:lnTo>
                  <a:lnTo>
                    <a:pt x="1544" y="762"/>
                  </a:lnTo>
                  <a:lnTo>
                    <a:pt x="1544" y="758"/>
                  </a:lnTo>
                  <a:lnTo>
                    <a:pt x="1544" y="754"/>
                  </a:lnTo>
                  <a:lnTo>
                    <a:pt x="1548" y="754"/>
                  </a:lnTo>
                  <a:lnTo>
                    <a:pt x="1548" y="750"/>
                  </a:lnTo>
                  <a:lnTo>
                    <a:pt x="1548" y="746"/>
                  </a:lnTo>
                  <a:lnTo>
                    <a:pt x="1544" y="750"/>
                  </a:lnTo>
                  <a:lnTo>
                    <a:pt x="1544" y="754"/>
                  </a:lnTo>
                  <a:lnTo>
                    <a:pt x="1544" y="750"/>
                  </a:lnTo>
                  <a:lnTo>
                    <a:pt x="1540" y="754"/>
                  </a:lnTo>
                  <a:close/>
                  <a:moveTo>
                    <a:pt x="834" y="555"/>
                  </a:moveTo>
                  <a:lnTo>
                    <a:pt x="834" y="559"/>
                  </a:lnTo>
                  <a:lnTo>
                    <a:pt x="834" y="555"/>
                  </a:lnTo>
                  <a:close/>
                  <a:moveTo>
                    <a:pt x="882" y="862"/>
                  </a:moveTo>
                  <a:lnTo>
                    <a:pt x="886" y="862"/>
                  </a:lnTo>
                  <a:lnTo>
                    <a:pt x="882" y="862"/>
                  </a:lnTo>
                  <a:close/>
                  <a:moveTo>
                    <a:pt x="204" y="128"/>
                  </a:moveTo>
                  <a:lnTo>
                    <a:pt x="200" y="128"/>
                  </a:lnTo>
                  <a:lnTo>
                    <a:pt x="192" y="132"/>
                  </a:lnTo>
                  <a:lnTo>
                    <a:pt x="196" y="128"/>
                  </a:lnTo>
                  <a:lnTo>
                    <a:pt x="200" y="128"/>
                  </a:lnTo>
                  <a:lnTo>
                    <a:pt x="204" y="128"/>
                  </a:lnTo>
                  <a:close/>
                  <a:moveTo>
                    <a:pt x="180" y="136"/>
                  </a:moveTo>
                  <a:lnTo>
                    <a:pt x="176" y="140"/>
                  </a:lnTo>
                  <a:lnTo>
                    <a:pt x="176" y="136"/>
                  </a:lnTo>
                  <a:lnTo>
                    <a:pt x="180" y="136"/>
                  </a:lnTo>
                  <a:close/>
                  <a:moveTo>
                    <a:pt x="240" y="204"/>
                  </a:moveTo>
                  <a:lnTo>
                    <a:pt x="236" y="204"/>
                  </a:lnTo>
                  <a:lnTo>
                    <a:pt x="240" y="204"/>
                  </a:lnTo>
                  <a:close/>
                  <a:moveTo>
                    <a:pt x="455" y="275"/>
                  </a:moveTo>
                  <a:lnTo>
                    <a:pt x="455" y="279"/>
                  </a:lnTo>
                  <a:lnTo>
                    <a:pt x="455" y="275"/>
                  </a:lnTo>
                  <a:lnTo>
                    <a:pt x="451" y="275"/>
                  </a:lnTo>
                  <a:lnTo>
                    <a:pt x="455" y="275"/>
                  </a:lnTo>
                  <a:close/>
                  <a:moveTo>
                    <a:pt x="88" y="287"/>
                  </a:moveTo>
                  <a:lnTo>
                    <a:pt x="88" y="283"/>
                  </a:lnTo>
                  <a:lnTo>
                    <a:pt x="84" y="283"/>
                  </a:lnTo>
                  <a:lnTo>
                    <a:pt x="80" y="283"/>
                  </a:lnTo>
                  <a:lnTo>
                    <a:pt x="76" y="279"/>
                  </a:lnTo>
                  <a:lnTo>
                    <a:pt x="80" y="279"/>
                  </a:lnTo>
                  <a:lnTo>
                    <a:pt x="80" y="283"/>
                  </a:lnTo>
                  <a:lnTo>
                    <a:pt x="84" y="283"/>
                  </a:lnTo>
                  <a:lnTo>
                    <a:pt x="88" y="283"/>
                  </a:lnTo>
                  <a:lnTo>
                    <a:pt x="88" y="287"/>
                  </a:lnTo>
                  <a:close/>
                  <a:moveTo>
                    <a:pt x="499" y="283"/>
                  </a:moveTo>
                  <a:lnTo>
                    <a:pt x="499" y="287"/>
                  </a:lnTo>
                  <a:lnTo>
                    <a:pt x="499" y="283"/>
                  </a:lnTo>
                  <a:close/>
                  <a:moveTo>
                    <a:pt x="455" y="283"/>
                  </a:moveTo>
                  <a:lnTo>
                    <a:pt x="455" y="287"/>
                  </a:lnTo>
                  <a:lnTo>
                    <a:pt x="455" y="283"/>
                  </a:lnTo>
                  <a:close/>
                  <a:moveTo>
                    <a:pt x="455" y="287"/>
                  </a:moveTo>
                  <a:lnTo>
                    <a:pt x="455" y="291"/>
                  </a:lnTo>
                  <a:lnTo>
                    <a:pt x="451" y="291"/>
                  </a:lnTo>
                  <a:lnTo>
                    <a:pt x="455" y="291"/>
                  </a:lnTo>
                  <a:lnTo>
                    <a:pt x="455" y="287"/>
                  </a:lnTo>
                  <a:close/>
                  <a:moveTo>
                    <a:pt x="515" y="295"/>
                  </a:moveTo>
                  <a:lnTo>
                    <a:pt x="511" y="295"/>
                  </a:lnTo>
                  <a:lnTo>
                    <a:pt x="507" y="295"/>
                  </a:lnTo>
                  <a:lnTo>
                    <a:pt x="507" y="299"/>
                  </a:lnTo>
                  <a:lnTo>
                    <a:pt x="507" y="295"/>
                  </a:lnTo>
                  <a:lnTo>
                    <a:pt x="511" y="295"/>
                  </a:lnTo>
                  <a:lnTo>
                    <a:pt x="511" y="291"/>
                  </a:lnTo>
                  <a:lnTo>
                    <a:pt x="515" y="291"/>
                  </a:lnTo>
                  <a:lnTo>
                    <a:pt x="515" y="295"/>
                  </a:lnTo>
                  <a:close/>
                  <a:moveTo>
                    <a:pt x="260" y="327"/>
                  </a:moveTo>
                  <a:lnTo>
                    <a:pt x="260" y="323"/>
                  </a:lnTo>
                  <a:lnTo>
                    <a:pt x="264" y="323"/>
                  </a:lnTo>
                  <a:lnTo>
                    <a:pt x="260" y="327"/>
                  </a:lnTo>
                  <a:close/>
                  <a:moveTo>
                    <a:pt x="662" y="335"/>
                  </a:moveTo>
                  <a:lnTo>
                    <a:pt x="658" y="335"/>
                  </a:lnTo>
                  <a:lnTo>
                    <a:pt x="658" y="331"/>
                  </a:lnTo>
                  <a:lnTo>
                    <a:pt x="662" y="335"/>
                  </a:lnTo>
                  <a:close/>
                  <a:moveTo>
                    <a:pt x="120" y="363"/>
                  </a:moveTo>
                  <a:lnTo>
                    <a:pt x="116" y="363"/>
                  </a:lnTo>
                  <a:lnTo>
                    <a:pt x="116" y="359"/>
                  </a:lnTo>
                  <a:lnTo>
                    <a:pt x="120" y="359"/>
                  </a:lnTo>
                  <a:lnTo>
                    <a:pt x="120" y="363"/>
                  </a:lnTo>
                  <a:close/>
                  <a:moveTo>
                    <a:pt x="128" y="375"/>
                  </a:moveTo>
                  <a:lnTo>
                    <a:pt x="132" y="375"/>
                  </a:lnTo>
                  <a:lnTo>
                    <a:pt x="128" y="375"/>
                  </a:lnTo>
                  <a:close/>
                  <a:moveTo>
                    <a:pt x="363" y="375"/>
                  </a:moveTo>
                  <a:lnTo>
                    <a:pt x="359" y="375"/>
                  </a:lnTo>
                  <a:lnTo>
                    <a:pt x="363" y="375"/>
                  </a:lnTo>
                  <a:close/>
                  <a:moveTo>
                    <a:pt x="367" y="375"/>
                  </a:moveTo>
                  <a:lnTo>
                    <a:pt x="363" y="375"/>
                  </a:lnTo>
                  <a:lnTo>
                    <a:pt x="367" y="375"/>
                  </a:lnTo>
                  <a:close/>
                  <a:moveTo>
                    <a:pt x="343" y="391"/>
                  </a:moveTo>
                  <a:lnTo>
                    <a:pt x="343" y="395"/>
                  </a:lnTo>
                  <a:lnTo>
                    <a:pt x="339" y="395"/>
                  </a:lnTo>
                  <a:lnTo>
                    <a:pt x="339" y="391"/>
                  </a:lnTo>
                  <a:lnTo>
                    <a:pt x="343" y="391"/>
                  </a:lnTo>
                  <a:close/>
                  <a:moveTo>
                    <a:pt x="678" y="391"/>
                  </a:moveTo>
                  <a:lnTo>
                    <a:pt x="678" y="395"/>
                  </a:lnTo>
                  <a:lnTo>
                    <a:pt x="678" y="391"/>
                  </a:lnTo>
                  <a:close/>
                  <a:moveTo>
                    <a:pt x="1576" y="726"/>
                  </a:moveTo>
                  <a:lnTo>
                    <a:pt x="1576" y="730"/>
                  </a:lnTo>
                  <a:lnTo>
                    <a:pt x="1572" y="730"/>
                  </a:lnTo>
                  <a:lnTo>
                    <a:pt x="1572" y="726"/>
                  </a:lnTo>
                  <a:lnTo>
                    <a:pt x="1576" y="726"/>
                  </a:lnTo>
                  <a:close/>
                  <a:moveTo>
                    <a:pt x="1552" y="838"/>
                  </a:moveTo>
                  <a:lnTo>
                    <a:pt x="1552" y="834"/>
                  </a:lnTo>
                  <a:lnTo>
                    <a:pt x="1556" y="834"/>
                  </a:lnTo>
                  <a:lnTo>
                    <a:pt x="1556" y="830"/>
                  </a:lnTo>
                  <a:lnTo>
                    <a:pt x="1552" y="826"/>
                  </a:lnTo>
                  <a:lnTo>
                    <a:pt x="1556" y="826"/>
                  </a:lnTo>
                  <a:lnTo>
                    <a:pt x="1556" y="830"/>
                  </a:lnTo>
                  <a:lnTo>
                    <a:pt x="1556" y="834"/>
                  </a:lnTo>
                  <a:lnTo>
                    <a:pt x="1552" y="838"/>
                  </a:lnTo>
                  <a:close/>
                  <a:moveTo>
                    <a:pt x="1476" y="974"/>
                  </a:moveTo>
                  <a:lnTo>
                    <a:pt x="1476" y="970"/>
                  </a:lnTo>
                  <a:lnTo>
                    <a:pt x="1476" y="974"/>
                  </a:lnTo>
                  <a:close/>
                  <a:moveTo>
                    <a:pt x="1480" y="982"/>
                  </a:moveTo>
                  <a:lnTo>
                    <a:pt x="1480" y="986"/>
                  </a:lnTo>
                  <a:lnTo>
                    <a:pt x="1480" y="990"/>
                  </a:lnTo>
                  <a:lnTo>
                    <a:pt x="1484" y="994"/>
                  </a:lnTo>
                  <a:lnTo>
                    <a:pt x="1484" y="998"/>
                  </a:lnTo>
                  <a:lnTo>
                    <a:pt x="1484" y="994"/>
                  </a:lnTo>
                  <a:lnTo>
                    <a:pt x="1480" y="990"/>
                  </a:lnTo>
                  <a:lnTo>
                    <a:pt x="1480" y="986"/>
                  </a:lnTo>
                  <a:lnTo>
                    <a:pt x="1480" y="982"/>
                  </a:lnTo>
                  <a:close/>
                  <a:moveTo>
                    <a:pt x="1225" y="990"/>
                  </a:moveTo>
                  <a:lnTo>
                    <a:pt x="1225" y="994"/>
                  </a:lnTo>
                  <a:lnTo>
                    <a:pt x="1221" y="994"/>
                  </a:lnTo>
                  <a:lnTo>
                    <a:pt x="1225" y="990"/>
                  </a:lnTo>
                  <a:lnTo>
                    <a:pt x="1225" y="986"/>
                  </a:lnTo>
                  <a:lnTo>
                    <a:pt x="1229" y="982"/>
                  </a:lnTo>
                  <a:lnTo>
                    <a:pt x="1229" y="986"/>
                  </a:lnTo>
                  <a:lnTo>
                    <a:pt x="1225" y="986"/>
                  </a:lnTo>
                  <a:lnTo>
                    <a:pt x="1225" y="990"/>
                  </a:lnTo>
                  <a:close/>
                  <a:moveTo>
                    <a:pt x="1225" y="1006"/>
                  </a:moveTo>
                  <a:lnTo>
                    <a:pt x="1225" y="1002"/>
                  </a:lnTo>
                  <a:lnTo>
                    <a:pt x="1221" y="1002"/>
                  </a:lnTo>
                  <a:lnTo>
                    <a:pt x="1221" y="998"/>
                  </a:lnTo>
                  <a:lnTo>
                    <a:pt x="1221" y="994"/>
                  </a:lnTo>
                  <a:lnTo>
                    <a:pt x="1221" y="998"/>
                  </a:lnTo>
                  <a:lnTo>
                    <a:pt x="1225" y="1002"/>
                  </a:lnTo>
                  <a:lnTo>
                    <a:pt x="1225" y="1006"/>
                  </a:lnTo>
                  <a:lnTo>
                    <a:pt x="1225" y="1010"/>
                  </a:lnTo>
                  <a:lnTo>
                    <a:pt x="1225" y="1014"/>
                  </a:lnTo>
                  <a:lnTo>
                    <a:pt x="1225" y="1018"/>
                  </a:lnTo>
                  <a:lnTo>
                    <a:pt x="1225" y="1014"/>
                  </a:lnTo>
                  <a:lnTo>
                    <a:pt x="1225" y="1010"/>
                  </a:lnTo>
                  <a:lnTo>
                    <a:pt x="1225" y="1006"/>
                  </a:lnTo>
                  <a:close/>
                  <a:moveTo>
                    <a:pt x="140" y="216"/>
                  </a:moveTo>
                  <a:lnTo>
                    <a:pt x="136" y="216"/>
                  </a:lnTo>
                  <a:lnTo>
                    <a:pt x="132" y="216"/>
                  </a:lnTo>
                  <a:lnTo>
                    <a:pt x="128" y="220"/>
                  </a:lnTo>
                  <a:lnTo>
                    <a:pt x="128" y="216"/>
                  </a:lnTo>
                  <a:lnTo>
                    <a:pt x="124" y="216"/>
                  </a:lnTo>
                  <a:lnTo>
                    <a:pt x="120" y="216"/>
                  </a:lnTo>
                  <a:lnTo>
                    <a:pt x="120" y="212"/>
                  </a:lnTo>
                  <a:lnTo>
                    <a:pt x="116" y="208"/>
                  </a:lnTo>
                  <a:lnTo>
                    <a:pt x="112" y="208"/>
                  </a:lnTo>
                  <a:lnTo>
                    <a:pt x="108" y="208"/>
                  </a:lnTo>
                  <a:lnTo>
                    <a:pt x="112" y="208"/>
                  </a:lnTo>
                  <a:lnTo>
                    <a:pt x="116" y="208"/>
                  </a:lnTo>
                  <a:lnTo>
                    <a:pt x="116" y="212"/>
                  </a:lnTo>
                  <a:lnTo>
                    <a:pt x="120" y="212"/>
                  </a:lnTo>
                  <a:lnTo>
                    <a:pt x="116" y="212"/>
                  </a:lnTo>
                  <a:lnTo>
                    <a:pt x="112" y="208"/>
                  </a:lnTo>
                  <a:lnTo>
                    <a:pt x="108" y="208"/>
                  </a:lnTo>
                  <a:lnTo>
                    <a:pt x="104" y="208"/>
                  </a:lnTo>
                  <a:lnTo>
                    <a:pt x="104" y="212"/>
                  </a:lnTo>
                  <a:lnTo>
                    <a:pt x="100" y="212"/>
                  </a:lnTo>
                  <a:lnTo>
                    <a:pt x="96" y="212"/>
                  </a:lnTo>
                  <a:lnTo>
                    <a:pt x="96" y="208"/>
                  </a:lnTo>
                  <a:lnTo>
                    <a:pt x="96" y="204"/>
                  </a:lnTo>
                  <a:lnTo>
                    <a:pt x="96" y="200"/>
                  </a:lnTo>
                  <a:lnTo>
                    <a:pt x="100" y="200"/>
                  </a:lnTo>
                  <a:lnTo>
                    <a:pt x="100" y="204"/>
                  </a:lnTo>
                  <a:lnTo>
                    <a:pt x="104" y="204"/>
                  </a:lnTo>
                  <a:lnTo>
                    <a:pt x="108" y="204"/>
                  </a:lnTo>
                  <a:lnTo>
                    <a:pt x="112" y="204"/>
                  </a:lnTo>
                  <a:lnTo>
                    <a:pt x="116" y="200"/>
                  </a:lnTo>
                  <a:lnTo>
                    <a:pt x="120" y="200"/>
                  </a:lnTo>
                  <a:lnTo>
                    <a:pt x="120" y="204"/>
                  </a:lnTo>
                  <a:lnTo>
                    <a:pt x="124" y="204"/>
                  </a:lnTo>
                  <a:lnTo>
                    <a:pt x="124" y="208"/>
                  </a:lnTo>
                  <a:lnTo>
                    <a:pt x="128" y="208"/>
                  </a:lnTo>
                  <a:lnTo>
                    <a:pt x="132" y="208"/>
                  </a:lnTo>
                  <a:lnTo>
                    <a:pt x="132" y="212"/>
                  </a:lnTo>
                  <a:lnTo>
                    <a:pt x="136" y="212"/>
                  </a:lnTo>
                  <a:lnTo>
                    <a:pt x="140" y="212"/>
                  </a:lnTo>
                  <a:lnTo>
                    <a:pt x="144" y="212"/>
                  </a:lnTo>
                  <a:lnTo>
                    <a:pt x="140" y="216"/>
                  </a:lnTo>
                  <a:close/>
                  <a:moveTo>
                    <a:pt x="455" y="271"/>
                  </a:moveTo>
                  <a:lnTo>
                    <a:pt x="459" y="271"/>
                  </a:lnTo>
                  <a:lnTo>
                    <a:pt x="455" y="275"/>
                  </a:lnTo>
                  <a:lnTo>
                    <a:pt x="455" y="271"/>
                  </a:lnTo>
                  <a:close/>
                  <a:moveTo>
                    <a:pt x="491" y="279"/>
                  </a:moveTo>
                  <a:lnTo>
                    <a:pt x="487" y="279"/>
                  </a:lnTo>
                  <a:lnTo>
                    <a:pt x="483" y="283"/>
                  </a:lnTo>
                  <a:lnTo>
                    <a:pt x="483" y="279"/>
                  </a:lnTo>
                  <a:lnTo>
                    <a:pt x="487" y="279"/>
                  </a:lnTo>
                  <a:lnTo>
                    <a:pt x="491" y="279"/>
                  </a:lnTo>
                  <a:close/>
                  <a:moveTo>
                    <a:pt x="487" y="283"/>
                  </a:moveTo>
                  <a:lnTo>
                    <a:pt x="483" y="283"/>
                  </a:lnTo>
                  <a:lnTo>
                    <a:pt x="479" y="283"/>
                  </a:lnTo>
                  <a:lnTo>
                    <a:pt x="479" y="287"/>
                  </a:lnTo>
                  <a:lnTo>
                    <a:pt x="475" y="287"/>
                  </a:lnTo>
                  <a:lnTo>
                    <a:pt x="479" y="287"/>
                  </a:lnTo>
                  <a:lnTo>
                    <a:pt x="479" y="283"/>
                  </a:lnTo>
                  <a:lnTo>
                    <a:pt x="475" y="283"/>
                  </a:lnTo>
                  <a:lnTo>
                    <a:pt x="479" y="283"/>
                  </a:lnTo>
                  <a:lnTo>
                    <a:pt x="479" y="279"/>
                  </a:lnTo>
                  <a:lnTo>
                    <a:pt x="479" y="283"/>
                  </a:lnTo>
                  <a:lnTo>
                    <a:pt x="483" y="283"/>
                  </a:lnTo>
                  <a:lnTo>
                    <a:pt x="487" y="283"/>
                  </a:lnTo>
                  <a:close/>
                  <a:moveTo>
                    <a:pt x="184" y="283"/>
                  </a:moveTo>
                  <a:lnTo>
                    <a:pt x="188" y="283"/>
                  </a:lnTo>
                  <a:lnTo>
                    <a:pt x="188" y="287"/>
                  </a:lnTo>
                  <a:lnTo>
                    <a:pt x="188" y="291"/>
                  </a:lnTo>
                  <a:lnTo>
                    <a:pt x="192" y="295"/>
                  </a:lnTo>
                  <a:lnTo>
                    <a:pt x="188" y="295"/>
                  </a:lnTo>
                  <a:lnTo>
                    <a:pt x="184" y="295"/>
                  </a:lnTo>
                  <a:lnTo>
                    <a:pt x="180" y="295"/>
                  </a:lnTo>
                  <a:lnTo>
                    <a:pt x="180" y="299"/>
                  </a:lnTo>
                  <a:lnTo>
                    <a:pt x="184" y="299"/>
                  </a:lnTo>
                  <a:lnTo>
                    <a:pt x="180" y="299"/>
                  </a:lnTo>
                  <a:lnTo>
                    <a:pt x="176" y="295"/>
                  </a:lnTo>
                  <a:lnTo>
                    <a:pt x="168" y="295"/>
                  </a:lnTo>
                  <a:lnTo>
                    <a:pt x="168" y="291"/>
                  </a:lnTo>
                  <a:lnTo>
                    <a:pt x="164" y="291"/>
                  </a:lnTo>
                  <a:lnTo>
                    <a:pt x="164" y="287"/>
                  </a:lnTo>
                  <a:lnTo>
                    <a:pt x="168" y="287"/>
                  </a:lnTo>
                  <a:lnTo>
                    <a:pt x="172" y="287"/>
                  </a:lnTo>
                  <a:lnTo>
                    <a:pt x="172" y="283"/>
                  </a:lnTo>
                  <a:lnTo>
                    <a:pt x="176" y="283"/>
                  </a:lnTo>
                  <a:lnTo>
                    <a:pt x="180" y="283"/>
                  </a:lnTo>
                  <a:lnTo>
                    <a:pt x="184" y="283"/>
                  </a:lnTo>
                  <a:close/>
                  <a:moveTo>
                    <a:pt x="471" y="287"/>
                  </a:moveTo>
                  <a:lnTo>
                    <a:pt x="467" y="287"/>
                  </a:lnTo>
                  <a:lnTo>
                    <a:pt x="467" y="291"/>
                  </a:lnTo>
                  <a:lnTo>
                    <a:pt x="463" y="295"/>
                  </a:lnTo>
                  <a:lnTo>
                    <a:pt x="459" y="299"/>
                  </a:lnTo>
                  <a:lnTo>
                    <a:pt x="459" y="295"/>
                  </a:lnTo>
                  <a:lnTo>
                    <a:pt x="463" y="291"/>
                  </a:lnTo>
                  <a:lnTo>
                    <a:pt x="467" y="291"/>
                  </a:lnTo>
                  <a:lnTo>
                    <a:pt x="467" y="287"/>
                  </a:lnTo>
                  <a:lnTo>
                    <a:pt x="467" y="283"/>
                  </a:lnTo>
                  <a:lnTo>
                    <a:pt x="471" y="283"/>
                  </a:lnTo>
                  <a:lnTo>
                    <a:pt x="471" y="287"/>
                  </a:lnTo>
                  <a:close/>
                  <a:moveTo>
                    <a:pt x="459" y="291"/>
                  </a:moveTo>
                  <a:lnTo>
                    <a:pt x="455" y="291"/>
                  </a:lnTo>
                  <a:lnTo>
                    <a:pt x="459" y="287"/>
                  </a:lnTo>
                  <a:lnTo>
                    <a:pt x="459" y="291"/>
                  </a:lnTo>
                  <a:close/>
                  <a:moveTo>
                    <a:pt x="459" y="291"/>
                  </a:moveTo>
                  <a:lnTo>
                    <a:pt x="459" y="295"/>
                  </a:lnTo>
                  <a:lnTo>
                    <a:pt x="455" y="295"/>
                  </a:lnTo>
                  <a:lnTo>
                    <a:pt x="455" y="291"/>
                  </a:lnTo>
                  <a:lnTo>
                    <a:pt x="459" y="291"/>
                  </a:lnTo>
                  <a:close/>
                  <a:moveTo>
                    <a:pt x="375" y="307"/>
                  </a:moveTo>
                  <a:lnTo>
                    <a:pt x="375" y="311"/>
                  </a:lnTo>
                  <a:lnTo>
                    <a:pt x="371" y="311"/>
                  </a:lnTo>
                  <a:lnTo>
                    <a:pt x="371" y="307"/>
                  </a:lnTo>
                  <a:lnTo>
                    <a:pt x="375" y="307"/>
                  </a:lnTo>
                  <a:close/>
                  <a:moveTo>
                    <a:pt x="415" y="307"/>
                  </a:moveTo>
                  <a:lnTo>
                    <a:pt x="415" y="311"/>
                  </a:lnTo>
                  <a:lnTo>
                    <a:pt x="415" y="307"/>
                  </a:lnTo>
                  <a:close/>
                  <a:moveTo>
                    <a:pt x="391" y="327"/>
                  </a:moveTo>
                  <a:lnTo>
                    <a:pt x="387" y="331"/>
                  </a:lnTo>
                  <a:lnTo>
                    <a:pt x="387" y="327"/>
                  </a:lnTo>
                  <a:lnTo>
                    <a:pt x="391" y="327"/>
                  </a:lnTo>
                  <a:close/>
                  <a:moveTo>
                    <a:pt x="387" y="339"/>
                  </a:moveTo>
                  <a:lnTo>
                    <a:pt x="383" y="343"/>
                  </a:lnTo>
                  <a:lnTo>
                    <a:pt x="383" y="339"/>
                  </a:lnTo>
                  <a:lnTo>
                    <a:pt x="379" y="339"/>
                  </a:lnTo>
                  <a:lnTo>
                    <a:pt x="379" y="335"/>
                  </a:lnTo>
                  <a:lnTo>
                    <a:pt x="383" y="339"/>
                  </a:lnTo>
                  <a:lnTo>
                    <a:pt x="383" y="335"/>
                  </a:lnTo>
                  <a:lnTo>
                    <a:pt x="379" y="335"/>
                  </a:lnTo>
                  <a:lnTo>
                    <a:pt x="383" y="335"/>
                  </a:lnTo>
                  <a:lnTo>
                    <a:pt x="383" y="331"/>
                  </a:lnTo>
                  <a:lnTo>
                    <a:pt x="387" y="331"/>
                  </a:lnTo>
                  <a:lnTo>
                    <a:pt x="391" y="331"/>
                  </a:lnTo>
                  <a:lnTo>
                    <a:pt x="395" y="331"/>
                  </a:lnTo>
                  <a:lnTo>
                    <a:pt x="395" y="335"/>
                  </a:lnTo>
                  <a:lnTo>
                    <a:pt x="395" y="339"/>
                  </a:lnTo>
                  <a:lnTo>
                    <a:pt x="391" y="335"/>
                  </a:lnTo>
                  <a:lnTo>
                    <a:pt x="391" y="339"/>
                  </a:lnTo>
                  <a:lnTo>
                    <a:pt x="387" y="339"/>
                  </a:lnTo>
                  <a:close/>
                  <a:moveTo>
                    <a:pt x="670" y="355"/>
                  </a:moveTo>
                  <a:lnTo>
                    <a:pt x="666" y="355"/>
                  </a:lnTo>
                  <a:lnTo>
                    <a:pt x="670" y="355"/>
                  </a:lnTo>
                  <a:lnTo>
                    <a:pt x="670" y="359"/>
                  </a:lnTo>
                  <a:lnTo>
                    <a:pt x="666" y="359"/>
                  </a:lnTo>
                  <a:lnTo>
                    <a:pt x="666" y="355"/>
                  </a:lnTo>
                  <a:lnTo>
                    <a:pt x="666" y="359"/>
                  </a:lnTo>
                  <a:lnTo>
                    <a:pt x="662" y="363"/>
                  </a:lnTo>
                  <a:lnTo>
                    <a:pt x="658" y="363"/>
                  </a:lnTo>
                  <a:lnTo>
                    <a:pt x="658" y="359"/>
                  </a:lnTo>
                  <a:lnTo>
                    <a:pt x="662" y="355"/>
                  </a:lnTo>
                  <a:lnTo>
                    <a:pt x="662" y="359"/>
                  </a:lnTo>
                  <a:lnTo>
                    <a:pt x="662" y="355"/>
                  </a:lnTo>
                  <a:lnTo>
                    <a:pt x="658" y="355"/>
                  </a:lnTo>
                  <a:lnTo>
                    <a:pt x="662" y="355"/>
                  </a:lnTo>
                  <a:lnTo>
                    <a:pt x="662" y="351"/>
                  </a:lnTo>
                  <a:lnTo>
                    <a:pt x="658" y="351"/>
                  </a:lnTo>
                  <a:lnTo>
                    <a:pt x="658" y="347"/>
                  </a:lnTo>
                  <a:lnTo>
                    <a:pt x="658" y="339"/>
                  </a:lnTo>
                  <a:lnTo>
                    <a:pt x="654" y="335"/>
                  </a:lnTo>
                  <a:lnTo>
                    <a:pt x="654" y="331"/>
                  </a:lnTo>
                  <a:lnTo>
                    <a:pt x="654" y="335"/>
                  </a:lnTo>
                  <a:lnTo>
                    <a:pt x="658" y="335"/>
                  </a:lnTo>
                  <a:lnTo>
                    <a:pt x="658" y="339"/>
                  </a:lnTo>
                  <a:lnTo>
                    <a:pt x="658" y="335"/>
                  </a:lnTo>
                  <a:lnTo>
                    <a:pt x="662" y="335"/>
                  </a:lnTo>
                  <a:lnTo>
                    <a:pt x="662" y="339"/>
                  </a:lnTo>
                  <a:lnTo>
                    <a:pt x="666" y="339"/>
                  </a:lnTo>
                  <a:lnTo>
                    <a:pt x="666" y="343"/>
                  </a:lnTo>
                  <a:lnTo>
                    <a:pt x="670" y="347"/>
                  </a:lnTo>
                  <a:lnTo>
                    <a:pt x="670" y="351"/>
                  </a:lnTo>
                  <a:lnTo>
                    <a:pt x="670" y="347"/>
                  </a:lnTo>
                  <a:lnTo>
                    <a:pt x="666" y="347"/>
                  </a:lnTo>
                  <a:lnTo>
                    <a:pt x="666" y="343"/>
                  </a:lnTo>
                  <a:lnTo>
                    <a:pt x="666" y="339"/>
                  </a:lnTo>
                  <a:lnTo>
                    <a:pt x="662" y="339"/>
                  </a:lnTo>
                  <a:lnTo>
                    <a:pt x="662" y="343"/>
                  </a:lnTo>
                  <a:lnTo>
                    <a:pt x="666" y="343"/>
                  </a:lnTo>
                  <a:lnTo>
                    <a:pt x="666" y="347"/>
                  </a:lnTo>
                  <a:lnTo>
                    <a:pt x="666" y="351"/>
                  </a:lnTo>
                  <a:lnTo>
                    <a:pt x="670" y="351"/>
                  </a:lnTo>
                  <a:lnTo>
                    <a:pt x="670" y="355"/>
                  </a:lnTo>
                  <a:close/>
                  <a:moveTo>
                    <a:pt x="635" y="347"/>
                  </a:moveTo>
                  <a:lnTo>
                    <a:pt x="631" y="347"/>
                  </a:lnTo>
                  <a:lnTo>
                    <a:pt x="635" y="343"/>
                  </a:lnTo>
                  <a:lnTo>
                    <a:pt x="639" y="343"/>
                  </a:lnTo>
                  <a:lnTo>
                    <a:pt x="635" y="343"/>
                  </a:lnTo>
                  <a:lnTo>
                    <a:pt x="631" y="339"/>
                  </a:lnTo>
                  <a:lnTo>
                    <a:pt x="635" y="335"/>
                  </a:lnTo>
                  <a:lnTo>
                    <a:pt x="635" y="339"/>
                  </a:lnTo>
                  <a:lnTo>
                    <a:pt x="635" y="335"/>
                  </a:lnTo>
                  <a:lnTo>
                    <a:pt x="639" y="335"/>
                  </a:lnTo>
                  <a:lnTo>
                    <a:pt x="643" y="335"/>
                  </a:lnTo>
                  <a:lnTo>
                    <a:pt x="647" y="335"/>
                  </a:lnTo>
                  <a:lnTo>
                    <a:pt x="647" y="339"/>
                  </a:lnTo>
                  <a:lnTo>
                    <a:pt x="643" y="339"/>
                  </a:lnTo>
                  <a:lnTo>
                    <a:pt x="643" y="343"/>
                  </a:lnTo>
                  <a:lnTo>
                    <a:pt x="647" y="343"/>
                  </a:lnTo>
                  <a:lnTo>
                    <a:pt x="647" y="339"/>
                  </a:lnTo>
                  <a:lnTo>
                    <a:pt x="651" y="339"/>
                  </a:lnTo>
                  <a:lnTo>
                    <a:pt x="654" y="339"/>
                  </a:lnTo>
                  <a:lnTo>
                    <a:pt x="654" y="343"/>
                  </a:lnTo>
                  <a:lnTo>
                    <a:pt x="651" y="343"/>
                  </a:lnTo>
                  <a:lnTo>
                    <a:pt x="654" y="343"/>
                  </a:lnTo>
                  <a:lnTo>
                    <a:pt x="654" y="347"/>
                  </a:lnTo>
                  <a:lnTo>
                    <a:pt x="651" y="347"/>
                  </a:lnTo>
                  <a:lnTo>
                    <a:pt x="647" y="347"/>
                  </a:lnTo>
                  <a:lnTo>
                    <a:pt x="647" y="343"/>
                  </a:lnTo>
                  <a:lnTo>
                    <a:pt x="643" y="343"/>
                  </a:lnTo>
                  <a:lnTo>
                    <a:pt x="639" y="343"/>
                  </a:lnTo>
                  <a:lnTo>
                    <a:pt x="643" y="343"/>
                  </a:lnTo>
                  <a:lnTo>
                    <a:pt x="647" y="343"/>
                  </a:lnTo>
                  <a:lnTo>
                    <a:pt x="647" y="347"/>
                  </a:lnTo>
                  <a:lnTo>
                    <a:pt x="651" y="347"/>
                  </a:lnTo>
                  <a:lnTo>
                    <a:pt x="654" y="347"/>
                  </a:lnTo>
                  <a:lnTo>
                    <a:pt x="654" y="351"/>
                  </a:lnTo>
                  <a:lnTo>
                    <a:pt x="654" y="355"/>
                  </a:lnTo>
                  <a:lnTo>
                    <a:pt x="651" y="355"/>
                  </a:lnTo>
                  <a:lnTo>
                    <a:pt x="651" y="351"/>
                  </a:lnTo>
                  <a:lnTo>
                    <a:pt x="647" y="351"/>
                  </a:lnTo>
                  <a:lnTo>
                    <a:pt x="647" y="347"/>
                  </a:lnTo>
                  <a:lnTo>
                    <a:pt x="643" y="347"/>
                  </a:lnTo>
                  <a:lnTo>
                    <a:pt x="643" y="351"/>
                  </a:lnTo>
                  <a:lnTo>
                    <a:pt x="647" y="351"/>
                  </a:lnTo>
                  <a:lnTo>
                    <a:pt x="647" y="355"/>
                  </a:lnTo>
                  <a:lnTo>
                    <a:pt x="643" y="355"/>
                  </a:lnTo>
                  <a:lnTo>
                    <a:pt x="639" y="355"/>
                  </a:lnTo>
                  <a:lnTo>
                    <a:pt x="639" y="351"/>
                  </a:lnTo>
                  <a:lnTo>
                    <a:pt x="639" y="355"/>
                  </a:lnTo>
                  <a:lnTo>
                    <a:pt x="643" y="355"/>
                  </a:lnTo>
                  <a:lnTo>
                    <a:pt x="639" y="351"/>
                  </a:lnTo>
                  <a:lnTo>
                    <a:pt x="635" y="347"/>
                  </a:lnTo>
                  <a:close/>
                  <a:moveTo>
                    <a:pt x="375" y="339"/>
                  </a:moveTo>
                  <a:lnTo>
                    <a:pt x="379" y="339"/>
                  </a:lnTo>
                  <a:lnTo>
                    <a:pt x="383" y="339"/>
                  </a:lnTo>
                  <a:lnTo>
                    <a:pt x="383" y="343"/>
                  </a:lnTo>
                  <a:lnTo>
                    <a:pt x="379" y="343"/>
                  </a:lnTo>
                  <a:lnTo>
                    <a:pt x="379" y="339"/>
                  </a:lnTo>
                  <a:lnTo>
                    <a:pt x="375" y="339"/>
                  </a:lnTo>
                  <a:close/>
                  <a:moveTo>
                    <a:pt x="631" y="339"/>
                  </a:moveTo>
                  <a:lnTo>
                    <a:pt x="635" y="339"/>
                  </a:lnTo>
                  <a:lnTo>
                    <a:pt x="635" y="343"/>
                  </a:lnTo>
                  <a:lnTo>
                    <a:pt x="631" y="343"/>
                  </a:lnTo>
                  <a:lnTo>
                    <a:pt x="631" y="339"/>
                  </a:lnTo>
                  <a:close/>
                  <a:moveTo>
                    <a:pt x="371" y="351"/>
                  </a:moveTo>
                  <a:lnTo>
                    <a:pt x="371" y="347"/>
                  </a:lnTo>
                  <a:lnTo>
                    <a:pt x="367" y="347"/>
                  </a:lnTo>
                  <a:lnTo>
                    <a:pt x="371" y="343"/>
                  </a:lnTo>
                  <a:lnTo>
                    <a:pt x="371" y="347"/>
                  </a:lnTo>
                  <a:lnTo>
                    <a:pt x="371" y="351"/>
                  </a:lnTo>
                  <a:lnTo>
                    <a:pt x="375" y="347"/>
                  </a:lnTo>
                  <a:lnTo>
                    <a:pt x="375" y="343"/>
                  </a:lnTo>
                  <a:lnTo>
                    <a:pt x="379" y="347"/>
                  </a:lnTo>
                  <a:lnTo>
                    <a:pt x="379" y="343"/>
                  </a:lnTo>
                  <a:lnTo>
                    <a:pt x="379" y="347"/>
                  </a:lnTo>
                  <a:lnTo>
                    <a:pt x="379" y="343"/>
                  </a:lnTo>
                  <a:lnTo>
                    <a:pt x="375" y="343"/>
                  </a:lnTo>
                  <a:lnTo>
                    <a:pt x="379" y="343"/>
                  </a:lnTo>
                  <a:lnTo>
                    <a:pt x="383" y="343"/>
                  </a:lnTo>
                  <a:lnTo>
                    <a:pt x="383" y="347"/>
                  </a:lnTo>
                  <a:lnTo>
                    <a:pt x="383" y="343"/>
                  </a:lnTo>
                  <a:lnTo>
                    <a:pt x="387" y="343"/>
                  </a:lnTo>
                  <a:lnTo>
                    <a:pt x="391" y="343"/>
                  </a:lnTo>
                  <a:lnTo>
                    <a:pt x="391" y="347"/>
                  </a:lnTo>
                  <a:lnTo>
                    <a:pt x="387" y="347"/>
                  </a:lnTo>
                  <a:lnTo>
                    <a:pt x="391" y="351"/>
                  </a:lnTo>
                  <a:lnTo>
                    <a:pt x="395" y="351"/>
                  </a:lnTo>
                  <a:lnTo>
                    <a:pt x="391" y="351"/>
                  </a:lnTo>
                  <a:lnTo>
                    <a:pt x="391" y="355"/>
                  </a:lnTo>
                  <a:lnTo>
                    <a:pt x="387" y="355"/>
                  </a:lnTo>
                  <a:lnTo>
                    <a:pt x="383" y="351"/>
                  </a:lnTo>
                  <a:lnTo>
                    <a:pt x="379" y="355"/>
                  </a:lnTo>
                  <a:lnTo>
                    <a:pt x="383" y="355"/>
                  </a:lnTo>
                  <a:lnTo>
                    <a:pt x="387" y="355"/>
                  </a:lnTo>
                  <a:lnTo>
                    <a:pt x="387" y="359"/>
                  </a:lnTo>
                  <a:lnTo>
                    <a:pt x="383" y="359"/>
                  </a:lnTo>
                  <a:lnTo>
                    <a:pt x="379" y="355"/>
                  </a:lnTo>
                  <a:lnTo>
                    <a:pt x="379" y="359"/>
                  </a:lnTo>
                  <a:lnTo>
                    <a:pt x="383" y="359"/>
                  </a:lnTo>
                  <a:lnTo>
                    <a:pt x="379" y="359"/>
                  </a:lnTo>
                  <a:lnTo>
                    <a:pt x="375" y="359"/>
                  </a:lnTo>
                  <a:lnTo>
                    <a:pt x="375" y="363"/>
                  </a:lnTo>
                  <a:lnTo>
                    <a:pt x="371" y="363"/>
                  </a:lnTo>
                  <a:lnTo>
                    <a:pt x="371" y="367"/>
                  </a:lnTo>
                  <a:lnTo>
                    <a:pt x="367" y="367"/>
                  </a:lnTo>
                  <a:lnTo>
                    <a:pt x="367" y="371"/>
                  </a:lnTo>
                  <a:lnTo>
                    <a:pt x="363" y="371"/>
                  </a:lnTo>
                  <a:lnTo>
                    <a:pt x="363" y="367"/>
                  </a:lnTo>
                  <a:lnTo>
                    <a:pt x="367" y="367"/>
                  </a:lnTo>
                  <a:lnTo>
                    <a:pt x="367" y="363"/>
                  </a:lnTo>
                  <a:lnTo>
                    <a:pt x="367" y="367"/>
                  </a:lnTo>
                  <a:lnTo>
                    <a:pt x="367" y="363"/>
                  </a:lnTo>
                  <a:lnTo>
                    <a:pt x="371" y="363"/>
                  </a:lnTo>
                  <a:lnTo>
                    <a:pt x="367" y="363"/>
                  </a:lnTo>
                  <a:lnTo>
                    <a:pt x="363" y="363"/>
                  </a:lnTo>
                  <a:lnTo>
                    <a:pt x="363" y="367"/>
                  </a:lnTo>
                  <a:lnTo>
                    <a:pt x="363" y="363"/>
                  </a:lnTo>
                  <a:lnTo>
                    <a:pt x="367" y="363"/>
                  </a:lnTo>
                  <a:lnTo>
                    <a:pt x="363" y="363"/>
                  </a:lnTo>
                  <a:lnTo>
                    <a:pt x="359" y="363"/>
                  </a:lnTo>
                  <a:lnTo>
                    <a:pt x="363" y="363"/>
                  </a:lnTo>
                  <a:lnTo>
                    <a:pt x="363" y="367"/>
                  </a:lnTo>
                  <a:lnTo>
                    <a:pt x="359" y="367"/>
                  </a:lnTo>
                  <a:lnTo>
                    <a:pt x="359" y="363"/>
                  </a:lnTo>
                  <a:lnTo>
                    <a:pt x="359" y="359"/>
                  </a:lnTo>
                  <a:lnTo>
                    <a:pt x="355" y="359"/>
                  </a:lnTo>
                  <a:lnTo>
                    <a:pt x="355" y="355"/>
                  </a:lnTo>
                  <a:lnTo>
                    <a:pt x="355" y="351"/>
                  </a:lnTo>
                  <a:lnTo>
                    <a:pt x="359" y="351"/>
                  </a:lnTo>
                  <a:lnTo>
                    <a:pt x="363" y="351"/>
                  </a:lnTo>
                  <a:lnTo>
                    <a:pt x="367" y="351"/>
                  </a:lnTo>
                  <a:lnTo>
                    <a:pt x="367" y="355"/>
                  </a:lnTo>
                  <a:lnTo>
                    <a:pt x="367" y="359"/>
                  </a:lnTo>
                  <a:lnTo>
                    <a:pt x="371" y="359"/>
                  </a:lnTo>
                  <a:lnTo>
                    <a:pt x="367" y="355"/>
                  </a:lnTo>
                  <a:lnTo>
                    <a:pt x="367" y="351"/>
                  </a:lnTo>
                  <a:lnTo>
                    <a:pt x="371" y="351"/>
                  </a:lnTo>
                  <a:close/>
                  <a:moveTo>
                    <a:pt x="375" y="343"/>
                  </a:moveTo>
                  <a:lnTo>
                    <a:pt x="379" y="343"/>
                  </a:lnTo>
                  <a:lnTo>
                    <a:pt x="379" y="347"/>
                  </a:lnTo>
                  <a:lnTo>
                    <a:pt x="375" y="347"/>
                  </a:lnTo>
                  <a:lnTo>
                    <a:pt x="375" y="343"/>
                  </a:lnTo>
                  <a:lnTo>
                    <a:pt x="371" y="343"/>
                  </a:lnTo>
                  <a:lnTo>
                    <a:pt x="375" y="343"/>
                  </a:lnTo>
                  <a:close/>
                  <a:moveTo>
                    <a:pt x="658" y="375"/>
                  </a:moveTo>
                  <a:lnTo>
                    <a:pt x="658" y="379"/>
                  </a:lnTo>
                  <a:lnTo>
                    <a:pt x="658" y="383"/>
                  </a:lnTo>
                  <a:lnTo>
                    <a:pt x="654" y="379"/>
                  </a:lnTo>
                  <a:lnTo>
                    <a:pt x="654" y="375"/>
                  </a:lnTo>
                  <a:lnTo>
                    <a:pt x="654" y="371"/>
                  </a:lnTo>
                  <a:lnTo>
                    <a:pt x="651" y="375"/>
                  </a:lnTo>
                  <a:lnTo>
                    <a:pt x="651" y="371"/>
                  </a:lnTo>
                  <a:lnTo>
                    <a:pt x="647" y="367"/>
                  </a:lnTo>
                  <a:lnTo>
                    <a:pt x="647" y="363"/>
                  </a:lnTo>
                  <a:lnTo>
                    <a:pt x="647" y="359"/>
                  </a:lnTo>
                  <a:lnTo>
                    <a:pt x="643" y="359"/>
                  </a:lnTo>
                  <a:lnTo>
                    <a:pt x="643" y="355"/>
                  </a:lnTo>
                  <a:lnTo>
                    <a:pt x="647" y="355"/>
                  </a:lnTo>
                  <a:lnTo>
                    <a:pt x="647" y="351"/>
                  </a:lnTo>
                  <a:lnTo>
                    <a:pt x="651" y="355"/>
                  </a:lnTo>
                  <a:lnTo>
                    <a:pt x="654" y="355"/>
                  </a:lnTo>
                  <a:lnTo>
                    <a:pt x="654" y="359"/>
                  </a:lnTo>
                  <a:lnTo>
                    <a:pt x="658" y="363"/>
                  </a:lnTo>
                  <a:lnTo>
                    <a:pt x="658" y="367"/>
                  </a:lnTo>
                  <a:lnTo>
                    <a:pt x="658" y="371"/>
                  </a:lnTo>
                  <a:lnTo>
                    <a:pt x="658" y="375"/>
                  </a:lnTo>
                  <a:close/>
                  <a:moveTo>
                    <a:pt x="654" y="355"/>
                  </a:moveTo>
                  <a:lnTo>
                    <a:pt x="658" y="355"/>
                  </a:lnTo>
                  <a:lnTo>
                    <a:pt x="654" y="359"/>
                  </a:lnTo>
                  <a:lnTo>
                    <a:pt x="654" y="355"/>
                  </a:lnTo>
                  <a:close/>
                  <a:moveTo>
                    <a:pt x="643" y="359"/>
                  </a:moveTo>
                  <a:lnTo>
                    <a:pt x="647" y="359"/>
                  </a:lnTo>
                  <a:lnTo>
                    <a:pt x="647" y="363"/>
                  </a:lnTo>
                  <a:lnTo>
                    <a:pt x="643" y="363"/>
                  </a:lnTo>
                  <a:lnTo>
                    <a:pt x="643" y="367"/>
                  </a:lnTo>
                  <a:lnTo>
                    <a:pt x="643" y="363"/>
                  </a:lnTo>
                  <a:lnTo>
                    <a:pt x="643" y="359"/>
                  </a:lnTo>
                  <a:lnTo>
                    <a:pt x="639" y="359"/>
                  </a:lnTo>
                  <a:lnTo>
                    <a:pt x="643" y="359"/>
                  </a:lnTo>
                  <a:close/>
                  <a:moveTo>
                    <a:pt x="383" y="363"/>
                  </a:moveTo>
                  <a:lnTo>
                    <a:pt x="379" y="363"/>
                  </a:lnTo>
                  <a:lnTo>
                    <a:pt x="375" y="363"/>
                  </a:lnTo>
                  <a:lnTo>
                    <a:pt x="375" y="367"/>
                  </a:lnTo>
                  <a:lnTo>
                    <a:pt x="375" y="363"/>
                  </a:lnTo>
                  <a:lnTo>
                    <a:pt x="375" y="359"/>
                  </a:lnTo>
                  <a:lnTo>
                    <a:pt x="379" y="359"/>
                  </a:lnTo>
                  <a:lnTo>
                    <a:pt x="383" y="359"/>
                  </a:lnTo>
                  <a:lnTo>
                    <a:pt x="383" y="363"/>
                  </a:lnTo>
                  <a:close/>
                  <a:moveTo>
                    <a:pt x="682" y="367"/>
                  </a:moveTo>
                  <a:lnTo>
                    <a:pt x="686" y="367"/>
                  </a:lnTo>
                  <a:lnTo>
                    <a:pt x="682" y="371"/>
                  </a:lnTo>
                  <a:lnTo>
                    <a:pt x="686" y="375"/>
                  </a:lnTo>
                  <a:lnTo>
                    <a:pt x="682" y="375"/>
                  </a:lnTo>
                  <a:lnTo>
                    <a:pt x="682" y="371"/>
                  </a:lnTo>
                  <a:lnTo>
                    <a:pt x="678" y="371"/>
                  </a:lnTo>
                  <a:lnTo>
                    <a:pt x="678" y="367"/>
                  </a:lnTo>
                  <a:lnTo>
                    <a:pt x="678" y="371"/>
                  </a:lnTo>
                  <a:lnTo>
                    <a:pt x="682" y="375"/>
                  </a:lnTo>
                  <a:lnTo>
                    <a:pt x="682" y="379"/>
                  </a:lnTo>
                  <a:lnTo>
                    <a:pt x="678" y="379"/>
                  </a:lnTo>
                  <a:lnTo>
                    <a:pt x="674" y="379"/>
                  </a:lnTo>
                  <a:lnTo>
                    <a:pt x="674" y="375"/>
                  </a:lnTo>
                  <a:lnTo>
                    <a:pt x="674" y="371"/>
                  </a:lnTo>
                  <a:lnTo>
                    <a:pt x="670" y="371"/>
                  </a:lnTo>
                  <a:lnTo>
                    <a:pt x="670" y="367"/>
                  </a:lnTo>
                  <a:lnTo>
                    <a:pt x="666" y="363"/>
                  </a:lnTo>
                  <a:lnTo>
                    <a:pt x="670" y="363"/>
                  </a:lnTo>
                  <a:lnTo>
                    <a:pt x="674" y="363"/>
                  </a:lnTo>
                  <a:lnTo>
                    <a:pt x="678" y="363"/>
                  </a:lnTo>
                  <a:lnTo>
                    <a:pt x="678" y="367"/>
                  </a:lnTo>
                  <a:lnTo>
                    <a:pt x="682" y="363"/>
                  </a:lnTo>
                  <a:lnTo>
                    <a:pt x="682" y="367"/>
                  </a:lnTo>
                  <a:close/>
                  <a:moveTo>
                    <a:pt x="670" y="383"/>
                  </a:moveTo>
                  <a:lnTo>
                    <a:pt x="670" y="379"/>
                  </a:lnTo>
                  <a:lnTo>
                    <a:pt x="670" y="383"/>
                  </a:lnTo>
                  <a:lnTo>
                    <a:pt x="670" y="387"/>
                  </a:lnTo>
                  <a:lnTo>
                    <a:pt x="666" y="387"/>
                  </a:lnTo>
                  <a:lnTo>
                    <a:pt x="666" y="383"/>
                  </a:lnTo>
                  <a:lnTo>
                    <a:pt x="666" y="387"/>
                  </a:lnTo>
                  <a:lnTo>
                    <a:pt x="662" y="383"/>
                  </a:lnTo>
                  <a:lnTo>
                    <a:pt x="666" y="383"/>
                  </a:lnTo>
                  <a:lnTo>
                    <a:pt x="662" y="379"/>
                  </a:lnTo>
                  <a:lnTo>
                    <a:pt x="666" y="379"/>
                  </a:lnTo>
                  <a:lnTo>
                    <a:pt x="666" y="375"/>
                  </a:lnTo>
                  <a:lnTo>
                    <a:pt x="662" y="375"/>
                  </a:lnTo>
                  <a:lnTo>
                    <a:pt x="662" y="371"/>
                  </a:lnTo>
                  <a:lnTo>
                    <a:pt x="662" y="367"/>
                  </a:lnTo>
                  <a:lnTo>
                    <a:pt x="666" y="367"/>
                  </a:lnTo>
                  <a:lnTo>
                    <a:pt x="662" y="367"/>
                  </a:lnTo>
                  <a:lnTo>
                    <a:pt x="666" y="367"/>
                  </a:lnTo>
                  <a:lnTo>
                    <a:pt x="670" y="367"/>
                  </a:lnTo>
                  <a:lnTo>
                    <a:pt x="670" y="371"/>
                  </a:lnTo>
                  <a:lnTo>
                    <a:pt x="670" y="375"/>
                  </a:lnTo>
                  <a:lnTo>
                    <a:pt x="666" y="375"/>
                  </a:lnTo>
                  <a:lnTo>
                    <a:pt x="670" y="375"/>
                  </a:lnTo>
                  <a:lnTo>
                    <a:pt x="670" y="371"/>
                  </a:lnTo>
                  <a:lnTo>
                    <a:pt x="674" y="371"/>
                  </a:lnTo>
                  <a:lnTo>
                    <a:pt x="674" y="375"/>
                  </a:lnTo>
                  <a:lnTo>
                    <a:pt x="670" y="375"/>
                  </a:lnTo>
                  <a:lnTo>
                    <a:pt x="670" y="379"/>
                  </a:lnTo>
                  <a:lnTo>
                    <a:pt x="670" y="383"/>
                  </a:lnTo>
                  <a:close/>
                  <a:moveTo>
                    <a:pt x="686" y="371"/>
                  </a:moveTo>
                  <a:lnTo>
                    <a:pt x="690" y="371"/>
                  </a:lnTo>
                  <a:lnTo>
                    <a:pt x="690" y="375"/>
                  </a:lnTo>
                  <a:lnTo>
                    <a:pt x="686" y="375"/>
                  </a:lnTo>
                  <a:lnTo>
                    <a:pt x="682" y="375"/>
                  </a:lnTo>
                  <a:lnTo>
                    <a:pt x="686" y="375"/>
                  </a:lnTo>
                  <a:lnTo>
                    <a:pt x="686" y="371"/>
                  </a:lnTo>
                  <a:close/>
                  <a:moveTo>
                    <a:pt x="359" y="375"/>
                  </a:moveTo>
                  <a:lnTo>
                    <a:pt x="355" y="379"/>
                  </a:lnTo>
                  <a:lnTo>
                    <a:pt x="355" y="375"/>
                  </a:lnTo>
                  <a:lnTo>
                    <a:pt x="359" y="375"/>
                  </a:lnTo>
                  <a:close/>
                  <a:moveTo>
                    <a:pt x="315" y="375"/>
                  </a:moveTo>
                  <a:lnTo>
                    <a:pt x="319" y="375"/>
                  </a:lnTo>
                  <a:lnTo>
                    <a:pt x="315" y="375"/>
                  </a:lnTo>
                  <a:close/>
                  <a:moveTo>
                    <a:pt x="698" y="387"/>
                  </a:moveTo>
                  <a:lnTo>
                    <a:pt x="698" y="383"/>
                  </a:lnTo>
                  <a:lnTo>
                    <a:pt x="694" y="383"/>
                  </a:lnTo>
                  <a:lnTo>
                    <a:pt x="694" y="379"/>
                  </a:lnTo>
                  <a:lnTo>
                    <a:pt x="698" y="379"/>
                  </a:lnTo>
                  <a:lnTo>
                    <a:pt x="698" y="383"/>
                  </a:lnTo>
                  <a:lnTo>
                    <a:pt x="698" y="387"/>
                  </a:lnTo>
                  <a:close/>
                  <a:moveTo>
                    <a:pt x="686" y="383"/>
                  </a:moveTo>
                  <a:lnTo>
                    <a:pt x="682" y="379"/>
                  </a:lnTo>
                  <a:lnTo>
                    <a:pt x="686" y="379"/>
                  </a:lnTo>
                  <a:lnTo>
                    <a:pt x="690" y="379"/>
                  </a:lnTo>
                  <a:lnTo>
                    <a:pt x="690" y="383"/>
                  </a:lnTo>
                  <a:lnTo>
                    <a:pt x="686" y="383"/>
                  </a:lnTo>
                  <a:close/>
                  <a:moveTo>
                    <a:pt x="694" y="391"/>
                  </a:moveTo>
                  <a:lnTo>
                    <a:pt x="690" y="391"/>
                  </a:lnTo>
                  <a:lnTo>
                    <a:pt x="694" y="387"/>
                  </a:lnTo>
                  <a:lnTo>
                    <a:pt x="690" y="387"/>
                  </a:lnTo>
                  <a:lnTo>
                    <a:pt x="686" y="387"/>
                  </a:lnTo>
                  <a:lnTo>
                    <a:pt x="686" y="383"/>
                  </a:lnTo>
                  <a:lnTo>
                    <a:pt x="690" y="383"/>
                  </a:lnTo>
                  <a:lnTo>
                    <a:pt x="690" y="379"/>
                  </a:lnTo>
                  <a:lnTo>
                    <a:pt x="694" y="379"/>
                  </a:lnTo>
                  <a:lnTo>
                    <a:pt x="694" y="383"/>
                  </a:lnTo>
                  <a:lnTo>
                    <a:pt x="698" y="387"/>
                  </a:lnTo>
                  <a:lnTo>
                    <a:pt x="698" y="391"/>
                  </a:lnTo>
                  <a:lnTo>
                    <a:pt x="694" y="391"/>
                  </a:lnTo>
                  <a:close/>
                  <a:moveTo>
                    <a:pt x="694" y="403"/>
                  </a:moveTo>
                  <a:lnTo>
                    <a:pt x="694" y="399"/>
                  </a:lnTo>
                  <a:lnTo>
                    <a:pt x="690" y="399"/>
                  </a:lnTo>
                  <a:lnTo>
                    <a:pt x="694" y="403"/>
                  </a:lnTo>
                  <a:lnTo>
                    <a:pt x="698" y="407"/>
                  </a:lnTo>
                  <a:lnTo>
                    <a:pt x="694" y="407"/>
                  </a:lnTo>
                  <a:lnTo>
                    <a:pt x="698" y="407"/>
                  </a:lnTo>
                  <a:lnTo>
                    <a:pt x="698" y="411"/>
                  </a:lnTo>
                  <a:lnTo>
                    <a:pt x="694" y="411"/>
                  </a:lnTo>
                  <a:lnTo>
                    <a:pt x="698" y="411"/>
                  </a:lnTo>
                  <a:lnTo>
                    <a:pt x="698" y="415"/>
                  </a:lnTo>
                  <a:lnTo>
                    <a:pt x="698" y="419"/>
                  </a:lnTo>
                  <a:lnTo>
                    <a:pt x="694" y="419"/>
                  </a:lnTo>
                  <a:lnTo>
                    <a:pt x="694" y="415"/>
                  </a:lnTo>
                  <a:lnTo>
                    <a:pt x="690" y="411"/>
                  </a:lnTo>
                  <a:lnTo>
                    <a:pt x="690" y="415"/>
                  </a:lnTo>
                  <a:lnTo>
                    <a:pt x="690" y="411"/>
                  </a:lnTo>
                  <a:lnTo>
                    <a:pt x="690" y="407"/>
                  </a:lnTo>
                  <a:lnTo>
                    <a:pt x="686" y="407"/>
                  </a:lnTo>
                  <a:lnTo>
                    <a:pt x="682" y="407"/>
                  </a:lnTo>
                  <a:lnTo>
                    <a:pt x="686" y="407"/>
                  </a:lnTo>
                  <a:lnTo>
                    <a:pt x="682" y="407"/>
                  </a:lnTo>
                  <a:lnTo>
                    <a:pt x="678" y="407"/>
                  </a:lnTo>
                  <a:lnTo>
                    <a:pt x="678" y="403"/>
                  </a:lnTo>
                  <a:lnTo>
                    <a:pt x="682" y="403"/>
                  </a:lnTo>
                  <a:lnTo>
                    <a:pt x="686" y="403"/>
                  </a:lnTo>
                  <a:lnTo>
                    <a:pt x="682" y="403"/>
                  </a:lnTo>
                  <a:lnTo>
                    <a:pt x="682" y="399"/>
                  </a:lnTo>
                  <a:lnTo>
                    <a:pt x="686" y="399"/>
                  </a:lnTo>
                  <a:lnTo>
                    <a:pt x="682" y="399"/>
                  </a:lnTo>
                  <a:lnTo>
                    <a:pt x="678" y="399"/>
                  </a:lnTo>
                  <a:lnTo>
                    <a:pt x="678" y="395"/>
                  </a:lnTo>
                  <a:lnTo>
                    <a:pt x="682" y="391"/>
                  </a:lnTo>
                  <a:lnTo>
                    <a:pt x="678" y="391"/>
                  </a:lnTo>
                  <a:lnTo>
                    <a:pt x="678" y="383"/>
                  </a:lnTo>
                  <a:lnTo>
                    <a:pt x="674" y="383"/>
                  </a:lnTo>
                  <a:lnTo>
                    <a:pt x="674" y="379"/>
                  </a:lnTo>
                  <a:lnTo>
                    <a:pt x="678" y="379"/>
                  </a:lnTo>
                  <a:lnTo>
                    <a:pt x="682" y="379"/>
                  </a:lnTo>
                  <a:lnTo>
                    <a:pt x="682" y="383"/>
                  </a:lnTo>
                  <a:lnTo>
                    <a:pt x="682" y="387"/>
                  </a:lnTo>
                  <a:lnTo>
                    <a:pt x="686" y="387"/>
                  </a:lnTo>
                  <a:lnTo>
                    <a:pt x="690" y="391"/>
                  </a:lnTo>
                  <a:lnTo>
                    <a:pt x="690" y="395"/>
                  </a:lnTo>
                  <a:lnTo>
                    <a:pt x="694" y="395"/>
                  </a:lnTo>
                  <a:lnTo>
                    <a:pt x="694" y="399"/>
                  </a:lnTo>
                  <a:lnTo>
                    <a:pt x="698" y="399"/>
                  </a:lnTo>
                  <a:lnTo>
                    <a:pt x="698" y="403"/>
                  </a:lnTo>
                  <a:lnTo>
                    <a:pt x="694" y="403"/>
                  </a:lnTo>
                  <a:close/>
                  <a:moveTo>
                    <a:pt x="678" y="387"/>
                  </a:moveTo>
                  <a:lnTo>
                    <a:pt x="674" y="391"/>
                  </a:lnTo>
                  <a:lnTo>
                    <a:pt x="670" y="391"/>
                  </a:lnTo>
                  <a:lnTo>
                    <a:pt x="674" y="387"/>
                  </a:lnTo>
                  <a:lnTo>
                    <a:pt x="678" y="383"/>
                  </a:lnTo>
                  <a:lnTo>
                    <a:pt x="678" y="387"/>
                  </a:lnTo>
                  <a:close/>
                  <a:moveTo>
                    <a:pt x="706" y="407"/>
                  </a:moveTo>
                  <a:lnTo>
                    <a:pt x="706" y="403"/>
                  </a:lnTo>
                  <a:lnTo>
                    <a:pt x="710" y="403"/>
                  </a:lnTo>
                  <a:lnTo>
                    <a:pt x="710" y="399"/>
                  </a:lnTo>
                  <a:lnTo>
                    <a:pt x="710" y="395"/>
                  </a:lnTo>
                  <a:lnTo>
                    <a:pt x="706" y="399"/>
                  </a:lnTo>
                  <a:lnTo>
                    <a:pt x="710" y="399"/>
                  </a:lnTo>
                  <a:lnTo>
                    <a:pt x="710" y="403"/>
                  </a:lnTo>
                  <a:lnTo>
                    <a:pt x="706" y="403"/>
                  </a:lnTo>
                  <a:lnTo>
                    <a:pt x="706" y="399"/>
                  </a:lnTo>
                  <a:lnTo>
                    <a:pt x="706" y="403"/>
                  </a:lnTo>
                  <a:lnTo>
                    <a:pt x="706" y="407"/>
                  </a:lnTo>
                  <a:lnTo>
                    <a:pt x="702" y="403"/>
                  </a:lnTo>
                  <a:lnTo>
                    <a:pt x="702" y="399"/>
                  </a:lnTo>
                  <a:lnTo>
                    <a:pt x="702" y="395"/>
                  </a:lnTo>
                  <a:lnTo>
                    <a:pt x="706" y="395"/>
                  </a:lnTo>
                  <a:lnTo>
                    <a:pt x="702" y="395"/>
                  </a:lnTo>
                  <a:lnTo>
                    <a:pt x="702" y="391"/>
                  </a:lnTo>
                  <a:lnTo>
                    <a:pt x="706" y="391"/>
                  </a:lnTo>
                  <a:lnTo>
                    <a:pt x="710" y="391"/>
                  </a:lnTo>
                  <a:lnTo>
                    <a:pt x="714" y="391"/>
                  </a:lnTo>
                  <a:lnTo>
                    <a:pt x="714" y="395"/>
                  </a:lnTo>
                  <a:lnTo>
                    <a:pt x="714" y="399"/>
                  </a:lnTo>
                  <a:lnTo>
                    <a:pt x="714" y="403"/>
                  </a:lnTo>
                  <a:lnTo>
                    <a:pt x="714" y="407"/>
                  </a:lnTo>
                  <a:lnTo>
                    <a:pt x="710" y="407"/>
                  </a:lnTo>
                  <a:lnTo>
                    <a:pt x="710" y="403"/>
                  </a:lnTo>
                  <a:lnTo>
                    <a:pt x="710" y="407"/>
                  </a:lnTo>
                  <a:lnTo>
                    <a:pt x="706" y="407"/>
                  </a:lnTo>
                  <a:close/>
                  <a:moveTo>
                    <a:pt x="666" y="391"/>
                  </a:moveTo>
                  <a:lnTo>
                    <a:pt x="662" y="391"/>
                  </a:lnTo>
                  <a:lnTo>
                    <a:pt x="666" y="391"/>
                  </a:lnTo>
                  <a:close/>
                  <a:moveTo>
                    <a:pt x="292" y="391"/>
                  </a:moveTo>
                  <a:lnTo>
                    <a:pt x="296" y="391"/>
                  </a:lnTo>
                  <a:lnTo>
                    <a:pt x="292" y="395"/>
                  </a:lnTo>
                  <a:lnTo>
                    <a:pt x="292" y="391"/>
                  </a:lnTo>
                  <a:close/>
                  <a:moveTo>
                    <a:pt x="678" y="395"/>
                  </a:moveTo>
                  <a:lnTo>
                    <a:pt x="674" y="395"/>
                  </a:lnTo>
                  <a:lnTo>
                    <a:pt x="674" y="391"/>
                  </a:lnTo>
                  <a:lnTo>
                    <a:pt x="678" y="395"/>
                  </a:lnTo>
                  <a:close/>
                  <a:moveTo>
                    <a:pt x="678" y="399"/>
                  </a:moveTo>
                  <a:lnTo>
                    <a:pt x="678" y="403"/>
                  </a:lnTo>
                  <a:lnTo>
                    <a:pt x="678" y="399"/>
                  </a:lnTo>
                  <a:close/>
                  <a:moveTo>
                    <a:pt x="674" y="403"/>
                  </a:moveTo>
                  <a:lnTo>
                    <a:pt x="670" y="403"/>
                  </a:lnTo>
                  <a:lnTo>
                    <a:pt x="670" y="399"/>
                  </a:lnTo>
                  <a:lnTo>
                    <a:pt x="674" y="399"/>
                  </a:lnTo>
                  <a:lnTo>
                    <a:pt x="674" y="403"/>
                  </a:lnTo>
                  <a:close/>
                  <a:moveTo>
                    <a:pt x="674" y="399"/>
                  </a:moveTo>
                  <a:lnTo>
                    <a:pt x="678" y="399"/>
                  </a:lnTo>
                  <a:lnTo>
                    <a:pt x="678" y="403"/>
                  </a:lnTo>
                  <a:lnTo>
                    <a:pt x="674" y="403"/>
                  </a:lnTo>
                  <a:lnTo>
                    <a:pt x="674" y="399"/>
                  </a:lnTo>
                  <a:close/>
                  <a:moveTo>
                    <a:pt x="678" y="403"/>
                  </a:moveTo>
                  <a:lnTo>
                    <a:pt x="674" y="403"/>
                  </a:lnTo>
                  <a:lnTo>
                    <a:pt x="674" y="407"/>
                  </a:lnTo>
                  <a:lnTo>
                    <a:pt x="674" y="403"/>
                  </a:lnTo>
                  <a:lnTo>
                    <a:pt x="678" y="403"/>
                  </a:lnTo>
                  <a:close/>
                  <a:moveTo>
                    <a:pt x="702" y="403"/>
                  </a:moveTo>
                  <a:lnTo>
                    <a:pt x="706" y="407"/>
                  </a:lnTo>
                  <a:lnTo>
                    <a:pt x="702" y="407"/>
                  </a:lnTo>
                  <a:lnTo>
                    <a:pt x="702" y="403"/>
                  </a:lnTo>
                  <a:close/>
                  <a:moveTo>
                    <a:pt x="264" y="403"/>
                  </a:moveTo>
                  <a:lnTo>
                    <a:pt x="268" y="403"/>
                  </a:lnTo>
                  <a:lnTo>
                    <a:pt x="268" y="407"/>
                  </a:lnTo>
                  <a:lnTo>
                    <a:pt x="264" y="407"/>
                  </a:lnTo>
                  <a:lnTo>
                    <a:pt x="264" y="411"/>
                  </a:lnTo>
                  <a:lnTo>
                    <a:pt x="264" y="407"/>
                  </a:lnTo>
                  <a:lnTo>
                    <a:pt x="264" y="403"/>
                  </a:lnTo>
                  <a:close/>
                  <a:moveTo>
                    <a:pt x="272" y="403"/>
                  </a:moveTo>
                  <a:lnTo>
                    <a:pt x="272" y="407"/>
                  </a:lnTo>
                  <a:lnTo>
                    <a:pt x="268" y="407"/>
                  </a:lnTo>
                  <a:lnTo>
                    <a:pt x="268" y="403"/>
                  </a:lnTo>
                  <a:lnTo>
                    <a:pt x="272" y="403"/>
                  </a:lnTo>
                  <a:close/>
                  <a:moveTo>
                    <a:pt x="678" y="403"/>
                  </a:moveTo>
                  <a:lnTo>
                    <a:pt x="678" y="407"/>
                  </a:lnTo>
                  <a:lnTo>
                    <a:pt x="678" y="403"/>
                  </a:lnTo>
                  <a:close/>
                  <a:moveTo>
                    <a:pt x="276" y="407"/>
                  </a:moveTo>
                  <a:lnTo>
                    <a:pt x="276" y="411"/>
                  </a:lnTo>
                  <a:lnTo>
                    <a:pt x="272" y="411"/>
                  </a:lnTo>
                  <a:lnTo>
                    <a:pt x="272" y="415"/>
                  </a:lnTo>
                  <a:lnTo>
                    <a:pt x="272" y="411"/>
                  </a:lnTo>
                  <a:lnTo>
                    <a:pt x="272" y="407"/>
                  </a:lnTo>
                  <a:lnTo>
                    <a:pt x="276" y="407"/>
                  </a:lnTo>
                  <a:lnTo>
                    <a:pt x="276" y="411"/>
                  </a:lnTo>
                  <a:lnTo>
                    <a:pt x="276" y="407"/>
                  </a:lnTo>
                  <a:close/>
                  <a:moveTo>
                    <a:pt x="706" y="407"/>
                  </a:moveTo>
                  <a:lnTo>
                    <a:pt x="710" y="411"/>
                  </a:lnTo>
                  <a:lnTo>
                    <a:pt x="706" y="411"/>
                  </a:lnTo>
                  <a:lnTo>
                    <a:pt x="706" y="407"/>
                  </a:lnTo>
                  <a:close/>
                  <a:moveTo>
                    <a:pt x="682" y="407"/>
                  </a:moveTo>
                  <a:lnTo>
                    <a:pt x="682" y="411"/>
                  </a:lnTo>
                  <a:lnTo>
                    <a:pt x="686" y="415"/>
                  </a:lnTo>
                  <a:lnTo>
                    <a:pt x="686" y="419"/>
                  </a:lnTo>
                  <a:lnTo>
                    <a:pt x="690" y="419"/>
                  </a:lnTo>
                  <a:lnTo>
                    <a:pt x="686" y="419"/>
                  </a:lnTo>
                  <a:lnTo>
                    <a:pt x="686" y="415"/>
                  </a:lnTo>
                  <a:lnTo>
                    <a:pt x="682" y="415"/>
                  </a:lnTo>
                  <a:lnTo>
                    <a:pt x="682" y="411"/>
                  </a:lnTo>
                  <a:lnTo>
                    <a:pt x="678" y="411"/>
                  </a:lnTo>
                  <a:lnTo>
                    <a:pt x="682" y="407"/>
                  </a:lnTo>
                  <a:close/>
                  <a:moveTo>
                    <a:pt x="284" y="407"/>
                  </a:moveTo>
                  <a:lnTo>
                    <a:pt x="284" y="411"/>
                  </a:lnTo>
                  <a:lnTo>
                    <a:pt x="280" y="411"/>
                  </a:lnTo>
                  <a:lnTo>
                    <a:pt x="284" y="407"/>
                  </a:lnTo>
                  <a:close/>
                  <a:moveTo>
                    <a:pt x="686" y="407"/>
                  </a:moveTo>
                  <a:lnTo>
                    <a:pt x="686" y="411"/>
                  </a:lnTo>
                  <a:lnTo>
                    <a:pt x="690" y="411"/>
                  </a:lnTo>
                  <a:lnTo>
                    <a:pt x="686" y="411"/>
                  </a:lnTo>
                  <a:lnTo>
                    <a:pt x="686" y="407"/>
                  </a:lnTo>
                  <a:close/>
                  <a:moveTo>
                    <a:pt x="248" y="407"/>
                  </a:moveTo>
                  <a:lnTo>
                    <a:pt x="252" y="407"/>
                  </a:lnTo>
                  <a:lnTo>
                    <a:pt x="252" y="411"/>
                  </a:lnTo>
                  <a:lnTo>
                    <a:pt x="248" y="411"/>
                  </a:lnTo>
                  <a:lnTo>
                    <a:pt x="248" y="407"/>
                  </a:lnTo>
                  <a:close/>
                  <a:moveTo>
                    <a:pt x="284" y="411"/>
                  </a:moveTo>
                  <a:lnTo>
                    <a:pt x="284" y="415"/>
                  </a:lnTo>
                  <a:lnTo>
                    <a:pt x="284" y="411"/>
                  </a:lnTo>
                  <a:close/>
                  <a:moveTo>
                    <a:pt x="212" y="423"/>
                  </a:moveTo>
                  <a:lnTo>
                    <a:pt x="208" y="423"/>
                  </a:lnTo>
                  <a:lnTo>
                    <a:pt x="208" y="427"/>
                  </a:lnTo>
                  <a:lnTo>
                    <a:pt x="204" y="427"/>
                  </a:lnTo>
                  <a:lnTo>
                    <a:pt x="200" y="427"/>
                  </a:lnTo>
                  <a:lnTo>
                    <a:pt x="200" y="423"/>
                  </a:lnTo>
                  <a:lnTo>
                    <a:pt x="200" y="419"/>
                  </a:lnTo>
                  <a:lnTo>
                    <a:pt x="204" y="419"/>
                  </a:lnTo>
                  <a:lnTo>
                    <a:pt x="208" y="415"/>
                  </a:lnTo>
                  <a:lnTo>
                    <a:pt x="212" y="415"/>
                  </a:lnTo>
                  <a:lnTo>
                    <a:pt x="216" y="411"/>
                  </a:lnTo>
                  <a:lnTo>
                    <a:pt x="220" y="411"/>
                  </a:lnTo>
                  <a:lnTo>
                    <a:pt x="224" y="415"/>
                  </a:lnTo>
                  <a:lnTo>
                    <a:pt x="224" y="419"/>
                  </a:lnTo>
                  <a:lnTo>
                    <a:pt x="228" y="419"/>
                  </a:lnTo>
                  <a:lnTo>
                    <a:pt x="224" y="419"/>
                  </a:lnTo>
                  <a:lnTo>
                    <a:pt x="220" y="419"/>
                  </a:lnTo>
                  <a:lnTo>
                    <a:pt x="220" y="423"/>
                  </a:lnTo>
                  <a:lnTo>
                    <a:pt x="220" y="419"/>
                  </a:lnTo>
                  <a:lnTo>
                    <a:pt x="216" y="419"/>
                  </a:lnTo>
                  <a:lnTo>
                    <a:pt x="212" y="419"/>
                  </a:lnTo>
                  <a:lnTo>
                    <a:pt x="212" y="423"/>
                  </a:lnTo>
                  <a:close/>
                  <a:moveTo>
                    <a:pt x="710" y="411"/>
                  </a:moveTo>
                  <a:lnTo>
                    <a:pt x="710" y="415"/>
                  </a:lnTo>
                  <a:lnTo>
                    <a:pt x="706" y="415"/>
                  </a:lnTo>
                  <a:lnTo>
                    <a:pt x="710" y="411"/>
                  </a:lnTo>
                  <a:close/>
                  <a:moveTo>
                    <a:pt x="690" y="415"/>
                  </a:moveTo>
                  <a:lnTo>
                    <a:pt x="690" y="419"/>
                  </a:lnTo>
                  <a:lnTo>
                    <a:pt x="686" y="415"/>
                  </a:lnTo>
                  <a:lnTo>
                    <a:pt x="690" y="415"/>
                  </a:lnTo>
                  <a:close/>
                  <a:moveTo>
                    <a:pt x="232" y="423"/>
                  </a:moveTo>
                  <a:lnTo>
                    <a:pt x="236" y="423"/>
                  </a:lnTo>
                  <a:lnTo>
                    <a:pt x="236" y="427"/>
                  </a:lnTo>
                  <a:lnTo>
                    <a:pt x="232" y="427"/>
                  </a:lnTo>
                  <a:lnTo>
                    <a:pt x="232" y="423"/>
                  </a:lnTo>
                  <a:close/>
                  <a:moveTo>
                    <a:pt x="192" y="431"/>
                  </a:moveTo>
                  <a:lnTo>
                    <a:pt x="188" y="431"/>
                  </a:lnTo>
                  <a:lnTo>
                    <a:pt x="188" y="427"/>
                  </a:lnTo>
                  <a:lnTo>
                    <a:pt x="192" y="427"/>
                  </a:lnTo>
                  <a:lnTo>
                    <a:pt x="192" y="431"/>
                  </a:lnTo>
                  <a:close/>
                  <a:moveTo>
                    <a:pt x="184" y="435"/>
                  </a:moveTo>
                  <a:lnTo>
                    <a:pt x="184" y="431"/>
                  </a:lnTo>
                  <a:lnTo>
                    <a:pt x="188" y="431"/>
                  </a:lnTo>
                  <a:lnTo>
                    <a:pt x="188" y="435"/>
                  </a:lnTo>
                  <a:lnTo>
                    <a:pt x="184" y="435"/>
                  </a:lnTo>
                  <a:close/>
                  <a:moveTo>
                    <a:pt x="200" y="431"/>
                  </a:moveTo>
                  <a:lnTo>
                    <a:pt x="200" y="435"/>
                  </a:lnTo>
                  <a:lnTo>
                    <a:pt x="196" y="435"/>
                  </a:lnTo>
                  <a:lnTo>
                    <a:pt x="196" y="431"/>
                  </a:lnTo>
                  <a:lnTo>
                    <a:pt x="200" y="431"/>
                  </a:lnTo>
                  <a:close/>
                  <a:moveTo>
                    <a:pt x="168" y="443"/>
                  </a:moveTo>
                  <a:lnTo>
                    <a:pt x="172" y="443"/>
                  </a:lnTo>
                  <a:lnTo>
                    <a:pt x="168" y="439"/>
                  </a:lnTo>
                  <a:lnTo>
                    <a:pt x="168" y="435"/>
                  </a:lnTo>
                  <a:lnTo>
                    <a:pt x="172" y="435"/>
                  </a:lnTo>
                  <a:lnTo>
                    <a:pt x="176" y="435"/>
                  </a:lnTo>
                  <a:lnTo>
                    <a:pt x="176" y="439"/>
                  </a:lnTo>
                  <a:lnTo>
                    <a:pt x="176" y="435"/>
                  </a:lnTo>
                  <a:lnTo>
                    <a:pt x="180" y="435"/>
                  </a:lnTo>
                  <a:lnTo>
                    <a:pt x="180" y="439"/>
                  </a:lnTo>
                  <a:lnTo>
                    <a:pt x="176" y="439"/>
                  </a:lnTo>
                  <a:lnTo>
                    <a:pt x="176" y="443"/>
                  </a:lnTo>
                  <a:lnTo>
                    <a:pt x="176" y="439"/>
                  </a:lnTo>
                  <a:lnTo>
                    <a:pt x="180" y="439"/>
                  </a:lnTo>
                  <a:lnTo>
                    <a:pt x="180" y="443"/>
                  </a:lnTo>
                  <a:lnTo>
                    <a:pt x="176" y="443"/>
                  </a:lnTo>
                  <a:lnTo>
                    <a:pt x="176" y="447"/>
                  </a:lnTo>
                  <a:lnTo>
                    <a:pt x="172" y="447"/>
                  </a:lnTo>
                  <a:lnTo>
                    <a:pt x="168" y="447"/>
                  </a:lnTo>
                  <a:lnTo>
                    <a:pt x="164" y="451"/>
                  </a:lnTo>
                  <a:lnTo>
                    <a:pt x="160" y="451"/>
                  </a:lnTo>
                  <a:lnTo>
                    <a:pt x="156" y="451"/>
                  </a:lnTo>
                  <a:lnTo>
                    <a:pt x="160" y="451"/>
                  </a:lnTo>
                  <a:lnTo>
                    <a:pt x="160" y="447"/>
                  </a:lnTo>
                  <a:lnTo>
                    <a:pt x="164" y="447"/>
                  </a:lnTo>
                  <a:lnTo>
                    <a:pt x="168" y="447"/>
                  </a:lnTo>
                  <a:lnTo>
                    <a:pt x="168" y="443"/>
                  </a:lnTo>
                  <a:close/>
                  <a:moveTo>
                    <a:pt x="180" y="443"/>
                  </a:moveTo>
                  <a:lnTo>
                    <a:pt x="180" y="439"/>
                  </a:lnTo>
                  <a:lnTo>
                    <a:pt x="184" y="439"/>
                  </a:lnTo>
                  <a:lnTo>
                    <a:pt x="180" y="443"/>
                  </a:lnTo>
                  <a:close/>
                  <a:moveTo>
                    <a:pt x="156" y="447"/>
                  </a:moveTo>
                  <a:lnTo>
                    <a:pt x="156" y="451"/>
                  </a:lnTo>
                  <a:lnTo>
                    <a:pt x="152" y="451"/>
                  </a:lnTo>
                  <a:lnTo>
                    <a:pt x="148" y="451"/>
                  </a:lnTo>
                  <a:lnTo>
                    <a:pt x="148" y="455"/>
                  </a:lnTo>
                  <a:lnTo>
                    <a:pt x="148" y="459"/>
                  </a:lnTo>
                  <a:lnTo>
                    <a:pt x="144" y="459"/>
                  </a:lnTo>
                  <a:lnTo>
                    <a:pt x="140" y="459"/>
                  </a:lnTo>
                  <a:lnTo>
                    <a:pt x="140" y="463"/>
                  </a:lnTo>
                  <a:lnTo>
                    <a:pt x="136" y="463"/>
                  </a:lnTo>
                  <a:lnTo>
                    <a:pt x="140" y="459"/>
                  </a:lnTo>
                  <a:lnTo>
                    <a:pt x="144" y="455"/>
                  </a:lnTo>
                  <a:lnTo>
                    <a:pt x="140" y="455"/>
                  </a:lnTo>
                  <a:lnTo>
                    <a:pt x="144" y="455"/>
                  </a:lnTo>
                  <a:lnTo>
                    <a:pt x="144" y="451"/>
                  </a:lnTo>
                  <a:lnTo>
                    <a:pt x="148" y="451"/>
                  </a:lnTo>
                  <a:lnTo>
                    <a:pt x="148" y="447"/>
                  </a:lnTo>
                  <a:lnTo>
                    <a:pt x="152" y="447"/>
                  </a:lnTo>
                  <a:lnTo>
                    <a:pt x="156" y="447"/>
                  </a:lnTo>
                  <a:close/>
                  <a:moveTo>
                    <a:pt x="5313" y="463"/>
                  </a:moveTo>
                  <a:lnTo>
                    <a:pt x="5313" y="459"/>
                  </a:lnTo>
                  <a:lnTo>
                    <a:pt x="5309" y="463"/>
                  </a:lnTo>
                  <a:lnTo>
                    <a:pt x="5309" y="459"/>
                  </a:lnTo>
                  <a:lnTo>
                    <a:pt x="5313" y="459"/>
                  </a:lnTo>
                  <a:lnTo>
                    <a:pt x="5317" y="459"/>
                  </a:lnTo>
                  <a:lnTo>
                    <a:pt x="5321" y="459"/>
                  </a:lnTo>
                  <a:lnTo>
                    <a:pt x="5321" y="463"/>
                  </a:lnTo>
                  <a:lnTo>
                    <a:pt x="5317" y="463"/>
                  </a:lnTo>
                  <a:lnTo>
                    <a:pt x="5313" y="463"/>
                  </a:lnTo>
                  <a:close/>
                  <a:moveTo>
                    <a:pt x="124" y="463"/>
                  </a:moveTo>
                  <a:lnTo>
                    <a:pt x="128" y="459"/>
                  </a:lnTo>
                  <a:lnTo>
                    <a:pt x="128" y="463"/>
                  </a:lnTo>
                  <a:lnTo>
                    <a:pt x="124" y="463"/>
                  </a:lnTo>
                  <a:close/>
                  <a:moveTo>
                    <a:pt x="112" y="467"/>
                  </a:moveTo>
                  <a:lnTo>
                    <a:pt x="116" y="467"/>
                  </a:lnTo>
                  <a:lnTo>
                    <a:pt x="112" y="467"/>
                  </a:lnTo>
                  <a:close/>
                  <a:moveTo>
                    <a:pt x="5325" y="471"/>
                  </a:moveTo>
                  <a:lnTo>
                    <a:pt x="5321" y="471"/>
                  </a:lnTo>
                  <a:lnTo>
                    <a:pt x="5325" y="471"/>
                  </a:lnTo>
                  <a:close/>
                  <a:moveTo>
                    <a:pt x="48" y="479"/>
                  </a:moveTo>
                  <a:lnTo>
                    <a:pt x="52" y="479"/>
                  </a:lnTo>
                  <a:lnTo>
                    <a:pt x="56" y="479"/>
                  </a:lnTo>
                  <a:lnTo>
                    <a:pt x="56" y="475"/>
                  </a:lnTo>
                  <a:lnTo>
                    <a:pt x="60" y="475"/>
                  </a:lnTo>
                  <a:lnTo>
                    <a:pt x="56" y="475"/>
                  </a:lnTo>
                  <a:lnTo>
                    <a:pt x="56" y="471"/>
                  </a:lnTo>
                  <a:lnTo>
                    <a:pt x="60" y="471"/>
                  </a:lnTo>
                  <a:lnTo>
                    <a:pt x="64" y="471"/>
                  </a:lnTo>
                  <a:lnTo>
                    <a:pt x="64" y="475"/>
                  </a:lnTo>
                  <a:lnTo>
                    <a:pt x="60" y="479"/>
                  </a:lnTo>
                  <a:lnTo>
                    <a:pt x="56" y="479"/>
                  </a:lnTo>
                  <a:lnTo>
                    <a:pt x="52" y="479"/>
                  </a:lnTo>
                  <a:lnTo>
                    <a:pt x="48" y="479"/>
                  </a:lnTo>
                  <a:lnTo>
                    <a:pt x="44" y="479"/>
                  </a:lnTo>
                  <a:lnTo>
                    <a:pt x="48" y="479"/>
                  </a:lnTo>
                  <a:close/>
                  <a:moveTo>
                    <a:pt x="84" y="475"/>
                  </a:moveTo>
                  <a:lnTo>
                    <a:pt x="84" y="471"/>
                  </a:lnTo>
                  <a:lnTo>
                    <a:pt x="88" y="471"/>
                  </a:lnTo>
                  <a:lnTo>
                    <a:pt x="88" y="475"/>
                  </a:lnTo>
                  <a:lnTo>
                    <a:pt x="84" y="475"/>
                  </a:lnTo>
                  <a:close/>
                  <a:moveTo>
                    <a:pt x="72" y="479"/>
                  </a:moveTo>
                  <a:lnTo>
                    <a:pt x="68" y="479"/>
                  </a:lnTo>
                  <a:lnTo>
                    <a:pt x="64" y="479"/>
                  </a:lnTo>
                  <a:lnTo>
                    <a:pt x="60" y="479"/>
                  </a:lnTo>
                  <a:lnTo>
                    <a:pt x="64" y="479"/>
                  </a:lnTo>
                  <a:lnTo>
                    <a:pt x="68" y="479"/>
                  </a:lnTo>
                  <a:lnTo>
                    <a:pt x="72" y="479"/>
                  </a:lnTo>
                  <a:lnTo>
                    <a:pt x="76" y="479"/>
                  </a:lnTo>
                  <a:lnTo>
                    <a:pt x="80" y="479"/>
                  </a:lnTo>
                  <a:lnTo>
                    <a:pt x="76" y="479"/>
                  </a:lnTo>
                  <a:lnTo>
                    <a:pt x="72" y="479"/>
                  </a:lnTo>
                  <a:close/>
                  <a:moveTo>
                    <a:pt x="5381" y="483"/>
                  </a:moveTo>
                  <a:lnTo>
                    <a:pt x="5385" y="479"/>
                  </a:lnTo>
                  <a:lnTo>
                    <a:pt x="5385" y="483"/>
                  </a:lnTo>
                  <a:lnTo>
                    <a:pt x="5381" y="483"/>
                  </a:lnTo>
                  <a:close/>
                  <a:moveTo>
                    <a:pt x="32" y="483"/>
                  </a:moveTo>
                  <a:lnTo>
                    <a:pt x="28" y="483"/>
                  </a:lnTo>
                  <a:lnTo>
                    <a:pt x="28" y="479"/>
                  </a:lnTo>
                  <a:lnTo>
                    <a:pt x="32" y="479"/>
                  </a:lnTo>
                  <a:lnTo>
                    <a:pt x="32" y="483"/>
                  </a:lnTo>
                  <a:close/>
                  <a:moveTo>
                    <a:pt x="5417" y="483"/>
                  </a:moveTo>
                  <a:lnTo>
                    <a:pt x="5413" y="483"/>
                  </a:lnTo>
                  <a:lnTo>
                    <a:pt x="5417" y="479"/>
                  </a:lnTo>
                  <a:lnTo>
                    <a:pt x="5417" y="483"/>
                  </a:lnTo>
                  <a:close/>
                  <a:moveTo>
                    <a:pt x="5397" y="483"/>
                  </a:moveTo>
                  <a:lnTo>
                    <a:pt x="5401" y="483"/>
                  </a:lnTo>
                  <a:lnTo>
                    <a:pt x="5397" y="483"/>
                  </a:lnTo>
                  <a:close/>
                  <a:moveTo>
                    <a:pt x="20" y="491"/>
                  </a:moveTo>
                  <a:lnTo>
                    <a:pt x="16" y="491"/>
                  </a:lnTo>
                  <a:lnTo>
                    <a:pt x="16" y="487"/>
                  </a:lnTo>
                  <a:lnTo>
                    <a:pt x="20" y="487"/>
                  </a:lnTo>
                  <a:lnTo>
                    <a:pt x="20" y="483"/>
                  </a:lnTo>
                  <a:lnTo>
                    <a:pt x="24" y="483"/>
                  </a:lnTo>
                  <a:lnTo>
                    <a:pt x="28" y="487"/>
                  </a:lnTo>
                  <a:lnTo>
                    <a:pt x="24" y="487"/>
                  </a:lnTo>
                  <a:lnTo>
                    <a:pt x="20" y="487"/>
                  </a:lnTo>
                  <a:lnTo>
                    <a:pt x="20" y="491"/>
                  </a:lnTo>
                  <a:close/>
                  <a:moveTo>
                    <a:pt x="8" y="487"/>
                  </a:moveTo>
                  <a:lnTo>
                    <a:pt x="12" y="487"/>
                  </a:lnTo>
                  <a:lnTo>
                    <a:pt x="16" y="487"/>
                  </a:lnTo>
                  <a:lnTo>
                    <a:pt x="16" y="483"/>
                  </a:lnTo>
                  <a:lnTo>
                    <a:pt x="16" y="487"/>
                  </a:lnTo>
                  <a:lnTo>
                    <a:pt x="12" y="487"/>
                  </a:lnTo>
                  <a:lnTo>
                    <a:pt x="8" y="487"/>
                  </a:lnTo>
                  <a:close/>
                  <a:moveTo>
                    <a:pt x="4" y="491"/>
                  </a:moveTo>
                  <a:lnTo>
                    <a:pt x="0" y="487"/>
                  </a:lnTo>
                  <a:lnTo>
                    <a:pt x="4" y="487"/>
                  </a:lnTo>
                  <a:lnTo>
                    <a:pt x="0" y="487"/>
                  </a:lnTo>
                  <a:lnTo>
                    <a:pt x="0" y="483"/>
                  </a:lnTo>
                  <a:lnTo>
                    <a:pt x="4" y="483"/>
                  </a:lnTo>
                  <a:lnTo>
                    <a:pt x="4" y="487"/>
                  </a:lnTo>
                  <a:lnTo>
                    <a:pt x="4" y="491"/>
                  </a:lnTo>
                  <a:close/>
                  <a:moveTo>
                    <a:pt x="32" y="487"/>
                  </a:moveTo>
                  <a:lnTo>
                    <a:pt x="28" y="487"/>
                  </a:lnTo>
                  <a:lnTo>
                    <a:pt x="28" y="483"/>
                  </a:lnTo>
                  <a:lnTo>
                    <a:pt x="32" y="483"/>
                  </a:lnTo>
                  <a:lnTo>
                    <a:pt x="32" y="487"/>
                  </a:lnTo>
                  <a:lnTo>
                    <a:pt x="32" y="483"/>
                  </a:lnTo>
                  <a:lnTo>
                    <a:pt x="32" y="487"/>
                  </a:lnTo>
                  <a:close/>
                  <a:moveTo>
                    <a:pt x="28" y="487"/>
                  </a:moveTo>
                  <a:lnTo>
                    <a:pt x="28" y="483"/>
                  </a:lnTo>
                  <a:lnTo>
                    <a:pt x="28" y="487"/>
                  </a:lnTo>
                  <a:close/>
                  <a:moveTo>
                    <a:pt x="5409" y="495"/>
                  </a:moveTo>
                  <a:lnTo>
                    <a:pt x="5405" y="491"/>
                  </a:lnTo>
                  <a:lnTo>
                    <a:pt x="5401" y="491"/>
                  </a:lnTo>
                  <a:lnTo>
                    <a:pt x="5401" y="487"/>
                  </a:lnTo>
                  <a:lnTo>
                    <a:pt x="5401" y="491"/>
                  </a:lnTo>
                  <a:lnTo>
                    <a:pt x="5405" y="491"/>
                  </a:lnTo>
                  <a:lnTo>
                    <a:pt x="5409" y="491"/>
                  </a:lnTo>
                  <a:lnTo>
                    <a:pt x="5409" y="495"/>
                  </a:lnTo>
                  <a:lnTo>
                    <a:pt x="5413" y="495"/>
                  </a:lnTo>
                  <a:lnTo>
                    <a:pt x="5409" y="495"/>
                  </a:lnTo>
                  <a:close/>
                  <a:moveTo>
                    <a:pt x="838" y="555"/>
                  </a:moveTo>
                  <a:lnTo>
                    <a:pt x="838" y="559"/>
                  </a:lnTo>
                  <a:lnTo>
                    <a:pt x="834" y="555"/>
                  </a:lnTo>
                  <a:lnTo>
                    <a:pt x="838" y="555"/>
                  </a:lnTo>
                  <a:close/>
                  <a:moveTo>
                    <a:pt x="838" y="559"/>
                  </a:moveTo>
                  <a:lnTo>
                    <a:pt x="838" y="563"/>
                  </a:lnTo>
                  <a:lnTo>
                    <a:pt x="838" y="559"/>
                  </a:lnTo>
                  <a:lnTo>
                    <a:pt x="834" y="559"/>
                  </a:lnTo>
                  <a:lnTo>
                    <a:pt x="838" y="559"/>
                  </a:lnTo>
                  <a:close/>
                  <a:moveTo>
                    <a:pt x="842" y="563"/>
                  </a:moveTo>
                  <a:lnTo>
                    <a:pt x="842" y="567"/>
                  </a:lnTo>
                  <a:lnTo>
                    <a:pt x="846" y="571"/>
                  </a:lnTo>
                  <a:lnTo>
                    <a:pt x="842" y="571"/>
                  </a:lnTo>
                  <a:lnTo>
                    <a:pt x="842" y="567"/>
                  </a:lnTo>
                  <a:lnTo>
                    <a:pt x="838" y="567"/>
                  </a:lnTo>
                  <a:lnTo>
                    <a:pt x="838" y="563"/>
                  </a:lnTo>
                  <a:lnTo>
                    <a:pt x="842" y="563"/>
                  </a:lnTo>
                  <a:close/>
                  <a:moveTo>
                    <a:pt x="846" y="583"/>
                  </a:moveTo>
                  <a:lnTo>
                    <a:pt x="842" y="583"/>
                  </a:lnTo>
                  <a:lnTo>
                    <a:pt x="842" y="579"/>
                  </a:lnTo>
                  <a:lnTo>
                    <a:pt x="842" y="583"/>
                  </a:lnTo>
                  <a:lnTo>
                    <a:pt x="846" y="583"/>
                  </a:lnTo>
                  <a:close/>
                  <a:moveTo>
                    <a:pt x="1664" y="647"/>
                  </a:moveTo>
                  <a:lnTo>
                    <a:pt x="1664" y="651"/>
                  </a:lnTo>
                  <a:lnTo>
                    <a:pt x="1660" y="651"/>
                  </a:lnTo>
                  <a:lnTo>
                    <a:pt x="1660" y="647"/>
                  </a:lnTo>
                  <a:lnTo>
                    <a:pt x="1664" y="647"/>
                  </a:lnTo>
                  <a:close/>
                  <a:moveTo>
                    <a:pt x="1660" y="651"/>
                  </a:moveTo>
                  <a:lnTo>
                    <a:pt x="1656" y="655"/>
                  </a:lnTo>
                  <a:lnTo>
                    <a:pt x="1656" y="651"/>
                  </a:lnTo>
                  <a:lnTo>
                    <a:pt x="1660" y="651"/>
                  </a:lnTo>
                  <a:close/>
                  <a:moveTo>
                    <a:pt x="1620" y="706"/>
                  </a:moveTo>
                  <a:lnTo>
                    <a:pt x="1620" y="710"/>
                  </a:lnTo>
                  <a:lnTo>
                    <a:pt x="1616" y="710"/>
                  </a:lnTo>
                  <a:lnTo>
                    <a:pt x="1616" y="706"/>
                  </a:lnTo>
                  <a:lnTo>
                    <a:pt x="1620" y="706"/>
                  </a:lnTo>
                  <a:close/>
                  <a:moveTo>
                    <a:pt x="1628" y="710"/>
                  </a:moveTo>
                  <a:lnTo>
                    <a:pt x="1628" y="714"/>
                  </a:lnTo>
                  <a:lnTo>
                    <a:pt x="1624" y="714"/>
                  </a:lnTo>
                  <a:lnTo>
                    <a:pt x="1624" y="710"/>
                  </a:lnTo>
                  <a:lnTo>
                    <a:pt x="1628" y="710"/>
                  </a:lnTo>
                  <a:close/>
                  <a:moveTo>
                    <a:pt x="1636" y="710"/>
                  </a:moveTo>
                  <a:lnTo>
                    <a:pt x="1636" y="714"/>
                  </a:lnTo>
                  <a:lnTo>
                    <a:pt x="1640" y="714"/>
                  </a:lnTo>
                  <a:lnTo>
                    <a:pt x="1636" y="714"/>
                  </a:lnTo>
                  <a:lnTo>
                    <a:pt x="1632" y="714"/>
                  </a:lnTo>
                  <a:lnTo>
                    <a:pt x="1636" y="714"/>
                  </a:lnTo>
                  <a:lnTo>
                    <a:pt x="1636" y="710"/>
                  </a:lnTo>
                  <a:close/>
                  <a:moveTo>
                    <a:pt x="1592" y="726"/>
                  </a:moveTo>
                  <a:lnTo>
                    <a:pt x="1592" y="722"/>
                  </a:lnTo>
                  <a:lnTo>
                    <a:pt x="1592" y="726"/>
                  </a:lnTo>
                  <a:lnTo>
                    <a:pt x="1588" y="726"/>
                  </a:lnTo>
                  <a:lnTo>
                    <a:pt x="1584" y="726"/>
                  </a:lnTo>
                  <a:lnTo>
                    <a:pt x="1580" y="726"/>
                  </a:lnTo>
                  <a:lnTo>
                    <a:pt x="1576" y="726"/>
                  </a:lnTo>
                  <a:lnTo>
                    <a:pt x="1576" y="722"/>
                  </a:lnTo>
                  <a:lnTo>
                    <a:pt x="1580" y="722"/>
                  </a:lnTo>
                  <a:lnTo>
                    <a:pt x="1584" y="722"/>
                  </a:lnTo>
                  <a:lnTo>
                    <a:pt x="1588" y="722"/>
                  </a:lnTo>
                  <a:lnTo>
                    <a:pt x="1592" y="718"/>
                  </a:lnTo>
                  <a:lnTo>
                    <a:pt x="1596" y="718"/>
                  </a:lnTo>
                  <a:lnTo>
                    <a:pt x="1600" y="718"/>
                  </a:lnTo>
                  <a:lnTo>
                    <a:pt x="1604" y="714"/>
                  </a:lnTo>
                  <a:lnTo>
                    <a:pt x="1604" y="718"/>
                  </a:lnTo>
                  <a:lnTo>
                    <a:pt x="1600" y="718"/>
                  </a:lnTo>
                  <a:lnTo>
                    <a:pt x="1596" y="722"/>
                  </a:lnTo>
                  <a:lnTo>
                    <a:pt x="1600" y="722"/>
                  </a:lnTo>
                  <a:lnTo>
                    <a:pt x="1600" y="718"/>
                  </a:lnTo>
                  <a:lnTo>
                    <a:pt x="1604" y="718"/>
                  </a:lnTo>
                  <a:lnTo>
                    <a:pt x="1608" y="718"/>
                  </a:lnTo>
                  <a:lnTo>
                    <a:pt x="1604" y="718"/>
                  </a:lnTo>
                  <a:lnTo>
                    <a:pt x="1600" y="722"/>
                  </a:lnTo>
                  <a:lnTo>
                    <a:pt x="1596" y="722"/>
                  </a:lnTo>
                  <a:lnTo>
                    <a:pt x="1592" y="726"/>
                  </a:lnTo>
                  <a:close/>
                  <a:moveTo>
                    <a:pt x="882" y="862"/>
                  </a:moveTo>
                  <a:lnTo>
                    <a:pt x="878" y="862"/>
                  </a:lnTo>
                  <a:lnTo>
                    <a:pt x="882" y="862"/>
                  </a:lnTo>
                  <a:close/>
                  <a:moveTo>
                    <a:pt x="902" y="874"/>
                  </a:moveTo>
                  <a:lnTo>
                    <a:pt x="906" y="874"/>
                  </a:lnTo>
                  <a:lnTo>
                    <a:pt x="902" y="874"/>
                  </a:lnTo>
                  <a:close/>
                  <a:moveTo>
                    <a:pt x="902" y="882"/>
                  </a:moveTo>
                  <a:lnTo>
                    <a:pt x="906" y="886"/>
                  </a:lnTo>
                  <a:lnTo>
                    <a:pt x="902" y="886"/>
                  </a:lnTo>
                  <a:lnTo>
                    <a:pt x="902" y="882"/>
                  </a:lnTo>
                  <a:close/>
                  <a:moveTo>
                    <a:pt x="1388" y="934"/>
                  </a:moveTo>
                  <a:lnTo>
                    <a:pt x="1384" y="934"/>
                  </a:lnTo>
                  <a:lnTo>
                    <a:pt x="1380" y="934"/>
                  </a:lnTo>
                  <a:lnTo>
                    <a:pt x="1376" y="934"/>
                  </a:lnTo>
                  <a:lnTo>
                    <a:pt x="1380" y="934"/>
                  </a:lnTo>
                  <a:lnTo>
                    <a:pt x="1384" y="934"/>
                  </a:lnTo>
                  <a:lnTo>
                    <a:pt x="1388" y="934"/>
                  </a:lnTo>
                  <a:close/>
                  <a:moveTo>
                    <a:pt x="1309" y="950"/>
                  </a:moveTo>
                  <a:lnTo>
                    <a:pt x="1305" y="950"/>
                  </a:lnTo>
                  <a:lnTo>
                    <a:pt x="1309" y="950"/>
                  </a:lnTo>
                  <a:close/>
                  <a:moveTo>
                    <a:pt x="1261" y="954"/>
                  </a:moveTo>
                  <a:lnTo>
                    <a:pt x="1261" y="958"/>
                  </a:lnTo>
                  <a:lnTo>
                    <a:pt x="1257" y="958"/>
                  </a:lnTo>
                  <a:lnTo>
                    <a:pt x="1261" y="958"/>
                  </a:lnTo>
                  <a:lnTo>
                    <a:pt x="1261" y="954"/>
                  </a:lnTo>
                  <a:close/>
                  <a:moveTo>
                    <a:pt x="1233" y="978"/>
                  </a:moveTo>
                  <a:lnTo>
                    <a:pt x="1233" y="974"/>
                  </a:lnTo>
                  <a:lnTo>
                    <a:pt x="1237" y="974"/>
                  </a:lnTo>
                  <a:lnTo>
                    <a:pt x="1233" y="978"/>
                  </a:lnTo>
                  <a:close/>
                  <a:moveTo>
                    <a:pt x="1233" y="978"/>
                  </a:moveTo>
                  <a:lnTo>
                    <a:pt x="1229" y="978"/>
                  </a:lnTo>
                  <a:lnTo>
                    <a:pt x="1229" y="982"/>
                  </a:lnTo>
                  <a:lnTo>
                    <a:pt x="1229" y="978"/>
                  </a:lnTo>
                  <a:lnTo>
                    <a:pt x="1233" y="978"/>
                  </a:lnTo>
                  <a:close/>
                  <a:moveTo>
                    <a:pt x="1480" y="1034"/>
                  </a:moveTo>
                  <a:lnTo>
                    <a:pt x="1480" y="1030"/>
                  </a:lnTo>
                  <a:lnTo>
                    <a:pt x="1480" y="1034"/>
                  </a:lnTo>
                  <a:lnTo>
                    <a:pt x="1476" y="1038"/>
                  </a:lnTo>
                  <a:lnTo>
                    <a:pt x="1480" y="1038"/>
                  </a:lnTo>
                  <a:lnTo>
                    <a:pt x="1480" y="1034"/>
                  </a:lnTo>
                  <a:close/>
                  <a:moveTo>
                    <a:pt x="284" y="1098"/>
                  </a:moveTo>
                  <a:lnTo>
                    <a:pt x="280" y="1098"/>
                  </a:lnTo>
                  <a:lnTo>
                    <a:pt x="280" y="1094"/>
                  </a:lnTo>
                  <a:lnTo>
                    <a:pt x="280" y="1090"/>
                  </a:lnTo>
                  <a:lnTo>
                    <a:pt x="284" y="1090"/>
                  </a:lnTo>
                  <a:lnTo>
                    <a:pt x="284" y="1094"/>
                  </a:lnTo>
                  <a:lnTo>
                    <a:pt x="288" y="1094"/>
                  </a:lnTo>
                  <a:lnTo>
                    <a:pt x="284" y="1098"/>
                  </a:lnTo>
                  <a:close/>
                  <a:moveTo>
                    <a:pt x="272" y="1098"/>
                  </a:moveTo>
                  <a:lnTo>
                    <a:pt x="272" y="1094"/>
                  </a:lnTo>
                  <a:lnTo>
                    <a:pt x="276" y="1094"/>
                  </a:lnTo>
                  <a:lnTo>
                    <a:pt x="276" y="1098"/>
                  </a:lnTo>
                  <a:lnTo>
                    <a:pt x="272" y="1098"/>
                  </a:lnTo>
                  <a:close/>
                  <a:moveTo>
                    <a:pt x="307" y="1110"/>
                  </a:moveTo>
                  <a:lnTo>
                    <a:pt x="303" y="1110"/>
                  </a:lnTo>
                  <a:lnTo>
                    <a:pt x="303" y="1106"/>
                  </a:lnTo>
                  <a:lnTo>
                    <a:pt x="299" y="1102"/>
                  </a:lnTo>
                  <a:lnTo>
                    <a:pt x="303" y="1102"/>
                  </a:lnTo>
                  <a:lnTo>
                    <a:pt x="307" y="1102"/>
                  </a:lnTo>
                  <a:lnTo>
                    <a:pt x="307" y="1106"/>
                  </a:lnTo>
                  <a:lnTo>
                    <a:pt x="311" y="1110"/>
                  </a:lnTo>
                  <a:lnTo>
                    <a:pt x="307" y="1110"/>
                  </a:lnTo>
                  <a:close/>
                  <a:moveTo>
                    <a:pt x="323" y="1114"/>
                  </a:moveTo>
                  <a:lnTo>
                    <a:pt x="319" y="1114"/>
                  </a:lnTo>
                  <a:lnTo>
                    <a:pt x="315" y="1114"/>
                  </a:lnTo>
                  <a:lnTo>
                    <a:pt x="315" y="1110"/>
                  </a:lnTo>
                  <a:lnTo>
                    <a:pt x="319" y="1110"/>
                  </a:lnTo>
                  <a:lnTo>
                    <a:pt x="323" y="1110"/>
                  </a:lnTo>
                  <a:lnTo>
                    <a:pt x="323" y="1114"/>
                  </a:lnTo>
                  <a:close/>
                  <a:moveTo>
                    <a:pt x="331" y="1122"/>
                  </a:moveTo>
                  <a:lnTo>
                    <a:pt x="327" y="1122"/>
                  </a:lnTo>
                  <a:lnTo>
                    <a:pt x="327" y="1118"/>
                  </a:lnTo>
                  <a:lnTo>
                    <a:pt x="323" y="1118"/>
                  </a:lnTo>
                  <a:lnTo>
                    <a:pt x="323" y="1114"/>
                  </a:lnTo>
                  <a:lnTo>
                    <a:pt x="327" y="1114"/>
                  </a:lnTo>
                  <a:lnTo>
                    <a:pt x="327" y="1118"/>
                  </a:lnTo>
                  <a:lnTo>
                    <a:pt x="331" y="1118"/>
                  </a:lnTo>
                  <a:lnTo>
                    <a:pt x="331" y="1114"/>
                  </a:lnTo>
                  <a:lnTo>
                    <a:pt x="331" y="1118"/>
                  </a:lnTo>
                  <a:lnTo>
                    <a:pt x="335" y="1118"/>
                  </a:lnTo>
                  <a:lnTo>
                    <a:pt x="335" y="1122"/>
                  </a:lnTo>
                  <a:lnTo>
                    <a:pt x="331" y="1122"/>
                  </a:lnTo>
                  <a:close/>
                  <a:moveTo>
                    <a:pt x="323" y="1118"/>
                  </a:moveTo>
                  <a:lnTo>
                    <a:pt x="319" y="1118"/>
                  </a:lnTo>
                  <a:lnTo>
                    <a:pt x="323" y="1118"/>
                  </a:lnTo>
                  <a:close/>
                  <a:moveTo>
                    <a:pt x="339" y="1129"/>
                  </a:moveTo>
                  <a:lnTo>
                    <a:pt x="343" y="1129"/>
                  </a:lnTo>
                  <a:lnTo>
                    <a:pt x="347" y="1133"/>
                  </a:lnTo>
                  <a:lnTo>
                    <a:pt x="347" y="1137"/>
                  </a:lnTo>
                  <a:lnTo>
                    <a:pt x="351" y="1137"/>
                  </a:lnTo>
                  <a:lnTo>
                    <a:pt x="351" y="1141"/>
                  </a:lnTo>
                  <a:lnTo>
                    <a:pt x="355" y="1141"/>
                  </a:lnTo>
                  <a:lnTo>
                    <a:pt x="351" y="1145"/>
                  </a:lnTo>
                  <a:lnTo>
                    <a:pt x="347" y="1145"/>
                  </a:lnTo>
                  <a:lnTo>
                    <a:pt x="343" y="1149"/>
                  </a:lnTo>
                  <a:lnTo>
                    <a:pt x="343" y="1153"/>
                  </a:lnTo>
                  <a:lnTo>
                    <a:pt x="339" y="1153"/>
                  </a:lnTo>
                  <a:lnTo>
                    <a:pt x="335" y="1149"/>
                  </a:lnTo>
                  <a:lnTo>
                    <a:pt x="335" y="1145"/>
                  </a:lnTo>
                  <a:lnTo>
                    <a:pt x="335" y="1141"/>
                  </a:lnTo>
                  <a:lnTo>
                    <a:pt x="335" y="1137"/>
                  </a:lnTo>
                  <a:lnTo>
                    <a:pt x="339" y="1133"/>
                  </a:lnTo>
                  <a:lnTo>
                    <a:pt x="335" y="1129"/>
                  </a:lnTo>
                  <a:lnTo>
                    <a:pt x="339" y="112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0" name="Freeform 189"/>
            <p:cNvSpPr>
              <a:spLocks/>
            </p:cNvSpPr>
            <p:nvPr>
              <p:custDataLst>
                <p:tags r:id="rId383"/>
              </p:custDataLst>
            </p:nvPr>
          </p:nvSpPr>
          <p:spPr bwMode="gray">
            <a:xfrm>
              <a:off x="2772869" y="2538945"/>
              <a:ext cx="53390" cy="41526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20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28" y="12"/>
                </a:cxn>
                <a:cxn ang="0">
                  <a:pos x="24" y="16"/>
                </a:cxn>
                <a:cxn ang="0">
                  <a:pos x="28" y="16"/>
                </a:cxn>
                <a:cxn ang="0">
                  <a:pos x="32" y="16"/>
                </a:cxn>
                <a:cxn ang="0">
                  <a:pos x="32" y="16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32" y="16"/>
                </a:cxn>
                <a:cxn ang="0">
                  <a:pos x="28" y="20"/>
                </a:cxn>
                <a:cxn ang="0">
                  <a:pos x="28" y="20"/>
                </a:cxn>
                <a:cxn ang="0">
                  <a:pos x="28" y="20"/>
                </a:cxn>
                <a:cxn ang="0">
                  <a:pos x="24" y="20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8" y="24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0" y="12"/>
                </a:cxn>
              </a:cxnLst>
              <a:rect l="0" t="0" r="r" b="b"/>
              <a:pathLst>
                <a:path w="36" h="28">
                  <a:moveTo>
                    <a:pt x="0" y="12"/>
                  </a:move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1" name="Freeform 190"/>
            <p:cNvSpPr>
              <a:spLocks/>
            </p:cNvSpPr>
            <p:nvPr>
              <p:custDataLst>
                <p:tags r:id="rId384"/>
              </p:custDataLst>
            </p:nvPr>
          </p:nvSpPr>
          <p:spPr bwMode="gray">
            <a:xfrm>
              <a:off x="2446595" y="4266714"/>
              <a:ext cx="23729" cy="29661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</a:cxnLst>
              <a:rect l="0" t="0" r="r" b="b"/>
              <a:pathLst>
                <a:path w="16" h="20">
                  <a:moveTo>
                    <a:pt x="16" y="16"/>
                  </a:moveTo>
                  <a:lnTo>
                    <a:pt x="16" y="16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2" name="Freeform 191"/>
            <p:cNvSpPr>
              <a:spLocks/>
            </p:cNvSpPr>
            <p:nvPr>
              <p:custDataLst>
                <p:tags r:id="rId385"/>
              </p:custDataLst>
            </p:nvPr>
          </p:nvSpPr>
          <p:spPr bwMode="gray">
            <a:xfrm>
              <a:off x="2511850" y="3379842"/>
              <a:ext cx="11865" cy="10381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4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8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4" y="7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</a:cxnLst>
              <a:rect l="0" t="0" r="r" b="b"/>
              <a:pathLst>
                <a:path w="8" h="7">
                  <a:moveTo>
                    <a:pt x="4" y="4"/>
                  </a:move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grpSp>
          <p:nvGrpSpPr>
            <p:cNvPr id="193" name="Group 192"/>
            <p:cNvGrpSpPr>
              <a:grpSpLocks/>
            </p:cNvGrpSpPr>
            <p:nvPr>
              <p:custDataLst>
                <p:tags r:id="rId386"/>
              </p:custDataLst>
            </p:nvPr>
          </p:nvGrpSpPr>
          <p:grpSpPr bwMode="gray">
            <a:xfrm>
              <a:off x="8117831" y="5561429"/>
              <a:ext cx="271400" cy="378181"/>
              <a:chOff x="4515" y="3775"/>
              <a:chExt cx="183" cy="255"/>
            </a:xfrm>
            <a:grpFill/>
          </p:grpSpPr>
          <p:sp>
            <p:nvSpPr>
              <p:cNvPr id="219" name="Freeform 193"/>
              <p:cNvSpPr>
                <a:spLocks/>
              </p:cNvSpPr>
              <p:nvPr/>
            </p:nvSpPr>
            <p:spPr bwMode="gray">
              <a:xfrm>
                <a:off x="4606" y="3775"/>
                <a:ext cx="92" cy="148"/>
              </a:xfrm>
              <a:custGeom>
                <a:avLst/>
                <a:gdLst/>
                <a:ahLst/>
                <a:cxnLst>
                  <a:cxn ang="0">
                    <a:pos x="56" y="132"/>
                  </a:cxn>
                  <a:cxn ang="0">
                    <a:pos x="48" y="144"/>
                  </a:cxn>
                  <a:cxn ang="0">
                    <a:pos x="40" y="144"/>
                  </a:cxn>
                  <a:cxn ang="0">
                    <a:pos x="32" y="144"/>
                  </a:cxn>
                  <a:cxn ang="0">
                    <a:pos x="36" y="132"/>
                  </a:cxn>
                  <a:cxn ang="0">
                    <a:pos x="40" y="120"/>
                  </a:cxn>
                  <a:cxn ang="0">
                    <a:pos x="32" y="112"/>
                  </a:cxn>
                  <a:cxn ang="0">
                    <a:pos x="24" y="104"/>
                  </a:cxn>
                  <a:cxn ang="0">
                    <a:pos x="20" y="96"/>
                  </a:cxn>
                  <a:cxn ang="0">
                    <a:pos x="32" y="92"/>
                  </a:cxn>
                  <a:cxn ang="0">
                    <a:pos x="32" y="76"/>
                  </a:cxn>
                  <a:cxn ang="0">
                    <a:pos x="32" y="68"/>
                  </a:cxn>
                  <a:cxn ang="0">
                    <a:pos x="32" y="60"/>
                  </a:cxn>
                  <a:cxn ang="0">
                    <a:pos x="28" y="56"/>
                  </a:cxn>
                  <a:cxn ang="0">
                    <a:pos x="36" y="56"/>
                  </a:cxn>
                  <a:cxn ang="0">
                    <a:pos x="28" y="48"/>
                  </a:cxn>
                  <a:cxn ang="0">
                    <a:pos x="28" y="44"/>
                  </a:cxn>
                  <a:cxn ang="0">
                    <a:pos x="28" y="36"/>
                  </a:cxn>
                  <a:cxn ang="0">
                    <a:pos x="24" y="36"/>
                  </a:cxn>
                  <a:cxn ang="0">
                    <a:pos x="20" y="32"/>
                  </a:cxn>
                  <a:cxn ang="0">
                    <a:pos x="20" y="40"/>
                  </a:cxn>
                  <a:cxn ang="0">
                    <a:pos x="16" y="28"/>
                  </a:cxn>
                  <a:cxn ang="0">
                    <a:pos x="16" y="16"/>
                  </a:cxn>
                  <a:cxn ang="0">
                    <a:pos x="12" y="20"/>
                  </a:cxn>
                  <a:cxn ang="0">
                    <a:pos x="4" y="8"/>
                  </a:cxn>
                  <a:cxn ang="0">
                    <a:pos x="8" y="0"/>
                  </a:cxn>
                  <a:cxn ang="0">
                    <a:pos x="4" y="4"/>
                  </a:cxn>
                  <a:cxn ang="0">
                    <a:pos x="8" y="12"/>
                  </a:cxn>
                  <a:cxn ang="0">
                    <a:pos x="16" y="12"/>
                  </a:cxn>
                  <a:cxn ang="0">
                    <a:pos x="24" y="16"/>
                  </a:cxn>
                  <a:cxn ang="0">
                    <a:pos x="28" y="20"/>
                  </a:cxn>
                  <a:cxn ang="0">
                    <a:pos x="28" y="28"/>
                  </a:cxn>
                  <a:cxn ang="0">
                    <a:pos x="32" y="32"/>
                  </a:cxn>
                  <a:cxn ang="0">
                    <a:pos x="32" y="48"/>
                  </a:cxn>
                  <a:cxn ang="0">
                    <a:pos x="36" y="52"/>
                  </a:cxn>
                  <a:cxn ang="0">
                    <a:pos x="44" y="52"/>
                  </a:cxn>
                  <a:cxn ang="0">
                    <a:pos x="40" y="40"/>
                  </a:cxn>
                  <a:cxn ang="0">
                    <a:pos x="48" y="52"/>
                  </a:cxn>
                  <a:cxn ang="0">
                    <a:pos x="52" y="56"/>
                  </a:cxn>
                  <a:cxn ang="0">
                    <a:pos x="52" y="64"/>
                  </a:cxn>
                  <a:cxn ang="0">
                    <a:pos x="56" y="68"/>
                  </a:cxn>
                  <a:cxn ang="0">
                    <a:pos x="68" y="72"/>
                  </a:cxn>
                  <a:cxn ang="0">
                    <a:pos x="80" y="68"/>
                  </a:cxn>
                  <a:cxn ang="0">
                    <a:pos x="92" y="68"/>
                  </a:cxn>
                  <a:cxn ang="0">
                    <a:pos x="88" y="80"/>
                  </a:cxn>
                  <a:cxn ang="0">
                    <a:pos x="80" y="92"/>
                  </a:cxn>
                  <a:cxn ang="0">
                    <a:pos x="76" y="96"/>
                  </a:cxn>
                  <a:cxn ang="0">
                    <a:pos x="64" y="104"/>
                  </a:cxn>
                  <a:cxn ang="0">
                    <a:pos x="64" y="120"/>
                  </a:cxn>
                </a:cxnLst>
                <a:rect l="0" t="0" r="r" b="b"/>
                <a:pathLst>
                  <a:path w="92" h="148">
                    <a:moveTo>
                      <a:pt x="60" y="124"/>
                    </a:moveTo>
                    <a:lnTo>
                      <a:pt x="60" y="128"/>
                    </a:lnTo>
                    <a:lnTo>
                      <a:pt x="56" y="128"/>
                    </a:lnTo>
                    <a:lnTo>
                      <a:pt x="56" y="132"/>
                    </a:lnTo>
                    <a:lnTo>
                      <a:pt x="56" y="136"/>
                    </a:lnTo>
                    <a:lnTo>
                      <a:pt x="52" y="136"/>
                    </a:lnTo>
                    <a:lnTo>
                      <a:pt x="52" y="140"/>
                    </a:lnTo>
                    <a:lnTo>
                      <a:pt x="48" y="144"/>
                    </a:lnTo>
                    <a:lnTo>
                      <a:pt x="44" y="144"/>
                    </a:lnTo>
                    <a:lnTo>
                      <a:pt x="44" y="148"/>
                    </a:lnTo>
                    <a:lnTo>
                      <a:pt x="40" y="148"/>
                    </a:lnTo>
                    <a:lnTo>
                      <a:pt x="40" y="144"/>
                    </a:lnTo>
                    <a:lnTo>
                      <a:pt x="36" y="144"/>
                    </a:lnTo>
                    <a:lnTo>
                      <a:pt x="36" y="140"/>
                    </a:lnTo>
                    <a:lnTo>
                      <a:pt x="32" y="140"/>
                    </a:lnTo>
                    <a:lnTo>
                      <a:pt x="32" y="144"/>
                    </a:lnTo>
                    <a:lnTo>
                      <a:pt x="32" y="140"/>
                    </a:lnTo>
                    <a:lnTo>
                      <a:pt x="32" y="136"/>
                    </a:lnTo>
                    <a:lnTo>
                      <a:pt x="36" y="136"/>
                    </a:lnTo>
                    <a:lnTo>
                      <a:pt x="36" y="132"/>
                    </a:lnTo>
                    <a:lnTo>
                      <a:pt x="36" y="128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0"/>
                    </a:lnTo>
                    <a:lnTo>
                      <a:pt x="40" y="116"/>
                    </a:lnTo>
                    <a:lnTo>
                      <a:pt x="36" y="116"/>
                    </a:lnTo>
                    <a:lnTo>
                      <a:pt x="36" y="112"/>
                    </a:lnTo>
                    <a:lnTo>
                      <a:pt x="32" y="112"/>
                    </a:lnTo>
                    <a:lnTo>
                      <a:pt x="28" y="112"/>
                    </a:lnTo>
                    <a:lnTo>
                      <a:pt x="28" y="108"/>
                    </a:lnTo>
                    <a:lnTo>
                      <a:pt x="24" y="108"/>
                    </a:lnTo>
                    <a:lnTo>
                      <a:pt x="24" y="104"/>
                    </a:lnTo>
                    <a:lnTo>
                      <a:pt x="20" y="104"/>
                    </a:lnTo>
                    <a:lnTo>
                      <a:pt x="16" y="100"/>
                    </a:lnTo>
                    <a:lnTo>
                      <a:pt x="16" y="96"/>
                    </a:lnTo>
                    <a:lnTo>
                      <a:pt x="20" y="96"/>
                    </a:lnTo>
                    <a:lnTo>
                      <a:pt x="24" y="96"/>
                    </a:lnTo>
                    <a:lnTo>
                      <a:pt x="24" y="92"/>
                    </a:lnTo>
                    <a:lnTo>
                      <a:pt x="28" y="92"/>
                    </a:lnTo>
                    <a:lnTo>
                      <a:pt x="32" y="92"/>
                    </a:lnTo>
                    <a:lnTo>
                      <a:pt x="32" y="88"/>
                    </a:lnTo>
                    <a:lnTo>
                      <a:pt x="32" y="84"/>
                    </a:lnTo>
                    <a:lnTo>
                      <a:pt x="32" y="80"/>
                    </a:lnTo>
                    <a:lnTo>
                      <a:pt x="32" y="76"/>
                    </a:lnTo>
                    <a:lnTo>
                      <a:pt x="36" y="76"/>
                    </a:lnTo>
                    <a:lnTo>
                      <a:pt x="36" y="72"/>
                    </a:lnTo>
                    <a:lnTo>
                      <a:pt x="32" y="72"/>
                    </a:lnTo>
                    <a:lnTo>
                      <a:pt x="32" y="68"/>
                    </a:lnTo>
                    <a:lnTo>
                      <a:pt x="36" y="68"/>
                    </a:lnTo>
                    <a:lnTo>
                      <a:pt x="32" y="68"/>
                    </a:lnTo>
                    <a:lnTo>
                      <a:pt x="32" y="64"/>
                    </a:lnTo>
                    <a:lnTo>
                      <a:pt x="32" y="60"/>
                    </a:lnTo>
                    <a:lnTo>
                      <a:pt x="36" y="60"/>
                    </a:lnTo>
                    <a:lnTo>
                      <a:pt x="32" y="60"/>
                    </a:lnTo>
                    <a:lnTo>
                      <a:pt x="32" y="56"/>
                    </a:lnTo>
                    <a:lnTo>
                      <a:pt x="28" y="56"/>
                    </a:lnTo>
                    <a:lnTo>
                      <a:pt x="28" y="52"/>
                    </a:lnTo>
                    <a:lnTo>
                      <a:pt x="32" y="52"/>
                    </a:lnTo>
                    <a:lnTo>
                      <a:pt x="32" y="56"/>
                    </a:lnTo>
                    <a:lnTo>
                      <a:pt x="36" y="56"/>
                    </a:lnTo>
                    <a:lnTo>
                      <a:pt x="36" y="52"/>
                    </a:lnTo>
                    <a:lnTo>
                      <a:pt x="32" y="52"/>
                    </a:lnTo>
                    <a:lnTo>
                      <a:pt x="28" y="52"/>
                    </a:lnTo>
                    <a:lnTo>
                      <a:pt x="28" y="48"/>
                    </a:lnTo>
                    <a:lnTo>
                      <a:pt x="24" y="44"/>
                    </a:lnTo>
                    <a:lnTo>
                      <a:pt x="24" y="40"/>
                    </a:lnTo>
                    <a:lnTo>
                      <a:pt x="24" y="44"/>
                    </a:lnTo>
                    <a:lnTo>
                      <a:pt x="28" y="44"/>
                    </a:lnTo>
                    <a:lnTo>
                      <a:pt x="28" y="40"/>
                    </a:lnTo>
                    <a:lnTo>
                      <a:pt x="24" y="40"/>
                    </a:lnTo>
                    <a:lnTo>
                      <a:pt x="28" y="40"/>
                    </a:lnTo>
                    <a:lnTo>
                      <a:pt x="28" y="36"/>
                    </a:lnTo>
                    <a:lnTo>
                      <a:pt x="28" y="40"/>
                    </a:lnTo>
                    <a:lnTo>
                      <a:pt x="24" y="40"/>
                    </a:lnTo>
                    <a:lnTo>
                      <a:pt x="28" y="36"/>
                    </a:lnTo>
                    <a:lnTo>
                      <a:pt x="24" y="36"/>
                    </a:lnTo>
                    <a:lnTo>
                      <a:pt x="20" y="36"/>
                    </a:lnTo>
                    <a:lnTo>
                      <a:pt x="20" y="32"/>
                    </a:lnTo>
                    <a:lnTo>
                      <a:pt x="20" y="28"/>
                    </a:lnTo>
                    <a:lnTo>
                      <a:pt x="20" y="32"/>
                    </a:lnTo>
                    <a:lnTo>
                      <a:pt x="20" y="36"/>
                    </a:lnTo>
                    <a:lnTo>
                      <a:pt x="24" y="36"/>
                    </a:lnTo>
                    <a:lnTo>
                      <a:pt x="24" y="40"/>
                    </a:lnTo>
                    <a:lnTo>
                      <a:pt x="20" y="40"/>
                    </a:lnTo>
                    <a:lnTo>
                      <a:pt x="20" y="36"/>
                    </a:lnTo>
                    <a:lnTo>
                      <a:pt x="20" y="32"/>
                    </a:lnTo>
                    <a:lnTo>
                      <a:pt x="16" y="32"/>
                    </a:lnTo>
                    <a:lnTo>
                      <a:pt x="16" y="28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6" y="20"/>
                    </a:lnTo>
                    <a:lnTo>
                      <a:pt x="16" y="16"/>
                    </a:lnTo>
                    <a:lnTo>
                      <a:pt x="16" y="20"/>
                    </a:lnTo>
                    <a:lnTo>
                      <a:pt x="12" y="20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8"/>
                    </a:lnTo>
                    <a:lnTo>
                      <a:pt x="12" y="12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4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4" y="20"/>
                    </a:lnTo>
                    <a:lnTo>
                      <a:pt x="24" y="16"/>
                    </a:lnTo>
                    <a:lnTo>
                      <a:pt x="28" y="16"/>
                    </a:lnTo>
                    <a:lnTo>
                      <a:pt x="28" y="20"/>
                    </a:lnTo>
                    <a:lnTo>
                      <a:pt x="28" y="24"/>
                    </a:lnTo>
                    <a:lnTo>
                      <a:pt x="32" y="24"/>
                    </a:lnTo>
                    <a:lnTo>
                      <a:pt x="28" y="24"/>
                    </a:lnTo>
                    <a:lnTo>
                      <a:pt x="28" y="28"/>
                    </a:lnTo>
                    <a:lnTo>
                      <a:pt x="32" y="28"/>
                    </a:lnTo>
                    <a:lnTo>
                      <a:pt x="28" y="28"/>
                    </a:lnTo>
                    <a:lnTo>
                      <a:pt x="28" y="32"/>
                    </a:lnTo>
                    <a:lnTo>
                      <a:pt x="32" y="32"/>
                    </a:lnTo>
                    <a:lnTo>
                      <a:pt x="32" y="36"/>
                    </a:lnTo>
                    <a:lnTo>
                      <a:pt x="32" y="40"/>
                    </a:lnTo>
                    <a:lnTo>
                      <a:pt x="32" y="44"/>
                    </a:lnTo>
                    <a:lnTo>
                      <a:pt x="32" y="48"/>
                    </a:lnTo>
                    <a:lnTo>
                      <a:pt x="36" y="48"/>
                    </a:lnTo>
                    <a:lnTo>
                      <a:pt x="36" y="52"/>
                    </a:lnTo>
                    <a:lnTo>
                      <a:pt x="36" y="48"/>
                    </a:lnTo>
                    <a:lnTo>
                      <a:pt x="36" y="52"/>
                    </a:lnTo>
                    <a:lnTo>
                      <a:pt x="40" y="52"/>
                    </a:lnTo>
                    <a:lnTo>
                      <a:pt x="40" y="56"/>
                    </a:lnTo>
                    <a:lnTo>
                      <a:pt x="44" y="56"/>
                    </a:lnTo>
                    <a:lnTo>
                      <a:pt x="44" y="52"/>
                    </a:lnTo>
                    <a:lnTo>
                      <a:pt x="44" y="48"/>
                    </a:lnTo>
                    <a:lnTo>
                      <a:pt x="44" y="44"/>
                    </a:lnTo>
                    <a:lnTo>
                      <a:pt x="40" y="44"/>
                    </a:lnTo>
                    <a:lnTo>
                      <a:pt x="40" y="40"/>
                    </a:lnTo>
                    <a:lnTo>
                      <a:pt x="44" y="44"/>
                    </a:lnTo>
                    <a:lnTo>
                      <a:pt x="44" y="48"/>
                    </a:lnTo>
                    <a:lnTo>
                      <a:pt x="48" y="48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8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48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2" y="64"/>
                    </a:lnTo>
                    <a:lnTo>
                      <a:pt x="52" y="68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4" y="72"/>
                    </a:lnTo>
                    <a:lnTo>
                      <a:pt x="68" y="72"/>
                    </a:lnTo>
                    <a:lnTo>
                      <a:pt x="72" y="72"/>
                    </a:lnTo>
                    <a:lnTo>
                      <a:pt x="76" y="72"/>
                    </a:lnTo>
                    <a:lnTo>
                      <a:pt x="76" y="68"/>
                    </a:lnTo>
                    <a:lnTo>
                      <a:pt x="80" y="68"/>
                    </a:lnTo>
                    <a:lnTo>
                      <a:pt x="80" y="64"/>
                    </a:lnTo>
                    <a:lnTo>
                      <a:pt x="84" y="64"/>
                    </a:lnTo>
                    <a:lnTo>
                      <a:pt x="88" y="64"/>
                    </a:lnTo>
                    <a:lnTo>
                      <a:pt x="92" y="68"/>
                    </a:lnTo>
                    <a:lnTo>
                      <a:pt x="88" y="68"/>
                    </a:lnTo>
                    <a:lnTo>
                      <a:pt x="88" y="72"/>
                    </a:lnTo>
                    <a:lnTo>
                      <a:pt x="88" y="76"/>
                    </a:lnTo>
                    <a:lnTo>
                      <a:pt x="88" y="80"/>
                    </a:lnTo>
                    <a:lnTo>
                      <a:pt x="88" y="84"/>
                    </a:lnTo>
                    <a:lnTo>
                      <a:pt x="84" y="88"/>
                    </a:lnTo>
                    <a:lnTo>
                      <a:pt x="80" y="88"/>
                    </a:lnTo>
                    <a:lnTo>
                      <a:pt x="80" y="92"/>
                    </a:lnTo>
                    <a:lnTo>
                      <a:pt x="80" y="96"/>
                    </a:lnTo>
                    <a:lnTo>
                      <a:pt x="80" y="100"/>
                    </a:lnTo>
                    <a:lnTo>
                      <a:pt x="80" y="96"/>
                    </a:lnTo>
                    <a:lnTo>
                      <a:pt x="76" y="96"/>
                    </a:lnTo>
                    <a:lnTo>
                      <a:pt x="72" y="96"/>
                    </a:lnTo>
                    <a:lnTo>
                      <a:pt x="68" y="96"/>
                    </a:lnTo>
                    <a:lnTo>
                      <a:pt x="64" y="100"/>
                    </a:lnTo>
                    <a:lnTo>
                      <a:pt x="64" y="104"/>
                    </a:lnTo>
                    <a:lnTo>
                      <a:pt x="64" y="108"/>
                    </a:lnTo>
                    <a:lnTo>
                      <a:pt x="68" y="108"/>
                    </a:lnTo>
                    <a:lnTo>
                      <a:pt x="64" y="116"/>
                    </a:lnTo>
                    <a:lnTo>
                      <a:pt x="64" y="120"/>
                    </a:lnTo>
                    <a:lnTo>
                      <a:pt x="60" y="124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44450" tIns="44450" rIns="44450" bIns="44450"/>
              <a:lstStyle/>
              <a:p>
                <a:endParaRPr lang="en-US" dirty="0"/>
              </a:p>
            </p:txBody>
          </p:sp>
          <p:sp>
            <p:nvSpPr>
              <p:cNvPr id="220" name="Freeform 194"/>
              <p:cNvSpPr>
                <a:spLocks/>
              </p:cNvSpPr>
              <p:nvPr/>
            </p:nvSpPr>
            <p:spPr bwMode="gray">
              <a:xfrm>
                <a:off x="4515" y="3899"/>
                <a:ext cx="119" cy="131"/>
              </a:xfrm>
              <a:custGeom>
                <a:avLst/>
                <a:gdLst/>
                <a:ahLst/>
                <a:cxnLst>
                  <a:cxn ang="0">
                    <a:pos x="12" y="103"/>
                  </a:cxn>
                  <a:cxn ang="0">
                    <a:pos x="12" y="95"/>
                  </a:cxn>
                  <a:cxn ang="0">
                    <a:pos x="16" y="95"/>
                  </a:cxn>
                  <a:cxn ang="0">
                    <a:pos x="16" y="87"/>
                  </a:cxn>
                  <a:cxn ang="0">
                    <a:pos x="23" y="79"/>
                  </a:cxn>
                  <a:cxn ang="0">
                    <a:pos x="35" y="75"/>
                  </a:cxn>
                  <a:cxn ang="0">
                    <a:pos x="39" y="67"/>
                  </a:cxn>
                  <a:cxn ang="0">
                    <a:pos x="47" y="64"/>
                  </a:cxn>
                  <a:cxn ang="0">
                    <a:pos x="55" y="55"/>
                  </a:cxn>
                  <a:cxn ang="0">
                    <a:pos x="63" y="52"/>
                  </a:cxn>
                  <a:cxn ang="0">
                    <a:pos x="71" y="40"/>
                  </a:cxn>
                  <a:cxn ang="0">
                    <a:pos x="75" y="28"/>
                  </a:cxn>
                  <a:cxn ang="0">
                    <a:pos x="83" y="24"/>
                  </a:cxn>
                  <a:cxn ang="0">
                    <a:pos x="83" y="8"/>
                  </a:cxn>
                  <a:cxn ang="0">
                    <a:pos x="91" y="4"/>
                  </a:cxn>
                  <a:cxn ang="0">
                    <a:pos x="91" y="4"/>
                  </a:cxn>
                  <a:cxn ang="0">
                    <a:pos x="99" y="12"/>
                  </a:cxn>
                  <a:cxn ang="0">
                    <a:pos x="107" y="12"/>
                  </a:cxn>
                  <a:cxn ang="0">
                    <a:pos x="111" y="12"/>
                  </a:cxn>
                  <a:cxn ang="0">
                    <a:pos x="111" y="16"/>
                  </a:cxn>
                  <a:cxn ang="0">
                    <a:pos x="115" y="16"/>
                  </a:cxn>
                  <a:cxn ang="0">
                    <a:pos x="115" y="12"/>
                  </a:cxn>
                  <a:cxn ang="0">
                    <a:pos x="111" y="16"/>
                  </a:cxn>
                  <a:cxn ang="0">
                    <a:pos x="115" y="16"/>
                  </a:cxn>
                  <a:cxn ang="0">
                    <a:pos x="115" y="20"/>
                  </a:cxn>
                  <a:cxn ang="0">
                    <a:pos x="115" y="24"/>
                  </a:cxn>
                  <a:cxn ang="0">
                    <a:pos x="111" y="31"/>
                  </a:cxn>
                  <a:cxn ang="0">
                    <a:pos x="107" y="43"/>
                  </a:cxn>
                  <a:cxn ang="0">
                    <a:pos x="103" y="52"/>
                  </a:cxn>
                  <a:cxn ang="0">
                    <a:pos x="95" y="59"/>
                  </a:cxn>
                  <a:cxn ang="0">
                    <a:pos x="99" y="67"/>
                  </a:cxn>
                  <a:cxn ang="0">
                    <a:pos x="95" y="67"/>
                  </a:cxn>
                  <a:cxn ang="0">
                    <a:pos x="91" y="67"/>
                  </a:cxn>
                  <a:cxn ang="0">
                    <a:pos x="83" y="71"/>
                  </a:cxn>
                  <a:cxn ang="0">
                    <a:pos x="75" y="75"/>
                  </a:cxn>
                  <a:cxn ang="0">
                    <a:pos x="71" y="83"/>
                  </a:cxn>
                  <a:cxn ang="0">
                    <a:pos x="71" y="95"/>
                  </a:cxn>
                  <a:cxn ang="0">
                    <a:pos x="63" y="103"/>
                  </a:cxn>
                  <a:cxn ang="0">
                    <a:pos x="59" y="111"/>
                  </a:cxn>
                  <a:cxn ang="0">
                    <a:pos x="63" y="111"/>
                  </a:cxn>
                  <a:cxn ang="0">
                    <a:pos x="55" y="115"/>
                  </a:cxn>
                  <a:cxn ang="0">
                    <a:pos x="51" y="127"/>
                  </a:cxn>
                  <a:cxn ang="0">
                    <a:pos x="39" y="131"/>
                  </a:cxn>
                  <a:cxn ang="0">
                    <a:pos x="31" y="127"/>
                  </a:cxn>
                  <a:cxn ang="0">
                    <a:pos x="27" y="127"/>
                  </a:cxn>
                  <a:cxn ang="0">
                    <a:pos x="27" y="127"/>
                  </a:cxn>
                  <a:cxn ang="0">
                    <a:pos x="23" y="123"/>
                  </a:cxn>
                  <a:cxn ang="0">
                    <a:pos x="12" y="119"/>
                  </a:cxn>
                  <a:cxn ang="0">
                    <a:pos x="4" y="123"/>
                  </a:cxn>
                  <a:cxn ang="0">
                    <a:pos x="4" y="119"/>
                  </a:cxn>
                  <a:cxn ang="0">
                    <a:pos x="4" y="115"/>
                  </a:cxn>
                  <a:cxn ang="0">
                    <a:pos x="0" y="115"/>
                  </a:cxn>
                  <a:cxn ang="0">
                    <a:pos x="8" y="111"/>
                  </a:cxn>
                  <a:cxn ang="0">
                    <a:pos x="8" y="107"/>
                  </a:cxn>
                  <a:cxn ang="0">
                    <a:pos x="4" y="99"/>
                  </a:cxn>
                </a:cxnLst>
                <a:rect l="0" t="0" r="r" b="b"/>
                <a:pathLst>
                  <a:path w="119" h="131">
                    <a:moveTo>
                      <a:pt x="12" y="103"/>
                    </a:moveTo>
                    <a:lnTo>
                      <a:pt x="8" y="103"/>
                    </a:lnTo>
                    <a:lnTo>
                      <a:pt x="12" y="103"/>
                    </a:lnTo>
                    <a:lnTo>
                      <a:pt x="8" y="99"/>
                    </a:lnTo>
                    <a:lnTo>
                      <a:pt x="8" y="95"/>
                    </a:lnTo>
                    <a:lnTo>
                      <a:pt x="12" y="95"/>
                    </a:lnTo>
                    <a:lnTo>
                      <a:pt x="12" y="91"/>
                    </a:lnTo>
                    <a:lnTo>
                      <a:pt x="12" y="95"/>
                    </a:lnTo>
                    <a:lnTo>
                      <a:pt x="16" y="95"/>
                    </a:lnTo>
                    <a:lnTo>
                      <a:pt x="16" y="91"/>
                    </a:lnTo>
                    <a:lnTo>
                      <a:pt x="12" y="91"/>
                    </a:lnTo>
                    <a:lnTo>
                      <a:pt x="16" y="87"/>
                    </a:lnTo>
                    <a:lnTo>
                      <a:pt x="20" y="87"/>
                    </a:lnTo>
                    <a:lnTo>
                      <a:pt x="20" y="83"/>
                    </a:lnTo>
                    <a:lnTo>
                      <a:pt x="23" y="79"/>
                    </a:lnTo>
                    <a:lnTo>
                      <a:pt x="27" y="75"/>
                    </a:lnTo>
                    <a:lnTo>
                      <a:pt x="31" y="75"/>
                    </a:lnTo>
                    <a:lnTo>
                      <a:pt x="35" y="75"/>
                    </a:lnTo>
                    <a:lnTo>
                      <a:pt x="35" y="71"/>
                    </a:lnTo>
                    <a:lnTo>
                      <a:pt x="39" y="71"/>
                    </a:lnTo>
                    <a:lnTo>
                      <a:pt x="39" y="67"/>
                    </a:lnTo>
                    <a:lnTo>
                      <a:pt x="43" y="67"/>
                    </a:lnTo>
                    <a:lnTo>
                      <a:pt x="47" y="67"/>
                    </a:lnTo>
                    <a:lnTo>
                      <a:pt x="47" y="64"/>
                    </a:lnTo>
                    <a:lnTo>
                      <a:pt x="51" y="59"/>
                    </a:lnTo>
                    <a:lnTo>
                      <a:pt x="55" y="59"/>
                    </a:lnTo>
                    <a:lnTo>
                      <a:pt x="55" y="55"/>
                    </a:lnTo>
                    <a:lnTo>
                      <a:pt x="59" y="55"/>
                    </a:lnTo>
                    <a:lnTo>
                      <a:pt x="59" y="52"/>
                    </a:lnTo>
                    <a:lnTo>
                      <a:pt x="63" y="52"/>
                    </a:lnTo>
                    <a:lnTo>
                      <a:pt x="67" y="43"/>
                    </a:lnTo>
                    <a:lnTo>
                      <a:pt x="71" y="43"/>
                    </a:lnTo>
                    <a:lnTo>
                      <a:pt x="71" y="40"/>
                    </a:lnTo>
                    <a:lnTo>
                      <a:pt x="71" y="36"/>
                    </a:lnTo>
                    <a:lnTo>
                      <a:pt x="71" y="31"/>
                    </a:lnTo>
                    <a:lnTo>
                      <a:pt x="75" y="28"/>
                    </a:lnTo>
                    <a:lnTo>
                      <a:pt x="79" y="28"/>
                    </a:lnTo>
                    <a:lnTo>
                      <a:pt x="79" y="24"/>
                    </a:lnTo>
                    <a:lnTo>
                      <a:pt x="83" y="24"/>
                    </a:lnTo>
                    <a:lnTo>
                      <a:pt x="83" y="20"/>
                    </a:lnTo>
                    <a:lnTo>
                      <a:pt x="83" y="16"/>
                    </a:lnTo>
                    <a:lnTo>
                      <a:pt x="83" y="8"/>
                    </a:lnTo>
                    <a:lnTo>
                      <a:pt x="87" y="8"/>
                    </a:lnTo>
                    <a:lnTo>
                      <a:pt x="87" y="4"/>
                    </a:lnTo>
                    <a:lnTo>
                      <a:pt x="91" y="4"/>
                    </a:lnTo>
                    <a:lnTo>
                      <a:pt x="91" y="0"/>
                    </a:lnTo>
                    <a:lnTo>
                      <a:pt x="95" y="0"/>
                    </a:lnTo>
                    <a:lnTo>
                      <a:pt x="91" y="4"/>
                    </a:lnTo>
                    <a:lnTo>
                      <a:pt x="95" y="8"/>
                    </a:lnTo>
                    <a:lnTo>
                      <a:pt x="99" y="8"/>
                    </a:lnTo>
                    <a:lnTo>
                      <a:pt x="99" y="12"/>
                    </a:lnTo>
                    <a:lnTo>
                      <a:pt x="99" y="16"/>
                    </a:lnTo>
                    <a:lnTo>
                      <a:pt x="103" y="16"/>
                    </a:lnTo>
                    <a:lnTo>
                      <a:pt x="107" y="12"/>
                    </a:lnTo>
                    <a:lnTo>
                      <a:pt x="111" y="12"/>
                    </a:lnTo>
                    <a:lnTo>
                      <a:pt x="111" y="8"/>
                    </a:lnTo>
                    <a:lnTo>
                      <a:pt x="111" y="12"/>
                    </a:lnTo>
                    <a:lnTo>
                      <a:pt x="107" y="12"/>
                    </a:lnTo>
                    <a:lnTo>
                      <a:pt x="111" y="12"/>
                    </a:lnTo>
                    <a:lnTo>
                      <a:pt x="111" y="16"/>
                    </a:lnTo>
                    <a:lnTo>
                      <a:pt x="107" y="16"/>
                    </a:lnTo>
                    <a:lnTo>
                      <a:pt x="111" y="16"/>
                    </a:lnTo>
                    <a:lnTo>
                      <a:pt x="115" y="16"/>
                    </a:lnTo>
                    <a:lnTo>
                      <a:pt x="111" y="16"/>
                    </a:lnTo>
                    <a:lnTo>
                      <a:pt x="111" y="12"/>
                    </a:lnTo>
                    <a:lnTo>
                      <a:pt x="115" y="12"/>
                    </a:lnTo>
                    <a:lnTo>
                      <a:pt x="119" y="12"/>
                    </a:lnTo>
                    <a:lnTo>
                      <a:pt x="115" y="16"/>
                    </a:lnTo>
                    <a:lnTo>
                      <a:pt x="111" y="16"/>
                    </a:lnTo>
                    <a:lnTo>
                      <a:pt x="115" y="16"/>
                    </a:lnTo>
                    <a:lnTo>
                      <a:pt x="119" y="16"/>
                    </a:lnTo>
                    <a:lnTo>
                      <a:pt x="115" y="16"/>
                    </a:lnTo>
                    <a:lnTo>
                      <a:pt x="115" y="20"/>
                    </a:lnTo>
                    <a:lnTo>
                      <a:pt x="111" y="20"/>
                    </a:lnTo>
                    <a:lnTo>
                      <a:pt x="115" y="20"/>
                    </a:lnTo>
                    <a:lnTo>
                      <a:pt x="115" y="24"/>
                    </a:lnTo>
                    <a:lnTo>
                      <a:pt x="115" y="20"/>
                    </a:lnTo>
                    <a:lnTo>
                      <a:pt x="115" y="24"/>
                    </a:lnTo>
                    <a:lnTo>
                      <a:pt x="115" y="28"/>
                    </a:lnTo>
                    <a:lnTo>
                      <a:pt x="115" y="31"/>
                    </a:lnTo>
                    <a:lnTo>
                      <a:pt x="111" y="31"/>
                    </a:lnTo>
                    <a:lnTo>
                      <a:pt x="111" y="36"/>
                    </a:lnTo>
                    <a:lnTo>
                      <a:pt x="111" y="40"/>
                    </a:lnTo>
                    <a:lnTo>
                      <a:pt x="107" y="43"/>
                    </a:lnTo>
                    <a:lnTo>
                      <a:pt x="103" y="43"/>
                    </a:lnTo>
                    <a:lnTo>
                      <a:pt x="103" y="48"/>
                    </a:lnTo>
                    <a:lnTo>
                      <a:pt x="103" y="52"/>
                    </a:lnTo>
                    <a:lnTo>
                      <a:pt x="99" y="55"/>
                    </a:lnTo>
                    <a:lnTo>
                      <a:pt x="95" y="55"/>
                    </a:lnTo>
                    <a:lnTo>
                      <a:pt x="95" y="59"/>
                    </a:lnTo>
                    <a:lnTo>
                      <a:pt x="91" y="59"/>
                    </a:lnTo>
                    <a:lnTo>
                      <a:pt x="95" y="67"/>
                    </a:lnTo>
                    <a:lnTo>
                      <a:pt x="99" y="67"/>
                    </a:lnTo>
                    <a:lnTo>
                      <a:pt x="99" y="71"/>
                    </a:lnTo>
                    <a:lnTo>
                      <a:pt x="95" y="71"/>
                    </a:lnTo>
                    <a:lnTo>
                      <a:pt x="95" y="67"/>
                    </a:lnTo>
                    <a:lnTo>
                      <a:pt x="95" y="71"/>
                    </a:lnTo>
                    <a:lnTo>
                      <a:pt x="91" y="71"/>
                    </a:lnTo>
                    <a:lnTo>
                      <a:pt x="91" y="67"/>
                    </a:lnTo>
                    <a:lnTo>
                      <a:pt x="87" y="67"/>
                    </a:lnTo>
                    <a:lnTo>
                      <a:pt x="87" y="71"/>
                    </a:lnTo>
                    <a:lnTo>
                      <a:pt x="83" y="71"/>
                    </a:lnTo>
                    <a:lnTo>
                      <a:pt x="83" y="75"/>
                    </a:lnTo>
                    <a:lnTo>
                      <a:pt x="79" y="75"/>
                    </a:lnTo>
                    <a:lnTo>
                      <a:pt x="75" y="75"/>
                    </a:lnTo>
                    <a:lnTo>
                      <a:pt x="75" y="79"/>
                    </a:lnTo>
                    <a:lnTo>
                      <a:pt x="71" y="79"/>
                    </a:lnTo>
                    <a:lnTo>
                      <a:pt x="71" y="83"/>
                    </a:lnTo>
                    <a:lnTo>
                      <a:pt x="71" y="87"/>
                    </a:lnTo>
                    <a:lnTo>
                      <a:pt x="71" y="91"/>
                    </a:lnTo>
                    <a:lnTo>
                      <a:pt x="71" y="95"/>
                    </a:lnTo>
                    <a:lnTo>
                      <a:pt x="67" y="95"/>
                    </a:lnTo>
                    <a:lnTo>
                      <a:pt x="67" y="99"/>
                    </a:lnTo>
                    <a:lnTo>
                      <a:pt x="63" y="103"/>
                    </a:lnTo>
                    <a:lnTo>
                      <a:pt x="63" y="107"/>
                    </a:lnTo>
                    <a:lnTo>
                      <a:pt x="63" y="111"/>
                    </a:lnTo>
                    <a:lnTo>
                      <a:pt x="59" y="111"/>
                    </a:lnTo>
                    <a:lnTo>
                      <a:pt x="59" y="115"/>
                    </a:lnTo>
                    <a:lnTo>
                      <a:pt x="63" y="115"/>
                    </a:lnTo>
                    <a:lnTo>
                      <a:pt x="63" y="111"/>
                    </a:lnTo>
                    <a:lnTo>
                      <a:pt x="63" y="115"/>
                    </a:lnTo>
                    <a:lnTo>
                      <a:pt x="59" y="115"/>
                    </a:lnTo>
                    <a:lnTo>
                      <a:pt x="55" y="115"/>
                    </a:lnTo>
                    <a:lnTo>
                      <a:pt x="55" y="119"/>
                    </a:lnTo>
                    <a:lnTo>
                      <a:pt x="51" y="123"/>
                    </a:lnTo>
                    <a:lnTo>
                      <a:pt x="51" y="127"/>
                    </a:lnTo>
                    <a:lnTo>
                      <a:pt x="47" y="127"/>
                    </a:lnTo>
                    <a:lnTo>
                      <a:pt x="43" y="131"/>
                    </a:lnTo>
                    <a:lnTo>
                      <a:pt x="39" y="131"/>
                    </a:lnTo>
                    <a:lnTo>
                      <a:pt x="35" y="131"/>
                    </a:lnTo>
                    <a:lnTo>
                      <a:pt x="35" y="127"/>
                    </a:lnTo>
                    <a:lnTo>
                      <a:pt x="31" y="127"/>
                    </a:lnTo>
                    <a:lnTo>
                      <a:pt x="31" y="131"/>
                    </a:lnTo>
                    <a:lnTo>
                      <a:pt x="27" y="131"/>
                    </a:lnTo>
                    <a:lnTo>
                      <a:pt x="27" y="127"/>
                    </a:lnTo>
                    <a:lnTo>
                      <a:pt x="31" y="131"/>
                    </a:lnTo>
                    <a:lnTo>
                      <a:pt x="31" y="127"/>
                    </a:lnTo>
                    <a:lnTo>
                      <a:pt x="27" y="127"/>
                    </a:lnTo>
                    <a:lnTo>
                      <a:pt x="27" y="131"/>
                    </a:lnTo>
                    <a:lnTo>
                      <a:pt x="27" y="127"/>
                    </a:lnTo>
                    <a:lnTo>
                      <a:pt x="23" y="123"/>
                    </a:lnTo>
                    <a:lnTo>
                      <a:pt x="20" y="123"/>
                    </a:lnTo>
                    <a:lnTo>
                      <a:pt x="16" y="119"/>
                    </a:lnTo>
                    <a:lnTo>
                      <a:pt x="12" y="119"/>
                    </a:lnTo>
                    <a:lnTo>
                      <a:pt x="12" y="123"/>
                    </a:lnTo>
                    <a:lnTo>
                      <a:pt x="8" y="123"/>
                    </a:lnTo>
                    <a:lnTo>
                      <a:pt x="4" y="123"/>
                    </a:lnTo>
                    <a:lnTo>
                      <a:pt x="4" y="119"/>
                    </a:lnTo>
                    <a:lnTo>
                      <a:pt x="0" y="119"/>
                    </a:lnTo>
                    <a:lnTo>
                      <a:pt x="4" y="119"/>
                    </a:lnTo>
                    <a:lnTo>
                      <a:pt x="4" y="115"/>
                    </a:lnTo>
                    <a:lnTo>
                      <a:pt x="8" y="115"/>
                    </a:lnTo>
                    <a:lnTo>
                      <a:pt x="4" y="115"/>
                    </a:lnTo>
                    <a:lnTo>
                      <a:pt x="4" y="119"/>
                    </a:lnTo>
                    <a:lnTo>
                      <a:pt x="0" y="119"/>
                    </a:lnTo>
                    <a:lnTo>
                      <a:pt x="0" y="115"/>
                    </a:lnTo>
                    <a:lnTo>
                      <a:pt x="0" y="111"/>
                    </a:lnTo>
                    <a:lnTo>
                      <a:pt x="4" y="111"/>
                    </a:lnTo>
                    <a:lnTo>
                      <a:pt x="8" y="111"/>
                    </a:lnTo>
                    <a:lnTo>
                      <a:pt x="4" y="111"/>
                    </a:lnTo>
                    <a:lnTo>
                      <a:pt x="4" y="107"/>
                    </a:lnTo>
                    <a:lnTo>
                      <a:pt x="8" y="107"/>
                    </a:lnTo>
                    <a:lnTo>
                      <a:pt x="4" y="107"/>
                    </a:lnTo>
                    <a:lnTo>
                      <a:pt x="4" y="103"/>
                    </a:lnTo>
                    <a:lnTo>
                      <a:pt x="4" y="99"/>
                    </a:lnTo>
                    <a:lnTo>
                      <a:pt x="8" y="103"/>
                    </a:lnTo>
                    <a:lnTo>
                      <a:pt x="12" y="103"/>
                    </a:lnTo>
                  </a:path>
                </a:pathLst>
              </a:custGeom>
              <a:grpFill/>
              <a:ln w="635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44450" tIns="44450" rIns="44450" bIns="44450"/>
              <a:lstStyle/>
              <a:p>
                <a:endParaRPr lang="en-US" dirty="0"/>
              </a:p>
            </p:txBody>
          </p:sp>
        </p:grpSp>
        <p:sp>
          <p:nvSpPr>
            <p:cNvPr id="194" name="Freeform 269"/>
            <p:cNvSpPr>
              <a:spLocks noEditPoints="1"/>
            </p:cNvSpPr>
            <p:nvPr>
              <p:custDataLst>
                <p:tags r:id="rId387"/>
              </p:custDataLst>
            </p:nvPr>
          </p:nvSpPr>
          <p:spPr bwMode="gray">
            <a:xfrm>
              <a:off x="7890922" y="4784304"/>
              <a:ext cx="218010" cy="117163"/>
            </a:xfrm>
            <a:custGeom>
              <a:avLst/>
              <a:gdLst/>
              <a:ahLst/>
              <a:cxnLst>
                <a:cxn ang="0">
                  <a:pos x="5" y="6"/>
                </a:cxn>
                <a:cxn ang="0">
                  <a:pos x="6" y="3"/>
                </a:cxn>
                <a:cxn ang="0">
                  <a:pos x="10" y="7"/>
                </a:cxn>
                <a:cxn ang="0">
                  <a:pos x="32" y="18"/>
                </a:cxn>
                <a:cxn ang="0">
                  <a:pos x="20" y="9"/>
                </a:cxn>
                <a:cxn ang="0">
                  <a:pos x="32" y="18"/>
                </a:cxn>
                <a:cxn ang="0">
                  <a:pos x="1" y="10"/>
                </a:cxn>
                <a:cxn ang="0">
                  <a:pos x="2" y="13"/>
                </a:cxn>
                <a:cxn ang="0">
                  <a:pos x="5" y="14"/>
                </a:cxn>
                <a:cxn ang="0">
                  <a:pos x="7" y="12"/>
                </a:cxn>
                <a:cxn ang="0">
                  <a:pos x="13" y="19"/>
                </a:cxn>
                <a:cxn ang="0">
                  <a:pos x="8" y="16"/>
                </a:cxn>
                <a:cxn ang="0">
                  <a:pos x="13" y="16"/>
                </a:cxn>
                <a:cxn ang="0">
                  <a:pos x="13" y="19"/>
                </a:cxn>
                <a:cxn ang="0">
                  <a:pos x="8" y="19"/>
                </a:cxn>
                <a:cxn ang="0">
                  <a:pos x="9" y="20"/>
                </a:cxn>
                <a:cxn ang="0">
                  <a:pos x="14" y="19"/>
                </a:cxn>
                <a:cxn ang="0">
                  <a:pos x="15" y="20"/>
                </a:cxn>
                <a:cxn ang="0">
                  <a:pos x="89" y="39"/>
                </a:cxn>
                <a:cxn ang="0">
                  <a:pos x="90" y="41"/>
                </a:cxn>
                <a:cxn ang="0">
                  <a:pos x="33" y="47"/>
                </a:cxn>
                <a:cxn ang="0">
                  <a:pos x="39" y="50"/>
                </a:cxn>
                <a:cxn ang="0">
                  <a:pos x="47" y="29"/>
                </a:cxn>
                <a:cxn ang="0">
                  <a:pos x="39" y="16"/>
                </a:cxn>
                <a:cxn ang="0">
                  <a:pos x="43" y="19"/>
                </a:cxn>
                <a:cxn ang="0">
                  <a:pos x="46" y="24"/>
                </a:cxn>
                <a:cxn ang="0">
                  <a:pos x="40" y="32"/>
                </a:cxn>
                <a:cxn ang="0">
                  <a:pos x="30" y="26"/>
                </a:cxn>
                <a:cxn ang="0">
                  <a:pos x="42" y="31"/>
                </a:cxn>
                <a:cxn ang="0">
                  <a:pos x="56" y="41"/>
                </a:cxn>
                <a:cxn ang="0">
                  <a:pos x="46" y="34"/>
                </a:cxn>
                <a:cxn ang="0">
                  <a:pos x="56" y="39"/>
                </a:cxn>
              </a:cxnLst>
              <a:rect l="0" t="0" r="r" b="b"/>
              <a:pathLst>
                <a:path w="92" h="50">
                  <a:moveTo>
                    <a:pt x="10" y="8"/>
                  </a:moveTo>
                  <a:lnTo>
                    <a:pt x="5" y="6"/>
                  </a:lnTo>
                  <a:lnTo>
                    <a:pt x="0" y="0"/>
                  </a:lnTo>
                  <a:lnTo>
                    <a:pt x="6" y="3"/>
                  </a:lnTo>
                  <a:lnTo>
                    <a:pt x="7" y="5"/>
                  </a:lnTo>
                  <a:lnTo>
                    <a:pt x="10" y="7"/>
                  </a:lnTo>
                  <a:lnTo>
                    <a:pt x="10" y="8"/>
                  </a:lnTo>
                  <a:close/>
                  <a:moveTo>
                    <a:pt x="32" y="18"/>
                  </a:moveTo>
                  <a:lnTo>
                    <a:pt x="23" y="13"/>
                  </a:lnTo>
                  <a:lnTo>
                    <a:pt x="20" y="9"/>
                  </a:lnTo>
                  <a:lnTo>
                    <a:pt x="32" y="16"/>
                  </a:lnTo>
                  <a:lnTo>
                    <a:pt x="32" y="18"/>
                  </a:lnTo>
                  <a:close/>
                  <a:moveTo>
                    <a:pt x="2" y="13"/>
                  </a:moveTo>
                  <a:lnTo>
                    <a:pt x="1" y="10"/>
                  </a:lnTo>
                  <a:lnTo>
                    <a:pt x="4" y="11"/>
                  </a:lnTo>
                  <a:lnTo>
                    <a:pt x="2" y="13"/>
                  </a:lnTo>
                  <a:close/>
                  <a:moveTo>
                    <a:pt x="7" y="15"/>
                  </a:moveTo>
                  <a:lnTo>
                    <a:pt x="5" y="14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7" y="15"/>
                  </a:lnTo>
                  <a:close/>
                  <a:moveTo>
                    <a:pt x="13" y="19"/>
                  </a:moveTo>
                  <a:lnTo>
                    <a:pt x="10" y="16"/>
                  </a:lnTo>
                  <a:lnTo>
                    <a:pt x="8" y="16"/>
                  </a:lnTo>
                  <a:lnTo>
                    <a:pt x="9" y="13"/>
                  </a:lnTo>
                  <a:lnTo>
                    <a:pt x="13" y="16"/>
                  </a:lnTo>
                  <a:lnTo>
                    <a:pt x="14" y="18"/>
                  </a:lnTo>
                  <a:lnTo>
                    <a:pt x="13" y="19"/>
                  </a:lnTo>
                  <a:close/>
                  <a:moveTo>
                    <a:pt x="9" y="20"/>
                  </a:moveTo>
                  <a:lnTo>
                    <a:pt x="8" y="19"/>
                  </a:lnTo>
                  <a:lnTo>
                    <a:pt x="9" y="17"/>
                  </a:lnTo>
                  <a:lnTo>
                    <a:pt x="9" y="20"/>
                  </a:lnTo>
                  <a:close/>
                  <a:moveTo>
                    <a:pt x="15" y="20"/>
                  </a:moveTo>
                  <a:lnTo>
                    <a:pt x="14" y="19"/>
                  </a:lnTo>
                  <a:lnTo>
                    <a:pt x="16" y="18"/>
                  </a:lnTo>
                  <a:lnTo>
                    <a:pt x="15" y="20"/>
                  </a:lnTo>
                  <a:close/>
                  <a:moveTo>
                    <a:pt x="90" y="41"/>
                  </a:moveTo>
                  <a:lnTo>
                    <a:pt x="89" y="39"/>
                  </a:lnTo>
                  <a:lnTo>
                    <a:pt x="92" y="39"/>
                  </a:lnTo>
                  <a:lnTo>
                    <a:pt x="90" y="41"/>
                  </a:lnTo>
                  <a:close/>
                  <a:moveTo>
                    <a:pt x="39" y="50"/>
                  </a:moveTo>
                  <a:lnTo>
                    <a:pt x="33" y="47"/>
                  </a:lnTo>
                  <a:lnTo>
                    <a:pt x="38" y="49"/>
                  </a:lnTo>
                  <a:lnTo>
                    <a:pt x="39" y="50"/>
                  </a:lnTo>
                  <a:close/>
                  <a:moveTo>
                    <a:pt x="46" y="24"/>
                  </a:moveTo>
                  <a:lnTo>
                    <a:pt x="47" y="29"/>
                  </a:lnTo>
                  <a:lnTo>
                    <a:pt x="42" y="24"/>
                  </a:lnTo>
                  <a:lnTo>
                    <a:pt x="39" y="16"/>
                  </a:lnTo>
                  <a:lnTo>
                    <a:pt x="42" y="17"/>
                  </a:lnTo>
                  <a:lnTo>
                    <a:pt x="43" y="19"/>
                  </a:lnTo>
                  <a:lnTo>
                    <a:pt x="43" y="21"/>
                  </a:lnTo>
                  <a:lnTo>
                    <a:pt x="46" y="24"/>
                  </a:lnTo>
                  <a:close/>
                  <a:moveTo>
                    <a:pt x="42" y="31"/>
                  </a:moveTo>
                  <a:lnTo>
                    <a:pt x="40" y="32"/>
                  </a:lnTo>
                  <a:lnTo>
                    <a:pt x="32" y="30"/>
                  </a:lnTo>
                  <a:lnTo>
                    <a:pt x="30" y="26"/>
                  </a:lnTo>
                  <a:lnTo>
                    <a:pt x="38" y="27"/>
                  </a:lnTo>
                  <a:lnTo>
                    <a:pt x="42" y="31"/>
                  </a:lnTo>
                  <a:close/>
                  <a:moveTo>
                    <a:pt x="56" y="39"/>
                  </a:moveTo>
                  <a:lnTo>
                    <a:pt x="56" y="41"/>
                  </a:lnTo>
                  <a:lnTo>
                    <a:pt x="51" y="39"/>
                  </a:lnTo>
                  <a:lnTo>
                    <a:pt x="46" y="34"/>
                  </a:lnTo>
                  <a:lnTo>
                    <a:pt x="54" y="37"/>
                  </a:lnTo>
                  <a:lnTo>
                    <a:pt x="56" y="39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5" name="Freeform 270"/>
            <p:cNvSpPr>
              <a:spLocks noEditPoints="1"/>
            </p:cNvSpPr>
            <p:nvPr>
              <p:custDataLst>
                <p:tags r:id="rId388"/>
              </p:custDataLst>
            </p:nvPr>
          </p:nvSpPr>
          <p:spPr bwMode="gray">
            <a:xfrm>
              <a:off x="8359570" y="5000831"/>
              <a:ext cx="60805" cy="71187"/>
            </a:xfrm>
            <a:custGeom>
              <a:avLst/>
              <a:gdLst/>
              <a:ahLst/>
              <a:cxnLst>
                <a:cxn ang="0">
                  <a:pos x="26" y="0"/>
                </a:cxn>
                <a:cxn ang="0">
                  <a:pos x="21" y="5"/>
                </a:cxn>
                <a:cxn ang="0">
                  <a:pos x="25" y="3"/>
                </a:cxn>
                <a:cxn ang="0">
                  <a:pos x="25" y="6"/>
                </a:cxn>
                <a:cxn ang="0">
                  <a:pos x="19" y="6"/>
                </a:cxn>
                <a:cxn ang="0">
                  <a:pos x="19" y="5"/>
                </a:cxn>
                <a:cxn ang="0">
                  <a:pos x="14" y="9"/>
                </a:cxn>
                <a:cxn ang="0">
                  <a:pos x="12" y="6"/>
                </a:cxn>
                <a:cxn ang="0">
                  <a:pos x="16" y="3"/>
                </a:cxn>
                <a:cxn ang="0">
                  <a:pos x="26" y="0"/>
                </a:cxn>
                <a:cxn ang="0">
                  <a:pos x="26" y="0"/>
                </a:cxn>
                <a:cxn ang="0">
                  <a:pos x="2" y="20"/>
                </a:cxn>
                <a:cxn ang="0">
                  <a:pos x="0" y="17"/>
                </a:cxn>
                <a:cxn ang="0">
                  <a:pos x="3" y="13"/>
                </a:cxn>
                <a:cxn ang="0">
                  <a:pos x="9" y="11"/>
                </a:cxn>
                <a:cxn ang="0">
                  <a:pos x="12" y="15"/>
                </a:cxn>
                <a:cxn ang="0">
                  <a:pos x="13" y="19"/>
                </a:cxn>
                <a:cxn ang="0">
                  <a:pos x="12" y="19"/>
                </a:cxn>
                <a:cxn ang="0">
                  <a:pos x="7" y="21"/>
                </a:cxn>
                <a:cxn ang="0">
                  <a:pos x="2" y="20"/>
                </a:cxn>
                <a:cxn ang="0">
                  <a:pos x="8" y="30"/>
                </a:cxn>
                <a:cxn ang="0">
                  <a:pos x="7" y="29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8" y="30"/>
                </a:cxn>
              </a:cxnLst>
              <a:rect l="0" t="0" r="r" b="b"/>
              <a:pathLst>
                <a:path w="26" h="30">
                  <a:moveTo>
                    <a:pt x="26" y="0"/>
                  </a:moveTo>
                  <a:lnTo>
                    <a:pt x="21" y="5"/>
                  </a:lnTo>
                  <a:lnTo>
                    <a:pt x="25" y="3"/>
                  </a:lnTo>
                  <a:lnTo>
                    <a:pt x="25" y="6"/>
                  </a:lnTo>
                  <a:lnTo>
                    <a:pt x="19" y="6"/>
                  </a:lnTo>
                  <a:lnTo>
                    <a:pt x="19" y="5"/>
                  </a:lnTo>
                  <a:lnTo>
                    <a:pt x="14" y="9"/>
                  </a:lnTo>
                  <a:lnTo>
                    <a:pt x="12" y="6"/>
                  </a:lnTo>
                  <a:lnTo>
                    <a:pt x="16" y="3"/>
                  </a:lnTo>
                  <a:lnTo>
                    <a:pt x="26" y="0"/>
                  </a:lnTo>
                  <a:lnTo>
                    <a:pt x="26" y="0"/>
                  </a:lnTo>
                  <a:close/>
                  <a:moveTo>
                    <a:pt x="2" y="20"/>
                  </a:moveTo>
                  <a:lnTo>
                    <a:pt x="0" y="17"/>
                  </a:lnTo>
                  <a:lnTo>
                    <a:pt x="3" y="13"/>
                  </a:lnTo>
                  <a:lnTo>
                    <a:pt x="9" y="11"/>
                  </a:lnTo>
                  <a:lnTo>
                    <a:pt x="12" y="15"/>
                  </a:lnTo>
                  <a:lnTo>
                    <a:pt x="13" y="19"/>
                  </a:lnTo>
                  <a:lnTo>
                    <a:pt x="12" y="19"/>
                  </a:lnTo>
                  <a:lnTo>
                    <a:pt x="7" y="21"/>
                  </a:lnTo>
                  <a:lnTo>
                    <a:pt x="2" y="20"/>
                  </a:lnTo>
                  <a:close/>
                  <a:moveTo>
                    <a:pt x="8" y="30"/>
                  </a:moveTo>
                  <a:lnTo>
                    <a:pt x="7" y="29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8" y="3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6" name="Freeform 271"/>
            <p:cNvSpPr>
              <a:spLocks noEditPoints="1"/>
            </p:cNvSpPr>
            <p:nvPr>
              <p:custDataLst>
                <p:tags r:id="rId389"/>
              </p:custDataLst>
            </p:nvPr>
          </p:nvSpPr>
          <p:spPr bwMode="gray">
            <a:xfrm>
              <a:off x="8117831" y="4965238"/>
              <a:ext cx="66737" cy="118645"/>
            </a:xfrm>
            <a:custGeom>
              <a:avLst/>
              <a:gdLst/>
              <a:ahLst/>
              <a:cxnLst>
                <a:cxn ang="0">
                  <a:pos x="5" y="5"/>
                </a:cxn>
                <a:cxn ang="0">
                  <a:pos x="7" y="9"/>
                </a:cxn>
                <a:cxn ang="0">
                  <a:pos x="2" y="10"/>
                </a:cxn>
                <a:cxn ang="0">
                  <a:pos x="0" y="0"/>
                </a:cxn>
                <a:cxn ang="0">
                  <a:pos x="3" y="5"/>
                </a:cxn>
                <a:cxn ang="0">
                  <a:pos x="4" y="3"/>
                </a:cxn>
                <a:cxn ang="0">
                  <a:pos x="5" y="5"/>
                </a:cxn>
                <a:cxn ang="0">
                  <a:pos x="18" y="32"/>
                </a:cxn>
                <a:cxn ang="0">
                  <a:pos x="15" y="30"/>
                </a:cxn>
                <a:cxn ang="0">
                  <a:pos x="17" y="29"/>
                </a:cxn>
                <a:cxn ang="0">
                  <a:pos x="19" y="30"/>
                </a:cxn>
                <a:cxn ang="0">
                  <a:pos x="18" y="32"/>
                </a:cxn>
                <a:cxn ang="0">
                  <a:pos x="26" y="43"/>
                </a:cxn>
                <a:cxn ang="0">
                  <a:pos x="23" y="42"/>
                </a:cxn>
                <a:cxn ang="0">
                  <a:pos x="24" y="40"/>
                </a:cxn>
                <a:cxn ang="0">
                  <a:pos x="26" y="42"/>
                </a:cxn>
                <a:cxn ang="0">
                  <a:pos x="26" y="43"/>
                </a:cxn>
                <a:cxn ang="0">
                  <a:pos x="27" y="50"/>
                </a:cxn>
                <a:cxn ang="0">
                  <a:pos x="26" y="48"/>
                </a:cxn>
                <a:cxn ang="0">
                  <a:pos x="26" y="47"/>
                </a:cxn>
                <a:cxn ang="0">
                  <a:pos x="28" y="48"/>
                </a:cxn>
                <a:cxn ang="0">
                  <a:pos x="27" y="50"/>
                </a:cxn>
                <a:cxn ang="0">
                  <a:pos x="12" y="9"/>
                </a:cxn>
                <a:cxn ang="0">
                  <a:pos x="11" y="8"/>
                </a:cxn>
                <a:cxn ang="0">
                  <a:pos x="14" y="7"/>
                </a:cxn>
                <a:cxn ang="0">
                  <a:pos x="12" y="9"/>
                </a:cxn>
                <a:cxn ang="0">
                  <a:pos x="9" y="19"/>
                </a:cxn>
                <a:cxn ang="0">
                  <a:pos x="8" y="15"/>
                </a:cxn>
                <a:cxn ang="0">
                  <a:pos x="6" y="14"/>
                </a:cxn>
                <a:cxn ang="0">
                  <a:pos x="7" y="12"/>
                </a:cxn>
                <a:cxn ang="0">
                  <a:pos x="12" y="18"/>
                </a:cxn>
                <a:cxn ang="0">
                  <a:pos x="9" y="19"/>
                </a:cxn>
                <a:cxn ang="0">
                  <a:pos x="15" y="17"/>
                </a:cxn>
                <a:cxn ang="0">
                  <a:pos x="13" y="16"/>
                </a:cxn>
                <a:cxn ang="0">
                  <a:pos x="15" y="14"/>
                </a:cxn>
                <a:cxn ang="0">
                  <a:pos x="17" y="17"/>
                </a:cxn>
                <a:cxn ang="0">
                  <a:pos x="15" y="17"/>
                </a:cxn>
                <a:cxn ang="0">
                  <a:pos x="18" y="22"/>
                </a:cxn>
                <a:cxn ang="0">
                  <a:pos x="15" y="21"/>
                </a:cxn>
                <a:cxn ang="0">
                  <a:pos x="15" y="19"/>
                </a:cxn>
                <a:cxn ang="0">
                  <a:pos x="18" y="22"/>
                </a:cxn>
              </a:cxnLst>
              <a:rect l="0" t="0" r="r" b="b"/>
              <a:pathLst>
                <a:path w="28" h="50">
                  <a:moveTo>
                    <a:pt x="5" y="5"/>
                  </a:moveTo>
                  <a:lnTo>
                    <a:pt x="7" y="9"/>
                  </a:lnTo>
                  <a:lnTo>
                    <a:pt x="2" y="10"/>
                  </a:lnTo>
                  <a:lnTo>
                    <a:pt x="0" y="0"/>
                  </a:lnTo>
                  <a:lnTo>
                    <a:pt x="3" y="5"/>
                  </a:lnTo>
                  <a:lnTo>
                    <a:pt x="4" y="3"/>
                  </a:lnTo>
                  <a:lnTo>
                    <a:pt x="5" y="5"/>
                  </a:lnTo>
                  <a:close/>
                  <a:moveTo>
                    <a:pt x="18" y="32"/>
                  </a:moveTo>
                  <a:lnTo>
                    <a:pt x="15" y="30"/>
                  </a:lnTo>
                  <a:lnTo>
                    <a:pt x="17" y="29"/>
                  </a:lnTo>
                  <a:lnTo>
                    <a:pt x="19" y="30"/>
                  </a:lnTo>
                  <a:lnTo>
                    <a:pt x="18" y="32"/>
                  </a:lnTo>
                  <a:close/>
                  <a:moveTo>
                    <a:pt x="26" y="43"/>
                  </a:moveTo>
                  <a:lnTo>
                    <a:pt x="23" y="42"/>
                  </a:lnTo>
                  <a:lnTo>
                    <a:pt x="24" y="40"/>
                  </a:lnTo>
                  <a:lnTo>
                    <a:pt x="26" y="42"/>
                  </a:lnTo>
                  <a:lnTo>
                    <a:pt x="26" y="43"/>
                  </a:lnTo>
                  <a:close/>
                  <a:moveTo>
                    <a:pt x="27" y="50"/>
                  </a:moveTo>
                  <a:lnTo>
                    <a:pt x="26" y="48"/>
                  </a:lnTo>
                  <a:lnTo>
                    <a:pt x="26" y="47"/>
                  </a:lnTo>
                  <a:lnTo>
                    <a:pt x="28" y="48"/>
                  </a:lnTo>
                  <a:lnTo>
                    <a:pt x="27" y="50"/>
                  </a:lnTo>
                  <a:close/>
                  <a:moveTo>
                    <a:pt x="12" y="9"/>
                  </a:moveTo>
                  <a:lnTo>
                    <a:pt x="11" y="8"/>
                  </a:lnTo>
                  <a:lnTo>
                    <a:pt x="14" y="7"/>
                  </a:lnTo>
                  <a:lnTo>
                    <a:pt x="12" y="9"/>
                  </a:lnTo>
                  <a:close/>
                  <a:moveTo>
                    <a:pt x="9" y="19"/>
                  </a:moveTo>
                  <a:lnTo>
                    <a:pt x="8" y="15"/>
                  </a:lnTo>
                  <a:lnTo>
                    <a:pt x="6" y="14"/>
                  </a:lnTo>
                  <a:lnTo>
                    <a:pt x="7" y="12"/>
                  </a:lnTo>
                  <a:lnTo>
                    <a:pt x="12" y="18"/>
                  </a:lnTo>
                  <a:lnTo>
                    <a:pt x="9" y="19"/>
                  </a:lnTo>
                  <a:close/>
                  <a:moveTo>
                    <a:pt x="15" y="17"/>
                  </a:moveTo>
                  <a:lnTo>
                    <a:pt x="13" y="16"/>
                  </a:lnTo>
                  <a:lnTo>
                    <a:pt x="15" y="14"/>
                  </a:lnTo>
                  <a:lnTo>
                    <a:pt x="17" y="17"/>
                  </a:lnTo>
                  <a:lnTo>
                    <a:pt x="15" y="17"/>
                  </a:lnTo>
                  <a:close/>
                  <a:moveTo>
                    <a:pt x="18" y="22"/>
                  </a:moveTo>
                  <a:lnTo>
                    <a:pt x="15" y="21"/>
                  </a:lnTo>
                  <a:lnTo>
                    <a:pt x="15" y="19"/>
                  </a:lnTo>
                  <a:lnTo>
                    <a:pt x="18" y="2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7" name="Freeform 272"/>
            <p:cNvSpPr>
              <a:spLocks noEditPoints="1"/>
            </p:cNvSpPr>
            <p:nvPr>
              <p:custDataLst>
                <p:tags r:id="rId390"/>
              </p:custDataLst>
            </p:nvPr>
          </p:nvSpPr>
          <p:spPr bwMode="gray">
            <a:xfrm>
              <a:off x="8058509" y="5092781"/>
              <a:ext cx="94916" cy="54874"/>
            </a:xfrm>
            <a:custGeom>
              <a:avLst/>
              <a:gdLst/>
              <a:ahLst/>
              <a:cxnLst>
                <a:cxn ang="0">
                  <a:pos x="15" y="10"/>
                </a:cxn>
                <a:cxn ang="0">
                  <a:pos x="29" y="20"/>
                </a:cxn>
                <a:cxn ang="0">
                  <a:pos x="29" y="23"/>
                </a:cxn>
                <a:cxn ang="0">
                  <a:pos x="24" y="23"/>
                </a:cxn>
                <a:cxn ang="0">
                  <a:pos x="21" y="19"/>
                </a:cxn>
                <a:cxn ang="0">
                  <a:pos x="13" y="15"/>
                </a:cxn>
                <a:cxn ang="0">
                  <a:pos x="5" y="7"/>
                </a:cxn>
                <a:cxn ang="0">
                  <a:pos x="0" y="0"/>
                </a:cxn>
                <a:cxn ang="0">
                  <a:pos x="13" y="7"/>
                </a:cxn>
                <a:cxn ang="0">
                  <a:pos x="15" y="10"/>
                </a:cxn>
                <a:cxn ang="0">
                  <a:pos x="33" y="11"/>
                </a:cxn>
                <a:cxn ang="0">
                  <a:pos x="30" y="9"/>
                </a:cxn>
                <a:cxn ang="0">
                  <a:pos x="31" y="8"/>
                </a:cxn>
                <a:cxn ang="0">
                  <a:pos x="30" y="6"/>
                </a:cxn>
                <a:cxn ang="0">
                  <a:pos x="32" y="6"/>
                </a:cxn>
                <a:cxn ang="0">
                  <a:pos x="32" y="8"/>
                </a:cxn>
                <a:cxn ang="0">
                  <a:pos x="34" y="10"/>
                </a:cxn>
                <a:cxn ang="0">
                  <a:pos x="33" y="11"/>
                </a:cxn>
                <a:cxn ang="0">
                  <a:pos x="39" y="16"/>
                </a:cxn>
                <a:cxn ang="0">
                  <a:pos x="37" y="13"/>
                </a:cxn>
                <a:cxn ang="0">
                  <a:pos x="40" y="14"/>
                </a:cxn>
                <a:cxn ang="0">
                  <a:pos x="40" y="16"/>
                </a:cxn>
                <a:cxn ang="0">
                  <a:pos x="39" y="16"/>
                </a:cxn>
              </a:cxnLst>
              <a:rect l="0" t="0" r="r" b="b"/>
              <a:pathLst>
                <a:path w="40" h="23">
                  <a:moveTo>
                    <a:pt x="15" y="10"/>
                  </a:moveTo>
                  <a:lnTo>
                    <a:pt x="29" y="20"/>
                  </a:lnTo>
                  <a:lnTo>
                    <a:pt x="29" y="23"/>
                  </a:lnTo>
                  <a:lnTo>
                    <a:pt x="24" y="23"/>
                  </a:lnTo>
                  <a:lnTo>
                    <a:pt x="21" y="19"/>
                  </a:lnTo>
                  <a:lnTo>
                    <a:pt x="13" y="15"/>
                  </a:lnTo>
                  <a:lnTo>
                    <a:pt x="5" y="7"/>
                  </a:lnTo>
                  <a:lnTo>
                    <a:pt x="0" y="0"/>
                  </a:lnTo>
                  <a:lnTo>
                    <a:pt x="13" y="7"/>
                  </a:lnTo>
                  <a:lnTo>
                    <a:pt x="15" y="10"/>
                  </a:lnTo>
                  <a:close/>
                  <a:moveTo>
                    <a:pt x="33" y="11"/>
                  </a:moveTo>
                  <a:lnTo>
                    <a:pt x="30" y="9"/>
                  </a:lnTo>
                  <a:lnTo>
                    <a:pt x="31" y="8"/>
                  </a:lnTo>
                  <a:lnTo>
                    <a:pt x="30" y="6"/>
                  </a:lnTo>
                  <a:lnTo>
                    <a:pt x="32" y="6"/>
                  </a:lnTo>
                  <a:lnTo>
                    <a:pt x="32" y="8"/>
                  </a:lnTo>
                  <a:lnTo>
                    <a:pt x="34" y="10"/>
                  </a:lnTo>
                  <a:lnTo>
                    <a:pt x="33" y="11"/>
                  </a:lnTo>
                  <a:close/>
                  <a:moveTo>
                    <a:pt x="39" y="16"/>
                  </a:moveTo>
                  <a:lnTo>
                    <a:pt x="37" y="13"/>
                  </a:lnTo>
                  <a:lnTo>
                    <a:pt x="40" y="14"/>
                  </a:lnTo>
                  <a:lnTo>
                    <a:pt x="40" y="16"/>
                  </a:lnTo>
                  <a:lnTo>
                    <a:pt x="39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8" name="Rectangle 203"/>
            <p:cNvSpPr>
              <a:spLocks noChangeArrowheads="1"/>
            </p:cNvSpPr>
            <p:nvPr>
              <p:custDataLst>
                <p:tags r:id="rId391"/>
              </p:custDataLst>
            </p:nvPr>
          </p:nvSpPr>
          <p:spPr bwMode="gray">
            <a:xfrm>
              <a:off x="425179" y="3830694"/>
              <a:ext cx="2966" cy="2966"/>
            </a:xfrm>
            <a:prstGeom prst="rect">
              <a:avLst/>
            </a:prstGeom>
            <a:grpFill/>
            <a:ln w="6350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199" name="Freeform 273"/>
            <p:cNvSpPr>
              <a:spLocks/>
            </p:cNvSpPr>
            <p:nvPr>
              <p:custDataLst>
                <p:tags r:id="rId392"/>
              </p:custDataLst>
            </p:nvPr>
          </p:nvSpPr>
          <p:spPr bwMode="gray">
            <a:xfrm>
              <a:off x="6778624" y="4879220"/>
              <a:ext cx="2966" cy="2966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1"/>
                </a:cxn>
                <a:cxn ang="0">
                  <a:pos x="1" y="1"/>
                </a:cxn>
                <a:cxn ang="0">
                  <a:pos x="0" y="1"/>
                </a:cxn>
                <a:cxn ang="0">
                  <a:pos x="1" y="0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0" name="Freeform 275"/>
            <p:cNvSpPr>
              <a:spLocks/>
            </p:cNvSpPr>
            <p:nvPr>
              <p:custDataLst>
                <p:tags r:id="rId393"/>
              </p:custDataLst>
            </p:nvPr>
          </p:nvSpPr>
          <p:spPr bwMode="gray">
            <a:xfrm>
              <a:off x="7674395" y="4186629"/>
              <a:ext cx="7416" cy="10382"/>
            </a:xfrm>
            <a:custGeom>
              <a:avLst/>
              <a:gdLst/>
              <a:ahLst/>
              <a:cxnLst>
                <a:cxn ang="0">
                  <a:pos x="1" y="4"/>
                </a:cxn>
                <a:cxn ang="0">
                  <a:pos x="0" y="3"/>
                </a:cxn>
                <a:cxn ang="0">
                  <a:pos x="3" y="0"/>
                </a:cxn>
                <a:cxn ang="0">
                  <a:pos x="1" y="4"/>
                </a:cxn>
              </a:cxnLst>
              <a:rect l="0" t="0" r="r" b="b"/>
              <a:pathLst>
                <a:path w="3" h="4">
                  <a:moveTo>
                    <a:pt x="1" y="4"/>
                  </a:moveTo>
                  <a:lnTo>
                    <a:pt x="0" y="3"/>
                  </a:lnTo>
                  <a:lnTo>
                    <a:pt x="3" y="0"/>
                  </a:lnTo>
                  <a:lnTo>
                    <a:pt x="1" y="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1" name="Freeform 276"/>
            <p:cNvSpPr>
              <a:spLocks/>
            </p:cNvSpPr>
            <p:nvPr>
              <p:custDataLst>
                <p:tags r:id="rId394"/>
              </p:custDataLst>
            </p:nvPr>
          </p:nvSpPr>
          <p:spPr bwMode="gray">
            <a:xfrm>
              <a:off x="7698124" y="4151035"/>
              <a:ext cx="2966" cy="5932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2"/>
                </a:cxn>
                <a:cxn ang="0">
                  <a:pos x="0" y="1"/>
                </a:cxn>
                <a:cxn ang="0">
                  <a:pos x="1" y="0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1" y="2"/>
                  </a:lnTo>
                  <a:lnTo>
                    <a:pt x="0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2" name="Freeform 277"/>
            <p:cNvSpPr>
              <a:spLocks/>
            </p:cNvSpPr>
            <p:nvPr>
              <p:custDataLst>
                <p:tags r:id="rId395"/>
              </p:custDataLst>
            </p:nvPr>
          </p:nvSpPr>
          <p:spPr bwMode="gray">
            <a:xfrm>
              <a:off x="7429690" y="4379427"/>
              <a:ext cx="2966" cy="445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0" y="2"/>
                </a:cxn>
                <a:cxn ang="0">
                  <a:pos x="0" y="1"/>
                </a:cxn>
                <a:cxn ang="0">
                  <a:pos x="0" y="0"/>
                </a:cxn>
                <a:cxn ang="0">
                  <a:pos x="1" y="0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3" name="Freeform 278"/>
            <p:cNvSpPr>
              <a:spLocks/>
            </p:cNvSpPr>
            <p:nvPr>
              <p:custDataLst>
                <p:tags r:id="rId396"/>
              </p:custDataLst>
            </p:nvPr>
          </p:nvSpPr>
          <p:spPr bwMode="gray">
            <a:xfrm>
              <a:off x="7933931" y="4358664"/>
              <a:ext cx="2966" cy="4450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0" y="0"/>
                </a:cxn>
                <a:cxn ang="0">
                  <a:pos x="1" y="0"/>
                </a:cxn>
                <a:cxn ang="0">
                  <a:pos x="0" y="2"/>
                </a:cxn>
              </a:cxnLst>
              <a:rect l="0" t="0" r="r" b="b"/>
              <a:pathLst>
                <a:path w="1" h="2">
                  <a:moveTo>
                    <a:pt x="0" y="2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4" name="Freeform 279"/>
            <p:cNvSpPr>
              <a:spLocks/>
            </p:cNvSpPr>
            <p:nvPr>
              <p:custDataLst>
                <p:tags r:id="rId397"/>
              </p:custDataLst>
            </p:nvPr>
          </p:nvSpPr>
          <p:spPr bwMode="gray">
            <a:xfrm>
              <a:off x="8114865" y="4054637"/>
              <a:ext cx="1483" cy="2966"/>
            </a:xfrm>
            <a:custGeom>
              <a:avLst/>
              <a:gdLst/>
              <a:ahLst/>
              <a:cxnLst>
                <a:cxn ang="0">
                  <a:pos x="0" y="1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0" y="1"/>
                </a:cxn>
                <a:cxn ang="0">
                  <a:pos x="0" y="1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5" name="Freeform 280"/>
            <p:cNvSpPr>
              <a:spLocks/>
            </p:cNvSpPr>
            <p:nvPr>
              <p:custDataLst>
                <p:tags r:id="rId398"/>
              </p:custDataLst>
            </p:nvPr>
          </p:nvSpPr>
          <p:spPr bwMode="gray">
            <a:xfrm>
              <a:off x="8159357" y="4348283"/>
              <a:ext cx="4449" cy="296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" y="0"/>
                </a:cxn>
                <a:cxn ang="0">
                  <a:pos x="2" y="0"/>
                </a:cxn>
                <a:cxn ang="0">
                  <a:pos x="1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6" name="Freeform 375"/>
            <p:cNvSpPr>
              <a:spLocks noEditPoints="1"/>
            </p:cNvSpPr>
            <p:nvPr>
              <p:custDataLst>
                <p:tags r:id="rId399"/>
              </p:custDataLst>
            </p:nvPr>
          </p:nvSpPr>
          <p:spPr bwMode="gray">
            <a:xfrm>
              <a:off x="2987913" y="6099782"/>
              <a:ext cx="75636" cy="38560"/>
            </a:xfrm>
            <a:custGeom>
              <a:avLst/>
              <a:gdLst/>
              <a:ahLst/>
              <a:cxnLst>
                <a:cxn ang="0">
                  <a:pos x="20" y="8"/>
                </a:cxn>
                <a:cxn ang="0">
                  <a:pos x="18" y="4"/>
                </a:cxn>
                <a:cxn ang="0">
                  <a:pos x="21" y="0"/>
                </a:cxn>
                <a:cxn ang="0">
                  <a:pos x="26" y="0"/>
                </a:cxn>
                <a:cxn ang="0">
                  <a:pos x="26" y="2"/>
                </a:cxn>
                <a:cxn ang="0">
                  <a:pos x="24" y="2"/>
                </a:cxn>
                <a:cxn ang="0">
                  <a:pos x="27" y="5"/>
                </a:cxn>
                <a:cxn ang="0">
                  <a:pos x="27" y="1"/>
                </a:cxn>
                <a:cxn ang="0">
                  <a:pos x="30" y="1"/>
                </a:cxn>
                <a:cxn ang="0">
                  <a:pos x="31" y="4"/>
                </a:cxn>
                <a:cxn ang="0">
                  <a:pos x="28" y="4"/>
                </a:cxn>
                <a:cxn ang="0">
                  <a:pos x="32" y="6"/>
                </a:cxn>
                <a:cxn ang="0">
                  <a:pos x="26" y="9"/>
                </a:cxn>
                <a:cxn ang="0">
                  <a:pos x="21" y="8"/>
                </a:cxn>
                <a:cxn ang="0">
                  <a:pos x="23" y="12"/>
                </a:cxn>
                <a:cxn ang="0">
                  <a:pos x="18" y="11"/>
                </a:cxn>
                <a:cxn ang="0">
                  <a:pos x="19" y="14"/>
                </a:cxn>
                <a:cxn ang="0">
                  <a:pos x="16" y="13"/>
                </a:cxn>
                <a:cxn ang="0">
                  <a:pos x="16" y="16"/>
                </a:cxn>
                <a:cxn ang="0">
                  <a:pos x="13" y="12"/>
                </a:cxn>
                <a:cxn ang="0">
                  <a:pos x="18" y="6"/>
                </a:cxn>
                <a:cxn ang="0">
                  <a:pos x="20" y="8"/>
                </a:cxn>
                <a:cxn ang="0">
                  <a:pos x="7" y="8"/>
                </a:cxn>
                <a:cxn ang="0">
                  <a:pos x="9" y="6"/>
                </a:cxn>
                <a:cxn ang="0">
                  <a:pos x="4" y="5"/>
                </a:cxn>
                <a:cxn ang="0">
                  <a:pos x="9" y="5"/>
                </a:cxn>
                <a:cxn ang="0">
                  <a:pos x="4" y="1"/>
                </a:cxn>
                <a:cxn ang="0">
                  <a:pos x="9" y="3"/>
                </a:cxn>
                <a:cxn ang="0">
                  <a:pos x="10" y="1"/>
                </a:cxn>
                <a:cxn ang="0">
                  <a:pos x="18" y="1"/>
                </a:cxn>
                <a:cxn ang="0">
                  <a:pos x="7" y="13"/>
                </a:cxn>
                <a:cxn ang="0">
                  <a:pos x="4" y="15"/>
                </a:cxn>
                <a:cxn ang="0">
                  <a:pos x="1" y="12"/>
                </a:cxn>
                <a:cxn ang="0">
                  <a:pos x="6" y="10"/>
                </a:cxn>
                <a:cxn ang="0">
                  <a:pos x="6" y="7"/>
                </a:cxn>
                <a:cxn ang="0">
                  <a:pos x="7" y="8"/>
                </a:cxn>
                <a:cxn ang="0">
                  <a:pos x="1" y="10"/>
                </a:cxn>
                <a:cxn ang="0">
                  <a:pos x="0" y="8"/>
                </a:cxn>
                <a:cxn ang="0">
                  <a:pos x="2" y="8"/>
                </a:cxn>
                <a:cxn ang="0">
                  <a:pos x="1" y="10"/>
                </a:cxn>
              </a:cxnLst>
              <a:rect l="0" t="0" r="r" b="b"/>
              <a:pathLst>
                <a:path w="32" h="16">
                  <a:moveTo>
                    <a:pt x="20" y="8"/>
                  </a:moveTo>
                  <a:lnTo>
                    <a:pt x="18" y="4"/>
                  </a:lnTo>
                  <a:lnTo>
                    <a:pt x="21" y="0"/>
                  </a:lnTo>
                  <a:lnTo>
                    <a:pt x="26" y="0"/>
                  </a:lnTo>
                  <a:lnTo>
                    <a:pt x="26" y="2"/>
                  </a:lnTo>
                  <a:lnTo>
                    <a:pt x="24" y="2"/>
                  </a:lnTo>
                  <a:lnTo>
                    <a:pt x="27" y="5"/>
                  </a:lnTo>
                  <a:lnTo>
                    <a:pt x="27" y="1"/>
                  </a:lnTo>
                  <a:lnTo>
                    <a:pt x="30" y="1"/>
                  </a:lnTo>
                  <a:lnTo>
                    <a:pt x="31" y="4"/>
                  </a:lnTo>
                  <a:lnTo>
                    <a:pt x="28" y="4"/>
                  </a:lnTo>
                  <a:lnTo>
                    <a:pt x="32" y="6"/>
                  </a:lnTo>
                  <a:lnTo>
                    <a:pt x="26" y="9"/>
                  </a:lnTo>
                  <a:lnTo>
                    <a:pt x="21" y="8"/>
                  </a:lnTo>
                  <a:lnTo>
                    <a:pt x="23" y="12"/>
                  </a:lnTo>
                  <a:lnTo>
                    <a:pt x="18" y="11"/>
                  </a:lnTo>
                  <a:lnTo>
                    <a:pt x="19" y="14"/>
                  </a:lnTo>
                  <a:lnTo>
                    <a:pt x="16" y="13"/>
                  </a:lnTo>
                  <a:lnTo>
                    <a:pt x="16" y="16"/>
                  </a:lnTo>
                  <a:lnTo>
                    <a:pt x="13" y="12"/>
                  </a:lnTo>
                  <a:lnTo>
                    <a:pt x="18" y="6"/>
                  </a:lnTo>
                  <a:lnTo>
                    <a:pt x="20" y="8"/>
                  </a:lnTo>
                  <a:close/>
                  <a:moveTo>
                    <a:pt x="7" y="8"/>
                  </a:moveTo>
                  <a:lnTo>
                    <a:pt x="9" y="6"/>
                  </a:lnTo>
                  <a:lnTo>
                    <a:pt x="4" y="5"/>
                  </a:lnTo>
                  <a:lnTo>
                    <a:pt x="9" y="5"/>
                  </a:lnTo>
                  <a:lnTo>
                    <a:pt x="4" y="1"/>
                  </a:lnTo>
                  <a:lnTo>
                    <a:pt x="9" y="3"/>
                  </a:lnTo>
                  <a:lnTo>
                    <a:pt x="10" y="1"/>
                  </a:lnTo>
                  <a:lnTo>
                    <a:pt x="18" y="1"/>
                  </a:lnTo>
                  <a:lnTo>
                    <a:pt x="7" y="13"/>
                  </a:lnTo>
                  <a:lnTo>
                    <a:pt x="4" y="15"/>
                  </a:lnTo>
                  <a:lnTo>
                    <a:pt x="1" y="12"/>
                  </a:lnTo>
                  <a:lnTo>
                    <a:pt x="6" y="10"/>
                  </a:lnTo>
                  <a:lnTo>
                    <a:pt x="6" y="7"/>
                  </a:lnTo>
                  <a:lnTo>
                    <a:pt x="7" y="8"/>
                  </a:lnTo>
                  <a:close/>
                  <a:moveTo>
                    <a:pt x="1" y="10"/>
                  </a:moveTo>
                  <a:lnTo>
                    <a:pt x="0" y="8"/>
                  </a:lnTo>
                  <a:lnTo>
                    <a:pt x="2" y="8"/>
                  </a:lnTo>
                  <a:lnTo>
                    <a:pt x="1" y="1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07" name="Freeform 402"/>
            <p:cNvSpPr>
              <a:spLocks/>
            </p:cNvSpPr>
            <p:nvPr>
              <p:custDataLst>
                <p:tags r:id="rId400"/>
              </p:custDataLst>
            </p:nvPr>
          </p:nvSpPr>
          <p:spPr bwMode="gray">
            <a:xfrm>
              <a:off x="2936006" y="3677939"/>
              <a:ext cx="2966" cy="4450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1" y="1"/>
                </a:cxn>
                <a:cxn ang="0">
                  <a:pos x="0" y="2"/>
                </a:cxn>
                <a:cxn ang="0">
                  <a:pos x="1" y="0"/>
                </a:cxn>
                <a:cxn ang="0">
                  <a:pos x="1" y="0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lnTo>
                    <a:pt x="1" y="1"/>
                  </a:lnTo>
                  <a:lnTo>
                    <a:pt x="0" y="2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grpSp>
          <p:nvGrpSpPr>
            <p:cNvPr id="208" name="Group 195"/>
            <p:cNvGrpSpPr>
              <a:grpSpLocks/>
            </p:cNvGrpSpPr>
            <p:nvPr>
              <p:custDataLst>
                <p:tags r:id="rId401"/>
              </p:custDataLst>
            </p:nvPr>
          </p:nvGrpSpPr>
          <p:grpSpPr bwMode="gray">
            <a:xfrm>
              <a:off x="4665259" y="4201460"/>
              <a:ext cx="490894" cy="474580"/>
              <a:chOff x="3035" y="2705"/>
              <a:chExt cx="331" cy="320"/>
            </a:xfrm>
            <a:grpFill/>
          </p:grpSpPr>
          <p:sp>
            <p:nvSpPr>
              <p:cNvPr id="217" name="Freeform 196"/>
              <p:cNvSpPr>
                <a:spLocks/>
              </p:cNvSpPr>
              <p:nvPr/>
            </p:nvSpPr>
            <p:spPr bwMode="gray">
              <a:xfrm>
                <a:off x="3035" y="2705"/>
                <a:ext cx="36" cy="36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4" y="8"/>
                  </a:cxn>
                  <a:cxn ang="0">
                    <a:pos x="0" y="8"/>
                  </a:cxn>
                  <a:cxn ang="0">
                    <a:pos x="4" y="4"/>
                  </a:cxn>
                  <a:cxn ang="0">
                    <a:pos x="8" y="0"/>
                  </a:cxn>
                  <a:cxn ang="0">
                    <a:pos x="12" y="0"/>
                  </a:cxn>
                  <a:cxn ang="0">
                    <a:pos x="12" y="4"/>
                  </a:cxn>
                  <a:cxn ang="0">
                    <a:pos x="16" y="4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0" y="12"/>
                  </a:cxn>
                  <a:cxn ang="0">
                    <a:pos x="20" y="16"/>
                  </a:cxn>
                  <a:cxn ang="0">
                    <a:pos x="20" y="16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8" y="16"/>
                  </a:cxn>
                  <a:cxn ang="0">
                    <a:pos x="32" y="20"/>
                  </a:cxn>
                  <a:cxn ang="0">
                    <a:pos x="36" y="20"/>
                  </a:cxn>
                  <a:cxn ang="0">
                    <a:pos x="36" y="20"/>
                  </a:cxn>
                  <a:cxn ang="0">
                    <a:pos x="36" y="20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2" y="28"/>
                  </a:cxn>
                  <a:cxn ang="0">
                    <a:pos x="32" y="28"/>
                  </a:cxn>
                  <a:cxn ang="0">
                    <a:pos x="28" y="28"/>
                  </a:cxn>
                  <a:cxn ang="0">
                    <a:pos x="24" y="28"/>
                  </a:cxn>
                  <a:cxn ang="0">
                    <a:pos x="24" y="28"/>
                  </a:cxn>
                  <a:cxn ang="0">
                    <a:pos x="24" y="28"/>
                  </a:cxn>
                  <a:cxn ang="0">
                    <a:pos x="24" y="28"/>
                  </a:cxn>
                  <a:cxn ang="0">
                    <a:pos x="24" y="32"/>
                  </a:cxn>
                  <a:cxn ang="0">
                    <a:pos x="24" y="32"/>
                  </a:cxn>
                  <a:cxn ang="0">
                    <a:pos x="20" y="32"/>
                  </a:cxn>
                  <a:cxn ang="0">
                    <a:pos x="20" y="32"/>
                  </a:cxn>
                  <a:cxn ang="0">
                    <a:pos x="20" y="32"/>
                  </a:cxn>
                  <a:cxn ang="0">
                    <a:pos x="20" y="36"/>
                  </a:cxn>
                  <a:cxn ang="0">
                    <a:pos x="20" y="36"/>
                  </a:cxn>
                  <a:cxn ang="0">
                    <a:pos x="20" y="36"/>
                  </a:cxn>
                  <a:cxn ang="0">
                    <a:pos x="20" y="36"/>
                  </a:cxn>
                  <a:cxn ang="0">
                    <a:pos x="20" y="36"/>
                  </a:cxn>
                  <a:cxn ang="0">
                    <a:pos x="16" y="36"/>
                  </a:cxn>
                  <a:cxn ang="0">
                    <a:pos x="16" y="36"/>
                  </a:cxn>
                  <a:cxn ang="0">
                    <a:pos x="16" y="32"/>
                  </a:cxn>
                  <a:cxn ang="0">
                    <a:pos x="12" y="24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8" y="20"/>
                  </a:cxn>
                </a:cxnLst>
                <a:rect l="0" t="0" r="r" b="b"/>
                <a:pathLst>
                  <a:path w="36" h="36">
                    <a:moveTo>
                      <a:pt x="8" y="12"/>
                    </a:moveTo>
                    <a:lnTo>
                      <a:pt x="8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8" y="24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4450" tIns="44450" rIns="44450" bIns="44450"/>
              <a:lstStyle/>
              <a:p>
                <a:endParaRPr lang="en-US" dirty="0"/>
              </a:p>
            </p:txBody>
          </p:sp>
          <p:sp>
            <p:nvSpPr>
              <p:cNvPr id="218" name="Freeform 197"/>
              <p:cNvSpPr>
                <a:spLocks/>
              </p:cNvSpPr>
              <p:nvPr/>
            </p:nvSpPr>
            <p:spPr bwMode="gray">
              <a:xfrm>
                <a:off x="3318" y="2965"/>
                <a:ext cx="48" cy="60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32" y="0"/>
                  </a:cxn>
                  <a:cxn ang="0">
                    <a:pos x="36" y="4"/>
                  </a:cxn>
                  <a:cxn ang="0">
                    <a:pos x="36" y="4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44" y="12"/>
                  </a:cxn>
                  <a:cxn ang="0">
                    <a:pos x="40" y="8"/>
                  </a:cxn>
                  <a:cxn ang="0">
                    <a:pos x="48" y="8"/>
                  </a:cxn>
                  <a:cxn ang="0">
                    <a:pos x="44" y="12"/>
                  </a:cxn>
                  <a:cxn ang="0">
                    <a:pos x="40" y="16"/>
                  </a:cxn>
                  <a:cxn ang="0">
                    <a:pos x="36" y="16"/>
                  </a:cxn>
                  <a:cxn ang="0">
                    <a:pos x="40" y="24"/>
                  </a:cxn>
                  <a:cxn ang="0">
                    <a:pos x="36" y="28"/>
                  </a:cxn>
                  <a:cxn ang="0">
                    <a:pos x="36" y="32"/>
                  </a:cxn>
                  <a:cxn ang="0">
                    <a:pos x="32" y="32"/>
                  </a:cxn>
                  <a:cxn ang="0">
                    <a:pos x="32" y="40"/>
                  </a:cxn>
                  <a:cxn ang="0">
                    <a:pos x="24" y="40"/>
                  </a:cxn>
                  <a:cxn ang="0">
                    <a:pos x="28" y="44"/>
                  </a:cxn>
                  <a:cxn ang="0">
                    <a:pos x="28" y="44"/>
                  </a:cxn>
                  <a:cxn ang="0">
                    <a:pos x="32" y="44"/>
                  </a:cxn>
                  <a:cxn ang="0">
                    <a:pos x="28" y="48"/>
                  </a:cxn>
                  <a:cxn ang="0">
                    <a:pos x="24" y="52"/>
                  </a:cxn>
                  <a:cxn ang="0">
                    <a:pos x="20" y="48"/>
                  </a:cxn>
                  <a:cxn ang="0">
                    <a:pos x="20" y="56"/>
                  </a:cxn>
                  <a:cxn ang="0">
                    <a:pos x="16" y="60"/>
                  </a:cxn>
                  <a:cxn ang="0">
                    <a:pos x="20" y="56"/>
                  </a:cxn>
                  <a:cxn ang="0">
                    <a:pos x="16" y="52"/>
                  </a:cxn>
                  <a:cxn ang="0">
                    <a:pos x="16" y="52"/>
                  </a:cxn>
                  <a:cxn ang="0">
                    <a:pos x="12" y="48"/>
                  </a:cxn>
                  <a:cxn ang="0">
                    <a:pos x="8" y="52"/>
                  </a:cxn>
                  <a:cxn ang="0">
                    <a:pos x="4" y="56"/>
                  </a:cxn>
                  <a:cxn ang="0">
                    <a:pos x="4" y="52"/>
                  </a:cxn>
                  <a:cxn ang="0">
                    <a:pos x="0" y="48"/>
                  </a:cxn>
                  <a:cxn ang="0">
                    <a:pos x="0" y="40"/>
                  </a:cxn>
                  <a:cxn ang="0">
                    <a:pos x="0" y="32"/>
                  </a:cxn>
                  <a:cxn ang="0">
                    <a:pos x="4" y="28"/>
                  </a:cxn>
                  <a:cxn ang="0">
                    <a:pos x="0" y="20"/>
                  </a:cxn>
                  <a:cxn ang="0">
                    <a:pos x="4" y="12"/>
                  </a:cxn>
                  <a:cxn ang="0">
                    <a:pos x="8" y="8"/>
                  </a:cxn>
                  <a:cxn ang="0">
                    <a:pos x="12" y="4"/>
                  </a:cxn>
                  <a:cxn ang="0">
                    <a:pos x="16" y="0"/>
                  </a:cxn>
                  <a:cxn ang="0">
                    <a:pos x="20" y="4"/>
                  </a:cxn>
                  <a:cxn ang="0">
                    <a:pos x="24" y="0"/>
                  </a:cxn>
                </a:cxnLst>
                <a:rect l="0" t="0" r="r" b="b"/>
                <a:pathLst>
                  <a:path w="48" h="60">
                    <a:moveTo>
                      <a:pt x="24" y="0"/>
                    </a:moveTo>
                    <a:lnTo>
                      <a:pt x="28" y="0"/>
                    </a:lnTo>
                    <a:lnTo>
                      <a:pt x="28" y="4"/>
                    </a:lnTo>
                    <a:lnTo>
                      <a:pt x="32" y="0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12"/>
                    </a:lnTo>
                    <a:lnTo>
                      <a:pt x="44" y="12"/>
                    </a:lnTo>
                    <a:lnTo>
                      <a:pt x="40" y="12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4" y="12"/>
                    </a:lnTo>
                    <a:lnTo>
                      <a:pt x="44" y="16"/>
                    </a:lnTo>
                    <a:lnTo>
                      <a:pt x="40" y="16"/>
                    </a:lnTo>
                    <a:lnTo>
                      <a:pt x="40" y="12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40" y="24"/>
                    </a:lnTo>
                    <a:lnTo>
                      <a:pt x="36" y="24"/>
                    </a:lnTo>
                    <a:lnTo>
                      <a:pt x="36" y="28"/>
                    </a:lnTo>
                    <a:lnTo>
                      <a:pt x="32" y="32"/>
                    </a:lnTo>
                    <a:lnTo>
                      <a:pt x="36" y="32"/>
                    </a:lnTo>
                    <a:lnTo>
                      <a:pt x="36" y="36"/>
                    </a:lnTo>
                    <a:lnTo>
                      <a:pt x="32" y="32"/>
                    </a:lnTo>
                    <a:lnTo>
                      <a:pt x="32" y="36"/>
                    </a:lnTo>
                    <a:lnTo>
                      <a:pt x="32" y="40"/>
                    </a:lnTo>
                    <a:lnTo>
                      <a:pt x="28" y="40"/>
                    </a:lnTo>
                    <a:lnTo>
                      <a:pt x="24" y="40"/>
                    </a:lnTo>
                    <a:lnTo>
                      <a:pt x="28" y="40"/>
                    </a:lnTo>
                    <a:lnTo>
                      <a:pt x="28" y="44"/>
                    </a:lnTo>
                    <a:lnTo>
                      <a:pt x="24" y="44"/>
                    </a:lnTo>
                    <a:lnTo>
                      <a:pt x="28" y="44"/>
                    </a:lnTo>
                    <a:lnTo>
                      <a:pt x="32" y="48"/>
                    </a:lnTo>
                    <a:lnTo>
                      <a:pt x="32" y="44"/>
                    </a:lnTo>
                    <a:lnTo>
                      <a:pt x="32" y="48"/>
                    </a:lnTo>
                    <a:lnTo>
                      <a:pt x="28" y="48"/>
                    </a:lnTo>
                    <a:lnTo>
                      <a:pt x="28" y="52"/>
                    </a:lnTo>
                    <a:lnTo>
                      <a:pt x="24" y="52"/>
                    </a:lnTo>
                    <a:lnTo>
                      <a:pt x="24" y="48"/>
                    </a:lnTo>
                    <a:lnTo>
                      <a:pt x="20" y="48"/>
                    </a:lnTo>
                    <a:lnTo>
                      <a:pt x="20" y="52"/>
                    </a:lnTo>
                    <a:lnTo>
                      <a:pt x="20" y="56"/>
                    </a:lnTo>
                    <a:lnTo>
                      <a:pt x="20" y="60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0" y="56"/>
                    </a:lnTo>
                    <a:lnTo>
                      <a:pt x="20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56"/>
                    </a:lnTo>
                    <a:lnTo>
                      <a:pt x="0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0" y="48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4" y="32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0" y="20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0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 w="6350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44450" tIns="44450" rIns="44450" bIns="44450"/>
              <a:lstStyle/>
              <a:p>
                <a:endParaRPr lang="en-US" dirty="0"/>
              </a:p>
            </p:txBody>
          </p:sp>
        </p:grpSp>
        <p:sp>
          <p:nvSpPr>
            <p:cNvPr id="209" name="Freeform 405"/>
            <p:cNvSpPr>
              <a:spLocks/>
            </p:cNvSpPr>
            <p:nvPr/>
          </p:nvSpPr>
          <p:spPr bwMode="gray">
            <a:xfrm>
              <a:off x="5043441" y="2734710"/>
              <a:ext cx="71187" cy="69704"/>
            </a:xfrm>
            <a:custGeom>
              <a:avLst/>
              <a:gdLst/>
              <a:ahLst/>
              <a:cxnLst>
                <a:cxn ang="0">
                  <a:pos x="20" y="43"/>
                </a:cxn>
                <a:cxn ang="0">
                  <a:pos x="20" y="43"/>
                </a:cxn>
                <a:cxn ang="0">
                  <a:pos x="20" y="39"/>
                </a:cxn>
                <a:cxn ang="0">
                  <a:pos x="16" y="35"/>
                </a:cxn>
                <a:cxn ang="0">
                  <a:pos x="16" y="35"/>
                </a:cxn>
                <a:cxn ang="0">
                  <a:pos x="12" y="31"/>
                </a:cxn>
                <a:cxn ang="0">
                  <a:pos x="12" y="27"/>
                </a:cxn>
                <a:cxn ang="0">
                  <a:pos x="12" y="27"/>
                </a:cxn>
                <a:cxn ang="0">
                  <a:pos x="8" y="19"/>
                </a:cxn>
                <a:cxn ang="0">
                  <a:pos x="4" y="15"/>
                </a:cxn>
                <a:cxn ang="0">
                  <a:pos x="0" y="15"/>
                </a:cxn>
                <a:cxn ang="0">
                  <a:pos x="4" y="15"/>
                </a:cxn>
                <a:cxn ang="0">
                  <a:pos x="4" y="15"/>
                </a:cxn>
                <a:cxn ang="0">
                  <a:pos x="0" y="15"/>
                </a:cxn>
                <a:cxn ang="0">
                  <a:pos x="4" y="11"/>
                </a:cxn>
                <a:cxn ang="0">
                  <a:pos x="8" y="11"/>
                </a:cxn>
                <a:cxn ang="0">
                  <a:pos x="8" y="11"/>
                </a:cxn>
                <a:cxn ang="0">
                  <a:pos x="8" y="7"/>
                </a:cxn>
                <a:cxn ang="0">
                  <a:pos x="12" y="7"/>
                </a:cxn>
                <a:cxn ang="0">
                  <a:pos x="16" y="3"/>
                </a:cxn>
                <a:cxn ang="0">
                  <a:pos x="16" y="3"/>
                </a:cxn>
                <a:cxn ang="0">
                  <a:pos x="20" y="3"/>
                </a:cxn>
                <a:cxn ang="0">
                  <a:pos x="20" y="3"/>
                </a:cxn>
                <a:cxn ang="0">
                  <a:pos x="20" y="3"/>
                </a:cxn>
                <a:cxn ang="0">
                  <a:pos x="20" y="7"/>
                </a:cxn>
                <a:cxn ang="0">
                  <a:pos x="20" y="3"/>
                </a:cxn>
                <a:cxn ang="0">
                  <a:pos x="24" y="3"/>
                </a:cxn>
                <a:cxn ang="0">
                  <a:pos x="28" y="7"/>
                </a:cxn>
                <a:cxn ang="0">
                  <a:pos x="28" y="11"/>
                </a:cxn>
                <a:cxn ang="0">
                  <a:pos x="28" y="11"/>
                </a:cxn>
                <a:cxn ang="0">
                  <a:pos x="32" y="15"/>
                </a:cxn>
                <a:cxn ang="0">
                  <a:pos x="40" y="15"/>
                </a:cxn>
                <a:cxn ang="0">
                  <a:pos x="44" y="19"/>
                </a:cxn>
                <a:cxn ang="0">
                  <a:pos x="44" y="19"/>
                </a:cxn>
                <a:cxn ang="0">
                  <a:pos x="44" y="23"/>
                </a:cxn>
                <a:cxn ang="0">
                  <a:pos x="48" y="23"/>
                </a:cxn>
                <a:cxn ang="0">
                  <a:pos x="44" y="27"/>
                </a:cxn>
                <a:cxn ang="0">
                  <a:pos x="48" y="27"/>
                </a:cxn>
                <a:cxn ang="0">
                  <a:pos x="48" y="31"/>
                </a:cxn>
                <a:cxn ang="0">
                  <a:pos x="48" y="31"/>
                </a:cxn>
                <a:cxn ang="0">
                  <a:pos x="44" y="31"/>
                </a:cxn>
                <a:cxn ang="0">
                  <a:pos x="44" y="31"/>
                </a:cxn>
                <a:cxn ang="0">
                  <a:pos x="44" y="35"/>
                </a:cxn>
                <a:cxn ang="0">
                  <a:pos x="44" y="35"/>
                </a:cxn>
                <a:cxn ang="0">
                  <a:pos x="44" y="39"/>
                </a:cxn>
                <a:cxn ang="0">
                  <a:pos x="40" y="43"/>
                </a:cxn>
                <a:cxn ang="0">
                  <a:pos x="36" y="39"/>
                </a:cxn>
                <a:cxn ang="0">
                  <a:pos x="36" y="39"/>
                </a:cxn>
                <a:cxn ang="0">
                  <a:pos x="28" y="39"/>
                </a:cxn>
                <a:cxn ang="0">
                  <a:pos x="28" y="43"/>
                </a:cxn>
                <a:cxn ang="0">
                  <a:pos x="28" y="43"/>
                </a:cxn>
                <a:cxn ang="0">
                  <a:pos x="28" y="47"/>
                </a:cxn>
                <a:cxn ang="0">
                  <a:pos x="24" y="47"/>
                </a:cxn>
                <a:cxn ang="0">
                  <a:pos x="20" y="47"/>
                </a:cxn>
              </a:cxnLst>
              <a:rect l="0" t="0" r="r" b="b"/>
              <a:pathLst>
                <a:path w="48" h="47">
                  <a:moveTo>
                    <a:pt x="20" y="47"/>
                  </a:moveTo>
                  <a:lnTo>
                    <a:pt x="20" y="47"/>
                  </a:lnTo>
                  <a:lnTo>
                    <a:pt x="20" y="47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6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8" y="23"/>
                  </a:lnTo>
                  <a:lnTo>
                    <a:pt x="8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4" y="11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5"/>
                  </a:lnTo>
                  <a:lnTo>
                    <a:pt x="36" y="15"/>
                  </a:lnTo>
                  <a:lnTo>
                    <a:pt x="36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5"/>
                  </a:lnTo>
                  <a:lnTo>
                    <a:pt x="40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4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7"/>
                  </a:lnTo>
                  <a:lnTo>
                    <a:pt x="44" y="27"/>
                  </a:lnTo>
                  <a:lnTo>
                    <a:pt x="44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4" y="35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5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40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6" y="39"/>
                  </a:lnTo>
                  <a:lnTo>
                    <a:pt x="32" y="39"/>
                  </a:lnTo>
                  <a:lnTo>
                    <a:pt x="32" y="39"/>
                  </a:lnTo>
                  <a:lnTo>
                    <a:pt x="32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4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10" name="Freeform 207"/>
            <p:cNvSpPr>
              <a:spLocks/>
            </p:cNvSpPr>
            <p:nvPr>
              <p:custDataLst>
                <p:tags r:id="rId402"/>
              </p:custDataLst>
            </p:nvPr>
          </p:nvSpPr>
          <p:spPr bwMode="gray">
            <a:xfrm>
              <a:off x="5423105" y="3243400"/>
              <a:ext cx="182416" cy="324791"/>
            </a:xfrm>
            <a:custGeom>
              <a:avLst/>
              <a:gdLst/>
              <a:ahLst/>
              <a:cxnLst>
                <a:cxn ang="0">
                  <a:pos x="40" y="155"/>
                </a:cxn>
                <a:cxn ang="0">
                  <a:pos x="52" y="143"/>
                </a:cxn>
                <a:cxn ang="0">
                  <a:pos x="48" y="139"/>
                </a:cxn>
                <a:cxn ang="0">
                  <a:pos x="40" y="127"/>
                </a:cxn>
                <a:cxn ang="0">
                  <a:pos x="32" y="115"/>
                </a:cxn>
                <a:cxn ang="0">
                  <a:pos x="24" y="99"/>
                </a:cxn>
                <a:cxn ang="0">
                  <a:pos x="16" y="88"/>
                </a:cxn>
                <a:cxn ang="0">
                  <a:pos x="12" y="80"/>
                </a:cxn>
                <a:cxn ang="0">
                  <a:pos x="12" y="68"/>
                </a:cxn>
                <a:cxn ang="0">
                  <a:pos x="12" y="72"/>
                </a:cxn>
                <a:cxn ang="0">
                  <a:pos x="4" y="56"/>
                </a:cxn>
                <a:cxn ang="0">
                  <a:pos x="8" y="48"/>
                </a:cxn>
                <a:cxn ang="0">
                  <a:pos x="12" y="32"/>
                </a:cxn>
                <a:cxn ang="0">
                  <a:pos x="16" y="28"/>
                </a:cxn>
                <a:cxn ang="0">
                  <a:pos x="32" y="24"/>
                </a:cxn>
                <a:cxn ang="0">
                  <a:pos x="40" y="16"/>
                </a:cxn>
                <a:cxn ang="0">
                  <a:pos x="48" y="12"/>
                </a:cxn>
                <a:cxn ang="0">
                  <a:pos x="64" y="4"/>
                </a:cxn>
                <a:cxn ang="0">
                  <a:pos x="75" y="4"/>
                </a:cxn>
                <a:cxn ang="0">
                  <a:pos x="91" y="4"/>
                </a:cxn>
                <a:cxn ang="0">
                  <a:pos x="99" y="16"/>
                </a:cxn>
                <a:cxn ang="0">
                  <a:pos x="95" y="36"/>
                </a:cxn>
                <a:cxn ang="0">
                  <a:pos x="83" y="36"/>
                </a:cxn>
                <a:cxn ang="0">
                  <a:pos x="68" y="40"/>
                </a:cxn>
                <a:cxn ang="0">
                  <a:pos x="68" y="52"/>
                </a:cxn>
                <a:cxn ang="0">
                  <a:pos x="68" y="56"/>
                </a:cxn>
                <a:cxn ang="0">
                  <a:pos x="56" y="60"/>
                </a:cxn>
                <a:cxn ang="0">
                  <a:pos x="68" y="72"/>
                </a:cxn>
                <a:cxn ang="0">
                  <a:pos x="79" y="88"/>
                </a:cxn>
                <a:cxn ang="0">
                  <a:pos x="91" y="92"/>
                </a:cxn>
                <a:cxn ang="0">
                  <a:pos x="87" y="107"/>
                </a:cxn>
                <a:cxn ang="0">
                  <a:pos x="87" y="119"/>
                </a:cxn>
                <a:cxn ang="0">
                  <a:pos x="91" y="119"/>
                </a:cxn>
                <a:cxn ang="0">
                  <a:pos x="95" y="107"/>
                </a:cxn>
                <a:cxn ang="0">
                  <a:pos x="111" y="111"/>
                </a:cxn>
                <a:cxn ang="0">
                  <a:pos x="119" y="123"/>
                </a:cxn>
                <a:cxn ang="0">
                  <a:pos x="115" y="135"/>
                </a:cxn>
                <a:cxn ang="0">
                  <a:pos x="107" y="131"/>
                </a:cxn>
                <a:cxn ang="0">
                  <a:pos x="95" y="131"/>
                </a:cxn>
                <a:cxn ang="0">
                  <a:pos x="95" y="135"/>
                </a:cxn>
                <a:cxn ang="0">
                  <a:pos x="91" y="151"/>
                </a:cxn>
                <a:cxn ang="0">
                  <a:pos x="95" y="151"/>
                </a:cxn>
                <a:cxn ang="0">
                  <a:pos x="107" y="155"/>
                </a:cxn>
                <a:cxn ang="0">
                  <a:pos x="99" y="159"/>
                </a:cxn>
                <a:cxn ang="0">
                  <a:pos x="107" y="167"/>
                </a:cxn>
                <a:cxn ang="0">
                  <a:pos x="107" y="183"/>
                </a:cxn>
                <a:cxn ang="0">
                  <a:pos x="111" y="203"/>
                </a:cxn>
                <a:cxn ang="0">
                  <a:pos x="103" y="215"/>
                </a:cxn>
                <a:cxn ang="0">
                  <a:pos x="107" y="211"/>
                </a:cxn>
                <a:cxn ang="0">
                  <a:pos x="87" y="215"/>
                </a:cxn>
                <a:cxn ang="0">
                  <a:pos x="72" y="215"/>
                </a:cxn>
                <a:cxn ang="0">
                  <a:pos x="56" y="203"/>
                </a:cxn>
                <a:cxn ang="0">
                  <a:pos x="36" y="199"/>
                </a:cxn>
                <a:cxn ang="0">
                  <a:pos x="32" y="175"/>
                </a:cxn>
                <a:cxn ang="0">
                  <a:pos x="36" y="171"/>
                </a:cxn>
              </a:cxnLst>
              <a:rect l="0" t="0" r="r" b="b"/>
              <a:pathLst>
                <a:path w="123" h="219">
                  <a:moveTo>
                    <a:pt x="40" y="167"/>
                  </a:moveTo>
                  <a:lnTo>
                    <a:pt x="40" y="163"/>
                  </a:lnTo>
                  <a:lnTo>
                    <a:pt x="44" y="163"/>
                  </a:lnTo>
                  <a:lnTo>
                    <a:pt x="40" y="159"/>
                  </a:lnTo>
                  <a:lnTo>
                    <a:pt x="40" y="155"/>
                  </a:lnTo>
                  <a:lnTo>
                    <a:pt x="44" y="151"/>
                  </a:lnTo>
                  <a:lnTo>
                    <a:pt x="44" y="147"/>
                  </a:lnTo>
                  <a:lnTo>
                    <a:pt x="44" y="143"/>
                  </a:lnTo>
                  <a:lnTo>
                    <a:pt x="48" y="143"/>
                  </a:lnTo>
                  <a:lnTo>
                    <a:pt x="52" y="143"/>
                  </a:lnTo>
                  <a:lnTo>
                    <a:pt x="56" y="143"/>
                  </a:lnTo>
                  <a:lnTo>
                    <a:pt x="56" y="139"/>
                  </a:lnTo>
                  <a:lnTo>
                    <a:pt x="52" y="135"/>
                  </a:lnTo>
                  <a:lnTo>
                    <a:pt x="48" y="135"/>
                  </a:lnTo>
                  <a:lnTo>
                    <a:pt x="48" y="139"/>
                  </a:lnTo>
                  <a:lnTo>
                    <a:pt x="48" y="135"/>
                  </a:lnTo>
                  <a:lnTo>
                    <a:pt x="44" y="135"/>
                  </a:lnTo>
                  <a:lnTo>
                    <a:pt x="44" y="131"/>
                  </a:lnTo>
                  <a:lnTo>
                    <a:pt x="40" y="131"/>
                  </a:lnTo>
                  <a:lnTo>
                    <a:pt x="40" y="127"/>
                  </a:lnTo>
                  <a:lnTo>
                    <a:pt x="40" y="123"/>
                  </a:lnTo>
                  <a:lnTo>
                    <a:pt x="36" y="123"/>
                  </a:lnTo>
                  <a:lnTo>
                    <a:pt x="36" y="119"/>
                  </a:lnTo>
                  <a:lnTo>
                    <a:pt x="36" y="115"/>
                  </a:lnTo>
                  <a:lnTo>
                    <a:pt x="32" y="115"/>
                  </a:lnTo>
                  <a:lnTo>
                    <a:pt x="32" y="111"/>
                  </a:lnTo>
                  <a:lnTo>
                    <a:pt x="28" y="111"/>
                  </a:lnTo>
                  <a:lnTo>
                    <a:pt x="28" y="107"/>
                  </a:lnTo>
                  <a:lnTo>
                    <a:pt x="24" y="107"/>
                  </a:lnTo>
                  <a:lnTo>
                    <a:pt x="24" y="99"/>
                  </a:lnTo>
                  <a:lnTo>
                    <a:pt x="20" y="99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72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5" y="0"/>
                  </a:lnTo>
                  <a:lnTo>
                    <a:pt x="75" y="4"/>
                  </a:lnTo>
                  <a:lnTo>
                    <a:pt x="79" y="4"/>
                  </a:lnTo>
                  <a:lnTo>
                    <a:pt x="83" y="4"/>
                  </a:lnTo>
                  <a:lnTo>
                    <a:pt x="87" y="4"/>
                  </a:lnTo>
                  <a:lnTo>
                    <a:pt x="87" y="0"/>
                  </a:lnTo>
                  <a:lnTo>
                    <a:pt x="91" y="4"/>
                  </a:lnTo>
                  <a:lnTo>
                    <a:pt x="95" y="4"/>
                  </a:lnTo>
                  <a:lnTo>
                    <a:pt x="99" y="4"/>
                  </a:lnTo>
                  <a:lnTo>
                    <a:pt x="99" y="8"/>
                  </a:lnTo>
                  <a:lnTo>
                    <a:pt x="95" y="12"/>
                  </a:lnTo>
                  <a:lnTo>
                    <a:pt x="99" y="16"/>
                  </a:lnTo>
                  <a:lnTo>
                    <a:pt x="99" y="20"/>
                  </a:lnTo>
                  <a:lnTo>
                    <a:pt x="95" y="24"/>
                  </a:lnTo>
                  <a:lnTo>
                    <a:pt x="95" y="28"/>
                  </a:lnTo>
                  <a:lnTo>
                    <a:pt x="91" y="32"/>
                  </a:lnTo>
                  <a:lnTo>
                    <a:pt x="95" y="36"/>
                  </a:lnTo>
                  <a:lnTo>
                    <a:pt x="99" y="36"/>
                  </a:lnTo>
                  <a:lnTo>
                    <a:pt x="95" y="36"/>
                  </a:lnTo>
                  <a:lnTo>
                    <a:pt x="91" y="36"/>
                  </a:lnTo>
                  <a:lnTo>
                    <a:pt x="87" y="36"/>
                  </a:lnTo>
                  <a:lnTo>
                    <a:pt x="83" y="36"/>
                  </a:lnTo>
                  <a:lnTo>
                    <a:pt x="79" y="36"/>
                  </a:lnTo>
                  <a:lnTo>
                    <a:pt x="75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68" y="40"/>
                  </a:lnTo>
                  <a:lnTo>
                    <a:pt x="68" y="44"/>
                  </a:lnTo>
                  <a:lnTo>
                    <a:pt x="64" y="44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68" y="52"/>
                  </a:lnTo>
                  <a:lnTo>
                    <a:pt x="72" y="52"/>
                  </a:lnTo>
                  <a:lnTo>
                    <a:pt x="75" y="52"/>
                  </a:lnTo>
                  <a:lnTo>
                    <a:pt x="75" y="56"/>
                  </a:lnTo>
                  <a:lnTo>
                    <a:pt x="72" y="56"/>
                  </a:lnTo>
                  <a:lnTo>
                    <a:pt x="68" y="56"/>
                  </a:lnTo>
                  <a:lnTo>
                    <a:pt x="64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60" y="60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8" y="68"/>
                  </a:lnTo>
                  <a:lnTo>
                    <a:pt x="68" y="72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72" y="84"/>
                  </a:lnTo>
                  <a:lnTo>
                    <a:pt x="75" y="84"/>
                  </a:lnTo>
                  <a:lnTo>
                    <a:pt x="79" y="88"/>
                  </a:lnTo>
                  <a:lnTo>
                    <a:pt x="79" y="92"/>
                  </a:lnTo>
                  <a:lnTo>
                    <a:pt x="79" y="88"/>
                  </a:lnTo>
                  <a:lnTo>
                    <a:pt x="83" y="88"/>
                  </a:lnTo>
                  <a:lnTo>
                    <a:pt x="87" y="92"/>
                  </a:lnTo>
                  <a:lnTo>
                    <a:pt x="91" y="92"/>
                  </a:lnTo>
                  <a:lnTo>
                    <a:pt x="91" y="96"/>
                  </a:lnTo>
                  <a:lnTo>
                    <a:pt x="91" y="99"/>
                  </a:lnTo>
                  <a:lnTo>
                    <a:pt x="87" y="99"/>
                  </a:lnTo>
                  <a:lnTo>
                    <a:pt x="87" y="103"/>
                  </a:lnTo>
                  <a:lnTo>
                    <a:pt x="87" y="107"/>
                  </a:lnTo>
                  <a:lnTo>
                    <a:pt x="87" y="111"/>
                  </a:lnTo>
                  <a:lnTo>
                    <a:pt x="87" y="115"/>
                  </a:lnTo>
                  <a:lnTo>
                    <a:pt x="91" y="115"/>
                  </a:lnTo>
                  <a:lnTo>
                    <a:pt x="87" y="115"/>
                  </a:lnTo>
                  <a:lnTo>
                    <a:pt x="87" y="119"/>
                  </a:lnTo>
                  <a:lnTo>
                    <a:pt x="91" y="119"/>
                  </a:lnTo>
                  <a:lnTo>
                    <a:pt x="91" y="123"/>
                  </a:lnTo>
                  <a:lnTo>
                    <a:pt x="95" y="127"/>
                  </a:lnTo>
                  <a:lnTo>
                    <a:pt x="95" y="123"/>
                  </a:lnTo>
                  <a:lnTo>
                    <a:pt x="91" y="119"/>
                  </a:lnTo>
                  <a:lnTo>
                    <a:pt x="95" y="119"/>
                  </a:lnTo>
                  <a:lnTo>
                    <a:pt x="95" y="115"/>
                  </a:lnTo>
                  <a:lnTo>
                    <a:pt x="91" y="115"/>
                  </a:lnTo>
                  <a:lnTo>
                    <a:pt x="95" y="111"/>
                  </a:lnTo>
                  <a:lnTo>
                    <a:pt x="95" y="107"/>
                  </a:lnTo>
                  <a:lnTo>
                    <a:pt x="99" y="107"/>
                  </a:lnTo>
                  <a:lnTo>
                    <a:pt x="103" y="103"/>
                  </a:lnTo>
                  <a:lnTo>
                    <a:pt x="107" y="103"/>
                  </a:lnTo>
                  <a:lnTo>
                    <a:pt x="111" y="107"/>
                  </a:lnTo>
                  <a:lnTo>
                    <a:pt x="111" y="111"/>
                  </a:lnTo>
                  <a:lnTo>
                    <a:pt x="111" y="115"/>
                  </a:lnTo>
                  <a:lnTo>
                    <a:pt x="111" y="119"/>
                  </a:lnTo>
                  <a:lnTo>
                    <a:pt x="115" y="119"/>
                  </a:lnTo>
                  <a:lnTo>
                    <a:pt x="115" y="123"/>
                  </a:lnTo>
                  <a:lnTo>
                    <a:pt x="119" y="123"/>
                  </a:lnTo>
                  <a:lnTo>
                    <a:pt x="123" y="127"/>
                  </a:lnTo>
                  <a:lnTo>
                    <a:pt x="123" y="131"/>
                  </a:lnTo>
                  <a:lnTo>
                    <a:pt x="119" y="131"/>
                  </a:lnTo>
                  <a:lnTo>
                    <a:pt x="115" y="131"/>
                  </a:lnTo>
                  <a:lnTo>
                    <a:pt x="115" y="135"/>
                  </a:lnTo>
                  <a:lnTo>
                    <a:pt x="119" y="135"/>
                  </a:lnTo>
                  <a:lnTo>
                    <a:pt x="115" y="135"/>
                  </a:lnTo>
                  <a:lnTo>
                    <a:pt x="111" y="135"/>
                  </a:lnTo>
                  <a:lnTo>
                    <a:pt x="107" y="135"/>
                  </a:lnTo>
                  <a:lnTo>
                    <a:pt x="107" y="131"/>
                  </a:lnTo>
                  <a:lnTo>
                    <a:pt x="103" y="131"/>
                  </a:lnTo>
                  <a:lnTo>
                    <a:pt x="103" y="135"/>
                  </a:lnTo>
                  <a:lnTo>
                    <a:pt x="103" y="131"/>
                  </a:lnTo>
                  <a:lnTo>
                    <a:pt x="99" y="131"/>
                  </a:lnTo>
                  <a:lnTo>
                    <a:pt x="95" y="131"/>
                  </a:lnTo>
                  <a:lnTo>
                    <a:pt x="95" y="127"/>
                  </a:lnTo>
                  <a:lnTo>
                    <a:pt x="95" y="131"/>
                  </a:lnTo>
                  <a:lnTo>
                    <a:pt x="95" y="135"/>
                  </a:lnTo>
                  <a:lnTo>
                    <a:pt x="91" y="135"/>
                  </a:lnTo>
                  <a:lnTo>
                    <a:pt x="95" y="135"/>
                  </a:lnTo>
                  <a:lnTo>
                    <a:pt x="91" y="135"/>
                  </a:lnTo>
                  <a:lnTo>
                    <a:pt x="91" y="139"/>
                  </a:lnTo>
                  <a:lnTo>
                    <a:pt x="91" y="143"/>
                  </a:lnTo>
                  <a:lnTo>
                    <a:pt x="91" y="147"/>
                  </a:lnTo>
                  <a:lnTo>
                    <a:pt x="91" y="151"/>
                  </a:lnTo>
                  <a:lnTo>
                    <a:pt x="95" y="151"/>
                  </a:lnTo>
                  <a:lnTo>
                    <a:pt x="95" y="155"/>
                  </a:lnTo>
                  <a:lnTo>
                    <a:pt x="95" y="151"/>
                  </a:lnTo>
                  <a:lnTo>
                    <a:pt x="95" y="147"/>
                  </a:lnTo>
                  <a:lnTo>
                    <a:pt x="95" y="151"/>
                  </a:lnTo>
                  <a:lnTo>
                    <a:pt x="99" y="151"/>
                  </a:lnTo>
                  <a:lnTo>
                    <a:pt x="103" y="147"/>
                  </a:lnTo>
                  <a:lnTo>
                    <a:pt x="103" y="151"/>
                  </a:lnTo>
                  <a:lnTo>
                    <a:pt x="103" y="155"/>
                  </a:lnTo>
                  <a:lnTo>
                    <a:pt x="107" y="155"/>
                  </a:lnTo>
                  <a:lnTo>
                    <a:pt x="107" y="159"/>
                  </a:lnTo>
                  <a:lnTo>
                    <a:pt x="103" y="159"/>
                  </a:lnTo>
                  <a:lnTo>
                    <a:pt x="99" y="159"/>
                  </a:lnTo>
                  <a:lnTo>
                    <a:pt x="99" y="155"/>
                  </a:lnTo>
                  <a:lnTo>
                    <a:pt x="99" y="159"/>
                  </a:lnTo>
                  <a:lnTo>
                    <a:pt x="99" y="163"/>
                  </a:lnTo>
                  <a:lnTo>
                    <a:pt x="99" y="167"/>
                  </a:lnTo>
                  <a:lnTo>
                    <a:pt x="99" y="163"/>
                  </a:lnTo>
                  <a:lnTo>
                    <a:pt x="103" y="163"/>
                  </a:lnTo>
                  <a:lnTo>
                    <a:pt x="107" y="167"/>
                  </a:lnTo>
                  <a:lnTo>
                    <a:pt x="111" y="171"/>
                  </a:lnTo>
                  <a:lnTo>
                    <a:pt x="111" y="175"/>
                  </a:lnTo>
                  <a:lnTo>
                    <a:pt x="107" y="175"/>
                  </a:lnTo>
                  <a:lnTo>
                    <a:pt x="107" y="179"/>
                  </a:lnTo>
                  <a:lnTo>
                    <a:pt x="107" y="183"/>
                  </a:lnTo>
                  <a:lnTo>
                    <a:pt x="107" y="187"/>
                  </a:lnTo>
                  <a:lnTo>
                    <a:pt x="107" y="191"/>
                  </a:lnTo>
                  <a:lnTo>
                    <a:pt x="107" y="195"/>
                  </a:lnTo>
                  <a:lnTo>
                    <a:pt x="107" y="199"/>
                  </a:lnTo>
                  <a:lnTo>
                    <a:pt x="111" y="203"/>
                  </a:lnTo>
                  <a:lnTo>
                    <a:pt x="111" y="207"/>
                  </a:lnTo>
                  <a:lnTo>
                    <a:pt x="111" y="211"/>
                  </a:lnTo>
                  <a:lnTo>
                    <a:pt x="111" y="215"/>
                  </a:lnTo>
                  <a:lnTo>
                    <a:pt x="107" y="215"/>
                  </a:lnTo>
                  <a:lnTo>
                    <a:pt x="103" y="215"/>
                  </a:lnTo>
                  <a:lnTo>
                    <a:pt x="107" y="211"/>
                  </a:lnTo>
                  <a:lnTo>
                    <a:pt x="107" y="215"/>
                  </a:lnTo>
                  <a:lnTo>
                    <a:pt x="107" y="211"/>
                  </a:lnTo>
                  <a:lnTo>
                    <a:pt x="111" y="211"/>
                  </a:lnTo>
                  <a:lnTo>
                    <a:pt x="107" y="211"/>
                  </a:lnTo>
                  <a:lnTo>
                    <a:pt x="103" y="211"/>
                  </a:lnTo>
                  <a:lnTo>
                    <a:pt x="99" y="215"/>
                  </a:lnTo>
                  <a:lnTo>
                    <a:pt x="95" y="215"/>
                  </a:lnTo>
                  <a:lnTo>
                    <a:pt x="91" y="215"/>
                  </a:lnTo>
                  <a:lnTo>
                    <a:pt x="87" y="215"/>
                  </a:lnTo>
                  <a:lnTo>
                    <a:pt x="83" y="219"/>
                  </a:lnTo>
                  <a:lnTo>
                    <a:pt x="79" y="219"/>
                  </a:lnTo>
                  <a:lnTo>
                    <a:pt x="75" y="219"/>
                  </a:lnTo>
                  <a:lnTo>
                    <a:pt x="72" y="219"/>
                  </a:lnTo>
                  <a:lnTo>
                    <a:pt x="72" y="215"/>
                  </a:lnTo>
                  <a:lnTo>
                    <a:pt x="68" y="215"/>
                  </a:lnTo>
                  <a:lnTo>
                    <a:pt x="64" y="215"/>
                  </a:lnTo>
                  <a:lnTo>
                    <a:pt x="60" y="211"/>
                  </a:lnTo>
                  <a:lnTo>
                    <a:pt x="56" y="207"/>
                  </a:lnTo>
                  <a:lnTo>
                    <a:pt x="56" y="203"/>
                  </a:lnTo>
                  <a:lnTo>
                    <a:pt x="52" y="203"/>
                  </a:lnTo>
                  <a:lnTo>
                    <a:pt x="48" y="203"/>
                  </a:lnTo>
                  <a:lnTo>
                    <a:pt x="44" y="199"/>
                  </a:lnTo>
                  <a:lnTo>
                    <a:pt x="40" y="199"/>
                  </a:lnTo>
                  <a:lnTo>
                    <a:pt x="36" y="199"/>
                  </a:lnTo>
                  <a:lnTo>
                    <a:pt x="36" y="195"/>
                  </a:lnTo>
                  <a:lnTo>
                    <a:pt x="36" y="191"/>
                  </a:lnTo>
                  <a:lnTo>
                    <a:pt x="32" y="183"/>
                  </a:lnTo>
                  <a:lnTo>
                    <a:pt x="32" y="179"/>
                  </a:lnTo>
                  <a:lnTo>
                    <a:pt x="32" y="175"/>
                  </a:lnTo>
                  <a:lnTo>
                    <a:pt x="36" y="171"/>
                  </a:lnTo>
                  <a:lnTo>
                    <a:pt x="36" y="167"/>
                  </a:lnTo>
                  <a:lnTo>
                    <a:pt x="40" y="167"/>
                  </a:lnTo>
                  <a:lnTo>
                    <a:pt x="36" y="167"/>
                  </a:lnTo>
                  <a:lnTo>
                    <a:pt x="36" y="171"/>
                  </a:lnTo>
                  <a:lnTo>
                    <a:pt x="40" y="171"/>
                  </a:lnTo>
                  <a:lnTo>
                    <a:pt x="40" y="167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11" name="Freeform 208"/>
            <p:cNvSpPr>
              <a:spLocks/>
            </p:cNvSpPr>
            <p:nvPr>
              <p:custDataLst>
                <p:tags r:id="rId403"/>
              </p:custDataLst>
            </p:nvPr>
          </p:nvSpPr>
          <p:spPr bwMode="gray">
            <a:xfrm>
              <a:off x="5682640" y="3249333"/>
              <a:ext cx="83052" cy="112713"/>
            </a:xfrm>
            <a:custGeom>
              <a:avLst/>
              <a:gdLst/>
              <a:ahLst/>
              <a:cxnLst>
                <a:cxn ang="0">
                  <a:pos x="44" y="20"/>
                </a:cxn>
                <a:cxn ang="0">
                  <a:pos x="40" y="24"/>
                </a:cxn>
                <a:cxn ang="0">
                  <a:pos x="44" y="28"/>
                </a:cxn>
                <a:cxn ang="0">
                  <a:pos x="48" y="24"/>
                </a:cxn>
                <a:cxn ang="0">
                  <a:pos x="44" y="28"/>
                </a:cxn>
                <a:cxn ang="0">
                  <a:pos x="48" y="36"/>
                </a:cxn>
                <a:cxn ang="0">
                  <a:pos x="56" y="36"/>
                </a:cxn>
                <a:cxn ang="0">
                  <a:pos x="52" y="40"/>
                </a:cxn>
                <a:cxn ang="0">
                  <a:pos x="52" y="44"/>
                </a:cxn>
                <a:cxn ang="0">
                  <a:pos x="48" y="48"/>
                </a:cxn>
                <a:cxn ang="0">
                  <a:pos x="44" y="52"/>
                </a:cxn>
                <a:cxn ang="0">
                  <a:pos x="44" y="52"/>
                </a:cxn>
                <a:cxn ang="0">
                  <a:pos x="44" y="60"/>
                </a:cxn>
                <a:cxn ang="0">
                  <a:pos x="40" y="56"/>
                </a:cxn>
                <a:cxn ang="0">
                  <a:pos x="36" y="60"/>
                </a:cxn>
                <a:cxn ang="0">
                  <a:pos x="40" y="64"/>
                </a:cxn>
                <a:cxn ang="0">
                  <a:pos x="44" y="68"/>
                </a:cxn>
                <a:cxn ang="0">
                  <a:pos x="36" y="72"/>
                </a:cxn>
                <a:cxn ang="0">
                  <a:pos x="32" y="68"/>
                </a:cxn>
                <a:cxn ang="0">
                  <a:pos x="28" y="72"/>
                </a:cxn>
                <a:cxn ang="0">
                  <a:pos x="24" y="76"/>
                </a:cxn>
                <a:cxn ang="0">
                  <a:pos x="20" y="72"/>
                </a:cxn>
                <a:cxn ang="0">
                  <a:pos x="20" y="68"/>
                </a:cxn>
                <a:cxn ang="0">
                  <a:pos x="16" y="64"/>
                </a:cxn>
                <a:cxn ang="0">
                  <a:pos x="12" y="68"/>
                </a:cxn>
                <a:cxn ang="0">
                  <a:pos x="8" y="64"/>
                </a:cxn>
                <a:cxn ang="0">
                  <a:pos x="8" y="64"/>
                </a:cxn>
                <a:cxn ang="0">
                  <a:pos x="12" y="68"/>
                </a:cxn>
                <a:cxn ang="0">
                  <a:pos x="4" y="68"/>
                </a:cxn>
                <a:cxn ang="0">
                  <a:pos x="0" y="64"/>
                </a:cxn>
                <a:cxn ang="0">
                  <a:pos x="0" y="56"/>
                </a:cxn>
                <a:cxn ang="0">
                  <a:pos x="0" y="48"/>
                </a:cxn>
                <a:cxn ang="0">
                  <a:pos x="0" y="40"/>
                </a:cxn>
                <a:cxn ang="0">
                  <a:pos x="4" y="32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20" y="24"/>
                </a:cxn>
                <a:cxn ang="0">
                  <a:pos x="20" y="16"/>
                </a:cxn>
                <a:cxn ang="0">
                  <a:pos x="24" y="12"/>
                </a:cxn>
                <a:cxn ang="0">
                  <a:pos x="28" y="16"/>
                </a:cxn>
                <a:cxn ang="0">
                  <a:pos x="24" y="12"/>
                </a:cxn>
                <a:cxn ang="0">
                  <a:pos x="24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36" y="0"/>
                </a:cxn>
                <a:cxn ang="0">
                  <a:pos x="40" y="4"/>
                </a:cxn>
                <a:cxn ang="0">
                  <a:pos x="44" y="8"/>
                </a:cxn>
                <a:cxn ang="0">
                  <a:pos x="48" y="4"/>
                </a:cxn>
                <a:cxn ang="0">
                  <a:pos x="52" y="0"/>
                </a:cxn>
                <a:cxn ang="0">
                  <a:pos x="52" y="8"/>
                </a:cxn>
                <a:cxn ang="0">
                  <a:pos x="44" y="12"/>
                </a:cxn>
                <a:cxn ang="0">
                  <a:pos x="40" y="16"/>
                </a:cxn>
              </a:cxnLst>
              <a:rect l="0" t="0" r="r" b="b"/>
              <a:pathLst>
                <a:path w="56" h="76">
                  <a:moveTo>
                    <a:pt x="40" y="16"/>
                  </a:moveTo>
                  <a:lnTo>
                    <a:pt x="44" y="20"/>
                  </a:lnTo>
                  <a:lnTo>
                    <a:pt x="44" y="24"/>
                  </a:lnTo>
                  <a:lnTo>
                    <a:pt x="40" y="24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2" y="36"/>
                  </a:lnTo>
                  <a:lnTo>
                    <a:pt x="52" y="40"/>
                  </a:lnTo>
                  <a:lnTo>
                    <a:pt x="56" y="40"/>
                  </a:lnTo>
                  <a:lnTo>
                    <a:pt x="52" y="44"/>
                  </a:lnTo>
                  <a:lnTo>
                    <a:pt x="48" y="44"/>
                  </a:lnTo>
                  <a:lnTo>
                    <a:pt x="48" y="48"/>
                  </a:lnTo>
                  <a:lnTo>
                    <a:pt x="44" y="48"/>
                  </a:lnTo>
                  <a:lnTo>
                    <a:pt x="44" y="52"/>
                  </a:lnTo>
                  <a:lnTo>
                    <a:pt x="44" y="56"/>
                  </a:lnTo>
                  <a:lnTo>
                    <a:pt x="44" y="52"/>
                  </a:lnTo>
                  <a:lnTo>
                    <a:pt x="44" y="56"/>
                  </a:lnTo>
                  <a:lnTo>
                    <a:pt x="44" y="60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64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36" y="72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32" y="72"/>
                  </a:lnTo>
                  <a:lnTo>
                    <a:pt x="28" y="72"/>
                  </a:lnTo>
                  <a:lnTo>
                    <a:pt x="24" y="72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12" y="68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4" y="60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2" y="4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0" y="16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/>
            </a:p>
          </p:txBody>
        </p:sp>
        <p:sp>
          <p:nvSpPr>
            <p:cNvPr id="212" name="Freeform 379"/>
            <p:cNvSpPr>
              <a:spLocks noEditPoints="1"/>
            </p:cNvSpPr>
            <p:nvPr>
              <p:custDataLst>
                <p:tags r:id="rId404"/>
              </p:custDataLst>
            </p:nvPr>
          </p:nvSpPr>
          <p:spPr bwMode="gray">
            <a:xfrm>
              <a:off x="2305705" y="3178146"/>
              <a:ext cx="176485" cy="83052"/>
            </a:xfrm>
            <a:custGeom>
              <a:avLst/>
              <a:gdLst/>
              <a:ahLst/>
              <a:cxnLst>
                <a:cxn ang="0">
                  <a:pos x="107" y="56"/>
                </a:cxn>
                <a:cxn ang="0">
                  <a:pos x="103" y="52"/>
                </a:cxn>
                <a:cxn ang="0">
                  <a:pos x="91" y="52"/>
                </a:cxn>
                <a:cxn ang="0">
                  <a:pos x="79" y="56"/>
                </a:cxn>
                <a:cxn ang="0">
                  <a:pos x="71" y="52"/>
                </a:cxn>
                <a:cxn ang="0">
                  <a:pos x="63" y="48"/>
                </a:cxn>
                <a:cxn ang="0">
                  <a:pos x="59" y="44"/>
                </a:cxn>
                <a:cxn ang="0">
                  <a:pos x="56" y="52"/>
                </a:cxn>
                <a:cxn ang="0">
                  <a:pos x="56" y="40"/>
                </a:cxn>
                <a:cxn ang="0">
                  <a:pos x="48" y="44"/>
                </a:cxn>
                <a:cxn ang="0">
                  <a:pos x="36" y="48"/>
                </a:cxn>
                <a:cxn ang="0">
                  <a:pos x="28" y="56"/>
                </a:cxn>
                <a:cxn ang="0">
                  <a:pos x="20" y="48"/>
                </a:cxn>
                <a:cxn ang="0">
                  <a:pos x="20" y="44"/>
                </a:cxn>
                <a:cxn ang="0">
                  <a:pos x="12" y="48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12" y="40"/>
                </a:cxn>
                <a:cxn ang="0">
                  <a:pos x="20" y="32"/>
                </a:cxn>
                <a:cxn ang="0">
                  <a:pos x="32" y="28"/>
                </a:cxn>
                <a:cxn ang="0">
                  <a:pos x="44" y="20"/>
                </a:cxn>
                <a:cxn ang="0">
                  <a:pos x="48" y="12"/>
                </a:cxn>
                <a:cxn ang="0">
                  <a:pos x="48" y="16"/>
                </a:cxn>
                <a:cxn ang="0">
                  <a:pos x="56" y="12"/>
                </a:cxn>
                <a:cxn ang="0">
                  <a:pos x="59" y="4"/>
                </a:cxn>
                <a:cxn ang="0">
                  <a:pos x="56" y="12"/>
                </a:cxn>
                <a:cxn ang="0">
                  <a:pos x="59" y="8"/>
                </a:cxn>
                <a:cxn ang="0">
                  <a:pos x="59" y="4"/>
                </a:cxn>
                <a:cxn ang="0">
                  <a:pos x="63" y="4"/>
                </a:cxn>
                <a:cxn ang="0">
                  <a:pos x="75" y="8"/>
                </a:cxn>
                <a:cxn ang="0">
                  <a:pos x="83" y="8"/>
                </a:cxn>
                <a:cxn ang="0">
                  <a:pos x="91" y="12"/>
                </a:cxn>
                <a:cxn ang="0">
                  <a:pos x="95" y="20"/>
                </a:cxn>
                <a:cxn ang="0">
                  <a:pos x="103" y="24"/>
                </a:cxn>
                <a:cxn ang="0">
                  <a:pos x="111" y="28"/>
                </a:cxn>
                <a:cxn ang="0">
                  <a:pos x="111" y="36"/>
                </a:cxn>
                <a:cxn ang="0">
                  <a:pos x="111" y="40"/>
                </a:cxn>
                <a:cxn ang="0">
                  <a:pos x="119" y="48"/>
                </a:cxn>
                <a:cxn ang="0">
                  <a:pos x="119" y="52"/>
                </a:cxn>
                <a:cxn ang="0">
                  <a:pos x="56" y="20"/>
                </a:cxn>
                <a:cxn ang="0">
                  <a:pos x="44" y="24"/>
                </a:cxn>
                <a:cxn ang="0">
                  <a:pos x="48" y="24"/>
                </a:cxn>
                <a:cxn ang="0">
                  <a:pos x="56" y="20"/>
                </a:cxn>
                <a:cxn ang="0">
                  <a:pos x="56" y="40"/>
                </a:cxn>
                <a:cxn ang="0">
                  <a:pos x="59" y="44"/>
                </a:cxn>
                <a:cxn ang="0">
                  <a:pos x="63" y="36"/>
                </a:cxn>
                <a:cxn ang="0">
                  <a:pos x="59" y="36"/>
                </a:cxn>
              </a:cxnLst>
              <a:rect l="0" t="0" r="r" b="b"/>
              <a:pathLst>
                <a:path w="119" h="56">
                  <a:moveTo>
                    <a:pt x="115" y="56"/>
                  </a:moveTo>
                  <a:lnTo>
                    <a:pt x="111" y="56"/>
                  </a:lnTo>
                  <a:lnTo>
                    <a:pt x="107" y="56"/>
                  </a:lnTo>
                  <a:lnTo>
                    <a:pt x="107" y="52"/>
                  </a:lnTo>
                  <a:lnTo>
                    <a:pt x="107" y="48"/>
                  </a:lnTo>
                  <a:lnTo>
                    <a:pt x="103" y="52"/>
                  </a:lnTo>
                  <a:lnTo>
                    <a:pt x="99" y="52"/>
                  </a:lnTo>
                  <a:lnTo>
                    <a:pt x="95" y="52"/>
                  </a:lnTo>
                  <a:lnTo>
                    <a:pt x="91" y="52"/>
                  </a:lnTo>
                  <a:lnTo>
                    <a:pt x="87" y="56"/>
                  </a:lnTo>
                  <a:lnTo>
                    <a:pt x="83" y="56"/>
                  </a:lnTo>
                  <a:lnTo>
                    <a:pt x="79" y="56"/>
                  </a:lnTo>
                  <a:lnTo>
                    <a:pt x="75" y="56"/>
                  </a:lnTo>
                  <a:lnTo>
                    <a:pt x="71" y="56"/>
                  </a:lnTo>
                  <a:lnTo>
                    <a:pt x="71" y="52"/>
                  </a:lnTo>
                  <a:lnTo>
                    <a:pt x="71" y="48"/>
                  </a:lnTo>
                  <a:lnTo>
                    <a:pt x="67" y="48"/>
                  </a:lnTo>
                  <a:lnTo>
                    <a:pt x="63" y="48"/>
                  </a:lnTo>
                  <a:lnTo>
                    <a:pt x="59" y="48"/>
                  </a:lnTo>
                  <a:lnTo>
                    <a:pt x="63" y="44"/>
                  </a:lnTo>
                  <a:lnTo>
                    <a:pt x="59" y="44"/>
                  </a:lnTo>
                  <a:lnTo>
                    <a:pt x="59" y="48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52" y="40"/>
                  </a:lnTo>
                  <a:lnTo>
                    <a:pt x="52" y="44"/>
                  </a:lnTo>
                  <a:lnTo>
                    <a:pt x="48" y="44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36" y="48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28" y="56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4" y="52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59" y="4"/>
                  </a:lnTo>
                  <a:lnTo>
                    <a:pt x="59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9" y="8"/>
                  </a:lnTo>
                  <a:lnTo>
                    <a:pt x="59" y="12"/>
                  </a:lnTo>
                  <a:lnTo>
                    <a:pt x="59" y="8"/>
                  </a:lnTo>
                  <a:lnTo>
                    <a:pt x="63" y="8"/>
                  </a:lnTo>
                  <a:lnTo>
                    <a:pt x="63" y="4"/>
                  </a:lnTo>
                  <a:lnTo>
                    <a:pt x="59" y="4"/>
                  </a:lnTo>
                  <a:lnTo>
                    <a:pt x="59" y="0"/>
                  </a:lnTo>
                  <a:lnTo>
                    <a:pt x="63" y="0"/>
                  </a:lnTo>
                  <a:lnTo>
                    <a:pt x="63" y="4"/>
                  </a:lnTo>
                  <a:lnTo>
                    <a:pt x="67" y="4"/>
                  </a:lnTo>
                  <a:lnTo>
                    <a:pt x="71" y="4"/>
                  </a:lnTo>
                  <a:lnTo>
                    <a:pt x="75" y="8"/>
                  </a:lnTo>
                  <a:lnTo>
                    <a:pt x="79" y="4"/>
                  </a:lnTo>
                  <a:lnTo>
                    <a:pt x="79" y="8"/>
                  </a:lnTo>
                  <a:lnTo>
                    <a:pt x="83" y="8"/>
                  </a:lnTo>
                  <a:lnTo>
                    <a:pt x="83" y="4"/>
                  </a:lnTo>
                  <a:lnTo>
                    <a:pt x="87" y="8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5" y="20"/>
                  </a:lnTo>
                  <a:lnTo>
                    <a:pt x="95" y="24"/>
                  </a:lnTo>
                  <a:lnTo>
                    <a:pt x="99" y="24"/>
                  </a:lnTo>
                  <a:lnTo>
                    <a:pt x="103" y="24"/>
                  </a:lnTo>
                  <a:lnTo>
                    <a:pt x="107" y="24"/>
                  </a:lnTo>
                  <a:lnTo>
                    <a:pt x="111" y="24"/>
                  </a:lnTo>
                  <a:lnTo>
                    <a:pt x="111" y="28"/>
                  </a:lnTo>
                  <a:lnTo>
                    <a:pt x="107" y="32"/>
                  </a:lnTo>
                  <a:lnTo>
                    <a:pt x="111" y="32"/>
                  </a:lnTo>
                  <a:lnTo>
                    <a:pt x="111" y="36"/>
                  </a:lnTo>
                  <a:lnTo>
                    <a:pt x="115" y="36"/>
                  </a:lnTo>
                  <a:lnTo>
                    <a:pt x="115" y="40"/>
                  </a:lnTo>
                  <a:lnTo>
                    <a:pt x="111" y="40"/>
                  </a:lnTo>
                  <a:lnTo>
                    <a:pt x="111" y="44"/>
                  </a:lnTo>
                  <a:lnTo>
                    <a:pt x="115" y="48"/>
                  </a:lnTo>
                  <a:lnTo>
                    <a:pt x="119" y="48"/>
                  </a:lnTo>
                  <a:lnTo>
                    <a:pt x="115" y="48"/>
                  </a:lnTo>
                  <a:lnTo>
                    <a:pt x="115" y="52"/>
                  </a:lnTo>
                  <a:lnTo>
                    <a:pt x="119" y="52"/>
                  </a:lnTo>
                  <a:lnTo>
                    <a:pt x="115" y="52"/>
                  </a:lnTo>
                  <a:lnTo>
                    <a:pt x="115" y="56"/>
                  </a:lnTo>
                  <a:close/>
                  <a:moveTo>
                    <a:pt x="56" y="20"/>
                  </a:moveTo>
                  <a:lnTo>
                    <a:pt x="52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0"/>
                  </a:lnTo>
                  <a:close/>
                  <a:moveTo>
                    <a:pt x="56" y="40"/>
                  </a:moveTo>
                  <a:lnTo>
                    <a:pt x="56" y="44"/>
                  </a:lnTo>
                  <a:lnTo>
                    <a:pt x="56" y="40"/>
                  </a:lnTo>
                  <a:lnTo>
                    <a:pt x="59" y="40"/>
                  </a:lnTo>
                  <a:lnTo>
                    <a:pt x="56" y="44"/>
                  </a:lnTo>
                  <a:lnTo>
                    <a:pt x="59" y="44"/>
                  </a:lnTo>
                  <a:lnTo>
                    <a:pt x="59" y="40"/>
                  </a:lnTo>
                  <a:lnTo>
                    <a:pt x="63" y="40"/>
                  </a:lnTo>
                  <a:lnTo>
                    <a:pt x="63" y="36"/>
                  </a:lnTo>
                  <a:lnTo>
                    <a:pt x="67" y="36"/>
                  </a:lnTo>
                  <a:lnTo>
                    <a:pt x="63" y="36"/>
                  </a:lnTo>
                  <a:lnTo>
                    <a:pt x="59" y="36"/>
                  </a:lnTo>
                  <a:lnTo>
                    <a:pt x="56" y="36"/>
                  </a:lnTo>
                  <a:lnTo>
                    <a:pt x="56" y="4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  <p:sp>
          <p:nvSpPr>
            <p:cNvPr id="213" name="Freeform 380"/>
            <p:cNvSpPr>
              <a:spLocks noEditPoints="1"/>
            </p:cNvSpPr>
            <p:nvPr>
              <p:custDataLst>
                <p:tags r:id="rId405"/>
              </p:custDataLst>
            </p:nvPr>
          </p:nvSpPr>
          <p:spPr bwMode="gray">
            <a:xfrm>
              <a:off x="2399139" y="3273062"/>
              <a:ext cx="71187" cy="140892"/>
            </a:xfrm>
            <a:custGeom>
              <a:avLst/>
              <a:gdLst/>
              <a:ahLst/>
              <a:cxnLst>
                <a:cxn ang="0">
                  <a:pos x="48" y="8"/>
                </a:cxn>
                <a:cxn ang="0">
                  <a:pos x="48" y="8"/>
                </a:cxn>
                <a:cxn ang="0">
                  <a:pos x="44" y="12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44" y="16"/>
                </a:cxn>
                <a:cxn ang="0">
                  <a:pos x="40" y="20"/>
                </a:cxn>
                <a:cxn ang="0">
                  <a:pos x="36" y="28"/>
                </a:cxn>
                <a:cxn ang="0">
                  <a:pos x="36" y="28"/>
                </a:cxn>
                <a:cxn ang="0">
                  <a:pos x="40" y="24"/>
                </a:cxn>
                <a:cxn ang="0">
                  <a:pos x="36" y="28"/>
                </a:cxn>
                <a:cxn ang="0">
                  <a:pos x="36" y="24"/>
                </a:cxn>
                <a:cxn ang="0">
                  <a:pos x="36" y="20"/>
                </a:cxn>
                <a:cxn ang="0">
                  <a:pos x="36" y="24"/>
                </a:cxn>
                <a:cxn ang="0">
                  <a:pos x="32" y="24"/>
                </a:cxn>
                <a:cxn ang="0">
                  <a:pos x="28" y="28"/>
                </a:cxn>
                <a:cxn ang="0">
                  <a:pos x="28" y="32"/>
                </a:cxn>
                <a:cxn ang="0">
                  <a:pos x="24" y="44"/>
                </a:cxn>
                <a:cxn ang="0">
                  <a:pos x="24" y="52"/>
                </a:cxn>
                <a:cxn ang="0">
                  <a:pos x="24" y="52"/>
                </a:cxn>
                <a:cxn ang="0">
                  <a:pos x="28" y="68"/>
                </a:cxn>
                <a:cxn ang="0">
                  <a:pos x="28" y="79"/>
                </a:cxn>
                <a:cxn ang="0">
                  <a:pos x="20" y="87"/>
                </a:cxn>
                <a:cxn ang="0">
                  <a:pos x="12" y="95"/>
                </a:cxn>
                <a:cxn ang="0">
                  <a:pos x="8" y="95"/>
                </a:cxn>
                <a:cxn ang="0">
                  <a:pos x="4" y="87"/>
                </a:cxn>
                <a:cxn ang="0">
                  <a:pos x="4" y="79"/>
                </a:cxn>
                <a:cxn ang="0">
                  <a:pos x="4" y="72"/>
                </a:cxn>
                <a:cxn ang="0">
                  <a:pos x="4" y="64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8" y="32"/>
                </a:cxn>
                <a:cxn ang="0">
                  <a:pos x="4" y="28"/>
                </a:cxn>
                <a:cxn ang="0">
                  <a:pos x="0" y="36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12" y="16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24" y="4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36" y="4"/>
                </a:cxn>
                <a:cxn ang="0">
                  <a:pos x="36" y="0"/>
                </a:cxn>
                <a:cxn ang="0">
                  <a:pos x="44" y="4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8" y="28"/>
                </a:cxn>
                <a:cxn ang="0">
                  <a:pos x="12" y="28"/>
                </a:cxn>
                <a:cxn ang="0">
                  <a:pos x="12" y="24"/>
                </a:cxn>
                <a:cxn ang="0">
                  <a:pos x="16" y="20"/>
                </a:cxn>
              </a:cxnLst>
              <a:rect l="0" t="0" r="r" b="b"/>
              <a:pathLst>
                <a:path w="48" h="95">
                  <a:moveTo>
                    <a:pt x="48" y="8"/>
                  </a:move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4" y="40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4" y="87"/>
                  </a:lnTo>
                  <a:lnTo>
                    <a:pt x="24" y="87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20" y="87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20" y="91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12" y="95"/>
                  </a:lnTo>
                  <a:lnTo>
                    <a:pt x="8" y="95"/>
                  </a:lnTo>
                  <a:lnTo>
                    <a:pt x="8" y="95"/>
                  </a:lnTo>
                  <a:lnTo>
                    <a:pt x="8" y="95"/>
                  </a:lnTo>
                  <a:lnTo>
                    <a:pt x="8" y="95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8" y="91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7"/>
                  </a:lnTo>
                  <a:lnTo>
                    <a:pt x="4" y="83"/>
                  </a:lnTo>
                  <a:lnTo>
                    <a:pt x="4" y="83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9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8"/>
                  </a:lnTo>
                  <a:close/>
                  <a:moveTo>
                    <a:pt x="16" y="20"/>
                  </a:move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  <p:sp>
          <p:nvSpPr>
            <p:cNvPr id="214" name="Freeform 381"/>
            <p:cNvSpPr>
              <a:spLocks/>
            </p:cNvSpPr>
            <p:nvPr>
              <p:custDataLst>
                <p:tags r:id="rId406"/>
              </p:custDataLst>
            </p:nvPr>
          </p:nvSpPr>
          <p:spPr bwMode="gray">
            <a:xfrm>
              <a:off x="2583038" y="3326452"/>
              <a:ext cx="88984" cy="41526"/>
            </a:xfrm>
            <a:custGeom>
              <a:avLst/>
              <a:gdLst/>
              <a:ahLst/>
              <a:cxnLst>
                <a:cxn ang="0">
                  <a:pos x="12" y="24"/>
                </a:cxn>
                <a:cxn ang="0">
                  <a:pos x="4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8" y="16"/>
                </a:cxn>
                <a:cxn ang="0">
                  <a:pos x="12" y="12"/>
                </a:cxn>
                <a:cxn ang="0">
                  <a:pos x="24" y="12"/>
                </a:cxn>
                <a:cxn ang="0">
                  <a:pos x="32" y="8"/>
                </a:cxn>
                <a:cxn ang="0">
                  <a:pos x="36" y="8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8"/>
                </a:cxn>
                <a:cxn ang="0">
                  <a:pos x="36" y="8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8" y="4"/>
                </a:cxn>
                <a:cxn ang="0">
                  <a:pos x="52" y="4"/>
                </a:cxn>
                <a:cxn ang="0">
                  <a:pos x="56" y="0"/>
                </a:cxn>
                <a:cxn ang="0">
                  <a:pos x="60" y="0"/>
                </a:cxn>
                <a:cxn ang="0">
                  <a:pos x="60" y="0"/>
                </a:cxn>
                <a:cxn ang="0">
                  <a:pos x="60" y="0"/>
                </a:cxn>
                <a:cxn ang="0">
                  <a:pos x="60" y="0"/>
                </a:cxn>
                <a:cxn ang="0">
                  <a:pos x="56" y="4"/>
                </a:cxn>
                <a:cxn ang="0">
                  <a:pos x="52" y="8"/>
                </a:cxn>
                <a:cxn ang="0">
                  <a:pos x="52" y="8"/>
                </a:cxn>
                <a:cxn ang="0">
                  <a:pos x="56" y="8"/>
                </a:cxn>
                <a:cxn ang="0">
                  <a:pos x="56" y="8"/>
                </a:cxn>
                <a:cxn ang="0">
                  <a:pos x="56" y="12"/>
                </a:cxn>
                <a:cxn ang="0">
                  <a:pos x="56" y="8"/>
                </a:cxn>
                <a:cxn ang="0">
                  <a:pos x="56" y="12"/>
                </a:cxn>
                <a:cxn ang="0">
                  <a:pos x="56" y="12"/>
                </a:cxn>
                <a:cxn ang="0">
                  <a:pos x="56" y="20"/>
                </a:cxn>
                <a:cxn ang="0">
                  <a:pos x="52" y="20"/>
                </a:cxn>
                <a:cxn ang="0">
                  <a:pos x="52" y="20"/>
                </a:cxn>
                <a:cxn ang="0">
                  <a:pos x="48" y="24"/>
                </a:cxn>
                <a:cxn ang="0">
                  <a:pos x="44" y="24"/>
                </a:cxn>
                <a:cxn ang="0">
                  <a:pos x="36" y="24"/>
                </a:cxn>
                <a:cxn ang="0">
                  <a:pos x="36" y="24"/>
                </a:cxn>
                <a:cxn ang="0">
                  <a:pos x="32" y="24"/>
                </a:cxn>
                <a:cxn ang="0">
                  <a:pos x="32" y="24"/>
                </a:cxn>
                <a:cxn ang="0">
                  <a:pos x="20" y="24"/>
                </a:cxn>
                <a:cxn ang="0">
                  <a:pos x="16" y="24"/>
                </a:cxn>
              </a:cxnLst>
              <a:rect l="0" t="0" r="r" b="b"/>
              <a:pathLst>
                <a:path w="60" h="28">
                  <a:moveTo>
                    <a:pt x="12" y="24"/>
                  </a:move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6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2" y="24"/>
                  </a:lnTo>
                  <a:lnTo>
                    <a:pt x="12" y="24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  <p:sp>
          <p:nvSpPr>
            <p:cNvPr id="215" name="Freeform 382"/>
            <p:cNvSpPr>
              <a:spLocks noEditPoints="1"/>
            </p:cNvSpPr>
            <p:nvPr>
              <p:custDataLst>
                <p:tags r:id="rId407"/>
              </p:custDataLst>
            </p:nvPr>
          </p:nvSpPr>
          <p:spPr bwMode="gray">
            <a:xfrm>
              <a:off x="2470326" y="3261197"/>
              <a:ext cx="118645" cy="112713"/>
            </a:xfrm>
            <a:custGeom>
              <a:avLst/>
              <a:gdLst/>
              <a:ahLst/>
              <a:cxnLst>
                <a:cxn ang="0">
                  <a:pos x="36" y="68"/>
                </a:cxn>
                <a:cxn ang="0">
                  <a:pos x="32" y="60"/>
                </a:cxn>
                <a:cxn ang="0">
                  <a:pos x="28" y="52"/>
                </a:cxn>
                <a:cxn ang="0">
                  <a:pos x="20" y="60"/>
                </a:cxn>
                <a:cxn ang="0">
                  <a:pos x="12" y="60"/>
                </a:cxn>
                <a:cxn ang="0">
                  <a:pos x="16" y="52"/>
                </a:cxn>
                <a:cxn ang="0">
                  <a:pos x="24" y="48"/>
                </a:cxn>
                <a:cxn ang="0">
                  <a:pos x="24" y="36"/>
                </a:cxn>
                <a:cxn ang="0">
                  <a:pos x="24" y="28"/>
                </a:cxn>
                <a:cxn ang="0">
                  <a:pos x="20" y="24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16" y="12"/>
                </a:cxn>
                <a:cxn ang="0">
                  <a:pos x="12" y="8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20" y="4"/>
                </a:cxn>
                <a:cxn ang="0">
                  <a:pos x="32" y="8"/>
                </a:cxn>
                <a:cxn ang="0">
                  <a:pos x="36" y="8"/>
                </a:cxn>
                <a:cxn ang="0">
                  <a:pos x="48" y="8"/>
                </a:cxn>
                <a:cxn ang="0">
                  <a:pos x="48" y="12"/>
                </a:cxn>
                <a:cxn ang="0">
                  <a:pos x="60" y="12"/>
                </a:cxn>
                <a:cxn ang="0">
                  <a:pos x="64" y="20"/>
                </a:cxn>
                <a:cxn ang="0">
                  <a:pos x="72" y="24"/>
                </a:cxn>
                <a:cxn ang="0">
                  <a:pos x="76" y="32"/>
                </a:cxn>
                <a:cxn ang="0">
                  <a:pos x="76" y="36"/>
                </a:cxn>
                <a:cxn ang="0">
                  <a:pos x="72" y="44"/>
                </a:cxn>
                <a:cxn ang="0">
                  <a:pos x="64" y="40"/>
                </a:cxn>
                <a:cxn ang="0">
                  <a:pos x="60" y="32"/>
                </a:cxn>
                <a:cxn ang="0">
                  <a:pos x="48" y="28"/>
                </a:cxn>
                <a:cxn ang="0">
                  <a:pos x="56" y="40"/>
                </a:cxn>
                <a:cxn ang="0">
                  <a:pos x="48" y="52"/>
                </a:cxn>
                <a:cxn ang="0">
                  <a:pos x="48" y="64"/>
                </a:cxn>
                <a:cxn ang="0">
                  <a:pos x="44" y="72"/>
                </a:cxn>
                <a:cxn ang="0">
                  <a:pos x="28" y="12"/>
                </a:cxn>
                <a:cxn ang="0">
                  <a:pos x="28" y="16"/>
                </a:cxn>
                <a:cxn ang="0">
                  <a:pos x="40" y="16"/>
                </a:cxn>
                <a:cxn ang="0">
                  <a:pos x="44" y="16"/>
                </a:cxn>
                <a:cxn ang="0">
                  <a:pos x="48" y="20"/>
                </a:cxn>
                <a:cxn ang="0">
                  <a:pos x="44" y="12"/>
                </a:cxn>
                <a:cxn ang="0">
                  <a:pos x="32" y="16"/>
                </a:cxn>
              </a:cxnLst>
              <a:rect l="0" t="0" r="r" b="b"/>
              <a:pathLst>
                <a:path w="80" h="76">
                  <a:moveTo>
                    <a:pt x="36" y="76"/>
                  </a:moveTo>
                  <a:lnTo>
                    <a:pt x="36" y="72"/>
                  </a:lnTo>
                  <a:lnTo>
                    <a:pt x="36" y="68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28" y="52"/>
                  </a:lnTo>
                  <a:lnTo>
                    <a:pt x="24" y="52"/>
                  </a:lnTo>
                  <a:lnTo>
                    <a:pt x="24" y="56"/>
                  </a:lnTo>
                  <a:lnTo>
                    <a:pt x="20" y="60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4" y="36"/>
                  </a:lnTo>
                  <a:lnTo>
                    <a:pt x="20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76" y="32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76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68" y="44"/>
                  </a:lnTo>
                  <a:lnTo>
                    <a:pt x="68" y="40"/>
                  </a:lnTo>
                  <a:lnTo>
                    <a:pt x="64" y="40"/>
                  </a:lnTo>
                  <a:lnTo>
                    <a:pt x="60" y="40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52" y="32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2" y="44"/>
                  </a:lnTo>
                  <a:lnTo>
                    <a:pt x="48" y="48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44" y="68"/>
                  </a:lnTo>
                  <a:lnTo>
                    <a:pt x="44" y="72"/>
                  </a:lnTo>
                  <a:lnTo>
                    <a:pt x="40" y="72"/>
                  </a:lnTo>
                  <a:lnTo>
                    <a:pt x="36" y="76"/>
                  </a:lnTo>
                  <a:close/>
                  <a:moveTo>
                    <a:pt x="28" y="12"/>
                  </a:moveTo>
                  <a:lnTo>
                    <a:pt x="24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4" y="20"/>
                  </a:lnTo>
                  <a:lnTo>
                    <a:pt x="48" y="20"/>
                  </a:lnTo>
                  <a:lnTo>
                    <a:pt x="48" y="16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28" y="12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  <p:sp>
          <p:nvSpPr>
            <p:cNvPr id="216" name="Freeform 383"/>
            <p:cNvSpPr>
              <a:spLocks/>
            </p:cNvSpPr>
            <p:nvPr>
              <p:custDataLst>
                <p:tags r:id="rId408"/>
              </p:custDataLst>
            </p:nvPr>
          </p:nvSpPr>
          <p:spPr bwMode="gray">
            <a:xfrm>
              <a:off x="2499987" y="3373910"/>
              <a:ext cx="106781" cy="45975"/>
            </a:xfrm>
            <a:custGeom>
              <a:avLst/>
              <a:gdLst/>
              <a:ahLst/>
              <a:cxnLst>
                <a:cxn ang="0">
                  <a:pos x="72" y="0"/>
                </a:cxn>
                <a:cxn ang="0">
                  <a:pos x="72" y="4"/>
                </a:cxn>
                <a:cxn ang="0">
                  <a:pos x="72" y="4"/>
                </a:cxn>
                <a:cxn ang="0">
                  <a:pos x="60" y="11"/>
                </a:cxn>
                <a:cxn ang="0">
                  <a:pos x="56" y="15"/>
                </a:cxn>
                <a:cxn ang="0">
                  <a:pos x="48" y="19"/>
                </a:cxn>
                <a:cxn ang="0">
                  <a:pos x="44" y="19"/>
                </a:cxn>
                <a:cxn ang="0">
                  <a:pos x="36" y="23"/>
                </a:cxn>
                <a:cxn ang="0">
                  <a:pos x="32" y="27"/>
                </a:cxn>
                <a:cxn ang="0">
                  <a:pos x="28" y="31"/>
                </a:cxn>
                <a:cxn ang="0">
                  <a:pos x="24" y="31"/>
                </a:cxn>
                <a:cxn ang="0">
                  <a:pos x="24" y="31"/>
                </a:cxn>
                <a:cxn ang="0">
                  <a:pos x="20" y="31"/>
                </a:cxn>
                <a:cxn ang="0">
                  <a:pos x="16" y="31"/>
                </a:cxn>
                <a:cxn ang="0">
                  <a:pos x="12" y="31"/>
                </a:cxn>
                <a:cxn ang="0">
                  <a:pos x="8" y="31"/>
                </a:cxn>
                <a:cxn ang="0">
                  <a:pos x="8" y="31"/>
                </a:cxn>
                <a:cxn ang="0">
                  <a:pos x="12" y="31"/>
                </a:cxn>
                <a:cxn ang="0">
                  <a:pos x="12" y="31"/>
                </a:cxn>
                <a:cxn ang="0">
                  <a:pos x="12" y="27"/>
                </a:cxn>
                <a:cxn ang="0">
                  <a:pos x="12" y="27"/>
                </a:cxn>
                <a:cxn ang="0">
                  <a:pos x="8" y="27"/>
                </a:cxn>
                <a:cxn ang="0">
                  <a:pos x="8" y="27"/>
                </a:cxn>
                <a:cxn ang="0">
                  <a:pos x="4" y="27"/>
                </a:cxn>
                <a:cxn ang="0">
                  <a:pos x="0" y="23"/>
                </a:cxn>
                <a:cxn ang="0">
                  <a:pos x="0" y="23"/>
                </a:cxn>
                <a:cxn ang="0">
                  <a:pos x="4" y="19"/>
                </a:cxn>
                <a:cxn ang="0">
                  <a:pos x="4" y="15"/>
                </a:cxn>
                <a:cxn ang="0">
                  <a:pos x="8" y="11"/>
                </a:cxn>
                <a:cxn ang="0">
                  <a:pos x="8" y="11"/>
                </a:cxn>
                <a:cxn ang="0">
                  <a:pos x="8" y="19"/>
                </a:cxn>
                <a:cxn ang="0">
                  <a:pos x="8" y="19"/>
                </a:cxn>
                <a:cxn ang="0">
                  <a:pos x="12" y="19"/>
                </a:cxn>
                <a:cxn ang="0">
                  <a:pos x="12" y="19"/>
                </a:cxn>
                <a:cxn ang="0">
                  <a:pos x="16" y="19"/>
                </a:cxn>
                <a:cxn ang="0">
                  <a:pos x="16" y="19"/>
                </a:cxn>
                <a:cxn ang="0">
                  <a:pos x="20" y="15"/>
                </a:cxn>
                <a:cxn ang="0">
                  <a:pos x="28" y="11"/>
                </a:cxn>
                <a:cxn ang="0">
                  <a:pos x="32" y="8"/>
                </a:cxn>
                <a:cxn ang="0">
                  <a:pos x="36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52" y="8"/>
                </a:cxn>
                <a:cxn ang="0">
                  <a:pos x="52" y="8"/>
                </a:cxn>
                <a:cxn ang="0">
                  <a:pos x="52" y="8"/>
                </a:cxn>
                <a:cxn ang="0">
                  <a:pos x="48" y="8"/>
                </a:cxn>
                <a:cxn ang="0">
                  <a:pos x="48" y="8"/>
                </a:cxn>
                <a:cxn ang="0">
                  <a:pos x="52" y="4"/>
                </a:cxn>
                <a:cxn ang="0">
                  <a:pos x="56" y="4"/>
                </a:cxn>
                <a:cxn ang="0">
                  <a:pos x="60" y="0"/>
                </a:cxn>
                <a:cxn ang="0">
                  <a:pos x="68" y="0"/>
                </a:cxn>
                <a:cxn ang="0">
                  <a:pos x="68" y="4"/>
                </a:cxn>
                <a:cxn ang="0">
                  <a:pos x="72" y="0"/>
                </a:cxn>
              </a:cxnLst>
              <a:rect l="0" t="0" r="r" b="b"/>
              <a:pathLst>
                <a:path w="72" h="31">
                  <a:moveTo>
                    <a:pt x="72" y="0"/>
                  </a:moveTo>
                  <a:lnTo>
                    <a:pt x="72" y="0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4" y="8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2" y="15"/>
                  </a:lnTo>
                  <a:lnTo>
                    <a:pt x="48" y="19"/>
                  </a:lnTo>
                  <a:lnTo>
                    <a:pt x="48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0" y="19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2" y="23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32" y="27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0" y="27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4" y="23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20" y="15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 w="6350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44450" tIns="44450" rIns="44450" bIns="44450"/>
            <a:lstStyle/>
            <a:p>
              <a:endParaRPr lang="en-US" dirty="0">
                <a:ln>
                  <a:solidFill>
                    <a:schemeClr val="accent4"/>
                  </a:solidFill>
                </a:ln>
              </a:endParaRPr>
            </a:p>
          </p:txBody>
        </p:sp>
      </p:grpSp>
      <p:grpSp>
        <p:nvGrpSpPr>
          <p:cNvPr id="221" name="Text"/>
          <p:cNvGrpSpPr>
            <a:grpSpLocks/>
          </p:cNvGrpSpPr>
          <p:nvPr/>
        </p:nvGrpSpPr>
        <p:grpSpPr bwMode="gray">
          <a:xfrm>
            <a:off x="651531" y="946405"/>
            <a:ext cx="11025383" cy="5406216"/>
            <a:chOff x="166688" y="2049463"/>
            <a:chExt cx="8663923" cy="4248291"/>
          </a:xfrm>
        </p:grpSpPr>
        <p:sp>
          <p:nvSpPr>
            <p:cNvPr id="222" name="Rectangle 40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5014913" y="3302001"/>
              <a:ext cx="18643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Romania</a:t>
              </a:r>
            </a:p>
          </p:txBody>
        </p:sp>
        <p:sp>
          <p:nvSpPr>
            <p:cNvPr id="223" name="Rectangle 407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4947456" y="3239969"/>
              <a:ext cx="178872" cy="60464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Hungary</a:t>
              </a:r>
            </a:p>
          </p:txBody>
        </p:sp>
        <p:sp>
          <p:nvSpPr>
            <p:cNvPr id="224" name="Rectangle 408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4962526" y="3538538"/>
              <a:ext cx="1486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reece</a:t>
              </a:r>
            </a:p>
          </p:txBody>
        </p:sp>
        <p:sp>
          <p:nvSpPr>
            <p:cNvPr id="225" name="Rectangle 409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5118101" y="3636963"/>
              <a:ext cx="14360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yprus</a:t>
              </a:r>
            </a:p>
          </p:txBody>
        </p:sp>
        <p:sp>
          <p:nvSpPr>
            <p:cNvPr id="226" name="Rectangle 410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5181601" y="3138488"/>
              <a:ext cx="16249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Ukraine</a:t>
              </a:r>
            </a:p>
          </p:txBody>
        </p:sp>
        <p:sp>
          <p:nvSpPr>
            <p:cNvPr id="227" name="Rectangle 411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4978401" y="2940051"/>
              <a:ext cx="19650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ithuania</a:t>
              </a:r>
            </a:p>
          </p:txBody>
        </p:sp>
        <p:sp>
          <p:nvSpPr>
            <p:cNvPr id="228" name="Rectangle 412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4796949" y="3306357"/>
              <a:ext cx="15242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roatia</a:t>
              </a:r>
            </a:p>
          </p:txBody>
        </p:sp>
        <p:sp>
          <p:nvSpPr>
            <p:cNvPr id="229" name="Rectangle 413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5189538" y="3248026"/>
              <a:ext cx="18013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oldova</a:t>
              </a:r>
            </a:p>
          </p:txBody>
        </p:sp>
        <p:sp>
          <p:nvSpPr>
            <p:cNvPr id="230" name="Rectangle 414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4972052" y="3349626"/>
              <a:ext cx="24563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erb. Mont.</a:t>
              </a:r>
            </a:p>
          </p:txBody>
        </p:sp>
        <p:sp>
          <p:nvSpPr>
            <p:cNvPr id="231" name="Rectangle 415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4657726" y="3071813"/>
              <a:ext cx="19272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ermany</a:t>
              </a:r>
            </a:p>
          </p:txBody>
        </p:sp>
        <p:sp>
          <p:nvSpPr>
            <p:cNvPr id="232" name="Rectangle 416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4449763" y="3254376"/>
              <a:ext cx="24563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witzerland</a:t>
              </a:r>
            </a:p>
          </p:txBody>
        </p:sp>
        <p:sp>
          <p:nvSpPr>
            <p:cNvPr id="233" name="Rectangle 417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4128166" y="3281363"/>
              <a:ext cx="1763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lovenia</a:t>
              </a:r>
            </a:p>
          </p:txBody>
        </p:sp>
        <p:sp>
          <p:nvSpPr>
            <p:cNvPr id="234" name="Rectangle 418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4267201" y="3616326"/>
              <a:ext cx="18391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ibraltar</a:t>
              </a:r>
            </a:p>
          </p:txBody>
        </p:sp>
        <p:sp>
          <p:nvSpPr>
            <p:cNvPr id="235" name="Rectangle 419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4764088" y="3205163"/>
              <a:ext cx="148640" cy="60464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ustria</a:t>
              </a:r>
            </a:p>
          </p:txBody>
        </p:sp>
        <p:sp>
          <p:nvSpPr>
            <p:cNvPr id="236" name="Rectangle 420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4652963" y="3171826"/>
              <a:ext cx="8943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ux.</a:t>
              </a:r>
            </a:p>
          </p:txBody>
        </p:sp>
        <p:sp>
          <p:nvSpPr>
            <p:cNvPr id="237" name="Rectangle 421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4961737" y="3186506"/>
              <a:ext cx="173834" cy="60464"/>
            </a:xfrm>
            <a:prstGeom prst="rect">
              <a:avLst/>
            </a:prstGeom>
            <a:noFill/>
            <a:ln w="317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lovakia</a:t>
              </a:r>
            </a:p>
          </p:txBody>
        </p:sp>
        <p:sp>
          <p:nvSpPr>
            <p:cNvPr id="238" name="Rectangle 422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4872038" y="2506663"/>
              <a:ext cx="16627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weden</a:t>
              </a:r>
            </a:p>
          </p:txBody>
        </p:sp>
        <p:sp>
          <p:nvSpPr>
            <p:cNvPr id="239" name="Rectangle 423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5045076" y="2649538"/>
              <a:ext cx="15242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Finland</a:t>
              </a:r>
            </a:p>
          </p:txBody>
        </p:sp>
        <p:sp>
          <p:nvSpPr>
            <p:cNvPr id="240" name="Rectangle 424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4624388" y="2692401"/>
              <a:ext cx="16249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orway</a:t>
              </a:r>
            </a:p>
          </p:txBody>
        </p:sp>
        <p:sp>
          <p:nvSpPr>
            <p:cNvPr id="241" name="Rectangle 425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gray">
            <a:xfrm>
              <a:off x="4454526" y="3175001"/>
              <a:ext cx="14108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France</a:t>
              </a:r>
            </a:p>
          </p:txBody>
        </p:sp>
        <p:sp>
          <p:nvSpPr>
            <p:cNvPr id="242" name="Rectangle 426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4357688" y="3465513"/>
              <a:ext cx="1171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pain</a:t>
              </a:r>
            </a:p>
          </p:txBody>
        </p:sp>
        <p:sp>
          <p:nvSpPr>
            <p:cNvPr id="243" name="Rectangle 427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4887913" y="3048001"/>
              <a:ext cx="14486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oland</a:t>
              </a:r>
            </a:p>
          </p:txBody>
        </p:sp>
        <p:sp>
          <p:nvSpPr>
            <p:cNvPr id="244" name="Rectangle 428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4743450" y="3386138"/>
              <a:ext cx="9069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taly</a:t>
              </a:r>
            </a:p>
          </p:txBody>
        </p:sp>
        <p:sp>
          <p:nvSpPr>
            <p:cNvPr id="245" name="Rectangle 429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5105401" y="3011488"/>
              <a:ext cx="15493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elarus</a:t>
              </a:r>
            </a:p>
          </p:txBody>
        </p:sp>
        <p:sp>
          <p:nvSpPr>
            <p:cNvPr id="246" name="Rectangle 430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4178301" y="2846388"/>
              <a:ext cx="34011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United Kingdom</a:t>
              </a:r>
            </a:p>
          </p:txBody>
        </p:sp>
        <p:sp>
          <p:nvSpPr>
            <p:cNvPr id="247" name="Rectangle 431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5081588" y="2879726"/>
              <a:ext cx="12848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atvia</a:t>
              </a:r>
            </a:p>
          </p:txBody>
        </p:sp>
        <p:sp>
          <p:nvSpPr>
            <p:cNvPr id="248" name="Rectangle 432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4205288" y="3038476"/>
              <a:ext cx="14360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reland</a:t>
              </a:r>
            </a:p>
          </p:txBody>
        </p:sp>
        <p:sp>
          <p:nvSpPr>
            <p:cNvPr id="249" name="Rectangle 433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5151808" y="3407725"/>
              <a:ext cx="17257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ulgaria</a:t>
              </a:r>
            </a:p>
          </p:txBody>
        </p:sp>
        <p:sp>
          <p:nvSpPr>
            <p:cNvPr id="250" name="Rectangle 434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5092703" y="2814638"/>
              <a:ext cx="15493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stonia</a:t>
              </a:r>
            </a:p>
          </p:txBody>
        </p:sp>
        <p:sp>
          <p:nvSpPr>
            <p:cNvPr id="251" name="Rectangle 435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4164013" y="3482976"/>
              <a:ext cx="17887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ortugal</a:t>
              </a:r>
            </a:p>
          </p:txBody>
        </p:sp>
        <p:sp>
          <p:nvSpPr>
            <p:cNvPr id="252" name="Rectangle 436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4567238" y="2890838"/>
              <a:ext cx="19272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Denmark</a:t>
              </a:r>
            </a:p>
          </p:txBody>
        </p:sp>
        <p:sp>
          <p:nvSpPr>
            <p:cNvPr id="253" name="Rectangle 437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4468813" y="3411538"/>
              <a:ext cx="16879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ndorra</a:t>
              </a:r>
            </a:p>
          </p:txBody>
        </p:sp>
        <p:sp>
          <p:nvSpPr>
            <p:cNvPr id="254" name="Rectangle 438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4525963" y="3001963"/>
              <a:ext cx="25571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etherlands</a:t>
              </a:r>
            </a:p>
          </p:txBody>
        </p:sp>
        <p:sp>
          <p:nvSpPr>
            <p:cNvPr id="255" name="Rectangle 439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4532313" y="3116263"/>
              <a:ext cx="17257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elgium</a:t>
              </a:r>
            </a:p>
          </p:txBody>
        </p:sp>
        <p:sp>
          <p:nvSpPr>
            <p:cNvPr id="256" name="Rectangle 440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4762501" y="3130551"/>
              <a:ext cx="23303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zech Rep.</a:t>
              </a:r>
            </a:p>
          </p:txBody>
        </p:sp>
        <p:sp>
          <p:nvSpPr>
            <p:cNvPr id="257" name="Rectangle 441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4875213" y="3451226"/>
              <a:ext cx="15745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lbania</a:t>
              </a:r>
            </a:p>
          </p:txBody>
        </p:sp>
        <p:sp>
          <p:nvSpPr>
            <p:cNvPr id="258" name="Rectangle 442"/>
            <p:cNvSpPr>
              <a:spLocks noChangeArrowheads="1"/>
            </p:cNvSpPr>
            <p:nvPr>
              <p:custDataLst>
                <p:tags r:id="rId40"/>
              </p:custDataLst>
            </p:nvPr>
          </p:nvSpPr>
          <p:spPr bwMode="gray">
            <a:xfrm>
              <a:off x="3842984" y="3335859"/>
              <a:ext cx="26201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osnia Herz.</a:t>
              </a:r>
            </a:p>
          </p:txBody>
        </p:sp>
        <p:sp>
          <p:nvSpPr>
            <p:cNvPr id="259" name="Rectangle 443"/>
            <p:cNvSpPr>
              <a:spLocks noChangeArrowheads="1"/>
            </p:cNvSpPr>
            <p:nvPr>
              <p:custDataLst>
                <p:tags r:id="rId41"/>
              </p:custDataLst>
            </p:nvPr>
          </p:nvSpPr>
          <p:spPr bwMode="gray">
            <a:xfrm>
              <a:off x="4864101" y="3402012"/>
              <a:ext cx="23051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cedonia</a:t>
              </a:r>
            </a:p>
          </p:txBody>
        </p:sp>
        <p:sp>
          <p:nvSpPr>
            <p:cNvPr id="260" name="Rectangle 444"/>
            <p:cNvSpPr>
              <a:spLocks noChangeArrowheads="1"/>
            </p:cNvSpPr>
            <p:nvPr>
              <p:custDataLst>
                <p:tags r:id="rId42"/>
              </p:custDataLst>
            </p:nvPr>
          </p:nvSpPr>
          <p:spPr bwMode="gray">
            <a:xfrm>
              <a:off x="3750882" y="3218665"/>
              <a:ext cx="28216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iechtenstein</a:t>
              </a:r>
            </a:p>
          </p:txBody>
        </p:sp>
        <p:sp>
          <p:nvSpPr>
            <p:cNvPr id="261" name="Rectangle 445"/>
            <p:cNvSpPr>
              <a:spLocks noChangeArrowheads="1"/>
            </p:cNvSpPr>
            <p:nvPr>
              <p:custDataLst>
                <p:tags r:id="rId43"/>
              </p:custDataLst>
            </p:nvPr>
          </p:nvSpPr>
          <p:spPr bwMode="gray">
            <a:xfrm>
              <a:off x="3987801" y="2563813"/>
              <a:ext cx="14990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celand</a:t>
              </a:r>
            </a:p>
          </p:txBody>
        </p:sp>
        <p:grpSp>
          <p:nvGrpSpPr>
            <p:cNvPr id="262" name="Group 472"/>
            <p:cNvGrpSpPr/>
            <p:nvPr/>
          </p:nvGrpSpPr>
          <p:grpSpPr bwMode="gray">
            <a:xfrm>
              <a:off x="4120780" y="3251201"/>
              <a:ext cx="808408" cy="125413"/>
              <a:chOff x="4120780" y="3251201"/>
              <a:chExt cx="808408" cy="125413"/>
            </a:xfrm>
          </p:grpSpPr>
          <p:sp>
            <p:nvSpPr>
              <p:cNvPr id="413" name="Line 450"/>
              <p:cNvSpPr>
                <a:spLocks noChangeShapeType="1"/>
              </p:cNvSpPr>
              <p:nvPr>
                <p:custDataLst>
                  <p:tags r:id="rId194"/>
                </p:custDataLst>
              </p:nvPr>
            </p:nvSpPr>
            <p:spPr bwMode="gray">
              <a:xfrm flipH="1">
                <a:off x="4195763" y="3376614"/>
                <a:ext cx="733425" cy="0"/>
              </a:xfrm>
              <a:prstGeom prst="line">
                <a:avLst/>
              </a:prstGeom>
              <a:noFill/>
              <a:ln w="6350">
                <a:solidFill>
                  <a:schemeClr val="bg2"/>
                </a:solidFill>
                <a:round/>
                <a:headEnd/>
                <a:tailEnd/>
              </a:ln>
              <a:effectLst/>
            </p:spPr>
            <p:txBody>
              <a:bodyPr lIns="45720" rIns="45720" anchor="ctr"/>
              <a:lstStyle/>
              <a:p>
                <a:endParaRPr lang="en-US" sz="5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14" name="Line 451"/>
              <p:cNvSpPr>
                <a:spLocks noChangeShapeType="1"/>
              </p:cNvSpPr>
              <p:nvPr>
                <p:custDataLst>
                  <p:tags r:id="rId195"/>
                </p:custDataLst>
              </p:nvPr>
            </p:nvSpPr>
            <p:spPr bwMode="gray">
              <a:xfrm flipH="1">
                <a:off x="4120780" y="3251201"/>
                <a:ext cx="636214" cy="0"/>
              </a:xfrm>
              <a:prstGeom prst="line">
                <a:avLst/>
              </a:prstGeom>
              <a:noFill/>
              <a:ln w="6350">
                <a:solidFill>
                  <a:schemeClr val="bg2"/>
                </a:solidFill>
                <a:round/>
                <a:headEnd/>
                <a:tailEnd/>
              </a:ln>
              <a:effectLst/>
            </p:spPr>
            <p:txBody>
              <a:bodyPr lIns="45720" rIns="45720" anchor="ctr"/>
              <a:lstStyle/>
              <a:p>
                <a:endParaRPr lang="en-US" sz="5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15" name="Freeform 452"/>
              <p:cNvSpPr>
                <a:spLocks/>
              </p:cNvSpPr>
              <p:nvPr>
                <p:custDataLst>
                  <p:tags r:id="rId196"/>
                </p:custDataLst>
              </p:nvPr>
            </p:nvSpPr>
            <p:spPr bwMode="gray">
              <a:xfrm>
                <a:off x="4371976" y="3298826"/>
                <a:ext cx="488950" cy="22225"/>
              </a:xfrm>
              <a:custGeom>
                <a:avLst/>
                <a:gdLst/>
                <a:ahLst/>
                <a:cxnLst>
                  <a:cxn ang="0">
                    <a:pos x="308" y="0"/>
                  </a:cxn>
                  <a:cxn ang="0">
                    <a:pos x="240" y="0"/>
                  </a:cxn>
                  <a:cxn ang="0">
                    <a:pos x="218" y="14"/>
                  </a:cxn>
                  <a:cxn ang="0">
                    <a:pos x="0" y="14"/>
                  </a:cxn>
                </a:cxnLst>
                <a:rect l="0" t="0" r="r" b="b"/>
                <a:pathLst>
                  <a:path w="308" h="14">
                    <a:moveTo>
                      <a:pt x="308" y="0"/>
                    </a:moveTo>
                    <a:lnTo>
                      <a:pt x="240" y="0"/>
                    </a:lnTo>
                    <a:lnTo>
                      <a:pt x="218" y="14"/>
                    </a:lnTo>
                    <a:lnTo>
                      <a:pt x="0" y="14"/>
                    </a:lnTo>
                  </a:path>
                </a:pathLst>
              </a:custGeom>
              <a:noFill/>
              <a:ln w="6350" cap="flat" cmpd="sng">
                <a:solidFill>
                  <a:schemeClr val="bg2"/>
                </a:solidFill>
                <a:prstDash val="solid"/>
                <a:round/>
                <a:headEnd/>
                <a:tailEnd/>
              </a:ln>
              <a:effectLst/>
            </p:spPr>
            <p:txBody>
              <a:bodyPr lIns="45720" rIns="45720" anchor="ctr"/>
              <a:lstStyle/>
              <a:p>
                <a:endParaRPr lang="en-US" sz="500" dirty="0">
                  <a:solidFill>
                    <a:schemeClr val="accent1"/>
                  </a:solidFill>
                </a:endParaRPr>
              </a:p>
            </p:txBody>
          </p:sp>
        </p:grpSp>
        <p:sp>
          <p:nvSpPr>
            <p:cNvPr id="263" name="Rectangle 209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gray">
            <a:xfrm>
              <a:off x="5373688" y="3621088"/>
              <a:ext cx="1045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yria</a:t>
              </a:r>
            </a:p>
          </p:txBody>
        </p:sp>
        <p:sp>
          <p:nvSpPr>
            <p:cNvPr id="264" name="Rectangle 210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5629275" y="3810001"/>
              <a:ext cx="14612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Kuwait</a:t>
              </a:r>
            </a:p>
          </p:txBody>
        </p:sp>
        <p:sp>
          <p:nvSpPr>
            <p:cNvPr id="265" name="Rectangle 211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5743575" y="3930651"/>
              <a:ext cx="12218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Qatar</a:t>
              </a:r>
            </a:p>
          </p:txBody>
        </p:sp>
        <p:sp>
          <p:nvSpPr>
            <p:cNvPr id="266" name="Rectangle 212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7942263" y="4291013"/>
              <a:ext cx="12722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uam</a:t>
              </a:r>
            </a:p>
          </p:txBody>
        </p:sp>
        <p:sp>
          <p:nvSpPr>
            <p:cNvPr id="267" name="Rectangle 213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7832724" y="4454526"/>
              <a:ext cx="1171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alau</a:t>
              </a:r>
            </a:p>
          </p:txBody>
        </p:sp>
        <p:sp>
          <p:nvSpPr>
            <p:cNvPr id="268" name="Rectangle 214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8181976" y="4378326"/>
              <a:ext cx="2267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icronesia</a:t>
              </a:r>
            </a:p>
          </p:txBody>
        </p:sp>
        <p:sp>
          <p:nvSpPr>
            <p:cNvPr id="269" name="Rectangle 215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6951663" y="5048251"/>
              <a:ext cx="26579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hristmas Is.</a:t>
              </a:r>
            </a:p>
          </p:txBody>
        </p:sp>
        <p:sp>
          <p:nvSpPr>
            <p:cNvPr id="270" name="Rectangle 216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gray">
            <a:xfrm>
              <a:off x="8447088" y="4151313"/>
              <a:ext cx="15493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Wake I.</a:t>
              </a:r>
            </a:p>
          </p:txBody>
        </p:sp>
        <p:sp>
          <p:nvSpPr>
            <p:cNvPr id="271" name="Rectangle 217"/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gray">
            <a:xfrm>
              <a:off x="8596313" y="4411663"/>
              <a:ext cx="23429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rshall Is.</a:t>
              </a:r>
            </a:p>
          </p:txBody>
        </p:sp>
        <p:sp>
          <p:nvSpPr>
            <p:cNvPr id="272" name="Rectangle 218"/>
            <p:cNvSpPr>
              <a:spLocks noChangeArrowheads="1"/>
            </p:cNvSpPr>
            <p:nvPr>
              <p:custDataLst>
                <p:tags r:id="rId53"/>
              </p:custDataLst>
            </p:nvPr>
          </p:nvSpPr>
          <p:spPr bwMode="gray">
            <a:xfrm>
              <a:off x="6186488" y="4559301"/>
              <a:ext cx="18391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ldives</a:t>
              </a:r>
            </a:p>
          </p:txBody>
        </p:sp>
        <p:sp>
          <p:nvSpPr>
            <p:cNvPr id="273" name="Rectangle 219"/>
            <p:cNvSpPr>
              <a:spLocks noChangeArrowheads="1"/>
            </p:cNvSpPr>
            <p:nvPr>
              <p:custDataLst>
                <p:tags r:id="rId54"/>
              </p:custDataLst>
            </p:nvPr>
          </p:nvSpPr>
          <p:spPr bwMode="gray">
            <a:xfrm>
              <a:off x="7048500" y="2576513"/>
              <a:ext cx="13352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Russia</a:t>
              </a:r>
            </a:p>
          </p:txBody>
        </p:sp>
        <p:sp>
          <p:nvSpPr>
            <p:cNvPr id="274" name="Rectangle 220"/>
            <p:cNvSpPr>
              <a:spLocks noChangeArrowheads="1"/>
            </p:cNvSpPr>
            <p:nvPr>
              <p:custDataLst>
                <p:tags r:id="rId55"/>
              </p:custDataLst>
            </p:nvPr>
          </p:nvSpPr>
          <p:spPr bwMode="gray">
            <a:xfrm>
              <a:off x="6789738" y="3613150"/>
              <a:ext cx="11966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hina</a:t>
              </a:r>
            </a:p>
          </p:txBody>
        </p:sp>
        <p:sp>
          <p:nvSpPr>
            <p:cNvPr id="275" name="Rectangle 221"/>
            <p:cNvSpPr>
              <a:spLocks noChangeArrowheads="1"/>
            </p:cNvSpPr>
            <p:nvPr>
              <p:custDataLst>
                <p:tags r:id="rId56"/>
              </p:custDataLst>
            </p:nvPr>
          </p:nvSpPr>
          <p:spPr bwMode="gray">
            <a:xfrm>
              <a:off x="7640638" y="5422901"/>
              <a:ext cx="18517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ustralia</a:t>
              </a:r>
            </a:p>
          </p:txBody>
        </p:sp>
        <p:sp>
          <p:nvSpPr>
            <p:cNvPr id="276" name="Rectangle 222"/>
            <p:cNvSpPr>
              <a:spLocks noChangeArrowheads="1"/>
            </p:cNvSpPr>
            <p:nvPr>
              <p:custDataLst>
                <p:tags r:id="rId57"/>
              </p:custDataLst>
            </p:nvPr>
          </p:nvSpPr>
          <p:spPr bwMode="gray">
            <a:xfrm>
              <a:off x="6364288" y="4014788"/>
              <a:ext cx="10203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ndia</a:t>
              </a:r>
            </a:p>
          </p:txBody>
        </p:sp>
        <p:sp>
          <p:nvSpPr>
            <p:cNvPr id="277" name="Rectangle 223"/>
            <p:cNvSpPr>
              <a:spLocks noChangeArrowheads="1"/>
            </p:cNvSpPr>
            <p:nvPr>
              <p:custDataLst>
                <p:tags r:id="rId58"/>
              </p:custDataLst>
            </p:nvPr>
          </p:nvSpPr>
          <p:spPr bwMode="gray">
            <a:xfrm>
              <a:off x="5770563" y="3689351"/>
              <a:ext cx="8061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ran</a:t>
              </a:r>
            </a:p>
          </p:txBody>
        </p:sp>
        <p:sp>
          <p:nvSpPr>
            <p:cNvPr id="278" name="Rectangle 224"/>
            <p:cNvSpPr>
              <a:spLocks noChangeArrowheads="1"/>
            </p:cNvSpPr>
            <p:nvPr>
              <p:custDataLst>
                <p:tags r:id="rId59"/>
              </p:custDataLst>
            </p:nvPr>
          </p:nvSpPr>
          <p:spPr bwMode="gray">
            <a:xfrm>
              <a:off x="6075363" y="3190875"/>
              <a:ext cx="24311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Kazakhstan</a:t>
              </a:r>
            </a:p>
          </p:txBody>
        </p:sp>
        <p:sp>
          <p:nvSpPr>
            <p:cNvPr id="279" name="Rectangle 225"/>
            <p:cNvSpPr>
              <a:spLocks noChangeArrowheads="1"/>
            </p:cNvSpPr>
            <p:nvPr>
              <p:custDataLst>
                <p:tags r:id="rId60"/>
              </p:custDataLst>
            </p:nvPr>
          </p:nvSpPr>
          <p:spPr bwMode="gray">
            <a:xfrm>
              <a:off x="6883400" y="3243263"/>
              <a:ext cx="1952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ongolia</a:t>
              </a:r>
            </a:p>
          </p:txBody>
        </p:sp>
        <p:sp>
          <p:nvSpPr>
            <p:cNvPr id="280" name="Rectangle 226"/>
            <p:cNvSpPr>
              <a:spLocks noChangeArrowheads="1"/>
            </p:cNvSpPr>
            <p:nvPr>
              <p:custDataLst>
                <p:tags r:id="rId61"/>
              </p:custDataLst>
            </p:nvPr>
          </p:nvSpPr>
          <p:spPr bwMode="gray">
            <a:xfrm>
              <a:off x="5478463" y="3967163"/>
              <a:ext cx="209550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audi Arabia</a:t>
              </a:r>
            </a:p>
          </p:txBody>
        </p:sp>
        <p:sp>
          <p:nvSpPr>
            <p:cNvPr id="281" name="Rectangle 227"/>
            <p:cNvSpPr>
              <a:spLocks noChangeArrowheads="1"/>
            </p:cNvSpPr>
            <p:nvPr>
              <p:custDataLst>
                <p:tags r:id="rId62"/>
              </p:custDataLst>
            </p:nvPr>
          </p:nvSpPr>
          <p:spPr bwMode="gray">
            <a:xfrm>
              <a:off x="5229004" y="3511551"/>
              <a:ext cx="21929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urkey</a:t>
              </a:r>
            </a:p>
          </p:txBody>
        </p:sp>
        <p:sp>
          <p:nvSpPr>
            <p:cNvPr id="282" name="Rectangle 228"/>
            <p:cNvSpPr>
              <a:spLocks noChangeArrowheads="1"/>
            </p:cNvSpPr>
            <p:nvPr>
              <p:custDataLst>
                <p:tags r:id="rId63"/>
              </p:custDataLst>
            </p:nvPr>
          </p:nvSpPr>
          <p:spPr bwMode="gray">
            <a:xfrm>
              <a:off x="5537201" y="3727451"/>
              <a:ext cx="8061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raq</a:t>
              </a:r>
            </a:p>
          </p:txBody>
        </p:sp>
        <p:sp>
          <p:nvSpPr>
            <p:cNvPr id="283" name="Rectangle 229"/>
            <p:cNvSpPr>
              <a:spLocks noChangeArrowheads="1"/>
            </p:cNvSpPr>
            <p:nvPr>
              <p:custDataLst>
                <p:tags r:id="rId64"/>
              </p:custDataLst>
            </p:nvPr>
          </p:nvSpPr>
          <p:spPr bwMode="gray">
            <a:xfrm>
              <a:off x="6032500" y="3833813"/>
              <a:ext cx="17887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akistan</a:t>
              </a:r>
            </a:p>
          </p:txBody>
        </p:sp>
        <p:sp>
          <p:nvSpPr>
            <p:cNvPr id="284" name="Rectangle 230"/>
            <p:cNvSpPr>
              <a:spLocks noChangeArrowheads="1"/>
            </p:cNvSpPr>
            <p:nvPr>
              <p:custDataLst>
                <p:tags r:id="rId65"/>
              </p:custDataLst>
            </p:nvPr>
          </p:nvSpPr>
          <p:spPr bwMode="gray">
            <a:xfrm>
              <a:off x="6723063" y="4037013"/>
              <a:ext cx="20028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yanmar</a:t>
              </a:r>
            </a:p>
          </p:txBody>
        </p:sp>
        <p:sp>
          <p:nvSpPr>
            <p:cNvPr id="285" name="Rectangle 231"/>
            <p:cNvSpPr>
              <a:spLocks noChangeArrowheads="1"/>
            </p:cNvSpPr>
            <p:nvPr>
              <p:custDataLst>
                <p:tags r:id="rId66"/>
              </p:custDataLst>
            </p:nvPr>
          </p:nvSpPr>
          <p:spPr bwMode="gray">
            <a:xfrm>
              <a:off x="5962650" y="3665538"/>
              <a:ext cx="25319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fghanistan</a:t>
              </a:r>
            </a:p>
          </p:txBody>
        </p:sp>
        <p:sp>
          <p:nvSpPr>
            <p:cNvPr id="286" name="Rectangle 232"/>
            <p:cNvSpPr>
              <a:spLocks noChangeArrowheads="1"/>
            </p:cNvSpPr>
            <p:nvPr>
              <p:custDataLst>
                <p:tags r:id="rId67"/>
              </p:custDataLst>
            </p:nvPr>
          </p:nvSpPr>
          <p:spPr bwMode="gray">
            <a:xfrm>
              <a:off x="5884863" y="3382963"/>
              <a:ext cx="23303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Uzbekistan</a:t>
              </a:r>
            </a:p>
          </p:txBody>
        </p:sp>
        <p:sp>
          <p:nvSpPr>
            <p:cNvPr id="287" name="Rectangle 233"/>
            <p:cNvSpPr>
              <a:spLocks noChangeArrowheads="1"/>
            </p:cNvSpPr>
            <p:nvPr>
              <p:custDataLst>
                <p:tags r:id="rId68"/>
              </p:custDataLst>
            </p:nvPr>
          </p:nvSpPr>
          <p:spPr bwMode="gray">
            <a:xfrm>
              <a:off x="5810249" y="3521076"/>
              <a:ext cx="28846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urkmenistan</a:t>
              </a:r>
            </a:p>
          </p:txBody>
        </p:sp>
        <p:sp>
          <p:nvSpPr>
            <p:cNvPr id="288" name="Rectangle 234"/>
            <p:cNvSpPr>
              <a:spLocks noChangeArrowheads="1"/>
            </p:cNvSpPr>
            <p:nvPr>
              <p:custDataLst>
                <p:tags r:id="rId69"/>
              </p:custDataLst>
            </p:nvPr>
          </p:nvSpPr>
          <p:spPr bwMode="gray">
            <a:xfrm>
              <a:off x="6858000" y="4219576"/>
              <a:ext cx="18013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hailand</a:t>
              </a:r>
            </a:p>
          </p:txBody>
        </p:sp>
        <p:sp>
          <p:nvSpPr>
            <p:cNvPr id="289" name="Rectangle 235"/>
            <p:cNvSpPr>
              <a:spLocks noChangeArrowheads="1"/>
            </p:cNvSpPr>
            <p:nvPr>
              <p:custDataLst>
                <p:tags r:id="rId70"/>
              </p:custDataLst>
            </p:nvPr>
          </p:nvSpPr>
          <p:spPr bwMode="gray">
            <a:xfrm>
              <a:off x="5557838" y="4214813"/>
              <a:ext cx="1486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Yemen</a:t>
              </a:r>
            </a:p>
          </p:txBody>
        </p:sp>
        <p:sp>
          <p:nvSpPr>
            <p:cNvPr id="290" name="Rectangle 236"/>
            <p:cNvSpPr>
              <a:spLocks noChangeArrowheads="1"/>
            </p:cNvSpPr>
            <p:nvPr>
              <p:custDataLst>
                <p:tags r:id="rId71"/>
              </p:custDataLst>
            </p:nvPr>
          </p:nvSpPr>
          <p:spPr bwMode="gray">
            <a:xfrm>
              <a:off x="7894638" y="3568701"/>
              <a:ext cx="12218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Japan</a:t>
              </a:r>
            </a:p>
          </p:txBody>
        </p:sp>
        <p:sp>
          <p:nvSpPr>
            <p:cNvPr id="291" name="Rectangle 237"/>
            <p:cNvSpPr>
              <a:spLocks noChangeArrowheads="1"/>
            </p:cNvSpPr>
            <p:nvPr>
              <p:custDataLst>
                <p:tags r:id="rId72"/>
              </p:custDataLst>
            </p:nvPr>
          </p:nvSpPr>
          <p:spPr bwMode="gray">
            <a:xfrm>
              <a:off x="5792789" y="4108451"/>
              <a:ext cx="12974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Oman</a:t>
              </a:r>
            </a:p>
          </p:txBody>
        </p:sp>
        <p:sp>
          <p:nvSpPr>
            <p:cNvPr id="292" name="Rectangle 238"/>
            <p:cNvSpPr>
              <a:spLocks noChangeArrowheads="1"/>
            </p:cNvSpPr>
            <p:nvPr>
              <p:custDataLst>
                <p:tags r:id="rId73"/>
              </p:custDataLst>
            </p:nvPr>
          </p:nvSpPr>
          <p:spPr bwMode="gray">
            <a:xfrm>
              <a:off x="6910389" y="4100513"/>
              <a:ext cx="9825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aos</a:t>
              </a:r>
            </a:p>
          </p:txBody>
        </p:sp>
        <p:sp>
          <p:nvSpPr>
            <p:cNvPr id="293" name="Rectangle 239"/>
            <p:cNvSpPr>
              <a:spLocks noChangeArrowheads="1"/>
            </p:cNvSpPr>
            <p:nvPr>
              <p:custDataLst>
                <p:tags r:id="rId74"/>
              </p:custDataLst>
            </p:nvPr>
          </p:nvSpPr>
          <p:spPr bwMode="gray">
            <a:xfrm>
              <a:off x="7085013" y="4300538"/>
              <a:ext cx="17761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Vietnam</a:t>
              </a:r>
            </a:p>
          </p:txBody>
        </p:sp>
        <p:sp>
          <p:nvSpPr>
            <p:cNvPr id="294" name="Rectangle 240"/>
            <p:cNvSpPr>
              <a:spLocks noChangeArrowheads="1"/>
            </p:cNvSpPr>
            <p:nvPr>
              <p:custDataLst>
                <p:tags r:id="rId75"/>
              </p:custDataLst>
            </p:nvPr>
          </p:nvSpPr>
          <p:spPr bwMode="gray">
            <a:xfrm>
              <a:off x="6465888" y="3849687"/>
              <a:ext cx="12344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epal</a:t>
              </a:r>
            </a:p>
          </p:txBody>
        </p:sp>
        <p:sp>
          <p:nvSpPr>
            <p:cNvPr id="295" name="Rectangle 241"/>
            <p:cNvSpPr>
              <a:spLocks noChangeArrowheads="1"/>
            </p:cNvSpPr>
            <p:nvPr>
              <p:custDataLst>
                <p:tags r:id="rId76"/>
              </p:custDataLst>
            </p:nvPr>
          </p:nvSpPr>
          <p:spPr bwMode="gray">
            <a:xfrm>
              <a:off x="6226176" y="3413126"/>
              <a:ext cx="23303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Kyrgyzstan</a:t>
              </a:r>
            </a:p>
          </p:txBody>
        </p:sp>
        <p:sp>
          <p:nvSpPr>
            <p:cNvPr id="296" name="Rectangle 242"/>
            <p:cNvSpPr>
              <a:spLocks noChangeArrowheads="1"/>
            </p:cNvSpPr>
            <p:nvPr>
              <p:custDataLst>
                <p:tags r:id="rId77"/>
              </p:custDataLst>
            </p:nvPr>
          </p:nvSpPr>
          <p:spPr bwMode="gray">
            <a:xfrm>
              <a:off x="5630864" y="3578226"/>
              <a:ext cx="22296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zerbaijan</a:t>
              </a:r>
            </a:p>
          </p:txBody>
        </p:sp>
        <p:sp>
          <p:nvSpPr>
            <p:cNvPr id="297" name="Rectangle 243"/>
            <p:cNvSpPr>
              <a:spLocks noChangeArrowheads="1"/>
            </p:cNvSpPr>
            <p:nvPr>
              <p:custDataLst>
                <p:tags r:id="rId78"/>
              </p:custDataLst>
            </p:nvPr>
          </p:nvSpPr>
          <p:spPr bwMode="gray">
            <a:xfrm>
              <a:off x="6190761" y="3512334"/>
              <a:ext cx="20154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ajikistan</a:t>
              </a:r>
            </a:p>
          </p:txBody>
        </p:sp>
        <p:sp>
          <p:nvSpPr>
            <p:cNvPr id="298" name="Rectangle 244"/>
            <p:cNvSpPr>
              <a:spLocks noChangeArrowheads="1"/>
            </p:cNvSpPr>
            <p:nvPr>
              <p:custDataLst>
                <p:tags r:id="rId79"/>
              </p:custDataLst>
            </p:nvPr>
          </p:nvSpPr>
          <p:spPr bwMode="gray">
            <a:xfrm>
              <a:off x="8359775" y="5888038"/>
              <a:ext cx="27460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ew Zealand</a:t>
              </a:r>
            </a:p>
          </p:txBody>
        </p:sp>
        <p:sp>
          <p:nvSpPr>
            <p:cNvPr id="299" name="Rectangle 245"/>
            <p:cNvSpPr>
              <a:spLocks noChangeArrowheads="1"/>
            </p:cNvSpPr>
            <p:nvPr>
              <p:custDataLst>
                <p:tags r:id="rId80"/>
              </p:custDataLst>
            </p:nvPr>
          </p:nvSpPr>
          <p:spPr bwMode="gray">
            <a:xfrm>
              <a:off x="7910513" y="4806952"/>
              <a:ext cx="45878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apua New Guinea</a:t>
              </a:r>
            </a:p>
          </p:txBody>
        </p:sp>
        <p:sp>
          <p:nvSpPr>
            <p:cNvPr id="300" name="Rectangle 246"/>
            <p:cNvSpPr>
              <a:spLocks noChangeArrowheads="1"/>
            </p:cNvSpPr>
            <p:nvPr>
              <p:custDataLst>
                <p:tags r:id="rId81"/>
              </p:custDataLst>
            </p:nvPr>
          </p:nvSpPr>
          <p:spPr bwMode="gray">
            <a:xfrm>
              <a:off x="5345112" y="3763963"/>
              <a:ext cx="1398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Jordan</a:t>
              </a:r>
            </a:p>
          </p:txBody>
        </p:sp>
        <p:sp>
          <p:nvSpPr>
            <p:cNvPr id="301" name="Rectangle 247"/>
            <p:cNvSpPr>
              <a:spLocks noChangeArrowheads="1"/>
            </p:cNvSpPr>
            <p:nvPr>
              <p:custDataLst>
                <p:tags r:id="rId82"/>
              </p:custDataLst>
            </p:nvPr>
          </p:nvSpPr>
          <p:spPr bwMode="gray">
            <a:xfrm>
              <a:off x="7427913" y="3465513"/>
              <a:ext cx="25571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orth Korea</a:t>
              </a:r>
            </a:p>
          </p:txBody>
        </p:sp>
        <p:sp>
          <p:nvSpPr>
            <p:cNvPr id="302" name="Rectangle 248"/>
            <p:cNvSpPr>
              <a:spLocks noChangeArrowheads="1"/>
            </p:cNvSpPr>
            <p:nvPr>
              <p:custDataLst>
                <p:tags r:id="rId83"/>
              </p:custDataLst>
            </p:nvPr>
          </p:nvSpPr>
          <p:spPr bwMode="gray">
            <a:xfrm>
              <a:off x="7477126" y="4819651"/>
              <a:ext cx="20028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ndonesia</a:t>
              </a:r>
            </a:p>
          </p:txBody>
        </p:sp>
        <p:sp>
          <p:nvSpPr>
            <p:cNvPr id="303" name="Rectangle 249"/>
            <p:cNvSpPr>
              <a:spLocks noChangeArrowheads="1"/>
            </p:cNvSpPr>
            <p:nvPr>
              <p:custDataLst>
                <p:tags r:id="rId84"/>
              </p:custDataLst>
            </p:nvPr>
          </p:nvSpPr>
          <p:spPr bwMode="gray">
            <a:xfrm>
              <a:off x="6958013" y="4551363"/>
              <a:ext cx="18391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laysia</a:t>
              </a:r>
            </a:p>
          </p:txBody>
        </p:sp>
        <p:sp>
          <p:nvSpPr>
            <p:cNvPr id="304" name="Rectangle 250"/>
            <p:cNvSpPr>
              <a:spLocks noChangeArrowheads="1"/>
            </p:cNvSpPr>
            <p:nvPr>
              <p:custDataLst>
                <p:tags r:id="rId85"/>
              </p:custDataLst>
            </p:nvPr>
          </p:nvSpPr>
          <p:spPr bwMode="gray">
            <a:xfrm>
              <a:off x="6502400" y="3963988"/>
              <a:ext cx="24311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angladesh</a:t>
              </a:r>
            </a:p>
          </p:txBody>
        </p:sp>
        <p:sp>
          <p:nvSpPr>
            <p:cNvPr id="305" name="Rectangle 251"/>
            <p:cNvSpPr>
              <a:spLocks noChangeArrowheads="1"/>
            </p:cNvSpPr>
            <p:nvPr>
              <p:custDataLst>
                <p:tags r:id="rId86"/>
              </p:custDataLst>
            </p:nvPr>
          </p:nvSpPr>
          <p:spPr bwMode="gray">
            <a:xfrm>
              <a:off x="7413625" y="3581401"/>
              <a:ext cx="25823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outh Korea</a:t>
              </a:r>
            </a:p>
          </p:txBody>
        </p:sp>
        <p:sp>
          <p:nvSpPr>
            <p:cNvPr id="306" name="Rectangle 252"/>
            <p:cNvSpPr>
              <a:spLocks noChangeArrowheads="1"/>
            </p:cNvSpPr>
            <p:nvPr>
              <p:custDataLst>
                <p:tags r:id="rId87"/>
              </p:custDataLst>
            </p:nvPr>
          </p:nvSpPr>
          <p:spPr bwMode="gray">
            <a:xfrm>
              <a:off x="6596063" y="3805238"/>
              <a:ext cx="15242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hutan</a:t>
              </a:r>
            </a:p>
          </p:txBody>
        </p:sp>
        <p:sp>
          <p:nvSpPr>
            <p:cNvPr id="307" name="Rectangle 253"/>
            <p:cNvSpPr>
              <a:spLocks noChangeArrowheads="1"/>
            </p:cNvSpPr>
            <p:nvPr>
              <p:custDataLst>
                <p:tags r:id="rId88"/>
              </p:custDataLst>
            </p:nvPr>
          </p:nvSpPr>
          <p:spPr bwMode="gray">
            <a:xfrm>
              <a:off x="6362700" y="4470401"/>
              <a:ext cx="19272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ri Lanka</a:t>
              </a:r>
            </a:p>
          </p:txBody>
        </p:sp>
        <p:sp>
          <p:nvSpPr>
            <p:cNvPr id="308" name="Rectangle 254"/>
            <p:cNvSpPr>
              <a:spLocks noChangeArrowheads="1"/>
            </p:cNvSpPr>
            <p:nvPr>
              <p:custDataLst>
                <p:tags r:id="rId89"/>
              </p:custDataLst>
            </p:nvPr>
          </p:nvSpPr>
          <p:spPr bwMode="gray">
            <a:xfrm>
              <a:off x="7443788" y="4025901"/>
              <a:ext cx="15116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aiwan</a:t>
              </a:r>
            </a:p>
          </p:txBody>
        </p:sp>
        <p:sp>
          <p:nvSpPr>
            <p:cNvPr id="309" name="Rectangle 255"/>
            <p:cNvSpPr>
              <a:spLocks noChangeArrowheads="1"/>
            </p:cNvSpPr>
            <p:nvPr>
              <p:custDataLst>
                <p:tags r:id="rId90"/>
              </p:custDataLst>
            </p:nvPr>
          </p:nvSpPr>
          <p:spPr bwMode="gray">
            <a:xfrm>
              <a:off x="8342313" y="5322888"/>
              <a:ext cx="31365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ew Caledonia</a:t>
              </a:r>
            </a:p>
          </p:txBody>
        </p:sp>
        <p:sp>
          <p:nvSpPr>
            <p:cNvPr id="310" name="Rectangle 256"/>
            <p:cNvSpPr>
              <a:spLocks noChangeArrowheads="1"/>
            </p:cNvSpPr>
            <p:nvPr>
              <p:custDataLst>
                <p:tags r:id="rId91"/>
              </p:custDataLst>
            </p:nvPr>
          </p:nvSpPr>
          <p:spPr bwMode="gray">
            <a:xfrm>
              <a:off x="7510463" y="4284663"/>
              <a:ext cx="22548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hilippines</a:t>
              </a:r>
            </a:p>
          </p:txBody>
        </p:sp>
        <p:sp>
          <p:nvSpPr>
            <p:cNvPr id="311" name="Rectangle 257"/>
            <p:cNvSpPr>
              <a:spLocks noChangeArrowheads="1"/>
            </p:cNvSpPr>
            <p:nvPr>
              <p:custDataLst>
                <p:tags r:id="rId92"/>
              </p:custDataLst>
            </p:nvPr>
          </p:nvSpPr>
          <p:spPr bwMode="gray">
            <a:xfrm>
              <a:off x="8401050" y="4926013"/>
              <a:ext cx="24311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olomon Is.</a:t>
              </a:r>
            </a:p>
          </p:txBody>
        </p:sp>
        <p:sp>
          <p:nvSpPr>
            <p:cNvPr id="312" name="Rectangle 258"/>
            <p:cNvSpPr>
              <a:spLocks noChangeArrowheads="1"/>
            </p:cNvSpPr>
            <p:nvPr>
              <p:custDataLst>
                <p:tags r:id="rId93"/>
              </p:custDataLst>
            </p:nvPr>
          </p:nvSpPr>
          <p:spPr bwMode="gray">
            <a:xfrm>
              <a:off x="8545513" y="5084763"/>
              <a:ext cx="17761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Vanuatu</a:t>
              </a:r>
            </a:p>
          </p:txBody>
        </p:sp>
        <p:sp>
          <p:nvSpPr>
            <p:cNvPr id="313" name="Rectangle 259"/>
            <p:cNvSpPr>
              <a:spLocks noChangeArrowheads="1"/>
            </p:cNvSpPr>
            <p:nvPr>
              <p:custDataLst>
                <p:tags r:id="rId94"/>
              </p:custDataLst>
            </p:nvPr>
          </p:nvSpPr>
          <p:spPr bwMode="gray">
            <a:xfrm>
              <a:off x="5177832" y="3727833"/>
              <a:ext cx="11085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Israel</a:t>
              </a:r>
            </a:p>
          </p:txBody>
        </p:sp>
        <p:sp>
          <p:nvSpPr>
            <p:cNvPr id="314" name="Rectangle 260"/>
            <p:cNvSpPr>
              <a:spLocks noChangeArrowheads="1"/>
            </p:cNvSpPr>
            <p:nvPr>
              <p:custDataLst>
                <p:tags r:id="rId95"/>
              </p:custDataLst>
            </p:nvPr>
          </p:nvSpPr>
          <p:spPr bwMode="gray">
            <a:xfrm>
              <a:off x="5746750" y="3992563"/>
              <a:ext cx="13478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U.A.E.</a:t>
              </a:r>
            </a:p>
          </p:txBody>
        </p:sp>
        <p:sp>
          <p:nvSpPr>
            <p:cNvPr id="315" name="Rectangle 261"/>
            <p:cNvSpPr>
              <a:spLocks noChangeArrowheads="1"/>
            </p:cNvSpPr>
            <p:nvPr>
              <p:custDataLst>
                <p:tags r:id="rId96"/>
              </p:custDataLst>
            </p:nvPr>
          </p:nvSpPr>
          <p:spPr bwMode="gray">
            <a:xfrm>
              <a:off x="5680076" y="3883026"/>
              <a:ext cx="16123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ahrain</a:t>
              </a:r>
            </a:p>
          </p:txBody>
        </p:sp>
        <p:sp>
          <p:nvSpPr>
            <p:cNvPr id="316" name="Rectangle 262"/>
            <p:cNvSpPr>
              <a:spLocks noChangeArrowheads="1"/>
            </p:cNvSpPr>
            <p:nvPr>
              <p:custDataLst>
                <p:tags r:id="rId97"/>
              </p:custDataLst>
            </p:nvPr>
          </p:nvSpPr>
          <p:spPr bwMode="gray">
            <a:xfrm>
              <a:off x="5335588" y="3675062"/>
              <a:ext cx="18265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ebanon</a:t>
              </a:r>
            </a:p>
          </p:txBody>
        </p:sp>
        <p:sp>
          <p:nvSpPr>
            <p:cNvPr id="317" name="Rectangle 263"/>
            <p:cNvSpPr>
              <a:spLocks noChangeArrowheads="1"/>
            </p:cNvSpPr>
            <p:nvPr>
              <p:custDataLst>
                <p:tags r:id="rId98"/>
              </p:custDataLst>
            </p:nvPr>
          </p:nvSpPr>
          <p:spPr bwMode="gray">
            <a:xfrm>
              <a:off x="5453063" y="3397251"/>
              <a:ext cx="16501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eorgia</a:t>
              </a:r>
            </a:p>
          </p:txBody>
        </p:sp>
        <p:sp>
          <p:nvSpPr>
            <p:cNvPr id="318" name="Rectangle 264"/>
            <p:cNvSpPr>
              <a:spLocks noChangeArrowheads="1"/>
            </p:cNvSpPr>
            <p:nvPr>
              <p:custDataLst>
                <p:tags r:id="rId99"/>
              </p:custDataLst>
            </p:nvPr>
          </p:nvSpPr>
          <p:spPr bwMode="gray">
            <a:xfrm>
              <a:off x="5440363" y="3468688"/>
              <a:ext cx="17761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rmenia</a:t>
              </a:r>
            </a:p>
          </p:txBody>
        </p:sp>
        <p:sp>
          <p:nvSpPr>
            <p:cNvPr id="319" name="Rectangle 281"/>
            <p:cNvSpPr>
              <a:spLocks noChangeArrowheads="1"/>
            </p:cNvSpPr>
            <p:nvPr>
              <p:custDataLst>
                <p:tags r:id="rId100"/>
              </p:custDataLst>
            </p:nvPr>
          </p:nvSpPr>
          <p:spPr bwMode="gray">
            <a:xfrm>
              <a:off x="7234238" y="4457701"/>
              <a:ext cx="171450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ast Timor</a:t>
              </a:r>
            </a:p>
          </p:txBody>
        </p:sp>
        <p:sp>
          <p:nvSpPr>
            <p:cNvPr id="320" name="Rectangle 282"/>
            <p:cNvSpPr>
              <a:spLocks noChangeArrowheads="1"/>
            </p:cNvSpPr>
            <p:nvPr>
              <p:custDataLst>
                <p:tags r:id="rId101"/>
              </p:custDataLst>
            </p:nvPr>
          </p:nvSpPr>
          <p:spPr bwMode="gray">
            <a:xfrm>
              <a:off x="6838950" y="4314826"/>
              <a:ext cx="21288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ambodia</a:t>
              </a:r>
            </a:p>
          </p:txBody>
        </p:sp>
        <p:sp>
          <p:nvSpPr>
            <p:cNvPr id="321" name="Rectangle 284"/>
            <p:cNvSpPr>
              <a:spLocks noChangeArrowheads="1"/>
            </p:cNvSpPr>
            <p:nvPr>
              <p:custDataLst>
                <p:tags r:id="rId102"/>
              </p:custDataLst>
            </p:nvPr>
          </p:nvSpPr>
          <p:spPr bwMode="gray">
            <a:xfrm>
              <a:off x="4491038" y="4375151"/>
              <a:ext cx="1825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enin</a:t>
              </a:r>
            </a:p>
          </p:txBody>
        </p:sp>
        <p:sp>
          <p:nvSpPr>
            <p:cNvPr id="322" name="Rectangle 285"/>
            <p:cNvSpPr>
              <a:spLocks noChangeArrowheads="1"/>
            </p:cNvSpPr>
            <p:nvPr>
              <p:custDataLst>
                <p:tags r:id="rId103"/>
              </p:custDataLst>
            </p:nvPr>
          </p:nvSpPr>
          <p:spPr bwMode="gray">
            <a:xfrm>
              <a:off x="4821238" y="4649789"/>
              <a:ext cx="13604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ongo</a:t>
              </a:r>
            </a:p>
          </p:txBody>
        </p:sp>
        <p:sp>
          <p:nvSpPr>
            <p:cNvPr id="323" name="Rectangle 286"/>
            <p:cNvSpPr>
              <a:spLocks noChangeArrowheads="1"/>
            </p:cNvSpPr>
            <p:nvPr>
              <p:custDataLst>
                <p:tags r:id="rId104"/>
              </p:custDataLst>
            </p:nvPr>
          </p:nvSpPr>
          <p:spPr bwMode="gray">
            <a:xfrm>
              <a:off x="4146972" y="4568769"/>
              <a:ext cx="14234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iberia</a:t>
              </a:r>
            </a:p>
          </p:txBody>
        </p:sp>
        <p:sp>
          <p:nvSpPr>
            <p:cNvPr id="324" name="Rectangle 287"/>
            <p:cNvSpPr>
              <a:spLocks noChangeArrowheads="1"/>
            </p:cNvSpPr>
            <p:nvPr>
              <p:custDataLst>
                <p:tags r:id="rId105"/>
              </p:custDataLst>
            </p:nvPr>
          </p:nvSpPr>
          <p:spPr bwMode="gray">
            <a:xfrm>
              <a:off x="3884614" y="3784601"/>
              <a:ext cx="20406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anary Is.</a:t>
              </a:r>
            </a:p>
          </p:txBody>
        </p:sp>
        <p:sp>
          <p:nvSpPr>
            <p:cNvPr id="325" name="Rectangle 288"/>
            <p:cNvSpPr>
              <a:spLocks noChangeArrowheads="1"/>
            </p:cNvSpPr>
            <p:nvPr>
              <p:custDataLst>
                <p:tags r:id="rId106"/>
              </p:custDataLst>
            </p:nvPr>
          </p:nvSpPr>
          <p:spPr bwMode="gray">
            <a:xfrm>
              <a:off x="4699000" y="4708526"/>
              <a:ext cx="1385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abon</a:t>
              </a:r>
            </a:p>
          </p:txBody>
        </p:sp>
        <p:sp>
          <p:nvSpPr>
            <p:cNvPr id="326" name="Rectangle 289"/>
            <p:cNvSpPr>
              <a:spLocks noChangeArrowheads="1"/>
            </p:cNvSpPr>
            <p:nvPr>
              <p:custDataLst>
                <p:tags r:id="rId107"/>
              </p:custDataLst>
            </p:nvPr>
          </p:nvSpPr>
          <p:spPr bwMode="gray">
            <a:xfrm>
              <a:off x="4452938" y="4537076"/>
              <a:ext cx="1825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ogo</a:t>
              </a:r>
            </a:p>
          </p:txBody>
        </p:sp>
        <p:sp>
          <p:nvSpPr>
            <p:cNvPr id="327" name="Rectangle 290"/>
            <p:cNvSpPr>
              <a:spLocks noChangeArrowheads="1"/>
            </p:cNvSpPr>
            <p:nvPr>
              <p:custDataLst>
                <p:tags r:id="rId108"/>
              </p:custDataLst>
            </p:nvPr>
          </p:nvSpPr>
          <p:spPr bwMode="gray">
            <a:xfrm>
              <a:off x="5114926" y="4695826"/>
              <a:ext cx="16879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Rwanda</a:t>
              </a:r>
            </a:p>
          </p:txBody>
        </p:sp>
        <p:sp>
          <p:nvSpPr>
            <p:cNvPr id="328" name="Rectangle 291"/>
            <p:cNvSpPr>
              <a:spLocks noChangeArrowheads="1"/>
            </p:cNvSpPr>
            <p:nvPr>
              <p:custDataLst>
                <p:tags r:id="rId109"/>
              </p:custDataLst>
            </p:nvPr>
          </p:nvSpPr>
          <p:spPr bwMode="gray">
            <a:xfrm>
              <a:off x="3622676" y="4211639"/>
              <a:ext cx="24059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ape Verde</a:t>
              </a:r>
            </a:p>
          </p:txBody>
        </p:sp>
        <p:sp>
          <p:nvSpPr>
            <p:cNvPr id="329" name="Rectangle 292"/>
            <p:cNvSpPr>
              <a:spLocks noChangeArrowheads="1"/>
            </p:cNvSpPr>
            <p:nvPr>
              <p:custDataLst>
                <p:tags r:id="rId110"/>
              </p:custDataLst>
            </p:nvPr>
          </p:nvSpPr>
          <p:spPr bwMode="gray">
            <a:xfrm>
              <a:off x="5719763" y="4767263"/>
              <a:ext cx="21918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eychelles</a:t>
              </a:r>
            </a:p>
          </p:txBody>
        </p:sp>
        <p:sp>
          <p:nvSpPr>
            <p:cNvPr id="330" name="Rectangle 293"/>
            <p:cNvSpPr>
              <a:spLocks noChangeArrowheads="1"/>
            </p:cNvSpPr>
            <p:nvPr>
              <p:custDataLst>
                <p:tags r:id="rId111"/>
              </p:custDataLst>
            </p:nvPr>
          </p:nvSpPr>
          <p:spPr bwMode="gray">
            <a:xfrm>
              <a:off x="4487863" y="3868739"/>
              <a:ext cx="14738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lgeria</a:t>
              </a:r>
            </a:p>
          </p:txBody>
        </p:sp>
        <p:sp>
          <p:nvSpPr>
            <p:cNvPr id="331" name="Rectangle 294"/>
            <p:cNvSpPr>
              <a:spLocks noChangeArrowheads="1"/>
            </p:cNvSpPr>
            <p:nvPr>
              <p:custDataLst>
                <p:tags r:id="rId112"/>
              </p:custDataLst>
            </p:nvPr>
          </p:nvSpPr>
          <p:spPr bwMode="gray">
            <a:xfrm>
              <a:off x="5105400" y="4229101"/>
              <a:ext cx="230188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500" dirty="0">
                  <a:solidFill>
                    <a:schemeClr val="accent1"/>
                  </a:solidFill>
                </a:rPr>
                <a:t>North Sudan</a:t>
              </a:r>
            </a:p>
          </p:txBody>
        </p:sp>
        <p:sp>
          <p:nvSpPr>
            <p:cNvPr id="332" name="Rectangle 295"/>
            <p:cNvSpPr>
              <a:spLocks noChangeArrowheads="1"/>
            </p:cNvSpPr>
            <p:nvPr>
              <p:custDataLst>
                <p:tags r:id="rId113"/>
              </p:custDataLst>
            </p:nvPr>
          </p:nvSpPr>
          <p:spPr bwMode="gray">
            <a:xfrm>
              <a:off x="4875213" y="3875088"/>
              <a:ext cx="11337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ibya</a:t>
              </a:r>
            </a:p>
          </p:txBody>
        </p:sp>
        <p:sp>
          <p:nvSpPr>
            <p:cNvPr id="333" name="Rectangle 296"/>
            <p:cNvSpPr>
              <a:spLocks noChangeArrowheads="1"/>
            </p:cNvSpPr>
            <p:nvPr>
              <p:custDataLst>
                <p:tags r:id="rId114"/>
              </p:custDataLst>
            </p:nvPr>
          </p:nvSpPr>
          <p:spPr bwMode="gray">
            <a:xfrm>
              <a:off x="4430712" y="4140201"/>
              <a:ext cx="8943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li</a:t>
              </a:r>
            </a:p>
          </p:txBody>
        </p:sp>
        <p:sp>
          <p:nvSpPr>
            <p:cNvPr id="334" name="Rectangle 297"/>
            <p:cNvSpPr>
              <a:spLocks noChangeArrowheads="1"/>
            </p:cNvSpPr>
            <p:nvPr>
              <p:custDataLst>
                <p:tags r:id="rId115"/>
              </p:custDataLst>
            </p:nvPr>
          </p:nvSpPr>
          <p:spPr bwMode="gray">
            <a:xfrm>
              <a:off x="4895851" y="4240214"/>
              <a:ext cx="10833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had</a:t>
              </a:r>
            </a:p>
          </p:txBody>
        </p:sp>
        <p:sp>
          <p:nvSpPr>
            <p:cNvPr id="335" name="Rectangle 298"/>
            <p:cNvSpPr>
              <a:spLocks noChangeArrowheads="1"/>
            </p:cNvSpPr>
            <p:nvPr>
              <p:custDataLst>
                <p:tags r:id="rId116"/>
              </p:custDataLst>
            </p:nvPr>
          </p:nvSpPr>
          <p:spPr bwMode="gray">
            <a:xfrm>
              <a:off x="4681538" y="4171951"/>
              <a:ext cx="11463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iger</a:t>
              </a:r>
            </a:p>
          </p:txBody>
        </p:sp>
        <p:sp>
          <p:nvSpPr>
            <p:cNvPr id="336" name="Rectangle 299"/>
            <p:cNvSpPr>
              <a:spLocks noChangeArrowheads="1"/>
            </p:cNvSpPr>
            <p:nvPr>
              <p:custDataLst>
                <p:tags r:id="rId117"/>
              </p:custDataLst>
            </p:nvPr>
          </p:nvSpPr>
          <p:spPr bwMode="gray">
            <a:xfrm>
              <a:off x="5153025" y="3925888"/>
              <a:ext cx="12218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gypt</a:t>
              </a:r>
            </a:p>
          </p:txBody>
        </p:sp>
        <p:sp>
          <p:nvSpPr>
            <p:cNvPr id="337" name="Rectangle 300"/>
            <p:cNvSpPr>
              <a:spLocks noChangeArrowheads="1"/>
            </p:cNvSpPr>
            <p:nvPr>
              <p:custDataLst>
                <p:tags r:id="rId118"/>
              </p:custDataLst>
            </p:nvPr>
          </p:nvSpPr>
          <p:spPr bwMode="gray">
            <a:xfrm>
              <a:off x="4851400" y="5048251"/>
              <a:ext cx="14738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ngola</a:t>
              </a:r>
            </a:p>
          </p:txBody>
        </p:sp>
        <p:sp>
          <p:nvSpPr>
            <p:cNvPr id="338" name="Rectangle 301"/>
            <p:cNvSpPr>
              <a:spLocks noChangeArrowheads="1"/>
            </p:cNvSpPr>
            <p:nvPr>
              <p:custDataLst>
                <p:tags r:id="rId119"/>
              </p:custDataLst>
            </p:nvPr>
          </p:nvSpPr>
          <p:spPr bwMode="gray">
            <a:xfrm>
              <a:off x="4921251" y="4779964"/>
              <a:ext cx="269875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Dem. Rep. Congo</a:t>
              </a:r>
            </a:p>
          </p:txBody>
        </p:sp>
        <p:sp>
          <p:nvSpPr>
            <p:cNvPr id="339" name="Rectangle 302"/>
            <p:cNvSpPr>
              <a:spLocks noChangeArrowheads="1"/>
            </p:cNvSpPr>
            <p:nvPr>
              <p:custDataLst>
                <p:tags r:id="rId120"/>
              </p:custDataLst>
            </p:nvPr>
          </p:nvSpPr>
          <p:spPr bwMode="gray">
            <a:xfrm>
              <a:off x="5338763" y="4418014"/>
              <a:ext cx="17257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thiopia</a:t>
              </a:r>
            </a:p>
          </p:txBody>
        </p:sp>
        <p:sp>
          <p:nvSpPr>
            <p:cNvPr id="340" name="Rectangle 303"/>
            <p:cNvSpPr>
              <a:spLocks noChangeArrowheads="1"/>
            </p:cNvSpPr>
            <p:nvPr>
              <p:custDataLst>
                <p:tags r:id="rId121"/>
              </p:custDataLst>
            </p:nvPr>
          </p:nvSpPr>
          <p:spPr bwMode="gray">
            <a:xfrm>
              <a:off x="4965700" y="5553076"/>
              <a:ext cx="200025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outh Africa</a:t>
              </a:r>
            </a:p>
          </p:txBody>
        </p:sp>
        <p:sp>
          <p:nvSpPr>
            <p:cNvPr id="341" name="Rectangle 304"/>
            <p:cNvSpPr>
              <a:spLocks noChangeArrowheads="1"/>
            </p:cNvSpPr>
            <p:nvPr>
              <p:custDataLst>
                <p:tags r:id="rId122"/>
              </p:custDataLst>
            </p:nvPr>
          </p:nvSpPr>
          <p:spPr bwMode="gray">
            <a:xfrm>
              <a:off x="4643438" y="4418014"/>
              <a:ext cx="15116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igeria</a:t>
              </a:r>
            </a:p>
          </p:txBody>
        </p:sp>
        <p:sp>
          <p:nvSpPr>
            <p:cNvPr id="342" name="Rectangle 305"/>
            <p:cNvSpPr>
              <a:spLocks noChangeArrowheads="1"/>
            </p:cNvSpPr>
            <p:nvPr>
              <p:custDataLst>
                <p:tags r:id="rId123"/>
              </p:custDataLst>
            </p:nvPr>
          </p:nvSpPr>
          <p:spPr bwMode="gray">
            <a:xfrm>
              <a:off x="4821238" y="5259389"/>
              <a:ext cx="1763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amibia</a:t>
              </a:r>
            </a:p>
          </p:txBody>
        </p:sp>
        <p:sp>
          <p:nvSpPr>
            <p:cNvPr id="343" name="Rectangle 306"/>
            <p:cNvSpPr>
              <a:spLocks noChangeArrowheads="1"/>
            </p:cNvSpPr>
            <p:nvPr>
              <p:custDataLst>
                <p:tags r:id="rId124"/>
              </p:custDataLst>
            </p:nvPr>
          </p:nvSpPr>
          <p:spPr bwMode="gray">
            <a:xfrm>
              <a:off x="4127500" y="4137027"/>
              <a:ext cx="2267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uritania</a:t>
              </a:r>
            </a:p>
          </p:txBody>
        </p:sp>
        <p:sp>
          <p:nvSpPr>
            <p:cNvPr id="344" name="Rectangle 307"/>
            <p:cNvSpPr>
              <a:spLocks noChangeArrowheads="1"/>
            </p:cNvSpPr>
            <p:nvPr>
              <p:custDataLst>
                <p:tags r:id="rId125"/>
              </p:custDataLst>
            </p:nvPr>
          </p:nvSpPr>
          <p:spPr bwMode="gray">
            <a:xfrm>
              <a:off x="5067300" y="5100639"/>
              <a:ext cx="15871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Zambia</a:t>
              </a:r>
            </a:p>
          </p:txBody>
        </p:sp>
        <p:sp>
          <p:nvSpPr>
            <p:cNvPr id="345" name="Rectangle 308"/>
            <p:cNvSpPr>
              <a:spLocks noChangeArrowheads="1"/>
            </p:cNvSpPr>
            <p:nvPr>
              <p:custDataLst>
                <p:tags r:id="rId126"/>
              </p:custDataLst>
            </p:nvPr>
          </p:nvSpPr>
          <p:spPr bwMode="gray">
            <a:xfrm>
              <a:off x="5245100" y="4876801"/>
              <a:ext cx="19021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anzania</a:t>
              </a:r>
            </a:p>
          </p:txBody>
        </p:sp>
        <p:sp>
          <p:nvSpPr>
            <p:cNvPr id="346" name="Rectangle 309"/>
            <p:cNvSpPr>
              <a:spLocks noChangeArrowheads="1"/>
            </p:cNvSpPr>
            <p:nvPr>
              <p:custDataLst>
                <p:tags r:id="rId127"/>
              </p:custDataLst>
            </p:nvPr>
          </p:nvSpPr>
          <p:spPr bwMode="gray">
            <a:xfrm>
              <a:off x="5349875" y="4657725"/>
              <a:ext cx="13100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Kenya</a:t>
              </a:r>
            </a:p>
          </p:txBody>
        </p:sp>
        <p:sp>
          <p:nvSpPr>
            <p:cNvPr id="347" name="Rectangle 310"/>
            <p:cNvSpPr>
              <a:spLocks noChangeArrowheads="1"/>
            </p:cNvSpPr>
            <p:nvPr>
              <p:custDataLst>
                <p:tags r:id="rId128"/>
              </p:custDataLst>
            </p:nvPr>
          </p:nvSpPr>
          <p:spPr bwMode="gray">
            <a:xfrm>
              <a:off x="5575300" y="4403726"/>
              <a:ext cx="16879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omalia</a:t>
              </a:r>
            </a:p>
          </p:txBody>
        </p:sp>
        <p:sp>
          <p:nvSpPr>
            <p:cNvPr id="348" name="Rectangle 311"/>
            <p:cNvSpPr>
              <a:spLocks noChangeArrowheads="1"/>
            </p:cNvSpPr>
            <p:nvPr>
              <p:custDataLst>
                <p:tags r:id="rId129"/>
              </p:custDataLst>
            </p:nvPr>
          </p:nvSpPr>
          <p:spPr bwMode="gray">
            <a:xfrm>
              <a:off x="5016500" y="5327650"/>
              <a:ext cx="20658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otswana</a:t>
              </a:r>
            </a:p>
          </p:txBody>
        </p:sp>
        <p:sp>
          <p:nvSpPr>
            <p:cNvPr id="349" name="Rectangle 312"/>
            <p:cNvSpPr>
              <a:spLocks noChangeArrowheads="1"/>
            </p:cNvSpPr>
            <p:nvPr>
              <p:custDataLst>
                <p:tags r:id="rId130"/>
              </p:custDataLst>
            </p:nvPr>
          </p:nvSpPr>
          <p:spPr bwMode="gray">
            <a:xfrm>
              <a:off x="5262563" y="5154614"/>
              <a:ext cx="29368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ozambique</a:t>
              </a:r>
            </a:p>
          </p:txBody>
        </p:sp>
        <p:sp>
          <p:nvSpPr>
            <p:cNvPr id="350" name="Rectangle 313"/>
            <p:cNvSpPr>
              <a:spLocks noChangeArrowheads="1"/>
            </p:cNvSpPr>
            <p:nvPr>
              <p:custDataLst>
                <p:tags r:id="rId131"/>
              </p:custDataLst>
            </p:nvPr>
          </p:nvSpPr>
          <p:spPr bwMode="gray">
            <a:xfrm>
              <a:off x="4251325" y="3711576"/>
              <a:ext cx="18265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orocco</a:t>
              </a:r>
            </a:p>
          </p:txBody>
        </p:sp>
        <p:sp>
          <p:nvSpPr>
            <p:cNvPr id="351" name="Rectangle 314"/>
            <p:cNvSpPr>
              <a:spLocks noChangeArrowheads="1"/>
            </p:cNvSpPr>
            <p:nvPr>
              <p:custDataLst>
                <p:tags r:id="rId132"/>
              </p:custDataLst>
            </p:nvPr>
          </p:nvSpPr>
          <p:spPr bwMode="gray">
            <a:xfrm>
              <a:off x="5705475" y="5233989"/>
              <a:ext cx="2544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dagascar</a:t>
              </a:r>
            </a:p>
          </p:txBody>
        </p:sp>
        <p:sp>
          <p:nvSpPr>
            <p:cNvPr id="352" name="Rectangle 315"/>
            <p:cNvSpPr>
              <a:spLocks noChangeArrowheads="1"/>
            </p:cNvSpPr>
            <p:nvPr>
              <p:custDataLst>
                <p:tags r:id="rId133"/>
              </p:custDataLst>
            </p:nvPr>
          </p:nvSpPr>
          <p:spPr bwMode="gray">
            <a:xfrm>
              <a:off x="4640263" y="4551364"/>
              <a:ext cx="2179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ameroon</a:t>
              </a:r>
            </a:p>
          </p:txBody>
        </p:sp>
        <p:sp>
          <p:nvSpPr>
            <p:cNvPr id="353" name="Rectangle 316"/>
            <p:cNvSpPr>
              <a:spLocks noChangeArrowheads="1"/>
            </p:cNvSpPr>
            <p:nvPr>
              <p:custDataLst>
                <p:tags r:id="rId134"/>
              </p:custDataLst>
            </p:nvPr>
          </p:nvSpPr>
          <p:spPr bwMode="gray">
            <a:xfrm>
              <a:off x="5078414" y="5235576"/>
              <a:ext cx="22044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Zimbabwe</a:t>
              </a:r>
            </a:p>
          </p:txBody>
        </p:sp>
        <p:sp>
          <p:nvSpPr>
            <p:cNvPr id="354" name="Rectangle 317"/>
            <p:cNvSpPr>
              <a:spLocks noChangeArrowheads="1"/>
            </p:cNvSpPr>
            <p:nvPr>
              <p:custDataLst>
                <p:tags r:id="rId135"/>
              </p:custDataLst>
            </p:nvPr>
          </p:nvSpPr>
          <p:spPr bwMode="gray">
            <a:xfrm>
              <a:off x="4397374" y="4421188"/>
              <a:ext cx="13730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hana</a:t>
              </a:r>
            </a:p>
          </p:txBody>
        </p:sp>
        <p:sp>
          <p:nvSpPr>
            <p:cNvPr id="355" name="Rectangle 318"/>
            <p:cNvSpPr>
              <a:spLocks noChangeArrowheads="1"/>
            </p:cNvSpPr>
            <p:nvPr>
              <p:custDataLst>
                <p:tags r:id="rId136"/>
              </p:custDataLst>
            </p:nvPr>
          </p:nvSpPr>
          <p:spPr bwMode="gray">
            <a:xfrm>
              <a:off x="4151313" y="4365626"/>
              <a:ext cx="1486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uinea</a:t>
              </a:r>
            </a:p>
          </p:txBody>
        </p:sp>
        <p:sp>
          <p:nvSpPr>
            <p:cNvPr id="356" name="Rectangle 319"/>
            <p:cNvSpPr>
              <a:spLocks noChangeArrowheads="1"/>
            </p:cNvSpPr>
            <p:nvPr>
              <p:custDataLst>
                <p:tags r:id="rId137"/>
              </p:custDataLst>
            </p:nvPr>
          </p:nvSpPr>
          <p:spPr bwMode="gray">
            <a:xfrm>
              <a:off x="4656138" y="3683001"/>
              <a:ext cx="14864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unisia</a:t>
              </a:r>
            </a:p>
          </p:txBody>
        </p:sp>
        <p:sp>
          <p:nvSpPr>
            <p:cNvPr id="357" name="Rectangle 320"/>
            <p:cNvSpPr>
              <a:spLocks noChangeArrowheads="1"/>
            </p:cNvSpPr>
            <p:nvPr>
              <p:custDataLst>
                <p:tags r:id="rId138"/>
              </p:custDataLst>
            </p:nvPr>
          </p:nvSpPr>
          <p:spPr bwMode="gray">
            <a:xfrm>
              <a:off x="5206999" y="4603751"/>
              <a:ext cx="16375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Uganda</a:t>
              </a:r>
            </a:p>
          </p:txBody>
        </p:sp>
        <p:sp>
          <p:nvSpPr>
            <p:cNvPr id="358" name="Rectangle 321"/>
            <p:cNvSpPr>
              <a:spLocks noChangeArrowheads="1"/>
            </p:cNvSpPr>
            <p:nvPr>
              <p:custDataLst>
                <p:tags r:id="rId139"/>
              </p:custDataLst>
            </p:nvPr>
          </p:nvSpPr>
          <p:spPr bwMode="gray">
            <a:xfrm>
              <a:off x="4133527" y="4499162"/>
              <a:ext cx="38121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ote d'Ivoire</a:t>
              </a:r>
            </a:p>
          </p:txBody>
        </p:sp>
        <p:sp>
          <p:nvSpPr>
            <p:cNvPr id="359" name="Rectangle 322"/>
            <p:cNvSpPr>
              <a:spLocks noChangeArrowheads="1"/>
            </p:cNvSpPr>
            <p:nvPr>
              <p:custDataLst>
                <p:tags r:id="rId140"/>
              </p:custDataLst>
            </p:nvPr>
          </p:nvSpPr>
          <p:spPr bwMode="gray">
            <a:xfrm>
              <a:off x="4084638" y="4240214"/>
              <a:ext cx="16753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enegal</a:t>
              </a:r>
            </a:p>
          </p:txBody>
        </p:sp>
        <p:sp>
          <p:nvSpPr>
            <p:cNvPr id="360" name="Rectangle 323"/>
            <p:cNvSpPr>
              <a:spLocks noChangeArrowheads="1"/>
            </p:cNvSpPr>
            <p:nvPr>
              <p:custDataLst>
                <p:tags r:id="rId141"/>
              </p:custDataLst>
            </p:nvPr>
          </p:nvSpPr>
          <p:spPr bwMode="gray">
            <a:xfrm>
              <a:off x="4319588" y="4306889"/>
              <a:ext cx="2670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urkina Faso</a:t>
              </a:r>
            </a:p>
          </p:txBody>
        </p:sp>
        <p:sp>
          <p:nvSpPr>
            <p:cNvPr id="361" name="Rectangle 324"/>
            <p:cNvSpPr>
              <a:spLocks noChangeArrowheads="1"/>
            </p:cNvSpPr>
            <p:nvPr>
              <p:custDataLst>
                <p:tags r:id="rId142"/>
              </p:custDataLst>
            </p:nvPr>
          </p:nvSpPr>
          <p:spPr bwMode="gray">
            <a:xfrm>
              <a:off x="3903663" y="3959226"/>
              <a:ext cx="33129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Western Sahara</a:t>
              </a:r>
            </a:p>
          </p:txBody>
        </p:sp>
        <p:sp>
          <p:nvSpPr>
            <p:cNvPr id="362" name="Rectangle 325"/>
            <p:cNvSpPr>
              <a:spLocks noChangeArrowheads="1"/>
            </p:cNvSpPr>
            <p:nvPr>
              <p:custDataLst>
                <p:tags r:id="rId143"/>
              </p:custDataLst>
            </p:nvPr>
          </p:nvSpPr>
          <p:spPr bwMode="gray">
            <a:xfrm>
              <a:off x="5343524" y="4210050"/>
              <a:ext cx="1398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ritrea</a:t>
              </a:r>
            </a:p>
          </p:txBody>
        </p:sp>
        <p:sp>
          <p:nvSpPr>
            <p:cNvPr id="363" name="Rectangle 326"/>
            <p:cNvSpPr>
              <a:spLocks noChangeArrowheads="1"/>
            </p:cNvSpPr>
            <p:nvPr>
              <p:custDataLst>
                <p:tags r:id="rId144"/>
              </p:custDataLst>
            </p:nvPr>
          </p:nvSpPr>
          <p:spPr bwMode="gray">
            <a:xfrm>
              <a:off x="5284788" y="5024439"/>
              <a:ext cx="14990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alawi</a:t>
              </a:r>
            </a:p>
          </p:txBody>
        </p:sp>
        <p:sp>
          <p:nvSpPr>
            <p:cNvPr id="364" name="Rectangle 327"/>
            <p:cNvSpPr>
              <a:spLocks noChangeArrowheads="1"/>
            </p:cNvSpPr>
            <p:nvPr>
              <p:custDataLst>
                <p:tags r:id="rId145"/>
              </p:custDataLst>
            </p:nvPr>
          </p:nvSpPr>
          <p:spPr bwMode="gray">
            <a:xfrm>
              <a:off x="5299075" y="5476875"/>
              <a:ext cx="2116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waziland</a:t>
              </a:r>
            </a:p>
          </p:txBody>
        </p:sp>
        <p:sp>
          <p:nvSpPr>
            <p:cNvPr id="365" name="Rectangle 328"/>
            <p:cNvSpPr>
              <a:spLocks noChangeArrowheads="1"/>
            </p:cNvSpPr>
            <p:nvPr>
              <p:custDataLst>
                <p:tags r:id="rId146"/>
              </p:custDataLst>
            </p:nvPr>
          </p:nvSpPr>
          <p:spPr bwMode="gray">
            <a:xfrm>
              <a:off x="5222874" y="5562601"/>
              <a:ext cx="21280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Lesotho</a:t>
              </a:r>
            </a:p>
          </p:txBody>
        </p:sp>
        <p:sp>
          <p:nvSpPr>
            <p:cNvPr id="366" name="Rectangle 329"/>
            <p:cNvSpPr>
              <a:spLocks noChangeArrowheads="1"/>
            </p:cNvSpPr>
            <p:nvPr>
              <p:custDataLst>
                <p:tags r:id="rId147"/>
              </p:custDataLst>
            </p:nvPr>
          </p:nvSpPr>
          <p:spPr bwMode="gray">
            <a:xfrm>
              <a:off x="4849813" y="4497390"/>
              <a:ext cx="32385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en. Afr. Rep.</a:t>
              </a:r>
            </a:p>
          </p:txBody>
        </p:sp>
        <p:sp>
          <p:nvSpPr>
            <p:cNvPr id="367" name="Rectangle 330"/>
            <p:cNvSpPr>
              <a:spLocks noChangeArrowheads="1"/>
            </p:cNvSpPr>
            <p:nvPr>
              <p:custDataLst>
                <p:tags r:id="rId148"/>
              </p:custDataLst>
            </p:nvPr>
          </p:nvSpPr>
          <p:spPr bwMode="gray">
            <a:xfrm>
              <a:off x="3808918" y="4443414"/>
              <a:ext cx="43923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ierra Leone</a:t>
              </a:r>
            </a:p>
          </p:txBody>
        </p:sp>
        <p:sp>
          <p:nvSpPr>
            <p:cNvPr id="368" name="Rectangle 331"/>
            <p:cNvSpPr>
              <a:spLocks noChangeArrowheads="1"/>
            </p:cNvSpPr>
            <p:nvPr>
              <p:custDataLst>
                <p:tags r:id="rId149"/>
              </p:custDataLst>
            </p:nvPr>
          </p:nvSpPr>
          <p:spPr bwMode="gray">
            <a:xfrm>
              <a:off x="3733359" y="4361647"/>
              <a:ext cx="29854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uinea-Bissau</a:t>
              </a:r>
            </a:p>
          </p:txBody>
        </p:sp>
        <p:sp>
          <p:nvSpPr>
            <p:cNvPr id="369" name="Rectangle 332"/>
            <p:cNvSpPr>
              <a:spLocks noChangeArrowheads="1"/>
            </p:cNvSpPr>
            <p:nvPr>
              <p:custDataLst>
                <p:tags r:id="rId150"/>
              </p:custDataLst>
            </p:nvPr>
          </p:nvSpPr>
          <p:spPr bwMode="gray">
            <a:xfrm>
              <a:off x="3825876" y="4289426"/>
              <a:ext cx="25319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he Gambia</a:t>
              </a:r>
            </a:p>
          </p:txBody>
        </p:sp>
        <p:sp>
          <p:nvSpPr>
            <p:cNvPr id="370" name="Rectangle 333"/>
            <p:cNvSpPr>
              <a:spLocks noChangeArrowheads="1"/>
            </p:cNvSpPr>
            <p:nvPr>
              <p:custDataLst>
                <p:tags r:id="rId151"/>
              </p:custDataLst>
            </p:nvPr>
          </p:nvSpPr>
          <p:spPr bwMode="gray">
            <a:xfrm>
              <a:off x="4445000" y="4637089"/>
              <a:ext cx="32702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quat. Guinea</a:t>
              </a:r>
            </a:p>
          </p:txBody>
        </p:sp>
        <p:sp>
          <p:nvSpPr>
            <p:cNvPr id="371" name="Rectangle 334"/>
            <p:cNvSpPr>
              <a:spLocks noChangeArrowheads="1"/>
            </p:cNvSpPr>
            <p:nvPr>
              <p:custDataLst>
                <p:tags r:id="rId152"/>
              </p:custDataLst>
            </p:nvPr>
          </p:nvSpPr>
          <p:spPr bwMode="gray">
            <a:xfrm>
              <a:off x="5240338" y="4781550"/>
              <a:ext cx="16375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urundi</a:t>
              </a:r>
            </a:p>
          </p:txBody>
        </p:sp>
        <p:sp>
          <p:nvSpPr>
            <p:cNvPr id="372" name="Rectangle 335"/>
            <p:cNvSpPr>
              <a:spLocks noChangeArrowheads="1"/>
            </p:cNvSpPr>
            <p:nvPr>
              <p:custDataLst>
                <p:tags r:id="rId153"/>
              </p:custDataLst>
            </p:nvPr>
          </p:nvSpPr>
          <p:spPr bwMode="gray">
            <a:xfrm>
              <a:off x="5365750" y="4338639"/>
              <a:ext cx="16627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Djibouti</a:t>
              </a:r>
            </a:p>
          </p:txBody>
        </p:sp>
        <p:sp>
          <p:nvSpPr>
            <p:cNvPr id="373" name="Rectangle 339"/>
            <p:cNvSpPr>
              <a:spLocks noChangeArrowheads="1"/>
            </p:cNvSpPr>
            <p:nvPr>
              <p:custDataLst>
                <p:tags r:id="rId154"/>
              </p:custDataLst>
            </p:nvPr>
          </p:nvSpPr>
          <p:spPr bwMode="gray">
            <a:xfrm>
              <a:off x="5522913" y="4914901"/>
              <a:ext cx="18769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omoros</a:t>
              </a:r>
            </a:p>
          </p:txBody>
        </p:sp>
        <p:sp>
          <p:nvSpPr>
            <p:cNvPr id="374" name="Rectangle 341"/>
            <p:cNvSpPr>
              <a:spLocks noChangeArrowheads="1"/>
            </p:cNvSpPr>
            <p:nvPr>
              <p:custDataLst>
                <p:tags r:id="rId155"/>
              </p:custDataLst>
            </p:nvPr>
          </p:nvSpPr>
          <p:spPr bwMode="gray">
            <a:xfrm>
              <a:off x="2962275" y="6237290"/>
              <a:ext cx="23177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Falkland Is.</a:t>
              </a:r>
            </a:p>
          </p:txBody>
        </p:sp>
        <p:sp>
          <p:nvSpPr>
            <p:cNvPr id="375" name="Rectangle 342"/>
            <p:cNvSpPr>
              <a:spLocks noChangeArrowheads="1"/>
            </p:cNvSpPr>
            <p:nvPr>
              <p:custDataLst>
                <p:tags r:id="rId156"/>
              </p:custDataLst>
            </p:nvPr>
          </p:nvSpPr>
          <p:spPr bwMode="gray">
            <a:xfrm>
              <a:off x="3124199" y="4514851"/>
              <a:ext cx="20028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uriname</a:t>
              </a:r>
            </a:p>
          </p:txBody>
        </p:sp>
        <p:sp>
          <p:nvSpPr>
            <p:cNvPr id="376" name="Rectangle 343"/>
            <p:cNvSpPr>
              <a:spLocks noChangeArrowheads="1"/>
            </p:cNvSpPr>
            <p:nvPr>
              <p:custDataLst>
                <p:tags r:id="rId157"/>
              </p:custDataLst>
            </p:nvPr>
          </p:nvSpPr>
          <p:spPr bwMode="gray">
            <a:xfrm>
              <a:off x="3255963" y="5000626"/>
              <a:ext cx="11714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razil</a:t>
              </a:r>
            </a:p>
          </p:txBody>
        </p:sp>
        <p:sp>
          <p:nvSpPr>
            <p:cNvPr id="377" name="Rectangle 344"/>
            <p:cNvSpPr>
              <a:spLocks noChangeArrowheads="1"/>
            </p:cNvSpPr>
            <p:nvPr>
              <p:custDataLst>
                <p:tags r:id="rId158"/>
              </p:custDataLst>
            </p:nvPr>
          </p:nvSpPr>
          <p:spPr bwMode="gray">
            <a:xfrm>
              <a:off x="2847974" y="5768976"/>
              <a:ext cx="20658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Argentina</a:t>
              </a:r>
            </a:p>
          </p:txBody>
        </p:sp>
        <p:sp>
          <p:nvSpPr>
            <p:cNvPr id="378" name="Rectangle 345"/>
            <p:cNvSpPr>
              <a:spLocks noChangeArrowheads="1"/>
            </p:cNvSpPr>
            <p:nvPr>
              <p:custDataLst>
                <p:tags r:id="rId159"/>
              </p:custDataLst>
            </p:nvPr>
          </p:nvSpPr>
          <p:spPr bwMode="gray">
            <a:xfrm>
              <a:off x="2606675" y="4876801"/>
              <a:ext cx="9699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eru</a:t>
              </a:r>
            </a:p>
          </p:txBody>
        </p:sp>
        <p:sp>
          <p:nvSpPr>
            <p:cNvPr id="379" name="Rectangle 346"/>
            <p:cNvSpPr>
              <a:spLocks noChangeArrowheads="1"/>
            </p:cNvSpPr>
            <p:nvPr>
              <p:custDataLst>
                <p:tags r:id="rId160"/>
              </p:custDataLst>
            </p:nvPr>
          </p:nvSpPr>
          <p:spPr bwMode="gray">
            <a:xfrm>
              <a:off x="2708275" y="5689601"/>
              <a:ext cx="10455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hile</a:t>
              </a:r>
            </a:p>
          </p:txBody>
        </p:sp>
        <p:sp>
          <p:nvSpPr>
            <p:cNvPr id="380" name="Rectangle 347"/>
            <p:cNvSpPr>
              <a:spLocks noChangeArrowheads="1"/>
            </p:cNvSpPr>
            <p:nvPr>
              <p:custDataLst>
                <p:tags r:id="rId161"/>
              </p:custDataLst>
            </p:nvPr>
          </p:nvSpPr>
          <p:spPr bwMode="gray">
            <a:xfrm>
              <a:off x="2873376" y="5173664"/>
              <a:ext cx="1385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olivia</a:t>
              </a:r>
            </a:p>
          </p:txBody>
        </p:sp>
        <p:sp>
          <p:nvSpPr>
            <p:cNvPr id="381" name="Rectangle 348"/>
            <p:cNvSpPr>
              <a:spLocks noChangeArrowheads="1"/>
            </p:cNvSpPr>
            <p:nvPr>
              <p:custDataLst>
                <p:tags r:id="rId162"/>
              </p:custDataLst>
            </p:nvPr>
          </p:nvSpPr>
          <p:spPr bwMode="gray">
            <a:xfrm>
              <a:off x="2647950" y="4572001"/>
              <a:ext cx="19902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olombia</a:t>
              </a:r>
            </a:p>
          </p:txBody>
        </p:sp>
        <p:sp>
          <p:nvSpPr>
            <p:cNvPr id="382" name="Rectangle 349"/>
            <p:cNvSpPr>
              <a:spLocks noChangeArrowheads="1"/>
            </p:cNvSpPr>
            <p:nvPr>
              <p:custDataLst>
                <p:tags r:id="rId163"/>
              </p:custDataLst>
            </p:nvPr>
          </p:nvSpPr>
          <p:spPr bwMode="gray">
            <a:xfrm>
              <a:off x="2778125" y="4435476"/>
              <a:ext cx="21792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Venezuela</a:t>
              </a:r>
            </a:p>
          </p:txBody>
        </p:sp>
        <p:sp>
          <p:nvSpPr>
            <p:cNvPr id="383" name="Rectangle 350"/>
            <p:cNvSpPr>
              <a:spLocks noChangeArrowheads="1"/>
            </p:cNvSpPr>
            <p:nvPr>
              <p:custDataLst>
                <p:tags r:id="rId164"/>
              </p:custDataLst>
            </p:nvPr>
          </p:nvSpPr>
          <p:spPr bwMode="gray">
            <a:xfrm>
              <a:off x="2982913" y="5349876"/>
              <a:ext cx="19776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araguay</a:t>
              </a:r>
            </a:p>
          </p:txBody>
        </p:sp>
        <p:sp>
          <p:nvSpPr>
            <p:cNvPr id="384" name="Rectangle 351"/>
            <p:cNvSpPr>
              <a:spLocks noChangeArrowheads="1"/>
            </p:cNvSpPr>
            <p:nvPr>
              <p:custDataLst>
                <p:tags r:id="rId165"/>
              </p:custDataLst>
            </p:nvPr>
          </p:nvSpPr>
          <p:spPr bwMode="gray">
            <a:xfrm>
              <a:off x="3087687" y="5672139"/>
              <a:ext cx="17887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Uruguay</a:t>
              </a:r>
            </a:p>
          </p:txBody>
        </p:sp>
        <p:sp>
          <p:nvSpPr>
            <p:cNvPr id="385" name="Rectangle 352"/>
            <p:cNvSpPr>
              <a:spLocks noChangeArrowheads="1"/>
            </p:cNvSpPr>
            <p:nvPr>
              <p:custDataLst>
                <p:tags r:id="rId166"/>
              </p:custDataLst>
            </p:nvPr>
          </p:nvSpPr>
          <p:spPr bwMode="gray">
            <a:xfrm>
              <a:off x="2482850" y="4713289"/>
              <a:ext cx="17131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cuador</a:t>
              </a:r>
            </a:p>
          </p:txBody>
        </p:sp>
        <p:sp>
          <p:nvSpPr>
            <p:cNvPr id="386" name="Rectangle 353"/>
            <p:cNvSpPr>
              <a:spLocks noChangeArrowheads="1"/>
            </p:cNvSpPr>
            <p:nvPr>
              <p:custDataLst>
                <p:tags r:id="rId167"/>
              </p:custDataLst>
            </p:nvPr>
          </p:nvSpPr>
          <p:spPr bwMode="gray">
            <a:xfrm>
              <a:off x="3049588" y="4443414"/>
              <a:ext cx="16123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uyana</a:t>
              </a:r>
            </a:p>
          </p:txBody>
        </p:sp>
        <p:sp>
          <p:nvSpPr>
            <p:cNvPr id="387" name="Rectangle 354"/>
            <p:cNvSpPr>
              <a:spLocks noChangeArrowheads="1"/>
            </p:cNvSpPr>
            <p:nvPr>
              <p:custDataLst>
                <p:tags r:id="rId168"/>
              </p:custDataLst>
            </p:nvPr>
          </p:nvSpPr>
          <p:spPr bwMode="gray">
            <a:xfrm>
              <a:off x="3214688" y="4557714"/>
              <a:ext cx="301060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French Guiana</a:t>
              </a:r>
            </a:p>
          </p:txBody>
        </p:sp>
        <p:sp>
          <p:nvSpPr>
            <p:cNvPr id="388" name="Rectangle 355"/>
            <p:cNvSpPr>
              <a:spLocks noChangeArrowheads="1"/>
            </p:cNvSpPr>
            <p:nvPr>
              <p:custDataLst>
                <p:tags r:id="rId169"/>
              </p:custDataLst>
            </p:nvPr>
          </p:nvSpPr>
          <p:spPr bwMode="gray">
            <a:xfrm>
              <a:off x="2933700" y="4314826"/>
              <a:ext cx="38419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rinidad &amp; Tobago</a:t>
              </a:r>
            </a:p>
          </p:txBody>
        </p:sp>
        <p:sp>
          <p:nvSpPr>
            <p:cNvPr id="389" name="Rectangle 356"/>
            <p:cNvSpPr>
              <a:spLocks noChangeArrowheads="1"/>
            </p:cNvSpPr>
            <p:nvPr>
              <p:custDataLst>
                <p:tags r:id="rId170"/>
              </p:custDataLst>
            </p:nvPr>
          </p:nvSpPr>
          <p:spPr bwMode="gray">
            <a:xfrm>
              <a:off x="274638" y="4848226"/>
              <a:ext cx="14612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Samoa</a:t>
              </a:r>
            </a:p>
          </p:txBody>
        </p:sp>
        <p:sp>
          <p:nvSpPr>
            <p:cNvPr id="390" name="Rectangle 357"/>
            <p:cNvSpPr>
              <a:spLocks noChangeArrowheads="1"/>
            </p:cNvSpPr>
            <p:nvPr>
              <p:custDataLst>
                <p:tags r:id="rId171"/>
              </p:custDataLst>
            </p:nvPr>
          </p:nvSpPr>
          <p:spPr bwMode="gray">
            <a:xfrm>
              <a:off x="768350" y="4926014"/>
              <a:ext cx="35144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French Polynesia</a:t>
              </a:r>
            </a:p>
          </p:txBody>
        </p:sp>
        <p:sp>
          <p:nvSpPr>
            <p:cNvPr id="391" name="Rectangle 358"/>
            <p:cNvSpPr>
              <a:spLocks noChangeArrowheads="1"/>
            </p:cNvSpPr>
            <p:nvPr>
              <p:custDataLst>
                <p:tags r:id="rId172"/>
              </p:custDataLst>
            </p:nvPr>
          </p:nvSpPr>
          <p:spPr bwMode="gray">
            <a:xfrm>
              <a:off x="623888" y="5126039"/>
              <a:ext cx="16375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ook Is.</a:t>
              </a:r>
            </a:p>
          </p:txBody>
        </p:sp>
        <p:sp>
          <p:nvSpPr>
            <p:cNvPr id="392" name="Rectangle 374"/>
            <p:cNvSpPr>
              <a:spLocks noChangeArrowheads="1"/>
            </p:cNvSpPr>
            <p:nvPr>
              <p:custDataLst>
                <p:tags r:id="rId173"/>
              </p:custDataLst>
            </p:nvPr>
          </p:nvSpPr>
          <p:spPr bwMode="gray">
            <a:xfrm>
              <a:off x="1968500" y="4699001"/>
              <a:ext cx="277127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alapagos Is.</a:t>
              </a:r>
            </a:p>
          </p:txBody>
        </p:sp>
        <p:sp>
          <p:nvSpPr>
            <p:cNvPr id="393" name="Rectangle 377"/>
            <p:cNvSpPr>
              <a:spLocks noChangeArrowheads="1"/>
            </p:cNvSpPr>
            <p:nvPr>
              <p:custDataLst>
                <p:tags r:id="rId174"/>
              </p:custDataLst>
            </p:nvPr>
          </p:nvSpPr>
          <p:spPr bwMode="gray">
            <a:xfrm>
              <a:off x="2425701" y="4217988"/>
              <a:ext cx="20154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Honduras</a:t>
              </a:r>
            </a:p>
          </p:txBody>
        </p:sp>
        <p:sp>
          <p:nvSpPr>
            <p:cNvPr id="394" name="Rectangle 384"/>
            <p:cNvSpPr>
              <a:spLocks noChangeArrowheads="1"/>
            </p:cNvSpPr>
            <p:nvPr>
              <p:custDataLst>
                <p:tags r:id="rId175"/>
              </p:custDataLst>
            </p:nvPr>
          </p:nvSpPr>
          <p:spPr bwMode="gray">
            <a:xfrm>
              <a:off x="2474913" y="4310063"/>
              <a:ext cx="21414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Nicaragua</a:t>
              </a:r>
            </a:p>
          </p:txBody>
        </p:sp>
        <p:sp>
          <p:nvSpPr>
            <p:cNvPr id="395" name="Rectangle 385"/>
            <p:cNvSpPr>
              <a:spLocks noChangeArrowheads="1"/>
            </p:cNvSpPr>
            <p:nvPr>
              <p:custDataLst>
                <p:tags r:id="rId176"/>
              </p:custDataLst>
            </p:nvPr>
          </p:nvSpPr>
          <p:spPr bwMode="gray">
            <a:xfrm>
              <a:off x="2747963" y="3925888"/>
              <a:ext cx="28342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The Bahamas</a:t>
              </a:r>
            </a:p>
          </p:txBody>
        </p:sp>
        <p:sp>
          <p:nvSpPr>
            <p:cNvPr id="396" name="Rectangle 386"/>
            <p:cNvSpPr>
              <a:spLocks noChangeArrowheads="1"/>
            </p:cNvSpPr>
            <p:nvPr>
              <p:custDataLst>
                <p:tags r:id="rId177"/>
              </p:custDataLst>
            </p:nvPr>
          </p:nvSpPr>
          <p:spPr bwMode="gray">
            <a:xfrm>
              <a:off x="777876" y="3994151"/>
              <a:ext cx="14234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Hawaii</a:t>
              </a:r>
            </a:p>
          </p:txBody>
        </p:sp>
        <p:sp>
          <p:nvSpPr>
            <p:cNvPr id="397" name="Rectangle 387"/>
            <p:cNvSpPr>
              <a:spLocks noChangeArrowheads="1"/>
            </p:cNvSpPr>
            <p:nvPr>
              <p:custDataLst>
                <p:tags r:id="rId178"/>
              </p:custDataLst>
            </p:nvPr>
          </p:nvSpPr>
          <p:spPr bwMode="gray">
            <a:xfrm>
              <a:off x="2873376" y="3663952"/>
              <a:ext cx="19146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ermuda</a:t>
              </a:r>
            </a:p>
          </p:txBody>
        </p:sp>
        <p:sp>
          <p:nvSpPr>
            <p:cNvPr id="398" name="Rectangle 388"/>
            <p:cNvSpPr>
              <a:spLocks noChangeArrowheads="1"/>
            </p:cNvSpPr>
            <p:nvPr>
              <p:custDataLst>
                <p:tags r:id="rId179"/>
              </p:custDataLst>
            </p:nvPr>
          </p:nvSpPr>
          <p:spPr bwMode="gray">
            <a:xfrm>
              <a:off x="166688" y="3811588"/>
              <a:ext cx="22044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idway Is.</a:t>
              </a:r>
            </a:p>
          </p:txBody>
        </p:sp>
        <p:sp>
          <p:nvSpPr>
            <p:cNvPr id="399" name="Rectangle 389"/>
            <p:cNvSpPr>
              <a:spLocks noChangeArrowheads="1"/>
            </p:cNvSpPr>
            <p:nvPr>
              <p:custDataLst>
                <p:tags r:id="rId180"/>
              </p:custDataLst>
            </p:nvPr>
          </p:nvSpPr>
          <p:spPr bwMode="gray">
            <a:xfrm>
              <a:off x="1703388" y="2779713"/>
              <a:ext cx="158718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anada</a:t>
              </a:r>
            </a:p>
          </p:txBody>
        </p:sp>
        <p:sp>
          <p:nvSpPr>
            <p:cNvPr id="400" name="Rectangle 390"/>
            <p:cNvSpPr>
              <a:spLocks noChangeArrowheads="1"/>
            </p:cNvSpPr>
            <p:nvPr>
              <p:custDataLst>
                <p:tags r:id="rId181"/>
              </p:custDataLst>
            </p:nvPr>
          </p:nvSpPr>
          <p:spPr bwMode="gray">
            <a:xfrm>
              <a:off x="1951038" y="3509963"/>
              <a:ext cx="28468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United States</a:t>
              </a:r>
            </a:p>
          </p:txBody>
        </p:sp>
        <p:sp>
          <p:nvSpPr>
            <p:cNvPr id="401" name="Rectangle 391"/>
            <p:cNvSpPr>
              <a:spLocks noChangeArrowheads="1"/>
            </p:cNvSpPr>
            <p:nvPr>
              <p:custDataLst>
                <p:tags r:id="rId182"/>
              </p:custDataLst>
            </p:nvPr>
          </p:nvSpPr>
          <p:spPr bwMode="gray">
            <a:xfrm>
              <a:off x="1952626" y="3943351"/>
              <a:ext cx="14990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Mexico</a:t>
              </a:r>
            </a:p>
          </p:txBody>
        </p:sp>
        <p:sp>
          <p:nvSpPr>
            <p:cNvPr id="402" name="Rectangle 392"/>
            <p:cNvSpPr>
              <a:spLocks noChangeArrowheads="1"/>
            </p:cNvSpPr>
            <p:nvPr>
              <p:custDataLst>
                <p:tags r:id="rId183"/>
              </p:custDataLst>
            </p:nvPr>
          </p:nvSpPr>
          <p:spPr bwMode="gray">
            <a:xfrm>
              <a:off x="2562226" y="4029076"/>
              <a:ext cx="108331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uba</a:t>
              </a:r>
            </a:p>
          </p:txBody>
        </p:sp>
        <p:sp>
          <p:nvSpPr>
            <p:cNvPr id="403" name="Rectangle 393"/>
            <p:cNvSpPr>
              <a:spLocks noChangeArrowheads="1"/>
            </p:cNvSpPr>
            <p:nvPr>
              <p:custDataLst>
                <p:tags r:id="rId184"/>
              </p:custDataLst>
            </p:nvPr>
          </p:nvSpPr>
          <p:spPr bwMode="gray">
            <a:xfrm>
              <a:off x="2454276" y="4494214"/>
              <a:ext cx="172575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anama</a:t>
              </a:r>
            </a:p>
          </p:txBody>
        </p:sp>
        <p:sp>
          <p:nvSpPr>
            <p:cNvPr id="404" name="Rectangle 394"/>
            <p:cNvSpPr>
              <a:spLocks noChangeArrowheads="1"/>
            </p:cNvSpPr>
            <p:nvPr>
              <p:custDataLst>
                <p:tags r:id="rId185"/>
              </p:custDataLst>
            </p:nvPr>
          </p:nvSpPr>
          <p:spPr bwMode="gray">
            <a:xfrm>
              <a:off x="2681288" y="4141788"/>
              <a:ext cx="99514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Haiti</a:t>
              </a:r>
            </a:p>
          </p:txBody>
        </p:sp>
        <p:sp>
          <p:nvSpPr>
            <p:cNvPr id="405" name="Rectangle 395"/>
            <p:cNvSpPr>
              <a:spLocks noChangeArrowheads="1"/>
            </p:cNvSpPr>
            <p:nvPr>
              <p:custDataLst>
                <p:tags r:id="rId186"/>
              </p:custDataLst>
            </p:nvPr>
          </p:nvSpPr>
          <p:spPr bwMode="gray">
            <a:xfrm>
              <a:off x="2951163" y="4151314"/>
              <a:ext cx="24185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Puerto Rico</a:t>
              </a:r>
            </a:p>
          </p:txBody>
        </p:sp>
        <p:sp>
          <p:nvSpPr>
            <p:cNvPr id="406" name="Rectangle 396"/>
            <p:cNvSpPr>
              <a:spLocks noChangeArrowheads="1"/>
            </p:cNvSpPr>
            <p:nvPr>
              <p:custDataLst>
                <p:tags r:id="rId187"/>
              </p:custDataLst>
            </p:nvPr>
          </p:nvSpPr>
          <p:spPr bwMode="gray">
            <a:xfrm>
              <a:off x="2811462" y="4089400"/>
              <a:ext cx="33129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Dominican Rep.</a:t>
              </a:r>
            </a:p>
          </p:txBody>
        </p:sp>
        <p:sp>
          <p:nvSpPr>
            <p:cNvPr id="407" name="Rectangle 397"/>
            <p:cNvSpPr>
              <a:spLocks noChangeArrowheads="1"/>
            </p:cNvSpPr>
            <p:nvPr>
              <p:custDataLst>
                <p:tags r:id="rId188"/>
              </p:custDataLst>
            </p:nvPr>
          </p:nvSpPr>
          <p:spPr bwMode="gray">
            <a:xfrm>
              <a:off x="2098676" y="4232276"/>
              <a:ext cx="23177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uatemala</a:t>
              </a:r>
            </a:p>
          </p:txBody>
        </p:sp>
        <p:sp>
          <p:nvSpPr>
            <p:cNvPr id="408" name="Rectangle 398"/>
            <p:cNvSpPr>
              <a:spLocks noChangeArrowheads="1"/>
            </p:cNvSpPr>
            <p:nvPr>
              <p:custDataLst>
                <p:tags r:id="rId189"/>
              </p:custDataLst>
            </p:nvPr>
          </p:nvSpPr>
          <p:spPr bwMode="gray">
            <a:xfrm>
              <a:off x="2389187" y="4160838"/>
              <a:ext cx="125966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Belize</a:t>
              </a:r>
            </a:p>
          </p:txBody>
        </p:sp>
        <p:sp>
          <p:nvSpPr>
            <p:cNvPr id="409" name="Rectangle 399"/>
            <p:cNvSpPr>
              <a:spLocks noChangeArrowheads="1"/>
            </p:cNvSpPr>
            <p:nvPr>
              <p:custDataLst>
                <p:tags r:id="rId190"/>
              </p:custDataLst>
            </p:nvPr>
          </p:nvSpPr>
          <p:spPr bwMode="gray">
            <a:xfrm>
              <a:off x="2128838" y="4313238"/>
              <a:ext cx="230519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El Salvador</a:t>
              </a:r>
            </a:p>
          </p:txBody>
        </p:sp>
        <p:sp>
          <p:nvSpPr>
            <p:cNvPr id="410" name="Rectangle 400"/>
            <p:cNvSpPr>
              <a:spLocks noChangeArrowheads="1"/>
            </p:cNvSpPr>
            <p:nvPr>
              <p:custDataLst>
                <p:tags r:id="rId191"/>
              </p:custDataLst>
            </p:nvPr>
          </p:nvSpPr>
          <p:spPr bwMode="gray">
            <a:xfrm>
              <a:off x="2241551" y="4408488"/>
              <a:ext cx="219182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Costa Rica</a:t>
              </a:r>
            </a:p>
          </p:txBody>
        </p:sp>
        <p:sp>
          <p:nvSpPr>
            <p:cNvPr id="411" name="Rectangle 403"/>
            <p:cNvSpPr>
              <a:spLocks noChangeArrowheads="1"/>
            </p:cNvSpPr>
            <p:nvPr>
              <p:custDataLst>
                <p:tags r:id="rId192"/>
              </p:custDataLst>
            </p:nvPr>
          </p:nvSpPr>
          <p:spPr bwMode="gray">
            <a:xfrm>
              <a:off x="3422651" y="2049463"/>
              <a:ext cx="216663" cy="604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500" dirty="0">
                  <a:solidFill>
                    <a:schemeClr val="accent1"/>
                  </a:solidFill>
                </a:rPr>
                <a:t>Greenland</a:t>
              </a:r>
            </a:p>
          </p:txBody>
        </p:sp>
        <p:sp>
          <p:nvSpPr>
            <p:cNvPr id="412" name="Rectangle 294"/>
            <p:cNvSpPr>
              <a:spLocks noChangeArrowheads="1"/>
            </p:cNvSpPr>
            <p:nvPr>
              <p:custDataLst>
                <p:tags r:id="rId193"/>
              </p:custDataLst>
            </p:nvPr>
          </p:nvSpPr>
          <p:spPr bwMode="gray">
            <a:xfrm>
              <a:off x="5126990" y="4451669"/>
              <a:ext cx="224155" cy="120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500" dirty="0">
                  <a:solidFill>
                    <a:schemeClr val="accent1"/>
                  </a:solidFill>
                </a:rPr>
                <a:t>South Sudan</a:t>
              </a:r>
            </a:p>
          </p:txBody>
        </p:sp>
      </p:grp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>
          <a:xfrm>
            <a:off x="9137721" y="6964656"/>
            <a:ext cx="2355779" cy="1767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421" name="Rectangle 249">
            <a:extLst>
              <a:ext uri="{FF2B5EF4-FFF2-40B4-BE49-F238E27FC236}">
                <a16:creationId xmlns:a16="http://schemas.microsoft.com/office/drawing/2014/main" id="{7D8EE966-FBB3-45B3-A338-106FE901B148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9219688" y="4237123"/>
            <a:ext cx="269304" cy="769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500" dirty="0">
                <a:solidFill>
                  <a:srgbClr val="006EB6"/>
                </a:solidFill>
              </a:rPr>
              <a:t>Singapore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051624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83206012583489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MjGC07Zkacj1wP1vHqk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O_pJeUzkW4aNItCGVBTw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8QQgOQiEiiDdegU0ebcA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2mh8vRTZU.voxlr.6ZhvA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7JXFBHK0WXkcHvSgBKFw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voU2jvJ6UOpzBs3S0t1dQ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0HBwgkkkqLibazv3ulSQ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CbTL7ig06TkwnNCdp_Hg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p_mDA3PEqqvJrYQ7pgWg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0M9j9EaMEeENXmYrXu4EQ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LnzdGSp0K2uJSK7uXIqw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7V9iQt8UWJHmLrXya32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re2j.y2kyl1d27lEeByw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uIJd3tZkyHGq_5ZOs9Lw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mdUS9WC06j5Tv2qsPv0A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3GVOxCl0mMDwgkNX03iA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K4L5RudEiquwbyltvCxw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RTPlZ_fUaJaYtqJ3gh9g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582zvZFESCnkCnG50BgQ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VRSxrk30y9VzUvlOTe_g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oSoBsLmUepB9_i5.yjFw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mB_O6M7kCsrjzhZIoryQ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NfBZpSX0m2XK0Sm3gkk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OqputltUGqB486fq97yw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G.ikopW0SHJYiiHsJcww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jCiD.y4kOtPO573BADOQ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I0xbWstUCTPVT95CxMIQ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YvQUsmmEmzOXDrvk0ZIA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WF9fvCmEOS3Fh8fLwauA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zODpTgvUyZGhj3.I2a9w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aZ1aTfG0yY9v2WVfRhLw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lmw9vdzUWpXNRL1NQeog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cOQj.zWky.RyK.ZP30jQ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LLqEB9Kkef6Pk7_7S7h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dMIMSclUy0qmc_CVWqKg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r_jOv7akC0.q4QJd0qHw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mCUe0YWUyh7O_5eTtxiQ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qV3SN.wUGxWCPhhp0isg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GqrI.mEEWaJieVCnzoQg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.jxprthA0iz3DG_WqMPtg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h1UbSiDEWey0.YDkBZfg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nVIQn9.kmJhBjCC.15iw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DAebZ4lkO_AZSt6NR3xg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LYQCns0i79xAYHrKJ7g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eUxARYBUWzyaR0r2Mhv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KeGM9y0Eec11zXeMRKSg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HRlkU.t0KQQr_.ASuATQ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DgUh5mEizEawou1nt6g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I9krqX0KlJmofo0XjeA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pqZnjh5E2B9YfFzivnZQ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QFgtoph0iQC1vZ5BGu9w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lRN_j0gUuyavLRLseTDQ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sJMsv_oT0e8OnA4JcfnUA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i.0wwsq02SDneHeUc0pA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ytRPKlvkaI4KjNLMJbag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pQgNAyxEizVzZfpvfA.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KVQ_043U.uYx33lH2XFw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eHJh81cUmnaqYo5hmEFg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SW2l8n20CVmsG914Uqng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0c4HP1ZE6owArRiSOaDg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bvn4Qmfke.VsJPiqQ7qQ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ZOXnt02kWMsSNBJiWVPQ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2GGmAVjUmMISjS2tQq9A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CMjwc1iEiaPSrHnuwcxg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EDQ1.qEkiw6dvG15QqfQ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evs17ve0O6t0j8.NilGQ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LrVPsXAEm6Vzvx4HsdU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ylBGbgZUSMdD6URVoKEA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TlDbdohEyACog.PMmTZw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055sjgvEumJLPRcQweEw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UtYa40kKJaLhtxYN4cw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znX4S6P0uxfd7vmE1Mkg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TyjvWZsUSLE4Kv.ioT6w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eNm4IDoUK5OQ4LFKpy_A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UIrpLGSEi4kM2I9dPCjw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kf826scUiO7yMKxKB.WQ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V81Q.5uUOoUMfZRjvGFg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AGxqbLbk6KphGE1ueeh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w1ajbJtEqCL2ciynOVNg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cibOivwEODKI8S1ZCnkQ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zKsf3XPECJSe.GgAGN1A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LUGJZyFEaoaYBZJfbpxA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DLg1qK5s0eGdInH3wQHfg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mLlPsNv0WqV70KZrM7Jg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5R8G7TFE.SQ12uSNqAYA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UIR48c.gUKnaILiqo4SHQ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Ak8faxc0eQL9Lw68Pn5g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hrt_41ckWxw1z2lomNgA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2LFJBKq0uASO25kOFW8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ol1hz1ZEO1MZ_zxuzxaA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J.LGHMI0KKvyKchcOh5w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Uisv6Hx0mjG8oW32X8Hw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tnCkiStEGwpSANr8LKUg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ozvyDcSEm4LrdfPttUgQ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9MBK0cbUeYZlHldT5Y4w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7H5qDPO02DTVAG7qESeg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xz7XbJ_ka69KlHSdGztQ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Y3sAXyp0uqiUpRipXIOg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fSqN0bb0mufLY487zDvQ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znAisVO0WDL1yE3NZw0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oX._vyREaFAI9aTi7uAg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CC.y5uQE6NgrYH1qJzog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wLTq0KUkW8VdJRIJTUJw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n1e29mlUWYdfIu4c8SAw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3UuMmqt0mT8sQB5aYmDw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osOk5B1EqNG5I3A9XC_g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9PRZgBi7UavnqmVhSZ.gQ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ysosoUuk6gcm7D5hFzBg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U7qCPflEKhj8uHD2aGMQ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TwpISH30efA7Dnld3XBA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6b.wSdEWUqutz2Pe9TU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QEh4SUvki4OeDsF8eqE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IfQv.Lm0WrS_CECqs69w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dolOluS0WZ77Q2gpmEYQ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5WJSvEy5U.mJmZBJoEyiw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G4wvNmbykKxbeTpWniYIA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tHBxiwYEeofz2GmaNUgg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rwEM_tOESCtvjircCJsQ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VkpBXUeEu3o3QO26X8Lg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2YdXgn4EWtye.Bs0WAZQ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LWtg8BnUS0JCo9VfHznw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H6LIVFYEG45zn8zU1b4w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SS4r4Cr0mt_.bMEXtzT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CjS_qyfEe5ASiMaqAdoA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xdv5tA.kqJZwl8IVLiFg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xtxmihV02tVdUOMYMcjA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ds3gAnvUCHPkJPwfjBsg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p0diOSn0efp7VEDrWKzQ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0BYvwH3UOPgDpKIi7mCg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XvGFx_tUCihRabhHnR9w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6q8jLMtUa7lBa.7PT7jQ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.wNEcztEmM_hvjT0WvUA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E1qOho9U.hz88jGHDj9w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98qeL9LkukwsxiPvUVS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lNV3AiE0.vslWXTXeZIA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WI9JrgBk2TpZq2zwPOhg"/>
</p:tagLst>
</file>

<file path=ppt/tags/tag1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arx0c48kqVPWT4n3sn9g"/>
</p:tagLst>
</file>

<file path=ppt/tags/tag1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PPNzTg9Uy1G3bYBtA.UQ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dRyPAOKkeF7IRzI0FuxQ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mqUGiTqsUuJwTa.yL2Wxg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Gxqi99ekGq2SEQyzvUrQ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rTyyqE3kGbWacavtH4iQ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6Gbe3kv0ubDw4rf4IMbQ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f2ddyWXUSqVWCP65qJgg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r.xf7FdEWkVdLL632Nb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K_cERbYUSQJeu_bgXG.Q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9I9mLJUWyQjNFxsueBA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pM4rDFQUq5XzwXiYjHUQ"/>
</p:tagLst>
</file>

<file path=ppt/tags/tag1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2knjusGE.UIwd7.Gqmdg"/>
</p:tagLst>
</file>

<file path=ppt/tags/tag1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TqRWQATEycV6RLseZQTw"/>
</p:tagLst>
</file>

<file path=ppt/tags/tag1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.2iWcgaEGcuCzU2Bnkcg"/>
</p:tagLst>
</file>

<file path=ppt/tags/tag1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UWGTF85kaapDfuiP4JVA"/>
</p:tagLst>
</file>

<file path=ppt/tags/tag1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iCi5xhd0ic0QheWJ6AWg"/>
</p:tagLst>
</file>

<file path=ppt/tags/tag1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Hl6jCz90Okb_oNnlsEAw"/>
</p:tagLst>
</file>

<file path=ppt/tags/tag1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4F79Ro_0eUGZ4iV95k4Q"/>
</p:tagLst>
</file>

<file path=ppt/tags/tag1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I4si0yIk2IuU_wywu5S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zkNh_9O0WQ8tdZJH_LGQ"/>
</p:tagLst>
</file>

<file path=ppt/tags/tag1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BZTRZeWkynRQ4davbgIg"/>
</p:tagLst>
</file>

<file path=ppt/tags/tag1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2pet89KEq.AUUCBXI9AQ"/>
</p:tagLst>
</file>

<file path=ppt/tags/tag1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23ixv8ZU6gJlmCuTveOg"/>
</p:tagLst>
</file>

<file path=ppt/tags/tag1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b0_j5Icw0CART9iKRqeVQ"/>
</p:tagLst>
</file>

<file path=ppt/tags/tag1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xgZeCIUk2tvzzCs1cCKQ"/>
</p:tagLst>
</file>

<file path=ppt/tags/tag1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bay4waL02YsT_3jMDT8Q"/>
</p:tagLst>
</file>

<file path=ppt/tags/tag1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NSBs0pmk.FR0vY0OY2gA"/>
</p:tagLst>
</file>

<file path=ppt/tags/tag1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sdRuSNLEmGlp1Pk30.IA"/>
</p:tagLst>
</file>

<file path=ppt/tags/tag1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CiGm7IOEK4yevxrqE4bw"/>
</p:tagLst>
</file>

<file path=ppt/tags/tag1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r3w11BdU6YTE97mkhB3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bavatUwkG0_YNXZ3Ssgw"/>
</p:tagLst>
</file>

<file path=ppt/tags/tag1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o4fPReZ0e1zO1OEJSlYQ"/>
</p:tagLst>
</file>

<file path=ppt/tags/tag1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a0YLrNiEW4NC5AL8tU7A"/>
</p:tagLst>
</file>

<file path=ppt/tags/tag1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7k23f2YEWuFWOr5lxW5g"/>
</p:tagLst>
</file>

<file path=ppt/tags/tag1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57idyvM0qT8X1ir.xd4A"/>
</p:tagLst>
</file>

<file path=ppt/tags/tag1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TLe_wOwUeLRb3LnjebxQ"/>
</p:tagLst>
</file>

<file path=ppt/tags/tag1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BnGC55jU.TIv7eFwHr.w"/>
</p:tagLst>
</file>

<file path=ppt/tags/tag1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OWwKvKE0iuLEBU3JMqmw"/>
</p:tagLst>
</file>

<file path=ppt/tags/tag1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5vVgdf9UCeNKCa5iNrkg"/>
</p:tagLst>
</file>

<file path=ppt/tags/tag1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s5ICAPjk.1jh.m_XnafA"/>
</p:tagLst>
</file>

<file path=ppt/tags/tag1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UWvqfQKF0q4FFluEa.07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Bu0BUu8U6ZodddQQW_7Q"/>
</p:tagLst>
</file>

<file path=ppt/tags/tag1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_rZqB0zk25xrCwgGbpWw"/>
</p:tagLst>
</file>

<file path=ppt/tags/tag1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qOSyRgjUypbAzoT7szHQ"/>
</p:tagLst>
</file>

<file path=ppt/tags/tag1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bHMHlPNEOsufuYoNyniA"/>
</p:tagLst>
</file>

<file path=ppt/tags/tag1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XKU_3qN0amQj0zc1R7pg"/>
</p:tagLst>
</file>

<file path=ppt/tags/tag1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.sj6TIoUaQCezptvv_mw"/>
</p:tagLst>
</file>

<file path=ppt/tags/tag1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YZAQ3xak.LhT1ah4eVJQ"/>
</p:tagLst>
</file>

<file path=ppt/tags/tag1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7eLZW7o0SDuqVK.UQdgg"/>
</p:tagLst>
</file>

<file path=ppt/tags/tag1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KtMXaZbUis8sZMa6t9vQ"/>
</p:tagLst>
</file>

<file path=ppt/tags/tag1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pDD1q40UiO2lI6qTmZ5g"/>
</p:tagLst>
</file>

<file path=ppt/tags/tag1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QCuvURH0u38GxaxgG2n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5oKanwEUabhPz6DSWbFw"/>
</p:tagLst>
</file>

<file path=ppt/tags/tag1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OoaRFrJUSu3XEux_3o7A"/>
</p:tagLst>
</file>

<file path=ppt/tags/tag1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PEfiGPoE.aPcWzUBFK8w"/>
</p:tagLst>
</file>

<file path=ppt/tags/tag1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q8Y6qVOE6LoSu.NyPRuA"/>
</p:tagLst>
</file>

<file path=ppt/tags/tag1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Zre4vaFkmK5o8LsmeV5A"/>
</p:tagLst>
</file>

<file path=ppt/tags/tag1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3kigKY8EEikNFDsZVeSVQ"/>
</p:tagLst>
</file>

<file path=ppt/tags/tag1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hoIVCX0U2cJQ2FLuNQWw"/>
</p:tagLst>
</file>

<file path=ppt/tags/tag1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SWG_TyW0qWNaQavpG9fQ"/>
</p:tagLst>
</file>

<file path=ppt/tags/tag1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NZpAZolUipS6DzLygnCw"/>
</p:tagLst>
</file>

<file path=ppt/tags/tag1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bE7Y57hEiHhxDzCUV0YQ"/>
</p:tagLst>
</file>

<file path=ppt/tags/tag1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UU2Yq4fEa5T5l_Z7nuh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Z4m3Yvtk6VTX6AWWOFgw"/>
</p:tagLst>
</file>

<file path=ppt/tags/tag1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RW4dy3DUuWPuUifAbTzg"/>
</p:tagLst>
</file>

<file path=ppt/tags/tag1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d1Frw7EESSlxihIk7L5g"/>
</p:tagLst>
</file>

<file path=ppt/tags/tag1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zpKdOE.EuHg8N7R2Rypw"/>
</p:tagLst>
</file>

<file path=ppt/tags/tag1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4sgX3Vd0mF1HazEAu6bA"/>
</p:tagLst>
</file>

<file path=ppt/tags/tag1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oYvYxLZk2wicPJX9sXJQ"/>
</p:tagLst>
</file>

<file path=ppt/tags/tag1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xpKY3xEkCayAhYjqaHug"/>
</p:tagLst>
</file>

<file path=ppt/tags/tag1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2as7BhceEisyEfepZxVTA"/>
</p:tagLst>
</file>

<file path=ppt/tags/tag1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9gChV26Ee5oq0h5DNMuw"/>
</p:tagLst>
</file>

<file path=ppt/tags/tag1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8Uu5gHEkejqy9N3lr4Cg"/>
</p:tagLst>
</file>

<file path=ppt/tags/tag1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FTRAn_70GmH1mAsXtuH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UBElsbFk2rNRy.virThQ"/>
</p:tagLst>
</file>

<file path=ppt/tags/tag1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zekjFrVUGRwy8R0VFy6w"/>
</p:tagLst>
</file>

<file path=ppt/tags/tag1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S75fFUIUiAOxM7VXMF8w"/>
</p:tagLst>
</file>

<file path=ppt/tags/tag1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ivV9WZ_kWqKsv6sNYy4Q"/>
</p:tagLst>
</file>

<file path=ppt/tags/tag1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rAvQNzrUmYALV9FCe9Zw"/>
</p:tagLst>
</file>

<file path=ppt/tags/tag1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2jWo2jM.kOWkUU6c5qp6Q"/>
</p:tagLst>
</file>

<file path=ppt/tags/tag1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V0rWLyOUC6tID4W957Iw"/>
</p:tagLst>
</file>

<file path=ppt/tags/tag1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93z_8Ick6qe_UzNQdEPA"/>
</p:tagLst>
</file>

<file path=ppt/tags/tag1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o3qZNCBkGoqmD6XL9QRA"/>
</p:tagLst>
</file>

<file path=ppt/tags/tag1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S3e_wf70i8MYkF813GUA"/>
</p:tagLst>
</file>

<file path=ppt/tags/tag1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OkDnkCmUOkP34SeaJ6B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sTyl5tpkCRSLjZegCJd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5Kx2kH2fU.2E_KGHUX1Uw"/>
</p:tagLst>
</file>

<file path=ppt/tags/tag1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RUVqhwLEe62xNe1ZuGCg"/>
</p:tagLst>
</file>

<file path=ppt/tags/tag1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oN52m1BUWrsygoP.2KGA"/>
</p:tagLst>
</file>

<file path=ppt/tags/tag1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_YKDOpI02Jz1FpQ.zVgA"/>
</p:tagLst>
</file>

<file path=ppt/tags/tag1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sb7R41JEqYygwAIcxIxQ"/>
</p:tagLst>
</file>

<file path=ppt/tags/tag1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MP.5wtt5UaTjOwojk6ySQ"/>
</p:tagLst>
</file>

<file path=ppt/tags/tag1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BPOxrOqEuokMp1GuW3oQ"/>
</p:tagLst>
</file>

<file path=ppt/tags/tag1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8LvlhPfESt0iMdfaV.SA"/>
</p:tagLst>
</file>

<file path=ppt/tags/tag1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05ZpJdd0uPDB8deEBi2A"/>
</p:tagLst>
</file>

<file path=ppt/tags/tag1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_.xS5N5kWR4sg0cMhYEQ"/>
</p:tagLst>
</file>

<file path=ppt/tags/tag1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wfFk7b.UGrgNWgqQCVI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SNj6f7MU.uvVxNxh44yA"/>
  <p:tag name="TEMPLAFYSLIDEID" val="637183949222675959"/>
</p:tagLst>
</file>

<file path=ppt/tags/tag1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GLAgNxv025NsHTKwRNWA"/>
</p:tagLst>
</file>

<file path=ppt/tags/tag1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5WYo9GBkOlf1_3jflcgg"/>
</p:tagLst>
</file>

<file path=ppt/tags/tag1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SdOgr22EWyK4WUty4JfQ"/>
</p:tagLst>
</file>

<file path=ppt/tags/tag1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qJbkobzkus6Eg8IGoi9A"/>
</p:tagLst>
</file>

<file path=ppt/tags/tag1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dK5Z8mEke8yInPKal.3w"/>
</p:tagLst>
</file>

<file path=ppt/tags/tag1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g62mhVGE.HBVZW5fgdMw"/>
</p:tagLst>
</file>

<file path=ppt/tags/tag1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2Rf.dIUaoqHht1vAJYw"/>
</p:tagLst>
</file>

<file path=ppt/tags/tag1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f4UBJlQkmFwSFMcLgCzw"/>
</p:tagLst>
</file>

<file path=ppt/tags/tag1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5AzXIsjU2JaRHdRwo52Q"/>
</p:tagLst>
</file>

<file path=ppt/tags/tag1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ygvsdKk0Ki9LLKJDLTR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Ned7kgGE6hKfdPSyWdKg"/>
</p:tagLst>
</file>

<file path=ppt/tags/tag1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EztuaTQk6VBr527KE3dw"/>
</p:tagLst>
</file>

<file path=ppt/tags/tag1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Kp8QyUzUOjoWze.DzhhQ"/>
</p:tagLst>
</file>

<file path=ppt/tags/tag1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1V9LcdPESLpa2Zbkp6nw"/>
</p:tagLst>
</file>

<file path=ppt/tags/tag1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kJt9fOHUCZN0gLMbB9jQ"/>
</p:tagLst>
</file>

<file path=ppt/tags/tag1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33HcdsXE6rqHKOIZY_.w"/>
</p:tagLst>
</file>

<file path=ppt/tags/tag1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_yJCnk6UyOxZq1EVkVug"/>
</p:tagLst>
</file>

<file path=ppt/tags/tag1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EkZ5OTdk.f5GTugukBJA"/>
</p:tagLst>
</file>

<file path=ppt/tags/tag1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Fjl64CPUmrZkY4sdQry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ajDwaXZUC9MTgBnlLjd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CWJB7NzkiaRZs5o3oLm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PqND3iTEW8897dWfT7A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0mFcb2FkKS2JvNygu0b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51jtLzzGU.kQq3qmjw.N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7gbqSXEEGNK2f_eTzxg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Im74HBbEWJMyViUhFqk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0I9kgyh_0mDIvOHtjGpv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z4JPdlP0.81L_oHg1D8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UAZR8EqkiflPJ.De3XK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06aj46bkqpwUW1sGSQt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BQVAET3U2rfjAbVe.G.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LCjxO0BEifzgUsKbW3r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fe_D7jcJk2JjzaZvEsvI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mbaApMZUGNIQGDKKcSg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v9gbWMak2KFEqbK9vIm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nuf3IZs4U6A4y8MyLQLz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nP18qUYECR9UNTChLmi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e0tQU5u0.YwZinYJHhv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FNTf9Ll0OJbTH3lskPq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igUAz.zU6jQgXwed.jP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vS4nduRk26YYVi2moq.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kBvKRL60.s5Yf8E7MTJ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EHhQggJ0i8tFHPSZA0K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xj3Y.6D0qQ_0QxBlVFF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zTqL5k7ECSdAy_CXIMI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cNOj6Q.UGyh2WknenDv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42xw6QAkSnqTHh9nhO9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sIp0PonEWGdYeAmOEJm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AgEAVux0Kd21yjFOR41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IEFHWnOkyyvsgpkTcPG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k2jstT9kiENG5zMc6M3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hI66TnY0KzQx5LYM0iC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IamHgw0u1C6DrI4Jj2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D6TLh2tkCzDINkgOlfE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tEG2.780iXH_j1Sc9Qq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2m8ht570iV5VoQXAt1D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gScEm3VEy5lTBWBpQO6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5lIDMMlGEaC1LSO_VTcJ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QbWVaQkkeMf9DvhrCz6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cFqx_RTUS_fZN7rRfDy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Sw2y58l02cDDThB7Ur3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inRmKnWUy5bdcn_pkpV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xRm_USvUmQpaVFFNZHX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pguAlJOUOr8zTqLrhSz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N7L6X8jk6Pwf1BFaAvR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p4QmfqEEm9vnKFi8FRO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rRXPxl.UanMlI1BbVrK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4exLTUDEK4BTbIBB7Q0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LQvjgkfk6nBmzX3nL3t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AeOLGnBEmQ94DgrVzXH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6yF_K1dUC055HZwhmrA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x0_9lM1Eao9UyLBVUhH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iXoYNWHUiRKXaIeCYYV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mJIaygXEC9B.oxQwhOy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d9EvEd80aqYMNC.5ZnO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t5E.aktEmjJ5aBJMgNe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5KDc3fYEGAXKpjaSwxV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mvof1MzEaS1hPnDmC_o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3U6VRrtEmVhoE8oc7Xk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xdA_jXr0y68suaCEli4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.OJhoHVkS3b_U6QsRp9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xV07bTt0OYhXZAr19Ok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c9ymjrjkCQKBcKjRJlc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CgOw5bkU6gR6Plu9IOP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0cu0BBFUKJIIfDGGIIS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8QQgOQiEiiDdegU0ebc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2mh8vRTZU.voxlr.6Zhv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7JXFBHK0WXkcHvSgBKF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voU2jvJ6UOpzBs3S0t1d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0HBwgkkkqLibazv3ulS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CbTL7ig06TkwnNCdp_H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p_mDA3PEqqvJrYQ7pgW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ZsChYq90CLLZUI99ZEY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0M9j9EaMEeENXmYrXu4E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LnzdGSp0K2uJSK7uXIq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7V9iQt8UWJHmLrXya32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uIJd3tZkyHGq_5ZOs9L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mdUS9WC06j5Tv2qsPv0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3GVOxCl0mMDwgkNX03i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K4L5RudEiquwbyltvCx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RTPlZ_fUaJaYtqJ3gh9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582zvZFESCnkCnG50Bg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VRSxrk30y9VzUvlOTe_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183949201738815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22IdyroEu.euqWs4LN7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oSoBsLmUepB9_i5.yjF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mB_O6M7kCsrjzhZIory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NfBZpSX0m2XK0Sm3gkk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G.ikopW0SHJYiiHsJcw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jCiD.y4kOtPO573BADO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I0xbWstUCTPVT95CxMI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YvQUsmmEmzOXDrvk0ZI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WF9fvCmEOS3Fh8fLwau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zODpTgvUyZGhj3.I2a9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aZ1aTfG0yY9v2WVfRhL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Lx.kB60.M9WTP7vwUM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lmw9vdzUWpXNRL1NQeo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cOQj.zWky.RyK.ZP30j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LLqEB9Kkef6Pk7_7S7h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r_jOv7akC0.q4QJd0qH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mCUe0YWUyh7O_5eTtxi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qV3SN.wUGxWCPhhp0is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GqrI.mEEWaJieVCnzoQ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.jxprthA0iz3DG_WqMPt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h1UbSiDEWey0.YDkBZf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nVIQn9.kmJhBjCC.15i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YJeH7jk0GqgMTo8Lrz9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DAebZ4lkO_AZSt6NR3x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LYQCns0i79xAYHrKJ7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eUxARYBUWzyaR0r2Mhv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HRlkU.t0KQQr_.ASuAT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DgUh5mEizEawou1nt6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I9krqX0KlJmofo0Xje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pqZnjh5E2B9YfFzivnZ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QFgtoph0iQC1vZ5BGu9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lRN_j0gUuyavLRLseTD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sJMsv_oT0e8OnA4JcfnU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HIm_cVUUa3Qtxo32.AN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i.0wwsq02SDneHeUc0p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ytRPKlvkaI4KjNLMJba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pQgNAyxEizVzZfpvfA.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eHJh81cUmnaqYo5hmEF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SW2l8n20CVmsG914Uqn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0c4HP1ZE6owArRiSOaD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bvn4Qmfke.VsJPiqQ7q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ZOXnt02kWMsSNBJiWVP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2GGmAVjUmMISjS2tQq9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CMjwc1iEiaPSrHnuwcx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qnffecpUCFxrK9xiRm9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EDQ1.qEkiw6dvG15Qqf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evs17ve0O6t0j8.NilG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LrVPsXAEm6Vzvx4HsdU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TlDbdohEyACog.PMmTZ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055sjgvEumJLPRcQweE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UtYa40kKJaLhtxYN4c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znX4S6P0uxfd7vmE1Mk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TyjvWZsUSLE4Kv.ioT6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eNm4IDoUK5OQ4LFKpy_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UIrpLGSEi4kM2I9dPCj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LiTf4OE61IiqcdRx8_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kf826scUiO7yMKxKB.W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V81Q.5uUOoUMfZRjvGF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AGxqbLbk6KphGE1ueeh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cibOivwEODKI8S1ZCnk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zKsf3XPECJSe.GgAGN1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LUGJZyFEaoaYBZJfbpx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DLg1qK5s0eGdInH3wQHf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mLlPsNv0WqV70KZrM7J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5R8G7TFE.SQ12uSNqA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UIR48c.gUKnaILiqo4SH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sdnPUA7U2M7M1p9C.sE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Ak8faxc0eQL9Lw68Pn5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hrt_41ckWxw1z2lomNg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2LFJBKq0uASO25kOFW8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J.LGHMI0KKvyKchcOh5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Uisv6Hx0mjG8oW32X8H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tnCkiStEGwpSANr8LKU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ozvyDcSEm4LrdfPttUg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9MBK0cbUeYZlHldT5Y4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7H5qDPO02DTVAG7qESe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xz7XbJ_ka69KlHSdGz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t5sHCXAkC2Ez.2bj_Dv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Y3sAXyp0uqiUpRipXIO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fSqN0bb0mufLY487zDv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znAisVO0WDL1yE3NZw0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CC.y5uQE6NgrYH1qJzo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wLTq0KUkW8VdJRIJTUJ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n1e29mlUWYdfIu4c8SA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3UuMmqt0mT8sQB5aYmD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osOk5B1EqNG5I3A9XC_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9PRZgBi7UavnqmVhSZ.g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ysosoUuk6gcm7D5hFzB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DPJwHvNEGrzusVvzfzd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U7qCPflEKhj8uHD2aGM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TwpISH30efA7Dnld3XB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6b.wSdEWUqutz2Pe9TUx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dolOluS0WZ77Q2gpmEY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5WJSvEy5U.mJmZBJoEyi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G4wvNmbykKxbeTpWniYI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tHBxiwYEeofz2GmaNUg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rwEM_tOESCtvjircCJs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VkpBXUeEu3o3QO26X8L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2YdXgn4EWtye.Bs0WAZ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Zy8GhwvU2U2XdbLQEQx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LWtg8BnUS0JCo9VfHzn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H6LIVFYEG45zn8zU1b4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SS4r4Cr0mt_.bMEXtzT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xdv5tA.kqJZwl8IVLiF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xtxmihV02tVdUOMYMcj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ds3gAnvUCHPkJPwfjBs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p0diOSn0efp7VEDrWKz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0BYvwH3UOPgDpKIi7mC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XvGFx_tUCihRabhHnR9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6q8jLMtUa7lBa.7PT7j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183949203646077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lQXgdC7U6E336LIPZ7G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.wNEcztEmM_hvjT0WvU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E1qOho9U.hz88jGHDj9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98qeL9LkukwsxiPvUVS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WI9JrgBk2TpZq2zwPOh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arx0c48kqVPWT4n3sn9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PPNzTg9Uy1G3bYBtA.U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dRyPAOKkeF7IRzI0Fux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mqUGiTqsUuJwTa.yL2Wx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Gxqi99ekGq2SEQyzvUr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rTyyqE3kGbWacavtH4i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aBcdtNSU2_oqjUl0u.Ug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6Gbe3kv0ubDw4rf4IMb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f2ddyWXUSqVWCP65qJg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r.xf7FdEWkVdLL632Nb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9I9mLJUWyQjNFxsueB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pM4rDFQUq5XzwXiYjHU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2knjusGE.UIwd7.Gqmd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TqRWQATEycV6RLseZQT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.2iWcgaEGcuCzU2Bnkc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UWGTF85kaapDfuiP4JV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iCi5xhd0ic0QheWJ6AW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A4FRmzK0m1DycMLxu1Gg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Hl6jCz90Okb_oNnlsEA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4F79Ro_0eUGZ4iV95k4Q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I4si0yIk2IuU_wywu5S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BZTRZeWkynRQ4davbgIg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2pet89KEq.AUUCBXI9A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23ixv8ZU6gJlmCuTveOg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b0_j5Icw0CART9iKRqeV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xgZeCIUk2tvzzCs1cCK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bay4waL02YsT_3jMDT8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NSBs0pmk.FR0vY0OY2g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DGmocItEei4t20j1ExI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sdRuSNLEmGlp1Pk30.I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CiGm7IOEK4yevxrqE4bw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r3w11BdU6YTE97mkhB3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o4fPReZ0e1zO1OEJSlY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a0YLrNiEW4NC5AL8tU7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7k23f2YEWuFWOr5lxW5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57idyvM0qT8X1ir.xd4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TLe_wOwUeLRb3LnjebxQ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BnGC55jU.TIv7eFwHr.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OWwKvKE0iuLEBU3JMqm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Y5HJ1WmEqzHQxxbI3Zn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5vVgdf9UCeNKCa5iNrk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s5ICAPjk.1jh.m_Xnaf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UWvqfQKF0q4FFluEa.07g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_rZqB0zk25xrCwgGbpW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qOSyRgjUypbAzoT7szH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bHMHlPNEOsufuYoNyni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XKU_3qN0amQj0zc1R7p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.sj6TIoUaQCezptvv_mw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YZAQ3xak.LhT1ah4eVJ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7eLZW7o0SDuqVK.UQdg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CAmH94.EKANLtkOTK00g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KtMXaZbUis8sZMa6t9v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pDD1q40UiO2lI6qTmZ5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QCuvURH0u38GxaxgG2n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OoaRFrJUSu3XEux_3o7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PEfiGPoE.aPcWzUBFK8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q8Y6qVOE6LoSu.NyPRu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Zre4vaFkmK5o8LsmeV5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3kigKY8EEikNFDsZVeSV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hoIVCX0U2cJQ2FLuNQWw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SWG_TyW0qWNaQavpG9f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jhZR1Kd0OfEnDabfrxr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NZpAZolUipS6DzLygnCw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bE7Y57hEiHhxDzCUV0Y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UU2Yq4fEa5T5l_Z7nuh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RW4dy3DUuWPuUifAbTz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d1Frw7EESSlxihIk7L5g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zpKdOE.EuHg8N7R2Ryp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4sgX3Vd0mF1HazEAu6b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oYvYxLZk2wicPJX9sXJQ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xpKY3xEkCayAhYjqaHu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2as7BhceEisyEfepZxVT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5QA0K8C0aO1aaZeGxLx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9gChV26Ee5oq0h5DNMuw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8Uu5gHEkejqy9N3lr4C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FTRAn_70GmH1mAsXtuH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zekjFrVUGRwy8R0VFy6w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S75fFUIUiAOxM7VXMF8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ivV9WZ_kWqKsv6sNYy4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rAvQNzrUmYALV9FCe9Z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2jWo2jM.kOWkUU6c5qp6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V0rWLyOUC6tID4W957I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93z_8Ick6qe_UzNQdEP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TMrFp2qEeiUahKrixMFg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o3qZNCBkGoqmD6XL9QRA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S3e_wf70i8MYkF813GUA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OkDnkCmUOkP34SeaJ6BQ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RUVqhwLEe62xNe1ZuGCg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oN52m1BUWrsygoP.2KG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_YKDOpI02Jz1FpQ.zVgA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sb7R41JEqYygwAIcxIxQ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MP.5wtt5UaTjOwojk6ySQ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BPOxrOqEuokMp1GuW3o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8LvlhPfESt0iMdfaV.S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8.KTDT400CswLh.dKSJ5g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05ZpJdd0uPDB8deEBi2A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_.xS5N5kWR4sg0cMhYE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wfFk7b.UGrgNWgqQCVIw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GLAgNxv025NsHTKwRNWA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5WYo9GBkOlf1_3jflcgg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SdOgr22EWyK4WUty4Jf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qJbkobzkus6Eg8IGoi9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dK5Z8mEke8yInPKal.3w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g62mhVGE.HBVZW5fgdMw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2Rf.dIUaoqHht1vAJ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18394920675349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ypsYLFdkuAxJElJw.CZ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f4UBJlQkmFwSFMcLgCzw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5AzXIsjU2JaRHdRwo52Q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ygvsdKk0Ki9LLKJDLTRw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EztuaTQk6VBr527KE3dw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Kp8QyUzUOjoWze.DzhhQ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1V9LcdPESLpa2Zbkp6nw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kJt9fOHUCZN0gLMbB9jQ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33HcdsXE6rqHKOIZY_.w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_yJCnk6UyOxZq1EVkVug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EkZ5OTdk.f5GTugukBJ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AnHb.yQEqjGtk.nY0j3A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Fjl64CPUmrZkY4sdQryg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77827918554048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77827918554049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477827918709999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qTM_VyKECwCP5HVf4fpw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Cc1dQUmUGsPF6iKPi1mw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Ip.6u.ZkelyaIvcbjvvw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zWr16Lk0OAn8fsOoKT1Q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dtc6B450qEo4s3__F3AQ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MjGC07Zkacj1wP1vHqk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MhYoyH2ku1UEWOOfLo_A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QEh4SUvki4OeDsF8eqEQ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sTyl5tpkCRSLjZegCJdQ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0I9kgyh_0mDIvOHtjGpvA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e0tQU5u0.YwZinYJHhvA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AgEAVux0Kd21yjFOR41g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cFqx_RTUS_fZN7rRfDyw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6yF_K1dUC055HZwhmrAw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xV07bTt0OYhXZAr19Okg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ZsChYq90CLLZUI99ZEYA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22IdyroEu.euqWs4LN7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4Tq9IwokCzxMIcgZwG9A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Lx.kB60.M9WTP7vwUMA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YJeH7jk0GqgMTo8Lrz9Q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HIm_cVUUa3Qtxo32.ANQ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qnffecpUCFxrK9xiRm9A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LiTf4OE61IiqcdRx8_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sdnPUA7U2M7M1p9C.sEQ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t5sHCXAkC2Ez.2bj_Dvw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DPJwHvNEGrzusVvzfzdQ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Zy8GhwvU2U2XdbLQEQxA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lQXgdC7U6E336LIPZ7G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2A6d.mfNUep_RDbr3502A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aBcdtNSU2_oqjUl0u.Ug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A4FRmzK0m1DycMLxu1Gg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DGmocItEei4t20j1ExIA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Y5HJ1WmEqzHQxxbI3ZnA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CAmH94.EKANLtkOTK00g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jhZR1Kd0OfEnDabfrxrw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5QA0K8C0aO1aaZeGxLxA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TMrFp2qEeiUahKrixMFg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8.KTDT400CswLh.dKSJ5g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ypsYLFdkuAxJElJw.CZ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6Az4czYhE.PVigi.q7U_Q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AnHb.yQEqjGtk.nY0j3A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MhYoyH2ku1UEWOOfLo_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4Tq9IwokCzxMIcgZwG9A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2A6d.mfNUep_RDbr3502A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6Az4czYhE.PVigi.q7U_Q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l1ULKQEkuN9j3emo2LaQ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iOKY8NSkW2DnAfi.1vPw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jFzG83UEuc0BBklF7U3g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xm5yRDKUa.nyY9Ppiz3Q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NKOQkQoUii9nDsfjBZf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l1ULKQEkuN9j3emo2LaQ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vyv4t9TkKQ6xN9XoiEGg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5DHOrRQ0.72_Z501M7yA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9fhUr3sEWU3ErGTsQrkQ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12T5Hbsx0uh9CD7C4BWsA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sq.D54TUyw7MKK1Gcd2g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PyneVQCUirSGlWcx.GaA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IfC2bTAkeyz0Fnx6ePXA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L07d7lKUOkSPpESj15Ow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eHMgTw_U2iPR4QBSSN6w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GStuyEIUqnxK8BkpcmT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iOKY8NSkW2DnAfi.1vPw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0B87OMbkO.nXYNec5QnA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UUlqndTES.Nb6yfn80kg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RYnJ3cJ0m.Z1qTUg781g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cMilYI5ECQjU1RbjxocA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Z5IXoKxUiQX9YJGfTrHw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WJ65euxEap9os5Vn11.Q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h0fedBsUOvyO7ER6qRuA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dcjU2cv0i8bRDbNmDpRQ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OHup0dBkyunQvdtnVNXA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ROdvF.b0mt6ockSSuJF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jFzG83UEuc0BBklF7U3g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9xKH._cEiZyYXIMiYvJA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GnMQy6OEen.MBMUlPE2g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E_ulGXY0mUpRFlVmCtxw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YbOIQRF0akz6R47SbizQ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A.PMbG02vIRH_K3OeXA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0cCI08T0aJqv1_x6Hi5g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Qw.FYl_UGeJm_f5cXVlA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jNYOppqk.Zt93IyKiwcw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v2xnuVa021RBUMwCua7A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0Om2WwmEmezRJJAuGB6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xm5yRDKUa.nyY9Ppiz3Q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3qkGKIgEu4ykcIvt8pxw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O.xtw1LkG771Wfc5i4LQ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z87keXP06jJL3A7b6T_g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w3N.VZlkOjl3KDH5rW3Q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IO5SDxpEOUv2AhyDeIDQ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qTM_VyKECwCP5HVf4fpw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lfKIoA0qz2Wyg2hPsJQ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IbcYaWSkWW..ZvK4b2SA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mkPzLE0EGwoAKAWcCKVw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dz2KDUQkaidcjvF4WO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qTM_VyKECwCP5HVf4fp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NKOQkQoUii9nDsfjBZfQ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RQnib3ikSzcnt4Rw2KcA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IkXIYYxk6uQR6wblrTSw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bVXMMVJ0SsJNPEcT8Y0Q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td2.WYaEK1vHwO9Yn.Sg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FQXzLh6kqE9ujpRdquxA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9IMOYCl0KPCF0tCMsqcw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R.vNZv3Eih34axNyhakw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7M_cEALk2Z98ev4R1sLA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st3_8ouUiG6K9G3rh8sA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O_pJeUzkW4aNItCGVBT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vyv4t9TkKQ6xN9XoiEGg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re2j.y2kyl1d27lEeByw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OqputltUGqB486fq97yw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dMIMSclUy0qmc_CVWqKg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KeGM9y0Eec11zXeMRKSg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KVQ_043U.uYx33lH2XFw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ylBGbgZUSMdD6URVoKEA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w1ajbJtEqCL2ciynOVNg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ol1hz1ZEO1MZ_zxuzxaA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oX._vyREaFAI9aTi7uAg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IfQv.Lm0WrS_CECqs69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5DHOrRQ0.72_Z501M7yA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CjS_qyfEe5ASiMaqAdoA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lNV3AiE0.vslWXTXeZIA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K_cERbYUSQJeu_bgXG.Q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zkNh_9O0WQ8tdZJH_LGQ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bavatUwkG0_YNXZ3Ssgw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Bu0BUu8U6ZodddQQW_7Q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5oKanwEUabhPz6DSWbFw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Z4m3Yvtk6VTX6AWWOFgw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UBElsbFk2rNRy.virThQ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5Kx2kH2fU.2E_KGHUX1U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9fhUr3sEWU3ErGTsQrkQ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SNj6f7MU.uvVxNxh44yA"/>
  <p:tag name="TEMPLAFYSLIDEID" val="637477827920272694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Ned7kgGE6hKfdPSyWdKg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ajDwaXZUC9MTgBnlLjdQ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CWJB7NzkiaRZs5o3oLmw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PqND3iTEW8897dWfT7AQ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0mFcb2FkKS2JvNygu0bA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51jtLzzGU.kQq3qmjw.NA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7gbqSXEEGNK2f_eTzxgg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Im74HBbEWJMyViUhFqkQ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z4JPdlP0.81L_oHg1D8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12T5Hbsx0uh9CD7C4BWsA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UAZR8EqkiflPJ.De3XKw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06aj46bkqpwUW1sGSQtQ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BQVAET3U2rfjAbVe.G.g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LCjxO0BEifzgUsKbW3rw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fe_D7jcJk2JjzaZvEsvIA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mbaApMZUGNIQGDKKcSgw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v9gbWMak2KFEqbK9vImQ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nuf3IZs4U6A4y8MyLQLzw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nP18qUYECR9UNTChLmig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FNTf9Ll0OJbTH3lskPq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sq.D54TUyw7MKK1Gcd2g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igUAz.zU6jQgXwed.jPg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vS4nduRk26YYVi2moq.Q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kBvKRL60.s5Yf8E7MTJg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EHhQggJ0i8tFHPSZA0KA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xj3Y.6D0qQ_0QxBlVFFw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zTqL5k7ECSdAy_CXIMIA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cNOj6Q.UGyh2WknenDvw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42xw6QAkSnqTHh9nhO9Q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sIp0PonEWGdYeAmOEJmw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IEFHWnOkyyvsgpkTcPG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PyneVQCUirSGlWcx.GaA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k2jstT9kiENG5zMc6M3w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hI66TnY0KzQx5LYM0iCw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IamHgw0u1C6DrI4Jj2A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D6TLh2tkCzDINkgOlfEg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tEG2.780iXH_j1Sc9QqA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2m8ht570iV5VoQXAt1DQ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gScEm3VEy5lTBWBpQO6w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5lIDMMlGEaC1LSO_VTcJQ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QbWVaQkkeMf9DvhrCz6g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Sw2y58l02cDDThB7Ur3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IfC2bTAkeyz0Fnx6ePXA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inRmKnWUy5bdcn_pkpVg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xRm_USvUmQpaVFFNZHXg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pguAlJOUOr8zTqLrhSzA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N7L6X8jk6Pwf1BFaAvRA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p4QmfqEEm9vnKFi8FROA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rRXPxl.UanMlI1BbVrKg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4exLTUDEK4BTbIBB7Q0Q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LQvjgkfk6nBmzX3nL3tQ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AeOLGnBEmQ94DgrVzXHA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x0_9lM1Eao9UyLBVUhH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L07d7lKUOkSPpESj15Ow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iXoYNWHUiRKXaIeCYYVw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mJIaygXEC9B.oxQwhOyA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d9EvEd80aqYMNC.5ZnOA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t5E.aktEmjJ5aBJMgNeQ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5KDc3fYEGAXKpjaSwxVg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mvof1MzEaS1hPnDmC_oA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3U6VRrtEmVhoE8oc7XkA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xdA_jXr0y68suaCEli4w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.OJhoHVkS3b_U6QsRp9w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c9ymjrjkCQKBcKjRJlc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eHMgTw_U2iPR4QBSSN6w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CgOw5bkU6gR6Plu9IOPQ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0cu0BBFUKJIIfDGGIISw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8QQgOQiEiiDdegU0ebcA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2mh8vRTZU.voxlr.6ZhvA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7JXFBHK0WXkcHvSgBKFw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voU2jvJ6UOpzBs3S0t1dQ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0HBwgkkkqLibazv3ulSQ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zCbTL7ig06TkwnNCdp_Hg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p_mDA3PEqqvJrYQ7pgWg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0M9j9EaMEeENXmYrXu4E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Cc1dQUmUGsPF6iKPi1m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GStuyEIUqnxK8BkpcmTg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LnzdGSp0K2uJSK7uXIqw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7V9iQt8UWJHmLrXya32g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uIJd3tZkyHGq_5ZOs9Lw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mdUS9WC06j5Tv2qsPv0A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3GVOxCl0mMDwgkNX03iA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8K4L5RudEiquwbyltvCxw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RTPlZ_fUaJaYtqJ3gh9g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582zvZFESCnkCnG50BgQ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VRSxrk30y9VzUvlOTe_g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oSoBsLmUepB9_i5.yjF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0B87OMbkO.nXYNec5QnA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mB_O6M7kCsrjzhZIoryQ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NfBZpSX0m2XK0Sm3gkkw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G.ikopW0SHJYiiHsJcww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jCiD.y4kOtPO573BADOQ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I0xbWstUCTPVT95CxMIQ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YvQUsmmEmzOXDrvk0ZIA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WF9fvCmEOS3Fh8fLwauA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zODpTgvUyZGhj3.I2a9w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aZ1aTfG0yY9v2WVfRhLw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lmw9vdzUWpXNRL1NQeo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UUlqndTES.Nb6yfn80kg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cOQj.zWky.RyK.ZP30jQ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LLqEB9Kkef6Pk7_7S7hw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r_jOv7akC0.q4QJd0qHw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mCUe0YWUyh7O_5eTtxiQ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qV3SN.wUGxWCPhhp0isg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GqrI.mEEWaJieVCnzoQg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.jxprthA0iz3DG_WqMPtg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h1UbSiDEWey0.YDkBZfg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nVIQn9.kmJhBjCC.15iw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DAebZ4lkO_AZSt6NR3x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RYnJ3cJ0m.Z1qTUg781g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LYQCns0i79xAYHrKJ7g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eUxARYBUWzyaR0r2MhvQ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HRlkU.t0KQQr_.ASuATQ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hDgUh5mEizEawou1nt6g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I9krqX0KlJmofo0XjeA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4pqZnjh5E2B9YfFzivnZQ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QFgtoph0iQC1vZ5BGu9w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lRN_j0gUuyavLRLseTDQ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sJMsv_oT0e8OnA4JcfnUA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i.0wwsq02SDneHeUc0p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cMilYI5ECQjU1RbjxocA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ytRPKlvkaI4KjNLMJbag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pQgNAyxEizVzZfpvfA.g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eHJh81cUmnaqYo5hmEFg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SW2l8n20CVmsG914Uqng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80c4HP1ZE6owArRiSOaDg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bvn4Qmfke.VsJPiqQ7qQ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ZOXnt02kWMsSNBJiWVPQ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2GGmAVjUmMISjS2tQq9A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CMjwc1iEiaPSrHnuwcxg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EDQ1.qEkiw6dvG15Qqf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Z5IXoKxUiQX9YJGfTrHw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evs17ve0O6t0j8.NilGQ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LrVPsXAEm6Vzvx4HsdUg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TlDbdohEyACog.PMmTZw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055sjgvEumJLPRcQweEw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UtYa40kKJaLhtxYN4cw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znX4S6P0uxfd7vmE1Mkg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TyjvWZsUSLE4Kv.ioT6w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eNm4IDoUK5OQ4LFKpy_A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UIrpLGSEi4kM2I9dPCjw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kf826scUiO7yMKxKB.W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WJ65euxEap9os5Vn11.Q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V81Q.5uUOoUMfZRjvGFg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AGxqbLbk6KphGE1ueehA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cibOivwEODKI8S1ZCnkQ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zKsf3XPECJSe.GgAGN1A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LUGJZyFEaoaYBZJfbpxA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DLg1qK5s0eGdInH3wQHfg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mLlPsNv0WqV70KZrM7Jg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5R8G7TFE.SQ12uSNqAYA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UIR48c.gUKnaILiqo4SHQ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Ak8faxc0eQL9Lw68Pn5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h0fedBsUOvyO7ER6qRuA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hrt_41ckWxw1z2lomNgA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2LFJBKq0uASO25kOFW8w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J.LGHMI0KKvyKchcOh5w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Uisv6Hx0mjG8oW32X8Hw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tnCkiStEGwpSANr8LKUg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ozvyDcSEm4LrdfPttUgQ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9MBK0cbUeYZlHldT5Y4w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7H5qDPO02DTVAG7qESeg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xz7XbJ_ka69KlHSdGztQ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Y3sAXyp0uqiUpRipXIO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dcjU2cv0i8bRDbNmDpRQ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fSqN0bb0mufLY487zDvQ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znAisVO0WDL1yE3NZw0A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CC.y5uQE6NgrYH1qJzog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wLTq0KUkW8VdJRIJTUJw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n1e29mlUWYdfIu4c8SAw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3UuMmqt0mT8sQB5aYmDw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osOk5B1EqNG5I3A9XC_g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9PRZgBi7UavnqmVhSZ.gQ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ysosoUuk6gcm7D5hFzBg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U7qCPflEKhj8uHD2aGM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OHup0dBkyunQvdtnVNXA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TwpISH30efA7Dnld3XBA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6b.wSdEWUqutz2Pe9TUxw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dolOluS0WZ77Q2gpmEYQ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5WJSvEy5U.mJmZBJoEyiw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G4wvNmbykKxbeTpWniYIA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tHBxiwYEeofz2GmaNUgg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rwEM_tOESCtvjircCJsQ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VkpBXUeEu3o3QO26X8Lg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2YdXgn4EWtye.Bs0WAZQ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LWtg8BnUS0JCo9VfHzn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Ip.6u.ZkelyaIvcbjvv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ROdvF.b0mt6ockSSuJFA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H6LIVFYEG45zn8zU1b4w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SS4r4Cr0mt_.bMEXtzTA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xdv5tA.kqJZwl8IVLiFg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xtxmihV02tVdUOMYMcjA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ds3gAnvUCHPkJPwfjBsg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p0diOSn0efp7VEDrWKzQ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0BYvwH3UOPgDpKIi7mCg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XvGFx_tUCihRabhHnR9w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6q8jLMtUa7lBa.7PT7jQ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.wNEcztEmM_hvjT0WvU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9xKH._cEiZyYXIMiYvJA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E1qOho9U.hz88jGHDj9w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98qeL9LkukwsxiPvUVSA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WI9JrgBk2TpZq2zwPOhg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arx0c48kqVPWT4n3sn9g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PPNzTg9Uy1G3bYBtA.UQ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dRyPAOKkeF7IRzI0FuxQ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mqUGiTqsUuJwTa.yL2Wxg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Gxqi99ekGq2SEQyzvUrQ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rTyyqE3kGbWacavtH4iQ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6Gbe3kv0ubDw4rf4IMb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GnMQy6OEen.MBMUlPE2g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f2ddyWXUSqVWCP65qJgg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r.xf7FdEWkVdLL632Nbw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k9I9mLJUWyQjNFxsueBA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pM4rDFQUq5XzwXiYjHUQ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2knjusGE.UIwd7.Gqmdg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TqRWQATEycV6RLseZQTw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.2iWcgaEGcuCzU2Bnkcg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UWGTF85kaapDfuiP4JVA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iCi5xhd0ic0QheWJ6AWg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Hl6jCz90Okb_oNnlsEA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E_ulGXY0mUpRFlVmCtxw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4F79Ro_0eUGZ4iV95k4Q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I4si0yIk2IuU_wywu5SA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BZTRZeWkynRQ4davbgIg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2pet89KEq.AUUCBXI9AQ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23ixv8ZU6gJlmCuTveOg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b0_j5Icw0CART9iKRqeVQ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xgZeCIUk2tvzzCs1cCKQ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bay4waL02YsT_3jMDT8Q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NSBs0pmk.FR0vY0OY2gA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sdRuSNLEmGlp1Pk30.I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YbOIQRF0akz6R47SbizQ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CiGm7IOEK4yevxrqE4bw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r3w11BdU6YTE97mkhB3Q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o4fPReZ0e1zO1OEJSlYQ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a0YLrNiEW4NC5AL8tU7A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7k23f2YEWuFWOr5lxW5g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57idyvM0qT8X1ir.xd4A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TLe_wOwUeLRb3LnjebxQ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BnGC55jU.TIv7eFwHr.w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OWwKvKE0iuLEBU3JMqmw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5vVgdf9UCeNKCa5iNrk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A.PMbG02vIRH_K3OeXA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s5ICAPjk.1jh.m_XnafA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UWvqfQKF0q4FFluEa.07g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_rZqB0zk25xrCwgGbpWw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qOSyRgjUypbAzoT7szHQ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bHMHlPNEOsufuYoNyniA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XKU_3qN0amQj0zc1R7pg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.sj6TIoUaQCezptvv_mw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YZAQ3xak.LhT1ah4eVJQ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7eLZW7o0SDuqVK.UQdgg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KtMXaZbUis8sZMa6t9v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0cCI08T0aJqv1_x6Hi5g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pDD1q40UiO2lI6qTmZ5g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QCuvURH0u38GxaxgG2nA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OoaRFrJUSu3XEux_3o7A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PEfiGPoE.aPcWzUBFK8w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q8Y6qVOE6LoSu.NyPRuA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Zre4vaFkmK5o8LsmeV5A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3kigKY8EEikNFDsZVeSVQ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hoIVCX0U2cJQ2FLuNQWw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SWG_TyW0qWNaQavpG9fQ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NZpAZolUipS6DzLygnC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Qw.FYl_UGeJm_f5cXVlA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bE7Y57hEiHhxDzCUV0YQ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UU2Yq4fEa5T5l_Z7nuhQ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RW4dy3DUuWPuUifAbTzg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d1Frw7EESSlxihIk7L5g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zpKdOE.EuHg8N7R2Rypw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4sgX3Vd0mF1HazEAu6bA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oYvYxLZk2wicPJX9sXJQ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xpKY3xEkCayAhYjqaHug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2as7BhceEisyEfepZxVTA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9gChV26Ee5oq0h5DNMu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jNYOppqk.Zt93IyKiwcw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8Uu5gHEkejqy9N3lr4Cg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FTRAn_70GmH1mAsXtuHg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zekjFrVUGRwy8R0VFy6w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S75fFUIUiAOxM7VXMF8w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ivV9WZ_kWqKsv6sNYy4Q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rAvQNzrUmYALV9FCe9Zw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2jWo2jM.kOWkUU6c5qp6Q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V0rWLyOUC6tID4W957Iw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93z_8Ick6qe_UzNQdEPA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o3qZNCBkGoqmD6XL9QR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v2xnuVa021RBUMwCua7A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S3e_wf70i8MYkF813GUA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OkDnkCmUOkP34SeaJ6BQ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RUVqhwLEe62xNe1ZuGCg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oN52m1BUWrsygoP.2KGA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_YKDOpI02Jz1FpQ.zVgA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sb7R41JEqYygwAIcxIxQ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MP.5wtt5UaTjOwojk6ySQ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BPOxrOqEuokMp1GuW3oQ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8LvlhPfESt0iMdfaV.SA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05ZpJdd0uPDB8deEBi2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zWr16Lk0OAn8fsOoKT1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0Om2WwmEmezRJJAuGB6Q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_.xS5N5kWR4sg0cMhYEQ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wfFk7b.UGrgNWgqQCVIw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GLAgNxv025NsHTKwRNWA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5WYo9GBkOlf1_3jflcgg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SdOgr22EWyK4WUty4JfQ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qJbkobzkus6Eg8IGoi9A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dK5Z8mEke8yInPKal.3w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g62mhVGE.HBVZW5fgdMw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2Rf.dIUaoqHht1vAJYw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f4UBJlQkmFwSFMcLgCz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3qkGKIgEu4ykcIvt8pxw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5AzXIsjU2JaRHdRwo52Q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ygvsdKk0Ki9LLKJDLTRw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EztuaTQk6VBr527KE3dw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Kp8QyUzUOjoWze.DzhhQ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1V9LcdPESLpa2Zbkp6nw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kJt9fOHUCZN0gLMbB9jQ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33HcdsXE6rqHKOIZY_.w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_yJCnk6UyOxZq1EVkVug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EkZ5OTdk.f5GTugukBJA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Fjl64CPUmrZkY4sdQry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O.xtw1LkG771Wfc5i4LQ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792267128156423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792267128312680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792267128468971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Cc1dQUmUGsPF6iKPi1mw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Ip.6u.ZkelyaIvcbjvvw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zWr16Lk0OAn8fsOoKT1Q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dtc6B450qEo4s3__F3AQ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MjGC07Zkacj1wP1vHqkg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QEh4SUvki4OeDsF8eqEQ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sTyl5tpkCRSLjZegCJd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z87keXP06jJL3A7b6T_g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0I9kgyh_0mDIvOHtjGpvA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e0tQU5u0.YwZinYJHhvA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AgEAVux0Kd21yjFOR41g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cFqx_RTUS_fZN7rRfDyw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6yF_K1dUC055HZwhmrAw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xV07bTt0OYhXZAr19Okg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ZsChYq90CLLZUI99ZEYA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22IdyroEu.euqWs4LN7g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QLx.kB60.M9WTP7vwUMA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YJeH7jk0GqgMTo8Lrz9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w3N.VZlkOjl3KDH5rW3Q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HIm_cVUUa3Qtxo32.ANQ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qnffecpUCFxrK9xiRm9A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VLiTf4OE61IiqcdRx8_w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sdnPUA7U2M7M1p9C.sEQ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t5sHCXAkC2Ez.2bj_Dvw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DPJwHvNEGrzusVvzfzdQ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Zy8GhwvU2U2XdbLQEQxA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lQXgdC7U6E336LIPZ7GQ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aBcdtNSU2_oqjUl0u.Ug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A4FRmzK0m1DycMLxu1G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IO5SDxpEOUv2AhyDeIDQ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DGmocItEei4t20j1ExIA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Y5HJ1WmEqzHQxxbI3ZnA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CAmH94.EKANLtkOTK00g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XjhZR1Kd0OfEnDabfrxrw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5QA0K8C0aO1aaZeGxLxA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TMrFp2qEeiUahKrixMFg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8.KTDT400CswLh.dKSJ5g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ypsYLFdkuAxJElJw.CZw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AnHb.yQEqjGtk.nY0j3A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MhYoyH2ku1UEWOOfLo_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qTM_VyKECwCP5HVf4fpw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4Tq9IwokCzxMIcgZwG9A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2A6d.mfNUep_RDbr3502A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6Az4czYhE.PVigi.q7U_Q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l1ULKQEkuN9j3emo2LaQ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iOKY8NSkW2DnAfi.1vPw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jFzG83UEuc0BBklF7U3g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xm5yRDKUa.nyY9Ppiz3Q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NKOQkQoUii9nDsfjBZfQ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vyv4t9TkKQ6xN9XoiEGg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5DHOrRQ0.72_Z501M7y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lfKIoA0qz2Wyg2hPsJQ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9fhUr3sEWU3ErGTsQrkQ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12T5Hbsx0uh9CD7C4BWsA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zsq.D54TUyw7MKK1Gcd2g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0PyneVQCUirSGlWcx.GaA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IfC2bTAkeyz0Fnx6ePXA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L07d7lKUOkSPpESj15Ow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eHMgTw_U2iPR4QBSSN6w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GStuyEIUqnxK8BkpcmTg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0B87OMbkO.nXYNec5QnA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UUlqndTES.Nb6yfn80k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IbcYaWSkWW..ZvK4b2SA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RYnJ3cJ0m.Z1qTUg781g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cMilYI5ECQjU1RbjxocA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Z5IXoKxUiQX9YJGfTrHw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WJ65euxEap9os5Vn11.Q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h0fedBsUOvyO7ER6qRuA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dcjU2cv0i8bRDbNmDpRQ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OHup0dBkyunQvdtnVNXA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ROdvF.b0mt6ockSSuJFA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9xKH._cEiZyYXIMiYvJA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GnMQy6OEen.MBMUlPE2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mkPzLE0EGwoAKAWcCKVw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E_ulGXY0mUpRFlVmCtxw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YbOIQRF0akz6R47SbizQ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A.PMbG02vIRH_K3OeXA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0cCI08T0aJqv1_x6Hi5g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Qw.FYl_UGeJm_f5cXVlA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jNYOppqk.Zt93IyKiwcw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v2xnuVa021RBUMwCua7A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0Om2WwmEmezRJJAuGB6Q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3qkGKIgEu4ykcIvt8pxw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O.xtw1LkG771Wfc5i4L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dtc6B450qEo4s3__F3A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dz2KDUQkaidcjvF4WONg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z87keXP06jJL3A7b6T_g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w3N.VZlkOjl3KDH5rW3Q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IO5SDxpEOUv2AhyDeIDQ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qTM_VyKECwCP5HVf4fpw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.lfKIoA0qz2Wyg2hPsJQ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IbcYaWSkWW..ZvK4b2SA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mkPzLE0EGwoAKAWcCKVw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dz2KDUQkaidcjvF4WONg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RQnib3ikSzcnt4Rw2KcA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IkXIYYxk6uQR6wblrTS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aRQnib3ikSzcnt4Rw2KcA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bVXMMVJ0SsJNPEcT8Y0Q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td2.WYaEK1vHwO9Yn.Sg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FQXzLh6kqE9ujpRdquxA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9IMOYCl0KPCF0tCMsqcw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R.vNZv3Eih34axNyhakw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7M_cEALk2Z98ev4R1sLA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st3_8ouUiG6K9G3rh8sA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O_pJeUzkW4aNItCGVBTw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re2j.y2kyl1d27lEeByw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OqputltUGqB486fq97y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IkXIYYxk6uQR6wblrTSw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dMIMSclUy0qmc_CVWqKg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KeGM9y0Eec11zXeMRKSg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KVQ_043U.uYx33lH2XFw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ylBGbgZUSMdD6URVoKEA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w1ajbJtEqCL2ciynOVNg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ol1hz1ZEO1MZ_zxuzxaA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oX._vyREaFAI9aTi7uAg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IfQv.Lm0WrS_CECqs69w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CjS_qyfEe5ASiMaqAdoA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lNV3AiE0.vslWXTXeZI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bVXMMVJ0SsJNPEcT8Y0Q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K_cERbYUSQJeu_bgXG.Q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zkNh_9O0WQ8tdZJH_LGQ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bavatUwkG0_YNXZ3Ssgw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Bu0BUu8U6ZodddQQW_7Q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5oKanwEUabhPz6DSWbFw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Z4m3Yvtk6VTX6AWWOFgw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UBElsbFk2rNRy.virThQ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5Kx2kH2fU.2E_KGHUX1Uw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SNj6f7MU.uvVxNxh44yA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Ned7kgGE6hKfdPSyWdKg"/>
  <p:tag name="TEMPLAFYSLIDEID" val="637792267129250182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td2.WYaEK1vHwO9Yn.Sg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ajDwaXZUC9MTgBnlLjdQ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CWJB7NzkiaRZs5o3oLmw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PqND3iTEW8897dWfT7AQ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0mFcb2FkKS2JvNygu0bA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51jtLzzGU.kQq3qmjw.NA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7gbqSXEEGNK2f_eTzxgg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Im74HBbEWJMyViUhFqkQ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z4JPdlP0.81L_oHg1D8Q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UAZR8EqkiflPJ.De3XKw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06aj46bkqpwUW1sGSQ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FQXzLh6kqE9ujpRdquxA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BQVAET3U2rfjAbVe.G.g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LCjxO0BEifzgUsKbW3rw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fe_D7jcJk2JjzaZvEsvIA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mbaApMZUGNIQGDKKcSgw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v9gbWMak2KFEqbK9vImQ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nuf3IZs4U6A4y8MyLQLzw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nP18qUYECR9UNTChLmig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FNTf9Ll0OJbTH3lskPqg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igUAz.zU6jQgXwed.jPg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vS4nduRk26YYVi2moq.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9IMOYCl0KPCF0tCMsqcw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kBvKRL60.s5Yf8E7MTJg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EHhQggJ0i8tFHPSZA0KA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xj3Y.6D0qQ_0QxBlVFFw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zTqL5k7ECSdAy_CXIMIA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cNOj6Q.UGyh2WknenDvw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42xw6QAkSnqTHh9nhO9Q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sIp0PonEWGdYeAmOEJmw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IEFHWnOkyyvsgpkTcPGA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k2jstT9kiENG5zMc6M3w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hI66TnY0KzQx5LYM0iC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R.vNZv3Eih34axNyhakw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IamHgw0u1C6DrI4Jj2A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D6TLh2tkCzDINkgOlfEg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tEG2.780iXH_j1Sc9QqA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2m8ht570iV5VoQXAt1DQ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gScEm3VEy5lTBWBpQO6w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5lIDMMlGEaC1LSO_VTcJQ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QbWVaQkkeMf9DvhrCz6g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Sw2y58l02cDDThB7Ur3A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inRmKnWUy5bdcn_pkpVg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xRm_USvUmQpaVFFNZHX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7M_cEALk2Z98ev4R1sLA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pguAlJOUOr8zTqLrhSzA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N7L6X8jk6Pwf1BFaAvRA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p4QmfqEEm9vnKFi8FROA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rRXPxl.UanMlI1BbVrKg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4exLTUDEK4BTbIBB7Q0Q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dLQvjgkfk6nBmzX3nL3tQ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AeOLGnBEmQ94DgrVzXHA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x0_9lM1Eao9UyLBVUhHg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iXoYNWHUiRKXaIeCYYVw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7mJIaygXEC9B.oxQwhOy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st3_8ouUiG6K9G3rh8sA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d9EvEd80aqYMNC.5ZnOA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t5E.aktEmjJ5aBJMgNeQ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5KDc3fYEGAXKpjaSwxVg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mvof1MzEaS1hPnDmC_oA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3U6VRrtEmVhoE8oc7XkA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xdA_jXr0y68suaCEli4w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.OJhoHVkS3b_U6QsRp9w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c9ymjrjkCQKBcKjRJlcQ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CgOw5bkU6gR6Plu9IOPQ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0cu0BBFUKJIIfDGGIISw"/>
</p:tagLst>
</file>

<file path=ppt/theme/theme1.xml><?xml version="1.0" encoding="utf-8"?>
<a:theme xmlns:a="http://schemas.openxmlformats.org/drawingml/2006/main" name="16-9 skabelon UK 2010">
  <a:themeElements>
    <a:clrScheme name="Norden">
      <a:dk1>
        <a:srgbClr val="000000"/>
      </a:dk1>
      <a:lt1>
        <a:srgbClr val="FFFFFF"/>
      </a:lt1>
      <a:dk2>
        <a:srgbClr val="BCBDE2"/>
      </a:dk2>
      <a:lt2>
        <a:srgbClr val="FFED99"/>
      </a:lt2>
      <a:accent1>
        <a:srgbClr val="385988"/>
      </a:accent1>
      <a:accent2>
        <a:srgbClr val="006EB6"/>
      </a:accent2>
      <a:accent3>
        <a:srgbClr val="AFDBF6"/>
      </a:accent3>
      <a:accent4>
        <a:srgbClr val="F42941"/>
      </a:accent4>
      <a:accent5>
        <a:srgbClr val="F8C9DB"/>
      </a:accent5>
      <a:accent6>
        <a:srgbClr val="FDCF41"/>
      </a:accent6>
      <a:hlink>
        <a:srgbClr val="006EB6"/>
      </a:hlink>
      <a:folHlink>
        <a:srgbClr val="AFDBF6"/>
      </a:folHlink>
    </a:clrScheme>
    <a:fontScheme name="Corbel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accent2"/>
          </a:solidFill>
        </a:ln>
      </a:spPr>
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2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200" dirty="0" err="1">
            <a:solidFill>
              <a:srgbClr val="006EB6"/>
            </a:solidFill>
          </a:defRPr>
        </a:defPPr>
      </a:lstStyle>
    </a:txDef>
  </a:objectDefaults>
  <a:extraClrSchemeLst/>
  <a:custClrLst>
    <a:custClr name="Blue">
      <a:srgbClr val="385988"/>
    </a:custClr>
    <a:custClr name="Green">
      <a:srgbClr val="266D51"/>
    </a:custClr>
    <a:custClr name="Logo blue">
      <a:srgbClr val="006EB6"/>
    </a:custClr>
    <a:custClr name="Red">
      <a:srgbClr val="F42941"/>
    </a:custClr>
    <a:custClr name="Yellow">
      <a:srgbClr val="FDCF41"/>
    </a:custClr>
    <a:custClr name="Grey">
      <a:srgbClr val="464547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Orange">
      <a:srgbClr val="F47A23"/>
    </a:custClr>
    <a:custClr name="Medium violet">
      <a:srgbClr val="BCBDE2"/>
    </a:custClr>
    <a:custClr name="Medium green">
      <a:srgbClr val="CDE4C4"/>
    </a:custClr>
    <a:custClr name="Medium blue">
      <a:srgbClr val="AFDBF6"/>
    </a:custClr>
    <a:custClr name="Medium red">
      <a:srgbClr val="F8C9DB"/>
    </a:custClr>
    <a:custClr name="Medium yellow">
      <a:srgbClr val="FFED99"/>
    </a:custClr>
    <a:custClr name="Medium grey">
      <a:srgbClr val="A7A9A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Medium orange">
      <a:srgbClr val="FAC18A"/>
    </a:custClr>
    <a:custClr name="Light violet">
      <a:srgbClr val="D3D5ED"/>
    </a:custClr>
    <a:custClr name="Light green">
      <a:srgbClr val="E2FAE1"/>
    </a:custClr>
    <a:custClr name="Light blue">
      <a:srgbClr val="D4E9F9"/>
    </a:custClr>
    <a:custClr name="Light red">
      <a:srgbClr val="FFDDE2"/>
    </a:custClr>
    <a:custClr name="Light yellow">
      <a:srgbClr val="FFF5C5"/>
    </a:custClr>
    <a:custClr name="Light grey">
      <a:srgbClr val="EDEDEE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orange">
      <a:srgbClr val="FAD2B4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Black">
      <a:srgbClr val="000000"/>
    </a:custClr>
    <a:custClr name="88 pct. black">
      <a:srgbClr val="464547"/>
    </a:custClr>
    <a:custClr name="72 pct. black">
      <a:srgbClr val="696A6D"/>
    </a:custClr>
    <a:custClr name="56 pct. black">
      <a:srgbClr val="888A8C"/>
    </a:custClr>
    <a:custClr name="40 pct.black">
      <a:srgbClr val="A7A9AC"/>
    </a:custClr>
    <a:custClr name="24 pct.black">
      <a:srgbClr val="C9CACC"/>
    </a:custClr>
    <a:custClr name="8 pct.black">
      <a:srgbClr val="EBEBEC"/>
    </a:custClr>
  </a:custClrLst>
  <a:extLst>
    <a:ext uri="{05A4C25C-085E-4340-85A3-A5531E510DB2}">
      <thm15:themeFamily xmlns:thm15="http://schemas.microsoft.com/office/thememl/2012/main" name="Nordisk Ministerad 16-9 skabelon UK.potx" id="{807943BC-83A0-48BF-A001-5EDF5F5DFAF7}" vid="{B893AAA3-6A1D-4AAC-9768-CF8FCC25801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Blue">
      <a:srgbClr val="385988"/>
    </a:custClr>
    <a:custClr name="Green">
      <a:srgbClr val="266D51"/>
    </a:custClr>
    <a:custClr name="Logo blue">
      <a:srgbClr val="006EB6"/>
    </a:custClr>
    <a:custClr name="Red">
      <a:srgbClr val="F42941"/>
    </a:custClr>
    <a:custClr name="Yellow">
      <a:srgbClr val="FDCF41"/>
    </a:custClr>
    <a:custClr name="Grey">
      <a:srgbClr val="464547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Orange">
      <a:srgbClr val="F47A23"/>
    </a:custClr>
    <a:custClr name="Medium violet">
      <a:srgbClr val="BCBDE2"/>
    </a:custClr>
    <a:custClr name="Medium green">
      <a:srgbClr val="CDE4C4"/>
    </a:custClr>
    <a:custClr name="Medium blue">
      <a:srgbClr val="AFDBF6"/>
    </a:custClr>
    <a:custClr name="Medium red">
      <a:srgbClr val="F8C9DB"/>
    </a:custClr>
    <a:custClr name="Medium yellow">
      <a:srgbClr val="FFED99"/>
    </a:custClr>
    <a:custClr name="Medium grey">
      <a:srgbClr val="A7A9A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Medium orange">
      <a:srgbClr val="FAC18A"/>
    </a:custClr>
    <a:custClr name="Light violet">
      <a:srgbClr val="D3D5ED"/>
    </a:custClr>
    <a:custClr name="Light green">
      <a:srgbClr val="E2FAE1"/>
    </a:custClr>
    <a:custClr name="Light blue">
      <a:srgbClr val="D4E9F9"/>
    </a:custClr>
    <a:custClr name="Light red">
      <a:srgbClr val="FFDDE2"/>
    </a:custClr>
    <a:custClr name="Light yellow">
      <a:srgbClr val="FFF5C5"/>
    </a:custClr>
    <a:custClr name="Light grey">
      <a:srgbClr val="EDEDEE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orange">
      <a:srgbClr val="FAD2B4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Black">
      <a:srgbClr val="000000"/>
    </a:custClr>
    <a:custClr name="88 pct. black">
      <a:srgbClr val="464547"/>
    </a:custClr>
    <a:custClr name="72 pct. black">
      <a:srgbClr val="696A6D"/>
    </a:custClr>
    <a:custClr name="56 pct. black">
      <a:srgbClr val="888A8C"/>
    </a:custClr>
    <a:custClr name="40 pct.black">
      <a:srgbClr val="A7A9AC"/>
    </a:custClr>
    <a:custClr name="24 pct.black">
      <a:srgbClr val="C9CACC"/>
    </a:custClr>
    <a:custClr name="8 pct.black">
      <a:srgbClr val="EBEBEC"/>
    </a:custClr>
  </a:custClrLst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ue">
      <a:srgbClr val="385988"/>
    </a:custClr>
    <a:custClr name="Green">
      <a:srgbClr val="266D51"/>
    </a:custClr>
    <a:custClr name="Logo blue">
      <a:srgbClr val="006EB6"/>
    </a:custClr>
    <a:custClr name="Red">
      <a:srgbClr val="F42941"/>
    </a:custClr>
    <a:custClr name="Yellow">
      <a:srgbClr val="FDCF41"/>
    </a:custClr>
    <a:custClr name="Grey">
      <a:srgbClr val="464547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Orange">
      <a:srgbClr val="F47A23"/>
    </a:custClr>
    <a:custClr name="Medium violet">
      <a:srgbClr val="BCBDE2"/>
    </a:custClr>
    <a:custClr name="Medium green">
      <a:srgbClr val="CDE4C4"/>
    </a:custClr>
    <a:custClr name="Medium blue">
      <a:srgbClr val="AFDBF6"/>
    </a:custClr>
    <a:custClr name="Medium red">
      <a:srgbClr val="F8C9DB"/>
    </a:custClr>
    <a:custClr name="Medium yellow">
      <a:srgbClr val="FFED99"/>
    </a:custClr>
    <a:custClr name="Medium grey">
      <a:srgbClr val="A7A9AC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Medium orange">
      <a:srgbClr val="FAC18A"/>
    </a:custClr>
    <a:custClr name="Light violet">
      <a:srgbClr val="D3D5ED"/>
    </a:custClr>
    <a:custClr name="Light green">
      <a:srgbClr val="E2FAE1"/>
    </a:custClr>
    <a:custClr name="Light blue">
      <a:srgbClr val="D4E9F9"/>
    </a:custClr>
    <a:custClr name="Light red">
      <a:srgbClr val="FFDDE2"/>
    </a:custClr>
    <a:custClr name="Light yellow">
      <a:srgbClr val="FFF5C5"/>
    </a:custClr>
    <a:custClr name="Light grey">
      <a:srgbClr val="EDEDEE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Light orange">
      <a:srgbClr val="FAD2B4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Black">
      <a:srgbClr val="000000"/>
    </a:custClr>
    <a:custClr name="88 pct. black">
      <a:srgbClr val="464547"/>
    </a:custClr>
    <a:custClr name="72 pct. black">
      <a:srgbClr val="696A6D"/>
    </a:custClr>
    <a:custClr name="56 pct. black">
      <a:srgbClr val="888A8C"/>
    </a:custClr>
    <a:custClr name="40 pct.black">
      <a:srgbClr val="A7A9AC"/>
    </a:custClr>
    <a:custClr name="24 pct.black">
      <a:srgbClr val="C9CACC"/>
    </a:custClr>
    <a:custClr name="8 pct.black">
      <a:srgbClr val="EBEBEC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FormConfiguration><![CDATA[{"formFields":[{"required":false,"placeholder":"","lines":1,"helpTexts":{},"spacing":{},"shareValue":false,"type":"textBox","name":"FooterText","label":"Footer text"},{"required":false,"helpTexts":{},"spacing":{},"shareValue":false,"type":"datePicker","name":"Date","label":"Date"}],"formDataEntries":[]}]]></TemplafyFormConfiguration>
</file>

<file path=customXml/item10.xml><?xml version="1.0" encoding="utf-8"?>
<TemplafySlideFormConfiguration><![CDATA[{"formFields":[],"formDataEntries":[]}]]></TemplafySlideFormConfiguration>
</file>

<file path=customXml/item11.xml><?xml version="1.0" encoding="utf-8"?>
<TemplafySlideFormConfiguration><![CDATA[{"formFields":[],"formDataEntries":[]}]]></TemplafySlideFormConfiguration>
</file>

<file path=customXml/item12.xml><?xml version="1.0" encoding="utf-8"?>
<TemplafySlideTemplateConfiguration><![CDATA[{"slideVersion":1,"isValidatorEnabled":false,"isLocked":false,"elementsMetadata":[],"slideId":"637888980280294777","enableDocumentContentUpdater":false,"version":"2.0"}]]></TemplafySlideTemplateConfiguration>
</file>

<file path=customXml/item13.xml><?xml version="1.0" encoding="utf-8"?>
<TemplafySlideTemplateConfiguration><![CDATA[{"slideVersion":1,"isValidatorEnabled":false,"isLocked":false,"elementsMetadata":[],"slideId":"637888980284160600","enableDocumentContentUpdater":false,"version":"2.0"}]]></TemplafySlideTemplateConfiguration>
</file>

<file path=customXml/item14.xml><?xml version="1.0" encoding="utf-8"?>
<TemplafySlideFormConfiguration><![CDATA[{"formFields":[],"formDataEntries":[]}]]></TemplafySlideFormConfiguration>
</file>

<file path=customXml/item15.xml><?xml version="1.0" encoding="utf-8"?>
<TemplafySlideFormConfiguration><![CDATA[{"formFields":[],"formDataEntries":[]}]]></TemplafySlideFormConfiguration>
</file>

<file path=customXml/item16.xml><?xml version="1.0" encoding="utf-8"?>
<TemplafySlideTemplateConfiguration><![CDATA[{"slideVersion":1,"isValidatorEnabled":false,"isLocked":false,"elementsMetadata":[],"slideId":"637888980288010500","enableDocumentContentUpdater":false,"version":"2.0"}]]></TemplafySlideTemplateConfiguration>
</file>

<file path=customXml/item17.xml><?xml version="1.0" encoding="utf-8"?>
<TemplafySlideFormConfiguration><![CDATA[{"formFields":[],"formDataEntries":[]}]]></TemplafySlideFormConfiguration>
</file>

<file path=customXml/item18.xml><?xml version="1.0" encoding="utf-8"?>
<TemplafySlideTemplateConfiguration><![CDATA[{"slideVersion":1,"isValidatorEnabled":false,"isLocked":false,"elementsMetadata":[],"slideId":"637888980293117084","enableDocumentContentUpdater":false,"version":"2.0"}]]></TemplafySlideTemplateConfiguration>
</file>

<file path=customXml/item19.xml><?xml version="1.0" encoding="utf-8"?>
<TemplafySlideFormConfiguration><![CDATA[{"formFields":[],"formDataEntries":[]}]]></TemplafySlideFormConfiguration>
</file>

<file path=customXml/item2.xml><?xml version="1.0" encoding="utf-8"?>
<TemplafySlideTemplateConfiguration><![CDATA[{"slideVersion":1,"isValidatorEnabled":false,"isLocked":false,"elementsMetadata":[{"elementConfiguration":{"binding":"{{Translate(\"Thanks\")}}","visibility":"","disableUpdates":false,"type":"text"},"type":"shape"},{"elementConfiguration":{"binding":"{{Form.FooterText}}","visibility":"","disableUpdates":false,"type":"text"},"type":"shape"}],"slideId":"638098076977955832","enableDocumentContentUpdater":false,"version":"2.0"}]]></TemplafySlideTemplateConfiguration>
</file>

<file path=customXml/item20.xml><?xml version="1.0" encoding="utf-8"?>
<TemplafySlideTemplateConfiguration><![CDATA[{"slideVersion":1,"isValidatorEnabled":false,"isLocked":false,"elementsMetadata":[],"slideId":"638098076977880912","enableDocumentContentUpdater":false,"version":"2.0"}]]></TemplafySlideTemplateConfiguration>
</file>

<file path=customXml/item21.xml><?xml version="1.0" encoding="utf-8"?>
<TemplafySlideFormConfiguration><![CDATA[{"formFields":[],"formDataEntries":[]}]]></TemplafySlideFormConfiguration>
</file>

<file path=customXml/item22.xml><?xml version="1.0" encoding="utf-8"?>
<TemplafySlideTemplateConfiguration><![CDATA[{"slideVersion":1,"isValidatorEnabled":false,"isLocked":false,"elementsMetadata":[],"slideId":"637888980213774958","enableDocumentContentUpdater":false,"version":"2.0"}]]></TemplafySlideTemplateConfiguration>
</file>

<file path=customXml/item23.xml><?xml version="1.0" encoding="utf-8"?>
<TemplafySlideFormConfiguration><![CDATA[{"formFields":[],"formDataEntries":[]}]]></TemplafySlideFormConfiguration>
</file>

<file path=customXml/item24.xml><?xml version="1.0" encoding="utf-8"?>
<TemplafySlideTemplateConfiguration><![CDATA[{"slideVersion":1,"isValidatorEnabled":false,"isLocked":false,"elementsMetadata":[],"slideId":"637888980215534289","enableDocumentContentUpdater":false,"version":"2.0"}]]></TemplafySlideTemplateConfiguration>
</file>

<file path=customXml/item25.xml><?xml version="1.0" encoding="utf-8"?>
<TemplafySlideFormConfiguration><![CDATA[{"formFields":[],"formDataEntries":[]}]]></TemplafySlideFormConfiguration>
</file>

<file path=customXml/item26.xml><?xml version="1.0" encoding="utf-8"?>
<TemplafySlideTemplateConfiguration><![CDATA[{"slideVersion":1,"isValidatorEnabled":false,"isLocked":false,"elementsMetadata":[],"slideId":"637888980216984316","enableDocumentContentUpdater":false,"version":"2.0"}]]></TemplafySlideTemplateConfiguration>
</file>

<file path=customXml/item27.xml><?xml version="1.0" encoding="utf-8"?>
<TemplafySlideFormConfiguration><![CDATA[{"formFields":[],"formDataEntries":[]}]]></TemplafySlideFormConfiguration>
</file>

<file path=customXml/item28.xml><?xml version="1.0" encoding="utf-8"?>
<TemplafySlideTemplateConfiguration><![CDATA[{"slideVersion":1,"isValidatorEnabled":false,"isLocked":false,"elementsMetadata":[],"slideId":"637888980220570770","enableDocumentContentUpdater":false,"version":"2.0"}]]></TemplafySlideTemplateConfiguration>
</file>

<file path=customXml/item29.xml><?xml version="1.0" encoding="utf-8"?>
<TemplafySlideFormConfiguration><![CDATA[{"formFields":[],"formDataEntries":[]}]]></TemplafySlideFormConfiguration>
</file>

<file path=customXml/item3.xml><?xml version="1.0" encoding="utf-8"?>
<TemplafySlideFormConfiguration><![CDATA[{"formFields":[{"required":false,"helpTexts":{},"spacing":{},"shareValue":false,"type":"datePicker","name":"Date","label":"Date"}],"formDataEntries":[]}]]></TemplafySlideFormConfiguration>
</file>

<file path=customXml/item30.xml><?xml version="1.0" encoding="utf-8"?>
<TemplafySlideTemplateConfiguration><![CDATA[{"slideVersion":1,"isValidatorEnabled":false,"isLocked":false,"elementsMetadata":[],"slideId":"638098076977880912","enableDocumentContentUpdater":false,"version":"2.0"}]]></TemplafySlideTemplateConfiguration>
</file>

<file path=customXml/item31.xml><?xml version="1.0" encoding="utf-8"?>
<TemplafySlideTemplateConfiguration><![CDATA[{"slideVersion":1,"isValidatorEnabled":false,"isLocked":false,"elementsMetadata":[],"slideId":"637888980227481169","enableDocumentContentUpdater":false,"version":"2.0"}]]></TemplafySlideTemplateConfiguration>
</file>

<file path=customXml/item32.xml><?xml version="1.0" encoding="utf-8"?>
<TemplafySlideFormConfiguration><![CDATA[{"formFields":[],"formDataEntries":[]}]]></TemplafySlideFormConfiguration>
</file>

<file path=customXml/item33.xml><?xml version="1.0" encoding="utf-8"?>
<TemplafySlideTemplateConfiguration><![CDATA[{"slideVersion":1,"isValidatorEnabled":false,"isLocked":false,"elementsMetadata":[],"slideId":"637888980231049083","enableDocumentContentUpdater":false,"version":"2.0"}]]></TemplafySlideTemplateConfiguration>
</file>

<file path=customXml/item34.xml><?xml version="1.0" encoding="utf-8"?>
<TemplafySlideFormConfiguration><![CDATA[{"formFields":[],"formDataEntries":[]}]]></TemplafySlideFormConfiguration>
</file>

<file path=customXml/item35.xml><?xml version="1.0" encoding="utf-8"?>
<TemplafySlideFormConfiguration><![CDATA[{"formFields":[],"formDataEntries":[]}]]></TemplafySlideFormConfiguration>
</file>

<file path=customXml/item36.xml><?xml version="1.0" encoding="utf-8"?>
<TemplafySlideTemplateConfiguration><![CDATA[{"slideVersion":1,"isValidatorEnabled":false,"isLocked":false,"elementsMetadata":[],"slideId":"637888980234676442","enableDocumentContentUpdater":false,"version":"2.0"}]]></TemplafySlideTemplateConfiguration>
</file>

<file path=customXml/item37.xml><?xml version="1.0" encoding="utf-8"?>
<TemplafySlideTemplateConfiguration><![CDATA[{"slideVersion":1,"isValidatorEnabled":false,"isLocked":false,"elementsMetadata":[],"slideId":"637888980243343678","enableDocumentContentUpdater":false,"version":"2.0"}]]></TemplafySlideTemplateConfiguration>
</file>

<file path=customXml/item38.xml><?xml version="1.0" encoding="utf-8"?>
<TemplafySlideFormConfiguration><![CDATA[{"formFields":[],"formDataEntries":[]}]]></TemplafySlideFormConfiguration>
</file>

<file path=customXml/item39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9A27C8BC4FF814B80B4CE83598355D9" ma:contentTypeVersion="14" ma:contentTypeDescription="Skapa ett nytt dokument." ma:contentTypeScope="" ma:versionID="a0333526b5c7d43d4ea3a8f2e80866f9">
  <xsd:schema xmlns:xsd="http://www.w3.org/2001/XMLSchema" xmlns:xs="http://www.w3.org/2001/XMLSchema" xmlns:p="http://schemas.microsoft.com/office/2006/metadata/properties" xmlns:ns2="67a593e1-5ef2-4229-8314-3b3fbeeda55a" xmlns:ns3="cbb7c6bd-507d-4033-9261-afac356a73ee" targetNamespace="http://schemas.microsoft.com/office/2006/metadata/properties" ma:root="true" ma:fieldsID="43b4644947558be7f1ef020988749ed3" ns2:_="" ns3:_="">
    <xsd:import namespace="67a593e1-5ef2-4229-8314-3b3fbeeda55a"/>
    <xsd:import namespace="cbb7c6bd-507d-4033-9261-afac356a73e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anu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OCR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a593e1-5ef2-4229-8314-3b3fbeeda55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anus" ma:index="10" nillable="true" ma:displayName="Manus" ma:description="Dessa frågor kan användas i testet" ma:format="Dropdown" ma:internalName="Manus">
      <xsd:simpleType>
        <xsd:restriction base="dms:Note">
          <xsd:maxLength value="255"/>
        </xsd:restriction>
      </xsd:simpleType>
    </xsd:element>
    <xsd:element name="lcf76f155ced4ddcb4097134ff3c332f" ma:index="12" nillable="true" ma:taxonomy="true" ma:internalName="lcf76f155ced4ddcb4097134ff3c332f" ma:taxonomyFieldName="MediaServiceImageTags" ma:displayName="Bildmarkeringar" ma:readOnly="false" ma:fieldId="{5cf76f15-5ced-4ddc-b409-7134ff3c332f}" ma:taxonomyMulti="true" ma:sspId="511ca070-c001-464c-8047-b402787012b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0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b7c6bd-507d-4033-9261-afac356a73ee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2b6dca2a-a5f4-4f2b-81f1-874fa9fdea48}" ma:internalName="TaxCatchAll" ma:showField="CatchAllData" ma:web="cbb7c6bd-507d-4033-9261-afac356a73e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TemplafySlideTemplateConfiguration><![CDATA[{"slideVersion":1,"isValidatorEnabled":false,"isLocked":false,"elementsMetadata":[{"elementConfiguration":{"binding":"{{FormatDateTime(Form.Date,Translate(\"DateGeneral\"),DocumentLanguage)}}","visibility":"","disableUpdates":false,"type":"text"},"type":"shape"},{"elementConfiguration":{"binding":"{{UserProfile.Name}}","visibility":"","disableUpdates":false,"type":"text"},"type":"shape"},{"elementConfiguration":{"inheritDimensions":"{{InheritDimensions.InheritNone}}","width":"","height":"1.94 cm","image":"{{DataSources.LogoInsertion[UserProfile.Location.Name].LogoLightBlueRef.Image}}","visibility":"","disableUpdates":false,"type":"image"},"type":"shape"}],"slideId":"638098076977847921","enableDocumentContentUpdater":false,"version":"2.0"}]]></TemplafySlideTemplateConfiguration>
</file>

<file path=customXml/item4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7a593e1-5ef2-4229-8314-3b3fbeeda55a">
      <Terms xmlns="http://schemas.microsoft.com/office/infopath/2007/PartnerControls"/>
    </lcf76f155ced4ddcb4097134ff3c332f>
    <TaxCatchAll xmlns="cbb7c6bd-507d-4033-9261-afac356a73ee" xsi:nil="true"/>
    <Manus xmlns="67a593e1-5ef2-4229-8314-3b3fbeeda55a" xsi:nil="true"/>
  </documentManagement>
</p:properties>
</file>

<file path=customXml/item5.xml><?xml version="1.0" encoding="utf-8"?>
<TemplafySlideFormConfiguration><![CDATA[{"formFields":[{"required":false,"placeholder":"","lines":1,"helpTexts":{},"spacing":{},"shareValue":false,"type":"textBox","name":"FooterText","label":"Footer text"}],"formDataEntries":[]}]]></TemplafySlideFormConfiguration>
</file>

<file path=customXml/item6.xml><?xml version="1.0" encoding="utf-8"?>
<TemplafySlideFormConfiguration><![CDATA[{"formFields":[{"required":false,"placeholder":"","lines":1,"helpTexts":{},"spacing":{},"shareValue":false,"type":"textBox","name":"FooterText","label":"Footer text"}],"formDataEntries":[]}]]></TemplafySlideFormConfiguration>
</file>

<file path=customXml/item7.xml><?xml version="1.0" encoding="utf-8"?>
<TemplafySlideTemplateConfiguration><![CDATA[{"slideVersion":1,"isValidatorEnabled":false,"isLocked":false,"elementsMetadata":[{"elementConfiguration":{"binding":"{{UserProfile.Name}}","visibility":"","disableUpdates":false,"type":"text"},"type":"shape"},{"elementConfiguration":{"binding":"{{UserProfile.Title}}","visibility":"","disableUpdates":false,"type":"text"},"type":"shape"},{"elementConfiguration":{"binding":"{{UserProfile.Email}}","visibility":"","disableUpdates":false,"type":"text"},"type":"shape"},{"elementConfiguration":{"binding":"{{UserProfile.DirectPhone}}","visibility":"","disableUpdates":false,"type":"text"},"type":"shape"},{"elementConfiguration":{"binding":"{{UserProfile.Location.CompanyName}}","visibility":"","disableUpdates":false,"type":"text"},"type":"shape"},{"elementConfiguration":{"binding":"{{UserProfile.Address}}","visibility":"","disableUpdates":false,"type":"text"},"type":"shape"},{"elementConfiguration":{"binding":"{{Form.FooterText}}","visibility":"","disableUpdates":false,"type":"text"},"type":"shape"}],"slideId":"638098076977916597","enableDocumentContentUpdater":false,"version":"2.0"}]]></TemplafySlideTemplateConfiguration>
</file>

<file path=customXml/item8.xml><?xml version="1.0" encoding="utf-8"?>
<TemplafyTemplateConfiguration><![CDATA[{"elementsMetadata":[{"elementConfiguration":{"binding":"{{Form.FooterText}}","visibility":"","disableUpdates":false,"type":"text"},"type":"shape","id":"c79c15de-2001-4fbd-9056-71036d19b4ee"},{"elementConfiguration":{"binding":"{{FormatDateTime(Form.Date,Translate(\"DateGeneral\"),DocumentLanguage)}}","visibility":"","disableUpdates":false,"type":"text"},"type":"shape","id":"6d372815-8319-4ad8-8822-96616dff8f50"},{"elementConfiguration":{"binding":"{{UserProfile.Name}}","visibility":"","disableUpdates":false,"type":"text"},"type":"shape","id":"62fed993-0227-4a9d-8bc8-1ceff046d67b"},{"elementConfiguration":{"inheritDimensions":"{{InheritDimensions.InheritNone}}","width":"","height":"1.41 cm","image":"{{DataSources.LogoInsertion[UserProfile.Location.Name].LogoBlueLeftAlignedRef.Image}}","visibility":"","disableUpdates":false,"type":"image"},"type":"shape","id":"7d3f775a-900f-4f6b-a4b0-341331be93ce"},{"elementConfiguration":{"binding":"{{Form.FooterText}}","visibility":"","disableUpdates":false,"type":"text"},"type":"shape","id":"cfa3698a-1a58-4a4b-9f3a-fcfcdef2002f"},{"elementConfiguration":{"binding":"{{FormatDateTime(Form.Date,Translate(\"DateGeneral\"),DocumentLanguage)}}","visibility":"","disableUpdates":false,"type":"text"},"type":"shape","id":"d3c7255b-5497-42d3-86e4-730a42698d89"},{"elementConfiguration":{"binding":"{{UserProfile.Name}}","visibility":"","disableUpdates":false,"type":"text"},"type":"shape","id":"a20da145-5d1b-4294-8b31-8882160edd59"},{"elementConfiguration":{"inheritDimensions":"{{InheritDimensions.InheritNone}}","width":"","height":"1.94 cm","image":"{{DataSources.LogoInsertion[UserProfile.Location.Name].LogoLightBlueRef.Image}}","visibility":"","disableUpdates":false,"type":"image"},"type":"shape","id":"b101d6d4-7e3f-4670-96d0-92fb01648cbd"},{"elementConfiguration":{"binding":"{{FormatDateTime(Form.Date,Translate(\"DateGeneral\"),DocumentLanguage)}}","visibility":"","disableUpdates":false,"type":"text"},"type":"shape","id":"2603a274-f6da-42ae-91fd-8eb04ee6c7e0"},{"elementConfiguration":{"binding":"{{UserProfile.Name}}","visibility":"","disableUpdates":false,"type":"text"},"type":"shape","id":"55e2044d-f725-476e-9c27-e3db3c9fcac6"},{"elementConfiguration":{"inheritDimensions":"{{InheritDimensions.InheritNone}}","width":"","height":"1.41 cm","image":"{{DataSources.LogoInsertion[UserProfile.Location.Name].LogoBlueLeftAlignedRef.Image}}","visibility":"","disableUpdates":false,"type":"image"},"type":"shape","id":"664ecd76-5c24-4d1d-8d95-87c52786222d"},{"elementConfiguration":{"binding":"{{Form.FooterText}}","visibility":"","disableUpdates":false,"type":"text"},"type":"shape","id":"a8049012-742e-4e55-ba62-c93dbfdd12e5"},{"elementConfiguration":{"binding":"{{Form.FooterText}}","visibility":"","disableUpdates":false,"type":"text"},"type":"shape","id":"1a50bf73-9d9e-4e72-b103-b9a81573798e"},{"elementConfiguration":{"binding":"{{Form.FooterText}}","visibility":"","disableUpdates":false,"type":"text"},"type":"shape","id":"70046ee0-5d78-487a-a0d8-7f6aee3772b0"},{"elementConfiguration":{"binding":"{{Form.FooterText}}","visibility":"","disableUpdates":false,"type":"text"},"type":"shape","id":"95131c06-39d9-4214-841b-c78214108a3a"},{"elementConfiguration":{"binding":"{{Form.FooterText}}","visibility":"","disableUpdates":false,"type":"text"},"type":"shape","id":"c05c802d-9911-46c1-b9da-2e84ad4fe4f8"},{"elementConfiguration":{"binding":"{{UserProfile.Name}}","visibility":"","disableUpdates":false,"type":"text"},"type":"shape","id":"6020bc64-4a9b-4c84-a06e-b4576e8df290"},{"elementConfiguration":{"binding":"{{UserProfile.Title}}","visibility":"","disableUpdates":false,"type":"text"},"type":"shape","id":"725c8924-c517-4a0f-8a34-146cbc28b5fe"},{"elementConfiguration":{"binding":"{{UserProfile.Email}}","visibility":"","disableUpdates":false,"type":"text"},"type":"shape","id":"8ed3f183-b3d5-4187-ad25-115925668123"},{"elementConfiguration":{"binding":"{{UserProfile.DirectPhone}}","visibility":"","disableUpdates":false,"type":"text"},"type":"shape","id":"b0da116f-8af4-4719-a75a-44a8d54ca971"},{"elementConfiguration":{"binding":"{{UserProfile.Location.CompanyName}}","visibility":"","disableUpdates":false,"type":"text"},"type":"shape","id":"599ec701-74f0-4212-aaac-cf4a77d89648"},{"elementConfiguration":{"binding":"{{UserProfile.Address}}","visibility":"","disableUpdates":false,"type":"text"},"type":"shape","id":"43c84dab-f3f0-40b2-be9b-3ec1ae38a0df"},{"elementConfiguration":{"binding":"{{Form.FooterText}}","visibility":"","disableUpdates":false,"type":"text"},"type":"shape","id":"de39d99c-9c4c-4875-8e09-158d0bcf5707"},{"elementConfiguration":{"binding":"{{Form.FooterText}}","visibility":"","disableUpdates":false,"type":"text"},"type":"shape","id":"b47e2395-514f-4da6-99b6-5d9f70dee731"},{"elementConfiguration":{"binding":"{{FormatDateTime(Form.Date,Translate(\"DateGeneral\"),DocumentLanguage)}}","visibility":"","disableUpdates":false,"type":"text"},"type":"shape","id":"0da51115-1662-4dc3-8c0b-fd2560e30f8e"},{"elementConfiguration":{"binding":"{{UserProfile.Name}}","visibility":"","disableUpdates":false,"type":"text"},"type":"shape","id":"b2f8ac55-fc5a-4dec-8c03-999f4f30270e"},{"elementConfiguration":{"inheritDimensions":"{{InheritDimensions.InheritNone}}","width":"","height":"1.94 cm","image":"{{DataSources.LogoInsertion[UserProfile.Location.Name].LogoWhiteRef.Image}}","visibility":"","disableUpdates":false,"type":"image"},"type":"shape","id":"ab139b40-1265-489e-b49b-57fddbba312f"},{"elementConfiguration":{"binding":"{{Form.FooterText}}","visibility":"","disableUpdates":false,"type":"text"},"type":"shape","id":"6390351d-3c15-4653-b0c5-93edf5bd5628"},{"elementConfiguration":{"binding":"{{Translate(\"Thanks\")}}","visibility":"","disableUpdates":false,"type":"text"},"type":"shape","id":"efbb15be-44e3-4d65-8c4e-1119d635d813"}],"transformationConfigurations":[{"language":"{{DocumentLanguage}}","disableUpdates":false,"type":"proofingLanguage"}],"templateName":"Template logo blue","templateDescription":"","enableDocumentContentUpdater":false,"version":"2.0"}]]></TemplafyTemplateConfiguration>
</file>

<file path=customXml/item9.xml><?xml version="1.0" encoding="utf-8"?>
<TemplafySlideTemplateConfiguration><![CDATA[{"slideVersion":1,"isValidatorEnabled":false,"isLocked":false,"elementsMetadata":[],"slideId":"638098076977880912","enableDocumentContentUpdater":false,"version":"2.0"}]]></TemplafySlideTemplateConfiguration>
</file>

<file path=customXml/itemProps1.xml><?xml version="1.0" encoding="utf-8"?>
<ds:datastoreItem xmlns:ds="http://schemas.openxmlformats.org/officeDocument/2006/customXml" ds:itemID="{644DA7CB-8214-4815-B758-2B94FCF42708}">
  <ds:schemaRefs/>
</ds:datastoreItem>
</file>

<file path=customXml/itemProps10.xml><?xml version="1.0" encoding="utf-8"?>
<ds:datastoreItem xmlns:ds="http://schemas.openxmlformats.org/officeDocument/2006/customXml" ds:itemID="{56286929-CC93-4D95-B86E-802CDF581A3E}">
  <ds:schemaRefs/>
</ds:datastoreItem>
</file>

<file path=customXml/itemProps11.xml><?xml version="1.0" encoding="utf-8"?>
<ds:datastoreItem xmlns:ds="http://schemas.openxmlformats.org/officeDocument/2006/customXml" ds:itemID="{279165D8-23DD-419D-AE89-5EF9EBF413A4}">
  <ds:schemaRefs/>
</ds:datastoreItem>
</file>

<file path=customXml/itemProps12.xml><?xml version="1.0" encoding="utf-8"?>
<ds:datastoreItem xmlns:ds="http://schemas.openxmlformats.org/officeDocument/2006/customXml" ds:itemID="{983CEE80-712A-4D1C-83AD-FBA91201E6B4}">
  <ds:schemaRefs/>
</ds:datastoreItem>
</file>

<file path=customXml/itemProps13.xml><?xml version="1.0" encoding="utf-8"?>
<ds:datastoreItem xmlns:ds="http://schemas.openxmlformats.org/officeDocument/2006/customXml" ds:itemID="{D48730A2-6BD4-4D78-94AB-24FB5406EE3B}">
  <ds:schemaRefs/>
</ds:datastoreItem>
</file>

<file path=customXml/itemProps14.xml><?xml version="1.0" encoding="utf-8"?>
<ds:datastoreItem xmlns:ds="http://schemas.openxmlformats.org/officeDocument/2006/customXml" ds:itemID="{3CBC3BCF-1C19-408A-B06C-26420B651CB5}">
  <ds:schemaRefs/>
</ds:datastoreItem>
</file>

<file path=customXml/itemProps15.xml><?xml version="1.0" encoding="utf-8"?>
<ds:datastoreItem xmlns:ds="http://schemas.openxmlformats.org/officeDocument/2006/customXml" ds:itemID="{CBEB8457-09EF-4D09-BEDA-1C42BAFBEA76}">
  <ds:schemaRefs/>
</ds:datastoreItem>
</file>

<file path=customXml/itemProps16.xml><?xml version="1.0" encoding="utf-8"?>
<ds:datastoreItem xmlns:ds="http://schemas.openxmlformats.org/officeDocument/2006/customXml" ds:itemID="{D9ADE08C-104E-490B-A164-D90EC203BF5C}">
  <ds:schemaRefs/>
</ds:datastoreItem>
</file>

<file path=customXml/itemProps17.xml><?xml version="1.0" encoding="utf-8"?>
<ds:datastoreItem xmlns:ds="http://schemas.openxmlformats.org/officeDocument/2006/customXml" ds:itemID="{98A2134B-6CA2-4380-A818-06FC37FE3561}">
  <ds:schemaRefs/>
</ds:datastoreItem>
</file>

<file path=customXml/itemProps18.xml><?xml version="1.0" encoding="utf-8"?>
<ds:datastoreItem xmlns:ds="http://schemas.openxmlformats.org/officeDocument/2006/customXml" ds:itemID="{97CB4486-3AFA-4250-B261-546B9C037BA7}">
  <ds:schemaRefs/>
</ds:datastoreItem>
</file>

<file path=customXml/itemProps19.xml><?xml version="1.0" encoding="utf-8"?>
<ds:datastoreItem xmlns:ds="http://schemas.openxmlformats.org/officeDocument/2006/customXml" ds:itemID="{E7CBEB71-AED1-4164-A1C9-59E6BBE6EDEF}">
  <ds:schemaRefs/>
</ds:datastoreItem>
</file>

<file path=customXml/itemProps2.xml><?xml version="1.0" encoding="utf-8"?>
<ds:datastoreItem xmlns:ds="http://schemas.openxmlformats.org/officeDocument/2006/customXml" ds:itemID="{9AF1E2D4-BAFD-4211-AF6A-D51972ACB349}">
  <ds:schemaRefs/>
</ds:datastoreItem>
</file>

<file path=customXml/itemProps20.xml><?xml version="1.0" encoding="utf-8"?>
<ds:datastoreItem xmlns:ds="http://schemas.openxmlformats.org/officeDocument/2006/customXml" ds:itemID="{B85714E4-FD79-4D7C-86E0-206B1DA45B5E}">
  <ds:schemaRefs/>
</ds:datastoreItem>
</file>

<file path=customXml/itemProps21.xml><?xml version="1.0" encoding="utf-8"?>
<ds:datastoreItem xmlns:ds="http://schemas.openxmlformats.org/officeDocument/2006/customXml" ds:itemID="{C3D5F3CE-B48E-42E1-ABBE-BD4D7F69D4C3}">
  <ds:schemaRefs/>
</ds:datastoreItem>
</file>

<file path=customXml/itemProps22.xml><?xml version="1.0" encoding="utf-8"?>
<ds:datastoreItem xmlns:ds="http://schemas.openxmlformats.org/officeDocument/2006/customXml" ds:itemID="{DF59DBF7-2464-4AEA-A623-0D82CAB6DAF5}">
  <ds:schemaRefs/>
</ds:datastoreItem>
</file>

<file path=customXml/itemProps23.xml><?xml version="1.0" encoding="utf-8"?>
<ds:datastoreItem xmlns:ds="http://schemas.openxmlformats.org/officeDocument/2006/customXml" ds:itemID="{1B49202E-DC46-4FED-955C-06E923BC302E}">
  <ds:schemaRefs/>
</ds:datastoreItem>
</file>

<file path=customXml/itemProps24.xml><?xml version="1.0" encoding="utf-8"?>
<ds:datastoreItem xmlns:ds="http://schemas.openxmlformats.org/officeDocument/2006/customXml" ds:itemID="{DFDD9F16-91E4-43EB-A1FC-4C8A03752697}">
  <ds:schemaRefs/>
</ds:datastoreItem>
</file>

<file path=customXml/itemProps25.xml><?xml version="1.0" encoding="utf-8"?>
<ds:datastoreItem xmlns:ds="http://schemas.openxmlformats.org/officeDocument/2006/customXml" ds:itemID="{2106B57E-7726-474D-AA6A-DF526427FA45}">
  <ds:schemaRefs/>
</ds:datastoreItem>
</file>

<file path=customXml/itemProps26.xml><?xml version="1.0" encoding="utf-8"?>
<ds:datastoreItem xmlns:ds="http://schemas.openxmlformats.org/officeDocument/2006/customXml" ds:itemID="{84A4F6EF-1376-416C-AAD3-024631A3F6D8}">
  <ds:schemaRefs/>
</ds:datastoreItem>
</file>

<file path=customXml/itemProps27.xml><?xml version="1.0" encoding="utf-8"?>
<ds:datastoreItem xmlns:ds="http://schemas.openxmlformats.org/officeDocument/2006/customXml" ds:itemID="{8BBAE418-253F-414F-B23B-CB7D8F9A44F3}">
  <ds:schemaRefs/>
</ds:datastoreItem>
</file>

<file path=customXml/itemProps28.xml><?xml version="1.0" encoding="utf-8"?>
<ds:datastoreItem xmlns:ds="http://schemas.openxmlformats.org/officeDocument/2006/customXml" ds:itemID="{9B747AD5-D676-495D-AE55-B901218505D3}">
  <ds:schemaRefs/>
</ds:datastoreItem>
</file>

<file path=customXml/itemProps29.xml><?xml version="1.0" encoding="utf-8"?>
<ds:datastoreItem xmlns:ds="http://schemas.openxmlformats.org/officeDocument/2006/customXml" ds:itemID="{1EF531EC-4691-4CEC-92BD-E87C04A20C0F}">
  <ds:schemaRefs/>
</ds:datastoreItem>
</file>

<file path=customXml/itemProps3.xml><?xml version="1.0" encoding="utf-8"?>
<ds:datastoreItem xmlns:ds="http://schemas.openxmlformats.org/officeDocument/2006/customXml" ds:itemID="{8C875A5F-E009-4A00-AACD-A854DFABA70E}">
  <ds:schemaRefs/>
</ds:datastoreItem>
</file>

<file path=customXml/itemProps30.xml><?xml version="1.0" encoding="utf-8"?>
<ds:datastoreItem xmlns:ds="http://schemas.openxmlformats.org/officeDocument/2006/customXml" ds:itemID="{9F7852D0-8EA9-4021-B604-FE8067F92896}">
  <ds:schemaRefs/>
</ds:datastoreItem>
</file>

<file path=customXml/itemProps31.xml><?xml version="1.0" encoding="utf-8"?>
<ds:datastoreItem xmlns:ds="http://schemas.openxmlformats.org/officeDocument/2006/customXml" ds:itemID="{38D48A0F-67C8-4E37-AEB4-08D549AE362C}">
  <ds:schemaRefs/>
</ds:datastoreItem>
</file>

<file path=customXml/itemProps32.xml><?xml version="1.0" encoding="utf-8"?>
<ds:datastoreItem xmlns:ds="http://schemas.openxmlformats.org/officeDocument/2006/customXml" ds:itemID="{43C7DF0F-A322-41B8-8840-56C1AB95D989}">
  <ds:schemaRefs/>
</ds:datastoreItem>
</file>

<file path=customXml/itemProps33.xml><?xml version="1.0" encoding="utf-8"?>
<ds:datastoreItem xmlns:ds="http://schemas.openxmlformats.org/officeDocument/2006/customXml" ds:itemID="{156A1417-86EB-4E2C-9603-50F4CA45495E}">
  <ds:schemaRefs/>
</ds:datastoreItem>
</file>

<file path=customXml/itemProps34.xml><?xml version="1.0" encoding="utf-8"?>
<ds:datastoreItem xmlns:ds="http://schemas.openxmlformats.org/officeDocument/2006/customXml" ds:itemID="{586B4926-6514-4E28-96BD-670ED3F86F05}">
  <ds:schemaRefs/>
</ds:datastoreItem>
</file>

<file path=customXml/itemProps35.xml><?xml version="1.0" encoding="utf-8"?>
<ds:datastoreItem xmlns:ds="http://schemas.openxmlformats.org/officeDocument/2006/customXml" ds:itemID="{6D3E73AE-7813-4C98-BFBF-A7BA8EDB0B08}">
  <ds:schemaRefs/>
</ds:datastoreItem>
</file>

<file path=customXml/itemProps36.xml><?xml version="1.0" encoding="utf-8"?>
<ds:datastoreItem xmlns:ds="http://schemas.openxmlformats.org/officeDocument/2006/customXml" ds:itemID="{35A0E38C-DC3A-45D2-A249-E200BDFDB5FD}">
  <ds:schemaRefs/>
</ds:datastoreItem>
</file>

<file path=customXml/itemProps37.xml><?xml version="1.0" encoding="utf-8"?>
<ds:datastoreItem xmlns:ds="http://schemas.openxmlformats.org/officeDocument/2006/customXml" ds:itemID="{071BC803-C756-4A15-BB34-F4AA2E660FB1}">
  <ds:schemaRefs/>
</ds:datastoreItem>
</file>

<file path=customXml/itemProps38.xml><?xml version="1.0" encoding="utf-8"?>
<ds:datastoreItem xmlns:ds="http://schemas.openxmlformats.org/officeDocument/2006/customXml" ds:itemID="{5B97D94D-3773-42F7-92F3-9AB4FABCE25B}">
  <ds:schemaRefs/>
</ds:datastoreItem>
</file>

<file path=customXml/itemProps39.xml><?xml version="1.0" encoding="utf-8"?>
<ds:datastoreItem xmlns:ds="http://schemas.openxmlformats.org/officeDocument/2006/customXml" ds:itemID="{FCD8D2E1-80DD-4D21-9121-67E3328557DE}"/>
</file>

<file path=customXml/itemProps4.xml><?xml version="1.0" encoding="utf-8"?>
<ds:datastoreItem xmlns:ds="http://schemas.openxmlformats.org/officeDocument/2006/customXml" ds:itemID="{64F9C092-12B2-4F6F-819F-6C51F92FD0ED}">
  <ds:schemaRefs/>
</ds:datastoreItem>
</file>

<file path=customXml/itemProps40.xml><?xml version="1.0" encoding="utf-8"?>
<ds:datastoreItem xmlns:ds="http://schemas.openxmlformats.org/officeDocument/2006/customXml" ds:itemID="{784FE95E-BC70-4AF6-834B-E4CF556F8952}"/>
</file>

<file path=customXml/itemProps41.xml><?xml version="1.0" encoding="utf-8"?>
<ds:datastoreItem xmlns:ds="http://schemas.openxmlformats.org/officeDocument/2006/customXml" ds:itemID="{53359794-5904-434D-85A2-79AC4F8002A3}"/>
</file>

<file path=customXml/itemProps5.xml><?xml version="1.0" encoding="utf-8"?>
<ds:datastoreItem xmlns:ds="http://schemas.openxmlformats.org/officeDocument/2006/customXml" ds:itemID="{9AA80133-7852-46AA-A483-BC52F1D805A9}">
  <ds:schemaRefs/>
</ds:datastoreItem>
</file>

<file path=customXml/itemProps6.xml><?xml version="1.0" encoding="utf-8"?>
<ds:datastoreItem xmlns:ds="http://schemas.openxmlformats.org/officeDocument/2006/customXml" ds:itemID="{7FA2E1F0-2947-4779-8D6A-E9EB6145230D}">
  <ds:schemaRefs/>
</ds:datastoreItem>
</file>

<file path=customXml/itemProps7.xml><?xml version="1.0" encoding="utf-8"?>
<ds:datastoreItem xmlns:ds="http://schemas.openxmlformats.org/officeDocument/2006/customXml" ds:itemID="{ACC5DA54-1825-4168-B2E8-A1304BD6D153}">
  <ds:schemaRefs/>
</ds:datastoreItem>
</file>

<file path=customXml/itemProps8.xml><?xml version="1.0" encoding="utf-8"?>
<ds:datastoreItem xmlns:ds="http://schemas.openxmlformats.org/officeDocument/2006/customXml" ds:itemID="{A773F7B9-23DD-4720-9F66-5CF11BFDD9E5}">
  <ds:schemaRefs/>
</ds:datastoreItem>
</file>

<file path=customXml/itemProps9.xml><?xml version="1.0" encoding="utf-8"?>
<ds:datastoreItem xmlns:ds="http://schemas.openxmlformats.org/officeDocument/2006/customXml" ds:itemID="{E0DD898A-14CD-4845-9B41-872EED0578A6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31</Words>
  <Application>Microsoft Office PowerPoint</Application>
  <PresentationFormat>Widescreen</PresentationFormat>
  <Paragraphs>767</Paragraphs>
  <Slides>13</Slides>
  <Notes>13</Notes>
  <HiddenSlides>0</HiddenSlides>
  <MMClips>0</MMClips>
  <ScaleCrop>false</ScaleCrop>
  <HeadingPairs>
    <vt:vector size="6" baseType="variant">
      <vt:variant>
        <vt:lpstr>Benyttede skrifttyper</vt:lpstr>
      </vt:variant>
      <vt:variant>
        <vt:i4>5</vt:i4>
      </vt:variant>
      <vt:variant>
        <vt:lpstr>Tema</vt:lpstr>
      </vt:variant>
      <vt:variant>
        <vt:i4>1</vt:i4>
      </vt:variant>
      <vt:variant>
        <vt:lpstr>Slidetitler</vt:lpstr>
      </vt:variant>
      <vt:variant>
        <vt:i4>13</vt:i4>
      </vt:variant>
    </vt:vector>
  </HeadingPairs>
  <TitlesOfParts>
    <vt:vector size="19" baseType="lpstr">
      <vt:lpstr>Arial</vt:lpstr>
      <vt:lpstr>Calibri</vt:lpstr>
      <vt:lpstr>Corbel</vt:lpstr>
      <vt:lpstr>Open Sans</vt:lpstr>
      <vt:lpstr>Symbol</vt:lpstr>
      <vt:lpstr>16-9 skabelon UK 2010</vt:lpstr>
      <vt:lpstr>Maps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23-03-22T13:42:16Z</dcterms:created>
  <dcterms:modified xsi:type="dcterms:W3CDTF">2023-03-22T13:54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HasRun">
    <vt:lpwstr>false</vt:lpwstr>
  </property>
  <property fmtid="{D5CDD505-2E9C-101B-9397-08002B2CF9AE}" pid="3" name="TemplafyTimeStamp">
    <vt:lpwstr>2023-01-20T10:34:57</vt:lpwstr>
  </property>
  <property fmtid="{D5CDD505-2E9C-101B-9397-08002B2CF9AE}" pid="4" name="TemplafyTenantId">
    <vt:lpwstr>nordennmr</vt:lpwstr>
  </property>
  <property fmtid="{D5CDD505-2E9C-101B-9397-08002B2CF9AE}" pid="5" name="TemplafyTemplateId">
    <vt:lpwstr>638096435593608084</vt:lpwstr>
  </property>
  <property fmtid="{D5CDD505-2E9C-101B-9397-08002B2CF9AE}" pid="6" name="TemplafyUserProfileId">
    <vt:lpwstr>638097226627242726</vt:lpwstr>
  </property>
  <property fmtid="{D5CDD505-2E9C-101B-9397-08002B2CF9AE}" pid="7" name="TemplafyLanguageCode">
    <vt:lpwstr>en-GB</vt:lpwstr>
  </property>
  <property fmtid="{D5CDD505-2E9C-101B-9397-08002B2CF9AE}" pid="8" name="TemplafyFromBlank">
    <vt:bool>false</vt:bool>
  </property>
  <property fmtid="{D5CDD505-2E9C-101B-9397-08002B2CF9AE}" pid="9" name="ContentTypeId">
    <vt:lpwstr>0x01010069A27C8BC4FF814B80B4CE83598355D9</vt:lpwstr>
  </property>
</Properties>
</file>